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media/image101.jpg" ContentType="image/jpg"/>
  <Override PartName="/ppt/media/image103.jpg" ContentType="image/jpg"/>
  <Override PartName="/ppt/media/image105.jpg" ContentType="image/jpg"/>
  <Override PartName="/ppt/media/image107.jpg" ContentType="image/jpg"/>
  <Override PartName="/ppt/media/image109.jpg" ContentType="image/jpg"/>
  <Override PartName="/ppt/media/image111.jpg" ContentType="image/jpg"/>
  <Override PartName="/ppt/media/image113.jpg" ContentType="image/jpg"/>
  <Override PartName="/ppt/media/image114.jpg" ContentType="image/jpg"/>
  <Override PartName="/ppt/media/image122.jpg" ContentType="image/jpg"/>
  <Override PartName="/ppt/media/image145.jpg" ContentType="image/jpg"/>
  <Override PartName="/ppt/media/image146.jpg" ContentType="image/jpg"/>
  <Override PartName="/ppt/media/image147.jpg" ContentType="image/jpg"/>
  <Override PartName="/ppt/media/image148.jpg" ContentType="image/jpg"/>
  <Override PartName="/ppt/media/image149.jpg" ContentType="image/jpg"/>
  <Override PartName="/ppt/media/image153.jpg" ContentType="image/jpg"/>
  <Override PartName="/ppt/media/image154.jpg" ContentType="image/jpg"/>
  <Override PartName="/ppt/notesSlides/notesSlide21.xml" ContentType="application/vnd.openxmlformats-officedocument.presentationml.notesSlide+xml"/>
  <Override PartName="/ppt/media/image157.jpg" ContentType="image/jpg"/>
  <Override PartName="/ppt/media/image176.jpg" ContentType="image/jpg"/>
  <Override PartName="/ppt/media/image177.jpg" ContentType="image/jpg"/>
  <Override PartName="/ppt/media/image179.jpg" ContentType="image/jpg"/>
  <Override PartName="/ppt/media/image180.jpg" ContentType="image/jpg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dia/image12.svg" ContentType="image/svg"/>
  <Override PartName="/ppt/media/image14.svg" ContentType="image/svg"/>
  <Override PartName="/ppt/media/image16.svg" ContentType="image/svg"/>
  <Override PartName="/ppt/media/image18.svg" ContentType="image/svg"/>
  <Override PartName="/ppt/media/image20.svg" ContentType="image/svg"/>
  <Override PartName="/ppt/media/image22.svg" ContentType="image/sv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38"/>
  </p:notesMasterIdLst>
  <p:handoutMasterIdLst>
    <p:handoutMasterId r:id="rId139"/>
  </p:handoutMasterIdLst>
  <p:sldIdLst>
    <p:sldId id="288" r:id="rId2"/>
    <p:sldId id="297" r:id="rId3"/>
    <p:sldId id="298" r:id="rId4"/>
    <p:sldId id="556" r:id="rId5"/>
    <p:sldId id="277" r:id="rId6"/>
    <p:sldId id="451" r:id="rId7"/>
    <p:sldId id="452" r:id="rId8"/>
    <p:sldId id="291" r:id="rId9"/>
    <p:sldId id="555" r:id="rId10"/>
    <p:sldId id="454" r:id="rId11"/>
    <p:sldId id="453" r:id="rId12"/>
    <p:sldId id="283" r:id="rId13"/>
    <p:sldId id="285" r:id="rId14"/>
    <p:sldId id="286" r:id="rId15"/>
    <p:sldId id="371" r:id="rId16"/>
    <p:sldId id="372" r:id="rId17"/>
    <p:sldId id="373" r:id="rId18"/>
    <p:sldId id="374" r:id="rId19"/>
    <p:sldId id="375" r:id="rId20"/>
    <p:sldId id="346" r:id="rId21"/>
    <p:sldId id="455" r:id="rId22"/>
    <p:sldId id="456" r:id="rId23"/>
    <p:sldId id="376" r:id="rId24"/>
    <p:sldId id="487" r:id="rId25"/>
    <p:sldId id="488" r:id="rId26"/>
    <p:sldId id="489" r:id="rId27"/>
    <p:sldId id="490" r:id="rId28"/>
    <p:sldId id="491" r:id="rId29"/>
    <p:sldId id="492" r:id="rId30"/>
    <p:sldId id="493" r:id="rId31"/>
    <p:sldId id="494" r:id="rId32"/>
    <p:sldId id="495" r:id="rId33"/>
    <p:sldId id="496" r:id="rId34"/>
    <p:sldId id="497" r:id="rId35"/>
    <p:sldId id="498" r:id="rId36"/>
    <p:sldId id="499" r:id="rId37"/>
    <p:sldId id="500" r:id="rId38"/>
    <p:sldId id="501" r:id="rId39"/>
    <p:sldId id="502" r:id="rId40"/>
    <p:sldId id="503" r:id="rId41"/>
    <p:sldId id="504" r:id="rId42"/>
    <p:sldId id="505" r:id="rId43"/>
    <p:sldId id="506" r:id="rId44"/>
    <p:sldId id="507" r:id="rId45"/>
    <p:sldId id="508" r:id="rId46"/>
    <p:sldId id="509" r:id="rId47"/>
    <p:sldId id="510" r:id="rId48"/>
    <p:sldId id="511" r:id="rId49"/>
    <p:sldId id="512" r:id="rId50"/>
    <p:sldId id="513" r:id="rId51"/>
    <p:sldId id="514" r:id="rId52"/>
    <p:sldId id="515" r:id="rId53"/>
    <p:sldId id="516" r:id="rId54"/>
    <p:sldId id="517" r:id="rId55"/>
    <p:sldId id="518" r:id="rId56"/>
    <p:sldId id="519" r:id="rId57"/>
    <p:sldId id="520" r:id="rId58"/>
    <p:sldId id="299" r:id="rId59"/>
    <p:sldId id="317" r:id="rId60"/>
    <p:sldId id="293" r:id="rId61"/>
    <p:sldId id="292" r:id="rId62"/>
    <p:sldId id="320" r:id="rId63"/>
    <p:sldId id="321" r:id="rId64"/>
    <p:sldId id="322" r:id="rId65"/>
    <p:sldId id="323" r:id="rId66"/>
    <p:sldId id="324" r:id="rId67"/>
    <p:sldId id="325" r:id="rId68"/>
    <p:sldId id="326" r:id="rId69"/>
    <p:sldId id="349" r:id="rId70"/>
    <p:sldId id="333" r:id="rId71"/>
    <p:sldId id="335" r:id="rId72"/>
    <p:sldId id="338" r:id="rId73"/>
    <p:sldId id="344" r:id="rId74"/>
    <p:sldId id="547" r:id="rId75"/>
    <p:sldId id="482" r:id="rId76"/>
    <p:sldId id="483" r:id="rId77"/>
    <p:sldId id="484" r:id="rId78"/>
    <p:sldId id="485" r:id="rId79"/>
    <p:sldId id="486" r:id="rId80"/>
    <p:sldId id="301" r:id="rId81"/>
    <p:sldId id="303" r:id="rId82"/>
    <p:sldId id="304" r:id="rId83"/>
    <p:sldId id="305" r:id="rId84"/>
    <p:sldId id="306" r:id="rId85"/>
    <p:sldId id="350" r:id="rId86"/>
    <p:sldId id="521" r:id="rId87"/>
    <p:sldId id="522" r:id="rId88"/>
    <p:sldId id="523" r:id="rId89"/>
    <p:sldId id="548" r:id="rId90"/>
    <p:sldId id="549" r:id="rId91"/>
    <p:sldId id="550" r:id="rId92"/>
    <p:sldId id="551" r:id="rId93"/>
    <p:sldId id="552" r:id="rId94"/>
    <p:sldId id="553" r:id="rId95"/>
    <p:sldId id="412" r:id="rId96"/>
    <p:sldId id="413" r:id="rId97"/>
    <p:sldId id="414" r:id="rId98"/>
    <p:sldId id="415" r:id="rId99"/>
    <p:sldId id="416" r:id="rId100"/>
    <p:sldId id="417" r:id="rId101"/>
    <p:sldId id="434" r:id="rId102"/>
    <p:sldId id="430" r:id="rId103"/>
    <p:sldId id="431" r:id="rId104"/>
    <p:sldId id="432" r:id="rId105"/>
    <p:sldId id="433" r:id="rId106"/>
    <p:sldId id="444" r:id="rId107"/>
    <p:sldId id="445" r:id="rId108"/>
    <p:sldId id="446" r:id="rId109"/>
    <p:sldId id="447" r:id="rId110"/>
    <p:sldId id="449" r:id="rId111"/>
    <p:sldId id="448" r:id="rId112"/>
    <p:sldId id="524" r:id="rId113"/>
    <p:sldId id="525" r:id="rId114"/>
    <p:sldId id="526" r:id="rId115"/>
    <p:sldId id="527" r:id="rId116"/>
    <p:sldId id="528" r:id="rId117"/>
    <p:sldId id="529" r:id="rId118"/>
    <p:sldId id="530" r:id="rId119"/>
    <p:sldId id="531" r:id="rId120"/>
    <p:sldId id="532" r:id="rId121"/>
    <p:sldId id="533" r:id="rId122"/>
    <p:sldId id="534" r:id="rId123"/>
    <p:sldId id="535" r:id="rId124"/>
    <p:sldId id="536" r:id="rId125"/>
    <p:sldId id="537" r:id="rId126"/>
    <p:sldId id="538" r:id="rId127"/>
    <p:sldId id="539" r:id="rId128"/>
    <p:sldId id="540" r:id="rId129"/>
    <p:sldId id="541" r:id="rId130"/>
    <p:sldId id="542" r:id="rId131"/>
    <p:sldId id="543" r:id="rId132"/>
    <p:sldId id="544" r:id="rId133"/>
    <p:sldId id="545" r:id="rId134"/>
    <p:sldId id="546" r:id="rId135"/>
    <p:sldId id="429" r:id="rId136"/>
    <p:sldId id="554" r:id="rId137"/>
  </p:sldIdLst>
  <p:sldSz cx="12192000" cy="6858000"/>
  <p:notesSz cx="6805613" cy="99441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6A87BC"/>
    <a:srgbClr val="5B9BD5"/>
    <a:srgbClr val="97D2FF"/>
    <a:srgbClr val="7A96C7"/>
    <a:srgbClr val="596E97"/>
    <a:srgbClr val="D7A4C4"/>
    <a:srgbClr val="9CAFD2"/>
    <a:srgbClr val="CB1B4A"/>
    <a:srgbClr val="DB8B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Средний стиль 4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372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notesMaster" Target="notesMasters/notesMaster1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slide" Target="slides/slide127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34" Type="http://schemas.openxmlformats.org/officeDocument/2006/relationships/slide" Target="slides/slide133.xml"/><Relationship Id="rId139" Type="http://schemas.openxmlformats.org/officeDocument/2006/relationships/handoutMaster" Target="handoutMasters/handoutMaster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theme" Target="theme/theme1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43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6" Type="http://schemas.openxmlformats.org/officeDocument/2006/relationships/slide" Target="slides/slide1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077918143853064E-2"/>
          <c:y val="0.1211735069617744"/>
          <c:w val="0.96168838032923498"/>
          <c:h val="0.6323086427338399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 денежном выражении, млрд. тенге</c:v>
                </c:pt>
              </c:strCache>
            </c:strRef>
          </c:tx>
          <c:spPr>
            <a:solidFill>
              <a:srgbClr val="002060"/>
            </a:solidFill>
            <a:ln>
              <a:solidFill>
                <a:srgbClr val="002060"/>
              </a:solidFill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Pt>
            <c:idx val="8"/>
            <c:invertIfNegative val="0"/>
            <c:bubble3D val="0"/>
            <c:spPr>
              <a:solidFill>
                <a:srgbClr val="002060"/>
              </a:solidFill>
              <a:ln>
                <a:solidFill>
                  <a:srgbClr val="002060"/>
                </a:solidFill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7F58-419F-AE7B-A641ACD28922}"/>
              </c:ext>
            </c:extLst>
          </c:dPt>
          <c:dPt>
            <c:idx val="9"/>
            <c:invertIfNegative val="0"/>
            <c:bubble3D val="0"/>
            <c:spPr>
              <a:solidFill>
                <a:srgbClr val="002060"/>
              </a:solidFill>
              <a:ln w="6350" cap="flat" cmpd="sng" algn="ctr">
                <a:solidFill>
                  <a:srgbClr val="002060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3-7F58-419F-AE7B-A641ACD28922}"/>
              </c:ext>
            </c:extLst>
          </c:dPt>
          <c:dLbls>
            <c:dLbl>
              <c:idx val="0"/>
              <c:layout>
                <c:manualLayout>
                  <c:x val="0"/>
                  <c:y val="-2.637672108546953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F58-419F-AE7B-A641ACD28922}"/>
                </c:ext>
              </c:extLst>
            </c:dLbl>
            <c:dLbl>
              <c:idx val="1"/>
              <c:layout>
                <c:manualLayout>
                  <c:x val="5.3067986437392014E-4"/>
                  <c:y val="-2.436389590036788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503272616359112E-2"/>
                      <c:h val="0.1213207971174895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7F58-419F-AE7B-A641ACD28922}"/>
                </c:ext>
              </c:extLst>
            </c:dLbl>
            <c:dLbl>
              <c:idx val="2"/>
              <c:layout>
                <c:manualLayout>
                  <c:x val="-2.1225330473022583E-3"/>
                  <c:y val="-6.289757836534370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F58-419F-AE7B-A641ACD289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3</c:f>
              <c:numCache>
                <c:formatCode>General</c:formatCode>
                <c:ptCount val="12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</c:numCache>
            </c:numRef>
          </c:cat>
          <c:val>
            <c:numRef>
              <c:f>Лист1!$B$2:$B$13</c:f>
              <c:numCache>
                <c:formatCode>General</c:formatCode>
                <c:ptCount val="12"/>
                <c:pt idx="0">
                  <c:v>4.8</c:v>
                </c:pt>
                <c:pt idx="1">
                  <c:v>8</c:v>
                </c:pt>
                <c:pt idx="2">
                  <c:v>11.3</c:v>
                </c:pt>
                <c:pt idx="3">
                  <c:v>15.9</c:v>
                </c:pt>
                <c:pt idx="4">
                  <c:v>14</c:v>
                </c:pt>
                <c:pt idx="5">
                  <c:v>17.8</c:v>
                </c:pt>
                <c:pt idx="6">
                  <c:v>25.4</c:v>
                </c:pt>
                <c:pt idx="7">
                  <c:v>37.299999999999997</c:v>
                </c:pt>
                <c:pt idx="8">
                  <c:v>51.3</c:v>
                </c:pt>
                <c:pt idx="9">
                  <c:v>53.6</c:v>
                </c:pt>
                <c:pt idx="10">
                  <c:v>82.1</c:v>
                </c:pt>
                <c:pt idx="11">
                  <c:v>11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F58-419F-AE7B-A641ACD28922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solidFill>
                <a:srgbClr val="002060"/>
              </a:solidFill>
              <a:tailEnd type="stealth"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Arial Narrow" panose="020B060602020203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3</c:f>
              <c:numCache>
                <c:formatCode>General</c:formatCode>
                <c:ptCount val="12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</c:numCache>
            </c:numRef>
          </c:cat>
          <c:val>
            <c:numRef>
              <c:f>Лист1!$C$2:$C$13</c:f>
              <c:numCache>
                <c:formatCode>General</c:formatCode>
                <c:ptCount val="12"/>
                <c:pt idx="11">
                  <c:v>68.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F58-419F-AE7B-A641ACD289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100"/>
        <c:axId val="-90802368"/>
        <c:axId val="-90808352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доля от всего закупа, %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3</c:f>
              <c:numCache>
                <c:formatCode>General</c:formatCode>
                <c:ptCount val="12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</c:numCache>
            </c:numRef>
          </c:cat>
          <c:val>
            <c:numRef>
              <c:f>Лист1!$D$2:$D$13</c:f>
              <c:numCache>
                <c:formatCode>0%</c:formatCode>
                <c:ptCount val="12"/>
                <c:pt idx="0">
                  <c:v>0.15</c:v>
                </c:pt>
                <c:pt idx="1">
                  <c:v>0.18</c:v>
                </c:pt>
                <c:pt idx="2">
                  <c:v>0.17</c:v>
                </c:pt>
                <c:pt idx="3">
                  <c:v>0.2</c:v>
                </c:pt>
                <c:pt idx="4">
                  <c:v>0.16</c:v>
                </c:pt>
                <c:pt idx="5">
                  <c:v>0.18</c:v>
                </c:pt>
                <c:pt idx="6">
                  <c:v>0.22</c:v>
                </c:pt>
                <c:pt idx="7">
                  <c:v>0.27</c:v>
                </c:pt>
                <c:pt idx="8">
                  <c:v>0.28000000000000003</c:v>
                </c:pt>
                <c:pt idx="9">
                  <c:v>0.26</c:v>
                </c:pt>
                <c:pt idx="10">
                  <c:v>0.3</c:v>
                </c:pt>
                <c:pt idx="11">
                  <c:v>0.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7F58-419F-AE7B-A641ACD289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90815424"/>
        <c:axId val="-90810528"/>
      </c:lineChart>
      <c:catAx>
        <c:axId val="-90802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-90808352"/>
        <c:crosses val="autoZero"/>
        <c:auto val="1"/>
        <c:lblAlgn val="ctr"/>
        <c:lblOffset val="100"/>
        <c:noMultiLvlLbl val="0"/>
      </c:catAx>
      <c:valAx>
        <c:axId val="-908083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90802368"/>
        <c:crosses val="autoZero"/>
        <c:crossBetween val="between"/>
      </c:valAx>
      <c:valAx>
        <c:axId val="-9081052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90815424"/>
        <c:crosses val="max"/>
        <c:crossBetween val="between"/>
      </c:valAx>
      <c:catAx>
        <c:axId val="-908154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9081052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5"/>
              <c:layout>
                <c:manualLayout>
                  <c:x val="-6.7906478795413727E-2"/>
                  <c:y val="5.079221863210556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C03-403B-BAEB-28151A080FE4}"/>
                </c:ext>
              </c:extLst>
            </c:dLbl>
            <c:dLbl>
              <c:idx val="6"/>
              <c:layout>
                <c:manualLayout>
                  <c:x val="-6.4473856886310257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C03-403B-BAEB-28151A080FE4}"/>
                </c:ext>
              </c:extLst>
            </c:dLbl>
            <c:dLbl>
              <c:idx val="7"/>
              <c:layout>
                <c:manualLayout>
                  <c:x val="-6.2590827462356682E-2"/>
                  <c:y val="9.3117991785206356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C03-403B-BAEB-28151A080FE4}"/>
                </c:ext>
              </c:extLst>
            </c:dLbl>
            <c:dLbl>
              <c:idx val="8"/>
              <c:layout>
                <c:manualLayout>
                  <c:x val="-5.9398397568724962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C03-403B-BAEB-28151A080FE4}"/>
                </c:ext>
              </c:extLst>
            </c:dLbl>
            <c:dLbl>
              <c:idx val="9"/>
              <c:layout>
                <c:manualLayout>
                  <c:x val="-5.8066031219781739E-2"/>
                  <c:y val="-1.8623598357041271E-1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C03-403B-BAEB-28151A080FE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КФК</c:v>
                </c:pt>
                <c:pt idx="1">
                  <c:v>Нобел</c:v>
                </c:pt>
                <c:pt idx="2">
                  <c:v>Химфарм</c:v>
                </c:pt>
                <c:pt idx="3">
                  <c:v>Dolce</c:v>
                </c:pt>
                <c:pt idx="4">
                  <c:v>Абди Ибрахим</c:v>
                </c:pt>
                <c:pt idx="5">
                  <c:v>Super-рharm</c:v>
                </c:pt>
                <c:pt idx="6">
                  <c:v>Келун-Казфарм</c:v>
                </c:pt>
                <c:pt idx="7">
                  <c:v>НИИПБ РК</c:v>
                </c:pt>
                <c:pt idx="8">
                  <c:v>Каз Мед Пром</c:v>
                </c:pt>
                <c:pt idx="9">
                  <c:v>Eira Med</c:v>
                </c:pt>
              </c:strCache>
            </c:strRef>
          </c:cat>
          <c:val>
            <c:numRef>
              <c:f>Лист1!$B$2:$B$11</c:f>
              <c:numCache>
                <c:formatCode>#,##0.00</c:formatCode>
                <c:ptCount val="10"/>
                <c:pt idx="0">
                  <c:v>71.342562791660001</c:v>
                </c:pt>
                <c:pt idx="1">
                  <c:v>19.791249031569997</c:v>
                </c:pt>
                <c:pt idx="2">
                  <c:v>18.528153516749988</c:v>
                </c:pt>
                <c:pt idx="3">
                  <c:v>7.2692275152499999</c:v>
                </c:pt>
                <c:pt idx="4">
                  <c:v>7.0329840196100033</c:v>
                </c:pt>
                <c:pt idx="5">
                  <c:v>6.4202924913800015</c:v>
                </c:pt>
                <c:pt idx="6">
                  <c:v>6.0609454247200016</c:v>
                </c:pt>
                <c:pt idx="7">
                  <c:v>5.8638088799999997</c:v>
                </c:pt>
                <c:pt idx="8">
                  <c:v>5.5296094325</c:v>
                </c:pt>
                <c:pt idx="9">
                  <c:v>5.3901145781999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C03-403B-BAEB-28151A080F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1997779312"/>
        <c:axId val="1997778064"/>
      </c:barChart>
      <c:catAx>
        <c:axId val="199777931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97778064"/>
        <c:crosses val="autoZero"/>
        <c:auto val="1"/>
        <c:lblAlgn val="ctr"/>
        <c:lblOffset val="100"/>
        <c:noMultiLvlLbl val="0"/>
      </c:catAx>
      <c:valAx>
        <c:axId val="1997778064"/>
        <c:scaling>
          <c:orientation val="minMax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crossAx val="1997779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b="1" dirty="0"/>
              <a:t>Инвестиции Фондов/</a:t>
            </a:r>
            <a:r>
              <a:rPr lang="en-US" b="1" dirty="0"/>
              <a:t>QIC</a:t>
            </a:r>
            <a:endParaRPr lang="ru-RU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6.0975723510647652E-2"/>
          <c:y val="5.5079882811080123E-2"/>
          <c:w val="0.88814387684595697"/>
          <c:h val="0.78254258276043398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Графики!$Q$107</c:f>
              <c:strCache>
                <c:ptCount val="1"/>
                <c:pt idx="0">
                  <c:v>ФПИ в проекты</c:v>
                </c:pt>
              </c:strCache>
            </c:strRef>
          </c:tx>
          <c:spPr>
            <a:solidFill>
              <a:srgbClr val="7D6850"/>
            </a:solidFill>
            <a:ln>
              <a:noFill/>
            </a:ln>
            <a:effectLst/>
          </c:spPr>
          <c:invertIfNegative val="0"/>
          <c:dLbls>
            <c:dLbl>
              <c:idx val="13"/>
              <c:layout>
                <c:manualLayout>
                  <c:x val="1.489443597820096E-3"/>
                  <c:y val="-9.25925925925925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0F1-4B64-A715-F401168003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Графики!$R$99:$AG$99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Графики!$R$107:$AG$107</c:f>
              <c:numCache>
                <c:formatCode>0</c:formatCode>
                <c:ptCount val="16"/>
                <c:pt idx="0">
                  <c:v>42.5</c:v>
                </c:pt>
                <c:pt idx="1">
                  <c:v>85.8</c:v>
                </c:pt>
                <c:pt idx="2">
                  <c:v>210.8</c:v>
                </c:pt>
                <c:pt idx="3">
                  <c:v>414</c:v>
                </c:pt>
                <c:pt idx="4">
                  <c:v>763.90000000000009</c:v>
                </c:pt>
                <c:pt idx="5">
                  <c:v>893.6</c:v>
                </c:pt>
                <c:pt idx="6">
                  <c:v>942.76</c:v>
                </c:pt>
                <c:pt idx="7">
                  <c:v>1103.06</c:v>
                </c:pt>
                <c:pt idx="8">
                  <c:v>1120.3</c:v>
                </c:pt>
                <c:pt idx="9">
                  <c:v>1135.52</c:v>
                </c:pt>
                <c:pt idx="10">
                  <c:v>1295.29</c:v>
                </c:pt>
                <c:pt idx="11">
                  <c:v>1405.7800000000002</c:v>
                </c:pt>
                <c:pt idx="12">
                  <c:v>1444.0900000000001</c:v>
                </c:pt>
                <c:pt idx="13">
                  <c:v>1576.92</c:v>
                </c:pt>
                <c:pt idx="14">
                  <c:v>2103.3164639312586</c:v>
                </c:pt>
                <c:pt idx="15">
                  <c:v>2183.61646393125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F1-4B64-A715-F40116800348}"/>
            </c:ext>
          </c:extLst>
        </c:ser>
        <c:ser>
          <c:idx val="3"/>
          <c:order val="2"/>
          <c:tx>
            <c:strRef>
              <c:f>Графики!$Q$109</c:f>
              <c:strCache>
                <c:ptCount val="1"/>
                <c:pt idx="0">
                  <c:v>ФПИ в проекты РК</c:v>
                </c:pt>
              </c:strCache>
            </c:strRef>
          </c:tx>
          <c:spPr>
            <a:solidFill>
              <a:srgbClr val="B19F8B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0F1-4B64-A715-F4011680034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0F1-4B64-A715-F4011680034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0F1-4B64-A715-F40116800348}"/>
                </c:ext>
              </c:extLst>
            </c:dLbl>
            <c:dLbl>
              <c:idx val="3"/>
              <c:layout>
                <c:manualLayout>
                  <c:x val="4.1102219115282451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0F1-4B64-A715-F40116800348}"/>
                </c:ext>
              </c:extLst>
            </c:dLbl>
            <c:dLbl>
              <c:idx val="4"/>
              <c:layout>
                <c:manualLayout>
                  <c:x val="5.137777389410353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0F1-4B64-A715-F40116800348}"/>
                </c:ext>
              </c:extLst>
            </c:dLbl>
            <c:dLbl>
              <c:idx val="5"/>
              <c:layout>
                <c:manualLayout>
                  <c:x val="5.1377773894103534E-3"/>
                  <c:y val="-1.2797246736499199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0F1-4B64-A715-F40116800348}"/>
                </c:ext>
              </c:extLst>
            </c:dLbl>
            <c:dLbl>
              <c:idx val="6"/>
              <c:layout>
                <c:manualLayout>
                  <c:x val="4.1102219115282824E-3"/>
                  <c:y val="-1.2797246736499199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0F1-4B64-A715-F40116800348}"/>
                </c:ext>
              </c:extLst>
            </c:dLbl>
            <c:dLbl>
              <c:idx val="7"/>
              <c:layout>
                <c:manualLayout>
                  <c:x val="5.137777389410353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0F1-4B64-A715-F40116800348}"/>
                </c:ext>
              </c:extLst>
            </c:dLbl>
            <c:dLbl>
              <c:idx val="8"/>
              <c:layout>
                <c:manualLayout>
                  <c:x val="5.137777389410353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0F1-4B64-A715-F40116800348}"/>
                </c:ext>
              </c:extLst>
            </c:dLbl>
            <c:dLbl>
              <c:idx val="9"/>
              <c:layout>
                <c:manualLayout>
                  <c:x val="5.137777389410353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60F1-4B64-A715-F40116800348}"/>
                </c:ext>
              </c:extLst>
            </c:dLbl>
            <c:dLbl>
              <c:idx val="10"/>
              <c:layout>
                <c:manualLayout>
                  <c:x val="5.1377773894103534E-3"/>
                  <c:y val="-6.3986233682495995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0F1-4B64-A715-F40116800348}"/>
                </c:ext>
              </c:extLst>
            </c:dLbl>
            <c:dLbl>
              <c:idx val="11"/>
              <c:layout>
                <c:manualLayout>
                  <c:x val="4.110221911528282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0F1-4B64-A715-F40116800348}"/>
                </c:ext>
              </c:extLst>
            </c:dLbl>
            <c:dLbl>
              <c:idx val="12"/>
              <c:layout>
                <c:manualLayout>
                  <c:x val="4.110221911528282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0F1-4B64-A715-F40116800348}"/>
                </c:ext>
              </c:extLst>
            </c:dLbl>
            <c:dLbl>
              <c:idx val="13"/>
              <c:layout>
                <c:manualLayout>
                  <c:x val="7.1928883451743437E-3"/>
                  <c:y val="1.74509925973439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0F1-4B64-A715-F401168003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Графики!$R$99:$AG$99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Графики!$R$109:$AG$109</c:f>
              <c:numCache>
                <c:formatCode>0</c:formatCode>
                <c:ptCount val="16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96.6</c:v>
                </c:pt>
                <c:pt idx="4">
                  <c:v>206.7</c:v>
                </c:pt>
                <c:pt idx="5">
                  <c:v>227.1</c:v>
                </c:pt>
                <c:pt idx="6">
                  <c:v>252</c:v>
                </c:pt>
                <c:pt idx="7">
                  <c:v>386.83</c:v>
                </c:pt>
                <c:pt idx="8">
                  <c:v>404.07</c:v>
                </c:pt>
                <c:pt idx="9">
                  <c:v>419.29</c:v>
                </c:pt>
                <c:pt idx="10">
                  <c:v>579.06000000000006</c:v>
                </c:pt>
                <c:pt idx="11">
                  <c:v>689.55000000000007</c:v>
                </c:pt>
                <c:pt idx="12">
                  <c:v>727.86000000000013</c:v>
                </c:pt>
                <c:pt idx="13">
                  <c:v>864.33842143132995</c:v>
                </c:pt>
                <c:pt idx="14">
                  <c:v>891.6103192729023</c:v>
                </c:pt>
                <c:pt idx="15">
                  <c:v>957.570319272902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60F1-4B64-A715-F40116800348}"/>
            </c:ext>
          </c:extLst>
        </c:ser>
        <c:ser>
          <c:idx val="2"/>
          <c:order val="3"/>
          <c:tx>
            <c:strRef>
              <c:f>Графики!$Q$108</c:f>
              <c:strCache>
                <c:ptCount val="1"/>
                <c:pt idx="0">
                  <c:v>QIC в проекты</c:v>
                </c:pt>
              </c:strCache>
            </c:strRef>
          </c:tx>
          <c:spPr>
            <a:solidFill>
              <a:srgbClr val="0F3966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0F1-4B64-A715-F4011680034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60F1-4B64-A715-F4011680034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60F1-4B64-A715-F40116800348}"/>
                </c:ext>
              </c:extLst>
            </c:dLbl>
            <c:dLbl>
              <c:idx val="3"/>
              <c:layout>
                <c:manualLayout>
                  <c:x val="2.0551109557641035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60F1-4B64-A715-F40116800348}"/>
                </c:ext>
              </c:extLst>
            </c:dLbl>
            <c:dLbl>
              <c:idx val="4"/>
              <c:layout>
                <c:manualLayout>
                  <c:x val="1.5932355335738179E-3"/>
                  <c:y val="4.629629629629544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60F1-4B64-A715-F40116800348}"/>
                </c:ext>
              </c:extLst>
            </c:dLbl>
            <c:dLbl>
              <c:idx val="5"/>
              <c:layout>
                <c:manualLayout>
                  <c:x val="5.137777389410278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60F1-4B64-A715-F40116800348}"/>
                </c:ext>
              </c:extLst>
            </c:dLbl>
            <c:dLbl>
              <c:idx val="6"/>
              <c:layout>
                <c:manualLayout>
                  <c:x val="5.1377594593155001E-3"/>
                  <c:y val="1.388888888888897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60F1-4B64-A715-F40116800348}"/>
                </c:ext>
              </c:extLst>
            </c:dLbl>
            <c:dLbl>
              <c:idx val="7"/>
              <c:layout>
                <c:manualLayout>
                  <c:x val="8.1166466549559644E-3"/>
                  <c:y val="1.388888888888888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60F1-4B64-A715-F40116800348}"/>
                </c:ext>
              </c:extLst>
            </c:dLbl>
            <c:dLbl>
              <c:idx val="8"/>
              <c:layout>
                <c:manualLayout>
                  <c:x val="5.1377594593155548E-3"/>
                  <c:y val="1.100430154564004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60F1-4B64-A715-F40116800348}"/>
                </c:ext>
              </c:extLst>
            </c:dLbl>
            <c:dLbl>
              <c:idx val="9"/>
              <c:layout>
                <c:manualLayout>
                  <c:x val="5.1377594593155548E-3"/>
                  <c:y val="7.514216972878390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60F1-4B64-A715-F40116800348}"/>
                </c:ext>
              </c:extLst>
            </c:dLbl>
            <c:dLbl>
              <c:idx val="10"/>
              <c:layout>
                <c:manualLayout>
                  <c:x val="4.1102779348665139E-3"/>
                  <c:y val="9.259259259259173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60F1-4B64-A715-F40116800348}"/>
                </c:ext>
              </c:extLst>
            </c:dLbl>
            <c:dLbl>
              <c:idx val="11"/>
              <c:layout>
                <c:manualLayout>
                  <c:x val="4.1102779348664046E-3"/>
                  <c:y val="1.100430154564012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60F1-4B64-A715-F40116800348}"/>
                </c:ext>
              </c:extLst>
            </c:dLbl>
            <c:dLbl>
              <c:idx val="12"/>
              <c:layout>
                <c:manualLayout>
                  <c:x val="5.1377594593156641E-3"/>
                  <c:y val="1.563393117526967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60F1-4B64-A715-F40116800348}"/>
                </c:ext>
              </c:extLst>
            </c:dLbl>
            <c:dLbl>
              <c:idx val="13"/>
              <c:layout>
                <c:manualLayout>
                  <c:x val="7.5510099248547475E-3"/>
                  <c:y val="6.374671916010413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60F1-4B64-A715-F401168003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Графики!$R$99:$AG$99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Графики!$R$108:$AG$108</c:f>
              <c:numCache>
                <c:formatCode>0</c:formatCode>
                <c:ptCount val="16"/>
                <c:pt idx="0">
                  <c:v>4.87</c:v>
                </c:pt>
                <c:pt idx="1">
                  <c:v>9.17</c:v>
                </c:pt>
                <c:pt idx="2">
                  <c:v>16.57</c:v>
                </c:pt>
                <c:pt idx="3">
                  <c:v>41.72</c:v>
                </c:pt>
                <c:pt idx="4">
                  <c:v>95.8</c:v>
                </c:pt>
                <c:pt idx="5">
                  <c:v>118.63</c:v>
                </c:pt>
                <c:pt idx="6">
                  <c:v>147.05000000000001</c:v>
                </c:pt>
                <c:pt idx="7">
                  <c:v>258.20999999999998</c:v>
                </c:pt>
                <c:pt idx="8">
                  <c:v>272.7</c:v>
                </c:pt>
                <c:pt idx="9">
                  <c:v>286.23</c:v>
                </c:pt>
                <c:pt idx="10">
                  <c:v>419.65</c:v>
                </c:pt>
                <c:pt idx="11">
                  <c:v>505.38</c:v>
                </c:pt>
                <c:pt idx="12">
                  <c:v>534.28</c:v>
                </c:pt>
                <c:pt idx="13">
                  <c:v>634.97</c:v>
                </c:pt>
                <c:pt idx="14">
                  <c:v>671.55150159472146</c:v>
                </c:pt>
                <c:pt idx="15">
                  <c:v>737.891501594721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60F1-4B64-A715-F40116800348}"/>
            </c:ext>
          </c:extLst>
        </c:ser>
        <c:ser>
          <c:idx val="4"/>
          <c:order val="4"/>
          <c:tx>
            <c:strRef>
              <c:f>Графики!$Q$110</c:f>
              <c:strCache>
                <c:ptCount val="1"/>
                <c:pt idx="0">
                  <c:v>QIC в проекты РК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60F1-4B64-A715-F4011680034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60F1-4B64-A715-F40116800348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60F1-4B64-A715-F40116800348}"/>
                </c:ext>
              </c:extLst>
            </c:dLbl>
            <c:dLbl>
              <c:idx val="3"/>
              <c:layout>
                <c:manualLayout>
                  <c:x val="2.0550803279215319E-3"/>
                  <c:y val="1.38888888888888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60F1-4B64-A715-F40116800348}"/>
                </c:ext>
              </c:extLst>
            </c:dLbl>
            <c:dLbl>
              <c:idx val="4"/>
              <c:layout>
                <c:manualLayout>
                  <c:x val="2.0550803279215319E-3"/>
                  <c:y val="1.563393117526967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60F1-4B64-A715-F40116800348}"/>
                </c:ext>
              </c:extLst>
            </c:dLbl>
            <c:dLbl>
              <c:idx val="5"/>
              <c:layout>
                <c:manualLayout>
                  <c:x val="3.0826791313940229E-3"/>
                  <c:y val="1.38888888888888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60F1-4B64-A715-F40116800348}"/>
                </c:ext>
              </c:extLst>
            </c:dLbl>
            <c:dLbl>
              <c:idx val="6"/>
              <c:layout>
                <c:manualLayout>
                  <c:x val="2.6208343370462545E-3"/>
                  <c:y val="1.27493438320209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60F1-4B64-A715-F40116800348}"/>
                </c:ext>
              </c:extLst>
            </c:dLbl>
            <c:dLbl>
              <c:idx val="7"/>
              <c:layout>
                <c:manualLayout>
                  <c:x val="5.1377594593155548E-3"/>
                  <c:y val="1.73789734616507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60F1-4B64-A715-F40116800348}"/>
                </c:ext>
              </c:extLst>
            </c:dLbl>
            <c:dLbl>
              <c:idx val="8"/>
              <c:layout>
                <c:manualLayout>
                  <c:x val="5.1377594593155548E-3"/>
                  <c:y val="1.3888888888888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60F1-4B64-A715-F40116800348}"/>
                </c:ext>
              </c:extLst>
            </c:dLbl>
            <c:dLbl>
              <c:idx val="9"/>
              <c:layout>
                <c:manualLayout>
                  <c:x val="6.6272030571357604E-3"/>
                  <c:y val="1.56339311752695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60F1-4B64-A715-F40116800348}"/>
                </c:ext>
              </c:extLst>
            </c:dLbl>
            <c:dLbl>
              <c:idx val="10"/>
              <c:layout>
                <c:manualLayout>
                  <c:x val="5.1377594593155548E-3"/>
                  <c:y val="1.388888888888880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60F1-4B64-A715-F40116800348}"/>
                </c:ext>
              </c:extLst>
            </c:dLbl>
            <c:dLbl>
              <c:idx val="11"/>
              <c:layout>
                <c:manualLayout>
                  <c:x val="5.1377594593155548E-3"/>
                  <c:y val="1.27493438320209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60F1-4B64-A715-F40116800348}"/>
                </c:ext>
              </c:extLst>
            </c:dLbl>
            <c:dLbl>
              <c:idx val="12"/>
              <c:layout>
                <c:manualLayout>
                  <c:x val="5.1377594593153362E-3"/>
                  <c:y val="1.56339311752697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60F1-4B64-A715-F40116800348}"/>
                </c:ext>
              </c:extLst>
            </c:dLbl>
            <c:dLbl>
              <c:idx val="13"/>
              <c:layout>
                <c:manualLayout>
                  <c:x val="6.1653582627880458E-3"/>
                  <c:y val="2.31481481481481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60F1-4B64-A715-F401168003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Графики!$R$99:$AG$99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Графики!$R$110:$AG$110</c:f>
              <c:numCache>
                <c:formatCode>0</c:formatCode>
                <c:ptCount val="16"/>
                <c:pt idx="0">
                  <c:v>1.42</c:v>
                </c:pt>
                <c:pt idx="1">
                  <c:v>1.42</c:v>
                </c:pt>
                <c:pt idx="2">
                  <c:v>1.42</c:v>
                </c:pt>
                <c:pt idx="3">
                  <c:v>18.260000000000002</c:v>
                </c:pt>
                <c:pt idx="4">
                  <c:v>58.14</c:v>
                </c:pt>
                <c:pt idx="5">
                  <c:v>60.85</c:v>
                </c:pt>
                <c:pt idx="6">
                  <c:v>75.75</c:v>
                </c:pt>
                <c:pt idx="7">
                  <c:v>176.38</c:v>
                </c:pt>
                <c:pt idx="8">
                  <c:v>190.87</c:v>
                </c:pt>
                <c:pt idx="9">
                  <c:v>204.4</c:v>
                </c:pt>
                <c:pt idx="10">
                  <c:v>337.82</c:v>
                </c:pt>
                <c:pt idx="11">
                  <c:v>423.55</c:v>
                </c:pt>
                <c:pt idx="12">
                  <c:v>452.45</c:v>
                </c:pt>
                <c:pt idx="13">
                  <c:v>526.23561529794927</c:v>
                </c:pt>
                <c:pt idx="14">
                  <c:v>550.1575131395216</c:v>
                </c:pt>
                <c:pt idx="15">
                  <c:v>615.40751313952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E-60F1-4B64-A715-F401168003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6610640"/>
        <c:axId val="146731552"/>
      </c:barChart>
      <c:lineChart>
        <c:grouping val="standard"/>
        <c:varyColors val="0"/>
        <c:ser>
          <c:idx val="5"/>
          <c:order val="5"/>
          <c:tx>
            <c:strRef>
              <c:f>Графики!$Q$118</c:f>
              <c:strCache>
                <c:ptCount val="1"/>
                <c:pt idx="0">
                  <c:v>Инвестиции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Графики!$R$99:$AG$99</c:f>
              <c:numCache>
                <c:formatCode>General</c:formatCode>
                <c:ptCount val="16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</c:numCache>
            </c:numRef>
          </c:cat>
          <c:val>
            <c:numRef>
              <c:f>Графики!$R$118:$AG$118</c:f>
              <c:numCache>
                <c:formatCode>0</c:formatCode>
                <c:ptCount val="16"/>
                <c:pt idx="0">
                  <c:v>49.400000000000091</c:v>
                </c:pt>
                <c:pt idx="1">
                  <c:v>94.400000000000091</c:v>
                </c:pt>
                <c:pt idx="2">
                  <c:v>199.99999999999977</c:v>
                </c:pt>
                <c:pt idx="3">
                  <c:v>443.59999999999991</c:v>
                </c:pt>
                <c:pt idx="4">
                  <c:v>851.49999999999977</c:v>
                </c:pt>
                <c:pt idx="5">
                  <c:v>1019.9999999999998</c:v>
                </c:pt>
                <c:pt idx="6">
                  <c:v>1122.5046236922037</c:v>
                </c:pt>
                <c:pt idx="7">
                  <c:v>1276.3499999999999</c:v>
                </c:pt>
                <c:pt idx="8">
                  <c:v>1323.13</c:v>
                </c:pt>
                <c:pt idx="9">
                  <c:v>1364.6100000000001</c:v>
                </c:pt>
                <c:pt idx="10">
                  <c:v>1517.2899999999997</c:v>
                </c:pt>
                <c:pt idx="11">
                  <c:v>1637.4800000000002</c:v>
                </c:pt>
                <c:pt idx="12">
                  <c:v>1680.0900000000001</c:v>
                </c:pt>
                <c:pt idx="13">
                  <c:v>1796.8100000000004</c:v>
                </c:pt>
                <c:pt idx="14">
                  <c:v>2411.4270233914885</c:v>
                </c:pt>
                <c:pt idx="15">
                  <c:v>2481.39402339148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F-60F1-4B64-A715-F401168003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6610640"/>
        <c:axId val="146731552"/>
      </c:lineChart>
      <c:lineChart>
        <c:grouping val="standard"/>
        <c:varyColors val="0"/>
        <c:ser>
          <c:idx val="0"/>
          <c:order val="0"/>
          <c:tx>
            <c:strRef>
              <c:f>Графики!$Q$100</c:f>
              <c:strCache>
                <c:ptCount val="1"/>
                <c:pt idx="0">
                  <c:v>Кол-во проектов**</c:v>
                </c:pt>
              </c:strCache>
            </c:strRef>
          </c:tx>
          <c:spPr>
            <a:ln w="28575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B19F8B"/>
              </a:solidFill>
              <a:ln w="9525">
                <a:solidFill>
                  <a:schemeClr val="accent5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0426105184741435E-2"/>
                  <c:y val="-3.703703703703703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0-60F1-4B64-A715-F40116800348}"/>
                </c:ext>
              </c:extLst>
            </c:dLbl>
            <c:dLbl>
              <c:idx val="1"/>
              <c:layout>
                <c:manualLayout>
                  <c:x val="0"/>
                  <c:y val="-3.703703703703703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1-60F1-4B64-A715-F40116800348}"/>
                </c:ext>
              </c:extLst>
            </c:dLbl>
            <c:dLbl>
              <c:idx val="2"/>
              <c:layout>
                <c:manualLayout>
                  <c:x val="-1.1915548782561668E-2"/>
                  <c:y val="-4.16666666666666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2-60F1-4B64-A715-F4011680034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3-60F1-4B64-A715-F40116800348}"/>
                </c:ext>
              </c:extLst>
            </c:dLbl>
            <c:dLbl>
              <c:idx val="4"/>
              <c:layout>
                <c:manualLayout>
                  <c:x val="0"/>
                  <c:y val="9.2592592592592587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4-60F1-4B64-A715-F40116800348}"/>
                </c:ext>
              </c:extLst>
            </c:dLbl>
            <c:dLbl>
              <c:idx val="5"/>
              <c:layout>
                <c:manualLayout>
                  <c:x val="-5.4612301034112393E-17"/>
                  <c:y val="1.38888888888888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5-60F1-4B64-A715-F40116800348}"/>
                </c:ext>
              </c:extLst>
            </c:dLbl>
            <c:dLbl>
              <c:idx val="6"/>
              <c:layout>
                <c:manualLayout>
                  <c:x val="0"/>
                  <c:y val="2.77777777777777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6-60F1-4B64-A715-F40116800348}"/>
                </c:ext>
              </c:extLst>
            </c:dLbl>
            <c:dLbl>
              <c:idx val="7"/>
              <c:layout>
                <c:manualLayout>
                  <c:x val="-1.4894435978202052E-3"/>
                  <c:y val="3.24074074074074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7-60F1-4B64-A715-F40116800348}"/>
                </c:ext>
              </c:extLst>
            </c:dLbl>
            <c:dLbl>
              <c:idx val="8"/>
              <c:layout>
                <c:manualLayout>
                  <c:x val="-2.9788871956405194E-3"/>
                  <c:y val="3.24074074074074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8-60F1-4B64-A715-F40116800348}"/>
                </c:ext>
              </c:extLst>
            </c:dLbl>
            <c:dLbl>
              <c:idx val="9"/>
              <c:layout>
                <c:manualLayout>
                  <c:x val="-1.4894435978202052E-3"/>
                  <c:y val="2.31481481481481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9-60F1-4B64-A715-F40116800348}"/>
                </c:ext>
              </c:extLst>
            </c:dLbl>
            <c:dLbl>
              <c:idx val="11"/>
              <c:layout>
                <c:manualLayout>
                  <c:x val="-1.0922460206822479E-16"/>
                  <c:y val="1.388888888888888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A-60F1-4B64-A715-F40116800348}"/>
                </c:ext>
              </c:extLst>
            </c:dLbl>
            <c:dLbl>
              <c:idx val="12"/>
              <c:layout>
                <c:manualLayout>
                  <c:x val="-4.4683307934606153E-3"/>
                  <c:y val="1.85185185185184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B-60F1-4B64-A715-F401168003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Графики!$C$77:$Q$77</c:f>
              <c:numCache>
                <c:formatCode>General</c:formatCode>
                <c:ptCount val="15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</c:numCache>
            </c:numRef>
          </c:cat>
          <c:val>
            <c:numRef>
              <c:f>Графики!$R$100:$AG$100</c:f>
              <c:numCache>
                <c:formatCode>General</c:formatCode>
                <c:ptCount val="16"/>
                <c:pt idx="0">
                  <c:v>5</c:v>
                </c:pt>
                <c:pt idx="1">
                  <c:v>6</c:v>
                </c:pt>
                <c:pt idx="2">
                  <c:v>7</c:v>
                </c:pt>
                <c:pt idx="3">
                  <c:v>19</c:v>
                </c:pt>
                <c:pt idx="4">
                  <c:v>30</c:v>
                </c:pt>
                <c:pt idx="5">
                  <c:v>38</c:v>
                </c:pt>
                <c:pt idx="6">
                  <c:v>42</c:v>
                </c:pt>
                <c:pt idx="7">
                  <c:v>52</c:v>
                </c:pt>
                <c:pt idx="8">
                  <c:v>54</c:v>
                </c:pt>
                <c:pt idx="9">
                  <c:v>57</c:v>
                </c:pt>
                <c:pt idx="10">
                  <c:v>61</c:v>
                </c:pt>
                <c:pt idx="11">
                  <c:v>75</c:v>
                </c:pt>
                <c:pt idx="12">
                  <c:v>81</c:v>
                </c:pt>
                <c:pt idx="13">
                  <c:v>99</c:v>
                </c:pt>
                <c:pt idx="14">
                  <c:v>105</c:v>
                </c:pt>
                <c:pt idx="15">
                  <c:v>1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3C-60F1-4B64-A715-F401168003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01542576"/>
        <c:axId val="602937696"/>
      </c:lineChart>
      <c:catAx>
        <c:axId val="5866106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6731552"/>
        <c:crossesAt val="0"/>
        <c:auto val="1"/>
        <c:lblAlgn val="ctr"/>
        <c:lblOffset val="100"/>
        <c:tickMarkSkip val="1"/>
        <c:noMultiLvlLbl val="0"/>
      </c:catAx>
      <c:valAx>
        <c:axId val="146731552"/>
        <c:scaling>
          <c:orientation val="minMax"/>
          <c:max val="2500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1800" dirty="0"/>
                  <a:t>Инвестиции </a:t>
                </a:r>
                <a:r>
                  <a:rPr lang="en-US" sz="1800" dirty="0"/>
                  <a:t>(</a:t>
                </a:r>
                <a:r>
                  <a:rPr lang="ru-RU" sz="1800" dirty="0"/>
                  <a:t>млн </a:t>
                </a:r>
                <a:r>
                  <a:rPr lang="en-US" sz="1800" dirty="0"/>
                  <a:t>USD)</a:t>
                </a:r>
                <a:endParaRPr lang="ru-RU" sz="1800" dirty="0"/>
              </a:p>
            </c:rich>
          </c:tx>
          <c:layout>
            <c:manualLayout>
              <c:xMode val="edge"/>
              <c:yMode val="edge"/>
              <c:x val="3.9982764674713726E-3"/>
              <c:y val="0.1948997521143190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86610640"/>
        <c:crosses val="autoZero"/>
        <c:crossBetween val="between"/>
      </c:valAx>
      <c:valAx>
        <c:axId val="602937696"/>
        <c:scaling>
          <c:orientation val="minMax"/>
          <c:max val="15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01542576"/>
        <c:crosses val="max"/>
        <c:crossBetween val="between"/>
      </c:valAx>
      <c:catAx>
        <c:axId val="1401542576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602937696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446836597716765E-2"/>
          <c:y val="0.91724482356372106"/>
          <c:w val="0.89807574100674614"/>
          <c:h val="3.961295331041366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327026903629303"/>
          <c:y val="8.2390733063220978E-2"/>
          <c:w val="0.58313131332397461"/>
          <c:h val="0.87469696998596191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203864"/>
              </a:solidFill>
              <a:ln>
                <a:noFill/>
              </a:ln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6="http://schemas.microsoft.com/office/drawing/2014/chart" uri="{C3380CC4-5D6E-409C-BE32-E72D297353CC}">
                <c16:uniqueId val="{00000002-1FC3-4EF5-A90F-0FDBA07478AF}"/>
              </c:ext>
            </c:extLst>
          </c:dPt>
          <c:dPt>
            <c:idx val="1"/>
            <c:bubble3D val="0"/>
            <c:spPr>
              <a:solidFill>
                <a:srgbClr val="005695"/>
              </a:solidFill>
              <a:ln>
                <a:noFill/>
              </a:ln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6="http://schemas.microsoft.com/office/drawing/2014/chart" uri="{C3380CC4-5D6E-409C-BE32-E72D297353CC}">
                <c16:uniqueId val="{00000003-1FC3-4EF5-A90F-0FDBA07478AF}"/>
              </c:ext>
            </c:extLst>
          </c:dPt>
          <c:dPt>
            <c:idx val="2"/>
            <c:bubble3D val="0"/>
            <c:spPr>
              <a:solidFill>
                <a:srgbClr val="C6DCF3"/>
              </a:solidFill>
              <a:ln>
                <a:noFill/>
              </a:ln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6="http://schemas.microsoft.com/office/drawing/2014/chart" uri="{C3380CC4-5D6E-409C-BE32-E72D297353CC}">
                <c16:uniqueId val="{00000004-1FC3-4EF5-A90F-0FDBA07478AF}"/>
              </c:ext>
            </c:extLst>
          </c:dPt>
          <c:dPt>
            <c:idx val="3"/>
            <c:bubble3D val="0"/>
            <c:spPr>
              <a:solidFill>
                <a:srgbClr val="5E4830"/>
              </a:solidFill>
              <a:ln>
                <a:noFill/>
              </a:ln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6="http://schemas.microsoft.com/office/drawing/2014/chart" uri="{C3380CC4-5D6E-409C-BE32-E72D297353CC}">
                <c16:uniqueId val="{00000005-1FC3-4EF5-A90F-0FDBA07478AF}"/>
              </c:ext>
            </c:extLst>
          </c:dPt>
          <c:dPt>
            <c:idx val="4"/>
            <c:bubble3D val="0"/>
            <c:spPr>
              <a:solidFill>
                <a:srgbClr val="7D6850"/>
              </a:solidFill>
              <a:ln>
                <a:noFill/>
              </a:ln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6="http://schemas.microsoft.com/office/drawing/2014/chart" uri="{C3380CC4-5D6E-409C-BE32-E72D297353CC}">
                <c16:uniqueId val="{00000006-1FC3-4EF5-A90F-0FDBA07478AF}"/>
              </c:ext>
            </c:extLst>
          </c:dPt>
          <c:dPt>
            <c:idx val="5"/>
            <c:bubble3D val="0"/>
            <c:spPr>
              <a:solidFill>
                <a:srgbClr val="AFABAB"/>
              </a:solidFill>
              <a:ln>
                <a:noFill/>
              </a:ln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6="http://schemas.microsoft.com/office/drawing/2014/chart" uri="{C3380CC4-5D6E-409C-BE32-E72D297353CC}">
                <c16:uniqueId val="{00000007-1FC3-4EF5-A90F-0FDBA07478A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 smtId="4294967295">
                    <a:solidFill>
                      <a:schemeClr val="lt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</c:spPr>
            </c:leaderLines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5="http://schemas.microsoft.com/office/drawing/2012/chart" uri="{CE6537A1-D6FC-4f65-9D91-7224C49458BB}"/>
            </c:extLst>
          </c:dLbls>
          <c:cat>
            <c:strRef>
              <c:f>Лист1!$A$2:$A$7</c:f>
              <c:strCache>
                <c:ptCount val="6"/>
                <c:pt idx="0">
                  <c:v>Транспорт и логистика</c:v>
                </c:pt>
                <c:pt idx="1">
                  <c:v>Агропромышленный комплекс</c:v>
                </c:pt>
                <c:pt idx="2">
                  <c:v>Обрабатывающая промышленность</c:v>
                </c:pt>
                <c:pt idx="3">
                  <c:v>Энергетическая промышленность</c:v>
                </c:pt>
                <c:pt idx="4">
                  <c:v>Медицинская промышленность</c:v>
                </c:pt>
                <c:pt idx="5">
                  <c:v>Другое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0.37</c:v>
                </c:pt>
                <c:pt idx="1">
                  <c:v>0.2</c:v>
                </c:pt>
                <c:pt idx="2">
                  <c:v>0.21</c:v>
                </c:pt>
                <c:pt idx="3">
                  <c:v>0.14000000000000001</c:v>
                </c:pt>
                <c:pt idx="4">
                  <c:v>0.04</c:v>
                </c:pt>
                <c:pt idx="5">
                  <c:v>0.04</c:v>
                </c:pt>
              </c:numCache>
            </c:numRef>
          </c:val>
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0-1FC3-4EF5-A90F-0FDBA07478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4777031841222197E-5"/>
          <c:y val="0.14208984375"/>
          <c:w val="0.43391895294189453"/>
          <c:h val="0.7560060024261474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 smtId="4294967295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ru-RU"/>
        </a:p>
      </c:txPr>
    </c:legend>
    <c:plotVisOnly val="1"/>
    <c:dispBlanksAs val="gap"/>
    <c:showDLblsOverMax val="0"/>
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253658592700958"/>
          <c:y val="8.4216773509979248E-2"/>
          <c:w val="0.5037992000579834"/>
          <c:h val="0.8129965662956237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203864"/>
              </a:solidFill>
              <a:ln>
                <a:noFill/>
              </a:ln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6="http://schemas.microsoft.com/office/drawing/2014/chart" uri="{C3380CC4-5D6E-409C-BE32-E72D297353CC}">
                <c16:uniqueId val="{00000002-E8F5-4BEF-AE17-ED40A6BAB1AD}"/>
              </c:ext>
            </c:extLst>
          </c:dPt>
          <c:dPt>
            <c:idx val="1"/>
            <c:bubble3D val="0"/>
            <c:spPr>
              <a:solidFill>
                <a:srgbClr val="2D8BBA"/>
              </a:solidFill>
              <a:ln>
                <a:noFill/>
              </a:ln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6="http://schemas.microsoft.com/office/drawing/2014/chart" uri="{C3380CC4-5D6E-409C-BE32-E72D297353CC}">
                <c16:uniqueId val="{00000003-E8F5-4BEF-AE17-ED40A6BAB1AD}"/>
              </c:ext>
            </c:extLst>
          </c:dPt>
          <c:dPt>
            <c:idx val="2"/>
            <c:bubble3D val="0"/>
            <c:spPr>
              <a:solidFill>
                <a:srgbClr val="C6DCF3"/>
              </a:solidFill>
              <a:ln>
                <a:noFill/>
              </a:ln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6="http://schemas.microsoft.com/office/drawing/2014/chart" uri="{C3380CC4-5D6E-409C-BE32-E72D297353CC}">
                <c16:uniqueId val="{00000004-E8F5-4BEF-AE17-ED40A6BAB1AD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268F6DC4-E3AB-4C81-84AA-E5D66EA174DB}" type="PERCENTAGE">
                      <a:rPr lang="en-US" sz="1400"/>
                      <a:pPr/>
                      <a:t>[ПРОЦЕНТ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E8F5-4BEF-AE17-ED40A6BAB1AD}"/>
                </c:ext>
              </c:extLst>
            </c:dLbl>
            <c:dLbl>
              <c:idx val="1"/>
              <c:layout>
                <c:manualLayout>
                  <c:x val="-0.17289762198925018"/>
                  <c:y val="-0.1014180257916450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600" b="1" i="0" u="none" strike="noStrike" kern="1200" baseline="0">
                        <a:solidFill>
                          <a:schemeClr val="lt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2EDA7732-7B37-4B85-B7E8-EF910D61A7BF}" type="VALUE">
                      <a:rPr lang="en-US" sz="1600" smtClean="0">
                        <a:solidFill>
                          <a:schemeClr val="tx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>
                        <a:defRPr sz="1600" b="1" i="0" u="none" strike="noStrike" kern="1200" baseline="0">
                          <a:solidFill>
                            <a:schemeClr val="lt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1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>
                    <c:manualLayout>
                      <c:w val="0.10304359"/>
                      <c:h val="6.3012554999999998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8F5-4BEF-AE17-ED40A6BAB1AD}"/>
                </c:ext>
              </c:extLst>
            </c:dLbl>
            <c:dLbl>
              <c:idx val="2"/>
              <c:layout>
                <c:manualLayout>
                  <c:x val="0.17640842497348785"/>
                  <c:y val="-0.1170464456081390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600" b="1" i="0" u="none" strike="noStrike" kern="1200" baseline="0">
                        <a:solidFill>
                          <a:schemeClr val="lt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6ED5901E-5919-4DED-99DF-DF65906C3313}" type="VALUE">
                      <a:rPr lang="en-US" sz="1600" smtClean="0">
                        <a:solidFill>
                          <a:schemeClr val="tx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>
                        <a:defRPr sz="1600" b="1" i="0" u="none" strike="noStrike" kern="1200" baseline="0">
                          <a:solidFill>
                            <a:schemeClr val="lt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1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>
                  <c15:layout>
                    <c:manualLayout>
                      <c:w val="0.12701593"/>
                      <c:h val="7.4457770000000006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E8F5-4BEF-AE17-ED40A6BAB1A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 smtId="4294967295">
                    <a:solidFill>
                      <a:schemeClr val="lt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</c:spPr>
            </c:leaderLines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Kazakhstan</c:v>
                </c:pt>
                <c:pt idx="1">
                  <c:v>Китай</c:v>
                </c:pt>
                <c:pt idx="2">
                  <c:v>Россия</c:v>
                </c:pt>
              </c:strCache>
            </c:strRef>
          </c:cat>
          <c:val>
            <c:numRef>
              <c:f>Лист1!$B$2:$B$4</c:f>
              <c:numCache>
                <c:formatCode>0.00%</c:formatCode>
                <c:ptCount val="3"/>
                <c:pt idx="0">
                  <c:v>0.96899999999999997</c:v>
                </c:pt>
                <c:pt idx="1">
                  <c:v>2.7E-2</c:v>
                </c:pt>
                <c:pt idx="2">
                  <c:v>4.0000000000000001E-3</c:v>
                </c:pt>
              </c:numCache>
            </c:numRef>
          </c:val>
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0-E8F5-4BEF-AE17-ED40A6BAB1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76206904649734497"/>
          <c:y val="0.32299324870109558"/>
          <c:w val="0.20653724670410156"/>
          <c:h val="0.2544551789760589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 smtId="4294967295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ru-RU"/>
        </a:p>
      </c:txPr>
    </c:legend>
    <c:plotVisOnly val="1"/>
    <c:dispBlanksAs val="gap"/>
    <c:showDLblsOverMax val="0"/>
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788EF4E-E9F2-4803-A0CA-CB4C4A47654B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38D8D6CF-CD38-47CC-9C8B-D770E8338A38}">
      <dgm:prSet phldrT="[Текст]" custT="1"/>
      <dgm:spPr>
        <a:solidFill>
          <a:schemeClr val="tx2">
            <a:lumMod val="20000"/>
            <a:lumOff val="80000"/>
            <a:alpha val="50000"/>
          </a:schemeClr>
        </a:solidFill>
      </dgm:spPr>
      <dgm:t>
        <a:bodyPr lIns="1080000" rIns="0"/>
        <a:lstStyle/>
        <a:p>
          <a:pPr algn="l"/>
          <a:endParaRPr lang="ru-RU" sz="1600" dirty="0" smtClean="0">
            <a:latin typeface="Arial Narrow" panose="020B0606020202030204" pitchFamily="34" charset="0"/>
          </a:endParaRPr>
        </a:p>
        <a:p>
          <a:pPr algn="l"/>
          <a:endParaRPr lang="ru-RU" sz="1600" dirty="0" smtClean="0">
            <a:latin typeface="Arial Narrow" panose="020B0606020202030204" pitchFamily="34" charset="0"/>
          </a:endParaRPr>
        </a:p>
        <a:p>
          <a:pPr algn="l"/>
          <a:endParaRPr lang="ru-RU" sz="1600" dirty="0" smtClean="0">
            <a:latin typeface="Arial Narrow" panose="020B0606020202030204" pitchFamily="34" charset="0"/>
          </a:endParaRPr>
        </a:p>
        <a:p>
          <a:pPr algn="l"/>
          <a:r>
            <a:rPr lang="ru-RU" sz="1600" dirty="0" smtClean="0">
              <a:solidFill>
                <a:schemeClr val="tx1"/>
              </a:solidFill>
              <a:latin typeface="Arial Narrow" panose="020B0606020202030204" pitchFamily="34" charset="0"/>
            </a:rPr>
            <a:t>Преференции </a:t>
          </a:r>
          <a:r>
            <a:rPr lang="ru-RU" sz="1600" dirty="0">
              <a:solidFill>
                <a:schemeClr val="tx1"/>
              </a:solidFill>
              <a:latin typeface="Arial Narrow" panose="020B0606020202030204" pitchFamily="34" charset="0"/>
            </a:rPr>
            <a:t>по </a:t>
          </a:r>
          <a:r>
            <a:rPr lang="ru-RU" sz="1600" dirty="0" smtClean="0">
              <a:solidFill>
                <a:schemeClr val="tx1"/>
              </a:solidFill>
              <a:latin typeface="Arial Narrow" panose="020B0606020202030204" pitchFamily="34" charset="0"/>
            </a:rPr>
            <a:t>налогам:</a:t>
          </a:r>
        </a:p>
        <a:p>
          <a:pPr algn="l"/>
          <a:r>
            <a:rPr lang="ru-RU" sz="1600" dirty="0" smtClean="0">
              <a:solidFill>
                <a:schemeClr val="tx1"/>
              </a:solidFill>
              <a:latin typeface="Arial Narrow" panose="020B0606020202030204" pitchFamily="34" charset="0"/>
            </a:rPr>
            <a:t>На создание нового производства: </a:t>
          </a:r>
          <a:endParaRPr lang="ru-RU" sz="1600" dirty="0">
            <a:solidFill>
              <a:schemeClr val="tx1"/>
            </a:solidFill>
            <a:latin typeface="Arial Narrow" panose="020B0606020202030204" pitchFamily="34" charset="0"/>
          </a:endParaRPr>
        </a:p>
        <a:p>
          <a:pPr algn="l"/>
          <a:r>
            <a:rPr lang="ru-RU" sz="1600" dirty="0">
              <a:solidFill>
                <a:schemeClr val="tx1"/>
              </a:solidFill>
              <a:latin typeface="Arial Narrow" panose="020B0606020202030204" pitchFamily="34" charset="0"/>
            </a:rPr>
            <a:t>КПН-10 лет;</a:t>
          </a:r>
        </a:p>
        <a:p>
          <a:pPr algn="l"/>
          <a:r>
            <a:rPr lang="ru-RU" sz="1600" dirty="0">
              <a:solidFill>
                <a:schemeClr val="tx1"/>
              </a:solidFill>
              <a:latin typeface="Arial Narrow" panose="020B0606020202030204" pitchFamily="34" charset="0"/>
            </a:rPr>
            <a:t>налог на имущество – 8 лет; </a:t>
          </a:r>
        </a:p>
        <a:p>
          <a:pPr algn="l"/>
          <a:r>
            <a:rPr lang="ru-RU" sz="1600" dirty="0">
              <a:solidFill>
                <a:schemeClr val="tx1"/>
              </a:solidFill>
              <a:latin typeface="Arial Narrow" panose="020B0606020202030204" pitchFamily="34" charset="0"/>
            </a:rPr>
            <a:t>земельный налог- 10 лет</a:t>
          </a:r>
          <a:r>
            <a:rPr lang="ru-RU" sz="1600" dirty="0" smtClean="0">
              <a:solidFill>
                <a:schemeClr val="tx1"/>
              </a:solidFill>
              <a:latin typeface="Arial Narrow" panose="020B0606020202030204" pitchFamily="34" charset="0"/>
            </a:rPr>
            <a:t>.</a:t>
          </a:r>
        </a:p>
        <a:p>
          <a:pPr algn="l"/>
          <a:r>
            <a:rPr lang="ru-RU" sz="1600" dirty="0" smtClean="0">
              <a:solidFill>
                <a:schemeClr val="tx1"/>
              </a:solidFill>
              <a:latin typeface="Arial Narrow" panose="020B0606020202030204" pitchFamily="34" charset="0"/>
            </a:rPr>
            <a:t>На расширение действующего произвдства6 </a:t>
          </a:r>
        </a:p>
        <a:p>
          <a:pPr algn="l"/>
          <a:r>
            <a:rPr lang="ru-RU" sz="1600" dirty="0" smtClean="0">
              <a:solidFill>
                <a:schemeClr val="tx1"/>
              </a:solidFill>
              <a:latin typeface="Arial Narrow" panose="020B0606020202030204" pitchFamily="34" charset="0"/>
            </a:rPr>
            <a:t>КПН-3 года</a:t>
          </a:r>
        </a:p>
        <a:p>
          <a:pPr algn="l"/>
          <a:endParaRPr lang="ru-RU" sz="1600" dirty="0"/>
        </a:p>
      </dgm:t>
    </dgm:pt>
    <dgm:pt modelId="{03971340-7059-44D6-B7AD-49559806967A}" type="parTrans" cxnId="{BC5B6B00-6275-4906-8CD2-1F1FA4045920}">
      <dgm:prSet/>
      <dgm:spPr/>
      <dgm:t>
        <a:bodyPr/>
        <a:lstStyle/>
        <a:p>
          <a:endParaRPr lang="ru-RU"/>
        </a:p>
      </dgm:t>
    </dgm:pt>
    <dgm:pt modelId="{3E976E0E-3504-41B0-8016-09F3632DFEA7}" type="sibTrans" cxnId="{BC5B6B00-6275-4906-8CD2-1F1FA4045920}">
      <dgm:prSet/>
      <dgm:spPr/>
      <dgm:t>
        <a:bodyPr/>
        <a:lstStyle/>
        <a:p>
          <a:endParaRPr lang="ru-RU"/>
        </a:p>
      </dgm:t>
    </dgm:pt>
    <dgm:pt modelId="{DC72A63A-97C0-40EB-BAF8-9D77912436A5}">
      <dgm:prSet phldrT="[Текст]" custT="1"/>
      <dgm:spPr>
        <a:solidFill>
          <a:schemeClr val="tx2">
            <a:lumMod val="20000"/>
            <a:lumOff val="80000"/>
          </a:schemeClr>
        </a:solidFill>
      </dgm:spPr>
      <dgm:t>
        <a:bodyPr lIns="0" rIns="972000"/>
        <a:lstStyle/>
        <a:p>
          <a:pPr marL="0" indent="0" algn="l">
            <a:tabLst/>
          </a:pPr>
          <a:r>
            <a:rPr lang="ru-RU" sz="1600" dirty="0">
              <a:latin typeface="Arial Narrow" panose="020B0606020202030204" pitchFamily="34" charset="0"/>
            </a:rPr>
            <a:t>Налог на добавленную стоимость при импорте сырья и материалов согласно приказу №140 от 27 февраля 2018 года – не более 5 лет</a:t>
          </a:r>
          <a:endParaRPr lang="ru-RU" sz="1600" dirty="0"/>
        </a:p>
      </dgm:t>
    </dgm:pt>
    <dgm:pt modelId="{D229D1EC-20E6-44BB-9C4A-A5C0AA1AABB8}" type="sibTrans" cxnId="{2690CD89-3F19-497E-8716-26A3969A6FF1}">
      <dgm:prSet/>
      <dgm:spPr/>
      <dgm:t>
        <a:bodyPr/>
        <a:lstStyle/>
        <a:p>
          <a:endParaRPr lang="ru-RU"/>
        </a:p>
      </dgm:t>
    </dgm:pt>
    <dgm:pt modelId="{0077B135-82FC-4099-99B8-E1380F2B6325}" type="parTrans" cxnId="{2690CD89-3F19-497E-8716-26A3969A6FF1}">
      <dgm:prSet/>
      <dgm:spPr/>
      <dgm:t>
        <a:bodyPr/>
        <a:lstStyle/>
        <a:p>
          <a:endParaRPr lang="ru-RU"/>
        </a:p>
      </dgm:t>
    </dgm:pt>
    <dgm:pt modelId="{AA5D8CCB-DE1D-4F79-876B-3BFDB7094B30}" type="pres">
      <dgm:prSet presAssocID="{2788EF4E-E9F2-4803-A0CA-CB4C4A47654B}" presName="compositeShape" presStyleCnt="0">
        <dgm:presLayoutVars>
          <dgm:chMax val="7"/>
          <dgm:dir/>
          <dgm:resizeHandles val="exact"/>
        </dgm:presLayoutVars>
      </dgm:prSet>
      <dgm:spPr/>
    </dgm:pt>
    <dgm:pt modelId="{D998CD05-E036-4A6B-B903-CD05B96FE096}" type="pres">
      <dgm:prSet presAssocID="{DC72A63A-97C0-40EB-BAF8-9D77912436A5}" presName="circ1" presStyleLbl="vennNode1" presStyleIdx="0" presStyleCnt="2" custAng="0" custLinFactNeighborX="15680"/>
      <dgm:spPr/>
      <dgm:t>
        <a:bodyPr/>
        <a:lstStyle/>
        <a:p>
          <a:endParaRPr lang="ru-RU"/>
        </a:p>
      </dgm:t>
    </dgm:pt>
    <dgm:pt modelId="{394DAC93-648C-43AA-ACA9-0C86FBADBB61}" type="pres">
      <dgm:prSet presAssocID="{DC72A63A-97C0-40EB-BAF8-9D77912436A5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3BF171-FFDF-492A-A53F-90E2D4CC1E8F}" type="pres">
      <dgm:prSet presAssocID="{38D8D6CF-CD38-47CC-9C8B-D770E8338A38}" presName="circ2" presStyleLbl="vennNode1" presStyleIdx="1" presStyleCnt="2"/>
      <dgm:spPr/>
      <dgm:t>
        <a:bodyPr/>
        <a:lstStyle/>
        <a:p>
          <a:endParaRPr lang="ru-RU"/>
        </a:p>
      </dgm:t>
    </dgm:pt>
    <dgm:pt modelId="{6F5233F1-8442-4464-A563-0091859F8F78}" type="pres">
      <dgm:prSet presAssocID="{38D8D6CF-CD38-47CC-9C8B-D770E8338A38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C5B6B00-6275-4906-8CD2-1F1FA4045920}" srcId="{2788EF4E-E9F2-4803-A0CA-CB4C4A47654B}" destId="{38D8D6CF-CD38-47CC-9C8B-D770E8338A38}" srcOrd="1" destOrd="0" parTransId="{03971340-7059-44D6-B7AD-49559806967A}" sibTransId="{3E976E0E-3504-41B0-8016-09F3632DFEA7}"/>
    <dgm:cxn modelId="{3AAEA456-32BC-4145-B2D7-523B998A23D3}" type="presOf" srcId="{DC72A63A-97C0-40EB-BAF8-9D77912436A5}" destId="{D998CD05-E036-4A6B-B903-CD05B96FE096}" srcOrd="0" destOrd="0" presId="urn:microsoft.com/office/officeart/2005/8/layout/venn1"/>
    <dgm:cxn modelId="{85A93B69-8AEF-4F7B-879F-FAE5E8088309}" type="presOf" srcId="{38D8D6CF-CD38-47CC-9C8B-D770E8338A38}" destId="{6F5233F1-8442-4464-A563-0091859F8F78}" srcOrd="1" destOrd="0" presId="urn:microsoft.com/office/officeart/2005/8/layout/venn1"/>
    <dgm:cxn modelId="{AD593433-B940-4166-90A0-753A4C44D605}" type="presOf" srcId="{2788EF4E-E9F2-4803-A0CA-CB4C4A47654B}" destId="{AA5D8CCB-DE1D-4F79-876B-3BFDB7094B30}" srcOrd="0" destOrd="0" presId="urn:microsoft.com/office/officeart/2005/8/layout/venn1"/>
    <dgm:cxn modelId="{2690CD89-3F19-497E-8716-26A3969A6FF1}" srcId="{2788EF4E-E9F2-4803-A0CA-CB4C4A47654B}" destId="{DC72A63A-97C0-40EB-BAF8-9D77912436A5}" srcOrd="0" destOrd="0" parTransId="{0077B135-82FC-4099-99B8-E1380F2B6325}" sibTransId="{D229D1EC-20E6-44BB-9C4A-A5C0AA1AABB8}"/>
    <dgm:cxn modelId="{AAF622DC-4C09-4CC7-B406-5282784FF8AE}" type="presOf" srcId="{DC72A63A-97C0-40EB-BAF8-9D77912436A5}" destId="{394DAC93-648C-43AA-ACA9-0C86FBADBB61}" srcOrd="1" destOrd="0" presId="urn:microsoft.com/office/officeart/2005/8/layout/venn1"/>
    <dgm:cxn modelId="{5F33F6F3-E7AF-4972-B614-98DFFE72BFE3}" type="presOf" srcId="{38D8D6CF-CD38-47CC-9C8B-D770E8338A38}" destId="{2D3BF171-FFDF-492A-A53F-90E2D4CC1E8F}" srcOrd="0" destOrd="0" presId="urn:microsoft.com/office/officeart/2005/8/layout/venn1"/>
    <dgm:cxn modelId="{450A6AE7-FB89-4383-A9CF-200B88C61EE8}" type="presParOf" srcId="{AA5D8CCB-DE1D-4F79-876B-3BFDB7094B30}" destId="{D998CD05-E036-4A6B-B903-CD05B96FE096}" srcOrd="0" destOrd="0" presId="urn:microsoft.com/office/officeart/2005/8/layout/venn1"/>
    <dgm:cxn modelId="{50D9DFC4-E7DD-433C-9846-65901FF6EA9B}" type="presParOf" srcId="{AA5D8CCB-DE1D-4F79-876B-3BFDB7094B30}" destId="{394DAC93-648C-43AA-ACA9-0C86FBADBB61}" srcOrd="1" destOrd="0" presId="urn:microsoft.com/office/officeart/2005/8/layout/venn1"/>
    <dgm:cxn modelId="{55AFEC26-49F5-43CC-8885-970CAA5F6578}" type="presParOf" srcId="{AA5D8CCB-DE1D-4F79-876B-3BFDB7094B30}" destId="{2D3BF171-FFDF-492A-A53F-90E2D4CC1E8F}" srcOrd="2" destOrd="0" presId="urn:microsoft.com/office/officeart/2005/8/layout/venn1"/>
    <dgm:cxn modelId="{49D60BC9-649C-42FF-8BC5-0D00BDA16C4C}" type="presParOf" srcId="{AA5D8CCB-DE1D-4F79-876B-3BFDB7094B30}" destId="{6F5233F1-8442-4464-A563-0091859F8F78}" srcOrd="3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98CD05-E036-4A6B-B903-CD05B96FE096}">
      <dsp:nvSpPr>
        <dsp:cNvPr id="0" name=""/>
        <dsp:cNvSpPr/>
      </dsp:nvSpPr>
      <dsp:spPr>
        <a:xfrm>
          <a:off x="1166415" y="396860"/>
          <a:ext cx="5910671" cy="5910671"/>
        </a:xfrm>
        <a:prstGeom prst="ellipse">
          <a:avLst/>
        </a:prstGeom>
        <a:solidFill>
          <a:schemeClr val="tx2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97200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tabLst/>
          </a:pPr>
          <a:r>
            <a:rPr lang="ru-RU" sz="1600" kern="1200" dirty="0">
              <a:latin typeface="Arial Narrow" panose="020B0606020202030204" pitchFamily="34" charset="0"/>
            </a:rPr>
            <a:t>Налог на добавленную стоимость при импорте сырья и материалов согласно приказу №140 от 27 февраля 2018 года – не более 5 лет</a:t>
          </a:r>
          <a:endParaRPr lang="ru-RU" sz="1600" kern="1200" dirty="0"/>
        </a:p>
      </dsp:txBody>
      <dsp:txXfrm>
        <a:off x="1991779" y="1093855"/>
        <a:ext cx="3407954" cy="4516681"/>
      </dsp:txXfrm>
    </dsp:sp>
    <dsp:sp modelId="{2D3BF171-FFDF-492A-A53F-90E2D4CC1E8F}">
      <dsp:nvSpPr>
        <dsp:cNvPr id="0" name=""/>
        <dsp:cNvSpPr/>
      </dsp:nvSpPr>
      <dsp:spPr>
        <a:xfrm>
          <a:off x="4499565" y="396860"/>
          <a:ext cx="5910671" cy="5910671"/>
        </a:xfrm>
        <a:prstGeom prst="ellipse">
          <a:avLst/>
        </a:prstGeom>
        <a:solidFill>
          <a:schemeClr val="tx2">
            <a:lumMod val="20000"/>
            <a:lumOff val="80000"/>
            <a:alpha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080000" tIns="0" rIns="0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kern="1200" dirty="0" smtClean="0">
            <a:latin typeface="Arial Narrow" panose="020B0606020202030204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kern="1200" dirty="0" smtClean="0">
            <a:latin typeface="Arial Narrow" panose="020B0606020202030204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kern="1200" dirty="0" smtClean="0">
            <a:latin typeface="Arial Narrow" panose="020B0606020202030204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solidFill>
                <a:schemeClr val="tx1"/>
              </a:solidFill>
              <a:latin typeface="Arial Narrow" panose="020B0606020202030204" pitchFamily="34" charset="0"/>
            </a:rPr>
            <a:t>Преференции </a:t>
          </a:r>
          <a:r>
            <a:rPr lang="ru-RU" sz="1600" kern="1200" dirty="0">
              <a:solidFill>
                <a:schemeClr val="tx1"/>
              </a:solidFill>
              <a:latin typeface="Arial Narrow" panose="020B0606020202030204" pitchFamily="34" charset="0"/>
            </a:rPr>
            <a:t>по </a:t>
          </a:r>
          <a:r>
            <a:rPr lang="ru-RU" sz="1600" kern="1200" dirty="0" smtClean="0">
              <a:solidFill>
                <a:schemeClr val="tx1"/>
              </a:solidFill>
              <a:latin typeface="Arial Narrow" panose="020B0606020202030204" pitchFamily="34" charset="0"/>
            </a:rPr>
            <a:t>налогам: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solidFill>
                <a:schemeClr val="tx1"/>
              </a:solidFill>
              <a:latin typeface="Arial Narrow" panose="020B0606020202030204" pitchFamily="34" charset="0"/>
            </a:rPr>
            <a:t>На создание нового производства: </a:t>
          </a:r>
          <a:endParaRPr lang="ru-RU" sz="1600" kern="1200" dirty="0">
            <a:solidFill>
              <a:schemeClr val="tx1"/>
            </a:solidFill>
            <a:latin typeface="Arial Narrow" panose="020B0606020202030204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>
              <a:solidFill>
                <a:schemeClr val="tx1"/>
              </a:solidFill>
              <a:latin typeface="Arial Narrow" panose="020B0606020202030204" pitchFamily="34" charset="0"/>
            </a:rPr>
            <a:t>КПН-10 лет;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>
              <a:solidFill>
                <a:schemeClr val="tx1"/>
              </a:solidFill>
              <a:latin typeface="Arial Narrow" panose="020B0606020202030204" pitchFamily="34" charset="0"/>
            </a:rPr>
            <a:t>налог на имущество – 8 лет; 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>
              <a:solidFill>
                <a:schemeClr val="tx1"/>
              </a:solidFill>
              <a:latin typeface="Arial Narrow" panose="020B0606020202030204" pitchFamily="34" charset="0"/>
            </a:rPr>
            <a:t>земельный налог- 10 лет</a:t>
          </a:r>
          <a:r>
            <a:rPr lang="ru-RU" sz="1600" kern="1200" dirty="0" smtClean="0">
              <a:solidFill>
                <a:schemeClr val="tx1"/>
              </a:solidFill>
              <a:latin typeface="Arial Narrow" panose="020B0606020202030204" pitchFamily="34" charset="0"/>
            </a:rPr>
            <a:t>.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solidFill>
                <a:schemeClr val="tx1"/>
              </a:solidFill>
              <a:latin typeface="Arial Narrow" panose="020B0606020202030204" pitchFamily="34" charset="0"/>
            </a:rPr>
            <a:t>На расширение действующего произвдства6 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solidFill>
                <a:schemeClr val="tx1"/>
              </a:solidFill>
              <a:latin typeface="Arial Narrow" panose="020B0606020202030204" pitchFamily="34" charset="0"/>
            </a:rPr>
            <a:t>КПН-3 года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kern="1200" dirty="0"/>
        </a:p>
      </dsp:txBody>
      <dsp:txXfrm>
        <a:off x="6176918" y="1093855"/>
        <a:ext cx="3407954" cy="451668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791" cy="498403"/>
          </a:xfrm>
          <a:prstGeom prst="rect">
            <a:avLst/>
          </a:prstGeom>
        </p:spPr>
        <p:txBody>
          <a:bodyPr vert="horz" lIns="92016" tIns="46008" rIns="92016" bIns="4600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224" y="0"/>
            <a:ext cx="2949791" cy="498403"/>
          </a:xfrm>
          <a:prstGeom prst="rect">
            <a:avLst/>
          </a:prstGeom>
        </p:spPr>
        <p:txBody>
          <a:bodyPr vert="horz" lIns="92016" tIns="46008" rIns="92016" bIns="46008" rtlCol="0"/>
          <a:lstStyle>
            <a:lvl1pPr algn="r">
              <a:defRPr sz="1200"/>
            </a:lvl1pPr>
          </a:lstStyle>
          <a:p>
            <a:fld id="{DE12818A-80E0-4A45-B5E0-961E3D987C8E}" type="datetimeFigureOut">
              <a:rPr lang="ru-RU" smtClean="0"/>
              <a:t>30.10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45697"/>
            <a:ext cx="2949791" cy="498403"/>
          </a:xfrm>
          <a:prstGeom prst="rect">
            <a:avLst/>
          </a:prstGeom>
        </p:spPr>
        <p:txBody>
          <a:bodyPr vert="horz" lIns="92016" tIns="46008" rIns="92016" bIns="4600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224" y="9445697"/>
            <a:ext cx="2949791" cy="498403"/>
          </a:xfrm>
          <a:prstGeom prst="rect">
            <a:avLst/>
          </a:prstGeom>
        </p:spPr>
        <p:txBody>
          <a:bodyPr vert="horz" lIns="92016" tIns="46008" rIns="92016" bIns="46008" rtlCol="0" anchor="b"/>
          <a:lstStyle>
            <a:lvl1pPr algn="r">
              <a:defRPr sz="1200"/>
            </a:lvl1pPr>
          </a:lstStyle>
          <a:p>
            <a:fld id="{D4BAAC85-789F-467E-932F-14466E2FF3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436651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791" cy="498403"/>
          </a:xfrm>
          <a:prstGeom prst="rect">
            <a:avLst/>
          </a:prstGeom>
        </p:spPr>
        <p:txBody>
          <a:bodyPr vert="horz" lIns="92016" tIns="46008" rIns="92016" bIns="4600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224" y="0"/>
            <a:ext cx="2949791" cy="498403"/>
          </a:xfrm>
          <a:prstGeom prst="rect">
            <a:avLst/>
          </a:prstGeom>
        </p:spPr>
        <p:txBody>
          <a:bodyPr vert="horz" lIns="92016" tIns="46008" rIns="92016" bIns="46008" rtlCol="0"/>
          <a:lstStyle>
            <a:lvl1pPr algn="r">
              <a:defRPr sz="1200"/>
            </a:lvl1pPr>
          </a:lstStyle>
          <a:p>
            <a:fld id="{1F2CC8CB-4588-44B3-9E06-2F56FDB6751C}" type="datetimeFigureOut">
              <a:rPr lang="ru-RU" smtClean="0"/>
              <a:t>30.10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016" tIns="46008" rIns="92016" bIns="4600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722" y="4785948"/>
            <a:ext cx="5444171" cy="3915340"/>
          </a:xfrm>
          <a:prstGeom prst="rect">
            <a:avLst/>
          </a:prstGeom>
        </p:spPr>
        <p:txBody>
          <a:bodyPr vert="horz" lIns="92016" tIns="46008" rIns="92016" bIns="46008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697"/>
            <a:ext cx="2949791" cy="498403"/>
          </a:xfrm>
          <a:prstGeom prst="rect">
            <a:avLst/>
          </a:prstGeom>
        </p:spPr>
        <p:txBody>
          <a:bodyPr vert="horz" lIns="92016" tIns="46008" rIns="92016" bIns="4600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224" y="9445697"/>
            <a:ext cx="2949791" cy="498403"/>
          </a:xfrm>
          <a:prstGeom prst="rect">
            <a:avLst/>
          </a:prstGeom>
        </p:spPr>
        <p:txBody>
          <a:bodyPr vert="horz" lIns="92016" tIns="46008" rIns="92016" bIns="46008" rtlCol="0" anchor="b"/>
          <a:lstStyle>
            <a:lvl1pPr algn="r">
              <a:defRPr sz="1200"/>
            </a:lvl1pPr>
          </a:lstStyle>
          <a:p>
            <a:fld id="{AAD0B758-10EB-447B-AF19-92F6946D13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840606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127616-85EB-4CAC-BC69-660397E0A5A1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99661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887663" y="850900"/>
            <a:ext cx="4089400" cy="23018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ru-RU" sz="1200" kern="1200" dirty="0">
              <a:solidFill>
                <a:schemeClr val="accent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1" kern="1200" dirty="0">
                <a:solidFill>
                  <a:schemeClr val="accent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Основанием для безвозмездной передачи </a:t>
            </a:r>
            <a:r>
              <a:rPr lang="ru-RU" sz="1200" kern="1200" dirty="0">
                <a:solidFill>
                  <a:schemeClr val="accent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предоставленного государственного натурного гранта в собственность или землепользование является решение уполномоченного органа по инвестициям, которое принимается по истечении срока действия инвестиционного контракта, в случае выполнения инвестором инвестиционных обязательств в соответствии с инвестиционным контрактом, заключенным между инвестором и уполномоченным органом по инвестициям. </a:t>
            </a:r>
            <a:r>
              <a:rPr lang="ru-RU" sz="700" kern="1200" dirty="0">
                <a:solidFill>
                  <a:schemeClr val="accent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(статья 288 ПК</a:t>
            </a:r>
            <a:r>
              <a:rPr lang="ru-RU" sz="700" kern="1200" baseline="0" dirty="0">
                <a:solidFill>
                  <a:schemeClr val="accent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 РК)</a:t>
            </a:r>
            <a:endParaRPr lang="ru-RU" sz="1200" kern="1200" dirty="0">
              <a:solidFill>
                <a:schemeClr val="accent1">
                  <a:lumMod val="50000"/>
                </a:schemeClr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098D0F-921B-4229-B943-CE6373AE259A}" type="slidenum">
              <a:rPr lang="ru-RU" smtClean="0"/>
              <a:pPr/>
              <a:t>7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37443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95288" y="1243013"/>
            <a:ext cx="5967412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81E143-37EB-4AFD-B195-AD9A29E82F79}" type="slidenum">
              <a:rPr lang="ru-RU" smtClean="0"/>
              <a:t>7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04537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127616-85EB-4CAC-BC69-660397E0A5A1}" type="slidenum">
              <a:rPr lang="ru-RU" smtClean="0"/>
              <a:t>7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22771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127616-85EB-4CAC-BC69-660397E0A5A1}" type="slidenum">
              <a:rPr lang="ru-RU" smtClean="0"/>
              <a:t>8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12457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15925" y="1241425"/>
            <a:ext cx="5959475" cy="33528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6246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56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556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556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556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556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56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56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56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56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EEC0A8AF-5CA8-4D7E-9F58-75F695150A13}" type="slidenum">
              <a:rPr lang="ru-RU" altLang="ru-RU" smtClean="0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81</a:t>
            </a:fld>
            <a:endParaRPr lang="ru-RU" altLang="ru-RU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684164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15925" y="1241425"/>
            <a:ext cx="5959475" cy="33528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6451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56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556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556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556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556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56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56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56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56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C064DDC0-DBA1-4A95-84F6-B23AD0A69E76}" type="slidenum">
              <a:rPr lang="ru-RU" altLang="ru-RU" smtClean="0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82</a:t>
            </a:fld>
            <a:endParaRPr lang="ru-RU" altLang="ru-RU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90312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15925" y="1241425"/>
            <a:ext cx="5959475" cy="33528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656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6656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56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556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556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556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556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56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56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56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56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4F0D30B2-85F5-499C-B7EE-E245D272F233}" type="slidenum">
              <a:rPr lang="ru-RU" altLang="ru-RU" smtClean="0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83</a:t>
            </a:fld>
            <a:endParaRPr lang="ru-RU" altLang="ru-RU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26160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15925" y="1241425"/>
            <a:ext cx="5959475" cy="33528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861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6861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56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556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556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556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5561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56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56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56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56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BA5B3DB2-35A7-4267-A7BD-6F1C5EB87E07}" type="slidenum">
              <a:rPr lang="ru-RU" altLang="ru-RU" smtClean="0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84</a:t>
            </a:fld>
            <a:endParaRPr lang="ru-RU" altLang="ru-RU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15055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127616-85EB-4CAC-BC69-660397E0A5A1}" type="slidenum">
              <a:rPr lang="ru-RU" smtClean="0"/>
              <a:t>8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414672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127616-85EB-4CAC-BC69-660397E0A5A1}" type="slidenum">
              <a:rPr lang="ru-RU" smtClean="0"/>
              <a:t>8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44019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D0B758-10EB-447B-AF19-92F6946D13F1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186712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127616-85EB-4CAC-BC69-660397E0A5A1}" type="slidenum">
              <a:rPr lang="ru-RU" smtClean="0"/>
              <a:t>9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508916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127616-85EB-4CAC-BC69-660397E0A5A1}" type="slidenum">
              <a:rPr lang="ru-RU" smtClean="0"/>
              <a:t>10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540155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127616-85EB-4CAC-BC69-660397E0A5A1}" type="slidenum">
              <a:rPr lang="ru-RU" smtClean="0"/>
              <a:t>10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480003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127616-85EB-4CAC-BC69-660397E0A5A1}" type="slidenum">
              <a:rPr lang="ru-RU" smtClean="0"/>
              <a:t>1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097793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127616-85EB-4CAC-BC69-660397E0A5A1}" type="slidenum">
              <a:rPr lang="ru-RU" smtClean="0"/>
              <a:t>1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611910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78607E0-02BB-46FF-8705-29983DB07A52}" type="slidenum">
              <a:rPr lang="ru-KZ" smtClean="0"/>
              <a:t>128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3342551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127616-85EB-4CAC-BC69-660397E0A5A1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56862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127616-85EB-4CAC-BC69-660397E0A5A1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70294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84FF79-2F07-4E9F-8B84-1A18C62B99BB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4171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127616-85EB-4CAC-BC69-660397E0A5A1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02939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127616-85EB-4CAC-BC69-660397E0A5A1}" type="slidenum">
              <a:rPr lang="ru-RU" smtClean="0"/>
              <a:t>5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35501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098D0F-921B-4229-B943-CE6373AE259A}" type="slidenum">
              <a:rPr lang="ru-RU" smtClean="0">
                <a:solidFill>
                  <a:prstClr val="black"/>
                </a:solidFill>
              </a:rPr>
              <a:pPr/>
              <a:t>5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0222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95288" y="1243013"/>
            <a:ext cx="5967412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81E143-37EB-4AFD-B195-AD9A29E82F79}" type="slidenum">
              <a:rPr lang="ru-RU" smtClean="0"/>
              <a:t>6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76015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38439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80790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834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ffe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7"/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7796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 advTm="3000">
        <p14:reveal/>
      </p:transition>
    </mc:Choice>
    <mc:Fallback xmlns="">
      <p:transition spd="slow" advClick="0" advTm="3000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643" b="0" i="0">
                <a:solidFill>
                  <a:srgbClr val="5F5F6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79" b="0" i="0">
                <a:solidFill>
                  <a:srgbClr val="888888"/>
                </a:solidFill>
                <a:latin typeface="Calibri"/>
                <a:cs typeface="Calibri"/>
              </a:defRPr>
            </a:lvl1pPr>
          </a:lstStyle>
          <a:p>
            <a:pPr marL="27215">
              <a:lnSpc>
                <a:spcPts val="1206"/>
              </a:lnSpc>
            </a:pPr>
            <a:fld id="{81D60167-4931-47E6-BA6A-407CBD079E47}" type="slidenum">
              <a:rPr lang="ru-RU" spc="11" smtClean="0"/>
              <a:pPr marL="27215">
                <a:lnSpc>
                  <a:spcPts val="1206"/>
                </a:lnSpc>
              </a:pPr>
              <a:t>‹#›</a:t>
            </a:fld>
            <a:endParaRPr lang="ru-RU" spc="11" dirty="0"/>
          </a:p>
        </p:txBody>
      </p:sp>
    </p:spTree>
    <p:extLst>
      <p:ext uri="{BB962C8B-B14F-4D97-AF65-F5344CB8AC3E}">
        <p14:creationId xmlns:p14="http://schemas.microsoft.com/office/powerpoint/2010/main" val="16863460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30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879533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7998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36143" y="381001"/>
            <a:ext cx="12055855" cy="2260091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948688" y="1705355"/>
            <a:ext cx="6089904" cy="1219200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800" b="0" i="0">
                <a:solidFill>
                  <a:schemeClr val="bg1"/>
                </a:solidFill>
                <a:latin typeface="FreesiaUPC"/>
                <a:cs typeface="FreesiaUP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30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843599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90204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11771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06929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4838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23244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0636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08749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26537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6208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F4E7A9-8675-4A7A-BAF6-76B5936170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049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  <p:sldLayoutId id="2147483663" r:id="rId14"/>
    <p:sldLayoutId id="2147483664" r:id="rId15"/>
    <p:sldLayoutId id="2147483665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15.png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15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3.png"/><Relationship Id="rId13" Type="http://schemas.openxmlformats.org/officeDocument/2006/relationships/image" Target="../media/image168.png"/><Relationship Id="rId18" Type="http://schemas.openxmlformats.org/officeDocument/2006/relationships/image" Target="../media/image173.png"/><Relationship Id="rId3" Type="http://schemas.openxmlformats.org/officeDocument/2006/relationships/image" Target="../media/image158.png"/><Relationship Id="rId7" Type="http://schemas.openxmlformats.org/officeDocument/2006/relationships/image" Target="../media/image162.png"/><Relationship Id="rId12" Type="http://schemas.openxmlformats.org/officeDocument/2006/relationships/image" Target="../media/image167.png"/><Relationship Id="rId17" Type="http://schemas.openxmlformats.org/officeDocument/2006/relationships/image" Target="../media/image172.png"/><Relationship Id="rId2" Type="http://schemas.openxmlformats.org/officeDocument/2006/relationships/image" Target="../media/image157.jpg"/><Relationship Id="rId16" Type="http://schemas.openxmlformats.org/officeDocument/2006/relationships/image" Target="../media/image171.png"/><Relationship Id="rId20" Type="http://schemas.openxmlformats.org/officeDocument/2006/relationships/image" Target="../media/image17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1.png"/><Relationship Id="rId11" Type="http://schemas.openxmlformats.org/officeDocument/2006/relationships/image" Target="../media/image166.png"/><Relationship Id="rId5" Type="http://schemas.openxmlformats.org/officeDocument/2006/relationships/image" Target="../media/image160.png"/><Relationship Id="rId15" Type="http://schemas.openxmlformats.org/officeDocument/2006/relationships/image" Target="../media/image170.png"/><Relationship Id="rId10" Type="http://schemas.openxmlformats.org/officeDocument/2006/relationships/image" Target="../media/image165.png"/><Relationship Id="rId19" Type="http://schemas.openxmlformats.org/officeDocument/2006/relationships/image" Target="../media/image174.png"/><Relationship Id="rId4" Type="http://schemas.openxmlformats.org/officeDocument/2006/relationships/image" Target="../media/image159.png"/><Relationship Id="rId9" Type="http://schemas.openxmlformats.org/officeDocument/2006/relationships/image" Target="../media/image164.png"/><Relationship Id="rId14" Type="http://schemas.openxmlformats.org/officeDocument/2006/relationships/image" Target="../media/image169.png"/></Relationships>
</file>

<file path=ppt/slides/_rels/slide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2.png"/><Relationship Id="rId3" Type="http://schemas.openxmlformats.org/officeDocument/2006/relationships/image" Target="../media/image177.jpg"/><Relationship Id="rId7" Type="http://schemas.openxmlformats.org/officeDocument/2006/relationships/image" Target="../media/image181.png"/><Relationship Id="rId12" Type="http://schemas.openxmlformats.org/officeDocument/2006/relationships/image" Target="../media/image186.png"/><Relationship Id="rId2" Type="http://schemas.openxmlformats.org/officeDocument/2006/relationships/image" Target="../media/image176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0.jpg"/><Relationship Id="rId11" Type="http://schemas.openxmlformats.org/officeDocument/2006/relationships/image" Target="../media/image185.png"/><Relationship Id="rId5" Type="http://schemas.openxmlformats.org/officeDocument/2006/relationships/image" Target="../media/image179.jpg"/><Relationship Id="rId10" Type="http://schemas.openxmlformats.org/officeDocument/2006/relationships/image" Target="../media/image184.png"/><Relationship Id="rId4" Type="http://schemas.openxmlformats.org/officeDocument/2006/relationships/image" Target="../media/image178.png"/><Relationship Id="rId9" Type="http://schemas.openxmlformats.org/officeDocument/2006/relationships/image" Target="../media/image183.png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8.png"/><Relationship Id="rId2" Type="http://schemas.openxmlformats.org/officeDocument/2006/relationships/image" Target="../media/image187.png"/><Relationship Id="rId1" Type="http://schemas.openxmlformats.org/officeDocument/2006/relationships/slideLayout" Target="../slideLayouts/slideLayout2.xml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hyperlink" Target="http://laws.aifc.kz/tax-administration" TargetMode="External"/><Relationship Id="rId2" Type="http://schemas.openxmlformats.org/officeDocument/2006/relationships/image" Target="../media/image187.png"/><Relationship Id="rId1" Type="http://schemas.openxmlformats.org/officeDocument/2006/relationships/slideLayout" Target="../slideLayouts/slideLayout2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18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sk-pharmacy.kz/" TargetMode="Externa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0.png"/><Relationship Id="rId3" Type="http://schemas.openxmlformats.org/officeDocument/2006/relationships/image" Target="../media/image4.jpg"/><Relationship Id="rId7" Type="http://schemas.openxmlformats.org/officeDocument/2006/relationships/image" Target="../media/image18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2.png"/><Relationship Id="rId2" Type="http://schemas.openxmlformats.org/officeDocument/2006/relationships/image" Target="../media/image191.png"/><Relationship Id="rId1" Type="http://schemas.openxmlformats.org/officeDocument/2006/relationships/slideLayout" Target="../slideLayouts/slideLayout2.xml"/></Relationships>
</file>

<file path=ppt/slides/_rels/slide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8.png"/><Relationship Id="rId3" Type="http://schemas.openxmlformats.org/officeDocument/2006/relationships/image" Target="../media/image194.png"/><Relationship Id="rId7" Type="http://schemas.openxmlformats.org/officeDocument/2006/relationships/image" Target="../media/image197.png"/><Relationship Id="rId2" Type="http://schemas.openxmlformats.org/officeDocument/2006/relationships/image" Target="../media/image19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6.png"/><Relationship Id="rId5" Type="http://schemas.openxmlformats.org/officeDocument/2006/relationships/image" Target="../media/image195.png"/><Relationship Id="rId10" Type="http://schemas.openxmlformats.org/officeDocument/2006/relationships/image" Target="../media/image200.emf"/><Relationship Id="rId4" Type="http://schemas.openxmlformats.org/officeDocument/2006/relationships/image" Target="../media/image191.png"/><Relationship Id="rId9" Type="http://schemas.openxmlformats.org/officeDocument/2006/relationships/image" Target="../media/image199.emf"/></Relationships>
</file>

<file path=ppt/slides/_rels/slide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6.png"/><Relationship Id="rId13" Type="http://schemas.openxmlformats.org/officeDocument/2006/relationships/image" Target="../media/image211.png"/><Relationship Id="rId3" Type="http://schemas.openxmlformats.org/officeDocument/2006/relationships/image" Target="../media/image202.emf"/><Relationship Id="rId7" Type="http://schemas.openxmlformats.org/officeDocument/2006/relationships/image" Target="../media/image191.png"/><Relationship Id="rId12" Type="http://schemas.openxmlformats.org/officeDocument/2006/relationships/image" Target="../media/image210.png"/><Relationship Id="rId2" Type="http://schemas.openxmlformats.org/officeDocument/2006/relationships/image" Target="../media/image201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5.emf"/><Relationship Id="rId11" Type="http://schemas.openxmlformats.org/officeDocument/2006/relationships/image" Target="../media/image209.png"/><Relationship Id="rId5" Type="http://schemas.openxmlformats.org/officeDocument/2006/relationships/image" Target="../media/image204.emf"/><Relationship Id="rId15" Type="http://schemas.openxmlformats.org/officeDocument/2006/relationships/image" Target="../media/image213.emf"/><Relationship Id="rId10" Type="http://schemas.openxmlformats.org/officeDocument/2006/relationships/image" Target="../media/image208.png"/><Relationship Id="rId4" Type="http://schemas.openxmlformats.org/officeDocument/2006/relationships/image" Target="../media/image203.emf"/><Relationship Id="rId9" Type="http://schemas.openxmlformats.org/officeDocument/2006/relationships/image" Target="../media/image207.png"/><Relationship Id="rId14" Type="http://schemas.openxmlformats.org/officeDocument/2006/relationships/image" Target="../media/image212.png"/></Relationships>
</file>

<file path=ppt/slides/_rels/slide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0.png"/><Relationship Id="rId13" Type="http://schemas.openxmlformats.org/officeDocument/2006/relationships/image" Target="../media/image224.emf"/><Relationship Id="rId3" Type="http://schemas.openxmlformats.org/officeDocument/2006/relationships/image" Target="../media/image215.emf"/><Relationship Id="rId7" Type="http://schemas.openxmlformats.org/officeDocument/2006/relationships/image" Target="../media/image219.png"/><Relationship Id="rId12" Type="http://schemas.openxmlformats.org/officeDocument/2006/relationships/image" Target="../media/image223.emf"/><Relationship Id="rId2" Type="http://schemas.openxmlformats.org/officeDocument/2006/relationships/image" Target="../media/image214.emf"/><Relationship Id="rId16" Type="http://schemas.openxmlformats.org/officeDocument/2006/relationships/image" Target="../media/image2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8.emf"/><Relationship Id="rId11" Type="http://schemas.openxmlformats.org/officeDocument/2006/relationships/image" Target="../media/image222.png"/><Relationship Id="rId5" Type="http://schemas.openxmlformats.org/officeDocument/2006/relationships/image" Target="../media/image217.emf"/><Relationship Id="rId15" Type="http://schemas.openxmlformats.org/officeDocument/2006/relationships/image" Target="../media/image226.emf"/><Relationship Id="rId10" Type="http://schemas.openxmlformats.org/officeDocument/2006/relationships/image" Target="../media/image221.png"/><Relationship Id="rId4" Type="http://schemas.openxmlformats.org/officeDocument/2006/relationships/image" Target="../media/image216.emf"/><Relationship Id="rId9" Type="http://schemas.openxmlformats.org/officeDocument/2006/relationships/image" Target="../media/image191.png"/><Relationship Id="rId14" Type="http://schemas.openxmlformats.org/officeDocument/2006/relationships/image" Target="../media/image225.emf"/></Relationships>
</file>

<file path=ppt/slides/_rels/slide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2.emf"/><Relationship Id="rId13" Type="http://schemas.openxmlformats.org/officeDocument/2006/relationships/image" Target="../media/image227.png"/><Relationship Id="rId3" Type="http://schemas.openxmlformats.org/officeDocument/2006/relationships/image" Target="../media/image229.png"/><Relationship Id="rId7" Type="http://schemas.openxmlformats.org/officeDocument/2006/relationships/image" Target="../media/image231.emf"/><Relationship Id="rId12" Type="http://schemas.openxmlformats.org/officeDocument/2006/relationships/image" Target="../media/image236.emf"/><Relationship Id="rId2" Type="http://schemas.openxmlformats.org/officeDocument/2006/relationships/image" Target="../media/image228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0.emf"/><Relationship Id="rId11" Type="http://schemas.openxmlformats.org/officeDocument/2006/relationships/image" Target="../media/image235.emf"/><Relationship Id="rId5" Type="http://schemas.openxmlformats.org/officeDocument/2006/relationships/image" Target="../media/image191.png"/><Relationship Id="rId10" Type="http://schemas.openxmlformats.org/officeDocument/2006/relationships/image" Target="../media/image234.emf"/><Relationship Id="rId4" Type="http://schemas.openxmlformats.org/officeDocument/2006/relationships/image" Target="../media/image220.png"/><Relationship Id="rId9" Type="http://schemas.openxmlformats.org/officeDocument/2006/relationships/image" Target="../media/image233.emf"/></Relationships>
</file>

<file path=ppt/slides/_rels/slide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1.png"/><Relationship Id="rId13" Type="http://schemas.openxmlformats.org/officeDocument/2006/relationships/image" Target="../media/image227.png"/><Relationship Id="rId3" Type="http://schemas.openxmlformats.org/officeDocument/2006/relationships/image" Target="../media/image238.png"/><Relationship Id="rId7" Type="http://schemas.openxmlformats.org/officeDocument/2006/relationships/image" Target="../media/image191.png"/><Relationship Id="rId12" Type="http://schemas.openxmlformats.org/officeDocument/2006/relationships/image" Target="../media/image240.emf"/><Relationship Id="rId2" Type="http://schemas.openxmlformats.org/officeDocument/2006/relationships/image" Target="../media/image237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0.png"/><Relationship Id="rId11" Type="http://schemas.openxmlformats.org/officeDocument/2006/relationships/image" Target="../media/image239.png"/><Relationship Id="rId5" Type="http://schemas.openxmlformats.org/officeDocument/2006/relationships/image" Target="../media/image218.emf"/><Relationship Id="rId10" Type="http://schemas.openxmlformats.org/officeDocument/2006/relationships/image" Target="../media/image226.emf"/><Relationship Id="rId4" Type="http://schemas.openxmlformats.org/officeDocument/2006/relationships/image" Target="../media/image217.emf"/><Relationship Id="rId9" Type="http://schemas.openxmlformats.org/officeDocument/2006/relationships/image" Target="../media/image222.png"/><Relationship Id="rId14" Type="http://schemas.openxmlformats.org/officeDocument/2006/relationships/image" Target="../media/image223.emf"/></Relationships>
</file>

<file path=ppt/slides/_rels/slide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8.emf"/><Relationship Id="rId13" Type="http://schemas.openxmlformats.org/officeDocument/2006/relationships/image" Target="../media/image247.emf"/><Relationship Id="rId3" Type="http://schemas.openxmlformats.org/officeDocument/2006/relationships/image" Target="../media/image242.emf"/><Relationship Id="rId7" Type="http://schemas.openxmlformats.org/officeDocument/2006/relationships/image" Target="../media/image244.emf"/><Relationship Id="rId12" Type="http://schemas.openxmlformats.org/officeDocument/2006/relationships/image" Target="../media/image246.emf"/><Relationship Id="rId17" Type="http://schemas.openxmlformats.org/officeDocument/2006/relationships/image" Target="../media/image251.png"/><Relationship Id="rId2" Type="http://schemas.openxmlformats.org/officeDocument/2006/relationships/image" Target="../media/image241.emf"/><Relationship Id="rId16" Type="http://schemas.openxmlformats.org/officeDocument/2006/relationships/image" Target="../media/image250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1.png"/><Relationship Id="rId11" Type="http://schemas.openxmlformats.org/officeDocument/2006/relationships/image" Target="../media/image245.emf"/><Relationship Id="rId5" Type="http://schemas.openxmlformats.org/officeDocument/2006/relationships/image" Target="../media/image220.png"/><Relationship Id="rId15" Type="http://schemas.openxmlformats.org/officeDocument/2006/relationships/image" Target="../media/image249.emf"/><Relationship Id="rId10" Type="http://schemas.openxmlformats.org/officeDocument/2006/relationships/image" Target="../media/image221.png"/><Relationship Id="rId4" Type="http://schemas.openxmlformats.org/officeDocument/2006/relationships/image" Target="../media/image243.png"/><Relationship Id="rId9" Type="http://schemas.openxmlformats.org/officeDocument/2006/relationships/image" Target="../media/image223.emf"/><Relationship Id="rId14" Type="http://schemas.openxmlformats.org/officeDocument/2006/relationships/image" Target="../media/image248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sk-pharmacy.kz/" TargetMode="External"/><Relationship Id="rId2" Type="http://schemas.openxmlformats.org/officeDocument/2006/relationships/hyperlink" Target="https://www.ndda.kz/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hyperlink" Target="https://atameken.kz/" TargetMode="External"/></Relationships>
</file>

<file path=ppt/slides/_rels/slide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1.png"/><Relationship Id="rId3" Type="http://schemas.openxmlformats.org/officeDocument/2006/relationships/image" Target="../media/image253.png"/><Relationship Id="rId7" Type="http://schemas.openxmlformats.org/officeDocument/2006/relationships/image" Target="../media/image256.png"/><Relationship Id="rId2" Type="http://schemas.openxmlformats.org/officeDocument/2006/relationships/image" Target="../media/image25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1.png"/><Relationship Id="rId5" Type="http://schemas.openxmlformats.org/officeDocument/2006/relationships/image" Target="../media/image255.emf"/><Relationship Id="rId4" Type="http://schemas.openxmlformats.org/officeDocument/2006/relationships/image" Target="../media/image254.png"/></Relationships>
</file>

<file path=ppt/slides/_rels/slide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7.png"/><Relationship Id="rId3" Type="http://schemas.openxmlformats.org/officeDocument/2006/relationships/image" Target="../media/image253.png"/><Relationship Id="rId7" Type="http://schemas.openxmlformats.org/officeDocument/2006/relationships/image" Target="../media/image258.emf"/><Relationship Id="rId2" Type="http://schemas.openxmlformats.org/officeDocument/2006/relationships/image" Target="../media/image25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6.png"/><Relationship Id="rId5" Type="http://schemas.openxmlformats.org/officeDocument/2006/relationships/image" Target="../media/image191.png"/><Relationship Id="rId4" Type="http://schemas.openxmlformats.org/officeDocument/2006/relationships/image" Target="../media/image254.png"/></Relationships>
</file>

<file path=ppt/slides/_rels/slide1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4.emf"/><Relationship Id="rId3" Type="http://schemas.openxmlformats.org/officeDocument/2006/relationships/image" Target="../media/image191.png"/><Relationship Id="rId7" Type="http://schemas.openxmlformats.org/officeDocument/2006/relationships/image" Target="../media/image263.emf"/><Relationship Id="rId12" Type="http://schemas.openxmlformats.org/officeDocument/2006/relationships/image" Target="../media/image251.png"/><Relationship Id="rId2" Type="http://schemas.openxmlformats.org/officeDocument/2006/relationships/image" Target="../media/image25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2.png"/><Relationship Id="rId11" Type="http://schemas.openxmlformats.org/officeDocument/2006/relationships/image" Target="../media/image267.emf"/><Relationship Id="rId5" Type="http://schemas.openxmlformats.org/officeDocument/2006/relationships/image" Target="../media/image261.emf"/><Relationship Id="rId10" Type="http://schemas.openxmlformats.org/officeDocument/2006/relationships/image" Target="../media/image266.emf"/><Relationship Id="rId4" Type="http://schemas.openxmlformats.org/officeDocument/2006/relationships/image" Target="../media/image260.emf"/><Relationship Id="rId9" Type="http://schemas.openxmlformats.org/officeDocument/2006/relationships/image" Target="../media/image265.emf"/></Relationships>
</file>

<file path=ppt/slides/_rels/slide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5.emf"/><Relationship Id="rId3" Type="http://schemas.openxmlformats.org/officeDocument/2006/relationships/image" Target="../media/image191.png"/><Relationship Id="rId7" Type="http://schemas.openxmlformats.org/officeDocument/2006/relationships/image" Target="../media/image264.emf"/><Relationship Id="rId2" Type="http://schemas.openxmlformats.org/officeDocument/2006/relationships/image" Target="../media/image25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3.emf"/><Relationship Id="rId11" Type="http://schemas.openxmlformats.org/officeDocument/2006/relationships/image" Target="../media/image251.png"/><Relationship Id="rId5" Type="http://schemas.openxmlformats.org/officeDocument/2006/relationships/image" Target="../media/image268.png"/><Relationship Id="rId10" Type="http://schemas.openxmlformats.org/officeDocument/2006/relationships/image" Target="../media/image270.emf"/><Relationship Id="rId4" Type="http://schemas.openxmlformats.org/officeDocument/2006/relationships/image" Target="../media/image260.emf"/><Relationship Id="rId9" Type="http://schemas.openxmlformats.org/officeDocument/2006/relationships/image" Target="../media/image269.emf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1.png"/><Relationship Id="rId2" Type="http://schemas.openxmlformats.org/officeDocument/2006/relationships/image" Target="../media/image271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1.png"/><Relationship Id="rId4" Type="http://schemas.openxmlformats.org/officeDocument/2006/relationships/image" Target="../media/image272.png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4.png"/><Relationship Id="rId2" Type="http://schemas.openxmlformats.org/officeDocument/2006/relationships/image" Target="../media/image27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6.emf"/><Relationship Id="rId5" Type="http://schemas.openxmlformats.org/officeDocument/2006/relationships/image" Target="../media/image191.png"/><Relationship Id="rId4" Type="http://schemas.openxmlformats.org/officeDocument/2006/relationships/image" Target="../media/image275.png"/></Relationships>
</file>

<file path=ppt/slides/_rels/slide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image" Target="../media/image4.jpg"/><Relationship Id="rId7" Type="http://schemas.openxmlformats.org/officeDocument/2006/relationships/image" Target="../media/image27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9.emf"/><Relationship Id="rId2" Type="http://schemas.openxmlformats.org/officeDocument/2006/relationships/image" Target="../media/image278.png"/><Relationship Id="rId1" Type="http://schemas.openxmlformats.org/officeDocument/2006/relationships/slideLayout" Target="../slideLayouts/slideLayout2.xml"/></Relationships>
</file>

<file path=ppt/slides/_rels/slide1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3.png"/><Relationship Id="rId13" Type="http://schemas.openxmlformats.org/officeDocument/2006/relationships/image" Target="../media/image287.png"/><Relationship Id="rId18" Type="http://schemas.openxmlformats.org/officeDocument/2006/relationships/image" Target="../media/image18.sv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82.png"/><Relationship Id="rId12" Type="http://schemas.openxmlformats.org/officeDocument/2006/relationships/image" Target="../media/image12.svg"/><Relationship Id="rId17" Type="http://schemas.openxmlformats.org/officeDocument/2006/relationships/image" Target="../media/image289.png"/><Relationship Id="rId2" Type="http://schemas.openxmlformats.org/officeDocument/2006/relationships/tags" Target="../tags/tag20.xml"/><Relationship Id="rId16" Type="http://schemas.openxmlformats.org/officeDocument/2006/relationships/image" Target="../media/image16.svg"/><Relationship Id="rId1" Type="http://schemas.openxmlformats.org/officeDocument/2006/relationships/tags" Target="../tags/tag19.xml"/><Relationship Id="rId6" Type="http://schemas.openxmlformats.org/officeDocument/2006/relationships/image" Target="../media/image281.png"/><Relationship Id="rId11" Type="http://schemas.openxmlformats.org/officeDocument/2006/relationships/image" Target="../media/image286.png"/><Relationship Id="rId5" Type="http://schemas.openxmlformats.org/officeDocument/2006/relationships/image" Target="../media/image280.png"/><Relationship Id="rId15" Type="http://schemas.openxmlformats.org/officeDocument/2006/relationships/image" Target="../media/image288.png"/><Relationship Id="rId10" Type="http://schemas.openxmlformats.org/officeDocument/2006/relationships/image" Target="../media/image285.png"/><Relationship Id="rId19" Type="http://schemas.openxmlformats.org/officeDocument/2006/relationships/image" Target="../media/image279.emf"/><Relationship Id="rId4" Type="http://schemas.openxmlformats.org/officeDocument/2006/relationships/notesSlide" Target="../notesSlides/notesSlide25.xml"/><Relationship Id="rId9" Type="http://schemas.openxmlformats.org/officeDocument/2006/relationships/image" Target="../media/image284.png"/><Relationship Id="rId14" Type="http://schemas.openxmlformats.org/officeDocument/2006/relationships/image" Target="../media/image14.svg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9.emf"/><Relationship Id="rId2" Type="http://schemas.openxmlformats.org/officeDocument/2006/relationships/image" Target="../media/image278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sk-pharmacy.kz/" TargetMode="External"/><Relationship Id="rId2" Type="http://schemas.openxmlformats.org/officeDocument/2006/relationships/hyperlink" Target="https://fms.ecc.kz/" TargetMode="Externa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3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image" Target="../media/image290.png"/><Relationship Id="rId7" Type="http://schemas.openxmlformats.org/officeDocument/2006/relationships/chart" Target="../charts/chart4.xml"/><Relationship Id="rId2" Type="http://schemas.openxmlformats.org/officeDocument/2006/relationships/image" Target="../media/image280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2.svg"/><Relationship Id="rId5" Type="http://schemas.openxmlformats.org/officeDocument/2006/relationships/image" Target="../media/image291.png"/><Relationship Id="rId4" Type="http://schemas.openxmlformats.org/officeDocument/2006/relationships/image" Target="../media/image20.svg"/><Relationship Id="rId9" Type="http://schemas.openxmlformats.org/officeDocument/2006/relationships/image" Target="../media/image279.emf"/></Relationships>
</file>

<file path=ppt/slides/_rels/slide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8.png"/><Relationship Id="rId1" Type="http://schemas.openxmlformats.org/officeDocument/2006/relationships/slideLayout" Target="../slideLayouts/slideLayout14.xml"/></Relationships>
</file>

<file path=ppt/slides/_rels/slide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8.png"/><Relationship Id="rId1" Type="http://schemas.openxmlformats.org/officeDocument/2006/relationships/slideLayout" Target="../slideLayouts/slideLayout14.xml"/></Relationships>
</file>

<file path=ppt/slides/_rels/slide1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7.png"/><Relationship Id="rId3" Type="http://schemas.openxmlformats.org/officeDocument/2006/relationships/image" Target="../media/image292.png"/><Relationship Id="rId7" Type="http://schemas.openxmlformats.org/officeDocument/2006/relationships/image" Target="../media/image296.png"/><Relationship Id="rId2" Type="http://schemas.openxmlformats.org/officeDocument/2006/relationships/image" Target="../media/image27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5.png"/><Relationship Id="rId5" Type="http://schemas.openxmlformats.org/officeDocument/2006/relationships/image" Target="../media/image294.png"/><Relationship Id="rId4" Type="http://schemas.openxmlformats.org/officeDocument/2006/relationships/image" Target="../media/image293.png"/></Relationships>
</file>

<file path=ppt/slides/_rels/slide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8.png"/><Relationship Id="rId1" Type="http://schemas.openxmlformats.org/officeDocument/2006/relationships/slideLayout" Target="../slideLayouts/slideLayout7.xml"/></Relationships>
</file>

<file path=ppt/slides/_rels/slide13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v.kz/" TargetMode="External"/><Relationship Id="rId13" Type="http://schemas.openxmlformats.org/officeDocument/2006/relationships/hyperlink" Target="mailto:kense@baiterek.gov.kz" TargetMode="External"/><Relationship Id="rId3" Type="http://schemas.openxmlformats.org/officeDocument/2006/relationships/hyperlink" Target="https://sk-pharmacy.kz/" TargetMode="External"/><Relationship Id="rId7" Type="http://schemas.openxmlformats.org/officeDocument/2006/relationships/hyperlink" Target="https://qazindustry.gov.kz/" TargetMode="External"/><Relationship Id="rId12" Type="http://schemas.openxmlformats.org/officeDocument/2006/relationships/hyperlink" Target="mailto:Ye.Ten@aifc.kz" TargetMode="External"/><Relationship Id="rId2" Type="http://schemas.openxmlformats.org/officeDocument/2006/relationships/hyperlink" Target="mailto:info@sk-pharmacy.kz" TargetMode="External"/><Relationship Id="rId1" Type="http://schemas.openxmlformats.org/officeDocument/2006/relationships/slideLayout" Target="../slideLayouts/slideLayout1.xml"/><Relationship Id="rId6" Type="http://schemas.openxmlformats.org/officeDocument/2006/relationships/hyperlink" Target="mailto:info@qazindustry.gov.kz" TargetMode="External"/><Relationship Id="rId11" Type="http://schemas.openxmlformats.org/officeDocument/2006/relationships/hyperlink" Target="mailto:info@aifc.kz" TargetMode="External"/><Relationship Id="rId5" Type="http://schemas.openxmlformats.org/officeDocument/2006/relationships/hyperlink" Target="https://invest.gov.kz/" TargetMode="External"/><Relationship Id="rId10" Type="http://schemas.openxmlformats.org/officeDocument/2006/relationships/hyperlink" Target="mailto:support@dari.kz" TargetMode="External"/><Relationship Id="rId4" Type="http://schemas.openxmlformats.org/officeDocument/2006/relationships/hyperlink" Target="mailto:info@invest.gov.kz" TargetMode="External"/><Relationship Id="rId9" Type="http://schemas.openxmlformats.org/officeDocument/2006/relationships/hyperlink" Target="mailto:farm@dari.kz" TargetMode="External"/><Relationship Id="rId14" Type="http://schemas.openxmlformats.org/officeDocument/2006/relationships/hyperlink" Target="mailto:A.tazhikenov@baiterek.gov.kz" TargetMode="External"/></Relationships>
</file>

<file path=ppt/slides/_rels/slide136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gov.kz/" TargetMode="Externa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sk-pharmacy.kz/" TargetMode="External"/><Relationship Id="rId2" Type="http://schemas.openxmlformats.org/officeDocument/2006/relationships/hyperlink" Target="https://www.ndda.kz/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hyperlink" Target="https://atameken.kz/" TargetMode="Externa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://adilet.zan.kz/" TargetMode="Externa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://adilet.zan.kz/" TargetMode="Externa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://adilet.zan.kz/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3" Type="http://schemas.microsoft.com/office/2007/relationships/hdphoto" Target="../media/hdphoto4.wdp"/><Relationship Id="rId7" Type="http://schemas.openxmlformats.org/officeDocument/2006/relationships/image" Target="../media/image27.png"/><Relationship Id="rId12" Type="http://schemas.microsoft.com/office/2007/relationships/hdphoto" Target="../media/hdphoto8.wdp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6.png"/><Relationship Id="rId11" Type="http://schemas.openxmlformats.org/officeDocument/2006/relationships/image" Target="../media/image29.png"/><Relationship Id="rId5" Type="http://schemas.microsoft.com/office/2007/relationships/hdphoto" Target="../media/hdphoto5.wdp"/><Relationship Id="rId10" Type="http://schemas.microsoft.com/office/2007/relationships/hdphoto" Target="../media/hdphoto7.wdp"/><Relationship Id="rId4" Type="http://schemas.openxmlformats.org/officeDocument/2006/relationships/image" Target="../media/image25.png"/><Relationship Id="rId9" Type="http://schemas.openxmlformats.org/officeDocument/2006/relationships/image" Target="../media/image28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chart" Target="../charts/chart1.xml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chart" Target="../charts/chart2.xml"/><Relationship Id="rId9" Type="http://schemas.microsoft.com/office/2007/relationships/hdphoto" Target="../media/hdphoto9.wdp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fms.ecc.kz/" TargetMode="Externa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hyperlink" Target="https://www.gov.kz/memleket/entities/invest?lang=kk" TargetMode="External"/><Relationship Id="rId7" Type="http://schemas.openxmlformats.org/officeDocument/2006/relationships/image" Target="../media/image11.png"/><Relationship Id="rId2" Type="http://schemas.openxmlformats.org/officeDocument/2006/relationships/hyperlink" Target="https://www.gov.kz/memleket/entities/dsm?lang=kk" TargetMode="Externa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atameken.kz/" TargetMode="External"/><Relationship Id="rId5" Type="http://schemas.openxmlformats.org/officeDocument/2006/relationships/hyperlink" Target="https://sk-pharmacy.kz/" TargetMode="External"/><Relationship Id="rId4" Type="http://schemas.openxmlformats.org/officeDocument/2006/relationships/hyperlink" Target="https://www.ndda.kz/" TargetMode="Externa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4.png"/><Relationship Id="rId7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microsoft.com/office/2007/relationships/hdphoto" Target="../media/hdphoto2.wdp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hyperlink" Target="jl:1026672.0.1000000358_3" TargetMode="Externa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hyperlink" Target="jl:1049207.90000%20" TargetMode="Externa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hyperlink" Target="jl:30013858.0.1000347095_0" TargetMode="External"/><Relationship Id="rId2" Type="http://schemas.openxmlformats.org/officeDocument/2006/relationships/hyperlink" Target="jl:1003548.0.1000000675_2" TargetMode="Externa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14.png"/><Relationship Id="rId7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image" Target="../media/image19.png"/><Relationship Id="rId4" Type="http://schemas.openxmlformats.org/officeDocument/2006/relationships/image" Target="../media/image15.png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hyperlink" Target="jl:1024035.64010000.1004375876_0" TargetMode="External"/><Relationship Id="rId7" Type="http://schemas.openxmlformats.org/officeDocument/2006/relationships/hyperlink" Target="jl:39864963.100.1004942108_0" TargetMode="External"/><Relationship Id="rId2" Type="http://schemas.openxmlformats.org/officeDocument/2006/relationships/hyperlink" Target="jl:1024035.10012.1004942238_0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jl:39082703.1760000.1006049855_0" TargetMode="External"/><Relationship Id="rId5" Type="http://schemas.openxmlformats.org/officeDocument/2006/relationships/hyperlink" Target="jl:36148637.4120000.1006049241_0" TargetMode="External"/><Relationship Id="rId4" Type="http://schemas.openxmlformats.org/officeDocument/2006/relationships/hyperlink" Target="jl:30092011.0%20" TargetMode="Externa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38.png"/><Relationship Id="rId7" Type="http://schemas.openxmlformats.org/officeDocument/2006/relationships/image" Target="../media/image41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microsoft.com/office/2007/relationships/hdphoto" Target="../media/hdphoto10.wdp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39.png"/><Relationship Id="rId7" Type="http://schemas.openxmlformats.org/officeDocument/2006/relationships/image" Target="../media/image45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4.png"/><Relationship Id="rId5" Type="http://schemas.openxmlformats.org/officeDocument/2006/relationships/image" Target="../media/image43.tiff"/><Relationship Id="rId10" Type="http://schemas.openxmlformats.org/officeDocument/2006/relationships/image" Target="../media/image34.png"/><Relationship Id="rId4" Type="http://schemas.openxmlformats.org/officeDocument/2006/relationships/image" Target="../media/image42.tiff"/><Relationship Id="rId9" Type="http://schemas.openxmlformats.org/officeDocument/2006/relationships/image" Target="../media/image47.png"/></Relationships>
</file>

<file path=ppt/slides/_rels/slide7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openxmlformats.org/officeDocument/2006/relationships/image" Target="../media/image50.png"/><Relationship Id="rId3" Type="http://schemas.openxmlformats.org/officeDocument/2006/relationships/image" Target="../media/image39.png"/><Relationship Id="rId7" Type="http://schemas.openxmlformats.org/officeDocument/2006/relationships/diagramColors" Target="../diagrams/colors1.xml"/><Relationship Id="rId12" Type="http://schemas.microsoft.com/office/2007/relationships/hdphoto" Target="../media/hdphoto12.wdp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49.png"/><Relationship Id="rId5" Type="http://schemas.openxmlformats.org/officeDocument/2006/relationships/diagramLayout" Target="../diagrams/layout1.xml"/><Relationship Id="rId10" Type="http://schemas.microsoft.com/office/2007/relationships/hdphoto" Target="../media/hdphoto11.wdp"/><Relationship Id="rId4" Type="http://schemas.openxmlformats.org/officeDocument/2006/relationships/diagramData" Target="../diagrams/data1.xml"/><Relationship Id="rId9" Type="http://schemas.openxmlformats.org/officeDocument/2006/relationships/image" Target="../media/image48.png"/><Relationship Id="rId14" Type="http://schemas.openxmlformats.org/officeDocument/2006/relationships/image" Target="../media/image34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4.png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8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notesSlide" Target="../notesSlides/notesSlide14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slideLayout" Target="../slideLayouts/slideLayout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5.png"/><Relationship Id="rId5" Type="http://schemas.openxmlformats.org/officeDocument/2006/relationships/image" Target="../media/image54.jpeg"/><Relationship Id="rId4" Type="http://schemas.openxmlformats.org/officeDocument/2006/relationships/image" Target="../media/image53.jpe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6.png"/><Relationship Id="rId4" Type="http://schemas.openxmlformats.org/officeDocument/2006/relationships/oleObject" Target="../embeddings/oleObject1.bin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57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59.png"/><Relationship Id="rId7" Type="http://schemas.openxmlformats.org/officeDocument/2006/relationships/image" Target="../media/image62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svg"/><Relationship Id="rId5" Type="http://schemas.openxmlformats.org/officeDocument/2006/relationships/image" Target="../media/image61.png"/><Relationship Id="rId10" Type="http://schemas.openxmlformats.org/officeDocument/2006/relationships/image" Target="../media/image11.svg"/><Relationship Id="rId4" Type="http://schemas.openxmlformats.org/officeDocument/2006/relationships/image" Target="../media/image60.png"/><Relationship Id="rId9" Type="http://schemas.openxmlformats.org/officeDocument/2006/relationships/image" Target="../media/image63.png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.xml"/></Relationships>
</file>

<file path=ppt/slides/_rels/slide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hyperlink" Target="mailto:a.adilsultani@qazindustry.gov.kz" TargetMode="External"/><Relationship Id="rId7" Type="http://schemas.openxmlformats.org/officeDocument/2006/relationships/image" Target="../media/image65.png"/><Relationship Id="rId12" Type="http://schemas.openxmlformats.org/officeDocument/2006/relationships/image" Target="../media/image68.jpeg"/><Relationship Id="rId2" Type="http://schemas.openxmlformats.org/officeDocument/2006/relationships/hyperlink" Target="http://www.qazindustry.gov.kz/" TargetMode="Externa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t.me/joinchat/S_S-XdqzVPKwhhLo" TargetMode="External"/><Relationship Id="rId11" Type="http://schemas.openxmlformats.org/officeDocument/2006/relationships/hyperlink" Target="https://chat.whatsapp.com/LspCClYDKwU7qTVkhRKyEJ" TargetMode="External"/><Relationship Id="rId5" Type="http://schemas.openxmlformats.org/officeDocument/2006/relationships/hyperlink" Target="https://t.me/joinchat/MaueMAnxOAh-iUzFbTbExQ" TargetMode="External"/><Relationship Id="rId10" Type="http://schemas.openxmlformats.org/officeDocument/2006/relationships/image" Target="../media/image59.png"/><Relationship Id="rId4" Type="http://schemas.openxmlformats.org/officeDocument/2006/relationships/hyperlink" Target="mailto:a.zhalmurzina@qazindustry.gov.kz" TargetMode="External"/><Relationship Id="rId9" Type="http://schemas.openxmlformats.org/officeDocument/2006/relationships/image" Target="../media/image67.gif"/></Relationships>
</file>

<file path=ppt/slides/_rels/slide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4.jpg"/><Relationship Id="rId7" Type="http://schemas.openxmlformats.org/officeDocument/2006/relationships/image" Target="../media/image6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g"/><Relationship Id="rId9" Type="http://schemas.openxmlformats.org/officeDocument/2006/relationships/image" Target="../media/image7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7" Type="http://schemas.openxmlformats.org/officeDocument/2006/relationships/image" Target="../media/image77.jpe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76.jpeg"/><Relationship Id="rId5" Type="http://schemas.openxmlformats.org/officeDocument/2006/relationships/image" Target="../media/image75.jpeg"/><Relationship Id="rId4" Type="http://schemas.openxmlformats.org/officeDocument/2006/relationships/image" Target="../media/image74.jpeg"/></Relationships>
</file>

<file path=ppt/slides/_rels/slide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jpeg"/><Relationship Id="rId3" Type="http://schemas.openxmlformats.org/officeDocument/2006/relationships/image" Target="../media/image79.jpeg"/><Relationship Id="rId7" Type="http://schemas.openxmlformats.org/officeDocument/2006/relationships/image" Target="../media/image83.jpeg"/><Relationship Id="rId12" Type="http://schemas.openxmlformats.org/officeDocument/2006/relationships/image" Target="../media/image88.jpeg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82.jpeg"/><Relationship Id="rId11" Type="http://schemas.openxmlformats.org/officeDocument/2006/relationships/image" Target="../media/image87.jpeg"/><Relationship Id="rId5" Type="http://schemas.openxmlformats.org/officeDocument/2006/relationships/image" Target="../media/image81.jpeg"/><Relationship Id="rId10" Type="http://schemas.openxmlformats.org/officeDocument/2006/relationships/image" Target="../media/image86.jpeg"/><Relationship Id="rId4" Type="http://schemas.openxmlformats.org/officeDocument/2006/relationships/image" Target="../media/image80.jpeg"/><Relationship Id="rId9" Type="http://schemas.openxmlformats.org/officeDocument/2006/relationships/image" Target="../media/image85.jpeg"/></Relationships>
</file>

<file path=ppt/slides/_rels/slide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jpeg"/><Relationship Id="rId3" Type="http://schemas.openxmlformats.org/officeDocument/2006/relationships/image" Target="../media/image89.jpeg"/><Relationship Id="rId7" Type="http://schemas.openxmlformats.org/officeDocument/2006/relationships/image" Target="../media/image93.jpe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92.jpeg"/><Relationship Id="rId5" Type="http://schemas.openxmlformats.org/officeDocument/2006/relationships/image" Target="../media/image91.jpeg"/><Relationship Id="rId10" Type="http://schemas.openxmlformats.org/officeDocument/2006/relationships/image" Target="../media/image96.jpeg"/><Relationship Id="rId4" Type="http://schemas.openxmlformats.org/officeDocument/2006/relationships/image" Target="../media/image90.jpeg"/><Relationship Id="rId9" Type="http://schemas.openxmlformats.org/officeDocument/2006/relationships/image" Target="../media/image95.jpeg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16.xml"/><Relationship Id="rId5" Type="http://schemas.openxmlformats.org/officeDocument/2006/relationships/hyperlink" Target="http://www.export.gov.kz" TargetMode="External"/><Relationship Id="rId4" Type="http://schemas.openxmlformats.org/officeDocument/2006/relationships/image" Target="../media/image98.jpeg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16.xml"/><Relationship Id="rId5" Type="http://schemas.openxmlformats.org/officeDocument/2006/relationships/hyperlink" Target="http://www.export.gov.kz" TargetMode="External"/><Relationship Id="rId4" Type="http://schemas.openxmlformats.org/officeDocument/2006/relationships/hyperlink" Target="mailto:kense@qaztrade.org.kz" TargetMode="Externa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10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jp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jpg"/><Relationship Id="rId13" Type="http://schemas.openxmlformats.org/officeDocument/2006/relationships/image" Target="../media/image112.png"/><Relationship Id="rId3" Type="http://schemas.openxmlformats.org/officeDocument/2006/relationships/image" Target="../media/image102.png"/><Relationship Id="rId7" Type="http://schemas.openxmlformats.org/officeDocument/2006/relationships/image" Target="../media/image106.png"/><Relationship Id="rId12" Type="http://schemas.openxmlformats.org/officeDocument/2006/relationships/image" Target="../media/image111.jpg"/><Relationship Id="rId2" Type="http://schemas.openxmlformats.org/officeDocument/2006/relationships/image" Target="../media/image101.jp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05.jpg"/><Relationship Id="rId11" Type="http://schemas.openxmlformats.org/officeDocument/2006/relationships/image" Target="../media/image110.png"/><Relationship Id="rId5" Type="http://schemas.openxmlformats.org/officeDocument/2006/relationships/image" Target="../media/image104.png"/><Relationship Id="rId10" Type="http://schemas.openxmlformats.org/officeDocument/2006/relationships/image" Target="../media/image109.jpg"/><Relationship Id="rId4" Type="http://schemas.openxmlformats.org/officeDocument/2006/relationships/image" Target="../media/image103.jpg"/><Relationship Id="rId9" Type="http://schemas.openxmlformats.org/officeDocument/2006/relationships/image" Target="../media/image108.png"/><Relationship Id="rId14" Type="http://schemas.openxmlformats.org/officeDocument/2006/relationships/image" Target="../media/image113.jpg"/></Relationships>
</file>

<file path=ppt/slides/_rels/slide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3" Type="http://schemas.openxmlformats.org/officeDocument/2006/relationships/image" Target="../media/image115.png"/><Relationship Id="rId7" Type="http://schemas.openxmlformats.org/officeDocument/2006/relationships/image" Target="../media/image119.png"/><Relationship Id="rId2" Type="http://schemas.openxmlformats.org/officeDocument/2006/relationships/image" Target="../media/image114.jp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18.png"/><Relationship Id="rId5" Type="http://schemas.openxmlformats.org/officeDocument/2006/relationships/image" Target="../media/image117.png"/><Relationship Id="rId4" Type="http://schemas.openxmlformats.org/officeDocument/2006/relationships/image" Target="../media/image116.png"/><Relationship Id="rId9" Type="http://schemas.openxmlformats.org/officeDocument/2006/relationships/image" Target="../media/image121.png"/></Relationships>
</file>

<file path=ppt/slides/_rels/slide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7.png"/><Relationship Id="rId13" Type="http://schemas.openxmlformats.org/officeDocument/2006/relationships/image" Target="../media/image132.png"/><Relationship Id="rId18" Type="http://schemas.openxmlformats.org/officeDocument/2006/relationships/image" Target="../media/image137.png"/><Relationship Id="rId26" Type="http://schemas.openxmlformats.org/officeDocument/2006/relationships/image" Target="../media/image145.jpg"/><Relationship Id="rId3" Type="http://schemas.openxmlformats.org/officeDocument/2006/relationships/image" Target="../media/image115.png"/><Relationship Id="rId21" Type="http://schemas.openxmlformats.org/officeDocument/2006/relationships/image" Target="../media/image140.png"/><Relationship Id="rId7" Type="http://schemas.openxmlformats.org/officeDocument/2006/relationships/image" Target="../media/image126.png"/><Relationship Id="rId12" Type="http://schemas.openxmlformats.org/officeDocument/2006/relationships/image" Target="../media/image131.png"/><Relationship Id="rId17" Type="http://schemas.openxmlformats.org/officeDocument/2006/relationships/image" Target="../media/image136.png"/><Relationship Id="rId25" Type="http://schemas.openxmlformats.org/officeDocument/2006/relationships/image" Target="../media/image144.png"/><Relationship Id="rId2" Type="http://schemas.openxmlformats.org/officeDocument/2006/relationships/image" Target="../media/image122.jpg"/><Relationship Id="rId16" Type="http://schemas.openxmlformats.org/officeDocument/2006/relationships/image" Target="../media/image135.png"/><Relationship Id="rId20" Type="http://schemas.openxmlformats.org/officeDocument/2006/relationships/image" Target="../media/image139.png"/><Relationship Id="rId29" Type="http://schemas.openxmlformats.org/officeDocument/2006/relationships/image" Target="../media/image148.jp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5.png"/><Relationship Id="rId11" Type="http://schemas.openxmlformats.org/officeDocument/2006/relationships/image" Target="../media/image130.png"/><Relationship Id="rId24" Type="http://schemas.openxmlformats.org/officeDocument/2006/relationships/image" Target="../media/image143.png"/><Relationship Id="rId5" Type="http://schemas.openxmlformats.org/officeDocument/2006/relationships/image" Target="../media/image124.png"/><Relationship Id="rId15" Type="http://schemas.openxmlformats.org/officeDocument/2006/relationships/image" Target="../media/image134.png"/><Relationship Id="rId23" Type="http://schemas.openxmlformats.org/officeDocument/2006/relationships/image" Target="../media/image142.png"/><Relationship Id="rId28" Type="http://schemas.openxmlformats.org/officeDocument/2006/relationships/image" Target="../media/image147.jpg"/><Relationship Id="rId10" Type="http://schemas.openxmlformats.org/officeDocument/2006/relationships/image" Target="../media/image129.png"/><Relationship Id="rId19" Type="http://schemas.openxmlformats.org/officeDocument/2006/relationships/image" Target="../media/image138.png"/><Relationship Id="rId4" Type="http://schemas.openxmlformats.org/officeDocument/2006/relationships/image" Target="../media/image123.png"/><Relationship Id="rId9" Type="http://schemas.openxmlformats.org/officeDocument/2006/relationships/image" Target="../media/image128.png"/><Relationship Id="rId14" Type="http://schemas.openxmlformats.org/officeDocument/2006/relationships/image" Target="../media/image133.png"/><Relationship Id="rId22" Type="http://schemas.openxmlformats.org/officeDocument/2006/relationships/image" Target="../media/image141.png"/><Relationship Id="rId27" Type="http://schemas.openxmlformats.org/officeDocument/2006/relationships/image" Target="../media/image146.jpg"/></Relationships>
</file>

<file path=ppt/slides/_rels/slide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5.png"/><Relationship Id="rId3" Type="http://schemas.openxmlformats.org/officeDocument/2006/relationships/image" Target="../media/image150.png"/><Relationship Id="rId7" Type="http://schemas.openxmlformats.org/officeDocument/2006/relationships/image" Target="../media/image154.jpg"/><Relationship Id="rId2" Type="http://schemas.openxmlformats.org/officeDocument/2006/relationships/image" Target="../media/image149.jp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53.jpg"/><Relationship Id="rId5" Type="http://schemas.openxmlformats.org/officeDocument/2006/relationships/image" Target="../media/image152.png"/><Relationship Id="rId4" Type="http://schemas.openxmlformats.org/officeDocument/2006/relationships/image" Target="../media/image15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DC1EDD2-5156-4C78-B4CC-0F7C486904F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97" r="19473"/>
          <a:stretch/>
        </p:blipFill>
        <p:spPr>
          <a:xfrm>
            <a:off x="510746" y="1439665"/>
            <a:ext cx="3657600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501188AF-66C9-4AAA-A13A-44C37A9AA3C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24" r="34102"/>
          <a:stretch/>
        </p:blipFill>
        <p:spPr>
          <a:xfrm>
            <a:off x="3047997" y="1439665"/>
            <a:ext cx="3707027" cy="3978893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14C3997A-412B-4A32-BBDD-47C610D6C31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3" r="39982"/>
          <a:stretch/>
        </p:blipFill>
        <p:spPr>
          <a:xfrm>
            <a:off x="5560543" y="1439665"/>
            <a:ext cx="3731740" cy="3991430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13023DF2-4F41-434C-BFC2-4F97EF92A44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09" r="25508"/>
          <a:stretch/>
        </p:blipFill>
        <p:spPr>
          <a:xfrm>
            <a:off x="8079161" y="1439665"/>
            <a:ext cx="3690552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sp>
        <p:nvSpPr>
          <p:cNvPr id="6" name="Прямоугольник 5"/>
          <p:cNvSpPr/>
          <p:nvPr/>
        </p:nvSpPr>
        <p:spPr>
          <a:xfrm>
            <a:off x="1185331" y="2853267"/>
            <a:ext cx="9905999" cy="1202266"/>
          </a:xfrm>
          <a:custGeom>
            <a:avLst/>
            <a:gdLst>
              <a:gd name="connsiteX0" fmla="*/ 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0 w 9889066"/>
              <a:gd name="connsiteY4" fmla="*/ 0 h 1202266"/>
              <a:gd name="connsiteX0" fmla="*/ 35560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355600 w 9889066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905999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89467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89467 w 9905999"/>
              <a:gd name="connsiteY4" fmla="*/ 0 h 1202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5999" h="1202266">
                <a:moveTo>
                  <a:pt x="389467" y="0"/>
                </a:moveTo>
                <a:lnTo>
                  <a:pt x="9905999" y="0"/>
                </a:lnTo>
                <a:lnTo>
                  <a:pt x="9541933" y="1202266"/>
                </a:lnTo>
                <a:lnTo>
                  <a:pt x="0" y="1202266"/>
                </a:lnTo>
                <a:lnTo>
                  <a:pt x="38946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-124691" y="3100457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INVESTMENT GUIDE BOOK</a:t>
            </a:r>
            <a:endParaRPr lang="ru-RU" sz="4000" b="1" dirty="0" smtClean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15614" y="64103"/>
            <a:ext cx="1471448" cy="1358670"/>
          </a:xfrm>
          <a:prstGeom prst="rect">
            <a:avLst/>
          </a:prstGeom>
          <a:ln>
            <a:noFill/>
          </a:ln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1</a:t>
            </a:fld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4093436" y="5752982"/>
            <a:ext cx="3338395" cy="714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10.07.2024</a:t>
            </a:r>
            <a:endParaRPr lang="ru-RU" sz="32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1825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500160" y="276446"/>
            <a:ext cx="116164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 algn="ctr">
              <a:defRPr sz="2400" b="1" u="sng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defRPr>
            </a:lvl1pPr>
          </a:lstStyle>
          <a:p>
            <a:r>
              <a:rPr lang="ru-RU" dirty="0" smtClean="0"/>
              <a:t>Условия для заключения Долгосрочных Договоров поставки </a:t>
            </a:r>
            <a:r>
              <a:rPr lang="ru-RU" dirty="0"/>
              <a:t>оригинальных запатентованных </a:t>
            </a:r>
            <a:r>
              <a:rPr lang="ru-RU" dirty="0" smtClean="0"/>
              <a:t>ЛС и МИ</a:t>
            </a:r>
          </a:p>
          <a:p>
            <a:r>
              <a:rPr lang="ru-RU" dirty="0" smtClean="0"/>
              <a:t>с Заказчиком контрактного производства</a:t>
            </a:r>
            <a:endParaRPr lang="ru-RU" dirty="0"/>
          </a:p>
        </p:txBody>
      </p:sp>
      <p:grpSp>
        <p:nvGrpSpPr>
          <p:cNvPr id="14" name="Группа 13"/>
          <p:cNvGrpSpPr/>
          <p:nvPr/>
        </p:nvGrpSpPr>
        <p:grpSpPr>
          <a:xfrm>
            <a:off x="6308360" y="1446732"/>
            <a:ext cx="2207767" cy="4634893"/>
            <a:chOff x="5034171" y="1446930"/>
            <a:chExt cx="2207767" cy="4634893"/>
          </a:xfrm>
        </p:grpSpPr>
        <p:pic>
          <p:nvPicPr>
            <p:cNvPr id="17" name="Рисунок 16"/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132779" y="2322742"/>
              <a:ext cx="2010550" cy="1033206"/>
            </a:xfrm>
            <a:prstGeom prst="rect">
              <a:avLst/>
            </a:prstGeom>
          </p:spPr>
        </p:pic>
        <p:sp>
          <p:nvSpPr>
            <p:cNvPr id="9" name="Прямоугольник 8"/>
            <p:cNvSpPr/>
            <p:nvPr/>
          </p:nvSpPr>
          <p:spPr>
            <a:xfrm>
              <a:off x="5127008" y="4168133"/>
              <a:ext cx="2022092" cy="1569660"/>
            </a:xfrm>
            <a:prstGeom prst="rect">
              <a:avLst/>
            </a:prstGeom>
            <a:ln>
              <a:noFill/>
              <a:prstDash val="sysDot"/>
            </a:ln>
          </p:spPr>
          <p:txBody>
            <a:bodyPr wrap="square">
              <a:spAutoFit/>
            </a:bodyPr>
            <a:lstStyle/>
            <a:p>
              <a:pPr>
                <a:buClr>
                  <a:schemeClr val="accent6"/>
                </a:buClr>
                <a:buSzPct val="120000"/>
                <a:defRPr/>
              </a:pPr>
              <a:r>
                <a:rPr lang="ru-RU" sz="1600" dirty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Договор на контрактное производство с производителем, расположенным на территории РК</a:t>
              </a: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605237" y="1547240"/>
              <a:ext cx="459764" cy="436014"/>
            </a:xfrm>
            <a:prstGeom prst="rect">
              <a:avLst/>
            </a:prstGeom>
          </p:spPr>
        </p:pic>
        <p:sp>
          <p:nvSpPr>
            <p:cNvPr id="22" name="Прямоугольник 21"/>
            <p:cNvSpPr/>
            <p:nvPr/>
          </p:nvSpPr>
          <p:spPr>
            <a:xfrm>
              <a:off x="5034171" y="1446930"/>
              <a:ext cx="2207767" cy="4634893"/>
            </a:xfrm>
            <a:prstGeom prst="rect">
              <a:avLst/>
            </a:prstGeom>
            <a:noFill/>
            <a:ln>
              <a:solidFill>
                <a:srgbClr val="9CAFD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9173371" y="1446733"/>
            <a:ext cx="2207768" cy="4634893"/>
            <a:chOff x="7302040" y="1446930"/>
            <a:chExt cx="2207768" cy="463489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7364751" y="3921910"/>
              <a:ext cx="2145057" cy="1815882"/>
            </a:xfrm>
            <a:prstGeom prst="rect">
              <a:avLst/>
            </a:prstGeom>
            <a:ln>
              <a:noFill/>
              <a:prstDash val="sysDot"/>
            </a:ln>
          </p:spPr>
          <p:txBody>
            <a:bodyPr wrap="square">
              <a:spAutoFit/>
            </a:bodyPr>
            <a:lstStyle/>
            <a:p>
              <a:pPr>
                <a:buClr>
                  <a:schemeClr val="accent6"/>
                </a:buClr>
                <a:buSzPct val="120000"/>
                <a:defRPr/>
              </a:pPr>
              <a:r>
                <a:rPr lang="ru-RU" sz="1600" dirty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Бизнес-план, Список планируемых к производству ЛС и МИ, Копия патента на оригинальное ЛС и МИ</a:t>
              </a: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7302040" y="1446930"/>
              <a:ext cx="2207768" cy="4634893"/>
            </a:xfrm>
            <a:prstGeom prst="rect">
              <a:avLst/>
            </a:prstGeom>
            <a:noFill/>
            <a:ln>
              <a:solidFill>
                <a:srgbClr val="9CAFD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pic>
          <p:nvPicPr>
            <p:cNvPr id="33" name="Рисунок 32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7843505" y="2231110"/>
              <a:ext cx="1124837" cy="1124837"/>
            </a:xfrm>
            <a:prstGeom prst="rect">
              <a:avLst/>
            </a:prstGeom>
          </p:spPr>
        </p:pic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8894523" y="1547240"/>
              <a:ext cx="459764" cy="436014"/>
            </a:xfrm>
            <a:prstGeom prst="rect">
              <a:avLst/>
            </a:prstGeom>
          </p:spPr>
        </p:pic>
      </p:grpSp>
      <p:grpSp>
        <p:nvGrpSpPr>
          <p:cNvPr id="15" name="Группа 14"/>
          <p:cNvGrpSpPr/>
          <p:nvPr/>
        </p:nvGrpSpPr>
        <p:grpSpPr>
          <a:xfrm>
            <a:off x="3443348" y="1446731"/>
            <a:ext cx="2207768" cy="4634893"/>
            <a:chOff x="3443348" y="1446731"/>
            <a:chExt cx="2207768" cy="4634893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3569553" y="3926421"/>
              <a:ext cx="2039274" cy="1815882"/>
            </a:xfrm>
            <a:prstGeom prst="rect">
              <a:avLst/>
            </a:prstGeom>
            <a:ln>
              <a:noFill/>
              <a:prstDash val="sysDot"/>
            </a:ln>
          </p:spPr>
          <p:txBody>
            <a:bodyPr wrap="square">
              <a:spAutoFit/>
            </a:bodyPr>
            <a:lstStyle/>
            <a:p>
              <a:pPr>
                <a:buClr>
                  <a:schemeClr val="accent6"/>
                </a:buClr>
                <a:buSzPct val="120000"/>
                <a:defRPr/>
              </a:pPr>
              <a:r>
                <a:rPr lang="ru-RU" sz="1600" dirty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Право завода-изготовителя на производство и (или) оптовую, розничную реализацию ЛС и МИ</a:t>
              </a:r>
            </a:p>
          </p:txBody>
        </p:sp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019478" y="1547041"/>
              <a:ext cx="459765" cy="436014"/>
            </a:xfrm>
            <a:prstGeom prst="rect">
              <a:avLst/>
            </a:prstGeom>
          </p:spPr>
        </p:pic>
        <p:sp>
          <p:nvSpPr>
            <p:cNvPr id="21" name="Прямоугольник 20"/>
            <p:cNvSpPr/>
            <p:nvPr/>
          </p:nvSpPr>
          <p:spPr>
            <a:xfrm>
              <a:off x="3443348" y="1446731"/>
              <a:ext cx="2207768" cy="4634893"/>
            </a:xfrm>
            <a:prstGeom prst="rect">
              <a:avLst/>
            </a:prstGeom>
            <a:noFill/>
            <a:ln>
              <a:solidFill>
                <a:srgbClr val="9CAFD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3841264" y="2083365"/>
              <a:ext cx="1411937" cy="1411937"/>
            </a:xfrm>
            <a:prstGeom prst="rect">
              <a:avLst/>
            </a:prstGeom>
          </p:spPr>
        </p:pic>
      </p:grpSp>
      <p:grpSp>
        <p:nvGrpSpPr>
          <p:cNvPr id="16" name="Группа 15"/>
          <p:cNvGrpSpPr/>
          <p:nvPr/>
        </p:nvGrpSpPr>
        <p:grpSpPr>
          <a:xfrm>
            <a:off x="620295" y="1446731"/>
            <a:ext cx="2207768" cy="4634893"/>
            <a:chOff x="500160" y="1446930"/>
            <a:chExt cx="2207768" cy="4634893"/>
          </a:xfrm>
        </p:grpSpPr>
        <p:sp>
          <p:nvSpPr>
            <p:cNvPr id="7" name="Прямоугольник 6"/>
            <p:cNvSpPr/>
            <p:nvPr/>
          </p:nvSpPr>
          <p:spPr>
            <a:xfrm>
              <a:off x="681897" y="3680399"/>
              <a:ext cx="1997998" cy="2062103"/>
            </a:xfrm>
            <a:prstGeom prst="rect">
              <a:avLst/>
            </a:prstGeom>
            <a:ln>
              <a:noFill/>
              <a:prstDash val="sysDot"/>
            </a:ln>
          </p:spPr>
          <p:txBody>
            <a:bodyPr wrap="square">
              <a:spAutoFit/>
            </a:bodyPr>
            <a:lstStyle/>
            <a:p>
              <a:pPr>
                <a:buClr>
                  <a:schemeClr val="accent6"/>
                </a:buClr>
                <a:buSzPct val="120000"/>
                <a:defRPr/>
              </a:pPr>
              <a:r>
                <a:rPr lang="ru-RU" sz="1600" dirty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Завод-изготовитель является юридическим лицом по законодательству иностранного государства</a:t>
              </a: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500160" y="1446930"/>
              <a:ext cx="2207768" cy="4634893"/>
            </a:xfrm>
            <a:prstGeom prst="rect">
              <a:avLst/>
            </a:prstGeom>
            <a:noFill/>
            <a:ln>
              <a:solidFill>
                <a:srgbClr val="9CAFD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3360" y="2231112"/>
              <a:ext cx="2056038" cy="1003533"/>
            </a:xfrm>
            <a:prstGeom prst="rect">
              <a:avLst/>
            </a:prstGeom>
          </p:spPr>
        </p:pic>
        <p:pic>
          <p:nvPicPr>
            <p:cNvPr id="34" name="Рисунок 33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090758" y="1532727"/>
              <a:ext cx="528640" cy="5286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19352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844299" y="1766592"/>
            <a:ext cx="6267175" cy="751488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special </a:t>
            </a:r>
            <a:r>
              <a:rPr dirty="0"/>
              <a:t>economic</a:t>
            </a:r>
            <a:r>
              <a:rPr spc="-105" dirty="0"/>
              <a:t> </a:t>
            </a:r>
            <a:r>
              <a:rPr dirty="0"/>
              <a:t>zone</a:t>
            </a:r>
          </a:p>
        </p:txBody>
      </p:sp>
    </p:spTree>
    <p:extLst>
      <p:ext uri="{BB962C8B-B14F-4D97-AF65-F5344CB8AC3E}">
        <p14:creationId xmlns:p14="http://schemas.microsoft.com/office/powerpoint/2010/main" val="3860485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DC1EDD2-5156-4C78-B4CC-0F7C486904F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97" r="19473"/>
          <a:stretch/>
        </p:blipFill>
        <p:spPr>
          <a:xfrm>
            <a:off x="510746" y="1439665"/>
            <a:ext cx="3657600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501188AF-66C9-4AAA-A13A-44C37A9AA3C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24" r="34102"/>
          <a:stretch/>
        </p:blipFill>
        <p:spPr>
          <a:xfrm>
            <a:off x="3047997" y="1439665"/>
            <a:ext cx="3707027" cy="3978893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14C3997A-412B-4A32-BBDD-47C610D6C31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3" r="39982"/>
          <a:stretch/>
        </p:blipFill>
        <p:spPr>
          <a:xfrm>
            <a:off x="5560543" y="1439665"/>
            <a:ext cx="3731740" cy="3991430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13023DF2-4F41-434C-BFC2-4F97EF92A44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09" r="25508"/>
          <a:stretch/>
        </p:blipFill>
        <p:spPr>
          <a:xfrm>
            <a:off x="8079161" y="1439665"/>
            <a:ext cx="3690552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sp>
        <p:nvSpPr>
          <p:cNvPr id="6" name="Прямоугольник 5"/>
          <p:cNvSpPr/>
          <p:nvPr/>
        </p:nvSpPr>
        <p:spPr>
          <a:xfrm>
            <a:off x="1185331" y="2853267"/>
            <a:ext cx="9905999" cy="1202266"/>
          </a:xfrm>
          <a:custGeom>
            <a:avLst/>
            <a:gdLst>
              <a:gd name="connsiteX0" fmla="*/ 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0 w 9889066"/>
              <a:gd name="connsiteY4" fmla="*/ 0 h 1202266"/>
              <a:gd name="connsiteX0" fmla="*/ 35560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355600 w 9889066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905999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89467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89467 w 9905999"/>
              <a:gd name="connsiteY4" fmla="*/ 0 h 1202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5999" h="1202266">
                <a:moveTo>
                  <a:pt x="389467" y="0"/>
                </a:moveTo>
                <a:lnTo>
                  <a:pt x="9905999" y="0"/>
                </a:lnTo>
                <a:lnTo>
                  <a:pt x="9541933" y="1202266"/>
                </a:lnTo>
                <a:lnTo>
                  <a:pt x="0" y="1202266"/>
                </a:lnTo>
                <a:lnTo>
                  <a:pt x="38946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101</a:t>
            </a:fld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2269713" y="2901371"/>
            <a:ext cx="800905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МЕЖДУНАРОДНЫЙ ФИНАНСОВЫЙ  ЦЕНТР «АСТАНА»</a:t>
            </a:r>
            <a:endParaRPr lang="ru-RU" sz="28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729474" y="813573"/>
            <a:ext cx="3338395" cy="714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ПРИЛОЖЕНИЕ </a:t>
            </a:r>
            <a:r>
              <a:rPr lang="en-US" sz="3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9</a:t>
            </a:r>
            <a:endParaRPr lang="ru-RU" sz="32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703143" y="394472"/>
            <a:ext cx="2650657" cy="84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514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72810" y="0"/>
            <a:ext cx="376241" cy="542819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460110" y="957579"/>
            <a:ext cx="4573905" cy="4521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800" spc="5" dirty="0"/>
              <a:t>Добро </a:t>
            </a:r>
            <a:r>
              <a:rPr sz="2800" spc="-10" dirty="0"/>
              <a:t>пожаловать </a:t>
            </a:r>
            <a:r>
              <a:rPr sz="2800" dirty="0"/>
              <a:t>в</a:t>
            </a:r>
            <a:r>
              <a:rPr sz="2800" spc="-90" dirty="0"/>
              <a:t> </a:t>
            </a:r>
            <a:r>
              <a:rPr sz="2800" spc="-10" dirty="0"/>
              <a:t>МФЦА</a:t>
            </a:r>
            <a:endParaRPr sz="2800"/>
          </a:p>
        </p:txBody>
      </p:sp>
      <p:sp>
        <p:nvSpPr>
          <p:cNvPr id="4" name="object 4"/>
          <p:cNvSpPr txBox="1"/>
          <p:nvPr/>
        </p:nvSpPr>
        <p:spPr>
          <a:xfrm>
            <a:off x="472810" y="4577024"/>
            <a:ext cx="71755" cy="2273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770"/>
              </a:lnSpc>
            </a:pPr>
            <a:r>
              <a:rPr sz="1600" dirty="0">
                <a:latin typeface="Arial"/>
                <a:cs typeface="Arial"/>
              </a:rPr>
              <a:t>•</a:t>
            </a:r>
            <a:endParaRPr sz="16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72810" y="5314640"/>
            <a:ext cx="71755" cy="2273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770"/>
              </a:lnSpc>
            </a:pPr>
            <a:r>
              <a:rPr sz="1600" dirty="0">
                <a:latin typeface="Arial"/>
                <a:cs typeface="Arial"/>
              </a:rPr>
              <a:t>•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72810" y="5683448"/>
            <a:ext cx="71755" cy="2273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770"/>
              </a:lnSpc>
            </a:pPr>
            <a:r>
              <a:rPr sz="1600" dirty="0">
                <a:latin typeface="Arial"/>
                <a:cs typeface="Arial"/>
              </a:rPr>
              <a:t>•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11264227" y="5025275"/>
            <a:ext cx="170180" cy="111125"/>
          </a:xfrm>
          <a:custGeom>
            <a:avLst/>
            <a:gdLst/>
            <a:ahLst/>
            <a:cxnLst/>
            <a:rect l="l" t="t" r="r" b="b"/>
            <a:pathLst>
              <a:path w="170179" h="111125">
                <a:moveTo>
                  <a:pt x="25438" y="17640"/>
                </a:moveTo>
                <a:lnTo>
                  <a:pt x="16954" y="12598"/>
                </a:lnTo>
                <a:lnTo>
                  <a:pt x="0" y="0"/>
                </a:lnTo>
                <a:lnTo>
                  <a:pt x="0" y="15113"/>
                </a:lnTo>
                <a:lnTo>
                  <a:pt x="8483" y="30238"/>
                </a:lnTo>
                <a:lnTo>
                  <a:pt x="25438" y="32753"/>
                </a:lnTo>
                <a:lnTo>
                  <a:pt x="25438" y="17640"/>
                </a:lnTo>
                <a:close/>
              </a:path>
              <a:path w="170179" h="111125">
                <a:moveTo>
                  <a:pt x="70650" y="47866"/>
                </a:moveTo>
                <a:lnTo>
                  <a:pt x="56515" y="32753"/>
                </a:lnTo>
                <a:lnTo>
                  <a:pt x="42392" y="30238"/>
                </a:lnTo>
                <a:lnTo>
                  <a:pt x="56515" y="40309"/>
                </a:lnTo>
                <a:lnTo>
                  <a:pt x="70650" y="47866"/>
                </a:lnTo>
                <a:close/>
              </a:path>
              <a:path w="170179" h="111125">
                <a:moveTo>
                  <a:pt x="127165" y="75577"/>
                </a:moveTo>
                <a:lnTo>
                  <a:pt x="118681" y="60464"/>
                </a:lnTo>
                <a:lnTo>
                  <a:pt x="101727" y="52908"/>
                </a:lnTo>
                <a:lnTo>
                  <a:pt x="93256" y="50380"/>
                </a:lnTo>
                <a:lnTo>
                  <a:pt x="98907" y="55422"/>
                </a:lnTo>
                <a:lnTo>
                  <a:pt x="127165" y="75577"/>
                </a:lnTo>
                <a:close/>
              </a:path>
              <a:path w="170179" h="111125">
                <a:moveTo>
                  <a:pt x="149771" y="110845"/>
                </a:moveTo>
                <a:lnTo>
                  <a:pt x="138468" y="95732"/>
                </a:lnTo>
                <a:lnTo>
                  <a:pt x="124333" y="93218"/>
                </a:lnTo>
                <a:lnTo>
                  <a:pt x="135648" y="108331"/>
                </a:lnTo>
                <a:lnTo>
                  <a:pt x="149771" y="110845"/>
                </a:lnTo>
                <a:close/>
              </a:path>
              <a:path w="170179" h="111125">
                <a:moveTo>
                  <a:pt x="169557" y="98247"/>
                </a:moveTo>
                <a:lnTo>
                  <a:pt x="155422" y="80619"/>
                </a:lnTo>
                <a:lnTo>
                  <a:pt x="149771" y="75577"/>
                </a:lnTo>
                <a:lnTo>
                  <a:pt x="152603" y="90690"/>
                </a:lnTo>
                <a:lnTo>
                  <a:pt x="169557" y="98247"/>
                </a:lnTo>
                <a:close/>
              </a:path>
            </a:pathLst>
          </a:custGeom>
          <a:solidFill>
            <a:srgbClr val="D5DBD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1473346" y="5413227"/>
            <a:ext cx="59690" cy="60960"/>
          </a:xfrm>
          <a:custGeom>
            <a:avLst/>
            <a:gdLst/>
            <a:ahLst/>
            <a:cxnLst/>
            <a:rect l="l" t="t" r="r" b="b"/>
            <a:pathLst>
              <a:path w="59690" h="60960">
                <a:moveTo>
                  <a:pt x="5651" y="0"/>
                </a:moveTo>
                <a:lnTo>
                  <a:pt x="0" y="7557"/>
                </a:lnTo>
                <a:lnTo>
                  <a:pt x="11302" y="22673"/>
                </a:lnTo>
                <a:lnTo>
                  <a:pt x="42386" y="50383"/>
                </a:lnTo>
                <a:lnTo>
                  <a:pt x="59340" y="60460"/>
                </a:lnTo>
                <a:lnTo>
                  <a:pt x="45212" y="37787"/>
                </a:lnTo>
                <a:lnTo>
                  <a:pt x="22605" y="15115"/>
                </a:lnTo>
                <a:lnTo>
                  <a:pt x="5651" y="0"/>
                </a:lnTo>
                <a:close/>
              </a:path>
            </a:pathLst>
          </a:custGeom>
          <a:solidFill>
            <a:srgbClr val="D5DBD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1549634" y="5267121"/>
            <a:ext cx="45720" cy="45720"/>
          </a:xfrm>
          <a:custGeom>
            <a:avLst/>
            <a:gdLst/>
            <a:ahLst/>
            <a:cxnLst/>
            <a:rect l="l" t="t" r="r" b="b"/>
            <a:pathLst>
              <a:path w="45720" h="45720">
                <a:moveTo>
                  <a:pt x="19786" y="15113"/>
                </a:moveTo>
                <a:lnTo>
                  <a:pt x="14135" y="0"/>
                </a:lnTo>
                <a:lnTo>
                  <a:pt x="0" y="2514"/>
                </a:lnTo>
                <a:lnTo>
                  <a:pt x="2832" y="12598"/>
                </a:lnTo>
                <a:lnTo>
                  <a:pt x="19786" y="15113"/>
                </a:lnTo>
                <a:close/>
              </a:path>
              <a:path w="45720" h="45720">
                <a:moveTo>
                  <a:pt x="25438" y="30226"/>
                </a:moveTo>
                <a:lnTo>
                  <a:pt x="14135" y="30226"/>
                </a:lnTo>
                <a:lnTo>
                  <a:pt x="19786" y="45339"/>
                </a:lnTo>
                <a:lnTo>
                  <a:pt x="25438" y="30226"/>
                </a:lnTo>
                <a:close/>
              </a:path>
              <a:path w="45720" h="45720">
                <a:moveTo>
                  <a:pt x="45212" y="27711"/>
                </a:moveTo>
                <a:lnTo>
                  <a:pt x="42392" y="17627"/>
                </a:lnTo>
                <a:lnTo>
                  <a:pt x="42392" y="22669"/>
                </a:lnTo>
                <a:lnTo>
                  <a:pt x="45212" y="27711"/>
                </a:lnTo>
                <a:close/>
              </a:path>
            </a:pathLst>
          </a:custGeom>
          <a:solidFill>
            <a:srgbClr val="D5DBD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11300968" y="5876759"/>
            <a:ext cx="418465" cy="463550"/>
          </a:xfrm>
          <a:custGeom>
            <a:avLst/>
            <a:gdLst/>
            <a:ahLst/>
            <a:cxnLst/>
            <a:rect l="l" t="t" r="r" b="b"/>
            <a:pathLst>
              <a:path w="418465" h="463550">
                <a:moveTo>
                  <a:pt x="22606" y="458495"/>
                </a:moveTo>
                <a:lnTo>
                  <a:pt x="8470" y="461022"/>
                </a:lnTo>
                <a:lnTo>
                  <a:pt x="22606" y="463537"/>
                </a:lnTo>
                <a:lnTo>
                  <a:pt x="22606" y="458495"/>
                </a:lnTo>
                <a:close/>
              </a:path>
              <a:path w="418465" h="463550">
                <a:moveTo>
                  <a:pt x="262801" y="244360"/>
                </a:moveTo>
                <a:lnTo>
                  <a:pt x="234543" y="249402"/>
                </a:lnTo>
                <a:lnTo>
                  <a:pt x="237363" y="234289"/>
                </a:lnTo>
                <a:lnTo>
                  <a:pt x="220408" y="229247"/>
                </a:lnTo>
                <a:lnTo>
                  <a:pt x="209105" y="249402"/>
                </a:lnTo>
                <a:lnTo>
                  <a:pt x="194983" y="262001"/>
                </a:lnTo>
                <a:lnTo>
                  <a:pt x="180848" y="269557"/>
                </a:lnTo>
                <a:lnTo>
                  <a:pt x="158242" y="304825"/>
                </a:lnTo>
                <a:lnTo>
                  <a:pt x="141287" y="312381"/>
                </a:lnTo>
                <a:lnTo>
                  <a:pt x="121513" y="322465"/>
                </a:lnTo>
                <a:lnTo>
                  <a:pt x="107378" y="330022"/>
                </a:lnTo>
                <a:lnTo>
                  <a:pt x="98907" y="347649"/>
                </a:lnTo>
                <a:lnTo>
                  <a:pt x="84772" y="345135"/>
                </a:lnTo>
                <a:lnTo>
                  <a:pt x="70637" y="350177"/>
                </a:lnTo>
                <a:lnTo>
                  <a:pt x="56515" y="357733"/>
                </a:lnTo>
                <a:lnTo>
                  <a:pt x="42379" y="367804"/>
                </a:lnTo>
                <a:lnTo>
                  <a:pt x="31076" y="382917"/>
                </a:lnTo>
                <a:lnTo>
                  <a:pt x="16954" y="393001"/>
                </a:lnTo>
                <a:lnTo>
                  <a:pt x="14122" y="408114"/>
                </a:lnTo>
                <a:lnTo>
                  <a:pt x="0" y="418185"/>
                </a:lnTo>
                <a:lnTo>
                  <a:pt x="14122" y="430784"/>
                </a:lnTo>
                <a:lnTo>
                  <a:pt x="31076" y="438340"/>
                </a:lnTo>
                <a:lnTo>
                  <a:pt x="36728" y="453453"/>
                </a:lnTo>
                <a:lnTo>
                  <a:pt x="50863" y="453453"/>
                </a:lnTo>
                <a:lnTo>
                  <a:pt x="98907" y="425754"/>
                </a:lnTo>
                <a:lnTo>
                  <a:pt x="132816" y="390474"/>
                </a:lnTo>
                <a:lnTo>
                  <a:pt x="141287" y="372846"/>
                </a:lnTo>
                <a:lnTo>
                  <a:pt x="152590" y="355206"/>
                </a:lnTo>
                <a:lnTo>
                  <a:pt x="166725" y="355206"/>
                </a:lnTo>
                <a:lnTo>
                  <a:pt x="177317" y="347649"/>
                </a:lnTo>
                <a:lnTo>
                  <a:pt x="180848" y="345135"/>
                </a:lnTo>
                <a:lnTo>
                  <a:pt x="194983" y="345135"/>
                </a:lnTo>
                <a:lnTo>
                  <a:pt x="194983" y="324980"/>
                </a:lnTo>
                <a:lnTo>
                  <a:pt x="214757" y="317423"/>
                </a:lnTo>
                <a:lnTo>
                  <a:pt x="226060" y="299783"/>
                </a:lnTo>
                <a:lnTo>
                  <a:pt x="240195" y="289712"/>
                </a:lnTo>
                <a:lnTo>
                  <a:pt x="254317" y="277114"/>
                </a:lnTo>
                <a:lnTo>
                  <a:pt x="254317" y="259486"/>
                </a:lnTo>
                <a:lnTo>
                  <a:pt x="259969" y="249402"/>
                </a:lnTo>
                <a:lnTo>
                  <a:pt x="262801" y="244360"/>
                </a:lnTo>
                <a:close/>
              </a:path>
              <a:path w="418465" h="463550">
                <a:moveTo>
                  <a:pt x="418211" y="128485"/>
                </a:moveTo>
                <a:lnTo>
                  <a:pt x="404088" y="120929"/>
                </a:lnTo>
                <a:lnTo>
                  <a:pt x="389953" y="133527"/>
                </a:lnTo>
                <a:lnTo>
                  <a:pt x="375831" y="133527"/>
                </a:lnTo>
                <a:lnTo>
                  <a:pt x="361696" y="123444"/>
                </a:lnTo>
                <a:lnTo>
                  <a:pt x="361696" y="108331"/>
                </a:lnTo>
                <a:lnTo>
                  <a:pt x="359270" y="100774"/>
                </a:lnTo>
                <a:lnTo>
                  <a:pt x="356044" y="90690"/>
                </a:lnTo>
                <a:lnTo>
                  <a:pt x="341922" y="100774"/>
                </a:lnTo>
                <a:lnTo>
                  <a:pt x="327787" y="93218"/>
                </a:lnTo>
                <a:lnTo>
                  <a:pt x="333438" y="78105"/>
                </a:lnTo>
                <a:lnTo>
                  <a:pt x="336270" y="60464"/>
                </a:lnTo>
                <a:lnTo>
                  <a:pt x="339090" y="45351"/>
                </a:lnTo>
                <a:lnTo>
                  <a:pt x="339090" y="27711"/>
                </a:lnTo>
                <a:lnTo>
                  <a:pt x="324967" y="22682"/>
                </a:lnTo>
                <a:lnTo>
                  <a:pt x="322135" y="7556"/>
                </a:lnTo>
                <a:lnTo>
                  <a:pt x="308013" y="0"/>
                </a:lnTo>
                <a:lnTo>
                  <a:pt x="308013" y="35267"/>
                </a:lnTo>
                <a:lnTo>
                  <a:pt x="313664" y="50393"/>
                </a:lnTo>
                <a:lnTo>
                  <a:pt x="313664" y="68021"/>
                </a:lnTo>
                <a:lnTo>
                  <a:pt x="316484" y="85661"/>
                </a:lnTo>
                <a:lnTo>
                  <a:pt x="327787" y="100774"/>
                </a:lnTo>
                <a:lnTo>
                  <a:pt x="319316" y="118402"/>
                </a:lnTo>
                <a:lnTo>
                  <a:pt x="313664" y="133527"/>
                </a:lnTo>
                <a:lnTo>
                  <a:pt x="305181" y="158711"/>
                </a:lnTo>
                <a:lnTo>
                  <a:pt x="288226" y="166268"/>
                </a:lnTo>
                <a:lnTo>
                  <a:pt x="274104" y="173824"/>
                </a:lnTo>
                <a:lnTo>
                  <a:pt x="276923" y="188950"/>
                </a:lnTo>
                <a:lnTo>
                  <a:pt x="296710" y="201536"/>
                </a:lnTo>
                <a:lnTo>
                  <a:pt x="299529" y="216662"/>
                </a:lnTo>
                <a:lnTo>
                  <a:pt x="285407" y="236804"/>
                </a:lnTo>
                <a:lnTo>
                  <a:pt x="271272" y="249402"/>
                </a:lnTo>
                <a:lnTo>
                  <a:pt x="282575" y="264515"/>
                </a:lnTo>
                <a:lnTo>
                  <a:pt x="296710" y="259486"/>
                </a:lnTo>
                <a:lnTo>
                  <a:pt x="313664" y="246888"/>
                </a:lnTo>
                <a:lnTo>
                  <a:pt x="330619" y="229247"/>
                </a:lnTo>
                <a:lnTo>
                  <a:pt x="347573" y="216662"/>
                </a:lnTo>
                <a:lnTo>
                  <a:pt x="356044" y="201536"/>
                </a:lnTo>
                <a:lnTo>
                  <a:pt x="364528" y="178866"/>
                </a:lnTo>
                <a:lnTo>
                  <a:pt x="378650" y="178866"/>
                </a:lnTo>
                <a:lnTo>
                  <a:pt x="387134" y="163753"/>
                </a:lnTo>
                <a:lnTo>
                  <a:pt x="401256" y="158711"/>
                </a:lnTo>
                <a:lnTo>
                  <a:pt x="406908" y="141084"/>
                </a:lnTo>
                <a:lnTo>
                  <a:pt x="413689" y="133527"/>
                </a:lnTo>
                <a:lnTo>
                  <a:pt x="418211" y="128485"/>
                </a:lnTo>
                <a:close/>
              </a:path>
            </a:pathLst>
          </a:custGeom>
          <a:solidFill>
            <a:srgbClr val="D5DBDB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1" name="object 11"/>
          <p:cNvGrpSpPr/>
          <p:nvPr/>
        </p:nvGrpSpPr>
        <p:grpSpPr>
          <a:xfrm>
            <a:off x="3349216" y="1943050"/>
            <a:ext cx="7870190" cy="4457700"/>
            <a:chOff x="3349216" y="1943050"/>
            <a:chExt cx="7870190" cy="4457700"/>
          </a:xfrm>
        </p:grpSpPr>
        <p:pic>
          <p:nvPicPr>
            <p:cNvPr id="12" name="object 12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349216" y="1943050"/>
              <a:ext cx="7869808" cy="4457700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769556" y="3552899"/>
              <a:ext cx="373143" cy="98242"/>
            </a:xfrm>
            <a:prstGeom prst="rect">
              <a:avLst/>
            </a:prstGeom>
          </p:spPr>
        </p:pic>
        <p:sp>
          <p:nvSpPr>
            <p:cNvPr id="14" name="object 14"/>
            <p:cNvSpPr/>
            <p:nvPr/>
          </p:nvSpPr>
          <p:spPr>
            <a:xfrm>
              <a:off x="8865636" y="3299520"/>
              <a:ext cx="186055" cy="297815"/>
            </a:xfrm>
            <a:custGeom>
              <a:avLst/>
              <a:gdLst/>
              <a:ahLst/>
              <a:cxnLst/>
              <a:rect l="l" t="t" r="r" b="b"/>
              <a:pathLst>
                <a:path w="186054" h="297814">
                  <a:moveTo>
                    <a:pt x="92975" y="0"/>
                  </a:moveTo>
                  <a:lnTo>
                    <a:pt x="56875" y="7328"/>
                  </a:lnTo>
                  <a:lnTo>
                    <a:pt x="27311" y="27282"/>
                  </a:lnTo>
                  <a:lnTo>
                    <a:pt x="7336" y="56814"/>
                  </a:lnTo>
                  <a:lnTo>
                    <a:pt x="0" y="92877"/>
                  </a:lnTo>
                  <a:lnTo>
                    <a:pt x="14527" y="162027"/>
                  </a:lnTo>
                  <a:lnTo>
                    <a:pt x="46487" y="228129"/>
                  </a:lnTo>
                  <a:lnTo>
                    <a:pt x="78448" y="277688"/>
                  </a:lnTo>
                  <a:lnTo>
                    <a:pt x="92975" y="297206"/>
                  </a:lnTo>
                  <a:lnTo>
                    <a:pt x="107503" y="277688"/>
                  </a:lnTo>
                  <a:lnTo>
                    <a:pt x="139463" y="228129"/>
                  </a:lnTo>
                  <a:lnTo>
                    <a:pt x="171424" y="162027"/>
                  </a:lnTo>
                  <a:lnTo>
                    <a:pt x="174634" y="146745"/>
                  </a:lnTo>
                  <a:lnTo>
                    <a:pt x="92975" y="146745"/>
                  </a:lnTo>
                  <a:lnTo>
                    <a:pt x="72535" y="142653"/>
                  </a:lnTo>
                  <a:lnTo>
                    <a:pt x="55669" y="131421"/>
                  </a:lnTo>
                  <a:lnTo>
                    <a:pt x="44207" y="114616"/>
                  </a:lnTo>
                  <a:lnTo>
                    <a:pt x="39979" y="93806"/>
                  </a:lnTo>
                  <a:lnTo>
                    <a:pt x="44207" y="73387"/>
                  </a:lnTo>
                  <a:lnTo>
                    <a:pt x="55669" y="56538"/>
                  </a:lnTo>
                  <a:lnTo>
                    <a:pt x="72535" y="45089"/>
                  </a:lnTo>
                  <a:lnTo>
                    <a:pt x="92975" y="40866"/>
                  </a:lnTo>
                  <a:lnTo>
                    <a:pt x="168076" y="40866"/>
                  </a:lnTo>
                  <a:lnTo>
                    <a:pt x="158989" y="27282"/>
                  </a:lnTo>
                  <a:lnTo>
                    <a:pt x="129468" y="7328"/>
                  </a:lnTo>
                  <a:lnTo>
                    <a:pt x="92975" y="0"/>
                  </a:lnTo>
                  <a:close/>
                </a:path>
                <a:path w="186054" h="297814">
                  <a:moveTo>
                    <a:pt x="168076" y="40866"/>
                  </a:moveTo>
                  <a:lnTo>
                    <a:pt x="92975" y="40866"/>
                  </a:lnTo>
                  <a:lnTo>
                    <a:pt x="113953" y="45089"/>
                  </a:lnTo>
                  <a:lnTo>
                    <a:pt x="131095" y="56538"/>
                  </a:lnTo>
                  <a:lnTo>
                    <a:pt x="142660" y="73387"/>
                  </a:lnTo>
                  <a:lnTo>
                    <a:pt x="146902" y="93806"/>
                  </a:lnTo>
                  <a:lnTo>
                    <a:pt x="142660" y="114616"/>
                  </a:lnTo>
                  <a:lnTo>
                    <a:pt x="131095" y="131421"/>
                  </a:lnTo>
                  <a:lnTo>
                    <a:pt x="113953" y="142653"/>
                  </a:lnTo>
                  <a:lnTo>
                    <a:pt x="92975" y="146745"/>
                  </a:lnTo>
                  <a:lnTo>
                    <a:pt x="174634" y="146745"/>
                  </a:lnTo>
                  <a:lnTo>
                    <a:pt x="185952" y="92877"/>
                  </a:lnTo>
                  <a:lnTo>
                    <a:pt x="178746" y="56814"/>
                  </a:lnTo>
                  <a:lnTo>
                    <a:pt x="168076" y="40866"/>
                  </a:lnTo>
                  <a:close/>
                </a:path>
              </a:pathLst>
            </a:custGeom>
            <a:solidFill>
              <a:srgbClr val="00546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5" name="object 1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9632593" y="3620040"/>
              <a:ext cx="210630" cy="55454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9686828" y="3477016"/>
              <a:ext cx="104964" cy="167764"/>
            </a:xfrm>
            <a:prstGeom prst="rect">
              <a:avLst/>
            </a:prstGeom>
          </p:spPr>
        </p:pic>
        <p:pic>
          <p:nvPicPr>
            <p:cNvPr id="17" name="object 1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718022" y="3884191"/>
              <a:ext cx="210630" cy="55454"/>
            </a:xfrm>
            <a:prstGeom prst="rect">
              <a:avLst/>
            </a:prstGeom>
          </p:spPr>
        </p:pic>
        <p:pic>
          <p:nvPicPr>
            <p:cNvPr id="18" name="object 18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772257" y="3741167"/>
              <a:ext cx="104965" cy="167764"/>
            </a:xfrm>
            <a:prstGeom prst="rect">
              <a:avLst/>
            </a:prstGeom>
          </p:spPr>
        </p:pic>
        <p:pic>
          <p:nvPicPr>
            <p:cNvPr id="19" name="object 1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9282799" y="3895700"/>
              <a:ext cx="210630" cy="55454"/>
            </a:xfrm>
            <a:prstGeom prst="rect">
              <a:avLst/>
            </a:prstGeom>
          </p:spPr>
        </p:pic>
        <p:pic>
          <p:nvPicPr>
            <p:cNvPr id="20" name="object 2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337033" y="3752674"/>
              <a:ext cx="104965" cy="167765"/>
            </a:xfrm>
            <a:prstGeom prst="rect">
              <a:avLst/>
            </a:prstGeom>
          </p:spPr>
        </p:pic>
        <p:pic>
          <p:nvPicPr>
            <p:cNvPr id="21" name="object 2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264782" y="3849871"/>
              <a:ext cx="210630" cy="55454"/>
            </a:xfrm>
            <a:prstGeom prst="rect">
              <a:avLst/>
            </a:prstGeom>
          </p:spPr>
        </p:pic>
        <p:pic>
          <p:nvPicPr>
            <p:cNvPr id="22" name="object 2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319018" y="3706845"/>
              <a:ext cx="104964" cy="167765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393118" y="3593783"/>
              <a:ext cx="210631" cy="55454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447353" y="3450757"/>
              <a:ext cx="104965" cy="167765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210220" y="4227118"/>
              <a:ext cx="210630" cy="55454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264456" y="4084092"/>
              <a:ext cx="104964" cy="167765"/>
            </a:xfrm>
            <a:prstGeom prst="rect">
              <a:avLst/>
            </a:prstGeom>
          </p:spPr>
        </p:pic>
        <p:pic>
          <p:nvPicPr>
            <p:cNvPr id="27" name="object 2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786360" y="3478984"/>
              <a:ext cx="210630" cy="55454"/>
            </a:xfrm>
            <a:prstGeom prst="rect">
              <a:avLst/>
            </a:prstGeom>
          </p:spPr>
        </p:pic>
        <p:pic>
          <p:nvPicPr>
            <p:cNvPr id="28" name="object 28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840595" y="3335958"/>
              <a:ext cx="104965" cy="167765"/>
            </a:xfrm>
            <a:prstGeom prst="rect">
              <a:avLst/>
            </a:prstGeom>
          </p:spPr>
        </p:pic>
        <p:pic>
          <p:nvPicPr>
            <p:cNvPr id="29" name="object 2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9396745" y="3072805"/>
              <a:ext cx="210630" cy="55454"/>
            </a:xfrm>
            <a:prstGeom prst="rect">
              <a:avLst/>
            </a:prstGeom>
          </p:spPr>
        </p:pic>
        <p:pic>
          <p:nvPicPr>
            <p:cNvPr id="30" name="object 3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450980" y="2929779"/>
              <a:ext cx="104964" cy="167765"/>
            </a:xfrm>
            <a:prstGeom prst="rect">
              <a:avLst/>
            </a:prstGeom>
          </p:spPr>
        </p:pic>
        <p:pic>
          <p:nvPicPr>
            <p:cNvPr id="31" name="object 3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8202819" y="3271285"/>
              <a:ext cx="210630" cy="55454"/>
            </a:xfrm>
            <a:prstGeom prst="rect">
              <a:avLst/>
            </a:prstGeom>
          </p:spPr>
        </p:pic>
        <p:pic>
          <p:nvPicPr>
            <p:cNvPr id="32" name="object 3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257054" y="3128260"/>
              <a:ext cx="104965" cy="167764"/>
            </a:xfrm>
            <a:prstGeom prst="rect">
              <a:avLst/>
            </a:prstGeom>
          </p:spPr>
        </p:pic>
        <p:pic>
          <p:nvPicPr>
            <p:cNvPr id="33" name="object 33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393118" y="3141330"/>
              <a:ext cx="210631" cy="55454"/>
            </a:xfrm>
            <a:prstGeom prst="rect">
              <a:avLst/>
            </a:prstGeom>
          </p:spPr>
        </p:pic>
        <p:pic>
          <p:nvPicPr>
            <p:cNvPr id="34" name="object 34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447353" y="2998304"/>
              <a:ext cx="104965" cy="167764"/>
            </a:xfrm>
            <a:prstGeom prst="rect">
              <a:avLst/>
            </a:prstGeom>
          </p:spPr>
        </p:pic>
      </p:grpSp>
      <p:grpSp>
        <p:nvGrpSpPr>
          <p:cNvPr id="35" name="object 35"/>
          <p:cNvGrpSpPr/>
          <p:nvPr/>
        </p:nvGrpSpPr>
        <p:grpSpPr>
          <a:xfrm>
            <a:off x="195071" y="3288791"/>
            <a:ext cx="661670" cy="2868295"/>
            <a:chOff x="195071" y="3288791"/>
            <a:chExt cx="661670" cy="2868295"/>
          </a:xfrm>
        </p:grpSpPr>
        <p:pic>
          <p:nvPicPr>
            <p:cNvPr id="36" name="object 36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95071" y="3288791"/>
              <a:ext cx="661416" cy="685799"/>
            </a:xfrm>
            <a:prstGeom prst="rect">
              <a:avLst/>
            </a:prstGeom>
          </p:spPr>
        </p:pic>
        <p:pic>
          <p:nvPicPr>
            <p:cNvPr id="37" name="object 37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446768" y="3511378"/>
              <a:ext cx="137740" cy="137740"/>
            </a:xfrm>
            <a:prstGeom prst="rect">
              <a:avLst/>
            </a:prstGeom>
          </p:spPr>
        </p:pic>
        <p:pic>
          <p:nvPicPr>
            <p:cNvPr id="38" name="object 38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400126" y="3486617"/>
              <a:ext cx="207817" cy="207817"/>
            </a:xfrm>
            <a:prstGeom prst="rect">
              <a:avLst/>
            </a:prstGeom>
          </p:spPr>
        </p:pic>
        <p:pic>
          <p:nvPicPr>
            <p:cNvPr id="39" name="object 39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95071" y="4011167"/>
              <a:ext cx="661416" cy="685800"/>
            </a:xfrm>
            <a:prstGeom prst="rect">
              <a:avLst/>
            </a:prstGeom>
          </p:spPr>
        </p:pic>
        <p:pic>
          <p:nvPicPr>
            <p:cNvPr id="40" name="object 40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446768" y="4233994"/>
              <a:ext cx="137740" cy="137740"/>
            </a:xfrm>
            <a:prstGeom prst="rect">
              <a:avLst/>
            </a:prstGeom>
          </p:spPr>
        </p:pic>
        <p:pic>
          <p:nvPicPr>
            <p:cNvPr id="41" name="object 41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400126" y="4209233"/>
              <a:ext cx="207817" cy="207817"/>
            </a:xfrm>
            <a:prstGeom prst="rect">
              <a:avLst/>
            </a:prstGeom>
          </p:spPr>
        </p:pic>
        <p:pic>
          <p:nvPicPr>
            <p:cNvPr id="42" name="object 42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195071" y="4733543"/>
              <a:ext cx="661416" cy="685800"/>
            </a:xfrm>
            <a:prstGeom prst="rect">
              <a:avLst/>
            </a:prstGeom>
          </p:spPr>
        </p:pic>
        <p:pic>
          <p:nvPicPr>
            <p:cNvPr id="43" name="object 43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446768" y="4956610"/>
              <a:ext cx="137740" cy="137740"/>
            </a:xfrm>
            <a:prstGeom prst="rect">
              <a:avLst/>
            </a:prstGeom>
          </p:spPr>
        </p:pic>
        <p:pic>
          <p:nvPicPr>
            <p:cNvPr id="44" name="object 44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400126" y="4931849"/>
              <a:ext cx="207817" cy="207817"/>
            </a:xfrm>
            <a:prstGeom prst="rect">
              <a:avLst/>
            </a:prstGeom>
          </p:spPr>
        </p:pic>
        <p:pic>
          <p:nvPicPr>
            <p:cNvPr id="45" name="object 45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195071" y="4386071"/>
              <a:ext cx="661416" cy="685800"/>
            </a:xfrm>
            <a:prstGeom prst="rect">
              <a:avLst/>
            </a:prstGeom>
          </p:spPr>
        </p:pic>
        <p:pic>
          <p:nvPicPr>
            <p:cNvPr id="46" name="object 46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446768" y="4610292"/>
              <a:ext cx="137740" cy="137740"/>
            </a:xfrm>
            <a:prstGeom prst="rect">
              <a:avLst/>
            </a:prstGeom>
          </p:spPr>
        </p:pic>
        <p:pic>
          <p:nvPicPr>
            <p:cNvPr id="47" name="object 47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400126" y="4585531"/>
              <a:ext cx="207817" cy="207817"/>
            </a:xfrm>
            <a:prstGeom prst="rect">
              <a:avLst/>
            </a:prstGeom>
          </p:spPr>
        </p:pic>
        <p:pic>
          <p:nvPicPr>
            <p:cNvPr id="48" name="object 48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195071" y="5471159"/>
              <a:ext cx="661416" cy="685799"/>
            </a:xfrm>
            <a:prstGeom prst="rect">
              <a:avLst/>
            </a:prstGeom>
          </p:spPr>
        </p:pic>
        <p:pic>
          <p:nvPicPr>
            <p:cNvPr id="49" name="object 49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446768" y="5694217"/>
              <a:ext cx="137740" cy="137740"/>
            </a:xfrm>
            <a:prstGeom prst="rect">
              <a:avLst/>
            </a:prstGeom>
          </p:spPr>
        </p:pic>
        <p:pic>
          <p:nvPicPr>
            <p:cNvPr id="50" name="object 50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400126" y="5669455"/>
              <a:ext cx="207817" cy="207817"/>
            </a:xfrm>
            <a:prstGeom prst="rect">
              <a:avLst/>
            </a:prstGeom>
          </p:spPr>
        </p:pic>
        <p:pic>
          <p:nvPicPr>
            <p:cNvPr id="51" name="object 51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195071" y="5123687"/>
              <a:ext cx="661416" cy="685800"/>
            </a:xfrm>
            <a:prstGeom prst="rect">
              <a:avLst/>
            </a:prstGeom>
          </p:spPr>
        </p:pic>
        <p:pic>
          <p:nvPicPr>
            <p:cNvPr id="52" name="object 52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446768" y="5347898"/>
              <a:ext cx="137740" cy="137740"/>
            </a:xfrm>
            <a:prstGeom prst="rect">
              <a:avLst/>
            </a:prstGeom>
          </p:spPr>
        </p:pic>
        <p:pic>
          <p:nvPicPr>
            <p:cNvPr id="53" name="object 53"/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400126" y="5323137"/>
              <a:ext cx="207817" cy="207817"/>
            </a:xfrm>
            <a:prstGeom prst="rect">
              <a:avLst/>
            </a:prstGeom>
          </p:spPr>
        </p:pic>
        <p:pic>
          <p:nvPicPr>
            <p:cNvPr id="54" name="object 54"/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195071" y="3636263"/>
              <a:ext cx="661416" cy="685800"/>
            </a:xfrm>
            <a:prstGeom prst="rect">
              <a:avLst/>
            </a:prstGeom>
          </p:spPr>
        </p:pic>
        <p:pic>
          <p:nvPicPr>
            <p:cNvPr id="55" name="object 55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446768" y="3857697"/>
              <a:ext cx="137740" cy="137739"/>
            </a:xfrm>
            <a:prstGeom prst="rect">
              <a:avLst/>
            </a:prstGeom>
          </p:spPr>
        </p:pic>
        <p:pic>
          <p:nvPicPr>
            <p:cNvPr id="56" name="object 56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400126" y="3832934"/>
              <a:ext cx="207817" cy="207817"/>
            </a:xfrm>
            <a:prstGeom prst="rect">
              <a:avLst/>
            </a:prstGeom>
          </p:spPr>
        </p:pic>
      </p:grpSp>
      <p:sp>
        <p:nvSpPr>
          <p:cNvPr id="57" name="object 57"/>
          <p:cNvSpPr txBox="1"/>
          <p:nvPr/>
        </p:nvSpPr>
        <p:spPr>
          <a:xfrm>
            <a:off x="305439" y="1597659"/>
            <a:ext cx="3070225" cy="43434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67005" marR="55880">
              <a:lnSpc>
                <a:spcPct val="100000"/>
              </a:lnSpc>
              <a:spcBef>
                <a:spcPts val="100"/>
              </a:spcBef>
            </a:pPr>
            <a:r>
              <a:rPr sz="1600" spc="-5" dirty="0">
                <a:latin typeface="Arial"/>
                <a:cs typeface="Arial"/>
              </a:rPr>
              <a:t>Международный</a:t>
            </a:r>
            <a:r>
              <a:rPr sz="1600" spc="-70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финансовый  </a:t>
            </a:r>
            <a:r>
              <a:rPr sz="1600" spc="-10" dirty="0">
                <a:latin typeface="Arial"/>
                <a:cs typeface="Arial"/>
              </a:rPr>
              <a:t>центр </a:t>
            </a:r>
            <a:r>
              <a:rPr sz="1600" spc="-5" dirty="0">
                <a:latin typeface="Arial"/>
                <a:cs typeface="Arial"/>
              </a:rPr>
              <a:t>«Астана» (МФЦА)  </a:t>
            </a:r>
            <a:r>
              <a:rPr sz="1600" spc="-15" dirty="0">
                <a:latin typeface="Arial"/>
                <a:cs typeface="Arial"/>
              </a:rPr>
              <a:t>играет </a:t>
            </a:r>
            <a:r>
              <a:rPr sz="1600" spc="-10" dirty="0">
                <a:latin typeface="Arial"/>
                <a:cs typeface="Arial"/>
              </a:rPr>
              <a:t>ключевую </a:t>
            </a:r>
            <a:r>
              <a:rPr sz="1600" spc="-15" dirty="0">
                <a:latin typeface="Arial"/>
                <a:cs typeface="Arial"/>
              </a:rPr>
              <a:t>роль </a:t>
            </a:r>
            <a:r>
              <a:rPr sz="1600" dirty="0">
                <a:latin typeface="Arial"/>
                <a:cs typeface="Arial"/>
              </a:rPr>
              <a:t>в  </a:t>
            </a:r>
            <a:r>
              <a:rPr sz="1600" spc="-5" dirty="0">
                <a:latin typeface="Arial"/>
                <a:cs typeface="Arial"/>
              </a:rPr>
              <a:t>качестве регионального  </a:t>
            </a:r>
            <a:r>
              <a:rPr sz="1600" spc="-10" dirty="0">
                <a:latin typeface="Arial"/>
                <a:cs typeface="Arial"/>
              </a:rPr>
              <a:t>центра </a:t>
            </a:r>
            <a:r>
              <a:rPr sz="1600" spc="-5" dirty="0">
                <a:latin typeface="Arial"/>
                <a:cs typeface="Arial"/>
              </a:rPr>
              <a:t>бизнеса </a:t>
            </a:r>
            <a:r>
              <a:rPr sz="1600" dirty="0">
                <a:latin typeface="Arial"/>
                <a:cs typeface="Arial"/>
              </a:rPr>
              <a:t>и финансов,  </a:t>
            </a:r>
            <a:r>
              <a:rPr sz="1600" spc="-10" dirty="0">
                <a:latin typeface="Arial"/>
                <a:cs typeface="Arial"/>
              </a:rPr>
              <a:t>связывая </a:t>
            </a:r>
            <a:r>
              <a:rPr sz="1600" dirty="0">
                <a:latin typeface="Arial"/>
                <a:cs typeface="Arial"/>
              </a:rPr>
              <a:t>экономики </a:t>
            </a:r>
            <a:r>
              <a:rPr sz="1600" spc="-5" dirty="0">
                <a:latin typeface="Arial"/>
                <a:cs typeface="Arial"/>
              </a:rPr>
              <a:t>стран  The Central</a:t>
            </a:r>
            <a:r>
              <a:rPr sz="1600" spc="-9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Asia</a:t>
            </a:r>
            <a:endParaRPr sz="1600" dirty="0">
              <a:latin typeface="Arial"/>
              <a:cs typeface="Arial"/>
            </a:endParaRPr>
          </a:p>
          <a:p>
            <a:pPr marL="101600">
              <a:lnSpc>
                <a:spcPct val="100000"/>
              </a:lnSpc>
              <a:spcBef>
                <a:spcPts val="160"/>
              </a:spcBef>
              <a:tabLst>
                <a:tab pos="452755" algn="l"/>
              </a:tabLst>
            </a:pPr>
            <a:r>
              <a:rPr sz="3600" spc="-1027" baseline="-10416" dirty="0">
                <a:solidFill>
                  <a:srgbClr val="FFFFFF"/>
                </a:solidFill>
                <a:latin typeface="Wingdings"/>
                <a:cs typeface="Wingdings"/>
              </a:rPr>
              <a:t></a:t>
            </a:r>
            <a:r>
              <a:rPr sz="1600" spc="-685" dirty="0">
                <a:latin typeface="Arial"/>
                <a:cs typeface="Arial"/>
              </a:rPr>
              <a:t>•	</a:t>
            </a:r>
            <a:r>
              <a:rPr sz="1600" spc="-5" dirty="0">
                <a:latin typeface="Arial"/>
                <a:cs typeface="Arial"/>
              </a:rPr>
              <a:t>Центральной</a:t>
            </a:r>
            <a:r>
              <a:rPr sz="1600" spc="5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Азии</a:t>
            </a:r>
          </a:p>
          <a:p>
            <a:pPr marL="101600">
              <a:lnSpc>
                <a:spcPct val="100000"/>
              </a:lnSpc>
              <a:spcBef>
                <a:spcPts val="20"/>
              </a:spcBef>
              <a:tabLst>
                <a:tab pos="452755" algn="l"/>
              </a:tabLst>
            </a:pPr>
            <a:r>
              <a:rPr sz="3600" spc="-1027" baseline="-5787" dirty="0">
                <a:solidFill>
                  <a:srgbClr val="FFFFFF"/>
                </a:solidFill>
                <a:latin typeface="Wingdings"/>
                <a:cs typeface="Wingdings"/>
              </a:rPr>
              <a:t></a:t>
            </a:r>
            <a:r>
              <a:rPr sz="1600" spc="-685" dirty="0">
                <a:latin typeface="Arial"/>
                <a:cs typeface="Arial"/>
              </a:rPr>
              <a:t>•	</a:t>
            </a:r>
            <a:r>
              <a:rPr sz="1600" dirty="0">
                <a:latin typeface="Arial"/>
                <a:cs typeface="Arial"/>
              </a:rPr>
              <a:t>Кавказа</a:t>
            </a:r>
          </a:p>
          <a:p>
            <a:pPr marL="101600">
              <a:lnSpc>
                <a:spcPct val="100000"/>
              </a:lnSpc>
              <a:spcBef>
                <a:spcPts val="25"/>
              </a:spcBef>
              <a:tabLst>
                <a:tab pos="452755" algn="l"/>
              </a:tabLst>
            </a:pPr>
            <a:r>
              <a:rPr sz="3600" spc="-1027" baseline="-8101" dirty="0">
                <a:solidFill>
                  <a:srgbClr val="FFFFFF"/>
                </a:solidFill>
                <a:latin typeface="Wingdings"/>
                <a:cs typeface="Wingdings"/>
              </a:rPr>
              <a:t></a:t>
            </a:r>
            <a:r>
              <a:rPr sz="1600" spc="-685" dirty="0">
                <a:latin typeface="Arial"/>
                <a:cs typeface="Arial"/>
              </a:rPr>
              <a:t>•	</a:t>
            </a:r>
            <a:r>
              <a:rPr sz="1600" spc="-15" dirty="0">
                <a:latin typeface="Arial"/>
                <a:cs typeface="Arial"/>
              </a:rPr>
              <a:t>ЕАЭС</a:t>
            </a:r>
            <a:endParaRPr sz="1600" dirty="0">
              <a:latin typeface="Arial"/>
              <a:cs typeface="Arial"/>
            </a:endParaRPr>
          </a:p>
          <a:p>
            <a:pPr marL="452755" indent="-351790">
              <a:lnSpc>
                <a:spcPct val="100000"/>
              </a:lnSpc>
              <a:spcBef>
                <a:spcPts val="919"/>
              </a:spcBef>
              <a:buClr>
                <a:srgbClr val="FFFFFF"/>
              </a:buClr>
              <a:buSzPct val="150000"/>
              <a:buFont typeface="Wingdings"/>
              <a:buChar char=""/>
              <a:tabLst>
                <a:tab pos="453390" algn="l"/>
              </a:tabLst>
            </a:pPr>
            <a:r>
              <a:rPr sz="1600" spc="-10" dirty="0">
                <a:latin typeface="Arial"/>
                <a:cs typeface="Arial"/>
              </a:rPr>
              <a:t>Западного</a:t>
            </a:r>
            <a:r>
              <a:rPr sz="1600" spc="-5" dirty="0">
                <a:latin typeface="Arial"/>
                <a:cs typeface="Arial"/>
              </a:rPr>
              <a:t> Китая</a:t>
            </a:r>
            <a:endParaRPr sz="1600" dirty="0">
              <a:latin typeface="Arial"/>
              <a:cs typeface="Arial"/>
            </a:endParaRPr>
          </a:p>
          <a:p>
            <a:pPr marL="101600">
              <a:lnSpc>
                <a:spcPct val="100000"/>
              </a:lnSpc>
              <a:spcBef>
                <a:spcPts val="185"/>
              </a:spcBef>
              <a:tabLst>
                <a:tab pos="452755" algn="l"/>
              </a:tabLst>
            </a:pPr>
            <a:r>
              <a:rPr sz="3600" spc="-1027" baseline="-2314" dirty="0">
                <a:solidFill>
                  <a:srgbClr val="FFFFFF"/>
                </a:solidFill>
                <a:latin typeface="Wingdings"/>
                <a:cs typeface="Wingdings"/>
              </a:rPr>
              <a:t></a:t>
            </a:r>
            <a:r>
              <a:rPr sz="1600" spc="-685" dirty="0">
                <a:latin typeface="Arial"/>
                <a:cs typeface="Arial"/>
              </a:rPr>
              <a:t>•	</a:t>
            </a:r>
            <a:r>
              <a:rPr sz="1600" spc="-10" dirty="0">
                <a:latin typeface="Arial"/>
                <a:cs typeface="Arial"/>
              </a:rPr>
              <a:t>Монголии</a:t>
            </a:r>
            <a:endParaRPr sz="1600" dirty="0">
              <a:latin typeface="Arial"/>
              <a:cs typeface="Arial"/>
            </a:endParaRPr>
          </a:p>
          <a:p>
            <a:pPr marL="452755" indent="-351790">
              <a:lnSpc>
                <a:spcPct val="100000"/>
              </a:lnSpc>
              <a:spcBef>
                <a:spcPts val="825"/>
              </a:spcBef>
              <a:buClr>
                <a:srgbClr val="FFFFFF"/>
              </a:buClr>
              <a:buSzPct val="150000"/>
              <a:buFont typeface="Wingdings"/>
              <a:buChar char=""/>
              <a:tabLst>
                <a:tab pos="453390" algn="l"/>
              </a:tabLst>
            </a:pPr>
            <a:r>
              <a:rPr sz="1600" spc="-10" dirty="0">
                <a:latin typeface="Arial"/>
                <a:cs typeface="Arial"/>
              </a:rPr>
              <a:t>Ближнего</a:t>
            </a:r>
            <a:r>
              <a:rPr sz="1600" spc="-5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Востока</a:t>
            </a:r>
          </a:p>
          <a:p>
            <a:pPr marL="452755" indent="-351790">
              <a:lnSpc>
                <a:spcPct val="100000"/>
              </a:lnSpc>
              <a:spcBef>
                <a:spcPts val="985"/>
              </a:spcBef>
              <a:buClr>
                <a:srgbClr val="FFFFFF"/>
              </a:buClr>
              <a:buSzPct val="150000"/>
              <a:buFont typeface="Wingdings"/>
              <a:buChar char=""/>
              <a:tabLst>
                <a:tab pos="453390" algn="l"/>
              </a:tabLst>
            </a:pPr>
            <a:r>
              <a:rPr sz="1600" spc="-5" dirty="0">
                <a:latin typeface="Arial"/>
                <a:cs typeface="Arial"/>
              </a:rPr>
              <a:t>Европы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1090783" y="368807"/>
            <a:ext cx="2923540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spc="-30" dirty="0">
                <a:solidFill>
                  <a:srgbClr val="898989"/>
                </a:solidFill>
                <a:latin typeface="Arial"/>
                <a:cs typeface="Arial"/>
              </a:rPr>
              <a:t>Международный Финансовый Центр</a:t>
            </a:r>
            <a:r>
              <a:rPr sz="1100" spc="-125" dirty="0">
                <a:solidFill>
                  <a:srgbClr val="898989"/>
                </a:solidFill>
                <a:latin typeface="Arial"/>
                <a:cs typeface="Arial"/>
              </a:rPr>
              <a:t> </a:t>
            </a:r>
            <a:r>
              <a:rPr sz="1100" spc="-25" dirty="0">
                <a:solidFill>
                  <a:srgbClr val="898989"/>
                </a:solidFill>
                <a:latin typeface="Arial"/>
                <a:cs typeface="Arial"/>
              </a:rPr>
              <a:t>«Астана»</a:t>
            </a:r>
            <a:endParaRPr sz="11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79945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72810" y="0"/>
            <a:ext cx="376241" cy="542819"/>
          </a:xfrm>
          <a:prstGeom prst="rect">
            <a:avLst/>
          </a:prstGeom>
        </p:spPr>
      </p:pic>
      <p:sp>
        <p:nvSpPr>
          <p:cNvPr id="3" name="object 3"/>
          <p:cNvSpPr/>
          <p:nvPr/>
        </p:nvSpPr>
        <p:spPr>
          <a:xfrm>
            <a:off x="472810" y="6331434"/>
            <a:ext cx="11227435" cy="0"/>
          </a:xfrm>
          <a:custGeom>
            <a:avLst/>
            <a:gdLst/>
            <a:ahLst/>
            <a:cxnLst/>
            <a:rect l="l" t="t" r="r" b="b"/>
            <a:pathLst>
              <a:path w="11227435">
                <a:moveTo>
                  <a:pt x="0" y="0"/>
                </a:moveTo>
                <a:lnTo>
                  <a:pt x="11227049" y="1"/>
                </a:lnTo>
              </a:path>
            </a:pathLst>
          </a:custGeom>
          <a:ln w="12700">
            <a:solidFill>
              <a:srgbClr val="8A8D8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090783" y="368807"/>
            <a:ext cx="2923540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spc="-30" dirty="0">
                <a:solidFill>
                  <a:srgbClr val="898989"/>
                </a:solidFill>
                <a:latin typeface="Arial"/>
                <a:cs typeface="Arial"/>
              </a:rPr>
              <a:t>Международный Финансовый Центр</a:t>
            </a:r>
            <a:r>
              <a:rPr sz="1100" spc="-125" dirty="0">
                <a:solidFill>
                  <a:srgbClr val="898989"/>
                </a:solidFill>
                <a:latin typeface="Arial"/>
                <a:cs typeface="Arial"/>
              </a:rPr>
              <a:t> </a:t>
            </a:r>
            <a:r>
              <a:rPr sz="1100" spc="-25" dirty="0">
                <a:solidFill>
                  <a:srgbClr val="898989"/>
                </a:solidFill>
                <a:latin typeface="Arial"/>
                <a:cs typeface="Arial"/>
              </a:rPr>
              <a:t>«Астана»</a:t>
            </a:r>
            <a:endParaRPr sz="1100">
              <a:latin typeface="Arial"/>
              <a:cs typeface="Arial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7457754" y="2010690"/>
            <a:ext cx="2026920" cy="739775"/>
            <a:chOff x="7457754" y="2010690"/>
            <a:chExt cx="2026920" cy="739775"/>
          </a:xfrm>
        </p:grpSpPr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457754" y="2010690"/>
              <a:ext cx="2026484" cy="681487"/>
            </a:xfrm>
            <a:prstGeom prst="rect">
              <a:avLst/>
            </a:prstGeom>
          </p:spPr>
        </p:pic>
        <p:sp>
          <p:nvSpPr>
            <p:cNvPr id="7" name="object 7"/>
            <p:cNvSpPr/>
            <p:nvPr/>
          </p:nvSpPr>
          <p:spPr>
            <a:xfrm>
              <a:off x="8541655" y="2462500"/>
              <a:ext cx="297815" cy="287655"/>
            </a:xfrm>
            <a:custGeom>
              <a:avLst/>
              <a:gdLst/>
              <a:ahLst/>
              <a:cxnLst/>
              <a:rect l="l" t="t" r="r" b="b"/>
              <a:pathLst>
                <a:path w="297815" h="287655">
                  <a:moveTo>
                    <a:pt x="297381" y="0"/>
                  </a:moveTo>
                  <a:lnTo>
                    <a:pt x="0" y="0"/>
                  </a:lnTo>
                  <a:lnTo>
                    <a:pt x="0" y="287341"/>
                  </a:lnTo>
                  <a:lnTo>
                    <a:pt x="297381" y="287341"/>
                  </a:lnTo>
                  <a:lnTo>
                    <a:pt x="29738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7899338" y="2678006"/>
            <a:ext cx="1177925" cy="989330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R="5080" indent="-9525" algn="ctr">
              <a:lnSpc>
                <a:spcPct val="100800"/>
              </a:lnSpc>
              <a:spcBef>
                <a:spcPts val="180"/>
              </a:spcBef>
            </a:pPr>
            <a:r>
              <a:rPr sz="1400" b="1" spc="-5" dirty="0">
                <a:solidFill>
                  <a:srgbClr val="007680"/>
                </a:solidFill>
                <a:latin typeface="Arial"/>
                <a:cs typeface="Arial"/>
              </a:rPr>
              <a:t>72-ое </a:t>
            </a:r>
            <a:r>
              <a:rPr sz="1400" b="1" spc="-10" dirty="0">
                <a:solidFill>
                  <a:srgbClr val="007680"/>
                </a:solidFill>
                <a:latin typeface="Arial"/>
                <a:cs typeface="Arial"/>
              </a:rPr>
              <a:t>место 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В </a:t>
            </a:r>
            <a:r>
              <a:rPr sz="1200" spc="-15" dirty="0">
                <a:solidFill>
                  <a:srgbClr val="122454"/>
                </a:solidFill>
                <a:latin typeface="Arial"/>
                <a:cs typeface="Arial"/>
              </a:rPr>
              <a:t>Глобальном 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Индексе  Финансовых  Центров</a:t>
            </a:r>
            <a:r>
              <a:rPr sz="1200" spc="-65" dirty="0">
                <a:solidFill>
                  <a:srgbClr val="122454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(ГИФЦ)</a:t>
            </a:r>
            <a:endParaRPr sz="12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9802624" y="2678006"/>
            <a:ext cx="1487170" cy="1358265"/>
          </a:xfrm>
          <a:prstGeom prst="rect">
            <a:avLst/>
          </a:prstGeom>
        </p:spPr>
        <p:txBody>
          <a:bodyPr vert="horz" wrap="square" lIns="0" tIns="24130" rIns="0" bIns="0" rtlCol="0">
            <a:spAutoFit/>
          </a:bodyPr>
          <a:lstStyle/>
          <a:p>
            <a:pPr marR="13970" algn="ctr">
              <a:lnSpc>
                <a:spcPct val="100000"/>
              </a:lnSpc>
              <a:spcBef>
                <a:spcPts val="190"/>
              </a:spcBef>
            </a:pPr>
            <a:r>
              <a:rPr sz="1400" b="1" spc="-5" dirty="0">
                <a:solidFill>
                  <a:srgbClr val="007680"/>
                </a:solidFill>
                <a:latin typeface="Arial"/>
                <a:cs typeface="Arial"/>
              </a:rPr>
              <a:t>18-ое</a:t>
            </a:r>
            <a:r>
              <a:rPr sz="1400" b="1" spc="-15" dirty="0">
                <a:solidFill>
                  <a:srgbClr val="007680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007680"/>
                </a:solidFill>
                <a:latin typeface="Arial"/>
                <a:cs typeface="Arial"/>
              </a:rPr>
              <a:t>место</a:t>
            </a:r>
            <a:endParaRPr sz="1400">
              <a:latin typeface="Arial"/>
              <a:cs typeface="Arial"/>
            </a:endParaRPr>
          </a:p>
          <a:p>
            <a:pPr marR="5080" indent="13970" algn="ctr">
              <a:lnSpc>
                <a:spcPct val="100000"/>
              </a:lnSpc>
              <a:spcBef>
                <a:spcPts val="80"/>
              </a:spcBef>
            </a:pP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В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продвижении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и 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развитии Исламских  Финансов, согласно 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Глобальному</a:t>
            </a:r>
            <a:r>
              <a:rPr sz="1200" spc="-70" dirty="0">
                <a:solidFill>
                  <a:srgbClr val="122454"/>
                </a:solidFill>
                <a:latin typeface="Arial"/>
                <a:cs typeface="Arial"/>
              </a:rPr>
              <a:t>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Отчету 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по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Исламским  Финансам</a:t>
            </a:r>
            <a:endParaRPr sz="1200">
              <a:latin typeface="Arial"/>
              <a:cs typeface="Arial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7711341" y="2069567"/>
            <a:ext cx="3523615" cy="2891790"/>
            <a:chOff x="7711341" y="2069567"/>
            <a:chExt cx="3523615" cy="2891790"/>
          </a:xfrm>
        </p:grpSpPr>
        <p:pic>
          <p:nvPicPr>
            <p:cNvPr id="11" name="object 1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9844689" y="2069567"/>
              <a:ext cx="1389769" cy="581614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711341" y="4266155"/>
              <a:ext cx="1543467" cy="694883"/>
            </a:xfrm>
            <a:prstGeom prst="rect">
              <a:avLst/>
            </a:prstGeom>
          </p:spPr>
        </p:pic>
      </p:grpSp>
      <p:sp>
        <p:nvSpPr>
          <p:cNvPr id="13" name="object 13"/>
          <p:cNvSpPr txBox="1"/>
          <p:nvPr/>
        </p:nvSpPr>
        <p:spPr>
          <a:xfrm>
            <a:off x="7902513" y="4947750"/>
            <a:ext cx="1181100" cy="1082040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/>
          <a:p>
            <a:pPr marR="5080" algn="ctr">
              <a:lnSpc>
                <a:spcPct val="100000"/>
              </a:lnSpc>
              <a:spcBef>
                <a:spcPts val="585"/>
              </a:spcBef>
            </a:pPr>
            <a:r>
              <a:rPr sz="1400" b="1" spc="-5" dirty="0">
                <a:solidFill>
                  <a:srgbClr val="007680"/>
                </a:solidFill>
                <a:latin typeface="Arial"/>
                <a:cs typeface="Arial"/>
              </a:rPr>
              <a:t>25-ое</a:t>
            </a:r>
            <a:r>
              <a:rPr sz="1400" b="1" spc="-30" dirty="0">
                <a:solidFill>
                  <a:srgbClr val="007680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007680"/>
                </a:solidFill>
                <a:latin typeface="Arial"/>
                <a:cs typeface="Arial"/>
              </a:rPr>
              <a:t>место</a:t>
            </a:r>
            <a:endParaRPr sz="1400">
              <a:latin typeface="Arial"/>
              <a:cs typeface="Arial"/>
            </a:endParaRPr>
          </a:p>
          <a:p>
            <a:pPr marR="5080" indent="5080" algn="ctr">
              <a:lnSpc>
                <a:spcPct val="99400"/>
              </a:lnSpc>
              <a:spcBef>
                <a:spcPts val="425"/>
              </a:spcBef>
            </a:pP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Согласно</a:t>
            </a:r>
            <a:r>
              <a:rPr sz="1200" spc="-55" dirty="0">
                <a:solidFill>
                  <a:srgbClr val="122454"/>
                </a:solidFill>
                <a:latin typeface="Arial"/>
                <a:cs typeface="Arial"/>
              </a:rPr>
              <a:t> </a:t>
            </a:r>
            <a:r>
              <a:rPr sz="1200" spc="-15" dirty="0">
                <a:solidFill>
                  <a:srgbClr val="122454"/>
                </a:solidFill>
                <a:latin typeface="Arial"/>
                <a:cs typeface="Arial"/>
              </a:rPr>
              <a:t>отчету 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Всемирного 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Банка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«Ведение 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Бизнеса»</a:t>
            </a:r>
            <a:r>
              <a:rPr sz="1200" spc="-50" dirty="0">
                <a:solidFill>
                  <a:srgbClr val="122454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(2019)</a:t>
            </a:r>
            <a:endParaRPr sz="12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9886787" y="4554030"/>
            <a:ext cx="1021080" cy="2559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89"/>
              </a:lnSpc>
            </a:pPr>
            <a:r>
              <a:rPr sz="1800" b="1" spc="-5" dirty="0">
                <a:solidFill>
                  <a:srgbClr val="007680"/>
                </a:solidFill>
                <a:latin typeface="Arial"/>
                <a:cs typeface="Arial"/>
              </a:rPr>
              <a:t>55</a:t>
            </a:r>
            <a:r>
              <a:rPr sz="1800" b="1" spc="-7" baseline="23148" dirty="0">
                <a:solidFill>
                  <a:srgbClr val="007680"/>
                </a:solidFill>
                <a:latin typeface="Arial"/>
                <a:cs typeface="Arial"/>
              </a:rPr>
              <a:t>th</a:t>
            </a:r>
            <a:r>
              <a:rPr sz="1800" b="1" spc="142" baseline="23148" dirty="0">
                <a:solidFill>
                  <a:srgbClr val="007680"/>
                </a:solidFill>
                <a:latin typeface="Arial"/>
                <a:cs typeface="Arial"/>
              </a:rPr>
              <a:t> </a:t>
            </a:r>
            <a:r>
              <a:rPr sz="1800" b="1" spc="-5" dirty="0">
                <a:solidFill>
                  <a:srgbClr val="007680"/>
                </a:solidFill>
                <a:latin typeface="Arial"/>
                <a:cs typeface="Arial"/>
              </a:rPr>
              <a:t>Rank</a:t>
            </a:r>
            <a:endParaRPr sz="1800">
              <a:latin typeface="Arial"/>
              <a:cs typeface="Arial"/>
            </a:endParaRPr>
          </a:p>
        </p:txBody>
      </p:sp>
      <p:grpSp>
        <p:nvGrpSpPr>
          <p:cNvPr id="15" name="object 15"/>
          <p:cNvGrpSpPr/>
          <p:nvPr/>
        </p:nvGrpSpPr>
        <p:grpSpPr>
          <a:xfrm>
            <a:off x="7185472" y="1103030"/>
            <a:ext cx="4497070" cy="5168265"/>
            <a:chOff x="7185472" y="1103030"/>
            <a:chExt cx="4497070" cy="5168265"/>
          </a:xfrm>
        </p:grpSpPr>
        <p:pic>
          <p:nvPicPr>
            <p:cNvPr id="16" name="object 16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873149" y="4254479"/>
              <a:ext cx="1276861" cy="794651"/>
            </a:xfrm>
            <a:prstGeom prst="rect">
              <a:avLst/>
            </a:prstGeom>
          </p:spPr>
        </p:pic>
        <p:sp>
          <p:nvSpPr>
            <p:cNvPr id="17" name="object 17"/>
            <p:cNvSpPr/>
            <p:nvPr/>
          </p:nvSpPr>
          <p:spPr>
            <a:xfrm>
              <a:off x="7191820" y="1327149"/>
              <a:ext cx="4484370" cy="4937760"/>
            </a:xfrm>
            <a:custGeom>
              <a:avLst/>
              <a:gdLst/>
              <a:ahLst/>
              <a:cxnLst/>
              <a:rect l="l" t="t" r="r" b="b"/>
              <a:pathLst>
                <a:path w="4484370" h="4937760">
                  <a:moveTo>
                    <a:pt x="4484243" y="4799330"/>
                  </a:moveTo>
                  <a:lnTo>
                    <a:pt x="138518" y="4799330"/>
                  </a:lnTo>
                  <a:lnTo>
                    <a:pt x="138518" y="139700"/>
                  </a:lnTo>
                  <a:lnTo>
                    <a:pt x="2015680" y="139700"/>
                  </a:lnTo>
                  <a:lnTo>
                    <a:pt x="2015680" y="0"/>
                  </a:lnTo>
                  <a:lnTo>
                    <a:pt x="0" y="0"/>
                  </a:lnTo>
                  <a:lnTo>
                    <a:pt x="0" y="139700"/>
                  </a:lnTo>
                  <a:lnTo>
                    <a:pt x="0" y="4799330"/>
                  </a:lnTo>
                  <a:lnTo>
                    <a:pt x="0" y="4937760"/>
                  </a:lnTo>
                  <a:lnTo>
                    <a:pt x="4484243" y="4937760"/>
                  </a:lnTo>
                  <a:lnTo>
                    <a:pt x="4484243" y="4799330"/>
                  </a:lnTo>
                  <a:close/>
                </a:path>
                <a:path w="4484370" h="4937760">
                  <a:moveTo>
                    <a:pt x="4484243" y="0"/>
                  </a:moveTo>
                  <a:lnTo>
                    <a:pt x="2641485" y="0"/>
                  </a:lnTo>
                  <a:lnTo>
                    <a:pt x="2641485" y="139700"/>
                  </a:lnTo>
                  <a:lnTo>
                    <a:pt x="4345724" y="139700"/>
                  </a:lnTo>
                  <a:lnTo>
                    <a:pt x="4345724" y="4798974"/>
                  </a:lnTo>
                  <a:lnTo>
                    <a:pt x="4484243" y="4798974"/>
                  </a:lnTo>
                  <a:lnTo>
                    <a:pt x="4484243" y="139700"/>
                  </a:lnTo>
                  <a:lnTo>
                    <a:pt x="4484243" y="139128"/>
                  </a:lnTo>
                  <a:lnTo>
                    <a:pt x="4484243" y="0"/>
                  </a:lnTo>
                  <a:close/>
                </a:path>
              </a:pathLst>
            </a:custGeom>
            <a:solidFill>
              <a:srgbClr val="00617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7191822" y="1327758"/>
              <a:ext cx="4484370" cy="4937125"/>
            </a:xfrm>
            <a:custGeom>
              <a:avLst/>
              <a:gdLst/>
              <a:ahLst/>
              <a:cxnLst/>
              <a:rect l="l" t="t" r="r" b="b"/>
              <a:pathLst>
                <a:path w="4484370" h="4937125">
                  <a:moveTo>
                    <a:pt x="0" y="0"/>
                  </a:moveTo>
                  <a:lnTo>
                    <a:pt x="4484240" y="0"/>
                  </a:lnTo>
                  <a:lnTo>
                    <a:pt x="4484240" y="4936881"/>
                  </a:lnTo>
                  <a:lnTo>
                    <a:pt x="0" y="4936881"/>
                  </a:lnTo>
                  <a:lnTo>
                    <a:pt x="0" y="0"/>
                  </a:lnTo>
                  <a:close/>
                </a:path>
                <a:path w="4484370" h="4937125">
                  <a:moveTo>
                    <a:pt x="138517" y="138517"/>
                  </a:moveTo>
                  <a:lnTo>
                    <a:pt x="138517" y="4798363"/>
                  </a:lnTo>
                  <a:lnTo>
                    <a:pt x="4345722" y="4798363"/>
                  </a:lnTo>
                  <a:lnTo>
                    <a:pt x="4345722" y="138517"/>
                  </a:lnTo>
                  <a:lnTo>
                    <a:pt x="138517" y="138517"/>
                  </a:lnTo>
                  <a:close/>
                </a:path>
              </a:pathLst>
            </a:custGeom>
            <a:ln w="12700">
              <a:solidFill>
                <a:srgbClr val="00617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9207500" y="1310106"/>
              <a:ext cx="626110" cy="189230"/>
            </a:xfrm>
            <a:custGeom>
              <a:avLst/>
              <a:gdLst/>
              <a:ahLst/>
              <a:cxnLst/>
              <a:rect l="l" t="t" r="r" b="b"/>
              <a:pathLst>
                <a:path w="626109" h="189230">
                  <a:moveTo>
                    <a:pt x="625812" y="0"/>
                  </a:moveTo>
                  <a:lnTo>
                    <a:pt x="0" y="0"/>
                  </a:lnTo>
                  <a:lnTo>
                    <a:pt x="0" y="189141"/>
                  </a:lnTo>
                  <a:lnTo>
                    <a:pt x="625812" y="189141"/>
                  </a:lnTo>
                  <a:lnTo>
                    <a:pt x="62581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0" name="object 20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9593253" y="1616834"/>
              <a:ext cx="250010" cy="240576"/>
            </a:xfrm>
            <a:prstGeom prst="rect">
              <a:avLst/>
            </a:prstGeom>
          </p:spPr>
        </p:pic>
        <p:pic>
          <p:nvPicPr>
            <p:cNvPr id="21" name="object 21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9197008" y="1616834"/>
              <a:ext cx="251583" cy="240576"/>
            </a:xfrm>
            <a:prstGeom prst="rect">
              <a:avLst/>
            </a:prstGeom>
          </p:spPr>
        </p:pic>
        <p:sp>
          <p:nvSpPr>
            <p:cNvPr id="22" name="object 22"/>
            <p:cNvSpPr/>
            <p:nvPr/>
          </p:nvSpPr>
          <p:spPr>
            <a:xfrm>
              <a:off x="9208008" y="1103032"/>
              <a:ext cx="626110" cy="622300"/>
            </a:xfrm>
            <a:custGeom>
              <a:avLst/>
              <a:gdLst/>
              <a:ahLst/>
              <a:cxnLst/>
              <a:rect l="l" t="t" r="r" b="b"/>
              <a:pathLst>
                <a:path w="626109" h="622300">
                  <a:moveTo>
                    <a:pt x="496874" y="312267"/>
                  </a:moveTo>
                  <a:lnTo>
                    <a:pt x="490270" y="263626"/>
                  </a:lnTo>
                  <a:lnTo>
                    <a:pt x="471639" y="219798"/>
                  </a:lnTo>
                  <a:lnTo>
                    <a:pt x="460603" y="205562"/>
                  </a:lnTo>
                  <a:lnTo>
                    <a:pt x="460603" y="312267"/>
                  </a:lnTo>
                  <a:lnTo>
                    <a:pt x="453199" y="358394"/>
                  </a:lnTo>
                  <a:lnTo>
                    <a:pt x="432498" y="398818"/>
                  </a:lnTo>
                  <a:lnTo>
                    <a:pt x="400723" y="430923"/>
                  </a:lnTo>
                  <a:lnTo>
                    <a:pt x="360108" y="452094"/>
                  </a:lnTo>
                  <a:lnTo>
                    <a:pt x="312915" y="459727"/>
                  </a:lnTo>
                  <a:lnTo>
                    <a:pt x="265709" y="452094"/>
                  </a:lnTo>
                  <a:lnTo>
                    <a:pt x="225094" y="430923"/>
                  </a:lnTo>
                  <a:lnTo>
                    <a:pt x="193319" y="398818"/>
                  </a:lnTo>
                  <a:lnTo>
                    <a:pt x="172618" y="358394"/>
                  </a:lnTo>
                  <a:lnTo>
                    <a:pt x="165214" y="312267"/>
                  </a:lnTo>
                  <a:lnTo>
                    <a:pt x="172618" y="265137"/>
                  </a:lnTo>
                  <a:lnTo>
                    <a:pt x="193319" y="224586"/>
                  </a:lnTo>
                  <a:lnTo>
                    <a:pt x="225094" y="192862"/>
                  </a:lnTo>
                  <a:lnTo>
                    <a:pt x="265709" y="172186"/>
                  </a:lnTo>
                  <a:lnTo>
                    <a:pt x="312915" y="164795"/>
                  </a:lnTo>
                  <a:lnTo>
                    <a:pt x="360108" y="172186"/>
                  </a:lnTo>
                  <a:lnTo>
                    <a:pt x="400723" y="192862"/>
                  </a:lnTo>
                  <a:lnTo>
                    <a:pt x="432498" y="224586"/>
                  </a:lnTo>
                  <a:lnTo>
                    <a:pt x="453199" y="265137"/>
                  </a:lnTo>
                  <a:lnTo>
                    <a:pt x="460603" y="312267"/>
                  </a:lnTo>
                  <a:lnTo>
                    <a:pt x="460603" y="205562"/>
                  </a:lnTo>
                  <a:lnTo>
                    <a:pt x="442785" y="182575"/>
                  </a:lnTo>
                  <a:lnTo>
                    <a:pt x="419773" y="164795"/>
                  </a:lnTo>
                  <a:lnTo>
                    <a:pt x="405523" y="153771"/>
                  </a:lnTo>
                  <a:lnTo>
                    <a:pt x="361619" y="135166"/>
                  </a:lnTo>
                  <a:lnTo>
                    <a:pt x="312915" y="128574"/>
                  </a:lnTo>
                  <a:lnTo>
                    <a:pt x="264198" y="135166"/>
                  </a:lnTo>
                  <a:lnTo>
                    <a:pt x="220294" y="153771"/>
                  </a:lnTo>
                  <a:lnTo>
                    <a:pt x="183032" y="182575"/>
                  </a:lnTo>
                  <a:lnTo>
                    <a:pt x="154178" y="219798"/>
                  </a:lnTo>
                  <a:lnTo>
                    <a:pt x="135547" y="263626"/>
                  </a:lnTo>
                  <a:lnTo>
                    <a:pt x="128943" y="312267"/>
                  </a:lnTo>
                  <a:lnTo>
                    <a:pt x="135547" y="360718"/>
                  </a:lnTo>
                  <a:lnTo>
                    <a:pt x="154178" y="404063"/>
                  </a:lnTo>
                  <a:lnTo>
                    <a:pt x="183032" y="440651"/>
                  </a:lnTo>
                  <a:lnTo>
                    <a:pt x="220294" y="468833"/>
                  </a:lnTo>
                  <a:lnTo>
                    <a:pt x="264198" y="486956"/>
                  </a:lnTo>
                  <a:lnTo>
                    <a:pt x="312915" y="493369"/>
                  </a:lnTo>
                  <a:lnTo>
                    <a:pt x="361619" y="486956"/>
                  </a:lnTo>
                  <a:lnTo>
                    <a:pt x="405523" y="468833"/>
                  </a:lnTo>
                  <a:lnTo>
                    <a:pt x="417550" y="459727"/>
                  </a:lnTo>
                  <a:lnTo>
                    <a:pt x="442785" y="440651"/>
                  </a:lnTo>
                  <a:lnTo>
                    <a:pt x="471639" y="404063"/>
                  </a:lnTo>
                  <a:lnTo>
                    <a:pt x="490270" y="360718"/>
                  </a:lnTo>
                  <a:lnTo>
                    <a:pt x="496874" y="312267"/>
                  </a:lnTo>
                  <a:close/>
                </a:path>
                <a:path w="626109" h="622300">
                  <a:moveTo>
                    <a:pt x="625817" y="312420"/>
                  </a:moveTo>
                  <a:lnTo>
                    <a:pt x="620649" y="307340"/>
                  </a:lnTo>
                  <a:lnTo>
                    <a:pt x="615467" y="299720"/>
                  </a:lnTo>
                  <a:lnTo>
                    <a:pt x="610298" y="297180"/>
                  </a:lnTo>
                  <a:lnTo>
                    <a:pt x="607707" y="292100"/>
                  </a:lnTo>
                  <a:lnTo>
                    <a:pt x="602538" y="289560"/>
                  </a:lnTo>
                  <a:lnTo>
                    <a:pt x="599960" y="284480"/>
                  </a:lnTo>
                  <a:lnTo>
                    <a:pt x="594779" y="279400"/>
                  </a:lnTo>
                  <a:lnTo>
                    <a:pt x="589610" y="276860"/>
                  </a:lnTo>
                  <a:lnTo>
                    <a:pt x="587019" y="271780"/>
                  </a:lnTo>
                  <a:lnTo>
                    <a:pt x="581850" y="269240"/>
                  </a:lnTo>
                  <a:lnTo>
                    <a:pt x="576681" y="264160"/>
                  </a:lnTo>
                  <a:lnTo>
                    <a:pt x="574090" y="264160"/>
                  </a:lnTo>
                  <a:lnTo>
                    <a:pt x="574090" y="261620"/>
                  </a:lnTo>
                  <a:lnTo>
                    <a:pt x="571512" y="261620"/>
                  </a:lnTo>
                  <a:lnTo>
                    <a:pt x="566331" y="256540"/>
                  </a:lnTo>
                  <a:lnTo>
                    <a:pt x="563753" y="256540"/>
                  </a:lnTo>
                  <a:lnTo>
                    <a:pt x="561162" y="254000"/>
                  </a:lnTo>
                  <a:lnTo>
                    <a:pt x="555993" y="251460"/>
                  </a:lnTo>
                  <a:lnTo>
                    <a:pt x="555993" y="248920"/>
                  </a:lnTo>
                  <a:lnTo>
                    <a:pt x="553402" y="248920"/>
                  </a:lnTo>
                  <a:lnTo>
                    <a:pt x="553402" y="245110"/>
                  </a:lnTo>
                  <a:lnTo>
                    <a:pt x="558584" y="240030"/>
                  </a:lnTo>
                  <a:lnTo>
                    <a:pt x="558584" y="234950"/>
                  </a:lnTo>
                  <a:lnTo>
                    <a:pt x="562419" y="228600"/>
                  </a:lnTo>
                  <a:lnTo>
                    <a:pt x="566013" y="222250"/>
                  </a:lnTo>
                  <a:lnTo>
                    <a:pt x="569125" y="213360"/>
                  </a:lnTo>
                  <a:lnTo>
                    <a:pt x="571512" y="204470"/>
                  </a:lnTo>
                  <a:lnTo>
                    <a:pt x="574903" y="196850"/>
                  </a:lnTo>
                  <a:lnTo>
                    <a:pt x="577329" y="187960"/>
                  </a:lnTo>
                  <a:lnTo>
                    <a:pt x="578777" y="180340"/>
                  </a:lnTo>
                  <a:lnTo>
                    <a:pt x="579272" y="173990"/>
                  </a:lnTo>
                  <a:lnTo>
                    <a:pt x="581850" y="167640"/>
                  </a:lnTo>
                  <a:lnTo>
                    <a:pt x="581850" y="157480"/>
                  </a:lnTo>
                  <a:lnTo>
                    <a:pt x="576681" y="154940"/>
                  </a:lnTo>
                  <a:lnTo>
                    <a:pt x="568921" y="149860"/>
                  </a:lnTo>
                  <a:lnTo>
                    <a:pt x="560755" y="148590"/>
                  </a:lnTo>
                  <a:lnTo>
                    <a:pt x="543471" y="144780"/>
                  </a:lnTo>
                  <a:lnTo>
                    <a:pt x="535305" y="142240"/>
                  </a:lnTo>
                  <a:lnTo>
                    <a:pt x="526046" y="140970"/>
                  </a:lnTo>
                  <a:lnTo>
                    <a:pt x="522376" y="139877"/>
                  </a:lnTo>
                  <a:lnTo>
                    <a:pt x="522376" y="312420"/>
                  </a:lnTo>
                  <a:lnTo>
                    <a:pt x="516877" y="360680"/>
                  </a:lnTo>
                  <a:lnTo>
                    <a:pt x="501205" y="403860"/>
                  </a:lnTo>
                  <a:lnTo>
                    <a:pt x="476567" y="443230"/>
                  </a:lnTo>
                  <a:lnTo>
                    <a:pt x="444207" y="474980"/>
                  </a:lnTo>
                  <a:lnTo>
                    <a:pt x="405320" y="500380"/>
                  </a:lnTo>
                  <a:lnTo>
                    <a:pt x="361149" y="516890"/>
                  </a:lnTo>
                  <a:lnTo>
                    <a:pt x="312902" y="521970"/>
                  </a:lnTo>
                  <a:lnTo>
                    <a:pt x="264668" y="516890"/>
                  </a:lnTo>
                  <a:lnTo>
                    <a:pt x="220484" y="500380"/>
                  </a:lnTo>
                  <a:lnTo>
                    <a:pt x="181610" y="474980"/>
                  </a:lnTo>
                  <a:lnTo>
                    <a:pt x="149237" y="443230"/>
                  </a:lnTo>
                  <a:lnTo>
                    <a:pt x="124612" y="403860"/>
                  </a:lnTo>
                  <a:lnTo>
                    <a:pt x="108940" y="360680"/>
                  </a:lnTo>
                  <a:lnTo>
                    <a:pt x="103441" y="312420"/>
                  </a:lnTo>
                  <a:lnTo>
                    <a:pt x="108940" y="264160"/>
                  </a:lnTo>
                  <a:lnTo>
                    <a:pt x="124612" y="220980"/>
                  </a:lnTo>
                  <a:lnTo>
                    <a:pt x="149237" y="181610"/>
                  </a:lnTo>
                  <a:lnTo>
                    <a:pt x="181610" y="149860"/>
                  </a:lnTo>
                  <a:lnTo>
                    <a:pt x="220484" y="124460"/>
                  </a:lnTo>
                  <a:lnTo>
                    <a:pt x="264668" y="109220"/>
                  </a:lnTo>
                  <a:lnTo>
                    <a:pt x="312902" y="104140"/>
                  </a:lnTo>
                  <a:lnTo>
                    <a:pt x="361149" y="109220"/>
                  </a:lnTo>
                  <a:lnTo>
                    <a:pt x="405320" y="124460"/>
                  </a:lnTo>
                  <a:lnTo>
                    <a:pt x="444207" y="149860"/>
                  </a:lnTo>
                  <a:lnTo>
                    <a:pt x="476567" y="181610"/>
                  </a:lnTo>
                  <a:lnTo>
                    <a:pt x="501205" y="220980"/>
                  </a:lnTo>
                  <a:lnTo>
                    <a:pt x="516877" y="264160"/>
                  </a:lnTo>
                  <a:lnTo>
                    <a:pt x="522376" y="312420"/>
                  </a:lnTo>
                  <a:lnTo>
                    <a:pt x="522376" y="139877"/>
                  </a:lnTo>
                  <a:lnTo>
                    <a:pt x="517525" y="138430"/>
                  </a:lnTo>
                  <a:lnTo>
                    <a:pt x="509485" y="137160"/>
                  </a:lnTo>
                  <a:lnTo>
                    <a:pt x="491337" y="137160"/>
                  </a:lnTo>
                  <a:lnTo>
                    <a:pt x="488759" y="134620"/>
                  </a:lnTo>
                  <a:lnTo>
                    <a:pt x="488759" y="121920"/>
                  </a:lnTo>
                  <a:lnTo>
                    <a:pt x="487222" y="115570"/>
                  </a:lnTo>
                  <a:lnTo>
                    <a:pt x="486168" y="106680"/>
                  </a:lnTo>
                  <a:lnTo>
                    <a:pt x="476669" y="64770"/>
                  </a:lnTo>
                  <a:lnTo>
                    <a:pt x="473240" y="57150"/>
                  </a:lnTo>
                  <a:lnTo>
                    <a:pt x="470649" y="49530"/>
                  </a:lnTo>
                  <a:lnTo>
                    <a:pt x="468071" y="44450"/>
                  </a:lnTo>
                  <a:lnTo>
                    <a:pt x="457720" y="44450"/>
                  </a:lnTo>
                  <a:lnTo>
                    <a:pt x="452551" y="46990"/>
                  </a:lnTo>
                  <a:lnTo>
                    <a:pt x="445846" y="46990"/>
                  </a:lnTo>
                  <a:lnTo>
                    <a:pt x="437680" y="48260"/>
                  </a:lnTo>
                  <a:lnTo>
                    <a:pt x="428548" y="50800"/>
                  </a:lnTo>
                  <a:lnTo>
                    <a:pt x="418934" y="54610"/>
                  </a:lnTo>
                  <a:lnTo>
                    <a:pt x="411213" y="57150"/>
                  </a:lnTo>
                  <a:lnTo>
                    <a:pt x="380149" y="72390"/>
                  </a:lnTo>
                  <a:lnTo>
                    <a:pt x="377558" y="69850"/>
                  </a:lnTo>
                  <a:lnTo>
                    <a:pt x="374967" y="69850"/>
                  </a:lnTo>
                  <a:lnTo>
                    <a:pt x="374967" y="67310"/>
                  </a:lnTo>
                  <a:lnTo>
                    <a:pt x="372389" y="64770"/>
                  </a:lnTo>
                  <a:lnTo>
                    <a:pt x="369798" y="59690"/>
                  </a:lnTo>
                  <a:lnTo>
                    <a:pt x="367220" y="59690"/>
                  </a:lnTo>
                  <a:lnTo>
                    <a:pt x="367220" y="57150"/>
                  </a:lnTo>
                  <a:lnTo>
                    <a:pt x="364629" y="54610"/>
                  </a:lnTo>
                  <a:lnTo>
                    <a:pt x="364629" y="52070"/>
                  </a:lnTo>
                  <a:lnTo>
                    <a:pt x="362038" y="52070"/>
                  </a:lnTo>
                  <a:lnTo>
                    <a:pt x="359460" y="49530"/>
                  </a:lnTo>
                  <a:lnTo>
                    <a:pt x="354279" y="39370"/>
                  </a:lnTo>
                  <a:lnTo>
                    <a:pt x="349110" y="36830"/>
                  </a:lnTo>
                  <a:lnTo>
                    <a:pt x="343293" y="29210"/>
                  </a:lnTo>
                  <a:lnTo>
                    <a:pt x="325843" y="10160"/>
                  </a:lnTo>
                  <a:lnTo>
                    <a:pt x="318084" y="5080"/>
                  </a:lnTo>
                  <a:lnTo>
                    <a:pt x="312902" y="0"/>
                  </a:lnTo>
                  <a:lnTo>
                    <a:pt x="307733" y="5080"/>
                  </a:lnTo>
                  <a:lnTo>
                    <a:pt x="299974" y="10160"/>
                  </a:lnTo>
                  <a:lnTo>
                    <a:pt x="297395" y="15240"/>
                  </a:lnTo>
                  <a:lnTo>
                    <a:pt x="292227" y="17780"/>
                  </a:lnTo>
                  <a:lnTo>
                    <a:pt x="279285" y="31750"/>
                  </a:lnTo>
                  <a:lnTo>
                    <a:pt x="276707" y="36830"/>
                  </a:lnTo>
                  <a:lnTo>
                    <a:pt x="271538" y="39370"/>
                  </a:lnTo>
                  <a:lnTo>
                    <a:pt x="266357" y="49530"/>
                  </a:lnTo>
                  <a:lnTo>
                    <a:pt x="263779" y="52070"/>
                  </a:lnTo>
                  <a:lnTo>
                    <a:pt x="261188" y="52070"/>
                  </a:lnTo>
                  <a:lnTo>
                    <a:pt x="261188" y="54610"/>
                  </a:lnTo>
                  <a:lnTo>
                    <a:pt x="258597" y="57150"/>
                  </a:lnTo>
                  <a:lnTo>
                    <a:pt x="258597" y="59690"/>
                  </a:lnTo>
                  <a:lnTo>
                    <a:pt x="256019" y="59690"/>
                  </a:lnTo>
                  <a:lnTo>
                    <a:pt x="253428" y="64770"/>
                  </a:lnTo>
                  <a:lnTo>
                    <a:pt x="250850" y="67310"/>
                  </a:lnTo>
                  <a:lnTo>
                    <a:pt x="250850" y="69850"/>
                  </a:lnTo>
                  <a:lnTo>
                    <a:pt x="248259" y="69850"/>
                  </a:lnTo>
                  <a:lnTo>
                    <a:pt x="245668" y="72390"/>
                  </a:lnTo>
                  <a:lnTo>
                    <a:pt x="240499" y="67310"/>
                  </a:lnTo>
                  <a:lnTo>
                    <a:pt x="206883" y="54610"/>
                  </a:lnTo>
                  <a:lnTo>
                    <a:pt x="197269" y="50800"/>
                  </a:lnTo>
                  <a:lnTo>
                    <a:pt x="188137" y="48260"/>
                  </a:lnTo>
                  <a:lnTo>
                    <a:pt x="179971" y="46990"/>
                  </a:lnTo>
                  <a:lnTo>
                    <a:pt x="173266" y="46990"/>
                  </a:lnTo>
                  <a:lnTo>
                    <a:pt x="168097" y="44450"/>
                  </a:lnTo>
                  <a:lnTo>
                    <a:pt x="157746" y="44450"/>
                  </a:lnTo>
                  <a:lnTo>
                    <a:pt x="155168" y="49530"/>
                  </a:lnTo>
                  <a:lnTo>
                    <a:pt x="152577" y="57150"/>
                  </a:lnTo>
                  <a:lnTo>
                    <a:pt x="149136" y="64770"/>
                  </a:lnTo>
                  <a:lnTo>
                    <a:pt x="139649" y="106680"/>
                  </a:lnTo>
                  <a:lnTo>
                    <a:pt x="138595" y="115570"/>
                  </a:lnTo>
                  <a:lnTo>
                    <a:pt x="137058" y="121920"/>
                  </a:lnTo>
                  <a:lnTo>
                    <a:pt x="137058" y="134620"/>
                  </a:lnTo>
                  <a:lnTo>
                    <a:pt x="134480" y="137160"/>
                  </a:lnTo>
                  <a:lnTo>
                    <a:pt x="116332" y="137160"/>
                  </a:lnTo>
                  <a:lnTo>
                    <a:pt x="108292" y="138430"/>
                  </a:lnTo>
                  <a:lnTo>
                    <a:pt x="99758" y="140970"/>
                  </a:lnTo>
                  <a:lnTo>
                    <a:pt x="90512" y="142240"/>
                  </a:lnTo>
                  <a:lnTo>
                    <a:pt x="82346" y="144780"/>
                  </a:lnTo>
                  <a:lnTo>
                    <a:pt x="65049" y="148590"/>
                  </a:lnTo>
                  <a:lnTo>
                    <a:pt x="56896" y="149860"/>
                  </a:lnTo>
                  <a:lnTo>
                    <a:pt x="49136" y="154940"/>
                  </a:lnTo>
                  <a:lnTo>
                    <a:pt x="43967" y="157480"/>
                  </a:lnTo>
                  <a:lnTo>
                    <a:pt x="43967" y="167640"/>
                  </a:lnTo>
                  <a:lnTo>
                    <a:pt x="46545" y="173990"/>
                  </a:lnTo>
                  <a:lnTo>
                    <a:pt x="47028" y="180340"/>
                  </a:lnTo>
                  <a:lnTo>
                    <a:pt x="48488" y="187960"/>
                  </a:lnTo>
                  <a:lnTo>
                    <a:pt x="50914" y="196850"/>
                  </a:lnTo>
                  <a:lnTo>
                    <a:pt x="54305" y="204470"/>
                  </a:lnTo>
                  <a:lnTo>
                    <a:pt x="56692" y="213360"/>
                  </a:lnTo>
                  <a:lnTo>
                    <a:pt x="59804" y="222250"/>
                  </a:lnTo>
                  <a:lnTo>
                    <a:pt x="63398" y="228600"/>
                  </a:lnTo>
                  <a:lnTo>
                    <a:pt x="67233" y="234950"/>
                  </a:lnTo>
                  <a:lnTo>
                    <a:pt x="67233" y="240030"/>
                  </a:lnTo>
                  <a:lnTo>
                    <a:pt x="72415" y="245110"/>
                  </a:lnTo>
                  <a:lnTo>
                    <a:pt x="72415" y="248920"/>
                  </a:lnTo>
                  <a:lnTo>
                    <a:pt x="69824" y="248920"/>
                  </a:lnTo>
                  <a:lnTo>
                    <a:pt x="69824" y="251460"/>
                  </a:lnTo>
                  <a:lnTo>
                    <a:pt x="59474" y="256540"/>
                  </a:lnTo>
                  <a:lnTo>
                    <a:pt x="54305" y="261620"/>
                  </a:lnTo>
                  <a:lnTo>
                    <a:pt x="51727" y="261620"/>
                  </a:lnTo>
                  <a:lnTo>
                    <a:pt x="51727" y="264160"/>
                  </a:lnTo>
                  <a:lnTo>
                    <a:pt x="49136" y="264160"/>
                  </a:lnTo>
                  <a:lnTo>
                    <a:pt x="43967" y="269240"/>
                  </a:lnTo>
                  <a:lnTo>
                    <a:pt x="38798" y="271780"/>
                  </a:lnTo>
                  <a:lnTo>
                    <a:pt x="36207" y="276860"/>
                  </a:lnTo>
                  <a:lnTo>
                    <a:pt x="28892" y="281940"/>
                  </a:lnTo>
                  <a:lnTo>
                    <a:pt x="22301" y="288290"/>
                  </a:lnTo>
                  <a:lnTo>
                    <a:pt x="16205" y="294640"/>
                  </a:lnTo>
                  <a:lnTo>
                    <a:pt x="10350" y="299720"/>
                  </a:lnTo>
                  <a:lnTo>
                    <a:pt x="5168" y="307340"/>
                  </a:lnTo>
                  <a:lnTo>
                    <a:pt x="0" y="312420"/>
                  </a:lnTo>
                  <a:lnTo>
                    <a:pt x="5168" y="317500"/>
                  </a:lnTo>
                  <a:lnTo>
                    <a:pt x="10350" y="326390"/>
                  </a:lnTo>
                  <a:lnTo>
                    <a:pt x="15519" y="328930"/>
                  </a:lnTo>
                  <a:lnTo>
                    <a:pt x="18110" y="334010"/>
                  </a:lnTo>
                  <a:lnTo>
                    <a:pt x="23279" y="336550"/>
                  </a:lnTo>
                  <a:lnTo>
                    <a:pt x="25857" y="341630"/>
                  </a:lnTo>
                  <a:lnTo>
                    <a:pt x="31038" y="344170"/>
                  </a:lnTo>
                  <a:lnTo>
                    <a:pt x="36207" y="349250"/>
                  </a:lnTo>
                  <a:lnTo>
                    <a:pt x="38798" y="354330"/>
                  </a:lnTo>
                  <a:lnTo>
                    <a:pt x="49136" y="359410"/>
                  </a:lnTo>
                  <a:lnTo>
                    <a:pt x="51727" y="361950"/>
                  </a:lnTo>
                  <a:lnTo>
                    <a:pt x="51727" y="364490"/>
                  </a:lnTo>
                  <a:lnTo>
                    <a:pt x="54305" y="364490"/>
                  </a:lnTo>
                  <a:lnTo>
                    <a:pt x="56896" y="367030"/>
                  </a:lnTo>
                  <a:lnTo>
                    <a:pt x="59474" y="367030"/>
                  </a:lnTo>
                  <a:lnTo>
                    <a:pt x="59474" y="369570"/>
                  </a:lnTo>
                  <a:lnTo>
                    <a:pt x="69824" y="374650"/>
                  </a:lnTo>
                  <a:lnTo>
                    <a:pt x="69824" y="377190"/>
                  </a:lnTo>
                  <a:lnTo>
                    <a:pt x="72415" y="377190"/>
                  </a:lnTo>
                  <a:lnTo>
                    <a:pt x="72415" y="379730"/>
                  </a:lnTo>
                  <a:lnTo>
                    <a:pt x="69824" y="379730"/>
                  </a:lnTo>
                  <a:lnTo>
                    <a:pt x="67233" y="384810"/>
                  </a:lnTo>
                  <a:lnTo>
                    <a:pt x="67233" y="389890"/>
                  </a:lnTo>
                  <a:lnTo>
                    <a:pt x="63398" y="396240"/>
                  </a:lnTo>
                  <a:lnTo>
                    <a:pt x="59804" y="403860"/>
                  </a:lnTo>
                  <a:lnTo>
                    <a:pt x="56692" y="411480"/>
                  </a:lnTo>
                  <a:lnTo>
                    <a:pt x="54305" y="419100"/>
                  </a:lnTo>
                  <a:lnTo>
                    <a:pt x="50914" y="427990"/>
                  </a:lnTo>
                  <a:lnTo>
                    <a:pt x="48488" y="436880"/>
                  </a:lnTo>
                  <a:lnTo>
                    <a:pt x="47028" y="444500"/>
                  </a:lnTo>
                  <a:lnTo>
                    <a:pt x="46545" y="452120"/>
                  </a:lnTo>
                  <a:lnTo>
                    <a:pt x="43967" y="457200"/>
                  </a:lnTo>
                  <a:lnTo>
                    <a:pt x="43967" y="467360"/>
                  </a:lnTo>
                  <a:lnTo>
                    <a:pt x="56896" y="473710"/>
                  </a:lnTo>
                  <a:lnTo>
                    <a:pt x="65049" y="476250"/>
                  </a:lnTo>
                  <a:lnTo>
                    <a:pt x="82346" y="481330"/>
                  </a:lnTo>
                  <a:lnTo>
                    <a:pt x="90512" y="483870"/>
                  </a:lnTo>
                  <a:lnTo>
                    <a:pt x="99758" y="485140"/>
                  </a:lnTo>
                  <a:lnTo>
                    <a:pt x="108292" y="486410"/>
                  </a:lnTo>
                  <a:lnTo>
                    <a:pt x="124129" y="488950"/>
                  </a:lnTo>
                  <a:lnTo>
                    <a:pt x="137058" y="488950"/>
                  </a:lnTo>
                  <a:lnTo>
                    <a:pt x="137058" y="501650"/>
                  </a:lnTo>
                  <a:lnTo>
                    <a:pt x="138595" y="509270"/>
                  </a:lnTo>
                  <a:lnTo>
                    <a:pt x="139649" y="516890"/>
                  </a:lnTo>
                  <a:lnTo>
                    <a:pt x="149136" y="558800"/>
                  </a:lnTo>
                  <a:lnTo>
                    <a:pt x="152577" y="566420"/>
                  </a:lnTo>
                  <a:lnTo>
                    <a:pt x="155168" y="576580"/>
                  </a:lnTo>
                  <a:lnTo>
                    <a:pt x="157746" y="581660"/>
                  </a:lnTo>
                  <a:lnTo>
                    <a:pt x="168097" y="581660"/>
                  </a:lnTo>
                  <a:lnTo>
                    <a:pt x="173266" y="579120"/>
                  </a:lnTo>
                  <a:lnTo>
                    <a:pt x="179971" y="576580"/>
                  </a:lnTo>
                  <a:lnTo>
                    <a:pt x="188137" y="575310"/>
                  </a:lnTo>
                  <a:lnTo>
                    <a:pt x="197269" y="572770"/>
                  </a:lnTo>
                  <a:lnTo>
                    <a:pt x="206883" y="571500"/>
                  </a:lnTo>
                  <a:lnTo>
                    <a:pt x="214604" y="567690"/>
                  </a:lnTo>
                  <a:lnTo>
                    <a:pt x="222072" y="565150"/>
                  </a:lnTo>
                  <a:lnTo>
                    <a:pt x="229069" y="561340"/>
                  </a:lnTo>
                  <a:lnTo>
                    <a:pt x="235331" y="558800"/>
                  </a:lnTo>
                  <a:lnTo>
                    <a:pt x="240499" y="556260"/>
                  </a:lnTo>
                  <a:lnTo>
                    <a:pt x="243090" y="556260"/>
                  </a:lnTo>
                  <a:lnTo>
                    <a:pt x="245668" y="553720"/>
                  </a:lnTo>
                  <a:lnTo>
                    <a:pt x="248259" y="553720"/>
                  </a:lnTo>
                  <a:lnTo>
                    <a:pt x="250850" y="556260"/>
                  </a:lnTo>
                  <a:lnTo>
                    <a:pt x="253428" y="561340"/>
                  </a:lnTo>
                  <a:lnTo>
                    <a:pt x="258597" y="566420"/>
                  </a:lnTo>
                  <a:lnTo>
                    <a:pt x="258597" y="568960"/>
                  </a:lnTo>
                  <a:lnTo>
                    <a:pt x="263779" y="574040"/>
                  </a:lnTo>
                  <a:lnTo>
                    <a:pt x="263779" y="576580"/>
                  </a:lnTo>
                  <a:lnTo>
                    <a:pt x="276707" y="589280"/>
                  </a:lnTo>
                  <a:lnTo>
                    <a:pt x="282524" y="596900"/>
                  </a:lnTo>
                  <a:lnTo>
                    <a:pt x="288340" y="603250"/>
                  </a:lnTo>
                  <a:lnTo>
                    <a:pt x="294157" y="608330"/>
                  </a:lnTo>
                  <a:lnTo>
                    <a:pt x="299974" y="612140"/>
                  </a:lnTo>
                  <a:lnTo>
                    <a:pt x="307733" y="619760"/>
                  </a:lnTo>
                  <a:lnTo>
                    <a:pt x="312902" y="622300"/>
                  </a:lnTo>
                  <a:lnTo>
                    <a:pt x="318084" y="619760"/>
                  </a:lnTo>
                  <a:lnTo>
                    <a:pt x="328422" y="609600"/>
                  </a:lnTo>
                  <a:lnTo>
                    <a:pt x="333590" y="607060"/>
                  </a:lnTo>
                  <a:lnTo>
                    <a:pt x="336181" y="601980"/>
                  </a:lnTo>
                  <a:lnTo>
                    <a:pt x="341350" y="599440"/>
                  </a:lnTo>
                  <a:lnTo>
                    <a:pt x="346532" y="594360"/>
                  </a:lnTo>
                  <a:lnTo>
                    <a:pt x="349110" y="589280"/>
                  </a:lnTo>
                  <a:lnTo>
                    <a:pt x="356870" y="581660"/>
                  </a:lnTo>
                  <a:lnTo>
                    <a:pt x="359460" y="576580"/>
                  </a:lnTo>
                  <a:lnTo>
                    <a:pt x="367220" y="568960"/>
                  </a:lnTo>
                  <a:lnTo>
                    <a:pt x="367220" y="566420"/>
                  </a:lnTo>
                  <a:lnTo>
                    <a:pt x="372389" y="561340"/>
                  </a:lnTo>
                  <a:lnTo>
                    <a:pt x="374967" y="556260"/>
                  </a:lnTo>
                  <a:lnTo>
                    <a:pt x="377558" y="553720"/>
                  </a:lnTo>
                  <a:lnTo>
                    <a:pt x="380149" y="553720"/>
                  </a:lnTo>
                  <a:lnTo>
                    <a:pt x="382727" y="556260"/>
                  </a:lnTo>
                  <a:lnTo>
                    <a:pt x="385318" y="556260"/>
                  </a:lnTo>
                  <a:lnTo>
                    <a:pt x="390486" y="558800"/>
                  </a:lnTo>
                  <a:lnTo>
                    <a:pt x="396748" y="561340"/>
                  </a:lnTo>
                  <a:lnTo>
                    <a:pt x="403745" y="565150"/>
                  </a:lnTo>
                  <a:lnTo>
                    <a:pt x="411213" y="567690"/>
                  </a:lnTo>
                  <a:lnTo>
                    <a:pt x="418934" y="571500"/>
                  </a:lnTo>
                  <a:lnTo>
                    <a:pt x="428548" y="572770"/>
                  </a:lnTo>
                  <a:lnTo>
                    <a:pt x="437680" y="575310"/>
                  </a:lnTo>
                  <a:lnTo>
                    <a:pt x="445846" y="576580"/>
                  </a:lnTo>
                  <a:lnTo>
                    <a:pt x="452551" y="579120"/>
                  </a:lnTo>
                  <a:lnTo>
                    <a:pt x="457720" y="581660"/>
                  </a:lnTo>
                  <a:lnTo>
                    <a:pt x="468071" y="581660"/>
                  </a:lnTo>
                  <a:lnTo>
                    <a:pt x="470649" y="576580"/>
                  </a:lnTo>
                  <a:lnTo>
                    <a:pt x="473240" y="566420"/>
                  </a:lnTo>
                  <a:lnTo>
                    <a:pt x="476669" y="558800"/>
                  </a:lnTo>
                  <a:lnTo>
                    <a:pt x="486168" y="516890"/>
                  </a:lnTo>
                  <a:lnTo>
                    <a:pt x="487222" y="509270"/>
                  </a:lnTo>
                  <a:lnTo>
                    <a:pt x="488759" y="501650"/>
                  </a:lnTo>
                  <a:lnTo>
                    <a:pt x="488759" y="488950"/>
                  </a:lnTo>
                  <a:lnTo>
                    <a:pt x="501688" y="488950"/>
                  </a:lnTo>
                  <a:lnTo>
                    <a:pt x="517525" y="486410"/>
                  </a:lnTo>
                  <a:lnTo>
                    <a:pt x="526046" y="485140"/>
                  </a:lnTo>
                  <a:lnTo>
                    <a:pt x="535305" y="483870"/>
                  </a:lnTo>
                  <a:lnTo>
                    <a:pt x="543471" y="481330"/>
                  </a:lnTo>
                  <a:lnTo>
                    <a:pt x="560755" y="476250"/>
                  </a:lnTo>
                  <a:lnTo>
                    <a:pt x="568921" y="473710"/>
                  </a:lnTo>
                  <a:lnTo>
                    <a:pt x="581850" y="467360"/>
                  </a:lnTo>
                  <a:lnTo>
                    <a:pt x="581850" y="457200"/>
                  </a:lnTo>
                  <a:lnTo>
                    <a:pt x="579272" y="452120"/>
                  </a:lnTo>
                  <a:lnTo>
                    <a:pt x="578777" y="444500"/>
                  </a:lnTo>
                  <a:lnTo>
                    <a:pt x="577329" y="436880"/>
                  </a:lnTo>
                  <a:lnTo>
                    <a:pt x="574903" y="427990"/>
                  </a:lnTo>
                  <a:lnTo>
                    <a:pt x="571512" y="419100"/>
                  </a:lnTo>
                  <a:lnTo>
                    <a:pt x="569125" y="411480"/>
                  </a:lnTo>
                  <a:lnTo>
                    <a:pt x="566013" y="403860"/>
                  </a:lnTo>
                  <a:lnTo>
                    <a:pt x="562419" y="396240"/>
                  </a:lnTo>
                  <a:lnTo>
                    <a:pt x="558584" y="389890"/>
                  </a:lnTo>
                  <a:lnTo>
                    <a:pt x="558584" y="384810"/>
                  </a:lnTo>
                  <a:lnTo>
                    <a:pt x="555993" y="379730"/>
                  </a:lnTo>
                  <a:lnTo>
                    <a:pt x="553402" y="379730"/>
                  </a:lnTo>
                  <a:lnTo>
                    <a:pt x="553402" y="377190"/>
                  </a:lnTo>
                  <a:lnTo>
                    <a:pt x="555993" y="377190"/>
                  </a:lnTo>
                  <a:lnTo>
                    <a:pt x="555993" y="374650"/>
                  </a:lnTo>
                  <a:lnTo>
                    <a:pt x="561162" y="372110"/>
                  </a:lnTo>
                  <a:lnTo>
                    <a:pt x="566331" y="367030"/>
                  </a:lnTo>
                  <a:lnTo>
                    <a:pt x="568921" y="367030"/>
                  </a:lnTo>
                  <a:lnTo>
                    <a:pt x="571512" y="364490"/>
                  </a:lnTo>
                  <a:lnTo>
                    <a:pt x="574090" y="364490"/>
                  </a:lnTo>
                  <a:lnTo>
                    <a:pt x="574090" y="361950"/>
                  </a:lnTo>
                  <a:lnTo>
                    <a:pt x="576681" y="359410"/>
                  </a:lnTo>
                  <a:lnTo>
                    <a:pt x="587019" y="354330"/>
                  </a:lnTo>
                  <a:lnTo>
                    <a:pt x="589610" y="349250"/>
                  </a:lnTo>
                  <a:lnTo>
                    <a:pt x="596925" y="342900"/>
                  </a:lnTo>
                  <a:lnTo>
                    <a:pt x="609612" y="330200"/>
                  </a:lnTo>
                  <a:lnTo>
                    <a:pt x="615467" y="326390"/>
                  </a:lnTo>
                  <a:lnTo>
                    <a:pt x="620649" y="317500"/>
                  </a:lnTo>
                  <a:lnTo>
                    <a:pt x="625817" y="312420"/>
                  </a:lnTo>
                  <a:close/>
                </a:path>
              </a:pathLst>
            </a:custGeom>
            <a:solidFill>
              <a:srgbClr val="00617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object 23"/>
          <p:cNvSpPr txBox="1"/>
          <p:nvPr/>
        </p:nvSpPr>
        <p:spPr>
          <a:xfrm>
            <a:off x="9691054" y="4947750"/>
            <a:ext cx="1709420" cy="1082040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/>
          <a:p>
            <a:pPr marR="13335" algn="ctr">
              <a:lnSpc>
                <a:spcPct val="100000"/>
              </a:lnSpc>
              <a:spcBef>
                <a:spcPts val="585"/>
              </a:spcBef>
            </a:pPr>
            <a:r>
              <a:rPr sz="1400" b="1" spc="-5" dirty="0">
                <a:solidFill>
                  <a:srgbClr val="007680"/>
                </a:solidFill>
                <a:latin typeface="Arial"/>
                <a:cs typeface="Arial"/>
              </a:rPr>
              <a:t>55-ое</a:t>
            </a:r>
            <a:r>
              <a:rPr sz="1400" b="1" spc="-15" dirty="0">
                <a:solidFill>
                  <a:srgbClr val="007680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007680"/>
                </a:solidFill>
                <a:latin typeface="Arial"/>
                <a:cs typeface="Arial"/>
              </a:rPr>
              <a:t>место</a:t>
            </a:r>
            <a:endParaRPr sz="1400">
              <a:latin typeface="Arial"/>
              <a:cs typeface="Arial"/>
            </a:endParaRPr>
          </a:p>
          <a:p>
            <a:pPr marR="5080" indent="15875" algn="ctr">
              <a:lnSpc>
                <a:spcPct val="99400"/>
              </a:lnSpc>
              <a:spcBef>
                <a:spcPts val="425"/>
              </a:spcBef>
            </a:pP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В </a:t>
            </a:r>
            <a:r>
              <a:rPr sz="1200" spc="-15" dirty="0">
                <a:solidFill>
                  <a:srgbClr val="122454"/>
                </a:solidFill>
                <a:latin typeface="Arial"/>
                <a:cs typeface="Arial"/>
              </a:rPr>
              <a:t>Глобальном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Индексе 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К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он</a:t>
            </a:r>
            <a:r>
              <a:rPr sz="1200" spc="10" dirty="0">
                <a:solidFill>
                  <a:srgbClr val="122454"/>
                </a:solidFill>
                <a:latin typeface="Arial"/>
                <a:cs typeface="Arial"/>
              </a:rPr>
              <a:t>к</a:t>
            </a:r>
            <a:r>
              <a:rPr sz="1200" spc="-15" dirty="0">
                <a:solidFill>
                  <a:srgbClr val="122454"/>
                </a:solidFill>
                <a:latin typeface="Arial"/>
                <a:cs typeface="Arial"/>
              </a:rPr>
              <a:t>у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рен</a:t>
            </a:r>
            <a:r>
              <a:rPr sz="1200" spc="-15" dirty="0">
                <a:solidFill>
                  <a:srgbClr val="122454"/>
                </a:solidFill>
                <a:latin typeface="Arial"/>
                <a:cs typeface="Arial"/>
              </a:rPr>
              <a:t>т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о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с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по</a:t>
            </a:r>
            <a:r>
              <a:rPr sz="1200" spc="10" dirty="0">
                <a:solidFill>
                  <a:srgbClr val="122454"/>
                </a:solidFill>
                <a:latin typeface="Arial"/>
                <a:cs typeface="Arial"/>
              </a:rPr>
              <a:t>с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о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б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но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сти 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Всемирного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Банка 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(2019)</a:t>
            </a:r>
            <a:endParaRPr sz="1200"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555028" y="6428232"/>
            <a:ext cx="103505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dirty="0">
                <a:solidFill>
                  <a:srgbClr val="097F88"/>
                </a:solidFill>
                <a:latin typeface="Arial"/>
                <a:cs typeface="Arial"/>
              </a:rPr>
              <a:t>4</a:t>
            </a:r>
            <a:endParaRPr sz="1100">
              <a:latin typeface="Arial"/>
              <a:cs typeface="Arial"/>
            </a:endParaRPr>
          </a:p>
        </p:txBody>
      </p:sp>
      <p:sp>
        <p:nvSpPr>
          <p:cNvPr id="25" name="object 25"/>
          <p:cNvSpPr txBox="1">
            <a:spLocks noGrp="1"/>
          </p:cNvSpPr>
          <p:nvPr>
            <p:ph type="title"/>
          </p:nvPr>
        </p:nvSpPr>
        <p:spPr>
          <a:xfrm>
            <a:off x="447423" y="737107"/>
            <a:ext cx="3376929" cy="4826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000" b="1" spc="-10" dirty="0">
                <a:latin typeface="Arial"/>
                <a:cs typeface="Arial"/>
              </a:rPr>
              <a:t>Потенциал</a:t>
            </a:r>
            <a:r>
              <a:rPr sz="3000" b="1" spc="-70" dirty="0">
                <a:latin typeface="Arial"/>
                <a:cs typeface="Arial"/>
              </a:rPr>
              <a:t> </a:t>
            </a:r>
            <a:r>
              <a:rPr sz="3000" b="1" spc="-5" dirty="0">
                <a:latin typeface="Arial"/>
                <a:cs typeface="Arial"/>
              </a:rPr>
              <a:t>МФЦА</a:t>
            </a:r>
            <a:endParaRPr sz="3000">
              <a:latin typeface="Arial"/>
              <a:cs typeface="Arial"/>
            </a:endParaRPr>
          </a:p>
        </p:txBody>
      </p:sp>
      <p:grpSp>
        <p:nvGrpSpPr>
          <p:cNvPr id="26" name="object 26"/>
          <p:cNvGrpSpPr/>
          <p:nvPr/>
        </p:nvGrpSpPr>
        <p:grpSpPr>
          <a:xfrm>
            <a:off x="423873" y="1441485"/>
            <a:ext cx="6266815" cy="1315085"/>
            <a:chOff x="423873" y="1441485"/>
            <a:chExt cx="6266815" cy="1315085"/>
          </a:xfrm>
        </p:grpSpPr>
        <p:pic>
          <p:nvPicPr>
            <p:cNvPr id="27" name="object 27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23873" y="2364544"/>
              <a:ext cx="998103" cy="162143"/>
            </a:xfrm>
            <a:prstGeom prst="rect">
              <a:avLst/>
            </a:prstGeom>
          </p:spPr>
        </p:pic>
        <p:pic>
          <p:nvPicPr>
            <p:cNvPr id="28" name="object 28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517946" y="1611039"/>
              <a:ext cx="809958" cy="809957"/>
            </a:xfrm>
            <a:prstGeom prst="rect">
              <a:avLst/>
            </a:prstGeom>
          </p:spPr>
        </p:pic>
        <p:sp>
          <p:nvSpPr>
            <p:cNvPr id="29" name="object 29"/>
            <p:cNvSpPr/>
            <p:nvPr/>
          </p:nvSpPr>
          <p:spPr>
            <a:xfrm>
              <a:off x="742873" y="1836470"/>
              <a:ext cx="436245" cy="344805"/>
            </a:xfrm>
            <a:custGeom>
              <a:avLst/>
              <a:gdLst/>
              <a:ahLst/>
              <a:cxnLst/>
              <a:rect l="l" t="t" r="r" b="b"/>
              <a:pathLst>
                <a:path w="436244" h="344805">
                  <a:moveTo>
                    <a:pt x="141351" y="271132"/>
                  </a:moveTo>
                  <a:lnTo>
                    <a:pt x="140068" y="269849"/>
                  </a:lnTo>
                  <a:lnTo>
                    <a:pt x="140068" y="273710"/>
                  </a:lnTo>
                  <a:lnTo>
                    <a:pt x="141351" y="273710"/>
                  </a:lnTo>
                  <a:lnTo>
                    <a:pt x="141351" y="271132"/>
                  </a:lnTo>
                  <a:close/>
                </a:path>
                <a:path w="436244" h="344805">
                  <a:moveTo>
                    <a:pt x="299402" y="135178"/>
                  </a:moveTo>
                  <a:lnTo>
                    <a:pt x="294652" y="109702"/>
                  </a:lnTo>
                  <a:lnTo>
                    <a:pt x="287045" y="89369"/>
                  </a:lnTo>
                  <a:lnTo>
                    <a:pt x="285635" y="85598"/>
                  </a:lnTo>
                  <a:lnTo>
                    <a:pt x="277380" y="71501"/>
                  </a:lnTo>
                  <a:lnTo>
                    <a:pt x="272643" y="63385"/>
                  </a:lnTo>
                  <a:lnTo>
                    <a:pt x="255993" y="43561"/>
                  </a:lnTo>
                  <a:lnTo>
                    <a:pt x="254889" y="42659"/>
                  </a:lnTo>
                  <a:lnTo>
                    <a:pt x="254889" y="71501"/>
                  </a:lnTo>
                  <a:lnTo>
                    <a:pt x="218147" y="71501"/>
                  </a:lnTo>
                  <a:lnTo>
                    <a:pt x="213702" y="61468"/>
                  </a:lnTo>
                  <a:lnTo>
                    <a:pt x="213702" y="140766"/>
                  </a:lnTo>
                  <a:lnTo>
                    <a:pt x="159156" y="140766"/>
                  </a:lnTo>
                  <a:lnTo>
                    <a:pt x="159156" y="89369"/>
                  </a:lnTo>
                  <a:lnTo>
                    <a:pt x="204800" y="89369"/>
                  </a:lnTo>
                  <a:lnTo>
                    <a:pt x="208534" y="102120"/>
                  </a:lnTo>
                  <a:lnTo>
                    <a:pt x="211340" y="115062"/>
                  </a:lnTo>
                  <a:lnTo>
                    <a:pt x="213093" y="128016"/>
                  </a:lnTo>
                  <a:lnTo>
                    <a:pt x="213702" y="140766"/>
                  </a:lnTo>
                  <a:lnTo>
                    <a:pt x="213702" y="61468"/>
                  </a:lnTo>
                  <a:lnTo>
                    <a:pt x="212750" y="59309"/>
                  </a:lnTo>
                  <a:lnTo>
                    <a:pt x="206603" y="47752"/>
                  </a:lnTo>
                  <a:lnTo>
                    <a:pt x="199834" y="36614"/>
                  </a:lnTo>
                  <a:lnTo>
                    <a:pt x="198120" y="34048"/>
                  </a:lnTo>
                  <a:lnTo>
                    <a:pt x="198120" y="71501"/>
                  </a:lnTo>
                  <a:lnTo>
                    <a:pt x="159156" y="71501"/>
                  </a:lnTo>
                  <a:lnTo>
                    <a:pt x="159156" y="18986"/>
                  </a:lnTo>
                  <a:lnTo>
                    <a:pt x="162496" y="18986"/>
                  </a:lnTo>
                  <a:lnTo>
                    <a:pt x="172923" y="31127"/>
                  </a:lnTo>
                  <a:lnTo>
                    <a:pt x="182397" y="43992"/>
                  </a:lnTo>
                  <a:lnTo>
                    <a:pt x="190830" y="57480"/>
                  </a:lnTo>
                  <a:lnTo>
                    <a:pt x="198120" y="71501"/>
                  </a:lnTo>
                  <a:lnTo>
                    <a:pt x="198120" y="34048"/>
                  </a:lnTo>
                  <a:lnTo>
                    <a:pt x="192557" y="25692"/>
                  </a:lnTo>
                  <a:lnTo>
                    <a:pt x="206324" y="31369"/>
                  </a:lnTo>
                  <a:lnTo>
                    <a:pt x="219265" y="38404"/>
                  </a:lnTo>
                  <a:lnTo>
                    <a:pt x="231368" y="46901"/>
                  </a:lnTo>
                  <a:lnTo>
                    <a:pt x="242646" y="56972"/>
                  </a:lnTo>
                  <a:lnTo>
                    <a:pt x="251548" y="65913"/>
                  </a:lnTo>
                  <a:lnTo>
                    <a:pt x="254889" y="71501"/>
                  </a:lnTo>
                  <a:lnTo>
                    <a:pt x="254889" y="42659"/>
                  </a:lnTo>
                  <a:lnTo>
                    <a:pt x="234238" y="25692"/>
                  </a:lnTo>
                  <a:lnTo>
                    <a:pt x="233375" y="24980"/>
                  </a:lnTo>
                  <a:lnTo>
                    <a:pt x="222135" y="18986"/>
                  </a:lnTo>
                  <a:lnTo>
                    <a:pt x="207721" y="11303"/>
                  </a:lnTo>
                  <a:lnTo>
                    <a:pt x="179768" y="2882"/>
                  </a:lnTo>
                  <a:lnTo>
                    <a:pt x="150253" y="0"/>
                  </a:lnTo>
                  <a:lnTo>
                    <a:pt x="140246" y="990"/>
                  </a:lnTo>
                  <a:lnTo>
                    <a:pt x="140246" y="18986"/>
                  </a:lnTo>
                  <a:lnTo>
                    <a:pt x="140246" y="71501"/>
                  </a:lnTo>
                  <a:lnTo>
                    <a:pt x="140246" y="89369"/>
                  </a:lnTo>
                  <a:lnTo>
                    <a:pt x="140246" y="140766"/>
                  </a:lnTo>
                  <a:lnTo>
                    <a:pt x="140246" y="159753"/>
                  </a:lnTo>
                  <a:lnTo>
                    <a:pt x="140246" y="208915"/>
                  </a:lnTo>
                  <a:lnTo>
                    <a:pt x="96837" y="208915"/>
                  </a:lnTo>
                  <a:lnTo>
                    <a:pt x="93078" y="196989"/>
                  </a:lnTo>
                  <a:lnTo>
                    <a:pt x="90157" y="184746"/>
                  </a:lnTo>
                  <a:lnTo>
                    <a:pt x="88061" y="172300"/>
                  </a:lnTo>
                  <a:lnTo>
                    <a:pt x="86817" y="159753"/>
                  </a:lnTo>
                  <a:lnTo>
                    <a:pt x="140246" y="159753"/>
                  </a:lnTo>
                  <a:lnTo>
                    <a:pt x="140246" y="140766"/>
                  </a:lnTo>
                  <a:lnTo>
                    <a:pt x="85699" y="140766"/>
                  </a:lnTo>
                  <a:lnTo>
                    <a:pt x="86779" y="128016"/>
                  </a:lnTo>
                  <a:lnTo>
                    <a:pt x="88480" y="115062"/>
                  </a:lnTo>
                  <a:lnTo>
                    <a:pt x="91020" y="102120"/>
                  </a:lnTo>
                  <a:lnTo>
                    <a:pt x="94602" y="89369"/>
                  </a:lnTo>
                  <a:lnTo>
                    <a:pt x="140246" y="89369"/>
                  </a:lnTo>
                  <a:lnTo>
                    <a:pt x="140246" y="71501"/>
                  </a:lnTo>
                  <a:lnTo>
                    <a:pt x="102400" y="71501"/>
                  </a:lnTo>
                  <a:lnTo>
                    <a:pt x="109524" y="57480"/>
                  </a:lnTo>
                  <a:lnTo>
                    <a:pt x="117703" y="43992"/>
                  </a:lnTo>
                  <a:lnTo>
                    <a:pt x="127127" y="31127"/>
                  </a:lnTo>
                  <a:lnTo>
                    <a:pt x="132003" y="25692"/>
                  </a:lnTo>
                  <a:lnTo>
                    <a:pt x="138010" y="18986"/>
                  </a:lnTo>
                  <a:lnTo>
                    <a:pt x="140246" y="18986"/>
                  </a:lnTo>
                  <a:lnTo>
                    <a:pt x="140246" y="990"/>
                  </a:lnTo>
                  <a:lnTo>
                    <a:pt x="120751" y="2882"/>
                  </a:lnTo>
                  <a:lnTo>
                    <a:pt x="107962" y="6743"/>
                  </a:lnTo>
                  <a:lnTo>
                    <a:pt x="107962" y="25692"/>
                  </a:lnTo>
                  <a:lnTo>
                    <a:pt x="100050" y="36614"/>
                  </a:lnTo>
                  <a:lnTo>
                    <a:pt x="93078" y="47752"/>
                  </a:lnTo>
                  <a:lnTo>
                    <a:pt x="87147" y="59309"/>
                  </a:lnTo>
                  <a:lnTo>
                    <a:pt x="82359" y="71501"/>
                  </a:lnTo>
                  <a:lnTo>
                    <a:pt x="76796" y="71501"/>
                  </a:lnTo>
                  <a:lnTo>
                    <a:pt x="76796" y="208915"/>
                  </a:lnTo>
                  <a:lnTo>
                    <a:pt x="32270" y="208915"/>
                  </a:lnTo>
                  <a:lnTo>
                    <a:pt x="27533" y="197612"/>
                  </a:lnTo>
                  <a:lnTo>
                    <a:pt x="23507" y="185585"/>
                  </a:lnTo>
                  <a:lnTo>
                    <a:pt x="20535" y="172935"/>
                  </a:lnTo>
                  <a:lnTo>
                    <a:pt x="18923" y="159753"/>
                  </a:lnTo>
                  <a:lnTo>
                    <a:pt x="67894" y="159753"/>
                  </a:lnTo>
                  <a:lnTo>
                    <a:pt x="68948" y="172046"/>
                  </a:lnTo>
                  <a:lnTo>
                    <a:pt x="70675" y="184746"/>
                  </a:lnTo>
                  <a:lnTo>
                    <a:pt x="73215" y="196989"/>
                  </a:lnTo>
                  <a:lnTo>
                    <a:pt x="76796" y="208915"/>
                  </a:lnTo>
                  <a:lnTo>
                    <a:pt x="76796" y="71501"/>
                  </a:lnTo>
                  <a:lnTo>
                    <a:pt x="75679" y="71501"/>
                  </a:lnTo>
                  <a:lnTo>
                    <a:pt x="75679" y="89369"/>
                  </a:lnTo>
                  <a:lnTo>
                    <a:pt x="72123" y="102120"/>
                  </a:lnTo>
                  <a:lnTo>
                    <a:pt x="69697" y="115062"/>
                  </a:lnTo>
                  <a:lnTo>
                    <a:pt x="68326" y="128016"/>
                  </a:lnTo>
                  <a:lnTo>
                    <a:pt x="67894" y="140766"/>
                  </a:lnTo>
                  <a:lnTo>
                    <a:pt x="18923" y="140766"/>
                  </a:lnTo>
                  <a:lnTo>
                    <a:pt x="20548" y="127393"/>
                  </a:lnTo>
                  <a:lnTo>
                    <a:pt x="23647" y="114223"/>
                  </a:lnTo>
                  <a:lnTo>
                    <a:pt x="28003" y="101485"/>
                  </a:lnTo>
                  <a:lnTo>
                    <a:pt x="33388" y="89369"/>
                  </a:lnTo>
                  <a:lnTo>
                    <a:pt x="75679" y="89369"/>
                  </a:lnTo>
                  <a:lnTo>
                    <a:pt x="75679" y="71501"/>
                  </a:lnTo>
                  <a:lnTo>
                    <a:pt x="45631" y="71501"/>
                  </a:lnTo>
                  <a:lnTo>
                    <a:pt x="48971" y="65913"/>
                  </a:lnTo>
                  <a:lnTo>
                    <a:pt x="53428" y="61442"/>
                  </a:lnTo>
                  <a:lnTo>
                    <a:pt x="56769" y="56972"/>
                  </a:lnTo>
                  <a:lnTo>
                    <a:pt x="68211" y="46901"/>
                  </a:lnTo>
                  <a:lnTo>
                    <a:pt x="80695" y="38404"/>
                  </a:lnTo>
                  <a:lnTo>
                    <a:pt x="94018" y="31369"/>
                  </a:lnTo>
                  <a:lnTo>
                    <a:pt x="107962" y="25692"/>
                  </a:lnTo>
                  <a:lnTo>
                    <a:pt x="107962" y="6743"/>
                  </a:lnTo>
                  <a:lnTo>
                    <a:pt x="67144" y="24980"/>
                  </a:lnTo>
                  <a:lnTo>
                    <a:pt x="25349" y="66929"/>
                  </a:lnTo>
                  <a:lnTo>
                    <a:pt x="2882" y="121170"/>
                  </a:lnTo>
                  <a:lnTo>
                    <a:pt x="0" y="150812"/>
                  </a:lnTo>
                  <a:lnTo>
                    <a:pt x="4610" y="187452"/>
                  </a:lnTo>
                  <a:lnTo>
                    <a:pt x="17665" y="221056"/>
                  </a:lnTo>
                  <a:lnTo>
                    <a:pt x="38036" y="250266"/>
                  </a:lnTo>
                  <a:lnTo>
                    <a:pt x="64554" y="273710"/>
                  </a:lnTo>
                  <a:lnTo>
                    <a:pt x="104622" y="273710"/>
                  </a:lnTo>
                  <a:lnTo>
                    <a:pt x="86931" y="265607"/>
                  </a:lnTo>
                  <a:lnTo>
                    <a:pt x="70815" y="254990"/>
                  </a:lnTo>
                  <a:lnTo>
                    <a:pt x="56565" y="242290"/>
                  </a:lnTo>
                  <a:lnTo>
                    <a:pt x="44513" y="227901"/>
                  </a:lnTo>
                  <a:lnTo>
                    <a:pt x="83477" y="227901"/>
                  </a:lnTo>
                  <a:lnTo>
                    <a:pt x="89077" y="239610"/>
                  </a:lnTo>
                  <a:lnTo>
                    <a:pt x="95719" y="251218"/>
                  </a:lnTo>
                  <a:lnTo>
                    <a:pt x="103314" y="262775"/>
                  </a:lnTo>
                  <a:lnTo>
                    <a:pt x="111302" y="273710"/>
                  </a:lnTo>
                  <a:lnTo>
                    <a:pt x="135788" y="273710"/>
                  </a:lnTo>
                  <a:lnTo>
                    <a:pt x="126377" y="262775"/>
                  </a:lnTo>
                  <a:lnTo>
                    <a:pt x="118122" y="251637"/>
                  </a:lnTo>
                  <a:lnTo>
                    <a:pt x="110896" y="240080"/>
                  </a:lnTo>
                  <a:lnTo>
                    <a:pt x="104622" y="227901"/>
                  </a:lnTo>
                  <a:lnTo>
                    <a:pt x="140246" y="227901"/>
                  </a:lnTo>
                  <a:lnTo>
                    <a:pt x="140246" y="249123"/>
                  </a:lnTo>
                  <a:lnTo>
                    <a:pt x="142468" y="243547"/>
                  </a:lnTo>
                  <a:lnTo>
                    <a:pt x="144691" y="239077"/>
                  </a:lnTo>
                  <a:lnTo>
                    <a:pt x="149148" y="235724"/>
                  </a:lnTo>
                  <a:lnTo>
                    <a:pt x="156616" y="227901"/>
                  </a:lnTo>
                  <a:lnTo>
                    <a:pt x="174739" y="208915"/>
                  </a:lnTo>
                  <a:lnTo>
                    <a:pt x="159156" y="208915"/>
                  </a:lnTo>
                  <a:lnTo>
                    <a:pt x="159156" y="159753"/>
                  </a:lnTo>
                  <a:lnTo>
                    <a:pt x="213702" y="159753"/>
                  </a:lnTo>
                  <a:lnTo>
                    <a:pt x="213702" y="163106"/>
                  </a:lnTo>
                  <a:lnTo>
                    <a:pt x="212585" y="167576"/>
                  </a:lnTo>
                  <a:lnTo>
                    <a:pt x="212585" y="172046"/>
                  </a:lnTo>
                  <a:lnTo>
                    <a:pt x="224345" y="159753"/>
                  </a:lnTo>
                  <a:lnTo>
                    <a:pt x="239306" y="144106"/>
                  </a:lnTo>
                  <a:lnTo>
                    <a:pt x="240411" y="144106"/>
                  </a:lnTo>
                  <a:lnTo>
                    <a:pt x="240411" y="143002"/>
                  </a:lnTo>
                  <a:lnTo>
                    <a:pt x="241528" y="143002"/>
                  </a:lnTo>
                  <a:lnTo>
                    <a:pt x="241528" y="141884"/>
                  </a:lnTo>
                  <a:lnTo>
                    <a:pt x="242646" y="141884"/>
                  </a:lnTo>
                  <a:lnTo>
                    <a:pt x="243751" y="140766"/>
                  </a:lnTo>
                  <a:lnTo>
                    <a:pt x="232625" y="140766"/>
                  </a:lnTo>
                  <a:lnTo>
                    <a:pt x="232029" y="128016"/>
                  </a:lnTo>
                  <a:lnTo>
                    <a:pt x="230403" y="115062"/>
                  </a:lnTo>
                  <a:lnTo>
                    <a:pt x="227926" y="102120"/>
                  </a:lnTo>
                  <a:lnTo>
                    <a:pt x="224828" y="89369"/>
                  </a:lnTo>
                  <a:lnTo>
                    <a:pt x="267131" y="89369"/>
                  </a:lnTo>
                  <a:lnTo>
                    <a:pt x="271716" y="100304"/>
                  </a:lnTo>
                  <a:lnTo>
                    <a:pt x="275475" y="111442"/>
                  </a:lnTo>
                  <a:lnTo>
                    <a:pt x="278396" y="122986"/>
                  </a:lnTo>
                  <a:lnTo>
                    <a:pt x="280479" y="135178"/>
                  </a:lnTo>
                  <a:lnTo>
                    <a:pt x="299402" y="135178"/>
                  </a:lnTo>
                  <a:close/>
                </a:path>
                <a:path w="436244" h="344805">
                  <a:moveTo>
                    <a:pt x="377786" y="170827"/>
                  </a:moveTo>
                  <a:lnTo>
                    <a:pt x="339864" y="170827"/>
                  </a:lnTo>
                  <a:lnTo>
                    <a:pt x="338747" y="166344"/>
                  </a:lnTo>
                  <a:lnTo>
                    <a:pt x="328701" y="156273"/>
                  </a:lnTo>
                  <a:lnTo>
                    <a:pt x="323126" y="154038"/>
                  </a:lnTo>
                  <a:lnTo>
                    <a:pt x="316433" y="152908"/>
                  </a:lnTo>
                  <a:lnTo>
                    <a:pt x="258419" y="152908"/>
                  </a:lnTo>
                  <a:lnTo>
                    <a:pt x="253961" y="157391"/>
                  </a:lnTo>
                  <a:lnTo>
                    <a:pt x="252844" y="157391"/>
                  </a:lnTo>
                  <a:lnTo>
                    <a:pt x="252844" y="158508"/>
                  </a:lnTo>
                  <a:lnTo>
                    <a:pt x="163588" y="248081"/>
                  </a:lnTo>
                  <a:lnTo>
                    <a:pt x="159829" y="253657"/>
                  </a:lnTo>
                  <a:lnTo>
                    <a:pt x="158572" y="259842"/>
                  </a:lnTo>
                  <a:lnTo>
                    <a:pt x="159829" y="266039"/>
                  </a:lnTo>
                  <a:lnTo>
                    <a:pt x="163588" y="271602"/>
                  </a:lnTo>
                  <a:lnTo>
                    <a:pt x="166941" y="274955"/>
                  </a:lnTo>
                  <a:lnTo>
                    <a:pt x="172478" y="278739"/>
                  </a:lnTo>
                  <a:lnTo>
                    <a:pt x="178650" y="279996"/>
                  </a:lnTo>
                  <a:lnTo>
                    <a:pt x="184823" y="278739"/>
                  </a:lnTo>
                  <a:lnTo>
                    <a:pt x="190373" y="274955"/>
                  </a:lnTo>
                  <a:lnTo>
                    <a:pt x="247269" y="217855"/>
                  </a:lnTo>
                  <a:lnTo>
                    <a:pt x="255079" y="225691"/>
                  </a:lnTo>
                  <a:lnTo>
                    <a:pt x="188137" y="292874"/>
                  </a:lnTo>
                  <a:lnTo>
                    <a:pt x="38646" y="292874"/>
                  </a:lnTo>
                  <a:lnTo>
                    <a:pt x="30835" y="300710"/>
                  </a:lnTo>
                  <a:lnTo>
                    <a:pt x="30835" y="324231"/>
                  </a:lnTo>
                  <a:lnTo>
                    <a:pt x="38646" y="330949"/>
                  </a:lnTo>
                  <a:lnTo>
                    <a:pt x="47574" y="330949"/>
                  </a:lnTo>
                  <a:lnTo>
                    <a:pt x="221602" y="344385"/>
                  </a:lnTo>
                  <a:lnTo>
                    <a:pt x="226072" y="344385"/>
                  </a:lnTo>
                  <a:lnTo>
                    <a:pt x="228295" y="343268"/>
                  </a:lnTo>
                  <a:lnTo>
                    <a:pt x="230530" y="343268"/>
                  </a:lnTo>
                  <a:lnTo>
                    <a:pt x="323126" y="250329"/>
                  </a:lnTo>
                  <a:lnTo>
                    <a:pt x="377786" y="250329"/>
                  </a:lnTo>
                  <a:lnTo>
                    <a:pt x="377786" y="217855"/>
                  </a:lnTo>
                  <a:lnTo>
                    <a:pt x="377786" y="170827"/>
                  </a:lnTo>
                  <a:close/>
                </a:path>
                <a:path w="436244" h="344805">
                  <a:moveTo>
                    <a:pt x="435622" y="158051"/>
                  </a:moveTo>
                  <a:lnTo>
                    <a:pt x="391922" y="158051"/>
                  </a:lnTo>
                  <a:lnTo>
                    <a:pt x="391922" y="263423"/>
                  </a:lnTo>
                  <a:lnTo>
                    <a:pt x="435622" y="263423"/>
                  </a:lnTo>
                  <a:lnTo>
                    <a:pt x="435622" y="15805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1449687" y="1596393"/>
              <a:ext cx="5234940" cy="1153795"/>
            </a:xfrm>
            <a:custGeom>
              <a:avLst/>
              <a:gdLst/>
              <a:ahLst/>
              <a:cxnLst/>
              <a:rect l="l" t="t" r="r" b="b"/>
              <a:pathLst>
                <a:path w="5234940" h="1153795">
                  <a:moveTo>
                    <a:pt x="0" y="0"/>
                  </a:moveTo>
                  <a:lnTo>
                    <a:pt x="5234430" y="0"/>
                  </a:lnTo>
                  <a:lnTo>
                    <a:pt x="5234430" y="1153448"/>
                  </a:lnTo>
                  <a:lnTo>
                    <a:pt x="0" y="1153448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097F8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1690302" y="1441485"/>
              <a:ext cx="2656840" cy="286385"/>
            </a:xfrm>
            <a:custGeom>
              <a:avLst/>
              <a:gdLst/>
              <a:ahLst/>
              <a:cxnLst/>
              <a:rect l="l" t="t" r="r" b="b"/>
              <a:pathLst>
                <a:path w="2656840" h="286385">
                  <a:moveTo>
                    <a:pt x="2656842" y="0"/>
                  </a:moveTo>
                  <a:lnTo>
                    <a:pt x="0" y="0"/>
                  </a:lnTo>
                  <a:lnTo>
                    <a:pt x="0" y="286232"/>
                  </a:lnTo>
                  <a:lnTo>
                    <a:pt x="2656842" y="286232"/>
                  </a:lnTo>
                  <a:lnTo>
                    <a:pt x="265684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2" name="object 32"/>
          <p:cNvSpPr txBox="1"/>
          <p:nvPr/>
        </p:nvSpPr>
        <p:spPr>
          <a:xfrm>
            <a:off x="1545460" y="1449323"/>
            <a:ext cx="5060315" cy="124587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59385">
              <a:lnSpc>
                <a:spcPct val="100000"/>
              </a:lnSpc>
              <a:spcBef>
                <a:spcPts val="100"/>
              </a:spcBef>
            </a:pPr>
            <a:r>
              <a:rPr sz="1400" b="1" spc="-5" dirty="0">
                <a:solidFill>
                  <a:srgbClr val="007680"/>
                </a:solidFill>
                <a:latin typeface="Arial"/>
                <a:cs typeface="Arial"/>
              </a:rPr>
              <a:t>«Финансовые</a:t>
            </a:r>
            <a:r>
              <a:rPr sz="1400" b="1" spc="-15" dirty="0">
                <a:solidFill>
                  <a:srgbClr val="007680"/>
                </a:solidFill>
                <a:latin typeface="Arial"/>
                <a:cs typeface="Arial"/>
              </a:rPr>
              <a:t> Ворота»</a:t>
            </a:r>
            <a:endParaRPr sz="14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1250">
              <a:latin typeface="Arial"/>
              <a:cs typeface="Arial"/>
            </a:endParaRPr>
          </a:p>
          <a:p>
            <a:pPr marL="12700" marR="5080" algn="just">
              <a:lnSpc>
                <a:spcPts val="1300"/>
              </a:lnSpc>
            </a:pP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МФЦА </a:t>
            </a:r>
            <a:r>
              <a:rPr sz="1200" spc="-15" dirty="0">
                <a:solidFill>
                  <a:srgbClr val="122454"/>
                </a:solidFill>
                <a:latin typeface="Arial"/>
                <a:cs typeface="Arial"/>
              </a:rPr>
              <a:t>располагает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возможностями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для </a:t>
            </a:r>
            <a:r>
              <a:rPr sz="1200" spc="-15" dirty="0">
                <a:solidFill>
                  <a:srgbClr val="122454"/>
                </a:solidFill>
                <a:latin typeface="Arial"/>
                <a:cs typeface="Arial"/>
              </a:rPr>
              <a:t>того,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чтобы стать 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евразийскими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воротами, обеспечивающими торговые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и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финансовые 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потоки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между Востоком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и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Западом.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В </a:t>
            </a:r>
            <a:r>
              <a:rPr sz="1200" spc="-15" dirty="0">
                <a:solidFill>
                  <a:srgbClr val="122454"/>
                </a:solidFill>
                <a:latin typeface="Arial"/>
                <a:cs typeface="Arial"/>
              </a:rPr>
              <a:t>Глобальном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индексе  финансовых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центров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2019 </a:t>
            </a:r>
            <a:r>
              <a:rPr sz="1200" spc="-15" dirty="0">
                <a:solidFill>
                  <a:srgbClr val="122454"/>
                </a:solidFill>
                <a:latin typeface="Arial"/>
                <a:cs typeface="Arial"/>
              </a:rPr>
              <a:t>года,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Казахстан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занял 55 место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из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141,  заняв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второе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место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среди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стран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Евразийского</a:t>
            </a:r>
            <a:r>
              <a:rPr sz="1200" spc="30" dirty="0">
                <a:solidFill>
                  <a:srgbClr val="122454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региона.</a:t>
            </a:r>
            <a:endParaRPr sz="1200">
              <a:latin typeface="Arial"/>
              <a:cs typeface="Ari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1525639" y="3151123"/>
            <a:ext cx="5078730" cy="1198880"/>
          </a:xfrm>
          <a:prstGeom prst="rect">
            <a:avLst/>
          </a:prstGeom>
        </p:spPr>
        <p:txBody>
          <a:bodyPr vert="horz" wrap="square" lIns="0" tIns="30480" rIns="0" bIns="0" rtlCol="0">
            <a:spAutoFit/>
          </a:bodyPr>
          <a:lstStyle/>
          <a:p>
            <a:pPr marL="12700" marR="5080" algn="just">
              <a:lnSpc>
                <a:spcPct val="90300"/>
              </a:lnSpc>
              <a:spcBef>
                <a:spcPts val="240"/>
              </a:spcBef>
            </a:pP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Инициатива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«Пояс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и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Путь»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– </a:t>
            </a:r>
            <a:r>
              <a:rPr sz="1200" spc="-15" dirty="0">
                <a:solidFill>
                  <a:srgbClr val="122454"/>
                </a:solidFill>
                <a:latin typeface="Arial"/>
                <a:cs typeface="Arial"/>
              </a:rPr>
              <a:t>это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глобальная стратегия, направленная 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на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возрождение Великого </a:t>
            </a:r>
            <a:r>
              <a:rPr sz="1200" spc="-15" dirty="0">
                <a:solidFill>
                  <a:srgbClr val="122454"/>
                </a:solidFill>
                <a:latin typeface="Arial"/>
                <a:cs typeface="Arial"/>
              </a:rPr>
              <a:t>Шелкового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пути, </a:t>
            </a:r>
            <a:r>
              <a:rPr sz="1200" spc="-15" dirty="0">
                <a:solidFill>
                  <a:srgbClr val="122454"/>
                </a:solidFill>
                <a:latin typeface="Arial"/>
                <a:cs typeface="Arial"/>
              </a:rPr>
              <a:t>играет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большую </a:t>
            </a:r>
            <a:r>
              <a:rPr sz="1200" spc="-15" dirty="0">
                <a:solidFill>
                  <a:srgbClr val="122454"/>
                </a:solidFill>
                <a:latin typeface="Arial"/>
                <a:cs typeface="Arial"/>
              </a:rPr>
              <a:t>роль 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в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укреплении </a:t>
            </a:r>
            <a:r>
              <a:rPr sz="1200" spc="-15" dirty="0">
                <a:solidFill>
                  <a:srgbClr val="122454"/>
                </a:solidFill>
                <a:latin typeface="Arial"/>
                <a:cs typeface="Arial"/>
              </a:rPr>
              <a:t>торговли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и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политических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отношениях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между Европой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и 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Азией.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Стратегическое расположение Казахстана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между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рынками 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Востока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и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Запада </a:t>
            </a:r>
            <a:r>
              <a:rPr sz="1200" spc="-15" dirty="0">
                <a:solidFill>
                  <a:srgbClr val="122454"/>
                </a:solidFill>
                <a:latin typeface="Arial"/>
                <a:cs typeface="Arial"/>
              </a:rPr>
              <a:t>дает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существенное преимущество </a:t>
            </a:r>
            <a:r>
              <a:rPr sz="1200" spc="-20" dirty="0">
                <a:solidFill>
                  <a:srgbClr val="122454"/>
                </a:solidFill>
                <a:latin typeface="Arial"/>
                <a:cs typeface="Arial"/>
              </a:rPr>
              <a:t>региону, </a:t>
            </a:r>
            <a:r>
              <a:rPr sz="1200" spc="5" dirty="0">
                <a:solidFill>
                  <a:srgbClr val="122454"/>
                </a:solidFill>
                <a:latin typeface="Arial"/>
                <a:cs typeface="Arial"/>
              </a:rPr>
              <a:t>как 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одному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из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наиболее привлекательных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для развития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транспортной 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инфраструктуры.</a:t>
            </a:r>
            <a:endParaRPr sz="1200">
              <a:latin typeface="Arial"/>
              <a:cs typeface="Arial"/>
            </a:endParaRPr>
          </a:p>
        </p:txBody>
      </p:sp>
      <p:grpSp>
        <p:nvGrpSpPr>
          <p:cNvPr id="34" name="object 34"/>
          <p:cNvGrpSpPr/>
          <p:nvPr/>
        </p:nvGrpSpPr>
        <p:grpSpPr>
          <a:xfrm>
            <a:off x="404055" y="2893526"/>
            <a:ext cx="6286500" cy="1511300"/>
            <a:chOff x="404055" y="2893526"/>
            <a:chExt cx="6286500" cy="1511300"/>
          </a:xfrm>
        </p:grpSpPr>
        <p:pic>
          <p:nvPicPr>
            <p:cNvPr id="35" name="object 35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04055" y="3992280"/>
              <a:ext cx="998102" cy="162143"/>
            </a:xfrm>
            <a:prstGeom prst="rect">
              <a:avLst/>
            </a:prstGeom>
          </p:spPr>
        </p:pic>
        <p:pic>
          <p:nvPicPr>
            <p:cNvPr id="36" name="object 36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498128" y="3251187"/>
              <a:ext cx="809959" cy="809959"/>
            </a:xfrm>
            <a:prstGeom prst="rect">
              <a:avLst/>
            </a:prstGeom>
          </p:spPr>
        </p:pic>
        <p:sp>
          <p:nvSpPr>
            <p:cNvPr id="37" name="object 37"/>
            <p:cNvSpPr/>
            <p:nvPr/>
          </p:nvSpPr>
          <p:spPr>
            <a:xfrm>
              <a:off x="692089" y="3371320"/>
              <a:ext cx="447675" cy="502284"/>
            </a:xfrm>
            <a:custGeom>
              <a:avLst/>
              <a:gdLst/>
              <a:ahLst/>
              <a:cxnLst/>
              <a:rect l="l" t="t" r="r" b="b"/>
              <a:pathLst>
                <a:path w="447675" h="502285">
                  <a:moveTo>
                    <a:pt x="75640" y="155299"/>
                  </a:moveTo>
                  <a:lnTo>
                    <a:pt x="73276" y="157664"/>
                  </a:lnTo>
                  <a:lnTo>
                    <a:pt x="116911" y="191354"/>
                  </a:lnTo>
                  <a:lnTo>
                    <a:pt x="132662" y="216437"/>
                  </a:lnTo>
                  <a:lnTo>
                    <a:pt x="127446" y="236003"/>
                  </a:lnTo>
                  <a:lnTo>
                    <a:pt x="108178" y="253138"/>
                  </a:lnTo>
                  <a:lnTo>
                    <a:pt x="81775" y="270930"/>
                  </a:lnTo>
                  <a:lnTo>
                    <a:pt x="55154" y="292467"/>
                  </a:lnTo>
                  <a:lnTo>
                    <a:pt x="40522" y="311556"/>
                  </a:lnTo>
                  <a:lnTo>
                    <a:pt x="30665" y="335162"/>
                  </a:lnTo>
                  <a:lnTo>
                    <a:pt x="27002" y="361748"/>
                  </a:lnTo>
                  <a:lnTo>
                    <a:pt x="30949" y="389776"/>
                  </a:lnTo>
                  <a:lnTo>
                    <a:pt x="67351" y="444013"/>
                  </a:lnTo>
                  <a:lnTo>
                    <a:pt x="102642" y="467146"/>
                  </a:lnTo>
                  <a:lnTo>
                    <a:pt x="151217" y="485573"/>
                  </a:lnTo>
                  <a:lnTo>
                    <a:pt x="214495" y="497756"/>
                  </a:lnTo>
                  <a:lnTo>
                    <a:pt x="293894" y="502159"/>
                  </a:lnTo>
                  <a:lnTo>
                    <a:pt x="289548" y="489176"/>
                  </a:lnTo>
                  <a:lnTo>
                    <a:pt x="279219" y="459196"/>
                  </a:lnTo>
                  <a:lnTo>
                    <a:pt x="266969" y="425667"/>
                  </a:lnTo>
                  <a:lnTo>
                    <a:pt x="256862" y="402042"/>
                  </a:lnTo>
                  <a:lnTo>
                    <a:pt x="184705" y="399765"/>
                  </a:lnTo>
                  <a:lnTo>
                    <a:pt x="137127" y="386976"/>
                  </a:lnTo>
                  <a:lnTo>
                    <a:pt x="110998" y="366568"/>
                  </a:lnTo>
                  <a:lnTo>
                    <a:pt x="103188" y="341429"/>
                  </a:lnTo>
                  <a:lnTo>
                    <a:pt x="110567" y="314451"/>
                  </a:lnTo>
                  <a:lnTo>
                    <a:pt x="130006" y="288524"/>
                  </a:lnTo>
                  <a:lnTo>
                    <a:pt x="145790" y="273546"/>
                  </a:lnTo>
                  <a:lnTo>
                    <a:pt x="160538" y="259160"/>
                  </a:lnTo>
                  <a:lnTo>
                    <a:pt x="171446" y="245068"/>
                  </a:lnTo>
                  <a:lnTo>
                    <a:pt x="175706" y="230977"/>
                  </a:lnTo>
                  <a:lnTo>
                    <a:pt x="171594" y="209175"/>
                  </a:lnTo>
                  <a:lnTo>
                    <a:pt x="156402" y="191955"/>
                  </a:lnTo>
                  <a:lnTo>
                    <a:pt x="125845" y="175327"/>
                  </a:lnTo>
                  <a:lnTo>
                    <a:pt x="75640" y="155299"/>
                  </a:lnTo>
                  <a:close/>
                </a:path>
                <a:path w="447675" h="502285">
                  <a:moveTo>
                    <a:pt x="352200" y="201810"/>
                  </a:moveTo>
                  <a:lnTo>
                    <a:pt x="314035" y="209730"/>
                  </a:lnTo>
                  <a:lnTo>
                    <a:pt x="283848" y="230879"/>
                  </a:lnTo>
                  <a:lnTo>
                    <a:pt x="264002" y="261340"/>
                  </a:lnTo>
                  <a:lnTo>
                    <a:pt x="256862" y="297196"/>
                  </a:lnTo>
                  <a:lnTo>
                    <a:pt x="261983" y="329000"/>
                  </a:lnTo>
                  <a:lnTo>
                    <a:pt x="274787" y="354744"/>
                  </a:lnTo>
                  <a:lnTo>
                    <a:pt x="291432" y="379896"/>
                  </a:lnTo>
                  <a:lnTo>
                    <a:pt x="308077" y="409925"/>
                  </a:lnTo>
                  <a:lnTo>
                    <a:pt x="323503" y="448701"/>
                  </a:lnTo>
                  <a:lnTo>
                    <a:pt x="332798" y="477130"/>
                  </a:lnTo>
                  <a:lnTo>
                    <a:pt x="340763" y="494621"/>
                  </a:lnTo>
                  <a:lnTo>
                    <a:pt x="352200" y="500583"/>
                  </a:lnTo>
                  <a:lnTo>
                    <a:pt x="363625" y="494621"/>
                  </a:lnTo>
                  <a:lnTo>
                    <a:pt x="371504" y="477130"/>
                  </a:lnTo>
                  <a:lnTo>
                    <a:pt x="380565" y="448701"/>
                  </a:lnTo>
                  <a:lnTo>
                    <a:pt x="395536" y="409925"/>
                  </a:lnTo>
                  <a:lnTo>
                    <a:pt x="412304" y="379896"/>
                  </a:lnTo>
                  <a:lnTo>
                    <a:pt x="429219" y="354744"/>
                  </a:lnTo>
                  <a:lnTo>
                    <a:pt x="432823" y="347648"/>
                  </a:lnTo>
                  <a:lnTo>
                    <a:pt x="352200" y="347648"/>
                  </a:lnTo>
                  <a:lnTo>
                    <a:pt x="332354" y="343645"/>
                  </a:lnTo>
                  <a:lnTo>
                    <a:pt x="316350" y="332769"/>
                  </a:lnTo>
                  <a:lnTo>
                    <a:pt x="305664" y="316719"/>
                  </a:lnTo>
                  <a:lnTo>
                    <a:pt x="301773" y="297196"/>
                  </a:lnTo>
                  <a:lnTo>
                    <a:pt x="305664" y="277673"/>
                  </a:lnTo>
                  <a:lnTo>
                    <a:pt x="316350" y="261623"/>
                  </a:lnTo>
                  <a:lnTo>
                    <a:pt x="332354" y="250747"/>
                  </a:lnTo>
                  <a:lnTo>
                    <a:pt x="352200" y="246744"/>
                  </a:lnTo>
                  <a:lnTo>
                    <a:pt x="430689" y="246744"/>
                  </a:lnTo>
                  <a:lnTo>
                    <a:pt x="420257" y="230879"/>
                  </a:lnTo>
                  <a:lnTo>
                    <a:pt x="390033" y="209730"/>
                  </a:lnTo>
                  <a:lnTo>
                    <a:pt x="352200" y="201810"/>
                  </a:lnTo>
                  <a:close/>
                </a:path>
                <a:path w="447675" h="502285">
                  <a:moveTo>
                    <a:pt x="430689" y="246744"/>
                  </a:moveTo>
                  <a:lnTo>
                    <a:pt x="352200" y="246744"/>
                  </a:lnTo>
                  <a:lnTo>
                    <a:pt x="371713" y="250747"/>
                  </a:lnTo>
                  <a:lnTo>
                    <a:pt x="387755" y="261623"/>
                  </a:lnTo>
                  <a:lnTo>
                    <a:pt x="398626" y="277673"/>
                  </a:lnTo>
                  <a:lnTo>
                    <a:pt x="402627" y="297196"/>
                  </a:lnTo>
                  <a:lnTo>
                    <a:pt x="398626" y="317052"/>
                  </a:lnTo>
                  <a:lnTo>
                    <a:pt x="387755" y="333064"/>
                  </a:lnTo>
                  <a:lnTo>
                    <a:pt x="371713" y="343756"/>
                  </a:lnTo>
                  <a:lnTo>
                    <a:pt x="352200" y="347648"/>
                  </a:lnTo>
                  <a:lnTo>
                    <a:pt x="432823" y="347648"/>
                  </a:lnTo>
                  <a:lnTo>
                    <a:pt x="442294" y="329000"/>
                  </a:lnTo>
                  <a:lnTo>
                    <a:pt x="447538" y="297196"/>
                  </a:lnTo>
                  <a:lnTo>
                    <a:pt x="440287" y="261340"/>
                  </a:lnTo>
                  <a:lnTo>
                    <a:pt x="430689" y="246744"/>
                  </a:lnTo>
                  <a:close/>
                </a:path>
                <a:path w="447675" h="502285">
                  <a:moveTo>
                    <a:pt x="45699" y="0"/>
                  </a:moveTo>
                  <a:lnTo>
                    <a:pt x="27589" y="3818"/>
                  </a:lnTo>
                  <a:lnTo>
                    <a:pt x="13099" y="13993"/>
                  </a:lnTo>
                  <a:lnTo>
                    <a:pt x="3484" y="28601"/>
                  </a:lnTo>
                  <a:lnTo>
                    <a:pt x="0" y="45722"/>
                  </a:lnTo>
                  <a:lnTo>
                    <a:pt x="2486" y="61082"/>
                  </a:lnTo>
                  <a:lnTo>
                    <a:pt x="8667" y="73412"/>
                  </a:lnTo>
                  <a:lnTo>
                    <a:pt x="16620" y="85298"/>
                  </a:lnTo>
                  <a:lnTo>
                    <a:pt x="24425" y="99327"/>
                  </a:lnTo>
                  <a:lnTo>
                    <a:pt x="31738" y="118075"/>
                  </a:lnTo>
                  <a:lnTo>
                    <a:pt x="36244" y="131649"/>
                  </a:lnTo>
                  <a:lnTo>
                    <a:pt x="40159" y="139902"/>
                  </a:lnTo>
                  <a:lnTo>
                    <a:pt x="45699" y="142685"/>
                  </a:lnTo>
                  <a:lnTo>
                    <a:pt x="51239" y="139902"/>
                  </a:lnTo>
                  <a:lnTo>
                    <a:pt x="55154" y="131649"/>
                  </a:lnTo>
                  <a:lnTo>
                    <a:pt x="59660" y="118075"/>
                  </a:lnTo>
                  <a:lnTo>
                    <a:pt x="66973" y="99327"/>
                  </a:lnTo>
                  <a:lnTo>
                    <a:pt x="74778" y="85298"/>
                  </a:lnTo>
                  <a:lnTo>
                    <a:pt x="82731" y="73412"/>
                  </a:lnTo>
                  <a:lnTo>
                    <a:pt x="84361" y="70161"/>
                  </a:lnTo>
                  <a:lnTo>
                    <a:pt x="45699" y="70161"/>
                  </a:lnTo>
                  <a:lnTo>
                    <a:pt x="36232" y="68227"/>
                  </a:lnTo>
                  <a:lnTo>
                    <a:pt x="28463" y="62967"/>
                  </a:lnTo>
                  <a:lnTo>
                    <a:pt x="23206" y="55195"/>
                  </a:lnTo>
                  <a:lnTo>
                    <a:pt x="21273" y="45722"/>
                  </a:lnTo>
                  <a:lnTo>
                    <a:pt x="23206" y="36250"/>
                  </a:lnTo>
                  <a:lnTo>
                    <a:pt x="28463" y="28478"/>
                  </a:lnTo>
                  <a:lnTo>
                    <a:pt x="36232" y="23219"/>
                  </a:lnTo>
                  <a:lnTo>
                    <a:pt x="45699" y="21285"/>
                  </a:lnTo>
                  <a:lnTo>
                    <a:pt x="83099" y="21285"/>
                  </a:lnTo>
                  <a:lnTo>
                    <a:pt x="78299" y="13993"/>
                  </a:lnTo>
                  <a:lnTo>
                    <a:pt x="63809" y="3818"/>
                  </a:lnTo>
                  <a:lnTo>
                    <a:pt x="45699" y="0"/>
                  </a:lnTo>
                  <a:close/>
                </a:path>
                <a:path w="447675" h="502285">
                  <a:moveTo>
                    <a:pt x="83099" y="21285"/>
                  </a:moveTo>
                  <a:lnTo>
                    <a:pt x="45699" y="21285"/>
                  </a:lnTo>
                  <a:lnTo>
                    <a:pt x="55166" y="23219"/>
                  </a:lnTo>
                  <a:lnTo>
                    <a:pt x="62935" y="28478"/>
                  </a:lnTo>
                  <a:lnTo>
                    <a:pt x="68192" y="36250"/>
                  </a:lnTo>
                  <a:lnTo>
                    <a:pt x="70124" y="45722"/>
                  </a:lnTo>
                  <a:lnTo>
                    <a:pt x="68192" y="55195"/>
                  </a:lnTo>
                  <a:lnTo>
                    <a:pt x="62935" y="62967"/>
                  </a:lnTo>
                  <a:lnTo>
                    <a:pt x="55166" y="68227"/>
                  </a:lnTo>
                  <a:lnTo>
                    <a:pt x="45699" y="70161"/>
                  </a:lnTo>
                  <a:lnTo>
                    <a:pt x="84361" y="70161"/>
                  </a:lnTo>
                  <a:lnTo>
                    <a:pt x="88911" y="61082"/>
                  </a:lnTo>
                  <a:lnTo>
                    <a:pt x="91398" y="45722"/>
                  </a:lnTo>
                  <a:lnTo>
                    <a:pt x="87914" y="28601"/>
                  </a:lnTo>
                  <a:lnTo>
                    <a:pt x="83099" y="21285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1449687" y="3031505"/>
              <a:ext cx="5234940" cy="1367155"/>
            </a:xfrm>
            <a:custGeom>
              <a:avLst/>
              <a:gdLst/>
              <a:ahLst/>
              <a:cxnLst/>
              <a:rect l="l" t="t" r="r" b="b"/>
              <a:pathLst>
                <a:path w="5234940" h="1367154">
                  <a:moveTo>
                    <a:pt x="0" y="0"/>
                  </a:moveTo>
                  <a:lnTo>
                    <a:pt x="5234430" y="0"/>
                  </a:lnTo>
                  <a:lnTo>
                    <a:pt x="5234430" y="1366876"/>
                  </a:lnTo>
                  <a:lnTo>
                    <a:pt x="0" y="1366876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097F8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1690302" y="2893526"/>
              <a:ext cx="3767454" cy="286385"/>
            </a:xfrm>
            <a:custGeom>
              <a:avLst/>
              <a:gdLst/>
              <a:ahLst/>
              <a:cxnLst/>
              <a:rect l="l" t="t" r="r" b="b"/>
              <a:pathLst>
                <a:path w="3767454" h="286385">
                  <a:moveTo>
                    <a:pt x="3767312" y="0"/>
                  </a:moveTo>
                  <a:lnTo>
                    <a:pt x="0" y="0"/>
                  </a:lnTo>
                  <a:lnTo>
                    <a:pt x="0" y="286231"/>
                  </a:lnTo>
                  <a:lnTo>
                    <a:pt x="3767312" y="286231"/>
                  </a:lnTo>
                  <a:lnTo>
                    <a:pt x="376731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0" name="object 40"/>
          <p:cNvSpPr txBox="1"/>
          <p:nvPr/>
        </p:nvSpPr>
        <p:spPr>
          <a:xfrm>
            <a:off x="1741420" y="2900171"/>
            <a:ext cx="2407920" cy="2387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5" dirty="0">
                <a:solidFill>
                  <a:srgbClr val="007680"/>
                </a:solidFill>
                <a:latin typeface="Arial"/>
                <a:cs typeface="Arial"/>
              </a:rPr>
              <a:t>Инициатива </a:t>
            </a:r>
            <a:r>
              <a:rPr sz="1400" b="1" spc="-10" dirty="0">
                <a:solidFill>
                  <a:srgbClr val="007680"/>
                </a:solidFill>
                <a:latin typeface="Arial"/>
                <a:cs typeface="Arial"/>
              </a:rPr>
              <a:t>«Пояс </a:t>
            </a:r>
            <a:r>
              <a:rPr sz="1400" b="1" dirty="0">
                <a:solidFill>
                  <a:srgbClr val="007680"/>
                </a:solidFill>
                <a:latin typeface="Arial"/>
                <a:cs typeface="Arial"/>
              </a:rPr>
              <a:t>и</a:t>
            </a:r>
            <a:r>
              <a:rPr sz="1400" b="1" spc="-35" dirty="0">
                <a:solidFill>
                  <a:srgbClr val="007680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007680"/>
                </a:solidFill>
                <a:latin typeface="Arial"/>
                <a:cs typeface="Arial"/>
              </a:rPr>
              <a:t>Путь»</a:t>
            </a:r>
            <a:endParaRPr sz="1400">
              <a:latin typeface="Arial"/>
              <a:cs typeface="Arial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1545460" y="4915916"/>
            <a:ext cx="50596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утвержденного Правительством </a:t>
            </a:r>
            <a:r>
              <a:rPr sz="1200" spc="-15" dirty="0">
                <a:solidFill>
                  <a:srgbClr val="122454"/>
                </a:solidFill>
                <a:latin typeface="Arial"/>
                <a:cs typeface="Arial"/>
              </a:rPr>
              <a:t>Республики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Казахстан,</a:t>
            </a:r>
            <a:r>
              <a:rPr sz="1200" spc="295" dirty="0">
                <a:solidFill>
                  <a:srgbClr val="122454"/>
                </a:solidFill>
                <a:latin typeface="Arial"/>
                <a:cs typeface="Arial"/>
              </a:rPr>
              <a:t> </a:t>
            </a:r>
            <a:r>
              <a:rPr sz="1200" spc="-15" dirty="0">
                <a:solidFill>
                  <a:srgbClr val="122454"/>
                </a:solidFill>
                <a:latin typeface="Arial"/>
                <a:cs typeface="Arial"/>
              </a:rPr>
              <a:t>определены</a:t>
            </a:r>
            <a:endParaRPr sz="1200">
              <a:latin typeface="Arial"/>
              <a:cs typeface="Arial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1545460" y="5080508"/>
            <a:ext cx="5059680" cy="869950"/>
          </a:xfrm>
          <a:prstGeom prst="rect">
            <a:avLst/>
          </a:prstGeom>
        </p:spPr>
        <p:txBody>
          <a:bodyPr vert="horz" wrap="square" lIns="0" tIns="33019" rIns="0" bIns="0" rtlCol="0">
            <a:spAutoFit/>
          </a:bodyPr>
          <a:lstStyle/>
          <a:p>
            <a:pPr marL="12700" marR="5080">
              <a:lnSpc>
                <a:spcPts val="1300"/>
              </a:lnSpc>
              <a:spcBef>
                <a:spcPts val="259"/>
              </a:spcBef>
              <a:tabLst>
                <a:tab pos="383540" algn="l"/>
                <a:tab pos="1299210" algn="l"/>
                <a:tab pos="2121535" algn="l"/>
                <a:tab pos="2721610" algn="l"/>
                <a:tab pos="3931285" algn="l"/>
                <a:tab pos="4005579" algn="l"/>
              </a:tabLst>
            </a:pP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порядка  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40   крупных   национальных </a:t>
            </a:r>
            <a:r>
              <a:rPr sz="1200" spc="315" dirty="0">
                <a:solidFill>
                  <a:srgbClr val="122454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компаний  </a:t>
            </a:r>
            <a:r>
              <a:rPr sz="1200" spc="5" dirty="0">
                <a:solidFill>
                  <a:srgbClr val="122454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и		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160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дочерних 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и	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зав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исим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ы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х	</a:t>
            </a:r>
            <a:r>
              <a:rPr sz="1200" spc="10" dirty="0">
                <a:solidFill>
                  <a:srgbClr val="122454"/>
                </a:solidFill>
                <a:latin typeface="Arial"/>
                <a:cs typeface="Arial"/>
              </a:rPr>
              <a:t>к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о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мп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а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н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ий	Ф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о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нда	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на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ци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ональн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о</a:t>
            </a:r>
            <a:r>
              <a:rPr sz="1200" spc="-30" dirty="0">
                <a:solidFill>
                  <a:srgbClr val="122454"/>
                </a:solidFill>
                <a:latin typeface="Arial"/>
                <a:cs typeface="Arial"/>
              </a:rPr>
              <a:t>г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о	</a:t>
            </a:r>
            <a:r>
              <a:rPr sz="1200" spc="-55" dirty="0">
                <a:solidFill>
                  <a:srgbClr val="122454"/>
                </a:solidFill>
                <a:latin typeface="Arial"/>
                <a:cs typeface="Arial"/>
              </a:rPr>
              <a:t>б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ла</a:t>
            </a:r>
            <a:r>
              <a:rPr sz="1200" spc="-30" dirty="0">
                <a:solidFill>
                  <a:srgbClr val="122454"/>
                </a:solidFill>
                <a:latin typeface="Arial"/>
                <a:cs typeface="Arial"/>
              </a:rPr>
              <a:t>г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о</a:t>
            </a:r>
            <a:r>
              <a:rPr sz="1200" spc="10" dirty="0">
                <a:solidFill>
                  <a:srgbClr val="122454"/>
                </a:solidFill>
                <a:latin typeface="Arial"/>
                <a:cs typeface="Arial"/>
              </a:rPr>
              <a:t>с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о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с</a:t>
            </a:r>
            <a:r>
              <a:rPr sz="1200" spc="-15" dirty="0">
                <a:solidFill>
                  <a:srgbClr val="122454"/>
                </a:solidFill>
                <a:latin typeface="Arial"/>
                <a:cs typeface="Arial"/>
              </a:rPr>
              <a:t>т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о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я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н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ия</a:t>
            </a:r>
            <a:endParaRPr sz="1200">
              <a:latin typeface="Arial"/>
              <a:cs typeface="Arial"/>
            </a:endParaRPr>
          </a:p>
          <a:p>
            <a:pPr marL="12700">
              <a:lnSpc>
                <a:spcPts val="1210"/>
              </a:lnSpc>
            </a:pP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«Самрук-Казына»,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предлагаемых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к   </a:t>
            </a:r>
            <a:r>
              <a:rPr sz="1200" spc="-15" dirty="0">
                <a:solidFill>
                  <a:srgbClr val="122454"/>
                </a:solidFill>
                <a:latin typeface="Arial"/>
                <a:cs typeface="Arial"/>
              </a:rPr>
              <a:t>передаче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в  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конкурентную </a:t>
            </a:r>
            <a:r>
              <a:rPr sz="1200" spc="170" dirty="0">
                <a:solidFill>
                  <a:srgbClr val="122454"/>
                </a:solidFill>
                <a:latin typeface="Arial"/>
                <a:cs typeface="Arial"/>
              </a:rPr>
              <a:t> </a:t>
            </a:r>
            <a:r>
              <a:rPr sz="1200" spc="-30" dirty="0">
                <a:solidFill>
                  <a:srgbClr val="122454"/>
                </a:solidFill>
                <a:latin typeface="Arial"/>
                <a:cs typeface="Arial"/>
              </a:rPr>
              <a:t>среду.</a:t>
            </a:r>
            <a:endParaRPr sz="1200">
              <a:latin typeface="Arial"/>
              <a:cs typeface="Arial"/>
            </a:endParaRPr>
          </a:p>
          <a:p>
            <a:pPr marL="12700" marR="5080">
              <a:lnSpc>
                <a:spcPts val="1300"/>
              </a:lnSpc>
              <a:spcBef>
                <a:spcPts val="100"/>
              </a:spcBef>
            </a:pP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Биржа МФЦА </a:t>
            </a:r>
            <a:r>
              <a:rPr sz="1200" spc="-15" dirty="0">
                <a:solidFill>
                  <a:srgbClr val="122454"/>
                </a:solidFill>
                <a:latin typeface="Arial"/>
                <a:cs typeface="Arial"/>
              </a:rPr>
              <a:t>определена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основной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платформой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для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проведения  приватизации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национальных</a:t>
            </a:r>
            <a:r>
              <a:rPr sz="1200" spc="20" dirty="0">
                <a:solidFill>
                  <a:srgbClr val="122454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компаний.</a:t>
            </a:r>
            <a:endParaRPr sz="1200">
              <a:latin typeface="Arial"/>
              <a:cs typeface="Arial"/>
            </a:endParaRPr>
          </a:p>
        </p:txBody>
      </p:sp>
      <p:grpSp>
        <p:nvGrpSpPr>
          <p:cNvPr id="43" name="object 43"/>
          <p:cNvGrpSpPr/>
          <p:nvPr/>
        </p:nvGrpSpPr>
        <p:grpSpPr>
          <a:xfrm>
            <a:off x="451584" y="4514042"/>
            <a:ext cx="6442710" cy="1491615"/>
            <a:chOff x="451584" y="4514042"/>
            <a:chExt cx="6442710" cy="1491615"/>
          </a:xfrm>
        </p:grpSpPr>
        <p:pic>
          <p:nvPicPr>
            <p:cNvPr id="44" name="object 44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51584" y="5595031"/>
              <a:ext cx="998103" cy="162143"/>
            </a:xfrm>
            <a:prstGeom prst="rect">
              <a:avLst/>
            </a:prstGeom>
          </p:spPr>
        </p:pic>
        <p:pic>
          <p:nvPicPr>
            <p:cNvPr id="45" name="object 45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536557" y="4850151"/>
              <a:ext cx="809959" cy="809959"/>
            </a:xfrm>
            <a:prstGeom prst="rect">
              <a:avLst/>
            </a:prstGeom>
          </p:spPr>
        </p:pic>
        <p:sp>
          <p:nvSpPr>
            <p:cNvPr id="46" name="object 46"/>
            <p:cNvSpPr/>
            <p:nvPr/>
          </p:nvSpPr>
          <p:spPr>
            <a:xfrm>
              <a:off x="760818" y="5043360"/>
              <a:ext cx="4504055" cy="574040"/>
            </a:xfrm>
            <a:custGeom>
              <a:avLst/>
              <a:gdLst/>
              <a:ahLst/>
              <a:cxnLst/>
              <a:rect l="l" t="t" r="r" b="b"/>
              <a:pathLst>
                <a:path w="4504055" h="574039">
                  <a:moveTo>
                    <a:pt x="320103" y="456539"/>
                  </a:moveTo>
                  <a:lnTo>
                    <a:pt x="314947" y="429590"/>
                  </a:lnTo>
                  <a:lnTo>
                    <a:pt x="309664" y="402018"/>
                  </a:lnTo>
                  <a:lnTo>
                    <a:pt x="302247" y="352120"/>
                  </a:lnTo>
                  <a:lnTo>
                    <a:pt x="297472" y="304076"/>
                  </a:lnTo>
                  <a:lnTo>
                    <a:pt x="294932" y="255473"/>
                  </a:lnTo>
                  <a:lnTo>
                    <a:pt x="294855" y="250825"/>
                  </a:lnTo>
                  <a:lnTo>
                    <a:pt x="294157" y="202438"/>
                  </a:lnTo>
                  <a:lnTo>
                    <a:pt x="294157" y="194729"/>
                  </a:lnTo>
                  <a:lnTo>
                    <a:pt x="288391" y="190881"/>
                  </a:lnTo>
                  <a:lnTo>
                    <a:pt x="236474" y="190881"/>
                  </a:lnTo>
                  <a:lnTo>
                    <a:pt x="233591" y="194729"/>
                  </a:lnTo>
                  <a:lnTo>
                    <a:pt x="233591" y="202438"/>
                  </a:lnTo>
                  <a:lnTo>
                    <a:pt x="232854" y="250825"/>
                  </a:lnTo>
                  <a:lnTo>
                    <a:pt x="230454" y="295694"/>
                  </a:lnTo>
                  <a:lnTo>
                    <a:pt x="226123" y="339090"/>
                  </a:lnTo>
                  <a:lnTo>
                    <a:pt x="219570" y="383044"/>
                  </a:lnTo>
                  <a:lnTo>
                    <a:pt x="210527" y="429590"/>
                  </a:lnTo>
                  <a:lnTo>
                    <a:pt x="202882" y="383044"/>
                  </a:lnTo>
                  <a:lnTo>
                    <a:pt x="197192" y="339090"/>
                  </a:lnTo>
                  <a:lnTo>
                    <a:pt x="193294" y="295694"/>
                  </a:lnTo>
                  <a:lnTo>
                    <a:pt x="191046" y="250825"/>
                  </a:lnTo>
                  <a:lnTo>
                    <a:pt x="190334" y="202438"/>
                  </a:lnTo>
                  <a:lnTo>
                    <a:pt x="190334" y="194729"/>
                  </a:lnTo>
                  <a:lnTo>
                    <a:pt x="187452" y="190881"/>
                  </a:lnTo>
                  <a:lnTo>
                    <a:pt x="135547" y="190881"/>
                  </a:lnTo>
                  <a:lnTo>
                    <a:pt x="129781" y="194729"/>
                  </a:lnTo>
                  <a:lnTo>
                    <a:pt x="129781" y="202438"/>
                  </a:lnTo>
                  <a:lnTo>
                    <a:pt x="129057" y="250825"/>
                  </a:lnTo>
                  <a:lnTo>
                    <a:pt x="126822" y="295694"/>
                  </a:lnTo>
                  <a:lnTo>
                    <a:pt x="122923" y="339090"/>
                  </a:lnTo>
                  <a:lnTo>
                    <a:pt x="117221" y="383044"/>
                  </a:lnTo>
                  <a:lnTo>
                    <a:pt x="109588" y="429590"/>
                  </a:lnTo>
                  <a:lnTo>
                    <a:pt x="101955" y="383044"/>
                  </a:lnTo>
                  <a:lnTo>
                    <a:pt x="96253" y="339090"/>
                  </a:lnTo>
                  <a:lnTo>
                    <a:pt x="92354" y="295694"/>
                  </a:lnTo>
                  <a:lnTo>
                    <a:pt x="90119" y="250825"/>
                  </a:lnTo>
                  <a:lnTo>
                    <a:pt x="89408" y="202438"/>
                  </a:lnTo>
                  <a:lnTo>
                    <a:pt x="89408" y="194729"/>
                  </a:lnTo>
                  <a:lnTo>
                    <a:pt x="83642" y="190881"/>
                  </a:lnTo>
                  <a:lnTo>
                    <a:pt x="31724" y="190881"/>
                  </a:lnTo>
                  <a:lnTo>
                    <a:pt x="28841" y="194729"/>
                  </a:lnTo>
                  <a:lnTo>
                    <a:pt x="28841" y="202438"/>
                  </a:lnTo>
                  <a:lnTo>
                    <a:pt x="27787" y="255473"/>
                  </a:lnTo>
                  <a:lnTo>
                    <a:pt x="24511" y="305181"/>
                  </a:lnTo>
                  <a:lnTo>
                    <a:pt x="18872" y="353783"/>
                  </a:lnTo>
                  <a:lnTo>
                    <a:pt x="10756" y="403491"/>
                  </a:lnTo>
                  <a:lnTo>
                    <a:pt x="0" y="456539"/>
                  </a:lnTo>
                  <a:lnTo>
                    <a:pt x="0" y="464235"/>
                  </a:lnTo>
                  <a:lnTo>
                    <a:pt x="2895" y="468083"/>
                  </a:lnTo>
                  <a:lnTo>
                    <a:pt x="5778" y="468083"/>
                  </a:lnTo>
                  <a:lnTo>
                    <a:pt x="5778" y="471932"/>
                  </a:lnTo>
                  <a:lnTo>
                    <a:pt x="317220" y="471932"/>
                  </a:lnTo>
                  <a:lnTo>
                    <a:pt x="320103" y="464235"/>
                  </a:lnTo>
                  <a:lnTo>
                    <a:pt x="320103" y="456539"/>
                  </a:lnTo>
                  <a:close/>
                </a:path>
                <a:path w="4504055" h="574039">
                  <a:moveTo>
                    <a:pt x="467512" y="16687"/>
                  </a:moveTo>
                  <a:lnTo>
                    <a:pt x="465289" y="13512"/>
                  </a:lnTo>
                  <a:lnTo>
                    <a:pt x="461276" y="7747"/>
                  </a:lnTo>
                  <a:lnTo>
                    <a:pt x="457403" y="2184"/>
                  </a:lnTo>
                  <a:lnTo>
                    <a:pt x="436460" y="3175"/>
                  </a:lnTo>
                  <a:lnTo>
                    <a:pt x="405765" y="7747"/>
                  </a:lnTo>
                  <a:lnTo>
                    <a:pt x="366420" y="3975"/>
                  </a:lnTo>
                  <a:lnTo>
                    <a:pt x="363524" y="3975"/>
                  </a:lnTo>
                  <a:lnTo>
                    <a:pt x="343623" y="546"/>
                  </a:lnTo>
                  <a:lnTo>
                    <a:pt x="323443" y="393"/>
                  </a:lnTo>
                  <a:lnTo>
                    <a:pt x="303822" y="4419"/>
                  </a:lnTo>
                  <a:lnTo>
                    <a:pt x="285534" y="13512"/>
                  </a:lnTo>
                  <a:lnTo>
                    <a:pt x="282651" y="13512"/>
                  </a:lnTo>
                  <a:lnTo>
                    <a:pt x="282651" y="10325"/>
                  </a:lnTo>
                  <a:lnTo>
                    <a:pt x="259181" y="3670"/>
                  </a:lnTo>
                  <a:lnTo>
                    <a:pt x="233553" y="0"/>
                  </a:lnTo>
                  <a:lnTo>
                    <a:pt x="207911" y="2286"/>
                  </a:lnTo>
                  <a:lnTo>
                    <a:pt x="184442" y="13512"/>
                  </a:lnTo>
                  <a:lnTo>
                    <a:pt x="181559" y="13512"/>
                  </a:lnTo>
                  <a:lnTo>
                    <a:pt x="181559" y="10325"/>
                  </a:lnTo>
                  <a:lnTo>
                    <a:pt x="150863" y="2184"/>
                  </a:lnTo>
                  <a:lnTo>
                    <a:pt x="118008" y="0"/>
                  </a:lnTo>
                  <a:lnTo>
                    <a:pt x="87325" y="8547"/>
                  </a:lnTo>
                  <a:lnTo>
                    <a:pt x="63131" y="32588"/>
                  </a:lnTo>
                  <a:lnTo>
                    <a:pt x="55232" y="55600"/>
                  </a:lnTo>
                  <a:lnTo>
                    <a:pt x="51943" y="80695"/>
                  </a:lnTo>
                  <a:lnTo>
                    <a:pt x="51358" y="106375"/>
                  </a:lnTo>
                  <a:lnTo>
                    <a:pt x="51587" y="131178"/>
                  </a:lnTo>
                  <a:lnTo>
                    <a:pt x="80467" y="131178"/>
                  </a:lnTo>
                  <a:lnTo>
                    <a:pt x="83934" y="109156"/>
                  </a:lnTo>
                  <a:lnTo>
                    <a:pt x="90932" y="91020"/>
                  </a:lnTo>
                  <a:lnTo>
                    <a:pt x="129616" y="63842"/>
                  </a:lnTo>
                  <a:lnTo>
                    <a:pt x="148120" y="59969"/>
                  </a:lnTo>
                  <a:lnTo>
                    <a:pt x="158445" y="58026"/>
                  </a:lnTo>
                  <a:lnTo>
                    <a:pt x="155105" y="77063"/>
                  </a:lnTo>
                  <a:lnTo>
                    <a:pt x="153390" y="95796"/>
                  </a:lnTo>
                  <a:lnTo>
                    <a:pt x="152768" y="113931"/>
                  </a:lnTo>
                  <a:lnTo>
                    <a:pt x="152679" y="131178"/>
                  </a:lnTo>
                  <a:lnTo>
                    <a:pt x="184442" y="131178"/>
                  </a:lnTo>
                  <a:lnTo>
                    <a:pt x="186651" y="109156"/>
                  </a:lnTo>
                  <a:lnTo>
                    <a:pt x="193471" y="91020"/>
                  </a:lnTo>
                  <a:lnTo>
                    <a:pt x="231114" y="63842"/>
                  </a:lnTo>
                  <a:lnTo>
                    <a:pt x="250431" y="59969"/>
                  </a:lnTo>
                  <a:lnTo>
                    <a:pt x="259549" y="58026"/>
                  </a:lnTo>
                  <a:lnTo>
                    <a:pt x="256654" y="77063"/>
                  </a:lnTo>
                  <a:lnTo>
                    <a:pt x="255930" y="95796"/>
                  </a:lnTo>
                  <a:lnTo>
                    <a:pt x="256654" y="131178"/>
                  </a:lnTo>
                  <a:lnTo>
                    <a:pt x="285534" y="131178"/>
                  </a:lnTo>
                  <a:lnTo>
                    <a:pt x="288975" y="109156"/>
                  </a:lnTo>
                  <a:lnTo>
                    <a:pt x="295643" y="91020"/>
                  </a:lnTo>
                  <a:lnTo>
                    <a:pt x="340423" y="62103"/>
                  </a:lnTo>
                  <a:lnTo>
                    <a:pt x="375843" y="59601"/>
                  </a:lnTo>
                  <a:lnTo>
                    <a:pt x="392404" y="61214"/>
                  </a:lnTo>
                  <a:lnTo>
                    <a:pt x="415518" y="61214"/>
                  </a:lnTo>
                  <a:lnTo>
                    <a:pt x="425627" y="59524"/>
                  </a:lnTo>
                  <a:lnTo>
                    <a:pt x="434555" y="58026"/>
                  </a:lnTo>
                  <a:lnTo>
                    <a:pt x="441109" y="56934"/>
                  </a:lnTo>
                  <a:lnTo>
                    <a:pt x="457758" y="46101"/>
                  </a:lnTo>
                  <a:lnTo>
                    <a:pt x="466293" y="31699"/>
                  </a:lnTo>
                  <a:lnTo>
                    <a:pt x="467512" y="16687"/>
                  </a:lnTo>
                  <a:close/>
                </a:path>
                <a:path w="4504055" h="574039">
                  <a:moveTo>
                    <a:pt x="4235221" y="572262"/>
                  </a:moveTo>
                  <a:lnTo>
                    <a:pt x="4233634" y="572262"/>
                  </a:lnTo>
                  <a:lnTo>
                    <a:pt x="4233634" y="573849"/>
                  </a:lnTo>
                  <a:lnTo>
                    <a:pt x="4235221" y="573849"/>
                  </a:lnTo>
                  <a:lnTo>
                    <a:pt x="4235221" y="572262"/>
                  </a:lnTo>
                  <a:close/>
                </a:path>
                <a:path w="4504055" h="574039">
                  <a:moveTo>
                    <a:pt x="4503509" y="572262"/>
                  </a:moveTo>
                  <a:lnTo>
                    <a:pt x="4501921" y="572262"/>
                  </a:lnTo>
                  <a:lnTo>
                    <a:pt x="4501921" y="573849"/>
                  </a:lnTo>
                  <a:lnTo>
                    <a:pt x="4503509" y="573849"/>
                  </a:lnTo>
                  <a:lnTo>
                    <a:pt x="4503509" y="57226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1449687" y="4657515"/>
              <a:ext cx="5234940" cy="1341755"/>
            </a:xfrm>
            <a:custGeom>
              <a:avLst/>
              <a:gdLst/>
              <a:ahLst/>
              <a:cxnLst/>
              <a:rect l="l" t="t" r="r" b="b"/>
              <a:pathLst>
                <a:path w="5234940" h="1341754">
                  <a:moveTo>
                    <a:pt x="0" y="0"/>
                  </a:moveTo>
                  <a:lnTo>
                    <a:pt x="5234430" y="0"/>
                  </a:lnTo>
                  <a:lnTo>
                    <a:pt x="5234430" y="1341724"/>
                  </a:lnTo>
                  <a:lnTo>
                    <a:pt x="0" y="1341724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097F8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1705292" y="4514042"/>
              <a:ext cx="5189220" cy="286385"/>
            </a:xfrm>
            <a:custGeom>
              <a:avLst/>
              <a:gdLst/>
              <a:ahLst/>
              <a:cxnLst/>
              <a:rect l="l" t="t" r="r" b="b"/>
              <a:pathLst>
                <a:path w="5189220" h="286385">
                  <a:moveTo>
                    <a:pt x="5188684" y="0"/>
                  </a:moveTo>
                  <a:lnTo>
                    <a:pt x="0" y="0"/>
                  </a:lnTo>
                  <a:lnTo>
                    <a:pt x="0" y="286231"/>
                  </a:lnTo>
                  <a:lnTo>
                    <a:pt x="5188684" y="286231"/>
                  </a:lnTo>
                  <a:lnTo>
                    <a:pt x="518868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9" name="object 49"/>
          <p:cNvSpPr txBox="1"/>
          <p:nvPr/>
        </p:nvSpPr>
        <p:spPr>
          <a:xfrm>
            <a:off x="1545460" y="4502742"/>
            <a:ext cx="5059045" cy="457200"/>
          </a:xfrm>
          <a:prstGeom prst="rect">
            <a:avLst/>
          </a:prstGeom>
        </p:spPr>
        <p:txBody>
          <a:bodyPr vert="horz" wrap="square" lIns="0" tIns="31750" rIns="0" bIns="0" rtlCol="0">
            <a:spAutoFit/>
          </a:bodyPr>
          <a:lstStyle/>
          <a:p>
            <a:pPr marL="223520">
              <a:lnSpc>
                <a:spcPct val="100000"/>
              </a:lnSpc>
              <a:spcBef>
                <a:spcPts val="250"/>
              </a:spcBef>
            </a:pPr>
            <a:r>
              <a:rPr sz="1400" b="1" spc="-5" dirty="0">
                <a:solidFill>
                  <a:srgbClr val="006174"/>
                </a:solidFill>
                <a:latin typeface="Arial"/>
                <a:cs typeface="Arial"/>
              </a:rPr>
              <a:t>Приватизация </a:t>
            </a:r>
            <a:r>
              <a:rPr sz="1400" b="1" spc="-15" dirty="0">
                <a:solidFill>
                  <a:srgbClr val="006174"/>
                </a:solidFill>
                <a:latin typeface="Arial"/>
                <a:cs typeface="Arial"/>
              </a:rPr>
              <a:t>Государственных </a:t>
            </a:r>
            <a:r>
              <a:rPr sz="1400" b="1" spc="-5" dirty="0">
                <a:solidFill>
                  <a:srgbClr val="006174"/>
                </a:solidFill>
                <a:latin typeface="Arial"/>
                <a:cs typeface="Arial"/>
              </a:rPr>
              <a:t>Предприятий</a:t>
            </a:r>
            <a:endParaRPr sz="1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25"/>
              </a:spcBef>
              <a:tabLst>
                <a:tab pos="269240" algn="l"/>
              </a:tabLst>
            </a:pP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В	рамках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Комплексного плана </a:t>
            </a:r>
            <a:r>
              <a:rPr sz="1200" spc="-10" dirty="0">
                <a:solidFill>
                  <a:srgbClr val="122454"/>
                </a:solidFill>
                <a:latin typeface="Arial"/>
                <a:cs typeface="Arial"/>
              </a:rPr>
              <a:t>приватизации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на 2016 </a:t>
            </a:r>
            <a:r>
              <a:rPr sz="1200" dirty="0">
                <a:solidFill>
                  <a:srgbClr val="122454"/>
                </a:solidFill>
                <a:latin typeface="Arial"/>
                <a:cs typeface="Arial"/>
              </a:rPr>
              <a:t>- </a:t>
            </a:r>
            <a:r>
              <a:rPr sz="1200" spc="-5" dirty="0">
                <a:solidFill>
                  <a:srgbClr val="122454"/>
                </a:solidFill>
                <a:latin typeface="Arial"/>
                <a:cs typeface="Arial"/>
              </a:rPr>
              <a:t>2020</a:t>
            </a:r>
            <a:r>
              <a:rPr sz="1200" spc="-105" dirty="0">
                <a:solidFill>
                  <a:srgbClr val="122454"/>
                </a:solidFill>
                <a:latin typeface="Arial"/>
                <a:cs typeface="Arial"/>
              </a:rPr>
              <a:t> </a:t>
            </a:r>
            <a:r>
              <a:rPr sz="1200" spc="-15" dirty="0">
                <a:solidFill>
                  <a:srgbClr val="122454"/>
                </a:solidFill>
                <a:latin typeface="Arial"/>
                <a:cs typeface="Arial"/>
              </a:rPr>
              <a:t>годы,</a:t>
            </a:r>
            <a:endParaRPr sz="12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0656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472810" y="947"/>
            <a:ext cx="487680" cy="626110"/>
            <a:chOff x="472810" y="947"/>
            <a:chExt cx="487680" cy="626110"/>
          </a:xfrm>
        </p:grpSpPr>
        <p:sp>
          <p:nvSpPr>
            <p:cNvPr id="3" name="object 3"/>
            <p:cNvSpPr/>
            <p:nvPr/>
          </p:nvSpPr>
          <p:spPr>
            <a:xfrm>
              <a:off x="472810" y="947"/>
              <a:ext cx="378460" cy="551180"/>
            </a:xfrm>
            <a:custGeom>
              <a:avLst/>
              <a:gdLst/>
              <a:ahLst/>
              <a:cxnLst/>
              <a:rect l="l" t="t" r="r" b="b"/>
              <a:pathLst>
                <a:path w="378459" h="551180">
                  <a:moveTo>
                    <a:pt x="378000" y="0"/>
                  </a:moveTo>
                  <a:lnTo>
                    <a:pt x="0" y="0"/>
                  </a:lnTo>
                  <a:lnTo>
                    <a:pt x="0" y="550800"/>
                  </a:lnTo>
                  <a:lnTo>
                    <a:pt x="378000" y="550800"/>
                  </a:lnTo>
                  <a:lnTo>
                    <a:pt x="378000" y="0"/>
                  </a:lnTo>
                  <a:close/>
                </a:path>
              </a:pathLst>
            </a:custGeom>
            <a:solidFill>
              <a:srgbClr val="ED6B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85779" y="286873"/>
              <a:ext cx="186480" cy="188160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533398" y="135046"/>
              <a:ext cx="426720" cy="492125"/>
            </a:xfrm>
            <a:custGeom>
              <a:avLst/>
              <a:gdLst/>
              <a:ahLst/>
              <a:cxnLst/>
              <a:rect l="l" t="t" r="r" b="b"/>
              <a:pathLst>
                <a:path w="426719" h="492125">
                  <a:moveTo>
                    <a:pt x="118533" y="118997"/>
                  </a:moveTo>
                  <a:lnTo>
                    <a:pt x="98299" y="143430"/>
                  </a:lnTo>
                  <a:lnTo>
                    <a:pt x="83343" y="170188"/>
                  </a:lnTo>
                  <a:lnTo>
                    <a:pt x="73388" y="198617"/>
                  </a:lnTo>
                  <a:lnTo>
                    <a:pt x="68156" y="228067"/>
                  </a:lnTo>
                  <a:lnTo>
                    <a:pt x="0" y="228067"/>
                  </a:lnTo>
                  <a:lnTo>
                    <a:pt x="0" y="256816"/>
                  </a:lnTo>
                  <a:lnTo>
                    <a:pt x="6297" y="301787"/>
                  </a:lnTo>
                  <a:lnTo>
                    <a:pt x="20743" y="345183"/>
                  </a:lnTo>
                  <a:lnTo>
                    <a:pt x="43338" y="385793"/>
                  </a:lnTo>
                  <a:lnTo>
                    <a:pt x="74083" y="422401"/>
                  </a:lnTo>
                  <a:lnTo>
                    <a:pt x="117268" y="456394"/>
                  </a:lnTo>
                  <a:lnTo>
                    <a:pt x="165453" y="479415"/>
                  </a:lnTo>
                  <a:lnTo>
                    <a:pt x="216601" y="491283"/>
                  </a:lnTo>
                  <a:lnTo>
                    <a:pt x="268676" y="491815"/>
                  </a:lnTo>
                  <a:lnTo>
                    <a:pt x="310378" y="484405"/>
                  </a:lnTo>
                  <a:lnTo>
                    <a:pt x="350414" y="469747"/>
                  </a:lnTo>
                  <a:lnTo>
                    <a:pt x="364065" y="461828"/>
                  </a:lnTo>
                  <a:lnTo>
                    <a:pt x="248689" y="461828"/>
                  </a:lnTo>
                  <a:lnTo>
                    <a:pt x="231757" y="461193"/>
                  </a:lnTo>
                  <a:lnTo>
                    <a:pt x="215011" y="459258"/>
                  </a:lnTo>
                  <a:lnTo>
                    <a:pt x="198543" y="456112"/>
                  </a:lnTo>
                  <a:lnTo>
                    <a:pt x="200570" y="448176"/>
                  </a:lnTo>
                  <a:lnTo>
                    <a:pt x="170885" y="448176"/>
                  </a:lnTo>
                  <a:lnTo>
                    <a:pt x="131127" y="427970"/>
                  </a:lnTo>
                  <a:lnTo>
                    <a:pt x="95814" y="399599"/>
                  </a:lnTo>
                  <a:lnTo>
                    <a:pt x="69947" y="369055"/>
                  </a:lnTo>
                  <a:lnTo>
                    <a:pt x="50376" y="334520"/>
                  </a:lnTo>
                  <a:lnTo>
                    <a:pt x="37473" y="296828"/>
                  </a:lnTo>
                  <a:lnTo>
                    <a:pt x="31608" y="256816"/>
                  </a:lnTo>
                  <a:lnTo>
                    <a:pt x="97581" y="256816"/>
                  </a:lnTo>
                  <a:lnTo>
                    <a:pt x="96771" y="252756"/>
                  </a:lnTo>
                  <a:lnTo>
                    <a:pt x="99765" y="212441"/>
                  </a:lnTo>
                  <a:lnTo>
                    <a:pt x="113872" y="173987"/>
                  </a:lnTo>
                  <a:lnTo>
                    <a:pt x="139276" y="139809"/>
                  </a:lnTo>
                  <a:lnTo>
                    <a:pt x="138289" y="139809"/>
                  </a:lnTo>
                  <a:lnTo>
                    <a:pt x="150096" y="129232"/>
                  </a:lnTo>
                  <a:lnTo>
                    <a:pt x="162944" y="119980"/>
                  </a:lnTo>
                  <a:lnTo>
                    <a:pt x="118533" y="119980"/>
                  </a:lnTo>
                  <a:lnTo>
                    <a:pt x="118533" y="118997"/>
                  </a:lnTo>
                  <a:close/>
                </a:path>
                <a:path w="426719" h="492125">
                  <a:moveTo>
                    <a:pt x="390165" y="387682"/>
                  </a:moveTo>
                  <a:lnTo>
                    <a:pt x="347698" y="387682"/>
                  </a:lnTo>
                  <a:lnTo>
                    <a:pt x="377331" y="416455"/>
                  </a:lnTo>
                  <a:lnTo>
                    <a:pt x="351834" y="433327"/>
                  </a:lnTo>
                  <a:lnTo>
                    <a:pt x="324485" y="446570"/>
                  </a:lnTo>
                  <a:lnTo>
                    <a:pt x="295654" y="455911"/>
                  </a:lnTo>
                  <a:lnTo>
                    <a:pt x="265712" y="461076"/>
                  </a:lnTo>
                  <a:lnTo>
                    <a:pt x="248689" y="461828"/>
                  </a:lnTo>
                  <a:lnTo>
                    <a:pt x="364065" y="461828"/>
                  </a:lnTo>
                  <a:lnTo>
                    <a:pt x="387857" y="448025"/>
                  </a:lnTo>
                  <a:lnTo>
                    <a:pt x="421782" y="419428"/>
                  </a:lnTo>
                  <a:lnTo>
                    <a:pt x="390165" y="387682"/>
                  </a:lnTo>
                  <a:close/>
                </a:path>
                <a:path w="426719" h="492125">
                  <a:moveTo>
                    <a:pt x="97581" y="256816"/>
                  </a:moveTo>
                  <a:lnTo>
                    <a:pt x="68156" y="256816"/>
                  </a:lnTo>
                  <a:lnTo>
                    <a:pt x="73142" y="287725"/>
                  </a:lnTo>
                  <a:lnTo>
                    <a:pt x="99410" y="345072"/>
                  </a:lnTo>
                  <a:lnTo>
                    <a:pt x="134368" y="382312"/>
                  </a:lnTo>
                  <a:lnTo>
                    <a:pt x="180763" y="409502"/>
                  </a:lnTo>
                  <a:lnTo>
                    <a:pt x="170885" y="448176"/>
                  </a:lnTo>
                  <a:lnTo>
                    <a:pt x="200570" y="448176"/>
                  </a:lnTo>
                  <a:lnTo>
                    <a:pt x="208421" y="417438"/>
                  </a:lnTo>
                  <a:lnTo>
                    <a:pt x="278720" y="417438"/>
                  </a:lnTo>
                  <a:lnTo>
                    <a:pt x="294605" y="413968"/>
                  </a:lnTo>
                  <a:lnTo>
                    <a:pt x="315472" y="406189"/>
                  </a:lnTo>
                  <a:lnTo>
                    <a:pt x="334857" y="395618"/>
                  </a:lnTo>
                  <a:lnTo>
                    <a:pt x="338808" y="393653"/>
                  </a:lnTo>
                  <a:lnTo>
                    <a:pt x="340784" y="392645"/>
                  </a:lnTo>
                  <a:lnTo>
                    <a:pt x="340784" y="391662"/>
                  </a:lnTo>
                  <a:lnTo>
                    <a:pt x="243981" y="391662"/>
                  </a:lnTo>
                  <a:lnTo>
                    <a:pt x="198759" y="384583"/>
                  </a:lnTo>
                  <a:lnTo>
                    <a:pt x="159279" y="364769"/>
                  </a:lnTo>
                  <a:lnTo>
                    <a:pt x="127577" y="334359"/>
                  </a:lnTo>
                  <a:lnTo>
                    <a:pt x="105692" y="295490"/>
                  </a:lnTo>
                  <a:lnTo>
                    <a:pt x="105692" y="294485"/>
                  </a:lnTo>
                  <a:lnTo>
                    <a:pt x="104704" y="293502"/>
                  </a:lnTo>
                  <a:lnTo>
                    <a:pt x="104704" y="292517"/>
                  </a:lnTo>
                  <a:lnTo>
                    <a:pt x="97581" y="256816"/>
                  </a:lnTo>
                  <a:close/>
                </a:path>
                <a:path w="426719" h="492125">
                  <a:moveTo>
                    <a:pt x="247932" y="420411"/>
                  </a:moveTo>
                  <a:lnTo>
                    <a:pt x="240030" y="420411"/>
                  </a:lnTo>
                  <a:lnTo>
                    <a:pt x="242006" y="421394"/>
                  </a:lnTo>
                  <a:lnTo>
                    <a:pt x="246945" y="421394"/>
                  </a:lnTo>
                  <a:lnTo>
                    <a:pt x="247932" y="420411"/>
                  </a:lnTo>
                  <a:close/>
                </a:path>
                <a:path w="426719" h="492125">
                  <a:moveTo>
                    <a:pt x="278720" y="417438"/>
                  </a:moveTo>
                  <a:lnTo>
                    <a:pt x="208421" y="417438"/>
                  </a:lnTo>
                  <a:lnTo>
                    <a:pt x="220274" y="419428"/>
                  </a:lnTo>
                  <a:lnTo>
                    <a:pt x="225213" y="420411"/>
                  </a:lnTo>
                  <a:lnTo>
                    <a:pt x="249908" y="420411"/>
                  </a:lnTo>
                  <a:lnTo>
                    <a:pt x="272627" y="418770"/>
                  </a:lnTo>
                  <a:lnTo>
                    <a:pt x="278720" y="417438"/>
                  </a:lnTo>
                  <a:close/>
                </a:path>
                <a:path w="426719" h="492125">
                  <a:moveTo>
                    <a:pt x="349674" y="348025"/>
                  </a:moveTo>
                  <a:lnTo>
                    <a:pt x="348686" y="348025"/>
                  </a:lnTo>
                  <a:lnTo>
                    <a:pt x="348686" y="349031"/>
                  </a:lnTo>
                  <a:lnTo>
                    <a:pt x="326769" y="366981"/>
                  </a:lnTo>
                  <a:lnTo>
                    <a:pt x="301519" y="380381"/>
                  </a:lnTo>
                  <a:lnTo>
                    <a:pt x="273676" y="388764"/>
                  </a:lnTo>
                  <a:lnTo>
                    <a:pt x="243981" y="391662"/>
                  </a:lnTo>
                  <a:lnTo>
                    <a:pt x="341771" y="391662"/>
                  </a:lnTo>
                  <a:lnTo>
                    <a:pt x="343747" y="390679"/>
                  </a:lnTo>
                  <a:lnTo>
                    <a:pt x="345722" y="388689"/>
                  </a:lnTo>
                  <a:lnTo>
                    <a:pt x="347698" y="387682"/>
                  </a:lnTo>
                  <a:lnTo>
                    <a:pt x="390165" y="387682"/>
                  </a:lnTo>
                  <a:lnTo>
                    <a:pt x="370417" y="367854"/>
                  </a:lnTo>
                  <a:lnTo>
                    <a:pt x="349674" y="348025"/>
                  </a:lnTo>
                  <a:close/>
                </a:path>
                <a:path w="426719" h="492125">
                  <a:moveTo>
                    <a:pt x="223238" y="0"/>
                  </a:moveTo>
                  <a:lnTo>
                    <a:pt x="181535" y="7409"/>
                  </a:lnTo>
                  <a:lnTo>
                    <a:pt x="141499" y="22067"/>
                  </a:lnTo>
                  <a:lnTo>
                    <a:pt x="104056" y="43788"/>
                  </a:lnTo>
                  <a:lnTo>
                    <a:pt x="70132" y="72386"/>
                  </a:lnTo>
                  <a:lnTo>
                    <a:pt x="41965" y="107173"/>
                  </a:lnTo>
                  <a:lnTo>
                    <a:pt x="21113" y="145398"/>
                  </a:lnTo>
                  <a:lnTo>
                    <a:pt x="7485" y="186037"/>
                  </a:lnTo>
                  <a:lnTo>
                    <a:pt x="987" y="228067"/>
                  </a:lnTo>
                  <a:lnTo>
                    <a:pt x="31608" y="228067"/>
                  </a:lnTo>
                  <a:lnTo>
                    <a:pt x="37844" y="191408"/>
                  </a:lnTo>
                  <a:lnTo>
                    <a:pt x="50376" y="156422"/>
                  </a:lnTo>
                  <a:lnTo>
                    <a:pt x="92851" y="95187"/>
                  </a:lnTo>
                  <a:lnTo>
                    <a:pt x="131374" y="63221"/>
                  </a:lnTo>
                  <a:lnTo>
                    <a:pt x="175824" y="41647"/>
                  </a:lnTo>
                  <a:lnTo>
                    <a:pt x="205258" y="41647"/>
                  </a:lnTo>
                  <a:lnTo>
                    <a:pt x="203482" y="34717"/>
                  </a:lnTo>
                  <a:lnTo>
                    <a:pt x="211384" y="32727"/>
                  </a:lnTo>
                  <a:lnTo>
                    <a:pt x="218299" y="31744"/>
                  </a:lnTo>
                  <a:lnTo>
                    <a:pt x="226201" y="30737"/>
                  </a:lnTo>
                  <a:lnTo>
                    <a:pt x="365389" y="30737"/>
                  </a:lnTo>
                  <a:lnTo>
                    <a:pt x="326955" y="12398"/>
                  </a:lnTo>
                  <a:lnTo>
                    <a:pt x="275744" y="531"/>
                  </a:lnTo>
                  <a:lnTo>
                    <a:pt x="223238" y="0"/>
                  </a:lnTo>
                  <a:close/>
                </a:path>
                <a:path w="426719" h="492125">
                  <a:moveTo>
                    <a:pt x="340714" y="96006"/>
                  </a:moveTo>
                  <a:lnTo>
                    <a:pt x="232128" y="96006"/>
                  </a:lnTo>
                  <a:lnTo>
                    <a:pt x="273368" y="98424"/>
                  </a:lnTo>
                  <a:lnTo>
                    <a:pt x="312755" y="112370"/>
                  </a:lnTo>
                  <a:lnTo>
                    <a:pt x="347698" y="137843"/>
                  </a:lnTo>
                  <a:lnTo>
                    <a:pt x="358564" y="147745"/>
                  </a:lnTo>
                  <a:lnTo>
                    <a:pt x="398207" y="107104"/>
                  </a:lnTo>
                  <a:lnTo>
                    <a:pt x="357576" y="107104"/>
                  </a:lnTo>
                  <a:lnTo>
                    <a:pt x="340714" y="96006"/>
                  </a:lnTo>
                  <a:close/>
                </a:path>
                <a:path w="426719" h="492125">
                  <a:moveTo>
                    <a:pt x="205258" y="41647"/>
                  </a:moveTo>
                  <a:lnTo>
                    <a:pt x="175824" y="41647"/>
                  </a:lnTo>
                  <a:lnTo>
                    <a:pt x="183727" y="74376"/>
                  </a:lnTo>
                  <a:lnTo>
                    <a:pt x="184714" y="77349"/>
                  </a:lnTo>
                  <a:lnTo>
                    <a:pt x="166039" y="85123"/>
                  </a:lnTo>
                  <a:lnTo>
                    <a:pt x="148660" y="94942"/>
                  </a:lnTo>
                  <a:lnTo>
                    <a:pt x="132763" y="106623"/>
                  </a:lnTo>
                  <a:lnTo>
                    <a:pt x="118533" y="119980"/>
                  </a:lnTo>
                  <a:lnTo>
                    <a:pt x="162944" y="119980"/>
                  </a:lnTo>
                  <a:lnTo>
                    <a:pt x="163107" y="119863"/>
                  </a:lnTo>
                  <a:lnTo>
                    <a:pt x="177044" y="111792"/>
                  </a:lnTo>
                  <a:lnTo>
                    <a:pt x="191629" y="105114"/>
                  </a:lnTo>
                  <a:lnTo>
                    <a:pt x="232128" y="96006"/>
                  </a:lnTo>
                  <a:lnTo>
                    <a:pt x="340714" y="96006"/>
                  </a:lnTo>
                  <a:lnTo>
                    <a:pt x="324470" y="85314"/>
                  </a:lnTo>
                  <a:lnTo>
                    <a:pt x="288308" y="71894"/>
                  </a:lnTo>
                  <a:lnTo>
                    <a:pt x="270384" y="69413"/>
                  </a:lnTo>
                  <a:lnTo>
                    <a:pt x="212372" y="69413"/>
                  </a:lnTo>
                  <a:lnTo>
                    <a:pt x="205258" y="41647"/>
                  </a:lnTo>
                  <a:close/>
                </a:path>
                <a:path w="426719" h="492125">
                  <a:moveTo>
                    <a:pt x="365389" y="30737"/>
                  </a:moveTo>
                  <a:lnTo>
                    <a:pt x="226201" y="30737"/>
                  </a:lnTo>
                  <a:lnTo>
                    <a:pt x="268815" y="31242"/>
                  </a:lnTo>
                  <a:lnTo>
                    <a:pt x="310039" y="39921"/>
                  </a:lnTo>
                  <a:lnTo>
                    <a:pt x="348856" y="56403"/>
                  </a:lnTo>
                  <a:lnTo>
                    <a:pt x="384246" y="80322"/>
                  </a:lnTo>
                  <a:lnTo>
                    <a:pt x="357576" y="107104"/>
                  </a:lnTo>
                  <a:lnTo>
                    <a:pt x="398207" y="107104"/>
                  </a:lnTo>
                  <a:lnTo>
                    <a:pt x="404989" y="100150"/>
                  </a:lnTo>
                  <a:lnTo>
                    <a:pt x="426721" y="78332"/>
                  </a:lnTo>
                  <a:lnTo>
                    <a:pt x="423757" y="75359"/>
                  </a:lnTo>
                  <a:lnTo>
                    <a:pt x="421782" y="72386"/>
                  </a:lnTo>
                  <a:lnTo>
                    <a:pt x="418818" y="69413"/>
                  </a:lnTo>
                  <a:lnTo>
                    <a:pt x="375202" y="35419"/>
                  </a:lnTo>
                  <a:lnTo>
                    <a:pt x="365389" y="30737"/>
                  </a:lnTo>
                  <a:close/>
                </a:path>
                <a:path w="426719" h="492125">
                  <a:moveTo>
                    <a:pt x="250479" y="66657"/>
                  </a:moveTo>
                  <a:lnTo>
                    <a:pt x="212372" y="69413"/>
                  </a:lnTo>
                  <a:lnTo>
                    <a:pt x="270384" y="69413"/>
                  </a:lnTo>
                  <a:lnTo>
                    <a:pt x="250479" y="66657"/>
                  </a:lnTo>
                  <a:close/>
                </a:path>
              </a:pathLst>
            </a:custGeom>
            <a:solidFill>
              <a:srgbClr val="FFFFFF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6" name="object 6"/>
          <p:cNvGrpSpPr/>
          <p:nvPr/>
        </p:nvGrpSpPr>
        <p:grpSpPr>
          <a:xfrm>
            <a:off x="-9524" y="1638661"/>
            <a:ext cx="3058795" cy="4640580"/>
            <a:chOff x="-9524" y="1638661"/>
            <a:chExt cx="3058795" cy="4640580"/>
          </a:xfrm>
        </p:grpSpPr>
        <p:sp>
          <p:nvSpPr>
            <p:cNvPr id="7" name="object 7"/>
            <p:cNvSpPr/>
            <p:nvPr/>
          </p:nvSpPr>
          <p:spPr>
            <a:xfrm>
              <a:off x="64082" y="2757829"/>
              <a:ext cx="2000250" cy="2366645"/>
            </a:xfrm>
            <a:custGeom>
              <a:avLst/>
              <a:gdLst/>
              <a:ahLst/>
              <a:cxnLst/>
              <a:rect l="l" t="t" r="r" b="b"/>
              <a:pathLst>
                <a:path w="2000250" h="2366645">
                  <a:moveTo>
                    <a:pt x="1443410" y="970664"/>
                  </a:moveTo>
                  <a:lnTo>
                    <a:pt x="1446207" y="967866"/>
                  </a:lnTo>
                  <a:lnTo>
                    <a:pt x="1443410" y="967866"/>
                  </a:lnTo>
                  <a:lnTo>
                    <a:pt x="1443410" y="970664"/>
                  </a:lnTo>
                  <a:lnTo>
                    <a:pt x="1576282" y="1328719"/>
                  </a:lnTo>
                </a:path>
                <a:path w="2000250" h="2366645">
                  <a:moveTo>
                    <a:pt x="1446207" y="967866"/>
                  </a:moveTo>
                  <a:lnTo>
                    <a:pt x="1440613" y="962272"/>
                  </a:lnTo>
                  <a:lnTo>
                    <a:pt x="1443410" y="967866"/>
                  </a:lnTo>
                  <a:lnTo>
                    <a:pt x="969266" y="882549"/>
                  </a:lnTo>
                  <a:lnTo>
                    <a:pt x="1123118" y="500717"/>
                  </a:lnTo>
                  <a:lnTo>
                    <a:pt x="1440613" y="962272"/>
                  </a:lnTo>
                </a:path>
                <a:path w="2000250" h="2366645">
                  <a:moveTo>
                    <a:pt x="1446207" y="967866"/>
                  </a:moveTo>
                  <a:lnTo>
                    <a:pt x="1804262" y="630791"/>
                  </a:lnTo>
                  <a:lnTo>
                    <a:pt x="1496559" y="591629"/>
                  </a:lnTo>
                  <a:lnTo>
                    <a:pt x="1440613" y="962272"/>
                  </a:lnTo>
                </a:path>
                <a:path w="2000250" h="2366645">
                  <a:moveTo>
                    <a:pt x="1446207" y="967866"/>
                  </a:moveTo>
                  <a:lnTo>
                    <a:pt x="1833634" y="962272"/>
                  </a:lnTo>
                  <a:lnTo>
                    <a:pt x="1804262" y="630791"/>
                  </a:lnTo>
                </a:path>
                <a:path w="2000250" h="2366645">
                  <a:moveTo>
                    <a:pt x="1549708" y="222385"/>
                  </a:moveTo>
                  <a:lnTo>
                    <a:pt x="1114726" y="492325"/>
                  </a:lnTo>
                  <a:lnTo>
                    <a:pt x="1117524" y="492325"/>
                  </a:lnTo>
                  <a:lnTo>
                    <a:pt x="1125916" y="495122"/>
                  </a:lnTo>
                  <a:lnTo>
                    <a:pt x="1496559" y="591629"/>
                  </a:lnTo>
                  <a:lnTo>
                    <a:pt x="1549708" y="222385"/>
                  </a:lnTo>
                </a:path>
                <a:path w="2000250" h="2366645">
                  <a:moveTo>
                    <a:pt x="1833634" y="962272"/>
                  </a:moveTo>
                  <a:lnTo>
                    <a:pt x="2000074" y="1339908"/>
                  </a:lnTo>
                  <a:lnTo>
                    <a:pt x="1833634" y="1447604"/>
                  </a:lnTo>
                  <a:lnTo>
                    <a:pt x="1818249" y="1725936"/>
                  </a:lnTo>
                  <a:lnTo>
                    <a:pt x="1759506" y="1986085"/>
                  </a:lnTo>
                  <a:lnTo>
                    <a:pt x="1467187" y="1987484"/>
                  </a:lnTo>
                  <a:lnTo>
                    <a:pt x="1325923" y="2360924"/>
                  </a:lnTo>
                  <a:lnTo>
                    <a:pt x="991645" y="2358126"/>
                  </a:lnTo>
                  <a:lnTo>
                    <a:pt x="700725" y="2358126"/>
                  </a:lnTo>
                  <a:lnTo>
                    <a:pt x="432183" y="2366518"/>
                  </a:lnTo>
                  <a:lnTo>
                    <a:pt x="447569" y="2049024"/>
                  </a:lnTo>
                  <a:lnTo>
                    <a:pt x="386028" y="1650408"/>
                  </a:lnTo>
                  <a:lnTo>
                    <a:pt x="85317" y="1303543"/>
                  </a:lnTo>
                  <a:lnTo>
                    <a:pt x="0" y="721704"/>
                  </a:lnTo>
                  <a:lnTo>
                    <a:pt x="341271" y="173432"/>
                  </a:lnTo>
                  <a:lnTo>
                    <a:pt x="1041997" y="0"/>
                  </a:lnTo>
                  <a:lnTo>
                    <a:pt x="1549708" y="222385"/>
                  </a:lnTo>
                  <a:lnTo>
                    <a:pt x="1804262" y="630791"/>
                  </a:lnTo>
                </a:path>
              </a:pathLst>
            </a:custGeom>
            <a:ln w="9525">
              <a:solidFill>
                <a:srgbClr val="097F8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" name="object 8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-9524" y="1638661"/>
              <a:ext cx="3058605" cy="4640350"/>
            </a:xfrm>
            <a:prstGeom prst="rect">
              <a:avLst/>
            </a:prstGeom>
          </p:spPr>
        </p:pic>
      </p:grpSp>
      <p:sp>
        <p:nvSpPr>
          <p:cNvPr id="9" name="object 9"/>
          <p:cNvSpPr txBox="1"/>
          <p:nvPr/>
        </p:nvSpPr>
        <p:spPr>
          <a:xfrm>
            <a:off x="555028" y="6428232"/>
            <a:ext cx="103505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dirty="0">
                <a:solidFill>
                  <a:srgbClr val="097F88"/>
                </a:solidFill>
                <a:latin typeface="Arial"/>
                <a:cs typeface="Arial"/>
              </a:rPr>
              <a:t>3</a:t>
            </a:r>
            <a:endParaRPr sz="110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518439" y="1355852"/>
            <a:ext cx="9772650" cy="49117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370"/>
              </a:lnSpc>
              <a:spcBef>
                <a:spcPts val="100"/>
              </a:spcBef>
            </a:pPr>
            <a:r>
              <a:rPr sz="1200" b="1" spc="-10" dirty="0">
                <a:solidFill>
                  <a:srgbClr val="097F88"/>
                </a:solidFill>
                <a:latin typeface="Arial"/>
                <a:cs typeface="Arial"/>
              </a:rPr>
              <a:t>Облегченный валютный</a:t>
            </a:r>
            <a:r>
              <a:rPr sz="1200" b="1" spc="5" dirty="0">
                <a:solidFill>
                  <a:srgbClr val="097F88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097F88"/>
                </a:solidFill>
                <a:latin typeface="Arial"/>
                <a:cs typeface="Arial"/>
              </a:rPr>
              <a:t>режим</a:t>
            </a:r>
            <a:endParaRPr sz="1200">
              <a:latin typeface="Arial"/>
              <a:cs typeface="Arial"/>
            </a:endParaRPr>
          </a:p>
          <a:p>
            <a:pPr marL="12700" marR="572135">
              <a:lnSpc>
                <a:spcPts val="1300"/>
              </a:lnSpc>
              <a:spcBef>
                <a:spcPts val="85"/>
              </a:spcBef>
            </a:pP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Операции участников МФЦА могут быть деноминированы </a:t>
            </a:r>
            <a:r>
              <a:rPr sz="1200" dirty="0">
                <a:solidFill>
                  <a:srgbClr val="09234C"/>
                </a:solidFill>
                <a:latin typeface="Arial"/>
                <a:cs typeface="Arial"/>
              </a:rPr>
              <a:t>и </a:t>
            </a:r>
            <a:r>
              <a:rPr sz="1200" spc="-10" dirty="0">
                <a:solidFill>
                  <a:srgbClr val="09234C"/>
                </a:solidFill>
                <a:latin typeface="Arial"/>
                <a:cs typeface="Arial"/>
              </a:rPr>
              <a:t>выполнены </a:t>
            </a:r>
            <a:r>
              <a:rPr sz="1200" dirty="0">
                <a:solidFill>
                  <a:srgbClr val="09234C"/>
                </a:solidFill>
                <a:latin typeface="Arial"/>
                <a:cs typeface="Arial"/>
              </a:rPr>
              <a:t>в </a:t>
            </a:r>
            <a:r>
              <a:rPr sz="1200" spc="-15" dirty="0">
                <a:solidFill>
                  <a:srgbClr val="09234C"/>
                </a:solidFill>
                <a:latin typeface="Arial"/>
                <a:cs typeface="Arial"/>
              </a:rPr>
              <a:t>валюте,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согласованной </a:t>
            </a:r>
            <a:r>
              <a:rPr sz="1200" spc="-10" dirty="0">
                <a:solidFill>
                  <a:srgbClr val="09234C"/>
                </a:solidFill>
                <a:latin typeface="Arial"/>
                <a:cs typeface="Arial"/>
              </a:rPr>
              <a:t>между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ними, включая </a:t>
            </a:r>
            <a:r>
              <a:rPr sz="1200" spc="-10" dirty="0">
                <a:solidFill>
                  <a:srgbClr val="09234C"/>
                </a:solidFill>
                <a:latin typeface="Arial"/>
                <a:cs typeface="Arial"/>
              </a:rPr>
              <a:t>доллары 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США, </a:t>
            </a:r>
            <a:r>
              <a:rPr sz="1200" spc="-10" dirty="0">
                <a:solidFill>
                  <a:srgbClr val="09234C"/>
                </a:solidFill>
                <a:latin typeface="Arial"/>
                <a:cs typeface="Arial"/>
              </a:rPr>
              <a:t>евро, </a:t>
            </a:r>
            <a:r>
              <a:rPr sz="1200" spc="-15" dirty="0">
                <a:solidFill>
                  <a:srgbClr val="09234C"/>
                </a:solidFill>
                <a:latin typeface="Arial"/>
                <a:cs typeface="Arial"/>
              </a:rPr>
              <a:t>рубли </a:t>
            </a:r>
            <a:r>
              <a:rPr sz="1200" dirty="0">
                <a:solidFill>
                  <a:srgbClr val="09234C"/>
                </a:solidFill>
                <a:latin typeface="Arial"/>
                <a:cs typeface="Arial"/>
              </a:rPr>
              <a:t>и</a:t>
            </a:r>
            <a:r>
              <a:rPr sz="1200" spc="45" dirty="0">
                <a:solidFill>
                  <a:srgbClr val="09234C"/>
                </a:solidFill>
                <a:latin typeface="Arial"/>
                <a:cs typeface="Arial"/>
              </a:rPr>
              <a:t> </a:t>
            </a:r>
            <a:r>
              <a:rPr sz="1200" spc="-15" dirty="0">
                <a:solidFill>
                  <a:srgbClr val="09234C"/>
                </a:solidFill>
                <a:latin typeface="Arial"/>
                <a:cs typeface="Arial"/>
              </a:rPr>
              <a:t>тенге</a:t>
            </a:r>
            <a:endParaRPr sz="1200">
              <a:latin typeface="Arial"/>
              <a:cs typeface="Arial"/>
            </a:endParaRPr>
          </a:p>
          <a:p>
            <a:pPr marL="1070610">
              <a:lnSpc>
                <a:spcPts val="1370"/>
              </a:lnSpc>
              <a:spcBef>
                <a:spcPts val="650"/>
              </a:spcBef>
            </a:pPr>
            <a:r>
              <a:rPr sz="1200" b="1" spc="-5" dirty="0">
                <a:solidFill>
                  <a:srgbClr val="097F88"/>
                </a:solidFill>
                <a:latin typeface="Arial"/>
                <a:cs typeface="Arial"/>
              </a:rPr>
              <a:t>Международная </a:t>
            </a:r>
            <a:r>
              <a:rPr sz="1200" b="1" spc="-10" dirty="0">
                <a:solidFill>
                  <a:srgbClr val="097F88"/>
                </a:solidFill>
                <a:latin typeface="Arial"/>
                <a:cs typeface="Arial"/>
              </a:rPr>
              <a:t>система </a:t>
            </a:r>
            <a:r>
              <a:rPr sz="1200" b="1" spc="-5" dirty="0">
                <a:solidFill>
                  <a:srgbClr val="097F88"/>
                </a:solidFill>
                <a:latin typeface="Arial"/>
                <a:cs typeface="Arial"/>
              </a:rPr>
              <a:t>права </a:t>
            </a:r>
            <a:r>
              <a:rPr sz="1200" b="1" dirty="0">
                <a:solidFill>
                  <a:srgbClr val="097F88"/>
                </a:solidFill>
                <a:latin typeface="Arial"/>
                <a:cs typeface="Arial"/>
              </a:rPr>
              <a:t>и </a:t>
            </a:r>
            <a:r>
              <a:rPr sz="1200" b="1" spc="-15" dirty="0">
                <a:solidFill>
                  <a:srgbClr val="097F88"/>
                </a:solidFill>
                <a:latin typeface="Arial"/>
                <a:cs typeface="Arial"/>
              </a:rPr>
              <a:t>Суд</a:t>
            </a:r>
            <a:r>
              <a:rPr sz="1200" b="1" spc="10" dirty="0">
                <a:solidFill>
                  <a:srgbClr val="097F88"/>
                </a:solidFill>
                <a:latin typeface="Arial"/>
                <a:cs typeface="Arial"/>
              </a:rPr>
              <a:t> </a:t>
            </a:r>
            <a:r>
              <a:rPr sz="1200" b="1" spc="-5" dirty="0">
                <a:solidFill>
                  <a:srgbClr val="097F88"/>
                </a:solidFill>
                <a:latin typeface="Arial"/>
                <a:cs typeface="Arial"/>
              </a:rPr>
              <a:t>МФЦА</a:t>
            </a:r>
            <a:endParaRPr sz="1200">
              <a:latin typeface="Arial"/>
              <a:cs typeface="Arial"/>
            </a:endParaRPr>
          </a:p>
          <a:p>
            <a:pPr marL="1070610" marR="237490">
              <a:lnSpc>
                <a:spcPts val="1300"/>
              </a:lnSpc>
              <a:spcBef>
                <a:spcPts val="85"/>
              </a:spcBef>
            </a:pPr>
            <a:r>
              <a:rPr sz="1200" spc="-10" dirty="0">
                <a:solidFill>
                  <a:srgbClr val="09234C"/>
                </a:solidFill>
                <a:latin typeface="Arial"/>
                <a:cs typeface="Arial"/>
              </a:rPr>
              <a:t>Право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МФЦА </a:t>
            </a:r>
            <a:r>
              <a:rPr sz="1200" spc="-10" dirty="0">
                <a:solidFill>
                  <a:srgbClr val="09234C"/>
                </a:solidFill>
                <a:latin typeface="Arial"/>
                <a:cs typeface="Arial"/>
              </a:rPr>
              <a:t>разработано </a:t>
            </a:r>
            <a:r>
              <a:rPr sz="1200" dirty="0">
                <a:solidFill>
                  <a:srgbClr val="09234C"/>
                </a:solidFill>
                <a:latin typeface="Arial"/>
                <a:cs typeface="Arial"/>
              </a:rPr>
              <a:t>с </a:t>
            </a:r>
            <a:r>
              <a:rPr sz="1200" spc="-15" dirty="0">
                <a:solidFill>
                  <a:srgbClr val="09234C"/>
                </a:solidFill>
                <a:latin typeface="Arial"/>
                <a:cs typeface="Arial"/>
              </a:rPr>
              <a:t>учетом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опыта </a:t>
            </a:r>
            <a:r>
              <a:rPr sz="1200" spc="-10" dirty="0">
                <a:solidFill>
                  <a:srgbClr val="09234C"/>
                </a:solidFill>
                <a:latin typeface="Arial"/>
                <a:cs typeface="Arial"/>
              </a:rPr>
              <a:t>правового регулирования </a:t>
            </a:r>
            <a:r>
              <a:rPr sz="1200" dirty="0">
                <a:solidFill>
                  <a:srgbClr val="09234C"/>
                </a:solidFill>
                <a:latin typeface="Arial"/>
                <a:cs typeface="Arial"/>
              </a:rPr>
              <a:t>в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странах </a:t>
            </a:r>
            <a:r>
              <a:rPr sz="1200" spc="-10" dirty="0">
                <a:solidFill>
                  <a:srgbClr val="09234C"/>
                </a:solidFill>
                <a:latin typeface="Arial"/>
                <a:cs typeface="Arial"/>
              </a:rPr>
              <a:t>общего права. </a:t>
            </a:r>
            <a:r>
              <a:rPr sz="1200" spc="-15" dirty="0">
                <a:solidFill>
                  <a:srgbClr val="09234C"/>
                </a:solidFill>
                <a:latin typeface="Arial"/>
                <a:cs typeface="Arial"/>
              </a:rPr>
              <a:t>Суд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МФЦА </a:t>
            </a:r>
            <a:r>
              <a:rPr sz="1200" spc="-15" dirty="0">
                <a:solidFill>
                  <a:srgbClr val="09234C"/>
                </a:solidFill>
                <a:latin typeface="Arial"/>
                <a:cs typeface="Arial"/>
              </a:rPr>
              <a:t>представляет  </a:t>
            </a:r>
            <a:r>
              <a:rPr sz="1200" dirty="0">
                <a:solidFill>
                  <a:srgbClr val="09234C"/>
                </a:solidFill>
                <a:latin typeface="Arial"/>
                <a:cs typeface="Arial"/>
              </a:rPr>
              <a:t>собой </a:t>
            </a:r>
            <a:r>
              <a:rPr sz="1200" spc="-10" dirty="0">
                <a:solidFill>
                  <a:srgbClr val="09234C"/>
                </a:solidFill>
                <a:latin typeface="Arial"/>
                <a:cs typeface="Arial"/>
              </a:rPr>
              <a:t>первую </a:t>
            </a:r>
            <a:r>
              <a:rPr sz="1200" dirty="0">
                <a:solidFill>
                  <a:srgbClr val="09234C"/>
                </a:solidFill>
                <a:latin typeface="Arial"/>
                <a:cs typeface="Arial"/>
              </a:rPr>
              <a:t>в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регионе независимую </a:t>
            </a:r>
            <a:r>
              <a:rPr sz="1200" spc="-10" dirty="0">
                <a:solidFill>
                  <a:srgbClr val="09234C"/>
                </a:solidFill>
                <a:latin typeface="Arial"/>
                <a:cs typeface="Arial"/>
              </a:rPr>
              <a:t>судебную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систему </a:t>
            </a:r>
            <a:r>
              <a:rPr sz="1200" spc="-10" dirty="0">
                <a:solidFill>
                  <a:srgbClr val="09234C"/>
                </a:solidFill>
                <a:latin typeface="Arial"/>
                <a:cs typeface="Arial"/>
              </a:rPr>
              <a:t>общего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права для </a:t>
            </a:r>
            <a:r>
              <a:rPr sz="1200" spc="-10" dirty="0">
                <a:solidFill>
                  <a:srgbClr val="09234C"/>
                </a:solidFill>
                <a:latin typeface="Arial"/>
                <a:cs typeface="Arial"/>
              </a:rPr>
              <a:t>урегулирования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гражданских </a:t>
            </a:r>
            <a:r>
              <a:rPr sz="1200" dirty="0">
                <a:solidFill>
                  <a:srgbClr val="09234C"/>
                </a:solidFill>
                <a:latin typeface="Arial"/>
                <a:cs typeface="Arial"/>
              </a:rPr>
              <a:t>и 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коммерческих споров</a:t>
            </a:r>
            <a:endParaRPr sz="1200">
              <a:latin typeface="Arial"/>
              <a:cs typeface="Arial"/>
            </a:endParaRPr>
          </a:p>
          <a:p>
            <a:pPr marL="1501140">
              <a:lnSpc>
                <a:spcPts val="1370"/>
              </a:lnSpc>
              <a:spcBef>
                <a:spcPts val="620"/>
              </a:spcBef>
            </a:pPr>
            <a:r>
              <a:rPr sz="1200" b="1" spc="-10" dirty="0">
                <a:solidFill>
                  <a:srgbClr val="097F88"/>
                </a:solidFill>
                <a:latin typeface="Arial"/>
                <a:cs typeface="Arial"/>
              </a:rPr>
              <a:t>Английский</a:t>
            </a:r>
            <a:r>
              <a:rPr sz="1200" b="1" spc="-5" dirty="0">
                <a:solidFill>
                  <a:srgbClr val="097F88"/>
                </a:solidFill>
                <a:latin typeface="Arial"/>
                <a:cs typeface="Arial"/>
              </a:rPr>
              <a:t> язык</a:t>
            </a:r>
            <a:endParaRPr sz="1200">
              <a:latin typeface="Arial"/>
              <a:cs typeface="Arial"/>
            </a:endParaRPr>
          </a:p>
          <a:p>
            <a:pPr marL="1501140" marR="527685">
              <a:lnSpc>
                <a:spcPts val="1320"/>
              </a:lnSpc>
              <a:spcBef>
                <a:spcPts val="75"/>
              </a:spcBef>
            </a:pPr>
            <a:r>
              <a:rPr sz="1200" spc="-5" dirty="0">
                <a:solidFill>
                  <a:srgbClr val="002453"/>
                </a:solidFill>
                <a:latin typeface="Arial"/>
                <a:cs typeface="Arial"/>
              </a:rPr>
              <a:t>Официальным языком МФЦА </a:t>
            </a:r>
            <a:r>
              <a:rPr sz="1200" spc="-15" dirty="0">
                <a:solidFill>
                  <a:srgbClr val="002453"/>
                </a:solidFill>
                <a:latin typeface="Arial"/>
                <a:cs typeface="Arial"/>
              </a:rPr>
              <a:t>является </a:t>
            </a:r>
            <a:r>
              <a:rPr sz="1200" spc="-5" dirty="0">
                <a:solidFill>
                  <a:srgbClr val="002453"/>
                </a:solidFill>
                <a:latin typeface="Arial"/>
                <a:cs typeface="Arial"/>
              </a:rPr>
              <a:t>английский. </a:t>
            </a:r>
            <a:r>
              <a:rPr sz="1200" dirty="0">
                <a:solidFill>
                  <a:srgbClr val="002453"/>
                </a:solidFill>
                <a:latin typeface="Arial"/>
                <a:cs typeface="Arial"/>
              </a:rPr>
              <a:t>Акты </a:t>
            </a:r>
            <a:r>
              <a:rPr sz="1200" spc="-5" dirty="0">
                <a:solidFill>
                  <a:srgbClr val="002453"/>
                </a:solidFill>
                <a:latin typeface="Arial"/>
                <a:cs typeface="Arial"/>
              </a:rPr>
              <a:t>МФЦА, </a:t>
            </a:r>
            <a:r>
              <a:rPr sz="1200" spc="-10" dirty="0">
                <a:solidFill>
                  <a:srgbClr val="002453"/>
                </a:solidFill>
                <a:latin typeface="Arial"/>
                <a:cs typeface="Arial"/>
              </a:rPr>
              <a:t>судебные </a:t>
            </a:r>
            <a:r>
              <a:rPr sz="1200" spc="-15" dirty="0">
                <a:solidFill>
                  <a:srgbClr val="002453"/>
                </a:solidFill>
                <a:latin typeface="Arial"/>
                <a:cs typeface="Arial"/>
              </a:rPr>
              <a:t>разбирательства, </a:t>
            </a:r>
            <a:r>
              <a:rPr sz="1200" spc="-10" dirty="0">
                <a:solidFill>
                  <a:srgbClr val="002453"/>
                </a:solidFill>
                <a:latin typeface="Arial"/>
                <a:cs typeface="Arial"/>
              </a:rPr>
              <a:t>протоколы, </a:t>
            </a:r>
            <a:r>
              <a:rPr sz="1200" spc="-5" dirty="0">
                <a:solidFill>
                  <a:srgbClr val="002453"/>
                </a:solidFill>
                <a:latin typeface="Arial"/>
                <a:cs typeface="Arial"/>
              </a:rPr>
              <a:t>все  </a:t>
            </a:r>
            <a:r>
              <a:rPr sz="1200" spc="-10" dirty="0">
                <a:solidFill>
                  <a:srgbClr val="002453"/>
                </a:solidFill>
                <a:latin typeface="Arial"/>
                <a:cs typeface="Arial"/>
              </a:rPr>
              <a:t>сделки, </a:t>
            </a:r>
            <a:r>
              <a:rPr sz="1200" spc="-20" dirty="0">
                <a:solidFill>
                  <a:srgbClr val="002453"/>
                </a:solidFill>
                <a:latin typeface="Arial"/>
                <a:cs typeface="Arial"/>
              </a:rPr>
              <a:t>ответы </a:t>
            </a:r>
            <a:r>
              <a:rPr sz="1200" spc="-5" dirty="0">
                <a:solidFill>
                  <a:srgbClr val="002453"/>
                </a:solidFill>
                <a:latin typeface="Arial"/>
                <a:cs typeface="Arial"/>
              </a:rPr>
              <a:t>на запросы </a:t>
            </a:r>
            <a:r>
              <a:rPr sz="1200" spc="-10" dirty="0">
                <a:solidFill>
                  <a:srgbClr val="002453"/>
                </a:solidFill>
                <a:latin typeface="Arial"/>
                <a:cs typeface="Arial"/>
              </a:rPr>
              <a:t>должны </a:t>
            </a:r>
            <a:r>
              <a:rPr sz="1200" spc="-5" dirty="0">
                <a:solidFill>
                  <a:srgbClr val="002453"/>
                </a:solidFill>
                <a:latin typeface="Arial"/>
                <a:cs typeface="Arial"/>
              </a:rPr>
              <a:t>быть </a:t>
            </a:r>
            <a:r>
              <a:rPr sz="1200" spc="-10" dirty="0">
                <a:solidFill>
                  <a:srgbClr val="002453"/>
                </a:solidFill>
                <a:latin typeface="Arial"/>
                <a:cs typeface="Arial"/>
              </a:rPr>
              <a:t>составлены </a:t>
            </a:r>
            <a:r>
              <a:rPr sz="1200" spc="-5" dirty="0">
                <a:solidFill>
                  <a:srgbClr val="002453"/>
                </a:solidFill>
                <a:latin typeface="Arial"/>
                <a:cs typeface="Arial"/>
              </a:rPr>
              <a:t>на английском</a:t>
            </a:r>
            <a:r>
              <a:rPr sz="1200" spc="70" dirty="0">
                <a:solidFill>
                  <a:srgbClr val="002453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rgbClr val="002453"/>
                </a:solidFill>
                <a:latin typeface="Arial"/>
                <a:cs typeface="Arial"/>
              </a:rPr>
              <a:t>языке</a:t>
            </a:r>
            <a:endParaRPr sz="1200">
              <a:latin typeface="Arial"/>
              <a:cs typeface="Arial"/>
            </a:endParaRPr>
          </a:p>
          <a:p>
            <a:pPr marL="1777364">
              <a:lnSpc>
                <a:spcPts val="1370"/>
              </a:lnSpc>
              <a:spcBef>
                <a:spcPts val="985"/>
              </a:spcBef>
            </a:pPr>
            <a:r>
              <a:rPr sz="1200" b="1" spc="-10" dirty="0">
                <a:solidFill>
                  <a:srgbClr val="097F88"/>
                </a:solidFill>
                <a:latin typeface="Arial"/>
                <a:cs typeface="Arial"/>
              </a:rPr>
              <a:t>Налоговые </a:t>
            </a:r>
            <a:r>
              <a:rPr sz="1200" b="1" spc="-5" dirty="0">
                <a:solidFill>
                  <a:srgbClr val="097F88"/>
                </a:solidFill>
                <a:latin typeface="Arial"/>
                <a:cs typeface="Arial"/>
              </a:rPr>
              <a:t>привилегии</a:t>
            </a:r>
            <a:endParaRPr sz="1200">
              <a:latin typeface="Arial"/>
              <a:cs typeface="Arial"/>
            </a:endParaRPr>
          </a:p>
          <a:p>
            <a:pPr marL="1777364" marR="5080">
              <a:lnSpc>
                <a:spcPct val="90800"/>
              </a:lnSpc>
              <a:spcBef>
                <a:spcPts val="60"/>
              </a:spcBef>
            </a:pPr>
            <a:r>
              <a:rPr sz="1200" spc="-5" dirty="0">
                <a:solidFill>
                  <a:srgbClr val="002453"/>
                </a:solidFill>
                <a:latin typeface="Arial"/>
                <a:cs typeface="Arial"/>
              </a:rPr>
              <a:t>Освобождение участников МФЦА </a:t>
            </a:r>
            <a:r>
              <a:rPr sz="1200" spc="-20" dirty="0">
                <a:solidFill>
                  <a:srgbClr val="002453"/>
                </a:solidFill>
                <a:latin typeface="Arial"/>
                <a:cs typeface="Arial"/>
              </a:rPr>
              <a:t>от </a:t>
            </a:r>
            <a:r>
              <a:rPr sz="1200" spc="-10" dirty="0">
                <a:solidFill>
                  <a:srgbClr val="002453"/>
                </a:solidFill>
                <a:latin typeface="Arial"/>
                <a:cs typeface="Arial"/>
              </a:rPr>
              <a:t>уплаты </a:t>
            </a:r>
            <a:r>
              <a:rPr sz="1200" spc="-5" dirty="0">
                <a:solidFill>
                  <a:srgbClr val="002453"/>
                </a:solidFill>
                <a:latin typeface="Arial"/>
                <a:cs typeface="Arial"/>
              </a:rPr>
              <a:t>КПН до </a:t>
            </a:r>
            <a:r>
              <a:rPr sz="1200" dirty="0">
                <a:solidFill>
                  <a:srgbClr val="002453"/>
                </a:solidFill>
                <a:latin typeface="Arial"/>
                <a:cs typeface="Arial"/>
              </a:rPr>
              <a:t>1 </a:t>
            </a:r>
            <a:r>
              <a:rPr sz="1200" spc="-10" dirty="0">
                <a:solidFill>
                  <a:srgbClr val="002453"/>
                </a:solidFill>
                <a:latin typeface="Arial"/>
                <a:cs typeface="Arial"/>
              </a:rPr>
              <a:t>января </a:t>
            </a:r>
            <a:r>
              <a:rPr sz="1200" spc="-5" dirty="0">
                <a:solidFill>
                  <a:srgbClr val="002453"/>
                </a:solidFill>
                <a:latin typeface="Arial"/>
                <a:cs typeface="Arial"/>
              </a:rPr>
              <a:t>2066 </a:t>
            </a:r>
            <a:r>
              <a:rPr sz="1200" spc="-75" dirty="0">
                <a:solidFill>
                  <a:srgbClr val="002453"/>
                </a:solidFill>
                <a:latin typeface="Arial"/>
                <a:cs typeface="Arial"/>
              </a:rPr>
              <a:t>г. </a:t>
            </a:r>
            <a:r>
              <a:rPr sz="1200" dirty="0">
                <a:solidFill>
                  <a:srgbClr val="002453"/>
                </a:solidFill>
                <a:latin typeface="Arial"/>
                <a:cs typeface="Arial"/>
              </a:rPr>
              <a:t>по </a:t>
            </a:r>
            <a:r>
              <a:rPr sz="1200" spc="-5" dirty="0">
                <a:solidFill>
                  <a:srgbClr val="002453"/>
                </a:solidFill>
                <a:latin typeface="Arial"/>
                <a:cs typeface="Arial"/>
              </a:rPr>
              <a:t>финансовым </a:t>
            </a:r>
            <a:r>
              <a:rPr sz="1200" spc="-10" dirty="0">
                <a:solidFill>
                  <a:srgbClr val="002453"/>
                </a:solidFill>
                <a:latin typeface="Arial"/>
                <a:cs typeface="Arial"/>
              </a:rPr>
              <a:t>услугам, </a:t>
            </a:r>
            <a:r>
              <a:rPr sz="1200" spc="-15" dirty="0">
                <a:solidFill>
                  <a:srgbClr val="002453"/>
                </a:solidFill>
                <a:latin typeface="Arial"/>
                <a:cs typeface="Arial"/>
              </a:rPr>
              <a:t>вспомогательным  </a:t>
            </a:r>
            <a:r>
              <a:rPr sz="1200" spc="-10" dirty="0">
                <a:solidFill>
                  <a:srgbClr val="002453"/>
                </a:solidFill>
                <a:latin typeface="Arial"/>
                <a:cs typeface="Arial"/>
              </a:rPr>
              <a:t>услугам, </a:t>
            </a:r>
            <a:r>
              <a:rPr sz="1200" spc="-5" dirty="0">
                <a:solidFill>
                  <a:srgbClr val="002453"/>
                </a:solidFill>
                <a:latin typeface="Arial"/>
                <a:cs typeface="Arial"/>
              </a:rPr>
              <a:t>оказываемым </a:t>
            </a:r>
            <a:r>
              <a:rPr sz="1200" spc="-10" dirty="0">
                <a:solidFill>
                  <a:srgbClr val="002453"/>
                </a:solidFill>
                <a:latin typeface="Arial"/>
                <a:cs typeface="Arial"/>
              </a:rPr>
              <a:t>лицензируемым </a:t>
            </a:r>
            <a:r>
              <a:rPr sz="1200" dirty="0">
                <a:solidFill>
                  <a:srgbClr val="002453"/>
                </a:solidFill>
                <a:latin typeface="Arial"/>
                <a:cs typeface="Arial"/>
              </a:rPr>
              <a:t>участникам, а </a:t>
            </a:r>
            <a:r>
              <a:rPr sz="1200" spc="-5" dirty="0">
                <a:solidFill>
                  <a:srgbClr val="002453"/>
                </a:solidFill>
                <a:latin typeface="Arial"/>
                <a:cs typeface="Arial"/>
              </a:rPr>
              <a:t>также дивидендам </a:t>
            </a:r>
            <a:r>
              <a:rPr sz="1200" dirty="0">
                <a:solidFill>
                  <a:srgbClr val="002453"/>
                </a:solidFill>
                <a:latin typeface="Arial"/>
                <a:cs typeface="Arial"/>
              </a:rPr>
              <a:t>и </a:t>
            </a:r>
            <a:r>
              <a:rPr sz="1200" spc="-5" dirty="0">
                <a:solidFill>
                  <a:srgbClr val="002453"/>
                </a:solidFill>
                <a:latin typeface="Arial"/>
                <a:cs typeface="Arial"/>
              </a:rPr>
              <a:t>приросту стоимости </a:t>
            </a:r>
            <a:r>
              <a:rPr sz="1200" dirty="0">
                <a:solidFill>
                  <a:srgbClr val="002453"/>
                </a:solidFill>
                <a:latin typeface="Arial"/>
                <a:cs typeface="Arial"/>
              </a:rPr>
              <a:t>по </a:t>
            </a:r>
            <a:r>
              <a:rPr sz="1200" spc="-5" dirty="0">
                <a:solidFill>
                  <a:srgbClr val="002453"/>
                </a:solidFill>
                <a:latin typeface="Arial"/>
                <a:cs typeface="Arial"/>
              </a:rPr>
              <a:t>акциям  участников </a:t>
            </a:r>
            <a:r>
              <a:rPr sz="1200" dirty="0">
                <a:solidFill>
                  <a:srgbClr val="002453"/>
                </a:solidFill>
                <a:latin typeface="Arial"/>
                <a:cs typeface="Arial"/>
              </a:rPr>
              <a:t>и по </a:t>
            </a:r>
            <a:r>
              <a:rPr sz="1200" spc="-10" dirty="0">
                <a:solidFill>
                  <a:srgbClr val="002453"/>
                </a:solidFill>
                <a:latin typeface="Arial"/>
                <a:cs typeface="Arial"/>
              </a:rPr>
              <a:t>ценным </a:t>
            </a:r>
            <a:r>
              <a:rPr sz="1200" spc="-15" dirty="0">
                <a:solidFill>
                  <a:srgbClr val="002453"/>
                </a:solidFill>
                <a:latin typeface="Arial"/>
                <a:cs typeface="Arial"/>
              </a:rPr>
              <a:t>бумагам, </a:t>
            </a:r>
            <a:r>
              <a:rPr sz="1200" spc="-5" dirty="0">
                <a:solidFill>
                  <a:srgbClr val="002453"/>
                </a:solidFill>
                <a:latin typeface="Arial"/>
                <a:cs typeface="Arial"/>
              </a:rPr>
              <a:t>зарегистрированным на</a:t>
            </a:r>
            <a:r>
              <a:rPr sz="1200" spc="-30" dirty="0">
                <a:solidFill>
                  <a:srgbClr val="002453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srgbClr val="002453"/>
                </a:solidFill>
                <a:latin typeface="Arial"/>
                <a:cs typeface="Arial"/>
              </a:rPr>
              <a:t>AIX</a:t>
            </a:r>
            <a:endParaRPr sz="1200">
              <a:latin typeface="Arial"/>
              <a:cs typeface="Arial"/>
            </a:endParaRPr>
          </a:p>
          <a:p>
            <a:pPr marL="1704975">
              <a:lnSpc>
                <a:spcPts val="1370"/>
              </a:lnSpc>
              <a:spcBef>
                <a:spcPts val="645"/>
              </a:spcBef>
            </a:pPr>
            <a:r>
              <a:rPr sz="1200" b="1" spc="-10" dirty="0">
                <a:solidFill>
                  <a:srgbClr val="097F88"/>
                </a:solidFill>
                <a:latin typeface="Arial"/>
                <a:cs typeface="Arial"/>
              </a:rPr>
              <a:t>Редомициляция</a:t>
            </a:r>
            <a:endParaRPr sz="1200">
              <a:latin typeface="Arial"/>
              <a:cs typeface="Arial"/>
            </a:endParaRPr>
          </a:p>
          <a:p>
            <a:pPr marL="1704975" marR="795020">
              <a:lnSpc>
                <a:spcPts val="1320"/>
              </a:lnSpc>
              <a:spcBef>
                <a:spcPts val="75"/>
              </a:spcBef>
            </a:pP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МФЦА </a:t>
            </a:r>
            <a:r>
              <a:rPr sz="1200" spc="-10" dirty="0">
                <a:solidFill>
                  <a:srgbClr val="09234C"/>
                </a:solidFill>
                <a:latin typeface="Arial"/>
                <a:cs typeface="Arial"/>
              </a:rPr>
              <a:t>разработал </a:t>
            </a:r>
            <a:r>
              <a:rPr sz="1200" dirty="0">
                <a:solidFill>
                  <a:srgbClr val="09234C"/>
                </a:solidFill>
                <a:latin typeface="Arial"/>
                <a:cs typeface="Arial"/>
              </a:rPr>
              <a:t>акты, </a:t>
            </a:r>
            <a:r>
              <a:rPr sz="1200" spc="-10" dirty="0">
                <a:solidFill>
                  <a:srgbClr val="09234C"/>
                </a:solidFill>
                <a:latin typeface="Arial"/>
                <a:cs typeface="Arial"/>
              </a:rPr>
              <a:t>позволяющие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трансфер компании </a:t>
            </a:r>
            <a:r>
              <a:rPr sz="1200" dirty="0">
                <a:solidFill>
                  <a:srgbClr val="09234C"/>
                </a:solidFill>
                <a:latin typeface="Arial"/>
                <a:cs typeface="Arial"/>
              </a:rPr>
              <a:t>из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других юрисдикции. 24 декабря 2019 </a:t>
            </a:r>
            <a:r>
              <a:rPr sz="1200" spc="-75" dirty="0">
                <a:solidFill>
                  <a:srgbClr val="09234C"/>
                </a:solidFill>
                <a:latin typeface="Arial"/>
                <a:cs typeface="Arial"/>
              </a:rPr>
              <a:t>г. 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компания Kazakhstan Energy Reinsurance Company Ltd. </a:t>
            </a:r>
            <a:r>
              <a:rPr sz="1200" spc="-10" dirty="0">
                <a:solidFill>
                  <a:srgbClr val="09234C"/>
                </a:solidFill>
                <a:latin typeface="Arial"/>
                <a:cs typeface="Arial"/>
              </a:rPr>
              <a:t>сделала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редомициляцию </a:t>
            </a:r>
            <a:r>
              <a:rPr sz="1200" dirty="0">
                <a:solidFill>
                  <a:srgbClr val="09234C"/>
                </a:solidFill>
                <a:latin typeface="Arial"/>
                <a:cs typeface="Arial"/>
              </a:rPr>
              <a:t>из </a:t>
            </a:r>
            <a:r>
              <a:rPr sz="1200" spc="-10" dirty="0">
                <a:solidFill>
                  <a:srgbClr val="09234C"/>
                </a:solidFill>
                <a:latin typeface="Arial"/>
                <a:cs typeface="Arial"/>
              </a:rPr>
              <a:t>Бермуды </a:t>
            </a:r>
            <a:r>
              <a:rPr sz="1200" dirty="0">
                <a:solidFill>
                  <a:srgbClr val="09234C"/>
                </a:solidFill>
                <a:latin typeface="Arial"/>
                <a:cs typeface="Arial"/>
              </a:rPr>
              <a:t>в</a:t>
            </a:r>
            <a:r>
              <a:rPr sz="1200" spc="95" dirty="0">
                <a:solidFill>
                  <a:srgbClr val="09234C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МФЦА</a:t>
            </a:r>
            <a:endParaRPr sz="12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1150">
              <a:latin typeface="Arial"/>
              <a:cs typeface="Arial"/>
            </a:endParaRPr>
          </a:p>
          <a:p>
            <a:pPr marL="1463040">
              <a:lnSpc>
                <a:spcPts val="1370"/>
              </a:lnSpc>
            </a:pPr>
            <a:r>
              <a:rPr sz="1200" b="1" spc="-5" dirty="0">
                <a:solidFill>
                  <a:srgbClr val="097F88"/>
                </a:solidFill>
                <a:latin typeface="Arial"/>
                <a:cs typeface="Arial"/>
              </a:rPr>
              <a:t>Признанная Фондовая</a:t>
            </a:r>
            <a:r>
              <a:rPr sz="1200" b="1" dirty="0">
                <a:solidFill>
                  <a:srgbClr val="097F88"/>
                </a:solidFill>
                <a:latin typeface="Arial"/>
                <a:cs typeface="Arial"/>
              </a:rPr>
              <a:t> </a:t>
            </a:r>
            <a:r>
              <a:rPr sz="1200" b="1" spc="-5" dirty="0">
                <a:solidFill>
                  <a:srgbClr val="097F88"/>
                </a:solidFill>
                <a:latin typeface="Arial"/>
                <a:cs typeface="Arial"/>
              </a:rPr>
              <a:t>Биржа</a:t>
            </a:r>
            <a:endParaRPr sz="1200">
              <a:latin typeface="Arial"/>
              <a:cs typeface="Arial"/>
            </a:endParaRPr>
          </a:p>
          <a:p>
            <a:pPr marL="1463040" marR="804545">
              <a:lnSpc>
                <a:spcPts val="1300"/>
              </a:lnSpc>
              <a:spcBef>
                <a:spcPts val="90"/>
              </a:spcBef>
            </a:pPr>
            <a:r>
              <a:rPr sz="1200" dirty="0">
                <a:solidFill>
                  <a:srgbClr val="09234C"/>
                </a:solidFill>
                <a:latin typeface="Arial"/>
                <a:cs typeface="Arial"/>
              </a:rPr>
              <a:t>В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2019 </a:t>
            </a:r>
            <a:r>
              <a:rPr sz="1200" spc="-75" dirty="0">
                <a:solidFill>
                  <a:srgbClr val="09234C"/>
                </a:solidFill>
                <a:latin typeface="Arial"/>
                <a:cs typeface="Arial"/>
              </a:rPr>
              <a:t>г.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Министерство </a:t>
            </a:r>
            <a:r>
              <a:rPr sz="1200" spc="-15" dirty="0">
                <a:solidFill>
                  <a:srgbClr val="09234C"/>
                </a:solidFill>
                <a:latin typeface="Arial"/>
                <a:cs typeface="Arial"/>
              </a:rPr>
              <a:t>доходов </a:t>
            </a:r>
            <a:r>
              <a:rPr sz="1200" dirty="0">
                <a:solidFill>
                  <a:srgbClr val="09234C"/>
                </a:solidFill>
                <a:latin typeface="Arial"/>
                <a:cs typeface="Arial"/>
              </a:rPr>
              <a:t>и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сборов </a:t>
            </a:r>
            <a:r>
              <a:rPr sz="1200" spc="-10" dirty="0">
                <a:solidFill>
                  <a:srgbClr val="09234C"/>
                </a:solidFill>
                <a:latin typeface="Arial"/>
                <a:cs typeface="Arial"/>
              </a:rPr>
              <a:t>Великобритании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предоставило </a:t>
            </a:r>
            <a:r>
              <a:rPr sz="1200" spc="-10" dirty="0">
                <a:solidFill>
                  <a:srgbClr val="09234C"/>
                </a:solidFill>
                <a:latin typeface="Arial"/>
                <a:cs typeface="Arial"/>
              </a:rPr>
              <a:t>международной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бирже "Астана”  </a:t>
            </a:r>
            <a:r>
              <a:rPr sz="1200" spc="-10" dirty="0">
                <a:solidFill>
                  <a:srgbClr val="09234C"/>
                </a:solidFill>
                <a:latin typeface="Arial"/>
                <a:cs typeface="Arial"/>
              </a:rPr>
              <a:t>статус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"признанной фондовой</a:t>
            </a:r>
            <a:r>
              <a:rPr sz="1200" spc="20" dirty="0">
                <a:solidFill>
                  <a:srgbClr val="09234C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биржи"</a:t>
            </a:r>
            <a:endParaRPr sz="1200">
              <a:latin typeface="Arial"/>
              <a:cs typeface="Arial"/>
            </a:endParaRPr>
          </a:p>
          <a:p>
            <a:pPr marL="1014094">
              <a:lnSpc>
                <a:spcPts val="1370"/>
              </a:lnSpc>
              <a:spcBef>
                <a:spcPts val="645"/>
              </a:spcBef>
            </a:pPr>
            <a:r>
              <a:rPr sz="1200" b="1" spc="-5" dirty="0">
                <a:solidFill>
                  <a:srgbClr val="097F88"/>
                </a:solidFill>
                <a:latin typeface="Arial"/>
                <a:cs typeface="Arial"/>
              </a:rPr>
              <a:t>Специальные организационно-правовые</a:t>
            </a:r>
            <a:r>
              <a:rPr sz="1200" b="1" spc="-10" dirty="0">
                <a:solidFill>
                  <a:srgbClr val="097F88"/>
                </a:solidFill>
                <a:latin typeface="Arial"/>
                <a:cs typeface="Arial"/>
              </a:rPr>
              <a:t> формы</a:t>
            </a:r>
            <a:endParaRPr sz="1200">
              <a:latin typeface="Arial"/>
              <a:cs typeface="Arial"/>
            </a:endParaRPr>
          </a:p>
          <a:p>
            <a:pPr marL="1014094" marR="483870">
              <a:lnSpc>
                <a:spcPts val="1320"/>
              </a:lnSpc>
              <a:spcBef>
                <a:spcPts val="75"/>
              </a:spcBef>
            </a:pPr>
            <a:r>
              <a:rPr sz="1200" dirty="0">
                <a:solidFill>
                  <a:srgbClr val="002453"/>
                </a:solidFill>
                <a:latin typeface="Arial"/>
                <a:cs typeface="Arial"/>
              </a:rPr>
              <a:t>В </a:t>
            </a:r>
            <a:r>
              <a:rPr sz="1200" spc="-5" dirty="0">
                <a:solidFill>
                  <a:srgbClr val="002453"/>
                </a:solidFill>
                <a:latin typeface="Arial"/>
                <a:cs typeface="Arial"/>
              </a:rPr>
              <a:t>МФЦА </a:t>
            </a:r>
            <a:r>
              <a:rPr sz="1200" spc="-10" dirty="0">
                <a:solidFill>
                  <a:srgbClr val="002453"/>
                </a:solidFill>
                <a:latin typeface="Arial"/>
                <a:cs typeface="Arial"/>
              </a:rPr>
              <a:t>имеется </a:t>
            </a:r>
            <a:r>
              <a:rPr sz="1200" spc="-5" dirty="0">
                <a:solidFill>
                  <a:srgbClr val="002453"/>
                </a:solidFill>
                <a:latin typeface="Arial"/>
                <a:cs typeface="Arial"/>
              </a:rPr>
              <a:t>15 видов организационно-правовых форм для </a:t>
            </a:r>
            <a:r>
              <a:rPr sz="1200" spc="-10" dirty="0">
                <a:solidFill>
                  <a:srgbClr val="002453"/>
                </a:solidFill>
                <a:latin typeface="Arial"/>
                <a:cs typeface="Arial"/>
              </a:rPr>
              <a:t>создания </a:t>
            </a:r>
            <a:r>
              <a:rPr sz="1200" spc="-5" dirty="0">
                <a:solidFill>
                  <a:srgbClr val="002453"/>
                </a:solidFill>
                <a:latin typeface="Arial"/>
                <a:cs typeface="Arial"/>
              </a:rPr>
              <a:t>новых юридических лиц. Компания </a:t>
            </a:r>
            <a:r>
              <a:rPr sz="1200" spc="-20" dirty="0">
                <a:solidFill>
                  <a:srgbClr val="002453"/>
                </a:solidFill>
                <a:latin typeface="Arial"/>
                <a:cs typeface="Arial"/>
              </a:rPr>
              <a:t>может  </a:t>
            </a:r>
            <a:r>
              <a:rPr sz="1200" spc="-5" dirty="0">
                <a:solidFill>
                  <a:srgbClr val="002453"/>
                </a:solidFill>
                <a:latin typeface="Arial"/>
                <a:cs typeface="Arial"/>
              </a:rPr>
              <a:t>быть </a:t>
            </a:r>
            <a:r>
              <a:rPr sz="1200" spc="-10" dirty="0">
                <a:solidFill>
                  <a:srgbClr val="002453"/>
                </a:solidFill>
                <a:latin typeface="Arial"/>
                <a:cs typeface="Arial"/>
              </a:rPr>
              <a:t>создана </a:t>
            </a:r>
            <a:r>
              <a:rPr sz="1200" dirty="0">
                <a:solidFill>
                  <a:srgbClr val="002453"/>
                </a:solidFill>
                <a:latin typeface="Arial"/>
                <a:cs typeface="Arial"/>
              </a:rPr>
              <a:t>с капиталом в 1 </a:t>
            </a:r>
            <a:r>
              <a:rPr sz="1200" spc="-10" dirty="0">
                <a:solidFill>
                  <a:srgbClr val="002453"/>
                </a:solidFill>
                <a:latin typeface="Arial"/>
                <a:cs typeface="Arial"/>
              </a:rPr>
              <a:t>долл.</a:t>
            </a:r>
            <a:r>
              <a:rPr sz="1200" spc="5" dirty="0">
                <a:solidFill>
                  <a:srgbClr val="002453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srgbClr val="002453"/>
                </a:solidFill>
                <a:latin typeface="Arial"/>
                <a:cs typeface="Arial"/>
              </a:rPr>
              <a:t>США</a:t>
            </a:r>
            <a:endParaRPr sz="1200">
              <a:latin typeface="Arial"/>
              <a:cs typeface="Arial"/>
            </a:endParaRPr>
          </a:p>
          <a:p>
            <a:pPr marL="19685">
              <a:lnSpc>
                <a:spcPts val="1150"/>
              </a:lnSpc>
            </a:pPr>
            <a:r>
              <a:rPr sz="1200" b="1" spc="-10" dirty="0">
                <a:solidFill>
                  <a:srgbClr val="097F88"/>
                </a:solidFill>
                <a:latin typeface="Arial"/>
                <a:cs typeface="Arial"/>
              </a:rPr>
              <a:t>Визовая</a:t>
            </a:r>
            <a:r>
              <a:rPr sz="1200" b="1" spc="-5" dirty="0">
                <a:solidFill>
                  <a:srgbClr val="097F88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097F88"/>
                </a:solidFill>
                <a:latin typeface="Arial"/>
                <a:cs typeface="Arial"/>
              </a:rPr>
              <a:t>поддержка</a:t>
            </a:r>
            <a:endParaRPr sz="1200">
              <a:latin typeface="Arial"/>
              <a:cs typeface="Arial"/>
            </a:endParaRPr>
          </a:p>
          <a:p>
            <a:pPr marL="19685">
              <a:lnSpc>
                <a:spcPts val="1370"/>
              </a:lnSpc>
            </a:pP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МФЦА </a:t>
            </a:r>
            <a:r>
              <a:rPr sz="1200" spc="-15" dirty="0">
                <a:solidFill>
                  <a:srgbClr val="09234C"/>
                </a:solidFill>
                <a:latin typeface="Arial"/>
                <a:cs typeface="Arial"/>
              </a:rPr>
              <a:t>предоставляет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иностранным гражданам </a:t>
            </a:r>
            <a:r>
              <a:rPr sz="1200" spc="-10" dirty="0">
                <a:solidFill>
                  <a:srgbClr val="09234C"/>
                </a:solidFill>
                <a:latin typeface="Arial"/>
                <a:cs typeface="Arial"/>
              </a:rPr>
              <a:t>визовую поддержку </a:t>
            </a:r>
            <a:r>
              <a:rPr sz="1200" dirty="0">
                <a:solidFill>
                  <a:srgbClr val="09234C"/>
                </a:solidFill>
                <a:latin typeface="Arial"/>
                <a:cs typeface="Arial"/>
              </a:rPr>
              <a:t>по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принципу </a:t>
            </a:r>
            <a:r>
              <a:rPr sz="1200" spc="-15" dirty="0">
                <a:solidFill>
                  <a:srgbClr val="09234C"/>
                </a:solidFill>
                <a:latin typeface="Arial"/>
                <a:cs typeface="Arial"/>
              </a:rPr>
              <a:t>"одного</a:t>
            </a:r>
            <a:r>
              <a:rPr sz="1200" spc="50" dirty="0">
                <a:solidFill>
                  <a:srgbClr val="09234C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srgbClr val="09234C"/>
                </a:solidFill>
                <a:latin typeface="Arial"/>
                <a:cs typeface="Arial"/>
              </a:rPr>
              <a:t>окна"</a:t>
            </a:r>
            <a:endParaRPr sz="12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090783" y="368807"/>
            <a:ext cx="2923540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spc="-30" dirty="0">
                <a:solidFill>
                  <a:srgbClr val="898989"/>
                </a:solidFill>
                <a:latin typeface="Arial"/>
                <a:cs typeface="Arial"/>
              </a:rPr>
              <a:t>Международный Финансовый Центр</a:t>
            </a:r>
            <a:r>
              <a:rPr sz="1100" spc="-125" dirty="0">
                <a:solidFill>
                  <a:srgbClr val="898989"/>
                </a:solidFill>
                <a:latin typeface="Arial"/>
                <a:cs typeface="Arial"/>
              </a:rPr>
              <a:t> </a:t>
            </a:r>
            <a:r>
              <a:rPr sz="1100" spc="-25" dirty="0">
                <a:solidFill>
                  <a:srgbClr val="898989"/>
                </a:solidFill>
                <a:latin typeface="Arial"/>
                <a:cs typeface="Arial"/>
              </a:rPr>
              <a:t>«Астана»</a:t>
            </a:r>
            <a:endParaRPr sz="1100">
              <a:latin typeface="Arial"/>
              <a:cs typeface="Arial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title"/>
          </p:nvPr>
        </p:nvSpPr>
        <p:spPr>
          <a:xfrm>
            <a:off x="447423" y="735075"/>
            <a:ext cx="2780665" cy="4521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800" b="1" spc="-25" dirty="0">
                <a:latin typeface="Arial"/>
                <a:cs typeface="Arial"/>
              </a:rPr>
              <a:t>Почему</a:t>
            </a:r>
            <a:r>
              <a:rPr sz="2800" b="1" spc="-65" dirty="0">
                <a:latin typeface="Arial"/>
                <a:cs typeface="Arial"/>
              </a:rPr>
              <a:t> </a:t>
            </a:r>
            <a:r>
              <a:rPr sz="2800" b="1" spc="-5" dirty="0">
                <a:latin typeface="Arial"/>
                <a:cs typeface="Arial"/>
              </a:rPr>
              <a:t>МФЦА?</a:t>
            </a:r>
            <a:endParaRPr sz="28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2413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72810" y="6331434"/>
            <a:ext cx="11227435" cy="0"/>
          </a:xfrm>
          <a:custGeom>
            <a:avLst/>
            <a:gdLst/>
            <a:ahLst/>
            <a:cxnLst/>
            <a:rect l="l" t="t" r="r" b="b"/>
            <a:pathLst>
              <a:path w="11227435">
                <a:moveTo>
                  <a:pt x="0" y="0"/>
                </a:moveTo>
                <a:lnTo>
                  <a:pt x="11227049" y="1"/>
                </a:lnTo>
              </a:path>
            </a:pathLst>
          </a:custGeom>
          <a:ln w="12700">
            <a:solidFill>
              <a:srgbClr val="8A8D8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728434" y="6475410"/>
            <a:ext cx="0" cy="124460"/>
          </a:xfrm>
          <a:custGeom>
            <a:avLst/>
            <a:gdLst/>
            <a:ahLst/>
            <a:cxnLst/>
            <a:rect l="l" t="t" r="r" b="b"/>
            <a:pathLst>
              <a:path h="124459">
                <a:moveTo>
                  <a:pt x="0" y="124279"/>
                </a:moveTo>
                <a:lnTo>
                  <a:pt x="1" y="0"/>
                </a:lnTo>
              </a:path>
            </a:pathLst>
          </a:custGeom>
          <a:ln w="9525">
            <a:solidFill>
              <a:srgbClr val="89898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" name="object 4"/>
          <p:cNvGrpSpPr/>
          <p:nvPr/>
        </p:nvGrpSpPr>
        <p:grpSpPr>
          <a:xfrm>
            <a:off x="472810" y="947"/>
            <a:ext cx="487680" cy="626110"/>
            <a:chOff x="472810" y="947"/>
            <a:chExt cx="487680" cy="626110"/>
          </a:xfrm>
        </p:grpSpPr>
        <p:sp>
          <p:nvSpPr>
            <p:cNvPr id="5" name="object 5"/>
            <p:cNvSpPr/>
            <p:nvPr/>
          </p:nvSpPr>
          <p:spPr>
            <a:xfrm>
              <a:off x="472810" y="947"/>
              <a:ext cx="378460" cy="551180"/>
            </a:xfrm>
            <a:custGeom>
              <a:avLst/>
              <a:gdLst/>
              <a:ahLst/>
              <a:cxnLst/>
              <a:rect l="l" t="t" r="r" b="b"/>
              <a:pathLst>
                <a:path w="378459" h="551180">
                  <a:moveTo>
                    <a:pt x="378000" y="0"/>
                  </a:moveTo>
                  <a:lnTo>
                    <a:pt x="0" y="0"/>
                  </a:lnTo>
                  <a:lnTo>
                    <a:pt x="0" y="550800"/>
                  </a:lnTo>
                  <a:lnTo>
                    <a:pt x="378000" y="550800"/>
                  </a:lnTo>
                  <a:lnTo>
                    <a:pt x="378000" y="0"/>
                  </a:lnTo>
                  <a:close/>
                </a:path>
              </a:pathLst>
            </a:custGeom>
            <a:solidFill>
              <a:srgbClr val="ED6B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6" name="object 6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85779" y="286873"/>
              <a:ext cx="186480" cy="188160"/>
            </a:xfrm>
            <a:prstGeom prst="rect">
              <a:avLst/>
            </a:prstGeom>
          </p:spPr>
        </p:pic>
        <p:sp>
          <p:nvSpPr>
            <p:cNvPr id="7" name="object 7"/>
            <p:cNvSpPr/>
            <p:nvPr/>
          </p:nvSpPr>
          <p:spPr>
            <a:xfrm>
              <a:off x="533398" y="135046"/>
              <a:ext cx="426720" cy="492125"/>
            </a:xfrm>
            <a:custGeom>
              <a:avLst/>
              <a:gdLst/>
              <a:ahLst/>
              <a:cxnLst/>
              <a:rect l="l" t="t" r="r" b="b"/>
              <a:pathLst>
                <a:path w="426719" h="492125">
                  <a:moveTo>
                    <a:pt x="118533" y="118997"/>
                  </a:moveTo>
                  <a:lnTo>
                    <a:pt x="98299" y="143430"/>
                  </a:lnTo>
                  <a:lnTo>
                    <a:pt x="83343" y="170188"/>
                  </a:lnTo>
                  <a:lnTo>
                    <a:pt x="73388" y="198617"/>
                  </a:lnTo>
                  <a:lnTo>
                    <a:pt x="68156" y="228067"/>
                  </a:lnTo>
                  <a:lnTo>
                    <a:pt x="0" y="228067"/>
                  </a:lnTo>
                  <a:lnTo>
                    <a:pt x="0" y="256816"/>
                  </a:lnTo>
                  <a:lnTo>
                    <a:pt x="6297" y="301787"/>
                  </a:lnTo>
                  <a:lnTo>
                    <a:pt x="20743" y="345183"/>
                  </a:lnTo>
                  <a:lnTo>
                    <a:pt x="43338" y="385793"/>
                  </a:lnTo>
                  <a:lnTo>
                    <a:pt x="74083" y="422401"/>
                  </a:lnTo>
                  <a:lnTo>
                    <a:pt x="117268" y="456394"/>
                  </a:lnTo>
                  <a:lnTo>
                    <a:pt x="165453" y="479415"/>
                  </a:lnTo>
                  <a:lnTo>
                    <a:pt x="216601" y="491283"/>
                  </a:lnTo>
                  <a:lnTo>
                    <a:pt x="268676" y="491815"/>
                  </a:lnTo>
                  <a:lnTo>
                    <a:pt x="310378" y="484405"/>
                  </a:lnTo>
                  <a:lnTo>
                    <a:pt x="350414" y="469747"/>
                  </a:lnTo>
                  <a:lnTo>
                    <a:pt x="364065" y="461828"/>
                  </a:lnTo>
                  <a:lnTo>
                    <a:pt x="248689" y="461828"/>
                  </a:lnTo>
                  <a:lnTo>
                    <a:pt x="231757" y="461193"/>
                  </a:lnTo>
                  <a:lnTo>
                    <a:pt x="215011" y="459258"/>
                  </a:lnTo>
                  <a:lnTo>
                    <a:pt x="198543" y="456112"/>
                  </a:lnTo>
                  <a:lnTo>
                    <a:pt x="200570" y="448176"/>
                  </a:lnTo>
                  <a:lnTo>
                    <a:pt x="170885" y="448176"/>
                  </a:lnTo>
                  <a:lnTo>
                    <a:pt x="131127" y="427970"/>
                  </a:lnTo>
                  <a:lnTo>
                    <a:pt x="95814" y="399599"/>
                  </a:lnTo>
                  <a:lnTo>
                    <a:pt x="69947" y="369055"/>
                  </a:lnTo>
                  <a:lnTo>
                    <a:pt x="50376" y="334520"/>
                  </a:lnTo>
                  <a:lnTo>
                    <a:pt x="37473" y="296828"/>
                  </a:lnTo>
                  <a:lnTo>
                    <a:pt x="31608" y="256816"/>
                  </a:lnTo>
                  <a:lnTo>
                    <a:pt x="97581" y="256816"/>
                  </a:lnTo>
                  <a:lnTo>
                    <a:pt x="96771" y="252756"/>
                  </a:lnTo>
                  <a:lnTo>
                    <a:pt x="99765" y="212441"/>
                  </a:lnTo>
                  <a:lnTo>
                    <a:pt x="113872" y="173987"/>
                  </a:lnTo>
                  <a:lnTo>
                    <a:pt x="139276" y="139809"/>
                  </a:lnTo>
                  <a:lnTo>
                    <a:pt x="138289" y="139809"/>
                  </a:lnTo>
                  <a:lnTo>
                    <a:pt x="150096" y="129232"/>
                  </a:lnTo>
                  <a:lnTo>
                    <a:pt x="162944" y="119980"/>
                  </a:lnTo>
                  <a:lnTo>
                    <a:pt x="118533" y="119980"/>
                  </a:lnTo>
                  <a:lnTo>
                    <a:pt x="118533" y="118997"/>
                  </a:lnTo>
                  <a:close/>
                </a:path>
                <a:path w="426719" h="492125">
                  <a:moveTo>
                    <a:pt x="390165" y="387682"/>
                  </a:moveTo>
                  <a:lnTo>
                    <a:pt x="347698" y="387682"/>
                  </a:lnTo>
                  <a:lnTo>
                    <a:pt x="377331" y="416455"/>
                  </a:lnTo>
                  <a:lnTo>
                    <a:pt x="351834" y="433327"/>
                  </a:lnTo>
                  <a:lnTo>
                    <a:pt x="324485" y="446570"/>
                  </a:lnTo>
                  <a:lnTo>
                    <a:pt x="295654" y="455911"/>
                  </a:lnTo>
                  <a:lnTo>
                    <a:pt x="265712" y="461076"/>
                  </a:lnTo>
                  <a:lnTo>
                    <a:pt x="248689" y="461828"/>
                  </a:lnTo>
                  <a:lnTo>
                    <a:pt x="364065" y="461828"/>
                  </a:lnTo>
                  <a:lnTo>
                    <a:pt x="387857" y="448025"/>
                  </a:lnTo>
                  <a:lnTo>
                    <a:pt x="421782" y="419428"/>
                  </a:lnTo>
                  <a:lnTo>
                    <a:pt x="390165" y="387682"/>
                  </a:lnTo>
                  <a:close/>
                </a:path>
                <a:path w="426719" h="492125">
                  <a:moveTo>
                    <a:pt x="97581" y="256816"/>
                  </a:moveTo>
                  <a:lnTo>
                    <a:pt x="68156" y="256816"/>
                  </a:lnTo>
                  <a:lnTo>
                    <a:pt x="73142" y="287725"/>
                  </a:lnTo>
                  <a:lnTo>
                    <a:pt x="99410" y="345072"/>
                  </a:lnTo>
                  <a:lnTo>
                    <a:pt x="134368" y="382312"/>
                  </a:lnTo>
                  <a:lnTo>
                    <a:pt x="180763" y="409502"/>
                  </a:lnTo>
                  <a:lnTo>
                    <a:pt x="170885" y="448176"/>
                  </a:lnTo>
                  <a:lnTo>
                    <a:pt x="200570" y="448176"/>
                  </a:lnTo>
                  <a:lnTo>
                    <a:pt x="208421" y="417438"/>
                  </a:lnTo>
                  <a:lnTo>
                    <a:pt x="278720" y="417438"/>
                  </a:lnTo>
                  <a:lnTo>
                    <a:pt x="294605" y="413968"/>
                  </a:lnTo>
                  <a:lnTo>
                    <a:pt x="315472" y="406189"/>
                  </a:lnTo>
                  <a:lnTo>
                    <a:pt x="334857" y="395618"/>
                  </a:lnTo>
                  <a:lnTo>
                    <a:pt x="338808" y="393653"/>
                  </a:lnTo>
                  <a:lnTo>
                    <a:pt x="340784" y="392645"/>
                  </a:lnTo>
                  <a:lnTo>
                    <a:pt x="340784" y="391662"/>
                  </a:lnTo>
                  <a:lnTo>
                    <a:pt x="243981" y="391662"/>
                  </a:lnTo>
                  <a:lnTo>
                    <a:pt x="198759" y="384583"/>
                  </a:lnTo>
                  <a:lnTo>
                    <a:pt x="159279" y="364769"/>
                  </a:lnTo>
                  <a:lnTo>
                    <a:pt x="127577" y="334359"/>
                  </a:lnTo>
                  <a:lnTo>
                    <a:pt x="105692" y="295490"/>
                  </a:lnTo>
                  <a:lnTo>
                    <a:pt x="105692" y="294485"/>
                  </a:lnTo>
                  <a:lnTo>
                    <a:pt x="104704" y="293502"/>
                  </a:lnTo>
                  <a:lnTo>
                    <a:pt x="104704" y="292517"/>
                  </a:lnTo>
                  <a:lnTo>
                    <a:pt x="97581" y="256816"/>
                  </a:lnTo>
                  <a:close/>
                </a:path>
                <a:path w="426719" h="492125">
                  <a:moveTo>
                    <a:pt x="247932" y="420411"/>
                  </a:moveTo>
                  <a:lnTo>
                    <a:pt x="240030" y="420411"/>
                  </a:lnTo>
                  <a:lnTo>
                    <a:pt x="242006" y="421394"/>
                  </a:lnTo>
                  <a:lnTo>
                    <a:pt x="246945" y="421394"/>
                  </a:lnTo>
                  <a:lnTo>
                    <a:pt x="247932" y="420411"/>
                  </a:lnTo>
                  <a:close/>
                </a:path>
                <a:path w="426719" h="492125">
                  <a:moveTo>
                    <a:pt x="278720" y="417438"/>
                  </a:moveTo>
                  <a:lnTo>
                    <a:pt x="208421" y="417438"/>
                  </a:lnTo>
                  <a:lnTo>
                    <a:pt x="220274" y="419428"/>
                  </a:lnTo>
                  <a:lnTo>
                    <a:pt x="225213" y="420411"/>
                  </a:lnTo>
                  <a:lnTo>
                    <a:pt x="249908" y="420411"/>
                  </a:lnTo>
                  <a:lnTo>
                    <a:pt x="272627" y="418770"/>
                  </a:lnTo>
                  <a:lnTo>
                    <a:pt x="278720" y="417438"/>
                  </a:lnTo>
                  <a:close/>
                </a:path>
                <a:path w="426719" h="492125">
                  <a:moveTo>
                    <a:pt x="349674" y="348025"/>
                  </a:moveTo>
                  <a:lnTo>
                    <a:pt x="348686" y="348025"/>
                  </a:lnTo>
                  <a:lnTo>
                    <a:pt x="348686" y="349031"/>
                  </a:lnTo>
                  <a:lnTo>
                    <a:pt x="326769" y="366981"/>
                  </a:lnTo>
                  <a:lnTo>
                    <a:pt x="301519" y="380381"/>
                  </a:lnTo>
                  <a:lnTo>
                    <a:pt x="273676" y="388764"/>
                  </a:lnTo>
                  <a:lnTo>
                    <a:pt x="243981" y="391662"/>
                  </a:lnTo>
                  <a:lnTo>
                    <a:pt x="341771" y="391662"/>
                  </a:lnTo>
                  <a:lnTo>
                    <a:pt x="343747" y="390679"/>
                  </a:lnTo>
                  <a:lnTo>
                    <a:pt x="345722" y="388689"/>
                  </a:lnTo>
                  <a:lnTo>
                    <a:pt x="347698" y="387682"/>
                  </a:lnTo>
                  <a:lnTo>
                    <a:pt x="390165" y="387682"/>
                  </a:lnTo>
                  <a:lnTo>
                    <a:pt x="370417" y="367854"/>
                  </a:lnTo>
                  <a:lnTo>
                    <a:pt x="349674" y="348025"/>
                  </a:lnTo>
                  <a:close/>
                </a:path>
                <a:path w="426719" h="492125">
                  <a:moveTo>
                    <a:pt x="223238" y="0"/>
                  </a:moveTo>
                  <a:lnTo>
                    <a:pt x="181535" y="7409"/>
                  </a:lnTo>
                  <a:lnTo>
                    <a:pt x="141499" y="22067"/>
                  </a:lnTo>
                  <a:lnTo>
                    <a:pt x="104056" y="43788"/>
                  </a:lnTo>
                  <a:lnTo>
                    <a:pt x="70132" y="72386"/>
                  </a:lnTo>
                  <a:lnTo>
                    <a:pt x="41965" y="107173"/>
                  </a:lnTo>
                  <a:lnTo>
                    <a:pt x="21113" y="145398"/>
                  </a:lnTo>
                  <a:lnTo>
                    <a:pt x="7485" y="186037"/>
                  </a:lnTo>
                  <a:lnTo>
                    <a:pt x="987" y="228067"/>
                  </a:lnTo>
                  <a:lnTo>
                    <a:pt x="31608" y="228067"/>
                  </a:lnTo>
                  <a:lnTo>
                    <a:pt x="37844" y="191408"/>
                  </a:lnTo>
                  <a:lnTo>
                    <a:pt x="50376" y="156422"/>
                  </a:lnTo>
                  <a:lnTo>
                    <a:pt x="92851" y="95187"/>
                  </a:lnTo>
                  <a:lnTo>
                    <a:pt x="131374" y="63221"/>
                  </a:lnTo>
                  <a:lnTo>
                    <a:pt x="175824" y="41647"/>
                  </a:lnTo>
                  <a:lnTo>
                    <a:pt x="205258" y="41647"/>
                  </a:lnTo>
                  <a:lnTo>
                    <a:pt x="203482" y="34717"/>
                  </a:lnTo>
                  <a:lnTo>
                    <a:pt x="211384" y="32727"/>
                  </a:lnTo>
                  <a:lnTo>
                    <a:pt x="218299" y="31744"/>
                  </a:lnTo>
                  <a:lnTo>
                    <a:pt x="226201" y="30737"/>
                  </a:lnTo>
                  <a:lnTo>
                    <a:pt x="365389" y="30737"/>
                  </a:lnTo>
                  <a:lnTo>
                    <a:pt x="326955" y="12398"/>
                  </a:lnTo>
                  <a:lnTo>
                    <a:pt x="275744" y="531"/>
                  </a:lnTo>
                  <a:lnTo>
                    <a:pt x="223238" y="0"/>
                  </a:lnTo>
                  <a:close/>
                </a:path>
                <a:path w="426719" h="492125">
                  <a:moveTo>
                    <a:pt x="340714" y="96006"/>
                  </a:moveTo>
                  <a:lnTo>
                    <a:pt x="232128" y="96006"/>
                  </a:lnTo>
                  <a:lnTo>
                    <a:pt x="273368" y="98424"/>
                  </a:lnTo>
                  <a:lnTo>
                    <a:pt x="312755" y="112370"/>
                  </a:lnTo>
                  <a:lnTo>
                    <a:pt x="347698" y="137843"/>
                  </a:lnTo>
                  <a:lnTo>
                    <a:pt x="358564" y="147745"/>
                  </a:lnTo>
                  <a:lnTo>
                    <a:pt x="398207" y="107104"/>
                  </a:lnTo>
                  <a:lnTo>
                    <a:pt x="357576" y="107104"/>
                  </a:lnTo>
                  <a:lnTo>
                    <a:pt x="340714" y="96006"/>
                  </a:lnTo>
                  <a:close/>
                </a:path>
                <a:path w="426719" h="492125">
                  <a:moveTo>
                    <a:pt x="205258" y="41647"/>
                  </a:moveTo>
                  <a:lnTo>
                    <a:pt x="175824" y="41647"/>
                  </a:lnTo>
                  <a:lnTo>
                    <a:pt x="183727" y="74376"/>
                  </a:lnTo>
                  <a:lnTo>
                    <a:pt x="184714" y="77349"/>
                  </a:lnTo>
                  <a:lnTo>
                    <a:pt x="166039" y="85123"/>
                  </a:lnTo>
                  <a:lnTo>
                    <a:pt x="148660" y="94942"/>
                  </a:lnTo>
                  <a:lnTo>
                    <a:pt x="132763" y="106623"/>
                  </a:lnTo>
                  <a:lnTo>
                    <a:pt x="118533" y="119980"/>
                  </a:lnTo>
                  <a:lnTo>
                    <a:pt x="162944" y="119980"/>
                  </a:lnTo>
                  <a:lnTo>
                    <a:pt x="163107" y="119863"/>
                  </a:lnTo>
                  <a:lnTo>
                    <a:pt x="177044" y="111792"/>
                  </a:lnTo>
                  <a:lnTo>
                    <a:pt x="191629" y="105114"/>
                  </a:lnTo>
                  <a:lnTo>
                    <a:pt x="232128" y="96006"/>
                  </a:lnTo>
                  <a:lnTo>
                    <a:pt x="340714" y="96006"/>
                  </a:lnTo>
                  <a:lnTo>
                    <a:pt x="324470" y="85314"/>
                  </a:lnTo>
                  <a:lnTo>
                    <a:pt x="288308" y="71894"/>
                  </a:lnTo>
                  <a:lnTo>
                    <a:pt x="270384" y="69413"/>
                  </a:lnTo>
                  <a:lnTo>
                    <a:pt x="212372" y="69413"/>
                  </a:lnTo>
                  <a:lnTo>
                    <a:pt x="205258" y="41647"/>
                  </a:lnTo>
                  <a:close/>
                </a:path>
                <a:path w="426719" h="492125">
                  <a:moveTo>
                    <a:pt x="365389" y="30737"/>
                  </a:moveTo>
                  <a:lnTo>
                    <a:pt x="226201" y="30737"/>
                  </a:lnTo>
                  <a:lnTo>
                    <a:pt x="268815" y="31242"/>
                  </a:lnTo>
                  <a:lnTo>
                    <a:pt x="310039" y="39921"/>
                  </a:lnTo>
                  <a:lnTo>
                    <a:pt x="348856" y="56403"/>
                  </a:lnTo>
                  <a:lnTo>
                    <a:pt x="384246" y="80322"/>
                  </a:lnTo>
                  <a:lnTo>
                    <a:pt x="357576" y="107104"/>
                  </a:lnTo>
                  <a:lnTo>
                    <a:pt x="398207" y="107104"/>
                  </a:lnTo>
                  <a:lnTo>
                    <a:pt x="404989" y="100150"/>
                  </a:lnTo>
                  <a:lnTo>
                    <a:pt x="426721" y="78332"/>
                  </a:lnTo>
                  <a:lnTo>
                    <a:pt x="423757" y="75359"/>
                  </a:lnTo>
                  <a:lnTo>
                    <a:pt x="421782" y="72386"/>
                  </a:lnTo>
                  <a:lnTo>
                    <a:pt x="418818" y="69413"/>
                  </a:lnTo>
                  <a:lnTo>
                    <a:pt x="375202" y="35419"/>
                  </a:lnTo>
                  <a:lnTo>
                    <a:pt x="365389" y="30737"/>
                  </a:lnTo>
                  <a:close/>
                </a:path>
                <a:path w="426719" h="492125">
                  <a:moveTo>
                    <a:pt x="250479" y="66657"/>
                  </a:moveTo>
                  <a:lnTo>
                    <a:pt x="212372" y="69413"/>
                  </a:lnTo>
                  <a:lnTo>
                    <a:pt x="270384" y="69413"/>
                  </a:lnTo>
                  <a:lnTo>
                    <a:pt x="250479" y="66657"/>
                  </a:lnTo>
                  <a:close/>
                </a:path>
              </a:pathLst>
            </a:custGeom>
            <a:solidFill>
              <a:srgbClr val="FFFFFF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5043303" y="1847088"/>
            <a:ext cx="3203575" cy="69024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5080">
              <a:lnSpc>
                <a:spcPct val="98800"/>
              </a:lnSpc>
              <a:spcBef>
                <a:spcPts val="114"/>
              </a:spcBef>
            </a:pP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Физические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и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юридические лица (любые) до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1  января 2066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года, освобождаются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от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уплаты  индивидуального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и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корпоративного подоходного  налогов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по</a:t>
            </a:r>
            <a:r>
              <a:rPr sz="1100" spc="-10" dirty="0">
                <a:solidFill>
                  <a:srgbClr val="09234C"/>
                </a:solidFill>
                <a:latin typeface="Arial"/>
                <a:cs typeface="Arial"/>
              </a:rPr>
              <a:t>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доходам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:</a:t>
            </a:r>
            <a:endParaRPr sz="11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043303" y="2532887"/>
            <a:ext cx="3278504" cy="2430780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285750" marR="5080" indent="-273050">
              <a:lnSpc>
                <a:spcPct val="101200"/>
              </a:lnSpc>
              <a:spcBef>
                <a:spcPts val="180"/>
              </a:spcBef>
              <a:buFont typeface="Wingdings"/>
              <a:buChar char=""/>
              <a:tabLst>
                <a:tab pos="285115" algn="l"/>
                <a:tab pos="285750" algn="l"/>
              </a:tabLst>
            </a:pP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от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прироста стоимости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при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реализации акций  участников-юридических лиц,  зарегистрированных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в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соответствии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с 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действующим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правом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МФЦА, или долей  участия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в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уставных капиталах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участников- 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юридических лиц, зарегистрированных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в 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соответствии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с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действующим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правом</a:t>
            </a:r>
            <a:r>
              <a:rPr sz="1100" spc="-25" dirty="0">
                <a:solidFill>
                  <a:srgbClr val="A6A6A6"/>
                </a:solidFill>
                <a:latin typeface="Arial"/>
                <a:cs typeface="Arial"/>
              </a:rPr>
              <a:t>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МФЦА;</a:t>
            </a:r>
            <a:endParaRPr sz="1100" dirty="0">
              <a:latin typeface="Arial"/>
              <a:cs typeface="Arial"/>
            </a:endParaRPr>
          </a:p>
          <a:p>
            <a:pPr marL="285750" marR="46990" indent="-273050">
              <a:lnSpc>
                <a:spcPct val="100000"/>
              </a:lnSpc>
              <a:spcBef>
                <a:spcPts val="265"/>
              </a:spcBef>
              <a:buFont typeface="Wingdings"/>
              <a:buChar char=""/>
              <a:tabLst>
                <a:tab pos="285115" algn="l"/>
                <a:tab pos="285750" algn="l"/>
              </a:tabLst>
            </a:pP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в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виде дивидендов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по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акциям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участников- 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юридических лиц, зарегистрированных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в 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соответствии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с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действующим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правом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МФЦА,  или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по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долям участия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в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уставных капиталах  участников-юридических лиц,  зарегистрированных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в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соответствии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с 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действующим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правом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МФЦА.</a:t>
            </a:r>
            <a:endParaRPr sz="1100" dirty="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60111" y="1822703"/>
            <a:ext cx="3893820" cy="358140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12700" marR="5080">
              <a:lnSpc>
                <a:spcPts val="1300"/>
              </a:lnSpc>
              <a:spcBef>
                <a:spcPts val="160"/>
              </a:spcBef>
            </a:pP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Льготы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по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КПН,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НДС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до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1 января 2066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года для</a:t>
            </a:r>
            <a:r>
              <a:rPr sz="1100" spc="-70" dirty="0">
                <a:solidFill>
                  <a:srgbClr val="09234C"/>
                </a:solidFill>
                <a:latin typeface="Arial"/>
                <a:cs typeface="Arial"/>
              </a:rPr>
              <a:t>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участников 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МФЦА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по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доходам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от оказания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финансовых</a:t>
            </a:r>
            <a:r>
              <a:rPr sz="1100" spc="-25" dirty="0">
                <a:solidFill>
                  <a:srgbClr val="09234C"/>
                </a:solidFill>
                <a:latin typeface="Arial"/>
                <a:cs typeface="Arial"/>
              </a:rPr>
              <a:t>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услуг:</a:t>
            </a:r>
            <a:endParaRPr sz="110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60111" y="2151888"/>
            <a:ext cx="4003040" cy="1388110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285750" indent="-273050">
              <a:lnSpc>
                <a:spcPct val="100000"/>
              </a:lnSpc>
              <a:spcBef>
                <a:spcPts val="385"/>
              </a:spcBef>
              <a:buFont typeface="Wingdings"/>
              <a:buChar char=""/>
              <a:tabLst>
                <a:tab pos="285115" algn="l"/>
                <a:tab pos="285750" algn="l"/>
              </a:tabLst>
            </a:pP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банковские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услуги исламского</a:t>
            </a:r>
            <a:r>
              <a:rPr sz="1100" spc="-20" dirty="0">
                <a:solidFill>
                  <a:srgbClr val="A6A6A6"/>
                </a:solidFill>
                <a:latin typeface="Arial"/>
                <a:cs typeface="Arial"/>
              </a:rPr>
              <a:t>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банка;</a:t>
            </a:r>
            <a:endParaRPr sz="1100">
              <a:latin typeface="Arial"/>
              <a:cs typeface="Arial"/>
            </a:endParaRPr>
          </a:p>
          <a:p>
            <a:pPr marL="285750" indent="-273050">
              <a:lnSpc>
                <a:spcPct val="100000"/>
              </a:lnSpc>
              <a:spcBef>
                <a:spcPts val="290"/>
              </a:spcBef>
              <a:buFont typeface="Wingdings"/>
              <a:buChar char=""/>
              <a:tabLst>
                <a:tab pos="285115" algn="l"/>
                <a:tab pos="285750" algn="l"/>
              </a:tabLst>
            </a:pP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услуги перестрахования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и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страховые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брокерские</a:t>
            </a:r>
            <a:r>
              <a:rPr sz="1100" spc="20" dirty="0">
                <a:solidFill>
                  <a:srgbClr val="A6A6A6"/>
                </a:solidFill>
                <a:latin typeface="Arial"/>
                <a:cs typeface="Arial"/>
              </a:rPr>
              <a:t>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услуги;</a:t>
            </a:r>
            <a:endParaRPr sz="1100">
              <a:latin typeface="Arial"/>
              <a:cs typeface="Arial"/>
            </a:endParaRPr>
          </a:p>
          <a:p>
            <a:pPr marL="285750" marR="426084" indent="-273050">
              <a:lnSpc>
                <a:spcPct val="105500"/>
              </a:lnSpc>
              <a:spcBef>
                <a:spcPts val="215"/>
              </a:spcBef>
              <a:buFont typeface="Wingdings"/>
              <a:buChar char=""/>
              <a:tabLst>
                <a:tab pos="285115" algn="l"/>
                <a:tab pos="285750" algn="l"/>
              </a:tabLst>
            </a:pP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услуги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по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инвестиционному управлению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активами 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инвестиционных</a:t>
            </a:r>
            <a:r>
              <a:rPr sz="1100" spc="-15" dirty="0">
                <a:solidFill>
                  <a:srgbClr val="A6A6A6"/>
                </a:solidFill>
                <a:latin typeface="Arial"/>
                <a:cs typeface="Arial"/>
              </a:rPr>
              <a:t>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фондов;</a:t>
            </a:r>
            <a:endParaRPr sz="1100">
              <a:latin typeface="Arial"/>
              <a:cs typeface="Arial"/>
            </a:endParaRPr>
          </a:p>
          <a:p>
            <a:pPr marL="285750" indent="-273050">
              <a:lnSpc>
                <a:spcPct val="100000"/>
              </a:lnSpc>
              <a:spcBef>
                <a:spcPts val="290"/>
              </a:spcBef>
              <a:buFont typeface="Wingdings"/>
              <a:buChar char=""/>
              <a:tabLst>
                <a:tab pos="285115" algn="l"/>
                <a:tab pos="285750" algn="l"/>
              </a:tabLst>
            </a:pP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брокерские,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дилерские или андеррайтинговые</a:t>
            </a:r>
            <a:r>
              <a:rPr sz="1100" spc="-20" dirty="0">
                <a:solidFill>
                  <a:srgbClr val="A6A6A6"/>
                </a:solidFill>
                <a:latin typeface="Arial"/>
                <a:cs typeface="Arial"/>
              </a:rPr>
              <a:t>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услуги;</a:t>
            </a:r>
            <a:endParaRPr sz="1100">
              <a:latin typeface="Arial"/>
              <a:cs typeface="Arial"/>
            </a:endParaRPr>
          </a:p>
          <a:p>
            <a:pPr marL="285750" marR="57150" indent="-273050">
              <a:lnSpc>
                <a:spcPct val="100000"/>
              </a:lnSpc>
              <a:spcBef>
                <a:spcPts val="260"/>
              </a:spcBef>
              <a:buFont typeface="Wingdings"/>
              <a:buChar char=""/>
              <a:tabLst>
                <a:tab pos="285115" algn="l"/>
                <a:tab pos="285750" algn="l"/>
              </a:tabLst>
            </a:pP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другие финансовые услуги, определяемые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совместным  актом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МФЦА,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МНЭ и</a:t>
            </a:r>
            <a:r>
              <a:rPr sz="1100" spc="-45" dirty="0">
                <a:solidFill>
                  <a:srgbClr val="A6A6A6"/>
                </a:solidFill>
                <a:latin typeface="Arial"/>
                <a:cs typeface="Arial"/>
              </a:rPr>
              <a:t>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МФ*.</a:t>
            </a:r>
            <a:endParaRPr sz="110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60111" y="3535679"/>
            <a:ext cx="4168775" cy="549910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12700" marR="5080">
              <a:lnSpc>
                <a:spcPct val="102699"/>
              </a:lnSpc>
              <a:spcBef>
                <a:spcPts val="160"/>
              </a:spcBef>
            </a:pP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Льготы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по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КПН до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1 января 2066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года для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участников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МФЦА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по 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доходам,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полученным от оказания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юридических, аудиторских,  бухгалтерских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и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консалтинговых услуг.</a:t>
            </a:r>
            <a:r>
              <a:rPr sz="1100" spc="-25" dirty="0">
                <a:solidFill>
                  <a:srgbClr val="09234C"/>
                </a:solidFill>
                <a:latin typeface="Arial"/>
                <a:cs typeface="Arial"/>
              </a:rPr>
              <a:t>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оказываемых:</a:t>
            </a:r>
            <a:endParaRPr sz="110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60111" y="4056888"/>
            <a:ext cx="3865245" cy="598805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285750" indent="-273050">
              <a:lnSpc>
                <a:spcPct val="100000"/>
              </a:lnSpc>
              <a:spcBef>
                <a:spcPts val="385"/>
              </a:spcBef>
              <a:buFont typeface="Wingdings"/>
              <a:buChar char=""/>
              <a:tabLst>
                <a:tab pos="285115" algn="l"/>
                <a:tab pos="285750" algn="l"/>
              </a:tabLst>
            </a:pP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органам</a:t>
            </a:r>
            <a:r>
              <a:rPr sz="1100" spc="-10" dirty="0">
                <a:solidFill>
                  <a:srgbClr val="A6A6A6"/>
                </a:solidFill>
                <a:latin typeface="Arial"/>
                <a:cs typeface="Arial"/>
              </a:rPr>
              <a:t>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МФЦА;</a:t>
            </a:r>
            <a:endParaRPr sz="1100">
              <a:latin typeface="Arial"/>
              <a:cs typeface="Arial"/>
            </a:endParaRPr>
          </a:p>
          <a:p>
            <a:pPr marL="285750" marR="5080" indent="-273050">
              <a:lnSpc>
                <a:spcPts val="1300"/>
              </a:lnSpc>
              <a:spcBef>
                <a:spcPts val="350"/>
              </a:spcBef>
              <a:buFont typeface="Wingdings"/>
              <a:buChar char=""/>
              <a:tabLst>
                <a:tab pos="285115" algn="l"/>
                <a:tab pos="285750" algn="l"/>
              </a:tabLst>
            </a:pP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участникам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МФЦА, оказывающим финансовые услуги, 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предусмотренные Законом о</a:t>
            </a:r>
            <a:r>
              <a:rPr sz="1100" spc="-20" dirty="0">
                <a:solidFill>
                  <a:srgbClr val="A6A6A6"/>
                </a:solidFill>
                <a:latin typeface="Arial"/>
                <a:cs typeface="Arial"/>
              </a:rPr>
              <a:t>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МФЦА.</a:t>
            </a:r>
            <a:endParaRPr sz="11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43138" y="4678679"/>
            <a:ext cx="4322445" cy="167068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29209" marR="5080">
              <a:lnSpc>
                <a:spcPct val="98800"/>
              </a:lnSpc>
              <a:spcBef>
                <a:spcPts val="114"/>
              </a:spcBef>
            </a:pP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Участники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МФЦА, оказывающие финансовые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и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вспомогательные  услуги,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предусмотренные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Конституционным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законом, 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освобождаются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от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уплаты налога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на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имущество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и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земельного  налога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по объектам, расположенным на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территории</a:t>
            </a:r>
            <a:r>
              <a:rPr sz="1100" spc="-45" dirty="0">
                <a:solidFill>
                  <a:srgbClr val="09234C"/>
                </a:solidFill>
                <a:latin typeface="Arial"/>
                <a:cs typeface="Arial"/>
              </a:rPr>
              <a:t>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МФЦА.</a:t>
            </a:r>
            <a:endParaRPr sz="1100">
              <a:latin typeface="Arial"/>
              <a:cs typeface="Arial"/>
            </a:endParaRPr>
          </a:p>
          <a:p>
            <a:pPr marL="29209" marR="22225">
              <a:lnSpc>
                <a:spcPct val="100499"/>
              </a:lnSpc>
              <a:spcBef>
                <a:spcPts val="254"/>
              </a:spcBef>
            </a:pP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Иностранцы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–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работники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Участника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МФЦА освобождаются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от 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уплаты ИПН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по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доходам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от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деятельности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в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Центре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по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трудовому  договору,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заключенному с Участником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МФЦА, оказывающим  финансовые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и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вспомогательные услуги,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предусмотренные 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Конституционным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Законом.</a:t>
            </a:r>
            <a:endParaRPr sz="1100">
              <a:latin typeface="Arial"/>
              <a:cs typeface="Arial"/>
            </a:endParaRPr>
          </a:p>
          <a:p>
            <a:pPr marL="12700">
              <a:lnSpc>
                <a:spcPts val="830"/>
              </a:lnSpc>
            </a:pPr>
            <a:r>
              <a:rPr sz="700" dirty="0">
                <a:solidFill>
                  <a:srgbClr val="002554"/>
                </a:solidFill>
                <a:latin typeface="Arial"/>
                <a:cs typeface="Arial"/>
              </a:rPr>
              <a:t>*см.</a:t>
            </a:r>
            <a:r>
              <a:rPr sz="700" spc="10" dirty="0">
                <a:solidFill>
                  <a:srgbClr val="002554"/>
                </a:solidFill>
                <a:latin typeface="Arial"/>
                <a:cs typeface="Arial"/>
              </a:rPr>
              <a:t> </a:t>
            </a:r>
            <a:r>
              <a:rPr sz="700" spc="-5" dirty="0">
                <a:solidFill>
                  <a:srgbClr val="002554"/>
                </a:solidFill>
                <a:latin typeface="Arial"/>
                <a:cs typeface="Arial"/>
                <a:hlinkClick r:id="rId3"/>
              </a:rPr>
              <a:t>http://laws.aifc.kz/tax-administration</a:t>
            </a:r>
            <a:endParaRPr sz="70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830442" y="1847088"/>
            <a:ext cx="2924175" cy="69024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5080">
              <a:lnSpc>
                <a:spcPct val="98800"/>
              </a:lnSpc>
              <a:spcBef>
                <a:spcPts val="114"/>
              </a:spcBef>
            </a:pP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Физические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и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юридические лица (любые) до 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1 января 2066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года, освобождаются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от 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уплаты индивидуального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и 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корпоративного  подоходного налогов </a:t>
            </a:r>
            <a:r>
              <a:rPr sz="1100" dirty="0">
                <a:solidFill>
                  <a:srgbClr val="09234C"/>
                </a:solidFill>
                <a:latin typeface="Arial"/>
                <a:cs typeface="Arial"/>
              </a:rPr>
              <a:t>по</a:t>
            </a:r>
            <a:r>
              <a:rPr sz="1100" spc="-5" dirty="0">
                <a:solidFill>
                  <a:srgbClr val="09234C"/>
                </a:solidFill>
                <a:latin typeface="Arial"/>
                <a:cs typeface="Arial"/>
              </a:rPr>
              <a:t> доходам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:</a:t>
            </a:r>
            <a:endParaRPr sz="110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830442" y="2532887"/>
            <a:ext cx="2952115" cy="1592580"/>
          </a:xfrm>
          <a:prstGeom prst="rect">
            <a:avLst/>
          </a:prstGeom>
        </p:spPr>
        <p:txBody>
          <a:bodyPr vert="horz" wrap="square" lIns="0" tIns="22860" rIns="0" bIns="0" rtlCol="0">
            <a:spAutoFit/>
          </a:bodyPr>
          <a:lstStyle/>
          <a:p>
            <a:pPr marL="285750" marR="90805" indent="-273050">
              <a:lnSpc>
                <a:spcPct val="101200"/>
              </a:lnSpc>
              <a:spcBef>
                <a:spcPts val="180"/>
              </a:spcBef>
              <a:buFont typeface="Wingdings"/>
              <a:buChar char=""/>
              <a:tabLst>
                <a:tab pos="285115" algn="l"/>
                <a:tab pos="285750" algn="l"/>
              </a:tabLst>
            </a:pP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от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прироста стоимости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при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реализации 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ценных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бумаг, находящихся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на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дату  реализации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в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официальных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списках 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Биржи</a:t>
            </a:r>
            <a:r>
              <a:rPr sz="1100" spc="-15" dirty="0">
                <a:solidFill>
                  <a:srgbClr val="A6A6A6"/>
                </a:solidFill>
                <a:latin typeface="Arial"/>
                <a:cs typeface="Arial"/>
              </a:rPr>
              <a:t>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МФЦА;</a:t>
            </a:r>
            <a:endParaRPr sz="1100">
              <a:latin typeface="Arial"/>
              <a:cs typeface="Arial"/>
            </a:endParaRPr>
          </a:p>
          <a:p>
            <a:pPr marL="285750" marR="5080" indent="-273050">
              <a:lnSpc>
                <a:spcPct val="100499"/>
              </a:lnSpc>
              <a:spcBef>
                <a:spcPts val="280"/>
              </a:spcBef>
              <a:buFont typeface="Wingdings"/>
              <a:buChar char=""/>
              <a:tabLst>
                <a:tab pos="285115" algn="l"/>
                <a:tab pos="285750" algn="l"/>
              </a:tabLst>
            </a:pP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в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виде дивидендов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и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вознаграждений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по  ценным бумагам,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находящимся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на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дату  начисления таких дивидендов или  вознаграждений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в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официальных  </a:t>
            </a:r>
            <a:r>
              <a:rPr sz="1100" dirty="0">
                <a:solidFill>
                  <a:srgbClr val="A6A6A6"/>
                </a:solidFill>
                <a:latin typeface="Arial"/>
                <a:cs typeface="Arial"/>
              </a:rPr>
              <a:t>списках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Биржи</a:t>
            </a:r>
            <a:r>
              <a:rPr sz="1100" spc="-25" dirty="0">
                <a:solidFill>
                  <a:srgbClr val="A6A6A6"/>
                </a:solidFill>
                <a:latin typeface="Arial"/>
                <a:cs typeface="Arial"/>
              </a:rPr>
              <a:t> </a:t>
            </a:r>
            <a:r>
              <a:rPr sz="1100" spc="-5" dirty="0">
                <a:solidFill>
                  <a:srgbClr val="A6A6A6"/>
                </a:solidFill>
                <a:latin typeface="Arial"/>
                <a:cs typeface="Arial"/>
              </a:rPr>
              <a:t>МФЦА.</a:t>
            </a:r>
            <a:endParaRPr sz="1100">
              <a:latin typeface="Arial"/>
              <a:cs typeface="Arial"/>
            </a:endParaRPr>
          </a:p>
        </p:txBody>
      </p:sp>
      <p:grpSp>
        <p:nvGrpSpPr>
          <p:cNvPr id="17" name="object 17"/>
          <p:cNvGrpSpPr/>
          <p:nvPr/>
        </p:nvGrpSpPr>
        <p:grpSpPr>
          <a:xfrm>
            <a:off x="455837" y="1134405"/>
            <a:ext cx="4196080" cy="606425"/>
            <a:chOff x="455837" y="1134405"/>
            <a:chExt cx="4196080" cy="606425"/>
          </a:xfrm>
        </p:grpSpPr>
        <p:sp>
          <p:nvSpPr>
            <p:cNvPr id="18" name="object 18"/>
            <p:cNvSpPr/>
            <p:nvPr/>
          </p:nvSpPr>
          <p:spPr>
            <a:xfrm>
              <a:off x="455837" y="1134405"/>
              <a:ext cx="4196080" cy="606425"/>
            </a:xfrm>
            <a:custGeom>
              <a:avLst/>
              <a:gdLst/>
              <a:ahLst/>
              <a:cxnLst/>
              <a:rect l="l" t="t" r="r" b="b"/>
              <a:pathLst>
                <a:path w="4196080" h="606425">
                  <a:moveTo>
                    <a:pt x="4014195" y="0"/>
                  </a:moveTo>
                  <a:lnTo>
                    <a:pt x="181432" y="0"/>
                  </a:lnTo>
                  <a:lnTo>
                    <a:pt x="123857" y="5672"/>
                  </a:lnTo>
                  <a:lnTo>
                    <a:pt x="74024" y="21433"/>
                  </a:lnTo>
                  <a:lnTo>
                    <a:pt x="34835" y="45395"/>
                  </a:lnTo>
                  <a:lnTo>
                    <a:pt x="9192" y="75671"/>
                  </a:lnTo>
                  <a:lnTo>
                    <a:pt x="0" y="110374"/>
                  </a:lnTo>
                  <a:lnTo>
                    <a:pt x="0" y="495929"/>
                  </a:lnTo>
                  <a:lnTo>
                    <a:pt x="34835" y="560908"/>
                  </a:lnTo>
                  <a:lnTo>
                    <a:pt x="74024" y="584870"/>
                  </a:lnTo>
                  <a:lnTo>
                    <a:pt x="123857" y="600631"/>
                  </a:lnTo>
                  <a:lnTo>
                    <a:pt x="181432" y="606304"/>
                  </a:lnTo>
                  <a:lnTo>
                    <a:pt x="4014195" y="606304"/>
                  </a:lnTo>
                  <a:lnTo>
                    <a:pt x="4070802" y="600631"/>
                  </a:lnTo>
                  <a:lnTo>
                    <a:pt x="4120515" y="584870"/>
                  </a:lnTo>
                  <a:lnTo>
                    <a:pt x="4160067" y="560908"/>
                  </a:lnTo>
                  <a:lnTo>
                    <a:pt x="4186193" y="530632"/>
                  </a:lnTo>
                  <a:lnTo>
                    <a:pt x="4195628" y="495929"/>
                  </a:lnTo>
                  <a:lnTo>
                    <a:pt x="4195628" y="110374"/>
                  </a:lnTo>
                  <a:lnTo>
                    <a:pt x="4160067" y="45395"/>
                  </a:lnTo>
                  <a:lnTo>
                    <a:pt x="4120515" y="21433"/>
                  </a:lnTo>
                  <a:lnTo>
                    <a:pt x="4070802" y="5672"/>
                  </a:lnTo>
                  <a:lnTo>
                    <a:pt x="4014195" y="0"/>
                  </a:lnTo>
                  <a:close/>
                </a:path>
              </a:pathLst>
            </a:custGeom>
            <a:solidFill>
              <a:srgbClr val="097F8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455837" y="1134405"/>
              <a:ext cx="647700" cy="606425"/>
            </a:xfrm>
            <a:custGeom>
              <a:avLst/>
              <a:gdLst/>
              <a:ahLst/>
              <a:cxnLst/>
              <a:rect l="l" t="t" r="r" b="b"/>
              <a:pathLst>
                <a:path w="647700" h="606425">
                  <a:moveTo>
                    <a:pt x="647645" y="0"/>
                  </a:moveTo>
                  <a:lnTo>
                    <a:pt x="157004" y="0"/>
                  </a:lnTo>
                  <a:lnTo>
                    <a:pt x="107182" y="5672"/>
                  </a:lnTo>
                  <a:lnTo>
                    <a:pt x="64058" y="21433"/>
                  </a:lnTo>
                  <a:lnTo>
                    <a:pt x="30144" y="45395"/>
                  </a:lnTo>
                  <a:lnTo>
                    <a:pt x="7954" y="75671"/>
                  </a:lnTo>
                  <a:lnTo>
                    <a:pt x="0" y="110374"/>
                  </a:lnTo>
                  <a:lnTo>
                    <a:pt x="0" y="495929"/>
                  </a:lnTo>
                  <a:lnTo>
                    <a:pt x="30144" y="560908"/>
                  </a:lnTo>
                  <a:lnTo>
                    <a:pt x="64058" y="584870"/>
                  </a:lnTo>
                  <a:lnTo>
                    <a:pt x="107182" y="600631"/>
                  </a:lnTo>
                  <a:lnTo>
                    <a:pt x="157004" y="606304"/>
                  </a:lnTo>
                  <a:lnTo>
                    <a:pt x="647645" y="606304"/>
                  </a:lnTo>
                  <a:lnTo>
                    <a:pt x="647645" y="0"/>
                  </a:lnTo>
                  <a:close/>
                </a:path>
              </a:pathLst>
            </a:custGeom>
            <a:solidFill>
              <a:srgbClr val="F2F2F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" name="object 20"/>
          <p:cNvSpPr txBox="1"/>
          <p:nvPr/>
        </p:nvSpPr>
        <p:spPr>
          <a:xfrm>
            <a:off x="1273166" y="1224788"/>
            <a:ext cx="3213735" cy="388620"/>
          </a:xfrm>
          <a:prstGeom prst="rect">
            <a:avLst/>
          </a:prstGeom>
        </p:spPr>
        <p:txBody>
          <a:bodyPr vert="horz" wrap="square" lIns="0" tIns="20320" rIns="0" bIns="0" rtlCol="0">
            <a:spAutoFit/>
          </a:bodyPr>
          <a:lstStyle/>
          <a:p>
            <a:pPr marL="12700" marR="5080">
              <a:lnSpc>
                <a:spcPts val="1420"/>
              </a:lnSpc>
              <a:spcBef>
                <a:spcPts val="160"/>
              </a:spcBef>
            </a:pP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Налоговые льготы 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для </a:t>
            </a: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участников </a:t>
            </a: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МФЦА  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по </a:t>
            </a: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определенным видам</a:t>
            </a:r>
            <a:r>
              <a:rPr sz="12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деятельности</a:t>
            </a:r>
            <a:endParaRPr sz="1200">
              <a:latin typeface="Arial"/>
              <a:cs typeface="Arial"/>
            </a:endParaRPr>
          </a:p>
        </p:txBody>
      </p:sp>
      <p:grpSp>
        <p:nvGrpSpPr>
          <p:cNvPr id="21" name="object 21"/>
          <p:cNvGrpSpPr/>
          <p:nvPr/>
        </p:nvGrpSpPr>
        <p:grpSpPr>
          <a:xfrm>
            <a:off x="4903263" y="1143629"/>
            <a:ext cx="3459479" cy="606425"/>
            <a:chOff x="4903263" y="1143629"/>
            <a:chExt cx="3459479" cy="606425"/>
          </a:xfrm>
        </p:grpSpPr>
        <p:sp>
          <p:nvSpPr>
            <p:cNvPr id="22" name="object 22"/>
            <p:cNvSpPr/>
            <p:nvPr/>
          </p:nvSpPr>
          <p:spPr>
            <a:xfrm>
              <a:off x="4903263" y="1143629"/>
              <a:ext cx="3459479" cy="606425"/>
            </a:xfrm>
            <a:custGeom>
              <a:avLst/>
              <a:gdLst/>
              <a:ahLst/>
              <a:cxnLst/>
              <a:rect l="l" t="t" r="r" b="b"/>
              <a:pathLst>
                <a:path w="3459479" h="606425">
                  <a:moveTo>
                    <a:pt x="3309524" y="0"/>
                  </a:moveTo>
                  <a:lnTo>
                    <a:pt x="149583" y="0"/>
                  </a:lnTo>
                  <a:lnTo>
                    <a:pt x="92028" y="8741"/>
                  </a:lnTo>
                  <a:lnTo>
                    <a:pt x="44407" y="32507"/>
                  </a:lnTo>
                  <a:lnTo>
                    <a:pt x="11978" y="67613"/>
                  </a:lnTo>
                  <a:lnTo>
                    <a:pt x="0" y="110374"/>
                  </a:lnTo>
                  <a:lnTo>
                    <a:pt x="0" y="495929"/>
                  </a:lnTo>
                  <a:lnTo>
                    <a:pt x="11978" y="538690"/>
                  </a:lnTo>
                  <a:lnTo>
                    <a:pt x="44407" y="573796"/>
                  </a:lnTo>
                  <a:lnTo>
                    <a:pt x="92028" y="597563"/>
                  </a:lnTo>
                  <a:lnTo>
                    <a:pt x="149583" y="606304"/>
                  </a:lnTo>
                  <a:lnTo>
                    <a:pt x="3309524" y="606304"/>
                  </a:lnTo>
                  <a:lnTo>
                    <a:pt x="3367955" y="597563"/>
                  </a:lnTo>
                  <a:lnTo>
                    <a:pt x="3415479" y="573796"/>
                  </a:lnTo>
                  <a:lnTo>
                    <a:pt x="3447421" y="538690"/>
                  </a:lnTo>
                  <a:lnTo>
                    <a:pt x="3459107" y="495929"/>
                  </a:lnTo>
                  <a:lnTo>
                    <a:pt x="3459107" y="110374"/>
                  </a:lnTo>
                  <a:lnTo>
                    <a:pt x="3447421" y="67613"/>
                  </a:lnTo>
                  <a:lnTo>
                    <a:pt x="3415479" y="32507"/>
                  </a:lnTo>
                  <a:lnTo>
                    <a:pt x="3367955" y="8741"/>
                  </a:lnTo>
                  <a:lnTo>
                    <a:pt x="3309524" y="0"/>
                  </a:lnTo>
                  <a:close/>
                </a:path>
              </a:pathLst>
            </a:custGeom>
            <a:solidFill>
              <a:srgbClr val="ED7D3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4903263" y="1143629"/>
              <a:ext cx="619760" cy="606425"/>
            </a:xfrm>
            <a:custGeom>
              <a:avLst/>
              <a:gdLst/>
              <a:ahLst/>
              <a:cxnLst/>
              <a:rect l="l" t="t" r="r" b="b"/>
              <a:pathLst>
                <a:path w="619760" h="606425">
                  <a:moveTo>
                    <a:pt x="619328" y="0"/>
                  </a:moveTo>
                  <a:lnTo>
                    <a:pt x="150140" y="0"/>
                  </a:lnTo>
                  <a:lnTo>
                    <a:pt x="92371" y="8741"/>
                  </a:lnTo>
                  <a:lnTo>
                    <a:pt x="44572" y="32507"/>
                  </a:lnTo>
                  <a:lnTo>
                    <a:pt x="12022" y="67613"/>
                  </a:lnTo>
                  <a:lnTo>
                    <a:pt x="0" y="110374"/>
                  </a:lnTo>
                  <a:lnTo>
                    <a:pt x="0" y="495929"/>
                  </a:lnTo>
                  <a:lnTo>
                    <a:pt x="12022" y="538690"/>
                  </a:lnTo>
                  <a:lnTo>
                    <a:pt x="44572" y="573796"/>
                  </a:lnTo>
                  <a:lnTo>
                    <a:pt x="92371" y="597563"/>
                  </a:lnTo>
                  <a:lnTo>
                    <a:pt x="150140" y="606304"/>
                  </a:lnTo>
                  <a:lnTo>
                    <a:pt x="619328" y="606304"/>
                  </a:lnTo>
                  <a:lnTo>
                    <a:pt x="619328" y="0"/>
                  </a:lnTo>
                  <a:close/>
                </a:path>
              </a:pathLst>
            </a:custGeom>
            <a:solidFill>
              <a:srgbClr val="F2F2F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4" name="object 24"/>
          <p:cNvSpPr txBox="1"/>
          <p:nvPr/>
        </p:nvSpPr>
        <p:spPr>
          <a:xfrm>
            <a:off x="5528941" y="1198371"/>
            <a:ext cx="2860040" cy="470534"/>
          </a:xfrm>
          <a:prstGeom prst="rect">
            <a:avLst/>
          </a:prstGeom>
        </p:spPr>
        <p:txBody>
          <a:bodyPr vert="horz" wrap="square" lIns="0" tIns="18415" rIns="0" bIns="0" rtlCol="0">
            <a:spAutoFit/>
          </a:bodyPr>
          <a:lstStyle/>
          <a:p>
            <a:pPr marL="12700" marR="5080">
              <a:lnSpc>
                <a:spcPct val="96000"/>
              </a:lnSpc>
              <a:spcBef>
                <a:spcPts val="145"/>
              </a:spcBef>
            </a:pPr>
            <a:r>
              <a:rPr sz="1000" b="1" spc="-35" dirty="0">
                <a:solidFill>
                  <a:srgbClr val="FFFFFF"/>
                </a:solidFill>
                <a:latin typeface="Arial"/>
                <a:cs typeface="Arial"/>
              </a:rPr>
              <a:t>Налоговые </a:t>
            </a:r>
            <a:r>
              <a:rPr sz="1000" b="1" spc="-30" dirty="0">
                <a:solidFill>
                  <a:srgbClr val="FFFFFF"/>
                </a:solidFill>
                <a:latin typeface="Arial"/>
                <a:cs typeface="Arial"/>
              </a:rPr>
              <a:t>льготы для </a:t>
            </a:r>
            <a:r>
              <a:rPr sz="1000" b="1" spc="-35" dirty="0">
                <a:solidFill>
                  <a:srgbClr val="FFFFFF"/>
                </a:solidFill>
                <a:latin typeface="Arial"/>
                <a:cs typeface="Arial"/>
              </a:rPr>
              <a:t>акционеров </a:t>
            </a:r>
            <a:r>
              <a:rPr sz="1000" b="1" dirty="0">
                <a:solidFill>
                  <a:srgbClr val="FFFFFF"/>
                </a:solidFill>
                <a:latin typeface="Arial"/>
                <a:cs typeface="Arial"/>
              </a:rPr>
              <a:t>и  </a:t>
            </a:r>
            <a:r>
              <a:rPr sz="1000" b="1" spc="-35" dirty="0">
                <a:solidFill>
                  <a:srgbClr val="FFFFFF"/>
                </a:solidFill>
                <a:latin typeface="Arial"/>
                <a:cs typeface="Arial"/>
              </a:rPr>
              <a:t>учредителей </a:t>
            </a:r>
            <a:r>
              <a:rPr sz="1000" b="1" spc="-30" dirty="0">
                <a:solidFill>
                  <a:srgbClr val="FFFFFF"/>
                </a:solidFill>
                <a:latin typeface="Arial"/>
                <a:cs typeface="Arial"/>
              </a:rPr>
              <a:t>компаний, </a:t>
            </a:r>
            <a:r>
              <a:rPr sz="1000" b="1" spc="-35" dirty="0">
                <a:solidFill>
                  <a:srgbClr val="FFFFFF"/>
                </a:solidFill>
                <a:latin typeface="Arial"/>
                <a:cs typeface="Arial"/>
              </a:rPr>
              <a:t>зарегистрированных </a:t>
            </a:r>
            <a:r>
              <a:rPr sz="1000" b="1" dirty="0">
                <a:solidFill>
                  <a:srgbClr val="FFFFFF"/>
                </a:solidFill>
                <a:latin typeface="Arial"/>
                <a:cs typeface="Arial"/>
              </a:rPr>
              <a:t>в  </a:t>
            </a:r>
            <a:r>
              <a:rPr sz="1000" b="1" spc="-35" dirty="0">
                <a:solidFill>
                  <a:srgbClr val="FFFFFF"/>
                </a:solidFill>
                <a:latin typeface="Arial"/>
                <a:cs typeface="Arial"/>
              </a:rPr>
              <a:t>МФЦА, </a:t>
            </a:r>
            <a:r>
              <a:rPr sz="1000" b="1" spc="-30" dirty="0">
                <a:solidFill>
                  <a:srgbClr val="FFFFFF"/>
                </a:solidFill>
                <a:latin typeface="Arial"/>
                <a:cs typeface="Arial"/>
              </a:rPr>
              <a:t>независимо </a:t>
            </a:r>
            <a:r>
              <a:rPr sz="1000" b="1" spc="-20" dirty="0">
                <a:solidFill>
                  <a:srgbClr val="FFFFFF"/>
                </a:solidFill>
                <a:latin typeface="Arial"/>
                <a:cs typeface="Arial"/>
              </a:rPr>
              <a:t>от </a:t>
            </a:r>
            <a:r>
              <a:rPr sz="1000" b="1" spc="-30" dirty="0">
                <a:solidFill>
                  <a:srgbClr val="FFFFFF"/>
                </a:solidFill>
                <a:latin typeface="Arial"/>
                <a:cs typeface="Arial"/>
              </a:rPr>
              <a:t>видов </a:t>
            </a:r>
            <a:r>
              <a:rPr sz="1000" b="1" spc="-15" dirty="0">
                <a:solidFill>
                  <a:srgbClr val="FFFFFF"/>
                </a:solidFill>
                <a:latin typeface="Arial"/>
                <a:cs typeface="Arial"/>
              </a:rPr>
              <a:t>их</a:t>
            </a:r>
            <a:r>
              <a:rPr sz="1000" b="1" spc="-1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000" b="1" spc="-35" dirty="0">
                <a:solidFill>
                  <a:srgbClr val="FFFFFF"/>
                </a:solidFill>
                <a:latin typeface="Arial"/>
                <a:cs typeface="Arial"/>
              </a:rPr>
              <a:t>деятельности</a:t>
            </a:r>
            <a:endParaRPr sz="1000">
              <a:latin typeface="Arial"/>
              <a:cs typeface="Arial"/>
            </a:endParaRPr>
          </a:p>
        </p:txBody>
      </p:sp>
      <p:grpSp>
        <p:nvGrpSpPr>
          <p:cNvPr id="25" name="object 25"/>
          <p:cNvGrpSpPr/>
          <p:nvPr/>
        </p:nvGrpSpPr>
        <p:grpSpPr>
          <a:xfrm>
            <a:off x="8529967" y="1132867"/>
            <a:ext cx="3459479" cy="617220"/>
            <a:chOff x="8529967" y="1132867"/>
            <a:chExt cx="3459479" cy="617220"/>
          </a:xfrm>
        </p:grpSpPr>
        <p:sp>
          <p:nvSpPr>
            <p:cNvPr id="26" name="object 26"/>
            <p:cNvSpPr/>
            <p:nvPr/>
          </p:nvSpPr>
          <p:spPr>
            <a:xfrm>
              <a:off x="8529967" y="1132867"/>
              <a:ext cx="3459479" cy="617220"/>
            </a:xfrm>
            <a:custGeom>
              <a:avLst/>
              <a:gdLst/>
              <a:ahLst/>
              <a:cxnLst/>
              <a:rect l="l" t="t" r="r" b="b"/>
              <a:pathLst>
                <a:path w="3459479" h="617219">
                  <a:moveTo>
                    <a:pt x="3307538" y="0"/>
                  </a:moveTo>
                  <a:lnTo>
                    <a:pt x="151569" y="0"/>
                  </a:lnTo>
                  <a:lnTo>
                    <a:pt x="103914" y="5613"/>
                  </a:lnTo>
                  <a:lnTo>
                    <a:pt x="62338" y="21272"/>
                  </a:lnTo>
                  <a:lnTo>
                    <a:pt x="29433" y="45204"/>
                  </a:lnTo>
                  <a:lnTo>
                    <a:pt x="7790" y="75635"/>
                  </a:lnTo>
                  <a:lnTo>
                    <a:pt x="0" y="110794"/>
                  </a:lnTo>
                  <a:lnTo>
                    <a:pt x="0" y="504731"/>
                  </a:lnTo>
                  <a:lnTo>
                    <a:pt x="29433" y="570863"/>
                  </a:lnTo>
                  <a:lnTo>
                    <a:pt x="62338" y="595250"/>
                  </a:lnTo>
                  <a:lnTo>
                    <a:pt x="103914" y="611291"/>
                  </a:lnTo>
                  <a:lnTo>
                    <a:pt x="151569" y="617065"/>
                  </a:lnTo>
                  <a:lnTo>
                    <a:pt x="3307538" y="617065"/>
                  </a:lnTo>
                  <a:lnTo>
                    <a:pt x="3355193" y="611291"/>
                  </a:lnTo>
                  <a:lnTo>
                    <a:pt x="3396769" y="595250"/>
                  </a:lnTo>
                  <a:lnTo>
                    <a:pt x="3429674" y="570863"/>
                  </a:lnTo>
                  <a:lnTo>
                    <a:pt x="3459107" y="504731"/>
                  </a:lnTo>
                  <a:lnTo>
                    <a:pt x="3459107" y="110794"/>
                  </a:lnTo>
                  <a:lnTo>
                    <a:pt x="3429674" y="45204"/>
                  </a:lnTo>
                  <a:lnTo>
                    <a:pt x="3396769" y="21272"/>
                  </a:lnTo>
                  <a:lnTo>
                    <a:pt x="3355193" y="5613"/>
                  </a:lnTo>
                  <a:lnTo>
                    <a:pt x="3307538" y="0"/>
                  </a:lnTo>
                  <a:close/>
                </a:path>
              </a:pathLst>
            </a:custGeom>
            <a:solidFill>
              <a:srgbClr val="002C5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8529967" y="1132867"/>
              <a:ext cx="616585" cy="617220"/>
            </a:xfrm>
            <a:custGeom>
              <a:avLst/>
              <a:gdLst/>
              <a:ahLst/>
              <a:cxnLst/>
              <a:rect l="l" t="t" r="r" b="b"/>
              <a:pathLst>
                <a:path w="616584" h="617219">
                  <a:moveTo>
                    <a:pt x="616474" y="0"/>
                  </a:moveTo>
                  <a:lnTo>
                    <a:pt x="151523" y="0"/>
                  </a:lnTo>
                  <a:lnTo>
                    <a:pt x="103883" y="5613"/>
                  </a:lnTo>
                  <a:lnTo>
                    <a:pt x="62320" y="21272"/>
                  </a:lnTo>
                  <a:lnTo>
                    <a:pt x="29424" y="45204"/>
                  </a:lnTo>
                  <a:lnTo>
                    <a:pt x="7787" y="75635"/>
                  </a:lnTo>
                  <a:lnTo>
                    <a:pt x="0" y="110794"/>
                  </a:lnTo>
                  <a:lnTo>
                    <a:pt x="0" y="504731"/>
                  </a:lnTo>
                  <a:lnTo>
                    <a:pt x="29424" y="570863"/>
                  </a:lnTo>
                  <a:lnTo>
                    <a:pt x="62320" y="595250"/>
                  </a:lnTo>
                  <a:lnTo>
                    <a:pt x="103883" y="611291"/>
                  </a:lnTo>
                  <a:lnTo>
                    <a:pt x="151523" y="617065"/>
                  </a:lnTo>
                  <a:lnTo>
                    <a:pt x="616474" y="617065"/>
                  </a:lnTo>
                  <a:lnTo>
                    <a:pt x="616474" y="0"/>
                  </a:lnTo>
                  <a:close/>
                </a:path>
              </a:pathLst>
            </a:custGeom>
            <a:solidFill>
              <a:srgbClr val="F2F2F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8" name="object 28"/>
          <p:cNvSpPr txBox="1"/>
          <p:nvPr/>
        </p:nvSpPr>
        <p:spPr>
          <a:xfrm>
            <a:off x="9133742" y="1166876"/>
            <a:ext cx="2800985" cy="561975"/>
          </a:xfrm>
          <a:prstGeom prst="rect">
            <a:avLst/>
          </a:prstGeom>
        </p:spPr>
        <p:txBody>
          <a:bodyPr vert="horz" wrap="square" lIns="0" tIns="23495" rIns="0" bIns="0" rtlCol="0">
            <a:spAutoFit/>
          </a:bodyPr>
          <a:lstStyle/>
          <a:p>
            <a:pPr marL="12700" marR="5080">
              <a:lnSpc>
                <a:spcPts val="1390"/>
              </a:lnSpc>
              <a:spcBef>
                <a:spcPts val="185"/>
              </a:spcBef>
            </a:pP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Налоговые льготы 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по </a:t>
            </a: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ценным  </a:t>
            </a: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бумагам, находящихся </a:t>
            </a:r>
            <a:r>
              <a:rPr sz="1200" b="1" dirty="0">
                <a:solidFill>
                  <a:srgbClr val="FFFFFF"/>
                </a:solidFill>
                <a:latin typeface="Arial"/>
                <a:cs typeface="Arial"/>
              </a:rPr>
              <a:t>в  </a:t>
            </a: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официальных списках </a:t>
            </a:r>
            <a:r>
              <a:rPr sz="1200" b="1" spc="-10" dirty="0">
                <a:solidFill>
                  <a:srgbClr val="FFFFFF"/>
                </a:solidFill>
                <a:latin typeface="Arial"/>
                <a:cs typeface="Arial"/>
              </a:rPr>
              <a:t>биржи</a:t>
            </a:r>
            <a:r>
              <a:rPr sz="1200" b="1" spc="-3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200" b="1" spc="-5" dirty="0">
                <a:solidFill>
                  <a:srgbClr val="FFFFFF"/>
                </a:solidFill>
                <a:latin typeface="Arial"/>
                <a:cs typeface="Arial"/>
              </a:rPr>
              <a:t>МФЦА</a:t>
            </a:r>
            <a:endParaRPr sz="1200"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670391" y="1199388"/>
            <a:ext cx="209550" cy="4216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600" b="1" dirty="0">
                <a:solidFill>
                  <a:srgbClr val="09585B"/>
                </a:solidFill>
                <a:latin typeface="Arial"/>
                <a:cs typeface="Arial"/>
              </a:rPr>
              <a:t>1</a:t>
            </a:r>
            <a:endParaRPr sz="2600"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104941" y="1208532"/>
            <a:ext cx="209550" cy="4216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600" b="1" dirty="0">
                <a:solidFill>
                  <a:srgbClr val="ED6B17"/>
                </a:solidFill>
                <a:latin typeface="Arial"/>
                <a:cs typeface="Arial"/>
              </a:rPr>
              <a:t>2</a:t>
            </a:r>
            <a:endParaRPr sz="2600">
              <a:latin typeface="Arial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8753759" y="1202436"/>
            <a:ext cx="209550" cy="4216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600" b="1" dirty="0">
                <a:solidFill>
                  <a:srgbClr val="09234C"/>
                </a:solidFill>
                <a:latin typeface="Arial"/>
                <a:cs typeface="Arial"/>
              </a:rPr>
              <a:t>3</a:t>
            </a:r>
            <a:endParaRPr sz="2600">
              <a:latin typeface="Arial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1090783" y="368807"/>
            <a:ext cx="2923540" cy="193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spc="-30" dirty="0">
                <a:solidFill>
                  <a:srgbClr val="898989"/>
                </a:solidFill>
                <a:latin typeface="Arial"/>
                <a:cs typeface="Arial"/>
              </a:rPr>
              <a:t>Международный Финансовый Центр</a:t>
            </a:r>
            <a:r>
              <a:rPr sz="1100" spc="-125" dirty="0">
                <a:solidFill>
                  <a:srgbClr val="898989"/>
                </a:solidFill>
                <a:latin typeface="Arial"/>
                <a:cs typeface="Arial"/>
              </a:rPr>
              <a:t> </a:t>
            </a:r>
            <a:r>
              <a:rPr sz="1100" spc="-25" dirty="0">
                <a:solidFill>
                  <a:srgbClr val="898989"/>
                </a:solidFill>
                <a:latin typeface="Arial"/>
                <a:cs typeface="Arial"/>
              </a:rPr>
              <a:t>«Астана»</a:t>
            </a:r>
            <a:endParaRPr sz="1100">
              <a:latin typeface="Arial"/>
              <a:cs typeface="Arial"/>
            </a:endParaRPr>
          </a:p>
        </p:txBody>
      </p:sp>
      <p:sp>
        <p:nvSpPr>
          <p:cNvPr id="33" name="object 33"/>
          <p:cNvSpPr txBox="1">
            <a:spLocks noGrp="1"/>
          </p:cNvSpPr>
          <p:nvPr>
            <p:ph type="title"/>
          </p:nvPr>
        </p:nvSpPr>
        <p:spPr>
          <a:xfrm>
            <a:off x="443137" y="471897"/>
            <a:ext cx="5618996" cy="68993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10" dirty="0"/>
              <a:t>Налоговые</a:t>
            </a:r>
            <a:r>
              <a:rPr spc="-45" dirty="0"/>
              <a:t> </a:t>
            </a:r>
            <a:r>
              <a:rPr spc="-25" dirty="0"/>
              <a:t>льготы</a:t>
            </a:r>
          </a:p>
        </p:txBody>
      </p:sp>
    </p:spTree>
    <p:extLst>
      <p:ext uri="{BB962C8B-B14F-4D97-AF65-F5344CB8AC3E}">
        <p14:creationId xmlns:p14="http://schemas.microsoft.com/office/powerpoint/2010/main" val="2635878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DC1EDD2-5156-4C78-B4CC-0F7C486904F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97" r="19473"/>
          <a:stretch/>
        </p:blipFill>
        <p:spPr>
          <a:xfrm>
            <a:off x="510746" y="1439665"/>
            <a:ext cx="3657600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501188AF-66C9-4AAA-A13A-44C37A9AA3C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24" r="34102"/>
          <a:stretch/>
        </p:blipFill>
        <p:spPr>
          <a:xfrm>
            <a:off x="3047997" y="1439665"/>
            <a:ext cx="3707027" cy="3978893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14C3997A-412B-4A32-BBDD-47C610D6C31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3" r="39982"/>
          <a:stretch/>
        </p:blipFill>
        <p:spPr>
          <a:xfrm>
            <a:off x="5560543" y="1439665"/>
            <a:ext cx="3731740" cy="3991430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13023DF2-4F41-434C-BFC2-4F97EF92A44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09" r="25508"/>
          <a:stretch/>
        </p:blipFill>
        <p:spPr>
          <a:xfrm>
            <a:off x="8079161" y="1439665"/>
            <a:ext cx="3690552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sp>
        <p:nvSpPr>
          <p:cNvPr id="6" name="Прямоугольник 5"/>
          <p:cNvSpPr/>
          <p:nvPr/>
        </p:nvSpPr>
        <p:spPr>
          <a:xfrm>
            <a:off x="1185331" y="2853267"/>
            <a:ext cx="9905999" cy="1202266"/>
          </a:xfrm>
          <a:custGeom>
            <a:avLst/>
            <a:gdLst>
              <a:gd name="connsiteX0" fmla="*/ 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0 w 9889066"/>
              <a:gd name="connsiteY4" fmla="*/ 0 h 1202266"/>
              <a:gd name="connsiteX0" fmla="*/ 35560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355600 w 9889066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905999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89467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89467 w 9905999"/>
              <a:gd name="connsiteY4" fmla="*/ 0 h 1202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5999" h="1202266">
                <a:moveTo>
                  <a:pt x="389467" y="0"/>
                </a:moveTo>
                <a:lnTo>
                  <a:pt x="9905999" y="0"/>
                </a:lnTo>
                <a:lnTo>
                  <a:pt x="9541933" y="1202266"/>
                </a:lnTo>
                <a:lnTo>
                  <a:pt x="0" y="1202266"/>
                </a:lnTo>
                <a:lnTo>
                  <a:pt x="38946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106</a:t>
            </a:fld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2269713" y="2901371"/>
            <a:ext cx="800905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ИНСТРУМЕНТЫ ПОДДЕРЖКИ АО «НУХ» «БАЙТЕРЕК»</a:t>
            </a:r>
            <a:endParaRPr lang="ru-RU" sz="28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729474" y="813573"/>
            <a:ext cx="3763009" cy="714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ПРИЛОЖЕНИЕ </a:t>
            </a:r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10</a:t>
            </a:r>
            <a:endParaRPr lang="ru-RU" sz="32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2050" name="Picture 2" descr="https://www.baiterek.gov.kz/bitrix/templates/baiterek/css/img/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0835" y="76640"/>
            <a:ext cx="960990" cy="1202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0736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1933211" y="397970"/>
            <a:ext cx="9167925" cy="316479"/>
          </a:xfrm>
          <a:prstGeom prst="rect">
            <a:avLst/>
          </a:prstGeom>
        </p:spPr>
        <p:txBody>
          <a:bodyPr vert="horz" wrap="square" lIns="0" tIns="8618" rIns="0" bIns="0" rtlCol="0" anchor="ctr">
            <a:spAutoFit/>
          </a:bodyPr>
          <a:lstStyle/>
          <a:p>
            <a:pPr marL="9072" marR="3629">
              <a:lnSpc>
                <a:spcPct val="100000"/>
              </a:lnSpc>
              <a:spcBef>
                <a:spcPts val="68"/>
              </a:spcBef>
            </a:pPr>
            <a:r>
              <a:rPr lang="ru-RU" sz="2000" b="1" spc="-7" dirty="0">
                <a:solidFill>
                  <a:schemeClr val="tx1"/>
                </a:solidFill>
                <a:latin typeface="Century Gothic" panose="020B0502020202020204" pitchFamily="34" charset="0"/>
              </a:rPr>
              <a:t>Инструменты поддержки АО «НУХ» «</a:t>
            </a:r>
            <a:r>
              <a:rPr lang="ru-RU" sz="2000" b="1" spc="-7" dirty="0" err="1">
                <a:solidFill>
                  <a:schemeClr val="tx1"/>
                </a:solidFill>
                <a:latin typeface="Century Gothic" panose="020B0502020202020204" pitchFamily="34" charset="0"/>
              </a:rPr>
              <a:t>Байтерек</a:t>
            </a:r>
            <a:r>
              <a:rPr lang="ru-RU" sz="2000" b="1" spc="-7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»</a:t>
            </a:r>
            <a:endParaRPr sz="20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21173" y="1003575"/>
            <a:ext cx="4641894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По линии ТОО «</a:t>
            </a:r>
            <a:r>
              <a:rPr lang="ru-RU" b="1" dirty="0" err="1"/>
              <a:t>Kazakhstan</a:t>
            </a:r>
            <a:r>
              <a:rPr lang="ru-RU" b="1" dirty="0"/>
              <a:t> </a:t>
            </a:r>
            <a:r>
              <a:rPr lang="ru-RU" b="1" dirty="0" err="1"/>
              <a:t>Project</a:t>
            </a:r>
            <a:r>
              <a:rPr lang="ru-RU" b="1" dirty="0"/>
              <a:t> </a:t>
            </a:r>
            <a:r>
              <a:rPr lang="ru-RU" b="1" dirty="0" err="1"/>
              <a:t>Preparation</a:t>
            </a:r>
            <a:r>
              <a:rPr lang="ru-RU" b="1" dirty="0"/>
              <a:t> </a:t>
            </a:r>
            <a:r>
              <a:rPr lang="ru-RU" b="1" dirty="0" err="1"/>
              <a:t>Fund</a:t>
            </a:r>
            <a:r>
              <a:rPr lang="ru-RU" b="1" dirty="0"/>
              <a:t>»:</a:t>
            </a:r>
          </a:p>
          <a:p>
            <a:r>
              <a:rPr lang="ru-RU" dirty="0"/>
              <a:t>- частичная или комплексная разработка </a:t>
            </a:r>
            <a:r>
              <a:rPr lang="ru-RU" dirty="0" err="1"/>
              <a:t>предпроектной</a:t>
            </a:r>
            <a:r>
              <a:rPr lang="ru-RU" dirty="0"/>
              <a:t> документации (ТЭО, бизнес-план, Фин. модель) с привлечением высококвалифицированных консультантов;</a:t>
            </a:r>
          </a:p>
          <a:p>
            <a:r>
              <a:rPr lang="ru-RU" dirty="0"/>
              <a:t>- </a:t>
            </a:r>
            <a:r>
              <a:rPr lang="ru-RU" dirty="0" err="1"/>
              <a:t>софинансирование</a:t>
            </a:r>
            <a:r>
              <a:rPr lang="ru-RU" dirty="0"/>
              <a:t> </a:t>
            </a:r>
            <a:r>
              <a:rPr lang="ru-RU" dirty="0" err="1"/>
              <a:t>предпроектной</a:t>
            </a:r>
            <a:r>
              <a:rPr lang="ru-RU" dirty="0"/>
              <a:t> стадии на условиях возвратности средств при привлечении инвестиционного и/или заемного капитала; </a:t>
            </a:r>
          </a:p>
          <a:p>
            <a:r>
              <a:rPr lang="ru-RU" dirty="0"/>
              <a:t>- консультативная поддержка проектов, структурирование, привлечение стратегических или финансовых инвесторов.</a:t>
            </a:r>
          </a:p>
          <a:p>
            <a:r>
              <a:rPr lang="ru-RU" u="sng" dirty="0"/>
              <a:t>Условия поддержки: </a:t>
            </a:r>
          </a:p>
          <a:p>
            <a:r>
              <a:rPr lang="ru-RU" dirty="0"/>
              <a:t>1) общая стоимость проекта - не менее 4 млрд. тенге;</a:t>
            </a:r>
          </a:p>
          <a:p>
            <a:r>
              <a:rPr lang="ru-RU" dirty="0"/>
              <a:t>2) стоимость услуг KPPF зависит от уровня проработанности проекта и </a:t>
            </a:r>
          </a:p>
          <a:p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5503333" y="989891"/>
            <a:ext cx="6096000" cy="535531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/>
              <a:t>По линии АО «Банк Развития Казахстана»:</a:t>
            </a:r>
          </a:p>
          <a:p>
            <a:r>
              <a:rPr lang="ru-RU" dirty="0"/>
              <a:t>- кредитование / предоставление гарантий по инвестиционному проекту.</a:t>
            </a:r>
          </a:p>
          <a:p>
            <a:r>
              <a:rPr lang="ru-RU" u="sng" dirty="0"/>
              <a:t>Условия поддержки: </a:t>
            </a:r>
          </a:p>
          <a:p>
            <a:r>
              <a:rPr lang="ru-RU" dirty="0"/>
              <a:t>1) минимальная сумма займа – 7 млрд. тенге;</a:t>
            </a:r>
          </a:p>
          <a:p>
            <a:r>
              <a:rPr lang="ru-RU" dirty="0"/>
              <a:t>2) срок займа – от 5 до 20 лет;</a:t>
            </a:r>
          </a:p>
          <a:p>
            <a:r>
              <a:rPr lang="ru-RU" dirty="0"/>
              <a:t>3) размер собственного участия Заявителя - не менее 20% от суммы сметы инвестиционного проекта;</a:t>
            </a:r>
          </a:p>
          <a:p>
            <a:r>
              <a:rPr lang="ru-RU" dirty="0"/>
              <a:t>4.1) ставка финансирования – не более 11% в рамках ГПИИР;</a:t>
            </a:r>
          </a:p>
          <a:p>
            <a:r>
              <a:rPr lang="ru-RU" dirty="0"/>
              <a:t>4.2) ставка финансирования – 6% в рамках ДКБ-2025 / Экономики простых вещей (с учетом субсидий от Фонда «Даму»);</a:t>
            </a:r>
          </a:p>
          <a:p>
            <a:r>
              <a:rPr lang="ru-RU" dirty="0"/>
              <a:t>4.3) ставка вознаграждения при предоставлении гарантии – в зависимости от рисков по проекту (ориентировочно 3-4% годовых)</a:t>
            </a:r>
          </a:p>
          <a:p>
            <a:r>
              <a:rPr lang="ru-RU" dirty="0"/>
              <a:t>5) залоговое обеспечение: не менее 30% от суммы займа – «твердые» залоги, 70% - имущество, поступающее в будущем.  </a:t>
            </a:r>
          </a:p>
        </p:txBody>
      </p:sp>
    </p:spTree>
    <p:extLst>
      <p:ext uri="{BB962C8B-B14F-4D97-AF65-F5344CB8AC3E}">
        <p14:creationId xmlns:p14="http://schemas.microsoft.com/office/powerpoint/2010/main" val="1722841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1933211" y="397970"/>
            <a:ext cx="9167925" cy="316479"/>
          </a:xfrm>
          <a:prstGeom prst="rect">
            <a:avLst/>
          </a:prstGeom>
        </p:spPr>
        <p:txBody>
          <a:bodyPr vert="horz" wrap="square" lIns="0" tIns="8618" rIns="0" bIns="0" rtlCol="0" anchor="ctr">
            <a:spAutoFit/>
          </a:bodyPr>
          <a:lstStyle/>
          <a:p>
            <a:pPr marL="9072" marR="3629">
              <a:lnSpc>
                <a:spcPct val="100000"/>
              </a:lnSpc>
              <a:spcBef>
                <a:spcPts val="68"/>
              </a:spcBef>
            </a:pPr>
            <a:r>
              <a:rPr lang="ru-RU" sz="2000" b="1" spc="-7" dirty="0">
                <a:solidFill>
                  <a:schemeClr val="tx1"/>
                </a:solidFill>
                <a:latin typeface="Century Gothic" panose="020B0502020202020204" pitchFamily="34" charset="0"/>
              </a:rPr>
              <a:t>Инструменты поддержки АО «НУХ» «</a:t>
            </a:r>
            <a:r>
              <a:rPr lang="ru-RU" sz="2000" b="1" spc="-7" dirty="0" err="1">
                <a:solidFill>
                  <a:schemeClr val="tx1"/>
                </a:solidFill>
                <a:latin typeface="Century Gothic" panose="020B0502020202020204" pitchFamily="34" charset="0"/>
              </a:rPr>
              <a:t>Байтерек</a:t>
            </a:r>
            <a:r>
              <a:rPr lang="ru-RU" sz="2000" b="1" spc="-7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»</a:t>
            </a:r>
            <a:endParaRPr sz="20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21173" y="1003575"/>
            <a:ext cx="5759494" cy="5447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По линии АО «</a:t>
            </a:r>
            <a:r>
              <a:rPr lang="ru-RU" b="1" dirty="0" err="1"/>
              <a:t>Казына</a:t>
            </a:r>
            <a:r>
              <a:rPr lang="ru-RU" b="1" dirty="0"/>
              <a:t> Капитал Менеджмент»:</a:t>
            </a:r>
          </a:p>
          <a:p>
            <a:r>
              <a:rPr lang="ru-RU" sz="1500" b="1" dirty="0" smtClean="0"/>
              <a:t>¬ долевое </a:t>
            </a:r>
            <a:r>
              <a:rPr lang="ru-RU" sz="1500" b="1" dirty="0"/>
              <a:t>финансирование в рамках Программы льготного финансирования.</a:t>
            </a:r>
          </a:p>
          <a:p>
            <a:r>
              <a:rPr lang="ru-RU" sz="1500" u="sng" dirty="0"/>
              <a:t>Условия поддержки: </a:t>
            </a:r>
          </a:p>
          <a:p>
            <a:r>
              <a:rPr lang="ru-RU" sz="1500" dirty="0"/>
              <a:t>1)	участие в капитале компании – до 49%;</a:t>
            </a:r>
          </a:p>
          <a:p>
            <a:r>
              <a:rPr lang="ru-RU" sz="1500" dirty="0"/>
              <a:t>2)	сумма инвестиций – до 5 млрд. тенге (инвестиции до 1 млрд. тенге осуществляются через БВУ);</a:t>
            </a:r>
          </a:p>
          <a:p>
            <a:r>
              <a:rPr lang="ru-RU" sz="1500" dirty="0"/>
              <a:t>3)	срок инвестирования – до 9 лет;</a:t>
            </a:r>
          </a:p>
          <a:p>
            <a:r>
              <a:rPr lang="ru-RU" sz="1500" dirty="0"/>
              <a:t>4)	ставка вознаграждения – 8% годовых;</a:t>
            </a:r>
          </a:p>
          <a:p>
            <a:pPr marL="342900" indent="-342900">
              <a:buAutoNum type="arabicParenR" startAt="5"/>
            </a:pPr>
            <a:r>
              <a:rPr lang="ru-RU" sz="1500" dirty="0" smtClean="0"/>
              <a:t>заключение </a:t>
            </a:r>
            <a:r>
              <a:rPr lang="ru-RU" sz="1500" dirty="0"/>
              <a:t>договора об обратном выкупе доли участия со стороны кредитоспособного акционера/партнера/аффилированной компании</a:t>
            </a:r>
            <a:r>
              <a:rPr lang="ru-RU" sz="1500" dirty="0" smtClean="0"/>
              <a:t>.</a:t>
            </a:r>
          </a:p>
          <a:p>
            <a:r>
              <a:rPr lang="ru-RU" sz="1500" b="1" dirty="0"/>
              <a:t>- долевое / долговое / мезонинное финансирование вне Программы льготного финансирования</a:t>
            </a:r>
            <a:r>
              <a:rPr lang="ru-RU" sz="1500" dirty="0"/>
              <a:t>.</a:t>
            </a:r>
          </a:p>
          <a:p>
            <a:r>
              <a:rPr lang="ru-RU" sz="1500" dirty="0"/>
              <a:t>	</a:t>
            </a:r>
            <a:r>
              <a:rPr lang="ru-RU" sz="1500" u="sng" dirty="0"/>
              <a:t>Условия поддержки: </a:t>
            </a:r>
          </a:p>
          <a:p>
            <a:r>
              <a:rPr lang="ru-RU" sz="1500" dirty="0"/>
              <a:t>1)	участие в капитале компании – до 49%;</a:t>
            </a:r>
          </a:p>
          <a:p>
            <a:r>
              <a:rPr lang="ru-RU" sz="1500" dirty="0"/>
              <a:t>2)	сумма инвестиций – от 500 млн. тенге;</a:t>
            </a:r>
          </a:p>
          <a:p>
            <a:r>
              <a:rPr lang="ru-RU" sz="1500" dirty="0"/>
              <a:t>3)	срок инвестирования – до 10 лет;</a:t>
            </a:r>
          </a:p>
          <a:p>
            <a:r>
              <a:rPr lang="ru-RU" sz="1500" dirty="0"/>
              <a:t>4)	ставка вознаграждения – в зависимости от рисков по проекту (ориентировочно 12-16% годовых);</a:t>
            </a:r>
          </a:p>
          <a:p>
            <a:r>
              <a:rPr lang="ru-RU" sz="1500" dirty="0"/>
              <a:t>5)	заключение договора об обратном выкупе доли участия со стороны кредитоспособного акционера/партнера/аффилированной компании</a:t>
            </a:r>
            <a:r>
              <a:rPr lang="ru-RU" sz="1500" dirty="0" smtClean="0"/>
              <a:t>.</a:t>
            </a:r>
            <a:endParaRPr lang="ru-RU" sz="15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6517173" y="1003575"/>
            <a:ext cx="5147733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По линии АО «Фонд развития промышленности»:</a:t>
            </a:r>
          </a:p>
          <a:p>
            <a:r>
              <a:rPr lang="ru-RU" b="1" dirty="0"/>
              <a:t>- лизинговое финансирование для приобретения оборудования. </a:t>
            </a:r>
          </a:p>
          <a:p>
            <a:r>
              <a:rPr lang="ru-RU" u="sng" dirty="0"/>
              <a:t>Условия поддержки: </a:t>
            </a:r>
          </a:p>
          <a:p>
            <a:r>
              <a:rPr lang="ru-RU" dirty="0"/>
              <a:t>1) стоимость оборудования – от 80 млн. тенге;</a:t>
            </a:r>
          </a:p>
          <a:p>
            <a:r>
              <a:rPr lang="ru-RU" dirty="0"/>
              <a:t>2) срок лизинга – до 10 лет;</a:t>
            </a:r>
          </a:p>
          <a:p>
            <a:r>
              <a:rPr lang="ru-RU" dirty="0"/>
              <a:t>3) размер собственного участия Заявителя (авансовый платеж) - не менее 15% от стоимости предмета лизинга;</a:t>
            </a:r>
          </a:p>
          <a:p>
            <a:r>
              <a:rPr lang="ru-RU" dirty="0"/>
              <a:t>4) ставка финансирования – 5% в рамках ГПИИР.</a:t>
            </a:r>
          </a:p>
          <a:p>
            <a:r>
              <a:rPr lang="ru-RU" dirty="0"/>
              <a:t>5) дополнительное залоговое обеспечение в случае недостаточности авансового платежа</a:t>
            </a:r>
          </a:p>
        </p:txBody>
      </p:sp>
    </p:spTree>
    <p:extLst>
      <p:ext uri="{BB962C8B-B14F-4D97-AF65-F5344CB8AC3E}">
        <p14:creationId xmlns:p14="http://schemas.microsoft.com/office/powerpoint/2010/main" val="2009414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1933211" y="397970"/>
            <a:ext cx="9167925" cy="316479"/>
          </a:xfrm>
          <a:prstGeom prst="rect">
            <a:avLst/>
          </a:prstGeom>
        </p:spPr>
        <p:txBody>
          <a:bodyPr vert="horz" wrap="square" lIns="0" tIns="8618" rIns="0" bIns="0" rtlCol="0" anchor="ctr">
            <a:spAutoFit/>
          </a:bodyPr>
          <a:lstStyle/>
          <a:p>
            <a:pPr marL="9072" marR="3629">
              <a:lnSpc>
                <a:spcPct val="100000"/>
              </a:lnSpc>
              <a:spcBef>
                <a:spcPts val="68"/>
              </a:spcBef>
            </a:pPr>
            <a:r>
              <a:rPr lang="ru-RU" sz="2000" b="1" spc="-7" dirty="0">
                <a:solidFill>
                  <a:schemeClr val="tx1"/>
                </a:solidFill>
                <a:latin typeface="Century Gothic" panose="020B0502020202020204" pitchFamily="34" charset="0"/>
              </a:rPr>
              <a:t>Инструменты поддержки АО «НУХ» «</a:t>
            </a:r>
            <a:r>
              <a:rPr lang="ru-RU" sz="2000" b="1" spc="-7" dirty="0" err="1">
                <a:solidFill>
                  <a:schemeClr val="tx1"/>
                </a:solidFill>
                <a:latin typeface="Century Gothic" panose="020B0502020202020204" pitchFamily="34" charset="0"/>
              </a:rPr>
              <a:t>Байтерек</a:t>
            </a:r>
            <a:r>
              <a:rPr lang="ru-RU" sz="2000" b="1" spc="-7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»</a:t>
            </a:r>
            <a:endParaRPr sz="20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21173" y="1003575"/>
            <a:ext cx="4641894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По линии АО «Фонд развития промышленности»:</a:t>
            </a:r>
          </a:p>
          <a:p>
            <a:r>
              <a:rPr lang="ru-RU" dirty="0"/>
              <a:t>- </a:t>
            </a:r>
            <a:r>
              <a:rPr lang="ru-RU" b="1" dirty="0"/>
              <a:t>лизинговое финансирование для приобретения оборудования. </a:t>
            </a:r>
          </a:p>
          <a:p>
            <a:r>
              <a:rPr lang="ru-RU" u="sng" dirty="0"/>
              <a:t>Условия поддержки: </a:t>
            </a:r>
          </a:p>
          <a:p>
            <a:r>
              <a:rPr lang="ru-RU" dirty="0"/>
              <a:t>1) стоимость оборудования – от 80 млн. тенге;</a:t>
            </a:r>
          </a:p>
          <a:p>
            <a:r>
              <a:rPr lang="ru-RU" dirty="0"/>
              <a:t>2) срок лизинга – до 10 лет;</a:t>
            </a:r>
          </a:p>
          <a:p>
            <a:r>
              <a:rPr lang="ru-RU" dirty="0"/>
              <a:t>3) размер собственного участия Заявителя (авансовый платеж) - не менее 15% от стоимости предмета лизинга;</a:t>
            </a:r>
          </a:p>
          <a:p>
            <a:r>
              <a:rPr lang="ru-RU" dirty="0"/>
              <a:t>4) ставка финансирования – 5% в рамках ГПИИР.</a:t>
            </a:r>
          </a:p>
          <a:p>
            <a:r>
              <a:rPr lang="ru-RU" dirty="0"/>
              <a:t>5) дополнительное залоговое обеспечение в случае недостаточности авансового </a:t>
            </a:r>
            <a:r>
              <a:rPr lang="ru-RU" dirty="0" smtClean="0"/>
              <a:t>платежа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5503333" y="989891"/>
            <a:ext cx="6096000" cy="535531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/>
              <a:t>По линии АО «Банк Развития Казахстана»:</a:t>
            </a:r>
          </a:p>
          <a:p>
            <a:r>
              <a:rPr lang="ru-RU" b="1" dirty="0"/>
              <a:t>- кредитование / предоставление гарантий по инвестиционному проекту.</a:t>
            </a:r>
          </a:p>
          <a:p>
            <a:r>
              <a:rPr lang="ru-RU" u="sng" dirty="0"/>
              <a:t>Условия поддержки: </a:t>
            </a:r>
          </a:p>
          <a:p>
            <a:r>
              <a:rPr lang="ru-RU" dirty="0"/>
              <a:t>1) минимальная сумма займа – 7 млрд. тенге;</a:t>
            </a:r>
          </a:p>
          <a:p>
            <a:r>
              <a:rPr lang="ru-RU" dirty="0"/>
              <a:t>2) срок займа – от 5 до 20 лет;</a:t>
            </a:r>
          </a:p>
          <a:p>
            <a:r>
              <a:rPr lang="ru-RU" dirty="0"/>
              <a:t>3) размер собственного участия Заявителя - не менее 20% от суммы сметы инвестиционного проекта;</a:t>
            </a:r>
          </a:p>
          <a:p>
            <a:r>
              <a:rPr lang="ru-RU" dirty="0"/>
              <a:t>4.1) ставка финансирования – не более 11% в рамках ГПИИР;</a:t>
            </a:r>
          </a:p>
          <a:p>
            <a:r>
              <a:rPr lang="ru-RU" dirty="0"/>
              <a:t>4.2) ставка финансирования – 6% в рамках ДКБ-2025 / Экономики простых вещей (с учетом субсидий от Фонда «Даму»);</a:t>
            </a:r>
          </a:p>
          <a:p>
            <a:r>
              <a:rPr lang="ru-RU" dirty="0"/>
              <a:t>4.3) ставка вознаграждения при предоставлении гарантии – в зависимости от рисков по проекту (ориентировочно 3-4% годовых)</a:t>
            </a:r>
          </a:p>
          <a:p>
            <a:r>
              <a:rPr lang="ru-RU" dirty="0"/>
              <a:t>5) залоговое обеспечение: не менее 30% от суммы займа – «твердые» залоги, 70% - имущество, поступающее в будущем.  </a:t>
            </a:r>
          </a:p>
        </p:txBody>
      </p:sp>
    </p:spTree>
    <p:extLst>
      <p:ext uri="{BB962C8B-B14F-4D97-AF65-F5344CB8AC3E}">
        <p14:creationId xmlns:p14="http://schemas.microsoft.com/office/powerpoint/2010/main" val="1530714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59A5E1A1-1B2E-49F0-A6C9-3578E9FD8F10}"/>
              </a:ext>
            </a:extLst>
          </p:cNvPr>
          <p:cNvSpPr/>
          <p:nvPr/>
        </p:nvSpPr>
        <p:spPr>
          <a:xfrm>
            <a:off x="341108" y="122647"/>
            <a:ext cx="116539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u="sng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Порядок заключения ДД поставки биоаналогичных ЛС и МИ с заказчиками контрактного производства согласно Главы </a:t>
            </a:r>
            <a:r>
              <a:rPr lang="ru-RU" b="1" u="sng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7 </a:t>
            </a:r>
            <a:r>
              <a:rPr lang="ru-RU" b="1" u="sng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Правил 110 </a:t>
            </a:r>
            <a:r>
              <a:rPr lang="en-US" b="1" u="sng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https://adilet.zan.kz/rus/docs/V2300032733#z2285 </a:t>
            </a:r>
            <a:endParaRPr lang="ru-RU" b="1" u="sng" dirty="0" smtClean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0" y="1349281"/>
            <a:ext cx="12136604" cy="5120780"/>
            <a:chOff x="6883" y="882755"/>
            <a:chExt cx="12136604" cy="5120780"/>
          </a:xfrm>
        </p:grpSpPr>
        <p:cxnSp>
          <p:nvCxnSpPr>
            <p:cNvPr id="349" name="Straight Connector 34">
              <a:extLst>
                <a:ext uri="{FF2B5EF4-FFF2-40B4-BE49-F238E27FC236}">
                  <a16:creationId xmlns:a16="http://schemas.microsoft.com/office/drawing/2014/main" id="{F538115F-3709-4575-B34B-A1875AD23B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53307" y="5627904"/>
              <a:ext cx="6887174" cy="994"/>
            </a:xfrm>
            <a:prstGeom prst="line">
              <a:avLst/>
            </a:prstGeom>
            <a:ln w="136525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1" name="Straight Connector 34">
              <a:extLst>
                <a:ext uri="{FF2B5EF4-FFF2-40B4-BE49-F238E27FC236}">
                  <a16:creationId xmlns:a16="http://schemas.microsoft.com/office/drawing/2014/main" id="{57A2C3ED-1B49-4670-BB3F-BEA8A145AA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441370" y="3846745"/>
              <a:ext cx="1372675" cy="9087"/>
            </a:xfrm>
            <a:prstGeom prst="line">
              <a:avLst/>
            </a:prstGeom>
            <a:ln w="136525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3" name="Freeform 44"/>
            <p:cNvSpPr>
              <a:spLocks/>
            </p:cNvSpPr>
            <p:nvPr/>
          </p:nvSpPr>
          <p:spPr bwMode="auto">
            <a:xfrm>
              <a:off x="2261280" y="1374049"/>
              <a:ext cx="404813" cy="282575"/>
            </a:xfrm>
            <a:custGeom>
              <a:avLst/>
              <a:gdLst>
                <a:gd name="T0" fmla="*/ 129 w 255"/>
                <a:gd name="T1" fmla="*/ 0 h 178"/>
                <a:gd name="T2" fmla="*/ 0 w 255"/>
                <a:gd name="T3" fmla="*/ 173 h 178"/>
                <a:gd name="T4" fmla="*/ 8 w 255"/>
                <a:gd name="T5" fmla="*/ 178 h 178"/>
                <a:gd name="T6" fmla="*/ 46 w 255"/>
                <a:gd name="T7" fmla="*/ 148 h 178"/>
                <a:gd name="T8" fmla="*/ 86 w 255"/>
                <a:gd name="T9" fmla="*/ 178 h 178"/>
                <a:gd name="T10" fmla="*/ 124 w 255"/>
                <a:gd name="T11" fmla="*/ 148 h 178"/>
                <a:gd name="T12" fmla="*/ 164 w 255"/>
                <a:gd name="T13" fmla="*/ 178 h 178"/>
                <a:gd name="T14" fmla="*/ 202 w 255"/>
                <a:gd name="T15" fmla="*/ 148 h 178"/>
                <a:gd name="T16" fmla="*/ 242 w 255"/>
                <a:gd name="T17" fmla="*/ 178 h 178"/>
                <a:gd name="T18" fmla="*/ 255 w 255"/>
                <a:gd name="T19" fmla="*/ 169 h 178"/>
                <a:gd name="T20" fmla="*/ 129 w 255"/>
                <a:gd name="T21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5" h="178">
                  <a:moveTo>
                    <a:pt x="129" y="0"/>
                  </a:moveTo>
                  <a:lnTo>
                    <a:pt x="0" y="173"/>
                  </a:lnTo>
                  <a:lnTo>
                    <a:pt x="8" y="178"/>
                  </a:lnTo>
                  <a:lnTo>
                    <a:pt x="46" y="148"/>
                  </a:lnTo>
                  <a:lnTo>
                    <a:pt x="86" y="178"/>
                  </a:lnTo>
                  <a:lnTo>
                    <a:pt x="124" y="148"/>
                  </a:lnTo>
                  <a:lnTo>
                    <a:pt x="164" y="178"/>
                  </a:lnTo>
                  <a:lnTo>
                    <a:pt x="202" y="148"/>
                  </a:lnTo>
                  <a:lnTo>
                    <a:pt x="242" y="178"/>
                  </a:lnTo>
                  <a:lnTo>
                    <a:pt x="255" y="169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584" name="Freeform 45"/>
            <p:cNvSpPr>
              <a:spLocks noEditPoints="1"/>
            </p:cNvSpPr>
            <p:nvPr/>
          </p:nvSpPr>
          <p:spPr bwMode="auto">
            <a:xfrm>
              <a:off x="1735818" y="1400176"/>
              <a:ext cx="730250" cy="979488"/>
            </a:xfrm>
            <a:custGeom>
              <a:avLst/>
              <a:gdLst>
                <a:gd name="T0" fmla="*/ 27 w 460"/>
                <a:gd name="T1" fmla="*/ 583 h 617"/>
                <a:gd name="T2" fmla="*/ 27 w 460"/>
                <a:gd name="T3" fmla="*/ 583 h 617"/>
                <a:gd name="T4" fmla="*/ 0 w 460"/>
                <a:gd name="T5" fmla="*/ 617 h 617"/>
                <a:gd name="T6" fmla="*/ 27 w 460"/>
                <a:gd name="T7" fmla="*/ 583 h 617"/>
                <a:gd name="T8" fmla="*/ 460 w 460"/>
                <a:gd name="T9" fmla="*/ 0 h 617"/>
                <a:gd name="T10" fmla="*/ 212 w 460"/>
                <a:gd name="T11" fmla="*/ 333 h 617"/>
                <a:gd name="T12" fmla="*/ 212 w 460"/>
                <a:gd name="T13" fmla="*/ 333 h 617"/>
                <a:gd name="T14" fmla="*/ 460 w 460"/>
                <a:gd name="T15" fmla="*/ 0 h 617"/>
                <a:gd name="T16" fmla="*/ 460 w 460"/>
                <a:gd name="T17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0" h="617">
                  <a:moveTo>
                    <a:pt x="27" y="583"/>
                  </a:moveTo>
                  <a:lnTo>
                    <a:pt x="27" y="583"/>
                  </a:lnTo>
                  <a:lnTo>
                    <a:pt x="0" y="617"/>
                  </a:lnTo>
                  <a:lnTo>
                    <a:pt x="27" y="583"/>
                  </a:lnTo>
                  <a:close/>
                  <a:moveTo>
                    <a:pt x="460" y="0"/>
                  </a:moveTo>
                  <a:lnTo>
                    <a:pt x="212" y="333"/>
                  </a:lnTo>
                  <a:lnTo>
                    <a:pt x="212" y="333"/>
                  </a:lnTo>
                  <a:lnTo>
                    <a:pt x="460" y="0"/>
                  </a:lnTo>
                  <a:lnTo>
                    <a:pt x="460" y="0"/>
                  </a:lnTo>
                  <a:close/>
                </a:path>
              </a:pathLst>
            </a:custGeom>
            <a:solidFill>
              <a:srgbClr val="ABA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585" name="Freeform 46"/>
            <p:cNvSpPr>
              <a:spLocks noEditPoints="1"/>
            </p:cNvSpPr>
            <p:nvPr/>
          </p:nvSpPr>
          <p:spPr bwMode="auto">
            <a:xfrm>
              <a:off x="1735818" y="1400176"/>
              <a:ext cx="730250" cy="979488"/>
            </a:xfrm>
            <a:custGeom>
              <a:avLst/>
              <a:gdLst>
                <a:gd name="T0" fmla="*/ 27 w 460"/>
                <a:gd name="T1" fmla="*/ 583 h 617"/>
                <a:gd name="T2" fmla="*/ 27 w 460"/>
                <a:gd name="T3" fmla="*/ 583 h 617"/>
                <a:gd name="T4" fmla="*/ 0 w 460"/>
                <a:gd name="T5" fmla="*/ 617 h 617"/>
                <a:gd name="T6" fmla="*/ 27 w 460"/>
                <a:gd name="T7" fmla="*/ 583 h 617"/>
                <a:gd name="T8" fmla="*/ 460 w 460"/>
                <a:gd name="T9" fmla="*/ 0 h 617"/>
                <a:gd name="T10" fmla="*/ 212 w 460"/>
                <a:gd name="T11" fmla="*/ 333 h 617"/>
                <a:gd name="T12" fmla="*/ 212 w 460"/>
                <a:gd name="T13" fmla="*/ 333 h 617"/>
                <a:gd name="T14" fmla="*/ 460 w 460"/>
                <a:gd name="T15" fmla="*/ 0 h 617"/>
                <a:gd name="T16" fmla="*/ 460 w 460"/>
                <a:gd name="T17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0" h="617">
                  <a:moveTo>
                    <a:pt x="27" y="583"/>
                  </a:moveTo>
                  <a:lnTo>
                    <a:pt x="27" y="583"/>
                  </a:lnTo>
                  <a:lnTo>
                    <a:pt x="0" y="617"/>
                  </a:lnTo>
                  <a:lnTo>
                    <a:pt x="27" y="583"/>
                  </a:lnTo>
                  <a:moveTo>
                    <a:pt x="460" y="0"/>
                  </a:moveTo>
                  <a:lnTo>
                    <a:pt x="212" y="333"/>
                  </a:lnTo>
                  <a:lnTo>
                    <a:pt x="212" y="333"/>
                  </a:lnTo>
                  <a:lnTo>
                    <a:pt x="460" y="0"/>
                  </a:lnTo>
                  <a:lnTo>
                    <a:pt x="4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592" name="Freeform 50"/>
            <p:cNvSpPr>
              <a:spLocks/>
            </p:cNvSpPr>
            <p:nvPr/>
          </p:nvSpPr>
          <p:spPr bwMode="auto">
            <a:xfrm>
              <a:off x="2261280" y="1374049"/>
              <a:ext cx="206375" cy="282575"/>
            </a:xfrm>
            <a:custGeom>
              <a:avLst/>
              <a:gdLst>
                <a:gd name="T0" fmla="*/ 129 w 130"/>
                <a:gd name="T1" fmla="*/ 0 h 178"/>
                <a:gd name="T2" fmla="*/ 129 w 130"/>
                <a:gd name="T3" fmla="*/ 0 h 178"/>
                <a:gd name="T4" fmla="*/ 0 w 130"/>
                <a:gd name="T5" fmla="*/ 173 h 178"/>
                <a:gd name="T6" fmla="*/ 8 w 130"/>
                <a:gd name="T7" fmla="*/ 178 h 178"/>
                <a:gd name="T8" fmla="*/ 46 w 130"/>
                <a:gd name="T9" fmla="*/ 148 h 178"/>
                <a:gd name="T10" fmla="*/ 86 w 130"/>
                <a:gd name="T11" fmla="*/ 178 h 178"/>
                <a:gd name="T12" fmla="*/ 124 w 130"/>
                <a:gd name="T13" fmla="*/ 148 h 178"/>
                <a:gd name="T14" fmla="*/ 130 w 130"/>
                <a:gd name="T15" fmla="*/ 152 h 178"/>
                <a:gd name="T16" fmla="*/ 129 w 130"/>
                <a:gd name="T17" fmla="*/ 0 h 178"/>
                <a:gd name="T18" fmla="*/ 129 w 130"/>
                <a:gd name="T1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78">
                  <a:moveTo>
                    <a:pt x="129" y="0"/>
                  </a:moveTo>
                  <a:lnTo>
                    <a:pt x="129" y="0"/>
                  </a:lnTo>
                  <a:lnTo>
                    <a:pt x="0" y="173"/>
                  </a:lnTo>
                  <a:lnTo>
                    <a:pt x="8" y="178"/>
                  </a:lnTo>
                  <a:lnTo>
                    <a:pt x="46" y="148"/>
                  </a:lnTo>
                  <a:lnTo>
                    <a:pt x="86" y="178"/>
                  </a:lnTo>
                  <a:lnTo>
                    <a:pt x="124" y="148"/>
                  </a:lnTo>
                  <a:lnTo>
                    <a:pt x="130" y="152"/>
                  </a:lnTo>
                  <a:lnTo>
                    <a:pt x="129" y="0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896" name="TextBox 895"/>
            <p:cNvSpPr txBox="1"/>
            <p:nvPr/>
          </p:nvSpPr>
          <p:spPr>
            <a:xfrm>
              <a:off x="3548424" y="2879933"/>
              <a:ext cx="2010039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k-KZ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Предоставление конкурсных заявок</a:t>
              </a:r>
              <a:endParaRPr lang="ru-RU" sz="100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  <a:p>
              <a:pPr algn="ctr"/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 </a:t>
              </a:r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(20 </a:t>
              </a:r>
              <a:r>
                <a:rPr lang="ru-RU" sz="1000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рабочих дней</a:t>
              </a:r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)</a:t>
              </a:r>
              <a:endParaRPr lang="ru-RU" sz="10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cxnSp>
          <p:nvCxnSpPr>
            <p:cNvPr id="152" name="Straight Connector 34">
              <a:extLst>
                <a:ext uri="{FF2B5EF4-FFF2-40B4-BE49-F238E27FC236}">
                  <a16:creationId xmlns:a16="http://schemas.microsoft.com/office/drawing/2014/main" id="{3DA4F0B6-38C2-495B-9418-291816027EE2}"/>
                </a:ext>
              </a:extLst>
            </p:cNvPr>
            <p:cNvCxnSpPr>
              <a:cxnSpLocks/>
            </p:cNvCxnSpPr>
            <p:nvPr/>
          </p:nvCxnSpPr>
          <p:spPr>
            <a:xfrm>
              <a:off x="655377" y="2096748"/>
              <a:ext cx="6208211" cy="8549"/>
            </a:xfrm>
            <a:prstGeom prst="line">
              <a:avLst/>
            </a:prstGeom>
            <a:ln w="136525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4" name="Дуга 933">
              <a:extLst>
                <a:ext uri="{FF2B5EF4-FFF2-40B4-BE49-F238E27FC236}">
                  <a16:creationId xmlns:a16="http://schemas.microsoft.com/office/drawing/2014/main" id="{4FF5526D-C05C-4B50-AD2C-623BD32DE0AC}"/>
                </a:ext>
              </a:extLst>
            </p:cNvPr>
            <p:cNvSpPr/>
            <p:nvPr/>
          </p:nvSpPr>
          <p:spPr>
            <a:xfrm flipH="1">
              <a:off x="8490940" y="2096063"/>
              <a:ext cx="1857537" cy="1759861"/>
            </a:xfrm>
            <a:prstGeom prst="arc">
              <a:avLst>
                <a:gd name="adj1" fmla="val 5449957"/>
                <a:gd name="adj2" fmla="val 16208867"/>
              </a:avLst>
            </a:prstGeom>
            <a:ln w="136525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cxnSp>
          <p:nvCxnSpPr>
            <p:cNvPr id="243" name="Straight Connector 34">
              <a:extLst>
                <a:ext uri="{FF2B5EF4-FFF2-40B4-BE49-F238E27FC236}">
                  <a16:creationId xmlns:a16="http://schemas.microsoft.com/office/drawing/2014/main" id="{B796F58A-1091-43E4-8E80-389EAD9E3F9A}"/>
                </a:ext>
              </a:extLst>
            </p:cNvPr>
            <p:cNvCxnSpPr>
              <a:cxnSpLocks/>
              <a:endCxn id="934" idx="0"/>
            </p:cNvCxnSpPr>
            <p:nvPr/>
          </p:nvCxnSpPr>
          <p:spPr>
            <a:xfrm>
              <a:off x="8278652" y="3851288"/>
              <a:ext cx="1153843" cy="4553"/>
            </a:xfrm>
            <a:prstGeom prst="line">
              <a:avLst/>
            </a:prstGeom>
            <a:ln w="136525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7" name="Прямоугольник 936">
              <a:extLst>
                <a:ext uri="{FF2B5EF4-FFF2-40B4-BE49-F238E27FC236}">
                  <a16:creationId xmlns:a16="http://schemas.microsoft.com/office/drawing/2014/main" id="{DC95A62B-54B7-4119-843E-A8CA9EF4BE3E}"/>
                </a:ext>
              </a:extLst>
            </p:cNvPr>
            <p:cNvSpPr/>
            <p:nvPr/>
          </p:nvSpPr>
          <p:spPr>
            <a:xfrm>
              <a:off x="2249052" y="882755"/>
              <a:ext cx="1968275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СК-Ф </a:t>
              </a:r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для заключения ДД формирует </a:t>
              </a:r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перечень </a:t>
              </a:r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ЛС и МИ и направляет в НЦЭЛС</a:t>
              </a:r>
            </a:p>
            <a:p>
              <a:pPr algn="ctr"/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(ежегодно не позднее</a:t>
              </a:r>
            </a:p>
            <a:p>
              <a:pPr algn="ctr"/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 1 июня)</a:t>
              </a:r>
              <a:endParaRPr lang="ru-RU" sz="10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281" name="Прямоугольник 280">
              <a:extLst>
                <a:ext uri="{FF2B5EF4-FFF2-40B4-BE49-F238E27FC236}">
                  <a16:creationId xmlns:a16="http://schemas.microsoft.com/office/drawing/2014/main" id="{0E16A89E-D1C9-4283-815F-E7AFDE5FA78B}"/>
                </a:ext>
              </a:extLst>
            </p:cNvPr>
            <p:cNvSpPr/>
            <p:nvPr/>
          </p:nvSpPr>
          <p:spPr>
            <a:xfrm>
              <a:off x="7543612" y="2919049"/>
              <a:ext cx="1876096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СК-Ф создает конкурсную комиссию на заключение ДД с ЗКП</a:t>
              </a:r>
            </a:p>
          </p:txBody>
        </p:sp>
        <p:sp>
          <p:nvSpPr>
            <p:cNvPr id="307" name="Дуга 306">
              <a:extLst>
                <a:ext uri="{FF2B5EF4-FFF2-40B4-BE49-F238E27FC236}">
                  <a16:creationId xmlns:a16="http://schemas.microsoft.com/office/drawing/2014/main" id="{FEB9E3D5-0364-4B20-ADC8-6CEC960ED542}"/>
                </a:ext>
              </a:extLst>
            </p:cNvPr>
            <p:cNvSpPr/>
            <p:nvPr/>
          </p:nvSpPr>
          <p:spPr>
            <a:xfrm>
              <a:off x="378183" y="3865016"/>
              <a:ext cx="1978503" cy="1759861"/>
            </a:xfrm>
            <a:prstGeom prst="arc">
              <a:avLst>
                <a:gd name="adj1" fmla="val 5449957"/>
                <a:gd name="adj2" fmla="val 16208867"/>
              </a:avLst>
            </a:prstGeom>
            <a:ln w="136525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cxnSp>
          <p:nvCxnSpPr>
            <p:cNvPr id="310" name="Straight Connector 34">
              <a:extLst>
                <a:ext uri="{FF2B5EF4-FFF2-40B4-BE49-F238E27FC236}">
                  <a16:creationId xmlns:a16="http://schemas.microsoft.com/office/drawing/2014/main" id="{E968E0CA-B5F4-419A-99E3-350031FDE4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27210" y="5606936"/>
              <a:ext cx="3913265" cy="15362"/>
            </a:xfrm>
            <a:prstGeom prst="line">
              <a:avLst/>
            </a:prstGeom>
            <a:ln w="136525">
              <a:solidFill>
                <a:srgbClr val="01B0CC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1" name="TextBox 310">
              <a:extLst>
                <a:ext uri="{FF2B5EF4-FFF2-40B4-BE49-F238E27FC236}">
                  <a16:creationId xmlns:a16="http://schemas.microsoft.com/office/drawing/2014/main" id="{8842B776-FC89-4E0A-A2E1-69A28A069DE5}"/>
                </a:ext>
              </a:extLst>
            </p:cNvPr>
            <p:cNvSpPr txBox="1"/>
            <p:nvPr/>
          </p:nvSpPr>
          <p:spPr>
            <a:xfrm>
              <a:off x="2249052" y="4520916"/>
              <a:ext cx="189621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ЗКП уведомляет СК-Ф о готовности к поставке </a:t>
              </a:r>
            </a:p>
            <a:p>
              <a:pPr algn="ctr"/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(не более 2 лет с момента заключения ДД)</a:t>
              </a:r>
              <a:endParaRPr lang="ru-RU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313" name="TextBox 312">
              <a:extLst>
                <a:ext uri="{FF2B5EF4-FFF2-40B4-BE49-F238E27FC236}">
                  <a16:creationId xmlns:a16="http://schemas.microsoft.com/office/drawing/2014/main" id="{57F60FEB-F54C-4C41-8877-B964E5C845FA}"/>
                </a:ext>
              </a:extLst>
            </p:cNvPr>
            <p:cNvSpPr txBox="1"/>
            <p:nvPr/>
          </p:nvSpPr>
          <p:spPr>
            <a:xfrm>
              <a:off x="4285130" y="4643285"/>
              <a:ext cx="168515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СК-Ф информирует МЗ РК о готовности </a:t>
              </a:r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поставки ЗКП по ДД</a:t>
              </a:r>
              <a:endParaRPr lang="ru-RU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315" name="TextBox 314">
              <a:extLst>
                <a:ext uri="{FF2B5EF4-FFF2-40B4-BE49-F238E27FC236}">
                  <a16:creationId xmlns:a16="http://schemas.microsoft.com/office/drawing/2014/main" id="{7AE17432-C100-40DE-B508-E6999621A293}"/>
                </a:ext>
              </a:extLst>
            </p:cNvPr>
            <p:cNvSpPr txBox="1"/>
            <p:nvPr/>
          </p:nvSpPr>
          <p:spPr>
            <a:xfrm>
              <a:off x="6338483" y="4854097"/>
              <a:ext cx="170464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МЗ </a:t>
              </a:r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Р</a:t>
              </a:r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К включает ЛС и МИ в Список ЕД</a:t>
              </a:r>
            </a:p>
          </p:txBody>
        </p:sp>
        <p:sp>
          <p:nvSpPr>
            <p:cNvPr id="319" name="TextBox 318">
              <a:extLst>
                <a:ext uri="{FF2B5EF4-FFF2-40B4-BE49-F238E27FC236}">
                  <a16:creationId xmlns:a16="http://schemas.microsoft.com/office/drawing/2014/main" id="{D025EBBC-6E6E-45BC-9338-62CD5DF6E9B0}"/>
                </a:ext>
              </a:extLst>
            </p:cNvPr>
            <p:cNvSpPr txBox="1"/>
            <p:nvPr/>
          </p:nvSpPr>
          <p:spPr>
            <a:xfrm>
              <a:off x="10488271" y="4513341"/>
              <a:ext cx="1655216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СК-Ф заключает дополнительное соглашение по ДД с ЗКП</a:t>
              </a:r>
              <a:endParaRPr lang="ru-RU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FD433CF5-A1A1-4EAA-9989-030975A76603}"/>
                </a:ext>
              </a:extLst>
            </p:cNvPr>
            <p:cNvSpPr txBox="1"/>
            <p:nvPr/>
          </p:nvSpPr>
          <p:spPr>
            <a:xfrm>
              <a:off x="484316" y="4188029"/>
              <a:ext cx="1732505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СК-Ф публикует протокол </a:t>
              </a:r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итогов </a:t>
              </a:r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на </a:t>
              </a:r>
              <a:r>
                <a:rPr lang="ru-RU" sz="1000" b="1" dirty="0" err="1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интернет-ресурсе</a:t>
              </a:r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 </a:t>
              </a:r>
            </a:p>
            <a:p>
              <a:pPr algn="ctr"/>
              <a:r>
                <a:rPr lang="en-US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  <a:hlinkClick r:id="rId2"/>
                </a:rPr>
                <a:t>https://sk-pharmacy.kz</a:t>
              </a:r>
              <a:endParaRPr lang="kk-KZ" sz="10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  <a:p>
              <a:pPr algn="ctr"/>
              <a:r>
                <a:rPr lang="ru-RU" sz="1000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( в течении 3 </a:t>
              </a:r>
              <a:r>
                <a:rPr lang="ru-RU" sz="1000" dirty="0" err="1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р.д</a:t>
              </a:r>
              <a:r>
                <a:rPr lang="ru-RU" sz="1000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. со дня подведения итогов конкурса)</a:t>
              </a:r>
              <a:endParaRPr lang="id-ID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cxnSp>
          <p:nvCxnSpPr>
            <p:cNvPr id="337" name="Straight Connector 34">
              <a:extLst>
                <a:ext uri="{FF2B5EF4-FFF2-40B4-BE49-F238E27FC236}">
                  <a16:creationId xmlns:a16="http://schemas.microsoft.com/office/drawing/2014/main" id="{EC621C7F-0B7E-4EDF-991C-44069D7AE6E3}"/>
                </a:ext>
              </a:extLst>
            </p:cNvPr>
            <p:cNvCxnSpPr>
              <a:cxnSpLocks/>
              <a:stCxn id="54" idx="1"/>
            </p:cNvCxnSpPr>
            <p:nvPr/>
          </p:nvCxnSpPr>
          <p:spPr>
            <a:xfrm>
              <a:off x="6721343" y="2096062"/>
              <a:ext cx="2829030" cy="6639"/>
            </a:xfrm>
            <a:prstGeom prst="line">
              <a:avLst/>
            </a:prstGeom>
            <a:ln w="136525">
              <a:solidFill>
                <a:srgbClr val="DB8B5A"/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9" name="Straight Connector 34">
              <a:extLst>
                <a:ext uri="{FF2B5EF4-FFF2-40B4-BE49-F238E27FC236}">
                  <a16:creationId xmlns:a16="http://schemas.microsoft.com/office/drawing/2014/main" id="{1B1B0269-1B39-4A3F-834A-0C02F5B869F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14046" y="3846744"/>
              <a:ext cx="2543944" cy="9142"/>
            </a:xfrm>
            <a:prstGeom prst="line">
              <a:avLst/>
            </a:prstGeom>
            <a:ln w="136525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2" name="Straight Connector 34">
              <a:extLst>
                <a:ext uri="{FF2B5EF4-FFF2-40B4-BE49-F238E27FC236}">
                  <a16:creationId xmlns:a16="http://schemas.microsoft.com/office/drawing/2014/main" id="{2C3D5051-B8E2-4AE4-B186-E02C45385EA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53307" y="3855850"/>
              <a:ext cx="3095264" cy="812"/>
            </a:xfrm>
            <a:prstGeom prst="line">
              <a:avLst/>
            </a:prstGeom>
            <a:ln w="136525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5" name="Oval 19">
              <a:extLst>
                <a:ext uri="{FF2B5EF4-FFF2-40B4-BE49-F238E27FC236}">
                  <a16:creationId xmlns:a16="http://schemas.microsoft.com/office/drawing/2014/main" id="{92CF7CED-4202-4442-BE83-CF062CF0CCE3}"/>
                </a:ext>
              </a:extLst>
            </p:cNvPr>
            <p:cNvSpPr/>
            <p:nvPr/>
          </p:nvSpPr>
          <p:spPr>
            <a:xfrm>
              <a:off x="7528631" y="1693388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DB8A59"/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4 </a:t>
              </a:r>
            </a:p>
          </p:txBody>
        </p:sp>
        <p:sp>
          <p:nvSpPr>
            <p:cNvPr id="326" name="Oval 19">
              <a:extLst>
                <a:ext uri="{FF2B5EF4-FFF2-40B4-BE49-F238E27FC236}">
                  <a16:creationId xmlns:a16="http://schemas.microsoft.com/office/drawing/2014/main" id="{AB3D7A92-7ADD-41CC-AFE7-60FFE6A3E278}"/>
                </a:ext>
              </a:extLst>
            </p:cNvPr>
            <p:cNvSpPr/>
            <p:nvPr/>
          </p:nvSpPr>
          <p:spPr>
            <a:xfrm>
              <a:off x="4615873" y="5295799"/>
              <a:ext cx="1028999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12</a:t>
              </a:r>
              <a:endParaRPr lang="ru-RU" sz="1100" dirty="0" smtClean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327" name="Oval 19">
              <a:extLst>
                <a:ext uri="{FF2B5EF4-FFF2-40B4-BE49-F238E27FC236}">
                  <a16:creationId xmlns:a16="http://schemas.microsoft.com/office/drawing/2014/main" id="{362C4D8E-8A96-4D81-B28D-84A62A4EBB92}"/>
                </a:ext>
              </a:extLst>
            </p:cNvPr>
            <p:cNvSpPr/>
            <p:nvPr/>
          </p:nvSpPr>
          <p:spPr>
            <a:xfrm>
              <a:off x="8865855" y="5321802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1">
                  <a:lumMod val="60000"/>
                  <a:lumOff val="40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14</a:t>
              </a:r>
              <a:endParaRPr lang="en-IN" b="1" dirty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328" name="Oval 19">
              <a:extLst>
                <a:ext uri="{FF2B5EF4-FFF2-40B4-BE49-F238E27FC236}">
                  <a16:creationId xmlns:a16="http://schemas.microsoft.com/office/drawing/2014/main" id="{9284CFD9-491B-4618-BDA4-303A57CFCDD6}"/>
                </a:ext>
              </a:extLst>
            </p:cNvPr>
            <p:cNvSpPr/>
            <p:nvPr/>
          </p:nvSpPr>
          <p:spPr>
            <a:xfrm>
              <a:off x="10825010" y="5302398"/>
              <a:ext cx="1028997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1">
                  <a:lumMod val="60000"/>
                  <a:lumOff val="40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15</a:t>
              </a:r>
              <a:endParaRPr lang="en-IN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280" name="Oval 19">
              <a:extLst>
                <a:ext uri="{FF2B5EF4-FFF2-40B4-BE49-F238E27FC236}">
                  <a16:creationId xmlns:a16="http://schemas.microsoft.com/office/drawing/2014/main" id="{893E5142-6E55-4A1D-A899-94C411BB60B0}"/>
                </a:ext>
              </a:extLst>
            </p:cNvPr>
            <p:cNvSpPr/>
            <p:nvPr/>
          </p:nvSpPr>
          <p:spPr>
            <a:xfrm>
              <a:off x="7909452" y="3559122"/>
              <a:ext cx="1028998" cy="628907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6 </a:t>
              </a:r>
            </a:p>
          </p:txBody>
        </p:sp>
        <p:sp>
          <p:nvSpPr>
            <p:cNvPr id="54" name="Стрелка: шеврон 53">
              <a:extLst>
                <a:ext uri="{FF2B5EF4-FFF2-40B4-BE49-F238E27FC236}">
                  <a16:creationId xmlns:a16="http://schemas.microsoft.com/office/drawing/2014/main" id="{39C05B9A-62E2-4979-B7B1-727A88726D8E}"/>
                </a:ext>
              </a:extLst>
            </p:cNvPr>
            <p:cNvSpPr/>
            <p:nvPr/>
          </p:nvSpPr>
          <p:spPr>
            <a:xfrm>
              <a:off x="6746709" y="1968869"/>
              <a:ext cx="235018" cy="254386"/>
            </a:xfrm>
            <a:prstGeom prst="chevron">
              <a:avLst/>
            </a:prstGeom>
            <a:solidFill>
              <a:schemeClr val="bg1"/>
            </a:solidFill>
            <a:ln w="12700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55" name="Стрелка: шеврон 54">
              <a:extLst>
                <a:ext uri="{FF2B5EF4-FFF2-40B4-BE49-F238E27FC236}">
                  <a16:creationId xmlns:a16="http://schemas.microsoft.com/office/drawing/2014/main" id="{F58E270B-32B8-4FE7-9940-25659A39F3EA}"/>
                </a:ext>
              </a:extLst>
            </p:cNvPr>
            <p:cNvSpPr/>
            <p:nvPr/>
          </p:nvSpPr>
          <p:spPr>
            <a:xfrm>
              <a:off x="9315355" y="1986923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DB8B5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56" name="Стрелка: шеврон 55">
              <a:extLst>
                <a:ext uri="{FF2B5EF4-FFF2-40B4-BE49-F238E27FC236}">
                  <a16:creationId xmlns:a16="http://schemas.microsoft.com/office/drawing/2014/main" id="{526A4892-B459-418C-B6FC-340ABE982615}"/>
                </a:ext>
              </a:extLst>
            </p:cNvPr>
            <p:cNvSpPr/>
            <p:nvPr/>
          </p:nvSpPr>
          <p:spPr>
            <a:xfrm rot="10354895">
              <a:off x="9352090" y="3721295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57" name="Стрелка: шеврон 56">
              <a:extLst>
                <a:ext uri="{FF2B5EF4-FFF2-40B4-BE49-F238E27FC236}">
                  <a16:creationId xmlns:a16="http://schemas.microsoft.com/office/drawing/2014/main" id="{219DA0A4-E780-4232-B30B-C1F2B41F79A7}"/>
                </a:ext>
              </a:extLst>
            </p:cNvPr>
            <p:cNvSpPr/>
            <p:nvPr/>
          </p:nvSpPr>
          <p:spPr>
            <a:xfrm rot="10800000">
              <a:off x="7200015" y="3747709"/>
              <a:ext cx="235018" cy="21624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62" name="Стрелка: шеврон 61">
              <a:extLst>
                <a:ext uri="{FF2B5EF4-FFF2-40B4-BE49-F238E27FC236}">
                  <a16:creationId xmlns:a16="http://schemas.microsoft.com/office/drawing/2014/main" id="{BD525210-F22A-47CA-8BCC-30BDBA9FC58C}"/>
                </a:ext>
              </a:extLst>
            </p:cNvPr>
            <p:cNvSpPr/>
            <p:nvPr/>
          </p:nvSpPr>
          <p:spPr>
            <a:xfrm flipH="1">
              <a:off x="1711223" y="3729607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63" name="Стрелка: шеврон 62">
              <a:extLst>
                <a:ext uri="{FF2B5EF4-FFF2-40B4-BE49-F238E27FC236}">
                  <a16:creationId xmlns:a16="http://schemas.microsoft.com/office/drawing/2014/main" id="{FFC8B245-F42B-44EE-B8B7-78E604E002E5}"/>
                </a:ext>
              </a:extLst>
            </p:cNvPr>
            <p:cNvSpPr/>
            <p:nvPr/>
          </p:nvSpPr>
          <p:spPr>
            <a:xfrm>
              <a:off x="3952411" y="5509420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64" name="Стрелка: шеврон 63">
              <a:extLst>
                <a:ext uri="{FF2B5EF4-FFF2-40B4-BE49-F238E27FC236}">
                  <a16:creationId xmlns:a16="http://schemas.microsoft.com/office/drawing/2014/main" id="{B2C0FC39-72A8-4D64-914C-09D2E26C1414}"/>
                </a:ext>
              </a:extLst>
            </p:cNvPr>
            <p:cNvSpPr/>
            <p:nvPr/>
          </p:nvSpPr>
          <p:spPr>
            <a:xfrm>
              <a:off x="8122972" y="5509420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65" name="Стрелка: шеврон 64">
              <a:extLst>
                <a:ext uri="{FF2B5EF4-FFF2-40B4-BE49-F238E27FC236}">
                  <a16:creationId xmlns:a16="http://schemas.microsoft.com/office/drawing/2014/main" id="{090B1585-C360-42D1-8B01-95B88B191235}"/>
                </a:ext>
              </a:extLst>
            </p:cNvPr>
            <p:cNvSpPr/>
            <p:nvPr/>
          </p:nvSpPr>
          <p:spPr>
            <a:xfrm>
              <a:off x="10281803" y="5488518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01B0CC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73" name="Прямоугольник 72">
              <a:extLst>
                <a:ext uri="{FF2B5EF4-FFF2-40B4-BE49-F238E27FC236}">
                  <a16:creationId xmlns:a16="http://schemas.microsoft.com/office/drawing/2014/main" id="{C37144B2-00A3-48A5-9D8A-160B06543371}"/>
                </a:ext>
              </a:extLst>
            </p:cNvPr>
            <p:cNvSpPr/>
            <p:nvPr/>
          </p:nvSpPr>
          <p:spPr>
            <a:xfrm>
              <a:off x="296792" y="2957889"/>
              <a:ext cx="1369545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Рассмотрение конкурсных заявок</a:t>
              </a:r>
            </a:p>
          </p:txBody>
        </p:sp>
        <p:sp>
          <p:nvSpPr>
            <p:cNvPr id="75" name="Прямоугольник 74">
              <a:extLst>
                <a:ext uri="{FF2B5EF4-FFF2-40B4-BE49-F238E27FC236}">
                  <a16:creationId xmlns:a16="http://schemas.microsoft.com/office/drawing/2014/main" id="{570BE6D3-6415-4247-9785-91ED7817712B}"/>
                </a:ext>
              </a:extLst>
            </p:cNvPr>
            <p:cNvSpPr/>
            <p:nvPr/>
          </p:nvSpPr>
          <p:spPr>
            <a:xfrm>
              <a:off x="1854047" y="2533882"/>
              <a:ext cx="1935425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СК-Ф публикует протокол вскрытия заявок на </a:t>
              </a:r>
              <a:r>
                <a:rPr lang="ru-RU" sz="1000" b="1" dirty="0" err="1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интернет-ресурсе</a:t>
              </a:r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 </a:t>
              </a:r>
            </a:p>
            <a:p>
              <a:pPr algn="ctr"/>
              <a:r>
                <a:rPr lang="en-US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  <a:hlinkClick r:id="rId2"/>
                </a:rPr>
                <a:t>https://</a:t>
              </a:r>
              <a:r>
                <a:rPr lang="en-US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  <a:hlinkClick r:id="rId2"/>
                </a:rPr>
                <a:t>sk-pharmacy.kz</a:t>
              </a:r>
              <a:endParaRPr lang="kk-KZ" sz="100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  <a:p>
              <a:pPr algn="ctr"/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( в течении 3 </a:t>
              </a:r>
              <a:r>
                <a:rPr lang="ru-RU" sz="1000" dirty="0" err="1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р.д</a:t>
              </a:r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. с даты вскрытия конвертов)</a:t>
              </a:r>
              <a:endParaRPr lang="id-ID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  <a:p>
              <a:pPr algn="ctr"/>
              <a:r>
                <a:rPr lang="kk-KZ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 </a:t>
              </a:r>
              <a:r>
                <a:rPr lang="en-US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 </a:t>
              </a:r>
              <a:r>
                <a:rPr lang="kk-KZ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 </a:t>
              </a:r>
              <a:endParaRPr lang="en-US" sz="10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76" name="Oval 19">
              <a:extLst>
                <a:ext uri="{FF2B5EF4-FFF2-40B4-BE49-F238E27FC236}">
                  <a16:creationId xmlns:a16="http://schemas.microsoft.com/office/drawing/2014/main" id="{FD08B64B-8298-4970-AB55-3C500F499F0B}"/>
                </a:ext>
              </a:extLst>
            </p:cNvPr>
            <p:cNvSpPr/>
            <p:nvPr/>
          </p:nvSpPr>
          <p:spPr>
            <a:xfrm>
              <a:off x="2204817" y="3539575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9</a:t>
              </a:r>
              <a:endParaRPr lang="en-IN" sz="11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83" name="Прямоугольник 82">
              <a:extLst>
                <a:ext uri="{FF2B5EF4-FFF2-40B4-BE49-F238E27FC236}">
                  <a16:creationId xmlns:a16="http://schemas.microsoft.com/office/drawing/2014/main" id="{AA29E86C-8648-49C2-9FA0-D98234235A42}"/>
                </a:ext>
              </a:extLst>
            </p:cNvPr>
            <p:cNvSpPr/>
            <p:nvPr/>
          </p:nvSpPr>
          <p:spPr>
            <a:xfrm>
              <a:off x="10681533" y="1989238"/>
              <a:ext cx="1414632" cy="1631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МЗ представляет в СК-Ф согласованный перечень ЛС и МИ</a:t>
              </a:r>
            </a:p>
            <a:p>
              <a:pPr algn="ctr"/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 </a:t>
              </a:r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(10 </a:t>
              </a:r>
              <a:r>
                <a:rPr lang="ru-RU" sz="1000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рабочих дней момента получения рассмотренного формулярной комиссией )</a:t>
              </a:r>
              <a:endParaRPr lang="id-ID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70" name="Прямоугольник 69">
              <a:extLst>
                <a:ext uri="{FF2B5EF4-FFF2-40B4-BE49-F238E27FC236}">
                  <a16:creationId xmlns:a16="http://schemas.microsoft.com/office/drawing/2014/main" id="{AA29E86C-8648-49C2-9FA0-D98234235A42}"/>
                </a:ext>
              </a:extLst>
            </p:cNvPr>
            <p:cNvSpPr/>
            <p:nvPr/>
          </p:nvSpPr>
          <p:spPr>
            <a:xfrm>
              <a:off x="7283746" y="952675"/>
              <a:ext cx="1608292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СК-Ф направляет в</a:t>
              </a:r>
              <a:endParaRPr lang="ru-RU" sz="10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МЗРК перечень ЛС и МИ для согласования</a:t>
              </a:r>
            </a:p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 </a:t>
              </a:r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(5 рабочих дней)</a:t>
              </a:r>
              <a:endParaRPr lang="id-ID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 </a:t>
              </a:r>
              <a:endParaRPr lang="ru-RU" sz="10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643670" y="5345110"/>
              <a:ext cx="658425" cy="658425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6644432">
              <a:off x="6883" y="4441287"/>
              <a:ext cx="658425" cy="658425"/>
            </a:xfrm>
            <a:prstGeom prst="rect">
              <a:avLst/>
            </a:prstGeom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7122908">
              <a:off x="4946949" y="3376759"/>
              <a:ext cx="902286" cy="896190"/>
            </a:xfrm>
            <a:prstGeom prst="rect">
              <a:avLst/>
            </a:prstGeom>
          </p:spPr>
        </p:pic>
        <p:sp>
          <p:nvSpPr>
            <p:cNvPr id="60" name="Прямоугольник 59">
              <a:extLst>
                <a:ext uri="{FF2B5EF4-FFF2-40B4-BE49-F238E27FC236}">
                  <a16:creationId xmlns:a16="http://schemas.microsoft.com/office/drawing/2014/main" id="{DC95A62B-54B7-4119-843E-A8CA9EF4BE3E}"/>
                </a:ext>
              </a:extLst>
            </p:cNvPr>
            <p:cNvSpPr/>
            <p:nvPr/>
          </p:nvSpPr>
          <p:spPr>
            <a:xfrm>
              <a:off x="85039" y="1098739"/>
              <a:ext cx="1677193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ЗКП </a:t>
              </a:r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направляют </a:t>
              </a:r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заявку-намерение </a:t>
              </a:r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в СК-Ф </a:t>
              </a:r>
              <a:endParaRPr lang="ru-RU" sz="100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61" name="Стрелка: шеврон 53">
              <a:extLst>
                <a:ext uri="{FF2B5EF4-FFF2-40B4-BE49-F238E27FC236}">
                  <a16:creationId xmlns:a16="http://schemas.microsoft.com/office/drawing/2014/main" id="{39C05B9A-62E2-4979-B7B1-727A88726D8E}"/>
                </a:ext>
              </a:extLst>
            </p:cNvPr>
            <p:cNvSpPr/>
            <p:nvPr/>
          </p:nvSpPr>
          <p:spPr>
            <a:xfrm>
              <a:off x="1922358" y="1960549"/>
              <a:ext cx="235018" cy="254386"/>
            </a:xfrm>
            <a:prstGeom prst="chevron">
              <a:avLst/>
            </a:prstGeom>
            <a:solidFill>
              <a:schemeClr val="bg1"/>
            </a:solidFill>
            <a:ln w="12700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79" name="Oval 19">
              <a:extLst>
                <a:ext uri="{FF2B5EF4-FFF2-40B4-BE49-F238E27FC236}">
                  <a16:creationId xmlns:a16="http://schemas.microsoft.com/office/drawing/2014/main" id="{AB3D7A92-7ADD-41CC-AFE7-60FFE6A3E278}"/>
                </a:ext>
              </a:extLst>
            </p:cNvPr>
            <p:cNvSpPr/>
            <p:nvPr/>
          </p:nvSpPr>
          <p:spPr>
            <a:xfrm>
              <a:off x="6638677" y="5350536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13</a:t>
              </a:r>
              <a:endParaRPr lang="en-IN" sz="1100" b="1" dirty="0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4" name="Прямоугольник 3"/>
            <p:cNvSpPr/>
            <p:nvPr/>
          </p:nvSpPr>
          <p:spPr>
            <a:xfrm>
              <a:off x="8278652" y="4395682"/>
              <a:ext cx="2222937" cy="8617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СК-Ф проводит переговоры с ЗКП </a:t>
              </a:r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по определению окончательной цены поставки на соответствующий финансовый год</a:t>
              </a:r>
              <a:endParaRPr lang="ru-RU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81" name="Стрелка: шеврон 62">
              <a:extLst>
                <a:ext uri="{FF2B5EF4-FFF2-40B4-BE49-F238E27FC236}">
                  <a16:creationId xmlns:a16="http://schemas.microsoft.com/office/drawing/2014/main" id="{FFC8B245-F42B-44EE-B8B7-78E604E002E5}"/>
                </a:ext>
              </a:extLst>
            </p:cNvPr>
            <p:cNvSpPr/>
            <p:nvPr/>
          </p:nvSpPr>
          <p:spPr>
            <a:xfrm>
              <a:off x="6039131" y="5509420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77" name="Oval 19">
              <a:extLst>
                <a:ext uri="{FF2B5EF4-FFF2-40B4-BE49-F238E27FC236}">
                  <a16:creationId xmlns:a16="http://schemas.microsoft.com/office/drawing/2014/main" id="{92CF7CED-4202-4442-BE83-CF062CF0CCE3}"/>
                </a:ext>
              </a:extLst>
            </p:cNvPr>
            <p:cNvSpPr/>
            <p:nvPr/>
          </p:nvSpPr>
          <p:spPr>
            <a:xfrm>
              <a:off x="5162251" y="1734105"/>
              <a:ext cx="1111897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3</a:t>
              </a:r>
              <a:endParaRPr lang="en-IN" sz="600" dirty="0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82" name="Стрелка: шеврон 53">
              <a:extLst>
                <a:ext uri="{FF2B5EF4-FFF2-40B4-BE49-F238E27FC236}">
                  <a16:creationId xmlns:a16="http://schemas.microsoft.com/office/drawing/2014/main" id="{39C05B9A-62E2-4979-B7B1-727A88726D8E}"/>
                </a:ext>
              </a:extLst>
            </p:cNvPr>
            <p:cNvSpPr/>
            <p:nvPr/>
          </p:nvSpPr>
          <p:spPr>
            <a:xfrm>
              <a:off x="4339231" y="1960549"/>
              <a:ext cx="235018" cy="254386"/>
            </a:xfrm>
            <a:prstGeom prst="chevron">
              <a:avLst/>
            </a:prstGeom>
            <a:solidFill>
              <a:schemeClr val="bg1"/>
            </a:solidFill>
            <a:ln w="12700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84" name="Прямоугольник 83">
              <a:extLst>
                <a:ext uri="{FF2B5EF4-FFF2-40B4-BE49-F238E27FC236}">
                  <a16:creationId xmlns:a16="http://schemas.microsoft.com/office/drawing/2014/main" id="{DC95A62B-54B7-4119-843E-A8CA9EF4BE3E}"/>
                </a:ext>
              </a:extLst>
            </p:cNvPr>
            <p:cNvSpPr/>
            <p:nvPr/>
          </p:nvSpPr>
          <p:spPr>
            <a:xfrm>
              <a:off x="4637485" y="918924"/>
              <a:ext cx="2226103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НЦЭЛС направляет в СК-Ф список оригинальных ЛС, биоаналогичных ЛС</a:t>
              </a:r>
            </a:p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перечень в МЗРК</a:t>
              </a:r>
              <a:endParaRPr lang="ru-RU" sz="10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  <a:p>
              <a:pPr algn="ctr"/>
              <a:r>
                <a:rPr lang="ru-RU" sz="1000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(10 рабочих дней)</a:t>
              </a:r>
              <a:endParaRPr lang="id-ID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85" name="Oval 19">
              <a:extLst>
                <a:ext uri="{FF2B5EF4-FFF2-40B4-BE49-F238E27FC236}">
                  <a16:creationId xmlns:a16="http://schemas.microsoft.com/office/drawing/2014/main" id="{92CF7CED-4202-4442-BE83-CF062CF0CCE3}"/>
                </a:ext>
              </a:extLst>
            </p:cNvPr>
            <p:cNvSpPr/>
            <p:nvPr/>
          </p:nvSpPr>
          <p:spPr>
            <a:xfrm>
              <a:off x="2685360" y="1724864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2</a:t>
              </a:r>
              <a:endParaRPr lang="en-IN" sz="800" dirty="0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86" name="Oval 19">
              <a:extLst>
                <a:ext uri="{FF2B5EF4-FFF2-40B4-BE49-F238E27FC236}">
                  <a16:creationId xmlns:a16="http://schemas.microsoft.com/office/drawing/2014/main" id="{92CF7CED-4202-4442-BE83-CF062CF0CCE3}"/>
                </a:ext>
              </a:extLst>
            </p:cNvPr>
            <p:cNvSpPr/>
            <p:nvPr/>
          </p:nvSpPr>
          <p:spPr>
            <a:xfrm>
              <a:off x="398236" y="1695677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1</a:t>
              </a:r>
              <a:endParaRPr lang="en-IN" sz="800" dirty="0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87" name="Oval 19">
              <a:extLst>
                <a:ext uri="{FF2B5EF4-FFF2-40B4-BE49-F238E27FC236}">
                  <a16:creationId xmlns:a16="http://schemas.microsoft.com/office/drawing/2014/main" id="{92CF7CED-4202-4442-BE83-CF062CF0CCE3}"/>
                </a:ext>
              </a:extLst>
            </p:cNvPr>
            <p:cNvSpPr/>
            <p:nvPr/>
          </p:nvSpPr>
          <p:spPr>
            <a:xfrm>
              <a:off x="9753549" y="2570957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5</a:t>
              </a:r>
            </a:p>
          </p:txBody>
        </p:sp>
        <p:sp>
          <p:nvSpPr>
            <p:cNvPr id="88" name="Oval 19">
              <a:extLst>
                <a:ext uri="{FF2B5EF4-FFF2-40B4-BE49-F238E27FC236}">
                  <a16:creationId xmlns:a16="http://schemas.microsoft.com/office/drawing/2014/main" id="{893E5142-6E55-4A1D-A899-94C411BB60B0}"/>
                </a:ext>
              </a:extLst>
            </p:cNvPr>
            <p:cNvSpPr/>
            <p:nvPr/>
          </p:nvSpPr>
          <p:spPr>
            <a:xfrm>
              <a:off x="5860627" y="3532900"/>
              <a:ext cx="1028998" cy="628907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7</a:t>
              </a:r>
            </a:p>
          </p:txBody>
        </p:sp>
        <p:sp>
          <p:nvSpPr>
            <p:cNvPr id="89" name="Oval 19">
              <a:extLst>
                <a:ext uri="{FF2B5EF4-FFF2-40B4-BE49-F238E27FC236}">
                  <a16:creationId xmlns:a16="http://schemas.microsoft.com/office/drawing/2014/main" id="{FD08B64B-8298-4970-AB55-3C500F499F0B}"/>
                </a:ext>
              </a:extLst>
            </p:cNvPr>
            <p:cNvSpPr/>
            <p:nvPr/>
          </p:nvSpPr>
          <p:spPr>
            <a:xfrm>
              <a:off x="385973" y="3566236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9</a:t>
              </a:r>
              <a:endParaRPr lang="en-IN" sz="11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90" name="Oval 19">
              <a:extLst>
                <a:ext uri="{FF2B5EF4-FFF2-40B4-BE49-F238E27FC236}">
                  <a16:creationId xmlns:a16="http://schemas.microsoft.com/office/drawing/2014/main" id="{FD08B64B-8298-4970-AB55-3C500F499F0B}"/>
                </a:ext>
              </a:extLst>
            </p:cNvPr>
            <p:cNvSpPr/>
            <p:nvPr/>
          </p:nvSpPr>
          <p:spPr>
            <a:xfrm>
              <a:off x="420008" y="5295799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10</a:t>
              </a:r>
              <a:endParaRPr lang="en-IN" sz="11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91" name="Oval 19">
              <a:extLst>
                <a:ext uri="{FF2B5EF4-FFF2-40B4-BE49-F238E27FC236}">
                  <a16:creationId xmlns:a16="http://schemas.microsoft.com/office/drawing/2014/main" id="{FD08B64B-8298-4970-AB55-3C500F499F0B}"/>
                </a:ext>
              </a:extLst>
            </p:cNvPr>
            <p:cNvSpPr/>
            <p:nvPr/>
          </p:nvSpPr>
          <p:spPr>
            <a:xfrm>
              <a:off x="2452344" y="5302462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11</a:t>
              </a:r>
              <a:endParaRPr lang="en-IN" sz="11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</p:grp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AA29E86C-8648-49C2-9FA0-D98234235A42}"/>
              </a:ext>
            </a:extLst>
          </p:cNvPr>
          <p:cNvSpPr/>
          <p:nvPr/>
        </p:nvSpPr>
        <p:spPr>
          <a:xfrm>
            <a:off x="5506558" y="2999848"/>
            <a:ext cx="184559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СК-Ф публикует объявление о проведении конкурса на заключение ДД на </a:t>
            </a:r>
            <a:r>
              <a:rPr lang="ru-RU" sz="1000" b="1" dirty="0" err="1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интернет-ресурсе</a:t>
            </a:r>
            <a:r>
              <a:rPr lang="ru-RU" sz="100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 </a:t>
            </a:r>
          </a:p>
          <a:p>
            <a:pPr algn="ctr"/>
            <a:r>
              <a:rPr lang="en-US" sz="10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  <a:hlinkClick r:id="rId2"/>
              </a:rPr>
              <a:t>https://</a:t>
            </a:r>
            <a:r>
              <a:rPr lang="en-US" sz="100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  <a:hlinkClick r:id="rId2"/>
              </a:rPr>
              <a:t>sk-pharmacy.kz</a:t>
            </a:r>
            <a:r>
              <a:rPr lang="en-US" sz="100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 </a:t>
            </a:r>
            <a:endParaRPr lang="ru-RU" sz="1000" b="1" dirty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67" name="Oval 19">
            <a:extLst>
              <a:ext uri="{FF2B5EF4-FFF2-40B4-BE49-F238E27FC236}">
                <a16:creationId xmlns:a16="http://schemas.microsoft.com/office/drawing/2014/main" id="{FD08B64B-8298-4970-AB55-3C500F499F0B}"/>
              </a:ext>
            </a:extLst>
          </p:cNvPr>
          <p:cNvSpPr/>
          <p:nvPr/>
        </p:nvSpPr>
        <p:spPr>
          <a:xfrm>
            <a:off x="4032062" y="3986771"/>
            <a:ext cx="1028998" cy="652999"/>
          </a:xfrm>
          <a:prstGeom prst="ellipse">
            <a:avLst/>
          </a:prstGeom>
          <a:solidFill>
            <a:schemeClr val="bg1"/>
          </a:solidFill>
          <a:ln w="57150">
            <a:solidFill>
              <a:srgbClr val="6E5BAA">
                <a:alpha val="65000"/>
              </a:srgb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8</a:t>
            </a:r>
            <a:endParaRPr lang="en-IN" sz="1100" dirty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68" name="Стрелка: шеврон 61">
            <a:extLst>
              <a:ext uri="{FF2B5EF4-FFF2-40B4-BE49-F238E27FC236}">
                <a16:creationId xmlns:a16="http://schemas.microsoft.com/office/drawing/2014/main" id="{BD525210-F22A-47CA-8BCC-30BDBA9FC58C}"/>
              </a:ext>
            </a:extLst>
          </p:cNvPr>
          <p:cNvSpPr/>
          <p:nvPr/>
        </p:nvSpPr>
        <p:spPr>
          <a:xfrm flipH="1">
            <a:off x="3514703" y="4214235"/>
            <a:ext cx="235018" cy="254386"/>
          </a:xfrm>
          <a:prstGeom prst="chevron">
            <a:avLst/>
          </a:prstGeom>
          <a:solidFill>
            <a:schemeClr val="bg1"/>
          </a:solidFill>
          <a:ln w="19050">
            <a:solidFill>
              <a:srgbClr val="6E5BAA">
                <a:alpha val="65000"/>
              </a:srgb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3F3F3F"/>
              </a:solidFill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3257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1933211" y="397970"/>
            <a:ext cx="9167925" cy="316479"/>
          </a:xfrm>
          <a:prstGeom prst="rect">
            <a:avLst/>
          </a:prstGeom>
        </p:spPr>
        <p:txBody>
          <a:bodyPr vert="horz" wrap="square" lIns="0" tIns="8618" rIns="0" bIns="0" rtlCol="0" anchor="ctr">
            <a:spAutoFit/>
          </a:bodyPr>
          <a:lstStyle/>
          <a:p>
            <a:pPr marL="9072" marR="3629">
              <a:lnSpc>
                <a:spcPct val="100000"/>
              </a:lnSpc>
              <a:spcBef>
                <a:spcPts val="68"/>
              </a:spcBef>
            </a:pPr>
            <a:r>
              <a:rPr lang="ru-RU" sz="2000" b="1" spc="-7" dirty="0">
                <a:solidFill>
                  <a:schemeClr val="tx1"/>
                </a:solidFill>
                <a:latin typeface="Century Gothic" panose="020B0502020202020204" pitchFamily="34" charset="0"/>
              </a:rPr>
              <a:t>Инструменты поддержки АО «НУХ» «</a:t>
            </a:r>
            <a:r>
              <a:rPr lang="ru-RU" sz="2000" b="1" spc="-7" dirty="0" err="1">
                <a:solidFill>
                  <a:schemeClr val="tx1"/>
                </a:solidFill>
                <a:latin typeface="Century Gothic" panose="020B0502020202020204" pitchFamily="34" charset="0"/>
              </a:rPr>
              <a:t>Байтерек</a:t>
            </a:r>
            <a:r>
              <a:rPr lang="ru-RU" sz="2000" b="1" spc="-7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»</a:t>
            </a:r>
            <a:endParaRPr sz="20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04239" y="714449"/>
            <a:ext cx="11635361" cy="58631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По линии АО «Фонд развития предпринимательства «Даму»:</a:t>
            </a:r>
          </a:p>
          <a:p>
            <a:r>
              <a:rPr lang="ru-RU" sz="1700" b="1" dirty="0"/>
              <a:t>- субсидирование части ставки вознаграждения по кредиту.  </a:t>
            </a:r>
          </a:p>
          <a:p>
            <a:r>
              <a:rPr lang="ru-RU" sz="1700" u="sng" dirty="0"/>
              <a:t>Условия поддержки в рамках ДКБ-2025: </a:t>
            </a:r>
          </a:p>
          <a:p>
            <a:r>
              <a:rPr lang="ru-RU" sz="1700" dirty="0"/>
              <a:t>1.1)	сумма кредита БВУ – не более 7 млрд. тенге;</a:t>
            </a:r>
          </a:p>
          <a:p>
            <a:r>
              <a:rPr lang="ru-RU" sz="1700" dirty="0"/>
              <a:t>1.2)	сумма кредита БРК – не ограничена;</a:t>
            </a:r>
          </a:p>
          <a:p>
            <a:r>
              <a:rPr lang="ru-RU" sz="1700" dirty="0"/>
              <a:t>2.1) срок субсидирования по кредиту в БВУ – на инвестиции - 5 лет, ПОС – 3 года;</a:t>
            </a:r>
          </a:p>
          <a:p>
            <a:r>
              <a:rPr lang="ru-RU" sz="1700" dirty="0"/>
              <a:t>2.2) срок субсидирования по кредиту в БРК - без ограничений срока субсидирования. При этом, проекты БРК со сроком субсидирования более 5 лет допускаются к субсидированию по рекомендации Государственной комиссии по вопросам модернизации экономики;</a:t>
            </a:r>
          </a:p>
          <a:p>
            <a:r>
              <a:rPr lang="ru-RU" sz="1700" dirty="0"/>
              <a:t>3.1) ставка финансирования через БВУ – 6% годовых (конечная). При этом, субсидирование осуществляется только по кредитам с номинальной ставкой вознаграждения, не превышающей базовую ставку вознаграждения (9%), установленную НБ РК и увеличенную на 5 (пять) процентных пунктов (из которых 6 % оплачивает предприниматель, а разница субсидируется государством);</a:t>
            </a:r>
          </a:p>
          <a:p>
            <a:r>
              <a:rPr lang="ru-RU" sz="1700" dirty="0"/>
              <a:t>3.2) ставка финансирования через БРК – 6% годовых (конечная). При этом, субсидирование ставки вознаграждения по кредитам БРК осуществляется с номинальной ставкой вознаграждения не более 15 % (из которых 6% оплачиваются субъектом частного предпринимательства, а разница субсидируется государством).</a:t>
            </a:r>
          </a:p>
          <a:p>
            <a:r>
              <a:rPr lang="ru-RU" sz="1700" dirty="0" smtClean="0"/>
              <a:t>Условия </a:t>
            </a:r>
            <a:r>
              <a:rPr lang="ru-RU" sz="1700" dirty="0"/>
              <a:t>поддержки в рамках Экономики простых вещей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dirty="0" smtClean="0"/>
              <a:t>соответствие </a:t>
            </a:r>
            <a:r>
              <a:rPr lang="ru-RU" sz="1700" dirty="0"/>
              <a:t>перечню выпускаемой продукции согласно приложению к Механизму (ПП РК № 820 11.12.2018 г.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dirty="0"/>
              <a:t>с</a:t>
            </a:r>
            <a:r>
              <a:rPr lang="ru-RU" sz="1700" dirty="0" smtClean="0"/>
              <a:t>рок </a:t>
            </a:r>
            <a:r>
              <a:rPr lang="ru-RU" sz="1700" dirty="0"/>
              <a:t>субсидирования – на инвестиции 10 лет, ПОС – 3 года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700" dirty="0" smtClean="0"/>
              <a:t>ставка </a:t>
            </a:r>
            <a:r>
              <a:rPr lang="ru-RU" sz="1700" dirty="0"/>
              <a:t>финансирования– 6% годовых (конечная). При этом, субсидирование ставки вознаграждения по кредитам осуществляется с номинальной ставкой вознаграждения не более 15 % (из которых 6% оплачиваются субъектом частного предпринимательства, а разница субсидируется государством</a:t>
            </a:r>
            <a:r>
              <a:rPr lang="ru-RU" sz="1700" dirty="0" smtClean="0"/>
              <a:t>).</a:t>
            </a:r>
            <a:endParaRPr lang="ru-RU" sz="1700" dirty="0"/>
          </a:p>
        </p:txBody>
      </p:sp>
    </p:spTree>
    <p:extLst>
      <p:ext uri="{BB962C8B-B14F-4D97-AF65-F5344CB8AC3E}">
        <p14:creationId xmlns:p14="http://schemas.microsoft.com/office/powerpoint/2010/main" val="1017568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1933211" y="397970"/>
            <a:ext cx="9167925" cy="316479"/>
          </a:xfrm>
          <a:prstGeom prst="rect">
            <a:avLst/>
          </a:prstGeom>
        </p:spPr>
        <p:txBody>
          <a:bodyPr vert="horz" wrap="square" lIns="0" tIns="8618" rIns="0" bIns="0" rtlCol="0" anchor="ctr">
            <a:spAutoFit/>
          </a:bodyPr>
          <a:lstStyle/>
          <a:p>
            <a:pPr marL="9072" marR="3629">
              <a:lnSpc>
                <a:spcPct val="100000"/>
              </a:lnSpc>
              <a:spcBef>
                <a:spcPts val="68"/>
              </a:spcBef>
            </a:pPr>
            <a:r>
              <a:rPr lang="ru-RU" sz="2000" b="1" spc="-7" dirty="0">
                <a:solidFill>
                  <a:schemeClr val="tx1"/>
                </a:solidFill>
                <a:latin typeface="Century Gothic" panose="020B0502020202020204" pitchFamily="34" charset="0"/>
              </a:rPr>
              <a:t>Инструменты поддержки АО «НУХ» «</a:t>
            </a:r>
            <a:r>
              <a:rPr lang="ru-RU" sz="2000" b="1" spc="-7" dirty="0" err="1">
                <a:solidFill>
                  <a:schemeClr val="tx1"/>
                </a:solidFill>
                <a:latin typeface="Century Gothic" panose="020B0502020202020204" pitchFamily="34" charset="0"/>
              </a:rPr>
              <a:t>Байтерек</a:t>
            </a:r>
            <a:r>
              <a:rPr lang="ru-RU" sz="2000" b="1" spc="-7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»</a:t>
            </a:r>
            <a:endParaRPr sz="20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26531" y="987146"/>
            <a:ext cx="10718801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По линии АО «Фонд развития предпринимательства «Даму»:</a:t>
            </a:r>
          </a:p>
          <a:p>
            <a:endParaRPr lang="ru-RU" b="1" dirty="0" smtClean="0"/>
          </a:p>
          <a:p>
            <a:r>
              <a:rPr lang="ru-RU" b="1" dirty="0" smtClean="0"/>
              <a:t>- </a:t>
            </a:r>
            <a:r>
              <a:rPr lang="ru-RU" b="1" dirty="0"/>
              <a:t>частичное гарантирование по кредиту.  </a:t>
            </a:r>
          </a:p>
          <a:p>
            <a:r>
              <a:rPr lang="ru-RU" u="sng" dirty="0"/>
              <a:t>Условия поддержки в рамках ДКБ-2025: </a:t>
            </a:r>
          </a:p>
          <a:p>
            <a:r>
              <a:rPr lang="ru-RU" dirty="0"/>
              <a:t>1.1)	размер гарантии – до 50% от суммы кредита. При этом, максимальная сумма кредита должна быть не более 1 млрд. тенге;</a:t>
            </a:r>
          </a:p>
          <a:p>
            <a:r>
              <a:rPr lang="ru-RU" dirty="0"/>
              <a:t>1.2)	размер гарантии – до 85% от суммы кредита. При этом, максимальная сумма кредита должна быть не более 360 млн. тенге;</a:t>
            </a:r>
          </a:p>
          <a:p>
            <a:r>
              <a:rPr lang="ru-RU" dirty="0"/>
              <a:t>2) гарантирование может осуществляться только по кредитам БВУ с номинальной ставкой вознаграждения, не превышающей базовую ставку НБ РК (9%), увеличенную на 5 (пять) процентных пунктов, а по кредитам БРК - со ставкой вознаграждения не более 15 % годовых.</a:t>
            </a:r>
          </a:p>
          <a:p>
            <a:endParaRPr lang="ru-RU" dirty="0"/>
          </a:p>
          <a:p>
            <a:r>
              <a:rPr lang="ru-RU" u="sng" dirty="0"/>
              <a:t>Условия поддержки в рамках Экономики простых вещей:</a:t>
            </a:r>
          </a:p>
          <a:p>
            <a:r>
              <a:rPr lang="ru-RU" dirty="0"/>
              <a:t>1)	соответствие перечню выпускаемой продукции согласно приложению к Механизму (ПП РК № 820 11.12.2018 г.);</a:t>
            </a:r>
          </a:p>
          <a:p>
            <a:r>
              <a:rPr lang="ru-RU" dirty="0"/>
              <a:t>2)	гарантированию подлежат кредиты с номинальной ставкой вознаграждения, не превышающей 15% годовых.</a:t>
            </a:r>
          </a:p>
          <a:p>
            <a:r>
              <a:rPr lang="ru-RU" dirty="0"/>
              <a:t>3.1)	размер гарантии – 50% от суммы кредита до 3 млрд тенге включительно;</a:t>
            </a:r>
          </a:p>
          <a:p>
            <a:r>
              <a:rPr lang="ru-RU" dirty="0"/>
              <a:t>3.2)	размер гарантии – 30% по кредитам свыше 3 млрд тенге до 5 млрд тенге включительно;</a:t>
            </a:r>
          </a:p>
        </p:txBody>
      </p:sp>
    </p:spTree>
    <p:extLst>
      <p:ext uri="{BB962C8B-B14F-4D97-AF65-F5344CB8AC3E}">
        <p14:creationId xmlns:p14="http://schemas.microsoft.com/office/powerpoint/2010/main" val="2657410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DC1EDD2-5156-4C78-B4CC-0F7C486904F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97" r="19473"/>
          <a:stretch/>
        </p:blipFill>
        <p:spPr>
          <a:xfrm>
            <a:off x="510746" y="1439665"/>
            <a:ext cx="3657600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501188AF-66C9-4AAA-A13A-44C37A9AA3C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24" r="34102"/>
          <a:stretch/>
        </p:blipFill>
        <p:spPr>
          <a:xfrm>
            <a:off x="2964309" y="1439441"/>
            <a:ext cx="3707027" cy="3978893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14C3997A-412B-4A32-BBDD-47C610D6C31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3" r="39982"/>
          <a:stretch/>
        </p:blipFill>
        <p:spPr>
          <a:xfrm>
            <a:off x="5560543" y="1439665"/>
            <a:ext cx="3731740" cy="3991430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13023DF2-4F41-434C-BFC2-4F97EF92A44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09" r="25508"/>
          <a:stretch/>
        </p:blipFill>
        <p:spPr>
          <a:xfrm>
            <a:off x="8079161" y="1439665"/>
            <a:ext cx="3690552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sp>
        <p:nvSpPr>
          <p:cNvPr id="6" name="Прямоугольник 5"/>
          <p:cNvSpPr/>
          <p:nvPr/>
        </p:nvSpPr>
        <p:spPr>
          <a:xfrm>
            <a:off x="1185331" y="2853267"/>
            <a:ext cx="9905999" cy="1202266"/>
          </a:xfrm>
          <a:custGeom>
            <a:avLst/>
            <a:gdLst>
              <a:gd name="connsiteX0" fmla="*/ 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0 w 9889066"/>
              <a:gd name="connsiteY4" fmla="*/ 0 h 1202266"/>
              <a:gd name="connsiteX0" fmla="*/ 35560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355600 w 9889066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905999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89467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89467 w 9905999"/>
              <a:gd name="connsiteY4" fmla="*/ 0 h 1202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5999" h="1202266">
                <a:moveTo>
                  <a:pt x="389467" y="0"/>
                </a:moveTo>
                <a:lnTo>
                  <a:pt x="9905999" y="0"/>
                </a:lnTo>
                <a:lnTo>
                  <a:pt x="9541933" y="1202266"/>
                </a:lnTo>
                <a:lnTo>
                  <a:pt x="0" y="1202266"/>
                </a:lnTo>
                <a:lnTo>
                  <a:pt x="38946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112</a:t>
            </a:fld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2133802" y="3142992"/>
            <a:ext cx="80090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Ы ПОДДЕРЖКИ </a:t>
            </a:r>
            <a:r>
              <a:rPr lang="en" sz="3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ZAKHEXPORT</a:t>
            </a:r>
            <a:endParaRPr lang="ru-RU" sz="3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729474" y="813573"/>
            <a:ext cx="3763009" cy="714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ПРИЛОЖЕНИЕ </a:t>
            </a:r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11</a:t>
            </a:r>
            <a:endParaRPr lang="ru-RU" sz="32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2050" name="Picture 2" descr="https://www.baiterek.gov.kz/bitrix/templates/baiterek/css/img/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0835" y="76640"/>
            <a:ext cx="960990" cy="1202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26413" y="197390"/>
            <a:ext cx="2340818" cy="885255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 rot="10800000" flipV="1">
            <a:off x="2964309" y="5522399"/>
            <a:ext cx="6098410" cy="9791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ТОО «</a:t>
            </a:r>
            <a:r>
              <a:rPr lang="en" sz="2400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AZAKHEXPORT</a:t>
            </a:r>
            <a:r>
              <a:rPr lang="ru-RU" sz="2400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400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400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10.07.2024 год</a:t>
            </a:r>
            <a:endParaRPr lang="ru-RU" sz="2400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74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Объект 2">
            <a:extLst>
              <a:ext uri="{FF2B5EF4-FFF2-40B4-BE49-F238E27FC236}">
                <a16:creationId xmlns:a16="http://schemas.microsoft.com/office/drawing/2014/main" id="{4E144B45-CAD8-0346-AAFD-43DAA9BB3A8E}"/>
              </a:ext>
            </a:extLst>
          </p:cNvPr>
          <p:cNvSpPr txBox="1">
            <a:spLocks/>
          </p:cNvSpPr>
          <p:nvPr/>
        </p:nvSpPr>
        <p:spPr>
          <a:xfrm>
            <a:off x="388557" y="2569134"/>
            <a:ext cx="5599493" cy="38126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2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500" dirty="0"/>
              <a:t>Поддерживает казахстанских производителей </a:t>
            </a:r>
            <a:r>
              <a:rPr lang="ru-RU" sz="1500" dirty="0" err="1"/>
              <a:t>несырьевых</a:t>
            </a:r>
            <a:r>
              <a:rPr lang="ru-RU" sz="1500" dirty="0"/>
              <a:t> товаров и поставщиков услуг на внешних рынках за счет предоставления страховых финансовых мер поддержки экспорта</a:t>
            </a:r>
          </a:p>
          <a:p>
            <a:endParaRPr lang="ru-RU" sz="1500" dirty="0"/>
          </a:p>
          <a:p>
            <a:r>
              <a:rPr lang="ru-RU" sz="1500" dirty="0"/>
              <a:t>Осуществляет проверку Зарубежного Покупателя на благонадежность</a:t>
            </a:r>
          </a:p>
          <a:p>
            <a:endParaRPr lang="ru-RU" sz="1500" dirty="0"/>
          </a:p>
          <a:p>
            <a:r>
              <a:rPr lang="ru-RU" sz="1500" dirty="0"/>
              <a:t>Имеет международные представительства в Российской Федерации (г. Казань, г. Екатеринбург, г. Новосибирск), Кыргызстане, Таджикистане, Узбекистане и Китае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B0933E06-61A3-344F-8FE4-EDDD6607A89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8035" y="0"/>
            <a:ext cx="5994400" cy="6858000"/>
          </a:xfrm>
          <a:prstGeom prst="rect">
            <a:avLst/>
          </a:prstGeom>
        </p:spPr>
      </p:pic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55C52B1A-4F8D-3948-BADB-8D84E2464352}"/>
              </a:ext>
            </a:extLst>
          </p:cNvPr>
          <p:cNvCxnSpPr/>
          <p:nvPr/>
        </p:nvCxnSpPr>
        <p:spPr>
          <a:xfrm>
            <a:off x="564001" y="2708881"/>
            <a:ext cx="0" cy="2182265"/>
          </a:xfrm>
          <a:prstGeom prst="line">
            <a:avLst/>
          </a:prstGeom>
          <a:ln>
            <a:solidFill>
              <a:srgbClr val="02B3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Нижний колонтитул 4">
            <a:extLst>
              <a:ext uri="{FF2B5EF4-FFF2-40B4-BE49-F238E27FC236}">
                <a16:creationId xmlns:a16="http://schemas.microsoft.com/office/drawing/2014/main" id="{B56C11E2-4E8E-3642-BDF1-C85172176F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8557" y="6235437"/>
            <a:ext cx="1704739" cy="365125"/>
          </a:xfrm>
        </p:spPr>
        <p:txBody>
          <a:bodyPr/>
          <a:lstStyle>
            <a:lvl1pPr algn="l">
              <a:defRPr sz="9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" dirty="0" err="1"/>
              <a:t>www.kazakhexport.kz</a:t>
            </a:r>
            <a:endParaRPr lang="ru-KZ" sz="900" dirty="0"/>
          </a:p>
        </p:txBody>
      </p:sp>
      <p:sp>
        <p:nvSpPr>
          <p:cNvPr id="16" name="Номер слайда 5">
            <a:extLst>
              <a:ext uri="{FF2B5EF4-FFF2-40B4-BE49-F238E27FC236}">
                <a16:creationId xmlns:a16="http://schemas.microsoft.com/office/drawing/2014/main" id="{8908FA04-BC86-454C-AEAA-FC199A9D9A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83689" y="6235436"/>
            <a:ext cx="985563" cy="365125"/>
          </a:xfrm>
        </p:spPr>
        <p:txBody>
          <a:bodyPr/>
          <a:lstStyle>
            <a:lvl1pPr>
              <a:defRPr sz="900" b="0" i="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D8230AC4-931F-2541-984F-431D72A143BD}" type="slidenum">
              <a:rPr lang="ru-KZ" smtClean="0"/>
              <a:pPr/>
              <a:t>113</a:t>
            </a:fld>
            <a:endParaRPr lang="ru-KZ" sz="900" dirty="0"/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E6D45C2F-CFBA-8741-AE07-8CCDE45463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557" y="1325519"/>
            <a:ext cx="3691317" cy="1131166"/>
          </a:xfrm>
        </p:spPr>
        <p:txBody>
          <a:bodyPr>
            <a:normAutofit/>
          </a:bodyPr>
          <a:lstStyle/>
          <a:p>
            <a:r>
              <a:rPr lang="ru-RU" sz="2400" dirty="0"/>
              <a:t>ИНФОРМАЦИЯ </a:t>
            </a:r>
            <a:br>
              <a:rPr lang="ru-RU" sz="2400" dirty="0"/>
            </a:br>
            <a:r>
              <a:rPr lang="ru-RU" sz="2400" dirty="0">
                <a:solidFill>
                  <a:srgbClr val="02B3EB"/>
                </a:solidFill>
              </a:rPr>
              <a:t>О </a:t>
            </a:r>
            <a:r>
              <a:rPr lang="en" sz="2400" dirty="0">
                <a:solidFill>
                  <a:srgbClr val="02B3EB"/>
                </a:solidFill>
              </a:rPr>
              <a:t>KAZAKHEXPORT</a:t>
            </a:r>
            <a:endParaRPr lang="ru-KZ" sz="2400" dirty="0">
              <a:solidFill>
                <a:srgbClr val="02B3E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325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Объект 9">
            <a:extLst>
              <a:ext uri="{FF2B5EF4-FFF2-40B4-BE49-F238E27FC236}">
                <a16:creationId xmlns:a16="http://schemas.microsoft.com/office/drawing/2014/main" id="{9CEB68B9-BCF7-3040-A3DA-3DE7767AE94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-8313"/>
            <a:ext cx="6567777" cy="6866313"/>
          </a:xfr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B2572F1-5FD4-0A48-8DB9-A397529A04F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191566"/>
            <a:ext cx="4292874" cy="4666434"/>
          </a:xfrm>
          <a:prstGeom prst="rect">
            <a:avLst/>
          </a:prstGeom>
        </p:spPr>
      </p:pic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56F2F77B-8B19-F34C-8D11-CE4275F49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390" y="1325519"/>
            <a:ext cx="3691317" cy="1131166"/>
          </a:xfrm>
        </p:spPr>
        <p:txBody>
          <a:bodyPr>
            <a:normAutofit/>
          </a:bodyPr>
          <a:lstStyle/>
          <a:p>
            <a:r>
              <a:rPr lang="ru-RU" sz="2400" dirty="0">
                <a:solidFill>
                  <a:schemeClr val="bg1"/>
                </a:solidFill>
              </a:rPr>
              <a:t>ИНФОРМАЦИЯ</a:t>
            </a:r>
            <a:r>
              <a:rPr lang="ru-RU" sz="2400" dirty="0"/>
              <a:t> </a:t>
            </a:r>
            <a:br>
              <a:rPr lang="ru-RU" sz="2400" dirty="0"/>
            </a:br>
            <a:r>
              <a:rPr lang="ru-RU" sz="2400" dirty="0">
                <a:solidFill>
                  <a:srgbClr val="02B3EB"/>
                </a:solidFill>
              </a:rPr>
              <a:t>О </a:t>
            </a:r>
            <a:r>
              <a:rPr lang="en" sz="2400" dirty="0">
                <a:solidFill>
                  <a:srgbClr val="02B3EB"/>
                </a:solidFill>
              </a:rPr>
              <a:t>KAZAKHEXPORT</a:t>
            </a:r>
            <a:endParaRPr lang="ru-KZ" sz="2400" dirty="0">
              <a:solidFill>
                <a:srgbClr val="02B3EB"/>
              </a:solidFill>
            </a:endParaRPr>
          </a:p>
        </p:txBody>
      </p:sp>
      <p:sp>
        <p:nvSpPr>
          <p:cNvPr id="13" name="Объект 10">
            <a:extLst>
              <a:ext uri="{FF2B5EF4-FFF2-40B4-BE49-F238E27FC236}">
                <a16:creationId xmlns:a16="http://schemas.microsoft.com/office/drawing/2014/main" id="{C0BA7C6E-22F3-7643-8EDB-5B813A134772}"/>
              </a:ext>
            </a:extLst>
          </p:cNvPr>
          <p:cNvSpPr txBox="1">
            <a:spLocks/>
          </p:cNvSpPr>
          <p:nvPr/>
        </p:nvSpPr>
        <p:spPr>
          <a:xfrm>
            <a:off x="4419868" y="1019553"/>
            <a:ext cx="5707443" cy="4449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ru-RU" dirty="0"/>
              <a:t>Является 100% дочерней компанией АО «НУХ «</a:t>
            </a:r>
            <a:r>
              <a:rPr lang="ru-RU" dirty="0" err="1"/>
              <a:t>Байтерек</a:t>
            </a:r>
            <a:r>
              <a:rPr lang="ru-RU" dirty="0"/>
              <a:t>»</a:t>
            </a:r>
            <a:endParaRPr lang="ru-KZ" dirty="0"/>
          </a:p>
        </p:txBody>
      </p:sp>
      <p:sp>
        <p:nvSpPr>
          <p:cNvPr id="15" name="Объект 10">
            <a:extLst>
              <a:ext uri="{FF2B5EF4-FFF2-40B4-BE49-F238E27FC236}">
                <a16:creationId xmlns:a16="http://schemas.microsoft.com/office/drawing/2014/main" id="{52543F23-7E60-9D49-886D-651890121291}"/>
              </a:ext>
            </a:extLst>
          </p:cNvPr>
          <p:cNvSpPr txBox="1">
            <a:spLocks/>
          </p:cNvSpPr>
          <p:nvPr/>
        </p:nvSpPr>
        <p:spPr>
          <a:xfrm>
            <a:off x="4836307" y="1780791"/>
            <a:ext cx="6685974" cy="580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/>
              <a:t>Рейтинг финансовой надежности «</a:t>
            </a:r>
            <a:r>
              <a:rPr lang="en" dirty="0"/>
              <a:t>Ba</a:t>
            </a:r>
            <a:r>
              <a:rPr lang="ru-RU" dirty="0"/>
              <a:t>а2», </a:t>
            </a:r>
            <a:r>
              <a:rPr lang="ru-RU" b="1" dirty="0">
                <a:solidFill>
                  <a:srgbClr val="02B3EB"/>
                </a:solidFill>
              </a:rPr>
              <a:t>прогноз «позитивный»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dirty="0"/>
              <a:t>  (уровень суверенного рейтинга Казахстана)</a:t>
            </a:r>
            <a:endParaRPr lang="ru-KZ" dirty="0"/>
          </a:p>
        </p:txBody>
      </p:sp>
      <p:sp>
        <p:nvSpPr>
          <p:cNvPr id="16" name="Объект 10">
            <a:extLst>
              <a:ext uri="{FF2B5EF4-FFF2-40B4-BE49-F238E27FC236}">
                <a16:creationId xmlns:a16="http://schemas.microsoft.com/office/drawing/2014/main" id="{B7EBE1FF-BD1D-5E4E-9DB1-8D160041C6B6}"/>
              </a:ext>
            </a:extLst>
          </p:cNvPr>
          <p:cNvSpPr txBox="1">
            <a:spLocks/>
          </p:cNvSpPr>
          <p:nvPr/>
        </p:nvSpPr>
        <p:spPr>
          <a:xfrm>
            <a:off x="5364369" y="2653126"/>
            <a:ext cx="6233478" cy="580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/>
              <a:t>Официальный член Пражского клуба Бернского союза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dirty="0"/>
              <a:t>  с 2004 года</a:t>
            </a:r>
            <a:endParaRPr lang="ru-KZ" dirty="0"/>
          </a:p>
        </p:txBody>
      </p:sp>
      <p:sp>
        <p:nvSpPr>
          <p:cNvPr id="17" name="Объект 10">
            <a:extLst>
              <a:ext uri="{FF2B5EF4-FFF2-40B4-BE49-F238E27FC236}">
                <a16:creationId xmlns:a16="http://schemas.microsoft.com/office/drawing/2014/main" id="{7FB22945-81AC-C241-BA47-E9902415B1C6}"/>
              </a:ext>
            </a:extLst>
          </p:cNvPr>
          <p:cNvSpPr txBox="1">
            <a:spLocks/>
          </p:cNvSpPr>
          <p:nvPr/>
        </p:nvSpPr>
        <p:spPr>
          <a:xfrm>
            <a:off x="5865948" y="3499063"/>
            <a:ext cx="5724525" cy="9483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/>
              <a:t>Полноправный член Ассоциации крупнейших экспортно-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dirty="0"/>
              <a:t>  кредитных агентств Исламских государств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dirty="0"/>
              <a:t>     и арабского мира с 2014 года</a:t>
            </a:r>
            <a:endParaRPr lang="ru-KZ" dirty="0"/>
          </a:p>
        </p:txBody>
      </p:sp>
      <p:sp>
        <p:nvSpPr>
          <p:cNvPr id="18" name="Объект 10">
            <a:extLst>
              <a:ext uri="{FF2B5EF4-FFF2-40B4-BE49-F238E27FC236}">
                <a16:creationId xmlns:a16="http://schemas.microsoft.com/office/drawing/2014/main" id="{2D1D7464-B231-8045-B97B-9B398FAB3340}"/>
              </a:ext>
            </a:extLst>
          </p:cNvPr>
          <p:cNvSpPr txBox="1">
            <a:spLocks/>
          </p:cNvSpPr>
          <p:nvPr/>
        </p:nvSpPr>
        <p:spPr>
          <a:xfrm>
            <a:off x="6440717" y="4506728"/>
            <a:ext cx="5707443" cy="580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/>
              <a:t>Собственный капитал </a:t>
            </a:r>
            <a:r>
              <a:rPr lang="ru-RU" dirty="0" smtClean="0"/>
              <a:t>– </a:t>
            </a:r>
            <a:r>
              <a:rPr lang="kk-KZ" b="1" dirty="0" smtClean="0">
                <a:solidFill>
                  <a:srgbClr val="02B3EB"/>
                </a:solidFill>
              </a:rPr>
              <a:t>более </a:t>
            </a:r>
            <a:r>
              <a:rPr lang="ru-RU" b="1" dirty="0" smtClean="0">
                <a:solidFill>
                  <a:srgbClr val="02B3EB"/>
                </a:solidFill>
              </a:rPr>
              <a:t>1</a:t>
            </a:r>
            <a:r>
              <a:rPr lang="kk-KZ" b="1" dirty="0" smtClean="0">
                <a:solidFill>
                  <a:srgbClr val="02B3EB"/>
                </a:solidFill>
              </a:rPr>
              <a:t>14,6 </a:t>
            </a:r>
            <a:r>
              <a:rPr lang="kk-KZ" b="1" dirty="0">
                <a:solidFill>
                  <a:srgbClr val="02B3EB"/>
                </a:solidFill>
              </a:rPr>
              <a:t>млрд тенге</a:t>
            </a:r>
          </a:p>
        </p:txBody>
      </p:sp>
      <p:sp>
        <p:nvSpPr>
          <p:cNvPr id="19" name="Объект 10">
            <a:extLst>
              <a:ext uri="{FF2B5EF4-FFF2-40B4-BE49-F238E27FC236}">
                <a16:creationId xmlns:a16="http://schemas.microsoft.com/office/drawing/2014/main" id="{9F7FF643-6613-D44E-A4A8-28CDCC55E7DF}"/>
              </a:ext>
            </a:extLst>
          </p:cNvPr>
          <p:cNvSpPr txBox="1">
            <a:spLocks/>
          </p:cNvSpPr>
          <p:nvPr/>
        </p:nvSpPr>
        <p:spPr>
          <a:xfrm>
            <a:off x="6932268" y="5310379"/>
            <a:ext cx="4744435" cy="8327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 smtClean="0"/>
              <a:t>Государственная гарантия по страховым обязательствам на </a:t>
            </a:r>
            <a:r>
              <a:rPr lang="ru-RU" dirty="0"/>
              <a:t>общую </a:t>
            </a:r>
            <a:r>
              <a:rPr lang="ru-RU" dirty="0" smtClean="0"/>
              <a:t>сумму </a:t>
            </a:r>
            <a:r>
              <a:rPr lang="ru-RU" b="1" dirty="0" smtClean="0">
                <a:solidFill>
                  <a:srgbClr val="02B3EB"/>
                </a:solidFill>
              </a:rPr>
              <a:t>541,4 </a:t>
            </a:r>
            <a:r>
              <a:rPr lang="ru-RU" b="1" dirty="0">
                <a:solidFill>
                  <a:srgbClr val="02B3EB"/>
                </a:solidFill>
              </a:rPr>
              <a:t>млрд тенге 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FE329841-9A4B-D846-AF1D-CDABC0BD401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08360" y="868150"/>
            <a:ext cx="438192" cy="547740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3075CCA1-D5DF-8E42-8D81-3827379A5C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85418" y="1923071"/>
            <a:ext cx="793853" cy="168189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150BD796-8F5E-B74F-90DA-CC823C0AEE4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46519" y="2755679"/>
            <a:ext cx="816261" cy="239355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53D088DE-B3F6-0541-9FE0-7856BD884B6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69787" y="3481106"/>
            <a:ext cx="1425892" cy="777759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454EF112-7D5B-2545-95C7-F8E717813AC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2986" y="4403867"/>
            <a:ext cx="460103" cy="550912"/>
          </a:xfrm>
          <a:prstGeom prst="rect">
            <a:avLst/>
          </a:prstGeom>
        </p:spPr>
      </p:pic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2C558245-9EF3-E34C-AA8A-F2DC14C6F450}"/>
              </a:ext>
            </a:extLst>
          </p:cNvPr>
          <p:cNvCxnSpPr>
            <a:cxnSpLocks/>
          </p:cNvCxnSpPr>
          <p:nvPr/>
        </p:nvCxnSpPr>
        <p:spPr>
          <a:xfrm>
            <a:off x="4741809" y="1639820"/>
            <a:ext cx="697076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7A3934BB-4FF0-9049-B6AC-186F1A2DD38C}"/>
              </a:ext>
            </a:extLst>
          </p:cNvPr>
          <p:cNvCxnSpPr>
            <a:cxnSpLocks/>
          </p:cNvCxnSpPr>
          <p:nvPr/>
        </p:nvCxnSpPr>
        <p:spPr>
          <a:xfrm>
            <a:off x="5247494" y="2440783"/>
            <a:ext cx="646508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AC365D33-96AA-794C-B8C8-68D3777CDF05}"/>
              </a:ext>
            </a:extLst>
          </p:cNvPr>
          <p:cNvCxnSpPr>
            <a:cxnSpLocks/>
          </p:cNvCxnSpPr>
          <p:nvPr/>
        </p:nvCxnSpPr>
        <p:spPr>
          <a:xfrm>
            <a:off x="5751220" y="3339547"/>
            <a:ext cx="596135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51D5EC60-028B-2446-8947-E7CE14AA6F75}"/>
              </a:ext>
            </a:extLst>
          </p:cNvPr>
          <p:cNvCxnSpPr>
            <a:cxnSpLocks/>
          </p:cNvCxnSpPr>
          <p:nvPr/>
        </p:nvCxnSpPr>
        <p:spPr>
          <a:xfrm>
            <a:off x="6361508" y="4366655"/>
            <a:ext cx="5351067" cy="3376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BE27BD25-A438-4447-8D55-700D85DA0373}"/>
              </a:ext>
            </a:extLst>
          </p:cNvPr>
          <p:cNvCxnSpPr>
            <a:cxnSpLocks/>
          </p:cNvCxnSpPr>
          <p:nvPr/>
        </p:nvCxnSpPr>
        <p:spPr>
          <a:xfrm>
            <a:off x="6814196" y="5161059"/>
            <a:ext cx="489837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Нижний колонтитул 4">
            <a:extLst>
              <a:ext uri="{FF2B5EF4-FFF2-40B4-BE49-F238E27FC236}">
                <a16:creationId xmlns:a16="http://schemas.microsoft.com/office/drawing/2014/main" id="{785D5C0C-35A5-4A44-9523-53ED453667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8557" y="6235437"/>
            <a:ext cx="1704739" cy="365125"/>
          </a:xfrm>
        </p:spPr>
        <p:txBody>
          <a:bodyPr/>
          <a:lstStyle>
            <a:lvl1pPr algn="l">
              <a:defRPr sz="9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" dirty="0" err="1">
                <a:solidFill>
                  <a:schemeClr val="bg1"/>
                </a:solidFill>
              </a:rPr>
              <a:t>www.kazakhexport.kz</a:t>
            </a:r>
            <a:endParaRPr lang="ru-KZ" sz="900" dirty="0">
              <a:solidFill>
                <a:schemeClr val="bg1"/>
              </a:solidFill>
            </a:endParaRPr>
          </a:p>
        </p:txBody>
      </p:sp>
      <p:sp>
        <p:nvSpPr>
          <p:cNvPr id="43" name="Номер слайда 5">
            <a:extLst>
              <a:ext uri="{FF2B5EF4-FFF2-40B4-BE49-F238E27FC236}">
                <a16:creationId xmlns:a16="http://schemas.microsoft.com/office/drawing/2014/main" id="{11512A52-5B21-3A49-A8F6-4B8A2421E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83689" y="6235436"/>
            <a:ext cx="985563" cy="365125"/>
          </a:xfrm>
        </p:spPr>
        <p:txBody>
          <a:bodyPr/>
          <a:lstStyle>
            <a:lvl1pPr>
              <a:defRPr sz="900" b="0" i="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D8230AC4-931F-2541-984F-431D72A143BD}" type="slidenum">
              <a:rPr lang="ru-KZ" smtClean="0"/>
              <a:pPr/>
              <a:t>114</a:t>
            </a:fld>
            <a:endParaRPr lang="ru-KZ" sz="900" dirty="0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B601D9C-C495-6942-8E6F-6D76B91CDC05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6002" y="5426190"/>
            <a:ext cx="463550" cy="46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40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FBC90460-C200-EF4C-A82D-D9A577DE31C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9795" y="4253435"/>
            <a:ext cx="1075854" cy="751802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AF009142-1C19-1549-98D1-6666A47B7AA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9092" y="2116817"/>
            <a:ext cx="1505110" cy="339267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D12CC0F6-2410-534E-93D8-74458A3D1D7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5199" y="2121564"/>
            <a:ext cx="1373350" cy="542952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B62E6A45-4B83-E349-91E0-1D627603653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9512" y="4257020"/>
            <a:ext cx="1004508" cy="751801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79937C2D-AE8A-8D4C-9BD3-DD8914413DB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05955" y="5611841"/>
            <a:ext cx="2990270" cy="315104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09672ED-1F63-AC48-A67D-5BCCD306BD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557" y="257438"/>
            <a:ext cx="7507667" cy="1131166"/>
          </a:xfrm>
        </p:spPr>
        <p:txBody>
          <a:bodyPr>
            <a:normAutofit fontScale="90000"/>
          </a:bodyPr>
          <a:lstStyle/>
          <a:p>
            <a:r>
              <a:rPr lang="ru-RU" dirty="0"/>
              <a:t>ПОДДЕРЖКА НА ВСЕХ </a:t>
            </a:r>
            <a:br>
              <a:rPr lang="ru-RU" dirty="0"/>
            </a:br>
            <a:r>
              <a:rPr lang="ru-RU" dirty="0">
                <a:solidFill>
                  <a:srgbClr val="02B3EB"/>
                </a:solidFill>
              </a:rPr>
              <a:t>ЭТАПАХ ЭКСПОРТНОГО ЦИКЛА</a:t>
            </a:r>
            <a:endParaRPr lang="ru-KZ" dirty="0">
              <a:solidFill>
                <a:srgbClr val="02B3EB"/>
              </a:solidFill>
            </a:endParaRPr>
          </a:p>
        </p:txBody>
      </p:sp>
      <p:sp>
        <p:nvSpPr>
          <p:cNvPr id="8" name="Объект 18">
            <a:extLst>
              <a:ext uri="{FF2B5EF4-FFF2-40B4-BE49-F238E27FC236}">
                <a16:creationId xmlns:a16="http://schemas.microsoft.com/office/drawing/2014/main" id="{1CAC6DFE-0ED3-DB4F-9275-0CCDC97AD8C0}"/>
              </a:ext>
            </a:extLst>
          </p:cNvPr>
          <p:cNvSpPr txBox="1">
            <a:spLocks/>
          </p:cNvSpPr>
          <p:nvPr/>
        </p:nvSpPr>
        <p:spPr>
          <a:xfrm>
            <a:off x="611193" y="2552699"/>
            <a:ext cx="2635147" cy="8285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ru-RU" dirty="0"/>
              <a:t>Страхование экспортных кредитов и дебиторской задолженности</a:t>
            </a:r>
            <a:endParaRPr lang="ru-KZ" dirty="0"/>
          </a:p>
        </p:txBody>
      </p:sp>
      <p:sp>
        <p:nvSpPr>
          <p:cNvPr id="9" name="Объект 18">
            <a:extLst>
              <a:ext uri="{FF2B5EF4-FFF2-40B4-BE49-F238E27FC236}">
                <a16:creationId xmlns:a16="http://schemas.microsoft.com/office/drawing/2014/main" id="{1CEBE0B7-C9E6-AB44-BDFC-18C3753E9241}"/>
              </a:ext>
            </a:extLst>
          </p:cNvPr>
          <p:cNvSpPr txBox="1">
            <a:spLocks/>
          </p:cNvSpPr>
          <p:nvPr/>
        </p:nvSpPr>
        <p:spPr>
          <a:xfrm>
            <a:off x="0" y="1996108"/>
            <a:ext cx="3246341" cy="6834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ru-RU" b="1" dirty="0">
                <a:solidFill>
                  <a:srgbClr val="02B3EB"/>
                </a:solidFill>
              </a:rPr>
              <a:t>Снижение риска неоплаты по экспортным контрактам</a:t>
            </a:r>
          </a:p>
        </p:txBody>
      </p:sp>
      <p:sp>
        <p:nvSpPr>
          <p:cNvPr id="10" name="Объект 18">
            <a:extLst>
              <a:ext uri="{FF2B5EF4-FFF2-40B4-BE49-F238E27FC236}">
                <a16:creationId xmlns:a16="http://schemas.microsoft.com/office/drawing/2014/main" id="{5881A890-7A52-2642-AFED-8CBF0990C6ED}"/>
              </a:ext>
            </a:extLst>
          </p:cNvPr>
          <p:cNvSpPr txBox="1">
            <a:spLocks/>
          </p:cNvSpPr>
          <p:nvPr/>
        </p:nvSpPr>
        <p:spPr>
          <a:xfrm>
            <a:off x="388557" y="5116627"/>
            <a:ext cx="2857783" cy="8285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ru-RU" dirty="0"/>
              <a:t>Привлечение инвестиционного займа под покрытие </a:t>
            </a:r>
            <a:r>
              <a:rPr lang="en" dirty="0" err="1"/>
              <a:t>KazakhExport</a:t>
            </a:r>
            <a:endParaRPr lang="ru-KZ" dirty="0"/>
          </a:p>
        </p:txBody>
      </p:sp>
      <p:sp>
        <p:nvSpPr>
          <p:cNvPr id="11" name="Объект 18">
            <a:extLst>
              <a:ext uri="{FF2B5EF4-FFF2-40B4-BE49-F238E27FC236}">
                <a16:creationId xmlns:a16="http://schemas.microsoft.com/office/drawing/2014/main" id="{2FBA80FD-C762-5444-A134-948D79E6E3A1}"/>
              </a:ext>
            </a:extLst>
          </p:cNvPr>
          <p:cNvSpPr txBox="1">
            <a:spLocks/>
          </p:cNvSpPr>
          <p:nvPr/>
        </p:nvSpPr>
        <p:spPr>
          <a:xfrm>
            <a:off x="0" y="4309937"/>
            <a:ext cx="3246341" cy="8285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ru-RU" b="1" dirty="0">
                <a:solidFill>
                  <a:srgbClr val="02B3EB"/>
                </a:solidFill>
              </a:rPr>
              <a:t>Создание </a:t>
            </a:r>
            <a:r>
              <a:rPr lang="ru-RU" b="1" dirty="0" err="1">
                <a:solidFill>
                  <a:srgbClr val="02B3EB"/>
                </a:solidFill>
              </a:rPr>
              <a:t>экспортно</a:t>
            </a:r>
            <a:r>
              <a:rPr lang="ru-RU" b="1" dirty="0">
                <a:solidFill>
                  <a:srgbClr val="02B3EB"/>
                </a:solidFill>
              </a:rPr>
              <a:t> ориентированного предприятия</a:t>
            </a:r>
          </a:p>
        </p:txBody>
      </p:sp>
      <p:sp>
        <p:nvSpPr>
          <p:cNvPr id="12" name="Объект 18">
            <a:extLst>
              <a:ext uri="{FF2B5EF4-FFF2-40B4-BE49-F238E27FC236}">
                <a16:creationId xmlns:a16="http://schemas.microsoft.com/office/drawing/2014/main" id="{C9EF888A-F04A-7041-AB8F-55A35451267A}"/>
              </a:ext>
            </a:extLst>
          </p:cNvPr>
          <p:cNvSpPr txBox="1">
            <a:spLocks/>
          </p:cNvSpPr>
          <p:nvPr/>
        </p:nvSpPr>
        <p:spPr>
          <a:xfrm>
            <a:off x="8881606" y="2799190"/>
            <a:ext cx="2759104" cy="8285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/>
              <a:t>Страхование аккредитивов и финансирование иностранного покупателя</a:t>
            </a:r>
          </a:p>
        </p:txBody>
      </p:sp>
      <p:sp>
        <p:nvSpPr>
          <p:cNvPr id="13" name="Объект 18">
            <a:extLst>
              <a:ext uri="{FF2B5EF4-FFF2-40B4-BE49-F238E27FC236}">
                <a16:creationId xmlns:a16="http://schemas.microsoft.com/office/drawing/2014/main" id="{751D98E4-D3C9-3A4F-84BE-0AA99A3F86DA}"/>
              </a:ext>
            </a:extLst>
          </p:cNvPr>
          <p:cNvSpPr txBox="1">
            <a:spLocks/>
          </p:cNvSpPr>
          <p:nvPr/>
        </p:nvSpPr>
        <p:spPr>
          <a:xfrm>
            <a:off x="8881607" y="1996108"/>
            <a:ext cx="3246341" cy="8285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rgbClr val="02B3EB"/>
                </a:solidFill>
              </a:rPr>
              <a:t>Увеличение объема экспорта, выход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rgbClr val="02B3EB"/>
                </a:solidFill>
              </a:rPr>
              <a:t>на новые рынки</a:t>
            </a:r>
          </a:p>
        </p:txBody>
      </p:sp>
      <p:sp>
        <p:nvSpPr>
          <p:cNvPr id="14" name="Объект 18">
            <a:extLst>
              <a:ext uri="{FF2B5EF4-FFF2-40B4-BE49-F238E27FC236}">
                <a16:creationId xmlns:a16="http://schemas.microsoft.com/office/drawing/2014/main" id="{873B053F-FC09-D646-A8AF-0E2DCFD3CE69}"/>
              </a:ext>
            </a:extLst>
          </p:cNvPr>
          <p:cNvSpPr txBox="1">
            <a:spLocks/>
          </p:cNvSpPr>
          <p:nvPr/>
        </p:nvSpPr>
        <p:spPr>
          <a:xfrm>
            <a:off x="8881606" y="5116627"/>
            <a:ext cx="2857783" cy="12651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/>
              <a:t>Привлечение оборотного капитала под покрытие </a:t>
            </a:r>
            <a:r>
              <a:rPr lang="en" dirty="0" err="1"/>
              <a:t>KazakhExport</a:t>
            </a:r>
            <a:r>
              <a:rPr lang="en" dirty="0"/>
              <a:t> (</a:t>
            </a:r>
            <a:r>
              <a:rPr lang="ru-RU" dirty="0"/>
              <a:t>займы, авансы, факторинг)</a:t>
            </a:r>
          </a:p>
        </p:txBody>
      </p:sp>
      <p:sp>
        <p:nvSpPr>
          <p:cNvPr id="15" name="Объект 18">
            <a:extLst>
              <a:ext uri="{FF2B5EF4-FFF2-40B4-BE49-F238E27FC236}">
                <a16:creationId xmlns:a16="http://schemas.microsoft.com/office/drawing/2014/main" id="{C6DD3A0E-4F76-1541-9A02-223068C640F0}"/>
              </a:ext>
            </a:extLst>
          </p:cNvPr>
          <p:cNvSpPr txBox="1">
            <a:spLocks/>
          </p:cNvSpPr>
          <p:nvPr/>
        </p:nvSpPr>
        <p:spPr>
          <a:xfrm>
            <a:off x="8881608" y="4309937"/>
            <a:ext cx="2830968" cy="9697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rgbClr val="02B3EB"/>
                </a:solidFill>
              </a:rPr>
              <a:t>Недостаток оборотного капитала, кассовые резервы</a:t>
            </a:r>
          </a:p>
        </p:txBody>
      </p:sp>
      <p:sp>
        <p:nvSpPr>
          <p:cNvPr id="16" name="Объект 18">
            <a:extLst>
              <a:ext uri="{FF2B5EF4-FFF2-40B4-BE49-F238E27FC236}">
                <a16:creationId xmlns:a16="http://schemas.microsoft.com/office/drawing/2014/main" id="{34F0ABEF-B1B9-3D4C-9CA0-278376988832}"/>
              </a:ext>
            </a:extLst>
          </p:cNvPr>
          <p:cNvSpPr txBox="1">
            <a:spLocks/>
          </p:cNvSpPr>
          <p:nvPr/>
        </p:nvSpPr>
        <p:spPr>
          <a:xfrm>
            <a:off x="4818492" y="5963810"/>
            <a:ext cx="3387254" cy="6129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rgbClr val="02B3EB"/>
                </a:solidFill>
              </a:rPr>
              <a:t>Модернизация производства, увеличение мощностей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3A1AE500-1D19-4A4E-9512-7816CCE4A09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2390" y="1626144"/>
            <a:ext cx="3856622" cy="3856622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43AE785F-FFFB-DB47-AC04-3745BAE9BC3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7117" y="1749949"/>
            <a:ext cx="802750" cy="802750"/>
          </a:xfrm>
          <a:prstGeom prst="rect">
            <a:avLst/>
          </a:prstGeom>
        </p:spPr>
      </p:pic>
      <p:sp>
        <p:nvSpPr>
          <p:cNvPr id="21" name="Объект 18">
            <a:extLst>
              <a:ext uri="{FF2B5EF4-FFF2-40B4-BE49-F238E27FC236}">
                <a16:creationId xmlns:a16="http://schemas.microsoft.com/office/drawing/2014/main" id="{F09150CD-BE92-1A4B-B5EE-E9296934C96B}"/>
              </a:ext>
            </a:extLst>
          </p:cNvPr>
          <p:cNvSpPr txBox="1">
            <a:spLocks/>
          </p:cNvSpPr>
          <p:nvPr/>
        </p:nvSpPr>
        <p:spPr>
          <a:xfrm>
            <a:off x="4452730" y="1924047"/>
            <a:ext cx="767137" cy="494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2000" b="1" dirty="0">
                <a:solidFill>
                  <a:schemeClr val="bg1"/>
                </a:solidFill>
              </a:rPr>
              <a:t>1</a:t>
            </a:r>
            <a:endParaRPr lang="ru-RU" sz="2000" b="1" dirty="0">
              <a:solidFill>
                <a:schemeClr val="bg1"/>
              </a:solidFill>
            </a:endParaRP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D13A1A67-463C-0C44-B7E6-ECD564B9F64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56950" y="1749949"/>
            <a:ext cx="802750" cy="802750"/>
          </a:xfrm>
          <a:prstGeom prst="rect">
            <a:avLst/>
          </a:prstGeom>
        </p:spPr>
      </p:pic>
      <p:sp>
        <p:nvSpPr>
          <p:cNvPr id="23" name="Объект 18">
            <a:extLst>
              <a:ext uri="{FF2B5EF4-FFF2-40B4-BE49-F238E27FC236}">
                <a16:creationId xmlns:a16="http://schemas.microsoft.com/office/drawing/2014/main" id="{AEF827F3-1B89-9941-9510-8378C5F67FEC}"/>
              </a:ext>
            </a:extLst>
          </p:cNvPr>
          <p:cNvSpPr txBox="1">
            <a:spLocks/>
          </p:cNvSpPr>
          <p:nvPr/>
        </p:nvSpPr>
        <p:spPr>
          <a:xfrm>
            <a:off x="7092563" y="1924047"/>
            <a:ext cx="767137" cy="494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2000" b="1" dirty="0">
                <a:solidFill>
                  <a:schemeClr val="bg1"/>
                </a:solidFill>
              </a:rPr>
              <a:t>2</a:t>
            </a:r>
            <a:endParaRPr lang="ru-RU" sz="2000" b="1" dirty="0">
              <a:solidFill>
                <a:schemeClr val="bg1"/>
              </a:solidFill>
            </a:endParaRP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BA288EEA-8505-7F41-BD82-B80EAB8ACA9B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4400" y="3841142"/>
            <a:ext cx="802750" cy="802750"/>
          </a:xfrm>
          <a:prstGeom prst="rect">
            <a:avLst/>
          </a:prstGeom>
        </p:spPr>
      </p:pic>
      <p:sp>
        <p:nvSpPr>
          <p:cNvPr id="25" name="Объект 18">
            <a:extLst>
              <a:ext uri="{FF2B5EF4-FFF2-40B4-BE49-F238E27FC236}">
                <a16:creationId xmlns:a16="http://schemas.microsoft.com/office/drawing/2014/main" id="{91F03AEB-1C31-D64A-9872-B1669BB8B76C}"/>
              </a:ext>
            </a:extLst>
          </p:cNvPr>
          <p:cNvSpPr txBox="1">
            <a:spLocks/>
          </p:cNvSpPr>
          <p:nvPr/>
        </p:nvSpPr>
        <p:spPr>
          <a:xfrm>
            <a:off x="3930013" y="4015240"/>
            <a:ext cx="767137" cy="494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2000" b="1" dirty="0">
                <a:solidFill>
                  <a:schemeClr val="bg1"/>
                </a:solidFill>
              </a:rPr>
              <a:t>5</a:t>
            </a:r>
            <a:endParaRPr lang="ru-RU" sz="2000" b="1" dirty="0">
              <a:solidFill>
                <a:schemeClr val="bg1"/>
              </a:solidFill>
            </a:endParaRP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4ED8FE68-73D9-1B44-9E64-A1AEB6669B5B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2996" y="3841142"/>
            <a:ext cx="802750" cy="802750"/>
          </a:xfrm>
          <a:prstGeom prst="rect">
            <a:avLst/>
          </a:prstGeom>
        </p:spPr>
      </p:pic>
      <p:sp>
        <p:nvSpPr>
          <p:cNvPr id="27" name="Объект 18">
            <a:extLst>
              <a:ext uri="{FF2B5EF4-FFF2-40B4-BE49-F238E27FC236}">
                <a16:creationId xmlns:a16="http://schemas.microsoft.com/office/drawing/2014/main" id="{E77FB2C2-A8EF-8044-9C1C-6A30A27AB411}"/>
              </a:ext>
            </a:extLst>
          </p:cNvPr>
          <p:cNvSpPr txBox="1">
            <a:spLocks/>
          </p:cNvSpPr>
          <p:nvPr/>
        </p:nvSpPr>
        <p:spPr>
          <a:xfrm>
            <a:off x="7438609" y="4015240"/>
            <a:ext cx="767137" cy="494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2000" b="1" dirty="0">
                <a:solidFill>
                  <a:schemeClr val="bg1"/>
                </a:solidFill>
              </a:rPr>
              <a:t>3</a:t>
            </a:r>
            <a:endParaRPr lang="ru-RU" sz="2000" b="1" dirty="0">
              <a:solidFill>
                <a:schemeClr val="bg1"/>
              </a:solidFill>
            </a:endParaRPr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DAFF550E-6712-8F40-B82A-991AF9E766F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9612" y="4994082"/>
            <a:ext cx="802750" cy="802750"/>
          </a:xfrm>
          <a:prstGeom prst="rect">
            <a:avLst/>
          </a:prstGeom>
        </p:spPr>
      </p:pic>
      <p:sp>
        <p:nvSpPr>
          <p:cNvPr id="29" name="Объект 18">
            <a:extLst>
              <a:ext uri="{FF2B5EF4-FFF2-40B4-BE49-F238E27FC236}">
                <a16:creationId xmlns:a16="http://schemas.microsoft.com/office/drawing/2014/main" id="{08946AB7-6C43-F841-950D-5A1ED3F7CBFB}"/>
              </a:ext>
            </a:extLst>
          </p:cNvPr>
          <p:cNvSpPr txBox="1">
            <a:spLocks/>
          </p:cNvSpPr>
          <p:nvPr/>
        </p:nvSpPr>
        <p:spPr>
          <a:xfrm>
            <a:off x="5705225" y="5168180"/>
            <a:ext cx="767137" cy="494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2000" b="1" dirty="0">
                <a:solidFill>
                  <a:schemeClr val="bg1"/>
                </a:solidFill>
              </a:rPr>
              <a:t>4</a:t>
            </a:r>
            <a:endParaRPr lang="ru-RU" sz="2000" b="1" dirty="0">
              <a:solidFill>
                <a:schemeClr val="bg1"/>
              </a:solidFill>
            </a:endParaRPr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D010CD2E-E5FE-6E4B-A39A-89AAA6ACB963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591" y="1485981"/>
            <a:ext cx="609600" cy="412750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57814DCC-E50D-1040-8B33-6D37DE55A668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9070" y="4253435"/>
            <a:ext cx="574618" cy="766158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12D19D49-41FB-3D45-8914-D24726CB20BF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8420" y="1324136"/>
            <a:ext cx="609599" cy="609599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8D60A8DD-8AAE-B141-8EBE-550BC10BCAE8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6870" y="3786345"/>
            <a:ext cx="627052" cy="526991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B9BB2A45-6DBD-9E4C-B0FF-73BAFBDED076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2503" y="5963810"/>
            <a:ext cx="751699" cy="628694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07279EBE-669C-E64F-9423-3AC777F83334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1044" y="5924383"/>
            <a:ext cx="891198" cy="442568"/>
          </a:xfrm>
          <a:prstGeom prst="rect">
            <a:avLst/>
          </a:prstGeom>
        </p:spPr>
      </p:pic>
      <p:sp>
        <p:nvSpPr>
          <p:cNvPr id="48" name="Нижний колонтитул 4">
            <a:extLst>
              <a:ext uri="{FF2B5EF4-FFF2-40B4-BE49-F238E27FC236}">
                <a16:creationId xmlns:a16="http://schemas.microsoft.com/office/drawing/2014/main" id="{CC236C97-F551-2945-A727-F22D73625F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8557" y="6235437"/>
            <a:ext cx="1704739" cy="365125"/>
          </a:xfrm>
        </p:spPr>
        <p:txBody>
          <a:bodyPr/>
          <a:lstStyle>
            <a:lvl1pPr algn="l">
              <a:defRPr sz="9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" dirty="0" err="1"/>
              <a:t>www.kazakhexport.kz</a:t>
            </a:r>
            <a:endParaRPr lang="ru-KZ" sz="900" dirty="0"/>
          </a:p>
        </p:txBody>
      </p:sp>
      <p:sp>
        <p:nvSpPr>
          <p:cNvPr id="49" name="Номер слайда 5">
            <a:extLst>
              <a:ext uri="{FF2B5EF4-FFF2-40B4-BE49-F238E27FC236}">
                <a16:creationId xmlns:a16="http://schemas.microsoft.com/office/drawing/2014/main" id="{1CC36C25-EC87-2645-AA19-560ED32E6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83689" y="6235436"/>
            <a:ext cx="985563" cy="365125"/>
          </a:xfrm>
        </p:spPr>
        <p:txBody>
          <a:bodyPr/>
          <a:lstStyle>
            <a:lvl1pPr>
              <a:defRPr sz="900" b="0" i="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D8230AC4-931F-2541-984F-431D72A143BD}" type="slidenum">
              <a:rPr lang="ru-KZ" smtClean="0"/>
              <a:pPr/>
              <a:t>115</a:t>
            </a:fld>
            <a:endParaRPr lang="ru-KZ" sz="900" dirty="0"/>
          </a:p>
        </p:txBody>
      </p:sp>
    </p:spTree>
    <p:extLst>
      <p:ext uri="{BB962C8B-B14F-4D97-AF65-F5344CB8AC3E}">
        <p14:creationId xmlns:p14="http://schemas.microsoft.com/office/powerpoint/2010/main" val="329967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AAE10655-318E-0B41-B1C4-1E91FF2C3B2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911" y="2691270"/>
            <a:ext cx="3052901" cy="1258596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DAA344D7-E6BC-BC4D-93AF-50EF6008491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0766" y="2701039"/>
            <a:ext cx="3498251" cy="1258596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639E9676-E3EB-6D4A-917B-391773C2F3F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5186" y="5485466"/>
            <a:ext cx="5491205" cy="916516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41971ADA-A7CA-654A-B428-667DAC0C7BD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824" y="1597854"/>
            <a:ext cx="1946731" cy="998981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5F3C3355-4C9E-3644-BF11-7A19EA96B9F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4506" y="1588685"/>
            <a:ext cx="2081209" cy="998980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21C3FF0B-DCA2-7541-AE35-39E0AC9028A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824" y="4304183"/>
            <a:ext cx="1946731" cy="998981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0EF42074-2E4E-7F4F-8E5B-9E1F76A794C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4506" y="4295014"/>
            <a:ext cx="2081209" cy="998980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A001CF23-E941-D049-A2CF-74AA7981DE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89635" y="0"/>
            <a:ext cx="3205039" cy="3715076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2E216653-912A-8745-B405-643A84F456E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5125" y="3417346"/>
            <a:ext cx="5326875" cy="3440654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91ED017-9E5F-B442-8D6B-8203C8AF83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2840" y="257438"/>
            <a:ext cx="8622708" cy="1131166"/>
          </a:xfrm>
        </p:spPr>
        <p:txBody>
          <a:bodyPr>
            <a:normAutofit fontScale="90000"/>
          </a:bodyPr>
          <a:lstStyle/>
          <a:p>
            <a:r>
              <a:rPr lang="ru-RU" dirty="0"/>
              <a:t>СНИЖЕНИЕ РИСКА ЭКСПОРТЕРА ОТ </a:t>
            </a:r>
            <a:r>
              <a:rPr lang="en-US" dirty="0"/>
              <a:t/>
            </a:r>
            <a:br>
              <a:rPr lang="en-US" dirty="0"/>
            </a:br>
            <a:r>
              <a:rPr lang="ru-RU" dirty="0">
                <a:solidFill>
                  <a:srgbClr val="02B3EB"/>
                </a:solidFill>
              </a:rPr>
              <a:t>НЕОПЛАТЫ ИНОСТРАННЫМ КОНТРАГЕНТОМ </a:t>
            </a:r>
            <a:endParaRPr lang="ru-KZ" dirty="0">
              <a:solidFill>
                <a:srgbClr val="02B3EB"/>
              </a:solidFill>
            </a:endParaRPr>
          </a:p>
        </p:txBody>
      </p:sp>
      <p:sp>
        <p:nvSpPr>
          <p:cNvPr id="4" name="Объект 18">
            <a:extLst>
              <a:ext uri="{FF2B5EF4-FFF2-40B4-BE49-F238E27FC236}">
                <a16:creationId xmlns:a16="http://schemas.microsoft.com/office/drawing/2014/main" id="{2AE064CA-6FCC-7443-B727-539988B39A11}"/>
              </a:ext>
            </a:extLst>
          </p:cNvPr>
          <p:cNvSpPr txBox="1">
            <a:spLocks/>
          </p:cNvSpPr>
          <p:nvPr/>
        </p:nvSpPr>
        <p:spPr>
          <a:xfrm>
            <a:off x="4191619" y="3222523"/>
            <a:ext cx="3246341" cy="828594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9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/>
              <a:t>Возможность застраховать портфель экспортных контрактов экспортера с отсрочкой платежа</a:t>
            </a:r>
          </a:p>
        </p:txBody>
      </p:sp>
      <p:sp>
        <p:nvSpPr>
          <p:cNvPr id="6" name="Объект 18">
            <a:extLst>
              <a:ext uri="{FF2B5EF4-FFF2-40B4-BE49-F238E27FC236}">
                <a16:creationId xmlns:a16="http://schemas.microsoft.com/office/drawing/2014/main" id="{A5AA38E9-99E7-0E43-B518-9EA92FF5B9CB}"/>
              </a:ext>
            </a:extLst>
          </p:cNvPr>
          <p:cNvSpPr txBox="1">
            <a:spLocks/>
          </p:cNvSpPr>
          <p:nvPr/>
        </p:nvSpPr>
        <p:spPr>
          <a:xfrm>
            <a:off x="4191621" y="2782643"/>
            <a:ext cx="3246341" cy="5652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9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rgbClr val="02B3EB"/>
                </a:solidFill>
              </a:rPr>
              <a:t>Страхование краткосрочной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rgbClr val="02B3EB"/>
                </a:solidFill>
              </a:rPr>
              <a:t>дебиторской задолженности</a:t>
            </a:r>
          </a:p>
        </p:txBody>
      </p:sp>
      <p:sp>
        <p:nvSpPr>
          <p:cNvPr id="7" name="Объект 18">
            <a:extLst>
              <a:ext uri="{FF2B5EF4-FFF2-40B4-BE49-F238E27FC236}">
                <a16:creationId xmlns:a16="http://schemas.microsoft.com/office/drawing/2014/main" id="{90962839-B237-5C49-B452-64D9F63A4C28}"/>
              </a:ext>
            </a:extLst>
          </p:cNvPr>
          <p:cNvSpPr txBox="1">
            <a:spLocks/>
          </p:cNvSpPr>
          <p:nvPr/>
        </p:nvSpPr>
        <p:spPr>
          <a:xfrm>
            <a:off x="652006" y="3222523"/>
            <a:ext cx="2759104" cy="8285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9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ru-RU" dirty="0"/>
              <a:t>Возможность застраховать риск неплатежа со стороны зарубежного покупателя</a:t>
            </a:r>
          </a:p>
        </p:txBody>
      </p:sp>
      <p:sp>
        <p:nvSpPr>
          <p:cNvPr id="8" name="Объект 18">
            <a:extLst>
              <a:ext uri="{FF2B5EF4-FFF2-40B4-BE49-F238E27FC236}">
                <a16:creationId xmlns:a16="http://schemas.microsoft.com/office/drawing/2014/main" id="{E3BD6581-E5D9-9C41-B9BD-5D505484549C}"/>
              </a:ext>
            </a:extLst>
          </p:cNvPr>
          <p:cNvSpPr txBox="1">
            <a:spLocks/>
          </p:cNvSpPr>
          <p:nvPr/>
        </p:nvSpPr>
        <p:spPr>
          <a:xfrm>
            <a:off x="164769" y="2782643"/>
            <a:ext cx="3246341" cy="5652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9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ru-RU" b="1" dirty="0">
                <a:solidFill>
                  <a:srgbClr val="02B3EB"/>
                </a:solidFill>
              </a:rPr>
              <a:t>Страхование отсрочки платежа</a:t>
            </a:r>
          </a:p>
        </p:txBody>
      </p:sp>
      <p:sp>
        <p:nvSpPr>
          <p:cNvPr id="9" name="Объект 18">
            <a:extLst>
              <a:ext uri="{FF2B5EF4-FFF2-40B4-BE49-F238E27FC236}">
                <a16:creationId xmlns:a16="http://schemas.microsoft.com/office/drawing/2014/main" id="{B20363D9-9097-2744-8947-19541FE2334F}"/>
              </a:ext>
            </a:extLst>
          </p:cNvPr>
          <p:cNvSpPr txBox="1">
            <a:spLocks/>
          </p:cNvSpPr>
          <p:nvPr/>
        </p:nvSpPr>
        <p:spPr>
          <a:xfrm>
            <a:off x="1463168" y="5794090"/>
            <a:ext cx="5099864" cy="8285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9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/>
              <a:t>Возможность застраховать риски Торгового дома экспортера от неоплаты конечных покупателей</a:t>
            </a:r>
          </a:p>
        </p:txBody>
      </p:sp>
      <p:sp>
        <p:nvSpPr>
          <p:cNvPr id="10" name="Объект 18">
            <a:extLst>
              <a:ext uri="{FF2B5EF4-FFF2-40B4-BE49-F238E27FC236}">
                <a16:creationId xmlns:a16="http://schemas.microsoft.com/office/drawing/2014/main" id="{21A4362A-29D0-6A44-9CAB-FA9204219305}"/>
              </a:ext>
            </a:extLst>
          </p:cNvPr>
          <p:cNvSpPr txBox="1">
            <a:spLocks/>
          </p:cNvSpPr>
          <p:nvPr/>
        </p:nvSpPr>
        <p:spPr>
          <a:xfrm>
            <a:off x="1463168" y="5570088"/>
            <a:ext cx="5475947" cy="4988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9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rgbClr val="02B3EB"/>
                </a:solidFill>
              </a:rPr>
              <a:t>Страхование рисков торгового дома экспортера</a:t>
            </a:r>
          </a:p>
        </p:txBody>
      </p:sp>
      <p:sp>
        <p:nvSpPr>
          <p:cNvPr id="11" name="Объект 18">
            <a:extLst>
              <a:ext uri="{FF2B5EF4-FFF2-40B4-BE49-F238E27FC236}">
                <a16:creationId xmlns:a16="http://schemas.microsoft.com/office/drawing/2014/main" id="{8DD0C47E-B00C-F64D-8467-2CF350E64234}"/>
              </a:ext>
            </a:extLst>
          </p:cNvPr>
          <p:cNvSpPr txBox="1">
            <a:spLocks/>
          </p:cNvSpPr>
          <p:nvPr/>
        </p:nvSpPr>
        <p:spPr>
          <a:xfrm>
            <a:off x="2389239" y="2222206"/>
            <a:ext cx="2890684" cy="2941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9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ru-RU" sz="1000" dirty="0">
                <a:solidFill>
                  <a:srgbClr val="02B3EB"/>
                </a:solidFill>
              </a:rPr>
              <a:t>Контракт с отсрочкой платежа</a:t>
            </a:r>
          </a:p>
        </p:txBody>
      </p:sp>
      <p:sp>
        <p:nvSpPr>
          <p:cNvPr id="12" name="Объект 18">
            <a:extLst>
              <a:ext uri="{FF2B5EF4-FFF2-40B4-BE49-F238E27FC236}">
                <a16:creationId xmlns:a16="http://schemas.microsoft.com/office/drawing/2014/main" id="{B3C17B64-D5A7-3440-9F9A-116978ED2A41}"/>
              </a:ext>
            </a:extLst>
          </p:cNvPr>
          <p:cNvSpPr txBox="1">
            <a:spLocks/>
          </p:cNvSpPr>
          <p:nvPr/>
        </p:nvSpPr>
        <p:spPr>
          <a:xfrm>
            <a:off x="2389239" y="4935909"/>
            <a:ext cx="2890684" cy="2941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9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ru-RU" sz="1000" dirty="0">
                <a:solidFill>
                  <a:srgbClr val="02B3EB"/>
                </a:solidFill>
              </a:rPr>
              <a:t>Контракт с отсрочкой платежа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F052737-CA92-3A4A-9371-2508B06D6B41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0709" y="1579339"/>
            <a:ext cx="1244814" cy="467975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5E641C99-5B1E-4949-BE87-40E0261C8E6F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0709" y="4293042"/>
            <a:ext cx="1244814" cy="467975"/>
          </a:xfrm>
          <a:prstGeom prst="rect">
            <a:avLst/>
          </a:prstGeom>
        </p:spPr>
      </p:pic>
      <p:sp>
        <p:nvSpPr>
          <p:cNvPr id="16" name="Объект 18">
            <a:extLst>
              <a:ext uri="{FF2B5EF4-FFF2-40B4-BE49-F238E27FC236}">
                <a16:creationId xmlns:a16="http://schemas.microsoft.com/office/drawing/2014/main" id="{95284655-222E-0447-AE2D-DDFE5DC8B014}"/>
              </a:ext>
            </a:extLst>
          </p:cNvPr>
          <p:cNvSpPr txBox="1">
            <a:spLocks/>
          </p:cNvSpPr>
          <p:nvPr/>
        </p:nvSpPr>
        <p:spPr>
          <a:xfrm>
            <a:off x="1042840" y="1919973"/>
            <a:ext cx="1324275" cy="4639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9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chemeClr val="bg1"/>
                </a:solidFill>
              </a:rPr>
              <a:t>Экспортер</a:t>
            </a:r>
          </a:p>
        </p:txBody>
      </p:sp>
      <p:sp>
        <p:nvSpPr>
          <p:cNvPr id="19" name="Объект 18">
            <a:extLst>
              <a:ext uri="{FF2B5EF4-FFF2-40B4-BE49-F238E27FC236}">
                <a16:creationId xmlns:a16="http://schemas.microsoft.com/office/drawing/2014/main" id="{6FF3CC50-A2E1-3E4E-8ED2-3A2E33BC61A3}"/>
              </a:ext>
            </a:extLst>
          </p:cNvPr>
          <p:cNvSpPr txBox="1">
            <a:spLocks/>
          </p:cNvSpPr>
          <p:nvPr/>
        </p:nvSpPr>
        <p:spPr>
          <a:xfrm>
            <a:off x="5968805" y="1831484"/>
            <a:ext cx="1987950" cy="6996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9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chemeClr val="bg1"/>
                </a:solidFill>
              </a:rPr>
              <a:t>Иностранный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chemeClr val="bg1"/>
                </a:solidFill>
              </a:rPr>
              <a:t>покупатель</a:t>
            </a:r>
          </a:p>
        </p:txBody>
      </p:sp>
      <p:sp>
        <p:nvSpPr>
          <p:cNvPr id="20" name="Объект 18">
            <a:extLst>
              <a:ext uri="{FF2B5EF4-FFF2-40B4-BE49-F238E27FC236}">
                <a16:creationId xmlns:a16="http://schemas.microsoft.com/office/drawing/2014/main" id="{6F1316C5-7C4C-D946-AB71-C3174EFC841E}"/>
              </a:ext>
            </a:extLst>
          </p:cNvPr>
          <p:cNvSpPr txBox="1">
            <a:spLocks/>
          </p:cNvSpPr>
          <p:nvPr/>
        </p:nvSpPr>
        <p:spPr>
          <a:xfrm>
            <a:off x="5968805" y="4530439"/>
            <a:ext cx="1987950" cy="6996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9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chemeClr val="bg1"/>
                </a:solidFill>
              </a:rPr>
              <a:t>Иностранный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chemeClr val="bg1"/>
                </a:solidFill>
              </a:rPr>
              <a:t>покупатель</a:t>
            </a:r>
          </a:p>
        </p:txBody>
      </p:sp>
      <p:sp>
        <p:nvSpPr>
          <p:cNvPr id="21" name="Объект 18">
            <a:extLst>
              <a:ext uri="{FF2B5EF4-FFF2-40B4-BE49-F238E27FC236}">
                <a16:creationId xmlns:a16="http://schemas.microsoft.com/office/drawing/2014/main" id="{2C2D2A87-C2AD-6943-8497-154EAB48D2DE}"/>
              </a:ext>
            </a:extLst>
          </p:cNvPr>
          <p:cNvSpPr txBox="1">
            <a:spLocks/>
          </p:cNvSpPr>
          <p:nvPr/>
        </p:nvSpPr>
        <p:spPr>
          <a:xfrm>
            <a:off x="1057592" y="4530439"/>
            <a:ext cx="1374235" cy="6996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9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chemeClr val="bg1"/>
                </a:solidFill>
              </a:rPr>
              <a:t>Торговый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chemeClr val="bg1"/>
                </a:solidFill>
              </a:rPr>
              <a:t>дом</a:t>
            </a: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98AF9560-34B7-5945-B313-BDBC395DCB9D}"/>
              </a:ext>
            </a:extLst>
          </p:cNvPr>
          <p:cNvSpPr txBox="1">
            <a:spLocks/>
          </p:cNvSpPr>
          <p:nvPr/>
        </p:nvSpPr>
        <p:spPr>
          <a:xfrm>
            <a:off x="351205" y="257438"/>
            <a:ext cx="889198" cy="7777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>
                <a:solidFill>
                  <a:srgbClr val="E0E3E6"/>
                </a:solidFill>
              </a:rPr>
              <a:t>01</a:t>
            </a:r>
            <a:r>
              <a:rPr lang="en-US" sz="1000" dirty="0">
                <a:solidFill>
                  <a:srgbClr val="E0E3E6"/>
                </a:solidFill>
              </a:rPr>
              <a:t> </a:t>
            </a:r>
            <a:r>
              <a:rPr lang="en-US" dirty="0">
                <a:solidFill>
                  <a:srgbClr val="E0E3E6"/>
                </a:solidFill>
              </a:rPr>
              <a:t>|</a:t>
            </a:r>
            <a:endParaRPr lang="ru-KZ" dirty="0">
              <a:solidFill>
                <a:srgbClr val="E0E3E6"/>
              </a:solidFill>
            </a:endParaRPr>
          </a:p>
        </p:txBody>
      </p:sp>
      <p:sp>
        <p:nvSpPr>
          <p:cNvPr id="27" name="Объект 18">
            <a:extLst>
              <a:ext uri="{FF2B5EF4-FFF2-40B4-BE49-F238E27FC236}">
                <a16:creationId xmlns:a16="http://schemas.microsoft.com/office/drawing/2014/main" id="{01697468-BFFE-7741-B008-7FF8AA81412C}"/>
              </a:ext>
            </a:extLst>
          </p:cNvPr>
          <p:cNvSpPr txBox="1">
            <a:spLocks/>
          </p:cNvSpPr>
          <p:nvPr/>
        </p:nvSpPr>
        <p:spPr>
          <a:xfrm>
            <a:off x="8941442" y="3792445"/>
            <a:ext cx="3011703" cy="26049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9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/>
              <a:t>Агрессивная маркетинговая политика при выходе на зарубежный рынок</a:t>
            </a:r>
          </a:p>
          <a:p>
            <a:pPr marL="0" indent="0">
              <a:spcBef>
                <a:spcPts val="0"/>
              </a:spcBef>
              <a:buNone/>
            </a:pPr>
            <a:endParaRPr lang="ru-RU" dirty="0"/>
          </a:p>
          <a:p>
            <a:pPr marL="0" indent="0">
              <a:spcBef>
                <a:spcPts val="0"/>
              </a:spcBef>
              <a:buNone/>
            </a:pPr>
            <a:r>
              <a:rPr lang="ru-RU" dirty="0"/>
              <a:t>Расширение экспортного потенциала</a:t>
            </a:r>
          </a:p>
          <a:p>
            <a:pPr marL="0" indent="0">
              <a:spcBef>
                <a:spcPts val="0"/>
              </a:spcBef>
              <a:buNone/>
            </a:pPr>
            <a:endParaRPr lang="ru-RU" dirty="0"/>
          </a:p>
          <a:p>
            <a:pPr marL="0" indent="0">
              <a:spcBef>
                <a:spcPts val="0"/>
              </a:spcBef>
              <a:buNone/>
            </a:pPr>
            <a:r>
              <a:rPr lang="ru-RU" dirty="0"/>
              <a:t>Возможность бесплатно проверить зарубежного импортера</a:t>
            </a:r>
          </a:p>
        </p:txBody>
      </p:sp>
      <p:sp>
        <p:nvSpPr>
          <p:cNvPr id="29" name="Объект 18">
            <a:extLst>
              <a:ext uri="{FF2B5EF4-FFF2-40B4-BE49-F238E27FC236}">
                <a16:creationId xmlns:a16="http://schemas.microsoft.com/office/drawing/2014/main" id="{C730700B-F625-884B-B4A9-E0588F0C3855}"/>
              </a:ext>
            </a:extLst>
          </p:cNvPr>
          <p:cNvSpPr txBox="1">
            <a:spLocks/>
          </p:cNvSpPr>
          <p:nvPr/>
        </p:nvSpPr>
        <p:spPr>
          <a:xfrm>
            <a:off x="9065653" y="3067314"/>
            <a:ext cx="3011703" cy="4403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9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1800" b="1" dirty="0">
                <a:solidFill>
                  <a:srgbClr val="02B3EB"/>
                </a:solidFill>
              </a:rPr>
              <a:t>ПРЕИМУЩЕСТВА</a:t>
            </a:r>
          </a:p>
        </p:txBody>
      </p:sp>
      <p:sp>
        <p:nvSpPr>
          <p:cNvPr id="30" name="Объект 18">
            <a:extLst>
              <a:ext uri="{FF2B5EF4-FFF2-40B4-BE49-F238E27FC236}">
                <a16:creationId xmlns:a16="http://schemas.microsoft.com/office/drawing/2014/main" id="{59F33A1C-4264-F845-9353-69474508F63F}"/>
              </a:ext>
            </a:extLst>
          </p:cNvPr>
          <p:cNvSpPr txBox="1">
            <a:spLocks/>
          </p:cNvSpPr>
          <p:nvPr/>
        </p:nvSpPr>
        <p:spPr>
          <a:xfrm>
            <a:off x="8698094" y="3792445"/>
            <a:ext cx="529053" cy="26049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9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b="1" dirty="0">
                <a:solidFill>
                  <a:srgbClr val="02B3EB"/>
                </a:solidFill>
              </a:rPr>
              <a:t>+</a:t>
            </a:r>
          </a:p>
          <a:p>
            <a:pPr marL="0" indent="0">
              <a:spcBef>
                <a:spcPts val="0"/>
              </a:spcBef>
              <a:buNone/>
            </a:pPr>
            <a:endParaRPr lang="en-US" b="1" dirty="0">
              <a:solidFill>
                <a:srgbClr val="02B3EB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endParaRPr lang="en-US" b="1" dirty="0">
              <a:solidFill>
                <a:srgbClr val="02B3EB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endParaRPr lang="en-US" b="1" dirty="0">
              <a:solidFill>
                <a:srgbClr val="02B3EB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b="1" dirty="0">
                <a:solidFill>
                  <a:srgbClr val="02B3EB"/>
                </a:solidFill>
              </a:rPr>
              <a:t>+</a:t>
            </a:r>
          </a:p>
          <a:p>
            <a:pPr marL="0" indent="0">
              <a:spcBef>
                <a:spcPts val="0"/>
              </a:spcBef>
              <a:buNone/>
            </a:pPr>
            <a:endParaRPr lang="en-US" b="1" dirty="0">
              <a:solidFill>
                <a:srgbClr val="02B3EB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endParaRPr lang="en-US" b="1" dirty="0">
              <a:solidFill>
                <a:srgbClr val="02B3EB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b="1" dirty="0">
                <a:solidFill>
                  <a:srgbClr val="02B3EB"/>
                </a:solidFill>
              </a:rPr>
              <a:t>+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3C84DBB7-1B1F-5E44-9EAB-8D4B53ADBFF0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088" y="1857840"/>
            <a:ext cx="438628" cy="445481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A62A4AF9-85EA-2549-9B9C-D29FED1DBE59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0582" y="1883103"/>
            <a:ext cx="354872" cy="348300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BB7301F1-781D-6541-8E24-ED0BD24AE061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0582" y="4633677"/>
            <a:ext cx="354872" cy="348300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2BCD6E80-0464-0D41-8316-BFA24C6EDDAD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350" y="4590714"/>
            <a:ext cx="447490" cy="397769"/>
          </a:xfrm>
          <a:prstGeom prst="rect">
            <a:avLst/>
          </a:prstGeom>
        </p:spPr>
      </p:pic>
      <p:cxnSp>
        <p:nvCxnSpPr>
          <p:cNvPr id="47" name="Прямая со стрелкой 46">
            <a:extLst>
              <a:ext uri="{FF2B5EF4-FFF2-40B4-BE49-F238E27FC236}">
                <a16:creationId xmlns:a16="http://schemas.microsoft.com/office/drawing/2014/main" id="{B02AB51A-7A04-2D4F-BC5F-36BDE18C9173}"/>
              </a:ext>
            </a:extLst>
          </p:cNvPr>
          <p:cNvCxnSpPr>
            <a:cxnSpLocks/>
          </p:cNvCxnSpPr>
          <p:nvPr/>
        </p:nvCxnSpPr>
        <p:spPr>
          <a:xfrm flipV="1">
            <a:off x="2427679" y="2222207"/>
            <a:ext cx="3006827" cy="9196"/>
          </a:xfrm>
          <a:prstGeom prst="straightConnector1">
            <a:avLst/>
          </a:prstGeom>
          <a:ln>
            <a:solidFill>
              <a:srgbClr val="02B3EB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 стрелкой 47">
            <a:extLst>
              <a:ext uri="{FF2B5EF4-FFF2-40B4-BE49-F238E27FC236}">
                <a16:creationId xmlns:a16="http://schemas.microsoft.com/office/drawing/2014/main" id="{30AF919E-15E8-8E4D-9484-ED76A3853AA0}"/>
              </a:ext>
            </a:extLst>
          </p:cNvPr>
          <p:cNvCxnSpPr>
            <a:cxnSpLocks/>
          </p:cNvCxnSpPr>
          <p:nvPr/>
        </p:nvCxnSpPr>
        <p:spPr>
          <a:xfrm>
            <a:off x="2431827" y="4899038"/>
            <a:ext cx="3002679" cy="0"/>
          </a:xfrm>
          <a:prstGeom prst="straightConnector1">
            <a:avLst/>
          </a:prstGeom>
          <a:ln>
            <a:solidFill>
              <a:srgbClr val="02B3EB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066CA2E9-65D1-B941-9DF6-0BA0ED8EABA6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139" y="2192842"/>
            <a:ext cx="221726" cy="2743067"/>
          </a:xfrm>
          <a:prstGeom prst="rect">
            <a:avLst/>
          </a:prstGeom>
        </p:spPr>
      </p:pic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2B57A650-A453-5246-BC57-0756C97CA21E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65108" y="2588573"/>
            <a:ext cx="273212" cy="431069"/>
          </a:xfrm>
          <a:prstGeom prst="rect">
            <a:avLst/>
          </a:prstGeom>
        </p:spPr>
      </p:pic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FB323056-B985-E843-8FBC-812220E9C23E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834580" y="2588573"/>
            <a:ext cx="267160" cy="431069"/>
          </a:xfrm>
          <a:prstGeom prst="rect">
            <a:avLst/>
          </a:prstGeom>
        </p:spPr>
      </p:pic>
      <p:sp>
        <p:nvSpPr>
          <p:cNvPr id="56" name="Овал 55">
            <a:extLst>
              <a:ext uri="{FF2B5EF4-FFF2-40B4-BE49-F238E27FC236}">
                <a16:creationId xmlns:a16="http://schemas.microsoft.com/office/drawing/2014/main" id="{EDC50AB3-A95F-9545-A2AA-BB3BE58D1DC3}"/>
              </a:ext>
            </a:extLst>
          </p:cNvPr>
          <p:cNvSpPr/>
          <p:nvPr/>
        </p:nvSpPr>
        <p:spPr>
          <a:xfrm>
            <a:off x="3405035" y="2897086"/>
            <a:ext cx="245404" cy="245404"/>
          </a:xfrm>
          <a:prstGeom prst="ellipse">
            <a:avLst/>
          </a:prstGeom>
          <a:solidFill>
            <a:srgbClr val="0420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DC97C2F-F63B-954B-97A5-D16203594A66}"/>
              </a:ext>
            </a:extLst>
          </p:cNvPr>
          <p:cNvSpPr txBox="1"/>
          <p:nvPr/>
        </p:nvSpPr>
        <p:spPr>
          <a:xfrm>
            <a:off x="3393345" y="2864428"/>
            <a:ext cx="18882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1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59" name="Овал 58">
            <a:extLst>
              <a:ext uri="{FF2B5EF4-FFF2-40B4-BE49-F238E27FC236}">
                <a16:creationId xmlns:a16="http://schemas.microsoft.com/office/drawing/2014/main" id="{CB331BE0-E7E1-A747-87C7-4A78A3C03BF2}"/>
              </a:ext>
            </a:extLst>
          </p:cNvPr>
          <p:cNvSpPr/>
          <p:nvPr/>
        </p:nvSpPr>
        <p:spPr>
          <a:xfrm>
            <a:off x="3946903" y="2897086"/>
            <a:ext cx="245404" cy="245404"/>
          </a:xfrm>
          <a:prstGeom prst="ellipse">
            <a:avLst/>
          </a:prstGeom>
          <a:solidFill>
            <a:srgbClr val="0420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2CB418D-6ACD-904F-9B22-5E7C464745F1}"/>
              </a:ext>
            </a:extLst>
          </p:cNvPr>
          <p:cNvSpPr txBox="1"/>
          <p:nvPr/>
        </p:nvSpPr>
        <p:spPr>
          <a:xfrm>
            <a:off x="3935213" y="2864428"/>
            <a:ext cx="18882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2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62" name="Овал 61">
            <a:extLst>
              <a:ext uri="{FF2B5EF4-FFF2-40B4-BE49-F238E27FC236}">
                <a16:creationId xmlns:a16="http://schemas.microsoft.com/office/drawing/2014/main" id="{52DE5F6D-F1CC-384E-ACF4-6DE7837B1589}"/>
              </a:ext>
            </a:extLst>
          </p:cNvPr>
          <p:cNvSpPr/>
          <p:nvPr/>
        </p:nvSpPr>
        <p:spPr>
          <a:xfrm>
            <a:off x="3777569" y="5358064"/>
            <a:ext cx="245404" cy="245404"/>
          </a:xfrm>
          <a:prstGeom prst="ellipse">
            <a:avLst/>
          </a:prstGeom>
          <a:solidFill>
            <a:srgbClr val="0420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02F7D350-31A5-AC43-B022-613AE9EBBCE9}"/>
              </a:ext>
            </a:extLst>
          </p:cNvPr>
          <p:cNvSpPr txBox="1"/>
          <p:nvPr/>
        </p:nvSpPr>
        <p:spPr>
          <a:xfrm>
            <a:off x="3765879" y="5325406"/>
            <a:ext cx="18882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3</a:t>
            </a:r>
            <a:endParaRPr lang="ru-KZ" sz="1400" dirty="0">
              <a:solidFill>
                <a:schemeClr val="bg1"/>
              </a:solidFill>
            </a:endParaRPr>
          </a:p>
        </p:txBody>
      </p:sp>
      <p:cxnSp>
        <p:nvCxnSpPr>
          <p:cNvPr id="71" name="Прямая соединительная линия 70">
            <a:extLst>
              <a:ext uri="{FF2B5EF4-FFF2-40B4-BE49-F238E27FC236}">
                <a16:creationId xmlns:a16="http://schemas.microsoft.com/office/drawing/2014/main" id="{34D53682-64D1-B141-B574-9D398AAD43CA}"/>
              </a:ext>
            </a:extLst>
          </p:cNvPr>
          <p:cNvCxnSpPr>
            <a:cxnSpLocks/>
          </p:cNvCxnSpPr>
          <p:nvPr/>
        </p:nvCxnSpPr>
        <p:spPr>
          <a:xfrm flipV="1">
            <a:off x="3894626" y="5208742"/>
            <a:ext cx="0" cy="211419"/>
          </a:xfrm>
          <a:prstGeom prst="line">
            <a:avLst/>
          </a:prstGeom>
          <a:ln>
            <a:solidFill>
              <a:srgbClr val="0420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Нижний колонтитул 4">
            <a:extLst>
              <a:ext uri="{FF2B5EF4-FFF2-40B4-BE49-F238E27FC236}">
                <a16:creationId xmlns:a16="http://schemas.microsoft.com/office/drawing/2014/main" id="{86EB1CCA-989F-D94D-AAFF-71796B0911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8557" y="6235437"/>
            <a:ext cx="1704739" cy="365125"/>
          </a:xfrm>
        </p:spPr>
        <p:txBody>
          <a:bodyPr/>
          <a:lstStyle>
            <a:lvl1pPr algn="l">
              <a:defRPr sz="9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" dirty="0" err="1"/>
              <a:t>www.kazakhexport.kz</a:t>
            </a:r>
            <a:endParaRPr lang="ru-KZ" sz="900" dirty="0"/>
          </a:p>
        </p:txBody>
      </p:sp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892B73E8-10F3-0C40-8A1B-D7FD28E98017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075" y="481457"/>
            <a:ext cx="1021563" cy="384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27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9C24C266-51E7-AB46-AB70-128E682C935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0944" y="4897897"/>
            <a:ext cx="3610290" cy="1469452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DED6896-E381-C041-9C36-199E4664E19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87826" y="-251"/>
            <a:ext cx="3204174" cy="3715076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2E216653-912A-8745-B405-643A84F456E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5125" y="3417346"/>
            <a:ext cx="5326875" cy="3440654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91ED017-9E5F-B442-8D6B-8203C8AF83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2840" y="257438"/>
            <a:ext cx="8622708" cy="1131166"/>
          </a:xfrm>
        </p:spPr>
        <p:txBody>
          <a:bodyPr>
            <a:normAutofit fontScale="90000"/>
          </a:bodyPr>
          <a:lstStyle/>
          <a:p>
            <a:r>
              <a:rPr lang="ru-RU" dirty="0"/>
              <a:t>ПОПОЛНЕНИЕ ОБОРОТНЫХ </a:t>
            </a:r>
            <a:br>
              <a:rPr lang="ru-RU" dirty="0"/>
            </a:br>
            <a:r>
              <a:rPr lang="ru-RU" dirty="0">
                <a:solidFill>
                  <a:srgbClr val="02B3EB"/>
                </a:solidFill>
              </a:rPr>
              <a:t>СРЕДСТВ ЭКСПОРТЕРА</a:t>
            </a:r>
            <a:endParaRPr lang="ru-KZ" dirty="0">
              <a:solidFill>
                <a:srgbClr val="02B3EB"/>
              </a:solidFill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98AF9560-34B7-5945-B313-BDBC395DCB9D}"/>
              </a:ext>
            </a:extLst>
          </p:cNvPr>
          <p:cNvSpPr txBox="1">
            <a:spLocks/>
          </p:cNvSpPr>
          <p:nvPr/>
        </p:nvSpPr>
        <p:spPr>
          <a:xfrm>
            <a:off x="351205" y="257438"/>
            <a:ext cx="889198" cy="7777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>
                <a:solidFill>
                  <a:srgbClr val="E0E3E6"/>
                </a:solidFill>
              </a:rPr>
              <a:t>02</a:t>
            </a:r>
            <a:r>
              <a:rPr lang="en-US" sz="1000" dirty="0">
                <a:solidFill>
                  <a:srgbClr val="E0E3E6"/>
                </a:solidFill>
              </a:rPr>
              <a:t> </a:t>
            </a:r>
            <a:r>
              <a:rPr lang="en-US" dirty="0">
                <a:solidFill>
                  <a:srgbClr val="E0E3E6"/>
                </a:solidFill>
              </a:rPr>
              <a:t>|</a:t>
            </a:r>
            <a:endParaRPr lang="ru-KZ" dirty="0">
              <a:solidFill>
                <a:srgbClr val="E0E3E6"/>
              </a:solidFill>
            </a:endParaRPr>
          </a:p>
        </p:txBody>
      </p:sp>
      <p:sp>
        <p:nvSpPr>
          <p:cNvPr id="27" name="Объект 18">
            <a:extLst>
              <a:ext uri="{FF2B5EF4-FFF2-40B4-BE49-F238E27FC236}">
                <a16:creationId xmlns:a16="http://schemas.microsoft.com/office/drawing/2014/main" id="{01697468-BFFE-7741-B008-7FF8AA81412C}"/>
              </a:ext>
            </a:extLst>
          </p:cNvPr>
          <p:cNvSpPr txBox="1">
            <a:spLocks/>
          </p:cNvSpPr>
          <p:nvPr/>
        </p:nvSpPr>
        <p:spPr>
          <a:xfrm>
            <a:off x="8941442" y="3792445"/>
            <a:ext cx="3011703" cy="26049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5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/>
              <a:t>Расширение экспортного потенциала</a:t>
            </a:r>
          </a:p>
          <a:p>
            <a:pPr marL="0" indent="0">
              <a:spcBef>
                <a:spcPts val="0"/>
              </a:spcBef>
              <a:buNone/>
            </a:pPr>
            <a:endParaRPr lang="ru-RU" dirty="0"/>
          </a:p>
          <a:p>
            <a:pPr marL="0" indent="0">
              <a:spcBef>
                <a:spcPts val="0"/>
              </a:spcBef>
              <a:buNone/>
            </a:pPr>
            <a:r>
              <a:rPr lang="ru-RU" dirty="0"/>
              <a:t>Доступ к финансовым инструментам при недостаточности </a:t>
            </a:r>
            <a:endParaRPr lang="en-US" dirty="0"/>
          </a:p>
          <a:p>
            <a:pPr marL="0" indent="0">
              <a:spcBef>
                <a:spcPts val="0"/>
              </a:spcBef>
              <a:buNone/>
            </a:pPr>
            <a:r>
              <a:rPr lang="ru-RU" dirty="0"/>
              <a:t>обеспечения по требованиям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dirty="0"/>
              <a:t>финансового института</a:t>
            </a:r>
          </a:p>
        </p:txBody>
      </p:sp>
      <p:sp>
        <p:nvSpPr>
          <p:cNvPr id="29" name="Объект 18">
            <a:extLst>
              <a:ext uri="{FF2B5EF4-FFF2-40B4-BE49-F238E27FC236}">
                <a16:creationId xmlns:a16="http://schemas.microsoft.com/office/drawing/2014/main" id="{C730700B-F625-884B-B4A9-E0588F0C3855}"/>
              </a:ext>
            </a:extLst>
          </p:cNvPr>
          <p:cNvSpPr txBox="1">
            <a:spLocks/>
          </p:cNvSpPr>
          <p:nvPr/>
        </p:nvSpPr>
        <p:spPr>
          <a:xfrm>
            <a:off x="9065653" y="3067314"/>
            <a:ext cx="3011703" cy="4403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5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1800" b="1" dirty="0">
                <a:solidFill>
                  <a:srgbClr val="02B3EB"/>
                </a:solidFill>
              </a:rPr>
              <a:t>ПРЕИМУЩЕСТВА</a:t>
            </a:r>
          </a:p>
        </p:txBody>
      </p:sp>
      <p:sp>
        <p:nvSpPr>
          <p:cNvPr id="30" name="Объект 18">
            <a:extLst>
              <a:ext uri="{FF2B5EF4-FFF2-40B4-BE49-F238E27FC236}">
                <a16:creationId xmlns:a16="http://schemas.microsoft.com/office/drawing/2014/main" id="{59F33A1C-4264-F845-9353-69474508F63F}"/>
              </a:ext>
            </a:extLst>
          </p:cNvPr>
          <p:cNvSpPr txBox="1">
            <a:spLocks/>
          </p:cNvSpPr>
          <p:nvPr/>
        </p:nvSpPr>
        <p:spPr>
          <a:xfrm>
            <a:off x="8698094" y="3792445"/>
            <a:ext cx="529053" cy="13939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5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b="1" dirty="0">
                <a:solidFill>
                  <a:srgbClr val="02B3EB"/>
                </a:solidFill>
              </a:rPr>
              <a:t>+</a:t>
            </a:r>
          </a:p>
          <a:p>
            <a:pPr marL="0" indent="0">
              <a:spcBef>
                <a:spcPts val="0"/>
              </a:spcBef>
              <a:buNone/>
            </a:pPr>
            <a:endParaRPr lang="en-US" b="1" dirty="0">
              <a:solidFill>
                <a:srgbClr val="02B3EB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endParaRPr lang="en-US" b="1" dirty="0">
              <a:solidFill>
                <a:srgbClr val="02B3EB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b="1" dirty="0">
                <a:solidFill>
                  <a:srgbClr val="02B3EB"/>
                </a:solidFill>
              </a:rPr>
              <a:t>+</a:t>
            </a:r>
          </a:p>
        </p:txBody>
      </p:sp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3A5B4573-C6C7-994C-BA2F-068DD92126A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818" y="1888251"/>
            <a:ext cx="3610290" cy="988079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D4687400-D2AE-0A40-BA4B-B03B80193D9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0944" y="2397281"/>
            <a:ext cx="3610290" cy="1469452"/>
          </a:xfrm>
          <a:prstGeom prst="rect">
            <a:avLst/>
          </a:prstGeom>
        </p:spPr>
      </p:pic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C42E193A-8162-9048-AE9E-F3B7A834946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819" y="3759895"/>
            <a:ext cx="3610289" cy="1741806"/>
          </a:xfrm>
          <a:prstGeom prst="rect">
            <a:avLst/>
          </a:prstGeom>
        </p:spPr>
      </p:pic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92157C20-8089-754F-A2A7-D046895E816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872" y="1391159"/>
            <a:ext cx="428360" cy="434950"/>
          </a:xfrm>
          <a:prstGeom prst="rect">
            <a:avLst/>
          </a:prstGeom>
        </p:spPr>
      </p:pic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E00866B2-37F5-6A4A-928B-E1272CC4D413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3463" y="1848594"/>
            <a:ext cx="560163" cy="481081"/>
          </a:xfrm>
          <a:prstGeom prst="rect">
            <a:avLst/>
          </a:prstGeom>
        </p:spPr>
      </p:pic>
      <p:pic>
        <p:nvPicPr>
          <p:cNvPr id="64" name="Рисунок 63">
            <a:extLst>
              <a:ext uri="{FF2B5EF4-FFF2-40B4-BE49-F238E27FC236}">
                <a16:creationId xmlns:a16="http://schemas.microsoft.com/office/drawing/2014/main" id="{0AABC1A0-5B50-4A42-A5C4-F8E080EACC1E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1151" y="3190372"/>
            <a:ext cx="481081" cy="481081"/>
          </a:xfrm>
          <a:prstGeom prst="rect">
            <a:avLst/>
          </a:prstGeom>
        </p:spPr>
      </p:pic>
      <p:pic>
        <p:nvPicPr>
          <p:cNvPr id="65" name="Рисунок 64">
            <a:extLst>
              <a:ext uri="{FF2B5EF4-FFF2-40B4-BE49-F238E27FC236}">
                <a16:creationId xmlns:a16="http://schemas.microsoft.com/office/drawing/2014/main" id="{2D7D561F-1284-C544-AE49-1C961E011C53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9334" y="4287788"/>
            <a:ext cx="579933" cy="540392"/>
          </a:xfrm>
          <a:prstGeom prst="rect">
            <a:avLst/>
          </a:prstGeom>
        </p:spPr>
      </p:pic>
      <p:sp>
        <p:nvSpPr>
          <p:cNvPr id="66" name="Объект 18">
            <a:extLst>
              <a:ext uri="{FF2B5EF4-FFF2-40B4-BE49-F238E27FC236}">
                <a16:creationId xmlns:a16="http://schemas.microsoft.com/office/drawing/2014/main" id="{55C71B21-5CA1-C84A-88AE-167005B67F3A}"/>
              </a:ext>
            </a:extLst>
          </p:cNvPr>
          <p:cNvSpPr txBox="1">
            <a:spLocks/>
          </p:cNvSpPr>
          <p:nvPr/>
        </p:nvSpPr>
        <p:spPr>
          <a:xfrm>
            <a:off x="536509" y="2045399"/>
            <a:ext cx="3541599" cy="8285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5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>
                <a:solidFill>
                  <a:schemeClr val="bg1"/>
                </a:solidFill>
              </a:rPr>
              <a:t>Возможность получения финансирования в банке при нехватке залогового обеспечения</a:t>
            </a:r>
          </a:p>
        </p:txBody>
      </p:sp>
      <p:sp>
        <p:nvSpPr>
          <p:cNvPr id="67" name="Объект 18">
            <a:extLst>
              <a:ext uri="{FF2B5EF4-FFF2-40B4-BE49-F238E27FC236}">
                <a16:creationId xmlns:a16="http://schemas.microsoft.com/office/drawing/2014/main" id="{6E13DA5D-71C6-744E-893A-1859E037A877}"/>
              </a:ext>
            </a:extLst>
          </p:cNvPr>
          <p:cNvSpPr txBox="1">
            <a:spLocks/>
          </p:cNvSpPr>
          <p:nvPr/>
        </p:nvSpPr>
        <p:spPr>
          <a:xfrm>
            <a:off x="1377887" y="1316908"/>
            <a:ext cx="2700222" cy="5511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5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rgbClr val="02B3EB"/>
                </a:solidFill>
              </a:rPr>
              <a:t>Страхование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rgbClr val="02B3EB"/>
                </a:solidFill>
              </a:rPr>
              <a:t>займа</a:t>
            </a:r>
          </a:p>
        </p:txBody>
      </p:sp>
      <p:sp>
        <p:nvSpPr>
          <p:cNvPr id="68" name="Объект 18">
            <a:extLst>
              <a:ext uri="{FF2B5EF4-FFF2-40B4-BE49-F238E27FC236}">
                <a16:creationId xmlns:a16="http://schemas.microsoft.com/office/drawing/2014/main" id="{C1CCB312-0545-4C4D-90B5-5AD9EE7EC384}"/>
              </a:ext>
            </a:extLst>
          </p:cNvPr>
          <p:cNvSpPr txBox="1">
            <a:spLocks/>
          </p:cNvSpPr>
          <p:nvPr/>
        </p:nvSpPr>
        <p:spPr>
          <a:xfrm>
            <a:off x="4339635" y="2570055"/>
            <a:ext cx="3485231" cy="122430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5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>
                <a:solidFill>
                  <a:schemeClr val="bg1"/>
                </a:solidFill>
              </a:rPr>
              <a:t>Возможность предоставления страхования авансового платежа, без предоставления залогового обеспечения, альтернатива </a:t>
            </a:r>
            <a:r>
              <a:rPr lang="ru-RU" dirty="0" err="1">
                <a:solidFill>
                  <a:schemeClr val="bg1"/>
                </a:solidFill>
              </a:rPr>
              <a:t>бан</a:t>
            </a:r>
            <a:r>
              <a:rPr lang="ru-RU" dirty="0">
                <a:solidFill>
                  <a:schemeClr val="bg1"/>
                </a:solidFill>
              </a:rPr>
              <a:t>- </a:t>
            </a:r>
            <a:r>
              <a:rPr lang="ru-RU" dirty="0" err="1">
                <a:solidFill>
                  <a:schemeClr val="bg1"/>
                </a:solidFill>
              </a:rPr>
              <a:t>ковским</a:t>
            </a:r>
            <a:r>
              <a:rPr lang="ru-RU" dirty="0">
                <a:solidFill>
                  <a:schemeClr val="bg1"/>
                </a:solidFill>
              </a:rPr>
              <a:t> гарантиям и аккредитивам</a:t>
            </a:r>
          </a:p>
        </p:txBody>
      </p:sp>
      <p:sp>
        <p:nvSpPr>
          <p:cNvPr id="69" name="Объект 18">
            <a:extLst>
              <a:ext uri="{FF2B5EF4-FFF2-40B4-BE49-F238E27FC236}">
                <a16:creationId xmlns:a16="http://schemas.microsoft.com/office/drawing/2014/main" id="{E58C6494-923A-0D42-948A-68D4D3E42FCC}"/>
              </a:ext>
            </a:extLst>
          </p:cNvPr>
          <p:cNvSpPr txBox="1">
            <a:spLocks/>
          </p:cNvSpPr>
          <p:nvPr/>
        </p:nvSpPr>
        <p:spPr>
          <a:xfrm>
            <a:off x="5342786" y="1841564"/>
            <a:ext cx="2700222" cy="55119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5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rgbClr val="02B3EB"/>
                </a:solidFill>
              </a:rPr>
              <a:t>Страхование авансового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rgbClr val="02B3EB"/>
                </a:solidFill>
              </a:rPr>
              <a:t>платежа</a:t>
            </a:r>
          </a:p>
        </p:txBody>
      </p:sp>
      <p:sp>
        <p:nvSpPr>
          <p:cNvPr id="70" name="Объект 18">
            <a:extLst>
              <a:ext uri="{FF2B5EF4-FFF2-40B4-BE49-F238E27FC236}">
                <a16:creationId xmlns:a16="http://schemas.microsoft.com/office/drawing/2014/main" id="{F22D33B1-5F90-7C4B-889F-DB70D0D255CD}"/>
              </a:ext>
            </a:extLst>
          </p:cNvPr>
          <p:cNvSpPr txBox="1">
            <a:spLocks/>
          </p:cNvSpPr>
          <p:nvPr/>
        </p:nvSpPr>
        <p:spPr>
          <a:xfrm>
            <a:off x="536509" y="3904179"/>
            <a:ext cx="3473360" cy="15626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5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>
                <a:solidFill>
                  <a:schemeClr val="bg1"/>
                </a:solidFill>
              </a:rPr>
              <a:t>Возможность страхования финансовой организации по </a:t>
            </a:r>
            <a:r>
              <a:rPr lang="ru-RU" dirty="0" err="1">
                <a:solidFill>
                  <a:schemeClr val="bg1"/>
                </a:solidFill>
              </a:rPr>
              <a:t>факторинговым</a:t>
            </a:r>
            <a:r>
              <a:rPr lang="ru-RU" dirty="0">
                <a:solidFill>
                  <a:schemeClr val="bg1"/>
                </a:solidFill>
              </a:rPr>
              <a:t> операциям от риска невыполнения </a:t>
            </a:r>
            <a:r>
              <a:rPr lang="ru-RU" dirty="0" err="1">
                <a:solidFill>
                  <a:schemeClr val="bg1"/>
                </a:solidFill>
              </a:rPr>
              <a:t>зарубеж</a:t>
            </a:r>
            <a:r>
              <a:rPr lang="ru-RU" dirty="0">
                <a:solidFill>
                  <a:schemeClr val="bg1"/>
                </a:solidFill>
              </a:rPr>
              <a:t>- </a:t>
            </a:r>
            <a:r>
              <a:rPr lang="ru-RU" dirty="0" err="1">
                <a:solidFill>
                  <a:schemeClr val="bg1"/>
                </a:solidFill>
              </a:rPr>
              <a:t>ными</a:t>
            </a:r>
            <a:r>
              <a:rPr lang="ru-RU" dirty="0">
                <a:solidFill>
                  <a:schemeClr val="bg1"/>
                </a:solidFill>
              </a:rPr>
              <a:t> контрагентами своих контрактных обязательств</a:t>
            </a:r>
          </a:p>
        </p:txBody>
      </p:sp>
      <p:sp>
        <p:nvSpPr>
          <p:cNvPr id="72" name="Объект 18">
            <a:extLst>
              <a:ext uri="{FF2B5EF4-FFF2-40B4-BE49-F238E27FC236}">
                <a16:creationId xmlns:a16="http://schemas.microsoft.com/office/drawing/2014/main" id="{E5D910B0-6EA6-F244-A29B-79A216D76B68}"/>
              </a:ext>
            </a:extLst>
          </p:cNvPr>
          <p:cNvSpPr txBox="1">
            <a:spLocks/>
          </p:cNvSpPr>
          <p:nvPr/>
        </p:nvSpPr>
        <p:spPr>
          <a:xfrm>
            <a:off x="1392878" y="3175689"/>
            <a:ext cx="2700222" cy="5511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5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rgbClr val="02B3EB"/>
                </a:solidFill>
              </a:rPr>
              <a:t>Страхование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rgbClr val="02B3EB"/>
                </a:solidFill>
              </a:rPr>
              <a:t>факторинга</a:t>
            </a:r>
          </a:p>
        </p:txBody>
      </p:sp>
      <p:sp>
        <p:nvSpPr>
          <p:cNvPr id="73" name="Объект 18">
            <a:extLst>
              <a:ext uri="{FF2B5EF4-FFF2-40B4-BE49-F238E27FC236}">
                <a16:creationId xmlns:a16="http://schemas.microsoft.com/office/drawing/2014/main" id="{8ECC9AEE-6B33-314D-95BC-17AA4EA8FD66}"/>
              </a:ext>
            </a:extLst>
          </p:cNvPr>
          <p:cNvSpPr txBox="1">
            <a:spLocks/>
          </p:cNvSpPr>
          <p:nvPr/>
        </p:nvSpPr>
        <p:spPr>
          <a:xfrm>
            <a:off x="4339635" y="5050927"/>
            <a:ext cx="3485231" cy="12243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5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>
                <a:solidFill>
                  <a:schemeClr val="bg1"/>
                </a:solidFill>
              </a:rPr>
              <a:t>Возможность льготного финансирования экспортера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dirty="0">
                <a:solidFill>
                  <a:schemeClr val="bg1"/>
                </a:solidFill>
              </a:rPr>
              <a:t>на пополнение оборотных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dirty="0">
                <a:solidFill>
                  <a:schemeClr val="bg1"/>
                </a:solidFill>
              </a:rPr>
              <a:t>средств с целью производства экспортной продукции</a:t>
            </a:r>
          </a:p>
        </p:txBody>
      </p:sp>
      <p:sp>
        <p:nvSpPr>
          <p:cNvPr id="74" name="Объект 18">
            <a:extLst>
              <a:ext uri="{FF2B5EF4-FFF2-40B4-BE49-F238E27FC236}">
                <a16:creationId xmlns:a16="http://schemas.microsoft.com/office/drawing/2014/main" id="{CF9D2EC4-8C4D-9B44-B4E0-7AF6594EF81E}"/>
              </a:ext>
            </a:extLst>
          </p:cNvPr>
          <p:cNvSpPr txBox="1">
            <a:spLocks/>
          </p:cNvSpPr>
          <p:nvPr/>
        </p:nvSpPr>
        <p:spPr>
          <a:xfrm>
            <a:off x="5342786" y="4322436"/>
            <a:ext cx="2700222" cy="5511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5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 err="1">
                <a:solidFill>
                  <a:srgbClr val="02B3EB"/>
                </a:solidFill>
              </a:rPr>
              <a:t>Предэкспортное</a:t>
            </a:r>
            <a:r>
              <a:rPr lang="ru-RU" b="1" dirty="0">
                <a:solidFill>
                  <a:srgbClr val="02B3EB"/>
                </a:solidFill>
              </a:rPr>
              <a:t>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rgbClr val="02B3EB"/>
                </a:solidFill>
              </a:rPr>
              <a:t>финансирование</a:t>
            </a:r>
          </a:p>
        </p:txBody>
      </p:sp>
      <p:sp>
        <p:nvSpPr>
          <p:cNvPr id="75" name="Объект 18">
            <a:extLst>
              <a:ext uri="{FF2B5EF4-FFF2-40B4-BE49-F238E27FC236}">
                <a16:creationId xmlns:a16="http://schemas.microsoft.com/office/drawing/2014/main" id="{8355E964-2844-FC45-82C6-08C8744A319D}"/>
              </a:ext>
            </a:extLst>
          </p:cNvPr>
          <p:cNvSpPr txBox="1">
            <a:spLocks/>
          </p:cNvSpPr>
          <p:nvPr/>
        </p:nvSpPr>
        <p:spPr>
          <a:xfrm>
            <a:off x="396032" y="1316908"/>
            <a:ext cx="437644" cy="5511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5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b="1" dirty="0">
                <a:solidFill>
                  <a:srgbClr val="95DEEA"/>
                </a:solidFill>
              </a:rPr>
              <a:t>01</a:t>
            </a:r>
            <a:endParaRPr lang="ru-RU" b="1" dirty="0">
              <a:solidFill>
                <a:srgbClr val="95DEEA"/>
              </a:solidFill>
            </a:endParaRPr>
          </a:p>
        </p:txBody>
      </p:sp>
      <p:sp>
        <p:nvSpPr>
          <p:cNvPr id="76" name="Объект 18">
            <a:extLst>
              <a:ext uri="{FF2B5EF4-FFF2-40B4-BE49-F238E27FC236}">
                <a16:creationId xmlns:a16="http://schemas.microsoft.com/office/drawing/2014/main" id="{B588EC3F-1E31-6547-AECE-7DCEF2D6922C}"/>
              </a:ext>
            </a:extLst>
          </p:cNvPr>
          <p:cNvSpPr txBox="1">
            <a:spLocks/>
          </p:cNvSpPr>
          <p:nvPr/>
        </p:nvSpPr>
        <p:spPr>
          <a:xfrm>
            <a:off x="396032" y="3175688"/>
            <a:ext cx="437644" cy="5511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5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b="1" dirty="0">
                <a:solidFill>
                  <a:srgbClr val="95DEEA"/>
                </a:solidFill>
              </a:rPr>
              <a:t>03</a:t>
            </a:r>
            <a:endParaRPr lang="ru-RU" b="1" dirty="0">
              <a:solidFill>
                <a:srgbClr val="95DEEA"/>
              </a:solidFill>
            </a:endParaRPr>
          </a:p>
        </p:txBody>
      </p:sp>
      <p:sp>
        <p:nvSpPr>
          <p:cNvPr id="77" name="Объект 18">
            <a:extLst>
              <a:ext uri="{FF2B5EF4-FFF2-40B4-BE49-F238E27FC236}">
                <a16:creationId xmlns:a16="http://schemas.microsoft.com/office/drawing/2014/main" id="{BBF49587-CAD1-424A-BE68-13628341DF5B}"/>
              </a:ext>
            </a:extLst>
          </p:cNvPr>
          <p:cNvSpPr txBox="1">
            <a:spLocks/>
          </p:cNvSpPr>
          <p:nvPr/>
        </p:nvSpPr>
        <p:spPr>
          <a:xfrm>
            <a:off x="4203534" y="1841563"/>
            <a:ext cx="437644" cy="5511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5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b="1" dirty="0">
                <a:solidFill>
                  <a:srgbClr val="95DEEA"/>
                </a:solidFill>
              </a:rPr>
              <a:t>02</a:t>
            </a:r>
            <a:endParaRPr lang="ru-RU" b="1" dirty="0">
              <a:solidFill>
                <a:srgbClr val="95DEEA"/>
              </a:solidFill>
            </a:endParaRPr>
          </a:p>
        </p:txBody>
      </p:sp>
      <p:sp>
        <p:nvSpPr>
          <p:cNvPr id="78" name="Объект 18">
            <a:extLst>
              <a:ext uri="{FF2B5EF4-FFF2-40B4-BE49-F238E27FC236}">
                <a16:creationId xmlns:a16="http://schemas.microsoft.com/office/drawing/2014/main" id="{814D61E5-7DA2-5840-896A-D1BFEF60E049}"/>
              </a:ext>
            </a:extLst>
          </p:cNvPr>
          <p:cNvSpPr txBox="1">
            <a:spLocks/>
          </p:cNvSpPr>
          <p:nvPr/>
        </p:nvSpPr>
        <p:spPr>
          <a:xfrm>
            <a:off x="4203534" y="4322435"/>
            <a:ext cx="437644" cy="5511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5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b="1" dirty="0">
                <a:solidFill>
                  <a:srgbClr val="95DEEA"/>
                </a:solidFill>
              </a:rPr>
              <a:t>04</a:t>
            </a:r>
            <a:endParaRPr lang="ru-RU" b="1" dirty="0">
              <a:solidFill>
                <a:srgbClr val="95DEEA"/>
              </a:solidFill>
            </a:endParaRPr>
          </a:p>
        </p:txBody>
      </p:sp>
      <p:sp>
        <p:nvSpPr>
          <p:cNvPr id="31" name="Нижний колонтитул 4">
            <a:extLst>
              <a:ext uri="{FF2B5EF4-FFF2-40B4-BE49-F238E27FC236}">
                <a16:creationId xmlns:a16="http://schemas.microsoft.com/office/drawing/2014/main" id="{CD8E99FB-1CCC-8B42-BA62-6F8A52227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8557" y="6235437"/>
            <a:ext cx="1704739" cy="365125"/>
          </a:xfrm>
        </p:spPr>
        <p:txBody>
          <a:bodyPr/>
          <a:lstStyle>
            <a:lvl1pPr algn="l">
              <a:defRPr sz="9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" dirty="0" err="1"/>
              <a:t>www.kazakhexport.kz</a:t>
            </a:r>
            <a:endParaRPr lang="ru-KZ" sz="900" dirty="0"/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AA421F03-992F-674A-AE1A-BD55AE564F1F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075" y="481457"/>
            <a:ext cx="1021563" cy="384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811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B7E39337-7FD5-314B-BF91-2718CD0D91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7147" y="4493805"/>
            <a:ext cx="4065333" cy="1755322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BC7A5310-95F5-0B4D-AC3A-9975A7531F1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47147" y="2844887"/>
            <a:ext cx="4065333" cy="1383629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0C92B86-FC6D-AF4E-B143-EA3286111FA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86961" y="0"/>
            <a:ext cx="3205039" cy="3716078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41971ADA-A7CA-654A-B428-667DAC0C7BD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824" y="1597854"/>
            <a:ext cx="1946731" cy="998981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5F3C3355-4C9E-3644-BF11-7A19EA96B9F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4506" y="1588685"/>
            <a:ext cx="2081209" cy="998980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21C3FF0B-DCA2-7541-AE35-39E0AC9028A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824" y="4493805"/>
            <a:ext cx="2190079" cy="998981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2E216653-912A-8745-B405-643A84F456E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5125" y="3417346"/>
            <a:ext cx="5326875" cy="3440654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91ED017-9E5F-B442-8D6B-8203C8AF83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2840" y="257438"/>
            <a:ext cx="6516177" cy="1131166"/>
          </a:xfrm>
        </p:spPr>
        <p:txBody>
          <a:bodyPr>
            <a:normAutofit fontScale="90000"/>
          </a:bodyPr>
          <a:lstStyle/>
          <a:p>
            <a:r>
              <a:rPr lang="ru-RU" dirty="0"/>
              <a:t>УЧАСТИЕ В МЕЖДУНАРОДНЫХ </a:t>
            </a:r>
            <a:br>
              <a:rPr lang="ru-RU" dirty="0"/>
            </a:br>
            <a:r>
              <a:rPr lang="ru-RU" dirty="0">
                <a:solidFill>
                  <a:srgbClr val="02B3EB"/>
                </a:solidFill>
              </a:rPr>
              <a:t>ТЕНДЕРАХ </a:t>
            </a:r>
            <a:endParaRPr lang="ru-KZ" dirty="0">
              <a:solidFill>
                <a:srgbClr val="02B3EB"/>
              </a:solidFill>
            </a:endParaRPr>
          </a:p>
        </p:txBody>
      </p:sp>
      <p:sp>
        <p:nvSpPr>
          <p:cNvPr id="4" name="Объект 18">
            <a:extLst>
              <a:ext uri="{FF2B5EF4-FFF2-40B4-BE49-F238E27FC236}">
                <a16:creationId xmlns:a16="http://schemas.microsoft.com/office/drawing/2014/main" id="{2AE064CA-6FCC-7443-B727-539988B39A11}"/>
              </a:ext>
            </a:extLst>
          </p:cNvPr>
          <p:cNvSpPr txBox="1">
            <a:spLocks/>
          </p:cNvSpPr>
          <p:nvPr/>
        </p:nvSpPr>
        <p:spPr>
          <a:xfrm>
            <a:off x="3578000" y="3411071"/>
            <a:ext cx="3820620" cy="8482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/>
              <a:t>Возможность получения Банковских гарантий в банке при нехватке залогового обеспечения</a:t>
            </a:r>
          </a:p>
        </p:txBody>
      </p:sp>
      <p:sp>
        <p:nvSpPr>
          <p:cNvPr id="6" name="Объект 18">
            <a:extLst>
              <a:ext uri="{FF2B5EF4-FFF2-40B4-BE49-F238E27FC236}">
                <a16:creationId xmlns:a16="http://schemas.microsoft.com/office/drawing/2014/main" id="{A5AA38E9-99E7-0E43-B518-9EA92FF5B9CB}"/>
              </a:ext>
            </a:extLst>
          </p:cNvPr>
          <p:cNvSpPr txBox="1">
            <a:spLocks/>
          </p:cNvSpPr>
          <p:nvPr/>
        </p:nvSpPr>
        <p:spPr>
          <a:xfrm>
            <a:off x="3578002" y="2971192"/>
            <a:ext cx="3246341" cy="5652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rgbClr val="02B3EB"/>
                </a:solidFill>
              </a:rPr>
              <a:t>Страхование убытков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rgbClr val="02B3EB"/>
                </a:solidFill>
              </a:rPr>
              <a:t>финансовых организацией</a:t>
            </a:r>
          </a:p>
        </p:txBody>
      </p:sp>
      <p:sp>
        <p:nvSpPr>
          <p:cNvPr id="11" name="Объект 18">
            <a:extLst>
              <a:ext uri="{FF2B5EF4-FFF2-40B4-BE49-F238E27FC236}">
                <a16:creationId xmlns:a16="http://schemas.microsoft.com/office/drawing/2014/main" id="{8DD0C47E-B00C-F64D-8467-2CF350E64234}"/>
              </a:ext>
            </a:extLst>
          </p:cNvPr>
          <p:cNvSpPr txBox="1">
            <a:spLocks/>
          </p:cNvSpPr>
          <p:nvPr/>
        </p:nvSpPr>
        <p:spPr>
          <a:xfrm>
            <a:off x="2389239" y="2222205"/>
            <a:ext cx="2890684" cy="6095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ru-RU" sz="1000" dirty="0">
                <a:solidFill>
                  <a:srgbClr val="02B3EB"/>
                </a:solidFill>
              </a:rPr>
              <a:t>Предоставление банковской 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ru-RU" sz="1000" dirty="0">
                <a:solidFill>
                  <a:srgbClr val="02B3EB"/>
                </a:solidFill>
              </a:rPr>
              <a:t>гарантии</a:t>
            </a:r>
          </a:p>
        </p:txBody>
      </p:sp>
      <p:sp>
        <p:nvSpPr>
          <p:cNvPr id="12" name="Объект 18">
            <a:extLst>
              <a:ext uri="{FF2B5EF4-FFF2-40B4-BE49-F238E27FC236}">
                <a16:creationId xmlns:a16="http://schemas.microsoft.com/office/drawing/2014/main" id="{B3C17B64-D5A7-3440-9F9A-116978ED2A41}"/>
              </a:ext>
            </a:extLst>
          </p:cNvPr>
          <p:cNvSpPr txBox="1">
            <a:spLocks/>
          </p:cNvSpPr>
          <p:nvPr/>
        </p:nvSpPr>
        <p:spPr>
          <a:xfrm>
            <a:off x="955193" y="3733377"/>
            <a:ext cx="1362715" cy="5158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1000" dirty="0">
                <a:solidFill>
                  <a:srgbClr val="02B3EB"/>
                </a:solidFill>
              </a:rPr>
              <a:t>Экспортный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000" dirty="0">
                <a:solidFill>
                  <a:srgbClr val="02B3EB"/>
                </a:solidFill>
              </a:rPr>
              <a:t>контракт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AF052737-CA92-3A4A-9371-2508B06D6B4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0709" y="1579339"/>
            <a:ext cx="1244814" cy="467975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5E641C99-5B1E-4949-BE87-40E0261C8E6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801" y="3195012"/>
            <a:ext cx="1244814" cy="467975"/>
          </a:xfrm>
          <a:prstGeom prst="rect">
            <a:avLst/>
          </a:prstGeom>
        </p:spPr>
      </p:pic>
      <p:sp>
        <p:nvSpPr>
          <p:cNvPr id="16" name="Объект 18">
            <a:extLst>
              <a:ext uri="{FF2B5EF4-FFF2-40B4-BE49-F238E27FC236}">
                <a16:creationId xmlns:a16="http://schemas.microsoft.com/office/drawing/2014/main" id="{95284655-222E-0447-AE2D-DDFE5DC8B014}"/>
              </a:ext>
            </a:extLst>
          </p:cNvPr>
          <p:cNvSpPr txBox="1">
            <a:spLocks/>
          </p:cNvSpPr>
          <p:nvPr/>
        </p:nvSpPr>
        <p:spPr>
          <a:xfrm>
            <a:off x="1042840" y="1919973"/>
            <a:ext cx="1324275" cy="4639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chemeClr val="bg1"/>
                </a:solidFill>
              </a:rPr>
              <a:t>Экспортер</a:t>
            </a:r>
          </a:p>
        </p:txBody>
      </p:sp>
      <p:sp>
        <p:nvSpPr>
          <p:cNvPr id="19" name="Объект 18">
            <a:extLst>
              <a:ext uri="{FF2B5EF4-FFF2-40B4-BE49-F238E27FC236}">
                <a16:creationId xmlns:a16="http://schemas.microsoft.com/office/drawing/2014/main" id="{6FF3CC50-A2E1-3E4E-8ED2-3A2E33BC61A3}"/>
              </a:ext>
            </a:extLst>
          </p:cNvPr>
          <p:cNvSpPr txBox="1">
            <a:spLocks/>
          </p:cNvSpPr>
          <p:nvPr/>
        </p:nvSpPr>
        <p:spPr>
          <a:xfrm>
            <a:off x="6253976" y="1923718"/>
            <a:ext cx="1261740" cy="4350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chemeClr val="bg1"/>
                </a:solidFill>
              </a:rPr>
              <a:t>Банк</a:t>
            </a:r>
          </a:p>
        </p:txBody>
      </p:sp>
      <p:sp>
        <p:nvSpPr>
          <p:cNvPr id="21" name="Объект 18">
            <a:extLst>
              <a:ext uri="{FF2B5EF4-FFF2-40B4-BE49-F238E27FC236}">
                <a16:creationId xmlns:a16="http://schemas.microsoft.com/office/drawing/2014/main" id="{2C2D2A87-C2AD-6943-8497-154EAB48D2DE}"/>
              </a:ext>
            </a:extLst>
          </p:cNvPr>
          <p:cNvSpPr txBox="1">
            <a:spLocks/>
          </p:cNvSpPr>
          <p:nvPr/>
        </p:nvSpPr>
        <p:spPr>
          <a:xfrm>
            <a:off x="1057592" y="4720061"/>
            <a:ext cx="1591311" cy="6996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chemeClr val="bg1"/>
                </a:solidFill>
              </a:rPr>
              <a:t>Зарубежный покупатель</a:t>
            </a: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98AF9560-34B7-5945-B313-BDBC395DCB9D}"/>
              </a:ext>
            </a:extLst>
          </p:cNvPr>
          <p:cNvSpPr txBox="1">
            <a:spLocks/>
          </p:cNvSpPr>
          <p:nvPr/>
        </p:nvSpPr>
        <p:spPr>
          <a:xfrm>
            <a:off x="351205" y="257438"/>
            <a:ext cx="889198" cy="7777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>
                <a:solidFill>
                  <a:srgbClr val="E0E3E6"/>
                </a:solidFill>
              </a:rPr>
              <a:t>03</a:t>
            </a:r>
            <a:r>
              <a:rPr lang="en-US" sz="1000" dirty="0">
                <a:solidFill>
                  <a:srgbClr val="E0E3E6"/>
                </a:solidFill>
              </a:rPr>
              <a:t> </a:t>
            </a:r>
            <a:r>
              <a:rPr lang="en-US" dirty="0">
                <a:solidFill>
                  <a:srgbClr val="E0E3E6"/>
                </a:solidFill>
              </a:rPr>
              <a:t>|</a:t>
            </a:r>
            <a:endParaRPr lang="ru-KZ" dirty="0">
              <a:solidFill>
                <a:srgbClr val="E0E3E6"/>
              </a:solidFill>
            </a:endParaRPr>
          </a:p>
        </p:txBody>
      </p:sp>
      <p:sp>
        <p:nvSpPr>
          <p:cNvPr id="27" name="Объект 18">
            <a:extLst>
              <a:ext uri="{FF2B5EF4-FFF2-40B4-BE49-F238E27FC236}">
                <a16:creationId xmlns:a16="http://schemas.microsoft.com/office/drawing/2014/main" id="{01697468-BFFE-7741-B008-7FF8AA81412C}"/>
              </a:ext>
            </a:extLst>
          </p:cNvPr>
          <p:cNvSpPr txBox="1">
            <a:spLocks/>
          </p:cNvSpPr>
          <p:nvPr/>
        </p:nvSpPr>
        <p:spPr>
          <a:xfrm>
            <a:off x="8941442" y="3792445"/>
            <a:ext cx="3011703" cy="26049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/>
              <a:t>Упрощает и ускоряет процесс принятия решения в банке экспортера;</a:t>
            </a:r>
          </a:p>
          <a:p>
            <a:pPr marL="0" indent="0">
              <a:spcBef>
                <a:spcPts val="0"/>
              </a:spcBef>
              <a:buNone/>
            </a:pPr>
            <a:endParaRPr lang="ru-RU" dirty="0"/>
          </a:p>
          <a:p>
            <a:pPr marL="0" indent="0">
              <a:spcBef>
                <a:spcPts val="0"/>
              </a:spcBef>
              <a:buNone/>
            </a:pPr>
            <a:r>
              <a:rPr lang="ru-RU" dirty="0"/>
              <a:t>Экспортер получает высвобождение кредитной линии на другие производственные цели;</a:t>
            </a:r>
          </a:p>
        </p:txBody>
      </p:sp>
      <p:sp>
        <p:nvSpPr>
          <p:cNvPr id="29" name="Объект 18">
            <a:extLst>
              <a:ext uri="{FF2B5EF4-FFF2-40B4-BE49-F238E27FC236}">
                <a16:creationId xmlns:a16="http://schemas.microsoft.com/office/drawing/2014/main" id="{C730700B-F625-884B-B4A9-E0588F0C3855}"/>
              </a:ext>
            </a:extLst>
          </p:cNvPr>
          <p:cNvSpPr txBox="1">
            <a:spLocks/>
          </p:cNvSpPr>
          <p:nvPr/>
        </p:nvSpPr>
        <p:spPr>
          <a:xfrm>
            <a:off x="9065653" y="3067314"/>
            <a:ext cx="3011703" cy="4403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1800" b="1" dirty="0">
                <a:solidFill>
                  <a:srgbClr val="02B3EB"/>
                </a:solidFill>
              </a:rPr>
              <a:t>ПРЕИМУЩЕСТВА</a:t>
            </a:r>
          </a:p>
        </p:txBody>
      </p:sp>
      <p:sp>
        <p:nvSpPr>
          <p:cNvPr id="30" name="Объект 18">
            <a:extLst>
              <a:ext uri="{FF2B5EF4-FFF2-40B4-BE49-F238E27FC236}">
                <a16:creationId xmlns:a16="http://schemas.microsoft.com/office/drawing/2014/main" id="{59F33A1C-4264-F845-9353-69474508F63F}"/>
              </a:ext>
            </a:extLst>
          </p:cNvPr>
          <p:cNvSpPr txBox="1">
            <a:spLocks/>
          </p:cNvSpPr>
          <p:nvPr/>
        </p:nvSpPr>
        <p:spPr>
          <a:xfrm>
            <a:off x="8698094" y="3792445"/>
            <a:ext cx="529053" cy="26049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b="1" dirty="0">
                <a:solidFill>
                  <a:srgbClr val="02B3EB"/>
                </a:solidFill>
              </a:rPr>
              <a:t>+</a:t>
            </a:r>
          </a:p>
          <a:p>
            <a:pPr marL="0" indent="0">
              <a:spcBef>
                <a:spcPts val="0"/>
              </a:spcBef>
              <a:buNone/>
            </a:pPr>
            <a:endParaRPr lang="en-US" b="1" dirty="0">
              <a:solidFill>
                <a:srgbClr val="02B3EB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endParaRPr lang="en-US" b="1" dirty="0">
              <a:solidFill>
                <a:srgbClr val="02B3EB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endParaRPr lang="en-US" b="1" dirty="0">
              <a:solidFill>
                <a:srgbClr val="02B3EB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b="1" dirty="0">
                <a:solidFill>
                  <a:srgbClr val="02B3EB"/>
                </a:solidFill>
              </a:rPr>
              <a:t>+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3C84DBB7-1B1F-5E44-9EAB-8D4B53ADBFF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088" y="1857840"/>
            <a:ext cx="438628" cy="445481"/>
          </a:xfrm>
          <a:prstGeom prst="rect">
            <a:avLst/>
          </a:prstGeom>
        </p:spPr>
      </p:pic>
      <p:cxnSp>
        <p:nvCxnSpPr>
          <p:cNvPr id="47" name="Прямая со стрелкой 46">
            <a:extLst>
              <a:ext uri="{FF2B5EF4-FFF2-40B4-BE49-F238E27FC236}">
                <a16:creationId xmlns:a16="http://schemas.microsoft.com/office/drawing/2014/main" id="{B02AB51A-7A04-2D4F-BC5F-36BDE18C9173}"/>
              </a:ext>
            </a:extLst>
          </p:cNvPr>
          <p:cNvCxnSpPr>
            <a:cxnSpLocks/>
          </p:cNvCxnSpPr>
          <p:nvPr/>
        </p:nvCxnSpPr>
        <p:spPr>
          <a:xfrm flipV="1">
            <a:off x="2427679" y="2222207"/>
            <a:ext cx="3006827" cy="9196"/>
          </a:xfrm>
          <a:prstGeom prst="straightConnector1">
            <a:avLst/>
          </a:prstGeom>
          <a:ln>
            <a:solidFill>
              <a:srgbClr val="02B3EB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FB323056-B985-E843-8FBC-812220E9C23E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220961" y="2777122"/>
            <a:ext cx="267160" cy="431069"/>
          </a:xfrm>
          <a:prstGeom prst="rect">
            <a:avLst/>
          </a:prstGeom>
        </p:spPr>
      </p:pic>
      <p:sp>
        <p:nvSpPr>
          <p:cNvPr id="59" name="Овал 58">
            <a:extLst>
              <a:ext uri="{FF2B5EF4-FFF2-40B4-BE49-F238E27FC236}">
                <a16:creationId xmlns:a16="http://schemas.microsoft.com/office/drawing/2014/main" id="{CB331BE0-E7E1-A747-87C7-4A78A3C03BF2}"/>
              </a:ext>
            </a:extLst>
          </p:cNvPr>
          <p:cNvSpPr/>
          <p:nvPr/>
        </p:nvSpPr>
        <p:spPr>
          <a:xfrm>
            <a:off x="3333284" y="3085635"/>
            <a:ext cx="245404" cy="245404"/>
          </a:xfrm>
          <a:prstGeom prst="ellipse">
            <a:avLst/>
          </a:prstGeom>
          <a:solidFill>
            <a:srgbClr val="0420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2CB418D-6ACD-904F-9B22-5E7C464745F1}"/>
              </a:ext>
            </a:extLst>
          </p:cNvPr>
          <p:cNvSpPr txBox="1"/>
          <p:nvPr/>
        </p:nvSpPr>
        <p:spPr>
          <a:xfrm>
            <a:off x="3321594" y="3052977"/>
            <a:ext cx="18882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1</a:t>
            </a:r>
            <a:endParaRPr lang="ru-KZ" sz="1400" dirty="0">
              <a:solidFill>
                <a:schemeClr val="bg1"/>
              </a:solidFill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60848615-8F86-BE40-AED2-624E0637EAF0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6359" y="1821358"/>
            <a:ext cx="522630" cy="522630"/>
          </a:xfrm>
          <a:prstGeom prst="rect">
            <a:avLst/>
          </a:prstGeom>
        </p:spPr>
      </p:pic>
      <p:cxnSp>
        <p:nvCxnSpPr>
          <p:cNvPr id="50" name="Прямая со стрелкой 49">
            <a:extLst>
              <a:ext uri="{FF2B5EF4-FFF2-40B4-BE49-F238E27FC236}">
                <a16:creationId xmlns:a16="http://schemas.microsoft.com/office/drawing/2014/main" id="{D5102F18-9B7A-F143-BD41-009DCE9B4AAD}"/>
              </a:ext>
            </a:extLst>
          </p:cNvPr>
          <p:cNvCxnSpPr>
            <a:cxnSpLocks/>
          </p:cNvCxnSpPr>
          <p:nvPr/>
        </p:nvCxnSpPr>
        <p:spPr>
          <a:xfrm flipV="1">
            <a:off x="934875" y="2587665"/>
            <a:ext cx="0" cy="1906140"/>
          </a:xfrm>
          <a:prstGeom prst="straightConnector1">
            <a:avLst/>
          </a:prstGeom>
          <a:ln>
            <a:solidFill>
              <a:srgbClr val="02B3EB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Объект 18">
            <a:extLst>
              <a:ext uri="{FF2B5EF4-FFF2-40B4-BE49-F238E27FC236}">
                <a16:creationId xmlns:a16="http://schemas.microsoft.com/office/drawing/2014/main" id="{D98A0CAB-DB74-2B4F-8AC7-D749A86EEAEC}"/>
              </a:ext>
            </a:extLst>
          </p:cNvPr>
          <p:cNvSpPr txBox="1">
            <a:spLocks/>
          </p:cNvSpPr>
          <p:nvPr/>
        </p:nvSpPr>
        <p:spPr>
          <a:xfrm>
            <a:off x="3578000" y="5059989"/>
            <a:ext cx="3820620" cy="13776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/>
              <a:t>Возможность страхования рисков необоснованного и </a:t>
            </a:r>
            <a:r>
              <a:rPr lang="ru-RU" dirty="0" err="1"/>
              <a:t>немотивиро</a:t>
            </a:r>
            <a:r>
              <a:rPr lang="en-US" dirty="0"/>
              <a:t>- </a:t>
            </a:r>
            <a:r>
              <a:rPr lang="ru-RU" dirty="0"/>
              <a:t>ванного уклонения/отказа от принятия выполненных работ/услуг иностранным контрагентом в срок</a:t>
            </a:r>
          </a:p>
        </p:txBody>
      </p:sp>
      <p:sp>
        <p:nvSpPr>
          <p:cNvPr id="64" name="Объект 18">
            <a:extLst>
              <a:ext uri="{FF2B5EF4-FFF2-40B4-BE49-F238E27FC236}">
                <a16:creationId xmlns:a16="http://schemas.microsoft.com/office/drawing/2014/main" id="{BDC705ED-0B4D-4D4C-BA51-14D4560C689D}"/>
              </a:ext>
            </a:extLst>
          </p:cNvPr>
          <p:cNvSpPr txBox="1">
            <a:spLocks/>
          </p:cNvSpPr>
          <p:nvPr/>
        </p:nvSpPr>
        <p:spPr>
          <a:xfrm>
            <a:off x="3578002" y="4620110"/>
            <a:ext cx="3934481" cy="5652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7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rgbClr val="02B3EB"/>
                </a:solidFill>
              </a:rPr>
              <a:t>Страхование убытков, связанных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rgbClr val="02B3EB"/>
                </a:solidFill>
              </a:rPr>
              <a:t>с выполнением работ/услуг </a:t>
            </a:r>
          </a:p>
        </p:txBody>
      </p:sp>
      <p:sp>
        <p:nvSpPr>
          <p:cNvPr id="65" name="Овал 64">
            <a:extLst>
              <a:ext uri="{FF2B5EF4-FFF2-40B4-BE49-F238E27FC236}">
                <a16:creationId xmlns:a16="http://schemas.microsoft.com/office/drawing/2014/main" id="{E0477141-E133-7B43-82CB-DB1DD43C329A}"/>
              </a:ext>
            </a:extLst>
          </p:cNvPr>
          <p:cNvSpPr/>
          <p:nvPr/>
        </p:nvSpPr>
        <p:spPr>
          <a:xfrm>
            <a:off x="3333284" y="4734553"/>
            <a:ext cx="245404" cy="245404"/>
          </a:xfrm>
          <a:prstGeom prst="ellipse">
            <a:avLst/>
          </a:prstGeom>
          <a:solidFill>
            <a:srgbClr val="0420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37DDCF5-815D-3C4F-ADA1-70C05F29373D}"/>
              </a:ext>
            </a:extLst>
          </p:cNvPr>
          <p:cNvSpPr txBox="1"/>
          <p:nvPr/>
        </p:nvSpPr>
        <p:spPr>
          <a:xfrm>
            <a:off x="3321594" y="4701895"/>
            <a:ext cx="18882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2</a:t>
            </a:r>
            <a:endParaRPr lang="ru-KZ" sz="1400" dirty="0">
              <a:solidFill>
                <a:schemeClr val="bg1"/>
              </a:solidFill>
            </a:endParaRP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E4EF5DFF-2CA2-7946-9A52-AEBE7BB74862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4914" y="3784288"/>
            <a:ext cx="966324" cy="1070998"/>
          </a:xfrm>
          <a:prstGeom prst="rect">
            <a:avLst/>
          </a:prstGeom>
        </p:spPr>
      </p:pic>
      <p:sp>
        <p:nvSpPr>
          <p:cNvPr id="36" name="Нижний колонтитул 4">
            <a:extLst>
              <a:ext uri="{FF2B5EF4-FFF2-40B4-BE49-F238E27FC236}">
                <a16:creationId xmlns:a16="http://schemas.microsoft.com/office/drawing/2014/main" id="{AE597935-4C6F-EE46-A668-B8C1D32347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8557" y="6235437"/>
            <a:ext cx="1704739" cy="365125"/>
          </a:xfrm>
        </p:spPr>
        <p:txBody>
          <a:bodyPr/>
          <a:lstStyle>
            <a:lvl1pPr algn="l">
              <a:defRPr sz="9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" dirty="0" err="1"/>
              <a:t>www.kazakhexport.kz</a:t>
            </a:r>
            <a:endParaRPr lang="ru-KZ" sz="900" dirty="0"/>
          </a:p>
        </p:txBody>
      </p:sp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C3C9DAB7-3CDC-9B47-9F81-13751EC4A078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075" y="481457"/>
            <a:ext cx="1021563" cy="384046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C4DB61A6-9802-7B41-A625-40B07F4191F3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6333" y="4812807"/>
            <a:ext cx="354872" cy="34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955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" name="Рисунок 87">
            <a:extLst>
              <a:ext uri="{FF2B5EF4-FFF2-40B4-BE49-F238E27FC236}">
                <a16:creationId xmlns:a16="http://schemas.microsoft.com/office/drawing/2014/main" id="{33783F13-521B-5E41-BC90-BDC69ABB041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7334" y="3117662"/>
            <a:ext cx="3642481" cy="1913415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1BBDE660-7F65-3B43-8FF1-B176CD7BA3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7189" y="4766549"/>
            <a:ext cx="3647544" cy="1560481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EE1F273-0046-FD43-92D4-7EB045C8254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6486" y="-24439"/>
            <a:ext cx="3204173" cy="3715076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2E216653-912A-8745-B405-643A84F456E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65125" y="3417346"/>
            <a:ext cx="5326875" cy="3440654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91ED017-9E5F-B442-8D6B-8203C8AF83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2840" y="257438"/>
            <a:ext cx="8622708" cy="1131166"/>
          </a:xfrm>
        </p:spPr>
        <p:txBody>
          <a:bodyPr>
            <a:normAutofit fontScale="90000"/>
          </a:bodyPr>
          <a:lstStyle/>
          <a:p>
            <a:r>
              <a:rPr lang="ru-RU" dirty="0"/>
              <a:t>ФИНАНСИРОВАНИЕ </a:t>
            </a:r>
            <a:br>
              <a:rPr lang="ru-RU" dirty="0"/>
            </a:br>
            <a:r>
              <a:rPr lang="ru-RU" dirty="0">
                <a:solidFill>
                  <a:srgbClr val="02B3EB"/>
                </a:solidFill>
              </a:rPr>
              <a:t>ЗАРУБЕЖНОГО ПОКУПАТЕЛЯ</a:t>
            </a:r>
            <a:endParaRPr lang="ru-KZ" dirty="0">
              <a:solidFill>
                <a:srgbClr val="02B3EB"/>
              </a:solidFill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98AF9560-34B7-5945-B313-BDBC395DCB9D}"/>
              </a:ext>
            </a:extLst>
          </p:cNvPr>
          <p:cNvSpPr txBox="1">
            <a:spLocks/>
          </p:cNvSpPr>
          <p:nvPr/>
        </p:nvSpPr>
        <p:spPr>
          <a:xfrm>
            <a:off x="351205" y="257438"/>
            <a:ext cx="889198" cy="77774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>
                <a:solidFill>
                  <a:srgbClr val="E0E3E6"/>
                </a:solidFill>
              </a:rPr>
              <a:t>04</a:t>
            </a:r>
            <a:r>
              <a:rPr lang="en-US" sz="1000" dirty="0">
                <a:solidFill>
                  <a:srgbClr val="E0E3E6"/>
                </a:solidFill>
              </a:rPr>
              <a:t> </a:t>
            </a:r>
            <a:r>
              <a:rPr lang="en-US" dirty="0">
                <a:solidFill>
                  <a:srgbClr val="E0E3E6"/>
                </a:solidFill>
              </a:rPr>
              <a:t>|</a:t>
            </a:r>
            <a:endParaRPr lang="ru-KZ" dirty="0">
              <a:solidFill>
                <a:srgbClr val="E0E3E6"/>
              </a:solidFill>
            </a:endParaRPr>
          </a:p>
        </p:txBody>
      </p:sp>
      <p:sp>
        <p:nvSpPr>
          <p:cNvPr id="27" name="Объект 18">
            <a:extLst>
              <a:ext uri="{FF2B5EF4-FFF2-40B4-BE49-F238E27FC236}">
                <a16:creationId xmlns:a16="http://schemas.microsoft.com/office/drawing/2014/main" id="{01697468-BFFE-7741-B008-7FF8AA81412C}"/>
              </a:ext>
            </a:extLst>
          </p:cNvPr>
          <p:cNvSpPr txBox="1">
            <a:spLocks/>
          </p:cNvSpPr>
          <p:nvPr/>
        </p:nvSpPr>
        <p:spPr>
          <a:xfrm>
            <a:off x="8941442" y="3792445"/>
            <a:ext cx="3011703" cy="26049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6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/>
              <a:t>Экспортер получает выручку сразу после поставки с нулевым риском</a:t>
            </a:r>
          </a:p>
          <a:p>
            <a:pPr marL="0" indent="0">
              <a:spcBef>
                <a:spcPts val="0"/>
              </a:spcBef>
              <a:buNone/>
            </a:pPr>
            <a:endParaRPr lang="ru-RU" dirty="0"/>
          </a:p>
          <a:p>
            <a:pPr marL="0" indent="0">
              <a:spcBef>
                <a:spcPts val="0"/>
              </a:spcBef>
              <a:buNone/>
            </a:pPr>
            <a:r>
              <a:rPr lang="ru-RU" dirty="0"/>
              <a:t>Пакетное предложение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dirty="0"/>
              <a:t>от экспортера с конкурентными преимуществами</a:t>
            </a:r>
          </a:p>
        </p:txBody>
      </p:sp>
      <p:sp>
        <p:nvSpPr>
          <p:cNvPr id="29" name="Объект 18">
            <a:extLst>
              <a:ext uri="{FF2B5EF4-FFF2-40B4-BE49-F238E27FC236}">
                <a16:creationId xmlns:a16="http://schemas.microsoft.com/office/drawing/2014/main" id="{C730700B-F625-884B-B4A9-E0588F0C3855}"/>
              </a:ext>
            </a:extLst>
          </p:cNvPr>
          <p:cNvSpPr txBox="1">
            <a:spLocks/>
          </p:cNvSpPr>
          <p:nvPr/>
        </p:nvSpPr>
        <p:spPr>
          <a:xfrm>
            <a:off x="9065653" y="3067314"/>
            <a:ext cx="3011703" cy="4403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6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1800" b="1" dirty="0">
                <a:solidFill>
                  <a:srgbClr val="02B3EB"/>
                </a:solidFill>
              </a:rPr>
              <a:t>ПРЕИМУЩЕСТВА</a:t>
            </a:r>
          </a:p>
        </p:txBody>
      </p:sp>
      <p:sp>
        <p:nvSpPr>
          <p:cNvPr id="30" name="Объект 18">
            <a:extLst>
              <a:ext uri="{FF2B5EF4-FFF2-40B4-BE49-F238E27FC236}">
                <a16:creationId xmlns:a16="http://schemas.microsoft.com/office/drawing/2014/main" id="{59F33A1C-4264-F845-9353-69474508F63F}"/>
              </a:ext>
            </a:extLst>
          </p:cNvPr>
          <p:cNvSpPr txBox="1">
            <a:spLocks/>
          </p:cNvSpPr>
          <p:nvPr/>
        </p:nvSpPr>
        <p:spPr>
          <a:xfrm>
            <a:off x="8698094" y="3792445"/>
            <a:ext cx="529053" cy="26049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6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b="1" dirty="0">
                <a:solidFill>
                  <a:srgbClr val="02B3EB"/>
                </a:solidFill>
              </a:rPr>
              <a:t>+</a:t>
            </a:r>
          </a:p>
          <a:p>
            <a:pPr marL="0" indent="0">
              <a:spcBef>
                <a:spcPts val="0"/>
              </a:spcBef>
              <a:buNone/>
            </a:pPr>
            <a:endParaRPr lang="en-US" b="1" dirty="0">
              <a:solidFill>
                <a:srgbClr val="02B3EB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endParaRPr lang="en-US" b="1" dirty="0">
              <a:solidFill>
                <a:srgbClr val="02B3EB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endParaRPr lang="en-US" b="1" dirty="0">
              <a:solidFill>
                <a:srgbClr val="02B3EB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b="1" dirty="0">
                <a:solidFill>
                  <a:srgbClr val="02B3EB"/>
                </a:solidFill>
              </a:rPr>
              <a:t>+</a:t>
            </a:r>
          </a:p>
        </p:txBody>
      </p:sp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7C03D538-41EF-3E48-B363-EB8A69B9A1C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967" y="4779393"/>
            <a:ext cx="3544795" cy="1547637"/>
          </a:xfrm>
          <a:prstGeom prst="rect">
            <a:avLst/>
          </a:prstGeom>
        </p:spPr>
      </p:pic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E6D6563F-210E-6845-AF2A-F3DEC95E498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277" y="1596180"/>
            <a:ext cx="2081209" cy="998980"/>
          </a:xfrm>
          <a:prstGeom prst="rect">
            <a:avLst/>
          </a:prstGeom>
        </p:spPr>
      </p:pic>
      <p:sp>
        <p:nvSpPr>
          <p:cNvPr id="55" name="Объект 18">
            <a:extLst>
              <a:ext uri="{FF2B5EF4-FFF2-40B4-BE49-F238E27FC236}">
                <a16:creationId xmlns:a16="http://schemas.microsoft.com/office/drawing/2014/main" id="{8ABCBF89-6651-A546-87F2-2A1FC8BD45B2}"/>
              </a:ext>
            </a:extLst>
          </p:cNvPr>
          <p:cNvSpPr txBox="1">
            <a:spLocks/>
          </p:cNvSpPr>
          <p:nvPr/>
        </p:nvSpPr>
        <p:spPr>
          <a:xfrm>
            <a:off x="984576" y="1838979"/>
            <a:ext cx="1987950" cy="6996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6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chemeClr val="bg1"/>
                </a:solidFill>
              </a:rPr>
              <a:t>Зарубежный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chemeClr val="bg1"/>
                </a:solidFill>
              </a:rPr>
              <a:t>покупатель</a:t>
            </a:r>
          </a:p>
        </p:txBody>
      </p:sp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DCBEDB80-7EC3-FA47-9E4D-3411E5DEC84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6333" y="1890598"/>
            <a:ext cx="354872" cy="348300"/>
          </a:xfrm>
          <a:prstGeom prst="rect">
            <a:avLst/>
          </a:prstGeom>
        </p:spPr>
      </p:pic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38EB814D-B1CE-AA46-8531-DC45007A0213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9517" y="1596180"/>
            <a:ext cx="2081209" cy="998980"/>
          </a:xfrm>
          <a:prstGeom prst="rect">
            <a:avLst/>
          </a:prstGeom>
        </p:spPr>
      </p:pic>
      <p:sp>
        <p:nvSpPr>
          <p:cNvPr id="64" name="Объект 18">
            <a:extLst>
              <a:ext uri="{FF2B5EF4-FFF2-40B4-BE49-F238E27FC236}">
                <a16:creationId xmlns:a16="http://schemas.microsoft.com/office/drawing/2014/main" id="{63249E7A-C97B-6849-9E24-EFD99309A11D}"/>
              </a:ext>
            </a:extLst>
          </p:cNvPr>
          <p:cNvSpPr txBox="1">
            <a:spLocks/>
          </p:cNvSpPr>
          <p:nvPr/>
        </p:nvSpPr>
        <p:spPr>
          <a:xfrm>
            <a:off x="6088726" y="1966394"/>
            <a:ext cx="1419495" cy="3999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6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chemeClr val="bg1"/>
                </a:solidFill>
              </a:rPr>
              <a:t>Экспортер</a:t>
            </a:r>
          </a:p>
        </p:txBody>
      </p:sp>
      <p:pic>
        <p:nvPicPr>
          <p:cNvPr id="65" name="Рисунок 64">
            <a:extLst>
              <a:ext uri="{FF2B5EF4-FFF2-40B4-BE49-F238E27FC236}">
                <a16:creationId xmlns:a16="http://schemas.microsoft.com/office/drawing/2014/main" id="{CF71018D-6E4D-F247-80F4-E881412D9E0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277" y="3574881"/>
            <a:ext cx="2081209" cy="998980"/>
          </a:xfrm>
          <a:prstGeom prst="rect">
            <a:avLst/>
          </a:prstGeom>
        </p:spPr>
      </p:pic>
      <p:sp>
        <p:nvSpPr>
          <p:cNvPr id="66" name="Объект 18">
            <a:extLst>
              <a:ext uri="{FF2B5EF4-FFF2-40B4-BE49-F238E27FC236}">
                <a16:creationId xmlns:a16="http://schemas.microsoft.com/office/drawing/2014/main" id="{163AA5A5-86D7-D545-8226-08BD77D717BC}"/>
              </a:ext>
            </a:extLst>
          </p:cNvPr>
          <p:cNvSpPr txBox="1">
            <a:spLocks/>
          </p:cNvSpPr>
          <p:nvPr/>
        </p:nvSpPr>
        <p:spPr>
          <a:xfrm>
            <a:off x="1097001" y="3817680"/>
            <a:ext cx="1413850" cy="6996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6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chemeClr val="bg1"/>
                </a:solidFill>
              </a:rPr>
              <a:t>Банк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chemeClr val="bg1"/>
                </a:solidFill>
              </a:rPr>
              <a:t>импортера</a:t>
            </a:r>
          </a:p>
        </p:txBody>
      </p:sp>
      <p:pic>
        <p:nvPicPr>
          <p:cNvPr id="67" name="Рисунок 66">
            <a:extLst>
              <a:ext uri="{FF2B5EF4-FFF2-40B4-BE49-F238E27FC236}">
                <a16:creationId xmlns:a16="http://schemas.microsoft.com/office/drawing/2014/main" id="{BF5A0FB8-D2D0-324A-A447-65EE49C67C1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9517" y="3574881"/>
            <a:ext cx="2081209" cy="998980"/>
          </a:xfrm>
          <a:prstGeom prst="rect">
            <a:avLst/>
          </a:prstGeom>
        </p:spPr>
      </p:pic>
      <p:sp>
        <p:nvSpPr>
          <p:cNvPr id="68" name="Объект 18">
            <a:extLst>
              <a:ext uri="{FF2B5EF4-FFF2-40B4-BE49-F238E27FC236}">
                <a16:creationId xmlns:a16="http://schemas.microsoft.com/office/drawing/2014/main" id="{78B5E12D-8B83-CF47-B0CE-7995E5B838B5}"/>
              </a:ext>
            </a:extLst>
          </p:cNvPr>
          <p:cNvSpPr txBox="1">
            <a:spLocks/>
          </p:cNvSpPr>
          <p:nvPr/>
        </p:nvSpPr>
        <p:spPr>
          <a:xfrm>
            <a:off x="6088726" y="3817680"/>
            <a:ext cx="1987950" cy="6996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6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chemeClr val="bg1"/>
                </a:solidFill>
              </a:rPr>
              <a:t>Банк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b="1" dirty="0">
                <a:solidFill>
                  <a:schemeClr val="bg1"/>
                </a:solidFill>
              </a:rPr>
              <a:t>в РК</a:t>
            </a:r>
          </a:p>
        </p:txBody>
      </p:sp>
      <p:sp>
        <p:nvSpPr>
          <p:cNvPr id="69" name="Объект 18">
            <a:extLst>
              <a:ext uri="{FF2B5EF4-FFF2-40B4-BE49-F238E27FC236}">
                <a16:creationId xmlns:a16="http://schemas.microsoft.com/office/drawing/2014/main" id="{6FF2BC71-A53E-454A-88DE-4F81C7F0D001}"/>
              </a:ext>
            </a:extLst>
          </p:cNvPr>
          <p:cNvSpPr txBox="1">
            <a:spLocks/>
          </p:cNvSpPr>
          <p:nvPr/>
        </p:nvSpPr>
        <p:spPr>
          <a:xfrm>
            <a:off x="2523991" y="2095470"/>
            <a:ext cx="2890684" cy="2941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6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ru-RU" sz="1000" dirty="0">
                <a:solidFill>
                  <a:schemeClr val="bg1">
                    <a:lumMod val="50000"/>
                  </a:schemeClr>
                </a:solidFill>
              </a:rPr>
              <a:t>Экспортный контракт</a:t>
            </a:r>
          </a:p>
        </p:txBody>
      </p:sp>
      <p:pic>
        <p:nvPicPr>
          <p:cNvPr id="70" name="Рисунок 69">
            <a:extLst>
              <a:ext uri="{FF2B5EF4-FFF2-40B4-BE49-F238E27FC236}">
                <a16:creationId xmlns:a16="http://schemas.microsoft.com/office/drawing/2014/main" id="{0DA8EC88-22E3-2F44-9001-AA1B373ABB64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5461" y="2654944"/>
            <a:ext cx="1244814" cy="467975"/>
          </a:xfrm>
          <a:prstGeom prst="rect">
            <a:avLst/>
          </a:prstGeom>
        </p:spPr>
      </p:pic>
      <p:cxnSp>
        <p:nvCxnSpPr>
          <p:cNvPr id="72" name="Прямая со стрелкой 71">
            <a:extLst>
              <a:ext uri="{FF2B5EF4-FFF2-40B4-BE49-F238E27FC236}">
                <a16:creationId xmlns:a16="http://schemas.microsoft.com/office/drawing/2014/main" id="{446F4C26-BDFE-C342-BD09-BE6DA1901C4F}"/>
              </a:ext>
            </a:extLst>
          </p:cNvPr>
          <p:cNvCxnSpPr>
            <a:cxnSpLocks/>
          </p:cNvCxnSpPr>
          <p:nvPr/>
        </p:nvCxnSpPr>
        <p:spPr>
          <a:xfrm flipV="1">
            <a:off x="2562431" y="2064131"/>
            <a:ext cx="2849591" cy="10556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Объект 18">
            <a:extLst>
              <a:ext uri="{FF2B5EF4-FFF2-40B4-BE49-F238E27FC236}">
                <a16:creationId xmlns:a16="http://schemas.microsoft.com/office/drawing/2014/main" id="{7F7D6349-FE99-AC4D-A292-40485802774B}"/>
              </a:ext>
            </a:extLst>
          </p:cNvPr>
          <p:cNvSpPr txBox="1">
            <a:spLocks/>
          </p:cNvSpPr>
          <p:nvPr/>
        </p:nvSpPr>
        <p:spPr>
          <a:xfrm>
            <a:off x="4394964" y="5289059"/>
            <a:ext cx="3197554" cy="12119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6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1200" dirty="0"/>
              <a:t>Возможность получения </a:t>
            </a:r>
            <a:r>
              <a:rPr lang="ru-RU" sz="1200" dirty="0" err="1"/>
              <a:t>финансиро</a:t>
            </a:r>
            <a:r>
              <a:rPr lang="en-US" sz="1200" dirty="0"/>
              <a:t>- </a:t>
            </a:r>
            <a:r>
              <a:rPr lang="ru-RU" sz="1200" dirty="0" err="1"/>
              <a:t>вания</a:t>
            </a:r>
            <a:r>
              <a:rPr lang="ru-RU" sz="1200" dirty="0"/>
              <a:t> иностранным контрагентом в банке при нехватке залогового обеспечения, для покупки</a:t>
            </a:r>
            <a:r>
              <a:rPr lang="en-US" sz="1200" dirty="0"/>
              <a:t> </a:t>
            </a:r>
            <a:r>
              <a:rPr lang="ru-RU" sz="1200" dirty="0" err="1"/>
              <a:t>казахс</a:t>
            </a:r>
            <a:r>
              <a:rPr lang="en-US" sz="1200" dirty="0"/>
              <a:t>- </a:t>
            </a:r>
            <a:r>
              <a:rPr lang="ru-RU" sz="1200" dirty="0" err="1"/>
              <a:t>танских</a:t>
            </a:r>
            <a:r>
              <a:rPr lang="ru-RU" sz="1200" dirty="0"/>
              <a:t> товаров, работ и услуг</a:t>
            </a:r>
          </a:p>
        </p:txBody>
      </p:sp>
      <p:sp>
        <p:nvSpPr>
          <p:cNvPr id="74" name="Объект 18">
            <a:extLst>
              <a:ext uri="{FF2B5EF4-FFF2-40B4-BE49-F238E27FC236}">
                <a16:creationId xmlns:a16="http://schemas.microsoft.com/office/drawing/2014/main" id="{FEDB29A8-E510-DB4D-ACCB-26DD931C61CB}"/>
              </a:ext>
            </a:extLst>
          </p:cNvPr>
          <p:cNvSpPr txBox="1">
            <a:spLocks/>
          </p:cNvSpPr>
          <p:nvPr/>
        </p:nvSpPr>
        <p:spPr>
          <a:xfrm>
            <a:off x="4394966" y="4849180"/>
            <a:ext cx="3777276" cy="6391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6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1200" b="1" dirty="0">
                <a:solidFill>
                  <a:srgbClr val="02B3EB"/>
                </a:solidFill>
              </a:rPr>
              <a:t>Страхование иностранного контр- агента при финансировании</a:t>
            </a:r>
          </a:p>
        </p:txBody>
      </p:sp>
      <p:sp>
        <p:nvSpPr>
          <p:cNvPr id="75" name="Овал 74">
            <a:extLst>
              <a:ext uri="{FF2B5EF4-FFF2-40B4-BE49-F238E27FC236}">
                <a16:creationId xmlns:a16="http://schemas.microsoft.com/office/drawing/2014/main" id="{B08B3F79-CCD6-0346-B11D-B10C14DB26A4}"/>
              </a:ext>
            </a:extLst>
          </p:cNvPr>
          <p:cNvSpPr/>
          <p:nvPr/>
        </p:nvSpPr>
        <p:spPr>
          <a:xfrm>
            <a:off x="4150248" y="4918653"/>
            <a:ext cx="245404" cy="245404"/>
          </a:xfrm>
          <a:prstGeom prst="ellipse">
            <a:avLst/>
          </a:prstGeom>
          <a:solidFill>
            <a:srgbClr val="0420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75738E8-DDAE-D64F-9577-32D0AD009FF1}"/>
              </a:ext>
            </a:extLst>
          </p:cNvPr>
          <p:cNvSpPr txBox="1"/>
          <p:nvPr/>
        </p:nvSpPr>
        <p:spPr>
          <a:xfrm>
            <a:off x="4138558" y="4885995"/>
            <a:ext cx="18882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2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77" name="Объект 18">
            <a:extLst>
              <a:ext uri="{FF2B5EF4-FFF2-40B4-BE49-F238E27FC236}">
                <a16:creationId xmlns:a16="http://schemas.microsoft.com/office/drawing/2014/main" id="{04BB23CD-A8FD-9148-B8EF-FC8ACB63ACB6}"/>
              </a:ext>
            </a:extLst>
          </p:cNvPr>
          <p:cNvSpPr txBox="1">
            <a:spLocks/>
          </p:cNvSpPr>
          <p:nvPr/>
        </p:nvSpPr>
        <p:spPr>
          <a:xfrm>
            <a:off x="457153" y="5293740"/>
            <a:ext cx="3407901" cy="12119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6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ru-RU" sz="1200" dirty="0"/>
              <a:t>Возможность предоставления финансирования иностранному </a:t>
            </a:r>
          </a:p>
          <a:p>
            <a:pPr marL="0" indent="0" algn="r">
              <a:spcBef>
                <a:spcPts val="0"/>
              </a:spcBef>
              <a:buNone/>
            </a:pPr>
            <a:r>
              <a:rPr lang="ru-RU" sz="1200" dirty="0"/>
              <a:t>контрагенту опосредованно через банки второго уровня в рамках аккредитивной формы расчетов</a:t>
            </a:r>
          </a:p>
        </p:txBody>
      </p:sp>
      <p:sp>
        <p:nvSpPr>
          <p:cNvPr id="78" name="Объект 18">
            <a:extLst>
              <a:ext uri="{FF2B5EF4-FFF2-40B4-BE49-F238E27FC236}">
                <a16:creationId xmlns:a16="http://schemas.microsoft.com/office/drawing/2014/main" id="{021CF26C-7BD4-1D49-93AE-450BCBEE6DB3}"/>
              </a:ext>
            </a:extLst>
          </p:cNvPr>
          <p:cNvSpPr txBox="1">
            <a:spLocks/>
          </p:cNvSpPr>
          <p:nvPr/>
        </p:nvSpPr>
        <p:spPr>
          <a:xfrm>
            <a:off x="613683" y="4849180"/>
            <a:ext cx="3246341" cy="5697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6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ru-RU" sz="1200" b="1" dirty="0">
                <a:solidFill>
                  <a:srgbClr val="02B3EB"/>
                </a:solidFill>
              </a:rPr>
              <a:t>Торговое </a:t>
            </a:r>
            <a:endParaRPr lang="en-US" sz="1200" b="1" dirty="0">
              <a:solidFill>
                <a:srgbClr val="02B3EB"/>
              </a:solidFill>
            </a:endParaRPr>
          </a:p>
          <a:p>
            <a:pPr marL="0" indent="0" algn="r">
              <a:spcBef>
                <a:spcPts val="0"/>
              </a:spcBef>
              <a:buNone/>
            </a:pPr>
            <a:r>
              <a:rPr lang="ru-RU" sz="1200" b="1" dirty="0">
                <a:solidFill>
                  <a:srgbClr val="02B3EB"/>
                </a:solidFill>
              </a:rPr>
              <a:t>финансирование</a:t>
            </a:r>
          </a:p>
        </p:txBody>
      </p:sp>
      <p:pic>
        <p:nvPicPr>
          <p:cNvPr id="79" name="Рисунок 78">
            <a:extLst>
              <a:ext uri="{FF2B5EF4-FFF2-40B4-BE49-F238E27FC236}">
                <a16:creationId xmlns:a16="http://schemas.microsoft.com/office/drawing/2014/main" id="{4A99B173-EAF5-6642-B851-064C5335DF8C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7698" y="4126243"/>
            <a:ext cx="740562" cy="402636"/>
          </a:xfrm>
          <a:prstGeom prst="rect">
            <a:avLst/>
          </a:prstGeom>
        </p:spPr>
      </p:pic>
      <p:pic>
        <p:nvPicPr>
          <p:cNvPr id="80" name="Рисунок 79">
            <a:extLst>
              <a:ext uri="{FF2B5EF4-FFF2-40B4-BE49-F238E27FC236}">
                <a16:creationId xmlns:a16="http://schemas.microsoft.com/office/drawing/2014/main" id="{263C2DFB-F7FC-C04B-BB44-9F02C6998A2D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3753" y="3855920"/>
            <a:ext cx="436901" cy="436901"/>
          </a:xfrm>
          <a:prstGeom prst="rect">
            <a:avLst/>
          </a:prstGeom>
        </p:spPr>
      </p:pic>
      <p:pic>
        <p:nvPicPr>
          <p:cNvPr id="81" name="Рисунок 80">
            <a:extLst>
              <a:ext uri="{FF2B5EF4-FFF2-40B4-BE49-F238E27FC236}">
                <a16:creationId xmlns:a16="http://schemas.microsoft.com/office/drawing/2014/main" id="{F4804B25-EC7B-424D-8FE9-F46357C36F5E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6411" y="1896240"/>
            <a:ext cx="424263" cy="424263"/>
          </a:xfrm>
          <a:prstGeom prst="rect">
            <a:avLst/>
          </a:prstGeom>
        </p:spPr>
      </p:pic>
      <p:pic>
        <p:nvPicPr>
          <p:cNvPr id="82" name="Рисунок 81">
            <a:extLst>
              <a:ext uri="{FF2B5EF4-FFF2-40B4-BE49-F238E27FC236}">
                <a16:creationId xmlns:a16="http://schemas.microsoft.com/office/drawing/2014/main" id="{4BFB1444-1A91-1740-A8D4-EED215AF4F1B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169" y="3855920"/>
            <a:ext cx="436901" cy="436901"/>
          </a:xfrm>
          <a:prstGeom prst="rect">
            <a:avLst/>
          </a:prstGeom>
        </p:spPr>
      </p:pic>
      <p:sp>
        <p:nvSpPr>
          <p:cNvPr id="83" name="Объект 18">
            <a:extLst>
              <a:ext uri="{FF2B5EF4-FFF2-40B4-BE49-F238E27FC236}">
                <a16:creationId xmlns:a16="http://schemas.microsoft.com/office/drawing/2014/main" id="{9D1BC3B5-DBEA-5F4A-9BF8-21446EFC1077}"/>
              </a:ext>
            </a:extLst>
          </p:cNvPr>
          <p:cNvSpPr txBox="1">
            <a:spLocks/>
          </p:cNvSpPr>
          <p:nvPr/>
        </p:nvSpPr>
        <p:spPr>
          <a:xfrm>
            <a:off x="2523991" y="4224074"/>
            <a:ext cx="2890684" cy="2941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6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ru-RU" sz="1000" dirty="0">
                <a:solidFill>
                  <a:srgbClr val="02B3EB"/>
                </a:solidFill>
              </a:rPr>
              <a:t>Межбанковское финансирование</a:t>
            </a:r>
          </a:p>
        </p:txBody>
      </p:sp>
      <p:pic>
        <p:nvPicPr>
          <p:cNvPr id="84" name="Рисунок 83">
            <a:extLst>
              <a:ext uri="{FF2B5EF4-FFF2-40B4-BE49-F238E27FC236}">
                <a16:creationId xmlns:a16="http://schemas.microsoft.com/office/drawing/2014/main" id="{F87D805A-03B7-1947-B4D1-50168B82DA80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5461" y="3581207"/>
            <a:ext cx="1244814" cy="467975"/>
          </a:xfrm>
          <a:prstGeom prst="rect">
            <a:avLst/>
          </a:prstGeom>
        </p:spPr>
      </p:pic>
      <p:cxnSp>
        <p:nvCxnSpPr>
          <p:cNvPr id="85" name="Прямая со стрелкой 84">
            <a:extLst>
              <a:ext uri="{FF2B5EF4-FFF2-40B4-BE49-F238E27FC236}">
                <a16:creationId xmlns:a16="http://schemas.microsoft.com/office/drawing/2014/main" id="{CD0B3F74-D82A-5942-B369-84ED395FA072}"/>
              </a:ext>
            </a:extLst>
          </p:cNvPr>
          <p:cNvCxnSpPr>
            <a:cxnSpLocks/>
          </p:cNvCxnSpPr>
          <p:nvPr/>
        </p:nvCxnSpPr>
        <p:spPr>
          <a:xfrm flipV="1">
            <a:off x="2562431" y="4222715"/>
            <a:ext cx="2849591" cy="10556"/>
          </a:xfrm>
          <a:prstGeom prst="straightConnector1">
            <a:avLst/>
          </a:prstGeom>
          <a:ln>
            <a:solidFill>
              <a:srgbClr val="02B3EB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Объект 18">
            <a:extLst>
              <a:ext uri="{FF2B5EF4-FFF2-40B4-BE49-F238E27FC236}">
                <a16:creationId xmlns:a16="http://schemas.microsoft.com/office/drawing/2014/main" id="{94577A77-D842-EC44-99A1-9E169D58A231}"/>
              </a:ext>
            </a:extLst>
          </p:cNvPr>
          <p:cNvSpPr txBox="1">
            <a:spLocks/>
          </p:cNvSpPr>
          <p:nvPr/>
        </p:nvSpPr>
        <p:spPr>
          <a:xfrm>
            <a:off x="2523991" y="3144781"/>
            <a:ext cx="2890684" cy="2941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6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ru-RU" sz="1000" dirty="0">
                <a:solidFill>
                  <a:srgbClr val="02B3EB"/>
                </a:solidFill>
              </a:rPr>
              <a:t>Финансирование</a:t>
            </a:r>
          </a:p>
        </p:txBody>
      </p:sp>
      <p:sp>
        <p:nvSpPr>
          <p:cNvPr id="87" name="Объект 18">
            <a:extLst>
              <a:ext uri="{FF2B5EF4-FFF2-40B4-BE49-F238E27FC236}">
                <a16:creationId xmlns:a16="http://schemas.microsoft.com/office/drawing/2014/main" id="{C183473D-681E-9C4F-8D36-1D17E0B32CB8}"/>
              </a:ext>
            </a:extLst>
          </p:cNvPr>
          <p:cNvSpPr txBox="1">
            <a:spLocks/>
          </p:cNvSpPr>
          <p:nvPr/>
        </p:nvSpPr>
        <p:spPr>
          <a:xfrm>
            <a:off x="1054955" y="3065215"/>
            <a:ext cx="1388442" cy="2941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6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1000" dirty="0">
                <a:solidFill>
                  <a:schemeClr val="bg1">
                    <a:lumMod val="50000"/>
                  </a:schemeClr>
                </a:solidFill>
              </a:rPr>
              <a:t>Финансирование</a:t>
            </a:r>
          </a:p>
        </p:txBody>
      </p:sp>
      <p:pic>
        <p:nvPicPr>
          <p:cNvPr id="89" name="Рисунок 88">
            <a:extLst>
              <a:ext uri="{FF2B5EF4-FFF2-40B4-BE49-F238E27FC236}">
                <a16:creationId xmlns:a16="http://schemas.microsoft.com/office/drawing/2014/main" id="{BDFA5028-82B9-AB4A-AD35-5EBBA30A5B50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2978" y="4498154"/>
            <a:ext cx="51978" cy="546427"/>
          </a:xfrm>
          <a:prstGeom prst="rect">
            <a:avLst/>
          </a:prstGeom>
        </p:spPr>
      </p:pic>
      <p:pic>
        <p:nvPicPr>
          <p:cNvPr id="90" name="Рисунок 89">
            <a:extLst>
              <a:ext uri="{FF2B5EF4-FFF2-40B4-BE49-F238E27FC236}">
                <a16:creationId xmlns:a16="http://schemas.microsoft.com/office/drawing/2014/main" id="{00F468AF-5AE8-4B4B-8CD6-0852EF323E9F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1901" y="2587470"/>
            <a:ext cx="2880298" cy="1016222"/>
          </a:xfrm>
          <a:prstGeom prst="rect">
            <a:avLst/>
          </a:prstGeom>
        </p:spPr>
      </p:pic>
      <p:sp>
        <p:nvSpPr>
          <p:cNvPr id="91" name="Овал 90">
            <a:extLst>
              <a:ext uri="{FF2B5EF4-FFF2-40B4-BE49-F238E27FC236}">
                <a16:creationId xmlns:a16="http://schemas.microsoft.com/office/drawing/2014/main" id="{E34E2496-4D9C-3D47-AA06-A4B41B2DF73E}"/>
              </a:ext>
            </a:extLst>
          </p:cNvPr>
          <p:cNvSpPr/>
          <p:nvPr/>
        </p:nvSpPr>
        <p:spPr>
          <a:xfrm>
            <a:off x="3850445" y="4918653"/>
            <a:ext cx="245404" cy="245404"/>
          </a:xfrm>
          <a:prstGeom prst="ellipse">
            <a:avLst/>
          </a:prstGeom>
          <a:solidFill>
            <a:srgbClr val="0420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76246B19-5F81-5C41-BA59-0976A26CC1CC}"/>
              </a:ext>
            </a:extLst>
          </p:cNvPr>
          <p:cNvSpPr txBox="1"/>
          <p:nvPr/>
        </p:nvSpPr>
        <p:spPr>
          <a:xfrm>
            <a:off x="3838755" y="4885995"/>
            <a:ext cx="18882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1</a:t>
            </a:r>
            <a:endParaRPr lang="ru-KZ" sz="1400" dirty="0">
              <a:solidFill>
                <a:schemeClr val="bg1"/>
              </a:solidFill>
            </a:endParaRPr>
          </a:p>
        </p:txBody>
      </p:sp>
      <p:cxnSp>
        <p:nvCxnSpPr>
          <p:cNvPr id="93" name="Прямая со стрелкой 92">
            <a:extLst>
              <a:ext uri="{FF2B5EF4-FFF2-40B4-BE49-F238E27FC236}">
                <a16:creationId xmlns:a16="http://schemas.microsoft.com/office/drawing/2014/main" id="{B329A877-644B-574B-A240-6B3D4C277262}"/>
              </a:ext>
            </a:extLst>
          </p:cNvPr>
          <p:cNvCxnSpPr/>
          <p:nvPr/>
        </p:nvCxnSpPr>
        <p:spPr>
          <a:xfrm flipV="1">
            <a:off x="941205" y="2595160"/>
            <a:ext cx="0" cy="97972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2D96647D-FD6E-764F-90F6-763B1A9D7925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0581" y="485959"/>
            <a:ext cx="1049057" cy="390953"/>
          </a:xfrm>
          <a:prstGeom prst="rect">
            <a:avLst/>
          </a:prstGeom>
        </p:spPr>
      </p:pic>
      <p:sp>
        <p:nvSpPr>
          <p:cNvPr id="45" name="Нижний колонтитул 4">
            <a:extLst>
              <a:ext uri="{FF2B5EF4-FFF2-40B4-BE49-F238E27FC236}">
                <a16:creationId xmlns:a16="http://schemas.microsoft.com/office/drawing/2014/main" id="{81BF0C7E-3231-A545-A06D-945BADE078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8557" y="6235437"/>
            <a:ext cx="1704739" cy="365125"/>
          </a:xfrm>
        </p:spPr>
        <p:txBody>
          <a:bodyPr/>
          <a:lstStyle>
            <a:lvl1pPr algn="l">
              <a:defRPr sz="9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" dirty="0" err="1"/>
              <a:t>www.kazakhexport.kz</a:t>
            </a:r>
            <a:endParaRPr lang="ru-KZ" sz="900" dirty="0"/>
          </a:p>
        </p:txBody>
      </p:sp>
    </p:spTree>
    <p:extLst>
      <p:ext uri="{BB962C8B-B14F-4D97-AF65-F5344CB8AC3E}">
        <p14:creationId xmlns:p14="http://schemas.microsoft.com/office/powerpoint/2010/main" val="3778967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TextBox 77">
            <a:extLst>
              <a:ext uri="{FF2B5EF4-FFF2-40B4-BE49-F238E27FC236}">
                <a16:creationId xmlns:a16="http://schemas.microsoft.com/office/drawing/2014/main" id="{3414089A-AC40-4C9D-ABF9-FE46517AA958}"/>
              </a:ext>
            </a:extLst>
          </p:cNvPr>
          <p:cNvSpPr txBox="1"/>
          <p:nvPr/>
        </p:nvSpPr>
        <p:spPr>
          <a:xfrm>
            <a:off x="1158394" y="429101"/>
            <a:ext cx="101231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ru-RU" sz="2400" b="1" u="sng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Состав </a:t>
            </a:r>
            <a:r>
              <a:rPr lang="ru-RU" sz="2400" b="1" u="sng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конкурсной комиссии на заключение Долгосрочных </a:t>
            </a:r>
            <a:r>
              <a:rPr lang="ru-RU" sz="2400" b="1" u="sng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Договоров с Заказчиком контрактного производства биоаналогичных ЛС</a:t>
            </a:r>
            <a:endParaRPr lang="ru-RU" sz="2400" b="1" u="sng" dirty="0">
              <a:latin typeface="Century Gothic" panose="020B0502020202020204" pitchFamily="34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2195607" y="1968042"/>
            <a:ext cx="8941981" cy="332398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20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Национальный </a:t>
            </a:r>
            <a:r>
              <a:rPr lang="ru-RU" sz="2000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центр экспертизы лекарственных средств МЗ РК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  <a:hlinkClick r:id="rId2"/>
              </a:rPr>
              <a:t>https://www.ndda.kz/</a:t>
            </a:r>
            <a:endParaRPr lang="ru-RU" sz="2000" dirty="0">
              <a:latin typeface="Century Gothic" panose="020B0502020202020204" pitchFamily="34" charset="0"/>
              <a:ea typeface="Noto Sans" panose="020B0502040504020204" pitchFamily="34"/>
              <a:cs typeface="Noto Sans" panose="020B0502040504020204" pitchFamily="34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2000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ТОО «СК-Фармация» (Единый дистрибьютор)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  <a:hlinkClick r:id="rId3"/>
              </a:rPr>
              <a:t>https://sk-pharmacy.kz</a:t>
            </a:r>
            <a:endParaRPr lang="ru-RU" sz="2000" dirty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2000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НПП «</a:t>
            </a:r>
            <a:r>
              <a:rPr lang="ru-RU" sz="2000" dirty="0" err="1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Атамекен</a:t>
            </a:r>
            <a:r>
              <a:rPr lang="ru-RU" sz="2000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»</a:t>
            </a:r>
          </a:p>
          <a:p>
            <a:pPr>
              <a:lnSpc>
                <a:spcPct val="150000"/>
              </a:lnSpc>
            </a:pPr>
            <a:r>
              <a:rPr lang="en-US" sz="2000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  <a:hlinkClick r:id="rId4"/>
              </a:rPr>
              <a:t>https://atameken.kz/</a:t>
            </a:r>
            <a:endParaRPr lang="ru-RU" sz="2000" dirty="0">
              <a:latin typeface="Century Gothic" panose="020B0502020202020204" pitchFamily="34" charset="0"/>
              <a:ea typeface="Noto Sans" panose="020B0502040504020204" pitchFamily="34"/>
              <a:cs typeface="Noto Sans" panose="020B0502040504020204" pitchFamily="34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2000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Неправительственные организации</a:t>
            </a: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6471" y="2958497"/>
            <a:ext cx="945242" cy="3572006"/>
          </a:xfrm>
          <a:prstGeom prst="rect">
            <a:avLst/>
          </a:prstGeom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18053" y="1500271"/>
            <a:ext cx="1080683" cy="3524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691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1ED5C57E-B151-FA4A-92AA-6F63DB5D1DC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3702050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65A5F9AF-E627-5A4C-ACEA-CFACF7B440F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5378" y="1251158"/>
            <a:ext cx="3649457" cy="4901783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9AEB343F-2C2A-DA44-A5C6-11EA606DEAE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7351" y="1251158"/>
            <a:ext cx="3649457" cy="4901783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91ED017-9E5F-B442-8D6B-8203C8AF83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072" y="1936336"/>
            <a:ext cx="3951095" cy="1976096"/>
          </a:xfrm>
        </p:spPr>
        <p:txBody>
          <a:bodyPr>
            <a:normAutofit fontScale="90000"/>
          </a:bodyPr>
          <a:lstStyle/>
          <a:p>
            <a:r>
              <a:rPr lang="ru-RU" dirty="0">
                <a:solidFill>
                  <a:schemeClr val="bg1"/>
                </a:solidFill>
              </a:rPr>
              <a:t>ЛЬГОТНОЕ </a:t>
            </a:r>
            <a:br>
              <a:rPr lang="ru-RU" dirty="0">
                <a:solidFill>
                  <a:schemeClr val="bg1"/>
                </a:solidFill>
              </a:rPr>
            </a:br>
            <a:r>
              <a:rPr lang="ru-RU" dirty="0">
                <a:solidFill>
                  <a:schemeClr val="bg1"/>
                </a:solidFill>
              </a:rPr>
              <a:t>ФИНАНСИРОВАНИЕ </a:t>
            </a:r>
            <a:br>
              <a:rPr lang="ru-RU" dirty="0">
                <a:solidFill>
                  <a:schemeClr val="bg1"/>
                </a:solidFill>
              </a:rPr>
            </a:br>
            <a:r>
              <a:rPr lang="ru-RU" dirty="0">
                <a:solidFill>
                  <a:schemeClr val="bg1"/>
                </a:solidFill>
              </a:rPr>
              <a:t>ЗАРУБЕЖНОГО </a:t>
            </a:r>
            <a:br>
              <a:rPr lang="ru-RU" dirty="0">
                <a:solidFill>
                  <a:schemeClr val="bg1"/>
                </a:solidFill>
              </a:rPr>
            </a:br>
            <a:r>
              <a:rPr lang="ru-RU" dirty="0">
                <a:solidFill>
                  <a:schemeClr val="bg1"/>
                </a:solidFill>
              </a:rPr>
              <a:t>ПОКУПАТЕЛЯ</a:t>
            </a:r>
            <a:endParaRPr lang="ru-KZ" dirty="0">
              <a:solidFill>
                <a:schemeClr val="bg1"/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D31CFDE-FE21-A040-9982-9C2D09FD0F6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364" y="324893"/>
            <a:ext cx="2439025" cy="1596453"/>
          </a:xfrm>
          <a:prstGeom prst="rect">
            <a:avLst/>
          </a:prstGeom>
        </p:spPr>
      </p:pic>
      <p:sp>
        <p:nvSpPr>
          <p:cNvPr id="8" name="Объект 18">
            <a:extLst>
              <a:ext uri="{FF2B5EF4-FFF2-40B4-BE49-F238E27FC236}">
                <a16:creationId xmlns:a16="http://schemas.microsoft.com/office/drawing/2014/main" id="{5343586C-2942-1B48-9B62-40D7C2E159CB}"/>
              </a:ext>
            </a:extLst>
          </p:cNvPr>
          <p:cNvSpPr txBox="1">
            <a:spLocks/>
          </p:cNvSpPr>
          <p:nvPr/>
        </p:nvSpPr>
        <p:spPr>
          <a:xfrm>
            <a:off x="398384" y="4076615"/>
            <a:ext cx="3723911" cy="17646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6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/>
              <a:t>Мы предлагаем Вам воспользоваться дешевым финансированием в рос- </a:t>
            </a:r>
            <a:r>
              <a:rPr lang="ru-RU" dirty="0" err="1"/>
              <a:t>сийских</a:t>
            </a:r>
            <a:r>
              <a:rPr lang="ru-RU" dirty="0"/>
              <a:t> рублях для целей </a:t>
            </a:r>
            <a:r>
              <a:rPr lang="ru-RU" dirty="0" err="1"/>
              <a:t>приобре</a:t>
            </a:r>
            <a:r>
              <a:rPr lang="ru-RU" dirty="0"/>
              <a:t>- </a:t>
            </a:r>
            <a:r>
              <a:rPr lang="ru-RU" dirty="0" err="1"/>
              <a:t>тения</a:t>
            </a:r>
            <a:r>
              <a:rPr lang="ru-RU" dirty="0"/>
              <a:t> казахстанских товаров и услуг. Финансирование осуществляется в рамках импортных аккредитивов, выпускаемых Вашим Банком.</a:t>
            </a:r>
          </a:p>
        </p:txBody>
      </p:sp>
      <p:sp>
        <p:nvSpPr>
          <p:cNvPr id="11" name="Объект 18">
            <a:extLst>
              <a:ext uri="{FF2B5EF4-FFF2-40B4-BE49-F238E27FC236}">
                <a16:creationId xmlns:a16="http://schemas.microsoft.com/office/drawing/2014/main" id="{26FCCD13-B614-AE48-9747-468783F2D92C}"/>
              </a:ext>
            </a:extLst>
          </p:cNvPr>
          <p:cNvSpPr txBox="1">
            <a:spLocks/>
          </p:cNvSpPr>
          <p:nvPr/>
        </p:nvSpPr>
        <p:spPr>
          <a:xfrm>
            <a:off x="4171585" y="6296657"/>
            <a:ext cx="7508927" cy="4729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6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1000" b="1" dirty="0"/>
              <a:t>Аккредитив </a:t>
            </a:r>
            <a:r>
              <a:rPr lang="ru-RU" sz="1000" dirty="0"/>
              <a:t>– форма расчета, обязательство выпускающего банка произвести оплату продавцу/экспортеру против предоставления им документов, соответствующих условиям аккредитива.</a:t>
            </a:r>
          </a:p>
        </p:txBody>
      </p:sp>
      <p:sp>
        <p:nvSpPr>
          <p:cNvPr id="12" name="Объект 18">
            <a:extLst>
              <a:ext uri="{FF2B5EF4-FFF2-40B4-BE49-F238E27FC236}">
                <a16:creationId xmlns:a16="http://schemas.microsoft.com/office/drawing/2014/main" id="{7ACA6354-9C55-E54D-832B-A577A26A903B}"/>
              </a:ext>
            </a:extLst>
          </p:cNvPr>
          <p:cNvSpPr txBox="1">
            <a:spLocks/>
          </p:cNvSpPr>
          <p:nvPr/>
        </p:nvSpPr>
        <p:spPr>
          <a:xfrm>
            <a:off x="4225378" y="2240319"/>
            <a:ext cx="3649456" cy="37632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6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Blip>
                <a:blip r:embed="rId7"/>
              </a:buBlip>
            </a:pPr>
            <a:r>
              <a:rPr lang="ru-RU" dirty="0"/>
              <a:t>доступ к дешевым деньгам, что позволяет сократить</a:t>
            </a:r>
            <a:r>
              <a:rPr lang="en-US" dirty="0"/>
              <a:t> </a:t>
            </a:r>
            <a:r>
              <a:rPr lang="ru-RU" dirty="0"/>
              <a:t>финансовые расходы</a:t>
            </a:r>
          </a:p>
          <a:p>
            <a:pPr>
              <a:spcBef>
                <a:spcPts val="0"/>
              </a:spcBef>
              <a:buBlip>
                <a:blip r:embed="rId7"/>
              </a:buBlip>
            </a:pPr>
            <a:endParaRPr lang="ru-RU" dirty="0"/>
          </a:p>
          <a:p>
            <a:pPr>
              <a:spcBef>
                <a:spcPts val="0"/>
              </a:spcBef>
              <a:buBlip>
                <a:blip r:embed="rId7"/>
              </a:buBlip>
            </a:pPr>
            <a:r>
              <a:rPr lang="ru-RU" dirty="0"/>
              <a:t>получение более </a:t>
            </a:r>
            <a:r>
              <a:rPr lang="ru-RU" dirty="0" err="1"/>
              <a:t>продолжитель</a:t>
            </a:r>
            <a:r>
              <a:rPr lang="ru-RU" dirty="0"/>
              <a:t>- ной отсрочки, чем поставщик может предоставить</a:t>
            </a:r>
          </a:p>
          <a:p>
            <a:pPr>
              <a:spcBef>
                <a:spcPts val="0"/>
              </a:spcBef>
              <a:buBlip>
                <a:blip r:embed="rId7"/>
              </a:buBlip>
            </a:pPr>
            <a:endParaRPr lang="ru-RU" dirty="0"/>
          </a:p>
          <a:p>
            <a:pPr>
              <a:spcBef>
                <a:spcPts val="0"/>
              </a:spcBef>
              <a:buBlip>
                <a:blip r:embed="rId7"/>
              </a:buBlip>
            </a:pPr>
            <a:r>
              <a:rPr lang="ru-RU" dirty="0"/>
              <a:t>минимизация рисков, т.к. оплата осуществляется против отгрузочных документов</a:t>
            </a:r>
          </a:p>
          <a:p>
            <a:pPr>
              <a:spcBef>
                <a:spcPts val="0"/>
              </a:spcBef>
              <a:buBlip>
                <a:blip r:embed="rId7"/>
              </a:buBlip>
            </a:pPr>
            <a:endParaRPr lang="ru-RU" dirty="0"/>
          </a:p>
          <a:p>
            <a:pPr>
              <a:spcBef>
                <a:spcPts val="0"/>
              </a:spcBef>
              <a:buBlip>
                <a:blip r:embed="rId7"/>
              </a:buBlip>
            </a:pPr>
            <a:r>
              <a:rPr lang="ru-RU" dirty="0"/>
              <a:t>отсутствие валютного риска</a:t>
            </a:r>
          </a:p>
          <a:p>
            <a:pPr>
              <a:spcBef>
                <a:spcPts val="0"/>
              </a:spcBef>
              <a:buBlip>
                <a:blip r:embed="rId7"/>
              </a:buBlip>
            </a:pPr>
            <a:endParaRPr lang="ru-RU" dirty="0"/>
          </a:p>
          <a:p>
            <a:pPr>
              <a:spcBef>
                <a:spcPts val="0"/>
              </a:spcBef>
              <a:buBlip>
                <a:blip r:embed="rId7"/>
              </a:buBlip>
            </a:pPr>
            <a:r>
              <a:rPr lang="ru-RU" dirty="0"/>
              <a:t>возможность расширения сотрудничества с поставщиком</a:t>
            </a:r>
          </a:p>
        </p:txBody>
      </p:sp>
      <p:sp>
        <p:nvSpPr>
          <p:cNvPr id="13" name="Объект 18">
            <a:extLst>
              <a:ext uri="{FF2B5EF4-FFF2-40B4-BE49-F238E27FC236}">
                <a16:creationId xmlns:a16="http://schemas.microsoft.com/office/drawing/2014/main" id="{407EA450-979C-5A4B-8905-55EB3D4B8E68}"/>
              </a:ext>
            </a:extLst>
          </p:cNvPr>
          <p:cNvSpPr txBox="1">
            <a:spLocks/>
          </p:cNvSpPr>
          <p:nvPr/>
        </p:nvSpPr>
        <p:spPr>
          <a:xfrm>
            <a:off x="8176473" y="2240319"/>
            <a:ext cx="3403430" cy="37632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6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ru-RU" dirty="0">
                <a:solidFill>
                  <a:schemeClr val="bg1"/>
                </a:solidFill>
              </a:rPr>
              <a:t>покрытие дефицита оборотных средств получение оплаты в течение 3-5 банковских дней с момента предоставления отгрузочных документов в банк</a:t>
            </a:r>
          </a:p>
          <a:p>
            <a:pPr>
              <a:spcBef>
                <a:spcPts val="0"/>
              </a:spcBef>
            </a:pPr>
            <a:endParaRPr lang="ru-RU" dirty="0">
              <a:solidFill>
                <a:schemeClr val="bg1"/>
              </a:solidFill>
            </a:endParaRPr>
          </a:p>
          <a:p>
            <a:pPr>
              <a:spcBef>
                <a:spcPts val="0"/>
              </a:spcBef>
            </a:pPr>
            <a:r>
              <a:rPr lang="ru-RU" dirty="0">
                <a:solidFill>
                  <a:schemeClr val="bg1"/>
                </a:solidFill>
              </a:rPr>
              <a:t>предоставление отсрочки Покупателю за счет длинных и дешевых денег </a:t>
            </a:r>
            <a:r>
              <a:rPr lang="en" dirty="0" err="1">
                <a:solidFill>
                  <a:schemeClr val="bg1"/>
                </a:solidFill>
              </a:rPr>
              <a:t>KazakhExport</a:t>
            </a:r>
            <a:endParaRPr lang="en" dirty="0">
              <a:solidFill>
                <a:schemeClr val="bg1"/>
              </a:solidFill>
            </a:endParaRPr>
          </a:p>
          <a:p>
            <a:pPr>
              <a:spcBef>
                <a:spcPts val="0"/>
              </a:spcBef>
            </a:pPr>
            <a:endParaRPr lang="en" dirty="0">
              <a:solidFill>
                <a:schemeClr val="bg1"/>
              </a:solidFill>
            </a:endParaRPr>
          </a:p>
          <a:p>
            <a:pPr>
              <a:spcBef>
                <a:spcPts val="0"/>
              </a:spcBef>
            </a:pPr>
            <a:r>
              <a:rPr lang="ru-RU" dirty="0">
                <a:solidFill>
                  <a:schemeClr val="bg1"/>
                </a:solidFill>
              </a:rPr>
              <a:t>увеличение объема поставок</a:t>
            </a:r>
          </a:p>
          <a:p>
            <a:pPr>
              <a:spcBef>
                <a:spcPts val="0"/>
              </a:spcBef>
            </a:pPr>
            <a:endParaRPr lang="ru-RU" dirty="0">
              <a:solidFill>
                <a:schemeClr val="bg1"/>
              </a:solidFill>
            </a:endParaRPr>
          </a:p>
          <a:p>
            <a:pPr>
              <a:spcBef>
                <a:spcPts val="0"/>
              </a:spcBef>
            </a:pPr>
            <a:r>
              <a:rPr lang="ru-RU" dirty="0">
                <a:solidFill>
                  <a:schemeClr val="bg1"/>
                </a:solidFill>
              </a:rPr>
              <a:t>получение валютной выручки (что снижает валютные риски и риски против девальвации)</a:t>
            </a:r>
          </a:p>
        </p:txBody>
      </p:sp>
      <p:sp>
        <p:nvSpPr>
          <p:cNvPr id="15" name="Объект 18">
            <a:extLst>
              <a:ext uri="{FF2B5EF4-FFF2-40B4-BE49-F238E27FC236}">
                <a16:creationId xmlns:a16="http://schemas.microsoft.com/office/drawing/2014/main" id="{741D0C31-9849-024D-AF26-B673D971A17D}"/>
              </a:ext>
            </a:extLst>
          </p:cNvPr>
          <p:cNvSpPr txBox="1">
            <a:spLocks/>
          </p:cNvSpPr>
          <p:nvPr/>
        </p:nvSpPr>
        <p:spPr>
          <a:xfrm>
            <a:off x="4397894" y="1490810"/>
            <a:ext cx="3131800" cy="68077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6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2000" b="1" dirty="0"/>
              <a:t>Преимущества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2000" b="1" dirty="0"/>
              <a:t>для Вас</a:t>
            </a:r>
          </a:p>
        </p:txBody>
      </p:sp>
      <p:sp>
        <p:nvSpPr>
          <p:cNvPr id="16" name="Объект 18">
            <a:extLst>
              <a:ext uri="{FF2B5EF4-FFF2-40B4-BE49-F238E27FC236}">
                <a16:creationId xmlns:a16="http://schemas.microsoft.com/office/drawing/2014/main" id="{353CB621-608C-C74B-B749-C36EECD9807E}"/>
              </a:ext>
            </a:extLst>
          </p:cNvPr>
          <p:cNvSpPr txBox="1">
            <a:spLocks/>
          </p:cNvSpPr>
          <p:nvPr/>
        </p:nvSpPr>
        <p:spPr>
          <a:xfrm>
            <a:off x="8422753" y="1490810"/>
            <a:ext cx="3131800" cy="68077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6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2000" b="1" dirty="0">
                <a:solidFill>
                  <a:srgbClr val="02B3EB"/>
                </a:solidFill>
              </a:rPr>
              <a:t>Преимущества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2000" b="1" dirty="0">
                <a:solidFill>
                  <a:srgbClr val="02B3EB"/>
                </a:solidFill>
              </a:rPr>
              <a:t>для Поставщика</a:t>
            </a: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A8F2F006-AD1B-1444-A9EA-7A63A5C5E445}"/>
              </a:ext>
            </a:extLst>
          </p:cNvPr>
          <p:cNvCxnSpPr/>
          <p:nvPr/>
        </p:nvCxnSpPr>
        <p:spPr>
          <a:xfrm>
            <a:off x="4397894" y="2398426"/>
            <a:ext cx="0" cy="2975548"/>
          </a:xfrm>
          <a:prstGeom prst="line">
            <a:avLst/>
          </a:prstGeom>
          <a:ln>
            <a:solidFill>
              <a:srgbClr val="0420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92AA4825-0AF8-2146-9A89-4585CE870B6E}"/>
              </a:ext>
            </a:extLst>
          </p:cNvPr>
          <p:cNvCxnSpPr>
            <a:cxnSpLocks/>
          </p:cNvCxnSpPr>
          <p:nvPr/>
        </p:nvCxnSpPr>
        <p:spPr>
          <a:xfrm>
            <a:off x="8347802" y="2398426"/>
            <a:ext cx="0" cy="2563318"/>
          </a:xfrm>
          <a:prstGeom prst="line">
            <a:avLst/>
          </a:prstGeom>
          <a:ln>
            <a:solidFill>
              <a:srgbClr val="02B3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326BB2D0-6753-294D-BAF2-A80A69BC3B5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0581" y="485959"/>
            <a:ext cx="1049057" cy="390953"/>
          </a:xfrm>
          <a:prstGeom prst="rect">
            <a:avLst/>
          </a:prstGeom>
        </p:spPr>
      </p:pic>
      <p:sp>
        <p:nvSpPr>
          <p:cNvPr id="19" name="Нижний колонтитул 4">
            <a:extLst>
              <a:ext uri="{FF2B5EF4-FFF2-40B4-BE49-F238E27FC236}">
                <a16:creationId xmlns:a16="http://schemas.microsoft.com/office/drawing/2014/main" id="{122E41DB-CFED-0346-8022-C9CE567DC9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8557" y="6235437"/>
            <a:ext cx="1704739" cy="365125"/>
          </a:xfrm>
        </p:spPr>
        <p:txBody>
          <a:bodyPr/>
          <a:lstStyle>
            <a:lvl1pPr algn="l">
              <a:defRPr sz="9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" dirty="0" err="1"/>
              <a:t>www.kazakhexport.kz</a:t>
            </a:r>
            <a:endParaRPr lang="ru-KZ" sz="900" dirty="0"/>
          </a:p>
        </p:txBody>
      </p:sp>
    </p:spTree>
    <p:extLst>
      <p:ext uri="{BB962C8B-B14F-4D97-AF65-F5344CB8AC3E}">
        <p14:creationId xmlns:p14="http://schemas.microsoft.com/office/powerpoint/2010/main" val="3108347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BC00060-71B5-634D-B797-8F1787E0358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3702050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65A5F9AF-E627-5A4C-ACEA-CFACF7B440F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5378" y="1251158"/>
            <a:ext cx="3649457" cy="4901783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9AEB343F-2C2A-DA44-A5C6-11EA606DEAE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7351" y="1251158"/>
            <a:ext cx="3649457" cy="4901783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91ED017-9E5F-B442-8D6B-8203C8AF83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072" y="1936336"/>
            <a:ext cx="3951095" cy="1976096"/>
          </a:xfrm>
        </p:spPr>
        <p:txBody>
          <a:bodyPr>
            <a:norm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ТОРГОВОЕ </a:t>
            </a:r>
            <a:br>
              <a:rPr lang="ru-RU" dirty="0">
                <a:solidFill>
                  <a:schemeClr val="bg1"/>
                </a:solidFill>
              </a:rPr>
            </a:br>
            <a:r>
              <a:rPr lang="ru-RU" dirty="0">
                <a:solidFill>
                  <a:schemeClr val="bg1"/>
                </a:solidFill>
              </a:rPr>
              <a:t>ФИНАНСИРОВАНИЕ </a:t>
            </a:r>
            <a:endParaRPr lang="ru-KZ" dirty="0">
              <a:solidFill>
                <a:schemeClr val="bg1"/>
              </a:solidFill>
            </a:endParaRPr>
          </a:p>
        </p:txBody>
      </p:sp>
      <p:sp>
        <p:nvSpPr>
          <p:cNvPr id="8" name="Объект 18">
            <a:extLst>
              <a:ext uri="{FF2B5EF4-FFF2-40B4-BE49-F238E27FC236}">
                <a16:creationId xmlns:a16="http://schemas.microsoft.com/office/drawing/2014/main" id="{5343586C-2942-1B48-9B62-40D7C2E159CB}"/>
              </a:ext>
            </a:extLst>
          </p:cNvPr>
          <p:cNvSpPr txBox="1">
            <a:spLocks/>
          </p:cNvSpPr>
          <p:nvPr/>
        </p:nvSpPr>
        <p:spPr>
          <a:xfrm>
            <a:off x="398384" y="4076615"/>
            <a:ext cx="3723911" cy="17646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5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/>
              <a:t>Мы предлагаем Вам воспользоваться дешевым финансированием в рос- </a:t>
            </a:r>
            <a:r>
              <a:rPr lang="ru-RU" dirty="0" err="1"/>
              <a:t>сийских</a:t>
            </a:r>
            <a:r>
              <a:rPr lang="ru-RU" dirty="0"/>
              <a:t> рублях для целей </a:t>
            </a:r>
            <a:r>
              <a:rPr lang="ru-RU" dirty="0" err="1"/>
              <a:t>приобре</a:t>
            </a:r>
            <a:r>
              <a:rPr lang="ru-RU" dirty="0"/>
              <a:t>- </a:t>
            </a:r>
            <a:r>
              <a:rPr lang="ru-RU" dirty="0" err="1"/>
              <a:t>тения</a:t>
            </a:r>
            <a:r>
              <a:rPr lang="ru-RU" dirty="0"/>
              <a:t> казахстанских товаров и услуг. Финансирование осуществляется в рамках импортных аккредитивов, выпускаемых Вашим Банком.</a:t>
            </a:r>
          </a:p>
        </p:txBody>
      </p:sp>
      <p:sp>
        <p:nvSpPr>
          <p:cNvPr id="11" name="Объект 18">
            <a:extLst>
              <a:ext uri="{FF2B5EF4-FFF2-40B4-BE49-F238E27FC236}">
                <a16:creationId xmlns:a16="http://schemas.microsoft.com/office/drawing/2014/main" id="{26FCCD13-B614-AE48-9747-468783F2D92C}"/>
              </a:ext>
            </a:extLst>
          </p:cNvPr>
          <p:cNvSpPr txBox="1">
            <a:spLocks/>
          </p:cNvSpPr>
          <p:nvPr/>
        </p:nvSpPr>
        <p:spPr>
          <a:xfrm>
            <a:off x="4171585" y="6296657"/>
            <a:ext cx="7508927" cy="4729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5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1000" b="1" dirty="0"/>
              <a:t>Аккредитив </a:t>
            </a:r>
            <a:r>
              <a:rPr lang="ru-RU" sz="1000" dirty="0"/>
              <a:t>– форма расчета, обязательство выпускающего банка произвести оплату продавцу/экспортеру против предоставления им документов, соответствующих условиям аккредитива.</a:t>
            </a:r>
          </a:p>
        </p:txBody>
      </p:sp>
      <p:sp>
        <p:nvSpPr>
          <p:cNvPr id="12" name="Объект 18">
            <a:extLst>
              <a:ext uri="{FF2B5EF4-FFF2-40B4-BE49-F238E27FC236}">
                <a16:creationId xmlns:a16="http://schemas.microsoft.com/office/drawing/2014/main" id="{7ACA6354-9C55-E54D-832B-A577A26A903B}"/>
              </a:ext>
            </a:extLst>
          </p:cNvPr>
          <p:cNvSpPr txBox="1">
            <a:spLocks/>
          </p:cNvSpPr>
          <p:nvPr/>
        </p:nvSpPr>
        <p:spPr>
          <a:xfrm>
            <a:off x="4225378" y="2240319"/>
            <a:ext cx="3649456" cy="37632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5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Blip>
                <a:blip r:embed="rId6"/>
              </a:buBlip>
            </a:pPr>
            <a:r>
              <a:rPr lang="ru-RU" dirty="0"/>
              <a:t>Привлекательная стоимость финансирования</a:t>
            </a:r>
          </a:p>
          <a:p>
            <a:pPr>
              <a:spcBef>
                <a:spcPts val="0"/>
              </a:spcBef>
              <a:buBlip>
                <a:blip r:embed="rId6"/>
              </a:buBlip>
            </a:pPr>
            <a:endParaRPr lang="ru-RU" dirty="0"/>
          </a:p>
          <a:p>
            <a:pPr>
              <a:spcBef>
                <a:spcPts val="0"/>
              </a:spcBef>
              <a:buBlip>
                <a:blip r:embed="rId6"/>
              </a:buBlip>
            </a:pPr>
            <a:r>
              <a:rPr lang="ru-RU" dirty="0"/>
              <a:t>Возможность получить </a:t>
            </a:r>
            <a:r>
              <a:rPr lang="ru-RU" dirty="0" err="1"/>
              <a:t>коммер</a:t>
            </a:r>
            <a:r>
              <a:rPr lang="ru-RU" dirty="0"/>
              <a:t>- </a:t>
            </a:r>
            <a:r>
              <a:rPr lang="ru-RU" dirty="0" err="1"/>
              <a:t>ческий</a:t>
            </a:r>
            <a:r>
              <a:rPr lang="ru-RU" dirty="0"/>
              <a:t> кредит (отсрочку платежа) экспортера, увеличить объем </a:t>
            </a:r>
            <a:r>
              <a:rPr lang="ru-RU" dirty="0" err="1"/>
              <a:t>пос</a:t>
            </a:r>
            <a:r>
              <a:rPr lang="ru-RU" dirty="0"/>
              <a:t>- </a:t>
            </a:r>
            <a:r>
              <a:rPr lang="ru-RU" dirty="0" err="1"/>
              <a:t>тавок</a:t>
            </a:r>
            <a:r>
              <a:rPr lang="ru-RU" dirty="0"/>
              <a:t> и добиться ценовых скидок</a:t>
            </a:r>
          </a:p>
          <a:p>
            <a:pPr>
              <a:spcBef>
                <a:spcPts val="0"/>
              </a:spcBef>
              <a:buBlip>
                <a:blip r:embed="rId6"/>
              </a:buBlip>
            </a:pPr>
            <a:endParaRPr lang="ru-RU" dirty="0"/>
          </a:p>
          <a:p>
            <a:pPr>
              <a:spcBef>
                <a:spcPts val="0"/>
              </a:spcBef>
              <a:buBlip>
                <a:blip r:embed="rId6"/>
              </a:buBlip>
            </a:pPr>
            <a:r>
              <a:rPr lang="ru-RU" dirty="0"/>
              <a:t>Не нужно отвлекать собственные оборотные средства</a:t>
            </a:r>
          </a:p>
          <a:p>
            <a:pPr>
              <a:spcBef>
                <a:spcPts val="0"/>
              </a:spcBef>
              <a:buBlip>
                <a:blip r:embed="rId6"/>
              </a:buBlip>
            </a:pPr>
            <a:endParaRPr lang="ru-RU" dirty="0"/>
          </a:p>
          <a:p>
            <a:pPr>
              <a:spcBef>
                <a:spcPts val="0"/>
              </a:spcBef>
              <a:buBlip>
                <a:blip r:embed="rId6"/>
              </a:buBlip>
            </a:pPr>
            <a:r>
              <a:rPr lang="ru-RU" dirty="0"/>
              <a:t>Возможность расширения сотрудничества с экспортером</a:t>
            </a:r>
          </a:p>
          <a:p>
            <a:pPr>
              <a:spcBef>
                <a:spcPts val="0"/>
              </a:spcBef>
              <a:buBlip>
                <a:blip r:embed="rId6"/>
              </a:buBlip>
            </a:pPr>
            <a:endParaRPr lang="ru-RU" dirty="0"/>
          </a:p>
          <a:p>
            <a:pPr>
              <a:spcBef>
                <a:spcPts val="0"/>
              </a:spcBef>
              <a:buBlip>
                <a:blip r:embed="rId6"/>
              </a:buBlip>
            </a:pPr>
            <a:r>
              <a:rPr lang="ru-RU" dirty="0"/>
              <a:t>Сокращение финансовых расходов, что ведет к увеличению чистой прибыли Покупателя</a:t>
            </a:r>
          </a:p>
        </p:txBody>
      </p:sp>
      <p:sp>
        <p:nvSpPr>
          <p:cNvPr id="13" name="Объект 18">
            <a:extLst>
              <a:ext uri="{FF2B5EF4-FFF2-40B4-BE49-F238E27FC236}">
                <a16:creationId xmlns:a16="http://schemas.microsoft.com/office/drawing/2014/main" id="{407EA450-979C-5A4B-8905-55EB3D4B8E68}"/>
              </a:ext>
            </a:extLst>
          </p:cNvPr>
          <p:cNvSpPr txBox="1">
            <a:spLocks/>
          </p:cNvSpPr>
          <p:nvPr/>
        </p:nvSpPr>
        <p:spPr>
          <a:xfrm>
            <a:off x="8176473" y="2240319"/>
            <a:ext cx="3403430" cy="37632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5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ru-RU" dirty="0">
                <a:solidFill>
                  <a:schemeClr val="bg1"/>
                </a:solidFill>
              </a:rPr>
              <a:t>Покрытие дефицита оборотных средств</a:t>
            </a:r>
          </a:p>
          <a:p>
            <a:pPr>
              <a:spcBef>
                <a:spcPts val="0"/>
              </a:spcBef>
            </a:pPr>
            <a:endParaRPr lang="ru-RU" dirty="0">
              <a:solidFill>
                <a:schemeClr val="bg1"/>
              </a:solidFill>
            </a:endParaRPr>
          </a:p>
          <a:p>
            <a:pPr>
              <a:spcBef>
                <a:spcPts val="0"/>
              </a:spcBef>
            </a:pPr>
            <a:r>
              <a:rPr lang="ru-RU" dirty="0">
                <a:solidFill>
                  <a:schemeClr val="bg1"/>
                </a:solidFill>
              </a:rPr>
              <a:t>Быстрый расчет от Банка за отгруженные товары</a:t>
            </a:r>
          </a:p>
          <a:p>
            <a:pPr>
              <a:spcBef>
                <a:spcPts val="0"/>
              </a:spcBef>
            </a:pPr>
            <a:endParaRPr lang="ru-RU" dirty="0">
              <a:solidFill>
                <a:schemeClr val="bg1"/>
              </a:solidFill>
            </a:endParaRPr>
          </a:p>
          <a:p>
            <a:pPr>
              <a:spcBef>
                <a:spcPts val="0"/>
              </a:spcBef>
            </a:pPr>
            <a:r>
              <a:rPr lang="ru-RU" dirty="0">
                <a:solidFill>
                  <a:schemeClr val="bg1"/>
                </a:solidFill>
              </a:rPr>
              <a:t>Возможность расширения сотрудничества с экспортером</a:t>
            </a:r>
          </a:p>
          <a:p>
            <a:pPr>
              <a:spcBef>
                <a:spcPts val="0"/>
              </a:spcBef>
            </a:pPr>
            <a:endParaRPr lang="ru-RU" dirty="0">
              <a:solidFill>
                <a:schemeClr val="bg1"/>
              </a:solidFill>
            </a:endParaRPr>
          </a:p>
          <a:p>
            <a:pPr>
              <a:spcBef>
                <a:spcPts val="0"/>
              </a:spcBef>
            </a:pPr>
            <a:r>
              <a:rPr lang="ru-RU" dirty="0">
                <a:solidFill>
                  <a:schemeClr val="bg1"/>
                </a:solidFill>
              </a:rPr>
              <a:t>Возможность не отвлекать собственные оборотные средства для производства товара</a:t>
            </a:r>
          </a:p>
        </p:txBody>
      </p:sp>
      <p:sp>
        <p:nvSpPr>
          <p:cNvPr id="15" name="Объект 18">
            <a:extLst>
              <a:ext uri="{FF2B5EF4-FFF2-40B4-BE49-F238E27FC236}">
                <a16:creationId xmlns:a16="http://schemas.microsoft.com/office/drawing/2014/main" id="{741D0C31-9849-024D-AF26-B673D971A17D}"/>
              </a:ext>
            </a:extLst>
          </p:cNvPr>
          <p:cNvSpPr txBox="1">
            <a:spLocks/>
          </p:cNvSpPr>
          <p:nvPr/>
        </p:nvSpPr>
        <p:spPr>
          <a:xfrm>
            <a:off x="4397894" y="1490810"/>
            <a:ext cx="3131800" cy="68077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5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2000" b="1" dirty="0"/>
              <a:t>Преимущества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2000" b="1" dirty="0"/>
              <a:t>для Вас</a:t>
            </a:r>
          </a:p>
        </p:txBody>
      </p:sp>
      <p:sp>
        <p:nvSpPr>
          <p:cNvPr id="16" name="Объект 18">
            <a:extLst>
              <a:ext uri="{FF2B5EF4-FFF2-40B4-BE49-F238E27FC236}">
                <a16:creationId xmlns:a16="http://schemas.microsoft.com/office/drawing/2014/main" id="{353CB621-608C-C74B-B749-C36EECD9807E}"/>
              </a:ext>
            </a:extLst>
          </p:cNvPr>
          <p:cNvSpPr txBox="1">
            <a:spLocks/>
          </p:cNvSpPr>
          <p:nvPr/>
        </p:nvSpPr>
        <p:spPr>
          <a:xfrm>
            <a:off x="8422753" y="1490810"/>
            <a:ext cx="3131800" cy="68077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5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2000" b="1" dirty="0">
                <a:solidFill>
                  <a:srgbClr val="02B3EB"/>
                </a:solidFill>
              </a:rPr>
              <a:t>Преимущества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2000" b="1" dirty="0">
                <a:solidFill>
                  <a:srgbClr val="02B3EB"/>
                </a:solidFill>
              </a:rPr>
              <a:t>для Поставщика</a:t>
            </a: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A8F2F006-AD1B-1444-A9EA-7A63A5C5E445}"/>
              </a:ext>
            </a:extLst>
          </p:cNvPr>
          <p:cNvCxnSpPr/>
          <p:nvPr/>
        </p:nvCxnSpPr>
        <p:spPr>
          <a:xfrm>
            <a:off x="4397894" y="2398426"/>
            <a:ext cx="0" cy="2975548"/>
          </a:xfrm>
          <a:prstGeom prst="line">
            <a:avLst/>
          </a:prstGeom>
          <a:ln>
            <a:solidFill>
              <a:srgbClr val="0420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92AA4825-0AF8-2146-9A89-4585CE870B6E}"/>
              </a:ext>
            </a:extLst>
          </p:cNvPr>
          <p:cNvCxnSpPr>
            <a:cxnSpLocks/>
          </p:cNvCxnSpPr>
          <p:nvPr/>
        </p:nvCxnSpPr>
        <p:spPr>
          <a:xfrm>
            <a:off x="8347802" y="2398426"/>
            <a:ext cx="0" cy="1888761"/>
          </a:xfrm>
          <a:prstGeom prst="line">
            <a:avLst/>
          </a:prstGeom>
          <a:ln>
            <a:solidFill>
              <a:srgbClr val="02B3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73943088-E0AB-EA44-858A-1DBADF708BA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355" y="339883"/>
            <a:ext cx="2398844" cy="1566085"/>
          </a:xfrm>
          <a:prstGeom prst="rect">
            <a:avLst/>
          </a:prstGeom>
        </p:spPr>
      </p:pic>
      <p:sp>
        <p:nvSpPr>
          <p:cNvPr id="23" name="Нижний колонтитул 4">
            <a:extLst>
              <a:ext uri="{FF2B5EF4-FFF2-40B4-BE49-F238E27FC236}">
                <a16:creationId xmlns:a16="http://schemas.microsoft.com/office/drawing/2014/main" id="{229340D0-FA88-2549-930A-A2C41414CE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8557" y="6235437"/>
            <a:ext cx="1704739" cy="365125"/>
          </a:xfrm>
        </p:spPr>
        <p:txBody>
          <a:bodyPr/>
          <a:lstStyle>
            <a:lvl1pPr algn="l">
              <a:defRPr sz="9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" dirty="0" err="1"/>
              <a:t>www.kazakhexport.kz</a:t>
            </a:r>
            <a:endParaRPr lang="ru-KZ" sz="900" dirty="0"/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483078F7-26A0-404F-9662-43607A4909A3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8075" y="481457"/>
            <a:ext cx="1021563" cy="384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1150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98F06CA-6C9F-A74D-85C1-913AFAC2014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91ED017-9E5F-B442-8D6B-8203C8AF83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СХЕМА ТОРГОВОГО </a:t>
            </a:r>
            <a:r>
              <a:rPr lang="ru-RU" dirty="0">
                <a:solidFill>
                  <a:srgbClr val="02B3EB"/>
                </a:solidFill>
              </a:rPr>
              <a:t/>
            </a:r>
            <a:br>
              <a:rPr lang="ru-RU" dirty="0">
                <a:solidFill>
                  <a:srgbClr val="02B3EB"/>
                </a:solidFill>
              </a:rPr>
            </a:br>
            <a:r>
              <a:rPr lang="ru-RU" dirty="0">
                <a:solidFill>
                  <a:srgbClr val="02B3EB"/>
                </a:solidFill>
              </a:rPr>
              <a:t>ФИНАНСИРОВАНИЯ</a:t>
            </a:r>
            <a:endParaRPr lang="ru-KZ" dirty="0">
              <a:solidFill>
                <a:srgbClr val="02B3EB"/>
              </a:solidFill>
            </a:endParaRPr>
          </a:p>
        </p:txBody>
      </p:sp>
      <p:sp>
        <p:nvSpPr>
          <p:cNvPr id="4" name="Объект 18">
            <a:extLst>
              <a:ext uri="{FF2B5EF4-FFF2-40B4-BE49-F238E27FC236}">
                <a16:creationId xmlns:a16="http://schemas.microsoft.com/office/drawing/2014/main" id="{90E52304-ED04-1B4C-9125-B014F484E193}"/>
              </a:ext>
            </a:extLst>
          </p:cNvPr>
          <p:cNvSpPr txBox="1">
            <a:spLocks/>
          </p:cNvSpPr>
          <p:nvPr/>
        </p:nvSpPr>
        <p:spPr>
          <a:xfrm>
            <a:off x="1137401" y="1960559"/>
            <a:ext cx="2685091" cy="6327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3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>
                <a:solidFill>
                  <a:srgbClr val="02B3EB"/>
                </a:solidFill>
              </a:rPr>
              <a:t>Фондирование льготными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" dirty="0">
                <a:solidFill>
                  <a:srgbClr val="02B3EB"/>
                </a:solidFill>
              </a:rPr>
              <a:t>RUB, KZT, USD, EUR</a:t>
            </a:r>
            <a:endParaRPr lang="ru-RU" dirty="0">
              <a:solidFill>
                <a:srgbClr val="02B3EB"/>
              </a:solidFill>
            </a:endParaRPr>
          </a:p>
        </p:txBody>
      </p:sp>
      <p:sp>
        <p:nvSpPr>
          <p:cNvPr id="5" name="Объект 18">
            <a:extLst>
              <a:ext uri="{FF2B5EF4-FFF2-40B4-BE49-F238E27FC236}">
                <a16:creationId xmlns:a16="http://schemas.microsoft.com/office/drawing/2014/main" id="{56C6C1A5-133D-2841-A451-6BC1D0EB9497}"/>
              </a:ext>
            </a:extLst>
          </p:cNvPr>
          <p:cNvSpPr txBox="1">
            <a:spLocks/>
          </p:cNvSpPr>
          <p:nvPr/>
        </p:nvSpPr>
        <p:spPr>
          <a:xfrm>
            <a:off x="6878634" y="1960559"/>
            <a:ext cx="2685091" cy="6327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3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>
                <a:solidFill>
                  <a:srgbClr val="02B3EB"/>
                </a:solidFill>
              </a:rPr>
              <a:t>Межбанковское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dirty="0">
                <a:solidFill>
                  <a:srgbClr val="02B3EB"/>
                </a:solidFill>
              </a:rPr>
              <a:t>финансирование</a:t>
            </a:r>
          </a:p>
        </p:txBody>
      </p:sp>
      <p:sp>
        <p:nvSpPr>
          <p:cNvPr id="7" name="Объект 18">
            <a:extLst>
              <a:ext uri="{FF2B5EF4-FFF2-40B4-BE49-F238E27FC236}">
                <a16:creationId xmlns:a16="http://schemas.microsoft.com/office/drawing/2014/main" id="{DA058FB2-C716-D747-9A2D-4F5BA4763B49}"/>
              </a:ext>
            </a:extLst>
          </p:cNvPr>
          <p:cNvSpPr txBox="1">
            <a:spLocks/>
          </p:cNvSpPr>
          <p:nvPr/>
        </p:nvSpPr>
        <p:spPr>
          <a:xfrm>
            <a:off x="6796189" y="4403955"/>
            <a:ext cx="2280355" cy="6327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3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>
                <a:solidFill>
                  <a:srgbClr val="02B3EB"/>
                </a:solidFill>
              </a:rPr>
              <a:t>Контракт на поставку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dirty="0">
                <a:solidFill>
                  <a:srgbClr val="02B3EB"/>
                </a:solidFill>
              </a:rPr>
              <a:t>по аккредитивной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dirty="0">
                <a:solidFill>
                  <a:srgbClr val="02B3EB"/>
                </a:solidFill>
              </a:rPr>
              <a:t>форме оплаты</a:t>
            </a:r>
          </a:p>
        </p:txBody>
      </p:sp>
      <p:sp>
        <p:nvSpPr>
          <p:cNvPr id="8" name="Объект 18">
            <a:extLst>
              <a:ext uri="{FF2B5EF4-FFF2-40B4-BE49-F238E27FC236}">
                <a16:creationId xmlns:a16="http://schemas.microsoft.com/office/drawing/2014/main" id="{8DC7C07E-275E-3F4B-8579-3698E41419E5}"/>
              </a:ext>
            </a:extLst>
          </p:cNvPr>
          <p:cNvSpPr txBox="1">
            <a:spLocks/>
          </p:cNvSpPr>
          <p:nvPr/>
        </p:nvSpPr>
        <p:spPr>
          <a:xfrm>
            <a:off x="4967389" y="3392119"/>
            <a:ext cx="2055504" cy="8126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3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>
                <a:solidFill>
                  <a:srgbClr val="02B3EB"/>
                </a:solidFill>
              </a:rPr>
              <a:t>Оплата за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dirty="0">
                <a:solidFill>
                  <a:srgbClr val="02B3EB"/>
                </a:solidFill>
              </a:rPr>
              <a:t>отгруженные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dirty="0">
                <a:solidFill>
                  <a:srgbClr val="02B3EB"/>
                </a:solidFill>
              </a:rPr>
              <a:t>товары</a:t>
            </a:r>
          </a:p>
        </p:txBody>
      </p:sp>
      <p:sp>
        <p:nvSpPr>
          <p:cNvPr id="9" name="Объект 18">
            <a:extLst>
              <a:ext uri="{FF2B5EF4-FFF2-40B4-BE49-F238E27FC236}">
                <a16:creationId xmlns:a16="http://schemas.microsoft.com/office/drawing/2014/main" id="{6E1220D5-A892-AB48-811D-CB083F3FC81B}"/>
              </a:ext>
            </a:extLst>
          </p:cNvPr>
          <p:cNvSpPr txBox="1">
            <a:spLocks/>
          </p:cNvSpPr>
          <p:nvPr/>
        </p:nvSpPr>
        <p:spPr>
          <a:xfrm>
            <a:off x="9944124" y="3392119"/>
            <a:ext cx="2055504" cy="8126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3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>
                <a:solidFill>
                  <a:srgbClr val="02B3EB"/>
                </a:solidFill>
              </a:rPr>
              <a:t>Льготное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dirty="0">
                <a:solidFill>
                  <a:srgbClr val="02B3EB"/>
                </a:solidFill>
              </a:rPr>
              <a:t>финансирование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B2DA67C-9A42-7041-AEF1-D4B3E82F8CE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625" y="1792203"/>
            <a:ext cx="2748405" cy="1440850"/>
          </a:xfrm>
          <a:prstGeom prst="rect">
            <a:avLst/>
          </a:prstGeom>
        </p:spPr>
      </p:pic>
      <p:sp>
        <p:nvSpPr>
          <p:cNvPr id="12" name="Объект 18">
            <a:extLst>
              <a:ext uri="{FF2B5EF4-FFF2-40B4-BE49-F238E27FC236}">
                <a16:creationId xmlns:a16="http://schemas.microsoft.com/office/drawing/2014/main" id="{0BA065C3-6032-6F41-913D-35DD5AFDDF04}"/>
              </a:ext>
            </a:extLst>
          </p:cNvPr>
          <p:cNvSpPr txBox="1">
            <a:spLocks/>
          </p:cNvSpPr>
          <p:nvPr/>
        </p:nvSpPr>
        <p:spPr>
          <a:xfrm>
            <a:off x="4994442" y="2378388"/>
            <a:ext cx="1987950" cy="340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3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/>
              <a:t>Банк в РК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67833311-DF68-FD40-BB7C-B464A0CE055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73904" y="1792203"/>
            <a:ext cx="2748405" cy="1440850"/>
          </a:xfrm>
          <a:prstGeom prst="rect">
            <a:avLst/>
          </a:prstGeom>
        </p:spPr>
      </p:pic>
      <p:sp>
        <p:nvSpPr>
          <p:cNvPr id="14" name="Объект 18">
            <a:extLst>
              <a:ext uri="{FF2B5EF4-FFF2-40B4-BE49-F238E27FC236}">
                <a16:creationId xmlns:a16="http://schemas.microsoft.com/office/drawing/2014/main" id="{EE16632D-AF89-6A4B-97BC-CE19EAECF8A2}"/>
              </a:ext>
            </a:extLst>
          </p:cNvPr>
          <p:cNvSpPr txBox="1">
            <a:spLocks/>
          </p:cNvSpPr>
          <p:nvPr/>
        </p:nvSpPr>
        <p:spPr>
          <a:xfrm>
            <a:off x="9933701" y="2243478"/>
            <a:ext cx="1725294" cy="6996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3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/>
              <a:t>Зарубежный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b="1" dirty="0"/>
              <a:t>Банк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3915FAE5-F973-0E4B-8677-70DACA8F099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625" y="4280571"/>
            <a:ext cx="2748405" cy="1440850"/>
          </a:xfrm>
          <a:prstGeom prst="rect">
            <a:avLst/>
          </a:prstGeom>
        </p:spPr>
      </p:pic>
      <p:sp>
        <p:nvSpPr>
          <p:cNvPr id="16" name="Объект 18">
            <a:extLst>
              <a:ext uri="{FF2B5EF4-FFF2-40B4-BE49-F238E27FC236}">
                <a16:creationId xmlns:a16="http://schemas.microsoft.com/office/drawing/2014/main" id="{2078CD2C-A362-234A-9DEF-22B505F5941E}"/>
              </a:ext>
            </a:extLst>
          </p:cNvPr>
          <p:cNvSpPr txBox="1">
            <a:spLocks/>
          </p:cNvSpPr>
          <p:nvPr/>
        </p:nvSpPr>
        <p:spPr>
          <a:xfrm>
            <a:off x="4994442" y="4731846"/>
            <a:ext cx="1458824" cy="6996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3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/>
              <a:t>Экспортер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b="1" dirty="0"/>
              <a:t>в РК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CFE49D81-2F62-4942-B021-CFE088CE9FB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73904" y="4280571"/>
            <a:ext cx="2748405" cy="1440850"/>
          </a:xfrm>
          <a:prstGeom prst="rect">
            <a:avLst/>
          </a:prstGeom>
        </p:spPr>
      </p:pic>
      <p:sp>
        <p:nvSpPr>
          <p:cNvPr id="18" name="Объект 18">
            <a:extLst>
              <a:ext uri="{FF2B5EF4-FFF2-40B4-BE49-F238E27FC236}">
                <a16:creationId xmlns:a16="http://schemas.microsoft.com/office/drawing/2014/main" id="{7E5F9699-2C19-B546-AAAE-1745701E3624}"/>
              </a:ext>
            </a:extLst>
          </p:cNvPr>
          <p:cNvSpPr txBox="1">
            <a:spLocks/>
          </p:cNvSpPr>
          <p:nvPr/>
        </p:nvSpPr>
        <p:spPr>
          <a:xfrm>
            <a:off x="9933701" y="4866756"/>
            <a:ext cx="1725294" cy="6996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3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/>
              <a:t>Импортер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F390E8BF-849F-A44A-A862-6A4FD17F03D6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4672" y="2543845"/>
            <a:ext cx="1782302" cy="480337"/>
          </a:xfrm>
          <a:prstGeom prst="rect">
            <a:avLst/>
          </a:prstGeom>
        </p:spPr>
      </p:pic>
      <p:cxnSp>
        <p:nvCxnSpPr>
          <p:cNvPr id="23" name="Прямая со стрелкой 22">
            <a:extLst>
              <a:ext uri="{FF2B5EF4-FFF2-40B4-BE49-F238E27FC236}">
                <a16:creationId xmlns:a16="http://schemas.microsoft.com/office/drawing/2014/main" id="{339A82FC-4FD0-8546-8DC3-AB22001A347A}"/>
              </a:ext>
            </a:extLst>
          </p:cNvPr>
          <p:cNvCxnSpPr/>
          <p:nvPr/>
        </p:nvCxnSpPr>
        <p:spPr>
          <a:xfrm>
            <a:off x="6813030" y="2543845"/>
            <a:ext cx="2160874" cy="0"/>
          </a:xfrm>
          <a:prstGeom prst="straightConnector1">
            <a:avLst/>
          </a:prstGeom>
          <a:ln w="12700">
            <a:solidFill>
              <a:srgbClr val="02B3E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>
            <a:extLst>
              <a:ext uri="{FF2B5EF4-FFF2-40B4-BE49-F238E27FC236}">
                <a16:creationId xmlns:a16="http://schemas.microsoft.com/office/drawing/2014/main" id="{8719AD16-655A-8248-BEEE-19CF6A4B2CD5}"/>
              </a:ext>
            </a:extLst>
          </p:cNvPr>
          <p:cNvCxnSpPr/>
          <p:nvPr/>
        </p:nvCxnSpPr>
        <p:spPr>
          <a:xfrm>
            <a:off x="6813030" y="5264560"/>
            <a:ext cx="2160874" cy="0"/>
          </a:xfrm>
          <a:prstGeom prst="straightConnector1">
            <a:avLst/>
          </a:prstGeom>
          <a:ln w="12700">
            <a:solidFill>
              <a:srgbClr val="02B3E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F110B31C-6E85-2740-B080-BECF0B04262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365" y="3125840"/>
            <a:ext cx="1949242" cy="726425"/>
          </a:xfrm>
          <a:prstGeom prst="rect">
            <a:avLst/>
          </a:prstGeom>
        </p:spPr>
      </p:pic>
      <p:cxnSp>
        <p:nvCxnSpPr>
          <p:cNvPr id="32" name="Прямая со стрелкой 31">
            <a:extLst>
              <a:ext uri="{FF2B5EF4-FFF2-40B4-BE49-F238E27FC236}">
                <a16:creationId xmlns:a16="http://schemas.microsoft.com/office/drawing/2014/main" id="{D0844E54-8380-2048-876D-3A75C5DC97E7}"/>
              </a:ext>
            </a:extLst>
          </p:cNvPr>
          <p:cNvCxnSpPr/>
          <p:nvPr/>
        </p:nvCxnSpPr>
        <p:spPr>
          <a:xfrm>
            <a:off x="4694641" y="3233053"/>
            <a:ext cx="0" cy="1047518"/>
          </a:xfrm>
          <a:prstGeom prst="straightConnector1">
            <a:avLst/>
          </a:prstGeom>
          <a:ln w="12700">
            <a:solidFill>
              <a:srgbClr val="02B3E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>
            <a:extLst>
              <a:ext uri="{FF2B5EF4-FFF2-40B4-BE49-F238E27FC236}">
                <a16:creationId xmlns:a16="http://schemas.microsoft.com/office/drawing/2014/main" id="{13A332E0-1D8A-1642-A799-1449866E81DC}"/>
              </a:ext>
            </a:extLst>
          </p:cNvPr>
          <p:cNvCxnSpPr/>
          <p:nvPr/>
        </p:nvCxnSpPr>
        <p:spPr>
          <a:xfrm>
            <a:off x="9603920" y="3233053"/>
            <a:ext cx="0" cy="1047518"/>
          </a:xfrm>
          <a:prstGeom prst="straightConnector1">
            <a:avLst/>
          </a:prstGeom>
          <a:ln w="12700">
            <a:solidFill>
              <a:srgbClr val="02B3E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7853EE3B-5E3C-AE46-B83E-86C1CDE9193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3057" y="2660135"/>
            <a:ext cx="876990" cy="483857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16091BBC-DBFB-F643-BB3C-21CB473636B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3057" y="5185977"/>
            <a:ext cx="876990" cy="483857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70C59E6D-E6A0-964B-B21D-A1CF3CFEC1A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2304" y="2232041"/>
            <a:ext cx="559806" cy="559806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E89C291E-643D-6C42-BF51-63B578397EA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3266" y="2228565"/>
            <a:ext cx="559806" cy="559806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215C7523-30CF-4E42-9E77-A127854CCE77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2406" y="4759563"/>
            <a:ext cx="548720" cy="554263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0F95776A-71D7-6F45-BE0F-79AF8401BC04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25917" y="4765020"/>
            <a:ext cx="619159" cy="548800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BBE839C9-F70E-BC4E-A268-04E26B46588A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0581" y="485959"/>
            <a:ext cx="1049057" cy="390953"/>
          </a:xfrm>
          <a:prstGeom prst="rect">
            <a:avLst/>
          </a:prstGeom>
        </p:spPr>
      </p:pic>
      <p:sp>
        <p:nvSpPr>
          <p:cNvPr id="30" name="Нижний колонтитул 4">
            <a:extLst>
              <a:ext uri="{FF2B5EF4-FFF2-40B4-BE49-F238E27FC236}">
                <a16:creationId xmlns:a16="http://schemas.microsoft.com/office/drawing/2014/main" id="{936EBF5A-24A6-7240-AB04-FC3D822931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8557" y="6235437"/>
            <a:ext cx="1704739" cy="365125"/>
          </a:xfrm>
        </p:spPr>
        <p:txBody>
          <a:bodyPr/>
          <a:lstStyle>
            <a:lvl1pPr algn="l">
              <a:defRPr sz="9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" dirty="0" err="1">
                <a:solidFill>
                  <a:schemeClr val="bg1"/>
                </a:solidFill>
              </a:rPr>
              <a:t>www.kazakhexport.kz</a:t>
            </a:r>
            <a:endParaRPr lang="ru-KZ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369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98F06CA-6C9F-A74D-85C1-913AFAC2014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91ED017-9E5F-B442-8D6B-8203C8AF83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557" y="257438"/>
            <a:ext cx="8754709" cy="1131166"/>
          </a:xfrm>
        </p:spPr>
        <p:txBody>
          <a:bodyPr>
            <a:normAutofit fontScale="90000"/>
          </a:bodyPr>
          <a:lstStyle/>
          <a:p>
            <a:r>
              <a:rPr lang="ru-RU" dirty="0">
                <a:solidFill>
                  <a:schemeClr val="bg1"/>
                </a:solidFill>
              </a:rPr>
              <a:t>СХЕМА ЛЬГОТНОГО </a:t>
            </a:r>
            <a:br>
              <a:rPr lang="ru-RU" dirty="0">
                <a:solidFill>
                  <a:schemeClr val="bg1"/>
                </a:solidFill>
              </a:rPr>
            </a:br>
            <a:r>
              <a:rPr lang="ru-RU" dirty="0">
                <a:solidFill>
                  <a:srgbClr val="02B3EB"/>
                </a:solidFill>
              </a:rPr>
              <a:t>ТОРГОВОГО ФИНАНСИРОВАНИЯ</a:t>
            </a:r>
            <a:endParaRPr lang="ru-KZ" dirty="0">
              <a:solidFill>
                <a:srgbClr val="02B3EB"/>
              </a:solidFill>
            </a:endParaRPr>
          </a:p>
        </p:txBody>
      </p:sp>
      <p:sp>
        <p:nvSpPr>
          <p:cNvPr id="5" name="Объект 18">
            <a:extLst>
              <a:ext uri="{FF2B5EF4-FFF2-40B4-BE49-F238E27FC236}">
                <a16:creationId xmlns:a16="http://schemas.microsoft.com/office/drawing/2014/main" id="{56C6C1A5-133D-2841-A451-6BC1D0EB9497}"/>
              </a:ext>
            </a:extLst>
          </p:cNvPr>
          <p:cNvSpPr txBox="1">
            <a:spLocks/>
          </p:cNvSpPr>
          <p:nvPr/>
        </p:nvSpPr>
        <p:spPr>
          <a:xfrm>
            <a:off x="5338581" y="2631516"/>
            <a:ext cx="3432747" cy="4313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3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ru-RU" dirty="0">
                <a:solidFill>
                  <a:srgbClr val="02B3EB"/>
                </a:solidFill>
              </a:rPr>
              <a:t>Межбанковское финансирование</a:t>
            </a:r>
          </a:p>
        </p:txBody>
      </p:sp>
      <p:sp>
        <p:nvSpPr>
          <p:cNvPr id="7" name="Объект 18">
            <a:extLst>
              <a:ext uri="{FF2B5EF4-FFF2-40B4-BE49-F238E27FC236}">
                <a16:creationId xmlns:a16="http://schemas.microsoft.com/office/drawing/2014/main" id="{DA058FB2-C716-D747-9A2D-4F5BA4763B49}"/>
              </a:ext>
            </a:extLst>
          </p:cNvPr>
          <p:cNvSpPr txBox="1">
            <a:spLocks/>
          </p:cNvSpPr>
          <p:nvPr/>
        </p:nvSpPr>
        <p:spPr>
          <a:xfrm>
            <a:off x="5165985" y="5087129"/>
            <a:ext cx="3801287" cy="3278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3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ru-RU" dirty="0">
                <a:solidFill>
                  <a:srgbClr val="02B3EB"/>
                </a:solidFill>
              </a:rPr>
              <a:t>Экспортный контракт</a:t>
            </a:r>
          </a:p>
        </p:txBody>
      </p:sp>
      <p:sp>
        <p:nvSpPr>
          <p:cNvPr id="8" name="Объект 18">
            <a:extLst>
              <a:ext uri="{FF2B5EF4-FFF2-40B4-BE49-F238E27FC236}">
                <a16:creationId xmlns:a16="http://schemas.microsoft.com/office/drawing/2014/main" id="{8DC7C07E-275E-3F4B-8579-3698E41419E5}"/>
              </a:ext>
            </a:extLst>
          </p:cNvPr>
          <p:cNvSpPr txBox="1">
            <a:spLocks/>
          </p:cNvSpPr>
          <p:nvPr/>
        </p:nvSpPr>
        <p:spPr>
          <a:xfrm>
            <a:off x="3290364" y="3636651"/>
            <a:ext cx="1782652" cy="5680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3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>
                <a:solidFill>
                  <a:srgbClr val="02B3EB"/>
                </a:solidFill>
              </a:rPr>
              <a:t>Оплата</a:t>
            </a:r>
          </a:p>
        </p:txBody>
      </p:sp>
      <p:sp>
        <p:nvSpPr>
          <p:cNvPr id="9" name="Объект 18">
            <a:extLst>
              <a:ext uri="{FF2B5EF4-FFF2-40B4-BE49-F238E27FC236}">
                <a16:creationId xmlns:a16="http://schemas.microsoft.com/office/drawing/2014/main" id="{6E1220D5-A892-AB48-811D-CB083F3FC81B}"/>
              </a:ext>
            </a:extLst>
          </p:cNvPr>
          <p:cNvSpPr txBox="1">
            <a:spLocks/>
          </p:cNvSpPr>
          <p:nvPr/>
        </p:nvSpPr>
        <p:spPr>
          <a:xfrm>
            <a:off x="9944124" y="3587092"/>
            <a:ext cx="2055504" cy="8126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3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dirty="0">
                <a:solidFill>
                  <a:srgbClr val="02B3EB"/>
                </a:solidFill>
              </a:rPr>
              <a:t>Льготное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dirty="0">
                <a:solidFill>
                  <a:srgbClr val="02B3EB"/>
                </a:solidFill>
              </a:rPr>
              <a:t>финансирование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B2DA67C-9A42-7041-AEF1-D4B3E82F8CE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7600" y="1792203"/>
            <a:ext cx="2748405" cy="1440850"/>
          </a:xfrm>
          <a:prstGeom prst="rect">
            <a:avLst/>
          </a:prstGeom>
        </p:spPr>
      </p:pic>
      <p:sp>
        <p:nvSpPr>
          <p:cNvPr id="12" name="Объект 18">
            <a:extLst>
              <a:ext uri="{FF2B5EF4-FFF2-40B4-BE49-F238E27FC236}">
                <a16:creationId xmlns:a16="http://schemas.microsoft.com/office/drawing/2014/main" id="{0BA065C3-6032-6F41-913D-35DD5AFDDF04}"/>
              </a:ext>
            </a:extLst>
          </p:cNvPr>
          <p:cNvSpPr txBox="1">
            <a:spLocks/>
          </p:cNvSpPr>
          <p:nvPr/>
        </p:nvSpPr>
        <p:spPr>
          <a:xfrm>
            <a:off x="3317417" y="2378388"/>
            <a:ext cx="1987950" cy="340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3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/>
              <a:t>Банк в РК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67833311-DF68-FD40-BB7C-B464A0CE055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73904" y="1792203"/>
            <a:ext cx="2748405" cy="1440850"/>
          </a:xfrm>
          <a:prstGeom prst="rect">
            <a:avLst/>
          </a:prstGeom>
        </p:spPr>
      </p:pic>
      <p:sp>
        <p:nvSpPr>
          <p:cNvPr id="14" name="Объект 18">
            <a:extLst>
              <a:ext uri="{FF2B5EF4-FFF2-40B4-BE49-F238E27FC236}">
                <a16:creationId xmlns:a16="http://schemas.microsoft.com/office/drawing/2014/main" id="{EE16632D-AF89-6A4B-97BC-CE19EAECF8A2}"/>
              </a:ext>
            </a:extLst>
          </p:cNvPr>
          <p:cNvSpPr txBox="1">
            <a:spLocks/>
          </p:cNvSpPr>
          <p:nvPr/>
        </p:nvSpPr>
        <p:spPr>
          <a:xfrm>
            <a:off x="9933701" y="2243478"/>
            <a:ext cx="1725294" cy="6996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3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/>
              <a:t>Банк-эмитент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b="1" dirty="0"/>
              <a:t>в Узбекистане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3915FAE5-F973-0E4B-8677-70DACA8F099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7600" y="4280571"/>
            <a:ext cx="2748405" cy="1440850"/>
          </a:xfrm>
          <a:prstGeom prst="rect">
            <a:avLst/>
          </a:prstGeom>
        </p:spPr>
      </p:pic>
      <p:sp>
        <p:nvSpPr>
          <p:cNvPr id="16" name="Объект 18">
            <a:extLst>
              <a:ext uri="{FF2B5EF4-FFF2-40B4-BE49-F238E27FC236}">
                <a16:creationId xmlns:a16="http://schemas.microsoft.com/office/drawing/2014/main" id="{2078CD2C-A362-234A-9DEF-22B505F5941E}"/>
              </a:ext>
            </a:extLst>
          </p:cNvPr>
          <p:cNvSpPr txBox="1">
            <a:spLocks/>
          </p:cNvSpPr>
          <p:nvPr/>
        </p:nvSpPr>
        <p:spPr>
          <a:xfrm>
            <a:off x="3155085" y="4731846"/>
            <a:ext cx="1917606" cy="6996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3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/>
              <a:t>Производитель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b="1" dirty="0"/>
              <a:t>в Казахстане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CFE49D81-2F62-4942-B021-CFE088CE9FB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73904" y="4280571"/>
            <a:ext cx="2748405" cy="1440850"/>
          </a:xfrm>
          <a:prstGeom prst="rect">
            <a:avLst/>
          </a:prstGeom>
        </p:spPr>
      </p:pic>
      <p:sp>
        <p:nvSpPr>
          <p:cNvPr id="18" name="Объект 18">
            <a:extLst>
              <a:ext uri="{FF2B5EF4-FFF2-40B4-BE49-F238E27FC236}">
                <a16:creationId xmlns:a16="http://schemas.microsoft.com/office/drawing/2014/main" id="{7E5F9699-2C19-B546-AAAE-1745701E3624}"/>
              </a:ext>
            </a:extLst>
          </p:cNvPr>
          <p:cNvSpPr txBox="1">
            <a:spLocks/>
          </p:cNvSpPr>
          <p:nvPr/>
        </p:nvSpPr>
        <p:spPr>
          <a:xfrm>
            <a:off x="9925645" y="4715378"/>
            <a:ext cx="1725294" cy="6996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3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b="1" dirty="0"/>
              <a:t>Покупатель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b="1" dirty="0"/>
              <a:t>в Узбекистане</a:t>
            </a:r>
          </a:p>
        </p:txBody>
      </p:sp>
      <p:cxnSp>
        <p:nvCxnSpPr>
          <p:cNvPr id="24" name="Прямая со стрелкой 23">
            <a:extLst>
              <a:ext uri="{FF2B5EF4-FFF2-40B4-BE49-F238E27FC236}">
                <a16:creationId xmlns:a16="http://schemas.microsoft.com/office/drawing/2014/main" id="{8719AD16-655A-8248-BEEE-19CF6A4B2CD5}"/>
              </a:ext>
            </a:extLst>
          </p:cNvPr>
          <p:cNvCxnSpPr>
            <a:cxnSpLocks/>
          </p:cNvCxnSpPr>
          <p:nvPr/>
        </p:nvCxnSpPr>
        <p:spPr>
          <a:xfrm>
            <a:off x="5136005" y="4972255"/>
            <a:ext cx="3837899" cy="0"/>
          </a:xfrm>
          <a:prstGeom prst="straightConnector1">
            <a:avLst/>
          </a:prstGeom>
          <a:ln w="12700">
            <a:solidFill>
              <a:srgbClr val="02B3EB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F110B31C-6E85-2740-B080-BECF0B04262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7152" y="1792203"/>
            <a:ext cx="1477689" cy="550691"/>
          </a:xfrm>
          <a:prstGeom prst="rect">
            <a:avLst/>
          </a:prstGeom>
        </p:spPr>
      </p:pic>
      <p:cxnSp>
        <p:nvCxnSpPr>
          <p:cNvPr id="32" name="Прямая со стрелкой 31">
            <a:extLst>
              <a:ext uri="{FF2B5EF4-FFF2-40B4-BE49-F238E27FC236}">
                <a16:creationId xmlns:a16="http://schemas.microsoft.com/office/drawing/2014/main" id="{D0844E54-8380-2048-876D-3A75C5DC97E7}"/>
              </a:ext>
            </a:extLst>
          </p:cNvPr>
          <p:cNvCxnSpPr/>
          <p:nvPr/>
        </p:nvCxnSpPr>
        <p:spPr>
          <a:xfrm>
            <a:off x="3023237" y="3233053"/>
            <a:ext cx="0" cy="1047518"/>
          </a:xfrm>
          <a:prstGeom prst="straightConnector1">
            <a:avLst/>
          </a:prstGeom>
          <a:ln w="12700">
            <a:solidFill>
              <a:srgbClr val="02B3E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>
            <a:extLst>
              <a:ext uri="{FF2B5EF4-FFF2-40B4-BE49-F238E27FC236}">
                <a16:creationId xmlns:a16="http://schemas.microsoft.com/office/drawing/2014/main" id="{13A332E0-1D8A-1642-A799-1449866E81DC}"/>
              </a:ext>
            </a:extLst>
          </p:cNvPr>
          <p:cNvCxnSpPr/>
          <p:nvPr/>
        </p:nvCxnSpPr>
        <p:spPr>
          <a:xfrm>
            <a:off x="9603920" y="3233053"/>
            <a:ext cx="0" cy="1047518"/>
          </a:xfrm>
          <a:prstGeom prst="straightConnector1">
            <a:avLst/>
          </a:prstGeom>
          <a:ln w="12700">
            <a:solidFill>
              <a:srgbClr val="02B3E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7853EE3B-5E3C-AE46-B83E-86C1CDE9193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96032" y="2660135"/>
            <a:ext cx="876990" cy="483857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16091BBC-DBFB-F643-BB3C-21CB473636B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96032" y="5185977"/>
            <a:ext cx="876990" cy="483857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70C59E6D-E6A0-964B-B21D-A1CF3CFEC1A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5279" y="2232041"/>
            <a:ext cx="559806" cy="559806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E89C291E-643D-6C42-BF51-63B578397EA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3266" y="2228565"/>
            <a:ext cx="559806" cy="559806"/>
          </a:xfrm>
          <a:prstGeom prst="rect">
            <a:avLst/>
          </a:prstGeom>
        </p:spPr>
      </p:pic>
      <p:cxnSp>
        <p:nvCxnSpPr>
          <p:cNvPr id="40" name="Прямая со стрелкой 39">
            <a:extLst>
              <a:ext uri="{FF2B5EF4-FFF2-40B4-BE49-F238E27FC236}">
                <a16:creationId xmlns:a16="http://schemas.microsoft.com/office/drawing/2014/main" id="{1734F7B2-C7C9-6D46-8E5D-80C7B4BA1965}"/>
              </a:ext>
            </a:extLst>
          </p:cNvPr>
          <p:cNvCxnSpPr>
            <a:cxnSpLocks/>
          </p:cNvCxnSpPr>
          <p:nvPr/>
        </p:nvCxnSpPr>
        <p:spPr>
          <a:xfrm>
            <a:off x="5136005" y="2506371"/>
            <a:ext cx="3837899" cy="0"/>
          </a:xfrm>
          <a:prstGeom prst="straightConnector1">
            <a:avLst/>
          </a:prstGeom>
          <a:ln w="12700">
            <a:solidFill>
              <a:srgbClr val="02B3E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040C9337-C321-3F4B-8275-4723AA17FED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3266" y="4759562"/>
            <a:ext cx="617323" cy="600639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6CC131A4-BFFE-6047-BBB6-595B87BBF7D8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5970" y="4776596"/>
            <a:ext cx="638424" cy="638424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7ABF1559-6523-E846-B490-FA04783F8C3C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0581" y="485959"/>
            <a:ext cx="1049057" cy="390953"/>
          </a:xfrm>
          <a:prstGeom prst="rect">
            <a:avLst/>
          </a:prstGeom>
        </p:spPr>
      </p:pic>
      <p:sp>
        <p:nvSpPr>
          <p:cNvPr id="30" name="Нижний колонтитул 4">
            <a:extLst>
              <a:ext uri="{FF2B5EF4-FFF2-40B4-BE49-F238E27FC236}">
                <a16:creationId xmlns:a16="http://schemas.microsoft.com/office/drawing/2014/main" id="{5FD362BC-6840-A744-B517-CC61A3248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8557" y="6235437"/>
            <a:ext cx="1704739" cy="365125"/>
          </a:xfrm>
        </p:spPr>
        <p:txBody>
          <a:bodyPr/>
          <a:lstStyle>
            <a:lvl1pPr algn="l">
              <a:defRPr sz="9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" dirty="0" err="1">
                <a:solidFill>
                  <a:schemeClr val="bg1"/>
                </a:solidFill>
              </a:rPr>
              <a:t>www.kazakhexport.kz</a:t>
            </a:r>
            <a:endParaRPr lang="ru-KZ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6450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7901A37-5F00-7840-ACED-24CF569AAFA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932" y="0"/>
            <a:ext cx="12192000" cy="6858000"/>
          </a:xfrm>
          <a:prstGeom prst="rect">
            <a:avLst/>
          </a:prstGeom>
        </p:spPr>
      </p:pic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EE2968EF-76FF-FD44-A544-7FC8BC155159}"/>
              </a:ext>
            </a:extLst>
          </p:cNvPr>
          <p:cNvCxnSpPr>
            <a:stCxn id="12" idx="2"/>
            <a:endCxn id="20" idx="0"/>
          </p:cNvCxnSpPr>
          <p:nvPr/>
        </p:nvCxnSpPr>
        <p:spPr>
          <a:xfrm>
            <a:off x="694561" y="1773122"/>
            <a:ext cx="0" cy="3702092"/>
          </a:xfrm>
          <a:prstGeom prst="line">
            <a:avLst/>
          </a:prstGeom>
          <a:ln w="12700">
            <a:solidFill>
              <a:srgbClr val="02B3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FB68F5FE-4522-1440-ABC0-F74B6A37F178}"/>
              </a:ext>
            </a:extLst>
          </p:cNvPr>
          <p:cNvCxnSpPr/>
          <p:nvPr/>
        </p:nvCxnSpPr>
        <p:spPr>
          <a:xfrm>
            <a:off x="6428299" y="1773122"/>
            <a:ext cx="0" cy="3702092"/>
          </a:xfrm>
          <a:prstGeom prst="line">
            <a:avLst/>
          </a:prstGeom>
          <a:ln w="12700">
            <a:solidFill>
              <a:srgbClr val="02B3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91ED017-9E5F-B442-8D6B-8203C8AF83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ПРОЦЕСС ПО ЛЬГОТНОМУ </a:t>
            </a:r>
            <a:r>
              <a:rPr lang="ru-RU" dirty="0">
                <a:solidFill>
                  <a:srgbClr val="02B3EB"/>
                </a:solidFill>
              </a:rPr>
              <a:t/>
            </a:r>
            <a:br>
              <a:rPr lang="ru-RU" dirty="0">
                <a:solidFill>
                  <a:srgbClr val="02B3EB"/>
                </a:solidFill>
              </a:rPr>
            </a:br>
            <a:r>
              <a:rPr lang="ru-RU" dirty="0">
                <a:solidFill>
                  <a:srgbClr val="02B3EB"/>
                </a:solidFill>
              </a:rPr>
              <a:t>ТОРГОВОМУ ФИНАНСИРОВАНИЮ</a:t>
            </a:r>
            <a:endParaRPr lang="ru-KZ" dirty="0">
              <a:solidFill>
                <a:srgbClr val="02B3EB"/>
              </a:solidFill>
            </a:endParaRPr>
          </a:p>
        </p:txBody>
      </p:sp>
      <p:sp>
        <p:nvSpPr>
          <p:cNvPr id="4" name="Объект 18">
            <a:extLst>
              <a:ext uri="{FF2B5EF4-FFF2-40B4-BE49-F238E27FC236}">
                <a16:creationId xmlns:a16="http://schemas.microsoft.com/office/drawing/2014/main" id="{6224931F-3749-0C4B-82A1-03E8D373FE3D}"/>
              </a:ext>
            </a:extLst>
          </p:cNvPr>
          <p:cNvSpPr txBox="1">
            <a:spLocks/>
          </p:cNvSpPr>
          <p:nvPr/>
        </p:nvSpPr>
        <p:spPr>
          <a:xfrm>
            <a:off x="479425" y="1469036"/>
            <a:ext cx="5508624" cy="4912714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3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spcBef>
                <a:spcPts val="0"/>
              </a:spcBef>
              <a:buSzPct val="150000"/>
              <a:buNone/>
            </a:pPr>
            <a:r>
              <a:rPr lang="ru-RU" dirty="0">
                <a:solidFill>
                  <a:schemeClr val="bg1"/>
                </a:solidFill>
              </a:rPr>
              <a:t>Производитель в Казахстане (далее – Экспортер) и Покупатель в Узбекистане заключают контракт на поставку казахстанского товара;</a:t>
            </a:r>
          </a:p>
          <a:p>
            <a:pPr marL="457200" lvl="1" indent="0">
              <a:spcBef>
                <a:spcPts val="0"/>
              </a:spcBef>
              <a:buSzPct val="150000"/>
              <a:buNone/>
            </a:pPr>
            <a:endParaRPr lang="ru-RU" dirty="0">
              <a:solidFill>
                <a:schemeClr val="bg1"/>
              </a:solidFill>
            </a:endParaRPr>
          </a:p>
          <a:p>
            <a:pPr marL="457200" lvl="1" indent="0">
              <a:spcBef>
                <a:spcPts val="0"/>
              </a:spcBef>
              <a:buSzPct val="150000"/>
              <a:buNone/>
            </a:pPr>
            <a:r>
              <a:rPr lang="ru-RU" dirty="0">
                <a:solidFill>
                  <a:schemeClr val="bg1"/>
                </a:solidFill>
              </a:rPr>
              <a:t>Покупатель обращается в свой Банк в Узбекистане (далее Банк-эмитент) за установлением кредитного лимита с возможностью выпуска аккредитива с пост-финансированием либо дисконтированием;</a:t>
            </a:r>
          </a:p>
          <a:p>
            <a:pPr marL="457200" lvl="1" indent="0">
              <a:spcBef>
                <a:spcPts val="0"/>
              </a:spcBef>
              <a:buSzPct val="150000"/>
              <a:buNone/>
            </a:pPr>
            <a:endParaRPr lang="ru-RU" dirty="0">
              <a:solidFill>
                <a:schemeClr val="bg1"/>
              </a:solidFill>
            </a:endParaRPr>
          </a:p>
          <a:p>
            <a:pPr marL="457200" lvl="1" indent="0">
              <a:spcBef>
                <a:spcPts val="0"/>
              </a:spcBef>
              <a:buSzPct val="150000"/>
              <a:buNone/>
            </a:pPr>
            <a:r>
              <a:rPr lang="ru-RU" dirty="0">
                <a:solidFill>
                  <a:schemeClr val="bg1"/>
                </a:solidFill>
              </a:rPr>
              <a:t>Банк-эмитент после согласования условий финансирования с Банком Экспортера в Казахстане выпускает аккредитив в пользу Экспортера;</a:t>
            </a:r>
          </a:p>
          <a:p>
            <a:pPr marL="457200" lvl="1" indent="0">
              <a:spcBef>
                <a:spcPts val="0"/>
              </a:spcBef>
              <a:buSzPct val="150000"/>
              <a:buNone/>
            </a:pPr>
            <a:endParaRPr lang="ru-RU" dirty="0">
              <a:solidFill>
                <a:schemeClr val="bg1"/>
              </a:solidFill>
            </a:endParaRPr>
          </a:p>
          <a:p>
            <a:pPr marL="457200" lvl="1" indent="0">
              <a:spcBef>
                <a:spcPts val="0"/>
              </a:spcBef>
              <a:buSzPct val="150000"/>
              <a:buNone/>
            </a:pPr>
            <a:r>
              <a:rPr lang="ru-RU" dirty="0">
                <a:solidFill>
                  <a:schemeClr val="bg1"/>
                </a:solidFill>
              </a:rPr>
              <a:t>Банк в Казахстане после получения аккредитива подписывает Договор страхования с </a:t>
            </a:r>
            <a:r>
              <a:rPr lang="en" dirty="0" err="1">
                <a:solidFill>
                  <a:schemeClr val="bg1"/>
                </a:solidFill>
              </a:rPr>
              <a:t>KazakhExport</a:t>
            </a:r>
            <a:r>
              <a:rPr lang="en" dirty="0">
                <a:solidFill>
                  <a:schemeClr val="bg1"/>
                </a:solidFill>
              </a:rPr>
              <a:t> </a:t>
            </a:r>
            <a:r>
              <a:rPr lang="ru-RU" dirty="0">
                <a:solidFill>
                  <a:schemeClr val="bg1"/>
                </a:solidFill>
              </a:rPr>
              <a:t>и далее подтверждает его, добавляя собственное обязательство об оплате и информирует Экспортера о поступлении аккредитива в его пользу;</a:t>
            </a:r>
          </a:p>
          <a:p>
            <a:pPr marL="457200" lvl="1" indent="0">
              <a:spcBef>
                <a:spcPts val="0"/>
              </a:spcBef>
              <a:buSzPct val="150000"/>
              <a:buNone/>
            </a:pPr>
            <a:endParaRPr lang="ru-RU" dirty="0">
              <a:solidFill>
                <a:schemeClr val="bg1"/>
              </a:solidFill>
            </a:endParaRPr>
          </a:p>
          <a:p>
            <a:pPr marL="457200" lvl="1" indent="0">
              <a:spcBef>
                <a:spcPts val="0"/>
              </a:spcBef>
              <a:buSzPct val="150000"/>
              <a:buNone/>
            </a:pPr>
            <a:r>
              <a:rPr lang="ru-RU" dirty="0">
                <a:solidFill>
                  <a:schemeClr val="bg1"/>
                </a:solidFill>
              </a:rPr>
              <a:t>Экспортер отгружает товар или оказывает услугу в пользу Покупателя;</a:t>
            </a:r>
          </a:p>
        </p:txBody>
      </p:sp>
      <p:sp>
        <p:nvSpPr>
          <p:cNvPr id="7" name="Объект 18">
            <a:extLst>
              <a:ext uri="{FF2B5EF4-FFF2-40B4-BE49-F238E27FC236}">
                <a16:creationId xmlns:a16="http://schemas.microsoft.com/office/drawing/2014/main" id="{C696A038-2BE2-674C-AE34-6658BBBCC7FE}"/>
              </a:ext>
            </a:extLst>
          </p:cNvPr>
          <p:cNvSpPr txBox="1">
            <a:spLocks/>
          </p:cNvSpPr>
          <p:nvPr/>
        </p:nvSpPr>
        <p:spPr>
          <a:xfrm>
            <a:off x="6213163" y="1469036"/>
            <a:ext cx="5508624" cy="4912714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3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>
              <a:spcBef>
                <a:spcPts val="0"/>
              </a:spcBef>
              <a:buSzPct val="150000"/>
              <a:buNone/>
            </a:pPr>
            <a:r>
              <a:rPr lang="ru-RU" dirty="0">
                <a:solidFill>
                  <a:schemeClr val="bg1"/>
                </a:solidFill>
              </a:rPr>
              <a:t>Экспортер предъявляет отгрузочные документы в свой Банк в Казахстане в рамках выпущенного аккредитива;</a:t>
            </a:r>
          </a:p>
          <a:p>
            <a:pPr marL="457200" lvl="1" indent="0">
              <a:spcBef>
                <a:spcPts val="0"/>
              </a:spcBef>
              <a:buSzPct val="150000"/>
              <a:buNone/>
            </a:pPr>
            <a:endParaRPr lang="ru-RU" dirty="0">
              <a:solidFill>
                <a:schemeClr val="bg1"/>
              </a:solidFill>
            </a:endParaRPr>
          </a:p>
          <a:p>
            <a:pPr marL="457200" lvl="1" indent="0">
              <a:spcBef>
                <a:spcPts val="0"/>
              </a:spcBef>
              <a:buSzPct val="150000"/>
              <a:buNone/>
            </a:pPr>
            <a:r>
              <a:rPr lang="en" dirty="0" err="1">
                <a:solidFill>
                  <a:schemeClr val="bg1"/>
                </a:solidFill>
              </a:rPr>
              <a:t>KazakhExport</a:t>
            </a:r>
            <a:r>
              <a:rPr lang="en" dirty="0">
                <a:solidFill>
                  <a:schemeClr val="bg1"/>
                </a:solidFill>
              </a:rPr>
              <a:t> </a:t>
            </a:r>
            <a:r>
              <a:rPr lang="ru-RU" dirty="0">
                <a:solidFill>
                  <a:schemeClr val="bg1"/>
                </a:solidFill>
              </a:rPr>
              <a:t>размещает банковский вклад на сумму отгрузочных документов в Банке Экспортера;</a:t>
            </a:r>
          </a:p>
          <a:p>
            <a:pPr marL="457200" lvl="1" indent="0">
              <a:spcBef>
                <a:spcPts val="0"/>
              </a:spcBef>
              <a:buSzPct val="150000"/>
              <a:buNone/>
            </a:pPr>
            <a:endParaRPr lang="ru-RU" dirty="0">
              <a:solidFill>
                <a:schemeClr val="bg1"/>
              </a:solidFill>
            </a:endParaRPr>
          </a:p>
          <a:p>
            <a:pPr marL="457200" lvl="1" indent="0">
              <a:spcBef>
                <a:spcPts val="0"/>
              </a:spcBef>
              <a:buSzPct val="150000"/>
              <a:buNone/>
            </a:pPr>
            <a:r>
              <a:rPr lang="ru-RU" dirty="0">
                <a:solidFill>
                  <a:schemeClr val="bg1"/>
                </a:solidFill>
              </a:rPr>
              <a:t>Банк Экспортера оплачивает и переводит сумму отгрузочных документов на текущий счет Экспортера и одновременно предоставляет безналичное финансирование в пользу Банка-эмитента в Узбекистане в рамках аккредитива;</a:t>
            </a:r>
          </a:p>
          <a:p>
            <a:pPr marL="457200" lvl="1" indent="0">
              <a:spcBef>
                <a:spcPts val="0"/>
              </a:spcBef>
              <a:buSzPct val="150000"/>
              <a:buNone/>
            </a:pPr>
            <a:endParaRPr lang="ru-RU" dirty="0">
              <a:solidFill>
                <a:schemeClr val="bg1"/>
              </a:solidFill>
            </a:endParaRPr>
          </a:p>
          <a:p>
            <a:pPr marL="457200" lvl="1" indent="0">
              <a:spcBef>
                <a:spcPts val="0"/>
              </a:spcBef>
              <a:buSzPct val="150000"/>
              <a:buNone/>
            </a:pPr>
            <a:r>
              <a:rPr lang="ru-RU" dirty="0">
                <a:solidFill>
                  <a:schemeClr val="bg1"/>
                </a:solidFill>
              </a:rPr>
              <a:t>Банк-эмитент предоставляет безналичное </a:t>
            </a:r>
            <a:r>
              <a:rPr lang="ru-RU" dirty="0" err="1">
                <a:solidFill>
                  <a:schemeClr val="bg1"/>
                </a:solidFill>
              </a:rPr>
              <a:t>финанси</a:t>
            </a:r>
            <a:r>
              <a:rPr lang="ru-RU" dirty="0">
                <a:solidFill>
                  <a:schemeClr val="bg1"/>
                </a:solidFill>
              </a:rPr>
              <a:t>- </a:t>
            </a:r>
            <a:r>
              <a:rPr lang="ru-RU" dirty="0" err="1">
                <a:solidFill>
                  <a:schemeClr val="bg1"/>
                </a:solidFill>
              </a:rPr>
              <a:t>рование</a:t>
            </a:r>
            <a:r>
              <a:rPr lang="ru-RU" dirty="0">
                <a:solidFill>
                  <a:schemeClr val="bg1"/>
                </a:solidFill>
              </a:rPr>
              <a:t> в пользу Покупателя и заключает с ним кредитный договор с графиком погашения. </a:t>
            </a:r>
          </a:p>
          <a:p>
            <a:pPr marL="457200" lvl="1" indent="0">
              <a:spcBef>
                <a:spcPts val="0"/>
              </a:spcBef>
              <a:buSzPct val="150000"/>
              <a:buNone/>
            </a:pPr>
            <a:endParaRPr lang="ru-RU" dirty="0">
              <a:solidFill>
                <a:schemeClr val="bg1"/>
              </a:solidFill>
            </a:endParaRPr>
          </a:p>
          <a:p>
            <a:pPr marL="457200" lvl="1" indent="0">
              <a:spcBef>
                <a:spcPts val="0"/>
              </a:spcBef>
              <a:buSzPct val="150000"/>
              <a:buNone/>
            </a:pPr>
            <a:r>
              <a:rPr lang="ru-RU" dirty="0">
                <a:solidFill>
                  <a:schemeClr val="bg1"/>
                </a:solidFill>
              </a:rPr>
              <a:t>Покупатель погашает обязательства перед Банк- эмитентом, который в свою очередь погашает сумму финансирования Банку Экспортера в соответствии с кредитным договором.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656512F-6F98-254E-ADC3-FB510E4C52A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1467979"/>
            <a:ext cx="381000" cy="3175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3B4C0D8-B4E0-7848-9EBE-AB34429A4966}"/>
              </a:ext>
            </a:extLst>
          </p:cNvPr>
          <p:cNvSpPr txBox="1"/>
          <p:nvPr/>
        </p:nvSpPr>
        <p:spPr>
          <a:xfrm>
            <a:off x="602138" y="1465345"/>
            <a:ext cx="18484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endParaRPr lang="ru-KZ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F1C6A899-4017-CA4D-A734-0345D9FB4F8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2209992"/>
            <a:ext cx="381000" cy="3175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A0D46BA-4DBB-CF4D-A0F0-7BDB63674E7E}"/>
              </a:ext>
            </a:extLst>
          </p:cNvPr>
          <p:cNvSpPr txBox="1"/>
          <p:nvPr/>
        </p:nvSpPr>
        <p:spPr>
          <a:xfrm>
            <a:off x="602138" y="2207358"/>
            <a:ext cx="18484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  <a:endParaRPr lang="ru-KZ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ACBBDC54-7DA6-B848-962A-77721292F2A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3169362"/>
            <a:ext cx="381000" cy="3175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12A12CB-3650-F647-8774-67C907E9947E}"/>
              </a:ext>
            </a:extLst>
          </p:cNvPr>
          <p:cNvSpPr txBox="1"/>
          <p:nvPr/>
        </p:nvSpPr>
        <p:spPr>
          <a:xfrm>
            <a:off x="602138" y="3166728"/>
            <a:ext cx="18484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  <a:endParaRPr lang="ru-KZ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E78CBDBF-AB1A-BB45-8E94-B96DB90B115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4143723"/>
            <a:ext cx="381000" cy="3175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A94FA8A8-49A6-F34A-9D9A-81B0FA7A690D}"/>
              </a:ext>
            </a:extLst>
          </p:cNvPr>
          <p:cNvSpPr txBox="1"/>
          <p:nvPr/>
        </p:nvSpPr>
        <p:spPr>
          <a:xfrm>
            <a:off x="602138" y="4141089"/>
            <a:ext cx="18484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</a:t>
            </a:r>
            <a:endParaRPr lang="ru-KZ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38BAC71F-0734-454A-BF63-1D3CDB4C0F2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5477848"/>
            <a:ext cx="381000" cy="3175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6107EEA-99C6-8C48-9242-F451AA643697}"/>
              </a:ext>
            </a:extLst>
          </p:cNvPr>
          <p:cNvSpPr txBox="1"/>
          <p:nvPr/>
        </p:nvSpPr>
        <p:spPr>
          <a:xfrm>
            <a:off x="602138" y="5475214"/>
            <a:ext cx="18484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</a:t>
            </a:r>
            <a:endParaRPr lang="ru-KZ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0026C457-3E01-4346-947F-8C18AEA786E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5668" y="1467979"/>
            <a:ext cx="381000" cy="3175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53F961EF-7E97-B346-81CA-34E422276C13}"/>
              </a:ext>
            </a:extLst>
          </p:cNvPr>
          <p:cNvSpPr txBox="1"/>
          <p:nvPr/>
        </p:nvSpPr>
        <p:spPr>
          <a:xfrm>
            <a:off x="6328381" y="1465345"/>
            <a:ext cx="18484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</a:t>
            </a:r>
            <a:endParaRPr lang="ru-KZ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51F6881B-FA81-BC49-9B75-5696D1D9A47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5668" y="2209992"/>
            <a:ext cx="381000" cy="31750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494181BC-8A41-7343-B403-88A2A364E105}"/>
              </a:ext>
            </a:extLst>
          </p:cNvPr>
          <p:cNvSpPr txBox="1"/>
          <p:nvPr/>
        </p:nvSpPr>
        <p:spPr>
          <a:xfrm>
            <a:off x="6328381" y="2207358"/>
            <a:ext cx="18484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</a:t>
            </a:r>
            <a:endParaRPr lang="ru-KZ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A94B2BF3-A71F-D14D-A9D9-BD61AEA7655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5668" y="3169362"/>
            <a:ext cx="381000" cy="31750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3BDC958E-9BE2-6242-80D5-478812F047B6}"/>
              </a:ext>
            </a:extLst>
          </p:cNvPr>
          <p:cNvSpPr txBox="1"/>
          <p:nvPr/>
        </p:nvSpPr>
        <p:spPr>
          <a:xfrm>
            <a:off x="6328381" y="3166728"/>
            <a:ext cx="18484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</a:t>
            </a:r>
            <a:endParaRPr lang="ru-KZ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F388E481-F530-B94C-B7D5-0B2260DBEEF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5668" y="4143723"/>
            <a:ext cx="381000" cy="31750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035A2107-D5C1-F34C-B3E6-57ECCE180660}"/>
              </a:ext>
            </a:extLst>
          </p:cNvPr>
          <p:cNvSpPr txBox="1"/>
          <p:nvPr/>
        </p:nvSpPr>
        <p:spPr>
          <a:xfrm>
            <a:off x="6328381" y="4141089"/>
            <a:ext cx="18484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9</a:t>
            </a:r>
            <a:endParaRPr lang="ru-KZ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8912165E-EB0C-5C4D-907D-0090EB9AFB0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5668" y="5477848"/>
            <a:ext cx="381000" cy="3175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7FCEC7C8-4812-C644-910B-CC2F35EE458A}"/>
              </a:ext>
            </a:extLst>
          </p:cNvPr>
          <p:cNvSpPr txBox="1"/>
          <p:nvPr/>
        </p:nvSpPr>
        <p:spPr>
          <a:xfrm>
            <a:off x="6178480" y="5475214"/>
            <a:ext cx="48340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</a:t>
            </a:r>
            <a:endParaRPr lang="ru-KZ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31117D49-5238-2D40-9CE5-39480C90CB74}"/>
              </a:ext>
            </a:extLst>
          </p:cNvPr>
          <p:cNvCxnSpPr/>
          <p:nvPr/>
        </p:nvCxnSpPr>
        <p:spPr>
          <a:xfrm>
            <a:off x="1041816" y="2184873"/>
            <a:ext cx="4946234" cy="0"/>
          </a:xfrm>
          <a:prstGeom prst="line">
            <a:avLst/>
          </a:prstGeom>
          <a:ln>
            <a:solidFill>
              <a:srgbClr val="02B3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4AD3B611-7420-9044-B63B-A11D6AAF29DD}"/>
              </a:ext>
            </a:extLst>
          </p:cNvPr>
          <p:cNvCxnSpPr/>
          <p:nvPr/>
        </p:nvCxnSpPr>
        <p:spPr>
          <a:xfrm>
            <a:off x="1041816" y="3159234"/>
            <a:ext cx="4946234" cy="0"/>
          </a:xfrm>
          <a:prstGeom prst="line">
            <a:avLst/>
          </a:prstGeom>
          <a:ln>
            <a:solidFill>
              <a:srgbClr val="02B3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C326CF42-B004-8E40-B493-4A31F9937AD1}"/>
              </a:ext>
            </a:extLst>
          </p:cNvPr>
          <p:cNvCxnSpPr/>
          <p:nvPr/>
        </p:nvCxnSpPr>
        <p:spPr>
          <a:xfrm>
            <a:off x="1041816" y="4111109"/>
            <a:ext cx="4946234" cy="0"/>
          </a:xfrm>
          <a:prstGeom prst="line">
            <a:avLst/>
          </a:prstGeom>
          <a:ln>
            <a:solidFill>
              <a:srgbClr val="02B3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CA3A30A9-93B9-F34A-9948-B4020FDB5D71}"/>
              </a:ext>
            </a:extLst>
          </p:cNvPr>
          <p:cNvCxnSpPr/>
          <p:nvPr/>
        </p:nvCxnSpPr>
        <p:spPr>
          <a:xfrm>
            <a:off x="1041816" y="5445234"/>
            <a:ext cx="4946234" cy="0"/>
          </a:xfrm>
          <a:prstGeom prst="line">
            <a:avLst/>
          </a:prstGeom>
          <a:ln>
            <a:solidFill>
              <a:srgbClr val="02B3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425954A8-7A30-E342-B775-5F7C16426331}"/>
              </a:ext>
            </a:extLst>
          </p:cNvPr>
          <p:cNvCxnSpPr/>
          <p:nvPr/>
        </p:nvCxnSpPr>
        <p:spPr>
          <a:xfrm>
            <a:off x="6775554" y="5062984"/>
            <a:ext cx="4946234" cy="0"/>
          </a:xfrm>
          <a:prstGeom prst="line">
            <a:avLst/>
          </a:prstGeom>
          <a:ln>
            <a:solidFill>
              <a:srgbClr val="02B3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D28CD50F-7379-6042-B70C-CCE2AE984585}"/>
              </a:ext>
            </a:extLst>
          </p:cNvPr>
          <p:cNvCxnSpPr/>
          <p:nvPr/>
        </p:nvCxnSpPr>
        <p:spPr>
          <a:xfrm>
            <a:off x="6775554" y="4111109"/>
            <a:ext cx="4946234" cy="0"/>
          </a:xfrm>
          <a:prstGeom prst="line">
            <a:avLst/>
          </a:prstGeom>
          <a:ln>
            <a:solidFill>
              <a:srgbClr val="02B3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id="{A5EA56BB-2280-DE41-9CED-1BEEA0BB04AC}"/>
              </a:ext>
            </a:extLst>
          </p:cNvPr>
          <p:cNvCxnSpPr/>
          <p:nvPr/>
        </p:nvCxnSpPr>
        <p:spPr>
          <a:xfrm>
            <a:off x="6775554" y="2956866"/>
            <a:ext cx="4946234" cy="0"/>
          </a:xfrm>
          <a:prstGeom prst="line">
            <a:avLst/>
          </a:prstGeom>
          <a:ln>
            <a:solidFill>
              <a:srgbClr val="02B3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2D154B41-1850-5944-A115-49DD12B29883}"/>
              </a:ext>
            </a:extLst>
          </p:cNvPr>
          <p:cNvCxnSpPr/>
          <p:nvPr/>
        </p:nvCxnSpPr>
        <p:spPr>
          <a:xfrm>
            <a:off x="6775554" y="2192368"/>
            <a:ext cx="4946234" cy="0"/>
          </a:xfrm>
          <a:prstGeom prst="line">
            <a:avLst/>
          </a:prstGeom>
          <a:ln>
            <a:solidFill>
              <a:srgbClr val="02B3E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DEB55A35-1691-E343-81CC-118FD69E332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0581" y="485959"/>
            <a:ext cx="1049057" cy="390953"/>
          </a:xfrm>
          <a:prstGeom prst="rect">
            <a:avLst/>
          </a:prstGeom>
        </p:spPr>
      </p:pic>
      <p:sp>
        <p:nvSpPr>
          <p:cNvPr id="44" name="Нижний колонтитул 4">
            <a:extLst>
              <a:ext uri="{FF2B5EF4-FFF2-40B4-BE49-F238E27FC236}">
                <a16:creationId xmlns:a16="http://schemas.microsoft.com/office/drawing/2014/main" id="{68C40B8F-190A-CF4B-93A0-9BB0DA6381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8557" y="6235437"/>
            <a:ext cx="1704739" cy="365125"/>
          </a:xfrm>
        </p:spPr>
        <p:txBody>
          <a:bodyPr/>
          <a:lstStyle>
            <a:lvl1pPr algn="l">
              <a:defRPr sz="9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" dirty="0" err="1">
                <a:solidFill>
                  <a:schemeClr val="bg1"/>
                </a:solidFill>
              </a:rPr>
              <a:t>www.kazakhexport.kz</a:t>
            </a:r>
            <a:endParaRPr lang="ru-KZ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5818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3A81A3EC-C2F5-9743-A0A5-17FA9E411DB8}"/>
              </a:ext>
            </a:extLst>
          </p:cNvPr>
          <p:cNvSpPr/>
          <p:nvPr/>
        </p:nvSpPr>
        <p:spPr>
          <a:xfrm>
            <a:off x="0" y="0"/>
            <a:ext cx="12207902" cy="6858000"/>
          </a:xfrm>
          <a:prstGeom prst="rect">
            <a:avLst/>
          </a:prstGeom>
          <a:solidFill>
            <a:srgbClr val="0420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1AB62AA2-B7AE-F84A-850F-A9AB74A1D8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6017" y="0"/>
            <a:ext cx="9141885" cy="685800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1E33E824-4F2C-E143-93CC-7FE25107AE9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0826" y="3013545"/>
            <a:ext cx="851452" cy="851452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2C5C6E26-9917-974A-B213-2295F9BE820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5036" y="5174920"/>
            <a:ext cx="107398" cy="107398"/>
          </a:xfrm>
          <a:prstGeom prst="rect">
            <a:avLst/>
          </a:prstGeom>
        </p:spPr>
      </p:pic>
      <p:sp>
        <p:nvSpPr>
          <p:cNvPr id="16" name="Объект 18">
            <a:extLst>
              <a:ext uri="{FF2B5EF4-FFF2-40B4-BE49-F238E27FC236}">
                <a16:creationId xmlns:a16="http://schemas.microsoft.com/office/drawing/2014/main" id="{A6B78B35-1AF4-E248-A68C-E881C3899817}"/>
              </a:ext>
            </a:extLst>
          </p:cNvPr>
          <p:cNvSpPr txBox="1">
            <a:spLocks/>
          </p:cNvSpPr>
          <p:nvPr/>
        </p:nvSpPr>
        <p:spPr>
          <a:xfrm>
            <a:off x="391962" y="4769880"/>
            <a:ext cx="3600450" cy="16118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5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1100" b="1" dirty="0">
                <a:solidFill>
                  <a:schemeClr val="bg1"/>
                </a:solidFill>
              </a:rPr>
              <a:t>Акционерное общество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100" b="1" dirty="0">
                <a:solidFill>
                  <a:schemeClr val="bg1"/>
                </a:solidFill>
              </a:rPr>
              <a:t>«Экспортная страховая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100" b="1" dirty="0">
                <a:solidFill>
                  <a:schemeClr val="bg1"/>
                </a:solidFill>
              </a:rPr>
              <a:t>компания «</a:t>
            </a:r>
            <a:r>
              <a:rPr lang="en" sz="1100" b="1" dirty="0" err="1">
                <a:solidFill>
                  <a:schemeClr val="bg1"/>
                </a:solidFill>
              </a:rPr>
              <a:t>KazakhExport</a:t>
            </a:r>
            <a:r>
              <a:rPr lang="en" sz="1100" b="1" dirty="0">
                <a:solidFill>
                  <a:schemeClr val="bg1"/>
                </a:solidFill>
              </a:rPr>
              <a:t>»</a:t>
            </a:r>
          </a:p>
          <a:p>
            <a:pPr marL="0" indent="0">
              <a:spcBef>
                <a:spcPts val="0"/>
              </a:spcBef>
              <a:buNone/>
            </a:pPr>
            <a:endParaRPr lang="ru-RU" sz="1100" dirty="0">
              <a:solidFill>
                <a:schemeClr val="bg1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ru-RU" sz="1100" dirty="0">
                <a:solidFill>
                  <a:schemeClr val="bg1"/>
                </a:solidFill>
              </a:rPr>
              <a:t>Республика Казахстан,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" sz="1100" dirty="0">
                <a:solidFill>
                  <a:schemeClr val="bg1"/>
                </a:solidFill>
              </a:rPr>
              <a:t>Z05T3E2, </a:t>
            </a:r>
            <a:r>
              <a:rPr lang="ru-RU" sz="1100" dirty="0">
                <a:solidFill>
                  <a:schemeClr val="bg1"/>
                </a:solidFill>
              </a:rPr>
              <a:t>г. </a:t>
            </a:r>
            <a:r>
              <a:rPr lang="ru-RU" sz="1100" dirty="0" smtClean="0">
                <a:solidFill>
                  <a:schemeClr val="bg1"/>
                </a:solidFill>
              </a:rPr>
              <a:t>Астана, </a:t>
            </a:r>
            <a:endParaRPr lang="ru-RU" sz="1100" dirty="0">
              <a:solidFill>
                <a:schemeClr val="bg1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ru-RU" sz="1100" dirty="0">
                <a:solidFill>
                  <a:schemeClr val="bg1"/>
                </a:solidFill>
              </a:rPr>
              <a:t>пр. </a:t>
            </a:r>
            <a:r>
              <a:rPr lang="ru-RU" sz="1100" dirty="0" err="1">
                <a:solidFill>
                  <a:schemeClr val="bg1"/>
                </a:solidFill>
              </a:rPr>
              <a:t>Мәңгілік</a:t>
            </a:r>
            <a:r>
              <a:rPr lang="ru-RU" sz="1100" dirty="0">
                <a:solidFill>
                  <a:schemeClr val="bg1"/>
                </a:solidFill>
              </a:rPr>
              <a:t> Ел 55 «</a:t>
            </a:r>
            <a:r>
              <a:rPr lang="en" sz="1100" dirty="0">
                <a:solidFill>
                  <a:schemeClr val="bg1"/>
                </a:solidFill>
              </a:rPr>
              <a:t>A», 11 </a:t>
            </a:r>
            <a:r>
              <a:rPr lang="ru-RU" sz="1100" dirty="0">
                <a:solidFill>
                  <a:schemeClr val="bg1"/>
                </a:solidFill>
              </a:rPr>
              <a:t>этаж</a:t>
            </a:r>
          </a:p>
        </p:txBody>
      </p:sp>
      <p:sp>
        <p:nvSpPr>
          <p:cNvPr id="17" name="Объект 18">
            <a:extLst>
              <a:ext uri="{FF2B5EF4-FFF2-40B4-BE49-F238E27FC236}">
                <a16:creationId xmlns:a16="http://schemas.microsoft.com/office/drawing/2014/main" id="{3057DC35-02E4-0649-8052-4DA1975A1260}"/>
              </a:ext>
            </a:extLst>
          </p:cNvPr>
          <p:cNvSpPr txBox="1">
            <a:spLocks/>
          </p:cNvSpPr>
          <p:nvPr/>
        </p:nvSpPr>
        <p:spPr>
          <a:xfrm>
            <a:off x="4216538" y="4769880"/>
            <a:ext cx="3600450" cy="16118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5"/>
              </a:buBlip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4205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1100" dirty="0">
                <a:solidFill>
                  <a:srgbClr val="02B3EB"/>
                </a:solidFill>
              </a:rPr>
              <a:t>тел.: </a:t>
            </a:r>
            <a:r>
              <a:rPr lang="ru-RU" sz="1100" dirty="0">
                <a:solidFill>
                  <a:schemeClr val="bg1"/>
                </a:solidFill>
              </a:rPr>
              <a:t>+7 (7172) 95 56 56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" sz="1100" dirty="0">
                <a:solidFill>
                  <a:srgbClr val="02B3EB"/>
                </a:solidFill>
              </a:rPr>
              <a:t>e-mail: </a:t>
            </a:r>
            <a:r>
              <a:rPr lang="en" sz="1100" dirty="0" err="1">
                <a:solidFill>
                  <a:schemeClr val="bg1"/>
                </a:solidFill>
              </a:rPr>
              <a:t>info@kazakhexport.kz</a:t>
            </a:r>
            <a:endParaRPr lang="en" sz="1100" dirty="0">
              <a:solidFill>
                <a:schemeClr val="bg1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" sz="1100" dirty="0">
                <a:solidFill>
                  <a:schemeClr val="bg1"/>
                </a:solidFill>
              </a:rPr>
              <a:t>    </a:t>
            </a:r>
            <a:r>
              <a:rPr lang="en" sz="1100" dirty="0" err="1">
                <a:solidFill>
                  <a:schemeClr val="bg1"/>
                </a:solidFill>
              </a:rPr>
              <a:t>KazakhExport</a:t>
            </a:r>
            <a:r>
              <a:rPr lang="en" sz="1100" dirty="0">
                <a:solidFill>
                  <a:schemeClr val="bg1"/>
                </a:solidFill>
              </a:rPr>
              <a:t>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" sz="1100" dirty="0">
                <a:solidFill>
                  <a:schemeClr val="bg1"/>
                </a:solidFill>
              </a:rPr>
              <a:t>      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" sz="1100" dirty="0" err="1">
                <a:solidFill>
                  <a:srgbClr val="02B3EB"/>
                </a:solidFill>
              </a:rPr>
              <a:t>www.kazakhexport.kz</a:t>
            </a:r>
            <a:endParaRPr lang="ru-RU" sz="1100" dirty="0">
              <a:solidFill>
                <a:srgbClr val="02B3EB"/>
              </a:solidFill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9197359F-CD89-674A-B1C6-93BB126B707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125" y="1838739"/>
            <a:ext cx="3587750" cy="1949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484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DC1EDD2-5156-4C78-B4CC-0F7C486904F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97" r="19473"/>
          <a:stretch/>
        </p:blipFill>
        <p:spPr>
          <a:xfrm>
            <a:off x="510746" y="1439665"/>
            <a:ext cx="3657600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501188AF-66C9-4AAA-A13A-44C37A9AA3C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24" r="34102"/>
          <a:stretch/>
        </p:blipFill>
        <p:spPr>
          <a:xfrm>
            <a:off x="3047997" y="1439665"/>
            <a:ext cx="3707027" cy="3978893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14C3997A-412B-4A32-BBDD-47C610D6C31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3" r="39982"/>
          <a:stretch/>
        </p:blipFill>
        <p:spPr>
          <a:xfrm>
            <a:off x="5560543" y="1439665"/>
            <a:ext cx="3731740" cy="3991430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13023DF2-4F41-434C-BFC2-4F97EF92A44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09" r="25508"/>
          <a:stretch/>
        </p:blipFill>
        <p:spPr>
          <a:xfrm>
            <a:off x="8079161" y="1452426"/>
            <a:ext cx="3690552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sp>
        <p:nvSpPr>
          <p:cNvPr id="6" name="Прямоугольник 5"/>
          <p:cNvSpPr/>
          <p:nvPr/>
        </p:nvSpPr>
        <p:spPr>
          <a:xfrm>
            <a:off x="1185331" y="2853267"/>
            <a:ext cx="9905999" cy="1202266"/>
          </a:xfrm>
          <a:custGeom>
            <a:avLst/>
            <a:gdLst>
              <a:gd name="connsiteX0" fmla="*/ 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0 w 9889066"/>
              <a:gd name="connsiteY4" fmla="*/ 0 h 1202266"/>
              <a:gd name="connsiteX0" fmla="*/ 35560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355600 w 9889066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905999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89467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89467 w 9905999"/>
              <a:gd name="connsiteY4" fmla="*/ 0 h 1202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5999" h="1202266">
                <a:moveTo>
                  <a:pt x="389467" y="0"/>
                </a:moveTo>
                <a:lnTo>
                  <a:pt x="9905999" y="0"/>
                </a:lnTo>
                <a:lnTo>
                  <a:pt x="9541933" y="1202266"/>
                </a:lnTo>
                <a:lnTo>
                  <a:pt x="0" y="1202266"/>
                </a:lnTo>
                <a:lnTo>
                  <a:pt x="38946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126</a:t>
            </a:fld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1729474" y="813573"/>
            <a:ext cx="3763009" cy="714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ПРИЛОЖЕНИЕ </a:t>
            </a:r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12</a:t>
            </a:r>
            <a:endParaRPr lang="ru-RU" sz="32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Freeform 6"/>
          <p:cNvSpPr/>
          <p:nvPr/>
        </p:nvSpPr>
        <p:spPr>
          <a:xfrm>
            <a:off x="9551522" y="225314"/>
            <a:ext cx="2218191" cy="857331"/>
          </a:xfrm>
          <a:custGeom>
            <a:avLst/>
            <a:gdLst/>
            <a:ahLst/>
            <a:cxnLst/>
            <a:rect l="l" t="t" r="r" b="b"/>
            <a:pathLst>
              <a:path w="3856888" h="1426710">
                <a:moveTo>
                  <a:pt x="0" y="0"/>
                </a:moveTo>
                <a:lnTo>
                  <a:pt x="3856889" y="0"/>
                </a:lnTo>
                <a:lnTo>
                  <a:pt x="3856889" y="1426710"/>
                </a:lnTo>
                <a:lnTo>
                  <a:pt x="0" y="1426710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</p:sp>
      <p:sp>
        <p:nvSpPr>
          <p:cNvPr id="12" name="TextBox 5"/>
          <p:cNvSpPr txBox="1"/>
          <p:nvPr/>
        </p:nvSpPr>
        <p:spPr>
          <a:xfrm>
            <a:off x="155860" y="2756839"/>
            <a:ext cx="11964940" cy="129266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800" dirty="0">
                <a:solidFill>
                  <a:schemeClr val="accent1">
                    <a:lumMod val="50000"/>
                  </a:schemeClr>
                </a:solidFill>
                <a:latin typeface="Arimo Bold"/>
              </a:rPr>
              <a:t> </a:t>
            </a:r>
            <a:r>
              <a:rPr lang="ru-RU" sz="3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О </a:t>
            </a:r>
            <a:r>
              <a:rPr lang="en-US" sz="3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Qazaqstan Investment Corporation</a:t>
            </a:r>
            <a:r>
              <a:rPr lang="en-US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endParaRPr lang="en-US" sz="36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нд </a:t>
            </a:r>
            <a:r>
              <a:rPr lang="ru-RU" sz="3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ямых </a:t>
            </a:r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й</a:t>
            </a:r>
            <a:r>
              <a:rPr lang="en-US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их привлечение</a:t>
            </a:r>
            <a:endParaRPr lang="en-US" sz="3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587062" y="5612068"/>
            <a:ext cx="8664085" cy="1013615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3pPr>
            <a:lvl4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endParaRPr lang="ru-RU" sz="20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АО «</a:t>
            </a:r>
            <a:r>
              <a:rPr lang="en-US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QIS</a:t>
            </a:r>
            <a:r>
              <a:rPr lang="ru-RU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»,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202</a:t>
            </a:r>
            <a:r>
              <a:rPr lang="en-US" sz="2000" b="0" dirty="0">
                <a:solidFill>
                  <a:schemeClr val="tx2"/>
                </a:solidFill>
                <a:latin typeface="Century Gothic" panose="020B0502020202020204" pitchFamily="34" charset="0"/>
              </a:rPr>
              <a:t>4</a:t>
            </a:r>
            <a:r>
              <a:rPr lang="ru-RU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год </a:t>
            </a:r>
            <a:endParaRPr lang="ru-RU" sz="2000" b="0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20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9818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61">
            <a:extLst>
              <a:ext uri="{FF2B5EF4-FFF2-40B4-BE49-F238E27FC236}">
                <a16:creationId xmlns:a16="http://schemas.microsoft.com/office/drawing/2014/main" id="{6A1ABFCE-9FB3-45E5-99AB-1B3F178FD08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423810" y="6228461"/>
            <a:ext cx="1234792" cy="444832"/>
            <a:chOff x="4299" y="1368"/>
            <a:chExt cx="1771" cy="638"/>
          </a:xfrm>
          <a:solidFill>
            <a:schemeClr val="bg1"/>
          </a:solidFill>
        </p:grpSpPr>
        <p:sp>
          <p:nvSpPr>
            <p:cNvPr id="5" name="Freeform 62">
              <a:extLst>
                <a:ext uri="{FF2B5EF4-FFF2-40B4-BE49-F238E27FC236}">
                  <a16:creationId xmlns:a16="http://schemas.microsoft.com/office/drawing/2014/main" id="{486FDF8D-C2C1-462A-BB9F-6A9E64029C9D}"/>
                </a:ext>
              </a:extLst>
            </p:cNvPr>
            <p:cNvSpPr/>
            <p:nvPr/>
          </p:nvSpPr>
          <p:spPr bwMode="auto">
            <a:xfrm>
              <a:off x="5031" y="1449"/>
              <a:ext cx="450" cy="462"/>
            </a:xfrm>
            <a:custGeom>
              <a:avLst/>
              <a:gdLst>
                <a:gd name="T0" fmla="*/ 997 w 1028"/>
                <a:gd name="T1" fmla="*/ 439 h 1054"/>
                <a:gd name="T2" fmla="*/ 409 w 1028"/>
                <a:gd name="T3" fmla="*/ 57 h 1054"/>
                <a:gd name="T4" fmla="*/ 97 w 1028"/>
                <a:gd name="T5" fmla="*/ 272 h 1054"/>
                <a:gd name="T6" fmla="*/ 28 w 1028"/>
                <a:gd name="T7" fmla="*/ 645 h 1054"/>
                <a:gd name="T8" fmla="*/ 242 w 1028"/>
                <a:gd name="T9" fmla="*/ 957 h 1054"/>
                <a:gd name="T10" fmla="*/ 615 w 1028"/>
                <a:gd name="T11" fmla="*/ 1026 h 1054"/>
                <a:gd name="T12" fmla="*/ 666 w 1028"/>
                <a:gd name="T13" fmla="*/ 1013 h 1054"/>
                <a:gd name="T14" fmla="*/ 595 w 1028"/>
                <a:gd name="T15" fmla="*/ 912 h 1054"/>
                <a:gd name="T16" fmla="*/ 591 w 1028"/>
                <a:gd name="T17" fmla="*/ 914 h 1054"/>
                <a:gd name="T18" fmla="*/ 305 w 1028"/>
                <a:gd name="T19" fmla="*/ 860 h 1054"/>
                <a:gd name="T20" fmla="*/ 140 w 1028"/>
                <a:gd name="T21" fmla="*/ 621 h 1054"/>
                <a:gd name="T22" fmla="*/ 193 w 1028"/>
                <a:gd name="T23" fmla="*/ 335 h 1054"/>
                <a:gd name="T24" fmla="*/ 294 w 1028"/>
                <a:gd name="T25" fmla="*/ 230 h 1054"/>
                <a:gd name="T26" fmla="*/ 433 w 1028"/>
                <a:gd name="T27" fmla="*/ 170 h 1054"/>
                <a:gd name="T28" fmla="*/ 884 w 1028"/>
                <a:gd name="T29" fmla="*/ 463 h 1054"/>
                <a:gd name="T30" fmla="*/ 832 w 1028"/>
                <a:gd name="T31" fmla="*/ 747 h 1054"/>
                <a:gd name="T32" fmla="*/ 902 w 1028"/>
                <a:gd name="T33" fmla="*/ 847 h 1054"/>
                <a:gd name="T34" fmla="*/ 997 w 1028"/>
                <a:gd name="T35" fmla="*/ 439 h 1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28" h="1054">
                  <a:moveTo>
                    <a:pt x="997" y="439"/>
                  </a:moveTo>
                  <a:cubicBezTo>
                    <a:pt x="940" y="171"/>
                    <a:pt x="676" y="0"/>
                    <a:pt x="409" y="57"/>
                  </a:cubicBezTo>
                  <a:cubicBezTo>
                    <a:pt x="280" y="85"/>
                    <a:pt x="169" y="161"/>
                    <a:pt x="97" y="272"/>
                  </a:cubicBezTo>
                  <a:cubicBezTo>
                    <a:pt x="25" y="383"/>
                    <a:pt x="0" y="515"/>
                    <a:pt x="28" y="645"/>
                  </a:cubicBezTo>
                  <a:cubicBezTo>
                    <a:pt x="55" y="774"/>
                    <a:pt x="131" y="885"/>
                    <a:pt x="242" y="957"/>
                  </a:cubicBezTo>
                  <a:cubicBezTo>
                    <a:pt x="353" y="1029"/>
                    <a:pt x="486" y="1054"/>
                    <a:pt x="615" y="1026"/>
                  </a:cubicBezTo>
                  <a:cubicBezTo>
                    <a:pt x="632" y="1023"/>
                    <a:pt x="649" y="1018"/>
                    <a:pt x="666" y="1013"/>
                  </a:cubicBezTo>
                  <a:cubicBezTo>
                    <a:pt x="595" y="912"/>
                    <a:pt x="595" y="912"/>
                    <a:pt x="595" y="912"/>
                  </a:cubicBezTo>
                  <a:cubicBezTo>
                    <a:pt x="594" y="913"/>
                    <a:pt x="593" y="913"/>
                    <a:pt x="591" y="914"/>
                  </a:cubicBezTo>
                  <a:cubicBezTo>
                    <a:pt x="492" y="935"/>
                    <a:pt x="390" y="916"/>
                    <a:pt x="305" y="860"/>
                  </a:cubicBezTo>
                  <a:cubicBezTo>
                    <a:pt x="220" y="805"/>
                    <a:pt x="161" y="720"/>
                    <a:pt x="140" y="621"/>
                  </a:cubicBezTo>
                  <a:cubicBezTo>
                    <a:pt x="119" y="521"/>
                    <a:pt x="138" y="420"/>
                    <a:pt x="193" y="335"/>
                  </a:cubicBezTo>
                  <a:cubicBezTo>
                    <a:pt x="220" y="293"/>
                    <a:pt x="255" y="258"/>
                    <a:pt x="294" y="230"/>
                  </a:cubicBezTo>
                  <a:cubicBezTo>
                    <a:pt x="335" y="201"/>
                    <a:pt x="382" y="181"/>
                    <a:pt x="433" y="170"/>
                  </a:cubicBezTo>
                  <a:cubicBezTo>
                    <a:pt x="638" y="126"/>
                    <a:pt x="840" y="258"/>
                    <a:pt x="884" y="463"/>
                  </a:cubicBezTo>
                  <a:cubicBezTo>
                    <a:pt x="906" y="564"/>
                    <a:pt x="884" y="666"/>
                    <a:pt x="832" y="747"/>
                  </a:cubicBezTo>
                  <a:cubicBezTo>
                    <a:pt x="902" y="847"/>
                    <a:pt x="902" y="847"/>
                    <a:pt x="902" y="847"/>
                  </a:cubicBezTo>
                  <a:cubicBezTo>
                    <a:pt x="989" y="735"/>
                    <a:pt x="1028" y="588"/>
                    <a:pt x="997" y="4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/>
            </a:p>
          </p:txBody>
        </p:sp>
        <p:sp>
          <p:nvSpPr>
            <p:cNvPr id="6" name="Freeform 63">
              <a:extLst>
                <a:ext uri="{FF2B5EF4-FFF2-40B4-BE49-F238E27FC236}">
                  <a16:creationId xmlns:a16="http://schemas.microsoft.com/office/drawing/2014/main" id="{818B9DDC-6935-4C50-8427-C6105A05445E}"/>
                </a:ext>
              </a:extLst>
            </p:cNvPr>
            <p:cNvSpPr/>
            <p:nvPr/>
          </p:nvSpPr>
          <p:spPr bwMode="auto">
            <a:xfrm>
              <a:off x="5296" y="1760"/>
              <a:ext cx="119" cy="141"/>
            </a:xfrm>
            <a:custGeom>
              <a:avLst/>
              <a:gdLst>
                <a:gd name="T0" fmla="*/ 0 w 119"/>
                <a:gd name="T1" fmla="*/ 28 h 141"/>
                <a:gd name="T2" fmla="*/ 79 w 119"/>
                <a:gd name="T3" fmla="*/ 141 h 141"/>
                <a:gd name="T4" fmla="*/ 119 w 119"/>
                <a:gd name="T5" fmla="*/ 112 h 141"/>
                <a:gd name="T6" fmla="*/ 41 w 119"/>
                <a:gd name="T7" fmla="*/ 0 h 141"/>
                <a:gd name="T8" fmla="*/ 0 w 119"/>
                <a:gd name="T9" fmla="*/ 28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141">
                  <a:moveTo>
                    <a:pt x="0" y="28"/>
                  </a:moveTo>
                  <a:lnTo>
                    <a:pt x="79" y="141"/>
                  </a:lnTo>
                  <a:lnTo>
                    <a:pt x="119" y="112"/>
                  </a:lnTo>
                  <a:lnTo>
                    <a:pt x="41" y="0"/>
                  </a:lnTo>
                  <a:lnTo>
                    <a:pt x="0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/>
            </a:p>
          </p:txBody>
        </p:sp>
        <p:sp>
          <p:nvSpPr>
            <p:cNvPr id="7" name="Freeform 64">
              <a:extLst>
                <a:ext uri="{FF2B5EF4-FFF2-40B4-BE49-F238E27FC236}">
                  <a16:creationId xmlns:a16="http://schemas.microsoft.com/office/drawing/2014/main" id="{FE6B4AF5-FABC-4346-9C35-86E7CE8EBBFA}"/>
                </a:ext>
              </a:extLst>
            </p:cNvPr>
            <p:cNvSpPr/>
            <p:nvPr/>
          </p:nvSpPr>
          <p:spPr bwMode="auto">
            <a:xfrm>
              <a:off x="5640" y="1464"/>
              <a:ext cx="430" cy="440"/>
            </a:xfrm>
            <a:custGeom>
              <a:avLst/>
              <a:gdLst>
                <a:gd name="T0" fmla="*/ 860 w 983"/>
                <a:gd name="T1" fmla="*/ 655 h 1004"/>
                <a:gd name="T2" fmla="*/ 859 w 983"/>
                <a:gd name="T3" fmla="*/ 657 h 1004"/>
                <a:gd name="T4" fmla="*/ 651 w 983"/>
                <a:gd name="T5" fmla="*/ 861 h 1004"/>
                <a:gd name="T6" fmla="*/ 360 w 983"/>
                <a:gd name="T7" fmla="*/ 859 h 1004"/>
                <a:gd name="T8" fmla="*/ 157 w 983"/>
                <a:gd name="T9" fmla="*/ 651 h 1004"/>
                <a:gd name="T10" fmla="*/ 159 w 983"/>
                <a:gd name="T11" fmla="*/ 360 h 1004"/>
                <a:gd name="T12" fmla="*/ 367 w 983"/>
                <a:gd name="T13" fmla="*/ 156 h 1004"/>
                <a:gd name="T14" fmla="*/ 509 w 983"/>
                <a:gd name="T15" fmla="*/ 128 h 1004"/>
                <a:gd name="T16" fmla="*/ 657 w 983"/>
                <a:gd name="T17" fmla="*/ 159 h 1004"/>
                <a:gd name="T18" fmla="*/ 860 w 983"/>
                <a:gd name="T19" fmla="*/ 364 h 1004"/>
                <a:gd name="T20" fmla="*/ 983 w 983"/>
                <a:gd name="T21" fmla="*/ 364 h 1004"/>
                <a:gd name="T22" fmla="*/ 968 w 983"/>
                <a:gd name="T23" fmla="*/ 323 h 1004"/>
                <a:gd name="T24" fmla="*/ 703 w 983"/>
                <a:gd name="T25" fmla="*/ 53 h 1004"/>
                <a:gd name="T26" fmla="*/ 323 w 983"/>
                <a:gd name="T27" fmla="*/ 49 h 1004"/>
                <a:gd name="T28" fmla="*/ 53 w 983"/>
                <a:gd name="T29" fmla="*/ 315 h 1004"/>
                <a:gd name="T30" fmla="*/ 50 w 983"/>
                <a:gd name="T31" fmla="*/ 694 h 1004"/>
                <a:gd name="T32" fmla="*/ 315 w 983"/>
                <a:gd name="T33" fmla="*/ 965 h 1004"/>
                <a:gd name="T34" fmla="*/ 509 w 983"/>
                <a:gd name="T35" fmla="*/ 1004 h 1004"/>
                <a:gd name="T36" fmla="*/ 695 w 983"/>
                <a:gd name="T37" fmla="*/ 968 h 1004"/>
                <a:gd name="T38" fmla="*/ 965 w 983"/>
                <a:gd name="T39" fmla="*/ 702 h 1004"/>
                <a:gd name="T40" fmla="*/ 982 w 983"/>
                <a:gd name="T41" fmla="*/ 655 h 1004"/>
                <a:gd name="T42" fmla="*/ 860 w 983"/>
                <a:gd name="T43" fmla="*/ 65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83" h="1004">
                  <a:moveTo>
                    <a:pt x="860" y="655"/>
                  </a:moveTo>
                  <a:cubicBezTo>
                    <a:pt x="860" y="656"/>
                    <a:pt x="859" y="656"/>
                    <a:pt x="859" y="657"/>
                  </a:cubicBezTo>
                  <a:cubicBezTo>
                    <a:pt x="819" y="751"/>
                    <a:pt x="745" y="823"/>
                    <a:pt x="651" y="861"/>
                  </a:cubicBezTo>
                  <a:cubicBezTo>
                    <a:pt x="557" y="899"/>
                    <a:pt x="454" y="898"/>
                    <a:pt x="360" y="859"/>
                  </a:cubicBezTo>
                  <a:cubicBezTo>
                    <a:pt x="267" y="819"/>
                    <a:pt x="195" y="745"/>
                    <a:pt x="157" y="651"/>
                  </a:cubicBezTo>
                  <a:cubicBezTo>
                    <a:pt x="118" y="557"/>
                    <a:pt x="119" y="454"/>
                    <a:pt x="159" y="360"/>
                  </a:cubicBezTo>
                  <a:cubicBezTo>
                    <a:pt x="199" y="267"/>
                    <a:pt x="272" y="194"/>
                    <a:pt x="367" y="156"/>
                  </a:cubicBezTo>
                  <a:cubicBezTo>
                    <a:pt x="413" y="138"/>
                    <a:pt x="461" y="128"/>
                    <a:pt x="509" y="128"/>
                  </a:cubicBezTo>
                  <a:cubicBezTo>
                    <a:pt x="559" y="128"/>
                    <a:pt x="610" y="139"/>
                    <a:pt x="657" y="159"/>
                  </a:cubicBezTo>
                  <a:cubicBezTo>
                    <a:pt x="750" y="198"/>
                    <a:pt x="822" y="271"/>
                    <a:pt x="860" y="364"/>
                  </a:cubicBezTo>
                  <a:cubicBezTo>
                    <a:pt x="983" y="364"/>
                    <a:pt x="983" y="364"/>
                    <a:pt x="983" y="364"/>
                  </a:cubicBezTo>
                  <a:cubicBezTo>
                    <a:pt x="978" y="350"/>
                    <a:pt x="974" y="337"/>
                    <a:pt x="968" y="323"/>
                  </a:cubicBezTo>
                  <a:cubicBezTo>
                    <a:pt x="919" y="200"/>
                    <a:pt x="824" y="104"/>
                    <a:pt x="703" y="53"/>
                  </a:cubicBezTo>
                  <a:cubicBezTo>
                    <a:pt x="581" y="1"/>
                    <a:pt x="446" y="0"/>
                    <a:pt x="323" y="49"/>
                  </a:cubicBezTo>
                  <a:cubicBezTo>
                    <a:pt x="201" y="99"/>
                    <a:pt x="105" y="193"/>
                    <a:pt x="53" y="315"/>
                  </a:cubicBezTo>
                  <a:cubicBezTo>
                    <a:pt x="1" y="437"/>
                    <a:pt x="0" y="572"/>
                    <a:pt x="50" y="694"/>
                  </a:cubicBezTo>
                  <a:cubicBezTo>
                    <a:pt x="99" y="817"/>
                    <a:pt x="194" y="913"/>
                    <a:pt x="315" y="965"/>
                  </a:cubicBezTo>
                  <a:cubicBezTo>
                    <a:pt x="378" y="991"/>
                    <a:pt x="443" y="1004"/>
                    <a:pt x="509" y="1004"/>
                  </a:cubicBezTo>
                  <a:cubicBezTo>
                    <a:pt x="572" y="1004"/>
                    <a:pt x="635" y="992"/>
                    <a:pt x="695" y="968"/>
                  </a:cubicBezTo>
                  <a:cubicBezTo>
                    <a:pt x="817" y="919"/>
                    <a:pt x="913" y="824"/>
                    <a:pt x="965" y="702"/>
                  </a:cubicBezTo>
                  <a:cubicBezTo>
                    <a:pt x="972" y="687"/>
                    <a:pt x="977" y="671"/>
                    <a:pt x="982" y="655"/>
                  </a:cubicBezTo>
                  <a:lnTo>
                    <a:pt x="860" y="6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 dirty="0"/>
            </a:p>
          </p:txBody>
        </p:sp>
        <p:sp>
          <p:nvSpPr>
            <p:cNvPr id="8" name="Freeform 65">
              <a:extLst>
                <a:ext uri="{FF2B5EF4-FFF2-40B4-BE49-F238E27FC236}">
                  <a16:creationId xmlns:a16="http://schemas.microsoft.com/office/drawing/2014/main" id="{6A5E7B85-A2C4-49A5-98BF-423994433403}"/>
                </a:ext>
              </a:extLst>
            </p:cNvPr>
            <p:cNvSpPr/>
            <p:nvPr/>
          </p:nvSpPr>
          <p:spPr bwMode="auto">
            <a:xfrm>
              <a:off x="5507" y="1470"/>
              <a:ext cx="104" cy="435"/>
            </a:xfrm>
            <a:custGeom>
              <a:avLst/>
              <a:gdLst>
                <a:gd name="T0" fmla="*/ 0 w 104"/>
                <a:gd name="T1" fmla="*/ 35 h 435"/>
                <a:gd name="T2" fmla="*/ 0 w 104"/>
                <a:gd name="T3" fmla="*/ 0 h 435"/>
                <a:gd name="T4" fmla="*/ 0 w 104"/>
                <a:gd name="T5" fmla="*/ 0 h 435"/>
                <a:gd name="T6" fmla="*/ 27 w 104"/>
                <a:gd name="T7" fmla="*/ 0 h 435"/>
                <a:gd name="T8" fmla="*/ 27 w 104"/>
                <a:gd name="T9" fmla="*/ 0 h 435"/>
                <a:gd name="T10" fmla="*/ 77 w 104"/>
                <a:gd name="T11" fmla="*/ 0 h 435"/>
                <a:gd name="T12" fmla="*/ 77 w 104"/>
                <a:gd name="T13" fmla="*/ 0 h 435"/>
                <a:gd name="T14" fmla="*/ 104 w 104"/>
                <a:gd name="T15" fmla="*/ 0 h 435"/>
                <a:gd name="T16" fmla="*/ 104 w 104"/>
                <a:gd name="T17" fmla="*/ 29 h 435"/>
                <a:gd name="T18" fmla="*/ 104 w 104"/>
                <a:gd name="T19" fmla="*/ 35 h 435"/>
                <a:gd name="T20" fmla="*/ 77 w 104"/>
                <a:gd name="T21" fmla="*/ 35 h 435"/>
                <a:gd name="T22" fmla="*/ 77 w 104"/>
                <a:gd name="T23" fmla="*/ 400 h 435"/>
                <a:gd name="T24" fmla="*/ 104 w 104"/>
                <a:gd name="T25" fmla="*/ 400 h 435"/>
                <a:gd name="T26" fmla="*/ 104 w 104"/>
                <a:gd name="T27" fmla="*/ 406 h 435"/>
                <a:gd name="T28" fmla="*/ 104 w 104"/>
                <a:gd name="T29" fmla="*/ 434 h 435"/>
                <a:gd name="T30" fmla="*/ 104 w 104"/>
                <a:gd name="T31" fmla="*/ 435 h 435"/>
                <a:gd name="T32" fmla="*/ 77 w 104"/>
                <a:gd name="T33" fmla="*/ 435 h 435"/>
                <a:gd name="T34" fmla="*/ 27 w 104"/>
                <a:gd name="T35" fmla="*/ 435 h 435"/>
                <a:gd name="T36" fmla="*/ 0 w 104"/>
                <a:gd name="T37" fmla="*/ 435 h 435"/>
                <a:gd name="T38" fmla="*/ 0 w 104"/>
                <a:gd name="T39" fmla="*/ 434 h 435"/>
                <a:gd name="T40" fmla="*/ 0 w 104"/>
                <a:gd name="T41" fmla="*/ 406 h 435"/>
                <a:gd name="T42" fmla="*/ 0 w 104"/>
                <a:gd name="T43" fmla="*/ 400 h 435"/>
                <a:gd name="T44" fmla="*/ 27 w 104"/>
                <a:gd name="T45" fmla="*/ 400 h 435"/>
                <a:gd name="T46" fmla="*/ 27 w 104"/>
                <a:gd name="T47" fmla="*/ 35 h 435"/>
                <a:gd name="T48" fmla="*/ 0 w 104"/>
                <a:gd name="T49" fmla="*/ 35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4" h="435">
                  <a:moveTo>
                    <a:pt x="0" y="35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104" y="0"/>
                  </a:lnTo>
                  <a:lnTo>
                    <a:pt x="104" y="29"/>
                  </a:lnTo>
                  <a:lnTo>
                    <a:pt x="104" y="35"/>
                  </a:lnTo>
                  <a:lnTo>
                    <a:pt x="77" y="35"/>
                  </a:lnTo>
                  <a:lnTo>
                    <a:pt x="77" y="400"/>
                  </a:lnTo>
                  <a:lnTo>
                    <a:pt x="104" y="400"/>
                  </a:lnTo>
                  <a:lnTo>
                    <a:pt x="104" y="406"/>
                  </a:lnTo>
                  <a:lnTo>
                    <a:pt x="104" y="434"/>
                  </a:lnTo>
                  <a:lnTo>
                    <a:pt x="104" y="435"/>
                  </a:lnTo>
                  <a:lnTo>
                    <a:pt x="77" y="435"/>
                  </a:lnTo>
                  <a:lnTo>
                    <a:pt x="27" y="435"/>
                  </a:lnTo>
                  <a:lnTo>
                    <a:pt x="0" y="435"/>
                  </a:lnTo>
                  <a:lnTo>
                    <a:pt x="0" y="434"/>
                  </a:lnTo>
                  <a:lnTo>
                    <a:pt x="0" y="406"/>
                  </a:lnTo>
                  <a:lnTo>
                    <a:pt x="0" y="400"/>
                  </a:lnTo>
                  <a:lnTo>
                    <a:pt x="27" y="400"/>
                  </a:lnTo>
                  <a:lnTo>
                    <a:pt x="27" y="35"/>
                  </a:lnTo>
                  <a:lnTo>
                    <a:pt x="0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/>
            </a:p>
          </p:txBody>
        </p:sp>
        <p:sp>
          <p:nvSpPr>
            <p:cNvPr id="9" name="Freeform 66">
              <a:extLst>
                <a:ext uri="{FF2B5EF4-FFF2-40B4-BE49-F238E27FC236}">
                  <a16:creationId xmlns:a16="http://schemas.microsoft.com/office/drawing/2014/main" id="{AE16E130-C7FD-493C-AC08-8072D9149063}"/>
                </a:ext>
              </a:extLst>
            </p:cNvPr>
            <p:cNvSpPr/>
            <p:nvPr/>
          </p:nvSpPr>
          <p:spPr bwMode="auto">
            <a:xfrm>
              <a:off x="4463" y="1708"/>
              <a:ext cx="321" cy="298"/>
            </a:xfrm>
            <a:custGeom>
              <a:avLst/>
              <a:gdLst>
                <a:gd name="T0" fmla="*/ 581 w 734"/>
                <a:gd name="T1" fmla="*/ 102 h 679"/>
                <a:gd name="T2" fmla="*/ 611 w 734"/>
                <a:gd name="T3" fmla="*/ 255 h 679"/>
                <a:gd name="T4" fmla="*/ 583 w 734"/>
                <a:gd name="T5" fmla="*/ 382 h 679"/>
                <a:gd name="T6" fmla="*/ 506 w 734"/>
                <a:gd name="T7" fmla="*/ 479 h 679"/>
                <a:gd name="T8" fmla="*/ 352 w 734"/>
                <a:gd name="T9" fmla="*/ 550 h 679"/>
                <a:gd name="T10" fmla="*/ 199 w 734"/>
                <a:gd name="T11" fmla="*/ 485 h 679"/>
                <a:gd name="T12" fmla="*/ 89 w 734"/>
                <a:gd name="T13" fmla="*/ 379 h 679"/>
                <a:gd name="T14" fmla="*/ 47 w 734"/>
                <a:gd name="T15" fmla="*/ 382 h 679"/>
                <a:gd name="T16" fmla="*/ 0 w 734"/>
                <a:gd name="T17" fmla="*/ 383 h 679"/>
                <a:gd name="T18" fmla="*/ 35 w 734"/>
                <a:gd name="T19" fmla="*/ 465 h 679"/>
                <a:gd name="T20" fmla="*/ 144 w 734"/>
                <a:gd name="T21" fmla="*/ 584 h 679"/>
                <a:gd name="T22" fmla="*/ 333 w 734"/>
                <a:gd name="T23" fmla="*/ 673 h 679"/>
                <a:gd name="T24" fmla="*/ 353 w 734"/>
                <a:gd name="T25" fmla="*/ 679 h 679"/>
                <a:gd name="T26" fmla="*/ 373 w 734"/>
                <a:gd name="T27" fmla="*/ 673 h 679"/>
                <a:gd name="T28" fmla="*/ 579 w 734"/>
                <a:gd name="T29" fmla="*/ 576 h 679"/>
                <a:gd name="T30" fmla="*/ 688 w 734"/>
                <a:gd name="T31" fmla="*/ 447 h 679"/>
                <a:gd name="T32" fmla="*/ 732 w 734"/>
                <a:gd name="T33" fmla="*/ 255 h 679"/>
                <a:gd name="T34" fmla="*/ 668 w 734"/>
                <a:gd name="T35" fmla="*/ 0 h 679"/>
                <a:gd name="T36" fmla="*/ 581 w 734"/>
                <a:gd name="T37" fmla="*/ 102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4" h="679">
                  <a:moveTo>
                    <a:pt x="581" y="102"/>
                  </a:moveTo>
                  <a:cubicBezTo>
                    <a:pt x="600" y="152"/>
                    <a:pt x="611" y="216"/>
                    <a:pt x="611" y="255"/>
                  </a:cubicBezTo>
                  <a:cubicBezTo>
                    <a:pt x="610" y="290"/>
                    <a:pt x="602" y="345"/>
                    <a:pt x="583" y="382"/>
                  </a:cubicBezTo>
                  <a:cubicBezTo>
                    <a:pt x="566" y="416"/>
                    <a:pt x="532" y="461"/>
                    <a:pt x="506" y="479"/>
                  </a:cubicBezTo>
                  <a:cubicBezTo>
                    <a:pt x="449" y="518"/>
                    <a:pt x="404" y="531"/>
                    <a:pt x="352" y="550"/>
                  </a:cubicBezTo>
                  <a:cubicBezTo>
                    <a:pt x="303" y="532"/>
                    <a:pt x="249" y="518"/>
                    <a:pt x="199" y="485"/>
                  </a:cubicBezTo>
                  <a:cubicBezTo>
                    <a:pt x="140" y="446"/>
                    <a:pt x="104" y="402"/>
                    <a:pt x="89" y="379"/>
                  </a:cubicBezTo>
                  <a:cubicBezTo>
                    <a:pt x="85" y="379"/>
                    <a:pt x="57" y="382"/>
                    <a:pt x="47" y="382"/>
                  </a:cubicBezTo>
                  <a:cubicBezTo>
                    <a:pt x="36" y="383"/>
                    <a:pt x="0" y="383"/>
                    <a:pt x="0" y="383"/>
                  </a:cubicBezTo>
                  <a:cubicBezTo>
                    <a:pt x="7" y="408"/>
                    <a:pt x="23" y="445"/>
                    <a:pt x="35" y="465"/>
                  </a:cubicBezTo>
                  <a:cubicBezTo>
                    <a:pt x="61" y="509"/>
                    <a:pt x="96" y="549"/>
                    <a:pt x="144" y="584"/>
                  </a:cubicBezTo>
                  <a:cubicBezTo>
                    <a:pt x="200" y="624"/>
                    <a:pt x="318" y="668"/>
                    <a:pt x="333" y="673"/>
                  </a:cubicBezTo>
                  <a:cubicBezTo>
                    <a:pt x="353" y="679"/>
                    <a:pt x="353" y="679"/>
                    <a:pt x="353" y="679"/>
                  </a:cubicBezTo>
                  <a:cubicBezTo>
                    <a:pt x="373" y="673"/>
                    <a:pt x="373" y="673"/>
                    <a:pt x="373" y="673"/>
                  </a:cubicBezTo>
                  <a:cubicBezTo>
                    <a:pt x="388" y="667"/>
                    <a:pt x="520" y="620"/>
                    <a:pt x="579" y="576"/>
                  </a:cubicBezTo>
                  <a:cubicBezTo>
                    <a:pt x="625" y="542"/>
                    <a:pt x="670" y="485"/>
                    <a:pt x="688" y="447"/>
                  </a:cubicBezTo>
                  <a:cubicBezTo>
                    <a:pt x="710" y="403"/>
                    <a:pt x="729" y="345"/>
                    <a:pt x="732" y="255"/>
                  </a:cubicBezTo>
                  <a:cubicBezTo>
                    <a:pt x="734" y="190"/>
                    <a:pt x="708" y="82"/>
                    <a:pt x="668" y="0"/>
                  </a:cubicBezTo>
                  <a:cubicBezTo>
                    <a:pt x="642" y="36"/>
                    <a:pt x="599" y="82"/>
                    <a:pt x="581" y="1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/>
            </a:p>
          </p:txBody>
        </p:sp>
        <p:sp>
          <p:nvSpPr>
            <p:cNvPr id="10" name="Freeform 67">
              <a:extLst>
                <a:ext uri="{FF2B5EF4-FFF2-40B4-BE49-F238E27FC236}">
                  <a16:creationId xmlns:a16="http://schemas.microsoft.com/office/drawing/2014/main" id="{E205C89E-77E9-487E-8F1E-81C19785EEF5}"/>
                </a:ext>
              </a:extLst>
            </p:cNvPr>
            <p:cNvSpPr/>
            <p:nvPr/>
          </p:nvSpPr>
          <p:spPr bwMode="auto">
            <a:xfrm>
              <a:off x="4463" y="1608"/>
              <a:ext cx="137" cy="172"/>
            </a:xfrm>
            <a:custGeom>
              <a:avLst/>
              <a:gdLst>
                <a:gd name="T0" fmla="*/ 0 w 315"/>
                <a:gd name="T1" fmla="*/ 387 h 392"/>
                <a:gd name="T2" fmla="*/ 35 w 315"/>
                <a:gd name="T3" fmla="*/ 391 h 392"/>
                <a:gd name="T4" fmla="*/ 83 w 315"/>
                <a:gd name="T5" fmla="*/ 390 h 392"/>
                <a:gd name="T6" fmla="*/ 213 w 315"/>
                <a:gd name="T7" fmla="*/ 177 h 392"/>
                <a:gd name="T8" fmla="*/ 315 w 315"/>
                <a:gd name="T9" fmla="*/ 68 h 392"/>
                <a:gd name="T10" fmla="*/ 287 w 315"/>
                <a:gd name="T11" fmla="*/ 46 h 392"/>
                <a:gd name="T12" fmla="*/ 210 w 315"/>
                <a:gd name="T13" fmla="*/ 0 h 392"/>
                <a:gd name="T14" fmla="*/ 93 w 315"/>
                <a:gd name="T15" fmla="*/ 140 h 392"/>
                <a:gd name="T16" fmla="*/ 0 w 315"/>
                <a:gd name="T17" fmla="*/ 387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5" h="392">
                  <a:moveTo>
                    <a:pt x="0" y="387"/>
                  </a:moveTo>
                  <a:cubicBezTo>
                    <a:pt x="10" y="388"/>
                    <a:pt x="26" y="391"/>
                    <a:pt x="35" y="391"/>
                  </a:cubicBezTo>
                  <a:cubicBezTo>
                    <a:pt x="47" y="392"/>
                    <a:pt x="67" y="392"/>
                    <a:pt x="83" y="390"/>
                  </a:cubicBezTo>
                  <a:cubicBezTo>
                    <a:pt x="118" y="303"/>
                    <a:pt x="173" y="230"/>
                    <a:pt x="213" y="177"/>
                  </a:cubicBezTo>
                  <a:cubicBezTo>
                    <a:pt x="236" y="147"/>
                    <a:pt x="280" y="98"/>
                    <a:pt x="315" y="68"/>
                  </a:cubicBezTo>
                  <a:cubicBezTo>
                    <a:pt x="305" y="60"/>
                    <a:pt x="295" y="52"/>
                    <a:pt x="287" y="46"/>
                  </a:cubicBezTo>
                  <a:cubicBezTo>
                    <a:pt x="249" y="20"/>
                    <a:pt x="220" y="5"/>
                    <a:pt x="210" y="0"/>
                  </a:cubicBezTo>
                  <a:cubicBezTo>
                    <a:pt x="164" y="41"/>
                    <a:pt x="116" y="101"/>
                    <a:pt x="93" y="140"/>
                  </a:cubicBezTo>
                  <a:cubicBezTo>
                    <a:pt x="35" y="238"/>
                    <a:pt x="11" y="317"/>
                    <a:pt x="0" y="3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/>
            </a:p>
          </p:txBody>
        </p:sp>
        <p:sp>
          <p:nvSpPr>
            <p:cNvPr id="11" name="Freeform 68">
              <a:extLst>
                <a:ext uri="{FF2B5EF4-FFF2-40B4-BE49-F238E27FC236}">
                  <a16:creationId xmlns:a16="http://schemas.microsoft.com/office/drawing/2014/main" id="{E42C1470-30F4-4AD7-8D13-A35BD28AAC8D}"/>
                </a:ext>
              </a:extLst>
            </p:cNvPr>
            <p:cNvSpPr/>
            <p:nvPr/>
          </p:nvSpPr>
          <p:spPr bwMode="auto">
            <a:xfrm>
              <a:off x="4524" y="1532"/>
              <a:ext cx="172" cy="138"/>
            </a:xfrm>
            <a:custGeom>
              <a:avLst/>
              <a:gdLst>
                <a:gd name="T0" fmla="*/ 252 w 392"/>
                <a:gd name="T1" fmla="*/ 92 h 314"/>
                <a:gd name="T2" fmla="*/ 5 w 392"/>
                <a:gd name="T3" fmla="*/ 0 h 314"/>
                <a:gd name="T4" fmla="*/ 1 w 392"/>
                <a:gd name="T5" fmla="*/ 34 h 314"/>
                <a:gd name="T6" fmla="*/ 2 w 392"/>
                <a:gd name="T7" fmla="*/ 83 h 314"/>
                <a:gd name="T8" fmla="*/ 215 w 392"/>
                <a:gd name="T9" fmla="*/ 213 h 314"/>
                <a:gd name="T10" fmla="*/ 324 w 392"/>
                <a:gd name="T11" fmla="*/ 314 h 314"/>
                <a:gd name="T12" fmla="*/ 346 w 392"/>
                <a:gd name="T13" fmla="*/ 286 h 314"/>
                <a:gd name="T14" fmla="*/ 392 w 392"/>
                <a:gd name="T15" fmla="*/ 209 h 314"/>
                <a:gd name="T16" fmla="*/ 252 w 392"/>
                <a:gd name="T17" fmla="*/ 92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2" h="314">
                  <a:moveTo>
                    <a:pt x="252" y="92"/>
                  </a:moveTo>
                  <a:cubicBezTo>
                    <a:pt x="154" y="35"/>
                    <a:pt x="75" y="11"/>
                    <a:pt x="5" y="0"/>
                  </a:cubicBezTo>
                  <a:cubicBezTo>
                    <a:pt x="4" y="10"/>
                    <a:pt x="1" y="26"/>
                    <a:pt x="1" y="34"/>
                  </a:cubicBezTo>
                  <a:cubicBezTo>
                    <a:pt x="0" y="47"/>
                    <a:pt x="0" y="67"/>
                    <a:pt x="2" y="83"/>
                  </a:cubicBezTo>
                  <a:cubicBezTo>
                    <a:pt x="89" y="117"/>
                    <a:pt x="162" y="173"/>
                    <a:pt x="215" y="213"/>
                  </a:cubicBezTo>
                  <a:cubicBezTo>
                    <a:pt x="245" y="236"/>
                    <a:pt x="294" y="280"/>
                    <a:pt x="324" y="314"/>
                  </a:cubicBezTo>
                  <a:cubicBezTo>
                    <a:pt x="332" y="305"/>
                    <a:pt x="340" y="295"/>
                    <a:pt x="346" y="286"/>
                  </a:cubicBezTo>
                  <a:cubicBezTo>
                    <a:pt x="372" y="249"/>
                    <a:pt x="387" y="219"/>
                    <a:pt x="392" y="209"/>
                  </a:cubicBezTo>
                  <a:cubicBezTo>
                    <a:pt x="351" y="164"/>
                    <a:pt x="291" y="115"/>
                    <a:pt x="252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/>
            </a:p>
          </p:txBody>
        </p:sp>
        <p:sp>
          <p:nvSpPr>
            <p:cNvPr id="12" name="Freeform 69">
              <a:extLst>
                <a:ext uri="{FF2B5EF4-FFF2-40B4-BE49-F238E27FC236}">
                  <a16:creationId xmlns:a16="http://schemas.microsoft.com/office/drawing/2014/main" id="{50AAC761-21B8-4321-9D95-C44952D0A7A0}"/>
                </a:ext>
              </a:extLst>
            </p:cNvPr>
            <p:cNvSpPr/>
            <p:nvPr/>
          </p:nvSpPr>
          <p:spPr bwMode="auto">
            <a:xfrm>
              <a:off x="4299" y="1533"/>
              <a:ext cx="297" cy="322"/>
            </a:xfrm>
            <a:custGeom>
              <a:avLst/>
              <a:gdLst>
                <a:gd name="T0" fmla="*/ 577 w 679"/>
                <a:gd name="T1" fmla="*/ 581 h 734"/>
                <a:gd name="T2" fmla="*/ 424 w 679"/>
                <a:gd name="T3" fmla="*/ 610 h 734"/>
                <a:gd name="T4" fmla="*/ 297 w 679"/>
                <a:gd name="T5" fmla="*/ 583 h 734"/>
                <a:gd name="T6" fmla="*/ 200 w 679"/>
                <a:gd name="T7" fmla="*/ 506 h 734"/>
                <a:gd name="T8" fmla="*/ 129 w 679"/>
                <a:gd name="T9" fmla="*/ 352 h 734"/>
                <a:gd name="T10" fmla="*/ 194 w 679"/>
                <a:gd name="T11" fmla="*/ 198 h 734"/>
                <a:gd name="T12" fmla="*/ 300 w 679"/>
                <a:gd name="T13" fmla="*/ 89 h 734"/>
                <a:gd name="T14" fmla="*/ 297 w 679"/>
                <a:gd name="T15" fmla="*/ 46 h 734"/>
                <a:gd name="T16" fmla="*/ 296 w 679"/>
                <a:gd name="T17" fmla="*/ 0 h 734"/>
                <a:gd name="T18" fmla="*/ 214 w 679"/>
                <a:gd name="T19" fmla="*/ 35 h 734"/>
                <a:gd name="T20" fmla="*/ 95 w 679"/>
                <a:gd name="T21" fmla="*/ 144 h 734"/>
                <a:gd name="T22" fmla="*/ 6 w 679"/>
                <a:gd name="T23" fmla="*/ 332 h 734"/>
                <a:gd name="T24" fmla="*/ 0 w 679"/>
                <a:gd name="T25" fmla="*/ 352 h 734"/>
                <a:gd name="T26" fmla="*/ 6 w 679"/>
                <a:gd name="T27" fmla="*/ 372 h 734"/>
                <a:gd name="T28" fmla="*/ 103 w 679"/>
                <a:gd name="T29" fmla="*/ 579 h 734"/>
                <a:gd name="T30" fmla="*/ 232 w 679"/>
                <a:gd name="T31" fmla="*/ 688 h 734"/>
                <a:gd name="T32" fmla="*/ 424 w 679"/>
                <a:gd name="T33" fmla="*/ 732 h 734"/>
                <a:gd name="T34" fmla="*/ 679 w 679"/>
                <a:gd name="T35" fmla="*/ 668 h 734"/>
                <a:gd name="T36" fmla="*/ 577 w 679"/>
                <a:gd name="T37" fmla="*/ 581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9" h="734">
                  <a:moveTo>
                    <a:pt x="577" y="581"/>
                  </a:moveTo>
                  <a:cubicBezTo>
                    <a:pt x="527" y="600"/>
                    <a:pt x="463" y="611"/>
                    <a:pt x="424" y="610"/>
                  </a:cubicBezTo>
                  <a:cubicBezTo>
                    <a:pt x="389" y="610"/>
                    <a:pt x="334" y="602"/>
                    <a:pt x="297" y="583"/>
                  </a:cubicBezTo>
                  <a:cubicBezTo>
                    <a:pt x="263" y="565"/>
                    <a:pt x="218" y="531"/>
                    <a:pt x="200" y="506"/>
                  </a:cubicBezTo>
                  <a:cubicBezTo>
                    <a:pt x="161" y="449"/>
                    <a:pt x="148" y="403"/>
                    <a:pt x="129" y="352"/>
                  </a:cubicBezTo>
                  <a:cubicBezTo>
                    <a:pt x="147" y="303"/>
                    <a:pt x="161" y="249"/>
                    <a:pt x="194" y="198"/>
                  </a:cubicBezTo>
                  <a:cubicBezTo>
                    <a:pt x="233" y="140"/>
                    <a:pt x="277" y="104"/>
                    <a:pt x="300" y="89"/>
                  </a:cubicBezTo>
                  <a:cubicBezTo>
                    <a:pt x="300" y="85"/>
                    <a:pt x="297" y="57"/>
                    <a:pt x="297" y="46"/>
                  </a:cubicBezTo>
                  <a:cubicBezTo>
                    <a:pt x="296" y="35"/>
                    <a:pt x="296" y="0"/>
                    <a:pt x="296" y="0"/>
                  </a:cubicBezTo>
                  <a:cubicBezTo>
                    <a:pt x="271" y="7"/>
                    <a:pt x="234" y="23"/>
                    <a:pt x="214" y="35"/>
                  </a:cubicBezTo>
                  <a:cubicBezTo>
                    <a:pt x="170" y="60"/>
                    <a:pt x="130" y="96"/>
                    <a:pt x="95" y="144"/>
                  </a:cubicBezTo>
                  <a:cubicBezTo>
                    <a:pt x="55" y="200"/>
                    <a:pt x="11" y="318"/>
                    <a:pt x="6" y="332"/>
                  </a:cubicBezTo>
                  <a:cubicBezTo>
                    <a:pt x="0" y="352"/>
                    <a:pt x="0" y="352"/>
                    <a:pt x="0" y="352"/>
                  </a:cubicBezTo>
                  <a:cubicBezTo>
                    <a:pt x="6" y="372"/>
                    <a:pt x="6" y="372"/>
                    <a:pt x="6" y="372"/>
                  </a:cubicBezTo>
                  <a:cubicBezTo>
                    <a:pt x="12" y="387"/>
                    <a:pt x="59" y="520"/>
                    <a:pt x="103" y="579"/>
                  </a:cubicBezTo>
                  <a:cubicBezTo>
                    <a:pt x="137" y="624"/>
                    <a:pt x="194" y="669"/>
                    <a:pt x="232" y="688"/>
                  </a:cubicBezTo>
                  <a:cubicBezTo>
                    <a:pt x="276" y="710"/>
                    <a:pt x="334" y="729"/>
                    <a:pt x="424" y="732"/>
                  </a:cubicBezTo>
                  <a:cubicBezTo>
                    <a:pt x="489" y="734"/>
                    <a:pt x="597" y="708"/>
                    <a:pt x="679" y="668"/>
                  </a:cubicBezTo>
                  <a:cubicBezTo>
                    <a:pt x="643" y="642"/>
                    <a:pt x="597" y="599"/>
                    <a:pt x="577" y="5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/>
            </a:p>
          </p:txBody>
        </p:sp>
        <p:sp>
          <p:nvSpPr>
            <p:cNvPr id="13" name="Freeform 70">
              <a:extLst>
                <a:ext uri="{FF2B5EF4-FFF2-40B4-BE49-F238E27FC236}">
                  <a16:creationId xmlns:a16="http://schemas.microsoft.com/office/drawing/2014/main" id="{A13E057F-CEDE-46C8-AA3E-0F0094850BED}"/>
                </a:ext>
              </a:extLst>
            </p:cNvPr>
            <p:cNvSpPr/>
            <p:nvPr/>
          </p:nvSpPr>
          <p:spPr bwMode="auto">
            <a:xfrm>
              <a:off x="4524" y="1532"/>
              <a:ext cx="172" cy="138"/>
            </a:xfrm>
            <a:custGeom>
              <a:avLst/>
              <a:gdLst>
                <a:gd name="T0" fmla="*/ 5 w 392"/>
                <a:gd name="T1" fmla="*/ 0 h 314"/>
                <a:gd name="T2" fmla="*/ 1 w 392"/>
                <a:gd name="T3" fmla="*/ 34 h 314"/>
                <a:gd name="T4" fmla="*/ 2 w 392"/>
                <a:gd name="T5" fmla="*/ 83 h 314"/>
                <a:gd name="T6" fmla="*/ 215 w 392"/>
                <a:gd name="T7" fmla="*/ 213 h 314"/>
                <a:gd name="T8" fmla="*/ 324 w 392"/>
                <a:gd name="T9" fmla="*/ 314 h 314"/>
                <a:gd name="T10" fmla="*/ 346 w 392"/>
                <a:gd name="T11" fmla="*/ 286 h 314"/>
                <a:gd name="T12" fmla="*/ 392 w 392"/>
                <a:gd name="T13" fmla="*/ 209 h 314"/>
                <a:gd name="T14" fmla="*/ 252 w 392"/>
                <a:gd name="T15" fmla="*/ 92 h 314"/>
                <a:gd name="T16" fmla="*/ 5 w 392"/>
                <a:gd name="T17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2" h="314">
                  <a:moveTo>
                    <a:pt x="5" y="0"/>
                  </a:moveTo>
                  <a:cubicBezTo>
                    <a:pt x="4" y="10"/>
                    <a:pt x="1" y="26"/>
                    <a:pt x="1" y="34"/>
                  </a:cubicBezTo>
                  <a:cubicBezTo>
                    <a:pt x="0" y="47"/>
                    <a:pt x="0" y="67"/>
                    <a:pt x="2" y="83"/>
                  </a:cubicBezTo>
                  <a:cubicBezTo>
                    <a:pt x="89" y="117"/>
                    <a:pt x="162" y="173"/>
                    <a:pt x="215" y="213"/>
                  </a:cubicBezTo>
                  <a:cubicBezTo>
                    <a:pt x="245" y="236"/>
                    <a:pt x="294" y="280"/>
                    <a:pt x="324" y="314"/>
                  </a:cubicBezTo>
                  <a:cubicBezTo>
                    <a:pt x="332" y="305"/>
                    <a:pt x="340" y="295"/>
                    <a:pt x="346" y="286"/>
                  </a:cubicBezTo>
                  <a:cubicBezTo>
                    <a:pt x="372" y="249"/>
                    <a:pt x="387" y="219"/>
                    <a:pt x="392" y="209"/>
                  </a:cubicBezTo>
                  <a:cubicBezTo>
                    <a:pt x="351" y="164"/>
                    <a:pt x="291" y="115"/>
                    <a:pt x="252" y="92"/>
                  </a:cubicBezTo>
                  <a:cubicBezTo>
                    <a:pt x="154" y="35"/>
                    <a:pt x="75" y="11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/>
            </a:p>
          </p:txBody>
        </p:sp>
        <p:sp>
          <p:nvSpPr>
            <p:cNvPr id="14" name="Freeform 71">
              <a:extLst>
                <a:ext uri="{FF2B5EF4-FFF2-40B4-BE49-F238E27FC236}">
                  <a16:creationId xmlns:a16="http://schemas.microsoft.com/office/drawing/2014/main" id="{F184BD1F-9BAE-49A3-94C1-75A7BCADF9A8}"/>
                </a:ext>
              </a:extLst>
            </p:cNvPr>
            <p:cNvSpPr/>
            <p:nvPr/>
          </p:nvSpPr>
          <p:spPr bwMode="auto">
            <a:xfrm>
              <a:off x="4634" y="1594"/>
              <a:ext cx="137" cy="172"/>
            </a:xfrm>
            <a:custGeom>
              <a:avLst/>
              <a:gdLst>
                <a:gd name="T0" fmla="*/ 222 w 314"/>
                <a:gd name="T1" fmla="*/ 252 h 392"/>
                <a:gd name="T2" fmla="*/ 314 w 314"/>
                <a:gd name="T3" fmla="*/ 5 h 392"/>
                <a:gd name="T4" fmla="*/ 280 w 314"/>
                <a:gd name="T5" fmla="*/ 1 h 392"/>
                <a:gd name="T6" fmla="*/ 231 w 314"/>
                <a:gd name="T7" fmla="*/ 1 h 392"/>
                <a:gd name="T8" fmla="*/ 101 w 314"/>
                <a:gd name="T9" fmla="*/ 215 h 392"/>
                <a:gd name="T10" fmla="*/ 0 w 314"/>
                <a:gd name="T11" fmla="*/ 324 h 392"/>
                <a:gd name="T12" fmla="*/ 28 w 314"/>
                <a:gd name="T13" fmla="*/ 346 h 392"/>
                <a:gd name="T14" fmla="*/ 105 w 314"/>
                <a:gd name="T15" fmla="*/ 392 h 392"/>
                <a:gd name="T16" fmla="*/ 222 w 314"/>
                <a:gd name="T17" fmla="*/ 25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4" h="392">
                  <a:moveTo>
                    <a:pt x="222" y="252"/>
                  </a:moveTo>
                  <a:cubicBezTo>
                    <a:pt x="279" y="153"/>
                    <a:pt x="303" y="75"/>
                    <a:pt x="314" y="5"/>
                  </a:cubicBezTo>
                  <a:cubicBezTo>
                    <a:pt x="304" y="4"/>
                    <a:pt x="288" y="1"/>
                    <a:pt x="280" y="1"/>
                  </a:cubicBezTo>
                  <a:cubicBezTo>
                    <a:pt x="267" y="0"/>
                    <a:pt x="247" y="0"/>
                    <a:pt x="231" y="1"/>
                  </a:cubicBezTo>
                  <a:cubicBezTo>
                    <a:pt x="197" y="88"/>
                    <a:pt x="141" y="161"/>
                    <a:pt x="101" y="215"/>
                  </a:cubicBezTo>
                  <a:cubicBezTo>
                    <a:pt x="78" y="245"/>
                    <a:pt x="34" y="294"/>
                    <a:pt x="0" y="324"/>
                  </a:cubicBezTo>
                  <a:cubicBezTo>
                    <a:pt x="9" y="332"/>
                    <a:pt x="19" y="340"/>
                    <a:pt x="28" y="346"/>
                  </a:cubicBezTo>
                  <a:cubicBezTo>
                    <a:pt x="65" y="372"/>
                    <a:pt x="95" y="387"/>
                    <a:pt x="105" y="392"/>
                  </a:cubicBezTo>
                  <a:cubicBezTo>
                    <a:pt x="150" y="351"/>
                    <a:pt x="199" y="291"/>
                    <a:pt x="222" y="2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/>
            </a:p>
          </p:txBody>
        </p:sp>
        <p:sp>
          <p:nvSpPr>
            <p:cNvPr id="15" name="Freeform 72">
              <a:extLst>
                <a:ext uri="{FF2B5EF4-FFF2-40B4-BE49-F238E27FC236}">
                  <a16:creationId xmlns:a16="http://schemas.microsoft.com/office/drawing/2014/main" id="{084F04D5-9ADA-43BD-837F-CCEC83D24D77}"/>
                </a:ext>
              </a:extLst>
            </p:cNvPr>
            <p:cNvSpPr/>
            <p:nvPr/>
          </p:nvSpPr>
          <p:spPr bwMode="auto">
            <a:xfrm>
              <a:off x="4449" y="1368"/>
              <a:ext cx="321" cy="298"/>
            </a:xfrm>
            <a:custGeom>
              <a:avLst/>
              <a:gdLst>
                <a:gd name="T0" fmla="*/ 153 w 734"/>
                <a:gd name="T1" fmla="*/ 578 h 679"/>
                <a:gd name="T2" fmla="*/ 124 w 734"/>
                <a:gd name="T3" fmla="*/ 425 h 679"/>
                <a:gd name="T4" fmla="*/ 151 w 734"/>
                <a:gd name="T5" fmla="*/ 298 h 679"/>
                <a:gd name="T6" fmla="*/ 228 w 734"/>
                <a:gd name="T7" fmla="*/ 201 h 679"/>
                <a:gd name="T8" fmla="*/ 382 w 734"/>
                <a:gd name="T9" fmla="*/ 129 h 679"/>
                <a:gd name="T10" fmla="*/ 536 w 734"/>
                <a:gd name="T11" fmla="*/ 195 h 679"/>
                <a:gd name="T12" fmla="*/ 645 w 734"/>
                <a:gd name="T13" fmla="*/ 301 h 679"/>
                <a:gd name="T14" fmla="*/ 688 w 734"/>
                <a:gd name="T15" fmla="*/ 298 h 679"/>
                <a:gd name="T16" fmla="*/ 734 w 734"/>
                <a:gd name="T17" fmla="*/ 297 h 679"/>
                <a:gd name="T18" fmla="*/ 699 w 734"/>
                <a:gd name="T19" fmla="*/ 215 h 679"/>
                <a:gd name="T20" fmla="*/ 590 w 734"/>
                <a:gd name="T21" fmla="*/ 96 h 679"/>
                <a:gd name="T22" fmla="*/ 402 w 734"/>
                <a:gd name="T23" fmla="*/ 7 h 679"/>
                <a:gd name="T24" fmla="*/ 382 w 734"/>
                <a:gd name="T25" fmla="*/ 0 h 679"/>
                <a:gd name="T26" fmla="*/ 362 w 734"/>
                <a:gd name="T27" fmla="*/ 7 h 679"/>
                <a:gd name="T28" fmla="*/ 155 w 734"/>
                <a:gd name="T29" fmla="*/ 104 h 679"/>
                <a:gd name="T30" fmla="*/ 46 w 734"/>
                <a:gd name="T31" fmla="*/ 233 h 679"/>
                <a:gd name="T32" fmla="*/ 2 w 734"/>
                <a:gd name="T33" fmla="*/ 425 h 679"/>
                <a:gd name="T34" fmla="*/ 66 w 734"/>
                <a:gd name="T35" fmla="*/ 679 h 679"/>
                <a:gd name="T36" fmla="*/ 153 w 734"/>
                <a:gd name="T37" fmla="*/ 578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4" h="679">
                  <a:moveTo>
                    <a:pt x="153" y="578"/>
                  </a:moveTo>
                  <a:cubicBezTo>
                    <a:pt x="134" y="528"/>
                    <a:pt x="123" y="464"/>
                    <a:pt x="124" y="425"/>
                  </a:cubicBezTo>
                  <a:cubicBezTo>
                    <a:pt x="124" y="390"/>
                    <a:pt x="132" y="334"/>
                    <a:pt x="151" y="298"/>
                  </a:cubicBezTo>
                  <a:cubicBezTo>
                    <a:pt x="169" y="263"/>
                    <a:pt x="203" y="219"/>
                    <a:pt x="228" y="201"/>
                  </a:cubicBezTo>
                  <a:cubicBezTo>
                    <a:pt x="285" y="161"/>
                    <a:pt x="331" y="148"/>
                    <a:pt x="382" y="129"/>
                  </a:cubicBezTo>
                  <a:cubicBezTo>
                    <a:pt x="431" y="148"/>
                    <a:pt x="485" y="162"/>
                    <a:pt x="536" y="195"/>
                  </a:cubicBezTo>
                  <a:cubicBezTo>
                    <a:pt x="594" y="234"/>
                    <a:pt x="630" y="278"/>
                    <a:pt x="645" y="301"/>
                  </a:cubicBezTo>
                  <a:cubicBezTo>
                    <a:pt x="649" y="301"/>
                    <a:pt x="677" y="298"/>
                    <a:pt x="688" y="298"/>
                  </a:cubicBezTo>
                  <a:cubicBezTo>
                    <a:pt x="699" y="297"/>
                    <a:pt x="734" y="297"/>
                    <a:pt x="734" y="297"/>
                  </a:cubicBezTo>
                  <a:cubicBezTo>
                    <a:pt x="727" y="272"/>
                    <a:pt x="711" y="235"/>
                    <a:pt x="699" y="215"/>
                  </a:cubicBezTo>
                  <a:cubicBezTo>
                    <a:pt x="674" y="171"/>
                    <a:pt x="638" y="131"/>
                    <a:pt x="590" y="96"/>
                  </a:cubicBezTo>
                  <a:cubicBezTo>
                    <a:pt x="534" y="56"/>
                    <a:pt x="416" y="12"/>
                    <a:pt x="402" y="7"/>
                  </a:cubicBezTo>
                  <a:cubicBezTo>
                    <a:pt x="382" y="0"/>
                    <a:pt x="382" y="0"/>
                    <a:pt x="382" y="0"/>
                  </a:cubicBezTo>
                  <a:cubicBezTo>
                    <a:pt x="362" y="7"/>
                    <a:pt x="362" y="7"/>
                    <a:pt x="362" y="7"/>
                  </a:cubicBezTo>
                  <a:cubicBezTo>
                    <a:pt x="347" y="12"/>
                    <a:pt x="214" y="59"/>
                    <a:pt x="155" y="104"/>
                  </a:cubicBezTo>
                  <a:cubicBezTo>
                    <a:pt x="110" y="138"/>
                    <a:pt x="65" y="195"/>
                    <a:pt x="46" y="233"/>
                  </a:cubicBezTo>
                  <a:cubicBezTo>
                    <a:pt x="24" y="277"/>
                    <a:pt x="5" y="335"/>
                    <a:pt x="2" y="425"/>
                  </a:cubicBezTo>
                  <a:cubicBezTo>
                    <a:pt x="0" y="490"/>
                    <a:pt x="26" y="598"/>
                    <a:pt x="66" y="679"/>
                  </a:cubicBezTo>
                  <a:cubicBezTo>
                    <a:pt x="92" y="644"/>
                    <a:pt x="135" y="597"/>
                    <a:pt x="153" y="5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/>
            </a:p>
          </p:txBody>
        </p:sp>
        <p:sp>
          <p:nvSpPr>
            <p:cNvPr id="16" name="Freeform 73">
              <a:extLst>
                <a:ext uri="{FF2B5EF4-FFF2-40B4-BE49-F238E27FC236}">
                  <a16:creationId xmlns:a16="http://schemas.microsoft.com/office/drawing/2014/main" id="{EFCDE006-E378-472B-9F3A-E117E91B7079}"/>
                </a:ext>
              </a:extLst>
            </p:cNvPr>
            <p:cNvSpPr/>
            <p:nvPr/>
          </p:nvSpPr>
          <p:spPr bwMode="auto">
            <a:xfrm>
              <a:off x="4634" y="1594"/>
              <a:ext cx="137" cy="172"/>
            </a:xfrm>
            <a:custGeom>
              <a:avLst/>
              <a:gdLst>
                <a:gd name="T0" fmla="*/ 314 w 314"/>
                <a:gd name="T1" fmla="*/ 5 h 392"/>
                <a:gd name="T2" fmla="*/ 280 w 314"/>
                <a:gd name="T3" fmla="*/ 1 h 392"/>
                <a:gd name="T4" fmla="*/ 231 w 314"/>
                <a:gd name="T5" fmla="*/ 1 h 392"/>
                <a:gd name="T6" fmla="*/ 101 w 314"/>
                <a:gd name="T7" fmla="*/ 215 h 392"/>
                <a:gd name="T8" fmla="*/ 0 w 314"/>
                <a:gd name="T9" fmla="*/ 324 h 392"/>
                <a:gd name="T10" fmla="*/ 28 w 314"/>
                <a:gd name="T11" fmla="*/ 346 h 392"/>
                <a:gd name="T12" fmla="*/ 105 w 314"/>
                <a:gd name="T13" fmla="*/ 392 h 392"/>
                <a:gd name="T14" fmla="*/ 222 w 314"/>
                <a:gd name="T15" fmla="*/ 252 h 392"/>
                <a:gd name="T16" fmla="*/ 314 w 314"/>
                <a:gd name="T17" fmla="*/ 5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4" h="392">
                  <a:moveTo>
                    <a:pt x="314" y="5"/>
                  </a:moveTo>
                  <a:cubicBezTo>
                    <a:pt x="304" y="4"/>
                    <a:pt x="288" y="1"/>
                    <a:pt x="280" y="1"/>
                  </a:cubicBezTo>
                  <a:cubicBezTo>
                    <a:pt x="267" y="0"/>
                    <a:pt x="247" y="0"/>
                    <a:pt x="231" y="1"/>
                  </a:cubicBezTo>
                  <a:cubicBezTo>
                    <a:pt x="197" y="88"/>
                    <a:pt x="141" y="161"/>
                    <a:pt x="101" y="215"/>
                  </a:cubicBezTo>
                  <a:cubicBezTo>
                    <a:pt x="78" y="245"/>
                    <a:pt x="34" y="294"/>
                    <a:pt x="0" y="324"/>
                  </a:cubicBezTo>
                  <a:cubicBezTo>
                    <a:pt x="9" y="332"/>
                    <a:pt x="19" y="340"/>
                    <a:pt x="28" y="346"/>
                  </a:cubicBezTo>
                  <a:cubicBezTo>
                    <a:pt x="65" y="372"/>
                    <a:pt x="95" y="387"/>
                    <a:pt x="105" y="392"/>
                  </a:cubicBezTo>
                  <a:cubicBezTo>
                    <a:pt x="150" y="351"/>
                    <a:pt x="199" y="291"/>
                    <a:pt x="222" y="252"/>
                  </a:cubicBezTo>
                  <a:cubicBezTo>
                    <a:pt x="279" y="153"/>
                    <a:pt x="303" y="75"/>
                    <a:pt x="31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/>
            </a:p>
          </p:txBody>
        </p:sp>
        <p:sp>
          <p:nvSpPr>
            <p:cNvPr id="17" name="Freeform 74">
              <a:extLst>
                <a:ext uri="{FF2B5EF4-FFF2-40B4-BE49-F238E27FC236}">
                  <a16:creationId xmlns:a16="http://schemas.microsoft.com/office/drawing/2014/main" id="{D38F7C6B-5816-4A1E-90F6-45C6AA478FCF}"/>
                </a:ext>
              </a:extLst>
            </p:cNvPr>
            <p:cNvSpPr/>
            <p:nvPr/>
          </p:nvSpPr>
          <p:spPr bwMode="auto">
            <a:xfrm>
              <a:off x="4538" y="1703"/>
              <a:ext cx="171" cy="139"/>
            </a:xfrm>
            <a:custGeom>
              <a:avLst/>
              <a:gdLst>
                <a:gd name="T0" fmla="*/ 140 w 392"/>
                <a:gd name="T1" fmla="*/ 222 h 315"/>
                <a:gd name="T2" fmla="*/ 387 w 392"/>
                <a:gd name="T3" fmla="*/ 315 h 315"/>
                <a:gd name="T4" fmla="*/ 391 w 392"/>
                <a:gd name="T5" fmla="*/ 280 h 315"/>
                <a:gd name="T6" fmla="*/ 391 w 392"/>
                <a:gd name="T7" fmla="*/ 232 h 315"/>
                <a:gd name="T8" fmla="*/ 177 w 392"/>
                <a:gd name="T9" fmla="*/ 102 h 315"/>
                <a:gd name="T10" fmla="*/ 68 w 392"/>
                <a:gd name="T11" fmla="*/ 0 h 315"/>
                <a:gd name="T12" fmla="*/ 46 w 392"/>
                <a:gd name="T13" fmla="*/ 28 h 315"/>
                <a:gd name="T14" fmla="*/ 0 w 392"/>
                <a:gd name="T15" fmla="*/ 105 h 315"/>
                <a:gd name="T16" fmla="*/ 140 w 392"/>
                <a:gd name="T17" fmla="*/ 222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2" h="315">
                  <a:moveTo>
                    <a:pt x="140" y="222"/>
                  </a:moveTo>
                  <a:cubicBezTo>
                    <a:pt x="239" y="280"/>
                    <a:pt x="317" y="304"/>
                    <a:pt x="387" y="315"/>
                  </a:cubicBezTo>
                  <a:cubicBezTo>
                    <a:pt x="388" y="305"/>
                    <a:pt x="391" y="289"/>
                    <a:pt x="391" y="280"/>
                  </a:cubicBezTo>
                  <a:cubicBezTo>
                    <a:pt x="392" y="268"/>
                    <a:pt x="392" y="248"/>
                    <a:pt x="391" y="232"/>
                  </a:cubicBezTo>
                  <a:cubicBezTo>
                    <a:pt x="304" y="197"/>
                    <a:pt x="231" y="142"/>
                    <a:pt x="177" y="102"/>
                  </a:cubicBezTo>
                  <a:cubicBezTo>
                    <a:pt x="147" y="79"/>
                    <a:pt x="98" y="35"/>
                    <a:pt x="68" y="0"/>
                  </a:cubicBezTo>
                  <a:cubicBezTo>
                    <a:pt x="60" y="10"/>
                    <a:pt x="52" y="20"/>
                    <a:pt x="46" y="28"/>
                  </a:cubicBezTo>
                  <a:cubicBezTo>
                    <a:pt x="20" y="66"/>
                    <a:pt x="5" y="95"/>
                    <a:pt x="0" y="105"/>
                  </a:cubicBezTo>
                  <a:cubicBezTo>
                    <a:pt x="41" y="151"/>
                    <a:pt x="101" y="199"/>
                    <a:pt x="140" y="2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/>
            </a:p>
          </p:txBody>
        </p:sp>
        <p:sp>
          <p:nvSpPr>
            <p:cNvPr id="18" name="Freeform 75">
              <a:extLst>
                <a:ext uri="{FF2B5EF4-FFF2-40B4-BE49-F238E27FC236}">
                  <a16:creationId xmlns:a16="http://schemas.microsoft.com/office/drawing/2014/main" id="{8E15C959-3617-45DC-84B1-7C5B549EA95E}"/>
                </a:ext>
              </a:extLst>
            </p:cNvPr>
            <p:cNvSpPr/>
            <p:nvPr/>
          </p:nvSpPr>
          <p:spPr bwMode="auto">
            <a:xfrm>
              <a:off x="4638" y="1519"/>
              <a:ext cx="297" cy="322"/>
            </a:xfrm>
            <a:custGeom>
              <a:avLst/>
              <a:gdLst>
                <a:gd name="T0" fmla="*/ 101 w 679"/>
                <a:gd name="T1" fmla="*/ 153 h 734"/>
                <a:gd name="T2" fmla="*/ 254 w 679"/>
                <a:gd name="T3" fmla="*/ 123 h 734"/>
                <a:gd name="T4" fmla="*/ 381 w 679"/>
                <a:gd name="T5" fmla="*/ 151 h 734"/>
                <a:gd name="T6" fmla="*/ 478 w 679"/>
                <a:gd name="T7" fmla="*/ 228 h 734"/>
                <a:gd name="T8" fmla="*/ 550 w 679"/>
                <a:gd name="T9" fmla="*/ 382 h 734"/>
                <a:gd name="T10" fmla="*/ 484 w 679"/>
                <a:gd name="T11" fmla="*/ 535 h 734"/>
                <a:gd name="T12" fmla="*/ 378 w 679"/>
                <a:gd name="T13" fmla="*/ 645 h 734"/>
                <a:gd name="T14" fmla="*/ 381 w 679"/>
                <a:gd name="T15" fmla="*/ 687 h 734"/>
                <a:gd name="T16" fmla="*/ 382 w 679"/>
                <a:gd name="T17" fmla="*/ 734 h 734"/>
                <a:gd name="T18" fmla="*/ 464 w 679"/>
                <a:gd name="T19" fmla="*/ 699 h 734"/>
                <a:gd name="T20" fmla="*/ 583 w 679"/>
                <a:gd name="T21" fmla="*/ 590 h 734"/>
                <a:gd name="T22" fmla="*/ 672 w 679"/>
                <a:gd name="T23" fmla="*/ 401 h 734"/>
                <a:gd name="T24" fmla="*/ 679 w 679"/>
                <a:gd name="T25" fmla="*/ 381 h 734"/>
                <a:gd name="T26" fmla="*/ 672 w 679"/>
                <a:gd name="T27" fmla="*/ 361 h 734"/>
                <a:gd name="T28" fmla="*/ 575 w 679"/>
                <a:gd name="T29" fmla="*/ 155 h 734"/>
                <a:gd name="T30" fmla="*/ 446 w 679"/>
                <a:gd name="T31" fmla="*/ 46 h 734"/>
                <a:gd name="T32" fmla="*/ 254 w 679"/>
                <a:gd name="T33" fmla="*/ 2 h 734"/>
                <a:gd name="T34" fmla="*/ 0 w 679"/>
                <a:gd name="T35" fmla="*/ 66 h 734"/>
                <a:gd name="T36" fmla="*/ 101 w 679"/>
                <a:gd name="T37" fmla="*/ 153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9" h="734">
                  <a:moveTo>
                    <a:pt x="101" y="153"/>
                  </a:moveTo>
                  <a:cubicBezTo>
                    <a:pt x="151" y="134"/>
                    <a:pt x="215" y="123"/>
                    <a:pt x="254" y="123"/>
                  </a:cubicBezTo>
                  <a:cubicBezTo>
                    <a:pt x="289" y="124"/>
                    <a:pt x="345" y="132"/>
                    <a:pt x="381" y="151"/>
                  </a:cubicBezTo>
                  <a:cubicBezTo>
                    <a:pt x="416" y="168"/>
                    <a:pt x="460" y="202"/>
                    <a:pt x="478" y="228"/>
                  </a:cubicBezTo>
                  <a:cubicBezTo>
                    <a:pt x="518" y="285"/>
                    <a:pt x="531" y="330"/>
                    <a:pt x="550" y="382"/>
                  </a:cubicBezTo>
                  <a:cubicBezTo>
                    <a:pt x="531" y="431"/>
                    <a:pt x="517" y="485"/>
                    <a:pt x="484" y="535"/>
                  </a:cubicBezTo>
                  <a:cubicBezTo>
                    <a:pt x="445" y="594"/>
                    <a:pt x="401" y="630"/>
                    <a:pt x="378" y="645"/>
                  </a:cubicBezTo>
                  <a:cubicBezTo>
                    <a:pt x="378" y="649"/>
                    <a:pt x="381" y="677"/>
                    <a:pt x="381" y="687"/>
                  </a:cubicBezTo>
                  <a:cubicBezTo>
                    <a:pt x="382" y="698"/>
                    <a:pt x="382" y="734"/>
                    <a:pt x="382" y="734"/>
                  </a:cubicBezTo>
                  <a:cubicBezTo>
                    <a:pt x="407" y="727"/>
                    <a:pt x="444" y="711"/>
                    <a:pt x="464" y="699"/>
                  </a:cubicBezTo>
                  <a:cubicBezTo>
                    <a:pt x="508" y="673"/>
                    <a:pt x="548" y="638"/>
                    <a:pt x="583" y="590"/>
                  </a:cubicBezTo>
                  <a:cubicBezTo>
                    <a:pt x="623" y="534"/>
                    <a:pt x="667" y="416"/>
                    <a:pt x="672" y="401"/>
                  </a:cubicBezTo>
                  <a:cubicBezTo>
                    <a:pt x="679" y="381"/>
                    <a:pt x="679" y="381"/>
                    <a:pt x="679" y="381"/>
                  </a:cubicBezTo>
                  <a:cubicBezTo>
                    <a:pt x="672" y="361"/>
                    <a:pt x="672" y="361"/>
                    <a:pt x="672" y="361"/>
                  </a:cubicBezTo>
                  <a:cubicBezTo>
                    <a:pt x="667" y="346"/>
                    <a:pt x="620" y="214"/>
                    <a:pt x="575" y="155"/>
                  </a:cubicBezTo>
                  <a:cubicBezTo>
                    <a:pt x="541" y="109"/>
                    <a:pt x="484" y="64"/>
                    <a:pt x="446" y="46"/>
                  </a:cubicBezTo>
                  <a:cubicBezTo>
                    <a:pt x="402" y="24"/>
                    <a:pt x="344" y="5"/>
                    <a:pt x="254" y="2"/>
                  </a:cubicBezTo>
                  <a:cubicBezTo>
                    <a:pt x="189" y="0"/>
                    <a:pt x="81" y="26"/>
                    <a:pt x="0" y="66"/>
                  </a:cubicBezTo>
                  <a:cubicBezTo>
                    <a:pt x="35" y="92"/>
                    <a:pt x="82" y="135"/>
                    <a:pt x="101" y="1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/>
            </a:p>
          </p:txBody>
        </p:sp>
        <p:sp>
          <p:nvSpPr>
            <p:cNvPr id="19" name="Freeform 76">
              <a:extLst>
                <a:ext uri="{FF2B5EF4-FFF2-40B4-BE49-F238E27FC236}">
                  <a16:creationId xmlns:a16="http://schemas.microsoft.com/office/drawing/2014/main" id="{EB29F3E3-AABC-4E2C-8F7A-61DEB985D8A6}"/>
                </a:ext>
              </a:extLst>
            </p:cNvPr>
            <p:cNvSpPr/>
            <p:nvPr/>
          </p:nvSpPr>
          <p:spPr bwMode="auto">
            <a:xfrm>
              <a:off x="4538" y="1703"/>
              <a:ext cx="171" cy="139"/>
            </a:xfrm>
            <a:custGeom>
              <a:avLst/>
              <a:gdLst>
                <a:gd name="T0" fmla="*/ 387 w 392"/>
                <a:gd name="T1" fmla="*/ 315 h 315"/>
                <a:gd name="T2" fmla="*/ 391 w 392"/>
                <a:gd name="T3" fmla="*/ 280 h 315"/>
                <a:gd name="T4" fmla="*/ 391 w 392"/>
                <a:gd name="T5" fmla="*/ 232 h 315"/>
                <a:gd name="T6" fmla="*/ 177 w 392"/>
                <a:gd name="T7" fmla="*/ 102 h 315"/>
                <a:gd name="T8" fmla="*/ 68 w 392"/>
                <a:gd name="T9" fmla="*/ 0 h 315"/>
                <a:gd name="T10" fmla="*/ 46 w 392"/>
                <a:gd name="T11" fmla="*/ 28 h 315"/>
                <a:gd name="T12" fmla="*/ 0 w 392"/>
                <a:gd name="T13" fmla="*/ 105 h 315"/>
                <a:gd name="T14" fmla="*/ 140 w 392"/>
                <a:gd name="T15" fmla="*/ 222 h 315"/>
                <a:gd name="T16" fmla="*/ 387 w 392"/>
                <a:gd name="T17" fmla="*/ 315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2" h="315">
                  <a:moveTo>
                    <a:pt x="387" y="315"/>
                  </a:moveTo>
                  <a:cubicBezTo>
                    <a:pt x="388" y="305"/>
                    <a:pt x="391" y="289"/>
                    <a:pt x="391" y="280"/>
                  </a:cubicBezTo>
                  <a:cubicBezTo>
                    <a:pt x="392" y="268"/>
                    <a:pt x="392" y="248"/>
                    <a:pt x="391" y="232"/>
                  </a:cubicBezTo>
                  <a:cubicBezTo>
                    <a:pt x="304" y="197"/>
                    <a:pt x="231" y="142"/>
                    <a:pt x="177" y="102"/>
                  </a:cubicBezTo>
                  <a:cubicBezTo>
                    <a:pt x="147" y="79"/>
                    <a:pt x="98" y="35"/>
                    <a:pt x="68" y="0"/>
                  </a:cubicBezTo>
                  <a:cubicBezTo>
                    <a:pt x="60" y="10"/>
                    <a:pt x="52" y="20"/>
                    <a:pt x="46" y="28"/>
                  </a:cubicBezTo>
                  <a:cubicBezTo>
                    <a:pt x="20" y="66"/>
                    <a:pt x="5" y="95"/>
                    <a:pt x="0" y="105"/>
                  </a:cubicBezTo>
                  <a:cubicBezTo>
                    <a:pt x="41" y="151"/>
                    <a:pt x="101" y="199"/>
                    <a:pt x="140" y="222"/>
                  </a:cubicBezTo>
                  <a:cubicBezTo>
                    <a:pt x="239" y="280"/>
                    <a:pt x="317" y="304"/>
                    <a:pt x="387" y="3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/>
            </a:p>
          </p:txBody>
        </p:sp>
        <p:sp>
          <p:nvSpPr>
            <p:cNvPr id="20" name="Freeform 77">
              <a:extLst>
                <a:ext uri="{FF2B5EF4-FFF2-40B4-BE49-F238E27FC236}">
                  <a16:creationId xmlns:a16="http://schemas.microsoft.com/office/drawing/2014/main" id="{AF62C451-6BD0-4DB2-BD8C-E446836A8A61}"/>
                </a:ext>
              </a:extLst>
            </p:cNvPr>
            <p:cNvSpPr/>
            <p:nvPr/>
          </p:nvSpPr>
          <p:spPr bwMode="auto">
            <a:xfrm>
              <a:off x="4463" y="1608"/>
              <a:ext cx="137" cy="172"/>
            </a:xfrm>
            <a:custGeom>
              <a:avLst/>
              <a:gdLst>
                <a:gd name="T0" fmla="*/ 93 w 315"/>
                <a:gd name="T1" fmla="*/ 140 h 392"/>
                <a:gd name="T2" fmla="*/ 0 w 315"/>
                <a:gd name="T3" fmla="*/ 387 h 392"/>
                <a:gd name="T4" fmla="*/ 35 w 315"/>
                <a:gd name="T5" fmla="*/ 391 h 392"/>
                <a:gd name="T6" fmla="*/ 83 w 315"/>
                <a:gd name="T7" fmla="*/ 390 h 392"/>
                <a:gd name="T8" fmla="*/ 213 w 315"/>
                <a:gd name="T9" fmla="*/ 177 h 392"/>
                <a:gd name="T10" fmla="*/ 315 w 315"/>
                <a:gd name="T11" fmla="*/ 68 h 392"/>
                <a:gd name="T12" fmla="*/ 287 w 315"/>
                <a:gd name="T13" fmla="*/ 46 h 392"/>
                <a:gd name="T14" fmla="*/ 210 w 315"/>
                <a:gd name="T15" fmla="*/ 0 h 392"/>
                <a:gd name="T16" fmla="*/ 93 w 315"/>
                <a:gd name="T17" fmla="*/ 140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5" h="392">
                  <a:moveTo>
                    <a:pt x="93" y="140"/>
                  </a:moveTo>
                  <a:cubicBezTo>
                    <a:pt x="35" y="238"/>
                    <a:pt x="11" y="317"/>
                    <a:pt x="0" y="387"/>
                  </a:cubicBezTo>
                  <a:cubicBezTo>
                    <a:pt x="10" y="388"/>
                    <a:pt x="26" y="391"/>
                    <a:pt x="35" y="391"/>
                  </a:cubicBezTo>
                  <a:cubicBezTo>
                    <a:pt x="47" y="392"/>
                    <a:pt x="67" y="392"/>
                    <a:pt x="83" y="390"/>
                  </a:cubicBezTo>
                  <a:cubicBezTo>
                    <a:pt x="118" y="303"/>
                    <a:pt x="173" y="230"/>
                    <a:pt x="213" y="177"/>
                  </a:cubicBezTo>
                  <a:cubicBezTo>
                    <a:pt x="236" y="147"/>
                    <a:pt x="280" y="98"/>
                    <a:pt x="315" y="68"/>
                  </a:cubicBezTo>
                  <a:cubicBezTo>
                    <a:pt x="305" y="60"/>
                    <a:pt x="295" y="52"/>
                    <a:pt x="287" y="46"/>
                  </a:cubicBezTo>
                  <a:cubicBezTo>
                    <a:pt x="249" y="20"/>
                    <a:pt x="220" y="5"/>
                    <a:pt x="210" y="0"/>
                  </a:cubicBezTo>
                  <a:cubicBezTo>
                    <a:pt x="164" y="41"/>
                    <a:pt x="116" y="101"/>
                    <a:pt x="93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ru-RU"/>
            </a:p>
          </p:txBody>
        </p:sp>
      </p:grp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F55C22D6-2156-451A-AB90-5EFEC6B9A6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903" y="824429"/>
            <a:ext cx="11347323" cy="903344"/>
          </a:xfrm>
        </p:spPr>
        <p:txBody>
          <a:bodyPr>
            <a:noAutofit/>
          </a:bodyPr>
          <a:lstStyle/>
          <a:p>
            <a:pPr marL="0" indent="0" algn="just">
              <a:spcBef>
                <a:spcPts val="600"/>
              </a:spcBef>
              <a:buNone/>
            </a:pPr>
            <a:r>
              <a:rPr lang="ru-RU" sz="1400" b="1" dirty="0">
                <a:solidFill>
                  <a:srgbClr val="082C53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АО «</a:t>
            </a:r>
            <a:r>
              <a:rPr lang="en-US" sz="1400" b="1" dirty="0">
                <a:solidFill>
                  <a:srgbClr val="082C53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Qazaqstan Investment Corporation</a:t>
            </a:r>
            <a:r>
              <a:rPr lang="ru-RU" sz="1400" b="1" dirty="0">
                <a:solidFill>
                  <a:srgbClr val="082C53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» (</a:t>
            </a:r>
            <a:r>
              <a:rPr lang="en-US" sz="1400" b="1" dirty="0">
                <a:solidFill>
                  <a:srgbClr val="082C53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QIC</a:t>
            </a:r>
            <a:r>
              <a:rPr lang="ru-RU" sz="1400" b="1" dirty="0">
                <a:solidFill>
                  <a:srgbClr val="082C53"/>
                </a:solidFill>
                <a:latin typeface="Open Sans" pitchFamily="2" charset="0"/>
                <a:ea typeface="Open Sans" pitchFamily="2" charset="0"/>
                <a:cs typeface="Open Sans" pitchFamily="2" charset="0"/>
              </a:rPr>
              <a:t>) - создан в 2007 году по инициативе Первого Президента Республики Казахстан о создании фонда фондов прямых инвестиций и является институтом развития, ориентированный на рост и диверсификацию национальной экономики посредством создания фондов прямых инвестиций и привлечения прямых инвестиций</a:t>
            </a:r>
            <a:endParaRPr lang="en-US" sz="1400" b="1" dirty="0">
              <a:solidFill>
                <a:srgbClr val="082C53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1400" b="1" dirty="0">
              <a:solidFill>
                <a:srgbClr val="082C53"/>
              </a:solidFill>
              <a:latin typeface="Open Sans" pitchFamily="2" charset="0"/>
              <a:ea typeface="Open Sans" pitchFamily="2" charset="0"/>
              <a:cs typeface="Open Sans" pitchFamily="2" charset="0"/>
            </a:endParaRPr>
          </a:p>
        </p:txBody>
      </p:sp>
      <p:sp>
        <p:nvSpPr>
          <p:cNvPr id="46" name="Номер слайда 2">
            <a:extLst>
              <a:ext uri="{FF2B5EF4-FFF2-40B4-BE49-F238E27FC236}">
                <a16:creationId xmlns:a16="http://schemas.microsoft.com/office/drawing/2014/main" id="{1B0150F9-4EE7-4A6C-A9D3-3E8FC7B2A8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9470" y="6453247"/>
            <a:ext cx="2743200" cy="365125"/>
          </a:xfrm>
        </p:spPr>
        <p:txBody>
          <a:bodyPr/>
          <a:lstStyle/>
          <a:p>
            <a:fld id="{0161DE72-5E33-4A0D-AE4E-E16E14FA4E9B}" type="slidenum">
              <a:rPr lang="en-GB" smtClean="0"/>
              <a:pPr/>
              <a:t>127</a:t>
            </a:fld>
            <a:endParaRPr lang="en-GB" dirty="0"/>
          </a:p>
        </p:txBody>
      </p:sp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A46B16DA-AB3C-40D3-B6DD-EE2E9B6D6943}"/>
              </a:ext>
            </a:extLst>
          </p:cNvPr>
          <p:cNvSpPr txBox="1">
            <a:spLocks/>
          </p:cNvSpPr>
          <p:nvPr/>
        </p:nvSpPr>
        <p:spPr>
          <a:xfrm>
            <a:off x="378712" y="283722"/>
            <a:ext cx="8375469" cy="5057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18254F"/>
                </a:solidFill>
                <a:latin typeface="Open Sans 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rgbClr val="082C53"/>
                </a:solidFill>
              </a:rPr>
              <a:t>О деятельности </a:t>
            </a:r>
            <a:r>
              <a:rPr lang="en-US" dirty="0">
                <a:solidFill>
                  <a:srgbClr val="082C53"/>
                </a:solidFill>
              </a:rPr>
              <a:t>QIC</a:t>
            </a:r>
            <a:r>
              <a:rPr lang="ru-RU" dirty="0">
                <a:solidFill>
                  <a:srgbClr val="082C53"/>
                </a:solidFill>
              </a:rPr>
              <a:t> </a:t>
            </a:r>
            <a:endParaRPr lang="en-US" dirty="0">
              <a:solidFill>
                <a:srgbClr val="082C53"/>
              </a:solidFill>
            </a:endParaRPr>
          </a:p>
        </p:txBody>
      </p:sp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9DFA2774-3E18-4DC7-974C-8200EBB9506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755" b="21247"/>
          <a:stretch/>
        </p:blipFill>
        <p:spPr>
          <a:xfrm>
            <a:off x="9168127" y="4038158"/>
            <a:ext cx="3087019" cy="2856706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D57FDDC3-D7E7-4A86-A6C2-969F834B4F5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5916" y="340626"/>
            <a:ext cx="1048587" cy="376911"/>
          </a:xfrm>
          <a:prstGeom prst="rect">
            <a:avLst/>
          </a:prstGeom>
        </p:spPr>
      </p:pic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1ABA7DE7-80CE-4CF5-86B8-C3F8DB010CD2}"/>
              </a:ext>
            </a:extLst>
          </p:cNvPr>
          <p:cNvCxnSpPr>
            <a:cxnSpLocks/>
          </p:cNvCxnSpPr>
          <p:nvPr/>
        </p:nvCxnSpPr>
        <p:spPr>
          <a:xfrm>
            <a:off x="320814" y="816926"/>
            <a:ext cx="11435261" cy="0"/>
          </a:xfrm>
          <a:prstGeom prst="line">
            <a:avLst/>
          </a:prstGeom>
          <a:ln w="19050">
            <a:solidFill>
              <a:srgbClr val="0039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62C02B80-4A6E-4C32-9F0E-5329774A3690}"/>
              </a:ext>
            </a:extLst>
          </p:cNvPr>
          <p:cNvSpPr/>
          <p:nvPr/>
        </p:nvSpPr>
        <p:spPr>
          <a:xfrm>
            <a:off x="291045" y="1837517"/>
            <a:ext cx="11385227" cy="40899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60381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ru-RU" sz="1367" dirty="0">
                <a:solidFill>
                  <a:srgbClr val="002060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В партнерстве с международными институциональными инвесторами, суверенными фондами и международными финансовыми организациями QIC инвестирует и управляет фондами прямых инвестиций. Фонды QIC предоставляют капитал компаниям в различных секторах экономики с целью дальнейшего роста и повышения конкурентоспособности.</a:t>
            </a:r>
          </a:p>
          <a:p>
            <a:pPr indent="360381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ru-RU" sz="1367" dirty="0">
                <a:solidFill>
                  <a:srgbClr val="002060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В целях эффективного управления портфельными фондами QIC привлекает международные управляющие компании, имеющие многолетний успешный опыт в отрасли. Тем самым, путем трансферта международного опыта, инновационных знаний, новейших технологий и стратегий управления в области private equity, QIC стремится к развитию инструментов финансирования, формированию устойчивой инфраструктуры private equity и наращиванию внутренних компетенций команды QIC.</a:t>
            </a:r>
          </a:p>
          <a:p>
            <a:pPr indent="360381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ru-RU" sz="1367" dirty="0">
                <a:solidFill>
                  <a:srgbClr val="002060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С момента основания, QIC является ключевым игроком и драйвером рынка прямых инвестиций в Казахстане. </a:t>
            </a:r>
          </a:p>
          <a:p>
            <a:pPr indent="360381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ru-RU" sz="1367" dirty="0">
                <a:solidFill>
                  <a:srgbClr val="002060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На сегодня QIC является участником 1</a:t>
            </a:r>
            <a:r>
              <a:rPr lang="en-US" sz="1367" dirty="0">
                <a:solidFill>
                  <a:srgbClr val="002060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8</a:t>
            </a:r>
            <a:r>
              <a:rPr lang="ru-RU" sz="1367" dirty="0">
                <a:solidFill>
                  <a:srgbClr val="002060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фондов прямых инвестиций. В структуру QIC входит дочерний кэптивный фонд АО «Baiterek Venture Fund» и управляющая компания ТОО «BV Management». В декабре 2022 года создана дочерняя компания «</a:t>
            </a:r>
            <a:r>
              <a:rPr lang="ru-RU" sz="1367" dirty="0" err="1">
                <a:solidFill>
                  <a:srgbClr val="002060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BGlobal</a:t>
            </a:r>
            <a:r>
              <a:rPr lang="ru-RU" sz="1367" dirty="0">
                <a:solidFill>
                  <a:srgbClr val="002060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Ventures», основным видом деятельности которой является организация и проведение обучающих и иных мероприятий в сферах технологического предпринимательства и развития технологий. </a:t>
            </a:r>
          </a:p>
          <a:p>
            <a:pPr algn="just"/>
            <a:r>
              <a:rPr lang="ru-RU" sz="1367" dirty="0">
                <a:solidFill>
                  <a:srgbClr val="000000"/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417983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15">
            <a:extLst>
              <a:ext uri="{FF2B5EF4-FFF2-40B4-BE49-F238E27FC236}">
                <a16:creationId xmlns:a16="http://schemas.microsoft.com/office/drawing/2014/main" id="{2F62B90B-A736-45F3-B108-B5482B268F2C}"/>
              </a:ext>
            </a:extLst>
          </p:cNvPr>
          <p:cNvGrpSpPr>
            <a:grpSpLocks noChangeAspect="1"/>
          </p:cNvGrpSpPr>
          <p:nvPr/>
        </p:nvGrpSpPr>
        <p:grpSpPr>
          <a:xfrm>
            <a:off x="1039422" y="2338603"/>
            <a:ext cx="4573566" cy="2950836"/>
            <a:chOff x="796148" y="1234729"/>
            <a:chExt cx="9309878" cy="6006671"/>
          </a:xfrm>
          <a:solidFill>
            <a:schemeClr val="bg1"/>
          </a:solidFill>
        </p:grpSpPr>
        <p:sp>
          <p:nvSpPr>
            <p:cNvPr id="54" name="Freeform 412">
              <a:extLst>
                <a:ext uri="{FF2B5EF4-FFF2-40B4-BE49-F238E27FC236}">
                  <a16:creationId xmlns:a16="http://schemas.microsoft.com/office/drawing/2014/main" id="{EA17CAFC-6B45-4EC5-A080-5736A4640350}"/>
                </a:ext>
              </a:extLst>
            </p:cNvPr>
            <p:cNvSpPr/>
            <p:nvPr/>
          </p:nvSpPr>
          <p:spPr bwMode="auto">
            <a:xfrm>
              <a:off x="5794127" y="1584709"/>
              <a:ext cx="4311899" cy="2680722"/>
            </a:xfrm>
            <a:custGeom>
              <a:avLst/>
              <a:gdLst>
                <a:gd name="connsiteX0" fmla="*/ 4426804 w 26653740"/>
                <a:gd name="connsiteY0" fmla="*/ 15612929 h 16570717"/>
                <a:gd name="connsiteX1" fmla="*/ 4431568 w 26653740"/>
                <a:gd name="connsiteY1" fmla="*/ 15631989 h 16570717"/>
                <a:gd name="connsiteX2" fmla="*/ 4431568 w 26653740"/>
                <a:gd name="connsiteY2" fmla="*/ 15646285 h 16570717"/>
                <a:gd name="connsiteX3" fmla="*/ 4426804 w 26653740"/>
                <a:gd name="connsiteY3" fmla="*/ 15651049 h 16570717"/>
                <a:gd name="connsiteX4" fmla="*/ 4422040 w 26653740"/>
                <a:gd name="connsiteY4" fmla="*/ 15631989 h 16570717"/>
                <a:gd name="connsiteX5" fmla="*/ 4422040 w 26653740"/>
                <a:gd name="connsiteY5" fmla="*/ 15617693 h 16570717"/>
                <a:gd name="connsiteX6" fmla="*/ 20416188 w 26653740"/>
                <a:gd name="connsiteY6" fmla="*/ 15484269 h 16570717"/>
                <a:gd name="connsiteX7" fmla="*/ 20449544 w 26653740"/>
                <a:gd name="connsiteY7" fmla="*/ 15484269 h 16570717"/>
                <a:gd name="connsiteX8" fmla="*/ 20397128 w 26653740"/>
                <a:gd name="connsiteY8" fmla="*/ 15531921 h 16570717"/>
                <a:gd name="connsiteX9" fmla="*/ 20392364 w 26653740"/>
                <a:gd name="connsiteY9" fmla="*/ 15546215 h 16570717"/>
                <a:gd name="connsiteX10" fmla="*/ 20373304 w 26653740"/>
                <a:gd name="connsiteY10" fmla="*/ 15565277 h 16570717"/>
                <a:gd name="connsiteX11" fmla="*/ 20354244 w 26653740"/>
                <a:gd name="connsiteY11" fmla="*/ 15574807 h 16570717"/>
                <a:gd name="connsiteX12" fmla="*/ 20344712 w 26653740"/>
                <a:gd name="connsiteY12" fmla="*/ 15579571 h 16570717"/>
                <a:gd name="connsiteX13" fmla="*/ 20316120 w 26653740"/>
                <a:gd name="connsiteY13" fmla="*/ 15612927 h 16570717"/>
                <a:gd name="connsiteX14" fmla="*/ 20292296 w 26653740"/>
                <a:gd name="connsiteY14" fmla="*/ 15622457 h 16570717"/>
                <a:gd name="connsiteX15" fmla="*/ 20278000 w 26653740"/>
                <a:gd name="connsiteY15" fmla="*/ 15622457 h 16570717"/>
                <a:gd name="connsiteX16" fmla="*/ 20311356 w 26653740"/>
                <a:gd name="connsiteY16" fmla="*/ 15570041 h 16570717"/>
                <a:gd name="connsiteX17" fmla="*/ 20330416 w 26653740"/>
                <a:gd name="connsiteY17" fmla="*/ 15560511 h 16570717"/>
                <a:gd name="connsiteX18" fmla="*/ 20359008 w 26653740"/>
                <a:gd name="connsiteY18" fmla="*/ 15527155 h 16570717"/>
                <a:gd name="connsiteX19" fmla="*/ 20411424 w 26653740"/>
                <a:gd name="connsiteY19" fmla="*/ 15489035 h 16570717"/>
                <a:gd name="connsiteX20" fmla="*/ 20711624 w 26653740"/>
                <a:gd name="connsiteY20" fmla="*/ 15274603 h 16570717"/>
                <a:gd name="connsiteX21" fmla="*/ 20721156 w 26653740"/>
                <a:gd name="connsiteY21" fmla="*/ 15274603 h 16570717"/>
                <a:gd name="connsiteX22" fmla="*/ 20678272 w 26653740"/>
                <a:gd name="connsiteY22" fmla="*/ 15331785 h 16570717"/>
                <a:gd name="connsiteX23" fmla="*/ 20644916 w 26653740"/>
                <a:gd name="connsiteY23" fmla="*/ 15355609 h 16570717"/>
                <a:gd name="connsiteX24" fmla="*/ 20635384 w 26653740"/>
                <a:gd name="connsiteY24" fmla="*/ 15355609 h 16570717"/>
                <a:gd name="connsiteX25" fmla="*/ 20630620 w 26653740"/>
                <a:gd name="connsiteY25" fmla="*/ 15346079 h 16570717"/>
                <a:gd name="connsiteX26" fmla="*/ 20630620 w 26653740"/>
                <a:gd name="connsiteY26" fmla="*/ 15341315 h 16570717"/>
                <a:gd name="connsiteX27" fmla="*/ 20654444 w 26653740"/>
                <a:gd name="connsiteY27" fmla="*/ 15336549 h 16570717"/>
                <a:gd name="connsiteX28" fmla="*/ 20683036 w 26653740"/>
                <a:gd name="connsiteY28" fmla="*/ 15303193 h 16570717"/>
                <a:gd name="connsiteX29" fmla="*/ 20702096 w 26653740"/>
                <a:gd name="connsiteY29" fmla="*/ 15279369 h 16570717"/>
                <a:gd name="connsiteX30" fmla="*/ 20845048 w 26653740"/>
                <a:gd name="connsiteY30" fmla="*/ 15117353 h 16570717"/>
                <a:gd name="connsiteX31" fmla="*/ 20845048 w 26653740"/>
                <a:gd name="connsiteY31" fmla="*/ 15131649 h 16570717"/>
                <a:gd name="connsiteX32" fmla="*/ 20840284 w 26653740"/>
                <a:gd name="connsiteY32" fmla="*/ 15141181 h 16570717"/>
                <a:gd name="connsiteX33" fmla="*/ 20830756 w 26653740"/>
                <a:gd name="connsiteY33" fmla="*/ 15141181 h 16570717"/>
                <a:gd name="connsiteX34" fmla="*/ 20830756 w 26653740"/>
                <a:gd name="connsiteY34" fmla="*/ 15136415 h 16570717"/>
                <a:gd name="connsiteX35" fmla="*/ 20840284 w 26653740"/>
                <a:gd name="connsiteY35" fmla="*/ 15122119 h 16570717"/>
                <a:gd name="connsiteX36" fmla="*/ 21007064 w 26653740"/>
                <a:gd name="connsiteY36" fmla="*/ 14860037 h 16570717"/>
                <a:gd name="connsiteX37" fmla="*/ 21016596 w 26653740"/>
                <a:gd name="connsiteY37" fmla="*/ 14860037 h 16570717"/>
                <a:gd name="connsiteX38" fmla="*/ 21021360 w 26653740"/>
                <a:gd name="connsiteY38" fmla="*/ 14864803 h 16570717"/>
                <a:gd name="connsiteX39" fmla="*/ 21021360 w 26653740"/>
                <a:gd name="connsiteY39" fmla="*/ 14874333 h 16570717"/>
                <a:gd name="connsiteX40" fmla="*/ 21002300 w 26653740"/>
                <a:gd name="connsiteY40" fmla="*/ 14888627 h 16570717"/>
                <a:gd name="connsiteX41" fmla="*/ 20992768 w 26653740"/>
                <a:gd name="connsiteY41" fmla="*/ 14902923 h 16570717"/>
                <a:gd name="connsiteX42" fmla="*/ 20988004 w 26653740"/>
                <a:gd name="connsiteY42" fmla="*/ 14898157 h 16570717"/>
                <a:gd name="connsiteX43" fmla="*/ 20988004 w 26653740"/>
                <a:gd name="connsiteY43" fmla="*/ 14893393 h 16570717"/>
                <a:gd name="connsiteX44" fmla="*/ 21002300 w 26653740"/>
                <a:gd name="connsiteY44" fmla="*/ 14879097 h 16570717"/>
                <a:gd name="connsiteX45" fmla="*/ 21116660 w 26653740"/>
                <a:gd name="connsiteY45" fmla="*/ 14683729 h 16570717"/>
                <a:gd name="connsiteX46" fmla="*/ 21126192 w 26653740"/>
                <a:gd name="connsiteY46" fmla="*/ 14688493 h 16570717"/>
                <a:gd name="connsiteX47" fmla="*/ 21126192 w 26653740"/>
                <a:gd name="connsiteY47" fmla="*/ 14702789 h 16570717"/>
                <a:gd name="connsiteX48" fmla="*/ 21111896 w 26653740"/>
                <a:gd name="connsiteY48" fmla="*/ 14726613 h 16570717"/>
                <a:gd name="connsiteX49" fmla="*/ 21116660 w 26653740"/>
                <a:gd name="connsiteY49" fmla="*/ 14755205 h 16570717"/>
                <a:gd name="connsiteX50" fmla="*/ 21116660 w 26653740"/>
                <a:gd name="connsiteY50" fmla="*/ 14764735 h 16570717"/>
                <a:gd name="connsiteX51" fmla="*/ 21097600 w 26653740"/>
                <a:gd name="connsiteY51" fmla="*/ 14774265 h 16570717"/>
                <a:gd name="connsiteX52" fmla="*/ 21083304 w 26653740"/>
                <a:gd name="connsiteY52" fmla="*/ 14769499 h 16570717"/>
                <a:gd name="connsiteX53" fmla="*/ 21083304 w 26653740"/>
                <a:gd name="connsiteY53" fmla="*/ 14750439 h 16570717"/>
                <a:gd name="connsiteX54" fmla="*/ 21316796 w 26653740"/>
                <a:gd name="connsiteY54" fmla="*/ 14407349 h 16570717"/>
                <a:gd name="connsiteX55" fmla="*/ 21321564 w 26653740"/>
                <a:gd name="connsiteY55" fmla="*/ 14435941 h 16570717"/>
                <a:gd name="connsiteX56" fmla="*/ 21316796 w 26653740"/>
                <a:gd name="connsiteY56" fmla="*/ 14459767 h 16570717"/>
                <a:gd name="connsiteX57" fmla="*/ 21307268 w 26653740"/>
                <a:gd name="connsiteY57" fmla="*/ 14488357 h 16570717"/>
                <a:gd name="connsiteX58" fmla="*/ 21288208 w 26653740"/>
                <a:gd name="connsiteY58" fmla="*/ 14526479 h 16570717"/>
                <a:gd name="connsiteX59" fmla="*/ 21269148 w 26653740"/>
                <a:gd name="connsiteY59" fmla="*/ 14550303 h 16570717"/>
                <a:gd name="connsiteX60" fmla="*/ 21240556 w 26653740"/>
                <a:gd name="connsiteY60" fmla="*/ 14555069 h 16570717"/>
                <a:gd name="connsiteX61" fmla="*/ 21226260 w 26653740"/>
                <a:gd name="connsiteY61" fmla="*/ 14564599 h 16570717"/>
                <a:gd name="connsiteX62" fmla="*/ 21211964 w 26653740"/>
                <a:gd name="connsiteY62" fmla="*/ 14578895 h 16570717"/>
                <a:gd name="connsiteX63" fmla="*/ 21207200 w 26653740"/>
                <a:gd name="connsiteY63" fmla="*/ 14588425 h 16570717"/>
                <a:gd name="connsiteX64" fmla="*/ 21188140 w 26653740"/>
                <a:gd name="connsiteY64" fmla="*/ 14583659 h 16570717"/>
                <a:gd name="connsiteX65" fmla="*/ 21183376 w 26653740"/>
                <a:gd name="connsiteY65" fmla="*/ 14574129 h 16570717"/>
                <a:gd name="connsiteX66" fmla="*/ 21183376 w 26653740"/>
                <a:gd name="connsiteY66" fmla="*/ 14545539 h 16570717"/>
                <a:gd name="connsiteX67" fmla="*/ 21173844 w 26653740"/>
                <a:gd name="connsiteY67" fmla="*/ 14536009 h 16570717"/>
                <a:gd name="connsiteX68" fmla="*/ 21178608 w 26653740"/>
                <a:gd name="connsiteY68" fmla="*/ 14526479 h 16570717"/>
                <a:gd name="connsiteX69" fmla="*/ 21192904 w 26653740"/>
                <a:gd name="connsiteY69" fmla="*/ 14526479 h 16570717"/>
                <a:gd name="connsiteX70" fmla="*/ 21211964 w 26653740"/>
                <a:gd name="connsiteY70" fmla="*/ 14507417 h 16570717"/>
                <a:gd name="connsiteX71" fmla="*/ 21250088 w 26653740"/>
                <a:gd name="connsiteY71" fmla="*/ 14502653 h 16570717"/>
                <a:gd name="connsiteX72" fmla="*/ 21264380 w 26653740"/>
                <a:gd name="connsiteY72" fmla="*/ 14478827 h 16570717"/>
                <a:gd name="connsiteX73" fmla="*/ 21283440 w 26653740"/>
                <a:gd name="connsiteY73" fmla="*/ 14431175 h 16570717"/>
                <a:gd name="connsiteX74" fmla="*/ 21297736 w 26653740"/>
                <a:gd name="connsiteY74" fmla="*/ 14412115 h 16570717"/>
                <a:gd name="connsiteX75" fmla="*/ 21359684 w 26653740"/>
                <a:gd name="connsiteY75" fmla="*/ 14388289 h 16570717"/>
                <a:gd name="connsiteX76" fmla="*/ 21369212 w 26653740"/>
                <a:gd name="connsiteY76" fmla="*/ 14388289 h 16570717"/>
                <a:gd name="connsiteX77" fmla="*/ 21373980 w 26653740"/>
                <a:gd name="connsiteY77" fmla="*/ 14393055 h 16570717"/>
                <a:gd name="connsiteX78" fmla="*/ 21373980 w 26653740"/>
                <a:gd name="connsiteY78" fmla="*/ 14416881 h 16570717"/>
                <a:gd name="connsiteX79" fmla="*/ 21364448 w 26653740"/>
                <a:gd name="connsiteY79" fmla="*/ 14435941 h 16570717"/>
                <a:gd name="connsiteX80" fmla="*/ 21354920 w 26653740"/>
                <a:gd name="connsiteY80" fmla="*/ 14445473 h 16570717"/>
                <a:gd name="connsiteX81" fmla="*/ 21350152 w 26653740"/>
                <a:gd name="connsiteY81" fmla="*/ 14440707 h 16570717"/>
                <a:gd name="connsiteX82" fmla="*/ 21331092 w 26653740"/>
                <a:gd name="connsiteY82" fmla="*/ 14426411 h 16570717"/>
                <a:gd name="connsiteX83" fmla="*/ 21326328 w 26653740"/>
                <a:gd name="connsiteY83" fmla="*/ 14416881 h 16570717"/>
                <a:gd name="connsiteX84" fmla="*/ 21331092 w 26653740"/>
                <a:gd name="connsiteY84" fmla="*/ 14407351 h 16570717"/>
                <a:gd name="connsiteX85" fmla="*/ 21231024 w 26653740"/>
                <a:gd name="connsiteY85" fmla="*/ 14369229 h 16570717"/>
                <a:gd name="connsiteX86" fmla="*/ 21245320 w 26653740"/>
                <a:gd name="connsiteY86" fmla="*/ 14373995 h 16570717"/>
                <a:gd name="connsiteX87" fmla="*/ 21245320 w 26653740"/>
                <a:gd name="connsiteY87" fmla="*/ 14393055 h 16570717"/>
                <a:gd name="connsiteX88" fmla="*/ 21245320 w 26653740"/>
                <a:gd name="connsiteY88" fmla="*/ 14397821 h 16570717"/>
                <a:gd name="connsiteX89" fmla="*/ 21231024 w 26653740"/>
                <a:gd name="connsiteY89" fmla="*/ 14397821 h 16570717"/>
                <a:gd name="connsiteX90" fmla="*/ 21221496 w 26653740"/>
                <a:gd name="connsiteY90" fmla="*/ 14393055 h 16570717"/>
                <a:gd name="connsiteX91" fmla="*/ 21221496 w 26653740"/>
                <a:gd name="connsiteY91" fmla="*/ 14383525 h 16570717"/>
                <a:gd name="connsiteX92" fmla="*/ 21216728 w 26653740"/>
                <a:gd name="connsiteY92" fmla="*/ 14373995 h 16570717"/>
                <a:gd name="connsiteX93" fmla="*/ 19220140 w 26653740"/>
                <a:gd name="connsiteY93" fmla="*/ 13473385 h 16570717"/>
                <a:gd name="connsiteX94" fmla="*/ 19234436 w 26653740"/>
                <a:gd name="connsiteY94" fmla="*/ 13478151 h 16570717"/>
                <a:gd name="connsiteX95" fmla="*/ 19267792 w 26653740"/>
                <a:gd name="connsiteY95" fmla="*/ 13544863 h 16570717"/>
                <a:gd name="connsiteX96" fmla="*/ 19267792 w 26653740"/>
                <a:gd name="connsiteY96" fmla="*/ 13559159 h 16570717"/>
                <a:gd name="connsiteX97" fmla="*/ 19263028 w 26653740"/>
                <a:gd name="connsiteY97" fmla="*/ 13573453 h 16570717"/>
                <a:gd name="connsiteX98" fmla="*/ 19258264 w 26653740"/>
                <a:gd name="connsiteY98" fmla="*/ 13592515 h 16570717"/>
                <a:gd name="connsiteX99" fmla="*/ 19253496 w 26653740"/>
                <a:gd name="connsiteY99" fmla="*/ 13616339 h 16570717"/>
                <a:gd name="connsiteX100" fmla="*/ 19258264 w 26653740"/>
                <a:gd name="connsiteY100" fmla="*/ 13635401 h 16570717"/>
                <a:gd name="connsiteX101" fmla="*/ 19282088 w 26653740"/>
                <a:gd name="connsiteY101" fmla="*/ 13716407 h 16570717"/>
                <a:gd name="connsiteX102" fmla="*/ 19305912 w 26653740"/>
                <a:gd name="connsiteY102" fmla="*/ 13768823 h 16570717"/>
                <a:gd name="connsiteX103" fmla="*/ 19310680 w 26653740"/>
                <a:gd name="connsiteY103" fmla="*/ 13787885 h 16570717"/>
                <a:gd name="connsiteX104" fmla="*/ 19315444 w 26653740"/>
                <a:gd name="connsiteY104" fmla="*/ 13811709 h 16570717"/>
                <a:gd name="connsiteX105" fmla="*/ 19320208 w 26653740"/>
                <a:gd name="connsiteY105" fmla="*/ 13854597 h 16570717"/>
                <a:gd name="connsiteX106" fmla="*/ 19320208 w 26653740"/>
                <a:gd name="connsiteY106" fmla="*/ 13921307 h 16570717"/>
                <a:gd name="connsiteX107" fmla="*/ 19320208 w 26653740"/>
                <a:gd name="connsiteY107" fmla="*/ 13945133 h 16570717"/>
                <a:gd name="connsiteX108" fmla="*/ 19315444 w 26653740"/>
                <a:gd name="connsiteY108" fmla="*/ 13968959 h 16570717"/>
                <a:gd name="connsiteX109" fmla="*/ 19310680 w 26653740"/>
                <a:gd name="connsiteY109" fmla="*/ 13978489 h 16570717"/>
                <a:gd name="connsiteX110" fmla="*/ 19301148 w 26653740"/>
                <a:gd name="connsiteY110" fmla="*/ 13988019 h 16570717"/>
                <a:gd name="connsiteX111" fmla="*/ 19296384 w 26653740"/>
                <a:gd name="connsiteY111" fmla="*/ 14011845 h 16570717"/>
                <a:gd name="connsiteX112" fmla="*/ 19291620 w 26653740"/>
                <a:gd name="connsiteY112" fmla="*/ 14078557 h 16570717"/>
                <a:gd name="connsiteX113" fmla="*/ 19301148 w 26653740"/>
                <a:gd name="connsiteY113" fmla="*/ 14116677 h 16570717"/>
                <a:gd name="connsiteX114" fmla="*/ 19310680 w 26653740"/>
                <a:gd name="connsiteY114" fmla="*/ 14140503 h 16570717"/>
                <a:gd name="connsiteX115" fmla="*/ 19315444 w 26653740"/>
                <a:gd name="connsiteY115" fmla="*/ 14164329 h 16570717"/>
                <a:gd name="connsiteX116" fmla="*/ 19315444 w 26653740"/>
                <a:gd name="connsiteY116" fmla="*/ 14192921 h 16570717"/>
                <a:gd name="connsiteX117" fmla="*/ 19320208 w 26653740"/>
                <a:gd name="connsiteY117" fmla="*/ 14207215 h 16570717"/>
                <a:gd name="connsiteX118" fmla="*/ 19334504 w 26653740"/>
                <a:gd name="connsiteY118" fmla="*/ 14221511 h 16570717"/>
                <a:gd name="connsiteX119" fmla="*/ 19339268 w 26653740"/>
                <a:gd name="connsiteY119" fmla="*/ 14235807 h 16570717"/>
                <a:gd name="connsiteX120" fmla="*/ 19344036 w 26653740"/>
                <a:gd name="connsiteY120" fmla="*/ 14254867 h 16570717"/>
                <a:gd name="connsiteX121" fmla="*/ 19344036 w 26653740"/>
                <a:gd name="connsiteY121" fmla="*/ 14278693 h 16570717"/>
                <a:gd name="connsiteX122" fmla="*/ 19344036 w 26653740"/>
                <a:gd name="connsiteY122" fmla="*/ 14283457 h 16570717"/>
                <a:gd name="connsiteX123" fmla="*/ 19353564 w 26653740"/>
                <a:gd name="connsiteY123" fmla="*/ 14292987 h 16570717"/>
                <a:gd name="connsiteX124" fmla="*/ 19386920 w 26653740"/>
                <a:gd name="connsiteY124" fmla="*/ 14474063 h 16570717"/>
                <a:gd name="connsiteX125" fmla="*/ 19396452 w 26653740"/>
                <a:gd name="connsiteY125" fmla="*/ 14531245 h 16570717"/>
                <a:gd name="connsiteX126" fmla="*/ 19434572 w 26653740"/>
                <a:gd name="connsiteY126" fmla="*/ 14621781 h 16570717"/>
                <a:gd name="connsiteX127" fmla="*/ 19448868 w 26653740"/>
                <a:gd name="connsiteY127" fmla="*/ 14678963 h 16570717"/>
                <a:gd name="connsiteX128" fmla="*/ 19458396 w 26653740"/>
                <a:gd name="connsiteY128" fmla="*/ 14707553 h 16570717"/>
                <a:gd name="connsiteX129" fmla="*/ 19463164 w 26653740"/>
                <a:gd name="connsiteY129" fmla="*/ 14736145 h 16570717"/>
                <a:gd name="connsiteX130" fmla="*/ 19467928 w 26653740"/>
                <a:gd name="connsiteY130" fmla="*/ 14764735 h 16570717"/>
                <a:gd name="connsiteX131" fmla="*/ 19477460 w 26653740"/>
                <a:gd name="connsiteY131" fmla="*/ 14798091 h 16570717"/>
                <a:gd name="connsiteX132" fmla="*/ 19491752 w 26653740"/>
                <a:gd name="connsiteY132" fmla="*/ 14826681 h 16570717"/>
                <a:gd name="connsiteX133" fmla="*/ 19520344 w 26653740"/>
                <a:gd name="connsiteY133" fmla="*/ 14855273 h 16570717"/>
                <a:gd name="connsiteX134" fmla="*/ 19534640 w 26653740"/>
                <a:gd name="connsiteY134" fmla="*/ 14869569 h 16570717"/>
                <a:gd name="connsiteX135" fmla="*/ 19534640 w 26653740"/>
                <a:gd name="connsiteY135" fmla="*/ 14883863 h 16570717"/>
                <a:gd name="connsiteX136" fmla="*/ 19534640 w 26653740"/>
                <a:gd name="connsiteY136" fmla="*/ 14926749 h 16570717"/>
                <a:gd name="connsiteX137" fmla="*/ 19529876 w 26653740"/>
                <a:gd name="connsiteY137" fmla="*/ 14917219 h 16570717"/>
                <a:gd name="connsiteX138" fmla="*/ 19525108 w 26653740"/>
                <a:gd name="connsiteY138" fmla="*/ 14883863 h 16570717"/>
                <a:gd name="connsiteX139" fmla="*/ 19510816 w 26653740"/>
                <a:gd name="connsiteY139" fmla="*/ 14864803 h 16570717"/>
                <a:gd name="connsiteX140" fmla="*/ 19491752 w 26653740"/>
                <a:gd name="connsiteY140" fmla="*/ 14840977 h 16570717"/>
                <a:gd name="connsiteX141" fmla="*/ 19467928 w 26653740"/>
                <a:gd name="connsiteY141" fmla="*/ 14821917 h 16570717"/>
                <a:gd name="connsiteX142" fmla="*/ 19444104 w 26653740"/>
                <a:gd name="connsiteY142" fmla="*/ 14788561 h 16570717"/>
                <a:gd name="connsiteX143" fmla="*/ 19434572 w 26653740"/>
                <a:gd name="connsiteY143" fmla="*/ 14779031 h 16570717"/>
                <a:gd name="connsiteX144" fmla="*/ 19420276 w 26653740"/>
                <a:gd name="connsiteY144" fmla="*/ 14774265 h 16570717"/>
                <a:gd name="connsiteX145" fmla="*/ 19396452 w 26653740"/>
                <a:gd name="connsiteY145" fmla="*/ 14764735 h 16570717"/>
                <a:gd name="connsiteX146" fmla="*/ 19382156 w 26653740"/>
                <a:gd name="connsiteY146" fmla="*/ 14764735 h 16570717"/>
                <a:gd name="connsiteX147" fmla="*/ 19329740 w 26653740"/>
                <a:gd name="connsiteY147" fmla="*/ 14769501 h 16570717"/>
                <a:gd name="connsiteX148" fmla="*/ 19305912 w 26653740"/>
                <a:gd name="connsiteY148" fmla="*/ 14774265 h 16570717"/>
                <a:gd name="connsiteX149" fmla="*/ 19286852 w 26653740"/>
                <a:gd name="connsiteY149" fmla="*/ 14793325 h 16570717"/>
                <a:gd name="connsiteX150" fmla="*/ 19272556 w 26653740"/>
                <a:gd name="connsiteY150" fmla="*/ 14812387 h 16570717"/>
                <a:gd name="connsiteX151" fmla="*/ 19267792 w 26653740"/>
                <a:gd name="connsiteY151" fmla="*/ 14860037 h 16570717"/>
                <a:gd name="connsiteX152" fmla="*/ 19215376 w 26653740"/>
                <a:gd name="connsiteY152" fmla="*/ 15017287 h 16570717"/>
                <a:gd name="connsiteX153" fmla="*/ 19201080 w 26653740"/>
                <a:gd name="connsiteY153" fmla="*/ 15060173 h 16570717"/>
                <a:gd name="connsiteX154" fmla="*/ 19196316 w 26653740"/>
                <a:gd name="connsiteY154" fmla="*/ 15103059 h 16570717"/>
                <a:gd name="connsiteX155" fmla="*/ 19201080 w 26653740"/>
                <a:gd name="connsiteY155" fmla="*/ 15136415 h 16570717"/>
                <a:gd name="connsiteX156" fmla="*/ 19205848 w 26653740"/>
                <a:gd name="connsiteY156" fmla="*/ 15145945 h 16570717"/>
                <a:gd name="connsiteX157" fmla="*/ 19220140 w 26653740"/>
                <a:gd name="connsiteY157" fmla="*/ 15184067 h 16570717"/>
                <a:gd name="connsiteX158" fmla="*/ 19229672 w 26653740"/>
                <a:gd name="connsiteY158" fmla="*/ 15203127 h 16570717"/>
                <a:gd name="connsiteX159" fmla="*/ 19239200 w 26653740"/>
                <a:gd name="connsiteY159" fmla="*/ 15212657 h 16570717"/>
                <a:gd name="connsiteX160" fmla="*/ 19248732 w 26653740"/>
                <a:gd name="connsiteY160" fmla="*/ 15217423 h 16570717"/>
                <a:gd name="connsiteX161" fmla="*/ 19253496 w 26653740"/>
                <a:gd name="connsiteY161" fmla="*/ 15222187 h 16570717"/>
                <a:gd name="connsiteX162" fmla="*/ 19258264 w 26653740"/>
                <a:gd name="connsiteY162" fmla="*/ 15231717 h 16570717"/>
                <a:gd name="connsiteX163" fmla="*/ 19272556 w 26653740"/>
                <a:gd name="connsiteY163" fmla="*/ 15255543 h 16570717"/>
                <a:gd name="connsiteX164" fmla="*/ 19282088 w 26653740"/>
                <a:gd name="connsiteY164" fmla="*/ 15303195 h 16570717"/>
                <a:gd name="connsiteX165" fmla="*/ 19296384 w 26653740"/>
                <a:gd name="connsiteY165" fmla="*/ 15341315 h 16570717"/>
                <a:gd name="connsiteX166" fmla="*/ 19305912 w 26653740"/>
                <a:gd name="connsiteY166" fmla="*/ 15350845 h 16570717"/>
                <a:gd name="connsiteX167" fmla="*/ 19320208 w 26653740"/>
                <a:gd name="connsiteY167" fmla="*/ 15350845 h 16570717"/>
                <a:gd name="connsiteX168" fmla="*/ 19329740 w 26653740"/>
                <a:gd name="connsiteY168" fmla="*/ 15350845 h 16570717"/>
                <a:gd name="connsiteX169" fmla="*/ 19339268 w 26653740"/>
                <a:gd name="connsiteY169" fmla="*/ 15355611 h 16570717"/>
                <a:gd name="connsiteX170" fmla="*/ 19344036 w 26653740"/>
                <a:gd name="connsiteY170" fmla="*/ 15360377 h 16570717"/>
                <a:gd name="connsiteX171" fmla="*/ 19353564 w 26653740"/>
                <a:gd name="connsiteY171" fmla="*/ 15403263 h 16570717"/>
                <a:gd name="connsiteX172" fmla="*/ 19358332 w 26653740"/>
                <a:gd name="connsiteY172" fmla="*/ 15441383 h 16570717"/>
                <a:gd name="connsiteX173" fmla="*/ 19358332 w 26653740"/>
                <a:gd name="connsiteY173" fmla="*/ 15450913 h 16570717"/>
                <a:gd name="connsiteX174" fmla="*/ 19348800 w 26653740"/>
                <a:gd name="connsiteY174" fmla="*/ 15479505 h 16570717"/>
                <a:gd name="connsiteX175" fmla="*/ 19348800 w 26653740"/>
                <a:gd name="connsiteY175" fmla="*/ 15493799 h 16570717"/>
                <a:gd name="connsiteX176" fmla="*/ 19344036 w 26653740"/>
                <a:gd name="connsiteY176" fmla="*/ 15508095 h 16570717"/>
                <a:gd name="connsiteX177" fmla="*/ 19344036 w 26653740"/>
                <a:gd name="connsiteY177" fmla="*/ 15517625 h 16570717"/>
                <a:gd name="connsiteX178" fmla="*/ 19339268 w 26653740"/>
                <a:gd name="connsiteY178" fmla="*/ 15527155 h 16570717"/>
                <a:gd name="connsiteX179" fmla="*/ 19334504 w 26653740"/>
                <a:gd name="connsiteY179" fmla="*/ 15484269 h 16570717"/>
                <a:gd name="connsiteX180" fmla="*/ 19329740 w 26653740"/>
                <a:gd name="connsiteY180" fmla="*/ 15450913 h 16570717"/>
                <a:gd name="connsiteX181" fmla="*/ 19324976 w 26653740"/>
                <a:gd name="connsiteY181" fmla="*/ 15427087 h 16570717"/>
                <a:gd name="connsiteX182" fmla="*/ 19315444 w 26653740"/>
                <a:gd name="connsiteY182" fmla="*/ 15408027 h 16570717"/>
                <a:gd name="connsiteX183" fmla="*/ 19277324 w 26653740"/>
                <a:gd name="connsiteY183" fmla="*/ 15398497 h 16570717"/>
                <a:gd name="connsiteX184" fmla="*/ 19243968 w 26653740"/>
                <a:gd name="connsiteY184" fmla="*/ 15393731 h 16570717"/>
                <a:gd name="connsiteX185" fmla="*/ 19239200 w 26653740"/>
                <a:gd name="connsiteY185" fmla="*/ 15393731 h 16570717"/>
                <a:gd name="connsiteX186" fmla="*/ 19229672 w 26653740"/>
                <a:gd name="connsiteY186" fmla="*/ 15379437 h 16570717"/>
                <a:gd name="connsiteX187" fmla="*/ 19220140 w 26653740"/>
                <a:gd name="connsiteY187" fmla="*/ 15369907 h 16570717"/>
                <a:gd name="connsiteX188" fmla="*/ 19210612 w 26653740"/>
                <a:gd name="connsiteY188" fmla="*/ 15369907 h 16570717"/>
                <a:gd name="connsiteX189" fmla="*/ 19205848 w 26653740"/>
                <a:gd name="connsiteY189" fmla="*/ 15374671 h 16570717"/>
                <a:gd name="connsiteX190" fmla="*/ 19186784 w 26653740"/>
                <a:gd name="connsiteY190" fmla="*/ 15388967 h 16570717"/>
                <a:gd name="connsiteX191" fmla="*/ 19177256 w 26653740"/>
                <a:gd name="connsiteY191" fmla="*/ 15408027 h 16570717"/>
                <a:gd name="connsiteX192" fmla="*/ 19167724 w 26653740"/>
                <a:gd name="connsiteY192" fmla="*/ 15431853 h 16570717"/>
                <a:gd name="connsiteX193" fmla="*/ 19162960 w 26653740"/>
                <a:gd name="connsiteY193" fmla="*/ 15450913 h 16570717"/>
                <a:gd name="connsiteX194" fmla="*/ 19143900 w 26653740"/>
                <a:gd name="connsiteY194" fmla="*/ 15512861 h 16570717"/>
                <a:gd name="connsiteX195" fmla="*/ 19139136 w 26653740"/>
                <a:gd name="connsiteY195" fmla="*/ 15531921 h 16570717"/>
                <a:gd name="connsiteX196" fmla="*/ 19124840 w 26653740"/>
                <a:gd name="connsiteY196" fmla="*/ 15550981 h 16570717"/>
                <a:gd name="connsiteX197" fmla="*/ 19115308 w 26653740"/>
                <a:gd name="connsiteY197" fmla="*/ 15541451 h 16570717"/>
                <a:gd name="connsiteX198" fmla="*/ 19105780 w 26653740"/>
                <a:gd name="connsiteY198" fmla="*/ 15531921 h 16570717"/>
                <a:gd name="connsiteX199" fmla="*/ 19101012 w 26653740"/>
                <a:gd name="connsiteY199" fmla="*/ 15512861 h 16570717"/>
                <a:gd name="connsiteX200" fmla="*/ 19101012 w 26653740"/>
                <a:gd name="connsiteY200" fmla="*/ 15493799 h 16570717"/>
                <a:gd name="connsiteX201" fmla="*/ 19086716 w 26653740"/>
                <a:gd name="connsiteY201" fmla="*/ 15431853 h 16570717"/>
                <a:gd name="connsiteX202" fmla="*/ 19091484 w 26653740"/>
                <a:gd name="connsiteY202" fmla="*/ 15374671 h 16570717"/>
                <a:gd name="connsiteX203" fmla="*/ 19115308 w 26653740"/>
                <a:gd name="connsiteY203" fmla="*/ 15298429 h 16570717"/>
                <a:gd name="connsiteX204" fmla="*/ 19120072 w 26653740"/>
                <a:gd name="connsiteY204" fmla="*/ 15274603 h 16570717"/>
                <a:gd name="connsiteX205" fmla="*/ 19115308 w 26653740"/>
                <a:gd name="connsiteY205" fmla="*/ 15250777 h 16570717"/>
                <a:gd name="connsiteX206" fmla="*/ 19110544 w 26653740"/>
                <a:gd name="connsiteY206" fmla="*/ 15226953 h 16570717"/>
                <a:gd name="connsiteX207" fmla="*/ 19105780 w 26653740"/>
                <a:gd name="connsiteY207" fmla="*/ 15179301 h 16570717"/>
                <a:gd name="connsiteX208" fmla="*/ 19110544 w 26653740"/>
                <a:gd name="connsiteY208" fmla="*/ 15169771 h 16570717"/>
                <a:gd name="connsiteX209" fmla="*/ 19115308 w 26653740"/>
                <a:gd name="connsiteY209" fmla="*/ 15145945 h 16570717"/>
                <a:gd name="connsiteX210" fmla="*/ 19124840 w 26653740"/>
                <a:gd name="connsiteY210" fmla="*/ 15117355 h 16570717"/>
                <a:gd name="connsiteX211" fmla="*/ 19139136 w 26653740"/>
                <a:gd name="connsiteY211" fmla="*/ 15098293 h 16570717"/>
                <a:gd name="connsiteX212" fmla="*/ 19143900 w 26653740"/>
                <a:gd name="connsiteY212" fmla="*/ 15069703 h 16570717"/>
                <a:gd name="connsiteX213" fmla="*/ 19134368 w 26653740"/>
                <a:gd name="connsiteY213" fmla="*/ 15007757 h 16570717"/>
                <a:gd name="connsiteX214" fmla="*/ 19120072 w 26653740"/>
                <a:gd name="connsiteY214" fmla="*/ 14964871 h 16570717"/>
                <a:gd name="connsiteX215" fmla="*/ 19096248 w 26653740"/>
                <a:gd name="connsiteY215" fmla="*/ 14921985 h 16570717"/>
                <a:gd name="connsiteX216" fmla="*/ 19091484 w 26653740"/>
                <a:gd name="connsiteY216" fmla="*/ 14907689 h 16570717"/>
                <a:gd name="connsiteX217" fmla="*/ 19091484 w 26653740"/>
                <a:gd name="connsiteY217" fmla="*/ 14898159 h 16570717"/>
                <a:gd name="connsiteX218" fmla="*/ 19110544 w 26653740"/>
                <a:gd name="connsiteY218" fmla="*/ 14845743 h 16570717"/>
                <a:gd name="connsiteX219" fmla="*/ 19115308 w 26653740"/>
                <a:gd name="connsiteY219" fmla="*/ 14821917 h 16570717"/>
                <a:gd name="connsiteX220" fmla="*/ 19124840 w 26653740"/>
                <a:gd name="connsiteY220" fmla="*/ 14764735 h 16570717"/>
                <a:gd name="connsiteX221" fmla="*/ 19129604 w 26653740"/>
                <a:gd name="connsiteY221" fmla="*/ 14736145 h 16570717"/>
                <a:gd name="connsiteX222" fmla="*/ 19134368 w 26653740"/>
                <a:gd name="connsiteY222" fmla="*/ 14702789 h 16570717"/>
                <a:gd name="connsiteX223" fmla="*/ 19139136 w 26653740"/>
                <a:gd name="connsiteY223" fmla="*/ 14545539 h 16570717"/>
                <a:gd name="connsiteX224" fmla="*/ 19134368 w 26653740"/>
                <a:gd name="connsiteY224" fmla="*/ 14521713 h 16570717"/>
                <a:gd name="connsiteX225" fmla="*/ 19124840 w 26653740"/>
                <a:gd name="connsiteY225" fmla="*/ 14474063 h 16570717"/>
                <a:gd name="connsiteX226" fmla="*/ 19124840 w 26653740"/>
                <a:gd name="connsiteY226" fmla="*/ 14445471 h 16570717"/>
                <a:gd name="connsiteX227" fmla="*/ 19129604 w 26653740"/>
                <a:gd name="connsiteY227" fmla="*/ 14407351 h 16570717"/>
                <a:gd name="connsiteX228" fmla="*/ 19134368 w 26653740"/>
                <a:gd name="connsiteY228" fmla="*/ 14378759 h 16570717"/>
                <a:gd name="connsiteX229" fmla="*/ 19143900 w 26653740"/>
                <a:gd name="connsiteY229" fmla="*/ 14354935 h 16570717"/>
                <a:gd name="connsiteX230" fmla="*/ 19143900 w 26653740"/>
                <a:gd name="connsiteY230" fmla="*/ 14297753 h 16570717"/>
                <a:gd name="connsiteX231" fmla="*/ 19129604 w 26653740"/>
                <a:gd name="connsiteY231" fmla="*/ 14245337 h 16570717"/>
                <a:gd name="connsiteX232" fmla="*/ 19115308 w 26653740"/>
                <a:gd name="connsiteY232" fmla="*/ 14221511 h 16570717"/>
                <a:gd name="connsiteX233" fmla="*/ 19091484 w 26653740"/>
                <a:gd name="connsiteY233" fmla="*/ 14197685 h 16570717"/>
                <a:gd name="connsiteX234" fmla="*/ 19077188 w 26653740"/>
                <a:gd name="connsiteY234" fmla="*/ 14178625 h 16570717"/>
                <a:gd name="connsiteX235" fmla="*/ 19072424 w 26653740"/>
                <a:gd name="connsiteY235" fmla="*/ 14169095 h 16570717"/>
                <a:gd name="connsiteX236" fmla="*/ 19077188 w 26653740"/>
                <a:gd name="connsiteY236" fmla="*/ 14164329 h 16570717"/>
                <a:gd name="connsiteX237" fmla="*/ 19081952 w 26653740"/>
                <a:gd name="connsiteY237" fmla="*/ 14154799 h 16570717"/>
                <a:gd name="connsiteX238" fmla="*/ 19072424 w 26653740"/>
                <a:gd name="connsiteY238" fmla="*/ 14140503 h 16570717"/>
                <a:gd name="connsiteX239" fmla="*/ 19062892 w 26653740"/>
                <a:gd name="connsiteY239" fmla="*/ 14121443 h 16570717"/>
                <a:gd name="connsiteX240" fmla="*/ 19058128 w 26653740"/>
                <a:gd name="connsiteY240" fmla="*/ 14030905 h 16570717"/>
                <a:gd name="connsiteX241" fmla="*/ 19062892 w 26653740"/>
                <a:gd name="connsiteY241" fmla="*/ 14011845 h 16570717"/>
                <a:gd name="connsiteX242" fmla="*/ 19072424 w 26653740"/>
                <a:gd name="connsiteY242" fmla="*/ 13988019 h 16570717"/>
                <a:gd name="connsiteX243" fmla="*/ 19081952 w 26653740"/>
                <a:gd name="connsiteY243" fmla="*/ 13959429 h 16570717"/>
                <a:gd name="connsiteX244" fmla="*/ 19091484 w 26653740"/>
                <a:gd name="connsiteY244" fmla="*/ 13897483 h 16570717"/>
                <a:gd name="connsiteX245" fmla="*/ 19096248 w 26653740"/>
                <a:gd name="connsiteY245" fmla="*/ 13835535 h 16570717"/>
                <a:gd name="connsiteX246" fmla="*/ 19086716 w 26653740"/>
                <a:gd name="connsiteY246" fmla="*/ 13811709 h 16570717"/>
                <a:gd name="connsiteX247" fmla="*/ 19086716 w 26653740"/>
                <a:gd name="connsiteY247" fmla="*/ 13754529 h 16570717"/>
                <a:gd name="connsiteX248" fmla="*/ 19091484 w 26653740"/>
                <a:gd name="connsiteY248" fmla="*/ 13744999 h 16570717"/>
                <a:gd name="connsiteX249" fmla="*/ 19110544 w 26653740"/>
                <a:gd name="connsiteY249" fmla="*/ 13725937 h 16570717"/>
                <a:gd name="connsiteX250" fmla="*/ 19134368 w 26653740"/>
                <a:gd name="connsiteY250" fmla="*/ 13716407 h 16570717"/>
                <a:gd name="connsiteX251" fmla="*/ 19139136 w 26653740"/>
                <a:gd name="connsiteY251" fmla="*/ 13721173 h 16570717"/>
                <a:gd name="connsiteX252" fmla="*/ 19162960 w 26653740"/>
                <a:gd name="connsiteY252" fmla="*/ 13740233 h 16570717"/>
                <a:gd name="connsiteX253" fmla="*/ 19172492 w 26653740"/>
                <a:gd name="connsiteY253" fmla="*/ 13740233 h 16570717"/>
                <a:gd name="connsiteX254" fmla="*/ 19177256 w 26653740"/>
                <a:gd name="connsiteY254" fmla="*/ 13740233 h 16570717"/>
                <a:gd name="connsiteX255" fmla="*/ 19196316 w 26653740"/>
                <a:gd name="connsiteY255" fmla="*/ 13730703 h 16570717"/>
                <a:gd name="connsiteX256" fmla="*/ 19205848 w 26653740"/>
                <a:gd name="connsiteY256" fmla="*/ 13706877 h 16570717"/>
                <a:gd name="connsiteX257" fmla="*/ 19191552 w 26653740"/>
                <a:gd name="connsiteY257" fmla="*/ 13692581 h 16570717"/>
                <a:gd name="connsiteX258" fmla="*/ 19201080 w 26653740"/>
                <a:gd name="connsiteY258" fmla="*/ 13673521 h 16570717"/>
                <a:gd name="connsiteX259" fmla="*/ 19220140 w 26653740"/>
                <a:gd name="connsiteY259" fmla="*/ 13668757 h 16570717"/>
                <a:gd name="connsiteX260" fmla="*/ 19220140 w 26653740"/>
                <a:gd name="connsiteY260" fmla="*/ 13654461 h 16570717"/>
                <a:gd name="connsiteX261" fmla="*/ 19215376 w 26653740"/>
                <a:gd name="connsiteY261" fmla="*/ 13654461 h 16570717"/>
                <a:gd name="connsiteX262" fmla="*/ 19220140 w 26653740"/>
                <a:gd name="connsiteY262" fmla="*/ 13630635 h 16570717"/>
                <a:gd name="connsiteX263" fmla="*/ 19224908 w 26653740"/>
                <a:gd name="connsiteY263" fmla="*/ 13611575 h 16570717"/>
                <a:gd name="connsiteX264" fmla="*/ 19220140 w 26653740"/>
                <a:gd name="connsiteY264" fmla="*/ 13592515 h 16570717"/>
                <a:gd name="connsiteX265" fmla="*/ 19186784 w 26653740"/>
                <a:gd name="connsiteY265" fmla="*/ 13544863 h 16570717"/>
                <a:gd name="connsiteX266" fmla="*/ 19167724 w 26653740"/>
                <a:gd name="connsiteY266" fmla="*/ 13506741 h 16570717"/>
                <a:gd name="connsiteX267" fmla="*/ 19201080 w 26653740"/>
                <a:gd name="connsiteY267" fmla="*/ 13506741 h 16570717"/>
                <a:gd name="connsiteX268" fmla="*/ 19210612 w 26653740"/>
                <a:gd name="connsiteY268" fmla="*/ 13501977 h 16570717"/>
                <a:gd name="connsiteX269" fmla="*/ 19215376 w 26653740"/>
                <a:gd name="connsiteY269" fmla="*/ 13487681 h 16570717"/>
                <a:gd name="connsiteX270" fmla="*/ 23089424 w 26653740"/>
                <a:gd name="connsiteY270" fmla="*/ 13354257 h 16570717"/>
                <a:gd name="connsiteX271" fmla="*/ 23098956 w 26653740"/>
                <a:gd name="connsiteY271" fmla="*/ 13354257 h 16570717"/>
                <a:gd name="connsiteX272" fmla="*/ 23108484 w 26653740"/>
                <a:gd name="connsiteY272" fmla="*/ 13368552 h 16570717"/>
                <a:gd name="connsiteX273" fmla="*/ 23127548 w 26653740"/>
                <a:gd name="connsiteY273" fmla="*/ 13378083 h 16570717"/>
                <a:gd name="connsiteX274" fmla="*/ 23156136 w 26653740"/>
                <a:gd name="connsiteY274" fmla="*/ 13397143 h 16570717"/>
                <a:gd name="connsiteX275" fmla="*/ 23179964 w 26653740"/>
                <a:gd name="connsiteY275" fmla="*/ 13430499 h 16570717"/>
                <a:gd name="connsiteX276" fmla="*/ 23189492 w 26653740"/>
                <a:gd name="connsiteY276" fmla="*/ 13444793 h 16570717"/>
                <a:gd name="connsiteX277" fmla="*/ 23122780 w 26653740"/>
                <a:gd name="connsiteY277" fmla="*/ 13397143 h 16570717"/>
                <a:gd name="connsiteX278" fmla="*/ 23094192 w 26653740"/>
                <a:gd name="connsiteY278" fmla="*/ 13368552 h 16570717"/>
                <a:gd name="connsiteX279" fmla="*/ 18357652 w 26653740"/>
                <a:gd name="connsiteY279" fmla="*/ 13282780 h 16570717"/>
                <a:gd name="connsiteX280" fmla="*/ 18362420 w 26653740"/>
                <a:gd name="connsiteY280" fmla="*/ 13287545 h 16570717"/>
                <a:gd name="connsiteX281" fmla="*/ 18338592 w 26653740"/>
                <a:gd name="connsiteY281" fmla="*/ 13335196 h 16570717"/>
                <a:gd name="connsiteX282" fmla="*/ 18329064 w 26653740"/>
                <a:gd name="connsiteY282" fmla="*/ 13335196 h 16570717"/>
                <a:gd name="connsiteX283" fmla="*/ 18319532 w 26653740"/>
                <a:gd name="connsiteY283" fmla="*/ 13325666 h 16570717"/>
                <a:gd name="connsiteX284" fmla="*/ 18295708 w 26653740"/>
                <a:gd name="connsiteY284" fmla="*/ 13330431 h 16570717"/>
                <a:gd name="connsiteX285" fmla="*/ 18286176 w 26653740"/>
                <a:gd name="connsiteY285" fmla="*/ 13325666 h 16570717"/>
                <a:gd name="connsiteX286" fmla="*/ 18300472 w 26653740"/>
                <a:gd name="connsiteY286" fmla="*/ 13311371 h 16570717"/>
                <a:gd name="connsiteX287" fmla="*/ 18333828 w 26653740"/>
                <a:gd name="connsiteY287" fmla="*/ 13287545 h 16570717"/>
                <a:gd name="connsiteX288" fmla="*/ 18343360 w 26653740"/>
                <a:gd name="connsiteY288" fmla="*/ 13287545 h 16570717"/>
                <a:gd name="connsiteX289" fmla="*/ 18424364 w 26653740"/>
                <a:gd name="connsiteY289" fmla="*/ 13258955 h 16570717"/>
                <a:gd name="connsiteX290" fmla="*/ 18476780 w 26653740"/>
                <a:gd name="connsiteY290" fmla="*/ 13282781 h 16570717"/>
                <a:gd name="connsiteX291" fmla="*/ 18476780 w 26653740"/>
                <a:gd name="connsiteY291" fmla="*/ 13287546 h 16570717"/>
                <a:gd name="connsiteX292" fmla="*/ 18495844 w 26653740"/>
                <a:gd name="connsiteY292" fmla="*/ 13297076 h 16570717"/>
                <a:gd name="connsiteX293" fmla="*/ 18514904 w 26653740"/>
                <a:gd name="connsiteY293" fmla="*/ 13297076 h 16570717"/>
                <a:gd name="connsiteX294" fmla="*/ 18519668 w 26653740"/>
                <a:gd name="connsiteY294" fmla="*/ 13306606 h 16570717"/>
                <a:gd name="connsiteX295" fmla="*/ 18505372 w 26653740"/>
                <a:gd name="connsiteY295" fmla="*/ 13316137 h 16570717"/>
                <a:gd name="connsiteX296" fmla="*/ 18491076 w 26653740"/>
                <a:gd name="connsiteY296" fmla="*/ 13339962 h 16570717"/>
                <a:gd name="connsiteX297" fmla="*/ 18486312 w 26653740"/>
                <a:gd name="connsiteY297" fmla="*/ 13363788 h 16570717"/>
                <a:gd name="connsiteX298" fmla="*/ 18481548 w 26653740"/>
                <a:gd name="connsiteY298" fmla="*/ 13373318 h 16570717"/>
                <a:gd name="connsiteX299" fmla="*/ 18467252 w 26653740"/>
                <a:gd name="connsiteY299" fmla="*/ 13382849 h 16570717"/>
                <a:gd name="connsiteX300" fmla="*/ 18457720 w 26653740"/>
                <a:gd name="connsiteY300" fmla="*/ 13397143 h 16570717"/>
                <a:gd name="connsiteX301" fmla="*/ 18443424 w 26653740"/>
                <a:gd name="connsiteY301" fmla="*/ 13406673 h 16570717"/>
                <a:gd name="connsiteX302" fmla="*/ 18433896 w 26653740"/>
                <a:gd name="connsiteY302" fmla="*/ 13406673 h 16570717"/>
                <a:gd name="connsiteX303" fmla="*/ 18414836 w 26653740"/>
                <a:gd name="connsiteY303" fmla="*/ 13359023 h 16570717"/>
                <a:gd name="connsiteX304" fmla="*/ 18405304 w 26653740"/>
                <a:gd name="connsiteY304" fmla="*/ 13349492 h 16570717"/>
                <a:gd name="connsiteX305" fmla="*/ 18376716 w 26653740"/>
                <a:gd name="connsiteY305" fmla="*/ 13368553 h 16570717"/>
                <a:gd name="connsiteX306" fmla="*/ 18367184 w 26653740"/>
                <a:gd name="connsiteY306" fmla="*/ 13373318 h 16570717"/>
                <a:gd name="connsiteX307" fmla="*/ 18376716 w 26653740"/>
                <a:gd name="connsiteY307" fmla="*/ 13344727 h 16570717"/>
                <a:gd name="connsiteX308" fmla="*/ 18391008 w 26653740"/>
                <a:gd name="connsiteY308" fmla="*/ 13316137 h 16570717"/>
                <a:gd name="connsiteX309" fmla="*/ 18400540 w 26653740"/>
                <a:gd name="connsiteY309" fmla="*/ 13311371 h 16570717"/>
                <a:gd name="connsiteX310" fmla="*/ 18419600 w 26653740"/>
                <a:gd name="connsiteY310" fmla="*/ 13268485 h 16570717"/>
                <a:gd name="connsiteX311" fmla="*/ 200136 w 26653740"/>
                <a:gd name="connsiteY311" fmla="*/ 13235129 h 16570717"/>
                <a:gd name="connsiteX312" fmla="*/ 209666 w 26653740"/>
                <a:gd name="connsiteY312" fmla="*/ 13239894 h 16570717"/>
                <a:gd name="connsiteX313" fmla="*/ 195370 w 26653740"/>
                <a:gd name="connsiteY313" fmla="*/ 13263720 h 16570717"/>
                <a:gd name="connsiteX314" fmla="*/ 152484 w 26653740"/>
                <a:gd name="connsiteY314" fmla="*/ 13320901 h 16570717"/>
                <a:gd name="connsiteX315" fmla="*/ 166780 w 26653740"/>
                <a:gd name="connsiteY315" fmla="*/ 13325667 h 16570717"/>
                <a:gd name="connsiteX316" fmla="*/ 181074 w 26653740"/>
                <a:gd name="connsiteY316" fmla="*/ 13325667 h 16570717"/>
                <a:gd name="connsiteX317" fmla="*/ 200136 w 26653740"/>
                <a:gd name="connsiteY317" fmla="*/ 13339962 h 16570717"/>
                <a:gd name="connsiteX318" fmla="*/ 214430 w 26653740"/>
                <a:gd name="connsiteY318" fmla="*/ 13339962 h 16570717"/>
                <a:gd name="connsiteX319" fmla="*/ 247786 w 26653740"/>
                <a:gd name="connsiteY319" fmla="*/ 13330432 h 16570717"/>
                <a:gd name="connsiteX320" fmla="*/ 252552 w 26653740"/>
                <a:gd name="connsiteY320" fmla="*/ 13282780 h 16570717"/>
                <a:gd name="connsiteX321" fmla="*/ 252552 w 26653740"/>
                <a:gd name="connsiteY321" fmla="*/ 13239894 h 16570717"/>
                <a:gd name="connsiteX322" fmla="*/ 262082 w 26653740"/>
                <a:gd name="connsiteY322" fmla="*/ 13239894 h 16570717"/>
                <a:gd name="connsiteX323" fmla="*/ 276378 w 26653740"/>
                <a:gd name="connsiteY323" fmla="*/ 13239894 h 16570717"/>
                <a:gd name="connsiteX324" fmla="*/ 285908 w 26653740"/>
                <a:gd name="connsiteY324" fmla="*/ 13249424 h 16570717"/>
                <a:gd name="connsiteX325" fmla="*/ 304968 w 26653740"/>
                <a:gd name="connsiteY325" fmla="*/ 13258955 h 16570717"/>
                <a:gd name="connsiteX326" fmla="*/ 324028 w 26653740"/>
                <a:gd name="connsiteY326" fmla="*/ 13268485 h 16570717"/>
                <a:gd name="connsiteX327" fmla="*/ 352620 w 26653740"/>
                <a:gd name="connsiteY327" fmla="*/ 13287545 h 16570717"/>
                <a:gd name="connsiteX328" fmla="*/ 385976 w 26653740"/>
                <a:gd name="connsiteY328" fmla="*/ 13297076 h 16570717"/>
                <a:gd name="connsiteX329" fmla="*/ 395506 w 26653740"/>
                <a:gd name="connsiteY329" fmla="*/ 13297076 h 16570717"/>
                <a:gd name="connsiteX330" fmla="*/ 424096 w 26653740"/>
                <a:gd name="connsiteY330" fmla="*/ 13297076 h 16570717"/>
                <a:gd name="connsiteX331" fmla="*/ 462216 w 26653740"/>
                <a:gd name="connsiteY331" fmla="*/ 13297076 h 16570717"/>
                <a:gd name="connsiteX332" fmla="*/ 471748 w 26653740"/>
                <a:gd name="connsiteY332" fmla="*/ 13320901 h 16570717"/>
                <a:gd name="connsiteX333" fmla="*/ 486042 w 26653740"/>
                <a:gd name="connsiteY333" fmla="*/ 13335197 h 16570717"/>
                <a:gd name="connsiteX334" fmla="*/ 500338 w 26653740"/>
                <a:gd name="connsiteY334" fmla="*/ 13349492 h 16570717"/>
                <a:gd name="connsiteX335" fmla="*/ 500338 w 26653740"/>
                <a:gd name="connsiteY335" fmla="*/ 13359022 h 16570717"/>
                <a:gd name="connsiteX336" fmla="*/ 481278 w 26653740"/>
                <a:gd name="connsiteY336" fmla="*/ 13411439 h 16570717"/>
                <a:gd name="connsiteX337" fmla="*/ 481278 w 26653740"/>
                <a:gd name="connsiteY337" fmla="*/ 13430499 h 16570717"/>
                <a:gd name="connsiteX338" fmla="*/ 476512 w 26653740"/>
                <a:gd name="connsiteY338" fmla="*/ 13449559 h 16570717"/>
                <a:gd name="connsiteX339" fmla="*/ 486042 w 26653740"/>
                <a:gd name="connsiteY339" fmla="*/ 13473385 h 16570717"/>
                <a:gd name="connsiteX340" fmla="*/ 490808 w 26653740"/>
                <a:gd name="connsiteY340" fmla="*/ 13487681 h 16570717"/>
                <a:gd name="connsiteX341" fmla="*/ 486042 w 26653740"/>
                <a:gd name="connsiteY341" fmla="*/ 13487681 h 16570717"/>
                <a:gd name="connsiteX342" fmla="*/ 400270 w 26653740"/>
                <a:gd name="connsiteY342" fmla="*/ 13487681 h 16570717"/>
                <a:gd name="connsiteX343" fmla="*/ 314498 w 26653740"/>
                <a:gd name="connsiteY343" fmla="*/ 13482915 h 16570717"/>
                <a:gd name="connsiteX344" fmla="*/ 238256 w 26653740"/>
                <a:gd name="connsiteY344" fmla="*/ 13478151 h 16570717"/>
                <a:gd name="connsiteX345" fmla="*/ 162014 w 26653740"/>
                <a:gd name="connsiteY345" fmla="*/ 13473385 h 16570717"/>
                <a:gd name="connsiteX346" fmla="*/ 90538 w 26653740"/>
                <a:gd name="connsiteY346" fmla="*/ 13468621 h 16570717"/>
                <a:gd name="connsiteX347" fmla="*/ 47652 w 26653740"/>
                <a:gd name="connsiteY347" fmla="*/ 13468621 h 16570717"/>
                <a:gd name="connsiteX348" fmla="*/ 4766 w 26653740"/>
                <a:gd name="connsiteY348" fmla="*/ 13463855 h 16570717"/>
                <a:gd name="connsiteX349" fmla="*/ 0 w 26653740"/>
                <a:gd name="connsiteY349" fmla="*/ 13459091 h 16570717"/>
                <a:gd name="connsiteX350" fmla="*/ 23826 w 26653740"/>
                <a:gd name="connsiteY350" fmla="*/ 13435265 h 16570717"/>
                <a:gd name="connsiteX351" fmla="*/ 38120 w 26653740"/>
                <a:gd name="connsiteY351" fmla="*/ 13411439 h 16570717"/>
                <a:gd name="connsiteX352" fmla="*/ 52416 w 26653740"/>
                <a:gd name="connsiteY352" fmla="*/ 13382849 h 16570717"/>
                <a:gd name="connsiteX353" fmla="*/ 52416 w 26653740"/>
                <a:gd name="connsiteY353" fmla="*/ 13359022 h 16570717"/>
                <a:gd name="connsiteX354" fmla="*/ 57182 w 26653740"/>
                <a:gd name="connsiteY354" fmla="*/ 13335197 h 16570717"/>
                <a:gd name="connsiteX355" fmla="*/ 76242 w 26653740"/>
                <a:gd name="connsiteY355" fmla="*/ 13325667 h 16570717"/>
                <a:gd name="connsiteX356" fmla="*/ 123894 w 26653740"/>
                <a:gd name="connsiteY356" fmla="*/ 13325667 h 16570717"/>
                <a:gd name="connsiteX357" fmla="*/ 142954 w 26653740"/>
                <a:gd name="connsiteY357" fmla="*/ 13316136 h 16570717"/>
                <a:gd name="connsiteX358" fmla="*/ 166780 w 26653740"/>
                <a:gd name="connsiteY358" fmla="*/ 13287545 h 16570717"/>
                <a:gd name="connsiteX359" fmla="*/ 190604 w 26653740"/>
                <a:gd name="connsiteY359" fmla="*/ 13249424 h 16570717"/>
                <a:gd name="connsiteX360" fmla="*/ 22851168 w 26653740"/>
                <a:gd name="connsiteY360" fmla="*/ 13216069 h 16570717"/>
                <a:gd name="connsiteX361" fmla="*/ 22894056 w 26653740"/>
                <a:gd name="connsiteY361" fmla="*/ 13225599 h 16570717"/>
                <a:gd name="connsiteX362" fmla="*/ 22903584 w 26653740"/>
                <a:gd name="connsiteY362" fmla="*/ 13230364 h 16570717"/>
                <a:gd name="connsiteX363" fmla="*/ 22898820 w 26653740"/>
                <a:gd name="connsiteY363" fmla="*/ 13249425 h 16570717"/>
                <a:gd name="connsiteX364" fmla="*/ 22898820 w 26653740"/>
                <a:gd name="connsiteY364" fmla="*/ 13268485 h 16570717"/>
                <a:gd name="connsiteX365" fmla="*/ 22922644 w 26653740"/>
                <a:gd name="connsiteY365" fmla="*/ 13311372 h 16570717"/>
                <a:gd name="connsiteX366" fmla="*/ 22936940 w 26653740"/>
                <a:gd name="connsiteY366" fmla="*/ 13325667 h 16570717"/>
                <a:gd name="connsiteX367" fmla="*/ 22951236 w 26653740"/>
                <a:gd name="connsiteY367" fmla="*/ 13339962 h 16570717"/>
                <a:gd name="connsiteX368" fmla="*/ 22965532 w 26653740"/>
                <a:gd name="connsiteY368" fmla="*/ 13359023 h 16570717"/>
                <a:gd name="connsiteX369" fmla="*/ 22960768 w 26653740"/>
                <a:gd name="connsiteY369" fmla="*/ 13397145 h 16570717"/>
                <a:gd name="connsiteX370" fmla="*/ 22941708 w 26653740"/>
                <a:gd name="connsiteY370" fmla="*/ 13378083 h 16570717"/>
                <a:gd name="connsiteX371" fmla="*/ 22932176 w 26653740"/>
                <a:gd name="connsiteY371" fmla="*/ 13359023 h 16570717"/>
                <a:gd name="connsiteX372" fmla="*/ 22922644 w 26653740"/>
                <a:gd name="connsiteY372" fmla="*/ 13359023 h 16570717"/>
                <a:gd name="connsiteX373" fmla="*/ 22913116 w 26653740"/>
                <a:gd name="connsiteY373" fmla="*/ 13349493 h 16570717"/>
                <a:gd name="connsiteX374" fmla="*/ 22898820 w 26653740"/>
                <a:gd name="connsiteY374" fmla="*/ 13330432 h 16570717"/>
                <a:gd name="connsiteX375" fmla="*/ 22879760 w 26653740"/>
                <a:gd name="connsiteY375" fmla="*/ 13306607 h 16570717"/>
                <a:gd name="connsiteX376" fmla="*/ 22874996 w 26653740"/>
                <a:gd name="connsiteY376" fmla="*/ 13292311 h 16570717"/>
                <a:gd name="connsiteX377" fmla="*/ 22870228 w 26653740"/>
                <a:gd name="connsiteY377" fmla="*/ 13278016 h 16570717"/>
                <a:gd name="connsiteX378" fmla="*/ 22860700 w 26653740"/>
                <a:gd name="connsiteY378" fmla="*/ 13263720 h 16570717"/>
                <a:gd name="connsiteX379" fmla="*/ 22822576 w 26653740"/>
                <a:gd name="connsiteY379" fmla="*/ 13235130 h 16570717"/>
                <a:gd name="connsiteX380" fmla="*/ 22836872 w 26653740"/>
                <a:gd name="connsiteY380" fmla="*/ 13230364 h 16570717"/>
                <a:gd name="connsiteX381" fmla="*/ 20468604 w 26653740"/>
                <a:gd name="connsiteY381" fmla="*/ 12115324 h 16570717"/>
                <a:gd name="connsiteX382" fmla="*/ 20473368 w 26653740"/>
                <a:gd name="connsiteY382" fmla="*/ 12129619 h 16570717"/>
                <a:gd name="connsiteX383" fmla="*/ 20478136 w 26653740"/>
                <a:gd name="connsiteY383" fmla="*/ 12139149 h 16570717"/>
                <a:gd name="connsiteX384" fmla="*/ 20454308 w 26653740"/>
                <a:gd name="connsiteY384" fmla="*/ 12158210 h 16570717"/>
                <a:gd name="connsiteX385" fmla="*/ 20444780 w 26653740"/>
                <a:gd name="connsiteY385" fmla="*/ 12162975 h 16570717"/>
                <a:gd name="connsiteX386" fmla="*/ 20435248 w 26653740"/>
                <a:gd name="connsiteY386" fmla="*/ 12153445 h 16570717"/>
                <a:gd name="connsiteX387" fmla="*/ 20435248 w 26653740"/>
                <a:gd name="connsiteY387" fmla="*/ 12148680 h 16570717"/>
                <a:gd name="connsiteX388" fmla="*/ 20454308 w 26653740"/>
                <a:gd name="connsiteY388" fmla="*/ 12134384 h 16570717"/>
                <a:gd name="connsiteX389" fmla="*/ 22631972 w 26653740"/>
                <a:gd name="connsiteY389" fmla="*/ 12096264 h 16570717"/>
                <a:gd name="connsiteX390" fmla="*/ 22641504 w 26653740"/>
                <a:gd name="connsiteY390" fmla="*/ 12096264 h 16570717"/>
                <a:gd name="connsiteX391" fmla="*/ 22646268 w 26653740"/>
                <a:gd name="connsiteY391" fmla="*/ 12129620 h 16570717"/>
                <a:gd name="connsiteX392" fmla="*/ 22651032 w 26653740"/>
                <a:gd name="connsiteY392" fmla="*/ 12172506 h 16570717"/>
                <a:gd name="connsiteX393" fmla="*/ 22646268 w 26653740"/>
                <a:gd name="connsiteY393" fmla="*/ 12201097 h 16570717"/>
                <a:gd name="connsiteX394" fmla="*/ 22593852 w 26653740"/>
                <a:gd name="connsiteY394" fmla="*/ 12215392 h 16570717"/>
                <a:gd name="connsiteX395" fmla="*/ 22541436 w 26653740"/>
                <a:gd name="connsiteY395" fmla="*/ 12243983 h 16570717"/>
                <a:gd name="connsiteX396" fmla="*/ 22493784 w 26653740"/>
                <a:gd name="connsiteY396" fmla="*/ 12286869 h 16570717"/>
                <a:gd name="connsiteX397" fmla="*/ 22465192 w 26653740"/>
                <a:gd name="connsiteY397" fmla="*/ 12310695 h 16570717"/>
                <a:gd name="connsiteX398" fmla="*/ 22460428 w 26653740"/>
                <a:gd name="connsiteY398" fmla="*/ 12301165 h 16570717"/>
                <a:gd name="connsiteX399" fmla="*/ 22460428 w 26653740"/>
                <a:gd name="connsiteY399" fmla="*/ 12291634 h 16570717"/>
                <a:gd name="connsiteX400" fmla="*/ 22484252 w 26653740"/>
                <a:gd name="connsiteY400" fmla="*/ 12272574 h 16570717"/>
                <a:gd name="connsiteX401" fmla="*/ 22508080 w 26653740"/>
                <a:gd name="connsiteY401" fmla="*/ 12224923 h 16570717"/>
                <a:gd name="connsiteX402" fmla="*/ 22517608 w 26653740"/>
                <a:gd name="connsiteY402" fmla="*/ 12186802 h 16570717"/>
                <a:gd name="connsiteX403" fmla="*/ 22512844 w 26653740"/>
                <a:gd name="connsiteY403" fmla="*/ 12172506 h 16570717"/>
                <a:gd name="connsiteX404" fmla="*/ 22512844 w 26653740"/>
                <a:gd name="connsiteY404" fmla="*/ 12162976 h 16570717"/>
                <a:gd name="connsiteX405" fmla="*/ 22579556 w 26653740"/>
                <a:gd name="connsiteY405" fmla="*/ 12134385 h 16570717"/>
                <a:gd name="connsiteX406" fmla="*/ 2515988 w 26653740"/>
                <a:gd name="connsiteY406" fmla="*/ 10090146 h 16570717"/>
                <a:gd name="connsiteX407" fmla="*/ 2530284 w 26653740"/>
                <a:gd name="connsiteY407" fmla="*/ 10094911 h 16570717"/>
                <a:gd name="connsiteX408" fmla="*/ 2535048 w 26653740"/>
                <a:gd name="connsiteY408" fmla="*/ 10109206 h 16570717"/>
                <a:gd name="connsiteX409" fmla="*/ 2535048 w 26653740"/>
                <a:gd name="connsiteY409" fmla="*/ 10133032 h 16570717"/>
                <a:gd name="connsiteX410" fmla="*/ 2530284 w 26653740"/>
                <a:gd name="connsiteY410" fmla="*/ 10147327 h 16570717"/>
                <a:gd name="connsiteX411" fmla="*/ 2535048 w 26653740"/>
                <a:gd name="connsiteY411" fmla="*/ 10161623 h 16570717"/>
                <a:gd name="connsiteX412" fmla="*/ 2525516 w 26653740"/>
                <a:gd name="connsiteY412" fmla="*/ 10171153 h 16570717"/>
                <a:gd name="connsiteX413" fmla="*/ 2511224 w 26653740"/>
                <a:gd name="connsiteY413" fmla="*/ 10137797 h 16570717"/>
                <a:gd name="connsiteX414" fmla="*/ 2501692 w 26653740"/>
                <a:gd name="connsiteY414" fmla="*/ 10137797 h 16570717"/>
                <a:gd name="connsiteX415" fmla="*/ 2492164 w 26653740"/>
                <a:gd name="connsiteY415" fmla="*/ 10128267 h 16570717"/>
                <a:gd name="connsiteX416" fmla="*/ 2487396 w 26653740"/>
                <a:gd name="connsiteY416" fmla="*/ 10104441 h 16570717"/>
                <a:gd name="connsiteX417" fmla="*/ 2492164 w 26653740"/>
                <a:gd name="connsiteY417" fmla="*/ 10099676 h 16570717"/>
                <a:gd name="connsiteX418" fmla="*/ 2496928 w 26653740"/>
                <a:gd name="connsiteY418" fmla="*/ 10104441 h 16570717"/>
                <a:gd name="connsiteX419" fmla="*/ 7790984 w 26653740"/>
                <a:gd name="connsiteY419" fmla="*/ 9489740 h 16570717"/>
                <a:gd name="connsiteX420" fmla="*/ 7810044 w 26653740"/>
                <a:gd name="connsiteY420" fmla="*/ 9499270 h 16570717"/>
                <a:gd name="connsiteX421" fmla="*/ 7838636 w 26653740"/>
                <a:gd name="connsiteY421" fmla="*/ 9499270 h 16570717"/>
                <a:gd name="connsiteX422" fmla="*/ 7857696 w 26653740"/>
                <a:gd name="connsiteY422" fmla="*/ 9508801 h 16570717"/>
                <a:gd name="connsiteX423" fmla="*/ 7881520 w 26653740"/>
                <a:gd name="connsiteY423" fmla="*/ 9513566 h 16570717"/>
                <a:gd name="connsiteX424" fmla="*/ 7876756 w 26653740"/>
                <a:gd name="connsiteY424" fmla="*/ 9542156 h 16570717"/>
                <a:gd name="connsiteX425" fmla="*/ 7876756 w 26653740"/>
                <a:gd name="connsiteY425" fmla="*/ 9551687 h 16570717"/>
                <a:gd name="connsiteX426" fmla="*/ 7886288 w 26653740"/>
                <a:gd name="connsiteY426" fmla="*/ 9565982 h 16570717"/>
                <a:gd name="connsiteX427" fmla="*/ 7876756 w 26653740"/>
                <a:gd name="connsiteY427" fmla="*/ 9585043 h 16570717"/>
                <a:gd name="connsiteX428" fmla="*/ 7871992 w 26653740"/>
                <a:gd name="connsiteY428" fmla="*/ 9589808 h 16570717"/>
                <a:gd name="connsiteX429" fmla="*/ 7848164 w 26653740"/>
                <a:gd name="connsiteY429" fmla="*/ 9594573 h 16570717"/>
                <a:gd name="connsiteX430" fmla="*/ 7814808 w 26653740"/>
                <a:gd name="connsiteY430" fmla="*/ 9565982 h 16570717"/>
                <a:gd name="connsiteX431" fmla="*/ 7786216 w 26653740"/>
                <a:gd name="connsiteY431" fmla="*/ 9504035 h 16570717"/>
                <a:gd name="connsiteX432" fmla="*/ 3583376 w 26653740"/>
                <a:gd name="connsiteY432" fmla="*/ 9475445 h 16570717"/>
                <a:gd name="connsiteX433" fmla="*/ 3592904 w 26653740"/>
                <a:gd name="connsiteY433" fmla="*/ 9480210 h 16570717"/>
                <a:gd name="connsiteX434" fmla="*/ 3602436 w 26653740"/>
                <a:gd name="connsiteY434" fmla="*/ 9499271 h 16570717"/>
                <a:gd name="connsiteX435" fmla="*/ 3607200 w 26653740"/>
                <a:gd name="connsiteY435" fmla="*/ 9513566 h 16570717"/>
                <a:gd name="connsiteX436" fmla="*/ 3602436 w 26653740"/>
                <a:gd name="connsiteY436" fmla="*/ 9518331 h 16570717"/>
                <a:gd name="connsiteX437" fmla="*/ 3569080 w 26653740"/>
                <a:gd name="connsiteY437" fmla="*/ 9499271 h 16570717"/>
                <a:gd name="connsiteX438" fmla="*/ 3569080 w 26653740"/>
                <a:gd name="connsiteY438" fmla="*/ 9484975 h 16570717"/>
                <a:gd name="connsiteX439" fmla="*/ 3569080 w 26653740"/>
                <a:gd name="connsiteY439" fmla="*/ 9480210 h 16570717"/>
                <a:gd name="connsiteX440" fmla="*/ 4584052 w 26653740"/>
                <a:gd name="connsiteY440" fmla="*/ 8331815 h 16570717"/>
                <a:gd name="connsiteX441" fmla="*/ 4626940 w 26653740"/>
                <a:gd name="connsiteY441" fmla="*/ 8331815 h 16570717"/>
                <a:gd name="connsiteX442" fmla="*/ 4746068 w 26653740"/>
                <a:gd name="connsiteY442" fmla="*/ 8422352 h 16570717"/>
                <a:gd name="connsiteX443" fmla="*/ 4774656 w 26653740"/>
                <a:gd name="connsiteY443" fmla="*/ 8446178 h 16570717"/>
                <a:gd name="connsiteX444" fmla="*/ 4788952 w 26653740"/>
                <a:gd name="connsiteY444" fmla="*/ 8479534 h 16570717"/>
                <a:gd name="connsiteX445" fmla="*/ 4788952 w 26653740"/>
                <a:gd name="connsiteY445" fmla="*/ 8517655 h 16570717"/>
                <a:gd name="connsiteX446" fmla="*/ 4779424 w 26653740"/>
                <a:gd name="connsiteY446" fmla="*/ 8536715 h 16570717"/>
                <a:gd name="connsiteX447" fmla="*/ 4769892 w 26653740"/>
                <a:gd name="connsiteY447" fmla="*/ 8541480 h 16570717"/>
                <a:gd name="connsiteX448" fmla="*/ 4769892 w 26653740"/>
                <a:gd name="connsiteY448" fmla="*/ 8517655 h 16570717"/>
                <a:gd name="connsiteX449" fmla="*/ 4760364 w 26653740"/>
                <a:gd name="connsiteY449" fmla="*/ 8503360 h 16570717"/>
                <a:gd name="connsiteX450" fmla="*/ 4731772 w 26653740"/>
                <a:gd name="connsiteY450" fmla="*/ 8536715 h 16570717"/>
                <a:gd name="connsiteX451" fmla="*/ 4722240 w 26653740"/>
                <a:gd name="connsiteY451" fmla="*/ 8570071 h 16570717"/>
                <a:gd name="connsiteX452" fmla="*/ 4688884 w 26653740"/>
                <a:gd name="connsiteY452" fmla="*/ 8617722 h 16570717"/>
                <a:gd name="connsiteX453" fmla="*/ 4617408 w 26653740"/>
                <a:gd name="connsiteY453" fmla="*/ 8655844 h 16570717"/>
                <a:gd name="connsiteX454" fmla="*/ 4574524 w 26653740"/>
                <a:gd name="connsiteY454" fmla="*/ 8670139 h 16570717"/>
                <a:gd name="connsiteX455" fmla="*/ 4536400 w 26653740"/>
                <a:gd name="connsiteY455" fmla="*/ 8674904 h 16570717"/>
                <a:gd name="connsiteX456" fmla="*/ 4503044 w 26653740"/>
                <a:gd name="connsiteY456" fmla="*/ 8641548 h 16570717"/>
                <a:gd name="connsiteX457" fmla="*/ 4483984 w 26653740"/>
                <a:gd name="connsiteY457" fmla="*/ 8584367 h 16570717"/>
                <a:gd name="connsiteX458" fmla="*/ 4479220 w 26653740"/>
                <a:gd name="connsiteY458" fmla="*/ 8565306 h 16570717"/>
                <a:gd name="connsiteX459" fmla="*/ 4474456 w 26653740"/>
                <a:gd name="connsiteY459" fmla="*/ 8541480 h 16570717"/>
                <a:gd name="connsiteX460" fmla="*/ 4479220 w 26653740"/>
                <a:gd name="connsiteY460" fmla="*/ 8517655 h 16570717"/>
                <a:gd name="connsiteX461" fmla="*/ 4479220 w 26653740"/>
                <a:gd name="connsiteY461" fmla="*/ 8479534 h 16570717"/>
                <a:gd name="connsiteX462" fmla="*/ 4483984 w 26653740"/>
                <a:gd name="connsiteY462" fmla="*/ 8441413 h 16570717"/>
                <a:gd name="connsiteX463" fmla="*/ 4498280 w 26653740"/>
                <a:gd name="connsiteY463" fmla="*/ 8408057 h 16570717"/>
                <a:gd name="connsiteX464" fmla="*/ 4531636 w 26653740"/>
                <a:gd name="connsiteY464" fmla="*/ 8365171 h 16570717"/>
                <a:gd name="connsiteX465" fmla="*/ 4564992 w 26653740"/>
                <a:gd name="connsiteY465" fmla="*/ 8341345 h 16570717"/>
                <a:gd name="connsiteX466" fmla="*/ 7433600 w 26653740"/>
                <a:gd name="connsiteY466" fmla="*/ 8303224 h 16570717"/>
                <a:gd name="connsiteX467" fmla="*/ 7452660 w 26653740"/>
                <a:gd name="connsiteY467" fmla="*/ 8307989 h 16570717"/>
                <a:gd name="connsiteX468" fmla="*/ 7457424 w 26653740"/>
                <a:gd name="connsiteY468" fmla="*/ 8327050 h 16570717"/>
                <a:gd name="connsiteX469" fmla="*/ 7443128 w 26653740"/>
                <a:gd name="connsiteY469" fmla="*/ 8365171 h 16570717"/>
                <a:gd name="connsiteX470" fmla="*/ 7414540 w 26653740"/>
                <a:gd name="connsiteY470" fmla="*/ 8360406 h 16570717"/>
                <a:gd name="connsiteX471" fmla="*/ 7409772 w 26653740"/>
                <a:gd name="connsiteY471" fmla="*/ 8350876 h 16570717"/>
                <a:gd name="connsiteX472" fmla="*/ 7405008 w 26653740"/>
                <a:gd name="connsiteY472" fmla="*/ 8346110 h 16570717"/>
                <a:gd name="connsiteX473" fmla="*/ 22160224 w 26653740"/>
                <a:gd name="connsiteY473" fmla="*/ 8274633 h 16570717"/>
                <a:gd name="connsiteX474" fmla="*/ 22164988 w 26653740"/>
                <a:gd name="connsiteY474" fmla="*/ 8279398 h 16570717"/>
                <a:gd name="connsiteX475" fmla="*/ 22179284 w 26653740"/>
                <a:gd name="connsiteY475" fmla="*/ 8298459 h 16570717"/>
                <a:gd name="connsiteX476" fmla="*/ 22174520 w 26653740"/>
                <a:gd name="connsiteY476" fmla="*/ 8336580 h 16570717"/>
                <a:gd name="connsiteX477" fmla="*/ 22164988 w 26653740"/>
                <a:gd name="connsiteY477" fmla="*/ 8365170 h 16570717"/>
                <a:gd name="connsiteX478" fmla="*/ 22141164 w 26653740"/>
                <a:gd name="connsiteY478" fmla="*/ 8374701 h 16570717"/>
                <a:gd name="connsiteX479" fmla="*/ 22136400 w 26653740"/>
                <a:gd name="connsiteY479" fmla="*/ 8398526 h 16570717"/>
                <a:gd name="connsiteX480" fmla="*/ 22141164 w 26653740"/>
                <a:gd name="connsiteY480" fmla="*/ 8431882 h 16570717"/>
                <a:gd name="connsiteX481" fmla="*/ 22141164 w 26653740"/>
                <a:gd name="connsiteY481" fmla="*/ 8474768 h 16570717"/>
                <a:gd name="connsiteX482" fmla="*/ 22141164 w 26653740"/>
                <a:gd name="connsiteY482" fmla="*/ 8512890 h 16570717"/>
                <a:gd name="connsiteX483" fmla="*/ 22160224 w 26653740"/>
                <a:gd name="connsiteY483" fmla="*/ 8551011 h 16570717"/>
                <a:gd name="connsiteX484" fmla="*/ 22160224 w 26653740"/>
                <a:gd name="connsiteY484" fmla="*/ 8570071 h 16570717"/>
                <a:gd name="connsiteX485" fmla="*/ 22160224 w 26653740"/>
                <a:gd name="connsiteY485" fmla="*/ 8589132 h 16570717"/>
                <a:gd name="connsiteX486" fmla="*/ 22155460 w 26653740"/>
                <a:gd name="connsiteY486" fmla="*/ 8603427 h 16570717"/>
                <a:gd name="connsiteX487" fmla="*/ 22145928 w 26653740"/>
                <a:gd name="connsiteY487" fmla="*/ 8603427 h 16570717"/>
                <a:gd name="connsiteX488" fmla="*/ 22150696 w 26653740"/>
                <a:gd name="connsiteY488" fmla="*/ 8574836 h 16570717"/>
                <a:gd name="connsiteX489" fmla="*/ 22150696 w 26653740"/>
                <a:gd name="connsiteY489" fmla="*/ 8560541 h 16570717"/>
                <a:gd name="connsiteX490" fmla="*/ 22136400 w 26653740"/>
                <a:gd name="connsiteY490" fmla="*/ 8541480 h 16570717"/>
                <a:gd name="connsiteX491" fmla="*/ 22107808 w 26653740"/>
                <a:gd name="connsiteY491" fmla="*/ 8522420 h 16570717"/>
                <a:gd name="connsiteX492" fmla="*/ 22103044 w 26653740"/>
                <a:gd name="connsiteY492" fmla="*/ 8512890 h 16570717"/>
                <a:gd name="connsiteX493" fmla="*/ 22098280 w 26653740"/>
                <a:gd name="connsiteY493" fmla="*/ 8474768 h 16570717"/>
                <a:gd name="connsiteX494" fmla="*/ 22107808 w 26653740"/>
                <a:gd name="connsiteY494" fmla="*/ 8412822 h 16570717"/>
                <a:gd name="connsiteX495" fmla="*/ 22093512 w 26653740"/>
                <a:gd name="connsiteY495" fmla="*/ 8379466 h 16570717"/>
                <a:gd name="connsiteX496" fmla="*/ 22098280 w 26653740"/>
                <a:gd name="connsiteY496" fmla="*/ 8350875 h 16570717"/>
                <a:gd name="connsiteX497" fmla="*/ 22131632 w 26653740"/>
                <a:gd name="connsiteY497" fmla="*/ 8317519 h 16570717"/>
                <a:gd name="connsiteX498" fmla="*/ 22145928 w 26653740"/>
                <a:gd name="connsiteY498" fmla="*/ 8293694 h 16570717"/>
                <a:gd name="connsiteX499" fmla="*/ 23203788 w 26653740"/>
                <a:gd name="connsiteY499" fmla="*/ 8107854 h 16570717"/>
                <a:gd name="connsiteX500" fmla="*/ 23232380 w 26653740"/>
                <a:gd name="connsiteY500" fmla="*/ 8107854 h 16570717"/>
                <a:gd name="connsiteX501" fmla="*/ 23389628 w 26653740"/>
                <a:gd name="connsiteY501" fmla="*/ 8165035 h 16570717"/>
                <a:gd name="connsiteX502" fmla="*/ 23394392 w 26653740"/>
                <a:gd name="connsiteY502" fmla="*/ 8179331 h 16570717"/>
                <a:gd name="connsiteX503" fmla="*/ 23399160 w 26653740"/>
                <a:gd name="connsiteY503" fmla="*/ 8188861 h 16570717"/>
                <a:gd name="connsiteX504" fmla="*/ 23394392 w 26653740"/>
                <a:gd name="connsiteY504" fmla="*/ 8212687 h 16570717"/>
                <a:gd name="connsiteX505" fmla="*/ 23384864 w 26653740"/>
                <a:gd name="connsiteY505" fmla="*/ 8217452 h 16570717"/>
                <a:gd name="connsiteX506" fmla="*/ 23375332 w 26653740"/>
                <a:gd name="connsiteY506" fmla="*/ 8231747 h 16570717"/>
                <a:gd name="connsiteX507" fmla="*/ 23370568 w 26653740"/>
                <a:gd name="connsiteY507" fmla="*/ 8279398 h 16570717"/>
                <a:gd name="connsiteX508" fmla="*/ 23370568 w 26653740"/>
                <a:gd name="connsiteY508" fmla="*/ 8293694 h 16570717"/>
                <a:gd name="connsiteX509" fmla="*/ 23361036 w 26653740"/>
                <a:gd name="connsiteY509" fmla="*/ 8303224 h 16570717"/>
                <a:gd name="connsiteX510" fmla="*/ 23318152 w 26653740"/>
                <a:gd name="connsiteY510" fmla="*/ 8307989 h 16570717"/>
                <a:gd name="connsiteX511" fmla="*/ 23227612 w 26653740"/>
                <a:gd name="connsiteY511" fmla="*/ 8265103 h 16570717"/>
                <a:gd name="connsiteX512" fmla="*/ 23199024 w 26653740"/>
                <a:gd name="connsiteY512" fmla="*/ 8241277 h 16570717"/>
                <a:gd name="connsiteX513" fmla="*/ 23175196 w 26653740"/>
                <a:gd name="connsiteY513" fmla="*/ 8212687 h 16570717"/>
                <a:gd name="connsiteX514" fmla="*/ 23146608 w 26653740"/>
                <a:gd name="connsiteY514" fmla="*/ 8193626 h 16570717"/>
                <a:gd name="connsiteX515" fmla="*/ 23141840 w 26653740"/>
                <a:gd name="connsiteY515" fmla="*/ 8188861 h 16570717"/>
                <a:gd name="connsiteX516" fmla="*/ 23146608 w 26653740"/>
                <a:gd name="connsiteY516" fmla="*/ 8169801 h 16570717"/>
                <a:gd name="connsiteX517" fmla="*/ 23151372 w 26653740"/>
                <a:gd name="connsiteY517" fmla="*/ 8155505 h 16570717"/>
                <a:gd name="connsiteX518" fmla="*/ 23184728 w 26653740"/>
                <a:gd name="connsiteY518" fmla="*/ 8122149 h 16570717"/>
                <a:gd name="connsiteX519" fmla="*/ 6151780 w 26653740"/>
                <a:gd name="connsiteY519" fmla="*/ 7898188 h 16570717"/>
                <a:gd name="connsiteX520" fmla="*/ 6156544 w 26653740"/>
                <a:gd name="connsiteY520" fmla="*/ 7898188 h 16570717"/>
                <a:gd name="connsiteX521" fmla="*/ 6166076 w 26653740"/>
                <a:gd name="connsiteY521" fmla="*/ 7912483 h 16570717"/>
                <a:gd name="connsiteX522" fmla="*/ 6199432 w 26653740"/>
                <a:gd name="connsiteY522" fmla="*/ 7945839 h 16570717"/>
                <a:gd name="connsiteX523" fmla="*/ 6218492 w 26653740"/>
                <a:gd name="connsiteY523" fmla="*/ 7969665 h 16570717"/>
                <a:gd name="connsiteX524" fmla="*/ 6232788 w 26653740"/>
                <a:gd name="connsiteY524" fmla="*/ 7998256 h 16570717"/>
                <a:gd name="connsiteX525" fmla="*/ 6251848 w 26653740"/>
                <a:gd name="connsiteY525" fmla="*/ 8022081 h 16570717"/>
                <a:gd name="connsiteX526" fmla="*/ 6299496 w 26653740"/>
                <a:gd name="connsiteY526" fmla="*/ 8064968 h 16570717"/>
                <a:gd name="connsiteX527" fmla="*/ 6332852 w 26653740"/>
                <a:gd name="connsiteY527" fmla="*/ 8103089 h 16570717"/>
                <a:gd name="connsiteX528" fmla="*/ 6370976 w 26653740"/>
                <a:gd name="connsiteY528" fmla="*/ 8131680 h 16570717"/>
                <a:gd name="connsiteX529" fmla="*/ 6380504 w 26653740"/>
                <a:gd name="connsiteY529" fmla="*/ 8141210 h 16570717"/>
                <a:gd name="connsiteX530" fmla="*/ 6385272 w 26653740"/>
                <a:gd name="connsiteY530" fmla="*/ 8165035 h 16570717"/>
                <a:gd name="connsiteX531" fmla="*/ 6380504 w 26653740"/>
                <a:gd name="connsiteY531" fmla="*/ 8207922 h 16570717"/>
                <a:gd name="connsiteX532" fmla="*/ 6375740 w 26653740"/>
                <a:gd name="connsiteY532" fmla="*/ 8236512 h 16570717"/>
                <a:gd name="connsiteX533" fmla="*/ 6361444 w 26653740"/>
                <a:gd name="connsiteY533" fmla="*/ 8241278 h 16570717"/>
                <a:gd name="connsiteX534" fmla="*/ 6342384 w 26653740"/>
                <a:gd name="connsiteY534" fmla="*/ 8255573 h 16570717"/>
                <a:gd name="connsiteX535" fmla="*/ 6313792 w 26653740"/>
                <a:gd name="connsiteY535" fmla="*/ 8241278 h 16570717"/>
                <a:gd name="connsiteX536" fmla="*/ 6294732 w 26653740"/>
                <a:gd name="connsiteY536" fmla="*/ 8250808 h 16570717"/>
                <a:gd name="connsiteX537" fmla="*/ 6280436 w 26653740"/>
                <a:gd name="connsiteY537" fmla="*/ 8250808 h 16570717"/>
                <a:gd name="connsiteX538" fmla="*/ 6266140 w 26653740"/>
                <a:gd name="connsiteY538" fmla="*/ 8246043 h 16570717"/>
                <a:gd name="connsiteX539" fmla="*/ 6251848 w 26653740"/>
                <a:gd name="connsiteY539" fmla="*/ 8241278 h 16570717"/>
                <a:gd name="connsiteX540" fmla="*/ 6242316 w 26653740"/>
                <a:gd name="connsiteY540" fmla="*/ 8231747 h 16570717"/>
                <a:gd name="connsiteX541" fmla="*/ 6242316 w 26653740"/>
                <a:gd name="connsiteY541" fmla="*/ 8207922 h 16570717"/>
                <a:gd name="connsiteX542" fmla="*/ 6228020 w 26653740"/>
                <a:gd name="connsiteY542" fmla="*/ 8174566 h 16570717"/>
                <a:gd name="connsiteX543" fmla="*/ 6208960 w 26653740"/>
                <a:gd name="connsiteY543" fmla="*/ 8160270 h 16570717"/>
                <a:gd name="connsiteX544" fmla="*/ 6194664 w 26653740"/>
                <a:gd name="connsiteY544" fmla="*/ 8160270 h 16570717"/>
                <a:gd name="connsiteX545" fmla="*/ 6175604 w 26653740"/>
                <a:gd name="connsiteY545" fmla="*/ 8150740 h 16570717"/>
                <a:gd name="connsiteX546" fmla="*/ 6166076 w 26653740"/>
                <a:gd name="connsiteY546" fmla="*/ 8155505 h 16570717"/>
                <a:gd name="connsiteX547" fmla="*/ 6151780 w 26653740"/>
                <a:gd name="connsiteY547" fmla="*/ 8165035 h 16570717"/>
                <a:gd name="connsiteX548" fmla="*/ 6142248 w 26653740"/>
                <a:gd name="connsiteY548" fmla="*/ 8160270 h 16570717"/>
                <a:gd name="connsiteX549" fmla="*/ 6104128 w 26653740"/>
                <a:gd name="connsiteY549" fmla="*/ 8088793 h 16570717"/>
                <a:gd name="connsiteX550" fmla="*/ 6094596 w 26653740"/>
                <a:gd name="connsiteY550" fmla="*/ 8074498 h 16570717"/>
                <a:gd name="connsiteX551" fmla="*/ 6089832 w 26653740"/>
                <a:gd name="connsiteY551" fmla="*/ 8055437 h 16570717"/>
                <a:gd name="connsiteX552" fmla="*/ 6085068 w 26653740"/>
                <a:gd name="connsiteY552" fmla="*/ 8041142 h 16570717"/>
                <a:gd name="connsiteX553" fmla="*/ 6070772 w 26653740"/>
                <a:gd name="connsiteY553" fmla="*/ 7988726 h 16570717"/>
                <a:gd name="connsiteX554" fmla="*/ 6075536 w 26653740"/>
                <a:gd name="connsiteY554" fmla="*/ 7964900 h 16570717"/>
                <a:gd name="connsiteX555" fmla="*/ 6089832 w 26653740"/>
                <a:gd name="connsiteY555" fmla="*/ 7950604 h 16570717"/>
                <a:gd name="connsiteX556" fmla="*/ 6099364 w 26653740"/>
                <a:gd name="connsiteY556" fmla="*/ 7945839 h 16570717"/>
                <a:gd name="connsiteX557" fmla="*/ 6118424 w 26653740"/>
                <a:gd name="connsiteY557" fmla="*/ 7912483 h 16570717"/>
                <a:gd name="connsiteX558" fmla="*/ 7314472 w 26653740"/>
                <a:gd name="connsiteY558" fmla="*/ 7755234 h 16570717"/>
                <a:gd name="connsiteX559" fmla="*/ 7319236 w 26653740"/>
                <a:gd name="connsiteY559" fmla="*/ 7755234 h 16570717"/>
                <a:gd name="connsiteX560" fmla="*/ 7314472 w 26653740"/>
                <a:gd name="connsiteY560" fmla="*/ 7788590 h 16570717"/>
                <a:gd name="connsiteX561" fmla="*/ 7333532 w 26653740"/>
                <a:gd name="connsiteY561" fmla="*/ 7860067 h 16570717"/>
                <a:gd name="connsiteX562" fmla="*/ 7333532 w 26653740"/>
                <a:gd name="connsiteY562" fmla="*/ 7879127 h 16570717"/>
                <a:gd name="connsiteX563" fmla="*/ 7324000 w 26653740"/>
                <a:gd name="connsiteY563" fmla="*/ 7874362 h 16570717"/>
                <a:gd name="connsiteX564" fmla="*/ 7314472 w 26653740"/>
                <a:gd name="connsiteY564" fmla="*/ 7850536 h 16570717"/>
                <a:gd name="connsiteX565" fmla="*/ 7309704 w 26653740"/>
                <a:gd name="connsiteY565" fmla="*/ 7826711 h 16570717"/>
                <a:gd name="connsiteX566" fmla="*/ 7304940 w 26653740"/>
                <a:gd name="connsiteY566" fmla="*/ 7774294 h 16570717"/>
                <a:gd name="connsiteX567" fmla="*/ 7309704 w 26653740"/>
                <a:gd name="connsiteY567" fmla="*/ 7759999 h 16570717"/>
                <a:gd name="connsiteX568" fmla="*/ 21993448 w 26653740"/>
                <a:gd name="connsiteY568" fmla="*/ 7678992 h 16570717"/>
                <a:gd name="connsiteX569" fmla="*/ 22012508 w 26653740"/>
                <a:gd name="connsiteY569" fmla="*/ 7683757 h 16570717"/>
                <a:gd name="connsiteX570" fmla="*/ 22026800 w 26653740"/>
                <a:gd name="connsiteY570" fmla="*/ 7702818 h 16570717"/>
                <a:gd name="connsiteX571" fmla="*/ 22036332 w 26653740"/>
                <a:gd name="connsiteY571" fmla="*/ 7731409 h 16570717"/>
                <a:gd name="connsiteX572" fmla="*/ 22026800 w 26653740"/>
                <a:gd name="connsiteY572" fmla="*/ 7736174 h 16570717"/>
                <a:gd name="connsiteX573" fmla="*/ 22002976 w 26653740"/>
                <a:gd name="connsiteY573" fmla="*/ 7731409 h 16570717"/>
                <a:gd name="connsiteX574" fmla="*/ 21993448 w 26653740"/>
                <a:gd name="connsiteY574" fmla="*/ 7717113 h 16570717"/>
                <a:gd name="connsiteX575" fmla="*/ 21993448 w 26653740"/>
                <a:gd name="connsiteY575" fmla="*/ 7683757 h 16570717"/>
                <a:gd name="connsiteX576" fmla="*/ 5174928 w 26653740"/>
                <a:gd name="connsiteY576" fmla="*/ 7450266 h 16570717"/>
                <a:gd name="connsiteX577" fmla="*/ 5179692 w 26653740"/>
                <a:gd name="connsiteY577" fmla="*/ 7450266 h 16570717"/>
                <a:gd name="connsiteX578" fmla="*/ 5198752 w 26653740"/>
                <a:gd name="connsiteY578" fmla="*/ 7469327 h 16570717"/>
                <a:gd name="connsiteX579" fmla="*/ 5213048 w 26653740"/>
                <a:gd name="connsiteY579" fmla="*/ 7502682 h 16570717"/>
                <a:gd name="connsiteX580" fmla="*/ 5227344 w 26653740"/>
                <a:gd name="connsiteY580" fmla="*/ 7531273 h 16570717"/>
                <a:gd name="connsiteX581" fmla="*/ 5236876 w 26653740"/>
                <a:gd name="connsiteY581" fmla="*/ 7526508 h 16570717"/>
                <a:gd name="connsiteX582" fmla="*/ 5246404 w 26653740"/>
                <a:gd name="connsiteY582" fmla="*/ 7540804 h 16570717"/>
                <a:gd name="connsiteX583" fmla="*/ 5246404 w 26653740"/>
                <a:gd name="connsiteY583" fmla="*/ 7569394 h 16570717"/>
                <a:gd name="connsiteX584" fmla="*/ 5227344 w 26653740"/>
                <a:gd name="connsiteY584" fmla="*/ 7612281 h 16570717"/>
                <a:gd name="connsiteX585" fmla="*/ 5222580 w 26653740"/>
                <a:gd name="connsiteY585" fmla="*/ 7631341 h 16570717"/>
                <a:gd name="connsiteX586" fmla="*/ 5232108 w 26653740"/>
                <a:gd name="connsiteY586" fmla="*/ 7645637 h 16570717"/>
                <a:gd name="connsiteX587" fmla="*/ 5232108 w 26653740"/>
                <a:gd name="connsiteY587" fmla="*/ 7655167 h 16570717"/>
                <a:gd name="connsiteX588" fmla="*/ 5217816 w 26653740"/>
                <a:gd name="connsiteY588" fmla="*/ 7659932 h 16570717"/>
                <a:gd name="connsiteX589" fmla="*/ 5213048 w 26653740"/>
                <a:gd name="connsiteY589" fmla="*/ 7640871 h 16570717"/>
                <a:gd name="connsiteX590" fmla="*/ 5208284 w 26653740"/>
                <a:gd name="connsiteY590" fmla="*/ 7617046 h 16570717"/>
                <a:gd name="connsiteX591" fmla="*/ 5189224 w 26653740"/>
                <a:gd name="connsiteY591" fmla="*/ 7602750 h 16570717"/>
                <a:gd name="connsiteX592" fmla="*/ 5179692 w 26653740"/>
                <a:gd name="connsiteY592" fmla="*/ 7588455 h 16570717"/>
                <a:gd name="connsiteX593" fmla="*/ 5174928 w 26653740"/>
                <a:gd name="connsiteY593" fmla="*/ 7555099 h 16570717"/>
                <a:gd name="connsiteX594" fmla="*/ 5141572 w 26653740"/>
                <a:gd name="connsiteY594" fmla="*/ 7521743 h 16570717"/>
                <a:gd name="connsiteX595" fmla="*/ 5127276 w 26653740"/>
                <a:gd name="connsiteY595" fmla="*/ 7531273 h 16570717"/>
                <a:gd name="connsiteX596" fmla="*/ 5103452 w 26653740"/>
                <a:gd name="connsiteY596" fmla="*/ 7512213 h 16570717"/>
                <a:gd name="connsiteX597" fmla="*/ 5098688 w 26653740"/>
                <a:gd name="connsiteY597" fmla="*/ 7507448 h 16570717"/>
                <a:gd name="connsiteX598" fmla="*/ 5093920 w 26653740"/>
                <a:gd name="connsiteY598" fmla="*/ 7488387 h 16570717"/>
                <a:gd name="connsiteX599" fmla="*/ 5103452 w 26653740"/>
                <a:gd name="connsiteY599" fmla="*/ 7474092 h 16570717"/>
                <a:gd name="connsiteX600" fmla="*/ 5136808 w 26653740"/>
                <a:gd name="connsiteY600" fmla="*/ 7459796 h 16570717"/>
                <a:gd name="connsiteX601" fmla="*/ 5155868 w 26653740"/>
                <a:gd name="connsiteY601" fmla="*/ 7459796 h 16570717"/>
                <a:gd name="connsiteX602" fmla="*/ 5170164 w 26653740"/>
                <a:gd name="connsiteY602" fmla="*/ 7474092 h 16570717"/>
                <a:gd name="connsiteX603" fmla="*/ 5170164 w 26653740"/>
                <a:gd name="connsiteY603" fmla="*/ 7455031 h 16570717"/>
                <a:gd name="connsiteX604" fmla="*/ 18376712 w 26653740"/>
                <a:gd name="connsiteY604" fmla="*/ 7359729 h 16570717"/>
                <a:gd name="connsiteX605" fmla="*/ 18457720 w 26653740"/>
                <a:gd name="connsiteY605" fmla="*/ 7359729 h 16570717"/>
                <a:gd name="connsiteX606" fmla="*/ 18467252 w 26653740"/>
                <a:gd name="connsiteY606" fmla="*/ 7359729 h 16570717"/>
                <a:gd name="connsiteX607" fmla="*/ 18476780 w 26653740"/>
                <a:gd name="connsiteY607" fmla="*/ 7378789 h 16570717"/>
                <a:gd name="connsiteX608" fmla="*/ 18481548 w 26653740"/>
                <a:gd name="connsiteY608" fmla="*/ 7397850 h 16570717"/>
                <a:gd name="connsiteX609" fmla="*/ 18443424 w 26653740"/>
                <a:gd name="connsiteY609" fmla="*/ 7440736 h 16570717"/>
                <a:gd name="connsiteX610" fmla="*/ 18429132 w 26653740"/>
                <a:gd name="connsiteY610" fmla="*/ 7435971 h 16570717"/>
                <a:gd name="connsiteX611" fmla="*/ 18414836 w 26653740"/>
                <a:gd name="connsiteY611" fmla="*/ 7412145 h 16570717"/>
                <a:gd name="connsiteX612" fmla="*/ 18405304 w 26653740"/>
                <a:gd name="connsiteY612" fmla="*/ 7412145 h 16570717"/>
                <a:gd name="connsiteX613" fmla="*/ 18395776 w 26653740"/>
                <a:gd name="connsiteY613" fmla="*/ 7412145 h 16570717"/>
                <a:gd name="connsiteX614" fmla="*/ 18386244 w 26653740"/>
                <a:gd name="connsiteY614" fmla="*/ 7421676 h 16570717"/>
                <a:gd name="connsiteX615" fmla="*/ 18371948 w 26653740"/>
                <a:gd name="connsiteY615" fmla="*/ 7421676 h 16570717"/>
                <a:gd name="connsiteX616" fmla="*/ 18343360 w 26653740"/>
                <a:gd name="connsiteY616" fmla="*/ 7402615 h 16570717"/>
                <a:gd name="connsiteX617" fmla="*/ 18343360 w 26653740"/>
                <a:gd name="connsiteY617" fmla="*/ 7388320 h 16570717"/>
                <a:gd name="connsiteX618" fmla="*/ 18343360 w 26653740"/>
                <a:gd name="connsiteY618" fmla="*/ 7378789 h 16570717"/>
                <a:gd name="connsiteX619" fmla="*/ 18352888 w 26653740"/>
                <a:gd name="connsiteY619" fmla="*/ 7374024 h 16570717"/>
                <a:gd name="connsiteX620" fmla="*/ 18357652 w 26653740"/>
                <a:gd name="connsiteY620" fmla="*/ 7374024 h 16570717"/>
                <a:gd name="connsiteX621" fmla="*/ 25186080 w 26653740"/>
                <a:gd name="connsiteY621" fmla="*/ 7354964 h 16570717"/>
                <a:gd name="connsiteX622" fmla="*/ 25205140 w 26653740"/>
                <a:gd name="connsiteY622" fmla="*/ 7354964 h 16570717"/>
                <a:gd name="connsiteX623" fmla="*/ 25224200 w 26653740"/>
                <a:gd name="connsiteY623" fmla="*/ 7364494 h 16570717"/>
                <a:gd name="connsiteX624" fmla="*/ 25290912 w 26653740"/>
                <a:gd name="connsiteY624" fmla="*/ 7383555 h 16570717"/>
                <a:gd name="connsiteX625" fmla="*/ 25305208 w 26653740"/>
                <a:gd name="connsiteY625" fmla="*/ 7388320 h 16570717"/>
                <a:gd name="connsiteX626" fmla="*/ 25329036 w 26653740"/>
                <a:gd name="connsiteY626" fmla="*/ 7412146 h 16570717"/>
                <a:gd name="connsiteX627" fmla="*/ 25338564 w 26653740"/>
                <a:gd name="connsiteY627" fmla="*/ 7416911 h 16570717"/>
                <a:gd name="connsiteX628" fmla="*/ 25352860 w 26653740"/>
                <a:gd name="connsiteY628" fmla="*/ 7431206 h 16570717"/>
                <a:gd name="connsiteX629" fmla="*/ 25367156 w 26653740"/>
                <a:gd name="connsiteY629" fmla="*/ 7455032 h 16570717"/>
                <a:gd name="connsiteX630" fmla="*/ 25390980 w 26653740"/>
                <a:gd name="connsiteY630" fmla="*/ 7478857 h 16570717"/>
                <a:gd name="connsiteX631" fmla="*/ 25424336 w 26653740"/>
                <a:gd name="connsiteY631" fmla="*/ 7507448 h 16570717"/>
                <a:gd name="connsiteX632" fmla="*/ 25433868 w 26653740"/>
                <a:gd name="connsiteY632" fmla="*/ 7516978 h 16570717"/>
                <a:gd name="connsiteX633" fmla="*/ 25438632 w 26653740"/>
                <a:gd name="connsiteY633" fmla="*/ 7540804 h 16570717"/>
                <a:gd name="connsiteX634" fmla="*/ 25433868 w 26653740"/>
                <a:gd name="connsiteY634" fmla="*/ 7564630 h 16570717"/>
                <a:gd name="connsiteX635" fmla="*/ 25390980 w 26653740"/>
                <a:gd name="connsiteY635" fmla="*/ 7612281 h 16570717"/>
                <a:gd name="connsiteX636" fmla="*/ 25352860 w 26653740"/>
                <a:gd name="connsiteY636" fmla="*/ 7626576 h 16570717"/>
                <a:gd name="connsiteX637" fmla="*/ 25276616 w 26653740"/>
                <a:gd name="connsiteY637" fmla="*/ 7636107 h 16570717"/>
                <a:gd name="connsiteX638" fmla="*/ 25181316 w 26653740"/>
                <a:gd name="connsiteY638" fmla="*/ 7674228 h 16570717"/>
                <a:gd name="connsiteX639" fmla="*/ 25138428 w 26653740"/>
                <a:gd name="connsiteY639" fmla="*/ 7683758 h 16570717"/>
                <a:gd name="connsiteX640" fmla="*/ 25124132 w 26653740"/>
                <a:gd name="connsiteY640" fmla="*/ 7683758 h 16570717"/>
                <a:gd name="connsiteX641" fmla="*/ 25090780 w 26653740"/>
                <a:gd name="connsiteY641" fmla="*/ 7659932 h 16570717"/>
                <a:gd name="connsiteX642" fmla="*/ 25047892 w 26653740"/>
                <a:gd name="connsiteY642" fmla="*/ 7650402 h 16570717"/>
                <a:gd name="connsiteX643" fmla="*/ 25047892 w 26653740"/>
                <a:gd name="connsiteY643" fmla="*/ 7650401 h 16570717"/>
                <a:gd name="connsiteX644" fmla="*/ 25028832 w 26653740"/>
                <a:gd name="connsiteY644" fmla="*/ 7655166 h 16570717"/>
                <a:gd name="connsiteX645" fmla="*/ 24995476 w 26653740"/>
                <a:gd name="connsiteY645" fmla="*/ 7693287 h 16570717"/>
                <a:gd name="connsiteX646" fmla="*/ 24914468 w 26653740"/>
                <a:gd name="connsiteY646" fmla="*/ 7702817 h 16570717"/>
                <a:gd name="connsiteX647" fmla="*/ 24871584 w 26653740"/>
                <a:gd name="connsiteY647" fmla="*/ 7726643 h 16570717"/>
                <a:gd name="connsiteX648" fmla="*/ 24862052 w 26653740"/>
                <a:gd name="connsiteY648" fmla="*/ 7731408 h 16570717"/>
                <a:gd name="connsiteX649" fmla="*/ 24838228 w 26653740"/>
                <a:gd name="connsiteY649" fmla="*/ 7645636 h 16570717"/>
                <a:gd name="connsiteX650" fmla="*/ 24833460 w 26653740"/>
                <a:gd name="connsiteY650" fmla="*/ 7621810 h 16570717"/>
                <a:gd name="connsiteX651" fmla="*/ 24842992 w 26653740"/>
                <a:gd name="connsiteY651" fmla="*/ 7593219 h 16570717"/>
                <a:gd name="connsiteX652" fmla="*/ 24866816 w 26653740"/>
                <a:gd name="connsiteY652" fmla="*/ 7559864 h 16570717"/>
                <a:gd name="connsiteX653" fmla="*/ 24876348 w 26653740"/>
                <a:gd name="connsiteY653" fmla="*/ 7531273 h 16570717"/>
                <a:gd name="connsiteX654" fmla="*/ 24928764 w 26653740"/>
                <a:gd name="connsiteY654" fmla="*/ 7488387 h 16570717"/>
                <a:gd name="connsiteX655" fmla="*/ 24976416 w 26653740"/>
                <a:gd name="connsiteY655" fmla="*/ 7426440 h 16570717"/>
                <a:gd name="connsiteX656" fmla="*/ 25005004 w 26653740"/>
                <a:gd name="connsiteY656" fmla="*/ 7416910 h 16570717"/>
                <a:gd name="connsiteX657" fmla="*/ 25028832 w 26653740"/>
                <a:gd name="connsiteY657" fmla="*/ 7388319 h 16570717"/>
                <a:gd name="connsiteX658" fmla="*/ 25047892 w 26653740"/>
                <a:gd name="connsiteY658" fmla="*/ 7383554 h 16570717"/>
                <a:gd name="connsiteX659" fmla="*/ 25047892 w 26653740"/>
                <a:gd name="connsiteY659" fmla="*/ 7383555 h 16570717"/>
                <a:gd name="connsiteX660" fmla="*/ 25071716 w 26653740"/>
                <a:gd name="connsiteY660" fmla="*/ 7378790 h 16570717"/>
                <a:gd name="connsiteX661" fmla="*/ 25095544 w 26653740"/>
                <a:gd name="connsiteY661" fmla="*/ 7364494 h 16570717"/>
                <a:gd name="connsiteX662" fmla="*/ 25119368 w 26653740"/>
                <a:gd name="connsiteY662" fmla="*/ 7359729 h 16570717"/>
                <a:gd name="connsiteX663" fmla="*/ 25143196 w 26653740"/>
                <a:gd name="connsiteY663" fmla="*/ 7369259 h 16570717"/>
                <a:gd name="connsiteX664" fmla="*/ 25167020 w 26653740"/>
                <a:gd name="connsiteY664" fmla="*/ 7364494 h 16570717"/>
                <a:gd name="connsiteX665" fmla="*/ 9053740 w 26653740"/>
                <a:gd name="connsiteY665" fmla="*/ 6828416 h 16570717"/>
                <a:gd name="connsiteX666" fmla="*/ 9082332 w 26653740"/>
                <a:gd name="connsiteY666" fmla="*/ 6828416 h 16570717"/>
                <a:gd name="connsiteX667" fmla="*/ 9163340 w 26653740"/>
                <a:gd name="connsiteY667" fmla="*/ 6871302 h 16570717"/>
                <a:gd name="connsiteX668" fmla="*/ 9172868 w 26653740"/>
                <a:gd name="connsiteY668" fmla="*/ 6895128 h 16570717"/>
                <a:gd name="connsiteX669" fmla="*/ 9177636 w 26653740"/>
                <a:gd name="connsiteY669" fmla="*/ 6909423 h 16570717"/>
                <a:gd name="connsiteX670" fmla="*/ 9144280 w 26653740"/>
                <a:gd name="connsiteY670" fmla="*/ 6942779 h 16570717"/>
                <a:gd name="connsiteX671" fmla="*/ 9120452 w 26653740"/>
                <a:gd name="connsiteY671" fmla="*/ 6952309 h 16570717"/>
                <a:gd name="connsiteX672" fmla="*/ 9087096 w 26653740"/>
                <a:gd name="connsiteY672" fmla="*/ 6999961 h 16570717"/>
                <a:gd name="connsiteX673" fmla="*/ 9063272 w 26653740"/>
                <a:gd name="connsiteY673" fmla="*/ 7004726 h 16570717"/>
                <a:gd name="connsiteX674" fmla="*/ 8987032 w 26653740"/>
                <a:gd name="connsiteY674" fmla="*/ 7009491 h 16570717"/>
                <a:gd name="connsiteX675" fmla="*/ 8948908 w 26653740"/>
                <a:gd name="connsiteY675" fmla="*/ 7004726 h 16570717"/>
                <a:gd name="connsiteX676" fmla="*/ 8944144 w 26653740"/>
                <a:gd name="connsiteY676" fmla="*/ 6990430 h 16570717"/>
                <a:gd name="connsiteX677" fmla="*/ 8948908 w 26653740"/>
                <a:gd name="connsiteY677" fmla="*/ 6966605 h 16570717"/>
                <a:gd name="connsiteX678" fmla="*/ 8987032 w 26653740"/>
                <a:gd name="connsiteY678" fmla="*/ 6928484 h 16570717"/>
                <a:gd name="connsiteX679" fmla="*/ 9006092 w 26653740"/>
                <a:gd name="connsiteY679" fmla="*/ 6904658 h 16570717"/>
                <a:gd name="connsiteX680" fmla="*/ 9020384 w 26653740"/>
                <a:gd name="connsiteY680" fmla="*/ 6866537 h 16570717"/>
                <a:gd name="connsiteX681" fmla="*/ 9301528 w 26653740"/>
                <a:gd name="connsiteY681" fmla="*/ 6585395 h 16570717"/>
                <a:gd name="connsiteX682" fmla="*/ 9330120 w 26653740"/>
                <a:gd name="connsiteY682" fmla="*/ 6613986 h 16570717"/>
                <a:gd name="connsiteX683" fmla="*/ 9339648 w 26653740"/>
                <a:gd name="connsiteY683" fmla="*/ 6642576 h 16570717"/>
                <a:gd name="connsiteX684" fmla="*/ 9358712 w 26653740"/>
                <a:gd name="connsiteY684" fmla="*/ 6675932 h 16570717"/>
                <a:gd name="connsiteX685" fmla="*/ 9358712 w 26653740"/>
                <a:gd name="connsiteY685" fmla="*/ 6756939 h 16570717"/>
                <a:gd name="connsiteX686" fmla="*/ 9353944 w 26653740"/>
                <a:gd name="connsiteY686" fmla="*/ 6780765 h 16570717"/>
                <a:gd name="connsiteX687" fmla="*/ 9344416 w 26653740"/>
                <a:gd name="connsiteY687" fmla="*/ 6790295 h 16570717"/>
                <a:gd name="connsiteX688" fmla="*/ 9258644 w 26653740"/>
                <a:gd name="connsiteY688" fmla="*/ 6766469 h 16570717"/>
                <a:gd name="connsiteX689" fmla="*/ 9225288 w 26653740"/>
                <a:gd name="connsiteY689" fmla="*/ 6737879 h 16570717"/>
                <a:gd name="connsiteX690" fmla="*/ 9220520 w 26653740"/>
                <a:gd name="connsiteY690" fmla="*/ 6714053 h 16570717"/>
                <a:gd name="connsiteX691" fmla="*/ 9220520 w 26653740"/>
                <a:gd name="connsiteY691" fmla="*/ 6690228 h 16570717"/>
                <a:gd name="connsiteX692" fmla="*/ 8558168 w 26653740"/>
                <a:gd name="connsiteY692" fmla="*/ 6566334 h 16570717"/>
                <a:gd name="connsiteX693" fmla="*/ 8586760 w 26653740"/>
                <a:gd name="connsiteY693" fmla="*/ 6571099 h 16570717"/>
                <a:gd name="connsiteX694" fmla="*/ 8605820 w 26653740"/>
                <a:gd name="connsiteY694" fmla="*/ 6575864 h 16570717"/>
                <a:gd name="connsiteX695" fmla="*/ 8643940 w 26653740"/>
                <a:gd name="connsiteY695" fmla="*/ 6604455 h 16570717"/>
                <a:gd name="connsiteX696" fmla="*/ 8610584 w 26653740"/>
                <a:gd name="connsiteY696" fmla="*/ 6618750 h 16570717"/>
                <a:gd name="connsiteX697" fmla="*/ 8596288 w 26653740"/>
                <a:gd name="connsiteY697" fmla="*/ 6652106 h 16570717"/>
                <a:gd name="connsiteX698" fmla="*/ 8596288 w 26653740"/>
                <a:gd name="connsiteY698" fmla="*/ 6671167 h 16570717"/>
                <a:gd name="connsiteX699" fmla="*/ 8601056 w 26653740"/>
                <a:gd name="connsiteY699" fmla="*/ 6685462 h 16570717"/>
                <a:gd name="connsiteX700" fmla="*/ 8596288 w 26653740"/>
                <a:gd name="connsiteY700" fmla="*/ 6704523 h 16570717"/>
                <a:gd name="connsiteX701" fmla="*/ 8596288 w 26653740"/>
                <a:gd name="connsiteY701" fmla="*/ 6709288 h 16570717"/>
                <a:gd name="connsiteX702" fmla="*/ 8586760 w 26653740"/>
                <a:gd name="connsiteY702" fmla="*/ 6699758 h 16570717"/>
                <a:gd name="connsiteX703" fmla="*/ 8562932 w 26653740"/>
                <a:gd name="connsiteY703" fmla="*/ 6685462 h 16570717"/>
                <a:gd name="connsiteX704" fmla="*/ 8524812 w 26653740"/>
                <a:gd name="connsiteY704" fmla="*/ 6647341 h 16570717"/>
                <a:gd name="connsiteX705" fmla="*/ 8510516 w 26653740"/>
                <a:gd name="connsiteY705" fmla="*/ 6623516 h 16570717"/>
                <a:gd name="connsiteX706" fmla="*/ 8515284 w 26653740"/>
                <a:gd name="connsiteY706" fmla="*/ 6594925 h 16570717"/>
                <a:gd name="connsiteX707" fmla="*/ 8524812 w 26653740"/>
                <a:gd name="connsiteY707" fmla="*/ 6575864 h 16570717"/>
                <a:gd name="connsiteX708" fmla="*/ 15670120 w 26653740"/>
                <a:gd name="connsiteY708" fmla="*/ 6542509 h 16570717"/>
                <a:gd name="connsiteX709" fmla="*/ 15689184 w 26653740"/>
                <a:gd name="connsiteY709" fmla="*/ 6552039 h 16570717"/>
                <a:gd name="connsiteX710" fmla="*/ 15713008 w 26653740"/>
                <a:gd name="connsiteY710" fmla="*/ 6575865 h 16570717"/>
                <a:gd name="connsiteX711" fmla="*/ 15717772 w 26653740"/>
                <a:gd name="connsiteY711" fmla="*/ 6585395 h 16570717"/>
                <a:gd name="connsiteX712" fmla="*/ 15679652 w 26653740"/>
                <a:gd name="connsiteY712" fmla="*/ 6609221 h 16570717"/>
                <a:gd name="connsiteX713" fmla="*/ 15646296 w 26653740"/>
                <a:gd name="connsiteY713" fmla="*/ 6609221 h 16570717"/>
                <a:gd name="connsiteX714" fmla="*/ 15622472 w 26653740"/>
                <a:gd name="connsiteY714" fmla="*/ 6566335 h 16570717"/>
                <a:gd name="connsiteX715" fmla="*/ 15641532 w 26653740"/>
                <a:gd name="connsiteY715" fmla="*/ 6552039 h 16570717"/>
                <a:gd name="connsiteX716" fmla="*/ 5494192 w 26653740"/>
                <a:gd name="connsiteY716" fmla="*/ 6423381 h 16570717"/>
                <a:gd name="connsiteX717" fmla="*/ 5518016 w 26653740"/>
                <a:gd name="connsiteY717" fmla="*/ 6428146 h 16570717"/>
                <a:gd name="connsiteX718" fmla="*/ 5546608 w 26653740"/>
                <a:gd name="connsiteY718" fmla="*/ 6442442 h 16570717"/>
                <a:gd name="connsiteX719" fmla="*/ 5575200 w 26653740"/>
                <a:gd name="connsiteY719" fmla="*/ 6471032 h 16570717"/>
                <a:gd name="connsiteX720" fmla="*/ 5651440 w 26653740"/>
                <a:gd name="connsiteY720" fmla="*/ 6490093 h 16570717"/>
                <a:gd name="connsiteX721" fmla="*/ 5703856 w 26653740"/>
                <a:gd name="connsiteY721" fmla="*/ 6499623 h 16570717"/>
                <a:gd name="connsiteX722" fmla="*/ 5737212 w 26653740"/>
                <a:gd name="connsiteY722" fmla="*/ 6513918 h 16570717"/>
                <a:gd name="connsiteX723" fmla="*/ 5751508 w 26653740"/>
                <a:gd name="connsiteY723" fmla="*/ 6528214 h 16570717"/>
                <a:gd name="connsiteX724" fmla="*/ 5746744 w 26653740"/>
                <a:gd name="connsiteY724" fmla="*/ 6561570 h 16570717"/>
                <a:gd name="connsiteX725" fmla="*/ 5737212 w 26653740"/>
                <a:gd name="connsiteY725" fmla="*/ 6575865 h 16570717"/>
                <a:gd name="connsiteX726" fmla="*/ 5713388 w 26653740"/>
                <a:gd name="connsiteY726" fmla="*/ 6618751 h 16570717"/>
                <a:gd name="connsiteX727" fmla="*/ 5708624 w 26653740"/>
                <a:gd name="connsiteY727" fmla="*/ 6642577 h 16570717"/>
                <a:gd name="connsiteX728" fmla="*/ 5713388 w 26653740"/>
                <a:gd name="connsiteY728" fmla="*/ 6685463 h 16570717"/>
                <a:gd name="connsiteX729" fmla="*/ 5708624 w 26653740"/>
                <a:gd name="connsiteY729" fmla="*/ 6714054 h 16570717"/>
                <a:gd name="connsiteX730" fmla="*/ 5703856 w 26653740"/>
                <a:gd name="connsiteY730" fmla="*/ 6737879 h 16570717"/>
                <a:gd name="connsiteX731" fmla="*/ 5694328 w 26653740"/>
                <a:gd name="connsiteY731" fmla="*/ 6747410 h 16570717"/>
                <a:gd name="connsiteX732" fmla="*/ 5656208 w 26653740"/>
                <a:gd name="connsiteY732" fmla="*/ 6747410 h 16570717"/>
                <a:gd name="connsiteX733" fmla="*/ 5641912 w 26653740"/>
                <a:gd name="connsiteY733" fmla="*/ 6761705 h 16570717"/>
                <a:gd name="connsiteX734" fmla="*/ 5637144 w 26653740"/>
                <a:gd name="connsiteY734" fmla="*/ 6780766 h 16570717"/>
                <a:gd name="connsiteX735" fmla="*/ 5637144 w 26653740"/>
                <a:gd name="connsiteY735" fmla="*/ 6809356 h 16570717"/>
                <a:gd name="connsiteX736" fmla="*/ 5622852 w 26653740"/>
                <a:gd name="connsiteY736" fmla="*/ 6847477 h 16570717"/>
                <a:gd name="connsiteX737" fmla="*/ 5594260 w 26653740"/>
                <a:gd name="connsiteY737" fmla="*/ 6861773 h 16570717"/>
                <a:gd name="connsiteX738" fmla="*/ 5589496 w 26653740"/>
                <a:gd name="connsiteY738" fmla="*/ 6871303 h 16570717"/>
                <a:gd name="connsiteX739" fmla="*/ 5594260 w 26653740"/>
                <a:gd name="connsiteY739" fmla="*/ 6895129 h 16570717"/>
                <a:gd name="connsiteX740" fmla="*/ 5584728 w 26653740"/>
                <a:gd name="connsiteY740" fmla="*/ 6918954 h 16570717"/>
                <a:gd name="connsiteX741" fmla="*/ 5584728 w 26653740"/>
                <a:gd name="connsiteY741" fmla="*/ 6947545 h 16570717"/>
                <a:gd name="connsiteX742" fmla="*/ 5589496 w 26653740"/>
                <a:gd name="connsiteY742" fmla="*/ 6961840 h 16570717"/>
                <a:gd name="connsiteX743" fmla="*/ 5589496 w 26653740"/>
                <a:gd name="connsiteY743" fmla="*/ 6995196 h 16570717"/>
                <a:gd name="connsiteX744" fmla="*/ 5608556 w 26653740"/>
                <a:gd name="connsiteY744" fmla="*/ 7042848 h 16570717"/>
                <a:gd name="connsiteX745" fmla="*/ 5603792 w 26653740"/>
                <a:gd name="connsiteY745" fmla="*/ 7061908 h 16570717"/>
                <a:gd name="connsiteX746" fmla="*/ 5589496 w 26653740"/>
                <a:gd name="connsiteY746" fmla="*/ 7100029 h 16570717"/>
                <a:gd name="connsiteX747" fmla="*/ 5584728 w 26653740"/>
                <a:gd name="connsiteY747" fmla="*/ 7145298 h 16570717"/>
                <a:gd name="connsiteX748" fmla="*/ 5575200 w 26653740"/>
                <a:gd name="connsiteY748" fmla="*/ 7183419 h 16570717"/>
                <a:gd name="connsiteX749" fmla="*/ 5599024 w 26653740"/>
                <a:gd name="connsiteY749" fmla="*/ 7216775 h 16570717"/>
                <a:gd name="connsiteX750" fmla="*/ 5613320 w 26653740"/>
                <a:gd name="connsiteY750" fmla="*/ 7259661 h 16570717"/>
                <a:gd name="connsiteX751" fmla="*/ 5622852 w 26653740"/>
                <a:gd name="connsiteY751" fmla="*/ 7307312 h 16570717"/>
                <a:gd name="connsiteX752" fmla="*/ 5656208 w 26653740"/>
                <a:gd name="connsiteY752" fmla="*/ 7397850 h 16570717"/>
                <a:gd name="connsiteX753" fmla="*/ 5689564 w 26653740"/>
                <a:gd name="connsiteY753" fmla="*/ 7478857 h 16570717"/>
                <a:gd name="connsiteX754" fmla="*/ 5756276 w 26653740"/>
                <a:gd name="connsiteY754" fmla="*/ 7593220 h 16570717"/>
                <a:gd name="connsiteX755" fmla="*/ 5822984 w 26653740"/>
                <a:gd name="connsiteY755" fmla="*/ 7678992 h 16570717"/>
                <a:gd name="connsiteX756" fmla="*/ 5846812 w 26653740"/>
                <a:gd name="connsiteY756" fmla="*/ 7702818 h 16570717"/>
                <a:gd name="connsiteX757" fmla="*/ 5913524 w 26653740"/>
                <a:gd name="connsiteY757" fmla="*/ 7745704 h 16570717"/>
                <a:gd name="connsiteX758" fmla="*/ 5927820 w 26653740"/>
                <a:gd name="connsiteY758" fmla="*/ 7755234 h 16570717"/>
                <a:gd name="connsiteX759" fmla="*/ 5937348 w 26653740"/>
                <a:gd name="connsiteY759" fmla="*/ 7774295 h 16570717"/>
                <a:gd name="connsiteX760" fmla="*/ 5908760 w 26653740"/>
                <a:gd name="connsiteY760" fmla="*/ 7807651 h 16570717"/>
                <a:gd name="connsiteX761" fmla="*/ 5880168 w 26653740"/>
                <a:gd name="connsiteY761" fmla="*/ 7817181 h 16570717"/>
                <a:gd name="connsiteX762" fmla="*/ 5880168 w 26653740"/>
                <a:gd name="connsiteY762" fmla="*/ 7831476 h 16570717"/>
                <a:gd name="connsiteX763" fmla="*/ 5861108 w 26653740"/>
                <a:gd name="connsiteY763" fmla="*/ 7841007 h 16570717"/>
                <a:gd name="connsiteX764" fmla="*/ 5784864 w 26653740"/>
                <a:gd name="connsiteY764" fmla="*/ 7812416 h 16570717"/>
                <a:gd name="connsiteX765" fmla="*/ 5780100 w 26653740"/>
                <a:gd name="connsiteY765" fmla="*/ 7807651 h 16570717"/>
                <a:gd name="connsiteX766" fmla="*/ 5770568 w 26653740"/>
                <a:gd name="connsiteY766" fmla="*/ 7788590 h 16570717"/>
                <a:gd name="connsiteX767" fmla="*/ 5761040 w 26653740"/>
                <a:gd name="connsiteY767" fmla="*/ 7774295 h 16570717"/>
                <a:gd name="connsiteX768" fmla="*/ 5741980 w 26653740"/>
                <a:gd name="connsiteY768" fmla="*/ 7769530 h 16570717"/>
                <a:gd name="connsiteX769" fmla="*/ 5722920 w 26653740"/>
                <a:gd name="connsiteY769" fmla="*/ 7779060 h 16570717"/>
                <a:gd name="connsiteX770" fmla="*/ 5737212 w 26653740"/>
                <a:gd name="connsiteY770" fmla="*/ 7798121 h 16570717"/>
                <a:gd name="connsiteX771" fmla="*/ 5746744 w 26653740"/>
                <a:gd name="connsiteY771" fmla="*/ 7802886 h 16570717"/>
                <a:gd name="connsiteX772" fmla="*/ 5770568 w 26653740"/>
                <a:gd name="connsiteY772" fmla="*/ 7836242 h 16570717"/>
                <a:gd name="connsiteX773" fmla="*/ 5761040 w 26653740"/>
                <a:gd name="connsiteY773" fmla="*/ 7850537 h 16570717"/>
                <a:gd name="connsiteX774" fmla="*/ 5751508 w 26653740"/>
                <a:gd name="connsiteY774" fmla="*/ 7850537 h 16570717"/>
                <a:gd name="connsiteX775" fmla="*/ 5703856 w 26653740"/>
                <a:gd name="connsiteY775" fmla="*/ 7807651 h 16570717"/>
                <a:gd name="connsiteX776" fmla="*/ 5699092 w 26653740"/>
                <a:gd name="connsiteY776" fmla="*/ 7812416 h 16570717"/>
                <a:gd name="connsiteX777" fmla="*/ 5699092 w 26653740"/>
                <a:gd name="connsiteY777" fmla="*/ 7826711 h 16570717"/>
                <a:gd name="connsiteX778" fmla="*/ 5675268 w 26653740"/>
                <a:gd name="connsiteY778" fmla="*/ 7812416 h 16570717"/>
                <a:gd name="connsiteX779" fmla="*/ 5670500 w 26653740"/>
                <a:gd name="connsiteY779" fmla="*/ 7821946 h 16570717"/>
                <a:gd name="connsiteX780" fmla="*/ 5651440 w 26653740"/>
                <a:gd name="connsiteY780" fmla="*/ 7826711 h 16570717"/>
                <a:gd name="connsiteX781" fmla="*/ 5637144 w 26653740"/>
                <a:gd name="connsiteY781" fmla="*/ 7817181 h 16570717"/>
                <a:gd name="connsiteX782" fmla="*/ 5637144 w 26653740"/>
                <a:gd name="connsiteY782" fmla="*/ 7798121 h 16570717"/>
                <a:gd name="connsiteX783" fmla="*/ 5632380 w 26653740"/>
                <a:gd name="connsiteY783" fmla="*/ 7793356 h 16570717"/>
                <a:gd name="connsiteX784" fmla="*/ 5565668 w 26653740"/>
                <a:gd name="connsiteY784" fmla="*/ 7802886 h 16570717"/>
                <a:gd name="connsiteX785" fmla="*/ 5532312 w 26653740"/>
                <a:gd name="connsiteY785" fmla="*/ 7802886 h 16570717"/>
                <a:gd name="connsiteX786" fmla="*/ 5503724 w 26653740"/>
                <a:gd name="connsiteY786" fmla="*/ 7798121 h 16570717"/>
                <a:gd name="connsiteX787" fmla="*/ 5470368 w 26653740"/>
                <a:gd name="connsiteY787" fmla="*/ 7769530 h 16570717"/>
                <a:gd name="connsiteX788" fmla="*/ 5465600 w 26653740"/>
                <a:gd name="connsiteY788" fmla="*/ 7779060 h 16570717"/>
                <a:gd name="connsiteX789" fmla="*/ 5465600 w 26653740"/>
                <a:gd name="connsiteY789" fmla="*/ 7798121 h 16570717"/>
                <a:gd name="connsiteX790" fmla="*/ 5451304 w 26653740"/>
                <a:gd name="connsiteY790" fmla="*/ 7788590 h 16570717"/>
                <a:gd name="connsiteX791" fmla="*/ 5422716 w 26653740"/>
                <a:gd name="connsiteY791" fmla="*/ 7764765 h 16570717"/>
                <a:gd name="connsiteX792" fmla="*/ 5403656 w 26653740"/>
                <a:gd name="connsiteY792" fmla="*/ 7755234 h 16570717"/>
                <a:gd name="connsiteX793" fmla="*/ 5327412 w 26653740"/>
                <a:gd name="connsiteY793" fmla="*/ 7731409 h 16570717"/>
                <a:gd name="connsiteX794" fmla="*/ 5274996 w 26653740"/>
                <a:gd name="connsiteY794" fmla="*/ 7707583 h 16570717"/>
                <a:gd name="connsiteX795" fmla="*/ 5289292 w 26653740"/>
                <a:gd name="connsiteY795" fmla="*/ 7693288 h 16570717"/>
                <a:gd name="connsiteX796" fmla="*/ 5308352 w 26653740"/>
                <a:gd name="connsiteY796" fmla="*/ 7683758 h 16570717"/>
                <a:gd name="connsiteX797" fmla="*/ 5308352 w 26653740"/>
                <a:gd name="connsiteY797" fmla="*/ 7669462 h 16570717"/>
                <a:gd name="connsiteX798" fmla="*/ 5308352 w 26653740"/>
                <a:gd name="connsiteY798" fmla="*/ 7645636 h 16570717"/>
                <a:gd name="connsiteX799" fmla="*/ 5308352 w 26653740"/>
                <a:gd name="connsiteY799" fmla="*/ 7621811 h 16570717"/>
                <a:gd name="connsiteX800" fmla="*/ 5317884 w 26653740"/>
                <a:gd name="connsiteY800" fmla="*/ 7602750 h 16570717"/>
                <a:gd name="connsiteX801" fmla="*/ 5346472 w 26653740"/>
                <a:gd name="connsiteY801" fmla="*/ 7612281 h 16570717"/>
                <a:gd name="connsiteX802" fmla="*/ 5346472 w 26653740"/>
                <a:gd name="connsiteY802" fmla="*/ 7583690 h 16570717"/>
                <a:gd name="connsiteX803" fmla="*/ 5360768 w 26653740"/>
                <a:gd name="connsiteY803" fmla="*/ 7578925 h 16570717"/>
                <a:gd name="connsiteX804" fmla="*/ 5384596 w 26653740"/>
                <a:gd name="connsiteY804" fmla="*/ 7593220 h 16570717"/>
                <a:gd name="connsiteX805" fmla="*/ 5394124 w 26653740"/>
                <a:gd name="connsiteY805" fmla="*/ 7583690 h 16570717"/>
                <a:gd name="connsiteX806" fmla="*/ 5351240 w 26653740"/>
                <a:gd name="connsiteY806" fmla="*/ 7550334 h 16570717"/>
                <a:gd name="connsiteX807" fmla="*/ 5308352 w 26653740"/>
                <a:gd name="connsiteY807" fmla="*/ 7502683 h 16570717"/>
                <a:gd name="connsiteX808" fmla="*/ 5313116 w 26653740"/>
                <a:gd name="connsiteY808" fmla="*/ 7483622 h 16570717"/>
                <a:gd name="connsiteX809" fmla="*/ 5294056 w 26653740"/>
                <a:gd name="connsiteY809" fmla="*/ 7478857 h 16570717"/>
                <a:gd name="connsiteX810" fmla="*/ 5279760 w 26653740"/>
                <a:gd name="connsiteY810" fmla="*/ 7478857 h 16570717"/>
                <a:gd name="connsiteX811" fmla="*/ 5265464 w 26653740"/>
                <a:gd name="connsiteY811" fmla="*/ 7450266 h 16570717"/>
                <a:gd name="connsiteX812" fmla="*/ 5265464 w 26653740"/>
                <a:gd name="connsiteY812" fmla="*/ 7412145 h 16570717"/>
                <a:gd name="connsiteX813" fmla="*/ 5279760 w 26653740"/>
                <a:gd name="connsiteY813" fmla="*/ 7388320 h 16570717"/>
                <a:gd name="connsiteX814" fmla="*/ 5270232 w 26653740"/>
                <a:gd name="connsiteY814" fmla="*/ 7378789 h 16570717"/>
                <a:gd name="connsiteX815" fmla="*/ 5198756 w 26653740"/>
                <a:gd name="connsiteY815" fmla="*/ 7402615 h 16570717"/>
                <a:gd name="connsiteX816" fmla="*/ 5165400 w 26653740"/>
                <a:gd name="connsiteY816" fmla="*/ 7397850 h 16570717"/>
                <a:gd name="connsiteX817" fmla="*/ 5122512 w 26653740"/>
                <a:gd name="connsiteY817" fmla="*/ 7383554 h 16570717"/>
                <a:gd name="connsiteX818" fmla="*/ 5084392 w 26653740"/>
                <a:gd name="connsiteY818" fmla="*/ 7407380 h 16570717"/>
                <a:gd name="connsiteX819" fmla="*/ 5051036 w 26653740"/>
                <a:gd name="connsiteY819" fmla="*/ 7412145 h 16570717"/>
                <a:gd name="connsiteX820" fmla="*/ 5027208 w 26653740"/>
                <a:gd name="connsiteY820" fmla="*/ 7407380 h 16570717"/>
                <a:gd name="connsiteX821" fmla="*/ 5008148 w 26653740"/>
                <a:gd name="connsiteY821" fmla="*/ 7388320 h 16570717"/>
                <a:gd name="connsiteX822" fmla="*/ 4993852 w 26653740"/>
                <a:gd name="connsiteY822" fmla="*/ 7369259 h 16570717"/>
                <a:gd name="connsiteX823" fmla="*/ 4979560 w 26653740"/>
                <a:gd name="connsiteY823" fmla="*/ 7331138 h 16570717"/>
                <a:gd name="connsiteX824" fmla="*/ 4970028 w 26653740"/>
                <a:gd name="connsiteY824" fmla="*/ 7264426 h 16570717"/>
                <a:gd name="connsiteX825" fmla="*/ 4970028 w 26653740"/>
                <a:gd name="connsiteY825" fmla="*/ 7240601 h 16570717"/>
                <a:gd name="connsiteX826" fmla="*/ 4970028 w 26653740"/>
                <a:gd name="connsiteY826" fmla="*/ 7183419 h 16570717"/>
                <a:gd name="connsiteX827" fmla="*/ 4979560 w 26653740"/>
                <a:gd name="connsiteY827" fmla="*/ 7164358 h 16570717"/>
                <a:gd name="connsiteX828" fmla="*/ 4993852 w 26653740"/>
                <a:gd name="connsiteY828" fmla="*/ 7116707 h 16570717"/>
                <a:gd name="connsiteX829" fmla="*/ 5003384 w 26653740"/>
                <a:gd name="connsiteY829" fmla="*/ 7104794 h 16570717"/>
                <a:gd name="connsiteX830" fmla="*/ 5027208 w 26653740"/>
                <a:gd name="connsiteY830" fmla="*/ 7080969 h 16570717"/>
                <a:gd name="connsiteX831" fmla="*/ 5041504 w 26653740"/>
                <a:gd name="connsiteY831" fmla="*/ 7076204 h 16570717"/>
                <a:gd name="connsiteX832" fmla="*/ 5070096 w 26653740"/>
                <a:gd name="connsiteY832" fmla="*/ 7085734 h 16570717"/>
                <a:gd name="connsiteX833" fmla="*/ 5098688 w 26653740"/>
                <a:gd name="connsiteY833" fmla="*/ 7090499 h 16570717"/>
                <a:gd name="connsiteX834" fmla="*/ 5108216 w 26653740"/>
                <a:gd name="connsiteY834" fmla="*/ 7076204 h 16570717"/>
                <a:gd name="connsiteX835" fmla="*/ 5122512 w 26653740"/>
                <a:gd name="connsiteY835" fmla="*/ 7057143 h 16570717"/>
                <a:gd name="connsiteX836" fmla="*/ 5132044 w 26653740"/>
                <a:gd name="connsiteY836" fmla="*/ 7028552 h 16570717"/>
                <a:gd name="connsiteX837" fmla="*/ 5151104 w 26653740"/>
                <a:gd name="connsiteY837" fmla="*/ 7009492 h 16570717"/>
                <a:gd name="connsiteX838" fmla="*/ 5155868 w 26653740"/>
                <a:gd name="connsiteY838" fmla="*/ 6999962 h 16570717"/>
                <a:gd name="connsiteX839" fmla="*/ 5160632 w 26653740"/>
                <a:gd name="connsiteY839" fmla="*/ 6980901 h 16570717"/>
                <a:gd name="connsiteX840" fmla="*/ 5170164 w 26653740"/>
                <a:gd name="connsiteY840" fmla="*/ 6957075 h 16570717"/>
                <a:gd name="connsiteX841" fmla="*/ 5170164 w 26653740"/>
                <a:gd name="connsiteY841" fmla="*/ 6933250 h 16570717"/>
                <a:gd name="connsiteX842" fmla="*/ 5174928 w 26653740"/>
                <a:gd name="connsiteY842" fmla="*/ 6909424 h 16570717"/>
                <a:gd name="connsiteX843" fmla="*/ 5193988 w 26653740"/>
                <a:gd name="connsiteY843" fmla="*/ 6871303 h 16570717"/>
                <a:gd name="connsiteX844" fmla="*/ 5189224 w 26653740"/>
                <a:gd name="connsiteY844" fmla="*/ 6852243 h 16570717"/>
                <a:gd name="connsiteX845" fmla="*/ 5189224 w 26653740"/>
                <a:gd name="connsiteY845" fmla="*/ 6837947 h 16570717"/>
                <a:gd name="connsiteX846" fmla="*/ 5203520 w 26653740"/>
                <a:gd name="connsiteY846" fmla="*/ 6809356 h 16570717"/>
                <a:gd name="connsiteX847" fmla="*/ 5165400 w 26653740"/>
                <a:gd name="connsiteY847" fmla="*/ 6804591 h 16570717"/>
                <a:gd name="connsiteX848" fmla="*/ 5151104 w 26653740"/>
                <a:gd name="connsiteY848" fmla="*/ 6790296 h 16570717"/>
                <a:gd name="connsiteX849" fmla="*/ 5141572 w 26653740"/>
                <a:gd name="connsiteY849" fmla="*/ 6776000 h 16570717"/>
                <a:gd name="connsiteX850" fmla="*/ 5141572 w 26653740"/>
                <a:gd name="connsiteY850" fmla="*/ 6756940 h 16570717"/>
                <a:gd name="connsiteX851" fmla="*/ 5151104 w 26653740"/>
                <a:gd name="connsiteY851" fmla="*/ 6747410 h 16570717"/>
                <a:gd name="connsiteX852" fmla="*/ 5184460 w 26653740"/>
                <a:gd name="connsiteY852" fmla="*/ 6699758 h 16570717"/>
                <a:gd name="connsiteX853" fmla="*/ 5203520 w 26653740"/>
                <a:gd name="connsiteY853" fmla="*/ 6690228 h 16570717"/>
                <a:gd name="connsiteX854" fmla="*/ 5217816 w 26653740"/>
                <a:gd name="connsiteY854" fmla="*/ 6680698 h 16570717"/>
                <a:gd name="connsiteX855" fmla="*/ 5236876 w 26653740"/>
                <a:gd name="connsiteY855" fmla="*/ 6680698 h 16570717"/>
                <a:gd name="connsiteX856" fmla="*/ 5255936 w 26653740"/>
                <a:gd name="connsiteY856" fmla="*/ 6685463 h 16570717"/>
                <a:gd name="connsiteX857" fmla="*/ 5270232 w 26653740"/>
                <a:gd name="connsiteY857" fmla="*/ 6680698 h 16570717"/>
                <a:gd name="connsiteX858" fmla="*/ 5251172 w 26653740"/>
                <a:gd name="connsiteY858" fmla="*/ 6647342 h 16570717"/>
                <a:gd name="connsiteX859" fmla="*/ 5251172 w 26653740"/>
                <a:gd name="connsiteY859" fmla="*/ 6628282 h 16570717"/>
                <a:gd name="connsiteX860" fmla="*/ 5246404 w 26653740"/>
                <a:gd name="connsiteY860" fmla="*/ 6580630 h 16570717"/>
                <a:gd name="connsiteX861" fmla="*/ 5246404 w 26653740"/>
                <a:gd name="connsiteY861" fmla="*/ 6556805 h 16570717"/>
                <a:gd name="connsiteX862" fmla="*/ 5255936 w 26653740"/>
                <a:gd name="connsiteY862" fmla="*/ 6537744 h 16570717"/>
                <a:gd name="connsiteX863" fmla="*/ 5270232 w 26653740"/>
                <a:gd name="connsiteY863" fmla="*/ 6513918 h 16570717"/>
                <a:gd name="connsiteX864" fmla="*/ 5294056 w 26653740"/>
                <a:gd name="connsiteY864" fmla="*/ 6504388 h 16570717"/>
                <a:gd name="connsiteX865" fmla="*/ 5313116 w 26653740"/>
                <a:gd name="connsiteY865" fmla="*/ 6494858 h 16570717"/>
                <a:gd name="connsiteX866" fmla="*/ 5332176 w 26653740"/>
                <a:gd name="connsiteY866" fmla="*/ 6475797 h 16570717"/>
                <a:gd name="connsiteX867" fmla="*/ 5351240 w 26653740"/>
                <a:gd name="connsiteY867" fmla="*/ 6475797 h 16570717"/>
                <a:gd name="connsiteX868" fmla="*/ 5384596 w 26653740"/>
                <a:gd name="connsiteY868" fmla="*/ 6485328 h 16570717"/>
                <a:gd name="connsiteX869" fmla="*/ 5403656 w 26653740"/>
                <a:gd name="connsiteY869" fmla="*/ 6485328 h 16570717"/>
                <a:gd name="connsiteX870" fmla="*/ 5422716 w 26653740"/>
                <a:gd name="connsiteY870" fmla="*/ 6475797 h 16570717"/>
                <a:gd name="connsiteX871" fmla="*/ 5475132 w 26653740"/>
                <a:gd name="connsiteY871" fmla="*/ 6437676 h 16570717"/>
                <a:gd name="connsiteX872" fmla="*/ 8014944 w 26653740"/>
                <a:gd name="connsiteY872" fmla="*/ 6356669 h 16570717"/>
                <a:gd name="connsiteX873" fmla="*/ 8029240 w 26653740"/>
                <a:gd name="connsiteY873" fmla="*/ 6361434 h 16570717"/>
                <a:gd name="connsiteX874" fmla="*/ 8048300 w 26653740"/>
                <a:gd name="connsiteY874" fmla="*/ 6375730 h 16570717"/>
                <a:gd name="connsiteX875" fmla="*/ 8062596 w 26653740"/>
                <a:gd name="connsiteY875" fmla="*/ 6394790 h 16570717"/>
                <a:gd name="connsiteX876" fmla="*/ 8081656 w 26653740"/>
                <a:gd name="connsiteY876" fmla="*/ 6432911 h 16570717"/>
                <a:gd name="connsiteX877" fmla="*/ 8095952 w 26653740"/>
                <a:gd name="connsiteY877" fmla="*/ 6451972 h 16570717"/>
                <a:gd name="connsiteX878" fmla="*/ 8119776 w 26653740"/>
                <a:gd name="connsiteY878" fmla="*/ 6480562 h 16570717"/>
                <a:gd name="connsiteX879" fmla="*/ 8124544 w 26653740"/>
                <a:gd name="connsiteY879" fmla="*/ 6513918 h 16570717"/>
                <a:gd name="connsiteX880" fmla="*/ 8124544 w 26653740"/>
                <a:gd name="connsiteY880" fmla="*/ 6542509 h 16570717"/>
                <a:gd name="connsiteX881" fmla="*/ 8081656 w 26653740"/>
                <a:gd name="connsiteY881" fmla="*/ 6547274 h 16570717"/>
                <a:gd name="connsiteX882" fmla="*/ 8010180 w 26653740"/>
                <a:gd name="connsiteY882" fmla="*/ 6571100 h 16570717"/>
                <a:gd name="connsiteX883" fmla="*/ 7976824 w 26653740"/>
                <a:gd name="connsiteY883" fmla="*/ 6585395 h 16570717"/>
                <a:gd name="connsiteX884" fmla="*/ 7929172 w 26653740"/>
                <a:gd name="connsiteY884" fmla="*/ 6609221 h 16570717"/>
                <a:gd name="connsiteX885" fmla="*/ 7914876 w 26653740"/>
                <a:gd name="connsiteY885" fmla="*/ 6609221 h 16570717"/>
                <a:gd name="connsiteX886" fmla="*/ 7886284 w 26653740"/>
                <a:gd name="connsiteY886" fmla="*/ 6604456 h 16570717"/>
                <a:gd name="connsiteX887" fmla="*/ 7876756 w 26653740"/>
                <a:gd name="connsiteY887" fmla="*/ 6613986 h 16570717"/>
                <a:gd name="connsiteX888" fmla="*/ 7857696 w 26653740"/>
                <a:gd name="connsiteY888" fmla="*/ 6590160 h 16570717"/>
                <a:gd name="connsiteX889" fmla="*/ 7857696 w 26653740"/>
                <a:gd name="connsiteY889" fmla="*/ 6566335 h 16570717"/>
                <a:gd name="connsiteX890" fmla="*/ 7867224 w 26653740"/>
                <a:gd name="connsiteY890" fmla="*/ 6542509 h 16570717"/>
                <a:gd name="connsiteX891" fmla="*/ 7871992 w 26653740"/>
                <a:gd name="connsiteY891" fmla="*/ 6513918 h 16570717"/>
                <a:gd name="connsiteX892" fmla="*/ 7867224 w 26653740"/>
                <a:gd name="connsiteY892" fmla="*/ 6442441 h 16570717"/>
                <a:gd name="connsiteX893" fmla="*/ 7891052 w 26653740"/>
                <a:gd name="connsiteY893" fmla="*/ 6394790 h 16570717"/>
                <a:gd name="connsiteX894" fmla="*/ 7924408 w 26653740"/>
                <a:gd name="connsiteY894" fmla="*/ 6375730 h 16570717"/>
                <a:gd name="connsiteX895" fmla="*/ 8829780 w 26653740"/>
                <a:gd name="connsiteY895" fmla="*/ 6332843 h 16570717"/>
                <a:gd name="connsiteX896" fmla="*/ 8844076 w 26653740"/>
                <a:gd name="connsiteY896" fmla="*/ 6332843 h 16570717"/>
                <a:gd name="connsiteX897" fmla="*/ 8925084 w 26653740"/>
                <a:gd name="connsiteY897" fmla="*/ 6394790 h 16570717"/>
                <a:gd name="connsiteX898" fmla="*/ 8910788 w 26653740"/>
                <a:gd name="connsiteY898" fmla="*/ 6399555 h 16570717"/>
                <a:gd name="connsiteX899" fmla="*/ 8844076 w 26653740"/>
                <a:gd name="connsiteY899" fmla="*/ 6375729 h 16570717"/>
                <a:gd name="connsiteX900" fmla="*/ 8820252 w 26653740"/>
                <a:gd name="connsiteY900" fmla="*/ 6351904 h 16570717"/>
                <a:gd name="connsiteX901" fmla="*/ 8796424 w 26653740"/>
                <a:gd name="connsiteY901" fmla="*/ 6323313 h 16570717"/>
                <a:gd name="connsiteX902" fmla="*/ 8810720 w 26653740"/>
                <a:gd name="connsiteY902" fmla="*/ 6332843 h 16570717"/>
                <a:gd name="connsiteX903" fmla="*/ 8815488 w 26653740"/>
                <a:gd name="connsiteY903" fmla="*/ 6337608 h 16570717"/>
                <a:gd name="connsiteX904" fmla="*/ 8791660 w 26653740"/>
                <a:gd name="connsiteY904" fmla="*/ 6375729 h 16570717"/>
                <a:gd name="connsiteX905" fmla="*/ 8777364 w 26653740"/>
                <a:gd name="connsiteY905" fmla="*/ 6385260 h 16570717"/>
                <a:gd name="connsiteX906" fmla="*/ 8729712 w 26653740"/>
                <a:gd name="connsiteY906" fmla="*/ 6385260 h 16570717"/>
                <a:gd name="connsiteX907" fmla="*/ 8705888 w 26653740"/>
                <a:gd name="connsiteY907" fmla="*/ 6399555 h 16570717"/>
                <a:gd name="connsiteX908" fmla="*/ 8710652 w 26653740"/>
                <a:gd name="connsiteY908" fmla="*/ 6375729 h 16570717"/>
                <a:gd name="connsiteX909" fmla="*/ 8739244 w 26653740"/>
                <a:gd name="connsiteY909" fmla="*/ 6342374 h 16570717"/>
                <a:gd name="connsiteX910" fmla="*/ 19101012 w 26653740"/>
                <a:gd name="connsiteY910" fmla="*/ 6132708 h 16570717"/>
                <a:gd name="connsiteX911" fmla="*/ 19143900 w 26653740"/>
                <a:gd name="connsiteY911" fmla="*/ 6142238 h 16570717"/>
                <a:gd name="connsiteX912" fmla="*/ 19182020 w 26653740"/>
                <a:gd name="connsiteY912" fmla="*/ 6170829 h 16570717"/>
                <a:gd name="connsiteX913" fmla="*/ 19215376 w 26653740"/>
                <a:gd name="connsiteY913" fmla="*/ 6194655 h 16570717"/>
                <a:gd name="connsiteX914" fmla="*/ 19324976 w 26653740"/>
                <a:gd name="connsiteY914" fmla="*/ 6328078 h 16570717"/>
                <a:gd name="connsiteX915" fmla="*/ 19334504 w 26653740"/>
                <a:gd name="connsiteY915" fmla="*/ 6351904 h 16570717"/>
                <a:gd name="connsiteX916" fmla="*/ 19344036 w 26653740"/>
                <a:gd name="connsiteY916" fmla="*/ 6385260 h 16570717"/>
                <a:gd name="connsiteX917" fmla="*/ 19348800 w 26653740"/>
                <a:gd name="connsiteY917" fmla="*/ 6504388 h 16570717"/>
                <a:gd name="connsiteX918" fmla="*/ 19339268 w 26653740"/>
                <a:gd name="connsiteY918" fmla="*/ 6509153 h 16570717"/>
                <a:gd name="connsiteX919" fmla="*/ 19301148 w 26653740"/>
                <a:gd name="connsiteY919" fmla="*/ 6518683 h 16570717"/>
                <a:gd name="connsiteX920" fmla="*/ 19243968 w 26653740"/>
                <a:gd name="connsiteY920" fmla="*/ 6504388 h 16570717"/>
                <a:gd name="connsiteX921" fmla="*/ 19205848 w 26653740"/>
                <a:gd name="connsiteY921" fmla="*/ 6499622 h 16570717"/>
                <a:gd name="connsiteX922" fmla="*/ 19167724 w 26653740"/>
                <a:gd name="connsiteY922" fmla="*/ 6499622 h 16570717"/>
                <a:gd name="connsiteX923" fmla="*/ 19134368 w 26653740"/>
                <a:gd name="connsiteY923" fmla="*/ 6485327 h 16570717"/>
                <a:gd name="connsiteX924" fmla="*/ 19048596 w 26653740"/>
                <a:gd name="connsiteY924" fmla="*/ 6466267 h 16570717"/>
                <a:gd name="connsiteX925" fmla="*/ 18986652 w 26653740"/>
                <a:gd name="connsiteY925" fmla="*/ 6423381 h 16570717"/>
                <a:gd name="connsiteX926" fmla="*/ 18919940 w 26653740"/>
                <a:gd name="connsiteY926" fmla="*/ 6394790 h 16570717"/>
                <a:gd name="connsiteX927" fmla="*/ 18905644 w 26653740"/>
                <a:gd name="connsiteY927" fmla="*/ 6390025 h 16570717"/>
                <a:gd name="connsiteX928" fmla="*/ 18862756 w 26653740"/>
                <a:gd name="connsiteY928" fmla="*/ 6399555 h 16570717"/>
                <a:gd name="connsiteX929" fmla="*/ 18805576 w 26653740"/>
                <a:gd name="connsiteY929" fmla="*/ 6437676 h 16570717"/>
                <a:gd name="connsiteX930" fmla="*/ 18791280 w 26653740"/>
                <a:gd name="connsiteY930" fmla="*/ 6442441 h 16570717"/>
                <a:gd name="connsiteX931" fmla="*/ 18767456 w 26653740"/>
                <a:gd name="connsiteY931" fmla="*/ 6442441 h 16570717"/>
                <a:gd name="connsiteX932" fmla="*/ 18753160 w 26653740"/>
                <a:gd name="connsiteY932" fmla="*/ 6404320 h 16570717"/>
                <a:gd name="connsiteX933" fmla="*/ 18786516 w 26653740"/>
                <a:gd name="connsiteY933" fmla="*/ 6394790 h 16570717"/>
                <a:gd name="connsiteX934" fmla="*/ 18824636 w 26653740"/>
                <a:gd name="connsiteY934" fmla="*/ 6385260 h 16570717"/>
                <a:gd name="connsiteX935" fmla="*/ 18862756 w 26653740"/>
                <a:gd name="connsiteY935" fmla="*/ 6375729 h 16570717"/>
                <a:gd name="connsiteX936" fmla="*/ 18891348 w 26653740"/>
                <a:gd name="connsiteY936" fmla="*/ 6328078 h 16570717"/>
                <a:gd name="connsiteX937" fmla="*/ 18910408 w 26653740"/>
                <a:gd name="connsiteY937" fmla="*/ 6294722 h 16570717"/>
                <a:gd name="connsiteX938" fmla="*/ 18939000 w 26653740"/>
                <a:gd name="connsiteY938" fmla="*/ 6208950 h 16570717"/>
                <a:gd name="connsiteX939" fmla="*/ 18953296 w 26653740"/>
                <a:gd name="connsiteY939" fmla="*/ 6180359 h 16570717"/>
                <a:gd name="connsiteX940" fmla="*/ 18972356 w 26653740"/>
                <a:gd name="connsiteY940" fmla="*/ 6161299 h 16570717"/>
                <a:gd name="connsiteX941" fmla="*/ 18986652 w 26653740"/>
                <a:gd name="connsiteY941" fmla="*/ 6156534 h 16570717"/>
                <a:gd name="connsiteX942" fmla="*/ 19005712 w 26653740"/>
                <a:gd name="connsiteY942" fmla="*/ 6156534 h 16570717"/>
                <a:gd name="connsiteX943" fmla="*/ 19062892 w 26653740"/>
                <a:gd name="connsiteY943" fmla="*/ 6137473 h 16570717"/>
                <a:gd name="connsiteX944" fmla="*/ 16370596 w 26653740"/>
                <a:gd name="connsiteY944" fmla="*/ 6118412 h 16570717"/>
                <a:gd name="connsiteX945" fmla="*/ 16384892 w 26653740"/>
                <a:gd name="connsiteY945" fmla="*/ 6123177 h 16570717"/>
                <a:gd name="connsiteX946" fmla="*/ 16399184 w 26653740"/>
                <a:gd name="connsiteY946" fmla="*/ 6142237 h 16570717"/>
                <a:gd name="connsiteX947" fmla="*/ 16403952 w 26653740"/>
                <a:gd name="connsiteY947" fmla="*/ 6147003 h 16570717"/>
                <a:gd name="connsiteX948" fmla="*/ 16384892 w 26653740"/>
                <a:gd name="connsiteY948" fmla="*/ 6170828 h 16570717"/>
                <a:gd name="connsiteX949" fmla="*/ 16375360 w 26653740"/>
                <a:gd name="connsiteY949" fmla="*/ 6170828 h 16570717"/>
                <a:gd name="connsiteX950" fmla="*/ 16361064 w 26653740"/>
                <a:gd name="connsiteY950" fmla="*/ 6156533 h 16570717"/>
                <a:gd name="connsiteX951" fmla="*/ 16356300 w 26653740"/>
                <a:gd name="connsiteY951" fmla="*/ 6137472 h 16570717"/>
                <a:gd name="connsiteX952" fmla="*/ 16356300 w 26653740"/>
                <a:gd name="connsiteY952" fmla="*/ 6123177 h 16570717"/>
                <a:gd name="connsiteX953" fmla="*/ 9925760 w 26653740"/>
                <a:gd name="connsiteY953" fmla="*/ 5999284 h 16570717"/>
                <a:gd name="connsiteX954" fmla="*/ 9982940 w 26653740"/>
                <a:gd name="connsiteY954" fmla="*/ 6013579 h 16570717"/>
                <a:gd name="connsiteX955" fmla="*/ 9997236 w 26653740"/>
                <a:gd name="connsiteY955" fmla="*/ 6032640 h 16570717"/>
                <a:gd name="connsiteX956" fmla="*/ 9987708 w 26653740"/>
                <a:gd name="connsiteY956" fmla="*/ 6042170 h 16570717"/>
                <a:gd name="connsiteX957" fmla="*/ 9978176 w 26653740"/>
                <a:gd name="connsiteY957" fmla="*/ 6056466 h 16570717"/>
                <a:gd name="connsiteX958" fmla="*/ 9968648 w 26653740"/>
                <a:gd name="connsiteY958" fmla="*/ 6056466 h 16570717"/>
                <a:gd name="connsiteX959" fmla="*/ 9963880 w 26653740"/>
                <a:gd name="connsiteY959" fmla="*/ 6061231 h 16570717"/>
                <a:gd name="connsiteX960" fmla="*/ 9925760 w 26653740"/>
                <a:gd name="connsiteY960" fmla="*/ 6042170 h 16570717"/>
                <a:gd name="connsiteX961" fmla="*/ 9873344 w 26653740"/>
                <a:gd name="connsiteY961" fmla="*/ 6032640 h 16570717"/>
                <a:gd name="connsiteX962" fmla="*/ 9882876 w 26653740"/>
                <a:gd name="connsiteY962" fmla="*/ 6013579 h 16570717"/>
                <a:gd name="connsiteX963" fmla="*/ 9825692 w 26653740"/>
                <a:gd name="connsiteY963" fmla="*/ 5994519 h 16570717"/>
                <a:gd name="connsiteX964" fmla="*/ 9839988 w 26653740"/>
                <a:gd name="connsiteY964" fmla="*/ 5999284 h 16570717"/>
                <a:gd name="connsiteX965" fmla="*/ 9849520 w 26653740"/>
                <a:gd name="connsiteY965" fmla="*/ 6023110 h 16570717"/>
                <a:gd name="connsiteX966" fmla="*/ 9854284 w 26653740"/>
                <a:gd name="connsiteY966" fmla="*/ 6032640 h 16570717"/>
                <a:gd name="connsiteX967" fmla="*/ 9839988 w 26653740"/>
                <a:gd name="connsiteY967" fmla="*/ 6051701 h 16570717"/>
                <a:gd name="connsiteX968" fmla="*/ 9820928 w 26653740"/>
                <a:gd name="connsiteY968" fmla="*/ 6042171 h 16570717"/>
                <a:gd name="connsiteX969" fmla="*/ 9801868 w 26653740"/>
                <a:gd name="connsiteY969" fmla="*/ 6027875 h 16570717"/>
                <a:gd name="connsiteX970" fmla="*/ 9797104 w 26653740"/>
                <a:gd name="connsiteY970" fmla="*/ 6008814 h 16570717"/>
                <a:gd name="connsiteX971" fmla="*/ 9801868 w 26653740"/>
                <a:gd name="connsiteY971" fmla="*/ 5999284 h 16570717"/>
                <a:gd name="connsiteX972" fmla="*/ 18081276 w 26653740"/>
                <a:gd name="connsiteY972" fmla="*/ 5942103 h 16570717"/>
                <a:gd name="connsiteX973" fmla="*/ 18119396 w 26653740"/>
                <a:gd name="connsiteY973" fmla="*/ 5961164 h 16570717"/>
                <a:gd name="connsiteX974" fmla="*/ 18181344 w 26653740"/>
                <a:gd name="connsiteY974" fmla="*/ 6032641 h 16570717"/>
                <a:gd name="connsiteX975" fmla="*/ 18214700 w 26653740"/>
                <a:gd name="connsiteY975" fmla="*/ 6094587 h 16570717"/>
                <a:gd name="connsiteX976" fmla="*/ 18205168 w 26653740"/>
                <a:gd name="connsiteY976" fmla="*/ 6132708 h 16570717"/>
                <a:gd name="connsiteX977" fmla="*/ 18195640 w 26653740"/>
                <a:gd name="connsiteY977" fmla="*/ 6151769 h 16570717"/>
                <a:gd name="connsiteX978" fmla="*/ 18186108 w 26653740"/>
                <a:gd name="connsiteY978" fmla="*/ 6123178 h 16570717"/>
                <a:gd name="connsiteX979" fmla="*/ 18133692 w 26653740"/>
                <a:gd name="connsiteY979" fmla="*/ 6051701 h 16570717"/>
                <a:gd name="connsiteX980" fmla="*/ 18119396 w 26653740"/>
                <a:gd name="connsiteY980" fmla="*/ 6018345 h 16570717"/>
                <a:gd name="connsiteX981" fmla="*/ 18090808 w 26653740"/>
                <a:gd name="connsiteY981" fmla="*/ 5984989 h 16570717"/>
                <a:gd name="connsiteX982" fmla="*/ 18081276 w 26653740"/>
                <a:gd name="connsiteY982" fmla="*/ 5970694 h 16570717"/>
                <a:gd name="connsiteX983" fmla="*/ 18934236 w 26653740"/>
                <a:gd name="connsiteY983" fmla="*/ 5927807 h 16570717"/>
                <a:gd name="connsiteX984" fmla="*/ 18948528 w 26653740"/>
                <a:gd name="connsiteY984" fmla="*/ 5932572 h 16570717"/>
                <a:gd name="connsiteX985" fmla="*/ 18962824 w 26653740"/>
                <a:gd name="connsiteY985" fmla="*/ 5946867 h 16570717"/>
                <a:gd name="connsiteX986" fmla="*/ 18967588 w 26653740"/>
                <a:gd name="connsiteY986" fmla="*/ 5965928 h 16570717"/>
                <a:gd name="connsiteX987" fmla="*/ 18972356 w 26653740"/>
                <a:gd name="connsiteY987" fmla="*/ 5989754 h 16570717"/>
                <a:gd name="connsiteX988" fmla="*/ 18962824 w 26653740"/>
                <a:gd name="connsiteY988" fmla="*/ 6056465 h 16570717"/>
                <a:gd name="connsiteX989" fmla="*/ 18958060 w 26653740"/>
                <a:gd name="connsiteY989" fmla="*/ 6085056 h 16570717"/>
                <a:gd name="connsiteX990" fmla="*/ 18881816 w 26653740"/>
                <a:gd name="connsiteY990" fmla="*/ 6132707 h 16570717"/>
                <a:gd name="connsiteX991" fmla="*/ 18862756 w 26653740"/>
                <a:gd name="connsiteY991" fmla="*/ 6127942 h 16570717"/>
                <a:gd name="connsiteX992" fmla="*/ 18829400 w 26653740"/>
                <a:gd name="connsiteY992" fmla="*/ 6080291 h 16570717"/>
                <a:gd name="connsiteX993" fmla="*/ 18815104 w 26653740"/>
                <a:gd name="connsiteY993" fmla="*/ 5980223 h 16570717"/>
                <a:gd name="connsiteX994" fmla="*/ 18829400 w 26653740"/>
                <a:gd name="connsiteY994" fmla="*/ 5951633 h 16570717"/>
                <a:gd name="connsiteX995" fmla="*/ 18848460 w 26653740"/>
                <a:gd name="connsiteY995" fmla="*/ 5937337 h 16570717"/>
                <a:gd name="connsiteX996" fmla="*/ 18862756 w 26653740"/>
                <a:gd name="connsiteY996" fmla="*/ 5932572 h 16570717"/>
                <a:gd name="connsiteX997" fmla="*/ 10164016 w 26653740"/>
                <a:gd name="connsiteY997" fmla="*/ 5789619 h 16570717"/>
                <a:gd name="connsiteX998" fmla="*/ 10192608 w 26653740"/>
                <a:gd name="connsiteY998" fmla="*/ 5789619 h 16570717"/>
                <a:gd name="connsiteX999" fmla="*/ 10173548 w 26653740"/>
                <a:gd name="connsiteY999" fmla="*/ 5822975 h 16570717"/>
                <a:gd name="connsiteX1000" fmla="*/ 10168780 w 26653740"/>
                <a:gd name="connsiteY1000" fmla="*/ 5856331 h 16570717"/>
                <a:gd name="connsiteX1001" fmla="*/ 10121132 w 26653740"/>
                <a:gd name="connsiteY1001" fmla="*/ 5837270 h 16570717"/>
                <a:gd name="connsiteX1002" fmla="*/ 10116364 w 26653740"/>
                <a:gd name="connsiteY1002" fmla="*/ 5822975 h 16570717"/>
                <a:gd name="connsiteX1003" fmla="*/ 10140192 w 26653740"/>
                <a:gd name="connsiteY1003" fmla="*/ 5803914 h 16570717"/>
                <a:gd name="connsiteX1004" fmla="*/ 14440720 w 26653740"/>
                <a:gd name="connsiteY1004" fmla="*/ 5770558 h 16570717"/>
                <a:gd name="connsiteX1005" fmla="*/ 14574144 w 26653740"/>
                <a:gd name="connsiteY1005" fmla="*/ 5808679 h 16570717"/>
                <a:gd name="connsiteX1006" fmla="*/ 14626560 w 26653740"/>
                <a:gd name="connsiteY1006" fmla="*/ 5832505 h 16570717"/>
                <a:gd name="connsiteX1007" fmla="*/ 14645620 w 26653740"/>
                <a:gd name="connsiteY1007" fmla="*/ 5856330 h 16570717"/>
                <a:gd name="connsiteX1008" fmla="*/ 14640856 w 26653740"/>
                <a:gd name="connsiteY1008" fmla="*/ 5884921 h 16570717"/>
                <a:gd name="connsiteX1009" fmla="*/ 14631324 w 26653740"/>
                <a:gd name="connsiteY1009" fmla="*/ 5903982 h 16570717"/>
                <a:gd name="connsiteX1010" fmla="*/ 14621796 w 26653740"/>
                <a:gd name="connsiteY1010" fmla="*/ 5927807 h 16570717"/>
                <a:gd name="connsiteX1011" fmla="*/ 14612264 w 26653740"/>
                <a:gd name="connsiteY1011" fmla="*/ 5946868 h 16570717"/>
                <a:gd name="connsiteX1012" fmla="*/ 14578908 w 26653740"/>
                <a:gd name="connsiteY1012" fmla="*/ 5970693 h 16570717"/>
                <a:gd name="connsiteX1013" fmla="*/ 14555084 w 26653740"/>
                <a:gd name="connsiteY1013" fmla="*/ 6027875 h 16570717"/>
                <a:gd name="connsiteX1014" fmla="*/ 14550316 w 26653740"/>
                <a:gd name="connsiteY1014" fmla="*/ 6032640 h 16570717"/>
                <a:gd name="connsiteX1015" fmla="*/ 14459780 w 26653740"/>
                <a:gd name="connsiteY1015" fmla="*/ 6004049 h 16570717"/>
                <a:gd name="connsiteX1016" fmla="*/ 14445484 w 26653740"/>
                <a:gd name="connsiteY1016" fmla="*/ 5989754 h 16570717"/>
                <a:gd name="connsiteX1017" fmla="*/ 14412128 w 26653740"/>
                <a:gd name="connsiteY1017" fmla="*/ 5961163 h 16570717"/>
                <a:gd name="connsiteX1018" fmla="*/ 14369244 w 26653740"/>
                <a:gd name="connsiteY1018" fmla="*/ 5927807 h 16570717"/>
                <a:gd name="connsiteX1019" fmla="*/ 14350184 w 26653740"/>
                <a:gd name="connsiteY1019" fmla="*/ 5884921 h 16570717"/>
                <a:gd name="connsiteX1020" fmla="*/ 14359712 w 26653740"/>
                <a:gd name="connsiteY1020" fmla="*/ 5875391 h 16570717"/>
                <a:gd name="connsiteX1021" fmla="*/ 14369244 w 26653740"/>
                <a:gd name="connsiteY1021" fmla="*/ 5870626 h 16570717"/>
                <a:gd name="connsiteX1022" fmla="*/ 14407364 w 26653740"/>
                <a:gd name="connsiteY1022" fmla="*/ 5875391 h 16570717"/>
                <a:gd name="connsiteX1023" fmla="*/ 14421660 w 26653740"/>
                <a:gd name="connsiteY1023" fmla="*/ 5861095 h 16570717"/>
                <a:gd name="connsiteX1024" fmla="*/ 14426424 w 26653740"/>
                <a:gd name="connsiteY1024" fmla="*/ 5822974 h 16570717"/>
                <a:gd name="connsiteX1025" fmla="*/ 14426424 w 26653740"/>
                <a:gd name="connsiteY1025" fmla="*/ 5799149 h 16570717"/>
                <a:gd name="connsiteX1026" fmla="*/ 14426424 w 26653740"/>
                <a:gd name="connsiteY1026" fmla="*/ 5780088 h 16570717"/>
                <a:gd name="connsiteX1027" fmla="*/ 10464220 w 26653740"/>
                <a:gd name="connsiteY1027" fmla="*/ 5503711 h 16570717"/>
                <a:gd name="connsiteX1028" fmla="*/ 10468984 w 26653740"/>
                <a:gd name="connsiteY1028" fmla="*/ 5513241 h 16570717"/>
                <a:gd name="connsiteX1029" fmla="*/ 10483280 w 26653740"/>
                <a:gd name="connsiteY1029" fmla="*/ 5522772 h 16570717"/>
                <a:gd name="connsiteX1030" fmla="*/ 10526168 w 26653740"/>
                <a:gd name="connsiteY1030" fmla="*/ 5503711 h 16570717"/>
                <a:gd name="connsiteX1031" fmla="*/ 10530932 w 26653740"/>
                <a:gd name="connsiteY1031" fmla="*/ 5513241 h 16570717"/>
                <a:gd name="connsiteX1032" fmla="*/ 10545228 w 26653740"/>
                <a:gd name="connsiteY1032" fmla="*/ 5537067 h 16570717"/>
                <a:gd name="connsiteX1033" fmla="*/ 10526168 w 26653740"/>
                <a:gd name="connsiteY1033" fmla="*/ 5584718 h 16570717"/>
                <a:gd name="connsiteX1034" fmla="*/ 10511872 w 26653740"/>
                <a:gd name="connsiteY1034" fmla="*/ 5603779 h 16570717"/>
                <a:gd name="connsiteX1035" fmla="*/ 10478516 w 26653740"/>
                <a:gd name="connsiteY1035" fmla="*/ 5589484 h 16570717"/>
                <a:gd name="connsiteX1036" fmla="*/ 10430864 w 26653740"/>
                <a:gd name="connsiteY1036" fmla="*/ 5589484 h 16570717"/>
                <a:gd name="connsiteX1037" fmla="*/ 10411804 w 26653740"/>
                <a:gd name="connsiteY1037" fmla="*/ 5565658 h 16570717"/>
                <a:gd name="connsiteX1038" fmla="*/ 10421332 w 26653740"/>
                <a:gd name="connsiteY1038" fmla="*/ 5537067 h 16570717"/>
                <a:gd name="connsiteX1039" fmla="*/ 10449924 w 26653740"/>
                <a:gd name="connsiteY1039" fmla="*/ 5522772 h 16570717"/>
                <a:gd name="connsiteX1040" fmla="*/ 9749452 w 26653740"/>
                <a:gd name="connsiteY1040" fmla="*/ 5184448 h 16570717"/>
                <a:gd name="connsiteX1041" fmla="*/ 9768512 w 26653740"/>
                <a:gd name="connsiteY1041" fmla="*/ 5184448 h 16570717"/>
                <a:gd name="connsiteX1042" fmla="*/ 9773276 w 26653740"/>
                <a:gd name="connsiteY1042" fmla="*/ 5241629 h 16570717"/>
                <a:gd name="connsiteX1043" fmla="*/ 9778040 w 26653740"/>
                <a:gd name="connsiteY1043" fmla="*/ 5265455 h 16570717"/>
                <a:gd name="connsiteX1044" fmla="*/ 9778040 w 26653740"/>
                <a:gd name="connsiteY1044" fmla="*/ 5284515 h 16570717"/>
                <a:gd name="connsiteX1045" fmla="*/ 9773276 w 26653740"/>
                <a:gd name="connsiteY1045" fmla="*/ 5294046 h 16570717"/>
                <a:gd name="connsiteX1046" fmla="*/ 9754216 w 26653740"/>
                <a:gd name="connsiteY1046" fmla="*/ 5294046 h 16570717"/>
                <a:gd name="connsiteX1047" fmla="*/ 9739920 w 26653740"/>
                <a:gd name="connsiteY1047" fmla="*/ 5351227 h 16570717"/>
                <a:gd name="connsiteX1048" fmla="*/ 9730388 w 26653740"/>
                <a:gd name="connsiteY1048" fmla="*/ 5341697 h 16570717"/>
                <a:gd name="connsiteX1049" fmla="*/ 9720860 w 26653740"/>
                <a:gd name="connsiteY1049" fmla="*/ 5308341 h 16570717"/>
                <a:gd name="connsiteX1050" fmla="*/ 9697032 w 26653740"/>
                <a:gd name="connsiteY1050" fmla="*/ 5327401 h 16570717"/>
                <a:gd name="connsiteX1051" fmla="*/ 9692268 w 26653740"/>
                <a:gd name="connsiteY1051" fmla="*/ 5322636 h 16570717"/>
                <a:gd name="connsiteX1052" fmla="*/ 9677972 w 26653740"/>
                <a:gd name="connsiteY1052" fmla="*/ 5298811 h 16570717"/>
                <a:gd name="connsiteX1053" fmla="*/ 9673208 w 26653740"/>
                <a:gd name="connsiteY1053" fmla="*/ 5294046 h 16570717"/>
                <a:gd name="connsiteX1054" fmla="*/ 9668444 w 26653740"/>
                <a:gd name="connsiteY1054" fmla="*/ 5274985 h 16570717"/>
                <a:gd name="connsiteX1055" fmla="*/ 9697032 w 26653740"/>
                <a:gd name="connsiteY1055" fmla="*/ 5222569 h 16570717"/>
                <a:gd name="connsiteX1056" fmla="*/ 9720860 w 26653740"/>
                <a:gd name="connsiteY1056" fmla="*/ 5251160 h 16570717"/>
                <a:gd name="connsiteX1057" fmla="*/ 9730388 w 26653740"/>
                <a:gd name="connsiteY1057" fmla="*/ 5251160 h 16570717"/>
                <a:gd name="connsiteX1058" fmla="*/ 9730388 w 26653740"/>
                <a:gd name="connsiteY1058" fmla="*/ 5217804 h 16570717"/>
                <a:gd name="connsiteX1059" fmla="*/ 9730388 w 26653740"/>
                <a:gd name="connsiteY1059" fmla="*/ 5193978 h 16570717"/>
                <a:gd name="connsiteX1060" fmla="*/ 19820548 w 26653740"/>
                <a:gd name="connsiteY1060" fmla="*/ 5141561 h 16570717"/>
                <a:gd name="connsiteX1061" fmla="*/ 19853904 w 26653740"/>
                <a:gd name="connsiteY1061" fmla="*/ 5189212 h 16570717"/>
                <a:gd name="connsiteX1062" fmla="*/ 19853904 w 26653740"/>
                <a:gd name="connsiteY1062" fmla="*/ 5236864 h 16570717"/>
                <a:gd name="connsiteX1063" fmla="*/ 19863432 w 26653740"/>
                <a:gd name="connsiteY1063" fmla="*/ 5274984 h 16570717"/>
                <a:gd name="connsiteX1064" fmla="*/ 19901556 w 26653740"/>
                <a:gd name="connsiteY1064" fmla="*/ 5279750 h 16570717"/>
                <a:gd name="connsiteX1065" fmla="*/ 19963500 w 26653740"/>
                <a:gd name="connsiteY1065" fmla="*/ 5232098 h 16570717"/>
                <a:gd name="connsiteX1066" fmla="*/ 19973032 w 26653740"/>
                <a:gd name="connsiteY1066" fmla="*/ 5232098 h 16570717"/>
                <a:gd name="connsiteX1067" fmla="*/ 20115984 w 26653740"/>
                <a:gd name="connsiteY1067" fmla="*/ 5246394 h 16570717"/>
                <a:gd name="connsiteX1068" fmla="*/ 20130280 w 26653740"/>
                <a:gd name="connsiteY1068" fmla="*/ 5265454 h 16570717"/>
                <a:gd name="connsiteX1069" fmla="*/ 20130280 w 26653740"/>
                <a:gd name="connsiteY1069" fmla="*/ 5294045 h 16570717"/>
                <a:gd name="connsiteX1070" fmla="*/ 20125516 w 26653740"/>
                <a:gd name="connsiteY1070" fmla="*/ 5313106 h 16570717"/>
                <a:gd name="connsiteX1071" fmla="*/ 20125516 w 26653740"/>
                <a:gd name="connsiteY1071" fmla="*/ 5336931 h 16570717"/>
                <a:gd name="connsiteX1072" fmla="*/ 20144576 w 26653740"/>
                <a:gd name="connsiteY1072" fmla="*/ 5355992 h 16570717"/>
                <a:gd name="connsiteX1073" fmla="*/ 20192228 w 26653740"/>
                <a:gd name="connsiteY1073" fmla="*/ 5360757 h 16570717"/>
                <a:gd name="connsiteX1074" fmla="*/ 20220816 w 26653740"/>
                <a:gd name="connsiteY1074" fmla="*/ 5341696 h 16570717"/>
                <a:gd name="connsiteX1075" fmla="*/ 20306592 w 26653740"/>
                <a:gd name="connsiteY1075" fmla="*/ 5351226 h 16570717"/>
                <a:gd name="connsiteX1076" fmla="*/ 20378068 w 26653740"/>
                <a:gd name="connsiteY1076" fmla="*/ 5365522 h 16570717"/>
                <a:gd name="connsiteX1077" fmla="*/ 20406656 w 26653740"/>
                <a:gd name="connsiteY1077" fmla="*/ 5398878 h 16570717"/>
                <a:gd name="connsiteX1078" fmla="*/ 20430484 w 26653740"/>
                <a:gd name="connsiteY1078" fmla="*/ 5417938 h 16570717"/>
                <a:gd name="connsiteX1079" fmla="*/ 20444780 w 26653740"/>
                <a:gd name="connsiteY1079" fmla="*/ 5441764 h 16570717"/>
                <a:gd name="connsiteX1080" fmla="*/ 20459076 w 26653740"/>
                <a:gd name="connsiteY1080" fmla="*/ 5427468 h 16570717"/>
                <a:gd name="connsiteX1081" fmla="*/ 20468604 w 26653740"/>
                <a:gd name="connsiteY1081" fmla="*/ 5403643 h 16570717"/>
                <a:gd name="connsiteX1082" fmla="*/ 20482900 w 26653740"/>
                <a:gd name="connsiteY1082" fmla="*/ 5403643 h 16570717"/>
                <a:gd name="connsiteX1083" fmla="*/ 20492432 w 26653740"/>
                <a:gd name="connsiteY1083" fmla="*/ 5403643 h 16570717"/>
                <a:gd name="connsiteX1084" fmla="*/ 20463840 w 26653740"/>
                <a:gd name="connsiteY1084" fmla="*/ 5532301 h 16570717"/>
                <a:gd name="connsiteX1085" fmla="*/ 20454308 w 26653740"/>
                <a:gd name="connsiteY1085" fmla="*/ 5551362 h 16570717"/>
                <a:gd name="connsiteX1086" fmla="*/ 20416188 w 26653740"/>
                <a:gd name="connsiteY1086" fmla="*/ 5579952 h 16570717"/>
                <a:gd name="connsiteX1087" fmla="*/ 20335180 w 26653740"/>
                <a:gd name="connsiteY1087" fmla="*/ 5622839 h 16570717"/>
                <a:gd name="connsiteX1088" fmla="*/ 20301824 w 26653740"/>
                <a:gd name="connsiteY1088" fmla="*/ 5637134 h 16570717"/>
                <a:gd name="connsiteX1089" fmla="*/ 20216052 w 26653740"/>
                <a:gd name="connsiteY1089" fmla="*/ 5637134 h 16570717"/>
                <a:gd name="connsiteX1090" fmla="*/ 20096924 w 26653740"/>
                <a:gd name="connsiteY1090" fmla="*/ 5618074 h 16570717"/>
                <a:gd name="connsiteX1091" fmla="*/ 20063568 w 26653740"/>
                <a:gd name="connsiteY1091" fmla="*/ 5603778 h 16570717"/>
                <a:gd name="connsiteX1092" fmla="*/ 20044508 w 26653740"/>
                <a:gd name="connsiteY1092" fmla="*/ 5584718 h 16570717"/>
                <a:gd name="connsiteX1093" fmla="*/ 20011152 w 26653740"/>
                <a:gd name="connsiteY1093" fmla="*/ 5541832 h 16570717"/>
                <a:gd name="connsiteX1094" fmla="*/ 19992092 w 26653740"/>
                <a:gd name="connsiteY1094" fmla="*/ 5522771 h 16570717"/>
                <a:gd name="connsiteX1095" fmla="*/ 19934912 w 26653740"/>
                <a:gd name="connsiteY1095" fmla="*/ 5508476 h 16570717"/>
                <a:gd name="connsiteX1096" fmla="*/ 19915848 w 26653740"/>
                <a:gd name="connsiteY1096" fmla="*/ 5498945 h 16570717"/>
                <a:gd name="connsiteX1097" fmla="*/ 19882496 w 26653740"/>
                <a:gd name="connsiteY1097" fmla="*/ 5460824 h 16570717"/>
                <a:gd name="connsiteX1098" fmla="*/ 19849140 w 26653740"/>
                <a:gd name="connsiteY1098" fmla="*/ 5432234 h 16570717"/>
                <a:gd name="connsiteX1099" fmla="*/ 19763368 w 26653740"/>
                <a:gd name="connsiteY1099" fmla="*/ 5379817 h 16570717"/>
                <a:gd name="connsiteX1100" fmla="*/ 19768132 w 26653740"/>
                <a:gd name="connsiteY1100" fmla="*/ 5322636 h 16570717"/>
                <a:gd name="connsiteX1101" fmla="*/ 19777660 w 26653740"/>
                <a:gd name="connsiteY1101" fmla="*/ 5260689 h 16570717"/>
                <a:gd name="connsiteX1102" fmla="*/ 19791956 w 26653740"/>
                <a:gd name="connsiteY1102" fmla="*/ 5203508 h 16570717"/>
                <a:gd name="connsiteX1103" fmla="*/ 19806252 w 26653740"/>
                <a:gd name="connsiteY1103" fmla="*/ 5155856 h 16570717"/>
                <a:gd name="connsiteX1104" fmla="*/ 18128928 w 26653740"/>
                <a:gd name="connsiteY1104" fmla="*/ 4974790 h 16570717"/>
                <a:gd name="connsiteX1105" fmla="*/ 18143224 w 26653740"/>
                <a:gd name="connsiteY1105" fmla="*/ 5003373 h 16570717"/>
                <a:gd name="connsiteX1106" fmla="*/ 18152752 w 26653740"/>
                <a:gd name="connsiteY1106" fmla="*/ 5051024 h 16570717"/>
                <a:gd name="connsiteX1107" fmla="*/ 18162284 w 26653740"/>
                <a:gd name="connsiteY1107" fmla="*/ 5070085 h 16570717"/>
                <a:gd name="connsiteX1108" fmla="*/ 18195640 w 26653740"/>
                <a:gd name="connsiteY1108" fmla="*/ 5112971 h 16570717"/>
                <a:gd name="connsiteX1109" fmla="*/ 18200404 w 26653740"/>
                <a:gd name="connsiteY1109" fmla="*/ 5127266 h 16570717"/>
                <a:gd name="connsiteX1110" fmla="*/ 18171812 w 26653740"/>
                <a:gd name="connsiteY1110" fmla="*/ 5179683 h 16570717"/>
                <a:gd name="connsiteX1111" fmla="*/ 18171812 w 26653740"/>
                <a:gd name="connsiteY1111" fmla="*/ 5203508 h 16570717"/>
                <a:gd name="connsiteX1112" fmla="*/ 18181344 w 26653740"/>
                <a:gd name="connsiteY1112" fmla="*/ 5232099 h 16570717"/>
                <a:gd name="connsiteX1113" fmla="*/ 18167048 w 26653740"/>
                <a:gd name="connsiteY1113" fmla="*/ 5251160 h 16570717"/>
                <a:gd name="connsiteX1114" fmla="*/ 18138456 w 26653740"/>
                <a:gd name="connsiteY1114" fmla="*/ 5265455 h 16570717"/>
                <a:gd name="connsiteX1115" fmla="*/ 18090808 w 26653740"/>
                <a:gd name="connsiteY1115" fmla="*/ 5260690 h 16570717"/>
                <a:gd name="connsiteX1116" fmla="*/ 18095572 w 26653740"/>
                <a:gd name="connsiteY1116" fmla="*/ 5217804 h 16570717"/>
                <a:gd name="connsiteX1117" fmla="*/ 18100336 w 26653740"/>
                <a:gd name="connsiteY1117" fmla="*/ 5198743 h 16570717"/>
                <a:gd name="connsiteX1118" fmla="*/ 18114632 w 26653740"/>
                <a:gd name="connsiteY1118" fmla="*/ 5146327 h 16570717"/>
                <a:gd name="connsiteX1119" fmla="*/ 18109868 w 26653740"/>
                <a:gd name="connsiteY1119" fmla="*/ 5108206 h 16570717"/>
                <a:gd name="connsiteX1120" fmla="*/ 18109868 w 26653740"/>
                <a:gd name="connsiteY1120" fmla="*/ 5060554 h 16570717"/>
                <a:gd name="connsiteX1121" fmla="*/ 18114632 w 26653740"/>
                <a:gd name="connsiteY1121" fmla="*/ 5027198 h 16570717"/>
                <a:gd name="connsiteX1122" fmla="*/ 20802164 w 26653740"/>
                <a:gd name="connsiteY1122" fmla="*/ 4750828 h 16570717"/>
                <a:gd name="connsiteX1123" fmla="*/ 20806928 w 26653740"/>
                <a:gd name="connsiteY1123" fmla="*/ 4755594 h 16570717"/>
                <a:gd name="connsiteX1124" fmla="*/ 20811696 w 26653740"/>
                <a:gd name="connsiteY1124" fmla="*/ 4769887 h 16570717"/>
                <a:gd name="connsiteX1125" fmla="*/ 20811696 w 26653740"/>
                <a:gd name="connsiteY1125" fmla="*/ 4798480 h 16570717"/>
                <a:gd name="connsiteX1126" fmla="*/ 20797400 w 26653740"/>
                <a:gd name="connsiteY1126" fmla="*/ 4822305 h 16570717"/>
                <a:gd name="connsiteX1127" fmla="*/ 20764044 w 26653740"/>
                <a:gd name="connsiteY1127" fmla="*/ 4784184 h 16570717"/>
                <a:gd name="connsiteX1128" fmla="*/ 20778340 w 26653740"/>
                <a:gd name="connsiteY1128" fmla="*/ 4760359 h 16570717"/>
                <a:gd name="connsiteX1129" fmla="*/ 18614972 w 26653740"/>
                <a:gd name="connsiteY1129" fmla="*/ 4746063 h 16570717"/>
                <a:gd name="connsiteX1130" fmla="*/ 18634032 w 26653740"/>
                <a:gd name="connsiteY1130" fmla="*/ 4750828 h 16570717"/>
                <a:gd name="connsiteX1131" fmla="*/ 18648328 w 26653740"/>
                <a:gd name="connsiteY1131" fmla="*/ 4774654 h 16570717"/>
                <a:gd name="connsiteX1132" fmla="*/ 18662624 w 26653740"/>
                <a:gd name="connsiteY1132" fmla="*/ 4808010 h 16570717"/>
                <a:gd name="connsiteX1133" fmla="*/ 18676916 w 26653740"/>
                <a:gd name="connsiteY1133" fmla="*/ 4822305 h 16570717"/>
                <a:gd name="connsiteX1134" fmla="*/ 18729332 w 26653740"/>
                <a:gd name="connsiteY1134" fmla="*/ 4869956 h 16570717"/>
                <a:gd name="connsiteX1135" fmla="*/ 18762688 w 26653740"/>
                <a:gd name="connsiteY1135" fmla="*/ 4908077 h 16570717"/>
                <a:gd name="connsiteX1136" fmla="*/ 18810340 w 26653740"/>
                <a:gd name="connsiteY1136" fmla="*/ 4984319 h 16570717"/>
                <a:gd name="connsiteX1137" fmla="*/ 18824636 w 26653740"/>
                <a:gd name="connsiteY1137" fmla="*/ 4998608 h 16570717"/>
                <a:gd name="connsiteX1138" fmla="*/ 18843696 w 26653740"/>
                <a:gd name="connsiteY1138" fmla="*/ 4989085 h 16570717"/>
                <a:gd name="connsiteX1139" fmla="*/ 18862756 w 26653740"/>
                <a:gd name="connsiteY1139" fmla="*/ 5008138 h 16570717"/>
                <a:gd name="connsiteX1140" fmla="*/ 18877052 w 26653740"/>
                <a:gd name="connsiteY1140" fmla="*/ 5074850 h 16570717"/>
                <a:gd name="connsiteX1141" fmla="*/ 18886584 w 26653740"/>
                <a:gd name="connsiteY1141" fmla="*/ 5089145 h 16570717"/>
                <a:gd name="connsiteX1142" fmla="*/ 18896112 w 26653740"/>
                <a:gd name="connsiteY1142" fmla="*/ 5103440 h 16570717"/>
                <a:gd name="connsiteX1143" fmla="*/ 18905644 w 26653740"/>
                <a:gd name="connsiteY1143" fmla="*/ 5108205 h 16570717"/>
                <a:gd name="connsiteX1144" fmla="*/ 18929468 w 26653740"/>
                <a:gd name="connsiteY1144" fmla="*/ 5112971 h 16570717"/>
                <a:gd name="connsiteX1145" fmla="*/ 18939000 w 26653740"/>
                <a:gd name="connsiteY1145" fmla="*/ 5098675 h 16570717"/>
                <a:gd name="connsiteX1146" fmla="*/ 18948528 w 26653740"/>
                <a:gd name="connsiteY1146" fmla="*/ 5065319 h 16570717"/>
                <a:gd name="connsiteX1147" fmla="*/ 18948528 w 26653740"/>
                <a:gd name="connsiteY1147" fmla="*/ 5036729 h 16570717"/>
                <a:gd name="connsiteX1148" fmla="*/ 18943764 w 26653740"/>
                <a:gd name="connsiteY1148" fmla="*/ 5003373 h 16570717"/>
                <a:gd name="connsiteX1149" fmla="*/ 18943764 w 26653740"/>
                <a:gd name="connsiteY1149" fmla="*/ 4960494 h 16570717"/>
                <a:gd name="connsiteX1150" fmla="*/ 18948528 w 26653740"/>
                <a:gd name="connsiteY1150" fmla="*/ 4922373 h 16570717"/>
                <a:gd name="connsiteX1151" fmla="*/ 18953296 w 26653740"/>
                <a:gd name="connsiteY1151" fmla="*/ 4898548 h 16570717"/>
                <a:gd name="connsiteX1152" fmla="*/ 18962824 w 26653740"/>
                <a:gd name="connsiteY1152" fmla="*/ 4884252 h 16570717"/>
                <a:gd name="connsiteX1153" fmla="*/ 19005712 w 26653740"/>
                <a:gd name="connsiteY1153" fmla="*/ 4836600 h 16570717"/>
                <a:gd name="connsiteX1154" fmla="*/ 19034300 w 26653740"/>
                <a:gd name="connsiteY1154" fmla="*/ 4788949 h 16570717"/>
                <a:gd name="connsiteX1155" fmla="*/ 19072424 w 26653740"/>
                <a:gd name="connsiteY1155" fmla="*/ 4808010 h 16570717"/>
                <a:gd name="connsiteX1156" fmla="*/ 19115308 w 26653740"/>
                <a:gd name="connsiteY1156" fmla="*/ 4846132 h 16570717"/>
                <a:gd name="connsiteX1157" fmla="*/ 19186784 w 26653740"/>
                <a:gd name="connsiteY1157" fmla="*/ 4936668 h 16570717"/>
                <a:gd name="connsiteX1158" fmla="*/ 19220140 w 26653740"/>
                <a:gd name="connsiteY1158" fmla="*/ 4965259 h 16570717"/>
                <a:gd name="connsiteX1159" fmla="*/ 19258264 w 26653740"/>
                <a:gd name="connsiteY1159" fmla="*/ 4989085 h 16570717"/>
                <a:gd name="connsiteX1160" fmla="*/ 19296384 w 26653740"/>
                <a:gd name="connsiteY1160" fmla="*/ 4993842 h 16570717"/>
                <a:gd name="connsiteX1161" fmla="*/ 19320208 w 26653740"/>
                <a:gd name="connsiteY1161" fmla="*/ 4989085 h 16570717"/>
                <a:gd name="connsiteX1162" fmla="*/ 19358332 w 26653740"/>
                <a:gd name="connsiteY1162" fmla="*/ 4965259 h 16570717"/>
                <a:gd name="connsiteX1163" fmla="*/ 19377392 w 26653740"/>
                <a:gd name="connsiteY1163" fmla="*/ 4965259 h 16570717"/>
                <a:gd name="connsiteX1164" fmla="*/ 19620412 w 26653740"/>
                <a:gd name="connsiteY1164" fmla="*/ 5141561 h 16570717"/>
                <a:gd name="connsiteX1165" fmla="*/ 19629944 w 26653740"/>
                <a:gd name="connsiteY1165" fmla="*/ 5151092 h 16570717"/>
                <a:gd name="connsiteX1166" fmla="*/ 19639472 w 26653740"/>
                <a:gd name="connsiteY1166" fmla="*/ 5174917 h 16570717"/>
                <a:gd name="connsiteX1167" fmla="*/ 19587056 w 26653740"/>
                <a:gd name="connsiteY1167" fmla="*/ 5198743 h 16570717"/>
                <a:gd name="connsiteX1168" fmla="*/ 19548936 w 26653740"/>
                <a:gd name="connsiteY1168" fmla="*/ 5246394 h 16570717"/>
                <a:gd name="connsiteX1169" fmla="*/ 19539404 w 26653740"/>
                <a:gd name="connsiteY1169" fmla="*/ 5274985 h 16570717"/>
                <a:gd name="connsiteX1170" fmla="*/ 19553700 w 26653740"/>
                <a:gd name="connsiteY1170" fmla="*/ 5303576 h 16570717"/>
                <a:gd name="connsiteX1171" fmla="*/ 19563232 w 26653740"/>
                <a:gd name="connsiteY1171" fmla="*/ 5336931 h 16570717"/>
                <a:gd name="connsiteX1172" fmla="*/ 19491756 w 26653740"/>
                <a:gd name="connsiteY1172" fmla="*/ 5436999 h 16570717"/>
                <a:gd name="connsiteX1173" fmla="*/ 19458400 w 26653740"/>
                <a:gd name="connsiteY1173" fmla="*/ 5465590 h 16570717"/>
                <a:gd name="connsiteX1174" fmla="*/ 19429808 w 26653740"/>
                <a:gd name="connsiteY1174" fmla="*/ 5475120 h 16570717"/>
                <a:gd name="connsiteX1175" fmla="*/ 19367860 w 26653740"/>
                <a:gd name="connsiteY1175" fmla="*/ 5451294 h 16570717"/>
                <a:gd name="connsiteX1176" fmla="*/ 19329740 w 26653740"/>
                <a:gd name="connsiteY1176" fmla="*/ 5451294 h 16570717"/>
                <a:gd name="connsiteX1177" fmla="*/ 19296384 w 26653740"/>
                <a:gd name="connsiteY1177" fmla="*/ 5432234 h 16570717"/>
                <a:gd name="connsiteX1178" fmla="*/ 19258264 w 26653740"/>
                <a:gd name="connsiteY1178" fmla="*/ 5370287 h 16570717"/>
                <a:gd name="connsiteX1179" fmla="*/ 19239204 w 26653740"/>
                <a:gd name="connsiteY1179" fmla="*/ 5336931 h 16570717"/>
                <a:gd name="connsiteX1180" fmla="*/ 19229672 w 26653740"/>
                <a:gd name="connsiteY1180" fmla="*/ 5294045 h 16570717"/>
                <a:gd name="connsiteX1181" fmla="*/ 19220140 w 26653740"/>
                <a:gd name="connsiteY1181" fmla="*/ 5227334 h 16570717"/>
                <a:gd name="connsiteX1182" fmla="*/ 19229672 w 26653740"/>
                <a:gd name="connsiteY1182" fmla="*/ 5165387 h 16570717"/>
                <a:gd name="connsiteX1183" fmla="*/ 19248732 w 26653740"/>
                <a:gd name="connsiteY1183" fmla="*/ 5146326 h 16570717"/>
                <a:gd name="connsiteX1184" fmla="*/ 19267792 w 26653740"/>
                <a:gd name="connsiteY1184" fmla="*/ 5108205 h 16570717"/>
                <a:gd name="connsiteX1185" fmla="*/ 19267792 w 26653740"/>
                <a:gd name="connsiteY1185" fmla="*/ 5093910 h 16570717"/>
                <a:gd name="connsiteX1186" fmla="*/ 19258264 w 26653740"/>
                <a:gd name="connsiteY1186" fmla="*/ 5060554 h 16570717"/>
                <a:gd name="connsiteX1187" fmla="*/ 19201080 w 26653740"/>
                <a:gd name="connsiteY1187" fmla="*/ 5055789 h 16570717"/>
                <a:gd name="connsiteX1188" fmla="*/ 19162960 w 26653740"/>
                <a:gd name="connsiteY1188" fmla="*/ 5074850 h 16570717"/>
                <a:gd name="connsiteX1189" fmla="*/ 19124840 w 26653740"/>
                <a:gd name="connsiteY1189" fmla="*/ 5093910 h 16570717"/>
                <a:gd name="connsiteX1190" fmla="*/ 19139136 w 26653740"/>
                <a:gd name="connsiteY1190" fmla="*/ 5217803 h 16570717"/>
                <a:gd name="connsiteX1191" fmla="*/ 19143900 w 26653740"/>
                <a:gd name="connsiteY1191" fmla="*/ 5260689 h 16570717"/>
                <a:gd name="connsiteX1192" fmla="*/ 19153432 w 26653740"/>
                <a:gd name="connsiteY1192" fmla="*/ 5289280 h 16570717"/>
                <a:gd name="connsiteX1193" fmla="*/ 19210612 w 26653740"/>
                <a:gd name="connsiteY1193" fmla="*/ 5417939 h 16570717"/>
                <a:gd name="connsiteX1194" fmla="*/ 19220140 w 26653740"/>
                <a:gd name="connsiteY1194" fmla="*/ 5436999 h 16570717"/>
                <a:gd name="connsiteX1195" fmla="*/ 19258264 w 26653740"/>
                <a:gd name="connsiteY1195" fmla="*/ 5460825 h 16570717"/>
                <a:gd name="connsiteX1196" fmla="*/ 19291620 w 26653740"/>
                <a:gd name="connsiteY1196" fmla="*/ 5518006 h 16570717"/>
                <a:gd name="connsiteX1197" fmla="*/ 19234436 w 26653740"/>
                <a:gd name="connsiteY1197" fmla="*/ 5579953 h 16570717"/>
                <a:gd name="connsiteX1198" fmla="*/ 19210612 w 26653740"/>
                <a:gd name="connsiteY1198" fmla="*/ 5599013 h 16570717"/>
                <a:gd name="connsiteX1199" fmla="*/ 19186784 w 26653740"/>
                <a:gd name="connsiteY1199" fmla="*/ 5608544 h 16570717"/>
                <a:gd name="connsiteX1200" fmla="*/ 19172492 w 26653740"/>
                <a:gd name="connsiteY1200" fmla="*/ 5603778 h 16570717"/>
                <a:gd name="connsiteX1201" fmla="*/ 19158196 w 26653740"/>
                <a:gd name="connsiteY1201" fmla="*/ 5589483 h 16570717"/>
                <a:gd name="connsiteX1202" fmla="*/ 19143900 w 26653740"/>
                <a:gd name="connsiteY1202" fmla="*/ 5560892 h 16570717"/>
                <a:gd name="connsiteX1203" fmla="*/ 19129604 w 26653740"/>
                <a:gd name="connsiteY1203" fmla="*/ 5532302 h 16570717"/>
                <a:gd name="connsiteX1204" fmla="*/ 19110544 w 26653740"/>
                <a:gd name="connsiteY1204" fmla="*/ 5503711 h 16570717"/>
                <a:gd name="connsiteX1205" fmla="*/ 19072424 w 26653740"/>
                <a:gd name="connsiteY1205" fmla="*/ 5513241 h 16570717"/>
                <a:gd name="connsiteX1206" fmla="*/ 19039068 w 26653740"/>
                <a:gd name="connsiteY1206" fmla="*/ 5532302 h 16570717"/>
                <a:gd name="connsiteX1207" fmla="*/ 19005712 w 26653740"/>
                <a:gd name="connsiteY1207" fmla="*/ 5546597 h 16570717"/>
                <a:gd name="connsiteX1208" fmla="*/ 18905644 w 26653740"/>
                <a:gd name="connsiteY1208" fmla="*/ 5570422 h 16570717"/>
                <a:gd name="connsiteX1209" fmla="*/ 18872288 w 26653740"/>
                <a:gd name="connsiteY1209" fmla="*/ 5589483 h 16570717"/>
                <a:gd name="connsiteX1210" fmla="*/ 18843696 w 26653740"/>
                <a:gd name="connsiteY1210" fmla="*/ 5594248 h 16570717"/>
                <a:gd name="connsiteX1211" fmla="*/ 18800812 w 26653740"/>
                <a:gd name="connsiteY1211" fmla="*/ 5565657 h 16570717"/>
                <a:gd name="connsiteX1212" fmla="*/ 18762688 w 26653740"/>
                <a:gd name="connsiteY1212" fmla="*/ 5522771 h 16570717"/>
                <a:gd name="connsiteX1213" fmla="*/ 18753160 w 26653740"/>
                <a:gd name="connsiteY1213" fmla="*/ 5522771 h 16570717"/>
                <a:gd name="connsiteX1214" fmla="*/ 18738864 w 26653740"/>
                <a:gd name="connsiteY1214" fmla="*/ 5532302 h 16570717"/>
                <a:gd name="connsiteX1215" fmla="*/ 18729332 w 26653740"/>
                <a:gd name="connsiteY1215" fmla="*/ 5556127 h 16570717"/>
                <a:gd name="connsiteX1216" fmla="*/ 18724568 w 26653740"/>
                <a:gd name="connsiteY1216" fmla="*/ 5599013 h 16570717"/>
                <a:gd name="connsiteX1217" fmla="*/ 18710272 w 26653740"/>
                <a:gd name="connsiteY1217" fmla="*/ 5651430 h 16570717"/>
                <a:gd name="connsiteX1218" fmla="*/ 18695976 w 26653740"/>
                <a:gd name="connsiteY1218" fmla="*/ 5689551 h 16570717"/>
                <a:gd name="connsiteX1219" fmla="*/ 18676916 w 26653740"/>
                <a:gd name="connsiteY1219" fmla="*/ 5703846 h 16570717"/>
                <a:gd name="connsiteX1220" fmla="*/ 18662624 w 26653740"/>
                <a:gd name="connsiteY1220" fmla="*/ 5703846 h 16570717"/>
                <a:gd name="connsiteX1221" fmla="*/ 18643560 w 26653740"/>
                <a:gd name="connsiteY1221" fmla="*/ 5694316 h 16570717"/>
                <a:gd name="connsiteX1222" fmla="*/ 18624500 w 26653740"/>
                <a:gd name="connsiteY1222" fmla="*/ 5680020 h 16570717"/>
                <a:gd name="connsiteX1223" fmla="*/ 18500608 w 26653740"/>
                <a:gd name="connsiteY1223" fmla="*/ 5622839 h 16570717"/>
                <a:gd name="connsiteX1224" fmla="*/ 18491076 w 26653740"/>
                <a:gd name="connsiteY1224" fmla="*/ 5603778 h 16570717"/>
                <a:gd name="connsiteX1225" fmla="*/ 18476784 w 26653740"/>
                <a:gd name="connsiteY1225" fmla="*/ 5579953 h 16570717"/>
                <a:gd name="connsiteX1226" fmla="*/ 18438660 w 26653740"/>
                <a:gd name="connsiteY1226" fmla="*/ 5494180 h 16570717"/>
                <a:gd name="connsiteX1227" fmla="*/ 18419600 w 26653740"/>
                <a:gd name="connsiteY1227" fmla="*/ 5475120 h 16570717"/>
                <a:gd name="connsiteX1228" fmla="*/ 18400540 w 26653740"/>
                <a:gd name="connsiteY1228" fmla="*/ 5465590 h 16570717"/>
                <a:gd name="connsiteX1229" fmla="*/ 18367184 w 26653740"/>
                <a:gd name="connsiteY1229" fmla="*/ 5427469 h 16570717"/>
                <a:gd name="connsiteX1230" fmla="*/ 18333828 w 26653740"/>
                <a:gd name="connsiteY1230" fmla="*/ 5355992 h 16570717"/>
                <a:gd name="connsiteX1231" fmla="*/ 18329064 w 26653740"/>
                <a:gd name="connsiteY1231" fmla="*/ 5336931 h 16570717"/>
                <a:gd name="connsiteX1232" fmla="*/ 18324296 w 26653740"/>
                <a:gd name="connsiteY1232" fmla="*/ 5303576 h 16570717"/>
                <a:gd name="connsiteX1233" fmla="*/ 18329064 w 26653740"/>
                <a:gd name="connsiteY1233" fmla="*/ 5279750 h 16570717"/>
                <a:gd name="connsiteX1234" fmla="*/ 18357652 w 26653740"/>
                <a:gd name="connsiteY1234" fmla="*/ 5289280 h 16570717"/>
                <a:gd name="connsiteX1235" fmla="*/ 18376716 w 26653740"/>
                <a:gd name="connsiteY1235" fmla="*/ 5289280 h 16570717"/>
                <a:gd name="connsiteX1236" fmla="*/ 18367184 w 26653740"/>
                <a:gd name="connsiteY1236" fmla="*/ 5160622 h 16570717"/>
                <a:gd name="connsiteX1237" fmla="*/ 18376716 w 26653740"/>
                <a:gd name="connsiteY1237" fmla="*/ 5036729 h 16570717"/>
                <a:gd name="connsiteX1238" fmla="*/ 18391008 w 26653740"/>
                <a:gd name="connsiteY1238" fmla="*/ 5017668 h 16570717"/>
                <a:gd name="connsiteX1239" fmla="*/ 18443428 w 26653740"/>
                <a:gd name="connsiteY1239" fmla="*/ 5031963 h 16570717"/>
                <a:gd name="connsiteX1240" fmla="*/ 18424364 w 26653740"/>
                <a:gd name="connsiteY1240" fmla="*/ 4989085 h 16570717"/>
                <a:gd name="connsiteX1241" fmla="*/ 18410072 w 26653740"/>
                <a:gd name="connsiteY1241" fmla="*/ 4936668 h 16570717"/>
                <a:gd name="connsiteX1242" fmla="*/ 18419600 w 26653740"/>
                <a:gd name="connsiteY1242" fmla="*/ 4903311 h 16570717"/>
                <a:gd name="connsiteX1243" fmla="*/ 18429132 w 26653740"/>
                <a:gd name="connsiteY1243" fmla="*/ 4884252 h 16570717"/>
                <a:gd name="connsiteX1244" fmla="*/ 18452956 w 26653740"/>
                <a:gd name="connsiteY1244" fmla="*/ 4865191 h 16570717"/>
                <a:gd name="connsiteX1245" fmla="*/ 18486312 w 26653740"/>
                <a:gd name="connsiteY1245" fmla="*/ 4860426 h 16570717"/>
                <a:gd name="connsiteX1246" fmla="*/ 18495844 w 26653740"/>
                <a:gd name="connsiteY1246" fmla="*/ 4846132 h 16570717"/>
                <a:gd name="connsiteX1247" fmla="*/ 18505372 w 26653740"/>
                <a:gd name="connsiteY1247" fmla="*/ 4822305 h 16570717"/>
                <a:gd name="connsiteX1248" fmla="*/ 18519668 w 26653740"/>
                <a:gd name="connsiteY1248" fmla="*/ 4803244 h 16570717"/>
                <a:gd name="connsiteX1249" fmla="*/ 18557788 w 26653740"/>
                <a:gd name="connsiteY1249" fmla="*/ 4793714 h 16570717"/>
                <a:gd name="connsiteX1250" fmla="*/ 11974764 w 26653740"/>
                <a:gd name="connsiteY1250" fmla="*/ 4679357 h 16570717"/>
                <a:gd name="connsiteX1251" fmla="*/ 12012884 w 26653740"/>
                <a:gd name="connsiteY1251" fmla="*/ 4693650 h 16570717"/>
                <a:gd name="connsiteX1252" fmla="*/ 12027180 w 26653740"/>
                <a:gd name="connsiteY1252" fmla="*/ 4703180 h 16570717"/>
                <a:gd name="connsiteX1253" fmla="*/ 12022416 w 26653740"/>
                <a:gd name="connsiteY1253" fmla="*/ 4731771 h 16570717"/>
                <a:gd name="connsiteX1254" fmla="*/ 12008120 w 26653740"/>
                <a:gd name="connsiteY1254" fmla="*/ 4722242 h 16570717"/>
                <a:gd name="connsiteX1255" fmla="*/ 11984296 w 26653740"/>
                <a:gd name="connsiteY1255" fmla="*/ 4736537 h 16570717"/>
                <a:gd name="connsiteX1256" fmla="*/ 11984296 w 26653740"/>
                <a:gd name="connsiteY1256" fmla="*/ 4760362 h 16570717"/>
                <a:gd name="connsiteX1257" fmla="*/ 11979528 w 26653740"/>
                <a:gd name="connsiteY1257" fmla="*/ 4798482 h 16570717"/>
                <a:gd name="connsiteX1258" fmla="*/ 11946176 w 26653740"/>
                <a:gd name="connsiteY1258" fmla="*/ 4774657 h 16570717"/>
                <a:gd name="connsiteX1259" fmla="*/ 11908052 w 26653740"/>
                <a:gd name="connsiteY1259" fmla="*/ 4774657 h 16570717"/>
                <a:gd name="connsiteX1260" fmla="*/ 11879464 w 26653740"/>
                <a:gd name="connsiteY1260" fmla="*/ 4750831 h 16570717"/>
                <a:gd name="connsiteX1261" fmla="*/ 11822280 w 26653740"/>
                <a:gd name="connsiteY1261" fmla="*/ 4736537 h 16570717"/>
                <a:gd name="connsiteX1262" fmla="*/ 11827048 w 26653740"/>
                <a:gd name="connsiteY1262" fmla="*/ 4707945 h 16570717"/>
                <a:gd name="connsiteX1263" fmla="*/ 11836576 w 26653740"/>
                <a:gd name="connsiteY1263" fmla="*/ 4688886 h 16570717"/>
                <a:gd name="connsiteX1264" fmla="*/ 11865168 w 26653740"/>
                <a:gd name="connsiteY1264" fmla="*/ 4712712 h 16570717"/>
                <a:gd name="connsiteX1265" fmla="*/ 11898524 w 26653740"/>
                <a:gd name="connsiteY1265" fmla="*/ 4684120 h 16570717"/>
                <a:gd name="connsiteX1266" fmla="*/ 11955704 w 26653740"/>
                <a:gd name="connsiteY1266" fmla="*/ 4698416 h 16570717"/>
                <a:gd name="connsiteX1267" fmla="*/ 12065304 w 26653740"/>
                <a:gd name="connsiteY1267" fmla="*/ 4645999 h 16570717"/>
                <a:gd name="connsiteX1268" fmla="*/ 12084364 w 26653740"/>
                <a:gd name="connsiteY1268" fmla="*/ 4650765 h 16570717"/>
                <a:gd name="connsiteX1269" fmla="*/ 12093892 w 26653740"/>
                <a:gd name="connsiteY1269" fmla="*/ 4669825 h 16570717"/>
                <a:gd name="connsiteX1270" fmla="*/ 12093892 w 26653740"/>
                <a:gd name="connsiteY1270" fmla="*/ 4679357 h 16570717"/>
                <a:gd name="connsiteX1271" fmla="*/ 12084364 w 26653740"/>
                <a:gd name="connsiteY1271" fmla="*/ 4722242 h 16570717"/>
                <a:gd name="connsiteX1272" fmla="*/ 12065304 w 26653740"/>
                <a:gd name="connsiteY1272" fmla="*/ 4746067 h 16570717"/>
                <a:gd name="connsiteX1273" fmla="*/ 12055772 w 26653740"/>
                <a:gd name="connsiteY1273" fmla="*/ 4755598 h 16570717"/>
                <a:gd name="connsiteX1274" fmla="*/ 12046240 w 26653740"/>
                <a:gd name="connsiteY1274" fmla="*/ 4750831 h 16570717"/>
                <a:gd name="connsiteX1275" fmla="*/ 12046240 w 26653740"/>
                <a:gd name="connsiteY1275" fmla="*/ 4741301 h 16570717"/>
                <a:gd name="connsiteX1276" fmla="*/ 12046240 w 26653740"/>
                <a:gd name="connsiteY1276" fmla="*/ 4707945 h 16570717"/>
                <a:gd name="connsiteX1277" fmla="*/ 12060536 w 26653740"/>
                <a:gd name="connsiteY1277" fmla="*/ 4665059 h 16570717"/>
                <a:gd name="connsiteX1278" fmla="*/ 12060536 w 26653740"/>
                <a:gd name="connsiteY1278" fmla="*/ 4650765 h 16570717"/>
                <a:gd name="connsiteX1279" fmla="*/ 14488368 w 26653740"/>
                <a:gd name="connsiteY1279" fmla="*/ 4450625 h 16570717"/>
                <a:gd name="connsiteX1280" fmla="*/ 14502664 w 26653740"/>
                <a:gd name="connsiteY1280" fmla="*/ 4464920 h 16570717"/>
                <a:gd name="connsiteX1281" fmla="*/ 14526492 w 26653740"/>
                <a:gd name="connsiteY1281" fmla="*/ 4512572 h 16570717"/>
                <a:gd name="connsiteX1282" fmla="*/ 14531256 w 26653740"/>
                <a:gd name="connsiteY1282" fmla="*/ 4541162 h 16570717"/>
                <a:gd name="connsiteX1283" fmla="*/ 14521724 w 26653740"/>
                <a:gd name="connsiteY1283" fmla="*/ 4550693 h 16570717"/>
                <a:gd name="connsiteX1284" fmla="*/ 14516960 w 26653740"/>
                <a:gd name="connsiteY1284" fmla="*/ 4560223 h 16570717"/>
                <a:gd name="connsiteX1285" fmla="*/ 14516960 w 26653740"/>
                <a:gd name="connsiteY1285" fmla="*/ 4579283 h 16570717"/>
                <a:gd name="connsiteX1286" fmla="*/ 14512196 w 26653740"/>
                <a:gd name="connsiteY1286" fmla="*/ 4579283 h 16570717"/>
                <a:gd name="connsiteX1287" fmla="*/ 14488368 w 26653740"/>
                <a:gd name="connsiteY1287" fmla="*/ 4560223 h 16570717"/>
                <a:gd name="connsiteX1288" fmla="*/ 14474076 w 26653740"/>
                <a:gd name="connsiteY1288" fmla="*/ 4522102 h 16570717"/>
                <a:gd name="connsiteX1289" fmla="*/ 14450248 w 26653740"/>
                <a:gd name="connsiteY1289" fmla="*/ 4512572 h 16570717"/>
                <a:gd name="connsiteX1290" fmla="*/ 14426424 w 26653740"/>
                <a:gd name="connsiteY1290" fmla="*/ 4479216 h 16570717"/>
                <a:gd name="connsiteX1291" fmla="*/ 14421656 w 26653740"/>
                <a:gd name="connsiteY1291" fmla="*/ 4464920 h 16570717"/>
                <a:gd name="connsiteX1292" fmla="*/ 14431188 w 26653740"/>
                <a:gd name="connsiteY1292" fmla="*/ 4460155 h 16570717"/>
                <a:gd name="connsiteX1293" fmla="*/ 14469308 w 26653740"/>
                <a:gd name="connsiteY1293" fmla="*/ 4469686 h 16570717"/>
                <a:gd name="connsiteX1294" fmla="*/ 12146308 w 26653740"/>
                <a:gd name="connsiteY1294" fmla="*/ 4407743 h 16570717"/>
                <a:gd name="connsiteX1295" fmla="*/ 12179664 w 26653740"/>
                <a:gd name="connsiteY1295" fmla="*/ 4479219 h 16570717"/>
                <a:gd name="connsiteX1296" fmla="*/ 12170136 w 26653740"/>
                <a:gd name="connsiteY1296" fmla="*/ 4488750 h 16570717"/>
                <a:gd name="connsiteX1297" fmla="*/ 12155840 w 26653740"/>
                <a:gd name="connsiteY1297" fmla="*/ 4488750 h 16570717"/>
                <a:gd name="connsiteX1298" fmla="*/ 12141544 w 26653740"/>
                <a:gd name="connsiteY1298" fmla="*/ 4460159 h 16570717"/>
                <a:gd name="connsiteX1299" fmla="*/ 12136780 w 26653740"/>
                <a:gd name="connsiteY1299" fmla="*/ 4422038 h 16570717"/>
                <a:gd name="connsiteX1300" fmla="*/ 20268468 w 26653740"/>
                <a:gd name="connsiteY1300" fmla="*/ 4355323 h 16570717"/>
                <a:gd name="connsiteX1301" fmla="*/ 20249408 w 26653740"/>
                <a:gd name="connsiteY1301" fmla="*/ 4379148 h 16570717"/>
                <a:gd name="connsiteX1302" fmla="*/ 20239880 w 26653740"/>
                <a:gd name="connsiteY1302" fmla="*/ 4426798 h 16570717"/>
                <a:gd name="connsiteX1303" fmla="*/ 20230348 w 26653740"/>
                <a:gd name="connsiteY1303" fmla="*/ 4441095 h 16570717"/>
                <a:gd name="connsiteX1304" fmla="*/ 20111220 w 26653740"/>
                <a:gd name="connsiteY1304" fmla="*/ 4445860 h 16570717"/>
                <a:gd name="connsiteX1305" fmla="*/ 20120752 w 26653740"/>
                <a:gd name="connsiteY1305" fmla="*/ 4426798 h 16570717"/>
                <a:gd name="connsiteX1306" fmla="*/ 20163636 w 26653740"/>
                <a:gd name="connsiteY1306" fmla="*/ 4379148 h 16570717"/>
                <a:gd name="connsiteX1307" fmla="*/ 7505076 w 26653740"/>
                <a:gd name="connsiteY1307" fmla="*/ 4198078 h 16570717"/>
                <a:gd name="connsiteX1308" fmla="*/ 7562256 w 26653740"/>
                <a:gd name="connsiteY1308" fmla="*/ 4212372 h 16570717"/>
                <a:gd name="connsiteX1309" fmla="*/ 7633732 w 26653740"/>
                <a:gd name="connsiteY1309" fmla="*/ 4250493 h 16570717"/>
                <a:gd name="connsiteX1310" fmla="*/ 7667088 w 26653740"/>
                <a:gd name="connsiteY1310" fmla="*/ 4298143 h 16570717"/>
                <a:gd name="connsiteX1311" fmla="*/ 7695680 w 26653740"/>
                <a:gd name="connsiteY1311" fmla="*/ 4350561 h 16570717"/>
                <a:gd name="connsiteX1312" fmla="*/ 7700444 w 26653740"/>
                <a:gd name="connsiteY1312" fmla="*/ 4369621 h 16570717"/>
                <a:gd name="connsiteX1313" fmla="*/ 7705208 w 26653740"/>
                <a:gd name="connsiteY1313" fmla="*/ 4407742 h 16570717"/>
                <a:gd name="connsiteX1314" fmla="*/ 7695680 w 26653740"/>
                <a:gd name="connsiteY1314" fmla="*/ 4441098 h 16570717"/>
                <a:gd name="connsiteX1315" fmla="*/ 7690916 w 26653740"/>
                <a:gd name="connsiteY1315" fmla="*/ 4474455 h 16570717"/>
                <a:gd name="connsiteX1316" fmla="*/ 7695680 w 26653740"/>
                <a:gd name="connsiteY1316" fmla="*/ 4498280 h 16570717"/>
                <a:gd name="connsiteX1317" fmla="*/ 7643264 w 26653740"/>
                <a:gd name="connsiteY1317" fmla="*/ 4579288 h 16570717"/>
                <a:gd name="connsiteX1318" fmla="*/ 7590848 w 26653740"/>
                <a:gd name="connsiteY1318" fmla="*/ 4669825 h 16570717"/>
                <a:gd name="connsiteX1319" fmla="*/ 7581316 w 26653740"/>
                <a:gd name="connsiteY1319" fmla="*/ 4688886 h 16570717"/>
                <a:gd name="connsiteX1320" fmla="*/ 7519368 w 26653740"/>
                <a:gd name="connsiteY1320" fmla="*/ 4722242 h 16570717"/>
                <a:gd name="connsiteX1321" fmla="*/ 7457424 w 26653740"/>
                <a:gd name="connsiteY1321" fmla="*/ 4769892 h 16570717"/>
                <a:gd name="connsiteX1322" fmla="*/ 7419304 w 26653740"/>
                <a:gd name="connsiteY1322" fmla="*/ 4808013 h 16570717"/>
                <a:gd name="connsiteX1323" fmla="*/ 7385948 w 26653740"/>
                <a:gd name="connsiteY1323" fmla="*/ 4831839 h 16570717"/>
                <a:gd name="connsiteX1324" fmla="*/ 7347824 w 26653740"/>
                <a:gd name="connsiteY1324" fmla="*/ 4846135 h 16570717"/>
                <a:gd name="connsiteX1325" fmla="*/ 7290644 w 26653740"/>
                <a:gd name="connsiteY1325" fmla="*/ 4889022 h 16570717"/>
                <a:gd name="connsiteX1326" fmla="*/ 7185812 w 26653740"/>
                <a:gd name="connsiteY1326" fmla="*/ 4936672 h 16570717"/>
                <a:gd name="connsiteX1327" fmla="*/ 7119100 w 26653740"/>
                <a:gd name="connsiteY1327" fmla="*/ 4979557 h 16570717"/>
                <a:gd name="connsiteX1328" fmla="*/ 7047624 w 26653740"/>
                <a:gd name="connsiteY1328" fmla="*/ 5012903 h 16570717"/>
                <a:gd name="connsiteX1329" fmla="*/ 6971380 w 26653740"/>
                <a:gd name="connsiteY1329" fmla="*/ 5055789 h 16570717"/>
                <a:gd name="connsiteX1330" fmla="*/ 6899904 w 26653740"/>
                <a:gd name="connsiteY1330" fmla="*/ 5084380 h 16570717"/>
                <a:gd name="connsiteX1331" fmla="*/ 6880844 w 26653740"/>
                <a:gd name="connsiteY1331" fmla="*/ 5089145 h 16570717"/>
                <a:gd name="connsiteX1332" fmla="*/ 6828428 w 26653740"/>
                <a:gd name="connsiteY1332" fmla="*/ 5127266 h 16570717"/>
                <a:gd name="connsiteX1333" fmla="*/ 6785540 w 26653740"/>
                <a:gd name="connsiteY1333" fmla="*/ 5146326 h 16570717"/>
                <a:gd name="connsiteX1334" fmla="*/ 6633056 w 26653740"/>
                <a:gd name="connsiteY1334" fmla="*/ 5236864 h 16570717"/>
                <a:gd name="connsiteX1335" fmla="*/ 6561580 w 26653740"/>
                <a:gd name="connsiteY1335" fmla="*/ 5303576 h 16570717"/>
                <a:gd name="connsiteX1336" fmla="*/ 6537752 w 26653740"/>
                <a:gd name="connsiteY1336" fmla="*/ 5308341 h 16570717"/>
                <a:gd name="connsiteX1337" fmla="*/ 6518692 w 26653740"/>
                <a:gd name="connsiteY1337" fmla="*/ 5308341 h 16570717"/>
                <a:gd name="connsiteX1338" fmla="*/ 6504400 w 26653740"/>
                <a:gd name="connsiteY1338" fmla="*/ 5327401 h 16570717"/>
                <a:gd name="connsiteX1339" fmla="*/ 6485336 w 26653740"/>
                <a:gd name="connsiteY1339" fmla="*/ 5365522 h 16570717"/>
                <a:gd name="connsiteX1340" fmla="*/ 6451980 w 26653740"/>
                <a:gd name="connsiteY1340" fmla="*/ 5398878 h 16570717"/>
                <a:gd name="connsiteX1341" fmla="*/ 6437688 w 26653740"/>
                <a:gd name="connsiteY1341" fmla="*/ 5432234 h 16570717"/>
                <a:gd name="connsiteX1342" fmla="*/ 6418624 w 26653740"/>
                <a:gd name="connsiteY1342" fmla="*/ 5460825 h 16570717"/>
                <a:gd name="connsiteX1343" fmla="*/ 6409096 w 26653740"/>
                <a:gd name="connsiteY1343" fmla="*/ 5465590 h 16570717"/>
                <a:gd name="connsiteX1344" fmla="*/ 6390036 w 26653740"/>
                <a:gd name="connsiteY1344" fmla="*/ 5465590 h 16570717"/>
                <a:gd name="connsiteX1345" fmla="*/ 6380504 w 26653740"/>
                <a:gd name="connsiteY1345" fmla="*/ 5465590 h 16570717"/>
                <a:gd name="connsiteX1346" fmla="*/ 6351916 w 26653740"/>
                <a:gd name="connsiteY1346" fmla="*/ 5494181 h 16570717"/>
                <a:gd name="connsiteX1347" fmla="*/ 6347148 w 26653740"/>
                <a:gd name="connsiteY1347" fmla="*/ 5518006 h 16570717"/>
                <a:gd name="connsiteX1348" fmla="*/ 6380504 w 26653740"/>
                <a:gd name="connsiteY1348" fmla="*/ 5532302 h 16570717"/>
                <a:gd name="connsiteX1349" fmla="*/ 6385272 w 26653740"/>
                <a:gd name="connsiteY1349" fmla="*/ 5556127 h 16570717"/>
                <a:gd name="connsiteX1350" fmla="*/ 6375740 w 26653740"/>
                <a:gd name="connsiteY1350" fmla="*/ 5575188 h 16570717"/>
                <a:gd name="connsiteX1351" fmla="*/ 6356680 w 26653740"/>
                <a:gd name="connsiteY1351" fmla="*/ 5599014 h 16570717"/>
                <a:gd name="connsiteX1352" fmla="*/ 6342384 w 26653740"/>
                <a:gd name="connsiteY1352" fmla="*/ 5622839 h 16570717"/>
                <a:gd name="connsiteX1353" fmla="*/ 6318560 w 26653740"/>
                <a:gd name="connsiteY1353" fmla="*/ 5646665 h 16570717"/>
                <a:gd name="connsiteX1354" fmla="*/ 6304264 w 26653740"/>
                <a:gd name="connsiteY1354" fmla="*/ 5651430 h 16570717"/>
                <a:gd name="connsiteX1355" fmla="*/ 6266140 w 26653740"/>
                <a:gd name="connsiteY1355" fmla="*/ 5651430 h 16570717"/>
                <a:gd name="connsiteX1356" fmla="*/ 6266140 w 26653740"/>
                <a:gd name="connsiteY1356" fmla="*/ 5680021 h 16570717"/>
                <a:gd name="connsiteX1357" fmla="*/ 6270908 w 26653740"/>
                <a:gd name="connsiteY1357" fmla="*/ 5699081 h 16570717"/>
                <a:gd name="connsiteX1358" fmla="*/ 6270908 w 26653740"/>
                <a:gd name="connsiteY1358" fmla="*/ 5718142 h 16570717"/>
                <a:gd name="connsiteX1359" fmla="*/ 6256612 w 26653740"/>
                <a:gd name="connsiteY1359" fmla="*/ 5732437 h 16570717"/>
                <a:gd name="connsiteX1360" fmla="*/ 6247080 w 26653740"/>
                <a:gd name="connsiteY1360" fmla="*/ 5732437 h 16570717"/>
                <a:gd name="connsiteX1361" fmla="*/ 6189900 w 26653740"/>
                <a:gd name="connsiteY1361" fmla="*/ 5684786 h 16570717"/>
                <a:gd name="connsiteX1362" fmla="*/ 6180368 w 26653740"/>
                <a:gd name="connsiteY1362" fmla="*/ 5699081 h 16570717"/>
                <a:gd name="connsiteX1363" fmla="*/ 6175604 w 26653740"/>
                <a:gd name="connsiteY1363" fmla="*/ 5732437 h 16570717"/>
                <a:gd name="connsiteX1364" fmla="*/ 6175604 w 26653740"/>
                <a:gd name="connsiteY1364" fmla="*/ 5765793 h 16570717"/>
                <a:gd name="connsiteX1365" fmla="*/ 6166076 w 26653740"/>
                <a:gd name="connsiteY1365" fmla="*/ 5794384 h 16570717"/>
                <a:gd name="connsiteX1366" fmla="*/ 6156544 w 26653740"/>
                <a:gd name="connsiteY1366" fmla="*/ 5803914 h 16570717"/>
                <a:gd name="connsiteX1367" fmla="*/ 6142248 w 26653740"/>
                <a:gd name="connsiteY1367" fmla="*/ 5818209 h 16570717"/>
                <a:gd name="connsiteX1368" fmla="*/ 6080300 w 26653740"/>
                <a:gd name="connsiteY1368" fmla="*/ 5799149 h 16570717"/>
                <a:gd name="connsiteX1369" fmla="*/ 6075536 w 26653740"/>
                <a:gd name="connsiteY1369" fmla="*/ 5818209 h 16570717"/>
                <a:gd name="connsiteX1370" fmla="*/ 6085068 w 26653740"/>
                <a:gd name="connsiteY1370" fmla="*/ 5842035 h 16570717"/>
                <a:gd name="connsiteX1371" fmla="*/ 6094596 w 26653740"/>
                <a:gd name="connsiteY1371" fmla="*/ 5899216 h 16570717"/>
                <a:gd name="connsiteX1372" fmla="*/ 6099364 w 26653740"/>
                <a:gd name="connsiteY1372" fmla="*/ 5918277 h 16570717"/>
                <a:gd name="connsiteX1373" fmla="*/ 6089832 w 26653740"/>
                <a:gd name="connsiteY1373" fmla="*/ 5956398 h 16570717"/>
                <a:gd name="connsiteX1374" fmla="*/ 6066008 w 26653740"/>
                <a:gd name="connsiteY1374" fmla="*/ 6013580 h 16570717"/>
                <a:gd name="connsiteX1375" fmla="*/ 5961172 w 26653740"/>
                <a:gd name="connsiteY1375" fmla="*/ 6075526 h 16570717"/>
                <a:gd name="connsiteX1376" fmla="*/ 5961172 w 26653740"/>
                <a:gd name="connsiteY1376" fmla="*/ 6099352 h 16570717"/>
                <a:gd name="connsiteX1377" fmla="*/ 5970704 w 26653740"/>
                <a:gd name="connsiteY1377" fmla="*/ 6142238 h 16570717"/>
                <a:gd name="connsiteX1378" fmla="*/ 5975468 w 26653740"/>
                <a:gd name="connsiteY1378" fmla="*/ 6170829 h 16570717"/>
                <a:gd name="connsiteX1379" fmla="*/ 5970704 w 26653740"/>
                <a:gd name="connsiteY1379" fmla="*/ 6194654 h 16570717"/>
                <a:gd name="connsiteX1380" fmla="*/ 5956408 w 26653740"/>
                <a:gd name="connsiteY1380" fmla="*/ 6213715 h 16570717"/>
                <a:gd name="connsiteX1381" fmla="*/ 5942112 w 26653740"/>
                <a:gd name="connsiteY1381" fmla="*/ 6213715 h 16570717"/>
                <a:gd name="connsiteX1382" fmla="*/ 5932584 w 26653740"/>
                <a:gd name="connsiteY1382" fmla="*/ 6213715 h 16570717"/>
                <a:gd name="connsiteX1383" fmla="*/ 5908756 w 26653740"/>
                <a:gd name="connsiteY1383" fmla="*/ 6185124 h 16570717"/>
                <a:gd name="connsiteX1384" fmla="*/ 5889696 w 26653740"/>
                <a:gd name="connsiteY1384" fmla="*/ 6175594 h 16570717"/>
                <a:gd name="connsiteX1385" fmla="*/ 5884932 w 26653740"/>
                <a:gd name="connsiteY1385" fmla="*/ 6189889 h 16570717"/>
                <a:gd name="connsiteX1386" fmla="*/ 5913524 w 26653740"/>
                <a:gd name="connsiteY1386" fmla="*/ 6228010 h 16570717"/>
                <a:gd name="connsiteX1387" fmla="*/ 5923052 w 26653740"/>
                <a:gd name="connsiteY1387" fmla="*/ 6275662 h 16570717"/>
                <a:gd name="connsiteX1388" fmla="*/ 5913524 w 26653740"/>
                <a:gd name="connsiteY1388" fmla="*/ 6304252 h 16570717"/>
                <a:gd name="connsiteX1389" fmla="*/ 5861108 w 26653740"/>
                <a:gd name="connsiteY1389" fmla="*/ 6361434 h 16570717"/>
                <a:gd name="connsiteX1390" fmla="*/ 5832516 w 26653740"/>
                <a:gd name="connsiteY1390" fmla="*/ 6437676 h 16570717"/>
                <a:gd name="connsiteX1391" fmla="*/ 5780100 w 26653740"/>
                <a:gd name="connsiteY1391" fmla="*/ 6471032 h 16570717"/>
                <a:gd name="connsiteX1392" fmla="*/ 5751508 w 26653740"/>
                <a:gd name="connsiteY1392" fmla="*/ 6475797 h 16570717"/>
                <a:gd name="connsiteX1393" fmla="*/ 5718152 w 26653740"/>
                <a:gd name="connsiteY1393" fmla="*/ 6466267 h 16570717"/>
                <a:gd name="connsiteX1394" fmla="*/ 5689560 w 26653740"/>
                <a:gd name="connsiteY1394" fmla="*/ 6447206 h 16570717"/>
                <a:gd name="connsiteX1395" fmla="*/ 5613320 w 26653740"/>
                <a:gd name="connsiteY1395" fmla="*/ 6442441 h 16570717"/>
                <a:gd name="connsiteX1396" fmla="*/ 5570432 w 26653740"/>
                <a:gd name="connsiteY1396" fmla="*/ 6423380 h 16570717"/>
                <a:gd name="connsiteX1397" fmla="*/ 5527548 w 26653740"/>
                <a:gd name="connsiteY1397" fmla="*/ 6390025 h 16570717"/>
                <a:gd name="connsiteX1398" fmla="*/ 5489428 w 26653740"/>
                <a:gd name="connsiteY1398" fmla="*/ 6390025 h 16570717"/>
                <a:gd name="connsiteX1399" fmla="*/ 5460836 w 26653740"/>
                <a:gd name="connsiteY1399" fmla="*/ 6409085 h 16570717"/>
                <a:gd name="connsiteX1400" fmla="*/ 5417948 w 26653740"/>
                <a:gd name="connsiteY1400" fmla="*/ 6447206 h 16570717"/>
                <a:gd name="connsiteX1401" fmla="*/ 5389360 w 26653740"/>
                <a:gd name="connsiteY1401" fmla="*/ 6375729 h 16570717"/>
                <a:gd name="connsiteX1402" fmla="*/ 5403652 w 26653740"/>
                <a:gd name="connsiteY1402" fmla="*/ 6342374 h 16570717"/>
                <a:gd name="connsiteX1403" fmla="*/ 5346472 w 26653740"/>
                <a:gd name="connsiteY1403" fmla="*/ 6256601 h 16570717"/>
                <a:gd name="connsiteX1404" fmla="*/ 5332176 w 26653740"/>
                <a:gd name="connsiteY1404" fmla="*/ 6218480 h 16570717"/>
                <a:gd name="connsiteX1405" fmla="*/ 5346472 w 26653740"/>
                <a:gd name="connsiteY1405" fmla="*/ 6199420 h 16570717"/>
                <a:gd name="connsiteX1406" fmla="*/ 5365532 w 26653740"/>
                <a:gd name="connsiteY1406" fmla="*/ 6185124 h 16570717"/>
                <a:gd name="connsiteX1407" fmla="*/ 5398888 w 26653740"/>
                <a:gd name="connsiteY1407" fmla="*/ 6147003 h 16570717"/>
                <a:gd name="connsiteX1408" fmla="*/ 5432244 w 26653740"/>
                <a:gd name="connsiteY1408" fmla="*/ 6123178 h 16570717"/>
                <a:gd name="connsiteX1409" fmla="*/ 5465600 w 26653740"/>
                <a:gd name="connsiteY1409" fmla="*/ 6113647 h 16570717"/>
                <a:gd name="connsiteX1410" fmla="*/ 5470364 w 26653740"/>
                <a:gd name="connsiteY1410" fmla="*/ 6108882 h 16570717"/>
                <a:gd name="connsiteX1411" fmla="*/ 5484660 w 26653740"/>
                <a:gd name="connsiteY1411" fmla="*/ 6065996 h 16570717"/>
                <a:gd name="connsiteX1412" fmla="*/ 5498956 w 26653740"/>
                <a:gd name="connsiteY1412" fmla="*/ 6032640 h 16570717"/>
                <a:gd name="connsiteX1413" fmla="*/ 5513252 w 26653740"/>
                <a:gd name="connsiteY1413" fmla="*/ 6013580 h 16570717"/>
                <a:gd name="connsiteX1414" fmla="*/ 5532312 w 26653740"/>
                <a:gd name="connsiteY1414" fmla="*/ 5980224 h 16570717"/>
                <a:gd name="connsiteX1415" fmla="*/ 5579964 w 26653740"/>
                <a:gd name="connsiteY1415" fmla="*/ 5842035 h 16570717"/>
                <a:gd name="connsiteX1416" fmla="*/ 5594260 w 26653740"/>
                <a:gd name="connsiteY1416" fmla="*/ 5832505 h 16570717"/>
                <a:gd name="connsiteX1417" fmla="*/ 5694328 w 26653740"/>
                <a:gd name="connsiteY1417" fmla="*/ 5808679 h 16570717"/>
                <a:gd name="connsiteX1418" fmla="*/ 5703856 w 26653740"/>
                <a:gd name="connsiteY1418" fmla="*/ 5799149 h 16570717"/>
                <a:gd name="connsiteX1419" fmla="*/ 5675268 w 26653740"/>
                <a:gd name="connsiteY1419" fmla="*/ 5770558 h 16570717"/>
                <a:gd name="connsiteX1420" fmla="*/ 5641912 w 26653740"/>
                <a:gd name="connsiteY1420" fmla="*/ 5775323 h 16570717"/>
                <a:gd name="connsiteX1421" fmla="*/ 5627616 w 26653740"/>
                <a:gd name="connsiteY1421" fmla="*/ 5765793 h 16570717"/>
                <a:gd name="connsiteX1422" fmla="*/ 5622848 w 26653740"/>
                <a:gd name="connsiteY1422" fmla="*/ 5746732 h 16570717"/>
                <a:gd name="connsiteX1423" fmla="*/ 5618084 w 26653740"/>
                <a:gd name="connsiteY1423" fmla="*/ 5722907 h 16570717"/>
                <a:gd name="connsiteX1424" fmla="*/ 5627616 w 26653740"/>
                <a:gd name="connsiteY1424" fmla="*/ 5703846 h 16570717"/>
                <a:gd name="connsiteX1425" fmla="*/ 5670500 w 26653740"/>
                <a:gd name="connsiteY1425" fmla="*/ 5622839 h 16570717"/>
                <a:gd name="connsiteX1426" fmla="*/ 5718152 w 26653740"/>
                <a:gd name="connsiteY1426" fmla="*/ 5560892 h 16570717"/>
                <a:gd name="connsiteX1427" fmla="*/ 5761040 w 26653740"/>
                <a:gd name="connsiteY1427" fmla="*/ 5527537 h 16570717"/>
                <a:gd name="connsiteX1428" fmla="*/ 5751508 w 26653740"/>
                <a:gd name="connsiteY1428" fmla="*/ 5518006 h 16570717"/>
                <a:gd name="connsiteX1429" fmla="*/ 5737212 w 26653740"/>
                <a:gd name="connsiteY1429" fmla="*/ 5494181 h 16570717"/>
                <a:gd name="connsiteX1430" fmla="*/ 5684796 w 26653740"/>
                <a:gd name="connsiteY1430" fmla="*/ 5498946 h 16570717"/>
                <a:gd name="connsiteX1431" fmla="*/ 5660972 w 26653740"/>
                <a:gd name="connsiteY1431" fmla="*/ 5465590 h 16570717"/>
                <a:gd name="connsiteX1432" fmla="*/ 5656204 w 26653740"/>
                <a:gd name="connsiteY1432" fmla="*/ 5446529 h 16570717"/>
                <a:gd name="connsiteX1433" fmla="*/ 5651440 w 26653740"/>
                <a:gd name="connsiteY1433" fmla="*/ 5422704 h 16570717"/>
                <a:gd name="connsiteX1434" fmla="*/ 5670500 w 26653740"/>
                <a:gd name="connsiteY1434" fmla="*/ 5398878 h 16570717"/>
                <a:gd name="connsiteX1435" fmla="*/ 5689560 w 26653740"/>
                <a:gd name="connsiteY1435" fmla="*/ 5384583 h 16570717"/>
                <a:gd name="connsiteX1436" fmla="*/ 5708624 w 26653740"/>
                <a:gd name="connsiteY1436" fmla="*/ 5384583 h 16570717"/>
                <a:gd name="connsiteX1437" fmla="*/ 5727684 w 26653740"/>
                <a:gd name="connsiteY1437" fmla="*/ 5398878 h 16570717"/>
                <a:gd name="connsiteX1438" fmla="*/ 5741976 w 26653740"/>
                <a:gd name="connsiteY1438" fmla="*/ 5417939 h 16570717"/>
                <a:gd name="connsiteX1439" fmla="*/ 5761040 w 26653740"/>
                <a:gd name="connsiteY1439" fmla="*/ 5441764 h 16570717"/>
                <a:gd name="connsiteX1440" fmla="*/ 5770568 w 26653740"/>
                <a:gd name="connsiteY1440" fmla="*/ 5441764 h 16570717"/>
                <a:gd name="connsiteX1441" fmla="*/ 5818220 w 26653740"/>
                <a:gd name="connsiteY1441" fmla="*/ 5351227 h 16570717"/>
                <a:gd name="connsiteX1442" fmla="*/ 5813456 w 26653740"/>
                <a:gd name="connsiteY1442" fmla="*/ 5332166 h 16570717"/>
                <a:gd name="connsiteX1443" fmla="*/ 5808688 w 26653740"/>
                <a:gd name="connsiteY1443" fmla="*/ 5298810 h 16570717"/>
                <a:gd name="connsiteX1444" fmla="*/ 5813456 w 26653740"/>
                <a:gd name="connsiteY1444" fmla="*/ 5284515 h 16570717"/>
                <a:gd name="connsiteX1445" fmla="*/ 5837280 w 26653740"/>
                <a:gd name="connsiteY1445" fmla="*/ 5270220 h 16570717"/>
                <a:gd name="connsiteX1446" fmla="*/ 5851576 w 26653740"/>
                <a:gd name="connsiteY1446" fmla="*/ 5265455 h 16570717"/>
                <a:gd name="connsiteX1447" fmla="*/ 5884932 w 26653740"/>
                <a:gd name="connsiteY1447" fmla="*/ 5270220 h 16570717"/>
                <a:gd name="connsiteX1448" fmla="*/ 5932584 w 26653740"/>
                <a:gd name="connsiteY1448" fmla="*/ 5294045 h 16570717"/>
                <a:gd name="connsiteX1449" fmla="*/ 5937348 w 26653740"/>
                <a:gd name="connsiteY1449" fmla="*/ 5284515 h 16570717"/>
                <a:gd name="connsiteX1450" fmla="*/ 5951644 w 26653740"/>
                <a:gd name="connsiteY1450" fmla="*/ 5222568 h 16570717"/>
                <a:gd name="connsiteX1451" fmla="*/ 5961172 w 26653740"/>
                <a:gd name="connsiteY1451" fmla="*/ 5189213 h 16570717"/>
                <a:gd name="connsiteX1452" fmla="*/ 6008824 w 26653740"/>
                <a:gd name="connsiteY1452" fmla="*/ 5136796 h 16570717"/>
                <a:gd name="connsiteX1453" fmla="*/ 6008824 w 26653740"/>
                <a:gd name="connsiteY1453" fmla="*/ 5117736 h 16570717"/>
                <a:gd name="connsiteX1454" fmla="*/ 6004060 w 26653740"/>
                <a:gd name="connsiteY1454" fmla="*/ 5089145 h 16570717"/>
                <a:gd name="connsiteX1455" fmla="*/ 6061240 w 26653740"/>
                <a:gd name="connsiteY1455" fmla="*/ 5055789 h 16570717"/>
                <a:gd name="connsiteX1456" fmla="*/ 6099364 w 26653740"/>
                <a:gd name="connsiteY1456" fmla="*/ 5017668 h 16570717"/>
                <a:gd name="connsiteX1457" fmla="*/ 6132720 w 26653740"/>
                <a:gd name="connsiteY1457" fmla="*/ 4970027 h 16570717"/>
                <a:gd name="connsiteX1458" fmla="*/ 6151780 w 26653740"/>
                <a:gd name="connsiteY1458" fmla="*/ 4960497 h 16570717"/>
                <a:gd name="connsiteX1459" fmla="*/ 6170840 w 26653740"/>
                <a:gd name="connsiteY1459" fmla="*/ 4955732 h 16570717"/>
                <a:gd name="connsiteX1460" fmla="*/ 6204196 w 26653740"/>
                <a:gd name="connsiteY1460" fmla="*/ 4936672 h 16570717"/>
                <a:gd name="connsiteX1461" fmla="*/ 6275672 w 26653740"/>
                <a:gd name="connsiteY1461" fmla="*/ 4912846 h 16570717"/>
                <a:gd name="connsiteX1462" fmla="*/ 6313792 w 26653740"/>
                <a:gd name="connsiteY1462" fmla="*/ 4889022 h 16570717"/>
                <a:gd name="connsiteX1463" fmla="*/ 6328088 w 26653740"/>
                <a:gd name="connsiteY1463" fmla="*/ 4831839 h 16570717"/>
                <a:gd name="connsiteX1464" fmla="*/ 6351916 w 26653740"/>
                <a:gd name="connsiteY1464" fmla="*/ 4812778 h 16570717"/>
                <a:gd name="connsiteX1465" fmla="*/ 6404332 w 26653740"/>
                <a:gd name="connsiteY1465" fmla="*/ 4808013 h 16570717"/>
                <a:gd name="connsiteX1466" fmla="*/ 6423392 w 26653740"/>
                <a:gd name="connsiteY1466" fmla="*/ 4808013 h 16570717"/>
                <a:gd name="connsiteX1467" fmla="*/ 6432920 w 26653740"/>
                <a:gd name="connsiteY1467" fmla="*/ 4831839 h 16570717"/>
                <a:gd name="connsiteX1468" fmla="*/ 6456748 w 26653740"/>
                <a:gd name="connsiteY1468" fmla="*/ 4831839 h 16570717"/>
                <a:gd name="connsiteX1469" fmla="*/ 6461512 w 26653740"/>
                <a:gd name="connsiteY1469" fmla="*/ 4817544 h 16570717"/>
                <a:gd name="connsiteX1470" fmla="*/ 6471044 w 26653740"/>
                <a:gd name="connsiteY1470" fmla="*/ 4798482 h 16570717"/>
                <a:gd name="connsiteX1471" fmla="*/ 6471044 w 26653740"/>
                <a:gd name="connsiteY1471" fmla="*/ 4765125 h 16570717"/>
                <a:gd name="connsiteX1472" fmla="*/ 6471044 w 26653740"/>
                <a:gd name="connsiteY1472" fmla="*/ 4722242 h 16570717"/>
                <a:gd name="connsiteX1473" fmla="*/ 6490104 w 26653740"/>
                <a:gd name="connsiteY1473" fmla="*/ 4698416 h 16570717"/>
                <a:gd name="connsiteX1474" fmla="*/ 6494868 w 26653740"/>
                <a:gd name="connsiteY1474" fmla="*/ 4693650 h 16570717"/>
                <a:gd name="connsiteX1475" fmla="*/ 6552048 w 26653740"/>
                <a:gd name="connsiteY1475" fmla="*/ 4679357 h 16570717"/>
                <a:gd name="connsiteX1476" fmla="*/ 6585404 w 26653740"/>
                <a:gd name="connsiteY1476" fmla="*/ 4684120 h 16570717"/>
                <a:gd name="connsiteX1477" fmla="*/ 6656884 w 26653740"/>
                <a:gd name="connsiteY1477" fmla="*/ 4717477 h 16570717"/>
                <a:gd name="connsiteX1478" fmla="*/ 6695004 w 26653740"/>
                <a:gd name="connsiteY1478" fmla="*/ 4727007 h 16570717"/>
                <a:gd name="connsiteX1479" fmla="*/ 6742656 w 26653740"/>
                <a:gd name="connsiteY1479" fmla="*/ 4717477 h 16570717"/>
                <a:gd name="connsiteX1480" fmla="*/ 6771244 w 26653740"/>
                <a:gd name="connsiteY1480" fmla="*/ 4722242 h 16570717"/>
                <a:gd name="connsiteX1481" fmla="*/ 6857016 w 26653740"/>
                <a:gd name="connsiteY1481" fmla="*/ 4674589 h 16570717"/>
                <a:gd name="connsiteX1482" fmla="*/ 7004736 w 26653740"/>
                <a:gd name="connsiteY1482" fmla="*/ 4626938 h 16570717"/>
                <a:gd name="connsiteX1483" fmla="*/ 7042856 w 26653740"/>
                <a:gd name="connsiteY1483" fmla="*/ 4598347 h 16570717"/>
                <a:gd name="connsiteX1484" fmla="*/ 7080980 w 26653740"/>
                <a:gd name="connsiteY1484" fmla="*/ 4560227 h 16570717"/>
                <a:gd name="connsiteX1485" fmla="*/ 7100040 w 26653740"/>
                <a:gd name="connsiteY1485" fmla="*/ 4550697 h 16570717"/>
                <a:gd name="connsiteX1486" fmla="*/ 7119100 w 26653740"/>
                <a:gd name="connsiteY1486" fmla="*/ 4550697 h 16570717"/>
                <a:gd name="connsiteX1487" fmla="*/ 7138160 w 26653740"/>
                <a:gd name="connsiteY1487" fmla="*/ 4536401 h 16570717"/>
                <a:gd name="connsiteX1488" fmla="*/ 7171516 w 26653740"/>
                <a:gd name="connsiteY1488" fmla="*/ 4503046 h 16570717"/>
                <a:gd name="connsiteX1489" fmla="*/ 7190576 w 26653740"/>
                <a:gd name="connsiteY1489" fmla="*/ 4493516 h 16570717"/>
                <a:gd name="connsiteX1490" fmla="*/ 7204872 w 26653740"/>
                <a:gd name="connsiteY1490" fmla="*/ 4493516 h 16570717"/>
                <a:gd name="connsiteX1491" fmla="*/ 7223932 w 26653740"/>
                <a:gd name="connsiteY1491" fmla="*/ 4469689 h 16570717"/>
                <a:gd name="connsiteX1492" fmla="*/ 7238228 w 26653740"/>
                <a:gd name="connsiteY1492" fmla="*/ 4422037 h 16570717"/>
                <a:gd name="connsiteX1493" fmla="*/ 7257288 w 26653740"/>
                <a:gd name="connsiteY1493" fmla="*/ 4383918 h 16570717"/>
                <a:gd name="connsiteX1494" fmla="*/ 7300176 w 26653740"/>
                <a:gd name="connsiteY1494" fmla="*/ 4331500 h 16570717"/>
                <a:gd name="connsiteX1495" fmla="*/ 7376416 w 26653740"/>
                <a:gd name="connsiteY1495" fmla="*/ 4260023 h 16570717"/>
                <a:gd name="connsiteX1496" fmla="*/ 7443128 w 26653740"/>
                <a:gd name="connsiteY1496" fmla="*/ 4231433 h 16570717"/>
                <a:gd name="connsiteX1497" fmla="*/ 7486016 w 26653740"/>
                <a:gd name="connsiteY1497" fmla="*/ 4202842 h 16570717"/>
                <a:gd name="connsiteX1498" fmla="*/ 12012884 w 26653740"/>
                <a:gd name="connsiteY1498" fmla="*/ 4064654 h 16570717"/>
                <a:gd name="connsiteX1499" fmla="*/ 12017652 w 26653740"/>
                <a:gd name="connsiteY1499" fmla="*/ 4098009 h 16570717"/>
                <a:gd name="connsiteX1500" fmla="*/ 12017652 w 26653740"/>
                <a:gd name="connsiteY1500" fmla="*/ 4117070 h 16570717"/>
                <a:gd name="connsiteX1501" fmla="*/ 11998592 w 26653740"/>
                <a:gd name="connsiteY1501" fmla="*/ 4159956 h 16570717"/>
                <a:gd name="connsiteX1502" fmla="*/ 11974764 w 26653740"/>
                <a:gd name="connsiteY1502" fmla="*/ 4188547 h 16570717"/>
                <a:gd name="connsiteX1503" fmla="*/ 11970000 w 26653740"/>
                <a:gd name="connsiteY1503" fmla="*/ 4202842 h 16570717"/>
                <a:gd name="connsiteX1504" fmla="*/ 11965236 w 26653740"/>
                <a:gd name="connsiteY1504" fmla="*/ 4212372 h 16570717"/>
                <a:gd name="connsiteX1505" fmla="*/ 11946176 w 26653740"/>
                <a:gd name="connsiteY1505" fmla="*/ 4202842 h 16570717"/>
                <a:gd name="connsiteX1506" fmla="*/ 11908052 w 26653740"/>
                <a:gd name="connsiteY1506" fmla="*/ 4226668 h 16570717"/>
                <a:gd name="connsiteX1507" fmla="*/ 11893756 w 26653740"/>
                <a:gd name="connsiteY1507" fmla="*/ 4212372 h 16570717"/>
                <a:gd name="connsiteX1508" fmla="*/ 11879464 w 26653740"/>
                <a:gd name="connsiteY1508" fmla="*/ 4193312 h 16570717"/>
                <a:gd name="connsiteX1509" fmla="*/ 11831812 w 26653740"/>
                <a:gd name="connsiteY1509" fmla="*/ 4198078 h 16570717"/>
                <a:gd name="connsiteX1510" fmla="*/ 11817516 w 26653740"/>
                <a:gd name="connsiteY1510" fmla="*/ 4193312 h 16570717"/>
                <a:gd name="connsiteX1511" fmla="*/ 11841340 w 26653740"/>
                <a:gd name="connsiteY1511" fmla="*/ 4169486 h 16570717"/>
                <a:gd name="connsiteX1512" fmla="*/ 11908052 w 26653740"/>
                <a:gd name="connsiteY1512" fmla="*/ 4140896 h 16570717"/>
                <a:gd name="connsiteX1513" fmla="*/ 10935968 w 26653740"/>
                <a:gd name="connsiteY1513" fmla="*/ 3988411 h 16570717"/>
                <a:gd name="connsiteX1514" fmla="*/ 10945496 w 26653740"/>
                <a:gd name="connsiteY1514" fmla="*/ 4012238 h 16570717"/>
                <a:gd name="connsiteX1515" fmla="*/ 10940732 w 26653740"/>
                <a:gd name="connsiteY1515" fmla="*/ 4026533 h 16570717"/>
                <a:gd name="connsiteX1516" fmla="*/ 10916908 w 26653740"/>
                <a:gd name="connsiteY1516" fmla="*/ 4074184 h 16570717"/>
                <a:gd name="connsiteX1517" fmla="*/ 10883552 w 26653740"/>
                <a:gd name="connsiteY1517" fmla="*/ 4078948 h 16570717"/>
                <a:gd name="connsiteX1518" fmla="*/ 10864492 w 26653740"/>
                <a:gd name="connsiteY1518" fmla="*/ 4059888 h 16570717"/>
                <a:gd name="connsiteX1519" fmla="*/ 10859724 w 26653740"/>
                <a:gd name="connsiteY1519" fmla="*/ 4050358 h 16570717"/>
                <a:gd name="connsiteX1520" fmla="*/ 10869256 w 26653740"/>
                <a:gd name="connsiteY1520" fmla="*/ 4017002 h 16570717"/>
                <a:gd name="connsiteX1521" fmla="*/ 10883552 w 26653740"/>
                <a:gd name="connsiteY1521" fmla="*/ 3993177 h 16570717"/>
                <a:gd name="connsiteX1522" fmla="*/ 13702124 w 26653740"/>
                <a:gd name="connsiteY1522" fmla="*/ 3964585 h 16570717"/>
                <a:gd name="connsiteX1523" fmla="*/ 13721184 w 26653740"/>
                <a:gd name="connsiteY1523" fmla="*/ 3964585 h 16570717"/>
                <a:gd name="connsiteX1524" fmla="*/ 13740244 w 26653740"/>
                <a:gd name="connsiteY1524" fmla="*/ 3974116 h 16570717"/>
                <a:gd name="connsiteX1525" fmla="*/ 13745012 w 26653740"/>
                <a:gd name="connsiteY1525" fmla="*/ 3983646 h 16570717"/>
                <a:gd name="connsiteX1526" fmla="*/ 13749776 w 26653740"/>
                <a:gd name="connsiteY1526" fmla="*/ 3997941 h 16570717"/>
                <a:gd name="connsiteX1527" fmla="*/ 13754540 w 26653740"/>
                <a:gd name="connsiteY1527" fmla="*/ 4017002 h 16570717"/>
                <a:gd name="connsiteX1528" fmla="*/ 13711656 w 26653740"/>
                <a:gd name="connsiteY1528" fmla="*/ 4036064 h 16570717"/>
                <a:gd name="connsiteX1529" fmla="*/ 13692596 w 26653740"/>
                <a:gd name="connsiteY1529" fmla="*/ 4036064 h 16570717"/>
                <a:gd name="connsiteX1530" fmla="*/ 13687828 w 26653740"/>
                <a:gd name="connsiteY1530" fmla="*/ 4002707 h 16570717"/>
                <a:gd name="connsiteX1531" fmla="*/ 13182724 w 26653740"/>
                <a:gd name="connsiteY1531" fmla="*/ 3683444 h 16570717"/>
                <a:gd name="connsiteX1532" fmla="*/ 13206552 w 26653740"/>
                <a:gd name="connsiteY1532" fmla="*/ 3683444 h 16570717"/>
                <a:gd name="connsiteX1533" fmla="*/ 13306616 w 26653740"/>
                <a:gd name="connsiteY1533" fmla="*/ 3740626 h 16570717"/>
                <a:gd name="connsiteX1534" fmla="*/ 13330444 w 26653740"/>
                <a:gd name="connsiteY1534" fmla="*/ 3783511 h 16570717"/>
                <a:gd name="connsiteX1535" fmla="*/ 13382860 w 26653740"/>
                <a:gd name="connsiteY1535" fmla="*/ 3816868 h 16570717"/>
                <a:gd name="connsiteX1536" fmla="*/ 13444808 w 26653740"/>
                <a:gd name="connsiteY1536" fmla="*/ 3835929 h 16570717"/>
                <a:gd name="connsiteX1537" fmla="*/ 13473396 w 26653740"/>
                <a:gd name="connsiteY1537" fmla="*/ 3859754 h 16570717"/>
                <a:gd name="connsiteX1538" fmla="*/ 13487692 w 26653740"/>
                <a:gd name="connsiteY1538" fmla="*/ 3893108 h 16570717"/>
                <a:gd name="connsiteX1539" fmla="*/ 13501988 w 26653740"/>
                <a:gd name="connsiteY1539" fmla="*/ 3931230 h 16570717"/>
                <a:gd name="connsiteX1540" fmla="*/ 13449572 w 26653740"/>
                <a:gd name="connsiteY1540" fmla="*/ 3959821 h 16570717"/>
                <a:gd name="connsiteX1541" fmla="*/ 13392392 w 26653740"/>
                <a:gd name="connsiteY1541" fmla="*/ 4040828 h 16570717"/>
                <a:gd name="connsiteX1542" fmla="*/ 13320912 w 26653740"/>
                <a:gd name="connsiteY1542" fmla="*/ 4083715 h 16570717"/>
                <a:gd name="connsiteX1543" fmla="*/ 13230376 w 26653740"/>
                <a:gd name="connsiteY1543" fmla="*/ 4112305 h 16570717"/>
                <a:gd name="connsiteX1544" fmla="*/ 13211316 w 26653740"/>
                <a:gd name="connsiteY1544" fmla="*/ 4136131 h 16570717"/>
                <a:gd name="connsiteX1545" fmla="*/ 13382860 w 26653740"/>
                <a:gd name="connsiteY1545" fmla="*/ 4140896 h 16570717"/>
                <a:gd name="connsiteX1546" fmla="*/ 13435276 w 26653740"/>
                <a:gd name="connsiteY1546" fmla="*/ 4136131 h 16570717"/>
                <a:gd name="connsiteX1547" fmla="*/ 13444808 w 26653740"/>
                <a:gd name="connsiteY1547" fmla="*/ 4207608 h 16570717"/>
                <a:gd name="connsiteX1548" fmla="*/ 13463868 w 26653740"/>
                <a:gd name="connsiteY1548" fmla="*/ 4207608 h 16570717"/>
                <a:gd name="connsiteX1549" fmla="*/ 13511520 w 26653740"/>
                <a:gd name="connsiteY1549" fmla="*/ 4174251 h 16570717"/>
                <a:gd name="connsiteX1550" fmla="*/ 13544872 w 26653740"/>
                <a:gd name="connsiteY1550" fmla="*/ 4174251 h 16570717"/>
                <a:gd name="connsiteX1551" fmla="*/ 13602056 w 26653740"/>
                <a:gd name="connsiteY1551" fmla="*/ 4198078 h 16570717"/>
                <a:gd name="connsiteX1552" fmla="*/ 13611584 w 26653740"/>
                <a:gd name="connsiteY1552" fmla="*/ 4183781 h 16570717"/>
                <a:gd name="connsiteX1553" fmla="*/ 13635412 w 26653740"/>
                <a:gd name="connsiteY1553" fmla="*/ 4183781 h 16570717"/>
                <a:gd name="connsiteX1554" fmla="*/ 13692592 w 26653740"/>
                <a:gd name="connsiteY1554" fmla="*/ 4212373 h 16570717"/>
                <a:gd name="connsiteX1555" fmla="*/ 13711656 w 26653740"/>
                <a:gd name="connsiteY1555" fmla="*/ 4260024 h 16570717"/>
                <a:gd name="connsiteX1556" fmla="*/ 13678296 w 26653740"/>
                <a:gd name="connsiteY1556" fmla="*/ 4331501 h 16570717"/>
                <a:gd name="connsiteX1557" fmla="*/ 13635412 w 26653740"/>
                <a:gd name="connsiteY1557" fmla="*/ 4393448 h 16570717"/>
                <a:gd name="connsiteX1558" fmla="*/ 13587760 w 26653740"/>
                <a:gd name="connsiteY1558" fmla="*/ 4498281 h 16570717"/>
                <a:gd name="connsiteX1559" fmla="*/ 13578232 w 26653740"/>
                <a:gd name="connsiteY1559" fmla="*/ 4488750 h 16570717"/>
                <a:gd name="connsiteX1560" fmla="*/ 13549640 w 26653740"/>
                <a:gd name="connsiteY1560" fmla="*/ 4488750 h 16570717"/>
                <a:gd name="connsiteX1561" fmla="*/ 13554404 w 26653740"/>
                <a:gd name="connsiteY1561" fmla="*/ 4541168 h 16570717"/>
                <a:gd name="connsiteX1562" fmla="*/ 13597292 w 26653740"/>
                <a:gd name="connsiteY1562" fmla="*/ 4536402 h 16570717"/>
                <a:gd name="connsiteX1563" fmla="*/ 13621116 w 26653740"/>
                <a:gd name="connsiteY1563" fmla="*/ 4560228 h 16570717"/>
                <a:gd name="connsiteX1564" fmla="*/ 13668768 w 26653740"/>
                <a:gd name="connsiteY1564" fmla="*/ 4531638 h 16570717"/>
                <a:gd name="connsiteX1565" fmla="*/ 13745008 w 26653740"/>
                <a:gd name="connsiteY1565" fmla="*/ 4541168 h 16570717"/>
                <a:gd name="connsiteX1566" fmla="*/ 13759304 w 26653740"/>
                <a:gd name="connsiteY1566" fmla="*/ 4531638 h 16570717"/>
                <a:gd name="connsiteX1567" fmla="*/ 13787896 w 26653740"/>
                <a:gd name="connsiteY1567" fmla="*/ 4503047 h 16570717"/>
                <a:gd name="connsiteX1568" fmla="*/ 13797424 w 26653740"/>
                <a:gd name="connsiteY1568" fmla="*/ 4441098 h 16570717"/>
                <a:gd name="connsiteX1569" fmla="*/ 13806956 w 26653740"/>
                <a:gd name="connsiteY1569" fmla="*/ 4398213 h 16570717"/>
                <a:gd name="connsiteX1570" fmla="*/ 13830784 w 26653740"/>
                <a:gd name="connsiteY1570" fmla="*/ 4388683 h 16570717"/>
                <a:gd name="connsiteX1571" fmla="*/ 13859372 w 26653740"/>
                <a:gd name="connsiteY1571" fmla="*/ 4398213 h 16570717"/>
                <a:gd name="connsiteX1572" fmla="*/ 13902260 w 26653740"/>
                <a:gd name="connsiteY1572" fmla="*/ 4398213 h 16570717"/>
                <a:gd name="connsiteX1573" fmla="*/ 14016624 w 26653740"/>
                <a:gd name="connsiteY1573" fmla="*/ 4379151 h 16570717"/>
                <a:gd name="connsiteX1574" fmla="*/ 14111924 w 26653740"/>
                <a:gd name="connsiteY1574" fmla="*/ 4402978 h 16570717"/>
                <a:gd name="connsiteX1575" fmla="*/ 14188168 w 26653740"/>
                <a:gd name="connsiteY1575" fmla="*/ 4374388 h 16570717"/>
                <a:gd name="connsiteX1576" fmla="*/ 14288232 w 26653740"/>
                <a:gd name="connsiteY1576" fmla="*/ 4398213 h 16570717"/>
                <a:gd name="connsiteX1577" fmla="*/ 14331120 w 26653740"/>
                <a:gd name="connsiteY1577" fmla="*/ 4422037 h 16570717"/>
                <a:gd name="connsiteX1578" fmla="*/ 14364476 w 26653740"/>
                <a:gd name="connsiteY1578" fmla="*/ 4464926 h 16570717"/>
                <a:gd name="connsiteX1579" fmla="*/ 14393068 w 26653740"/>
                <a:gd name="connsiteY1579" fmla="*/ 4479219 h 16570717"/>
                <a:gd name="connsiteX1580" fmla="*/ 14416892 w 26653740"/>
                <a:gd name="connsiteY1580" fmla="*/ 4512577 h 16570717"/>
                <a:gd name="connsiteX1581" fmla="*/ 14440720 w 26653740"/>
                <a:gd name="connsiteY1581" fmla="*/ 4560228 h 16570717"/>
                <a:gd name="connsiteX1582" fmla="*/ 14431188 w 26653740"/>
                <a:gd name="connsiteY1582" fmla="*/ 4598349 h 16570717"/>
                <a:gd name="connsiteX1583" fmla="*/ 14416892 w 26653740"/>
                <a:gd name="connsiteY1583" fmla="*/ 4626939 h 16570717"/>
                <a:gd name="connsiteX1584" fmla="*/ 14450248 w 26653740"/>
                <a:gd name="connsiteY1584" fmla="*/ 4598349 h 16570717"/>
                <a:gd name="connsiteX1585" fmla="*/ 14474072 w 26653740"/>
                <a:gd name="connsiteY1585" fmla="*/ 4593584 h 16570717"/>
                <a:gd name="connsiteX1586" fmla="*/ 14493136 w 26653740"/>
                <a:gd name="connsiteY1586" fmla="*/ 4607878 h 16570717"/>
                <a:gd name="connsiteX1587" fmla="*/ 14526492 w 26653740"/>
                <a:gd name="connsiteY1587" fmla="*/ 4626939 h 16570717"/>
                <a:gd name="connsiteX1588" fmla="*/ 14536020 w 26653740"/>
                <a:gd name="connsiteY1588" fmla="*/ 4731773 h 16570717"/>
                <a:gd name="connsiteX1589" fmla="*/ 14545552 w 26653740"/>
                <a:gd name="connsiteY1589" fmla="*/ 4755598 h 16570717"/>
                <a:gd name="connsiteX1590" fmla="*/ 14550316 w 26653740"/>
                <a:gd name="connsiteY1590" fmla="*/ 4793719 h 16570717"/>
                <a:gd name="connsiteX1591" fmla="*/ 14540784 w 26653740"/>
                <a:gd name="connsiteY1591" fmla="*/ 4827076 h 16570717"/>
                <a:gd name="connsiteX1592" fmla="*/ 14531256 w 26653740"/>
                <a:gd name="connsiteY1592" fmla="*/ 4841371 h 16570717"/>
                <a:gd name="connsiteX1593" fmla="*/ 14555080 w 26653740"/>
                <a:gd name="connsiteY1593" fmla="*/ 4836605 h 16570717"/>
                <a:gd name="connsiteX1594" fmla="*/ 14593200 w 26653740"/>
                <a:gd name="connsiteY1594" fmla="*/ 4803249 h 16570717"/>
                <a:gd name="connsiteX1595" fmla="*/ 14597968 w 26653740"/>
                <a:gd name="connsiteY1595" fmla="*/ 4788950 h 16570717"/>
                <a:gd name="connsiteX1596" fmla="*/ 14607496 w 26653740"/>
                <a:gd name="connsiteY1596" fmla="*/ 4760362 h 16570717"/>
                <a:gd name="connsiteX1597" fmla="*/ 14593200 w 26653740"/>
                <a:gd name="connsiteY1597" fmla="*/ 4736537 h 16570717"/>
                <a:gd name="connsiteX1598" fmla="*/ 14583672 w 26653740"/>
                <a:gd name="connsiteY1598" fmla="*/ 4722242 h 16570717"/>
                <a:gd name="connsiteX1599" fmla="*/ 14597968 w 26653740"/>
                <a:gd name="connsiteY1599" fmla="*/ 4707945 h 16570717"/>
                <a:gd name="connsiteX1600" fmla="*/ 14626560 w 26653740"/>
                <a:gd name="connsiteY1600" fmla="*/ 4712712 h 16570717"/>
                <a:gd name="connsiteX1601" fmla="*/ 14640856 w 26653740"/>
                <a:gd name="connsiteY1601" fmla="*/ 4760362 h 16570717"/>
                <a:gd name="connsiteX1602" fmla="*/ 14650384 w 26653740"/>
                <a:gd name="connsiteY1602" fmla="*/ 4803249 h 16570717"/>
                <a:gd name="connsiteX1603" fmla="*/ 14674208 w 26653740"/>
                <a:gd name="connsiteY1603" fmla="*/ 4946203 h 16570717"/>
                <a:gd name="connsiteX1604" fmla="*/ 14717096 w 26653740"/>
                <a:gd name="connsiteY1604" fmla="*/ 4927142 h 16570717"/>
                <a:gd name="connsiteX1605" fmla="*/ 14721860 w 26653740"/>
                <a:gd name="connsiteY1605" fmla="*/ 4970028 h 16570717"/>
                <a:gd name="connsiteX1606" fmla="*/ 14702800 w 26653740"/>
                <a:gd name="connsiteY1606" fmla="*/ 5065320 h 16570717"/>
                <a:gd name="connsiteX1607" fmla="*/ 14678976 w 26653740"/>
                <a:gd name="connsiteY1607" fmla="*/ 5136797 h 16570717"/>
                <a:gd name="connsiteX1608" fmla="*/ 14674208 w 26653740"/>
                <a:gd name="connsiteY1608" fmla="*/ 5151092 h 16570717"/>
                <a:gd name="connsiteX1609" fmla="*/ 14659912 w 26653740"/>
                <a:gd name="connsiteY1609" fmla="*/ 5151092 h 16570717"/>
                <a:gd name="connsiteX1610" fmla="*/ 14664680 w 26653740"/>
                <a:gd name="connsiteY1610" fmla="*/ 5117736 h 16570717"/>
                <a:gd name="connsiteX1611" fmla="*/ 14655148 w 26653740"/>
                <a:gd name="connsiteY1611" fmla="*/ 5093911 h 16570717"/>
                <a:gd name="connsiteX1612" fmla="*/ 14645620 w 26653740"/>
                <a:gd name="connsiteY1612" fmla="*/ 5084380 h 16570717"/>
                <a:gd name="connsiteX1613" fmla="*/ 14602732 w 26653740"/>
                <a:gd name="connsiteY1613" fmla="*/ 5070085 h 16570717"/>
                <a:gd name="connsiteX1614" fmla="*/ 14526492 w 26653740"/>
                <a:gd name="connsiteY1614" fmla="*/ 4984322 h 16570717"/>
                <a:gd name="connsiteX1615" fmla="*/ 14507432 w 26653740"/>
                <a:gd name="connsiteY1615" fmla="*/ 4974794 h 16570717"/>
                <a:gd name="connsiteX1616" fmla="*/ 14502664 w 26653740"/>
                <a:gd name="connsiteY1616" fmla="*/ 4974794 h 16570717"/>
                <a:gd name="connsiteX1617" fmla="*/ 14497900 w 26653740"/>
                <a:gd name="connsiteY1617" fmla="*/ 4984322 h 16570717"/>
                <a:gd name="connsiteX1618" fmla="*/ 14540784 w 26653740"/>
                <a:gd name="connsiteY1618" fmla="*/ 5046259 h 16570717"/>
                <a:gd name="connsiteX1619" fmla="*/ 14578908 w 26653740"/>
                <a:gd name="connsiteY1619" fmla="*/ 5146327 h 16570717"/>
                <a:gd name="connsiteX1620" fmla="*/ 14607496 w 26653740"/>
                <a:gd name="connsiteY1620" fmla="*/ 5117736 h 16570717"/>
                <a:gd name="connsiteX1621" fmla="*/ 14621792 w 26653740"/>
                <a:gd name="connsiteY1621" fmla="*/ 5122501 h 16570717"/>
                <a:gd name="connsiteX1622" fmla="*/ 14640856 w 26653740"/>
                <a:gd name="connsiteY1622" fmla="*/ 5170153 h 16570717"/>
                <a:gd name="connsiteX1623" fmla="*/ 14669444 w 26653740"/>
                <a:gd name="connsiteY1623" fmla="*/ 5193978 h 16570717"/>
                <a:gd name="connsiteX1624" fmla="*/ 14698036 w 26653740"/>
                <a:gd name="connsiteY1624" fmla="*/ 5222569 h 16570717"/>
                <a:gd name="connsiteX1625" fmla="*/ 14678976 w 26653740"/>
                <a:gd name="connsiteY1625" fmla="*/ 5322637 h 16570717"/>
                <a:gd name="connsiteX1626" fmla="*/ 14574144 w 26653740"/>
                <a:gd name="connsiteY1626" fmla="*/ 5489416 h 16570717"/>
                <a:gd name="connsiteX1627" fmla="*/ 14459780 w 26653740"/>
                <a:gd name="connsiteY1627" fmla="*/ 5589484 h 16570717"/>
                <a:gd name="connsiteX1628" fmla="*/ 14407360 w 26653740"/>
                <a:gd name="connsiteY1628" fmla="*/ 5656196 h 16570717"/>
                <a:gd name="connsiteX1629" fmla="*/ 14316824 w 26653740"/>
                <a:gd name="connsiteY1629" fmla="*/ 5703847 h 16570717"/>
                <a:gd name="connsiteX1630" fmla="*/ 14254880 w 26653740"/>
                <a:gd name="connsiteY1630" fmla="*/ 5770559 h 16570717"/>
                <a:gd name="connsiteX1631" fmla="*/ 14173872 w 26653740"/>
                <a:gd name="connsiteY1631" fmla="*/ 5818210 h 16570717"/>
                <a:gd name="connsiteX1632" fmla="*/ 14150048 w 26653740"/>
                <a:gd name="connsiteY1632" fmla="*/ 5865861 h 16570717"/>
                <a:gd name="connsiteX1633" fmla="*/ 14088100 w 26653740"/>
                <a:gd name="connsiteY1633" fmla="*/ 5899217 h 16570717"/>
                <a:gd name="connsiteX1634" fmla="*/ 14092864 w 26653740"/>
                <a:gd name="connsiteY1634" fmla="*/ 5918278 h 16570717"/>
                <a:gd name="connsiteX1635" fmla="*/ 14102392 w 26653740"/>
                <a:gd name="connsiteY1635" fmla="*/ 5937338 h 16570717"/>
                <a:gd name="connsiteX1636" fmla="*/ 14092864 w 26653740"/>
                <a:gd name="connsiteY1636" fmla="*/ 5965929 h 16570717"/>
                <a:gd name="connsiteX1637" fmla="*/ 14088100 w 26653740"/>
                <a:gd name="connsiteY1637" fmla="*/ 5989754 h 16570717"/>
                <a:gd name="connsiteX1638" fmla="*/ 14040448 w 26653740"/>
                <a:gd name="connsiteY1638" fmla="*/ 6032640 h 16570717"/>
                <a:gd name="connsiteX1639" fmla="*/ 13968972 w 26653740"/>
                <a:gd name="connsiteY1639" fmla="*/ 6065996 h 16570717"/>
                <a:gd name="connsiteX1640" fmla="*/ 13835548 w 26653740"/>
                <a:gd name="connsiteY1640" fmla="*/ 6256602 h 16570717"/>
                <a:gd name="connsiteX1641" fmla="*/ 13764072 w 26653740"/>
                <a:gd name="connsiteY1641" fmla="*/ 6294722 h 16570717"/>
                <a:gd name="connsiteX1642" fmla="*/ 13687828 w 26653740"/>
                <a:gd name="connsiteY1642" fmla="*/ 6299488 h 16570717"/>
                <a:gd name="connsiteX1643" fmla="*/ 13673532 w 26653740"/>
                <a:gd name="connsiteY1643" fmla="*/ 6313783 h 16570717"/>
                <a:gd name="connsiteX1644" fmla="*/ 13616352 w 26653740"/>
                <a:gd name="connsiteY1644" fmla="*/ 6432911 h 16570717"/>
                <a:gd name="connsiteX1645" fmla="*/ 13597292 w 26653740"/>
                <a:gd name="connsiteY1645" fmla="*/ 6456737 h 16570717"/>
                <a:gd name="connsiteX1646" fmla="*/ 13521048 w 26653740"/>
                <a:gd name="connsiteY1646" fmla="*/ 6471032 h 16570717"/>
                <a:gd name="connsiteX1647" fmla="*/ 13440040 w 26653740"/>
                <a:gd name="connsiteY1647" fmla="*/ 6656872 h 16570717"/>
                <a:gd name="connsiteX1648" fmla="*/ 13397156 w 26653740"/>
                <a:gd name="connsiteY1648" fmla="*/ 6718819 h 16570717"/>
                <a:gd name="connsiteX1649" fmla="*/ 13354268 w 26653740"/>
                <a:gd name="connsiteY1649" fmla="*/ 6752175 h 16570717"/>
                <a:gd name="connsiteX1650" fmla="*/ 13397156 w 26653740"/>
                <a:gd name="connsiteY1650" fmla="*/ 6747410 h 16570717"/>
                <a:gd name="connsiteX1651" fmla="*/ 13444808 w 26653740"/>
                <a:gd name="connsiteY1651" fmla="*/ 6723584 h 16570717"/>
                <a:gd name="connsiteX1652" fmla="*/ 13501988 w 26653740"/>
                <a:gd name="connsiteY1652" fmla="*/ 6661638 h 16570717"/>
                <a:gd name="connsiteX1653" fmla="*/ 13516284 w 26653740"/>
                <a:gd name="connsiteY1653" fmla="*/ 6633046 h 16570717"/>
                <a:gd name="connsiteX1654" fmla="*/ 13521048 w 26653740"/>
                <a:gd name="connsiteY1654" fmla="*/ 6604456 h 16570717"/>
                <a:gd name="connsiteX1655" fmla="*/ 13540108 w 26653740"/>
                <a:gd name="connsiteY1655" fmla="*/ 6575865 h 16570717"/>
                <a:gd name="connsiteX1656" fmla="*/ 13563936 w 26653740"/>
                <a:gd name="connsiteY1656" fmla="*/ 6561570 h 16570717"/>
                <a:gd name="connsiteX1657" fmla="*/ 13664004 w 26653740"/>
                <a:gd name="connsiteY1657" fmla="*/ 6537744 h 16570717"/>
                <a:gd name="connsiteX1658" fmla="*/ 13702124 w 26653740"/>
                <a:gd name="connsiteY1658" fmla="*/ 6547274 h 16570717"/>
                <a:gd name="connsiteX1659" fmla="*/ 13764072 w 26653740"/>
                <a:gd name="connsiteY1659" fmla="*/ 6542509 h 16570717"/>
                <a:gd name="connsiteX1660" fmla="*/ 13802192 w 26653740"/>
                <a:gd name="connsiteY1660" fmla="*/ 6509153 h 16570717"/>
                <a:gd name="connsiteX1661" fmla="*/ 13826016 w 26653740"/>
                <a:gd name="connsiteY1661" fmla="*/ 6494858 h 16570717"/>
                <a:gd name="connsiteX1662" fmla="*/ 13849844 w 26653740"/>
                <a:gd name="connsiteY1662" fmla="*/ 6490093 h 16570717"/>
                <a:gd name="connsiteX1663" fmla="*/ 13859372 w 26653740"/>
                <a:gd name="connsiteY1663" fmla="*/ 6466267 h 16570717"/>
                <a:gd name="connsiteX1664" fmla="*/ 13892728 w 26653740"/>
                <a:gd name="connsiteY1664" fmla="*/ 6461502 h 16570717"/>
                <a:gd name="connsiteX1665" fmla="*/ 13973736 w 26653740"/>
                <a:gd name="connsiteY1665" fmla="*/ 6432911 h 16570717"/>
                <a:gd name="connsiteX1666" fmla="*/ 13983264 w 26653740"/>
                <a:gd name="connsiteY1666" fmla="*/ 6418616 h 16570717"/>
                <a:gd name="connsiteX1667" fmla="*/ 14011856 w 26653740"/>
                <a:gd name="connsiteY1667" fmla="*/ 6370965 h 16570717"/>
                <a:gd name="connsiteX1668" fmla="*/ 14059508 w 26653740"/>
                <a:gd name="connsiteY1668" fmla="*/ 6390025 h 16570717"/>
                <a:gd name="connsiteX1669" fmla="*/ 14092864 w 26653740"/>
                <a:gd name="connsiteY1669" fmla="*/ 6380495 h 16570717"/>
                <a:gd name="connsiteX1670" fmla="*/ 14183400 w 26653740"/>
                <a:gd name="connsiteY1670" fmla="*/ 6294722 h 16570717"/>
                <a:gd name="connsiteX1671" fmla="*/ 14235816 w 26653740"/>
                <a:gd name="connsiteY1671" fmla="*/ 6261367 h 16570717"/>
                <a:gd name="connsiteX1672" fmla="*/ 14250112 w 26653740"/>
                <a:gd name="connsiteY1672" fmla="*/ 6237541 h 16570717"/>
                <a:gd name="connsiteX1673" fmla="*/ 14240584 w 26653740"/>
                <a:gd name="connsiteY1673" fmla="*/ 6218480 h 16570717"/>
                <a:gd name="connsiteX1674" fmla="*/ 14226288 w 26653740"/>
                <a:gd name="connsiteY1674" fmla="*/ 6208950 h 16570717"/>
                <a:gd name="connsiteX1675" fmla="*/ 14173872 w 26653740"/>
                <a:gd name="connsiteY1675" fmla="*/ 6237541 h 16570717"/>
                <a:gd name="connsiteX1676" fmla="*/ 14130984 w 26653740"/>
                <a:gd name="connsiteY1676" fmla="*/ 6247071 h 16570717"/>
                <a:gd name="connsiteX1677" fmla="*/ 14078568 w 26653740"/>
                <a:gd name="connsiteY1677" fmla="*/ 6242306 h 16570717"/>
                <a:gd name="connsiteX1678" fmla="*/ 14069040 w 26653740"/>
                <a:gd name="connsiteY1678" fmla="*/ 6228011 h 16570717"/>
                <a:gd name="connsiteX1679" fmla="*/ 14064272 w 26653740"/>
                <a:gd name="connsiteY1679" fmla="*/ 6199420 h 16570717"/>
                <a:gd name="connsiteX1680" fmla="*/ 14078568 w 26653740"/>
                <a:gd name="connsiteY1680" fmla="*/ 6151769 h 16570717"/>
                <a:gd name="connsiteX1681" fmla="*/ 14092864 w 26653740"/>
                <a:gd name="connsiteY1681" fmla="*/ 6123178 h 16570717"/>
                <a:gd name="connsiteX1682" fmla="*/ 14126220 w 26653740"/>
                <a:gd name="connsiteY1682" fmla="*/ 6089822 h 16570717"/>
                <a:gd name="connsiteX1683" fmla="*/ 14154812 w 26653740"/>
                <a:gd name="connsiteY1683" fmla="*/ 6075527 h 16570717"/>
                <a:gd name="connsiteX1684" fmla="*/ 14259644 w 26653740"/>
                <a:gd name="connsiteY1684" fmla="*/ 6113648 h 16570717"/>
                <a:gd name="connsiteX1685" fmla="*/ 14278704 w 26653740"/>
                <a:gd name="connsiteY1685" fmla="*/ 6118413 h 16570717"/>
                <a:gd name="connsiteX1686" fmla="*/ 14293000 w 26653740"/>
                <a:gd name="connsiteY1686" fmla="*/ 6056466 h 16570717"/>
                <a:gd name="connsiteX1687" fmla="*/ 14326356 w 26653740"/>
                <a:gd name="connsiteY1687" fmla="*/ 6056466 h 16570717"/>
                <a:gd name="connsiteX1688" fmla="*/ 14359712 w 26653740"/>
                <a:gd name="connsiteY1688" fmla="*/ 6070762 h 16570717"/>
                <a:gd name="connsiteX1689" fmla="*/ 14345416 w 26653740"/>
                <a:gd name="connsiteY1689" fmla="*/ 6080292 h 16570717"/>
                <a:gd name="connsiteX1690" fmla="*/ 14307296 w 26653740"/>
                <a:gd name="connsiteY1690" fmla="*/ 6104118 h 16570717"/>
                <a:gd name="connsiteX1691" fmla="*/ 14316824 w 26653740"/>
                <a:gd name="connsiteY1691" fmla="*/ 6151769 h 16570717"/>
                <a:gd name="connsiteX1692" fmla="*/ 14335888 w 26653740"/>
                <a:gd name="connsiteY1692" fmla="*/ 6180360 h 16570717"/>
                <a:gd name="connsiteX1693" fmla="*/ 14397832 w 26653740"/>
                <a:gd name="connsiteY1693" fmla="*/ 6228011 h 16570717"/>
                <a:gd name="connsiteX1694" fmla="*/ 14450248 w 26653740"/>
                <a:gd name="connsiteY1694" fmla="*/ 6247071 h 16570717"/>
                <a:gd name="connsiteX1695" fmla="*/ 14488368 w 26653740"/>
                <a:gd name="connsiteY1695" fmla="*/ 6247071 h 16570717"/>
                <a:gd name="connsiteX1696" fmla="*/ 14550316 w 26653740"/>
                <a:gd name="connsiteY1696" fmla="*/ 6228011 h 16570717"/>
                <a:gd name="connsiteX1697" fmla="*/ 14559848 w 26653740"/>
                <a:gd name="connsiteY1697" fmla="*/ 6213716 h 16570717"/>
                <a:gd name="connsiteX1698" fmla="*/ 14574144 w 26653740"/>
                <a:gd name="connsiteY1698" fmla="*/ 6175594 h 16570717"/>
                <a:gd name="connsiteX1699" fmla="*/ 14559848 w 26653740"/>
                <a:gd name="connsiteY1699" fmla="*/ 6104118 h 16570717"/>
                <a:gd name="connsiteX1700" fmla="*/ 14574144 w 26653740"/>
                <a:gd name="connsiteY1700" fmla="*/ 6118413 h 16570717"/>
                <a:gd name="connsiteX1701" fmla="*/ 14588436 w 26653740"/>
                <a:gd name="connsiteY1701" fmla="*/ 6132708 h 16570717"/>
                <a:gd name="connsiteX1702" fmla="*/ 14612264 w 26653740"/>
                <a:gd name="connsiteY1702" fmla="*/ 6175594 h 16570717"/>
                <a:gd name="connsiteX1703" fmla="*/ 14636088 w 26653740"/>
                <a:gd name="connsiteY1703" fmla="*/ 6251836 h 16570717"/>
                <a:gd name="connsiteX1704" fmla="*/ 14650384 w 26653740"/>
                <a:gd name="connsiteY1704" fmla="*/ 6280427 h 16570717"/>
                <a:gd name="connsiteX1705" fmla="*/ 14640856 w 26653740"/>
                <a:gd name="connsiteY1705" fmla="*/ 6318548 h 16570717"/>
                <a:gd name="connsiteX1706" fmla="*/ 14607496 w 26653740"/>
                <a:gd name="connsiteY1706" fmla="*/ 6385260 h 16570717"/>
                <a:gd name="connsiteX1707" fmla="*/ 14626560 w 26653740"/>
                <a:gd name="connsiteY1707" fmla="*/ 6423381 h 16570717"/>
                <a:gd name="connsiteX1708" fmla="*/ 14659912 w 26653740"/>
                <a:gd name="connsiteY1708" fmla="*/ 6447207 h 16570717"/>
                <a:gd name="connsiteX1709" fmla="*/ 14659912 w 26653740"/>
                <a:gd name="connsiteY1709" fmla="*/ 6556804 h 16570717"/>
                <a:gd name="connsiteX1710" fmla="*/ 14659912 w 26653740"/>
                <a:gd name="connsiteY1710" fmla="*/ 6609221 h 16570717"/>
                <a:gd name="connsiteX1711" fmla="*/ 14640856 w 26653740"/>
                <a:gd name="connsiteY1711" fmla="*/ 6666402 h 16570717"/>
                <a:gd name="connsiteX1712" fmla="*/ 14621792 w 26653740"/>
                <a:gd name="connsiteY1712" fmla="*/ 6690228 h 16570717"/>
                <a:gd name="connsiteX1713" fmla="*/ 14602732 w 26653740"/>
                <a:gd name="connsiteY1713" fmla="*/ 6723584 h 16570717"/>
                <a:gd name="connsiteX1714" fmla="*/ 14607496 w 26653740"/>
                <a:gd name="connsiteY1714" fmla="*/ 6756940 h 16570717"/>
                <a:gd name="connsiteX1715" fmla="*/ 14612264 w 26653740"/>
                <a:gd name="connsiteY1715" fmla="*/ 6776000 h 16570717"/>
                <a:gd name="connsiteX1716" fmla="*/ 14631324 w 26653740"/>
                <a:gd name="connsiteY1716" fmla="*/ 6814122 h 16570717"/>
                <a:gd name="connsiteX1717" fmla="*/ 14688504 w 26653740"/>
                <a:gd name="connsiteY1717" fmla="*/ 6828417 h 16570717"/>
                <a:gd name="connsiteX1718" fmla="*/ 14693272 w 26653740"/>
                <a:gd name="connsiteY1718" fmla="*/ 6818886 h 16570717"/>
                <a:gd name="connsiteX1719" fmla="*/ 14683740 w 26653740"/>
                <a:gd name="connsiteY1719" fmla="*/ 6804591 h 16570717"/>
                <a:gd name="connsiteX1720" fmla="*/ 14645620 w 26653740"/>
                <a:gd name="connsiteY1720" fmla="*/ 6790296 h 16570717"/>
                <a:gd name="connsiteX1721" fmla="*/ 14631324 w 26653740"/>
                <a:gd name="connsiteY1721" fmla="*/ 6771235 h 16570717"/>
                <a:gd name="connsiteX1722" fmla="*/ 14617028 w 26653740"/>
                <a:gd name="connsiteY1722" fmla="*/ 6737880 h 16570717"/>
                <a:gd name="connsiteX1723" fmla="*/ 14631324 w 26653740"/>
                <a:gd name="connsiteY1723" fmla="*/ 6699758 h 16570717"/>
                <a:gd name="connsiteX1724" fmla="*/ 14650384 w 26653740"/>
                <a:gd name="connsiteY1724" fmla="*/ 6671168 h 16570717"/>
                <a:gd name="connsiteX1725" fmla="*/ 14669444 w 26653740"/>
                <a:gd name="connsiteY1725" fmla="*/ 6604456 h 16570717"/>
                <a:gd name="connsiteX1726" fmla="*/ 14674208 w 26653740"/>
                <a:gd name="connsiteY1726" fmla="*/ 6556804 h 16570717"/>
                <a:gd name="connsiteX1727" fmla="*/ 14669444 w 26653740"/>
                <a:gd name="connsiteY1727" fmla="*/ 6509153 h 16570717"/>
                <a:gd name="connsiteX1728" fmla="*/ 14683740 w 26653740"/>
                <a:gd name="connsiteY1728" fmla="*/ 6490093 h 16570717"/>
                <a:gd name="connsiteX1729" fmla="*/ 14702800 w 26653740"/>
                <a:gd name="connsiteY1729" fmla="*/ 6461502 h 16570717"/>
                <a:gd name="connsiteX1730" fmla="*/ 14712332 w 26653740"/>
                <a:gd name="connsiteY1730" fmla="*/ 6456737 h 16570717"/>
                <a:gd name="connsiteX1731" fmla="*/ 14721860 w 26653740"/>
                <a:gd name="connsiteY1731" fmla="*/ 6447207 h 16570717"/>
                <a:gd name="connsiteX1732" fmla="*/ 14707564 w 26653740"/>
                <a:gd name="connsiteY1732" fmla="*/ 6437676 h 16570717"/>
                <a:gd name="connsiteX1733" fmla="*/ 14693272 w 26653740"/>
                <a:gd name="connsiteY1733" fmla="*/ 6432911 h 16570717"/>
                <a:gd name="connsiteX1734" fmla="*/ 14669444 w 26653740"/>
                <a:gd name="connsiteY1734" fmla="*/ 6399556 h 16570717"/>
                <a:gd name="connsiteX1735" fmla="*/ 14664680 w 26653740"/>
                <a:gd name="connsiteY1735" fmla="*/ 6361434 h 16570717"/>
                <a:gd name="connsiteX1736" fmla="*/ 14717096 w 26653740"/>
                <a:gd name="connsiteY1736" fmla="*/ 6347139 h 16570717"/>
                <a:gd name="connsiteX1737" fmla="*/ 14750452 w 26653740"/>
                <a:gd name="connsiteY1737" fmla="*/ 6318548 h 16570717"/>
                <a:gd name="connsiteX1738" fmla="*/ 14869580 w 26653740"/>
                <a:gd name="connsiteY1738" fmla="*/ 6304253 h 16570717"/>
                <a:gd name="connsiteX1739" fmla="*/ 14950588 w 26653740"/>
                <a:gd name="connsiteY1739" fmla="*/ 6251836 h 16570717"/>
                <a:gd name="connsiteX1740" fmla="*/ 15131664 w 26653740"/>
                <a:gd name="connsiteY1740" fmla="*/ 6266132 h 16570717"/>
                <a:gd name="connsiteX1741" fmla="*/ 15255556 w 26653740"/>
                <a:gd name="connsiteY1741" fmla="*/ 6309018 h 16570717"/>
                <a:gd name="connsiteX1742" fmla="*/ 15436632 w 26653740"/>
                <a:gd name="connsiteY1742" fmla="*/ 6313783 h 16570717"/>
                <a:gd name="connsiteX1743" fmla="*/ 15498576 w 26653740"/>
                <a:gd name="connsiteY1743" fmla="*/ 6342374 h 16570717"/>
                <a:gd name="connsiteX1744" fmla="*/ 15508108 w 26653740"/>
                <a:gd name="connsiteY1744" fmla="*/ 6351904 h 16570717"/>
                <a:gd name="connsiteX1745" fmla="*/ 15512872 w 26653740"/>
                <a:gd name="connsiteY1745" fmla="*/ 6375730 h 16570717"/>
                <a:gd name="connsiteX1746" fmla="*/ 15484280 w 26653740"/>
                <a:gd name="connsiteY1746" fmla="*/ 6385260 h 16570717"/>
                <a:gd name="connsiteX1747" fmla="*/ 15436632 w 26653740"/>
                <a:gd name="connsiteY1747" fmla="*/ 6385260 h 16570717"/>
                <a:gd name="connsiteX1748" fmla="*/ 15422336 w 26653740"/>
                <a:gd name="connsiteY1748" fmla="*/ 6437676 h 16570717"/>
                <a:gd name="connsiteX1749" fmla="*/ 15431864 w 26653740"/>
                <a:gd name="connsiteY1749" fmla="*/ 6504388 h 16570717"/>
                <a:gd name="connsiteX1750" fmla="*/ 15512872 w 26653740"/>
                <a:gd name="connsiteY1750" fmla="*/ 6571100 h 16570717"/>
                <a:gd name="connsiteX1751" fmla="*/ 15589112 w 26653740"/>
                <a:gd name="connsiteY1751" fmla="*/ 6599691 h 16570717"/>
                <a:gd name="connsiteX1752" fmla="*/ 15636764 w 26653740"/>
                <a:gd name="connsiteY1752" fmla="*/ 6647342 h 16570717"/>
                <a:gd name="connsiteX1753" fmla="*/ 15665356 w 26653740"/>
                <a:gd name="connsiteY1753" fmla="*/ 6652107 h 16570717"/>
                <a:gd name="connsiteX1754" fmla="*/ 15770188 w 26653740"/>
                <a:gd name="connsiteY1754" fmla="*/ 6647342 h 16570717"/>
                <a:gd name="connsiteX1755" fmla="*/ 15832136 w 26653740"/>
                <a:gd name="connsiteY1755" fmla="*/ 6671168 h 16570717"/>
                <a:gd name="connsiteX1756" fmla="*/ 15889316 w 26653740"/>
                <a:gd name="connsiteY1756" fmla="*/ 6652107 h 16570717"/>
                <a:gd name="connsiteX1757" fmla="*/ 15951264 w 26653740"/>
                <a:gd name="connsiteY1757" fmla="*/ 6652107 h 16570717"/>
                <a:gd name="connsiteX1758" fmla="*/ 15970324 w 26653740"/>
                <a:gd name="connsiteY1758" fmla="*/ 6656872 h 16570717"/>
                <a:gd name="connsiteX1759" fmla="*/ 15994152 w 26653740"/>
                <a:gd name="connsiteY1759" fmla="*/ 6690228 h 16570717"/>
                <a:gd name="connsiteX1760" fmla="*/ 16032272 w 26653740"/>
                <a:gd name="connsiteY1760" fmla="*/ 6699758 h 16570717"/>
                <a:gd name="connsiteX1761" fmla="*/ 16075156 w 26653740"/>
                <a:gd name="connsiteY1761" fmla="*/ 6699758 h 16570717"/>
                <a:gd name="connsiteX1762" fmla="*/ 16098984 w 26653740"/>
                <a:gd name="connsiteY1762" fmla="*/ 6694993 h 16570717"/>
                <a:gd name="connsiteX1763" fmla="*/ 16108512 w 26653740"/>
                <a:gd name="connsiteY1763" fmla="*/ 6685463 h 16570717"/>
                <a:gd name="connsiteX1764" fmla="*/ 16103748 w 26653740"/>
                <a:gd name="connsiteY1764" fmla="*/ 6671168 h 16570717"/>
                <a:gd name="connsiteX1765" fmla="*/ 16065628 w 26653740"/>
                <a:gd name="connsiteY1765" fmla="*/ 6652107 h 16570717"/>
                <a:gd name="connsiteX1766" fmla="*/ 16070392 w 26653740"/>
                <a:gd name="connsiteY1766" fmla="*/ 6628282 h 16570717"/>
                <a:gd name="connsiteX1767" fmla="*/ 16084688 w 26653740"/>
                <a:gd name="connsiteY1767" fmla="*/ 6618751 h 16570717"/>
                <a:gd name="connsiteX1768" fmla="*/ 16146632 w 26653740"/>
                <a:gd name="connsiteY1768" fmla="*/ 6652107 h 16570717"/>
                <a:gd name="connsiteX1769" fmla="*/ 16170460 w 26653740"/>
                <a:gd name="connsiteY1769" fmla="*/ 6656872 h 16570717"/>
                <a:gd name="connsiteX1770" fmla="*/ 16194284 w 26653740"/>
                <a:gd name="connsiteY1770" fmla="*/ 6633046 h 16570717"/>
                <a:gd name="connsiteX1771" fmla="*/ 16208580 w 26653740"/>
                <a:gd name="connsiteY1771" fmla="*/ 6590160 h 16570717"/>
                <a:gd name="connsiteX1772" fmla="*/ 16218112 w 26653740"/>
                <a:gd name="connsiteY1772" fmla="*/ 6556804 h 16570717"/>
                <a:gd name="connsiteX1773" fmla="*/ 16227640 w 26653740"/>
                <a:gd name="connsiteY1773" fmla="*/ 6542509 h 16570717"/>
                <a:gd name="connsiteX1774" fmla="*/ 16237172 w 26653740"/>
                <a:gd name="connsiteY1774" fmla="*/ 6537744 h 16570717"/>
                <a:gd name="connsiteX1775" fmla="*/ 16241936 w 26653740"/>
                <a:gd name="connsiteY1775" fmla="*/ 6532979 h 16570717"/>
                <a:gd name="connsiteX1776" fmla="*/ 16222876 w 26653740"/>
                <a:gd name="connsiteY1776" fmla="*/ 6494858 h 16570717"/>
                <a:gd name="connsiteX1777" fmla="*/ 16203816 w 26653740"/>
                <a:gd name="connsiteY1777" fmla="*/ 6447207 h 16570717"/>
                <a:gd name="connsiteX1778" fmla="*/ 16199048 w 26653740"/>
                <a:gd name="connsiteY1778" fmla="*/ 6418616 h 16570717"/>
                <a:gd name="connsiteX1779" fmla="*/ 16194284 w 26653740"/>
                <a:gd name="connsiteY1779" fmla="*/ 6404320 h 16570717"/>
                <a:gd name="connsiteX1780" fmla="*/ 16194284 w 26653740"/>
                <a:gd name="connsiteY1780" fmla="*/ 6347139 h 16570717"/>
                <a:gd name="connsiteX1781" fmla="*/ 16208580 w 26653740"/>
                <a:gd name="connsiteY1781" fmla="*/ 6289958 h 16570717"/>
                <a:gd name="connsiteX1782" fmla="*/ 16222876 w 26653740"/>
                <a:gd name="connsiteY1782" fmla="*/ 6270897 h 16570717"/>
                <a:gd name="connsiteX1783" fmla="*/ 16270528 w 26653740"/>
                <a:gd name="connsiteY1783" fmla="*/ 6294722 h 16570717"/>
                <a:gd name="connsiteX1784" fmla="*/ 16289588 w 26653740"/>
                <a:gd name="connsiteY1784" fmla="*/ 6261367 h 16570717"/>
                <a:gd name="connsiteX1785" fmla="*/ 16303884 w 26653740"/>
                <a:gd name="connsiteY1785" fmla="*/ 6247071 h 16570717"/>
                <a:gd name="connsiteX1786" fmla="*/ 16361064 w 26653740"/>
                <a:gd name="connsiteY1786" fmla="*/ 6223246 h 16570717"/>
                <a:gd name="connsiteX1787" fmla="*/ 16384888 w 26653740"/>
                <a:gd name="connsiteY1787" fmla="*/ 6223246 h 16570717"/>
                <a:gd name="connsiteX1788" fmla="*/ 16427776 w 26653740"/>
                <a:gd name="connsiteY1788" fmla="*/ 6247071 h 16570717"/>
                <a:gd name="connsiteX1789" fmla="*/ 16556436 w 26653740"/>
                <a:gd name="connsiteY1789" fmla="*/ 6351904 h 16570717"/>
                <a:gd name="connsiteX1790" fmla="*/ 16551672 w 26653740"/>
                <a:gd name="connsiteY1790" fmla="*/ 6394790 h 16570717"/>
                <a:gd name="connsiteX1791" fmla="*/ 16580260 w 26653740"/>
                <a:gd name="connsiteY1791" fmla="*/ 6380495 h 16570717"/>
                <a:gd name="connsiteX1792" fmla="*/ 16594556 w 26653740"/>
                <a:gd name="connsiteY1792" fmla="*/ 6366200 h 16570717"/>
                <a:gd name="connsiteX1793" fmla="*/ 16632676 w 26653740"/>
                <a:gd name="connsiteY1793" fmla="*/ 6356669 h 16570717"/>
                <a:gd name="connsiteX1794" fmla="*/ 16651736 w 26653740"/>
                <a:gd name="connsiteY1794" fmla="*/ 6337609 h 16570717"/>
                <a:gd name="connsiteX1795" fmla="*/ 16661268 w 26653740"/>
                <a:gd name="connsiteY1795" fmla="*/ 6342374 h 16570717"/>
                <a:gd name="connsiteX1796" fmla="*/ 16666032 w 26653740"/>
                <a:gd name="connsiteY1796" fmla="*/ 6361434 h 16570717"/>
                <a:gd name="connsiteX1797" fmla="*/ 16661268 w 26653740"/>
                <a:gd name="connsiteY1797" fmla="*/ 6385260 h 16570717"/>
                <a:gd name="connsiteX1798" fmla="*/ 16656504 w 26653740"/>
                <a:gd name="connsiteY1798" fmla="*/ 6409086 h 16570717"/>
                <a:gd name="connsiteX1799" fmla="*/ 16661268 w 26653740"/>
                <a:gd name="connsiteY1799" fmla="*/ 6423381 h 16570717"/>
                <a:gd name="connsiteX1800" fmla="*/ 16666032 w 26653740"/>
                <a:gd name="connsiteY1800" fmla="*/ 6423381 h 16570717"/>
                <a:gd name="connsiteX1801" fmla="*/ 16699388 w 26653740"/>
                <a:gd name="connsiteY1801" fmla="*/ 6456737 h 16570717"/>
                <a:gd name="connsiteX1802" fmla="*/ 16747040 w 26653740"/>
                <a:gd name="connsiteY1802" fmla="*/ 6399556 h 16570717"/>
                <a:gd name="connsiteX1803" fmla="*/ 16766100 w 26653740"/>
                <a:gd name="connsiteY1803" fmla="*/ 6347139 h 16570717"/>
                <a:gd name="connsiteX1804" fmla="*/ 16775632 w 26653740"/>
                <a:gd name="connsiteY1804" fmla="*/ 6337609 h 16570717"/>
                <a:gd name="connsiteX1805" fmla="*/ 16885228 w 26653740"/>
                <a:gd name="connsiteY1805" fmla="*/ 6375730 h 16570717"/>
                <a:gd name="connsiteX1806" fmla="*/ 16918584 w 26653740"/>
                <a:gd name="connsiteY1806" fmla="*/ 6394790 h 16570717"/>
                <a:gd name="connsiteX1807" fmla="*/ 16928116 w 26653740"/>
                <a:gd name="connsiteY1807" fmla="*/ 6404320 h 16570717"/>
                <a:gd name="connsiteX1808" fmla="*/ 16932880 w 26653740"/>
                <a:gd name="connsiteY1808" fmla="*/ 6423381 h 16570717"/>
                <a:gd name="connsiteX1809" fmla="*/ 16947176 w 26653740"/>
                <a:gd name="connsiteY1809" fmla="*/ 6447207 h 16570717"/>
                <a:gd name="connsiteX1810" fmla="*/ 16971000 w 26653740"/>
                <a:gd name="connsiteY1810" fmla="*/ 6456737 h 16570717"/>
                <a:gd name="connsiteX1811" fmla="*/ 16966236 w 26653740"/>
                <a:gd name="connsiteY1811" fmla="*/ 6471032 h 16570717"/>
                <a:gd name="connsiteX1812" fmla="*/ 16966236 w 26653740"/>
                <a:gd name="connsiteY1812" fmla="*/ 6490093 h 16570717"/>
                <a:gd name="connsiteX1813" fmla="*/ 17018652 w 26653740"/>
                <a:gd name="connsiteY1813" fmla="*/ 6494858 h 16570717"/>
                <a:gd name="connsiteX1814" fmla="*/ 17042480 w 26653740"/>
                <a:gd name="connsiteY1814" fmla="*/ 6509153 h 16570717"/>
                <a:gd name="connsiteX1815" fmla="*/ 17066304 w 26653740"/>
                <a:gd name="connsiteY1815" fmla="*/ 6532979 h 16570717"/>
                <a:gd name="connsiteX1816" fmla="*/ 17061536 w 26653740"/>
                <a:gd name="connsiteY1816" fmla="*/ 6561570 h 16570717"/>
                <a:gd name="connsiteX1817" fmla="*/ 17071068 w 26653740"/>
                <a:gd name="connsiteY1817" fmla="*/ 6575865 h 16570717"/>
                <a:gd name="connsiteX1818" fmla="*/ 17094896 w 26653740"/>
                <a:gd name="connsiteY1818" fmla="*/ 6575865 h 16570717"/>
                <a:gd name="connsiteX1819" fmla="*/ 17099660 w 26653740"/>
                <a:gd name="connsiteY1819" fmla="*/ 6575865 h 16570717"/>
                <a:gd name="connsiteX1820" fmla="*/ 17090128 w 26653740"/>
                <a:gd name="connsiteY1820" fmla="*/ 6609221 h 16570717"/>
                <a:gd name="connsiteX1821" fmla="*/ 17061536 w 26653740"/>
                <a:gd name="connsiteY1821" fmla="*/ 6652107 h 16570717"/>
                <a:gd name="connsiteX1822" fmla="*/ 17042480 w 26653740"/>
                <a:gd name="connsiteY1822" fmla="*/ 6666402 h 16570717"/>
                <a:gd name="connsiteX1823" fmla="*/ 17018652 w 26653740"/>
                <a:gd name="connsiteY1823" fmla="*/ 6690228 h 16570717"/>
                <a:gd name="connsiteX1824" fmla="*/ 17032948 w 26653740"/>
                <a:gd name="connsiteY1824" fmla="*/ 6694993 h 16570717"/>
                <a:gd name="connsiteX1825" fmla="*/ 17085364 w 26653740"/>
                <a:gd name="connsiteY1825" fmla="*/ 6704524 h 16570717"/>
                <a:gd name="connsiteX1826" fmla="*/ 17118720 w 26653740"/>
                <a:gd name="connsiteY1826" fmla="*/ 6752175 h 16570717"/>
                <a:gd name="connsiteX1827" fmla="*/ 17123484 w 26653740"/>
                <a:gd name="connsiteY1827" fmla="*/ 6790296 h 16570717"/>
                <a:gd name="connsiteX1828" fmla="*/ 17099660 w 26653740"/>
                <a:gd name="connsiteY1828" fmla="*/ 6804591 h 16570717"/>
                <a:gd name="connsiteX1829" fmla="*/ 17056772 w 26653740"/>
                <a:gd name="connsiteY1829" fmla="*/ 6852242 h 16570717"/>
                <a:gd name="connsiteX1830" fmla="*/ 17023416 w 26653740"/>
                <a:gd name="connsiteY1830" fmla="*/ 6871303 h 16570717"/>
                <a:gd name="connsiteX1831" fmla="*/ 17004356 w 26653740"/>
                <a:gd name="connsiteY1831" fmla="*/ 6876068 h 16570717"/>
                <a:gd name="connsiteX1832" fmla="*/ 16990064 w 26653740"/>
                <a:gd name="connsiteY1832" fmla="*/ 6880833 h 16570717"/>
                <a:gd name="connsiteX1833" fmla="*/ 17013888 w 26653740"/>
                <a:gd name="connsiteY1833" fmla="*/ 6899894 h 16570717"/>
                <a:gd name="connsiteX1834" fmla="*/ 17099660 w 26653740"/>
                <a:gd name="connsiteY1834" fmla="*/ 6904659 h 16570717"/>
                <a:gd name="connsiteX1835" fmla="*/ 17128248 w 26653740"/>
                <a:gd name="connsiteY1835" fmla="*/ 6928484 h 16570717"/>
                <a:gd name="connsiteX1836" fmla="*/ 17147312 w 26653740"/>
                <a:gd name="connsiteY1836" fmla="*/ 6995196 h 16570717"/>
                <a:gd name="connsiteX1837" fmla="*/ 17147312 w 26653740"/>
                <a:gd name="connsiteY1837" fmla="*/ 7071438 h 16570717"/>
                <a:gd name="connsiteX1838" fmla="*/ 17128248 w 26653740"/>
                <a:gd name="connsiteY1838" fmla="*/ 7109559 h 16570717"/>
                <a:gd name="connsiteX1839" fmla="*/ 17071068 w 26653740"/>
                <a:gd name="connsiteY1839" fmla="*/ 7114324 h 16570717"/>
                <a:gd name="connsiteX1840" fmla="*/ 16999592 w 26653740"/>
                <a:gd name="connsiteY1840" fmla="*/ 7028552 h 16570717"/>
                <a:gd name="connsiteX1841" fmla="*/ 16956704 w 26653740"/>
                <a:gd name="connsiteY1841" fmla="*/ 6995196 h 16570717"/>
                <a:gd name="connsiteX1842" fmla="*/ 16894760 w 26653740"/>
                <a:gd name="connsiteY1842" fmla="*/ 6933250 h 16570717"/>
                <a:gd name="connsiteX1843" fmla="*/ 16885228 w 26653740"/>
                <a:gd name="connsiteY1843" fmla="*/ 6942780 h 16570717"/>
                <a:gd name="connsiteX1844" fmla="*/ 16904288 w 26653740"/>
                <a:gd name="connsiteY1844" fmla="*/ 6999962 h 16570717"/>
                <a:gd name="connsiteX1845" fmla="*/ 16932880 w 26653740"/>
                <a:gd name="connsiteY1845" fmla="*/ 7028552 h 16570717"/>
                <a:gd name="connsiteX1846" fmla="*/ 16980532 w 26653740"/>
                <a:gd name="connsiteY1846" fmla="*/ 7109559 h 16570717"/>
                <a:gd name="connsiteX1847" fmla="*/ 17071068 w 26653740"/>
                <a:gd name="connsiteY1847" fmla="*/ 7273956 h 16570717"/>
                <a:gd name="connsiteX1848" fmla="*/ 17090128 w 26653740"/>
                <a:gd name="connsiteY1848" fmla="*/ 7259661 h 16570717"/>
                <a:gd name="connsiteX1849" fmla="*/ 17099660 w 26653740"/>
                <a:gd name="connsiteY1849" fmla="*/ 7240600 h 16570717"/>
                <a:gd name="connsiteX1850" fmla="*/ 17109192 w 26653740"/>
                <a:gd name="connsiteY1850" fmla="*/ 7212010 h 16570717"/>
                <a:gd name="connsiteX1851" fmla="*/ 17099660 w 26653740"/>
                <a:gd name="connsiteY1851" fmla="*/ 7173888 h 16570717"/>
                <a:gd name="connsiteX1852" fmla="*/ 17113956 w 26653740"/>
                <a:gd name="connsiteY1852" fmla="*/ 7192949 h 16570717"/>
                <a:gd name="connsiteX1853" fmla="*/ 17128248 w 26653740"/>
                <a:gd name="connsiteY1853" fmla="*/ 7226305 h 16570717"/>
                <a:gd name="connsiteX1854" fmla="*/ 17152076 w 26653740"/>
                <a:gd name="connsiteY1854" fmla="*/ 7283486 h 16570717"/>
                <a:gd name="connsiteX1855" fmla="*/ 17118720 w 26653740"/>
                <a:gd name="connsiteY1855" fmla="*/ 7278721 h 16570717"/>
                <a:gd name="connsiteX1856" fmla="*/ 17075832 w 26653740"/>
                <a:gd name="connsiteY1856" fmla="*/ 7297782 h 16570717"/>
                <a:gd name="connsiteX1857" fmla="*/ 17056772 w 26653740"/>
                <a:gd name="connsiteY1857" fmla="*/ 7321608 h 16570717"/>
                <a:gd name="connsiteX1858" fmla="*/ 17071068 w 26653740"/>
                <a:gd name="connsiteY1858" fmla="*/ 7350198 h 16570717"/>
                <a:gd name="connsiteX1859" fmla="*/ 17104424 w 26653740"/>
                <a:gd name="connsiteY1859" fmla="*/ 7354963 h 16570717"/>
                <a:gd name="connsiteX1860" fmla="*/ 17118720 w 26653740"/>
                <a:gd name="connsiteY1860" fmla="*/ 7397850 h 16570717"/>
                <a:gd name="connsiteX1861" fmla="*/ 17142544 w 26653740"/>
                <a:gd name="connsiteY1861" fmla="*/ 7450266 h 16570717"/>
                <a:gd name="connsiteX1862" fmla="*/ 17199728 w 26653740"/>
                <a:gd name="connsiteY1862" fmla="*/ 7588454 h 16570717"/>
                <a:gd name="connsiteX1863" fmla="*/ 17242612 w 26653740"/>
                <a:gd name="connsiteY1863" fmla="*/ 7612280 h 16570717"/>
                <a:gd name="connsiteX1864" fmla="*/ 17280736 w 26653740"/>
                <a:gd name="connsiteY1864" fmla="*/ 7669462 h 16570717"/>
                <a:gd name="connsiteX1865" fmla="*/ 17323620 w 26653740"/>
                <a:gd name="connsiteY1865" fmla="*/ 7698052 h 16570717"/>
                <a:gd name="connsiteX1866" fmla="*/ 17342680 w 26653740"/>
                <a:gd name="connsiteY1866" fmla="*/ 7698052 h 16570717"/>
                <a:gd name="connsiteX1867" fmla="*/ 17356976 w 26653740"/>
                <a:gd name="connsiteY1867" fmla="*/ 7664696 h 16570717"/>
                <a:gd name="connsiteX1868" fmla="*/ 17371272 w 26653740"/>
                <a:gd name="connsiteY1868" fmla="*/ 7674227 h 16570717"/>
                <a:gd name="connsiteX1869" fmla="*/ 17380800 w 26653740"/>
                <a:gd name="connsiteY1869" fmla="*/ 7740939 h 16570717"/>
                <a:gd name="connsiteX1870" fmla="*/ 17399864 w 26653740"/>
                <a:gd name="connsiteY1870" fmla="*/ 7764764 h 16570717"/>
                <a:gd name="connsiteX1871" fmla="*/ 17418924 w 26653740"/>
                <a:gd name="connsiteY1871" fmla="*/ 7769530 h 16570717"/>
                <a:gd name="connsiteX1872" fmla="*/ 17437984 w 26653740"/>
                <a:gd name="connsiteY1872" fmla="*/ 7755234 h 16570717"/>
                <a:gd name="connsiteX1873" fmla="*/ 17461808 w 26653740"/>
                <a:gd name="connsiteY1873" fmla="*/ 7726643 h 16570717"/>
                <a:gd name="connsiteX1874" fmla="*/ 17480872 w 26653740"/>
                <a:gd name="connsiteY1874" fmla="*/ 7693288 h 16570717"/>
                <a:gd name="connsiteX1875" fmla="*/ 17514224 w 26653740"/>
                <a:gd name="connsiteY1875" fmla="*/ 7597985 h 16570717"/>
                <a:gd name="connsiteX1876" fmla="*/ 17538052 w 26653740"/>
                <a:gd name="connsiteY1876" fmla="*/ 7545568 h 16570717"/>
                <a:gd name="connsiteX1877" fmla="*/ 17557112 w 26653740"/>
                <a:gd name="connsiteY1877" fmla="*/ 7526508 h 16570717"/>
                <a:gd name="connsiteX1878" fmla="*/ 17552348 w 26653740"/>
                <a:gd name="connsiteY1878" fmla="*/ 7502682 h 16570717"/>
                <a:gd name="connsiteX1879" fmla="*/ 17552348 w 26653740"/>
                <a:gd name="connsiteY1879" fmla="*/ 7474092 h 16570717"/>
                <a:gd name="connsiteX1880" fmla="*/ 17566640 w 26653740"/>
                <a:gd name="connsiteY1880" fmla="*/ 7407380 h 16570717"/>
                <a:gd name="connsiteX1881" fmla="*/ 17585704 w 26653740"/>
                <a:gd name="connsiteY1881" fmla="*/ 7331138 h 16570717"/>
                <a:gd name="connsiteX1882" fmla="*/ 17604764 w 26653740"/>
                <a:gd name="connsiteY1882" fmla="*/ 7288252 h 16570717"/>
                <a:gd name="connsiteX1883" fmla="*/ 17638120 w 26653740"/>
                <a:gd name="connsiteY1883" fmla="*/ 7202479 h 16570717"/>
                <a:gd name="connsiteX1884" fmla="*/ 17652416 w 26653740"/>
                <a:gd name="connsiteY1884" fmla="*/ 7188184 h 16570717"/>
                <a:gd name="connsiteX1885" fmla="*/ 17661944 w 26653740"/>
                <a:gd name="connsiteY1885" fmla="*/ 7216775 h 16570717"/>
                <a:gd name="connsiteX1886" fmla="*/ 17671476 w 26653740"/>
                <a:gd name="connsiteY1886" fmla="*/ 7254896 h 16570717"/>
                <a:gd name="connsiteX1887" fmla="*/ 17676240 w 26653740"/>
                <a:gd name="connsiteY1887" fmla="*/ 7269191 h 16570717"/>
                <a:gd name="connsiteX1888" fmla="*/ 17681004 w 26653740"/>
                <a:gd name="connsiteY1888" fmla="*/ 7273956 h 16570717"/>
                <a:gd name="connsiteX1889" fmla="*/ 17728656 w 26653740"/>
                <a:gd name="connsiteY1889" fmla="*/ 7350198 h 16570717"/>
                <a:gd name="connsiteX1890" fmla="*/ 17776308 w 26653740"/>
                <a:gd name="connsiteY1890" fmla="*/ 7407380 h 16570717"/>
                <a:gd name="connsiteX1891" fmla="*/ 17814428 w 26653740"/>
                <a:gd name="connsiteY1891" fmla="*/ 7435970 h 16570717"/>
                <a:gd name="connsiteX1892" fmla="*/ 17881140 w 26653740"/>
                <a:gd name="connsiteY1892" fmla="*/ 7459796 h 16570717"/>
                <a:gd name="connsiteX1893" fmla="*/ 17971680 w 26653740"/>
                <a:gd name="connsiteY1893" fmla="*/ 7455031 h 16570717"/>
                <a:gd name="connsiteX1894" fmla="*/ 17990736 w 26653740"/>
                <a:gd name="connsiteY1894" fmla="*/ 7421675 h 16570717"/>
                <a:gd name="connsiteX1895" fmla="*/ 18024096 w 26653740"/>
                <a:gd name="connsiteY1895" fmla="*/ 7393084 h 16570717"/>
                <a:gd name="connsiteX1896" fmla="*/ 18076512 w 26653740"/>
                <a:gd name="connsiteY1896" fmla="*/ 7378789 h 16570717"/>
                <a:gd name="connsiteX1897" fmla="*/ 18105104 w 26653740"/>
                <a:gd name="connsiteY1897" fmla="*/ 7345433 h 16570717"/>
                <a:gd name="connsiteX1898" fmla="*/ 18157520 w 26653740"/>
                <a:gd name="connsiteY1898" fmla="*/ 7335903 h 16570717"/>
                <a:gd name="connsiteX1899" fmla="*/ 18190872 w 26653740"/>
                <a:gd name="connsiteY1899" fmla="*/ 7340668 h 16570717"/>
                <a:gd name="connsiteX1900" fmla="*/ 18238524 w 26653740"/>
                <a:gd name="connsiteY1900" fmla="*/ 7369259 h 16570717"/>
                <a:gd name="connsiteX1901" fmla="*/ 18352888 w 26653740"/>
                <a:gd name="connsiteY1901" fmla="*/ 7445501 h 16570717"/>
                <a:gd name="connsiteX1902" fmla="*/ 18381480 w 26653740"/>
                <a:gd name="connsiteY1902" fmla="*/ 7469326 h 16570717"/>
                <a:gd name="connsiteX1903" fmla="*/ 18395776 w 26653740"/>
                <a:gd name="connsiteY1903" fmla="*/ 7497917 h 16570717"/>
                <a:gd name="connsiteX1904" fmla="*/ 18433896 w 26653740"/>
                <a:gd name="connsiteY1904" fmla="*/ 7545568 h 16570717"/>
                <a:gd name="connsiteX1905" fmla="*/ 18457720 w 26653740"/>
                <a:gd name="connsiteY1905" fmla="*/ 7564629 h 16570717"/>
                <a:gd name="connsiteX1906" fmla="*/ 18476784 w 26653740"/>
                <a:gd name="connsiteY1906" fmla="*/ 7578924 h 16570717"/>
                <a:gd name="connsiteX1907" fmla="*/ 18486312 w 26653740"/>
                <a:gd name="connsiteY1907" fmla="*/ 7574159 h 16570717"/>
                <a:gd name="connsiteX1908" fmla="*/ 18486312 w 26653740"/>
                <a:gd name="connsiteY1908" fmla="*/ 7564629 h 16570717"/>
                <a:gd name="connsiteX1909" fmla="*/ 18472016 w 26653740"/>
                <a:gd name="connsiteY1909" fmla="*/ 7550334 h 16570717"/>
                <a:gd name="connsiteX1910" fmla="*/ 18462488 w 26653740"/>
                <a:gd name="connsiteY1910" fmla="*/ 7536038 h 16570717"/>
                <a:gd name="connsiteX1911" fmla="*/ 18491076 w 26653740"/>
                <a:gd name="connsiteY1911" fmla="*/ 7516978 h 16570717"/>
                <a:gd name="connsiteX1912" fmla="*/ 18495840 w 26653740"/>
                <a:gd name="connsiteY1912" fmla="*/ 7507448 h 16570717"/>
                <a:gd name="connsiteX1913" fmla="*/ 18500608 w 26653740"/>
                <a:gd name="connsiteY1913" fmla="*/ 7497917 h 16570717"/>
                <a:gd name="connsiteX1914" fmla="*/ 18538728 w 26653740"/>
                <a:gd name="connsiteY1914" fmla="*/ 7488387 h 16570717"/>
                <a:gd name="connsiteX1915" fmla="*/ 18505372 w 26653740"/>
                <a:gd name="connsiteY1915" fmla="*/ 7469326 h 16570717"/>
                <a:gd name="connsiteX1916" fmla="*/ 18491076 w 26653740"/>
                <a:gd name="connsiteY1916" fmla="*/ 7469326 h 16570717"/>
                <a:gd name="connsiteX1917" fmla="*/ 18476784 w 26653740"/>
                <a:gd name="connsiteY1917" fmla="*/ 7459796 h 16570717"/>
                <a:gd name="connsiteX1918" fmla="*/ 18476784 w 26653740"/>
                <a:gd name="connsiteY1918" fmla="*/ 7435970 h 16570717"/>
                <a:gd name="connsiteX1919" fmla="*/ 18486312 w 26653740"/>
                <a:gd name="connsiteY1919" fmla="*/ 7421675 h 16570717"/>
                <a:gd name="connsiteX1920" fmla="*/ 18495840 w 26653740"/>
                <a:gd name="connsiteY1920" fmla="*/ 7388319 h 16570717"/>
                <a:gd name="connsiteX1921" fmla="*/ 18505372 w 26653740"/>
                <a:gd name="connsiteY1921" fmla="*/ 7369259 h 16570717"/>
                <a:gd name="connsiteX1922" fmla="*/ 18524432 w 26653740"/>
                <a:gd name="connsiteY1922" fmla="*/ 7354963 h 16570717"/>
                <a:gd name="connsiteX1923" fmla="*/ 18538728 w 26653740"/>
                <a:gd name="connsiteY1923" fmla="*/ 7350198 h 16570717"/>
                <a:gd name="connsiteX1924" fmla="*/ 18572084 w 26653740"/>
                <a:gd name="connsiteY1924" fmla="*/ 7369259 h 16570717"/>
                <a:gd name="connsiteX1925" fmla="*/ 18591144 w 26653740"/>
                <a:gd name="connsiteY1925" fmla="*/ 7335903 h 16570717"/>
                <a:gd name="connsiteX1926" fmla="*/ 18610204 w 26653740"/>
                <a:gd name="connsiteY1926" fmla="*/ 7335903 h 16570717"/>
                <a:gd name="connsiteX1927" fmla="*/ 18643560 w 26653740"/>
                <a:gd name="connsiteY1927" fmla="*/ 7374024 h 16570717"/>
                <a:gd name="connsiteX1928" fmla="*/ 18676916 w 26653740"/>
                <a:gd name="connsiteY1928" fmla="*/ 7431206 h 16570717"/>
                <a:gd name="connsiteX1929" fmla="*/ 18695976 w 26653740"/>
                <a:gd name="connsiteY1929" fmla="*/ 7431206 h 16570717"/>
                <a:gd name="connsiteX1930" fmla="*/ 18743628 w 26653740"/>
                <a:gd name="connsiteY1930" fmla="*/ 7407380 h 16570717"/>
                <a:gd name="connsiteX1931" fmla="*/ 18800808 w 26653740"/>
                <a:gd name="connsiteY1931" fmla="*/ 7407380 h 16570717"/>
                <a:gd name="connsiteX1932" fmla="*/ 18791280 w 26653740"/>
                <a:gd name="connsiteY1932" fmla="*/ 7374024 h 16570717"/>
                <a:gd name="connsiteX1933" fmla="*/ 18753160 w 26653740"/>
                <a:gd name="connsiteY1933" fmla="*/ 7302547 h 16570717"/>
                <a:gd name="connsiteX1934" fmla="*/ 18757924 w 26653740"/>
                <a:gd name="connsiteY1934" fmla="*/ 7212010 h 16570717"/>
                <a:gd name="connsiteX1935" fmla="*/ 18729336 w 26653740"/>
                <a:gd name="connsiteY1935" fmla="*/ 7188184 h 16570717"/>
                <a:gd name="connsiteX1936" fmla="*/ 18700744 w 26653740"/>
                <a:gd name="connsiteY1936" fmla="*/ 7178654 h 16570717"/>
                <a:gd name="connsiteX1937" fmla="*/ 18743628 w 26653740"/>
                <a:gd name="connsiteY1937" fmla="*/ 7154828 h 16570717"/>
                <a:gd name="connsiteX1938" fmla="*/ 18776984 w 26653740"/>
                <a:gd name="connsiteY1938" fmla="*/ 7080968 h 16570717"/>
                <a:gd name="connsiteX1939" fmla="*/ 18805576 w 26653740"/>
                <a:gd name="connsiteY1939" fmla="*/ 7071438 h 16570717"/>
                <a:gd name="connsiteX1940" fmla="*/ 18829400 w 26653740"/>
                <a:gd name="connsiteY1940" fmla="*/ 7057143 h 16570717"/>
                <a:gd name="connsiteX1941" fmla="*/ 18819872 w 26653740"/>
                <a:gd name="connsiteY1941" fmla="*/ 7047613 h 16570717"/>
                <a:gd name="connsiteX1942" fmla="*/ 18743628 w 26653740"/>
                <a:gd name="connsiteY1942" fmla="*/ 7038082 h 16570717"/>
                <a:gd name="connsiteX1943" fmla="*/ 18724568 w 26653740"/>
                <a:gd name="connsiteY1943" fmla="*/ 7047613 h 16570717"/>
                <a:gd name="connsiteX1944" fmla="*/ 18710272 w 26653740"/>
                <a:gd name="connsiteY1944" fmla="*/ 7071438 h 16570717"/>
                <a:gd name="connsiteX1945" fmla="*/ 18672152 w 26653740"/>
                <a:gd name="connsiteY1945" fmla="*/ 7071438 h 16570717"/>
                <a:gd name="connsiteX1946" fmla="*/ 18667384 w 26653740"/>
                <a:gd name="connsiteY1946" fmla="*/ 7019022 h 16570717"/>
                <a:gd name="connsiteX1947" fmla="*/ 18667384 w 26653740"/>
                <a:gd name="connsiteY1947" fmla="*/ 6985666 h 16570717"/>
                <a:gd name="connsiteX1948" fmla="*/ 18719800 w 26653740"/>
                <a:gd name="connsiteY1948" fmla="*/ 6914189 h 16570717"/>
                <a:gd name="connsiteX1949" fmla="*/ 18738864 w 26653740"/>
                <a:gd name="connsiteY1949" fmla="*/ 6899894 h 16570717"/>
                <a:gd name="connsiteX1950" fmla="*/ 18872288 w 26653740"/>
                <a:gd name="connsiteY1950" fmla="*/ 6899894 h 16570717"/>
                <a:gd name="connsiteX1951" fmla="*/ 18910408 w 26653740"/>
                <a:gd name="connsiteY1951" fmla="*/ 6890364 h 16570717"/>
                <a:gd name="connsiteX1952" fmla="*/ 18967592 w 26653740"/>
                <a:gd name="connsiteY1952" fmla="*/ 6852242 h 16570717"/>
                <a:gd name="connsiteX1953" fmla="*/ 18953296 w 26653740"/>
                <a:gd name="connsiteY1953" fmla="*/ 6828417 h 16570717"/>
                <a:gd name="connsiteX1954" fmla="*/ 18953296 w 26653740"/>
                <a:gd name="connsiteY1954" fmla="*/ 6785531 h 16570717"/>
                <a:gd name="connsiteX1955" fmla="*/ 18900880 w 26653740"/>
                <a:gd name="connsiteY1955" fmla="*/ 6718819 h 16570717"/>
                <a:gd name="connsiteX1956" fmla="*/ 18905640 w 26653740"/>
                <a:gd name="connsiteY1956" fmla="*/ 6704524 h 16570717"/>
                <a:gd name="connsiteX1957" fmla="*/ 18910408 w 26653740"/>
                <a:gd name="connsiteY1957" fmla="*/ 6694993 h 16570717"/>
                <a:gd name="connsiteX1958" fmla="*/ 18929468 w 26653740"/>
                <a:gd name="connsiteY1958" fmla="*/ 6694993 h 16570717"/>
                <a:gd name="connsiteX1959" fmla="*/ 19005712 w 26653740"/>
                <a:gd name="connsiteY1959" fmla="*/ 6709289 h 16570717"/>
                <a:gd name="connsiteX1960" fmla="*/ 19039064 w 26653740"/>
                <a:gd name="connsiteY1960" fmla="*/ 6747410 h 16570717"/>
                <a:gd name="connsiteX1961" fmla="*/ 19124840 w 26653740"/>
                <a:gd name="connsiteY1961" fmla="*/ 6785531 h 16570717"/>
                <a:gd name="connsiteX1962" fmla="*/ 19348800 w 26653740"/>
                <a:gd name="connsiteY1962" fmla="*/ 6795061 h 16570717"/>
                <a:gd name="connsiteX1963" fmla="*/ 19377392 w 26653740"/>
                <a:gd name="connsiteY1963" fmla="*/ 6809356 h 16570717"/>
                <a:gd name="connsiteX1964" fmla="*/ 19472692 w 26653740"/>
                <a:gd name="connsiteY1964" fmla="*/ 6823652 h 16570717"/>
                <a:gd name="connsiteX1965" fmla="*/ 19515580 w 26653740"/>
                <a:gd name="connsiteY1965" fmla="*/ 6842712 h 16570717"/>
                <a:gd name="connsiteX1966" fmla="*/ 19610880 w 26653740"/>
                <a:gd name="connsiteY1966" fmla="*/ 6861773 h 16570717"/>
                <a:gd name="connsiteX1967" fmla="*/ 19658532 w 26653740"/>
                <a:gd name="connsiteY1967" fmla="*/ 6876068 h 16570717"/>
                <a:gd name="connsiteX1968" fmla="*/ 19691888 w 26653740"/>
                <a:gd name="connsiteY1968" fmla="*/ 6899894 h 16570717"/>
                <a:gd name="connsiteX1969" fmla="*/ 19749072 w 26653740"/>
                <a:gd name="connsiteY1969" fmla="*/ 6914189 h 16570717"/>
                <a:gd name="connsiteX1970" fmla="*/ 19777664 w 26653740"/>
                <a:gd name="connsiteY1970" fmla="*/ 6928484 h 16570717"/>
                <a:gd name="connsiteX1971" fmla="*/ 19772896 w 26653740"/>
                <a:gd name="connsiteY1971" fmla="*/ 6976136 h 16570717"/>
                <a:gd name="connsiteX1972" fmla="*/ 19653768 w 26653740"/>
                <a:gd name="connsiteY1972" fmla="*/ 6971371 h 16570717"/>
                <a:gd name="connsiteX1973" fmla="*/ 19615648 w 26653740"/>
                <a:gd name="connsiteY1973" fmla="*/ 6952310 h 16570717"/>
                <a:gd name="connsiteX1974" fmla="*/ 19567996 w 26653740"/>
                <a:gd name="connsiteY1974" fmla="*/ 6952310 h 16570717"/>
                <a:gd name="connsiteX1975" fmla="*/ 19548936 w 26653740"/>
                <a:gd name="connsiteY1975" fmla="*/ 6961840 h 16570717"/>
                <a:gd name="connsiteX1976" fmla="*/ 19515580 w 26653740"/>
                <a:gd name="connsiteY1976" fmla="*/ 6999962 h 16570717"/>
                <a:gd name="connsiteX1977" fmla="*/ 19482224 w 26653740"/>
                <a:gd name="connsiteY1977" fmla="*/ 7019022 h 16570717"/>
                <a:gd name="connsiteX1978" fmla="*/ 19453632 w 26653740"/>
                <a:gd name="connsiteY1978" fmla="*/ 7023787 h 16570717"/>
                <a:gd name="connsiteX1979" fmla="*/ 19472692 w 26653740"/>
                <a:gd name="connsiteY1979" fmla="*/ 7057143 h 16570717"/>
                <a:gd name="connsiteX1980" fmla="*/ 19501284 w 26653740"/>
                <a:gd name="connsiteY1980" fmla="*/ 7066673 h 16570717"/>
                <a:gd name="connsiteX1981" fmla="*/ 19587056 w 26653740"/>
                <a:gd name="connsiteY1981" fmla="*/ 7023787 h 16570717"/>
                <a:gd name="connsiteX1982" fmla="*/ 19830080 w 26653740"/>
                <a:gd name="connsiteY1982" fmla="*/ 6999962 h 16570717"/>
                <a:gd name="connsiteX1983" fmla="*/ 19868200 w 26653740"/>
                <a:gd name="connsiteY1983" fmla="*/ 7004726 h 16570717"/>
                <a:gd name="connsiteX1984" fmla="*/ 19863432 w 26653740"/>
                <a:gd name="connsiteY1984" fmla="*/ 7033317 h 16570717"/>
                <a:gd name="connsiteX1985" fmla="*/ 19830080 w 26653740"/>
                <a:gd name="connsiteY1985" fmla="*/ 7090499 h 16570717"/>
                <a:gd name="connsiteX1986" fmla="*/ 19801488 w 26653740"/>
                <a:gd name="connsiteY1986" fmla="*/ 7135768 h 16570717"/>
                <a:gd name="connsiteX1987" fmla="*/ 19753836 w 26653740"/>
                <a:gd name="connsiteY1987" fmla="*/ 7178654 h 16570717"/>
                <a:gd name="connsiteX1988" fmla="*/ 19739540 w 26653740"/>
                <a:gd name="connsiteY1988" fmla="*/ 7178654 h 16570717"/>
                <a:gd name="connsiteX1989" fmla="*/ 19772896 w 26653740"/>
                <a:gd name="connsiteY1989" fmla="*/ 7085734 h 16570717"/>
                <a:gd name="connsiteX1990" fmla="*/ 19758600 w 26653740"/>
                <a:gd name="connsiteY1990" fmla="*/ 7080968 h 16570717"/>
                <a:gd name="connsiteX1991" fmla="*/ 19744304 w 26653740"/>
                <a:gd name="connsiteY1991" fmla="*/ 7080968 h 16570717"/>
                <a:gd name="connsiteX1992" fmla="*/ 19706184 w 26653740"/>
                <a:gd name="connsiteY1992" fmla="*/ 7042848 h 16570717"/>
                <a:gd name="connsiteX1993" fmla="*/ 19701420 w 26653740"/>
                <a:gd name="connsiteY1993" fmla="*/ 7038082 h 16570717"/>
                <a:gd name="connsiteX1994" fmla="*/ 19691888 w 26653740"/>
                <a:gd name="connsiteY1994" fmla="*/ 7047613 h 16570717"/>
                <a:gd name="connsiteX1995" fmla="*/ 19691888 w 26653740"/>
                <a:gd name="connsiteY1995" fmla="*/ 7066673 h 16570717"/>
                <a:gd name="connsiteX1996" fmla="*/ 19687124 w 26653740"/>
                <a:gd name="connsiteY1996" fmla="*/ 7116707 h 16570717"/>
                <a:gd name="connsiteX1997" fmla="*/ 19701420 w 26653740"/>
                <a:gd name="connsiteY1997" fmla="*/ 7140533 h 16570717"/>
                <a:gd name="connsiteX1998" fmla="*/ 19701420 w 26653740"/>
                <a:gd name="connsiteY1998" fmla="*/ 7183419 h 16570717"/>
                <a:gd name="connsiteX1999" fmla="*/ 19644240 w 26653740"/>
                <a:gd name="connsiteY1999" fmla="*/ 7207244 h 16570717"/>
                <a:gd name="connsiteX2000" fmla="*/ 19625176 w 26653740"/>
                <a:gd name="connsiteY2000" fmla="*/ 7207244 h 16570717"/>
                <a:gd name="connsiteX2001" fmla="*/ 19601352 w 26653740"/>
                <a:gd name="connsiteY2001" fmla="*/ 7188184 h 16570717"/>
                <a:gd name="connsiteX2002" fmla="*/ 19591824 w 26653740"/>
                <a:gd name="connsiteY2002" fmla="*/ 7188184 h 16570717"/>
                <a:gd name="connsiteX2003" fmla="*/ 19587056 w 26653740"/>
                <a:gd name="connsiteY2003" fmla="*/ 7202479 h 16570717"/>
                <a:gd name="connsiteX2004" fmla="*/ 19591824 w 26653740"/>
                <a:gd name="connsiteY2004" fmla="*/ 7226305 h 16570717"/>
                <a:gd name="connsiteX2005" fmla="*/ 19591824 w 26653740"/>
                <a:gd name="connsiteY2005" fmla="*/ 7235835 h 16570717"/>
                <a:gd name="connsiteX2006" fmla="*/ 19587056 w 26653740"/>
                <a:gd name="connsiteY2006" fmla="*/ 7254896 h 16570717"/>
                <a:gd name="connsiteX2007" fmla="*/ 19582288 w 26653740"/>
                <a:gd name="connsiteY2007" fmla="*/ 7273956 h 16570717"/>
                <a:gd name="connsiteX2008" fmla="*/ 19591824 w 26653740"/>
                <a:gd name="connsiteY2008" fmla="*/ 7297782 h 16570717"/>
                <a:gd name="connsiteX2009" fmla="*/ 19610880 w 26653740"/>
                <a:gd name="connsiteY2009" fmla="*/ 7307312 h 16570717"/>
                <a:gd name="connsiteX2010" fmla="*/ 19706184 w 26653740"/>
                <a:gd name="connsiteY2010" fmla="*/ 7278721 h 16570717"/>
                <a:gd name="connsiteX2011" fmla="*/ 19749072 w 26653740"/>
                <a:gd name="connsiteY2011" fmla="*/ 7250130 h 16570717"/>
                <a:gd name="connsiteX2012" fmla="*/ 19796720 w 26653740"/>
                <a:gd name="connsiteY2012" fmla="*/ 7192949 h 16570717"/>
                <a:gd name="connsiteX2013" fmla="*/ 19877728 w 26653740"/>
                <a:gd name="connsiteY2013" fmla="*/ 7052378 h 16570717"/>
                <a:gd name="connsiteX2014" fmla="*/ 19915848 w 26653740"/>
                <a:gd name="connsiteY2014" fmla="*/ 7004726 h 16570717"/>
                <a:gd name="connsiteX2015" fmla="*/ 19934912 w 26653740"/>
                <a:gd name="connsiteY2015" fmla="*/ 6985666 h 16570717"/>
                <a:gd name="connsiteX2016" fmla="*/ 19963504 w 26653740"/>
                <a:gd name="connsiteY2016" fmla="*/ 6980901 h 16570717"/>
                <a:gd name="connsiteX2017" fmla="*/ 20111220 w 26653740"/>
                <a:gd name="connsiteY2017" fmla="*/ 6995196 h 16570717"/>
                <a:gd name="connsiteX2018" fmla="*/ 20201760 w 26653740"/>
                <a:gd name="connsiteY2018" fmla="*/ 7028552 h 16570717"/>
                <a:gd name="connsiteX2019" fmla="*/ 20287528 w 26653740"/>
                <a:gd name="connsiteY2019" fmla="*/ 7071438 h 16570717"/>
                <a:gd name="connsiteX2020" fmla="*/ 20325648 w 26653740"/>
                <a:gd name="connsiteY2020" fmla="*/ 7109559 h 16570717"/>
                <a:gd name="connsiteX2021" fmla="*/ 20359008 w 26653740"/>
                <a:gd name="connsiteY2021" fmla="*/ 7154828 h 16570717"/>
                <a:gd name="connsiteX2022" fmla="*/ 20363772 w 26653740"/>
                <a:gd name="connsiteY2022" fmla="*/ 7178654 h 16570717"/>
                <a:gd name="connsiteX2023" fmla="*/ 20363772 w 26653740"/>
                <a:gd name="connsiteY2023" fmla="*/ 7202479 h 16570717"/>
                <a:gd name="connsiteX2024" fmla="*/ 20344712 w 26653740"/>
                <a:gd name="connsiteY2024" fmla="*/ 7231070 h 16570717"/>
                <a:gd name="connsiteX2025" fmla="*/ 20249408 w 26653740"/>
                <a:gd name="connsiteY2025" fmla="*/ 7240600 h 16570717"/>
                <a:gd name="connsiteX2026" fmla="*/ 20216052 w 26653740"/>
                <a:gd name="connsiteY2026" fmla="*/ 7254896 h 16570717"/>
                <a:gd name="connsiteX2027" fmla="*/ 20201760 w 26653740"/>
                <a:gd name="connsiteY2027" fmla="*/ 7273956 h 16570717"/>
                <a:gd name="connsiteX2028" fmla="*/ 20201760 w 26653740"/>
                <a:gd name="connsiteY2028" fmla="*/ 7278721 h 16570717"/>
                <a:gd name="connsiteX2029" fmla="*/ 20196992 w 26653740"/>
                <a:gd name="connsiteY2029" fmla="*/ 7297782 h 16570717"/>
                <a:gd name="connsiteX2030" fmla="*/ 20201760 w 26653740"/>
                <a:gd name="connsiteY2030" fmla="*/ 7307312 h 16570717"/>
                <a:gd name="connsiteX2031" fmla="*/ 20244644 w 26653740"/>
                <a:gd name="connsiteY2031" fmla="*/ 7307312 h 16570717"/>
                <a:gd name="connsiteX2032" fmla="*/ 20282764 w 26653740"/>
                <a:gd name="connsiteY2032" fmla="*/ 7321608 h 16570717"/>
                <a:gd name="connsiteX2033" fmla="*/ 20339944 w 26653740"/>
                <a:gd name="connsiteY2033" fmla="*/ 7350198 h 16570717"/>
                <a:gd name="connsiteX2034" fmla="*/ 20349476 w 26653740"/>
                <a:gd name="connsiteY2034" fmla="*/ 7359728 h 16570717"/>
                <a:gd name="connsiteX2035" fmla="*/ 20368536 w 26653740"/>
                <a:gd name="connsiteY2035" fmla="*/ 7393084 h 16570717"/>
                <a:gd name="connsiteX2036" fmla="*/ 20373304 w 26653740"/>
                <a:gd name="connsiteY2036" fmla="*/ 7397850 h 16570717"/>
                <a:gd name="connsiteX2037" fmla="*/ 20454312 w 26653740"/>
                <a:gd name="connsiteY2037" fmla="*/ 7393084 h 16570717"/>
                <a:gd name="connsiteX2038" fmla="*/ 20463840 w 26653740"/>
                <a:gd name="connsiteY2038" fmla="*/ 7402615 h 16570717"/>
                <a:gd name="connsiteX2039" fmla="*/ 20468604 w 26653740"/>
                <a:gd name="connsiteY2039" fmla="*/ 7426440 h 16570717"/>
                <a:gd name="connsiteX2040" fmla="*/ 20444776 w 26653740"/>
                <a:gd name="connsiteY2040" fmla="*/ 7459796 h 16570717"/>
                <a:gd name="connsiteX2041" fmla="*/ 20420952 w 26653740"/>
                <a:gd name="connsiteY2041" fmla="*/ 7478857 h 16570717"/>
                <a:gd name="connsiteX2042" fmla="*/ 20378068 w 26653740"/>
                <a:gd name="connsiteY2042" fmla="*/ 7536038 h 16570717"/>
                <a:gd name="connsiteX2043" fmla="*/ 20401892 w 26653740"/>
                <a:gd name="connsiteY2043" fmla="*/ 7516978 h 16570717"/>
                <a:gd name="connsiteX2044" fmla="*/ 20492432 w 26653740"/>
                <a:gd name="connsiteY2044" fmla="*/ 7469326 h 16570717"/>
                <a:gd name="connsiteX2045" fmla="*/ 20516256 w 26653740"/>
                <a:gd name="connsiteY2045" fmla="*/ 7459796 h 16570717"/>
                <a:gd name="connsiteX2046" fmla="*/ 20540080 w 26653740"/>
                <a:gd name="connsiteY2046" fmla="*/ 7464561 h 16570717"/>
                <a:gd name="connsiteX2047" fmla="*/ 20611560 w 26653740"/>
                <a:gd name="connsiteY2047" fmla="*/ 7507448 h 16570717"/>
                <a:gd name="connsiteX2048" fmla="*/ 20640152 w 26653740"/>
                <a:gd name="connsiteY2048" fmla="*/ 7540803 h 16570717"/>
                <a:gd name="connsiteX2049" fmla="*/ 20687800 w 26653740"/>
                <a:gd name="connsiteY2049" fmla="*/ 7631341 h 16570717"/>
                <a:gd name="connsiteX2050" fmla="*/ 20673504 w 26653740"/>
                <a:gd name="connsiteY2050" fmla="*/ 7645636 h 16570717"/>
                <a:gd name="connsiteX2051" fmla="*/ 20640152 w 26653740"/>
                <a:gd name="connsiteY2051" fmla="*/ 7655166 h 16570717"/>
                <a:gd name="connsiteX2052" fmla="*/ 20754512 w 26653740"/>
                <a:gd name="connsiteY2052" fmla="*/ 7721878 h 16570717"/>
                <a:gd name="connsiteX2053" fmla="*/ 20802164 w 26653740"/>
                <a:gd name="connsiteY2053" fmla="*/ 7721878 h 16570717"/>
                <a:gd name="connsiteX2054" fmla="*/ 20902232 w 26653740"/>
                <a:gd name="connsiteY2054" fmla="*/ 7702818 h 16570717"/>
                <a:gd name="connsiteX2055" fmla="*/ 20954648 w 26653740"/>
                <a:gd name="connsiteY2055" fmla="*/ 7702818 h 16570717"/>
                <a:gd name="connsiteX2056" fmla="*/ 21054716 w 26653740"/>
                <a:gd name="connsiteY2056" fmla="*/ 7655166 h 16570717"/>
                <a:gd name="connsiteX2057" fmla="*/ 21150016 w 26653740"/>
                <a:gd name="connsiteY2057" fmla="*/ 7626576 h 16570717"/>
                <a:gd name="connsiteX2058" fmla="*/ 21235792 w 26653740"/>
                <a:gd name="connsiteY2058" fmla="*/ 7626576 h 16570717"/>
                <a:gd name="connsiteX2059" fmla="*/ 21283440 w 26653740"/>
                <a:gd name="connsiteY2059" fmla="*/ 7597985 h 16570717"/>
                <a:gd name="connsiteX2060" fmla="*/ 21407336 w 26653740"/>
                <a:gd name="connsiteY2060" fmla="*/ 7597985 h 16570717"/>
                <a:gd name="connsiteX2061" fmla="*/ 21526464 w 26653740"/>
                <a:gd name="connsiteY2061" fmla="*/ 7607515 h 16570717"/>
                <a:gd name="connsiteX2062" fmla="*/ 21617000 w 26653740"/>
                <a:gd name="connsiteY2062" fmla="*/ 7626576 h 16570717"/>
                <a:gd name="connsiteX2063" fmla="*/ 21721832 w 26653740"/>
                <a:gd name="connsiteY2063" fmla="*/ 7674227 h 16570717"/>
                <a:gd name="connsiteX2064" fmla="*/ 21821900 w 26653740"/>
                <a:gd name="connsiteY2064" fmla="*/ 7745704 h 16570717"/>
                <a:gd name="connsiteX2065" fmla="*/ 21883848 w 26653740"/>
                <a:gd name="connsiteY2065" fmla="*/ 7812416 h 16570717"/>
                <a:gd name="connsiteX2066" fmla="*/ 21893376 w 26653740"/>
                <a:gd name="connsiteY2066" fmla="*/ 7831476 h 16570717"/>
                <a:gd name="connsiteX2067" fmla="*/ 21912440 w 26653740"/>
                <a:gd name="connsiteY2067" fmla="*/ 7879128 h 16570717"/>
                <a:gd name="connsiteX2068" fmla="*/ 21917204 w 26653740"/>
                <a:gd name="connsiteY2068" fmla="*/ 7917248 h 16570717"/>
                <a:gd name="connsiteX2069" fmla="*/ 21926736 w 26653740"/>
                <a:gd name="connsiteY2069" fmla="*/ 7969664 h 16570717"/>
                <a:gd name="connsiteX2070" fmla="*/ 21921968 w 26653740"/>
                <a:gd name="connsiteY2070" fmla="*/ 8012551 h 16570717"/>
                <a:gd name="connsiteX2071" fmla="*/ 21907672 w 26653740"/>
                <a:gd name="connsiteY2071" fmla="*/ 8041142 h 16570717"/>
                <a:gd name="connsiteX2072" fmla="*/ 21898144 w 26653740"/>
                <a:gd name="connsiteY2072" fmla="*/ 8074498 h 16570717"/>
                <a:gd name="connsiteX2073" fmla="*/ 21898144 w 26653740"/>
                <a:gd name="connsiteY2073" fmla="*/ 8117384 h 16570717"/>
                <a:gd name="connsiteX2074" fmla="*/ 21883848 w 26653740"/>
                <a:gd name="connsiteY2074" fmla="*/ 8169800 h 16570717"/>
                <a:gd name="connsiteX2075" fmla="*/ 21898144 w 26653740"/>
                <a:gd name="connsiteY2075" fmla="*/ 8212686 h 16570717"/>
                <a:gd name="connsiteX2076" fmla="*/ 21941028 w 26653740"/>
                <a:gd name="connsiteY2076" fmla="*/ 8236512 h 16570717"/>
                <a:gd name="connsiteX2077" fmla="*/ 22041096 w 26653740"/>
                <a:gd name="connsiteY2077" fmla="*/ 8269868 h 16570717"/>
                <a:gd name="connsiteX2078" fmla="*/ 22069688 w 26653740"/>
                <a:gd name="connsiteY2078" fmla="*/ 8288928 h 16570717"/>
                <a:gd name="connsiteX2079" fmla="*/ 22069688 w 26653740"/>
                <a:gd name="connsiteY2079" fmla="*/ 8355640 h 16570717"/>
                <a:gd name="connsiteX2080" fmla="*/ 22079216 w 26653740"/>
                <a:gd name="connsiteY2080" fmla="*/ 8412822 h 16570717"/>
                <a:gd name="connsiteX2081" fmla="*/ 22088748 w 26653740"/>
                <a:gd name="connsiteY2081" fmla="*/ 8517654 h 16570717"/>
                <a:gd name="connsiteX2082" fmla="*/ 22103044 w 26653740"/>
                <a:gd name="connsiteY2082" fmla="*/ 8541480 h 16570717"/>
                <a:gd name="connsiteX2083" fmla="*/ 22131632 w 26653740"/>
                <a:gd name="connsiteY2083" fmla="*/ 8565306 h 16570717"/>
                <a:gd name="connsiteX2084" fmla="*/ 22136400 w 26653740"/>
                <a:gd name="connsiteY2084" fmla="*/ 8598662 h 16570717"/>
                <a:gd name="connsiteX2085" fmla="*/ 22103044 w 26653740"/>
                <a:gd name="connsiteY2085" fmla="*/ 8708260 h 16570717"/>
                <a:gd name="connsiteX2086" fmla="*/ 22079216 w 26653740"/>
                <a:gd name="connsiteY2086" fmla="*/ 8727320 h 16570717"/>
                <a:gd name="connsiteX2087" fmla="*/ 22060160 w 26653740"/>
                <a:gd name="connsiteY2087" fmla="*/ 8755910 h 16570717"/>
                <a:gd name="connsiteX2088" fmla="*/ 22098280 w 26653740"/>
                <a:gd name="connsiteY2088" fmla="*/ 8746380 h 16570717"/>
                <a:gd name="connsiteX2089" fmla="*/ 22117336 w 26653740"/>
                <a:gd name="connsiteY2089" fmla="*/ 8708260 h 16570717"/>
                <a:gd name="connsiteX2090" fmla="*/ 22136400 w 26653740"/>
                <a:gd name="connsiteY2090" fmla="*/ 8636782 h 16570717"/>
                <a:gd name="connsiteX2091" fmla="*/ 22160224 w 26653740"/>
                <a:gd name="connsiteY2091" fmla="*/ 8622487 h 16570717"/>
                <a:gd name="connsiteX2092" fmla="*/ 22169756 w 26653740"/>
                <a:gd name="connsiteY2092" fmla="*/ 8598662 h 16570717"/>
                <a:gd name="connsiteX2093" fmla="*/ 22169756 w 26653740"/>
                <a:gd name="connsiteY2093" fmla="*/ 8531950 h 16570717"/>
                <a:gd name="connsiteX2094" fmla="*/ 22155460 w 26653740"/>
                <a:gd name="connsiteY2094" fmla="*/ 8470003 h 16570717"/>
                <a:gd name="connsiteX2095" fmla="*/ 22155460 w 26653740"/>
                <a:gd name="connsiteY2095" fmla="*/ 8427117 h 16570717"/>
                <a:gd name="connsiteX2096" fmla="*/ 22164992 w 26653740"/>
                <a:gd name="connsiteY2096" fmla="*/ 8393761 h 16570717"/>
                <a:gd name="connsiteX2097" fmla="*/ 22226936 w 26653740"/>
                <a:gd name="connsiteY2097" fmla="*/ 8317519 h 16570717"/>
                <a:gd name="connsiteX2098" fmla="*/ 22265056 w 26653740"/>
                <a:gd name="connsiteY2098" fmla="*/ 8288928 h 16570717"/>
                <a:gd name="connsiteX2099" fmla="*/ 22293648 w 26653740"/>
                <a:gd name="connsiteY2099" fmla="*/ 8269868 h 16570717"/>
                <a:gd name="connsiteX2100" fmla="*/ 22384184 w 26653740"/>
                <a:gd name="connsiteY2100" fmla="*/ 8255572 h 16570717"/>
                <a:gd name="connsiteX2101" fmla="*/ 22427072 w 26653740"/>
                <a:gd name="connsiteY2101" fmla="*/ 8241277 h 16570717"/>
                <a:gd name="connsiteX2102" fmla="*/ 22469960 w 26653740"/>
                <a:gd name="connsiteY2102" fmla="*/ 8250807 h 16570717"/>
                <a:gd name="connsiteX2103" fmla="*/ 22503312 w 26653740"/>
                <a:gd name="connsiteY2103" fmla="*/ 8246042 h 16570717"/>
                <a:gd name="connsiteX2104" fmla="*/ 22541436 w 26653740"/>
                <a:gd name="connsiteY2104" fmla="*/ 8231746 h 16570717"/>
                <a:gd name="connsiteX2105" fmla="*/ 22574792 w 26653740"/>
                <a:gd name="connsiteY2105" fmla="*/ 8241277 h 16570717"/>
                <a:gd name="connsiteX2106" fmla="*/ 22631972 w 26653740"/>
                <a:gd name="connsiteY2106" fmla="*/ 8288928 h 16570717"/>
                <a:gd name="connsiteX2107" fmla="*/ 22827344 w 26653740"/>
                <a:gd name="connsiteY2107" fmla="*/ 8303224 h 16570717"/>
                <a:gd name="connsiteX2108" fmla="*/ 22860696 w 26653740"/>
                <a:gd name="connsiteY2108" fmla="*/ 8317519 h 16570717"/>
                <a:gd name="connsiteX2109" fmla="*/ 22989356 w 26653740"/>
                <a:gd name="connsiteY2109" fmla="*/ 8336580 h 16570717"/>
                <a:gd name="connsiteX2110" fmla="*/ 22998888 w 26653740"/>
                <a:gd name="connsiteY2110" fmla="*/ 8336580 h 16570717"/>
                <a:gd name="connsiteX2111" fmla="*/ 23027480 w 26653740"/>
                <a:gd name="connsiteY2111" fmla="*/ 8312754 h 16570717"/>
                <a:gd name="connsiteX2112" fmla="*/ 23118016 w 26653740"/>
                <a:gd name="connsiteY2112" fmla="*/ 8231746 h 16570717"/>
                <a:gd name="connsiteX2113" fmla="*/ 23151372 w 26653740"/>
                <a:gd name="connsiteY2113" fmla="*/ 8236512 h 16570717"/>
                <a:gd name="connsiteX2114" fmla="*/ 23165664 w 26653740"/>
                <a:gd name="connsiteY2114" fmla="*/ 8250807 h 16570717"/>
                <a:gd name="connsiteX2115" fmla="*/ 23179960 w 26653740"/>
                <a:gd name="connsiteY2115" fmla="*/ 8284163 h 16570717"/>
                <a:gd name="connsiteX2116" fmla="*/ 23199024 w 26653740"/>
                <a:gd name="connsiteY2116" fmla="*/ 8303224 h 16570717"/>
                <a:gd name="connsiteX2117" fmla="*/ 23208552 w 26653740"/>
                <a:gd name="connsiteY2117" fmla="*/ 8360405 h 16570717"/>
                <a:gd name="connsiteX2118" fmla="*/ 23222848 w 26653740"/>
                <a:gd name="connsiteY2118" fmla="*/ 8441412 h 16570717"/>
                <a:gd name="connsiteX2119" fmla="*/ 23241908 w 26653740"/>
                <a:gd name="connsiteY2119" fmla="*/ 8455708 h 16570717"/>
                <a:gd name="connsiteX2120" fmla="*/ 23265736 w 26653740"/>
                <a:gd name="connsiteY2120" fmla="*/ 8460473 h 16570717"/>
                <a:gd name="connsiteX2121" fmla="*/ 23322916 w 26653740"/>
                <a:gd name="connsiteY2121" fmla="*/ 8489064 h 16570717"/>
                <a:gd name="connsiteX2122" fmla="*/ 23380096 w 26653740"/>
                <a:gd name="connsiteY2122" fmla="*/ 8522420 h 16570717"/>
                <a:gd name="connsiteX2123" fmla="*/ 23394392 w 26653740"/>
                <a:gd name="connsiteY2123" fmla="*/ 8593896 h 16570717"/>
                <a:gd name="connsiteX2124" fmla="*/ 23427748 w 26653740"/>
                <a:gd name="connsiteY2124" fmla="*/ 8651078 h 16570717"/>
                <a:gd name="connsiteX2125" fmla="*/ 23499224 w 26653740"/>
                <a:gd name="connsiteY2125" fmla="*/ 8646313 h 16570717"/>
                <a:gd name="connsiteX2126" fmla="*/ 23570704 w 26653740"/>
                <a:gd name="connsiteY2126" fmla="*/ 8632018 h 16570717"/>
                <a:gd name="connsiteX2127" fmla="*/ 23642180 w 26653740"/>
                <a:gd name="connsiteY2127" fmla="*/ 8541480 h 16570717"/>
                <a:gd name="connsiteX2128" fmla="*/ 23642180 w 26653740"/>
                <a:gd name="connsiteY2128" fmla="*/ 8498594 h 16570717"/>
                <a:gd name="connsiteX2129" fmla="*/ 23623120 w 26653740"/>
                <a:gd name="connsiteY2129" fmla="*/ 8441412 h 16570717"/>
                <a:gd name="connsiteX2130" fmla="*/ 23599296 w 26653740"/>
                <a:gd name="connsiteY2130" fmla="*/ 8388996 h 16570717"/>
                <a:gd name="connsiteX2131" fmla="*/ 23575468 w 26653740"/>
                <a:gd name="connsiteY2131" fmla="*/ 8303224 h 16570717"/>
                <a:gd name="connsiteX2132" fmla="*/ 23513520 w 26653740"/>
                <a:gd name="connsiteY2132" fmla="*/ 8279398 h 16570717"/>
                <a:gd name="connsiteX2133" fmla="*/ 23518288 w 26653740"/>
                <a:gd name="connsiteY2133" fmla="*/ 8255572 h 16570717"/>
                <a:gd name="connsiteX2134" fmla="*/ 23542112 w 26653740"/>
                <a:gd name="connsiteY2134" fmla="*/ 8226982 h 16570717"/>
                <a:gd name="connsiteX2135" fmla="*/ 23565936 w 26653740"/>
                <a:gd name="connsiteY2135" fmla="*/ 8179330 h 16570717"/>
                <a:gd name="connsiteX2136" fmla="*/ 23570704 w 26653740"/>
                <a:gd name="connsiteY2136" fmla="*/ 8141210 h 16570717"/>
                <a:gd name="connsiteX2137" fmla="*/ 23561172 w 26653740"/>
                <a:gd name="connsiteY2137" fmla="*/ 8064968 h 16570717"/>
                <a:gd name="connsiteX2138" fmla="*/ 23623120 w 26653740"/>
                <a:gd name="connsiteY2138" fmla="*/ 8069732 h 16570717"/>
                <a:gd name="connsiteX2139" fmla="*/ 23680300 w 26653740"/>
                <a:gd name="connsiteY2139" fmla="*/ 8079262 h 16570717"/>
                <a:gd name="connsiteX2140" fmla="*/ 23794664 w 26653740"/>
                <a:gd name="connsiteY2140" fmla="*/ 8112618 h 16570717"/>
                <a:gd name="connsiteX2141" fmla="*/ 23885200 w 26653740"/>
                <a:gd name="connsiteY2141" fmla="*/ 8126914 h 16570717"/>
                <a:gd name="connsiteX2142" fmla="*/ 23932852 w 26653740"/>
                <a:gd name="connsiteY2142" fmla="*/ 8150740 h 16570717"/>
                <a:gd name="connsiteX2143" fmla="*/ 23966208 w 26653740"/>
                <a:gd name="connsiteY2143" fmla="*/ 8174565 h 16570717"/>
                <a:gd name="connsiteX2144" fmla="*/ 23999564 w 26653740"/>
                <a:gd name="connsiteY2144" fmla="*/ 8193626 h 16570717"/>
                <a:gd name="connsiteX2145" fmla="*/ 24009096 w 26653740"/>
                <a:gd name="connsiteY2145" fmla="*/ 8145974 h 16570717"/>
                <a:gd name="connsiteX2146" fmla="*/ 24023392 w 26653740"/>
                <a:gd name="connsiteY2146" fmla="*/ 8136444 h 16570717"/>
                <a:gd name="connsiteX2147" fmla="*/ 24071040 w 26653740"/>
                <a:gd name="connsiteY2147" fmla="*/ 8160270 h 16570717"/>
                <a:gd name="connsiteX2148" fmla="*/ 24104396 w 26653740"/>
                <a:gd name="connsiteY2148" fmla="*/ 8169800 h 16570717"/>
                <a:gd name="connsiteX2149" fmla="*/ 24161576 w 26653740"/>
                <a:gd name="connsiteY2149" fmla="*/ 8165035 h 16570717"/>
                <a:gd name="connsiteX2150" fmla="*/ 24233056 w 26653740"/>
                <a:gd name="connsiteY2150" fmla="*/ 8179330 h 16570717"/>
                <a:gd name="connsiteX2151" fmla="*/ 24314064 w 26653740"/>
                <a:gd name="connsiteY2151" fmla="*/ 8174565 h 16570717"/>
                <a:gd name="connsiteX2152" fmla="*/ 24385540 w 26653740"/>
                <a:gd name="connsiteY2152" fmla="*/ 8155504 h 16570717"/>
                <a:gd name="connsiteX2153" fmla="*/ 24414128 w 26653740"/>
                <a:gd name="connsiteY2153" fmla="*/ 8160270 h 16570717"/>
                <a:gd name="connsiteX2154" fmla="*/ 24442720 w 26653740"/>
                <a:gd name="connsiteY2154" fmla="*/ 8174565 h 16570717"/>
                <a:gd name="connsiteX2155" fmla="*/ 24490372 w 26653740"/>
                <a:gd name="connsiteY2155" fmla="*/ 8217452 h 16570717"/>
                <a:gd name="connsiteX2156" fmla="*/ 24566616 w 26653740"/>
                <a:gd name="connsiteY2156" fmla="*/ 8274633 h 16570717"/>
                <a:gd name="connsiteX2157" fmla="*/ 24642856 w 26653740"/>
                <a:gd name="connsiteY2157" fmla="*/ 8288928 h 16570717"/>
                <a:gd name="connsiteX2158" fmla="*/ 24728628 w 26653740"/>
                <a:gd name="connsiteY2158" fmla="*/ 8341344 h 16570717"/>
                <a:gd name="connsiteX2159" fmla="*/ 24804872 w 26653740"/>
                <a:gd name="connsiteY2159" fmla="*/ 8360405 h 16570717"/>
                <a:gd name="connsiteX2160" fmla="*/ 24866816 w 26653740"/>
                <a:gd name="connsiteY2160" fmla="*/ 8388996 h 16570717"/>
                <a:gd name="connsiteX2161" fmla="*/ 24876348 w 26653740"/>
                <a:gd name="connsiteY2161" fmla="*/ 8398526 h 16570717"/>
                <a:gd name="connsiteX2162" fmla="*/ 24881112 w 26653740"/>
                <a:gd name="connsiteY2162" fmla="*/ 8417586 h 16570717"/>
                <a:gd name="connsiteX2163" fmla="*/ 24885880 w 26653740"/>
                <a:gd name="connsiteY2163" fmla="*/ 8427117 h 16570717"/>
                <a:gd name="connsiteX2164" fmla="*/ 24933528 w 26653740"/>
                <a:gd name="connsiteY2164" fmla="*/ 8446178 h 16570717"/>
                <a:gd name="connsiteX2165" fmla="*/ 25028832 w 26653740"/>
                <a:gd name="connsiteY2165" fmla="*/ 8551010 h 16570717"/>
                <a:gd name="connsiteX2166" fmla="*/ 25047892 w 26653740"/>
                <a:gd name="connsiteY2166" fmla="*/ 8565306 h 16570717"/>
                <a:gd name="connsiteX2167" fmla="*/ 25081248 w 26653740"/>
                <a:gd name="connsiteY2167" fmla="*/ 8584366 h 16570717"/>
                <a:gd name="connsiteX2168" fmla="*/ 25109840 w 26653740"/>
                <a:gd name="connsiteY2168" fmla="*/ 8598662 h 16570717"/>
                <a:gd name="connsiteX2169" fmla="*/ 25124136 w 26653740"/>
                <a:gd name="connsiteY2169" fmla="*/ 8593896 h 16570717"/>
                <a:gd name="connsiteX2170" fmla="*/ 25128900 w 26653740"/>
                <a:gd name="connsiteY2170" fmla="*/ 8598662 h 16570717"/>
                <a:gd name="connsiteX2171" fmla="*/ 25147960 w 26653740"/>
                <a:gd name="connsiteY2171" fmla="*/ 8622487 h 16570717"/>
                <a:gd name="connsiteX2172" fmla="*/ 25162256 w 26653740"/>
                <a:gd name="connsiteY2172" fmla="*/ 8636782 h 16570717"/>
                <a:gd name="connsiteX2173" fmla="*/ 25224200 w 26653740"/>
                <a:gd name="connsiteY2173" fmla="*/ 8665374 h 16570717"/>
                <a:gd name="connsiteX2174" fmla="*/ 25252792 w 26653740"/>
                <a:gd name="connsiteY2174" fmla="*/ 8698729 h 16570717"/>
                <a:gd name="connsiteX2175" fmla="*/ 25276616 w 26653740"/>
                <a:gd name="connsiteY2175" fmla="*/ 8736850 h 16570717"/>
                <a:gd name="connsiteX2176" fmla="*/ 25267088 w 26653740"/>
                <a:gd name="connsiteY2176" fmla="*/ 8732085 h 16570717"/>
                <a:gd name="connsiteX2177" fmla="*/ 25243264 w 26653740"/>
                <a:gd name="connsiteY2177" fmla="*/ 8703494 h 16570717"/>
                <a:gd name="connsiteX2178" fmla="*/ 25248028 w 26653740"/>
                <a:gd name="connsiteY2178" fmla="*/ 8736850 h 16570717"/>
                <a:gd name="connsiteX2179" fmla="*/ 25252792 w 26653740"/>
                <a:gd name="connsiteY2179" fmla="*/ 8755910 h 16570717"/>
                <a:gd name="connsiteX2180" fmla="*/ 25286148 w 26653740"/>
                <a:gd name="connsiteY2180" fmla="*/ 8774971 h 16570717"/>
                <a:gd name="connsiteX2181" fmla="*/ 25324272 w 26653740"/>
                <a:gd name="connsiteY2181" fmla="*/ 8789266 h 16570717"/>
                <a:gd name="connsiteX2182" fmla="*/ 25348096 w 26653740"/>
                <a:gd name="connsiteY2182" fmla="*/ 8808327 h 16570717"/>
                <a:gd name="connsiteX2183" fmla="*/ 25352860 w 26653740"/>
                <a:gd name="connsiteY2183" fmla="*/ 8822622 h 16570717"/>
                <a:gd name="connsiteX2184" fmla="*/ 25357624 w 26653740"/>
                <a:gd name="connsiteY2184" fmla="*/ 8851213 h 16570717"/>
                <a:gd name="connsiteX2185" fmla="*/ 25352860 w 26653740"/>
                <a:gd name="connsiteY2185" fmla="*/ 8875039 h 16570717"/>
                <a:gd name="connsiteX2186" fmla="*/ 25371920 w 26653740"/>
                <a:gd name="connsiteY2186" fmla="*/ 8865508 h 16570717"/>
                <a:gd name="connsiteX2187" fmla="*/ 25390984 w 26653740"/>
                <a:gd name="connsiteY2187" fmla="*/ 8841683 h 16570717"/>
                <a:gd name="connsiteX2188" fmla="*/ 25381448 w 26653740"/>
                <a:gd name="connsiteY2188" fmla="*/ 8827388 h 16570717"/>
                <a:gd name="connsiteX2189" fmla="*/ 25314740 w 26653740"/>
                <a:gd name="connsiteY2189" fmla="*/ 8765441 h 16570717"/>
                <a:gd name="connsiteX2190" fmla="*/ 25305208 w 26653740"/>
                <a:gd name="connsiteY2190" fmla="*/ 8746380 h 16570717"/>
                <a:gd name="connsiteX2191" fmla="*/ 25324272 w 26653740"/>
                <a:gd name="connsiteY2191" fmla="*/ 8755910 h 16570717"/>
                <a:gd name="connsiteX2192" fmla="*/ 25410040 w 26653740"/>
                <a:gd name="connsiteY2192" fmla="*/ 8832152 h 16570717"/>
                <a:gd name="connsiteX2193" fmla="*/ 25433868 w 26653740"/>
                <a:gd name="connsiteY2193" fmla="*/ 8860744 h 16570717"/>
                <a:gd name="connsiteX2194" fmla="*/ 25424336 w 26653740"/>
                <a:gd name="connsiteY2194" fmla="*/ 8865508 h 16570717"/>
                <a:gd name="connsiteX2195" fmla="*/ 25419572 w 26653740"/>
                <a:gd name="connsiteY2195" fmla="*/ 8884569 h 16570717"/>
                <a:gd name="connsiteX2196" fmla="*/ 25424336 w 26653740"/>
                <a:gd name="connsiteY2196" fmla="*/ 8889334 h 16570717"/>
                <a:gd name="connsiteX2197" fmla="*/ 25433868 w 26653740"/>
                <a:gd name="connsiteY2197" fmla="*/ 8884569 h 16570717"/>
                <a:gd name="connsiteX2198" fmla="*/ 25452928 w 26653740"/>
                <a:gd name="connsiteY2198" fmla="*/ 8884569 h 16570717"/>
                <a:gd name="connsiteX2199" fmla="*/ 25471988 w 26653740"/>
                <a:gd name="connsiteY2199" fmla="*/ 8894100 h 16570717"/>
                <a:gd name="connsiteX2200" fmla="*/ 25491048 w 26653740"/>
                <a:gd name="connsiteY2200" fmla="*/ 8913160 h 16570717"/>
                <a:gd name="connsiteX2201" fmla="*/ 25533936 w 26653740"/>
                <a:gd name="connsiteY2201" fmla="*/ 8936986 h 16570717"/>
                <a:gd name="connsiteX2202" fmla="*/ 25776956 w 26653740"/>
                <a:gd name="connsiteY2202" fmla="*/ 9118060 h 16570717"/>
                <a:gd name="connsiteX2203" fmla="*/ 25781720 w 26653740"/>
                <a:gd name="connsiteY2203" fmla="*/ 9151416 h 16570717"/>
                <a:gd name="connsiteX2204" fmla="*/ 25786488 w 26653740"/>
                <a:gd name="connsiteY2204" fmla="*/ 9165712 h 16570717"/>
                <a:gd name="connsiteX2205" fmla="*/ 25791252 w 26653740"/>
                <a:gd name="connsiteY2205" fmla="*/ 9184772 h 16570717"/>
                <a:gd name="connsiteX2206" fmla="*/ 25791252 w 26653740"/>
                <a:gd name="connsiteY2206" fmla="*/ 9213363 h 16570717"/>
                <a:gd name="connsiteX2207" fmla="*/ 25772192 w 26653740"/>
                <a:gd name="connsiteY2207" fmla="*/ 9251484 h 16570717"/>
                <a:gd name="connsiteX2208" fmla="*/ 25805548 w 26653740"/>
                <a:gd name="connsiteY2208" fmla="*/ 9246719 h 16570717"/>
                <a:gd name="connsiteX2209" fmla="*/ 25810312 w 26653740"/>
                <a:gd name="connsiteY2209" fmla="*/ 9241954 h 16570717"/>
                <a:gd name="connsiteX2210" fmla="*/ 25819840 w 26653740"/>
                <a:gd name="connsiteY2210" fmla="*/ 9227658 h 16570717"/>
                <a:gd name="connsiteX2211" fmla="*/ 25829372 w 26653740"/>
                <a:gd name="connsiteY2211" fmla="*/ 9218128 h 16570717"/>
                <a:gd name="connsiteX2212" fmla="*/ 25843668 w 26653740"/>
                <a:gd name="connsiteY2212" fmla="*/ 9227658 h 16570717"/>
                <a:gd name="connsiteX2213" fmla="*/ 25853200 w 26653740"/>
                <a:gd name="connsiteY2213" fmla="*/ 9251484 h 16570717"/>
                <a:gd name="connsiteX2214" fmla="*/ 25848432 w 26653740"/>
                <a:gd name="connsiteY2214" fmla="*/ 9284840 h 16570717"/>
                <a:gd name="connsiteX2215" fmla="*/ 25838904 w 26653740"/>
                <a:gd name="connsiteY2215" fmla="*/ 9313430 h 16570717"/>
                <a:gd name="connsiteX2216" fmla="*/ 25838904 w 26653740"/>
                <a:gd name="connsiteY2216" fmla="*/ 9356316 h 16570717"/>
                <a:gd name="connsiteX2217" fmla="*/ 25848432 w 26653740"/>
                <a:gd name="connsiteY2217" fmla="*/ 9394438 h 16570717"/>
                <a:gd name="connsiteX2218" fmla="*/ 25857964 w 26653740"/>
                <a:gd name="connsiteY2218" fmla="*/ 9408733 h 16570717"/>
                <a:gd name="connsiteX2219" fmla="*/ 25862728 w 26653740"/>
                <a:gd name="connsiteY2219" fmla="*/ 9427794 h 16570717"/>
                <a:gd name="connsiteX2220" fmla="*/ 25867496 w 26653740"/>
                <a:gd name="connsiteY2220" fmla="*/ 9480210 h 16570717"/>
                <a:gd name="connsiteX2221" fmla="*/ 25848432 w 26653740"/>
                <a:gd name="connsiteY2221" fmla="*/ 9504036 h 16570717"/>
                <a:gd name="connsiteX2222" fmla="*/ 25843668 w 26653740"/>
                <a:gd name="connsiteY2222" fmla="*/ 9542156 h 16570717"/>
                <a:gd name="connsiteX2223" fmla="*/ 25853200 w 26653740"/>
                <a:gd name="connsiteY2223" fmla="*/ 9546922 h 16570717"/>
                <a:gd name="connsiteX2224" fmla="*/ 25881792 w 26653740"/>
                <a:gd name="connsiteY2224" fmla="*/ 9551687 h 16570717"/>
                <a:gd name="connsiteX2225" fmla="*/ 25891320 w 26653740"/>
                <a:gd name="connsiteY2225" fmla="*/ 9556452 h 16570717"/>
                <a:gd name="connsiteX2226" fmla="*/ 25905616 w 26653740"/>
                <a:gd name="connsiteY2226" fmla="*/ 9575512 h 16570717"/>
                <a:gd name="connsiteX2227" fmla="*/ 25910380 w 26653740"/>
                <a:gd name="connsiteY2227" fmla="*/ 9594573 h 16570717"/>
                <a:gd name="connsiteX2228" fmla="*/ 25915144 w 26653740"/>
                <a:gd name="connsiteY2228" fmla="*/ 9618398 h 16570717"/>
                <a:gd name="connsiteX2229" fmla="*/ 25919912 w 26653740"/>
                <a:gd name="connsiteY2229" fmla="*/ 9642224 h 16570717"/>
                <a:gd name="connsiteX2230" fmla="*/ 25924676 w 26653740"/>
                <a:gd name="connsiteY2230" fmla="*/ 9651754 h 16570717"/>
                <a:gd name="connsiteX2231" fmla="*/ 25929440 w 26653740"/>
                <a:gd name="connsiteY2231" fmla="*/ 9651754 h 16570717"/>
                <a:gd name="connsiteX2232" fmla="*/ 25943736 w 26653740"/>
                <a:gd name="connsiteY2232" fmla="*/ 9618398 h 16570717"/>
                <a:gd name="connsiteX2233" fmla="*/ 25953264 w 26653740"/>
                <a:gd name="connsiteY2233" fmla="*/ 9608868 h 16570717"/>
                <a:gd name="connsiteX2234" fmla="*/ 25972328 w 26653740"/>
                <a:gd name="connsiteY2234" fmla="*/ 9604104 h 16570717"/>
                <a:gd name="connsiteX2235" fmla="*/ 25981856 w 26653740"/>
                <a:gd name="connsiteY2235" fmla="*/ 9637459 h 16570717"/>
                <a:gd name="connsiteX2236" fmla="*/ 25977092 w 26653740"/>
                <a:gd name="connsiteY2236" fmla="*/ 9694640 h 16570717"/>
                <a:gd name="connsiteX2237" fmla="*/ 25981856 w 26653740"/>
                <a:gd name="connsiteY2237" fmla="*/ 9694640 h 16570717"/>
                <a:gd name="connsiteX2238" fmla="*/ 25986624 w 26653740"/>
                <a:gd name="connsiteY2238" fmla="*/ 9689876 h 16570717"/>
                <a:gd name="connsiteX2239" fmla="*/ 25991388 w 26653740"/>
                <a:gd name="connsiteY2239" fmla="*/ 9675580 h 16570717"/>
                <a:gd name="connsiteX2240" fmla="*/ 26000920 w 26653740"/>
                <a:gd name="connsiteY2240" fmla="*/ 9666050 h 16570717"/>
                <a:gd name="connsiteX2241" fmla="*/ 26010448 w 26653740"/>
                <a:gd name="connsiteY2241" fmla="*/ 9642224 h 16570717"/>
                <a:gd name="connsiteX2242" fmla="*/ 26019976 w 26653740"/>
                <a:gd name="connsiteY2242" fmla="*/ 9618398 h 16570717"/>
                <a:gd name="connsiteX2243" fmla="*/ 26010448 w 26653740"/>
                <a:gd name="connsiteY2243" fmla="*/ 9594573 h 16570717"/>
                <a:gd name="connsiteX2244" fmla="*/ 25996152 w 26653740"/>
                <a:gd name="connsiteY2244" fmla="*/ 9585043 h 16570717"/>
                <a:gd name="connsiteX2245" fmla="*/ 25967560 w 26653740"/>
                <a:gd name="connsiteY2245" fmla="*/ 9575512 h 16570717"/>
                <a:gd name="connsiteX2246" fmla="*/ 25958032 w 26653740"/>
                <a:gd name="connsiteY2246" fmla="*/ 9561217 h 16570717"/>
                <a:gd name="connsiteX2247" fmla="*/ 25948504 w 26653740"/>
                <a:gd name="connsiteY2247" fmla="*/ 9537392 h 16570717"/>
                <a:gd name="connsiteX2248" fmla="*/ 25962796 w 26653740"/>
                <a:gd name="connsiteY2248" fmla="*/ 9532626 h 16570717"/>
                <a:gd name="connsiteX2249" fmla="*/ 25977092 w 26653740"/>
                <a:gd name="connsiteY2249" fmla="*/ 9518331 h 16570717"/>
                <a:gd name="connsiteX2250" fmla="*/ 25986624 w 26653740"/>
                <a:gd name="connsiteY2250" fmla="*/ 9480210 h 16570717"/>
                <a:gd name="connsiteX2251" fmla="*/ 25981856 w 26653740"/>
                <a:gd name="connsiteY2251" fmla="*/ 9461150 h 16570717"/>
                <a:gd name="connsiteX2252" fmla="*/ 25981856 w 26653740"/>
                <a:gd name="connsiteY2252" fmla="*/ 9442089 h 16570717"/>
                <a:gd name="connsiteX2253" fmla="*/ 25972328 w 26653740"/>
                <a:gd name="connsiteY2253" fmla="*/ 9413498 h 16570717"/>
                <a:gd name="connsiteX2254" fmla="*/ 25962796 w 26653740"/>
                <a:gd name="connsiteY2254" fmla="*/ 9399203 h 16570717"/>
                <a:gd name="connsiteX2255" fmla="*/ 25943736 w 26653740"/>
                <a:gd name="connsiteY2255" fmla="*/ 9394438 h 16570717"/>
                <a:gd name="connsiteX2256" fmla="*/ 25934208 w 26653740"/>
                <a:gd name="connsiteY2256" fmla="*/ 9375377 h 16570717"/>
                <a:gd name="connsiteX2257" fmla="*/ 25919912 w 26653740"/>
                <a:gd name="connsiteY2257" fmla="*/ 9380142 h 16570717"/>
                <a:gd name="connsiteX2258" fmla="*/ 25905616 w 26653740"/>
                <a:gd name="connsiteY2258" fmla="*/ 9375377 h 16570717"/>
                <a:gd name="connsiteX2259" fmla="*/ 25900848 w 26653740"/>
                <a:gd name="connsiteY2259" fmla="*/ 9365847 h 16570717"/>
                <a:gd name="connsiteX2260" fmla="*/ 25900848 w 26653740"/>
                <a:gd name="connsiteY2260" fmla="*/ 9356316 h 16570717"/>
                <a:gd name="connsiteX2261" fmla="*/ 25915144 w 26653740"/>
                <a:gd name="connsiteY2261" fmla="*/ 9351552 h 16570717"/>
                <a:gd name="connsiteX2262" fmla="*/ 26005680 w 26653740"/>
                <a:gd name="connsiteY2262" fmla="*/ 9351552 h 16570717"/>
                <a:gd name="connsiteX2263" fmla="*/ 26034272 w 26653740"/>
                <a:gd name="connsiteY2263" fmla="*/ 9337256 h 16570717"/>
                <a:gd name="connsiteX2264" fmla="*/ 26048568 w 26653740"/>
                <a:gd name="connsiteY2264" fmla="*/ 9342022 h 16570717"/>
                <a:gd name="connsiteX2265" fmla="*/ 26062864 w 26653740"/>
                <a:gd name="connsiteY2265" fmla="*/ 9351552 h 16570717"/>
                <a:gd name="connsiteX2266" fmla="*/ 26120048 w 26653740"/>
                <a:gd name="connsiteY2266" fmla="*/ 9365847 h 16570717"/>
                <a:gd name="connsiteX2267" fmla="*/ 26115280 w 26653740"/>
                <a:gd name="connsiteY2267" fmla="*/ 9370612 h 16570717"/>
                <a:gd name="connsiteX2268" fmla="*/ 26105752 w 26653740"/>
                <a:gd name="connsiteY2268" fmla="*/ 9380142 h 16570717"/>
                <a:gd name="connsiteX2269" fmla="*/ 26091456 w 26653740"/>
                <a:gd name="connsiteY2269" fmla="*/ 9413498 h 16570717"/>
                <a:gd name="connsiteX2270" fmla="*/ 26086688 w 26653740"/>
                <a:gd name="connsiteY2270" fmla="*/ 9427794 h 16570717"/>
                <a:gd name="connsiteX2271" fmla="*/ 26086688 w 26653740"/>
                <a:gd name="connsiteY2271" fmla="*/ 9451619 h 16570717"/>
                <a:gd name="connsiteX2272" fmla="*/ 26100984 w 26653740"/>
                <a:gd name="connsiteY2272" fmla="*/ 9456384 h 16570717"/>
                <a:gd name="connsiteX2273" fmla="*/ 26115280 w 26653740"/>
                <a:gd name="connsiteY2273" fmla="*/ 9446854 h 16570717"/>
                <a:gd name="connsiteX2274" fmla="*/ 26110516 w 26653740"/>
                <a:gd name="connsiteY2274" fmla="*/ 9427794 h 16570717"/>
                <a:gd name="connsiteX2275" fmla="*/ 26105752 w 26653740"/>
                <a:gd name="connsiteY2275" fmla="*/ 9403968 h 16570717"/>
                <a:gd name="connsiteX2276" fmla="*/ 26110516 w 26653740"/>
                <a:gd name="connsiteY2276" fmla="*/ 9394438 h 16570717"/>
                <a:gd name="connsiteX2277" fmla="*/ 26120048 w 26653740"/>
                <a:gd name="connsiteY2277" fmla="*/ 9394438 h 16570717"/>
                <a:gd name="connsiteX2278" fmla="*/ 26134344 w 26653740"/>
                <a:gd name="connsiteY2278" fmla="*/ 9408733 h 16570717"/>
                <a:gd name="connsiteX2279" fmla="*/ 26148636 w 26653740"/>
                <a:gd name="connsiteY2279" fmla="*/ 9418264 h 16570717"/>
                <a:gd name="connsiteX2280" fmla="*/ 26196288 w 26653740"/>
                <a:gd name="connsiteY2280" fmla="*/ 9423028 h 16570717"/>
                <a:gd name="connsiteX2281" fmla="*/ 26210584 w 26653740"/>
                <a:gd name="connsiteY2281" fmla="*/ 9423028 h 16570717"/>
                <a:gd name="connsiteX2282" fmla="*/ 26215348 w 26653740"/>
                <a:gd name="connsiteY2282" fmla="*/ 9413498 h 16570717"/>
                <a:gd name="connsiteX2283" fmla="*/ 26205816 w 26653740"/>
                <a:gd name="connsiteY2283" fmla="*/ 9403968 h 16570717"/>
                <a:gd name="connsiteX2284" fmla="*/ 26143872 w 26653740"/>
                <a:gd name="connsiteY2284" fmla="*/ 9380142 h 16570717"/>
                <a:gd name="connsiteX2285" fmla="*/ 26139104 w 26653740"/>
                <a:gd name="connsiteY2285" fmla="*/ 9365847 h 16570717"/>
                <a:gd name="connsiteX2286" fmla="*/ 26201052 w 26653740"/>
                <a:gd name="connsiteY2286" fmla="*/ 9384908 h 16570717"/>
                <a:gd name="connsiteX2287" fmla="*/ 26229644 w 26653740"/>
                <a:gd name="connsiteY2287" fmla="*/ 9394438 h 16570717"/>
                <a:gd name="connsiteX2288" fmla="*/ 26253472 w 26653740"/>
                <a:gd name="connsiteY2288" fmla="*/ 9408733 h 16570717"/>
                <a:gd name="connsiteX2289" fmla="*/ 26291592 w 26653740"/>
                <a:gd name="connsiteY2289" fmla="*/ 9403968 h 16570717"/>
                <a:gd name="connsiteX2290" fmla="*/ 26329712 w 26653740"/>
                <a:gd name="connsiteY2290" fmla="*/ 9423028 h 16570717"/>
                <a:gd name="connsiteX2291" fmla="*/ 26363068 w 26653740"/>
                <a:gd name="connsiteY2291" fmla="*/ 9465914 h 16570717"/>
                <a:gd name="connsiteX2292" fmla="*/ 26396424 w 26653740"/>
                <a:gd name="connsiteY2292" fmla="*/ 9523096 h 16570717"/>
                <a:gd name="connsiteX2293" fmla="*/ 26429780 w 26653740"/>
                <a:gd name="connsiteY2293" fmla="*/ 9556452 h 16570717"/>
                <a:gd name="connsiteX2294" fmla="*/ 26467900 w 26653740"/>
                <a:gd name="connsiteY2294" fmla="*/ 9580278 h 16570717"/>
                <a:gd name="connsiteX2295" fmla="*/ 26525080 w 26653740"/>
                <a:gd name="connsiteY2295" fmla="*/ 9646990 h 16570717"/>
                <a:gd name="connsiteX2296" fmla="*/ 26529848 w 26653740"/>
                <a:gd name="connsiteY2296" fmla="*/ 9651754 h 16570717"/>
                <a:gd name="connsiteX2297" fmla="*/ 26534612 w 26653740"/>
                <a:gd name="connsiteY2297" fmla="*/ 9661285 h 16570717"/>
                <a:gd name="connsiteX2298" fmla="*/ 26525080 w 26653740"/>
                <a:gd name="connsiteY2298" fmla="*/ 9670815 h 16570717"/>
                <a:gd name="connsiteX2299" fmla="*/ 26515552 w 26653740"/>
                <a:gd name="connsiteY2299" fmla="*/ 9689876 h 16570717"/>
                <a:gd name="connsiteX2300" fmla="*/ 26534612 w 26653740"/>
                <a:gd name="connsiteY2300" fmla="*/ 9675580 h 16570717"/>
                <a:gd name="connsiteX2301" fmla="*/ 26553672 w 26653740"/>
                <a:gd name="connsiteY2301" fmla="*/ 9670815 h 16570717"/>
                <a:gd name="connsiteX2302" fmla="*/ 26563200 w 26653740"/>
                <a:gd name="connsiteY2302" fmla="*/ 9670815 h 16570717"/>
                <a:gd name="connsiteX2303" fmla="*/ 26572732 w 26653740"/>
                <a:gd name="connsiteY2303" fmla="*/ 9680346 h 16570717"/>
                <a:gd name="connsiteX2304" fmla="*/ 26577496 w 26653740"/>
                <a:gd name="connsiteY2304" fmla="*/ 9694640 h 16570717"/>
                <a:gd name="connsiteX2305" fmla="*/ 26582264 w 26653740"/>
                <a:gd name="connsiteY2305" fmla="*/ 9708936 h 16570717"/>
                <a:gd name="connsiteX2306" fmla="*/ 26572732 w 26653740"/>
                <a:gd name="connsiteY2306" fmla="*/ 9718466 h 16570717"/>
                <a:gd name="connsiteX2307" fmla="*/ 26629912 w 26653740"/>
                <a:gd name="connsiteY2307" fmla="*/ 9723232 h 16570717"/>
                <a:gd name="connsiteX2308" fmla="*/ 26644208 w 26653740"/>
                <a:gd name="connsiteY2308" fmla="*/ 9727996 h 16570717"/>
                <a:gd name="connsiteX2309" fmla="*/ 26653740 w 26653740"/>
                <a:gd name="connsiteY2309" fmla="*/ 9761352 h 16570717"/>
                <a:gd name="connsiteX2310" fmla="*/ 26634680 w 26653740"/>
                <a:gd name="connsiteY2310" fmla="*/ 9785178 h 16570717"/>
                <a:gd name="connsiteX2311" fmla="*/ 26629912 w 26653740"/>
                <a:gd name="connsiteY2311" fmla="*/ 9780413 h 16570717"/>
                <a:gd name="connsiteX2312" fmla="*/ 26620384 w 26653740"/>
                <a:gd name="connsiteY2312" fmla="*/ 9775648 h 16570717"/>
                <a:gd name="connsiteX2313" fmla="*/ 26610856 w 26653740"/>
                <a:gd name="connsiteY2313" fmla="*/ 9770883 h 16570717"/>
                <a:gd name="connsiteX2314" fmla="*/ 26587028 w 26653740"/>
                <a:gd name="connsiteY2314" fmla="*/ 9780413 h 16570717"/>
                <a:gd name="connsiteX2315" fmla="*/ 26548908 w 26653740"/>
                <a:gd name="connsiteY2315" fmla="*/ 9813769 h 16570717"/>
                <a:gd name="connsiteX2316" fmla="*/ 26525080 w 26653740"/>
                <a:gd name="connsiteY2316" fmla="*/ 9837594 h 16570717"/>
                <a:gd name="connsiteX2317" fmla="*/ 26520316 w 26653740"/>
                <a:gd name="connsiteY2317" fmla="*/ 9851890 h 16570717"/>
                <a:gd name="connsiteX2318" fmla="*/ 26525080 w 26653740"/>
                <a:gd name="connsiteY2318" fmla="*/ 9894776 h 16570717"/>
                <a:gd name="connsiteX2319" fmla="*/ 26525080 w 26653740"/>
                <a:gd name="connsiteY2319" fmla="*/ 9913836 h 16570717"/>
                <a:gd name="connsiteX2320" fmla="*/ 26506024 w 26653740"/>
                <a:gd name="connsiteY2320" fmla="*/ 9928132 h 16570717"/>
                <a:gd name="connsiteX2321" fmla="*/ 26472664 w 26653740"/>
                <a:gd name="connsiteY2321" fmla="*/ 9923367 h 16570717"/>
                <a:gd name="connsiteX2322" fmla="*/ 26453604 w 26653740"/>
                <a:gd name="connsiteY2322" fmla="*/ 9913836 h 16570717"/>
                <a:gd name="connsiteX2323" fmla="*/ 26434544 w 26653740"/>
                <a:gd name="connsiteY2323" fmla="*/ 9899541 h 16570717"/>
                <a:gd name="connsiteX2324" fmla="*/ 26420248 w 26653740"/>
                <a:gd name="connsiteY2324" fmla="*/ 9885246 h 16570717"/>
                <a:gd name="connsiteX2325" fmla="*/ 26396424 w 26653740"/>
                <a:gd name="connsiteY2325" fmla="*/ 9861420 h 16570717"/>
                <a:gd name="connsiteX2326" fmla="*/ 26386892 w 26653740"/>
                <a:gd name="connsiteY2326" fmla="*/ 9856655 h 16570717"/>
                <a:gd name="connsiteX2327" fmla="*/ 26382128 w 26653740"/>
                <a:gd name="connsiteY2327" fmla="*/ 9861420 h 16570717"/>
                <a:gd name="connsiteX2328" fmla="*/ 26391656 w 26653740"/>
                <a:gd name="connsiteY2328" fmla="*/ 9880480 h 16570717"/>
                <a:gd name="connsiteX2329" fmla="*/ 26405952 w 26653740"/>
                <a:gd name="connsiteY2329" fmla="*/ 9899541 h 16570717"/>
                <a:gd name="connsiteX2330" fmla="*/ 26434544 w 26653740"/>
                <a:gd name="connsiteY2330" fmla="*/ 9928132 h 16570717"/>
                <a:gd name="connsiteX2331" fmla="*/ 26444072 w 26653740"/>
                <a:gd name="connsiteY2331" fmla="*/ 9956722 h 16570717"/>
                <a:gd name="connsiteX2332" fmla="*/ 26439312 w 26653740"/>
                <a:gd name="connsiteY2332" fmla="*/ 9971018 h 16570717"/>
                <a:gd name="connsiteX2333" fmla="*/ 26429780 w 26653740"/>
                <a:gd name="connsiteY2333" fmla="*/ 9975783 h 16570717"/>
                <a:gd name="connsiteX2334" fmla="*/ 26420248 w 26653740"/>
                <a:gd name="connsiteY2334" fmla="*/ 9975783 h 16570717"/>
                <a:gd name="connsiteX2335" fmla="*/ 26396424 w 26653740"/>
                <a:gd name="connsiteY2335" fmla="*/ 9966253 h 16570717"/>
                <a:gd name="connsiteX2336" fmla="*/ 26382128 w 26653740"/>
                <a:gd name="connsiteY2336" fmla="*/ 9961488 h 16570717"/>
                <a:gd name="connsiteX2337" fmla="*/ 26329712 w 26653740"/>
                <a:gd name="connsiteY2337" fmla="*/ 9971018 h 16570717"/>
                <a:gd name="connsiteX2338" fmla="*/ 26310648 w 26653740"/>
                <a:gd name="connsiteY2338" fmla="*/ 9975783 h 16570717"/>
                <a:gd name="connsiteX2339" fmla="*/ 26305888 w 26653740"/>
                <a:gd name="connsiteY2339" fmla="*/ 9971018 h 16570717"/>
                <a:gd name="connsiteX2340" fmla="*/ 26305888 w 26653740"/>
                <a:gd name="connsiteY2340" fmla="*/ 9961488 h 16570717"/>
                <a:gd name="connsiteX2341" fmla="*/ 26277296 w 26653740"/>
                <a:gd name="connsiteY2341" fmla="*/ 9951958 h 16570717"/>
                <a:gd name="connsiteX2342" fmla="*/ 26263000 w 26653740"/>
                <a:gd name="connsiteY2342" fmla="*/ 9947192 h 16570717"/>
                <a:gd name="connsiteX2343" fmla="*/ 26253472 w 26653740"/>
                <a:gd name="connsiteY2343" fmla="*/ 9942428 h 16570717"/>
                <a:gd name="connsiteX2344" fmla="*/ 26248704 w 26653740"/>
                <a:gd name="connsiteY2344" fmla="*/ 9932897 h 16570717"/>
                <a:gd name="connsiteX2345" fmla="*/ 26229644 w 26653740"/>
                <a:gd name="connsiteY2345" fmla="*/ 9909072 h 16570717"/>
                <a:gd name="connsiteX2346" fmla="*/ 26201052 w 26653740"/>
                <a:gd name="connsiteY2346" fmla="*/ 9904306 h 16570717"/>
                <a:gd name="connsiteX2347" fmla="*/ 26186760 w 26653740"/>
                <a:gd name="connsiteY2347" fmla="*/ 9904306 h 16570717"/>
                <a:gd name="connsiteX2348" fmla="*/ 26177228 w 26653740"/>
                <a:gd name="connsiteY2348" fmla="*/ 9904306 h 16570717"/>
                <a:gd name="connsiteX2349" fmla="*/ 26210584 w 26653740"/>
                <a:gd name="connsiteY2349" fmla="*/ 9932897 h 16570717"/>
                <a:gd name="connsiteX2350" fmla="*/ 26243940 w 26653740"/>
                <a:gd name="connsiteY2350" fmla="*/ 9975783 h 16570717"/>
                <a:gd name="connsiteX2351" fmla="*/ 26239176 w 26653740"/>
                <a:gd name="connsiteY2351" fmla="*/ 9985314 h 16570717"/>
                <a:gd name="connsiteX2352" fmla="*/ 26234408 w 26653740"/>
                <a:gd name="connsiteY2352" fmla="*/ 9994844 h 16570717"/>
                <a:gd name="connsiteX2353" fmla="*/ 26248704 w 26653740"/>
                <a:gd name="connsiteY2353" fmla="*/ 9994844 h 16570717"/>
                <a:gd name="connsiteX2354" fmla="*/ 26263000 w 26653740"/>
                <a:gd name="connsiteY2354" fmla="*/ 9990078 h 16570717"/>
                <a:gd name="connsiteX2355" fmla="*/ 26263000 w 26653740"/>
                <a:gd name="connsiteY2355" fmla="*/ 10004374 h 16570717"/>
                <a:gd name="connsiteX2356" fmla="*/ 26258232 w 26653740"/>
                <a:gd name="connsiteY2356" fmla="*/ 10047260 h 16570717"/>
                <a:gd name="connsiteX2357" fmla="*/ 26248704 w 26653740"/>
                <a:gd name="connsiteY2357" fmla="*/ 10061556 h 16570717"/>
                <a:gd name="connsiteX2358" fmla="*/ 26196288 w 26653740"/>
                <a:gd name="connsiteY2358" fmla="*/ 10071086 h 16570717"/>
                <a:gd name="connsiteX2359" fmla="*/ 26210584 w 26653740"/>
                <a:gd name="connsiteY2359" fmla="*/ 10075851 h 16570717"/>
                <a:gd name="connsiteX2360" fmla="*/ 26224880 w 26653740"/>
                <a:gd name="connsiteY2360" fmla="*/ 10080616 h 16570717"/>
                <a:gd name="connsiteX2361" fmla="*/ 26239176 w 26653740"/>
                <a:gd name="connsiteY2361" fmla="*/ 10075851 h 16570717"/>
                <a:gd name="connsiteX2362" fmla="*/ 26253472 w 26653740"/>
                <a:gd name="connsiteY2362" fmla="*/ 10085381 h 16570717"/>
                <a:gd name="connsiteX2363" fmla="*/ 26263000 w 26653740"/>
                <a:gd name="connsiteY2363" fmla="*/ 10113972 h 16570717"/>
                <a:gd name="connsiteX2364" fmla="*/ 26263000 w 26653740"/>
                <a:gd name="connsiteY2364" fmla="*/ 10142562 h 16570717"/>
                <a:gd name="connsiteX2365" fmla="*/ 26253472 w 26653740"/>
                <a:gd name="connsiteY2365" fmla="*/ 10161623 h 16570717"/>
                <a:gd name="connsiteX2366" fmla="*/ 26234408 w 26653740"/>
                <a:gd name="connsiteY2366" fmla="*/ 10175918 h 16570717"/>
                <a:gd name="connsiteX2367" fmla="*/ 26205816 w 26653740"/>
                <a:gd name="connsiteY2367" fmla="*/ 10194979 h 16570717"/>
                <a:gd name="connsiteX2368" fmla="*/ 26172464 w 26653740"/>
                <a:gd name="connsiteY2368" fmla="*/ 10204510 h 16570717"/>
                <a:gd name="connsiteX2369" fmla="*/ 26158168 w 26653740"/>
                <a:gd name="connsiteY2369" fmla="*/ 10204510 h 16570717"/>
                <a:gd name="connsiteX2370" fmla="*/ 26143872 w 26653740"/>
                <a:gd name="connsiteY2370" fmla="*/ 10209274 h 16570717"/>
                <a:gd name="connsiteX2371" fmla="*/ 26129576 w 26653740"/>
                <a:gd name="connsiteY2371" fmla="*/ 10218804 h 16570717"/>
                <a:gd name="connsiteX2372" fmla="*/ 26129576 w 26653740"/>
                <a:gd name="connsiteY2372" fmla="*/ 10228335 h 16570717"/>
                <a:gd name="connsiteX2373" fmla="*/ 26143872 w 26653740"/>
                <a:gd name="connsiteY2373" fmla="*/ 10223570 h 16570717"/>
                <a:gd name="connsiteX2374" fmla="*/ 26158168 w 26653740"/>
                <a:gd name="connsiteY2374" fmla="*/ 10228335 h 16570717"/>
                <a:gd name="connsiteX2375" fmla="*/ 26172464 w 26653740"/>
                <a:gd name="connsiteY2375" fmla="*/ 10237865 h 16570717"/>
                <a:gd name="connsiteX2376" fmla="*/ 26172464 w 26653740"/>
                <a:gd name="connsiteY2376" fmla="*/ 10247396 h 16570717"/>
                <a:gd name="connsiteX2377" fmla="*/ 26158168 w 26653740"/>
                <a:gd name="connsiteY2377" fmla="*/ 10261691 h 16570717"/>
                <a:gd name="connsiteX2378" fmla="*/ 26153400 w 26653740"/>
                <a:gd name="connsiteY2378" fmla="*/ 10271221 h 16570717"/>
                <a:gd name="connsiteX2379" fmla="*/ 26158168 w 26653740"/>
                <a:gd name="connsiteY2379" fmla="*/ 10285516 h 16570717"/>
                <a:gd name="connsiteX2380" fmla="*/ 26158168 w 26653740"/>
                <a:gd name="connsiteY2380" fmla="*/ 10299812 h 16570717"/>
                <a:gd name="connsiteX2381" fmla="*/ 26162932 w 26653740"/>
                <a:gd name="connsiteY2381" fmla="*/ 10304577 h 16570717"/>
                <a:gd name="connsiteX2382" fmla="*/ 26181992 w 26653740"/>
                <a:gd name="connsiteY2382" fmla="*/ 10309342 h 16570717"/>
                <a:gd name="connsiteX2383" fmla="*/ 26201052 w 26653740"/>
                <a:gd name="connsiteY2383" fmla="*/ 10318872 h 16570717"/>
                <a:gd name="connsiteX2384" fmla="*/ 26220112 w 26653740"/>
                <a:gd name="connsiteY2384" fmla="*/ 10328402 h 16570717"/>
                <a:gd name="connsiteX2385" fmla="*/ 26229644 w 26653740"/>
                <a:gd name="connsiteY2385" fmla="*/ 10337933 h 16570717"/>
                <a:gd name="connsiteX2386" fmla="*/ 26239176 w 26653740"/>
                <a:gd name="connsiteY2386" fmla="*/ 10352228 h 16570717"/>
                <a:gd name="connsiteX2387" fmla="*/ 26239176 w 26653740"/>
                <a:gd name="connsiteY2387" fmla="*/ 10371289 h 16570717"/>
                <a:gd name="connsiteX2388" fmla="*/ 26234408 w 26653740"/>
                <a:gd name="connsiteY2388" fmla="*/ 10376054 h 16570717"/>
                <a:gd name="connsiteX2389" fmla="*/ 26191520 w 26653740"/>
                <a:gd name="connsiteY2389" fmla="*/ 10376054 h 16570717"/>
                <a:gd name="connsiteX2390" fmla="*/ 26181992 w 26653740"/>
                <a:gd name="connsiteY2390" fmla="*/ 10376054 h 16570717"/>
                <a:gd name="connsiteX2391" fmla="*/ 26181992 w 26653740"/>
                <a:gd name="connsiteY2391" fmla="*/ 10361758 h 16570717"/>
                <a:gd name="connsiteX2392" fmla="*/ 26177228 w 26653740"/>
                <a:gd name="connsiteY2392" fmla="*/ 10347463 h 16570717"/>
                <a:gd name="connsiteX2393" fmla="*/ 26158168 w 26653740"/>
                <a:gd name="connsiteY2393" fmla="*/ 10333168 h 16570717"/>
                <a:gd name="connsiteX2394" fmla="*/ 26148636 w 26653740"/>
                <a:gd name="connsiteY2394" fmla="*/ 10342698 h 16570717"/>
                <a:gd name="connsiteX2395" fmla="*/ 26153400 w 26653740"/>
                <a:gd name="connsiteY2395" fmla="*/ 10390350 h 16570717"/>
                <a:gd name="connsiteX2396" fmla="*/ 26148636 w 26653740"/>
                <a:gd name="connsiteY2396" fmla="*/ 10409410 h 16570717"/>
                <a:gd name="connsiteX2397" fmla="*/ 26139104 w 26653740"/>
                <a:gd name="connsiteY2397" fmla="*/ 10418940 h 16570717"/>
                <a:gd name="connsiteX2398" fmla="*/ 26120048 w 26653740"/>
                <a:gd name="connsiteY2398" fmla="*/ 10423705 h 16570717"/>
                <a:gd name="connsiteX2399" fmla="*/ 26100984 w 26653740"/>
                <a:gd name="connsiteY2399" fmla="*/ 10418940 h 16570717"/>
                <a:gd name="connsiteX2400" fmla="*/ 26081924 w 26653740"/>
                <a:gd name="connsiteY2400" fmla="*/ 10399880 h 16570717"/>
                <a:gd name="connsiteX2401" fmla="*/ 26081924 w 26653740"/>
                <a:gd name="connsiteY2401" fmla="*/ 10376054 h 16570717"/>
                <a:gd name="connsiteX2402" fmla="*/ 26091456 w 26653740"/>
                <a:gd name="connsiteY2402" fmla="*/ 10366524 h 16570717"/>
                <a:gd name="connsiteX2403" fmla="*/ 26091456 w 26653740"/>
                <a:gd name="connsiteY2403" fmla="*/ 10347463 h 16570717"/>
                <a:gd name="connsiteX2404" fmla="*/ 26091456 w 26653740"/>
                <a:gd name="connsiteY2404" fmla="*/ 10328402 h 16570717"/>
                <a:gd name="connsiteX2405" fmla="*/ 26081924 w 26653740"/>
                <a:gd name="connsiteY2405" fmla="*/ 10352228 h 16570717"/>
                <a:gd name="connsiteX2406" fmla="*/ 26067632 w 26653740"/>
                <a:gd name="connsiteY2406" fmla="*/ 10371289 h 16570717"/>
                <a:gd name="connsiteX2407" fmla="*/ 26048568 w 26653740"/>
                <a:gd name="connsiteY2407" fmla="*/ 10395114 h 16570717"/>
                <a:gd name="connsiteX2408" fmla="*/ 26039040 w 26653740"/>
                <a:gd name="connsiteY2408" fmla="*/ 10395114 h 16570717"/>
                <a:gd name="connsiteX2409" fmla="*/ 26029508 w 26653740"/>
                <a:gd name="connsiteY2409" fmla="*/ 10395114 h 16570717"/>
                <a:gd name="connsiteX2410" fmla="*/ 26000920 w 26653740"/>
                <a:gd name="connsiteY2410" fmla="*/ 10376054 h 16570717"/>
                <a:gd name="connsiteX2411" fmla="*/ 25986624 w 26653740"/>
                <a:gd name="connsiteY2411" fmla="*/ 10361758 h 16570717"/>
                <a:gd name="connsiteX2412" fmla="*/ 25953264 w 26653740"/>
                <a:gd name="connsiteY2412" fmla="*/ 10318872 h 16570717"/>
                <a:gd name="connsiteX2413" fmla="*/ 25934208 w 26653740"/>
                <a:gd name="connsiteY2413" fmla="*/ 10295046 h 16570717"/>
                <a:gd name="connsiteX2414" fmla="*/ 25896084 w 26653740"/>
                <a:gd name="connsiteY2414" fmla="*/ 10266456 h 16570717"/>
                <a:gd name="connsiteX2415" fmla="*/ 25857964 w 26653740"/>
                <a:gd name="connsiteY2415" fmla="*/ 10242630 h 16570717"/>
                <a:gd name="connsiteX2416" fmla="*/ 25824608 w 26653740"/>
                <a:gd name="connsiteY2416" fmla="*/ 10228335 h 16570717"/>
                <a:gd name="connsiteX2417" fmla="*/ 25805548 w 26653740"/>
                <a:gd name="connsiteY2417" fmla="*/ 10233100 h 16570717"/>
                <a:gd name="connsiteX2418" fmla="*/ 25791252 w 26653740"/>
                <a:gd name="connsiteY2418" fmla="*/ 10237865 h 16570717"/>
                <a:gd name="connsiteX2419" fmla="*/ 25767424 w 26653740"/>
                <a:gd name="connsiteY2419" fmla="*/ 10233100 h 16570717"/>
                <a:gd name="connsiteX2420" fmla="*/ 25762664 w 26653740"/>
                <a:gd name="connsiteY2420" fmla="*/ 10228335 h 16570717"/>
                <a:gd name="connsiteX2421" fmla="*/ 25753128 w 26653740"/>
                <a:gd name="connsiteY2421" fmla="*/ 10218804 h 16570717"/>
                <a:gd name="connsiteX2422" fmla="*/ 25748368 w 26653740"/>
                <a:gd name="connsiteY2422" fmla="*/ 10209274 h 16570717"/>
                <a:gd name="connsiteX2423" fmla="*/ 25719776 w 26653740"/>
                <a:gd name="connsiteY2423" fmla="*/ 10180684 h 16570717"/>
                <a:gd name="connsiteX2424" fmla="*/ 25695952 w 26653740"/>
                <a:gd name="connsiteY2424" fmla="*/ 10156858 h 16570717"/>
                <a:gd name="connsiteX2425" fmla="*/ 25695952 w 26653740"/>
                <a:gd name="connsiteY2425" fmla="*/ 10142562 h 16570717"/>
                <a:gd name="connsiteX2426" fmla="*/ 25700712 w 26653740"/>
                <a:gd name="connsiteY2426" fmla="*/ 10123502 h 16570717"/>
                <a:gd name="connsiteX2427" fmla="*/ 25695952 w 26653740"/>
                <a:gd name="connsiteY2427" fmla="*/ 10075851 h 16570717"/>
                <a:gd name="connsiteX2428" fmla="*/ 25686420 w 26653740"/>
                <a:gd name="connsiteY2428" fmla="*/ 10032964 h 16570717"/>
                <a:gd name="connsiteX2429" fmla="*/ 25657828 w 26653740"/>
                <a:gd name="connsiteY2429" fmla="*/ 9985314 h 16570717"/>
                <a:gd name="connsiteX2430" fmla="*/ 25586352 w 26653740"/>
                <a:gd name="connsiteY2430" fmla="*/ 9956722 h 16570717"/>
                <a:gd name="connsiteX2431" fmla="*/ 25529168 w 26653740"/>
                <a:gd name="connsiteY2431" fmla="*/ 9937662 h 16570717"/>
                <a:gd name="connsiteX2432" fmla="*/ 25510112 w 26653740"/>
                <a:gd name="connsiteY2432" fmla="*/ 9932897 h 16570717"/>
                <a:gd name="connsiteX2433" fmla="*/ 25491048 w 26653740"/>
                <a:gd name="connsiteY2433" fmla="*/ 9937662 h 16570717"/>
                <a:gd name="connsiteX2434" fmla="*/ 25438632 w 26653740"/>
                <a:gd name="connsiteY2434" fmla="*/ 9975783 h 16570717"/>
                <a:gd name="connsiteX2435" fmla="*/ 25410040 w 26653740"/>
                <a:gd name="connsiteY2435" fmla="*/ 9980548 h 16570717"/>
                <a:gd name="connsiteX2436" fmla="*/ 25314740 w 26653740"/>
                <a:gd name="connsiteY2436" fmla="*/ 9980548 h 16570717"/>
                <a:gd name="connsiteX2437" fmla="*/ 25295680 w 26653740"/>
                <a:gd name="connsiteY2437" fmla="*/ 9975783 h 16570717"/>
                <a:gd name="connsiteX2438" fmla="*/ 25281384 w 26653740"/>
                <a:gd name="connsiteY2438" fmla="*/ 9961488 h 16570717"/>
                <a:gd name="connsiteX2439" fmla="*/ 25281384 w 26653740"/>
                <a:gd name="connsiteY2439" fmla="*/ 9937662 h 16570717"/>
                <a:gd name="connsiteX2440" fmla="*/ 25281384 w 26653740"/>
                <a:gd name="connsiteY2440" fmla="*/ 9899541 h 16570717"/>
                <a:gd name="connsiteX2441" fmla="*/ 25281384 w 26653740"/>
                <a:gd name="connsiteY2441" fmla="*/ 9885246 h 16570717"/>
                <a:gd name="connsiteX2442" fmla="*/ 25281384 w 26653740"/>
                <a:gd name="connsiteY2442" fmla="*/ 9880480 h 16570717"/>
                <a:gd name="connsiteX2443" fmla="*/ 25271856 w 26653740"/>
                <a:gd name="connsiteY2443" fmla="*/ 9880480 h 16570717"/>
                <a:gd name="connsiteX2444" fmla="*/ 25257560 w 26653740"/>
                <a:gd name="connsiteY2444" fmla="*/ 9861420 h 16570717"/>
                <a:gd name="connsiteX2445" fmla="*/ 25238496 w 26653740"/>
                <a:gd name="connsiteY2445" fmla="*/ 9837594 h 16570717"/>
                <a:gd name="connsiteX2446" fmla="*/ 25224200 w 26653740"/>
                <a:gd name="connsiteY2446" fmla="*/ 9809004 h 16570717"/>
                <a:gd name="connsiteX2447" fmla="*/ 25214672 w 26653740"/>
                <a:gd name="connsiteY2447" fmla="*/ 9770883 h 16570717"/>
                <a:gd name="connsiteX2448" fmla="*/ 25228968 w 26653740"/>
                <a:gd name="connsiteY2448" fmla="*/ 9770883 h 16570717"/>
                <a:gd name="connsiteX2449" fmla="*/ 25243264 w 26653740"/>
                <a:gd name="connsiteY2449" fmla="*/ 9780413 h 16570717"/>
                <a:gd name="connsiteX2450" fmla="*/ 25248028 w 26653740"/>
                <a:gd name="connsiteY2450" fmla="*/ 9770883 h 16570717"/>
                <a:gd name="connsiteX2451" fmla="*/ 25252792 w 26653740"/>
                <a:gd name="connsiteY2451" fmla="*/ 9737527 h 16570717"/>
                <a:gd name="connsiteX2452" fmla="*/ 25267088 w 26653740"/>
                <a:gd name="connsiteY2452" fmla="*/ 9723232 h 16570717"/>
                <a:gd name="connsiteX2453" fmla="*/ 25267088 w 26653740"/>
                <a:gd name="connsiteY2453" fmla="*/ 9708936 h 16570717"/>
                <a:gd name="connsiteX2454" fmla="*/ 25276616 w 26653740"/>
                <a:gd name="connsiteY2454" fmla="*/ 9661285 h 16570717"/>
                <a:gd name="connsiteX2455" fmla="*/ 25281384 w 26653740"/>
                <a:gd name="connsiteY2455" fmla="*/ 9627929 h 16570717"/>
                <a:gd name="connsiteX2456" fmla="*/ 25267088 w 26653740"/>
                <a:gd name="connsiteY2456" fmla="*/ 9646990 h 16570717"/>
                <a:gd name="connsiteX2457" fmla="*/ 25243264 w 26653740"/>
                <a:gd name="connsiteY2457" fmla="*/ 9694640 h 16570717"/>
                <a:gd name="connsiteX2458" fmla="*/ 25233732 w 26653740"/>
                <a:gd name="connsiteY2458" fmla="*/ 9708936 h 16570717"/>
                <a:gd name="connsiteX2459" fmla="*/ 25224200 w 26653740"/>
                <a:gd name="connsiteY2459" fmla="*/ 9713701 h 16570717"/>
                <a:gd name="connsiteX2460" fmla="*/ 25219436 w 26653740"/>
                <a:gd name="connsiteY2460" fmla="*/ 9713701 h 16570717"/>
                <a:gd name="connsiteX2461" fmla="*/ 25200376 w 26653740"/>
                <a:gd name="connsiteY2461" fmla="*/ 9704171 h 16570717"/>
                <a:gd name="connsiteX2462" fmla="*/ 25186080 w 26653740"/>
                <a:gd name="connsiteY2462" fmla="*/ 9694640 h 16570717"/>
                <a:gd name="connsiteX2463" fmla="*/ 25186080 w 26653740"/>
                <a:gd name="connsiteY2463" fmla="*/ 9651754 h 16570717"/>
                <a:gd name="connsiteX2464" fmla="*/ 25181316 w 26653740"/>
                <a:gd name="connsiteY2464" fmla="*/ 9642224 h 16570717"/>
                <a:gd name="connsiteX2465" fmla="*/ 25176552 w 26653740"/>
                <a:gd name="connsiteY2465" fmla="*/ 9646990 h 16570717"/>
                <a:gd name="connsiteX2466" fmla="*/ 25176552 w 26653740"/>
                <a:gd name="connsiteY2466" fmla="*/ 9666050 h 16570717"/>
                <a:gd name="connsiteX2467" fmla="*/ 25157488 w 26653740"/>
                <a:gd name="connsiteY2467" fmla="*/ 9666050 h 16570717"/>
                <a:gd name="connsiteX2468" fmla="*/ 25152724 w 26653740"/>
                <a:gd name="connsiteY2468" fmla="*/ 9675580 h 16570717"/>
                <a:gd name="connsiteX2469" fmla="*/ 25157488 w 26653740"/>
                <a:gd name="connsiteY2469" fmla="*/ 9699406 h 16570717"/>
                <a:gd name="connsiteX2470" fmla="*/ 25152724 w 26653740"/>
                <a:gd name="connsiteY2470" fmla="*/ 9723232 h 16570717"/>
                <a:gd name="connsiteX2471" fmla="*/ 25138432 w 26653740"/>
                <a:gd name="connsiteY2471" fmla="*/ 9732762 h 16570717"/>
                <a:gd name="connsiteX2472" fmla="*/ 25109840 w 26653740"/>
                <a:gd name="connsiteY2472" fmla="*/ 9737527 h 16570717"/>
                <a:gd name="connsiteX2473" fmla="*/ 25100308 w 26653740"/>
                <a:gd name="connsiteY2473" fmla="*/ 9713701 h 16570717"/>
                <a:gd name="connsiteX2474" fmla="*/ 25090776 w 26653740"/>
                <a:gd name="connsiteY2474" fmla="*/ 9742292 h 16570717"/>
                <a:gd name="connsiteX2475" fmla="*/ 25081248 w 26653740"/>
                <a:gd name="connsiteY2475" fmla="*/ 9780413 h 16570717"/>
                <a:gd name="connsiteX2476" fmla="*/ 25081248 w 26653740"/>
                <a:gd name="connsiteY2476" fmla="*/ 9823299 h 16570717"/>
                <a:gd name="connsiteX2477" fmla="*/ 25090776 w 26653740"/>
                <a:gd name="connsiteY2477" fmla="*/ 9861420 h 16570717"/>
                <a:gd name="connsiteX2478" fmla="*/ 25105072 w 26653740"/>
                <a:gd name="connsiteY2478" fmla="*/ 9875716 h 16570717"/>
                <a:gd name="connsiteX2479" fmla="*/ 25133664 w 26653740"/>
                <a:gd name="connsiteY2479" fmla="*/ 9904306 h 16570717"/>
                <a:gd name="connsiteX2480" fmla="*/ 25147960 w 26653740"/>
                <a:gd name="connsiteY2480" fmla="*/ 9923367 h 16570717"/>
                <a:gd name="connsiteX2481" fmla="*/ 25152724 w 26653740"/>
                <a:gd name="connsiteY2481" fmla="*/ 9947192 h 16570717"/>
                <a:gd name="connsiteX2482" fmla="*/ 25147960 w 26653740"/>
                <a:gd name="connsiteY2482" fmla="*/ 9971018 h 16570717"/>
                <a:gd name="connsiteX2483" fmla="*/ 25133664 w 26653740"/>
                <a:gd name="connsiteY2483" fmla="*/ 9994844 h 16570717"/>
                <a:gd name="connsiteX2484" fmla="*/ 25124136 w 26653740"/>
                <a:gd name="connsiteY2484" fmla="*/ 10018670 h 16570717"/>
                <a:gd name="connsiteX2485" fmla="*/ 25105072 w 26653740"/>
                <a:gd name="connsiteY2485" fmla="*/ 10071086 h 16570717"/>
                <a:gd name="connsiteX2486" fmla="*/ 25095544 w 26653740"/>
                <a:gd name="connsiteY2486" fmla="*/ 10090146 h 16570717"/>
                <a:gd name="connsiteX2487" fmla="*/ 25047892 w 26653740"/>
                <a:gd name="connsiteY2487" fmla="*/ 10137798 h 16570717"/>
                <a:gd name="connsiteX2488" fmla="*/ 25024064 w 26653740"/>
                <a:gd name="connsiteY2488" fmla="*/ 10147328 h 16570717"/>
                <a:gd name="connsiteX2489" fmla="*/ 24995476 w 26653740"/>
                <a:gd name="connsiteY2489" fmla="*/ 10190214 h 16570717"/>
                <a:gd name="connsiteX2490" fmla="*/ 24962120 w 26653740"/>
                <a:gd name="connsiteY2490" fmla="*/ 10228335 h 16570717"/>
                <a:gd name="connsiteX2491" fmla="*/ 24914468 w 26653740"/>
                <a:gd name="connsiteY2491" fmla="*/ 10242630 h 16570717"/>
                <a:gd name="connsiteX2492" fmla="*/ 24847756 w 26653740"/>
                <a:gd name="connsiteY2492" fmla="*/ 10295046 h 16570717"/>
                <a:gd name="connsiteX2493" fmla="*/ 24819168 w 26653740"/>
                <a:gd name="connsiteY2493" fmla="*/ 10309342 h 16570717"/>
                <a:gd name="connsiteX2494" fmla="*/ 24781044 w 26653740"/>
                <a:gd name="connsiteY2494" fmla="*/ 10280752 h 16570717"/>
                <a:gd name="connsiteX2495" fmla="*/ 24695272 w 26653740"/>
                <a:gd name="connsiteY2495" fmla="*/ 10266456 h 16570717"/>
                <a:gd name="connsiteX2496" fmla="*/ 24671448 w 26653740"/>
                <a:gd name="connsiteY2496" fmla="*/ 10242630 h 16570717"/>
                <a:gd name="connsiteX2497" fmla="*/ 24633328 w 26653740"/>
                <a:gd name="connsiteY2497" fmla="*/ 10185449 h 16570717"/>
                <a:gd name="connsiteX2498" fmla="*/ 24619032 w 26653740"/>
                <a:gd name="connsiteY2498" fmla="*/ 10180684 h 16570717"/>
                <a:gd name="connsiteX2499" fmla="*/ 24609500 w 26653740"/>
                <a:gd name="connsiteY2499" fmla="*/ 10156858 h 16570717"/>
                <a:gd name="connsiteX2500" fmla="*/ 24561848 w 26653740"/>
                <a:gd name="connsiteY2500" fmla="*/ 10133032 h 16570717"/>
                <a:gd name="connsiteX2501" fmla="*/ 24523728 w 26653740"/>
                <a:gd name="connsiteY2501" fmla="*/ 10147328 h 16570717"/>
                <a:gd name="connsiteX2502" fmla="*/ 24490372 w 26653740"/>
                <a:gd name="connsiteY2502" fmla="*/ 10133032 h 16570717"/>
                <a:gd name="connsiteX2503" fmla="*/ 24476076 w 26653740"/>
                <a:gd name="connsiteY2503" fmla="*/ 10142562 h 16570717"/>
                <a:gd name="connsiteX2504" fmla="*/ 24495136 w 26653740"/>
                <a:gd name="connsiteY2504" fmla="*/ 10152093 h 16570717"/>
                <a:gd name="connsiteX2505" fmla="*/ 24523728 w 26653740"/>
                <a:gd name="connsiteY2505" fmla="*/ 10161623 h 16570717"/>
                <a:gd name="connsiteX2506" fmla="*/ 24571380 w 26653740"/>
                <a:gd name="connsiteY2506" fmla="*/ 10156858 h 16570717"/>
                <a:gd name="connsiteX2507" fmla="*/ 24585672 w 26653740"/>
                <a:gd name="connsiteY2507" fmla="*/ 10161623 h 16570717"/>
                <a:gd name="connsiteX2508" fmla="*/ 24599968 w 26653740"/>
                <a:gd name="connsiteY2508" fmla="*/ 10180684 h 16570717"/>
                <a:gd name="connsiteX2509" fmla="*/ 24614264 w 26653740"/>
                <a:gd name="connsiteY2509" fmla="*/ 10214040 h 16570717"/>
                <a:gd name="connsiteX2510" fmla="*/ 24604736 w 26653740"/>
                <a:gd name="connsiteY2510" fmla="*/ 10233100 h 16570717"/>
                <a:gd name="connsiteX2511" fmla="*/ 24590440 w 26653740"/>
                <a:gd name="connsiteY2511" fmla="*/ 10242630 h 16570717"/>
                <a:gd name="connsiteX2512" fmla="*/ 24552320 w 26653740"/>
                <a:gd name="connsiteY2512" fmla="*/ 10218804 h 16570717"/>
                <a:gd name="connsiteX2513" fmla="*/ 24509432 w 26653740"/>
                <a:gd name="connsiteY2513" fmla="*/ 10218804 h 16570717"/>
                <a:gd name="connsiteX2514" fmla="*/ 24490372 w 26653740"/>
                <a:gd name="connsiteY2514" fmla="*/ 10214040 h 16570717"/>
                <a:gd name="connsiteX2515" fmla="*/ 24433192 w 26653740"/>
                <a:gd name="connsiteY2515" fmla="*/ 10175918 h 16570717"/>
                <a:gd name="connsiteX2516" fmla="*/ 24390304 w 26653740"/>
                <a:gd name="connsiteY2516" fmla="*/ 10218804 h 16570717"/>
                <a:gd name="connsiteX2517" fmla="*/ 24328360 w 26653740"/>
                <a:gd name="connsiteY2517" fmla="*/ 10242630 h 16570717"/>
                <a:gd name="connsiteX2518" fmla="*/ 24285472 w 26653740"/>
                <a:gd name="connsiteY2518" fmla="*/ 10242630 h 16570717"/>
                <a:gd name="connsiteX2519" fmla="*/ 24199700 w 26653740"/>
                <a:gd name="connsiteY2519" fmla="*/ 10275986 h 16570717"/>
                <a:gd name="connsiteX2520" fmla="*/ 24218760 w 26653740"/>
                <a:gd name="connsiteY2520" fmla="*/ 10280752 h 16570717"/>
                <a:gd name="connsiteX2521" fmla="*/ 24280704 w 26653740"/>
                <a:gd name="connsiteY2521" fmla="*/ 10256926 h 16570717"/>
                <a:gd name="connsiteX2522" fmla="*/ 24318828 w 26653740"/>
                <a:gd name="connsiteY2522" fmla="*/ 10256926 h 16570717"/>
                <a:gd name="connsiteX2523" fmla="*/ 24376008 w 26653740"/>
                <a:gd name="connsiteY2523" fmla="*/ 10242630 h 16570717"/>
                <a:gd name="connsiteX2524" fmla="*/ 24399832 w 26653740"/>
                <a:gd name="connsiteY2524" fmla="*/ 10228335 h 16570717"/>
                <a:gd name="connsiteX2525" fmla="*/ 24414128 w 26653740"/>
                <a:gd name="connsiteY2525" fmla="*/ 10209274 h 16570717"/>
                <a:gd name="connsiteX2526" fmla="*/ 24433192 w 26653740"/>
                <a:gd name="connsiteY2526" fmla="*/ 10194979 h 16570717"/>
                <a:gd name="connsiteX2527" fmla="*/ 24452252 w 26653740"/>
                <a:gd name="connsiteY2527" fmla="*/ 10204510 h 16570717"/>
                <a:gd name="connsiteX2528" fmla="*/ 24461784 w 26653740"/>
                <a:gd name="connsiteY2528" fmla="*/ 10218804 h 16570717"/>
                <a:gd name="connsiteX2529" fmla="*/ 24471312 w 26653740"/>
                <a:gd name="connsiteY2529" fmla="*/ 10242630 h 16570717"/>
                <a:gd name="connsiteX2530" fmla="*/ 24480840 w 26653740"/>
                <a:gd name="connsiteY2530" fmla="*/ 10271221 h 16570717"/>
                <a:gd name="connsiteX2531" fmla="*/ 24466544 w 26653740"/>
                <a:gd name="connsiteY2531" fmla="*/ 10285516 h 16570717"/>
                <a:gd name="connsiteX2532" fmla="*/ 24457016 w 26653740"/>
                <a:gd name="connsiteY2532" fmla="*/ 10295046 h 16570717"/>
                <a:gd name="connsiteX2533" fmla="*/ 24447488 w 26653740"/>
                <a:gd name="connsiteY2533" fmla="*/ 10314107 h 16570717"/>
                <a:gd name="connsiteX2534" fmla="*/ 24504668 w 26653740"/>
                <a:gd name="connsiteY2534" fmla="*/ 10280752 h 16570717"/>
                <a:gd name="connsiteX2535" fmla="*/ 24538024 w 26653740"/>
                <a:gd name="connsiteY2535" fmla="*/ 10299812 h 16570717"/>
                <a:gd name="connsiteX2536" fmla="*/ 24557084 w 26653740"/>
                <a:gd name="connsiteY2536" fmla="*/ 10295046 h 16570717"/>
                <a:gd name="connsiteX2537" fmla="*/ 24585672 w 26653740"/>
                <a:gd name="connsiteY2537" fmla="*/ 10266456 h 16570717"/>
                <a:gd name="connsiteX2538" fmla="*/ 24642856 w 26653740"/>
                <a:gd name="connsiteY2538" fmla="*/ 10247396 h 16570717"/>
                <a:gd name="connsiteX2539" fmla="*/ 24647624 w 26653740"/>
                <a:gd name="connsiteY2539" fmla="*/ 10247396 h 16570717"/>
                <a:gd name="connsiteX2540" fmla="*/ 24652384 w 26653740"/>
                <a:gd name="connsiteY2540" fmla="*/ 10256926 h 16570717"/>
                <a:gd name="connsiteX2541" fmla="*/ 24642856 w 26653740"/>
                <a:gd name="connsiteY2541" fmla="*/ 10318872 h 16570717"/>
                <a:gd name="connsiteX2542" fmla="*/ 24647624 w 26653740"/>
                <a:gd name="connsiteY2542" fmla="*/ 10366524 h 16570717"/>
                <a:gd name="connsiteX2543" fmla="*/ 24685744 w 26653740"/>
                <a:gd name="connsiteY2543" fmla="*/ 10414175 h 16570717"/>
                <a:gd name="connsiteX2544" fmla="*/ 24728628 w 26653740"/>
                <a:gd name="connsiteY2544" fmla="*/ 10442766 h 16570717"/>
                <a:gd name="connsiteX2545" fmla="*/ 24742924 w 26653740"/>
                <a:gd name="connsiteY2545" fmla="*/ 10447531 h 16570717"/>
                <a:gd name="connsiteX2546" fmla="*/ 24757220 w 26653740"/>
                <a:gd name="connsiteY2546" fmla="*/ 10442766 h 16570717"/>
                <a:gd name="connsiteX2547" fmla="*/ 24761984 w 26653740"/>
                <a:gd name="connsiteY2547" fmla="*/ 10414175 h 16570717"/>
                <a:gd name="connsiteX2548" fmla="*/ 24771512 w 26653740"/>
                <a:gd name="connsiteY2548" fmla="*/ 10395114 h 16570717"/>
                <a:gd name="connsiteX2549" fmla="*/ 24785808 w 26653740"/>
                <a:gd name="connsiteY2549" fmla="*/ 10409410 h 16570717"/>
                <a:gd name="connsiteX2550" fmla="*/ 24795340 w 26653740"/>
                <a:gd name="connsiteY2550" fmla="*/ 10433236 h 16570717"/>
                <a:gd name="connsiteX2551" fmla="*/ 24809636 w 26653740"/>
                <a:gd name="connsiteY2551" fmla="*/ 10480886 h 16570717"/>
                <a:gd name="connsiteX2552" fmla="*/ 24809636 w 26653740"/>
                <a:gd name="connsiteY2552" fmla="*/ 10490417 h 16570717"/>
                <a:gd name="connsiteX2553" fmla="*/ 24804872 w 26653740"/>
                <a:gd name="connsiteY2553" fmla="*/ 10519008 h 16570717"/>
                <a:gd name="connsiteX2554" fmla="*/ 24819168 w 26653740"/>
                <a:gd name="connsiteY2554" fmla="*/ 10533303 h 16570717"/>
                <a:gd name="connsiteX2555" fmla="*/ 24838224 w 26653740"/>
                <a:gd name="connsiteY2555" fmla="*/ 10538068 h 16570717"/>
                <a:gd name="connsiteX2556" fmla="*/ 24842992 w 26653740"/>
                <a:gd name="connsiteY2556" fmla="*/ 10580954 h 16570717"/>
                <a:gd name="connsiteX2557" fmla="*/ 24852520 w 26653740"/>
                <a:gd name="connsiteY2557" fmla="*/ 10642901 h 16570717"/>
                <a:gd name="connsiteX2558" fmla="*/ 24842992 w 26653740"/>
                <a:gd name="connsiteY2558" fmla="*/ 10647666 h 16570717"/>
                <a:gd name="connsiteX2559" fmla="*/ 24833464 w 26653740"/>
                <a:gd name="connsiteY2559" fmla="*/ 10647666 h 16570717"/>
                <a:gd name="connsiteX2560" fmla="*/ 24804872 w 26653740"/>
                <a:gd name="connsiteY2560" fmla="*/ 10661962 h 16570717"/>
                <a:gd name="connsiteX2561" fmla="*/ 24809636 w 26653740"/>
                <a:gd name="connsiteY2561" fmla="*/ 10676257 h 16570717"/>
                <a:gd name="connsiteX2562" fmla="*/ 24838224 w 26653740"/>
                <a:gd name="connsiteY2562" fmla="*/ 10681022 h 16570717"/>
                <a:gd name="connsiteX2563" fmla="*/ 24847756 w 26653740"/>
                <a:gd name="connsiteY2563" fmla="*/ 10695318 h 16570717"/>
                <a:gd name="connsiteX2564" fmla="*/ 24842992 w 26653740"/>
                <a:gd name="connsiteY2564" fmla="*/ 10723908 h 16570717"/>
                <a:gd name="connsiteX2565" fmla="*/ 24842992 w 26653740"/>
                <a:gd name="connsiteY2565" fmla="*/ 10733438 h 16570717"/>
                <a:gd name="connsiteX2566" fmla="*/ 24852520 w 26653740"/>
                <a:gd name="connsiteY2566" fmla="*/ 10738204 h 16570717"/>
                <a:gd name="connsiteX2567" fmla="*/ 24857288 w 26653740"/>
                <a:gd name="connsiteY2567" fmla="*/ 10719143 h 16570717"/>
                <a:gd name="connsiteX2568" fmla="*/ 24857288 w 26653740"/>
                <a:gd name="connsiteY2568" fmla="*/ 10695318 h 16570717"/>
                <a:gd name="connsiteX2569" fmla="*/ 24862052 w 26653740"/>
                <a:gd name="connsiteY2569" fmla="*/ 10685787 h 16570717"/>
                <a:gd name="connsiteX2570" fmla="*/ 24881112 w 26653740"/>
                <a:gd name="connsiteY2570" fmla="*/ 10738204 h 16570717"/>
                <a:gd name="connsiteX2571" fmla="*/ 24881112 w 26653740"/>
                <a:gd name="connsiteY2571" fmla="*/ 10757264 h 16570717"/>
                <a:gd name="connsiteX2572" fmla="*/ 24895408 w 26653740"/>
                <a:gd name="connsiteY2572" fmla="*/ 10776324 h 16570717"/>
                <a:gd name="connsiteX2573" fmla="*/ 24943060 w 26653740"/>
                <a:gd name="connsiteY2573" fmla="*/ 10809680 h 16570717"/>
                <a:gd name="connsiteX2574" fmla="*/ 24952592 w 26653740"/>
                <a:gd name="connsiteY2574" fmla="*/ 10823976 h 16570717"/>
                <a:gd name="connsiteX2575" fmla="*/ 24957352 w 26653740"/>
                <a:gd name="connsiteY2575" fmla="*/ 10847802 h 16570717"/>
                <a:gd name="connsiteX2576" fmla="*/ 24943060 w 26653740"/>
                <a:gd name="connsiteY2576" fmla="*/ 10852566 h 16570717"/>
                <a:gd name="connsiteX2577" fmla="*/ 24933528 w 26653740"/>
                <a:gd name="connsiteY2577" fmla="*/ 10871627 h 16570717"/>
                <a:gd name="connsiteX2578" fmla="*/ 24938296 w 26653740"/>
                <a:gd name="connsiteY2578" fmla="*/ 10895452 h 16570717"/>
                <a:gd name="connsiteX2579" fmla="*/ 24952592 w 26653740"/>
                <a:gd name="connsiteY2579" fmla="*/ 10914513 h 16570717"/>
                <a:gd name="connsiteX2580" fmla="*/ 24971648 w 26653740"/>
                <a:gd name="connsiteY2580" fmla="*/ 10919278 h 16570717"/>
                <a:gd name="connsiteX2581" fmla="*/ 24981180 w 26653740"/>
                <a:gd name="connsiteY2581" fmla="*/ 10952634 h 16570717"/>
                <a:gd name="connsiteX2582" fmla="*/ 24981180 w 26653740"/>
                <a:gd name="connsiteY2582" fmla="*/ 10981225 h 16570717"/>
                <a:gd name="connsiteX2583" fmla="*/ 24966884 w 26653740"/>
                <a:gd name="connsiteY2583" fmla="*/ 11005050 h 16570717"/>
                <a:gd name="connsiteX2584" fmla="*/ 24938296 w 26653740"/>
                <a:gd name="connsiteY2584" fmla="*/ 11043172 h 16570717"/>
                <a:gd name="connsiteX2585" fmla="*/ 24919232 w 26653740"/>
                <a:gd name="connsiteY2585" fmla="*/ 11057467 h 16570717"/>
                <a:gd name="connsiteX2586" fmla="*/ 24914468 w 26653740"/>
                <a:gd name="connsiteY2586" fmla="*/ 11081292 h 16570717"/>
                <a:gd name="connsiteX2587" fmla="*/ 24909704 w 26653740"/>
                <a:gd name="connsiteY2587" fmla="*/ 11105118 h 16570717"/>
                <a:gd name="connsiteX2588" fmla="*/ 24900176 w 26653740"/>
                <a:gd name="connsiteY2588" fmla="*/ 11105118 h 16570717"/>
                <a:gd name="connsiteX2589" fmla="*/ 24885880 w 26653740"/>
                <a:gd name="connsiteY2589" fmla="*/ 11095588 h 16570717"/>
                <a:gd name="connsiteX2590" fmla="*/ 24738160 w 26653740"/>
                <a:gd name="connsiteY2590" fmla="*/ 11028876 h 16570717"/>
                <a:gd name="connsiteX2591" fmla="*/ 24685744 w 26653740"/>
                <a:gd name="connsiteY2591" fmla="*/ 11019346 h 16570717"/>
                <a:gd name="connsiteX2592" fmla="*/ 24633328 w 26653740"/>
                <a:gd name="connsiteY2592" fmla="*/ 11014581 h 16570717"/>
                <a:gd name="connsiteX2593" fmla="*/ 24623796 w 26653740"/>
                <a:gd name="connsiteY2593" fmla="*/ 11009816 h 16570717"/>
                <a:gd name="connsiteX2594" fmla="*/ 24623796 w 26653740"/>
                <a:gd name="connsiteY2594" fmla="*/ 10995520 h 16570717"/>
                <a:gd name="connsiteX2595" fmla="*/ 24628560 w 26653740"/>
                <a:gd name="connsiteY2595" fmla="*/ 10981225 h 16570717"/>
                <a:gd name="connsiteX2596" fmla="*/ 24638092 w 26653740"/>
                <a:gd name="connsiteY2596" fmla="*/ 10966930 h 16570717"/>
                <a:gd name="connsiteX2597" fmla="*/ 24633328 w 26653740"/>
                <a:gd name="connsiteY2597" fmla="*/ 10947869 h 16570717"/>
                <a:gd name="connsiteX2598" fmla="*/ 24628560 w 26653740"/>
                <a:gd name="connsiteY2598" fmla="*/ 10947869 h 16570717"/>
                <a:gd name="connsiteX2599" fmla="*/ 24619032 w 26653740"/>
                <a:gd name="connsiteY2599" fmla="*/ 10962164 h 16570717"/>
                <a:gd name="connsiteX2600" fmla="*/ 24609500 w 26653740"/>
                <a:gd name="connsiteY2600" fmla="*/ 10962164 h 16570717"/>
                <a:gd name="connsiteX2601" fmla="*/ 24595204 w 26653740"/>
                <a:gd name="connsiteY2601" fmla="*/ 10947869 h 16570717"/>
                <a:gd name="connsiteX2602" fmla="*/ 24585672 w 26653740"/>
                <a:gd name="connsiteY2602" fmla="*/ 10952634 h 16570717"/>
                <a:gd name="connsiteX2603" fmla="*/ 24580912 w 26653740"/>
                <a:gd name="connsiteY2603" fmla="*/ 10971695 h 16570717"/>
                <a:gd name="connsiteX2604" fmla="*/ 24576144 w 26653740"/>
                <a:gd name="connsiteY2604" fmla="*/ 10981225 h 16570717"/>
                <a:gd name="connsiteX2605" fmla="*/ 24576144 w 26653740"/>
                <a:gd name="connsiteY2605" fmla="*/ 10990756 h 16570717"/>
                <a:gd name="connsiteX2606" fmla="*/ 24580912 w 26653740"/>
                <a:gd name="connsiteY2606" fmla="*/ 11000286 h 16570717"/>
                <a:gd name="connsiteX2607" fmla="*/ 24609500 w 26653740"/>
                <a:gd name="connsiteY2607" fmla="*/ 11014581 h 16570717"/>
                <a:gd name="connsiteX2608" fmla="*/ 24604736 w 26653740"/>
                <a:gd name="connsiteY2608" fmla="*/ 11024111 h 16570717"/>
                <a:gd name="connsiteX2609" fmla="*/ 24566616 w 26653740"/>
                <a:gd name="connsiteY2609" fmla="*/ 11033642 h 16570717"/>
                <a:gd name="connsiteX2610" fmla="*/ 24533256 w 26653740"/>
                <a:gd name="connsiteY2610" fmla="*/ 11043172 h 16570717"/>
                <a:gd name="connsiteX2611" fmla="*/ 24490372 w 26653740"/>
                <a:gd name="connsiteY2611" fmla="*/ 11076528 h 16570717"/>
                <a:gd name="connsiteX2612" fmla="*/ 24476076 w 26653740"/>
                <a:gd name="connsiteY2612" fmla="*/ 11095588 h 16570717"/>
                <a:gd name="connsiteX2613" fmla="*/ 24361712 w 26653740"/>
                <a:gd name="connsiteY2613" fmla="*/ 11152770 h 16570717"/>
                <a:gd name="connsiteX2614" fmla="*/ 24337888 w 26653740"/>
                <a:gd name="connsiteY2614" fmla="*/ 11171830 h 16570717"/>
                <a:gd name="connsiteX2615" fmla="*/ 24323592 w 26653740"/>
                <a:gd name="connsiteY2615" fmla="*/ 11171830 h 16570717"/>
                <a:gd name="connsiteX2616" fmla="*/ 24309296 w 26653740"/>
                <a:gd name="connsiteY2616" fmla="*/ 11181360 h 16570717"/>
                <a:gd name="connsiteX2617" fmla="*/ 24299768 w 26653740"/>
                <a:gd name="connsiteY2617" fmla="*/ 11200421 h 16570717"/>
                <a:gd name="connsiteX2618" fmla="*/ 24237820 w 26653740"/>
                <a:gd name="connsiteY2618" fmla="*/ 11233776 h 16570717"/>
                <a:gd name="connsiteX2619" fmla="*/ 24223528 w 26653740"/>
                <a:gd name="connsiteY2619" fmla="*/ 11229012 h 16570717"/>
                <a:gd name="connsiteX2620" fmla="*/ 24209232 w 26653740"/>
                <a:gd name="connsiteY2620" fmla="*/ 11257602 h 16570717"/>
                <a:gd name="connsiteX2621" fmla="*/ 24190168 w 26653740"/>
                <a:gd name="connsiteY2621" fmla="*/ 11271898 h 16570717"/>
                <a:gd name="connsiteX2622" fmla="*/ 24156816 w 26653740"/>
                <a:gd name="connsiteY2622" fmla="*/ 11271898 h 16570717"/>
                <a:gd name="connsiteX2623" fmla="*/ 24132988 w 26653740"/>
                <a:gd name="connsiteY2623" fmla="*/ 11281428 h 16570717"/>
                <a:gd name="connsiteX2624" fmla="*/ 24085336 w 26653740"/>
                <a:gd name="connsiteY2624" fmla="*/ 11319549 h 16570717"/>
                <a:gd name="connsiteX2625" fmla="*/ 24051980 w 26653740"/>
                <a:gd name="connsiteY2625" fmla="*/ 11305254 h 16570717"/>
                <a:gd name="connsiteX2626" fmla="*/ 24013860 w 26653740"/>
                <a:gd name="connsiteY2626" fmla="*/ 11357670 h 16570717"/>
                <a:gd name="connsiteX2627" fmla="*/ 23975736 w 26653740"/>
                <a:gd name="connsiteY2627" fmla="*/ 11410086 h 16570717"/>
                <a:gd name="connsiteX2628" fmla="*/ 23966208 w 26653740"/>
                <a:gd name="connsiteY2628" fmla="*/ 11410086 h 16570717"/>
                <a:gd name="connsiteX2629" fmla="*/ 23932852 w 26653740"/>
                <a:gd name="connsiteY2629" fmla="*/ 11386261 h 16570717"/>
                <a:gd name="connsiteX2630" fmla="*/ 23923320 w 26653740"/>
                <a:gd name="connsiteY2630" fmla="*/ 11400556 h 16570717"/>
                <a:gd name="connsiteX2631" fmla="*/ 23928088 w 26653740"/>
                <a:gd name="connsiteY2631" fmla="*/ 11419616 h 16570717"/>
                <a:gd name="connsiteX2632" fmla="*/ 23942384 w 26653740"/>
                <a:gd name="connsiteY2632" fmla="*/ 11438677 h 16570717"/>
                <a:gd name="connsiteX2633" fmla="*/ 23932852 w 26653740"/>
                <a:gd name="connsiteY2633" fmla="*/ 11443442 h 16570717"/>
                <a:gd name="connsiteX2634" fmla="*/ 23923320 w 26653740"/>
                <a:gd name="connsiteY2634" fmla="*/ 11438677 h 16570717"/>
                <a:gd name="connsiteX2635" fmla="*/ 23913792 w 26653740"/>
                <a:gd name="connsiteY2635" fmla="*/ 11438677 h 16570717"/>
                <a:gd name="connsiteX2636" fmla="*/ 23909024 w 26653740"/>
                <a:gd name="connsiteY2636" fmla="*/ 11443442 h 16570717"/>
                <a:gd name="connsiteX2637" fmla="*/ 23909024 w 26653740"/>
                <a:gd name="connsiteY2637" fmla="*/ 11457738 h 16570717"/>
                <a:gd name="connsiteX2638" fmla="*/ 23889968 w 26653740"/>
                <a:gd name="connsiteY2638" fmla="*/ 11476798 h 16570717"/>
                <a:gd name="connsiteX2639" fmla="*/ 23875672 w 26653740"/>
                <a:gd name="connsiteY2639" fmla="*/ 11481564 h 16570717"/>
                <a:gd name="connsiteX2640" fmla="*/ 23861376 w 26653740"/>
                <a:gd name="connsiteY2640" fmla="*/ 11486328 h 16570717"/>
                <a:gd name="connsiteX2641" fmla="*/ 23856608 w 26653740"/>
                <a:gd name="connsiteY2641" fmla="*/ 11500624 h 16570717"/>
                <a:gd name="connsiteX2642" fmla="*/ 23861376 w 26653740"/>
                <a:gd name="connsiteY2642" fmla="*/ 11519684 h 16570717"/>
                <a:gd name="connsiteX2643" fmla="*/ 23832784 w 26653740"/>
                <a:gd name="connsiteY2643" fmla="*/ 11538745 h 16570717"/>
                <a:gd name="connsiteX2644" fmla="*/ 23808960 w 26653740"/>
                <a:gd name="connsiteY2644" fmla="*/ 11567336 h 16570717"/>
                <a:gd name="connsiteX2645" fmla="*/ 23799428 w 26653740"/>
                <a:gd name="connsiteY2645" fmla="*/ 11572101 h 16570717"/>
                <a:gd name="connsiteX2646" fmla="*/ 23785136 w 26653740"/>
                <a:gd name="connsiteY2646" fmla="*/ 11581631 h 16570717"/>
                <a:gd name="connsiteX2647" fmla="*/ 23770840 w 26653740"/>
                <a:gd name="connsiteY2647" fmla="*/ 11591162 h 16570717"/>
                <a:gd name="connsiteX2648" fmla="*/ 23756544 w 26653740"/>
                <a:gd name="connsiteY2648" fmla="*/ 11591162 h 16570717"/>
                <a:gd name="connsiteX2649" fmla="*/ 23718424 w 26653740"/>
                <a:gd name="connsiteY2649" fmla="*/ 11629282 h 16570717"/>
                <a:gd name="connsiteX2650" fmla="*/ 23637416 w 26653740"/>
                <a:gd name="connsiteY2650" fmla="*/ 11691229 h 16570717"/>
                <a:gd name="connsiteX2651" fmla="*/ 23613588 w 26653740"/>
                <a:gd name="connsiteY2651" fmla="*/ 11700759 h 16570717"/>
                <a:gd name="connsiteX2652" fmla="*/ 23580232 w 26653740"/>
                <a:gd name="connsiteY2652" fmla="*/ 11719820 h 16570717"/>
                <a:gd name="connsiteX2653" fmla="*/ 23580232 w 26653740"/>
                <a:gd name="connsiteY2653" fmla="*/ 11734115 h 16570717"/>
                <a:gd name="connsiteX2654" fmla="*/ 23580232 w 26653740"/>
                <a:gd name="connsiteY2654" fmla="*/ 11748410 h 16570717"/>
                <a:gd name="connsiteX2655" fmla="*/ 23565936 w 26653740"/>
                <a:gd name="connsiteY2655" fmla="*/ 11777001 h 16570717"/>
                <a:gd name="connsiteX2656" fmla="*/ 23551640 w 26653740"/>
                <a:gd name="connsiteY2656" fmla="*/ 11843713 h 16570717"/>
                <a:gd name="connsiteX2657" fmla="*/ 23546876 w 26653740"/>
                <a:gd name="connsiteY2657" fmla="*/ 11853244 h 16570717"/>
                <a:gd name="connsiteX2658" fmla="*/ 23542112 w 26653740"/>
                <a:gd name="connsiteY2658" fmla="*/ 11867538 h 16570717"/>
                <a:gd name="connsiteX2659" fmla="*/ 23508756 w 26653740"/>
                <a:gd name="connsiteY2659" fmla="*/ 11862774 h 16570717"/>
                <a:gd name="connsiteX2660" fmla="*/ 23484928 w 26653740"/>
                <a:gd name="connsiteY2660" fmla="*/ 11834183 h 16570717"/>
                <a:gd name="connsiteX2661" fmla="*/ 23475400 w 26653740"/>
                <a:gd name="connsiteY2661" fmla="*/ 11824652 h 16570717"/>
                <a:gd name="connsiteX2662" fmla="*/ 23470632 w 26653740"/>
                <a:gd name="connsiteY2662" fmla="*/ 11810357 h 16570717"/>
                <a:gd name="connsiteX2663" fmla="*/ 23470632 w 26653740"/>
                <a:gd name="connsiteY2663" fmla="*/ 11791296 h 16570717"/>
                <a:gd name="connsiteX2664" fmla="*/ 23465872 w 26653740"/>
                <a:gd name="connsiteY2664" fmla="*/ 11777001 h 16570717"/>
                <a:gd name="connsiteX2665" fmla="*/ 23456340 w 26653740"/>
                <a:gd name="connsiteY2665" fmla="*/ 11772236 h 16570717"/>
                <a:gd name="connsiteX2666" fmla="*/ 23427748 w 26653740"/>
                <a:gd name="connsiteY2666" fmla="*/ 11719820 h 16570717"/>
                <a:gd name="connsiteX2667" fmla="*/ 23375332 w 26653740"/>
                <a:gd name="connsiteY2667" fmla="*/ 11681698 h 16570717"/>
                <a:gd name="connsiteX2668" fmla="*/ 23365800 w 26653740"/>
                <a:gd name="connsiteY2668" fmla="*/ 11672168 h 16570717"/>
                <a:gd name="connsiteX2669" fmla="*/ 23299088 w 26653740"/>
                <a:gd name="connsiteY2669" fmla="*/ 11681698 h 16570717"/>
                <a:gd name="connsiteX2670" fmla="*/ 23280032 w 26653740"/>
                <a:gd name="connsiteY2670" fmla="*/ 11681698 h 16570717"/>
                <a:gd name="connsiteX2671" fmla="*/ 23246672 w 26653740"/>
                <a:gd name="connsiteY2671" fmla="*/ 11672168 h 16570717"/>
                <a:gd name="connsiteX2672" fmla="*/ 23194256 w 26653740"/>
                <a:gd name="connsiteY2672" fmla="*/ 11676934 h 16570717"/>
                <a:gd name="connsiteX2673" fmla="*/ 23132312 w 26653740"/>
                <a:gd name="connsiteY2673" fmla="*/ 11695994 h 16570717"/>
                <a:gd name="connsiteX2674" fmla="*/ 23118016 w 26653740"/>
                <a:gd name="connsiteY2674" fmla="*/ 11710290 h 16570717"/>
                <a:gd name="connsiteX2675" fmla="*/ 23051304 w 26653740"/>
                <a:gd name="connsiteY2675" fmla="*/ 11729350 h 16570717"/>
                <a:gd name="connsiteX2676" fmla="*/ 23013184 w 26653740"/>
                <a:gd name="connsiteY2676" fmla="*/ 11762706 h 16570717"/>
                <a:gd name="connsiteX2677" fmla="*/ 22932176 w 26653740"/>
                <a:gd name="connsiteY2677" fmla="*/ 11872304 h 16570717"/>
                <a:gd name="connsiteX2678" fmla="*/ 22913112 w 26653740"/>
                <a:gd name="connsiteY2678" fmla="*/ 11896130 h 16570717"/>
                <a:gd name="connsiteX2679" fmla="*/ 22903584 w 26653740"/>
                <a:gd name="connsiteY2679" fmla="*/ 11900894 h 16570717"/>
                <a:gd name="connsiteX2680" fmla="*/ 22889288 w 26653740"/>
                <a:gd name="connsiteY2680" fmla="*/ 11905660 h 16570717"/>
                <a:gd name="connsiteX2681" fmla="*/ 22884524 w 26653740"/>
                <a:gd name="connsiteY2681" fmla="*/ 11881834 h 16570717"/>
                <a:gd name="connsiteX2682" fmla="*/ 22884524 w 26653740"/>
                <a:gd name="connsiteY2682" fmla="*/ 11862774 h 16570717"/>
                <a:gd name="connsiteX2683" fmla="*/ 22889288 w 26653740"/>
                <a:gd name="connsiteY2683" fmla="*/ 11829418 h 16570717"/>
                <a:gd name="connsiteX2684" fmla="*/ 22898820 w 26653740"/>
                <a:gd name="connsiteY2684" fmla="*/ 11800827 h 16570717"/>
                <a:gd name="connsiteX2685" fmla="*/ 22908352 w 26653740"/>
                <a:gd name="connsiteY2685" fmla="*/ 11748410 h 16570717"/>
                <a:gd name="connsiteX2686" fmla="*/ 22908352 w 26653740"/>
                <a:gd name="connsiteY2686" fmla="*/ 11729350 h 16570717"/>
                <a:gd name="connsiteX2687" fmla="*/ 22917880 w 26653740"/>
                <a:gd name="connsiteY2687" fmla="*/ 11705524 h 16570717"/>
                <a:gd name="connsiteX2688" fmla="*/ 22889288 w 26653740"/>
                <a:gd name="connsiteY2688" fmla="*/ 11705524 h 16570717"/>
                <a:gd name="connsiteX2689" fmla="*/ 22851168 w 26653740"/>
                <a:gd name="connsiteY2689" fmla="*/ 11743646 h 16570717"/>
                <a:gd name="connsiteX2690" fmla="*/ 22798752 w 26653740"/>
                <a:gd name="connsiteY2690" fmla="*/ 11781766 h 16570717"/>
                <a:gd name="connsiteX2691" fmla="*/ 22770160 w 26653740"/>
                <a:gd name="connsiteY2691" fmla="*/ 11791296 h 16570717"/>
                <a:gd name="connsiteX2692" fmla="*/ 22751100 w 26653740"/>
                <a:gd name="connsiteY2692" fmla="*/ 11815122 h 16570717"/>
                <a:gd name="connsiteX2693" fmla="*/ 22736808 w 26653740"/>
                <a:gd name="connsiteY2693" fmla="*/ 11819888 h 16570717"/>
                <a:gd name="connsiteX2694" fmla="*/ 22717744 w 26653740"/>
                <a:gd name="connsiteY2694" fmla="*/ 11829418 h 16570717"/>
                <a:gd name="connsiteX2695" fmla="*/ 22717744 w 26653740"/>
                <a:gd name="connsiteY2695" fmla="*/ 11872304 h 16570717"/>
                <a:gd name="connsiteX2696" fmla="*/ 22708216 w 26653740"/>
                <a:gd name="connsiteY2696" fmla="*/ 11900894 h 16570717"/>
                <a:gd name="connsiteX2697" fmla="*/ 22698684 w 26653740"/>
                <a:gd name="connsiteY2697" fmla="*/ 11905660 h 16570717"/>
                <a:gd name="connsiteX2698" fmla="*/ 22684388 w 26653740"/>
                <a:gd name="connsiteY2698" fmla="*/ 11905660 h 16570717"/>
                <a:gd name="connsiteX2699" fmla="*/ 22670096 w 26653740"/>
                <a:gd name="connsiteY2699" fmla="*/ 11896130 h 16570717"/>
                <a:gd name="connsiteX2700" fmla="*/ 22655800 w 26653740"/>
                <a:gd name="connsiteY2700" fmla="*/ 11858008 h 16570717"/>
                <a:gd name="connsiteX2701" fmla="*/ 22631972 w 26653740"/>
                <a:gd name="connsiteY2701" fmla="*/ 11838948 h 16570717"/>
                <a:gd name="connsiteX2702" fmla="*/ 22617680 w 26653740"/>
                <a:gd name="connsiteY2702" fmla="*/ 11834183 h 16570717"/>
                <a:gd name="connsiteX2703" fmla="*/ 22608144 w 26653740"/>
                <a:gd name="connsiteY2703" fmla="*/ 11838948 h 16570717"/>
                <a:gd name="connsiteX2704" fmla="*/ 22589088 w 26653740"/>
                <a:gd name="connsiteY2704" fmla="*/ 11867538 h 16570717"/>
                <a:gd name="connsiteX2705" fmla="*/ 22565260 w 26653740"/>
                <a:gd name="connsiteY2705" fmla="*/ 11891364 h 16570717"/>
                <a:gd name="connsiteX2706" fmla="*/ 22570024 w 26653740"/>
                <a:gd name="connsiteY2706" fmla="*/ 11862774 h 16570717"/>
                <a:gd name="connsiteX2707" fmla="*/ 22550968 w 26653740"/>
                <a:gd name="connsiteY2707" fmla="*/ 11853244 h 16570717"/>
                <a:gd name="connsiteX2708" fmla="*/ 22536672 w 26653740"/>
                <a:gd name="connsiteY2708" fmla="*/ 11848478 h 16570717"/>
                <a:gd name="connsiteX2709" fmla="*/ 22517608 w 26653740"/>
                <a:gd name="connsiteY2709" fmla="*/ 11843713 h 16570717"/>
                <a:gd name="connsiteX2710" fmla="*/ 22508080 w 26653740"/>
                <a:gd name="connsiteY2710" fmla="*/ 11848478 h 16570717"/>
                <a:gd name="connsiteX2711" fmla="*/ 22503312 w 26653740"/>
                <a:gd name="connsiteY2711" fmla="*/ 11862774 h 16570717"/>
                <a:gd name="connsiteX2712" fmla="*/ 22484256 w 26653740"/>
                <a:gd name="connsiteY2712" fmla="*/ 11881834 h 16570717"/>
                <a:gd name="connsiteX2713" fmla="*/ 22469960 w 26653740"/>
                <a:gd name="connsiteY2713" fmla="*/ 11891364 h 16570717"/>
                <a:gd name="connsiteX2714" fmla="*/ 22455664 w 26653740"/>
                <a:gd name="connsiteY2714" fmla="*/ 11910425 h 16570717"/>
                <a:gd name="connsiteX2715" fmla="*/ 22450896 w 26653740"/>
                <a:gd name="connsiteY2715" fmla="*/ 11924720 h 16570717"/>
                <a:gd name="connsiteX2716" fmla="*/ 22441368 w 26653740"/>
                <a:gd name="connsiteY2716" fmla="*/ 11948546 h 16570717"/>
                <a:gd name="connsiteX2717" fmla="*/ 22436600 w 26653740"/>
                <a:gd name="connsiteY2717" fmla="*/ 12005728 h 16570717"/>
                <a:gd name="connsiteX2718" fmla="*/ 22436600 w 26653740"/>
                <a:gd name="connsiteY2718" fmla="*/ 12072439 h 16570717"/>
                <a:gd name="connsiteX2719" fmla="*/ 22408012 w 26653740"/>
                <a:gd name="connsiteY2719" fmla="*/ 12124855 h 16570717"/>
                <a:gd name="connsiteX2720" fmla="*/ 22393716 w 26653740"/>
                <a:gd name="connsiteY2720" fmla="*/ 12120090 h 16570717"/>
                <a:gd name="connsiteX2721" fmla="*/ 22388952 w 26653740"/>
                <a:gd name="connsiteY2721" fmla="*/ 12124855 h 16570717"/>
                <a:gd name="connsiteX2722" fmla="*/ 22384184 w 26653740"/>
                <a:gd name="connsiteY2722" fmla="*/ 12129621 h 16570717"/>
                <a:gd name="connsiteX2723" fmla="*/ 22393716 w 26653740"/>
                <a:gd name="connsiteY2723" fmla="*/ 12158211 h 16570717"/>
                <a:gd name="connsiteX2724" fmla="*/ 22388952 w 26653740"/>
                <a:gd name="connsiteY2724" fmla="*/ 12167742 h 16570717"/>
                <a:gd name="connsiteX2725" fmla="*/ 22384184 w 26653740"/>
                <a:gd name="connsiteY2725" fmla="*/ 12177272 h 16570717"/>
                <a:gd name="connsiteX2726" fmla="*/ 22369888 w 26653740"/>
                <a:gd name="connsiteY2726" fmla="*/ 12182037 h 16570717"/>
                <a:gd name="connsiteX2727" fmla="*/ 22336536 w 26653740"/>
                <a:gd name="connsiteY2727" fmla="*/ 12224923 h 16570717"/>
                <a:gd name="connsiteX2728" fmla="*/ 22307944 w 26653740"/>
                <a:gd name="connsiteY2728" fmla="*/ 12253514 h 16570717"/>
                <a:gd name="connsiteX2729" fmla="*/ 22260292 w 26653740"/>
                <a:gd name="connsiteY2729" fmla="*/ 12329756 h 16570717"/>
                <a:gd name="connsiteX2730" fmla="*/ 22246000 w 26653740"/>
                <a:gd name="connsiteY2730" fmla="*/ 12382172 h 16570717"/>
                <a:gd name="connsiteX2731" fmla="*/ 22231704 w 26653740"/>
                <a:gd name="connsiteY2731" fmla="*/ 12439354 h 16570717"/>
                <a:gd name="connsiteX2732" fmla="*/ 22236464 w 26653740"/>
                <a:gd name="connsiteY2732" fmla="*/ 12467945 h 16570717"/>
                <a:gd name="connsiteX2733" fmla="*/ 22246000 w 26653740"/>
                <a:gd name="connsiteY2733" fmla="*/ 12487005 h 16570717"/>
                <a:gd name="connsiteX2734" fmla="*/ 22250760 w 26653740"/>
                <a:gd name="connsiteY2734" fmla="*/ 12501301 h 16570717"/>
                <a:gd name="connsiteX2735" fmla="*/ 22269824 w 26653740"/>
                <a:gd name="connsiteY2735" fmla="*/ 12515596 h 16570717"/>
                <a:gd name="connsiteX2736" fmla="*/ 22303176 w 26653740"/>
                <a:gd name="connsiteY2736" fmla="*/ 12529891 h 16570717"/>
                <a:gd name="connsiteX2737" fmla="*/ 22298416 w 26653740"/>
                <a:gd name="connsiteY2737" fmla="*/ 12539422 h 16570717"/>
                <a:gd name="connsiteX2738" fmla="*/ 22298416 w 26653740"/>
                <a:gd name="connsiteY2738" fmla="*/ 12548952 h 16570717"/>
                <a:gd name="connsiteX2739" fmla="*/ 22307944 w 26653740"/>
                <a:gd name="connsiteY2739" fmla="*/ 12534656 h 16570717"/>
                <a:gd name="connsiteX2740" fmla="*/ 22317472 w 26653740"/>
                <a:gd name="connsiteY2740" fmla="*/ 12491770 h 16570717"/>
                <a:gd name="connsiteX2741" fmla="*/ 22341300 w 26653740"/>
                <a:gd name="connsiteY2741" fmla="*/ 12477475 h 16570717"/>
                <a:gd name="connsiteX2742" fmla="*/ 22350832 w 26653740"/>
                <a:gd name="connsiteY2742" fmla="*/ 12482240 h 16570717"/>
                <a:gd name="connsiteX2743" fmla="*/ 22417544 w 26653740"/>
                <a:gd name="connsiteY2743" fmla="*/ 12510831 h 16570717"/>
                <a:gd name="connsiteX2744" fmla="*/ 22427072 w 26653740"/>
                <a:gd name="connsiteY2744" fmla="*/ 12525126 h 16570717"/>
                <a:gd name="connsiteX2745" fmla="*/ 22427072 w 26653740"/>
                <a:gd name="connsiteY2745" fmla="*/ 12558482 h 16570717"/>
                <a:gd name="connsiteX2746" fmla="*/ 22422304 w 26653740"/>
                <a:gd name="connsiteY2746" fmla="*/ 12572777 h 16570717"/>
                <a:gd name="connsiteX2747" fmla="*/ 22408012 w 26653740"/>
                <a:gd name="connsiteY2747" fmla="*/ 12591838 h 16570717"/>
                <a:gd name="connsiteX2748" fmla="*/ 22388952 w 26653740"/>
                <a:gd name="connsiteY2748" fmla="*/ 12615664 h 16570717"/>
                <a:gd name="connsiteX2749" fmla="*/ 22360360 w 26653740"/>
                <a:gd name="connsiteY2749" fmla="*/ 12653785 h 16570717"/>
                <a:gd name="connsiteX2750" fmla="*/ 22355596 w 26653740"/>
                <a:gd name="connsiteY2750" fmla="*/ 12672845 h 16570717"/>
                <a:gd name="connsiteX2751" fmla="*/ 22355596 w 26653740"/>
                <a:gd name="connsiteY2751" fmla="*/ 12687140 h 16570717"/>
                <a:gd name="connsiteX2752" fmla="*/ 22365128 w 26653740"/>
                <a:gd name="connsiteY2752" fmla="*/ 12725262 h 16570717"/>
                <a:gd name="connsiteX2753" fmla="*/ 22365128 w 26653740"/>
                <a:gd name="connsiteY2753" fmla="*/ 12749087 h 16570717"/>
                <a:gd name="connsiteX2754" fmla="*/ 22360360 w 26653740"/>
                <a:gd name="connsiteY2754" fmla="*/ 12791973 h 16570717"/>
                <a:gd name="connsiteX2755" fmla="*/ 22365128 w 26653740"/>
                <a:gd name="connsiteY2755" fmla="*/ 12811034 h 16570717"/>
                <a:gd name="connsiteX2756" fmla="*/ 22369888 w 26653740"/>
                <a:gd name="connsiteY2756" fmla="*/ 12825329 h 16570717"/>
                <a:gd name="connsiteX2757" fmla="*/ 22379420 w 26653740"/>
                <a:gd name="connsiteY2757" fmla="*/ 12834859 h 16570717"/>
                <a:gd name="connsiteX2758" fmla="*/ 22403248 w 26653740"/>
                <a:gd name="connsiteY2758" fmla="*/ 12830094 h 16570717"/>
                <a:gd name="connsiteX2759" fmla="*/ 22417544 w 26653740"/>
                <a:gd name="connsiteY2759" fmla="*/ 12834859 h 16570717"/>
                <a:gd name="connsiteX2760" fmla="*/ 22431840 w 26653740"/>
                <a:gd name="connsiteY2760" fmla="*/ 12844390 h 16570717"/>
                <a:gd name="connsiteX2761" fmla="*/ 22431840 w 26653740"/>
                <a:gd name="connsiteY2761" fmla="*/ 12877746 h 16570717"/>
                <a:gd name="connsiteX2762" fmla="*/ 22441368 w 26653740"/>
                <a:gd name="connsiteY2762" fmla="*/ 12911101 h 16570717"/>
                <a:gd name="connsiteX2763" fmla="*/ 22446132 w 26653740"/>
                <a:gd name="connsiteY2763" fmla="*/ 12973048 h 16570717"/>
                <a:gd name="connsiteX2764" fmla="*/ 22436600 w 26653740"/>
                <a:gd name="connsiteY2764" fmla="*/ 12987343 h 16570717"/>
                <a:gd name="connsiteX2765" fmla="*/ 22422304 w 26653740"/>
                <a:gd name="connsiteY2765" fmla="*/ 13001639 h 16570717"/>
                <a:gd name="connsiteX2766" fmla="*/ 22403248 w 26653740"/>
                <a:gd name="connsiteY2766" fmla="*/ 13025465 h 16570717"/>
                <a:gd name="connsiteX2767" fmla="*/ 22388952 w 26653740"/>
                <a:gd name="connsiteY2767" fmla="*/ 13030230 h 16570717"/>
                <a:gd name="connsiteX2768" fmla="*/ 22369888 w 26653740"/>
                <a:gd name="connsiteY2768" fmla="*/ 13020699 h 16570717"/>
                <a:gd name="connsiteX2769" fmla="*/ 22336536 w 26653740"/>
                <a:gd name="connsiteY2769" fmla="*/ 12973048 h 16570717"/>
                <a:gd name="connsiteX2770" fmla="*/ 22350832 w 26653740"/>
                <a:gd name="connsiteY2770" fmla="*/ 12944457 h 16570717"/>
                <a:gd name="connsiteX2771" fmla="*/ 22374656 w 26653740"/>
                <a:gd name="connsiteY2771" fmla="*/ 12925397 h 16570717"/>
                <a:gd name="connsiteX2772" fmla="*/ 22388952 w 26653740"/>
                <a:gd name="connsiteY2772" fmla="*/ 12911101 h 16570717"/>
                <a:gd name="connsiteX2773" fmla="*/ 22398480 w 26653740"/>
                <a:gd name="connsiteY2773" fmla="*/ 12892041 h 16570717"/>
                <a:gd name="connsiteX2774" fmla="*/ 22384184 w 26653740"/>
                <a:gd name="connsiteY2774" fmla="*/ 12896806 h 16570717"/>
                <a:gd name="connsiteX2775" fmla="*/ 22374656 w 26653740"/>
                <a:gd name="connsiteY2775" fmla="*/ 12906336 h 16570717"/>
                <a:gd name="connsiteX2776" fmla="*/ 22341300 w 26653740"/>
                <a:gd name="connsiteY2776" fmla="*/ 12901571 h 16570717"/>
                <a:gd name="connsiteX2777" fmla="*/ 22327004 w 26653740"/>
                <a:gd name="connsiteY2777" fmla="*/ 12911101 h 16570717"/>
                <a:gd name="connsiteX2778" fmla="*/ 22312708 w 26653740"/>
                <a:gd name="connsiteY2778" fmla="*/ 12925397 h 16570717"/>
                <a:gd name="connsiteX2779" fmla="*/ 22322240 w 26653740"/>
                <a:gd name="connsiteY2779" fmla="*/ 12963518 h 16570717"/>
                <a:gd name="connsiteX2780" fmla="*/ 22307944 w 26653740"/>
                <a:gd name="connsiteY2780" fmla="*/ 12973048 h 16570717"/>
                <a:gd name="connsiteX2781" fmla="*/ 22288884 w 26653740"/>
                <a:gd name="connsiteY2781" fmla="*/ 12987343 h 16570717"/>
                <a:gd name="connsiteX2782" fmla="*/ 22260292 w 26653740"/>
                <a:gd name="connsiteY2782" fmla="*/ 13001639 h 16570717"/>
                <a:gd name="connsiteX2783" fmla="*/ 22250760 w 26653740"/>
                <a:gd name="connsiteY2783" fmla="*/ 13011169 h 16570717"/>
                <a:gd name="connsiteX2784" fmla="*/ 22226936 w 26653740"/>
                <a:gd name="connsiteY2784" fmla="*/ 13082646 h 16570717"/>
                <a:gd name="connsiteX2785" fmla="*/ 22203112 w 26653740"/>
                <a:gd name="connsiteY2785" fmla="*/ 13135062 h 16570717"/>
                <a:gd name="connsiteX2786" fmla="*/ 22193580 w 26653740"/>
                <a:gd name="connsiteY2786" fmla="*/ 13177949 h 16570717"/>
                <a:gd name="connsiteX2787" fmla="*/ 22193580 w 26653740"/>
                <a:gd name="connsiteY2787" fmla="*/ 13216070 h 16570717"/>
                <a:gd name="connsiteX2788" fmla="*/ 22203112 w 26653740"/>
                <a:gd name="connsiteY2788" fmla="*/ 13258956 h 16570717"/>
                <a:gd name="connsiteX2789" fmla="*/ 22207876 w 26653740"/>
                <a:gd name="connsiteY2789" fmla="*/ 13278016 h 16570717"/>
                <a:gd name="connsiteX2790" fmla="*/ 22236464 w 26653740"/>
                <a:gd name="connsiteY2790" fmla="*/ 13316137 h 16570717"/>
                <a:gd name="connsiteX2791" fmla="*/ 22250760 w 26653740"/>
                <a:gd name="connsiteY2791" fmla="*/ 13344728 h 16570717"/>
                <a:gd name="connsiteX2792" fmla="*/ 22255528 w 26653740"/>
                <a:gd name="connsiteY2792" fmla="*/ 13382849 h 16570717"/>
                <a:gd name="connsiteX2793" fmla="*/ 22231704 w 26653740"/>
                <a:gd name="connsiteY2793" fmla="*/ 13397145 h 16570717"/>
                <a:gd name="connsiteX2794" fmla="*/ 22193580 w 26653740"/>
                <a:gd name="connsiteY2794" fmla="*/ 13440029 h 16570717"/>
                <a:gd name="connsiteX2795" fmla="*/ 22179288 w 26653740"/>
                <a:gd name="connsiteY2795" fmla="*/ 13444797 h 16570717"/>
                <a:gd name="connsiteX2796" fmla="*/ 22126868 w 26653740"/>
                <a:gd name="connsiteY2796" fmla="*/ 13444797 h 16570717"/>
                <a:gd name="connsiteX2797" fmla="*/ 22103044 w 26653740"/>
                <a:gd name="connsiteY2797" fmla="*/ 13420969 h 16570717"/>
                <a:gd name="connsiteX2798" fmla="*/ 22069688 w 26653740"/>
                <a:gd name="connsiteY2798" fmla="*/ 13425733 h 16570717"/>
                <a:gd name="connsiteX2799" fmla="*/ 22045864 w 26653740"/>
                <a:gd name="connsiteY2799" fmla="*/ 13440029 h 16570717"/>
                <a:gd name="connsiteX2800" fmla="*/ 22007740 w 26653740"/>
                <a:gd name="connsiteY2800" fmla="*/ 13468621 h 16570717"/>
                <a:gd name="connsiteX2801" fmla="*/ 21969620 w 26653740"/>
                <a:gd name="connsiteY2801" fmla="*/ 13506741 h 16570717"/>
                <a:gd name="connsiteX2802" fmla="*/ 21936264 w 26653740"/>
                <a:gd name="connsiteY2802" fmla="*/ 13530569 h 16570717"/>
                <a:gd name="connsiteX2803" fmla="*/ 21926736 w 26653740"/>
                <a:gd name="connsiteY2803" fmla="*/ 13549629 h 16570717"/>
                <a:gd name="connsiteX2804" fmla="*/ 21912440 w 26653740"/>
                <a:gd name="connsiteY2804" fmla="*/ 13578217 h 16570717"/>
                <a:gd name="connsiteX2805" fmla="*/ 21898144 w 26653740"/>
                <a:gd name="connsiteY2805" fmla="*/ 13640165 h 16570717"/>
                <a:gd name="connsiteX2806" fmla="*/ 21902908 w 26653740"/>
                <a:gd name="connsiteY2806" fmla="*/ 13668757 h 16570717"/>
                <a:gd name="connsiteX2807" fmla="*/ 21912440 w 26653740"/>
                <a:gd name="connsiteY2807" fmla="*/ 13683053 h 16570717"/>
                <a:gd name="connsiteX2808" fmla="*/ 21917204 w 26653740"/>
                <a:gd name="connsiteY2808" fmla="*/ 13702113 h 16570717"/>
                <a:gd name="connsiteX2809" fmla="*/ 21907672 w 26653740"/>
                <a:gd name="connsiteY2809" fmla="*/ 13730701 h 16570717"/>
                <a:gd name="connsiteX2810" fmla="*/ 21907672 w 26653740"/>
                <a:gd name="connsiteY2810" fmla="*/ 13744997 h 16570717"/>
                <a:gd name="connsiteX2811" fmla="*/ 21926736 w 26653740"/>
                <a:gd name="connsiteY2811" fmla="*/ 13773589 h 16570717"/>
                <a:gd name="connsiteX2812" fmla="*/ 21926736 w 26653740"/>
                <a:gd name="connsiteY2812" fmla="*/ 13811709 h 16570717"/>
                <a:gd name="connsiteX2813" fmla="*/ 21917204 w 26653740"/>
                <a:gd name="connsiteY2813" fmla="*/ 13811709 h 16570717"/>
                <a:gd name="connsiteX2814" fmla="*/ 21888612 w 26653740"/>
                <a:gd name="connsiteY2814" fmla="*/ 13787885 h 16570717"/>
                <a:gd name="connsiteX2815" fmla="*/ 21860024 w 26653740"/>
                <a:gd name="connsiteY2815" fmla="*/ 13783121 h 16570717"/>
                <a:gd name="connsiteX2816" fmla="*/ 21788544 w 26653740"/>
                <a:gd name="connsiteY2816" fmla="*/ 13816477 h 16570717"/>
                <a:gd name="connsiteX2817" fmla="*/ 21759952 w 26653740"/>
                <a:gd name="connsiteY2817" fmla="*/ 13830769 h 16570717"/>
                <a:gd name="connsiteX2818" fmla="*/ 21726600 w 26653740"/>
                <a:gd name="connsiteY2818" fmla="*/ 13868893 h 16570717"/>
                <a:gd name="connsiteX2819" fmla="*/ 21717068 w 26653740"/>
                <a:gd name="connsiteY2819" fmla="*/ 13864125 h 16570717"/>
                <a:gd name="connsiteX2820" fmla="*/ 21712304 w 26653740"/>
                <a:gd name="connsiteY2820" fmla="*/ 13840301 h 16570717"/>
                <a:gd name="connsiteX2821" fmla="*/ 21702772 w 26653740"/>
                <a:gd name="connsiteY2821" fmla="*/ 13830769 h 16570717"/>
                <a:gd name="connsiteX2822" fmla="*/ 21683712 w 26653740"/>
                <a:gd name="connsiteY2822" fmla="*/ 13835537 h 16570717"/>
                <a:gd name="connsiteX2823" fmla="*/ 21678944 w 26653740"/>
                <a:gd name="connsiteY2823" fmla="*/ 13854597 h 16570717"/>
                <a:gd name="connsiteX2824" fmla="*/ 21698008 w 26653740"/>
                <a:gd name="connsiteY2824" fmla="*/ 13864125 h 16570717"/>
                <a:gd name="connsiteX2825" fmla="*/ 21707536 w 26653740"/>
                <a:gd name="connsiteY2825" fmla="*/ 13878421 h 16570717"/>
                <a:gd name="connsiteX2826" fmla="*/ 21698008 w 26653740"/>
                <a:gd name="connsiteY2826" fmla="*/ 13926073 h 16570717"/>
                <a:gd name="connsiteX2827" fmla="*/ 21688480 w 26653740"/>
                <a:gd name="connsiteY2827" fmla="*/ 13940369 h 16570717"/>
                <a:gd name="connsiteX2828" fmla="*/ 21688480 w 26653740"/>
                <a:gd name="connsiteY2828" fmla="*/ 13983253 h 16570717"/>
                <a:gd name="connsiteX2829" fmla="*/ 21688480 w 26653740"/>
                <a:gd name="connsiteY2829" fmla="*/ 14002317 h 16570717"/>
                <a:gd name="connsiteX2830" fmla="*/ 21683712 w 26653740"/>
                <a:gd name="connsiteY2830" fmla="*/ 14026141 h 16570717"/>
                <a:gd name="connsiteX2831" fmla="*/ 21664652 w 26653740"/>
                <a:gd name="connsiteY2831" fmla="*/ 14078557 h 16570717"/>
                <a:gd name="connsiteX2832" fmla="*/ 21626528 w 26653740"/>
                <a:gd name="connsiteY2832" fmla="*/ 14150033 h 16570717"/>
                <a:gd name="connsiteX2833" fmla="*/ 21583644 w 26653740"/>
                <a:gd name="connsiteY2833" fmla="*/ 14202449 h 16570717"/>
                <a:gd name="connsiteX2834" fmla="*/ 21555056 w 26653740"/>
                <a:gd name="connsiteY2834" fmla="*/ 14221509 h 16570717"/>
                <a:gd name="connsiteX2835" fmla="*/ 21540760 w 26653740"/>
                <a:gd name="connsiteY2835" fmla="*/ 14235805 h 16570717"/>
                <a:gd name="connsiteX2836" fmla="*/ 21531228 w 26653740"/>
                <a:gd name="connsiteY2836" fmla="*/ 14250101 h 16570717"/>
                <a:gd name="connsiteX2837" fmla="*/ 21488344 w 26653740"/>
                <a:gd name="connsiteY2837" fmla="*/ 14297753 h 16570717"/>
                <a:gd name="connsiteX2838" fmla="*/ 21431160 w 26653740"/>
                <a:gd name="connsiteY2838" fmla="*/ 14350169 h 16570717"/>
                <a:gd name="connsiteX2839" fmla="*/ 21416864 w 26653740"/>
                <a:gd name="connsiteY2839" fmla="*/ 14359701 h 16570717"/>
                <a:gd name="connsiteX2840" fmla="*/ 21412100 w 26653740"/>
                <a:gd name="connsiteY2840" fmla="*/ 14340641 h 16570717"/>
                <a:gd name="connsiteX2841" fmla="*/ 21412100 w 26653740"/>
                <a:gd name="connsiteY2841" fmla="*/ 14321577 h 16570717"/>
                <a:gd name="connsiteX2842" fmla="*/ 21407336 w 26653740"/>
                <a:gd name="connsiteY2842" fmla="*/ 14297753 h 16570717"/>
                <a:gd name="connsiteX2843" fmla="*/ 21383512 w 26653740"/>
                <a:gd name="connsiteY2843" fmla="*/ 14273929 h 16570717"/>
                <a:gd name="connsiteX2844" fmla="*/ 21383512 w 26653740"/>
                <a:gd name="connsiteY2844" fmla="*/ 14259633 h 16570717"/>
                <a:gd name="connsiteX2845" fmla="*/ 21378744 w 26653740"/>
                <a:gd name="connsiteY2845" fmla="*/ 14235805 h 16570717"/>
                <a:gd name="connsiteX2846" fmla="*/ 21373976 w 26653740"/>
                <a:gd name="connsiteY2846" fmla="*/ 14126209 h 16570717"/>
                <a:gd name="connsiteX2847" fmla="*/ 21359684 w 26653740"/>
                <a:gd name="connsiteY2847" fmla="*/ 14007081 h 16570717"/>
                <a:gd name="connsiteX2848" fmla="*/ 21354920 w 26653740"/>
                <a:gd name="connsiteY2848" fmla="*/ 13973725 h 16570717"/>
                <a:gd name="connsiteX2849" fmla="*/ 21335856 w 26653740"/>
                <a:gd name="connsiteY2849" fmla="*/ 13940369 h 16570717"/>
                <a:gd name="connsiteX2850" fmla="*/ 21326328 w 26653740"/>
                <a:gd name="connsiteY2850" fmla="*/ 13911777 h 16570717"/>
                <a:gd name="connsiteX2851" fmla="*/ 21316800 w 26653740"/>
                <a:gd name="connsiteY2851" fmla="*/ 13878421 h 16570717"/>
                <a:gd name="connsiteX2852" fmla="*/ 21316800 w 26653740"/>
                <a:gd name="connsiteY2852" fmla="*/ 13845065 h 16570717"/>
                <a:gd name="connsiteX2853" fmla="*/ 21292972 w 26653740"/>
                <a:gd name="connsiteY2853" fmla="*/ 13649697 h 16570717"/>
                <a:gd name="connsiteX2854" fmla="*/ 21283440 w 26653740"/>
                <a:gd name="connsiteY2854" fmla="*/ 13602045 h 16570717"/>
                <a:gd name="connsiteX2855" fmla="*/ 21254848 w 26653740"/>
                <a:gd name="connsiteY2855" fmla="*/ 13444797 h 16570717"/>
                <a:gd name="connsiteX2856" fmla="*/ 21240556 w 26653740"/>
                <a:gd name="connsiteY2856" fmla="*/ 13349493 h 16570717"/>
                <a:gd name="connsiteX2857" fmla="*/ 21231024 w 26653740"/>
                <a:gd name="connsiteY2857" fmla="*/ 13258956 h 16570717"/>
                <a:gd name="connsiteX2858" fmla="*/ 21231024 w 26653740"/>
                <a:gd name="connsiteY2858" fmla="*/ 13220835 h 16570717"/>
                <a:gd name="connsiteX2859" fmla="*/ 21245320 w 26653740"/>
                <a:gd name="connsiteY2859" fmla="*/ 13096941 h 16570717"/>
                <a:gd name="connsiteX2860" fmla="*/ 21254848 w 26653740"/>
                <a:gd name="connsiteY2860" fmla="*/ 13015934 h 16570717"/>
                <a:gd name="connsiteX2861" fmla="*/ 21297736 w 26653740"/>
                <a:gd name="connsiteY2861" fmla="*/ 12844390 h 16570717"/>
                <a:gd name="connsiteX2862" fmla="*/ 21302504 w 26653740"/>
                <a:gd name="connsiteY2862" fmla="*/ 12825329 h 16570717"/>
                <a:gd name="connsiteX2863" fmla="*/ 21312032 w 26653740"/>
                <a:gd name="connsiteY2863" fmla="*/ 12815799 h 16570717"/>
                <a:gd name="connsiteX2864" fmla="*/ 21383512 w 26653740"/>
                <a:gd name="connsiteY2864" fmla="*/ 12749087 h 16570717"/>
                <a:gd name="connsiteX2865" fmla="*/ 21412100 w 26653740"/>
                <a:gd name="connsiteY2865" fmla="*/ 12710966 h 16570717"/>
                <a:gd name="connsiteX2866" fmla="*/ 21431160 w 26653740"/>
                <a:gd name="connsiteY2866" fmla="*/ 12672845 h 16570717"/>
                <a:gd name="connsiteX2867" fmla="*/ 21450220 w 26653740"/>
                <a:gd name="connsiteY2867" fmla="*/ 12620429 h 16570717"/>
                <a:gd name="connsiteX2868" fmla="*/ 21450220 w 26653740"/>
                <a:gd name="connsiteY2868" fmla="*/ 12591838 h 16570717"/>
                <a:gd name="connsiteX2869" fmla="*/ 21450220 w 26653740"/>
                <a:gd name="connsiteY2869" fmla="*/ 12577543 h 16570717"/>
                <a:gd name="connsiteX2870" fmla="*/ 21440688 w 26653740"/>
                <a:gd name="connsiteY2870" fmla="*/ 12558482 h 16570717"/>
                <a:gd name="connsiteX2871" fmla="*/ 21421632 w 26653740"/>
                <a:gd name="connsiteY2871" fmla="*/ 12539422 h 16570717"/>
                <a:gd name="connsiteX2872" fmla="*/ 21431160 w 26653740"/>
                <a:gd name="connsiteY2872" fmla="*/ 12529891 h 16570717"/>
                <a:gd name="connsiteX2873" fmla="*/ 21435928 w 26653740"/>
                <a:gd name="connsiteY2873" fmla="*/ 12520361 h 16570717"/>
                <a:gd name="connsiteX2874" fmla="*/ 21454984 w 26653740"/>
                <a:gd name="connsiteY2874" fmla="*/ 12515596 h 16570717"/>
                <a:gd name="connsiteX2875" fmla="*/ 21488344 w 26653740"/>
                <a:gd name="connsiteY2875" fmla="*/ 12529891 h 16570717"/>
                <a:gd name="connsiteX2876" fmla="*/ 21526464 w 26653740"/>
                <a:gd name="connsiteY2876" fmla="*/ 12525126 h 16570717"/>
                <a:gd name="connsiteX2877" fmla="*/ 21559816 w 26653740"/>
                <a:gd name="connsiteY2877" fmla="*/ 12458414 h 16570717"/>
                <a:gd name="connsiteX2878" fmla="*/ 21607472 w 26653740"/>
                <a:gd name="connsiteY2878" fmla="*/ 12467945 h 16570717"/>
                <a:gd name="connsiteX2879" fmla="*/ 21645592 w 26653740"/>
                <a:gd name="connsiteY2879" fmla="*/ 12458414 h 16570717"/>
                <a:gd name="connsiteX2880" fmla="*/ 21655120 w 26653740"/>
                <a:gd name="connsiteY2880" fmla="*/ 12463180 h 16570717"/>
                <a:gd name="connsiteX2881" fmla="*/ 21664652 w 26653740"/>
                <a:gd name="connsiteY2881" fmla="*/ 12439354 h 16570717"/>
                <a:gd name="connsiteX2882" fmla="*/ 21683712 w 26653740"/>
                <a:gd name="connsiteY2882" fmla="*/ 12415528 h 16570717"/>
                <a:gd name="connsiteX2883" fmla="*/ 21721832 w 26653740"/>
                <a:gd name="connsiteY2883" fmla="*/ 12382172 h 16570717"/>
                <a:gd name="connsiteX2884" fmla="*/ 21774248 w 26653740"/>
                <a:gd name="connsiteY2884" fmla="*/ 12339286 h 16570717"/>
                <a:gd name="connsiteX2885" fmla="*/ 21802840 w 26653740"/>
                <a:gd name="connsiteY2885" fmla="*/ 12310695 h 16570717"/>
                <a:gd name="connsiteX2886" fmla="*/ 21817136 w 26653740"/>
                <a:gd name="connsiteY2886" fmla="*/ 12282105 h 16570717"/>
                <a:gd name="connsiteX2887" fmla="*/ 21840960 w 26653740"/>
                <a:gd name="connsiteY2887" fmla="*/ 12258279 h 16570717"/>
                <a:gd name="connsiteX2888" fmla="*/ 21860024 w 26653740"/>
                <a:gd name="connsiteY2888" fmla="*/ 12224923 h 16570717"/>
                <a:gd name="connsiteX2889" fmla="*/ 21902908 w 26653740"/>
                <a:gd name="connsiteY2889" fmla="*/ 12124855 h 16570717"/>
                <a:gd name="connsiteX2890" fmla="*/ 21979152 w 26653740"/>
                <a:gd name="connsiteY2890" fmla="*/ 12043848 h 16570717"/>
                <a:gd name="connsiteX2891" fmla="*/ 22012504 w 26653740"/>
                <a:gd name="connsiteY2891" fmla="*/ 11996197 h 16570717"/>
                <a:gd name="connsiteX2892" fmla="*/ 22036332 w 26653740"/>
                <a:gd name="connsiteY2892" fmla="*/ 11981902 h 16570717"/>
                <a:gd name="connsiteX2893" fmla="*/ 22060160 w 26653740"/>
                <a:gd name="connsiteY2893" fmla="*/ 11972372 h 16570717"/>
                <a:gd name="connsiteX2894" fmla="*/ 22117336 w 26653740"/>
                <a:gd name="connsiteY2894" fmla="*/ 11905660 h 16570717"/>
                <a:gd name="connsiteX2895" fmla="*/ 22150696 w 26653740"/>
                <a:gd name="connsiteY2895" fmla="*/ 11848478 h 16570717"/>
                <a:gd name="connsiteX2896" fmla="*/ 22198344 w 26653740"/>
                <a:gd name="connsiteY2896" fmla="*/ 11810357 h 16570717"/>
                <a:gd name="connsiteX2897" fmla="*/ 22212640 w 26653740"/>
                <a:gd name="connsiteY2897" fmla="*/ 11786532 h 16570717"/>
                <a:gd name="connsiteX2898" fmla="*/ 22236464 w 26653740"/>
                <a:gd name="connsiteY2898" fmla="*/ 11724585 h 16570717"/>
                <a:gd name="connsiteX2899" fmla="*/ 22246000 w 26653740"/>
                <a:gd name="connsiteY2899" fmla="*/ 11710290 h 16570717"/>
                <a:gd name="connsiteX2900" fmla="*/ 22279352 w 26653740"/>
                <a:gd name="connsiteY2900" fmla="*/ 11691229 h 16570717"/>
                <a:gd name="connsiteX2901" fmla="*/ 22350832 w 26653740"/>
                <a:gd name="connsiteY2901" fmla="*/ 11648343 h 16570717"/>
                <a:gd name="connsiteX2902" fmla="*/ 22388952 w 26653740"/>
                <a:gd name="connsiteY2902" fmla="*/ 11610222 h 16570717"/>
                <a:gd name="connsiteX2903" fmla="*/ 22446132 w 26653740"/>
                <a:gd name="connsiteY2903" fmla="*/ 11605456 h 16570717"/>
                <a:gd name="connsiteX2904" fmla="*/ 22465192 w 26653740"/>
                <a:gd name="connsiteY2904" fmla="*/ 11591162 h 16570717"/>
                <a:gd name="connsiteX2905" fmla="*/ 22484256 w 26653740"/>
                <a:gd name="connsiteY2905" fmla="*/ 11581631 h 16570717"/>
                <a:gd name="connsiteX2906" fmla="*/ 22503312 w 26653740"/>
                <a:gd name="connsiteY2906" fmla="*/ 11567336 h 16570717"/>
                <a:gd name="connsiteX2907" fmla="*/ 22479488 w 26653740"/>
                <a:gd name="connsiteY2907" fmla="*/ 11533980 h 16570717"/>
                <a:gd name="connsiteX2908" fmla="*/ 22484256 w 26653740"/>
                <a:gd name="connsiteY2908" fmla="*/ 11514919 h 16570717"/>
                <a:gd name="connsiteX2909" fmla="*/ 22489016 w 26653740"/>
                <a:gd name="connsiteY2909" fmla="*/ 11505389 h 16570717"/>
                <a:gd name="connsiteX2910" fmla="*/ 22531904 w 26653740"/>
                <a:gd name="connsiteY2910" fmla="*/ 11462503 h 16570717"/>
                <a:gd name="connsiteX2911" fmla="*/ 22550968 w 26653740"/>
                <a:gd name="connsiteY2911" fmla="*/ 11429147 h 16570717"/>
                <a:gd name="connsiteX2912" fmla="*/ 22546200 w 26653740"/>
                <a:gd name="connsiteY2912" fmla="*/ 11414852 h 16570717"/>
                <a:gd name="connsiteX2913" fmla="*/ 22546200 w 26653740"/>
                <a:gd name="connsiteY2913" fmla="*/ 11405322 h 16570717"/>
                <a:gd name="connsiteX2914" fmla="*/ 22517608 w 26653740"/>
                <a:gd name="connsiteY2914" fmla="*/ 11391026 h 16570717"/>
                <a:gd name="connsiteX2915" fmla="*/ 22522376 w 26653740"/>
                <a:gd name="connsiteY2915" fmla="*/ 11357670 h 16570717"/>
                <a:gd name="connsiteX2916" fmla="*/ 22531904 w 26653740"/>
                <a:gd name="connsiteY2916" fmla="*/ 11333844 h 16570717"/>
                <a:gd name="connsiteX2917" fmla="*/ 22550968 w 26653740"/>
                <a:gd name="connsiteY2917" fmla="*/ 11310019 h 16570717"/>
                <a:gd name="connsiteX2918" fmla="*/ 22560496 w 26653740"/>
                <a:gd name="connsiteY2918" fmla="*/ 11252838 h 16570717"/>
                <a:gd name="connsiteX2919" fmla="*/ 22560496 w 26653740"/>
                <a:gd name="connsiteY2919" fmla="*/ 11195656 h 16570717"/>
                <a:gd name="connsiteX2920" fmla="*/ 22584320 w 26653740"/>
                <a:gd name="connsiteY2920" fmla="*/ 11114648 h 16570717"/>
                <a:gd name="connsiteX2921" fmla="*/ 22593852 w 26653740"/>
                <a:gd name="connsiteY2921" fmla="*/ 11095588 h 16570717"/>
                <a:gd name="connsiteX2922" fmla="*/ 22641504 w 26653740"/>
                <a:gd name="connsiteY2922" fmla="*/ 11057467 h 16570717"/>
                <a:gd name="connsiteX2923" fmla="*/ 22655800 w 26653740"/>
                <a:gd name="connsiteY2923" fmla="*/ 11052702 h 16570717"/>
                <a:gd name="connsiteX2924" fmla="*/ 22689152 w 26653740"/>
                <a:gd name="connsiteY2924" fmla="*/ 11066998 h 16570717"/>
                <a:gd name="connsiteX2925" fmla="*/ 22727272 w 26653740"/>
                <a:gd name="connsiteY2925" fmla="*/ 11076528 h 16570717"/>
                <a:gd name="connsiteX2926" fmla="*/ 22736808 w 26653740"/>
                <a:gd name="connsiteY2926" fmla="*/ 11086058 h 16570717"/>
                <a:gd name="connsiteX2927" fmla="*/ 22741568 w 26653740"/>
                <a:gd name="connsiteY2927" fmla="*/ 11076528 h 16570717"/>
                <a:gd name="connsiteX2928" fmla="*/ 22741568 w 26653740"/>
                <a:gd name="connsiteY2928" fmla="*/ 11062232 h 16570717"/>
                <a:gd name="connsiteX2929" fmla="*/ 22751100 w 26653740"/>
                <a:gd name="connsiteY2929" fmla="*/ 11057467 h 16570717"/>
                <a:gd name="connsiteX2930" fmla="*/ 22770160 w 26653740"/>
                <a:gd name="connsiteY2930" fmla="*/ 11062232 h 16570717"/>
                <a:gd name="connsiteX2931" fmla="*/ 22765396 w 26653740"/>
                <a:gd name="connsiteY2931" fmla="*/ 11047937 h 16570717"/>
                <a:gd name="connsiteX2932" fmla="*/ 22712980 w 26653740"/>
                <a:gd name="connsiteY2932" fmla="*/ 11038406 h 16570717"/>
                <a:gd name="connsiteX2933" fmla="*/ 22674856 w 26653740"/>
                <a:gd name="connsiteY2933" fmla="*/ 11019346 h 16570717"/>
                <a:gd name="connsiteX2934" fmla="*/ 22636736 w 26653740"/>
                <a:gd name="connsiteY2934" fmla="*/ 10985990 h 16570717"/>
                <a:gd name="connsiteX2935" fmla="*/ 22612912 w 26653740"/>
                <a:gd name="connsiteY2935" fmla="*/ 10976460 h 16570717"/>
                <a:gd name="connsiteX2936" fmla="*/ 22589088 w 26653740"/>
                <a:gd name="connsiteY2936" fmla="*/ 10976460 h 16570717"/>
                <a:gd name="connsiteX2937" fmla="*/ 22446132 w 26653740"/>
                <a:gd name="connsiteY2937" fmla="*/ 11028876 h 16570717"/>
                <a:gd name="connsiteX2938" fmla="*/ 22436600 w 26653740"/>
                <a:gd name="connsiteY2938" fmla="*/ 11043172 h 16570717"/>
                <a:gd name="connsiteX2939" fmla="*/ 22431840 w 26653740"/>
                <a:gd name="connsiteY2939" fmla="*/ 11062232 h 16570717"/>
                <a:gd name="connsiteX2940" fmla="*/ 22441368 w 26653740"/>
                <a:gd name="connsiteY2940" fmla="*/ 11086058 h 16570717"/>
                <a:gd name="connsiteX2941" fmla="*/ 22431840 w 26653740"/>
                <a:gd name="connsiteY2941" fmla="*/ 11100353 h 16570717"/>
                <a:gd name="connsiteX2942" fmla="*/ 22427072 w 26653740"/>
                <a:gd name="connsiteY2942" fmla="*/ 11109884 h 16570717"/>
                <a:gd name="connsiteX2943" fmla="*/ 22417544 w 26653740"/>
                <a:gd name="connsiteY2943" fmla="*/ 11124179 h 16570717"/>
                <a:gd name="connsiteX2944" fmla="*/ 22412776 w 26653740"/>
                <a:gd name="connsiteY2944" fmla="*/ 11162300 h 16570717"/>
                <a:gd name="connsiteX2945" fmla="*/ 22412776 w 26653740"/>
                <a:gd name="connsiteY2945" fmla="*/ 11195656 h 16570717"/>
                <a:gd name="connsiteX2946" fmla="*/ 22398480 w 26653740"/>
                <a:gd name="connsiteY2946" fmla="*/ 11248072 h 16570717"/>
                <a:gd name="connsiteX2947" fmla="*/ 22393716 w 26653740"/>
                <a:gd name="connsiteY2947" fmla="*/ 11281428 h 16570717"/>
                <a:gd name="connsiteX2948" fmla="*/ 22427072 w 26653740"/>
                <a:gd name="connsiteY2948" fmla="*/ 11300488 h 16570717"/>
                <a:gd name="connsiteX2949" fmla="*/ 22431840 w 26653740"/>
                <a:gd name="connsiteY2949" fmla="*/ 11310019 h 16570717"/>
                <a:gd name="connsiteX2950" fmla="*/ 22422304 w 26653740"/>
                <a:gd name="connsiteY2950" fmla="*/ 11329080 h 16570717"/>
                <a:gd name="connsiteX2951" fmla="*/ 22412776 w 26653740"/>
                <a:gd name="connsiteY2951" fmla="*/ 11343374 h 16570717"/>
                <a:gd name="connsiteX2952" fmla="*/ 22408012 w 26653740"/>
                <a:gd name="connsiteY2952" fmla="*/ 11352905 h 16570717"/>
                <a:gd name="connsiteX2953" fmla="*/ 22403248 w 26653740"/>
                <a:gd name="connsiteY2953" fmla="*/ 11362435 h 16570717"/>
                <a:gd name="connsiteX2954" fmla="*/ 22393716 w 26653740"/>
                <a:gd name="connsiteY2954" fmla="*/ 11362435 h 16570717"/>
                <a:gd name="connsiteX2955" fmla="*/ 22379420 w 26653740"/>
                <a:gd name="connsiteY2955" fmla="*/ 11348140 h 16570717"/>
                <a:gd name="connsiteX2956" fmla="*/ 22369888 w 26653740"/>
                <a:gd name="connsiteY2956" fmla="*/ 11310019 h 16570717"/>
                <a:gd name="connsiteX2957" fmla="*/ 22355596 w 26653740"/>
                <a:gd name="connsiteY2957" fmla="*/ 11310019 h 16570717"/>
                <a:gd name="connsiteX2958" fmla="*/ 22350832 w 26653740"/>
                <a:gd name="connsiteY2958" fmla="*/ 11314784 h 16570717"/>
                <a:gd name="connsiteX2959" fmla="*/ 22346064 w 26653740"/>
                <a:gd name="connsiteY2959" fmla="*/ 11329080 h 16570717"/>
                <a:gd name="connsiteX2960" fmla="*/ 22331768 w 26653740"/>
                <a:gd name="connsiteY2960" fmla="*/ 11329080 h 16570717"/>
                <a:gd name="connsiteX2961" fmla="*/ 22317472 w 26653740"/>
                <a:gd name="connsiteY2961" fmla="*/ 11324314 h 16570717"/>
                <a:gd name="connsiteX2962" fmla="*/ 22298416 w 26653740"/>
                <a:gd name="connsiteY2962" fmla="*/ 11324314 h 16570717"/>
                <a:gd name="connsiteX2963" fmla="*/ 22265056 w 26653740"/>
                <a:gd name="connsiteY2963" fmla="*/ 11362435 h 16570717"/>
                <a:gd name="connsiteX2964" fmla="*/ 22088748 w 26653740"/>
                <a:gd name="connsiteY2964" fmla="*/ 11553040 h 16570717"/>
                <a:gd name="connsiteX2965" fmla="*/ 22069688 w 26653740"/>
                <a:gd name="connsiteY2965" fmla="*/ 11576866 h 16570717"/>
                <a:gd name="connsiteX2966" fmla="*/ 22045864 w 26653740"/>
                <a:gd name="connsiteY2966" fmla="*/ 11619752 h 16570717"/>
                <a:gd name="connsiteX2967" fmla="*/ 21998208 w 26653740"/>
                <a:gd name="connsiteY2967" fmla="*/ 11624517 h 16570717"/>
                <a:gd name="connsiteX2968" fmla="*/ 21983916 w 26653740"/>
                <a:gd name="connsiteY2968" fmla="*/ 11634048 h 16570717"/>
                <a:gd name="connsiteX2969" fmla="*/ 21969620 w 26653740"/>
                <a:gd name="connsiteY2969" fmla="*/ 11648343 h 16570717"/>
                <a:gd name="connsiteX2970" fmla="*/ 21950560 w 26653740"/>
                <a:gd name="connsiteY2970" fmla="*/ 11657873 h 16570717"/>
                <a:gd name="connsiteX2971" fmla="*/ 21950560 w 26653740"/>
                <a:gd name="connsiteY2971" fmla="*/ 11638812 h 16570717"/>
                <a:gd name="connsiteX2972" fmla="*/ 21955324 w 26653740"/>
                <a:gd name="connsiteY2972" fmla="*/ 11624517 h 16570717"/>
                <a:gd name="connsiteX2973" fmla="*/ 21960088 w 26653740"/>
                <a:gd name="connsiteY2973" fmla="*/ 11595926 h 16570717"/>
                <a:gd name="connsiteX2974" fmla="*/ 21983916 w 26653740"/>
                <a:gd name="connsiteY2974" fmla="*/ 11533980 h 16570717"/>
                <a:gd name="connsiteX2975" fmla="*/ 21969620 w 26653740"/>
                <a:gd name="connsiteY2975" fmla="*/ 11524450 h 16570717"/>
                <a:gd name="connsiteX2976" fmla="*/ 21955324 w 26653740"/>
                <a:gd name="connsiteY2976" fmla="*/ 11524450 h 16570717"/>
                <a:gd name="connsiteX2977" fmla="*/ 21926736 w 26653740"/>
                <a:gd name="connsiteY2977" fmla="*/ 11538745 h 16570717"/>
                <a:gd name="connsiteX2978" fmla="*/ 21907672 w 26653740"/>
                <a:gd name="connsiteY2978" fmla="*/ 11557806 h 16570717"/>
                <a:gd name="connsiteX2979" fmla="*/ 21893376 w 26653740"/>
                <a:gd name="connsiteY2979" fmla="*/ 11553040 h 16570717"/>
                <a:gd name="connsiteX2980" fmla="*/ 21898144 w 26653740"/>
                <a:gd name="connsiteY2980" fmla="*/ 11533980 h 16570717"/>
                <a:gd name="connsiteX2981" fmla="*/ 21917204 w 26653740"/>
                <a:gd name="connsiteY2981" fmla="*/ 11500624 h 16570717"/>
                <a:gd name="connsiteX2982" fmla="*/ 21912440 w 26653740"/>
                <a:gd name="connsiteY2982" fmla="*/ 11462503 h 16570717"/>
                <a:gd name="connsiteX2983" fmla="*/ 21907672 w 26653740"/>
                <a:gd name="connsiteY2983" fmla="*/ 11448208 h 16570717"/>
                <a:gd name="connsiteX2984" fmla="*/ 21912440 w 26653740"/>
                <a:gd name="connsiteY2984" fmla="*/ 11433912 h 16570717"/>
                <a:gd name="connsiteX2985" fmla="*/ 21950560 w 26653740"/>
                <a:gd name="connsiteY2985" fmla="*/ 11367200 h 16570717"/>
                <a:gd name="connsiteX2986" fmla="*/ 21964856 w 26653740"/>
                <a:gd name="connsiteY2986" fmla="*/ 11329080 h 16570717"/>
                <a:gd name="connsiteX2987" fmla="*/ 21974384 w 26653740"/>
                <a:gd name="connsiteY2987" fmla="*/ 11281428 h 16570717"/>
                <a:gd name="connsiteX2988" fmla="*/ 21974384 w 26653740"/>
                <a:gd name="connsiteY2988" fmla="*/ 11267132 h 16570717"/>
                <a:gd name="connsiteX2989" fmla="*/ 21974384 w 26653740"/>
                <a:gd name="connsiteY2989" fmla="*/ 11248072 h 16570717"/>
                <a:gd name="connsiteX2990" fmla="*/ 21960088 w 26653740"/>
                <a:gd name="connsiteY2990" fmla="*/ 11243307 h 16570717"/>
                <a:gd name="connsiteX2991" fmla="*/ 21955324 w 26653740"/>
                <a:gd name="connsiteY2991" fmla="*/ 11243307 h 16570717"/>
                <a:gd name="connsiteX2992" fmla="*/ 21879080 w 26653740"/>
                <a:gd name="connsiteY2992" fmla="*/ 11290958 h 16570717"/>
                <a:gd name="connsiteX2993" fmla="*/ 21855256 w 26653740"/>
                <a:gd name="connsiteY2993" fmla="*/ 11305254 h 16570717"/>
                <a:gd name="connsiteX2994" fmla="*/ 21845728 w 26653740"/>
                <a:gd name="connsiteY2994" fmla="*/ 11286193 h 16570717"/>
                <a:gd name="connsiteX2995" fmla="*/ 21836196 w 26653740"/>
                <a:gd name="connsiteY2995" fmla="*/ 11276663 h 16570717"/>
                <a:gd name="connsiteX2996" fmla="*/ 21817136 w 26653740"/>
                <a:gd name="connsiteY2996" fmla="*/ 11243307 h 16570717"/>
                <a:gd name="connsiteX2997" fmla="*/ 21798076 w 26653740"/>
                <a:gd name="connsiteY2997" fmla="*/ 11238542 h 16570717"/>
                <a:gd name="connsiteX2998" fmla="*/ 21779016 w 26653740"/>
                <a:gd name="connsiteY2998" fmla="*/ 11238542 h 16570717"/>
                <a:gd name="connsiteX2999" fmla="*/ 21740896 w 26653740"/>
                <a:gd name="connsiteY2999" fmla="*/ 11262368 h 16570717"/>
                <a:gd name="connsiteX3000" fmla="*/ 21698008 w 26653740"/>
                <a:gd name="connsiteY3000" fmla="*/ 11276663 h 16570717"/>
                <a:gd name="connsiteX3001" fmla="*/ 21664652 w 26653740"/>
                <a:gd name="connsiteY3001" fmla="*/ 11271898 h 16570717"/>
                <a:gd name="connsiteX3002" fmla="*/ 21636060 w 26653740"/>
                <a:gd name="connsiteY3002" fmla="*/ 11290958 h 16570717"/>
                <a:gd name="connsiteX3003" fmla="*/ 21621768 w 26653740"/>
                <a:gd name="connsiteY3003" fmla="*/ 11295724 h 16570717"/>
                <a:gd name="connsiteX3004" fmla="*/ 21583644 w 26653740"/>
                <a:gd name="connsiteY3004" fmla="*/ 11281428 h 16570717"/>
                <a:gd name="connsiteX3005" fmla="*/ 21531228 w 26653740"/>
                <a:gd name="connsiteY3005" fmla="*/ 11281428 h 16570717"/>
                <a:gd name="connsiteX3006" fmla="*/ 21512168 w 26653740"/>
                <a:gd name="connsiteY3006" fmla="*/ 11295724 h 16570717"/>
                <a:gd name="connsiteX3007" fmla="*/ 21469280 w 26653740"/>
                <a:gd name="connsiteY3007" fmla="*/ 11319549 h 16570717"/>
                <a:gd name="connsiteX3008" fmla="*/ 21440688 w 26653740"/>
                <a:gd name="connsiteY3008" fmla="*/ 11357670 h 16570717"/>
                <a:gd name="connsiteX3009" fmla="*/ 21421632 w 26653740"/>
                <a:gd name="connsiteY3009" fmla="*/ 11367200 h 16570717"/>
                <a:gd name="connsiteX3010" fmla="*/ 21407336 w 26653740"/>
                <a:gd name="connsiteY3010" fmla="*/ 11386261 h 16570717"/>
                <a:gd name="connsiteX3011" fmla="*/ 21397804 w 26653740"/>
                <a:gd name="connsiteY3011" fmla="*/ 11452972 h 16570717"/>
                <a:gd name="connsiteX3012" fmla="*/ 21373976 w 26653740"/>
                <a:gd name="connsiteY3012" fmla="*/ 11472033 h 16570717"/>
                <a:gd name="connsiteX3013" fmla="*/ 21354920 w 26653740"/>
                <a:gd name="connsiteY3013" fmla="*/ 11491094 h 16570717"/>
                <a:gd name="connsiteX3014" fmla="*/ 21307268 w 26653740"/>
                <a:gd name="connsiteY3014" fmla="*/ 11543510 h 16570717"/>
                <a:gd name="connsiteX3015" fmla="*/ 21278676 w 26653740"/>
                <a:gd name="connsiteY3015" fmla="*/ 11610222 h 16570717"/>
                <a:gd name="connsiteX3016" fmla="*/ 21254848 w 26653740"/>
                <a:gd name="connsiteY3016" fmla="*/ 11643578 h 16570717"/>
                <a:gd name="connsiteX3017" fmla="*/ 21211964 w 26653740"/>
                <a:gd name="connsiteY3017" fmla="*/ 11686464 h 16570717"/>
                <a:gd name="connsiteX3018" fmla="*/ 21140488 w 26653740"/>
                <a:gd name="connsiteY3018" fmla="*/ 11738880 h 16570717"/>
                <a:gd name="connsiteX3019" fmla="*/ 21078540 w 26653740"/>
                <a:gd name="connsiteY3019" fmla="*/ 11829418 h 16570717"/>
                <a:gd name="connsiteX3020" fmla="*/ 21054716 w 26653740"/>
                <a:gd name="connsiteY3020" fmla="*/ 11896130 h 16570717"/>
                <a:gd name="connsiteX3021" fmla="*/ 21049952 w 26653740"/>
                <a:gd name="connsiteY3021" fmla="*/ 11896130 h 16570717"/>
                <a:gd name="connsiteX3022" fmla="*/ 21035656 w 26653740"/>
                <a:gd name="connsiteY3022" fmla="*/ 11910425 h 16570717"/>
                <a:gd name="connsiteX3023" fmla="*/ 21030888 w 26653740"/>
                <a:gd name="connsiteY3023" fmla="*/ 11943780 h 16570717"/>
                <a:gd name="connsiteX3024" fmla="*/ 21030888 w 26653740"/>
                <a:gd name="connsiteY3024" fmla="*/ 11962841 h 16570717"/>
                <a:gd name="connsiteX3025" fmla="*/ 21021360 w 26653740"/>
                <a:gd name="connsiteY3025" fmla="*/ 11981902 h 16570717"/>
                <a:gd name="connsiteX3026" fmla="*/ 21011832 w 26653740"/>
                <a:gd name="connsiteY3026" fmla="*/ 12005728 h 16570717"/>
                <a:gd name="connsiteX3027" fmla="*/ 21021360 w 26653740"/>
                <a:gd name="connsiteY3027" fmla="*/ 12020022 h 16570717"/>
                <a:gd name="connsiteX3028" fmla="*/ 21030888 w 26653740"/>
                <a:gd name="connsiteY3028" fmla="*/ 12020022 h 16570717"/>
                <a:gd name="connsiteX3029" fmla="*/ 21045184 w 26653740"/>
                <a:gd name="connsiteY3029" fmla="*/ 12020022 h 16570717"/>
                <a:gd name="connsiteX3030" fmla="*/ 21078540 w 26653740"/>
                <a:gd name="connsiteY3030" fmla="*/ 12000962 h 16570717"/>
                <a:gd name="connsiteX3031" fmla="*/ 21140488 w 26653740"/>
                <a:gd name="connsiteY3031" fmla="*/ 12029553 h 16570717"/>
                <a:gd name="connsiteX3032" fmla="*/ 21169080 w 26653740"/>
                <a:gd name="connsiteY3032" fmla="*/ 12053378 h 16570717"/>
                <a:gd name="connsiteX3033" fmla="*/ 21169080 w 26653740"/>
                <a:gd name="connsiteY3033" fmla="*/ 12081969 h 16570717"/>
                <a:gd name="connsiteX3034" fmla="*/ 21169080 w 26653740"/>
                <a:gd name="connsiteY3034" fmla="*/ 12105795 h 16570717"/>
                <a:gd name="connsiteX3035" fmla="*/ 21145252 w 26653740"/>
                <a:gd name="connsiteY3035" fmla="*/ 12105795 h 16570717"/>
                <a:gd name="connsiteX3036" fmla="*/ 21116664 w 26653740"/>
                <a:gd name="connsiteY3036" fmla="*/ 12110560 h 16570717"/>
                <a:gd name="connsiteX3037" fmla="*/ 21097600 w 26653740"/>
                <a:gd name="connsiteY3037" fmla="*/ 12124855 h 16570717"/>
                <a:gd name="connsiteX3038" fmla="*/ 21059480 w 26653740"/>
                <a:gd name="connsiteY3038" fmla="*/ 12101030 h 16570717"/>
                <a:gd name="connsiteX3039" fmla="*/ 21045184 w 26653740"/>
                <a:gd name="connsiteY3039" fmla="*/ 12110560 h 16570717"/>
                <a:gd name="connsiteX3040" fmla="*/ 21026124 w 26653740"/>
                <a:gd name="connsiteY3040" fmla="*/ 12134386 h 16570717"/>
                <a:gd name="connsiteX3041" fmla="*/ 20988004 w 26653740"/>
                <a:gd name="connsiteY3041" fmla="*/ 12143916 h 16570717"/>
                <a:gd name="connsiteX3042" fmla="*/ 20968944 w 26653740"/>
                <a:gd name="connsiteY3042" fmla="*/ 12129621 h 16570717"/>
                <a:gd name="connsiteX3043" fmla="*/ 20940352 w 26653740"/>
                <a:gd name="connsiteY3043" fmla="*/ 12096265 h 16570717"/>
                <a:gd name="connsiteX3044" fmla="*/ 20887936 w 26653740"/>
                <a:gd name="connsiteY3044" fmla="*/ 12101030 h 16570717"/>
                <a:gd name="connsiteX3045" fmla="*/ 20873640 w 26653740"/>
                <a:gd name="connsiteY3045" fmla="*/ 12139151 h 16570717"/>
                <a:gd name="connsiteX3046" fmla="*/ 20864112 w 26653740"/>
                <a:gd name="connsiteY3046" fmla="*/ 12139151 h 16570717"/>
                <a:gd name="connsiteX3047" fmla="*/ 20845048 w 26653740"/>
                <a:gd name="connsiteY3047" fmla="*/ 12139151 h 16570717"/>
                <a:gd name="connsiteX3048" fmla="*/ 20811696 w 26653740"/>
                <a:gd name="connsiteY3048" fmla="*/ 12182037 h 16570717"/>
                <a:gd name="connsiteX3049" fmla="*/ 20802164 w 26653740"/>
                <a:gd name="connsiteY3049" fmla="*/ 12186802 h 16570717"/>
                <a:gd name="connsiteX3050" fmla="*/ 20764040 w 26653740"/>
                <a:gd name="connsiteY3050" fmla="*/ 12177272 h 16570717"/>
                <a:gd name="connsiteX3051" fmla="*/ 20740216 w 26653740"/>
                <a:gd name="connsiteY3051" fmla="*/ 12158211 h 16570717"/>
                <a:gd name="connsiteX3052" fmla="*/ 20725920 w 26653740"/>
                <a:gd name="connsiteY3052" fmla="*/ 12153446 h 16570717"/>
                <a:gd name="connsiteX3053" fmla="*/ 20702096 w 26653740"/>
                <a:gd name="connsiteY3053" fmla="*/ 12167742 h 16570717"/>
                <a:gd name="connsiteX3054" fmla="*/ 20687800 w 26653740"/>
                <a:gd name="connsiteY3054" fmla="*/ 12191567 h 16570717"/>
                <a:gd name="connsiteX3055" fmla="*/ 20630616 w 26653740"/>
                <a:gd name="connsiteY3055" fmla="*/ 12205863 h 16570717"/>
                <a:gd name="connsiteX3056" fmla="*/ 20568672 w 26653740"/>
                <a:gd name="connsiteY3056" fmla="*/ 12201098 h 16570717"/>
                <a:gd name="connsiteX3057" fmla="*/ 20540080 w 26653740"/>
                <a:gd name="connsiteY3057" fmla="*/ 12139151 h 16570717"/>
                <a:gd name="connsiteX3058" fmla="*/ 20597264 w 26653740"/>
                <a:gd name="connsiteY3058" fmla="*/ 12115325 h 16570717"/>
                <a:gd name="connsiteX3059" fmla="*/ 20635384 w 26653740"/>
                <a:gd name="connsiteY3059" fmla="*/ 12120090 h 16570717"/>
                <a:gd name="connsiteX3060" fmla="*/ 20673504 w 26653740"/>
                <a:gd name="connsiteY3060" fmla="*/ 12115325 h 16570717"/>
                <a:gd name="connsiteX3061" fmla="*/ 20716392 w 26653740"/>
                <a:gd name="connsiteY3061" fmla="*/ 12096265 h 16570717"/>
                <a:gd name="connsiteX3062" fmla="*/ 20702096 w 26653740"/>
                <a:gd name="connsiteY3062" fmla="*/ 12081969 h 16570717"/>
                <a:gd name="connsiteX3063" fmla="*/ 20692568 w 26653740"/>
                <a:gd name="connsiteY3063" fmla="*/ 12077204 h 16570717"/>
                <a:gd name="connsiteX3064" fmla="*/ 20663976 w 26653740"/>
                <a:gd name="connsiteY3064" fmla="*/ 12077204 h 16570717"/>
                <a:gd name="connsiteX3065" fmla="*/ 20644912 w 26653740"/>
                <a:gd name="connsiteY3065" fmla="*/ 12067674 h 16570717"/>
                <a:gd name="connsiteX3066" fmla="*/ 20592496 w 26653740"/>
                <a:gd name="connsiteY3066" fmla="*/ 12005728 h 16570717"/>
                <a:gd name="connsiteX3067" fmla="*/ 20573440 w 26653740"/>
                <a:gd name="connsiteY3067" fmla="*/ 11991432 h 16570717"/>
                <a:gd name="connsiteX3068" fmla="*/ 20544848 w 26653740"/>
                <a:gd name="connsiteY3068" fmla="*/ 11986667 h 16570717"/>
                <a:gd name="connsiteX3069" fmla="*/ 20525784 w 26653740"/>
                <a:gd name="connsiteY3069" fmla="*/ 11986667 h 16570717"/>
                <a:gd name="connsiteX3070" fmla="*/ 20516256 w 26653740"/>
                <a:gd name="connsiteY3070" fmla="*/ 11991432 h 16570717"/>
                <a:gd name="connsiteX3071" fmla="*/ 20506728 w 26653740"/>
                <a:gd name="connsiteY3071" fmla="*/ 12005728 h 16570717"/>
                <a:gd name="connsiteX3072" fmla="*/ 20497196 w 26653740"/>
                <a:gd name="connsiteY3072" fmla="*/ 12020022 h 16570717"/>
                <a:gd name="connsiteX3073" fmla="*/ 20492432 w 26653740"/>
                <a:gd name="connsiteY3073" fmla="*/ 12024788 h 16570717"/>
                <a:gd name="connsiteX3074" fmla="*/ 20478136 w 26653740"/>
                <a:gd name="connsiteY3074" fmla="*/ 12024788 h 16570717"/>
                <a:gd name="connsiteX3075" fmla="*/ 20459072 w 26653740"/>
                <a:gd name="connsiteY3075" fmla="*/ 12010492 h 16570717"/>
                <a:gd name="connsiteX3076" fmla="*/ 20440016 w 26653740"/>
                <a:gd name="connsiteY3076" fmla="*/ 12015258 h 16570717"/>
                <a:gd name="connsiteX3077" fmla="*/ 20449544 w 26653740"/>
                <a:gd name="connsiteY3077" fmla="*/ 12005728 h 16570717"/>
                <a:gd name="connsiteX3078" fmla="*/ 20468604 w 26653740"/>
                <a:gd name="connsiteY3078" fmla="*/ 11996197 h 16570717"/>
                <a:gd name="connsiteX3079" fmla="*/ 20435248 w 26653740"/>
                <a:gd name="connsiteY3079" fmla="*/ 11986667 h 16570717"/>
                <a:gd name="connsiteX3080" fmla="*/ 20411424 w 26653740"/>
                <a:gd name="connsiteY3080" fmla="*/ 11967606 h 16570717"/>
                <a:gd name="connsiteX3081" fmla="*/ 20392360 w 26653740"/>
                <a:gd name="connsiteY3081" fmla="*/ 11967606 h 16570717"/>
                <a:gd name="connsiteX3082" fmla="*/ 20306592 w 26653740"/>
                <a:gd name="connsiteY3082" fmla="*/ 11929486 h 16570717"/>
                <a:gd name="connsiteX3083" fmla="*/ 20273232 w 26653740"/>
                <a:gd name="connsiteY3083" fmla="*/ 11934250 h 16570717"/>
                <a:gd name="connsiteX3084" fmla="*/ 20254176 w 26653740"/>
                <a:gd name="connsiteY3084" fmla="*/ 11943780 h 16570717"/>
                <a:gd name="connsiteX3085" fmla="*/ 20216052 w 26653740"/>
                <a:gd name="connsiteY3085" fmla="*/ 11972372 h 16570717"/>
                <a:gd name="connsiteX3086" fmla="*/ 20225584 w 26653740"/>
                <a:gd name="connsiteY3086" fmla="*/ 11996197 h 16570717"/>
                <a:gd name="connsiteX3087" fmla="*/ 20235112 w 26653740"/>
                <a:gd name="connsiteY3087" fmla="*/ 12005728 h 16570717"/>
                <a:gd name="connsiteX3088" fmla="*/ 20239880 w 26653740"/>
                <a:gd name="connsiteY3088" fmla="*/ 12015258 h 16570717"/>
                <a:gd name="connsiteX3089" fmla="*/ 20225584 w 26653740"/>
                <a:gd name="connsiteY3089" fmla="*/ 12020022 h 16570717"/>
                <a:gd name="connsiteX3090" fmla="*/ 20196992 w 26653740"/>
                <a:gd name="connsiteY3090" fmla="*/ 12020022 h 16570717"/>
                <a:gd name="connsiteX3091" fmla="*/ 20173168 w 26653740"/>
                <a:gd name="connsiteY3091" fmla="*/ 12000962 h 16570717"/>
                <a:gd name="connsiteX3092" fmla="*/ 20158872 w 26653740"/>
                <a:gd name="connsiteY3092" fmla="*/ 12029553 h 16570717"/>
                <a:gd name="connsiteX3093" fmla="*/ 20168400 w 26653740"/>
                <a:gd name="connsiteY3093" fmla="*/ 12053378 h 16570717"/>
                <a:gd name="connsiteX3094" fmla="*/ 20187464 w 26653740"/>
                <a:gd name="connsiteY3094" fmla="*/ 12043848 h 16570717"/>
                <a:gd name="connsiteX3095" fmla="*/ 20201760 w 26653740"/>
                <a:gd name="connsiteY3095" fmla="*/ 12053378 h 16570717"/>
                <a:gd name="connsiteX3096" fmla="*/ 20192228 w 26653740"/>
                <a:gd name="connsiteY3096" fmla="*/ 12077204 h 16570717"/>
                <a:gd name="connsiteX3097" fmla="*/ 20163636 w 26653740"/>
                <a:gd name="connsiteY3097" fmla="*/ 12086734 h 16570717"/>
                <a:gd name="connsiteX3098" fmla="*/ 20125516 w 26653740"/>
                <a:gd name="connsiteY3098" fmla="*/ 12086734 h 16570717"/>
                <a:gd name="connsiteX3099" fmla="*/ 20092160 w 26653740"/>
                <a:gd name="connsiteY3099" fmla="*/ 12039083 h 16570717"/>
                <a:gd name="connsiteX3100" fmla="*/ 20030212 w 26653740"/>
                <a:gd name="connsiteY3100" fmla="*/ 12048614 h 16570717"/>
                <a:gd name="connsiteX3101" fmla="*/ 20001624 w 26653740"/>
                <a:gd name="connsiteY3101" fmla="*/ 12077204 h 16570717"/>
                <a:gd name="connsiteX3102" fmla="*/ 19973032 w 26653740"/>
                <a:gd name="connsiteY3102" fmla="*/ 12081969 h 16570717"/>
                <a:gd name="connsiteX3103" fmla="*/ 19901552 w 26653740"/>
                <a:gd name="connsiteY3103" fmla="*/ 12053378 h 16570717"/>
                <a:gd name="connsiteX3104" fmla="*/ 19863432 w 26653740"/>
                <a:gd name="connsiteY3104" fmla="*/ 12053378 h 16570717"/>
                <a:gd name="connsiteX3105" fmla="*/ 19820548 w 26653740"/>
                <a:gd name="connsiteY3105" fmla="*/ 12024788 h 16570717"/>
                <a:gd name="connsiteX3106" fmla="*/ 19806252 w 26653740"/>
                <a:gd name="connsiteY3106" fmla="*/ 12034318 h 16570717"/>
                <a:gd name="connsiteX3107" fmla="*/ 19782424 w 26653740"/>
                <a:gd name="connsiteY3107" fmla="*/ 12096265 h 16570717"/>
                <a:gd name="connsiteX3108" fmla="*/ 19744304 w 26653740"/>
                <a:gd name="connsiteY3108" fmla="*/ 12115325 h 16570717"/>
                <a:gd name="connsiteX3109" fmla="*/ 19725244 w 26653740"/>
                <a:gd name="connsiteY3109" fmla="*/ 12105795 h 16570717"/>
                <a:gd name="connsiteX3110" fmla="*/ 19710952 w 26653740"/>
                <a:gd name="connsiteY3110" fmla="*/ 12062909 h 16570717"/>
                <a:gd name="connsiteX3111" fmla="*/ 19701420 w 26653740"/>
                <a:gd name="connsiteY3111" fmla="*/ 12053378 h 16570717"/>
                <a:gd name="connsiteX3112" fmla="*/ 19668064 w 26653740"/>
                <a:gd name="connsiteY3112" fmla="*/ 12039083 h 16570717"/>
                <a:gd name="connsiteX3113" fmla="*/ 19501284 w 26653740"/>
                <a:gd name="connsiteY3113" fmla="*/ 12048614 h 16570717"/>
                <a:gd name="connsiteX3114" fmla="*/ 19444104 w 26653740"/>
                <a:gd name="connsiteY3114" fmla="*/ 12039083 h 16570717"/>
                <a:gd name="connsiteX3115" fmla="*/ 19405984 w 26653740"/>
                <a:gd name="connsiteY3115" fmla="*/ 12039083 h 16570717"/>
                <a:gd name="connsiteX3116" fmla="*/ 19353564 w 26653740"/>
                <a:gd name="connsiteY3116" fmla="*/ 12062909 h 16570717"/>
                <a:gd name="connsiteX3117" fmla="*/ 19301148 w 26653740"/>
                <a:gd name="connsiteY3117" fmla="*/ 12053378 h 16570717"/>
                <a:gd name="connsiteX3118" fmla="*/ 19205848 w 26653740"/>
                <a:gd name="connsiteY3118" fmla="*/ 12091500 h 16570717"/>
                <a:gd name="connsiteX3119" fmla="*/ 19162960 w 26653740"/>
                <a:gd name="connsiteY3119" fmla="*/ 12120090 h 16570717"/>
                <a:gd name="connsiteX3120" fmla="*/ 19115308 w 26653740"/>
                <a:gd name="connsiteY3120" fmla="*/ 12167742 h 16570717"/>
                <a:gd name="connsiteX3121" fmla="*/ 19077188 w 26653740"/>
                <a:gd name="connsiteY3121" fmla="*/ 12243984 h 16570717"/>
                <a:gd name="connsiteX3122" fmla="*/ 19053360 w 26653740"/>
                <a:gd name="connsiteY3122" fmla="*/ 12272574 h 16570717"/>
                <a:gd name="connsiteX3123" fmla="*/ 19010476 w 26653740"/>
                <a:gd name="connsiteY3123" fmla="*/ 12305930 h 16570717"/>
                <a:gd name="connsiteX3124" fmla="*/ 18953296 w 26653740"/>
                <a:gd name="connsiteY3124" fmla="*/ 12339286 h 16570717"/>
                <a:gd name="connsiteX3125" fmla="*/ 18924704 w 26653740"/>
                <a:gd name="connsiteY3125" fmla="*/ 12372642 h 16570717"/>
                <a:gd name="connsiteX3126" fmla="*/ 18905640 w 26653740"/>
                <a:gd name="connsiteY3126" fmla="*/ 12401233 h 16570717"/>
                <a:gd name="connsiteX3127" fmla="*/ 18877052 w 26653740"/>
                <a:gd name="connsiteY3127" fmla="*/ 12506066 h 16570717"/>
                <a:gd name="connsiteX3128" fmla="*/ 18872288 w 26653740"/>
                <a:gd name="connsiteY3128" fmla="*/ 12520361 h 16570717"/>
                <a:gd name="connsiteX3129" fmla="*/ 18800808 w 26653740"/>
                <a:gd name="connsiteY3129" fmla="*/ 12558482 h 16570717"/>
                <a:gd name="connsiteX3130" fmla="*/ 18781752 w 26653740"/>
                <a:gd name="connsiteY3130" fmla="*/ 12596603 h 16570717"/>
                <a:gd name="connsiteX3131" fmla="*/ 18772220 w 26653740"/>
                <a:gd name="connsiteY3131" fmla="*/ 12606133 h 16570717"/>
                <a:gd name="connsiteX3132" fmla="*/ 18743628 w 26653740"/>
                <a:gd name="connsiteY3132" fmla="*/ 12625194 h 16570717"/>
                <a:gd name="connsiteX3133" fmla="*/ 18724568 w 26653740"/>
                <a:gd name="connsiteY3133" fmla="*/ 12653785 h 16570717"/>
                <a:gd name="connsiteX3134" fmla="*/ 18715040 w 26653740"/>
                <a:gd name="connsiteY3134" fmla="*/ 12658550 h 16570717"/>
                <a:gd name="connsiteX3135" fmla="*/ 18672152 w 26653740"/>
                <a:gd name="connsiteY3135" fmla="*/ 12677610 h 16570717"/>
                <a:gd name="connsiteX3136" fmla="*/ 18638796 w 26653740"/>
                <a:gd name="connsiteY3136" fmla="*/ 12730027 h 16570717"/>
                <a:gd name="connsiteX3137" fmla="*/ 18591144 w 26653740"/>
                <a:gd name="connsiteY3137" fmla="*/ 12763383 h 16570717"/>
                <a:gd name="connsiteX3138" fmla="*/ 18524432 w 26653740"/>
                <a:gd name="connsiteY3138" fmla="*/ 12858685 h 16570717"/>
                <a:gd name="connsiteX3139" fmla="*/ 18514904 w 26653740"/>
                <a:gd name="connsiteY3139" fmla="*/ 12872980 h 16570717"/>
                <a:gd name="connsiteX3140" fmla="*/ 18510136 w 26653740"/>
                <a:gd name="connsiteY3140" fmla="*/ 12896806 h 16570717"/>
                <a:gd name="connsiteX3141" fmla="*/ 18500608 w 26653740"/>
                <a:gd name="connsiteY3141" fmla="*/ 12915867 h 16570717"/>
                <a:gd name="connsiteX3142" fmla="*/ 18438660 w 26653740"/>
                <a:gd name="connsiteY3142" fmla="*/ 13001639 h 16570717"/>
                <a:gd name="connsiteX3143" fmla="*/ 18419600 w 26653740"/>
                <a:gd name="connsiteY3143" fmla="*/ 13006404 h 16570717"/>
                <a:gd name="connsiteX3144" fmla="*/ 18391008 w 26653740"/>
                <a:gd name="connsiteY3144" fmla="*/ 13044525 h 16570717"/>
                <a:gd name="connsiteX3145" fmla="*/ 18362416 w 26653740"/>
                <a:gd name="connsiteY3145" fmla="*/ 13068351 h 16570717"/>
                <a:gd name="connsiteX3146" fmla="*/ 18333828 w 26653740"/>
                <a:gd name="connsiteY3146" fmla="*/ 13096941 h 16570717"/>
                <a:gd name="connsiteX3147" fmla="*/ 18300472 w 26653740"/>
                <a:gd name="connsiteY3147" fmla="*/ 13125532 h 16570717"/>
                <a:gd name="connsiteX3148" fmla="*/ 18248056 w 26653740"/>
                <a:gd name="connsiteY3148" fmla="*/ 13154123 h 16570717"/>
                <a:gd name="connsiteX3149" fmla="*/ 18228992 w 26653740"/>
                <a:gd name="connsiteY3149" fmla="*/ 13173183 h 16570717"/>
                <a:gd name="connsiteX3150" fmla="*/ 18205168 w 26653740"/>
                <a:gd name="connsiteY3150" fmla="*/ 13216070 h 16570717"/>
                <a:gd name="connsiteX3151" fmla="*/ 18138456 w 26653740"/>
                <a:gd name="connsiteY3151" fmla="*/ 13268486 h 16570717"/>
                <a:gd name="connsiteX3152" fmla="*/ 18105104 w 26653740"/>
                <a:gd name="connsiteY3152" fmla="*/ 13282781 h 16570717"/>
                <a:gd name="connsiteX3153" fmla="*/ 18062216 w 26653740"/>
                <a:gd name="connsiteY3153" fmla="*/ 13330433 h 16570717"/>
                <a:gd name="connsiteX3154" fmla="*/ 18057448 w 26653740"/>
                <a:gd name="connsiteY3154" fmla="*/ 13339963 h 16570717"/>
                <a:gd name="connsiteX3155" fmla="*/ 18052684 w 26653740"/>
                <a:gd name="connsiteY3155" fmla="*/ 13359023 h 16570717"/>
                <a:gd name="connsiteX3156" fmla="*/ 18062216 w 26653740"/>
                <a:gd name="connsiteY3156" fmla="*/ 13387613 h 16570717"/>
                <a:gd name="connsiteX3157" fmla="*/ 18071744 w 26653740"/>
                <a:gd name="connsiteY3157" fmla="*/ 13392377 h 16570717"/>
                <a:gd name="connsiteX3158" fmla="*/ 18086040 w 26653740"/>
                <a:gd name="connsiteY3158" fmla="*/ 13397145 h 16570717"/>
                <a:gd name="connsiteX3159" fmla="*/ 18152752 w 26653740"/>
                <a:gd name="connsiteY3159" fmla="*/ 13425733 h 16570717"/>
                <a:gd name="connsiteX3160" fmla="*/ 18214700 w 26653740"/>
                <a:gd name="connsiteY3160" fmla="*/ 13416205 h 16570717"/>
                <a:gd name="connsiteX3161" fmla="*/ 18267116 w 26653740"/>
                <a:gd name="connsiteY3161" fmla="*/ 13420969 h 16570717"/>
                <a:gd name="connsiteX3162" fmla="*/ 18286176 w 26653740"/>
                <a:gd name="connsiteY3162" fmla="*/ 13416205 h 16570717"/>
                <a:gd name="connsiteX3163" fmla="*/ 18300472 w 26653740"/>
                <a:gd name="connsiteY3163" fmla="*/ 13416205 h 16570717"/>
                <a:gd name="connsiteX3164" fmla="*/ 18305236 w 26653740"/>
                <a:gd name="connsiteY3164" fmla="*/ 13430501 h 16570717"/>
                <a:gd name="connsiteX3165" fmla="*/ 18305236 w 26653740"/>
                <a:gd name="connsiteY3165" fmla="*/ 13463857 h 16570717"/>
                <a:gd name="connsiteX3166" fmla="*/ 18295704 w 26653740"/>
                <a:gd name="connsiteY3166" fmla="*/ 13487681 h 16570717"/>
                <a:gd name="connsiteX3167" fmla="*/ 18290944 w 26653740"/>
                <a:gd name="connsiteY3167" fmla="*/ 13568689 h 16570717"/>
                <a:gd name="connsiteX3168" fmla="*/ 18281412 w 26653740"/>
                <a:gd name="connsiteY3168" fmla="*/ 13602045 h 16570717"/>
                <a:gd name="connsiteX3169" fmla="*/ 18290944 w 26653740"/>
                <a:gd name="connsiteY3169" fmla="*/ 13635401 h 16570717"/>
                <a:gd name="connsiteX3170" fmla="*/ 18300472 w 26653740"/>
                <a:gd name="connsiteY3170" fmla="*/ 13640165 h 16570717"/>
                <a:gd name="connsiteX3171" fmla="*/ 18314768 w 26653740"/>
                <a:gd name="connsiteY3171" fmla="*/ 13625869 h 16570717"/>
                <a:gd name="connsiteX3172" fmla="*/ 18333828 w 26653740"/>
                <a:gd name="connsiteY3172" fmla="*/ 13621105 h 16570717"/>
                <a:gd name="connsiteX3173" fmla="*/ 18357656 w 26653740"/>
                <a:gd name="connsiteY3173" fmla="*/ 13630637 h 16570717"/>
                <a:gd name="connsiteX3174" fmla="*/ 18371948 w 26653740"/>
                <a:gd name="connsiteY3174" fmla="*/ 13578217 h 16570717"/>
                <a:gd name="connsiteX3175" fmla="*/ 18357656 w 26653740"/>
                <a:gd name="connsiteY3175" fmla="*/ 13568689 h 16570717"/>
                <a:gd name="connsiteX3176" fmla="*/ 18348120 w 26653740"/>
                <a:gd name="connsiteY3176" fmla="*/ 13549629 h 16570717"/>
                <a:gd name="connsiteX3177" fmla="*/ 18352888 w 26653740"/>
                <a:gd name="connsiteY3177" fmla="*/ 13535333 h 16570717"/>
                <a:gd name="connsiteX3178" fmla="*/ 18391008 w 26653740"/>
                <a:gd name="connsiteY3178" fmla="*/ 13506741 h 16570717"/>
                <a:gd name="connsiteX3179" fmla="*/ 18414832 w 26653740"/>
                <a:gd name="connsiteY3179" fmla="*/ 13506741 h 16570717"/>
                <a:gd name="connsiteX3180" fmla="*/ 18438660 w 26653740"/>
                <a:gd name="connsiteY3180" fmla="*/ 13506741 h 16570717"/>
                <a:gd name="connsiteX3181" fmla="*/ 18414832 w 26653740"/>
                <a:gd name="connsiteY3181" fmla="*/ 13540097 h 16570717"/>
                <a:gd name="connsiteX3182" fmla="*/ 18400540 w 26653740"/>
                <a:gd name="connsiteY3182" fmla="*/ 13549629 h 16570717"/>
                <a:gd name="connsiteX3183" fmla="*/ 18395776 w 26653740"/>
                <a:gd name="connsiteY3183" fmla="*/ 13549629 h 16570717"/>
                <a:gd name="connsiteX3184" fmla="*/ 18386244 w 26653740"/>
                <a:gd name="connsiteY3184" fmla="*/ 13554393 h 16570717"/>
                <a:gd name="connsiteX3185" fmla="*/ 18405304 w 26653740"/>
                <a:gd name="connsiteY3185" fmla="*/ 13573453 h 16570717"/>
                <a:gd name="connsiteX3186" fmla="*/ 18429128 w 26653740"/>
                <a:gd name="connsiteY3186" fmla="*/ 13592513 h 16570717"/>
                <a:gd name="connsiteX3187" fmla="*/ 18462488 w 26653740"/>
                <a:gd name="connsiteY3187" fmla="*/ 13597281 h 16570717"/>
                <a:gd name="connsiteX3188" fmla="*/ 18452956 w 26653740"/>
                <a:gd name="connsiteY3188" fmla="*/ 13606809 h 16570717"/>
                <a:gd name="connsiteX3189" fmla="*/ 18433896 w 26653740"/>
                <a:gd name="connsiteY3189" fmla="*/ 13616341 h 16570717"/>
                <a:gd name="connsiteX3190" fmla="*/ 18414832 w 26653740"/>
                <a:gd name="connsiteY3190" fmla="*/ 13659225 h 16570717"/>
                <a:gd name="connsiteX3191" fmla="*/ 18381480 w 26653740"/>
                <a:gd name="connsiteY3191" fmla="*/ 13678285 h 16570717"/>
                <a:gd name="connsiteX3192" fmla="*/ 18367184 w 26653740"/>
                <a:gd name="connsiteY3192" fmla="*/ 13692581 h 16570717"/>
                <a:gd name="connsiteX3193" fmla="*/ 18371948 w 26653740"/>
                <a:gd name="connsiteY3193" fmla="*/ 13702113 h 16570717"/>
                <a:gd name="connsiteX3194" fmla="*/ 18381480 w 26653740"/>
                <a:gd name="connsiteY3194" fmla="*/ 13706877 h 16570717"/>
                <a:gd name="connsiteX3195" fmla="*/ 18448192 w 26653740"/>
                <a:gd name="connsiteY3195" fmla="*/ 13697345 h 16570717"/>
                <a:gd name="connsiteX3196" fmla="*/ 18481544 w 26653740"/>
                <a:gd name="connsiteY3196" fmla="*/ 13687817 h 16570717"/>
                <a:gd name="connsiteX3197" fmla="*/ 18529200 w 26653740"/>
                <a:gd name="connsiteY3197" fmla="*/ 13654461 h 16570717"/>
                <a:gd name="connsiteX3198" fmla="*/ 18548256 w 26653740"/>
                <a:gd name="connsiteY3198" fmla="*/ 13606809 h 16570717"/>
                <a:gd name="connsiteX3199" fmla="*/ 18567320 w 26653740"/>
                <a:gd name="connsiteY3199" fmla="*/ 13592513 h 16570717"/>
                <a:gd name="connsiteX3200" fmla="*/ 18572084 w 26653740"/>
                <a:gd name="connsiteY3200" fmla="*/ 13592513 h 16570717"/>
                <a:gd name="connsiteX3201" fmla="*/ 18576848 w 26653740"/>
                <a:gd name="connsiteY3201" fmla="*/ 13597281 h 16570717"/>
                <a:gd name="connsiteX3202" fmla="*/ 18576848 w 26653740"/>
                <a:gd name="connsiteY3202" fmla="*/ 13630637 h 16570717"/>
                <a:gd name="connsiteX3203" fmla="*/ 18553024 w 26653740"/>
                <a:gd name="connsiteY3203" fmla="*/ 13668757 h 16570717"/>
                <a:gd name="connsiteX3204" fmla="*/ 18533960 w 26653740"/>
                <a:gd name="connsiteY3204" fmla="*/ 13692581 h 16570717"/>
                <a:gd name="connsiteX3205" fmla="*/ 18529200 w 26653740"/>
                <a:gd name="connsiteY3205" fmla="*/ 13706877 h 16570717"/>
                <a:gd name="connsiteX3206" fmla="*/ 18538728 w 26653740"/>
                <a:gd name="connsiteY3206" fmla="*/ 13706877 h 16570717"/>
                <a:gd name="connsiteX3207" fmla="*/ 18557788 w 26653740"/>
                <a:gd name="connsiteY3207" fmla="*/ 13706877 h 16570717"/>
                <a:gd name="connsiteX3208" fmla="*/ 18567320 w 26653740"/>
                <a:gd name="connsiteY3208" fmla="*/ 13697345 h 16570717"/>
                <a:gd name="connsiteX3209" fmla="*/ 18591144 w 26653740"/>
                <a:gd name="connsiteY3209" fmla="*/ 13649697 h 16570717"/>
                <a:gd name="connsiteX3210" fmla="*/ 18600672 w 26653740"/>
                <a:gd name="connsiteY3210" fmla="*/ 13616341 h 16570717"/>
                <a:gd name="connsiteX3211" fmla="*/ 18600672 w 26653740"/>
                <a:gd name="connsiteY3211" fmla="*/ 13573453 h 16570717"/>
                <a:gd name="connsiteX3212" fmla="*/ 18600672 w 26653740"/>
                <a:gd name="connsiteY3212" fmla="*/ 13544861 h 16570717"/>
                <a:gd name="connsiteX3213" fmla="*/ 18600672 w 26653740"/>
                <a:gd name="connsiteY3213" fmla="*/ 13521037 h 16570717"/>
                <a:gd name="connsiteX3214" fmla="*/ 18591144 w 26653740"/>
                <a:gd name="connsiteY3214" fmla="*/ 13501977 h 16570717"/>
                <a:gd name="connsiteX3215" fmla="*/ 18595912 w 26653740"/>
                <a:gd name="connsiteY3215" fmla="*/ 13497213 h 16570717"/>
                <a:gd name="connsiteX3216" fmla="*/ 18662624 w 26653740"/>
                <a:gd name="connsiteY3216" fmla="*/ 13525801 h 16570717"/>
                <a:gd name="connsiteX3217" fmla="*/ 18695976 w 26653740"/>
                <a:gd name="connsiteY3217" fmla="*/ 13530569 h 16570717"/>
                <a:gd name="connsiteX3218" fmla="*/ 18757924 w 26653740"/>
                <a:gd name="connsiteY3218" fmla="*/ 13511505 h 16570717"/>
                <a:gd name="connsiteX3219" fmla="*/ 18767456 w 26653740"/>
                <a:gd name="connsiteY3219" fmla="*/ 13516273 h 16570717"/>
                <a:gd name="connsiteX3220" fmla="*/ 18776984 w 26653740"/>
                <a:gd name="connsiteY3220" fmla="*/ 13530569 h 16570717"/>
                <a:gd name="connsiteX3221" fmla="*/ 18829400 w 26653740"/>
                <a:gd name="connsiteY3221" fmla="*/ 13568689 h 16570717"/>
                <a:gd name="connsiteX3222" fmla="*/ 18838928 w 26653740"/>
                <a:gd name="connsiteY3222" fmla="*/ 13582985 h 16570717"/>
                <a:gd name="connsiteX3223" fmla="*/ 18853224 w 26653740"/>
                <a:gd name="connsiteY3223" fmla="*/ 13630637 h 16570717"/>
                <a:gd name="connsiteX3224" fmla="*/ 18910408 w 26653740"/>
                <a:gd name="connsiteY3224" fmla="*/ 13687817 h 16570717"/>
                <a:gd name="connsiteX3225" fmla="*/ 18958060 w 26653740"/>
                <a:gd name="connsiteY3225" fmla="*/ 13716409 h 16570717"/>
                <a:gd name="connsiteX3226" fmla="*/ 18958060 w 26653740"/>
                <a:gd name="connsiteY3226" fmla="*/ 13725937 h 16570717"/>
                <a:gd name="connsiteX3227" fmla="*/ 18991416 w 26653740"/>
                <a:gd name="connsiteY3227" fmla="*/ 13759293 h 16570717"/>
                <a:gd name="connsiteX3228" fmla="*/ 19015240 w 26653740"/>
                <a:gd name="connsiteY3228" fmla="*/ 13768825 h 16570717"/>
                <a:gd name="connsiteX3229" fmla="*/ 19020008 w 26653740"/>
                <a:gd name="connsiteY3229" fmla="*/ 13797413 h 16570717"/>
                <a:gd name="connsiteX3230" fmla="*/ 19010476 w 26653740"/>
                <a:gd name="connsiteY3230" fmla="*/ 13821241 h 16570717"/>
                <a:gd name="connsiteX3231" fmla="*/ 18986648 w 26653740"/>
                <a:gd name="connsiteY3231" fmla="*/ 13840301 h 16570717"/>
                <a:gd name="connsiteX3232" fmla="*/ 18939000 w 26653740"/>
                <a:gd name="connsiteY3232" fmla="*/ 13821241 h 16570717"/>
                <a:gd name="connsiteX3233" fmla="*/ 18934232 w 26653740"/>
                <a:gd name="connsiteY3233" fmla="*/ 13821241 h 16570717"/>
                <a:gd name="connsiteX3234" fmla="*/ 18939000 w 26653740"/>
                <a:gd name="connsiteY3234" fmla="*/ 13835537 h 16570717"/>
                <a:gd name="connsiteX3235" fmla="*/ 18972352 w 26653740"/>
                <a:gd name="connsiteY3235" fmla="*/ 13873657 h 16570717"/>
                <a:gd name="connsiteX3236" fmla="*/ 18996180 w 26653740"/>
                <a:gd name="connsiteY3236" fmla="*/ 13887953 h 16570717"/>
                <a:gd name="connsiteX3237" fmla="*/ 19000944 w 26653740"/>
                <a:gd name="connsiteY3237" fmla="*/ 13935605 h 16570717"/>
                <a:gd name="connsiteX3238" fmla="*/ 18996180 w 26653740"/>
                <a:gd name="connsiteY3238" fmla="*/ 13959429 h 16570717"/>
                <a:gd name="connsiteX3239" fmla="*/ 18977120 w 26653740"/>
                <a:gd name="connsiteY3239" fmla="*/ 13992785 h 16570717"/>
                <a:gd name="connsiteX3240" fmla="*/ 18981884 w 26653740"/>
                <a:gd name="connsiteY3240" fmla="*/ 14007081 h 16570717"/>
                <a:gd name="connsiteX3241" fmla="*/ 19010476 w 26653740"/>
                <a:gd name="connsiteY3241" fmla="*/ 14035669 h 16570717"/>
                <a:gd name="connsiteX3242" fmla="*/ 19020008 w 26653740"/>
                <a:gd name="connsiteY3242" fmla="*/ 14040437 h 16570717"/>
                <a:gd name="connsiteX3243" fmla="*/ 19034304 w 26653740"/>
                <a:gd name="connsiteY3243" fmla="*/ 14054733 h 16570717"/>
                <a:gd name="connsiteX3244" fmla="*/ 19015240 w 26653740"/>
                <a:gd name="connsiteY3244" fmla="*/ 14088089 h 16570717"/>
                <a:gd name="connsiteX3245" fmla="*/ 19015240 w 26653740"/>
                <a:gd name="connsiteY3245" fmla="*/ 14121445 h 16570717"/>
                <a:gd name="connsiteX3246" fmla="*/ 18996180 w 26653740"/>
                <a:gd name="connsiteY3246" fmla="*/ 14135737 h 16570717"/>
                <a:gd name="connsiteX3247" fmla="*/ 18977120 w 26653740"/>
                <a:gd name="connsiteY3247" fmla="*/ 14169093 h 16570717"/>
                <a:gd name="connsiteX3248" fmla="*/ 18948528 w 26653740"/>
                <a:gd name="connsiteY3248" fmla="*/ 14197685 h 16570717"/>
                <a:gd name="connsiteX3249" fmla="*/ 18929468 w 26653740"/>
                <a:gd name="connsiteY3249" fmla="*/ 14250101 h 16570717"/>
                <a:gd name="connsiteX3250" fmla="*/ 18910408 w 26653740"/>
                <a:gd name="connsiteY3250" fmla="*/ 14292989 h 16570717"/>
                <a:gd name="connsiteX3251" fmla="*/ 18905640 w 26653740"/>
                <a:gd name="connsiteY3251" fmla="*/ 14340641 h 16570717"/>
                <a:gd name="connsiteX3252" fmla="*/ 18900880 w 26653740"/>
                <a:gd name="connsiteY3252" fmla="*/ 14354933 h 16570717"/>
                <a:gd name="connsiteX3253" fmla="*/ 18881816 w 26653740"/>
                <a:gd name="connsiteY3253" fmla="*/ 14402585 h 16570717"/>
                <a:gd name="connsiteX3254" fmla="*/ 18877052 w 26653740"/>
                <a:gd name="connsiteY3254" fmla="*/ 14464533 h 16570717"/>
                <a:gd name="connsiteX3255" fmla="*/ 18886584 w 26653740"/>
                <a:gd name="connsiteY3255" fmla="*/ 14564601 h 16570717"/>
                <a:gd name="connsiteX3256" fmla="*/ 18886584 w 26653740"/>
                <a:gd name="connsiteY3256" fmla="*/ 14574129 h 16570717"/>
                <a:gd name="connsiteX3257" fmla="*/ 18900880 w 26653740"/>
                <a:gd name="connsiteY3257" fmla="*/ 14578897 h 16570717"/>
                <a:gd name="connsiteX3258" fmla="*/ 18896112 w 26653740"/>
                <a:gd name="connsiteY3258" fmla="*/ 14583661 h 16570717"/>
                <a:gd name="connsiteX3259" fmla="*/ 18891348 w 26653740"/>
                <a:gd name="connsiteY3259" fmla="*/ 14588425 h 16570717"/>
                <a:gd name="connsiteX3260" fmla="*/ 18872288 w 26653740"/>
                <a:gd name="connsiteY3260" fmla="*/ 14621781 h 16570717"/>
                <a:gd name="connsiteX3261" fmla="*/ 18872288 w 26653740"/>
                <a:gd name="connsiteY3261" fmla="*/ 14640841 h 16570717"/>
                <a:gd name="connsiteX3262" fmla="*/ 18881816 w 26653740"/>
                <a:gd name="connsiteY3262" fmla="*/ 14655137 h 16570717"/>
                <a:gd name="connsiteX3263" fmla="*/ 18881816 w 26653740"/>
                <a:gd name="connsiteY3263" fmla="*/ 14698025 h 16570717"/>
                <a:gd name="connsiteX3264" fmla="*/ 18867520 w 26653740"/>
                <a:gd name="connsiteY3264" fmla="*/ 14759969 h 16570717"/>
                <a:gd name="connsiteX3265" fmla="*/ 18862756 w 26653740"/>
                <a:gd name="connsiteY3265" fmla="*/ 14769501 h 16570717"/>
                <a:gd name="connsiteX3266" fmla="*/ 18857992 w 26653740"/>
                <a:gd name="connsiteY3266" fmla="*/ 14788561 h 16570717"/>
                <a:gd name="connsiteX3267" fmla="*/ 18853224 w 26653740"/>
                <a:gd name="connsiteY3267" fmla="*/ 14802857 h 16570717"/>
                <a:gd name="connsiteX3268" fmla="*/ 18853224 w 26653740"/>
                <a:gd name="connsiteY3268" fmla="*/ 14812385 h 16570717"/>
                <a:gd name="connsiteX3269" fmla="*/ 18848464 w 26653740"/>
                <a:gd name="connsiteY3269" fmla="*/ 14826681 h 16570717"/>
                <a:gd name="connsiteX3270" fmla="*/ 18853224 w 26653740"/>
                <a:gd name="connsiteY3270" fmla="*/ 14840977 h 16570717"/>
                <a:gd name="connsiteX3271" fmla="*/ 18857992 w 26653740"/>
                <a:gd name="connsiteY3271" fmla="*/ 14845741 h 16570717"/>
                <a:gd name="connsiteX3272" fmla="*/ 18834168 w 26653740"/>
                <a:gd name="connsiteY3272" fmla="*/ 14893393 h 16570717"/>
                <a:gd name="connsiteX3273" fmla="*/ 18829400 w 26653740"/>
                <a:gd name="connsiteY3273" fmla="*/ 14950577 h 16570717"/>
                <a:gd name="connsiteX3274" fmla="*/ 18819872 w 26653740"/>
                <a:gd name="connsiteY3274" fmla="*/ 14974401 h 16570717"/>
                <a:gd name="connsiteX3275" fmla="*/ 18800808 w 26653740"/>
                <a:gd name="connsiteY3275" fmla="*/ 14998225 h 16570717"/>
                <a:gd name="connsiteX3276" fmla="*/ 18762688 w 26653740"/>
                <a:gd name="connsiteY3276" fmla="*/ 15031581 h 16570717"/>
                <a:gd name="connsiteX3277" fmla="*/ 18748392 w 26653740"/>
                <a:gd name="connsiteY3277" fmla="*/ 15055409 h 16570717"/>
                <a:gd name="connsiteX3278" fmla="*/ 18724568 w 26653740"/>
                <a:gd name="connsiteY3278" fmla="*/ 15079233 h 16570717"/>
                <a:gd name="connsiteX3279" fmla="*/ 18705508 w 26653740"/>
                <a:gd name="connsiteY3279" fmla="*/ 15103061 h 16570717"/>
                <a:gd name="connsiteX3280" fmla="*/ 18672152 w 26653740"/>
                <a:gd name="connsiteY3280" fmla="*/ 15160241 h 16570717"/>
                <a:gd name="connsiteX3281" fmla="*/ 18643560 w 26653740"/>
                <a:gd name="connsiteY3281" fmla="*/ 15217421 h 16570717"/>
                <a:gd name="connsiteX3282" fmla="*/ 18581616 w 26653740"/>
                <a:gd name="connsiteY3282" fmla="*/ 15293665 h 16570717"/>
                <a:gd name="connsiteX3283" fmla="*/ 18572084 w 26653740"/>
                <a:gd name="connsiteY3283" fmla="*/ 15312725 h 16570717"/>
                <a:gd name="connsiteX3284" fmla="*/ 18567320 w 26653740"/>
                <a:gd name="connsiteY3284" fmla="*/ 15331785 h 16570717"/>
                <a:gd name="connsiteX3285" fmla="*/ 18548256 w 26653740"/>
                <a:gd name="connsiteY3285" fmla="*/ 15365141 h 16570717"/>
                <a:gd name="connsiteX3286" fmla="*/ 18538728 w 26653740"/>
                <a:gd name="connsiteY3286" fmla="*/ 15408029 h 16570717"/>
                <a:gd name="connsiteX3287" fmla="*/ 18519668 w 26653740"/>
                <a:gd name="connsiteY3287" fmla="*/ 15427089 h 16570717"/>
                <a:gd name="connsiteX3288" fmla="*/ 18505372 w 26653740"/>
                <a:gd name="connsiteY3288" fmla="*/ 15474741 h 16570717"/>
                <a:gd name="connsiteX3289" fmla="*/ 18452956 w 26653740"/>
                <a:gd name="connsiteY3289" fmla="*/ 15550981 h 16570717"/>
                <a:gd name="connsiteX3290" fmla="*/ 18438660 w 26653740"/>
                <a:gd name="connsiteY3290" fmla="*/ 15574805 h 16570717"/>
                <a:gd name="connsiteX3291" fmla="*/ 18400540 w 26653740"/>
                <a:gd name="connsiteY3291" fmla="*/ 15612929 h 16570717"/>
                <a:gd name="connsiteX3292" fmla="*/ 18357656 w 26653740"/>
                <a:gd name="connsiteY3292" fmla="*/ 15670109 h 16570717"/>
                <a:gd name="connsiteX3293" fmla="*/ 18300472 w 26653740"/>
                <a:gd name="connsiteY3293" fmla="*/ 15717761 h 16570717"/>
                <a:gd name="connsiteX3294" fmla="*/ 18290944 w 26653740"/>
                <a:gd name="connsiteY3294" fmla="*/ 15736821 h 16570717"/>
                <a:gd name="connsiteX3295" fmla="*/ 18271880 w 26653740"/>
                <a:gd name="connsiteY3295" fmla="*/ 15760645 h 16570717"/>
                <a:gd name="connsiteX3296" fmla="*/ 18248056 w 26653740"/>
                <a:gd name="connsiteY3296" fmla="*/ 15794001 h 16570717"/>
                <a:gd name="connsiteX3297" fmla="*/ 18214700 w 26653740"/>
                <a:gd name="connsiteY3297" fmla="*/ 15827357 h 16570717"/>
                <a:gd name="connsiteX3298" fmla="*/ 18209936 w 26653740"/>
                <a:gd name="connsiteY3298" fmla="*/ 15851185 h 16570717"/>
                <a:gd name="connsiteX3299" fmla="*/ 18200404 w 26653740"/>
                <a:gd name="connsiteY3299" fmla="*/ 15870245 h 16570717"/>
                <a:gd name="connsiteX3300" fmla="*/ 18176576 w 26653740"/>
                <a:gd name="connsiteY3300" fmla="*/ 15879777 h 16570717"/>
                <a:gd name="connsiteX3301" fmla="*/ 18157520 w 26653740"/>
                <a:gd name="connsiteY3301" fmla="*/ 15894069 h 16570717"/>
                <a:gd name="connsiteX3302" fmla="*/ 18105104 w 26653740"/>
                <a:gd name="connsiteY3302" fmla="*/ 15979841 h 16570717"/>
                <a:gd name="connsiteX3303" fmla="*/ 18095572 w 26653740"/>
                <a:gd name="connsiteY3303" fmla="*/ 15998905 h 16570717"/>
                <a:gd name="connsiteX3304" fmla="*/ 18095572 w 26653740"/>
                <a:gd name="connsiteY3304" fmla="*/ 16013197 h 16570717"/>
                <a:gd name="connsiteX3305" fmla="*/ 18062216 w 26653740"/>
                <a:gd name="connsiteY3305" fmla="*/ 16041789 h 16570717"/>
                <a:gd name="connsiteX3306" fmla="*/ 18038392 w 26653740"/>
                <a:gd name="connsiteY3306" fmla="*/ 16075145 h 16570717"/>
                <a:gd name="connsiteX3307" fmla="*/ 18005032 w 26653740"/>
                <a:gd name="connsiteY3307" fmla="*/ 16098969 h 16570717"/>
                <a:gd name="connsiteX3308" fmla="*/ 17971680 w 26653740"/>
                <a:gd name="connsiteY3308" fmla="*/ 16127561 h 16570717"/>
                <a:gd name="connsiteX3309" fmla="*/ 17885904 w 26653740"/>
                <a:gd name="connsiteY3309" fmla="*/ 16179977 h 16570717"/>
                <a:gd name="connsiteX3310" fmla="*/ 17866844 w 26653740"/>
                <a:gd name="connsiteY3310" fmla="*/ 16199037 h 16570717"/>
                <a:gd name="connsiteX3311" fmla="*/ 17819192 w 26653740"/>
                <a:gd name="connsiteY3311" fmla="*/ 16227629 h 16570717"/>
                <a:gd name="connsiteX3312" fmla="*/ 17800132 w 26653740"/>
                <a:gd name="connsiteY3312" fmla="*/ 16227629 h 16570717"/>
                <a:gd name="connsiteX3313" fmla="*/ 17757248 w 26653740"/>
                <a:gd name="connsiteY3313" fmla="*/ 16241925 h 16570717"/>
                <a:gd name="connsiteX3314" fmla="*/ 17733420 w 26653740"/>
                <a:gd name="connsiteY3314" fmla="*/ 16256221 h 16570717"/>
                <a:gd name="connsiteX3315" fmla="*/ 17714360 w 26653740"/>
                <a:gd name="connsiteY3315" fmla="*/ 16251453 h 16570717"/>
                <a:gd name="connsiteX3316" fmla="*/ 17709596 w 26653740"/>
                <a:gd name="connsiteY3316" fmla="*/ 16232393 h 16570717"/>
                <a:gd name="connsiteX3317" fmla="*/ 17695300 w 26653740"/>
                <a:gd name="connsiteY3317" fmla="*/ 16232393 h 16570717"/>
                <a:gd name="connsiteX3318" fmla="*/ 17685768 w 26653740"/>
                <a:gd name="connsiteY3318" fmla="*/ 16232393 h 16570717"/>
                <a:gd name="connsiteX3319" fmla="*/ 17661944 w 26653740"/>
                <a:gd name="connsiteY3319" fmla="*/ 16218101 h 16570717"/>
                <a:gd name="connsiteX3320" fmla="*/ 17642884 w 26653740"/>
                <a:gd name="connsiteY3320" fmla="*/ 16218101 h 16570717"/>
                <a:gd name="connsiteX3321" fmla="*/ 17628588 w 26653740"/>
                <a:gd name="connsiteY3321" fmla="*/ 16208569 h 16570717"/>
                <a:gd name="connsiteX3322" fmla="*/ 17600000 w 26653740"/>
                <a:gd name="connsiteY3322" fmla="*/ 16213333 h 16570717"/>
                <a:gd name="connsiteX3323" fmla="*/ 17604764 w 26653740"/>
                <a:gd name="connsiteY3323" fmla="*/ 16137093 h 16570717"/>
                <a:gd name="connsiteX3324" fmla="*/ 17600000 w 26653740"/>
                <a:gd name="connsiteY3324" fmla="*/ 16122797 h 16570717"/>
                <a:gd name="connsiteX3325" fmla="*/ 17585704 w 26653740"/>
                <a:gd name="connsiteY3325" fmla="*/ 16137093 h 16570717"/>
                <a:gd name="connsiteX3326" fmla="*/ 17557112 w 26653740"/>
                <a:gd name="connsiteY3326" fmla="*/ 16165681 h 16570717"/>
                <a:gd name="connsiteX3327" fmla="*/ 17542816 w 26653740"/>
                <a:gd name="connsiteY3327" fmla="*/ 16170449 h 16570717"/>
                <a:gd name="connsiteX3328" fmla="*/ 17528520 w 26653740"/>
                <a:gd name="connsiteY3328" fmla="*/ 16170449 h 16570717"/>
                <a:gd name="connsiteX3329" fmla="*/ 17533288 w 26653740"/>
                <a:gd name="connsiteY3329" fmla="*/ 16151389 h 16570717"/>
                <a:gd name="connsiteX3330" fmla="*/ 17552348 w 26653740"/>
                <a:gd name="connsiteY3330" fmla="*/ 16132325 h 16570717"/>
                <a:gd name="connsiteX3331" fmla="*/ 17547580 w 26653740"/>
                <a:gd name="connsiteY3331" fmla="*/ 16127561 h 16570717"/>
                <a:gd name="connsiteX3332" fmla="*/ 17542816 w 26653740"/>
                <a:gd name="connsiteY3332" fmla="*/ 16127561 h 16570717"/>
                <a:gd name="connsiteX3333" fmla="*/ 17518992 w 26653740"/>
                <a:gd name="connsiteY3333" fmla="*/ 16137093 h 16570717"/>
                <a:gd name="connsiteX3334" fmla="*/ 17509460 w 26653740"/>
                <a:gd name="connsiteY3334" fmla="*/ 16146621 h 16570717"/>
                <a:gd name="connsiteX3335" fmla="*/ 17476104 w 26653740"/>
                <a:gd name="connsiteY3335" fmla="*/ 16189509 h 16570717"/>
                <a:gd name="connsiteX3336" fmla="*/ 17457044 w 26653740"/>
                <a:gd name="connsiteY3336" fmla="*/ 16227629 h 16570717"/>
                <a:gd name="connsiteX3337" fmla="*/ 17442748 w 26653740"/>
                <a:gd name="connsiteY3337" fmla="*/ 16237161 h 16570717"/>
                <a:gd name="connsiteX3338" fmla="*/ 17433216 w 26653740"/>
                <a:gd name="connsiteY3338" fmla="*/ 16256221 h 16570717"/>
                <a:gd name="connsiteX3339" fmla="*/ 17418924 w 26653740"/>
                <a:gd name="connsiteY3339" fmla="*/ 16270517 h 16570717"/>
                <a:gd name="connsiteX3340" fmla="*/ 17399864 w 26653740"/>
                <a:gd name="connsiteY3340" fmla="*/ 16265749 h 16570717"/>
                <a:gd name="connsiteX3341" fmla="*/ 17385568 w 26653740"/>
                <a:gd name="connsiteY3341" fmla="*/ 16270517 h 16570717"/>
                <a:gd name="connsiteX3342" fmla="*/ 17356976 w 26653740"/>
                <a:gd name="connsiteY3342" fmla="*/ 16260985 h 16570717"/>
                <a:gd name="connsiteX3343" fmla="*/ 17347448 w 26653740"/>
                <a:gd name="connsiteY3343" fmla="*/ 16260985 h 16570717"/>
                <a:gd name="connsiteX3344" fmla="*/ 17371272 w 26653740"/>
                <a:gd name="connsiteY3344" fmla="*/ 16289577 h 16570717"/>
                <a:gd name="connsiteX3345" fmla="*/ 17352212 w 26653740"/>
                <a:gd name="connsiteY3345" fmla="*/ 16332461 h 16570717"/>
                <a:gd name="connsiteX3346" fmla="*/ 17347448 w 26653740"/>
                <a:gd name="connsiteY3346" fmla="*/ 16337229 h 16570717"/>
                <a:gd name="connsiteX3347" fmla="*/ 17342680 w 26653740"/>
                <a:gd name="connsiteY3347" fmla="*/ 16332461 h 16570717"/>
                <a:gd name="connsiteX3348" fmla="*/ 17342680 w 26653740"/>
                <a:gd name="connsiteY3348" fmla="*/ 16322933 h 16570717"/>
                <a:gd name="connsiteX3349" fmla="*/ 17337916 w 26653740"/>
                <a:gd name="connsiteY3349" fmla="*/ 16313401 h 16570717"/>
                <a:gd name="connsiteX3350" fmla="*/ 17323620 w 26653740"/>
                <a:gd name="connsiteY3350" fmla="*/ 16303873 h 16570717"/>
                <a:gd name="connsiteX3351" fmla="*/ 17323620 w 26653740"/>
                <a:gd name="connsiteY3351" fmla="*/ 16289577 h 16570717"/>
                <a:gd name="connsiteX3352" fmla="*/ 17328384 w 26653740"/>
                <a:gd name="connsiteY3352" fmla="*/ 16280045 h 16570717"/>
                <a:gd name="connsiteX3353" fmla="*/ 17328384 w 26653740"/>
                <a:gd name="connsiteY3353" fmla="*/ 16270517 h 16570717"/>
                <a:gd name="connsiteX3354" fmla="*/ 17318856 w 26653740"/>
                <a:gd name="connsiteY3354" fmla="*/ 16260985 h 16570717"/>
                <a:gd name="connsiteX3355" fmla="*/ 17309324 w 26653740"/>
                <a:gd name="connsiteY3355" fmla="*/ 16256221 h 16570717"/>
                <a:gd name="connsiteX3356" fmla="*/ 17304560 w 26653740"/>
                <a:gd name="connsiteY3356" fmla="*/ 16256221 h 16570717"/>
                <a:gd name="connsiteX3357" fmla="*/ 17304560 w 26653740"/>
                <a:gd name="connsiteY3357" fmla="*/ 16246689 h 16570717"/>
                <a:gd name="connsiteX3358" fmla="*/ 17309324 w 26653740"/>
                <a:gd name="connsiteY3358" fmla="*/ 16241925 h 16570717"/>
                <a:gd name="connsiteX3359" fmla="*/ 17314088 w 26653740"/>
                <a:gd name="connsiteY3359" fmla="*/ 16237161 h 16570717"/>
                <a:gd name="connsiteX3360" fmla="*/ 17328384 w 26653740"/>
                <a:gd name="connsiteY3360" fmla="*/ 16232393 h 16570717"/>
                <a:gd name="connsiteX3361" fmla="*/ 17352212 w 26653740"/>
                <a:gd name="connsiteY3361" fmla="*/ 16222865 h 16570717"/>
                <a:gd name="connsiteX3362" fmla="*/ 17366508 w 26653740"/>
                <a:gd name="connsiteY3362" fmla="*/ 16222865 h 16570717"/>
                <a:gd name="connsiteX3363" fmla="*/ 17376036 w 26653740"/>
                <a:gd name="connsiteY3363" fmla="*/ 16218101 h 16570717"/>
                <a:gd name="connsiteX3364" fmla="*/ 17385568 w 26653740"/>
                <a:gd name="connsiteY3364" fmla="*/ 16222865 h 16570717"/>
                <a:gd name="connsiteX3365" fmla="*/ 17395096 w 26653740"/>
                <a:gd name="connsiteY3365" fmla="*/ 16213333 h 16570717"/>
                <a:gd name="connsiteX3366" fmla="*/ 17404628 w 26653740"/>
                <a:gd name="connsiteY3366" fmla="*/ 16213333 h 16570717"/>
                <a:gd name="connsiteX3367" fmla="*/ 17409392 w 26653740"/>
                <a:gd name="connsiteY3367" fmla="*/ 16199037 h 16570717"/>
                <a:gd name="connsiteX3368" fmla="*/ 17409392 w 26653740"/>
                <a:gd name="connsiteY3368" fmla="*/ 16179977 h 16570717"/>
                <a:gd name="connsiteX3369" fmla="*/ 17414160 w 26653740"/>
                <a:gd name="connsiteY3369" fmla="*/ 16175213 h 16570717"/>
                <a:gd name="connsiteX3370" fmla="*/ 17414160 w 26653740"/>
                <a:gd name="connsiteY3370" fmla="*/ 16170449 h 16570717"/>
                <a:gd name="connsiteX3371" fmla="*/ 17423688 w 26653740"/>
                <a:gd name="connsiteY3371" fmla="*/ 16160917 h 16570717"/>
                <a:gd name="connsiteX3372" fmla="*/ 17428452 w 26653740"/>
                <a:gd name="connsiteY3372" fmla="*/ 16137093 h 16570717"/>
                <a:gd name="connsiteX3373" fmla="*/ 17433216 w 26653740"/>
                <a:gd name="connsiteY3373" fmla="*/ 16118033 h 16570717"/>
                <a:gd name="connsiteX3374" fmla="*/ 17433216 w 26653740"/>
                <a:gd name="connsiteY3374" fmla="*/ 16108501 h 16570717"/>
                <a:gd name="connsiteX3375" fmla="*/ 17437984 w 26653740"/>
                <a:gd name="connsiteY3375" fmla="*/ 16098969 h 16570717"/>
                <a:gd name="connsiteX3376" fmla="*/ 17433216 w 26653740"/>
                <a:gd name="connsiteY3376" fmla="*/ 16089441 h 16570717"/>
                <a:gd name="connsiteX3377" fmla="*/ 17428452 w 26653740"/>
                <a:gd name="connsiteY3377" fmla="*/ 16084677 h 16570717"/>
                <a:gd name="connsiteX3378" fmla="*/ 17423688 w 26653740"/>
                <a:gd name="connsiteY3378" fmla="*/ 16079909 h 16570717"/>
                <a:gd name="connsiteX3379" fmla="*/ 17423688 w 26653740"/>
                <a:gd name="connsiteY3379" fmla="*/ 16070381 h 16570717"/>
                <a:gd name="connsiteX3380" fmla="*/ 17423688 w 26653740"/>
                <a:gd name="connsiteY3380" fmla="*/ 16051321 h 16570717"/>
                <a:gd name="connsiteX3381" fmla="*/ 17423688 w 26653740"/>
                <a:gd name="connsiteY3381" fmla="*/ 16037025 h 16570717"/>
                <a:gd name="connsiteX3382" fmla="*/ 17428452 w 26653740"/>
                <a:gd name="connsiteY3382" fmla="*/ 15975077 h 16570717"/>
                <a:gd name="connsiteX3383" fmla="*/ 17433216 w 26653740"/>
                <a:gd name="connsiteY3383" fmla="*/ 15960781 h 16570717"/>
                <a:gd name="connsiteX3384" fmla="*/ 17414160 w 26653740"/>
                <a:gd name="connsiteY3384" fmla="*/ 15870245 h 16570717"/>
                <a:gd name="connsiteX3385" fmla="*/ 17409392 w 26653740"/>
                <a:gd name="connsiteY3385" fmla="*/ 15846421 h 16570717"/>
                <a:gd name="connsiteX3386" fmla="*/ 17404628 w 26653740"/>
                <a:gd name="connsiteY3386" fmla="*/ 15832125 h 16570717"/>
                <a:gd name="connsiteX3387" fmla="*/ 17395096 w 26653740"/>
                <a:gd name="connsiteY3387" fmla="*/ 15808297 h 16570717"/>
                <a:gd name="connsiteX3388" fmla="*/ 17390332 w 26653740"/>
                <a:gd name="connsiteY3388" fmla="*/ 15798769 h 16570717"/>
                <a:gd name="connsiteX3389" fmla="*/ 17390332 w 26653740"/>
                <a:gd name="connsiteY3389" fmla="*/ 15789237 h 16570717"/>
                <a:gd name="connsiteX3390" fmla="*/ 17399864 w 26653740"/>
                <a:gd name="connsiteY3390" fmla="*/ 15779709 h 16570717"/>
                <a:gd name="connsiteX3391" fmla="*/ 17409392 w 26653740"/>
                <a:gd name="connsiteY3391" fmla="*/ 15774941 h 16570717"/>
                <a:gd name="connsiteX3392" fmla="*/ 17433216 w 26653740"/>
                <a:gd name="connsiteY3392" fmla="*/ 15774941 h 16570717"/>
                <a:gd name="connsiteX3393" fmla="*/ 17437984 w 26653740"/>
                <a:gd name="connsiteY3393" fmla="*/ 15770177 h 16570717"/>
                <a:gd name="connsiteX3394" fmla="*/ 17466576 w 26653740"/>
                <a:gd name="connsiteY3394" fmla="*/ 15760645 h 16570717"/>
                <a:gd name="connsiteX3395" fmla="*/ 17471340 w 26653740"/>
                <a:gd name="connsiteY3395" fmla="*/ 15751117 h 16570717"/>
                <a:gd name="connsiteX3396" fmla="*/ 17485636 w 26653740"/>
                <a:gd name="connsiteY3396" fmla="*/ 15736821 h 16570717"/>
                <a:gd name="connsiteX3397" fmla="*/ 17490400 w 26653740"/>
                <a:gd name="connsiteY3397" fmla="*/ 15727293 h 16570717"/>
                <a:gd name="connsiteX3398" fmla="*/ 17495164 w 26653740"/>
                <a:gd name="connsiteY3398" fmla="*/ 15708229 h 16570717"/>
                <a:gd name="connsiteX3399" fmla="*/ 17509460 w 26653740"/>
                <a:gd name="connsiteY3399" fmla="*/ 15703465 h 16570717"/>
                <a:gd name="connsiteX3400" fmla="*/ 17518992 w 26653740"/>
                <a:gd name="connsiteY3400" fmla="*/ 15689169 h 16570717"/>
                <a:gd name="connsiteX3401" fmla="*/ 17528520 w 26653740"/>
                <a:gd name="connsiteY3401" fmla="*/ 15684405 h 16570717"/>
                <a:gd name="connsiteX3402" fmla="*/ 17538052 w 26653740"/>
                <a:gd name="connsiteY3402" fmla="*/ 15693937 h 16570717"/>
                <a:gd name="connsiteX3403" fmla="*/ 17547580 w 26653740"/>
                <a:gd name="connsiteY3403" fmla="*/ 15703465 h 16570717"/>
                <a:gd name="connsiteX3404" fmla="*/ 17557112 w 26653740"/>
                <a:gd name="connsiteY3404" fmla="*/ 15703465 h 16570717"/>
                <a:gd name="connsiteX3405" fmla="*/ 17552348 w 26653740"/>
                <a:gd name="connsiteY3405" fmla="*/ 15708229 h 16570717"/>
                <a:gd name="connsiteX3406" fmla="*/ 17552348 w 26653740"/>
                <a:gd name="connsiteY3406" fmla="*/ 15727293 h 16570717"/>
                <a:gd name="connsiteX3407" fmla="*/ 17552348 w 26653740"/>
                <a:gd name="connsiteY3407" fmla="*/ 15741585 h 16570717"/>
                <a:gd name="connsiteX3408" fmla="*/ 17566640 w 26653740"/>
                <a:gd name="connsiteY3408" fmla="*/ 15760645 h 16570717"/>
                <a:gd name="connsiteX3409" fmla="*/ 17566640 w 26653740"/>
                <a:gd name="connsiteY3409" fmla="*/ 15789237 h 16570717"/>
                <a:gd name="connsiteX3410" fmla="*/ 17561876 w 26653740"/>
                <a:gd name="connsiteY3410" fmla="*/ 15813065 h 16570717"/>
                <a:gd name="connsiteX3411" fmla="*/ 17576172 w 26653740"/>
                <a:gd name="connsiteY3411" fmla="*/ 15827357 h 16570717"/>
                <a:gd name="connsiteX3412" fmla="*/ 17590468 w 26653740"/>
                <a:gd name="connsiteY3412" fmla="*/ 15836889 h 16570717"/>
                <a:gd name="connsiteX3413" fmla="*/ 17590468 w 26653740"/>
                <a:gd name="connsiteY3413" fmla="*/ 15841653 h 16570717"/>
                <a:gd name="connsiteX3414" fmla="*/ 17595232 w 26653740"/>
                <a:gd name="connsiteY3414" fmla="*/ 15851185 h 16570717"/>
                <a:gd name="connsiteX3415" fmla="*/ 17609528 w 26653740"/>
                <a:gd name="connsiteY3415" fmla="*/ 15860713 h 16570717"/>
                <a:gd name="connsiteX3416" fmla="*/ 17623824 w 26653740"/>
                <a:gd name="connsiteY3416" fmla="*/ 15841653 h 16570717"/>
                <a:gd name="connsiteX3417" fmla="*/ 17647648 w 26653740"/>
                <a:gd name="connsiteY3417" fmla="*/ 15817829 h 16570717"/>
                <a:gd name="connsiteX3418" fmla="*/ 17666712 w 26653740"/>
                <a:gd name="connsiteY3418" fmla="*/ 15770177 h 16570717"/>
                <a:gd name="connsiteX3419" fmla="*/ 17676240 w 26653740"/>
                <a:gd name="connsiteY3419" fmla="*/ 15746353 h 16570717"/>
                <a:gd name="connsiteX3420" fmla="*/ 17676240 w 26653740"/>
                <a:gd name="connsiteY3420" fmla="*/ 15741585 h 16570717"/>
                <a:gd name="connsiteX3421" fmla="*/ 17681004 w 26653740"/>
                <a:gd name="connsiteY3421" fmla="*/ 15741585 h 16570717"/>
                <a:gd name="connsiteX3422" fmla="*/ 17690536 w 26653740"/>
                <a:gd name="connsiteY3422" fmla="*/ 15746353 h 16570717"/>
                <a:gd name="connsiteX3423" fmla="*/ 17695300 w 26653740"/>
                <a:gd name="connsiteY3423" fmla="*/ 15751117 h 16570717"/>
                <a:gd name="connsiteX3424" fmla="*/ 17709596 w 26653740"/>
                <a:gd name="connsiteY3424" fmla="*/ 15741585 h 16570717"/>
                <a:gd name="connsiteX3425" fmla="*/ 17723892 w 26653740"/>
                <a:gd name="connsiteY3425" fmla="*/ 15727293 h 16570717"/>
                <a:gd name="connsiteX3426" fmla="*/ 17723892 w 26653740"/>
                <a:gd name="connsiteY3426" fmla="*/ 15708229 h 16570717"/>
                <a:gd name="connsiteX3427" fmla="*/ 17723892 w 26653740"/>
                <a:gd name="connsiteY3427" fmla="*/ 15684405 h 16570717"/>
                <a:gd name="connsiteX3428" fmla="*/ 17738188 w 26653740"/>
                <a:gd name="connsiteY3428" fmla="*/ 15646285 h 16570717"/>
                <a:gd name="connsiteX3429" fmla="*/ 17747716 w 26653740"/>
                <a:gd name="connsiteY3429" fmla="*/ 15636753 h 16570717"/>
                <a:gd name="connsiteX3430" fmla="*/ 17757248 w 26653740"/>
                <a:gd name="connsiteY3430" fmla="*/ 15631989 h 16570717"/>
                <a:gd name="connsiteX3431" fmla="*/ 17762012 w 26653740"/>
                <a:gd name="connsiteY3431" fmla="*/ 15627225 h 16570717"/>
                <a:gd name="connsiteX3432" fmla="*/ 17776308 w 26653740"/>
                <a:gd name="connsiteY3432" fmla="*/ 15622457 h 16570717"/>
                <a:gd name="connsiteX3433" fmla="*/ 17781072 w 26653740"/>
                <a:gd name="connsiteY3433" fmla="*/ 15612929 h 16570717"/>
                <a:gd name="connsiteX3434" fmla="*/ 17776308 w 26653740"/>
                <a:gd name="connsiteY3434" fmla="*/ 15598633 h 16570717"/>
                <a:gd name="connsiteX3435" fmla="*/ 17781072 w 26653740"/>
                <a:gd name="connsiteY3435" fmla="*/ 15589101 h 16570717"/>
                <a:gd name="connsiteX3436" fmla="*/ 17785840 w 26653740"/>
                <a:gd name="connsiteY3436" fmla="*/ 15574805 h 16570717"/>
                <a:gd name="connsiteX3437" fmla="*/ 17785840 w 26653740"/>
                <a:gd name="connsiteY3437" fmla="*/ 15560513 h 16570717"/>
                <a:gd name="connsiteX3438" fmla="*/ 17795368 w 26653740"/>
                <a:gd name="connsiteY3438" fmla="*/ 15555745 h 16570717"/>
                <a:gd name="connsiteX3439" fmla="*/ 17804896 w 26653740"/>
                <a:gd name="connsiteY3439" fmla="*/ 15550981 h 16570717"/>
                <a:gd name="connsiteX3440" fmla="*/ 17809664 w 26653740"/>
                <a:gd name="connsiteY3440" fmla="*/ 15541453 h 16570717"/>
                <a:gd name="connsiteX3441" fmla="*/ 17814428 w 26653740"/>
                <a:gd name="connsiteY3441" fmla="*/ 15531921 h 16570717"/>
                <a:gd name="connsiteX3442" fmla="*/ 17819192 w 26653740"/>
                <a:gd name="connsiteY3442" fmla="*/ 15517625 h 16570717"/>
                <a:gd name="connsiteX3443" fmla="*/ 17814428 w 26653740"/>
                <a:gd name="connsiteY3443" fmla="*/ 15503329 h 16570717"/>
                <a:gd name="connsiteX3444" fmla="*/ 17823960 w 26653740"/>
                <a:gd name="connsiteY3444" fmla="*/ 15489033 h 16570717"/>
                <a:gd name="connsiteX3445" fmla="*/ 17838256 w 26653740"/>
                <a:gd name="connsiteY3445" fmla="*/ 15484269 h 16570717"/>
                <a:gd name="connsiteX3446" fmla="*/ 17843020 w 26653740"/>
                <a:gd name="connsiteY3446" fmla="*/ 15474741 h 16570717"/>
                <a:gd name="connsiteX3447" fmla="*/ 17843020 w 26653740"/>
                <a:gd name="connsiteY3447" fmla="*/ 15465209 h 16570717"/>
                <a:gd name="connsiteX3448" fmla="*/ 17843020 w 26653740"/>
                <a:gd name="connsiteY3448" fmla="*/ 15455677 h 16570717"/>
                <a:gd name="connsiteX3449" fmla="*/ 17847784 w 26653740"/>
                <a:gd name="connsiteY3449" fmla="*/ 15450913 h 16570717"/>
                <a:gd name="connsiteX3450" fmla="*/ 17847784 w 26653740"/>
                <a:gd name="connsiteY3450" fmla="*/ 15436617 h 16570717"/>
                <a:gd name="connsiteX3451" fmla="*/ 17843020 w 26653740"/>
                <a:gd name="connsiteY3451" fmla="*/ 15422321 h 16570717"/>
                <a:gd name="connsiteX3452" fmla="*/ 17857316 w 26653740"/>
                <a:gd name="connsiteY3452" fmla="*/ 15393733 h 16570717"/>
                <a:gd name="connsiteX3453" fmla="*/ 17866844 w 26653740"/>
                <a:gd name="connsiteY3453" fmla="*/ 15369905 h 16570717"/>
                <a:gd name="connsiteX3454" fmla="*/ 17871608 w 26653740"/>
                <a:gd name="connsiteY3454" fmla="*/ 15336549 h 16570717"/>
                <a:gd name="connsiteX3455" fmla="*/ 17871608 w 26653740"/>
                <a:gd name="connsiteY3455" fmla="*/ 15331785 h 16570717"/>
                <a:gd name="connsiteX3456" fmla="*/ 17876376 w 26653740"/>
                <a:gd name="connsiteY3456" fmla="*/ 15317489 h 16570717"/>
                <a:gd name="connsiteX3457" fmla="*/ 17876376 w 26653740"/>
                <a:gd name="connsiteY3457" fmla="*/ 15312725 h 16570717"/>
                <a:gd name="connsiteX3458" fmla="*/ 17885904 w 26653740"/>
                <a:gd name="connsiteY3458" fmla="*/ 15288901 h 16570717"/>
                <a:gd name="connsiteX3459" fmla="*/ 17895436 w 26653740"/>
                <a:gd name="connsiteY3459" fmla="*/ 15274605 h 16570717"/>
                <a:gd name="connsiteX3460" fmla="*/ 17895436 w 26653740"/>
                <a:gd name="connsiteY3460" fmla="*/ 15260309 h 16570717"/>
                <a:gd name="connsiteX3461" fmla="*/ 17890672 w 26653740"/>
                <a:gd name="connsiteY3461" fmla="*/ 15246013 h 16570717"/>
                <a:gd name="connsiteX3462" fmla="*/ 17890672 w 26653740"/>
                <a:gd name="connsiteY3462" fmla="*/ 15236481 h 16570717"/>
                <a:gd name="connsiteX3463" fmla="*/ 17900200 w 26653740"/>
                <a:gd name="connsiteY3463" fmla="*/ 15226953 h 16570717"/>
                <a:gd name="connsiteX3464" fmla="*/ 17904968 w 26653740"/>
                <a:gd name="connsiteY3464" fmla="*/ 15217421 h 16570717"/>
                <a:gd name="connsiteX3465" fmla="*/ 17909732 w 26653740"/>
                <a:gd name="connsiteY3465" fmla="*/ 15212657 h 16570717"/>
                <a:gd name="connsiteX3466" fmla="*/ 17919260 w 26653740"/>
                <a:gd name="connsiteY3466" fmla="*/ 15207893 h 16570717"/>
                <a:gd name="connsiteX3467" fmla="*/ 17924028 w 26653740"/>
                <a:gd name="connsiteY3467" fmla="*/ 15203129 h 16570717"/>
                <a:gd name="connsiteX3468" fmla="*/ 17938320 w 26653740"/>
                <a:gd name="connsiteY3468" fmla="*/ 15203129 h 16570717"/>
                <a:gd name="connsiteX3469" fmla="*/ 17957384 w 26653740"/>
                <a:gd name="connsiteY3469" fmla="*/ 15184065 h 16570717"/>
                <a:gd name="connsiteX3470" fmla="*/ 17971680 w 26653740"/>
                <a:gd name="connsiteY3470" fmla="*/ 15160241 h 16570717"/>
                <a:gd name="connsiteX3471" fmla="*/ 17976444 w 26653740"/>
                <a:gd name="connsiteY3471" fmla="*/ 15145945 h 16570717"/>
                <a:gd name="connsiteX3472" fmla="*/ 17981208 w 26653740"/>
                <a:gd name="connsiteY3472" fmla="*/ 15141181 h 16570717"/>
                <a:gd name="connsiteX3473" fmla="*/ 17971680 w 26653740"/>
                <a:gd name="connsiteY3473" fmla="*/ 15122121 h 16570717"/>
                <a:gd name="connsiteX3474" fmla="*/ 17966912 w 26653740"/>
                <a:gd name="connsiteY3474" fmla="*/ 15103061 h 16570717"/>
                <a:gd name="connsiteX3475" fmla="*/ 17957384 w 26653740"/>
                <a:gd name="connsiteY3475" fmla="*/ 15079233 h 16570717"/>
                <a:gd name="connsiteX3476" fmla="*/ 17952616 w 26653740"/>
                <a:gd name="connsiteY3476" fmla="*/ 15069705 h 16570717"/>
                <a:gd name="connsiteX3477" fmla="*/ 17957384 w 26653740"/>
                <a:gd name="connsiteY3477" fmla="*/ 15055409 h 16570717"/>
                <a:gd name="connsiteX3478" fmla="*/ 17966912 w 26653740"/>
                <a:gd name="connsiteY3478" fmla="*/ 15045877 h 16570717"/>
                <a:gd name="connsiteX3479" fmla="*/ 17966912 w 26653740"/>
                <a:gd name="connsiteY3479" fmla="*/ 15041113 h 16570717"/>
                <a:gd name="connsiteX3480" fmla="*/ 17971680 w 26653740"/>
                <a:gd name="connsiteY3480" fmla="*/ 15026817 h 16570717"/>
                <a:gd name="connsiteX3481" fmla="*/ 17966912 w 26653740"/>
                <a:gd name="connsiteY3481" fmla="*/ 15017289 h 16570717"/>
                <a:gd name="connsiteX3482" fmla="*/ 17952616 w 26653740"/>
                <a:gd name="connsiteY3482" fmla="*/ 14998225 h 16570717"/>
                <a:gd name="connsiteX3483" fmla="*/ 17933556 w 26653740"/>
                <a:gd name="connsiteY3483" fmla="*/ 14993461 h 16570717"/>
                <a:gd name="connsiteX3484" fmla="*/ 17914496 w 26653740"/>
                <a:gd name="connsiteY3484" fmla="*/ 14988697 h 16570717"/>
                <a:gd name="connsiteX3485" fmla="*/ 17909732 w 26653740"/>
                <a:gd name="connsiteY3485" fmla="*/ 14988697 h 16570717"/>
                <a:gd name="connsiteX3486" fmla="*/ 17895436 w 26653740"/>
                <a:gd name="connsiteY3486" fmla="*/ 14988697 h 16570717"/>
                <a:gd name="connsiteX3487" fmla="*/ 17838256 w 26653740"/>
                <a:gd name="connsiteY3487" fmla="*/ 15012521 h 16570717"/>
                <a:gd name="connsiteX3488" fmla="*/ 17814428 w 26653740"/>
                <a:gd name="connsiteY3488" fmla="*/ 15026817 h 16570717"/>
                <a:gd name="connsiteX3489" fmla="*/ 17795368 w 26653740"/>
                <a:gd name="connsiteY3489" fmla="*/ 15045877 h 16570717"/>
                <a:gd name="connsiteX3490" fmla="*/ 17781072 w 26653740"/>
                <a:gd name="connsiteY3490" fmla="*/ 15050641 h 16570717"/>
                <a:gd name="connsiteX3491" fmla="*/ 17752480 w 26653740"/>
                <a:gd name="connsiteY3491" fmla="*/ 15050641 h 16570717"/>
                <a:gd name="connsiteX3492" fmla="*/ 17728656 w 26653740"/>
                <a:gd name="connsiteY3492" fmla="*/ 15050641 h 16570717"/>
                <a:gd name="connsiteX3493" fmla="*/ 17709596 w 26653740"/>
                <a:gd name="connsiteY3493" fmla="*/ 15060173 h 16570717"/>
                <a:gd name="connsiteX3494" fmla="*/ 17690536 w 26653740"/>
                <a:gd name="connsiteY3494" fmla="*/ 15079233 h 16570717"/>
                <a:gd name="connsiteX3495" fmla="*/ 17671476 w 26653740"/>
                <a:gd name="connsiteY3495" fmla="*/ 15088765 h 16570717"/>
                <a:gd name="connsiteX3496" fmla="*/ 17661944 w 26653740"/>
                <a:gd name="connsiteY3496" fmla="*/ 15088765 h 16570717"/>
                <a:gd name="connsiteX3497" fmla="*/ 17652416 w 26653740"/>
                <a:gd name="connsiteY3497" fmla="*/ 15098293 h 16570717"/>
                <a:gd name="connsiteX3498" fmla="*/ 17638120 w 26653740"/>
                <a:gd name="connsiteY3498" fmla="*/ 15126885 h 16570717"/>
                <a:gd name="connsiteX3499" fmla="*/ 17623824 w 26653740"/>
                <a:gd name="connsiteY3499" fmla="*/ 15141181 h 16570717"/>
                <a:gd name="connsiteX3500" fmla="*/ 17609528 w 26653740"/>
                <a:gd name="connsiteY3500" fmla="*/ 15136417 h 16570717"/>
                <a:gd name="connsiteX3501" fmla="*/ 17576172 w 26653740"/>
                <a:gd name="connsiteY3501" fmla="*/ 15141181 h 16570717"/>
                <a:gd name="connsiteX3502" fmla="*/ 17518992 w 26653740"/>
                <a:gd name="connsiteY3502" fmla="*/ 15150709 h 16570717"/>
                <a:gd name="connsiteX3503" fmla="*/ 17480872 w 26653740"/>
                <a:gd name="connsiteY3503" fmla="*/ 15150709 h 16570717"/>
                <a:gd name="connsiteX3504" fmla="*/ 17466576 w 26653740"/>
                <a:gd name="connsiteY3504" fmla="*/ 15141181 h 16570717"/>
                <a:gd name="connsiteX3505" fmla="*/ 17447512 w 26653740"/>
                <a:gd name="connsiteY3505" fmla="*/ 15136417 h 16570717"/>
                <a:gd name="connsiteX3506" fmla="*/ 17414160 w 26653740"/>
                <a:gd name="connsiteY3506" fmla="*/ 15145945 h 16570717"/>
                <a:gd name="connsiteX3507" fmla="*/ 17395096 w 26653740"/>
                <a:gd name="connsiteY3507" fmla="*/ 15145945 h 16570717"/>
                <a:gd name="connsiteX3508" fmla="*/ 17390332 w 26653740"/>
                <a:gd name="connsiteY3508" fmla="*/ 15141181 h 16570717"/>
                <a:gd name="connsiteX3509" fmla="*/ 17385568 w 26653740"/>
                <a:gd name="connsiteY3509" fmla="*/ 15131649 h 16570717"/>
                <a:gd name="connsiteX3510" fmla="*/ 17380800 w 26653740"/>
                <a:gd name="connsiteY3510" fmla="*/ 15112589 h 16570717"/>
                <a:gd name="connsiteX3511" fmla="*/ 17371272 w 26653740"/>
                <a:gd name="connsiteY3511" fmla="*/ 15088765 h 16570717"/>
                <a:gd name="connsiteX3512" fmla="*/ 17352212 w 26653740"/>
                <a:gd name="connsiteY3512" fmla="*/ 15069705 h 16570717"/>
                <a:gd name="connsiteX3513" fmla="*/ 17352212 w 26653740"/>
                <a:gd name="connsiteY3513" fmla="*/ 15045877 h 16570717"/>
                <a:gd name="connsiteX3514" fmla="*/ 17361740 w 26653740"/>
                <a:gd name="connsiteY3514" fmla="*/ 15017289 h 16570717"/>
                <a:gd name="connsiteX3515" fmla="*/ 17366508 w 26653740"/>
                <a:gd name="connsiteY3515" fmla="*/ 14993461 h 16570717"/>
                <a:gd name="connsiteX3516" fmla="*/ 17356976 w 26653740"/>
                <a:gd name="connsiteY3516" fmla="*/ 14983933 h 16570717"/>
                <a:gd name="connsiteX3517" fmla="*/ 17356976 w 26653740"/>
                <a:gd name="connsiteY3517" fmla="*/ 14974401 h 16570717"/>
                <a:gd name="connsiteX3518" fmla="*/ 17342680 w 26653740"/>
                <a:gd name="connsiteY3518" fmla="*/ 14960105 h 16570717"/>
                <a:gd name="connsiteX3519" fmla="*/ 17333152 w 26653740"/>
                <a:gd name="connsiteY3519" fmla="*/ 14941045 h 16570717"/>
                <a:gd name="connsiteX3520" fmla="*/ 17323620 w 26653740"/>
                <a:gd name="connsiteY3520" fmla="*/ 14931513 h 16570717"/>
                <a:gd name="connsiteX3521" fmla="*/ 17328384 w 26653740"/>
                <a:gd name="connsiteY3521" fmla="*/ 14912453 h 16570717"/>
                <a:gd name="connsiteX3522" fmla="*/ 17337916 w 26653740"/>
                <a:gd name="connsiteY3522" fmla="*/ 14893393 h 16570717"/>
                <a:gd name="connsiteX3523" fmla="*/ 17323620 w 26653740"/>
                <a:gd name="connsiteY3523" fmla="*/ 14869569 h 16570717"/>
                <a:gd name="connsiteX3524" fmla="*/ 17295032 w 26653740"/>
                <a:gd name="connsiteY3524" fmla="*/ 14869569 h 16570717"/>
                <a:gd name="connsiteX3525" fmla="*/ 17271204 w 26653740"/>
                <a:gd name="connsiteY3525" fmla="*/ 14864805 h 16570717"/>
                <a:gd name="connsiteX3526" fmla="*/ 17242612 w 26653740"/>
                <a:gd name="connsiteY3526" fmla="*/ 14845741 h 16570717"/>
                <a:gd name="connsiteX3527" fmla="*/ 17204492 w 26653740"/>
                <a:gd name="connsiteY3527" fmla="*/ 14793325 h 16570717"/>
                <a:gd name="connsiteX3528" fmla="*/ 17185432 w 26653740"/>
                <a:gd name="connsiteY3528" fmla="*/ 14774265 h 16570717"/>
                <a:gd name="connsiteX3529" fmla="*/ 17175904 w 26653740"/>
                <a:gd name="connsiteY3529" fmla="*/ 14769501 h 16570717"/>
                <a:gd name="connsiteX3530" fmla="*/ 17166372 w 26653740"/>
                <a:gd name="connsiteY3530" fmla="*/ 14759969 h 16570717"/>
                <a:gd name="connsiteX3531" fmla="*/ 17161608 w 26653740"/>
                <a:gd name="connsiteY3531" fmla="*/ 14745673 h 16570717"/>
                <a:gd name="connsiteX3532" fmla="*/ 17142544 w 26653740"/>
                <a:gd name="connsiteY3532" fmla="*/ 14745673 h 16570717"/>
                <a:gd name="connsiteX3533" fmla="*/ 17137780 w 26653740"/>
                <a:gd name="connsiteY3533" fmla="*/ 14750441 h 16570717"/>
                <a:gd name="connsiteX3534" fmla="*/ 17133016 w 26653740"/>
                <a:gd name="connsiteY3534" fmla="*/ 14755205 h 16570717"/>
                <a:gd name="connsiteX3535" fmla="*/ 17123484 w 26653740"/>
                <a:gd name="connsiteY3535" fmla="*/ 14750441 h 16570717"/>
                <a:gd name="connsiteX3536" fmla="*/ 17109192 w 26653740"/>
                <a:gd name="connsiteY3536" fmla="*/ 14745673 h 16570717"/>
                <a:gd name="connsiteX3537" fmla="*/ 17099660 w 26653740"/>
                <a:gd name="connsiteY3537" fmla="*/ 14750441 h 16570717"/>
                <a:gd name="connsiteX3538" fmla="*/ 17094896 w 26653740"/>
                <a:gd name="connsiteY3538" fmla="*/ 14750441 h 16570717"/>
                <a:gd name="connsiteX3539" fmla="*/ 17085364 w 26653740"/>
                <a:gd name="connsiteY3539" fmla="*/ 14736145 h 16570717"/>
                <a:gd name="connsiteX3540" fmla="*/ 17071068 w 26653740"/>
                <a:gd name="connsiteY3540" fmla="*/ 14731381 h 16570717"/>
                <a:gd name="connsiteX3541" fmla="*/ 17056772 w 26653740"/>
                <a:gd name="connsiteY3541" fmla="*/ 14726613 h 16570717"/>
                <a:gd name="connsiteX3542" fmla="*/ 17047244 w 26653740"/>
                <a:gd name="connsiteY3542" fmla="*/ 14721849 h 16570717"/>
                <a:gd name="connsiteX3543" fmla="*/ 17052008 w 26653740"/>
                <a:gd name="connsiteY3543" fmla="*/ 14707553 h 16570717"/>
                <a:gd name="connsiteX3544" fmla="*/ 17047244 w 26653740"/>
                <a:gd name="connsiteY3544" fmla="*/ 14702789 h 16570717"/>
                <a:gd name="connsiteX3545" fmla="*/ 17037712 w 26653740"/>
                <a:gd name="connsiteY3545" fmla="*/ 14693257 h 16570717"/>
                <a:gd name="connsiteX3546" fmla="*/ 17009120 w 26653740"/>
                <a:gd name="connsiteY3546" fmla="*/ 14698025 h 16570717"/>
                <a:gd name="connsiteX3547" fmla="*/ 16961472 w 26653740"/>
                <a:gd name="connsiteY3547" fmla="*/ 14707553 h 16570717"/>
                <a:gd name="connsiteX3548" fmla="*/ 16928116 w 26653740"/>
                <a:gd name="connsiteY3548" fmla="*/ 14702789 h 16570717"/>
                <a:gd name="connsiteX3549" fmla="*/ 16899524 w 26653740"/>
                <a:gd name="connsiteY3549" fmla="*/ 14688493 h 16570717"/>
                <a:gd name="connsiteX3550" fmla="*/ 16880464 w 26653740"/>
                <a:gd name="connsiteY3550" fmla="*/ 14678965 h 16570717"/>
                <a:gd name="connsiteX3551" fmla="*/ 16875696 w 26653740"/>
                <a:gd name="connsiteY3551" fmla="*/ 14669433 h 16570717"/>
                <a:gd name="connsiteX3552" fmla="*/ 16870932 w 26653740"/>
                <a:gd name="connsiteY3552" fmla="*/ 14655137 h 16570717"/>
                <a:gd name="connsiteX3553" fmla="*/ 16856640 w 26653740"/>
                <a:gd name="connsiteY3553" fmla="*/ 14645609 h 16570717"/>
                <a:gd name="connsiteX3554" fmla="*/ 16847108 w 26653740"/>
                <a:gd name="connsiteY3554" fmla="*/ 14631313 h 16570717"/>
                <a:gd name="connsiteX3555" fmla="*/ 16847108 w 26653740"/>
                <a:gd name="connsiteY3555" fmla="*/ 14602721 h 16570717"/>
                <a:gd name="connsiteX3556" fmla="*/ 16851872 w 26653740"/>
                <a:gd name="connsiteY3556" fmla="*/ 14578897 h 16570717"/>
                <a:gd name="connsiteX3557" fmla="*/ 16861404 w 26653740"/>
                <a:gd name="connsiteY3557" fmla="*/ 14545541 h 16570717"/>
                <a:gd name="connsiteX3558" fmla="*/ 16832812 w 26653740"/>
                <a:gd name="connsiteY3558" fmla="*/ 14526481 h 16570717"/>
                <a:gd name="connsiteX3559" fmla="*/ 16823280 w 26653740"/>
                <a:gd name="connsiteY3559" fmla="*/ 14512185 h 16570717"/>
                <a:gd name="connsiteX3560" fmla="*/ 16823280 w 26653740"/>
                <a:gd name="connsiteY3560" fmla="*/ 14502653 h 16570717"/>
                <a:gd name="connsiteX3561" fmla="*/ 16823280 w 26653740"/>
                <a:gd name="connsiteY3561" fmla="*/ 14493125 h 16570717"/>
                <a:gd name="connsiteX3562" fmla="*/ 16818516 w 26653740"/>
                <a:gd name="connsiteY3562" fmla="*/ 14488357 h 16570717"/>
                <a:gd name="connsiteX3563" fmla="*/ 16818516 w 26653740"/>
                <a:gd name="connsiteY3563" fmla="*/ 14478829 h 16570717"/>
                <a:gd name="connsiteX3564" fmla="*/ 16823280 w 26653740"/>
                <a:gd name="connsiteY3564" fmla="*/ 14464533 h 16570717"/>
                <a:gd name="connsiteX3565" fmla="*/ 16823280 w 26653740"/>
                <a:gd name="connsiteY3565" fmla="*/ 14445473 h 16570717"/>
                <a:gd name="connsiteX3566" fmla="*/ 16818516 w 26653740"/>
                <a:gd name="connsiteY3566" fmla="*/ 14426413 h 16570717"/>
                <a:gd name="connsiteX3567" fmla="*/ 16799456 w 26653740"/>
                <a:gd name="connsiteY3567" fmla="*/ 14393057 h 16570717"/>
                <a:gd name="connsiteX3568" fmla="*/ 16775632 w 26653740"/>
                <a:gd name="connsiteY3568" fmla="*/ 14354933 h 16570717"/>
                <a:gd name="connsiteX3569" fmla="*/ 16756568 w 26653740"/>
                <a:gd name="connsiteY3569" fmla="*/ 14326345 h 16570717"/>
                <a:gd name="connsiteX3570" fmla="*/ 16756568 w 26653740"/>
                <a:gd name="connsiteY3570" fmla="*/ 14312049 h 16570717"/>
                <a:gd name="connsiteX3571" fmla="*/ 16751804 w 26653740"/>
                <a:gd name="connsiteY3571" fmla="*/ 14297753 h 16570717"/>
                <a:gd name="connsiteX3572" fmla="*/ 16747040 w 26653740"/>
                <a:gd name="connsiteY3572" fmla="*/ 14288221 h 16570717"/>
                <a:gd name="connsiteX3573" fmla="*/ 16747040 w 26653740"/>
                <a:gd name="connsiteY3573" fmla="*/ 14273929 h 16570717"/>
                <a:gd name="connsiteX3574" fmla="*/ 16747040 w 26653740"/>
                <a:gd name="connsiteY3574" fmla="*/ 14259633 h 16570717"/>
                <a:gd name="connsiteX3575" fmla="*/ 16742276 w 26653740"/>
                <a:gd name="connsiteY3575" fmla="*/ 14240573 h 16570717"/>
                <a:gd name="connsiteX3576" fmla="*/ 16742276 w 26653740"/>
                <a:gd name="connsiteY3576" fmla="*/ 14226277 h 16570717"/>
                <a:gd name="connsiteX3577" fmla="*/ 16737512 w 26653740"/>
                <a:gd name="connsiteY3577" fmla="*/ 14216745 h 16570717"/>
                <a:gd name="connsiteX3578" fmla="*/ 16723216 w 26653740"/>
                <a:gd name="connsiteY3578" fmla="*/ 14211981 h 16570717"/>
                <a:gd name="connsiteX3579" fmla="*/ 16723216 w 26653740"/>
                <a:gd name="connsiteY3579" fmla="*/ 14202449 h 16570717"/>
                <a:gd name="connsiteX3580" fmla="*/ 16723216 w 26653740"/>
                <a:gd name="connsiteY3580" fmla="*/ 14178625 h 16570717"/>
                <a:gd name="connsiteX3581" fmla="*/ 16718448 w 26653740"/>
                <a:gd name="connsiteY3581" fmla="*/ 14159565 h 16570717"/>
                <a:gd name="connsiteX3582" fmla="*/ 16694624 w 26653740"/>
                <a:gd name="connsiteY3582" fmla="*/ 14121445 h 16570717"/>
                <a:gd name="connsiteX3583" fmla="*/ 16689860 w 26653740"/>
                <a:gd name="connsiteY3583" fmla="*/ 14092853 h 16570717"/>
                <a:gd name="connsiteX3584" fmla="*/ 16685092 w 26653740"/>
                <a:gd name="connsiteY3584" fmla="*/ 14069025 h 16570717"/>
                <a:gd name="connsiteX3585" fmla="*/ 16675564 w 26653740"/>
                <a:gd name="connsiteY3585" fmla="*/ 14059497 h 16570717"/>
                <a:gd name="connsiteX3586" fmla="*/ 16675564 w 26653740"/>
                <a:gd name="connsiteY3586" fmla="*/ 14045201 h 16570717"/>
                <a:gd name="connsiteX3587" fmla="*/ 16675564 w 26653740"/>
                <a:gd name="connsiteY3587" fmla="*/ 14030905 h 16570717"/>
                <a:gd name="connsiteX3588" fmla="*/ 16670800 w 26653740"/>
                <a:gd name="connsiteY3588" fmla="*/ 14026141 h 16570717"/>
                <a:gd name="connsiteX3589" fmla="*/ 16666032 w 26653740"/>
                <a:gd name="connsiteY3589" fmla="*/ 14016609 h 16570717"/>
                <a:gd name="connsiteX3590" fmla="*/ 16666032 w 26653740"/>
                <a:gd name="connsiteY3590" fmla="*/ 14011845 h 16570717"/>
                <a:gd name="connsiteX3591" fmla="*/ 16661268 w 26653740"/>
                <a:gd name="connsiteY3591" fmla="*/ 14002317 h 16570717"/>
                <a:gd name="connsiteX3592" fmla="*/ 16651736 w 26653740"/>
                <a:gd name="connsiteY3592" fmla="*/ 13988021 h 16570717"/>
                <a:gd name="connsiteX3593" fmla="*/ 16646972 w 26653740"/>
                <a:gd name="connsiteY3593" fmla="*/ 13978489 h 16570717"/>
                <a:gd name="connsiteX3594" fmla="*/ 16642208 w 26653740"/>
                <a:gd name="connsiteY3594" fmla="*/ 13968961 h 16570717"/>
                <a:gd name="connsiteX3595" fmla="*/ 16637440 w 26653740"/>
                <a:gd name="connsiteY3595" fmla="*/ 13964193 h 16570717"/>
                <a:gd name="connsiteX3596" fmla="*/ 16623148 w 26653740"/>
                <a:gd name="connsiteY3596" fmla="*/ 13954665 h 16570717"/>
                <a:gd name="connsiteX3597" fmla="*/ 16618384 w 26653740"/>
                <a:gd name="connsiteY3597" fmla="*/ 13945133 h 16570717"/>
                <a:gd name="connsiteX3598" fmla="*/ 16618384 w 26653740"/>
                <a:gd name="connsiteY3598" fmla="*/ 13935605 h 16570717"/>
                <a:gd name="connsiteX3599" fmla="*/ 16623148 w 26653740"/>
                <a:gd name="connsiteY3599" fmla="*/ 13930837 h 16570717"/>
                <a:gd name="connsiteX3600" fmla="*/ 16623148 w 26653740"/>
                <a:gd name="connsiteY3600" fmla="*/ 13926073 h 16570717"/>
                <a:gd name="connsiteX3601" fmla="*/ 16623148 w 26653740"/>
                <a:gd name="connsiteY3601" fmla="*/ 13911777 h 16570717"/>
                <a:gd name="connsiteX3602" fmla="*/ 16613616 w 26653740"/>
                <a:gd name="connsiteY3602" fmla="*/ 13907013 h 16570717"/>
                <a:gd name="connsiteX3603" fmla="*/ 16604088 w 26653740"/>
                <a:gd name="connsiteY3603" fmla="*/ 13897481 h 16570717"/>
                <a:gd name="connsiteX3604" fmla="*/ 16594556 w 26653740"/>
                <a:gd name="connsiteY3604" fmla="*/ 13878421 h 16570717"/>
                <a:gd name="connsiteX3605" fmla="*/ 16580260 w 26653740"/>
                <a:gd name="connsiteY3605" fmla="*/ 13873657 h 16570717"/>
                <a:gd name="connsiteX3606" fmla="*/ 16570728 w 26653740"/>
                <a:gd name="connsiteY3606" fmla="*/ 13873657 h 16570717"/>
                <a:gd name="connsiteX3607" fmla="*/ 16565964 w 26653740"/>
                <a:gd name="connsiteY3607" fmla="*/ 13864125 h 16570717"/>
                <a:gd name="connsiteX3608" fmla="*/ 16565964 w 26653740"/>
                <a:gd name="connsiteY3608" fmla="*/ 13854597 h 16570717"/>
                <a:gd name="connsiteX3609" fmla="*/ 16565964 w 26653740"/>
                <a:gd name="connsiteY3609" fmla="*/ 13845065 h 16570717"/>
                <a:gd name="connsiteX3610" fmla="*/ 16561200 w 26653740"/>
                <a:gd name="connsiteY3610" fmla="*/ 13835537 h 16570717"/>
                <a:gd name="connsiteX3611" fmla="*/ 16551672 w 26653740"/>
                <a:gd name="connsiteY3611" fmla="*/ 13830769 h 16570717"/>
                <a:gd name="connsiteX3612" fmla="*/ 16542140 w 26653740"/>
                <a:gd name="connsiteY3612" fmla="*/ 13830769 h 16570717"/>
                <a:gd name="connsiteX3613" fmla="*/ 16523080 w 26653740"/>
                <a:gd name="connsiteY3613" fmla="*/ 13826005 h 16570717"/>
                <a:gd name="connsiteX3614" fmla="*/ 16494488 w 26653740"/>
                <a:gd name="connsiteY3614" fmla="*/ 13802181 h 16570717"/>
                <a:gd name="connsiteX3615" fmla="*/ 16470664 w 26653740"/>
                <a:gd name="connsiteY3615" fmla="*/ 13792649 h 16570717"/>
                <a:gd name="connsiteX3616" fmla="*/ 16451600 w 26653740"/>
                <a:gd name="connsiteY3616" fmla="*/ 13792649 h 16570717"/>
                <a:gd name="connsiteX3617" fmla="*/ 16442072 w 26653740"/>
                <a:gd name="connsiteY3617" fmla="*/ 13802181 h 16570717"/>
                <a:gd name="connsiteX3618" fmla="*/ 16437308 w 26653740"/>
                <a:gd name="connsiteY3618" fmla="*/ 13811709 h 16570717"/>
                <a:gd name="connsiteX3619" fmla="*/ 16427776 w 26653740"/>
                <a:gd name="connsiteY3619" fmla="*/ 13811709 h 16570717"/>
                <a:gd name="connsiteX3620" fmla="*/ 16403952 w 26653740"/>
                <a:gd name="connsiteY3620" fmla="*/ 13792649 h 16570717"/>
                <a:gd name="connsiteX3621" fmla="*/ 16375360 w 26653740"/>
                <a:gd name="connsiteY3621" fmla="*/ 13787885 h 16570717"/>
                <a:gd name="connsiteX3622" fmla="*/ 16361064 w 26653740"/>
                <a:gd name="connsiteY3622" fmla="*/ 13773589 h 16570717"/>
                <a:gd name="connsiteX3623" fmla="*/ 16346768 w 26653740"/>
                <a:gd name="connsiteY3623" fmla="*/ 13754529 h 16570717"/>
                <a:gd name="connsiteX3624" fmla="*/ 16337240 w 26653740"/>
                <a:gd name="connsiteY3624" fmla="*/ 13749765 h 16570717"/>
                <a:gd name="connsiteX3625" fmla="*/ 16327708 w 26653740"/>
                <a:gd name="connsiteY3625" fmla="*/ 13749765 h 16570717"/>
                <a:gd name="connsiteX3626" fmla="*/ 16299120 w 26653740"/>
                <a:gd name="connsiteY3626" fmla="*/ 13740233 h 16570717"/>
                <a:gd name="connsiteX3627" fmla="*/ 16260996 w 26653740"/>
                <a:gd name="connsiteY3627" fmla="*/ 13711641 h 16570717"/>
                <a:gd name="connsiteX3628" fmla="*/ 16241936 w 26653740"/>
                <a:gd name="connsiteY3628" fmla="*/ 13702113 h 16570717"/>
                <a:gd name="connsiteX3629" fmla="*/ 16232408 w 26653740"/>
                <a:gd name="connsiteY3629" fmla="*/ 13706877 h 16570717"/>
                <a:gd name="connsiteX3630" fmla="*/ 16227640 w 26653740"/>
                <a:gd name="connsiteY3630" fmla="*/ 13706877 h 16570717"/>
                <a:gd name="connsiteX3631" fmla="*/ 16222876 w 26653740"/>
                <a:gd name="connsiteY3631" fmla="*/ 13706877 h 16570717"/>
                <a:gd name="connsiteX3632" fmla="*/ 16213344 w 26653740"/>
                <a:gd name="connsiteY3632" fmla="*/ 13706877 h 16570717"/>
                <a:gd name="connsiteX3633" fmla="*/ 16194284 w 26653740"/>
                <a:gd name="connsiteY3633" fmla="*/ 13702113 h 16570717"/>
                <a:gd name="connsiteX3634" fmla="*/ 16170460 w 26653740"/>
                <a:gd name="connsiteY3634" fmla="*/ 13702113 h 16570717"/>
                <a:gd name="connsiteX3635" fmla="*/ 16137104 w 26653740"/>
                <a:gd name="connsiteY3635" fmla="*/ 13716409 h 16570717"/>
                <a:gd name="connsiteX3636" fmla="*/ 16103748 w 26653740"/>
                <a:gd name="connsiteY3636" fmla="*/ 13721173 h 16570717"/>
                <a:gd name="connsiteX3637" fmla="*/ 16070392 w 26653740"/>
                <a:gd name="connsiteY3637" fmla="*/ 13725937 h 16570717"/>
                <a:gd name="connsiteX3638" fmla="*/ 16046568 w 26653740"/>
                <a:gd name="connsiteY3638" fmla="*/ 13725937 h 16570717"/>
                <a:gd name="connsiteX3639" fmla="*/ 16041800 w 26653740"/>
                <a:gd name="connsiteY3639" fmla="*/ 13716409 h 16570717"/>
                <a:gd name="connsiteX3640" fmla="*/ 16003680 w 26653740"/>
                <a:gd name="connsiteY3640" fmla="*/ 13725937 h 16570717"/>
                <a:gd name="connsiteX3641" fmla="*/ 15951264 w 26653740"/>
                <a:gd name="connsiteY3641" fmla="*/ 13744997 h 16570717"/>
                <a:gd name="connsiteX3642" fmla="*/ 15894080 w 26653740"/>
                <a:gd name="connsiteY3642" fmla="*/ 13764057 h 16570717"/>
                <a:gd name="connsiteX3643" fmla="*/ 15832136 w 26653740"/>
                <a:gd name="connsiteY3643" fmla="*/ 13773589 h 16570717"/>
                <a:gd name="connsiteX3644" fmla="*/ 15789248 w 26653740"/>
                <a:gd name="connsiteY3644" fmla="*/ 13802181 h 16570717"/>
                <a:gd name="connsiteX3645" fmla="*/ 15741600 w 26653740"/>
                <a:gd name="connsiteY3645" fmla="*/ 13854597 h 16570717"/>
                <a:gd name="connsiteX3646" fmla="*/ 15713008 w 26653740"/>
                <a:gd name="connsiteY3646" fmla="*/ 13887953 h 16570717"/>
                <a:gd name="connsiteX3647" fmla="*/ 15693948 w 26653740"/>
                <a:gd name="connsiteY3647" fmla="*/ 13902249 h 16570717"/>
                <a:gd name="connsiteX3648" fmla="*/ 15684416 w 26653740"/>
                <a:gd name="connsiteY3648" fmla="*/ 13916541 h 16570717"/>
                <a:gd name="connsiteX3649" fmla="*/ 15689184 w 26653740"/>
                <a:gd name="connsiteY3649" fmla="*/ 13940369 h 16570717"/>
                <a:gd name="connsiteX3650" fmla="*/ 15703476 w 26653740"/>
                <a:gd name="connsiteY3650" fmla="*/ 13949897 h 16570717"/>
                <a:gd name="connsiteX3651" fmla="*/ 15732068 w 26653740"/>
                <a:gd name="connsiteY3651" fmla="*/ 13940369 h 16570717"/>
                <a:gd name="connsiteX3652" fmla="*/ 15760660 w 26653740"/>
                <a:gd name="connsiteY3652" fmla="*/ 13945133 h 16570717"/>
                <a:gd name="connsiteX3653" fmla="*/ 15779720 w 26653740"/>
                <a:gd name="connsiteY3653" fmla="*/ 13959429 h 16570717"/>
                <a:gd name="connsiteX3654" fmla="*/ 15784484 w 26653740"/>
                <a:gd name="connsiteY3654" fmla="*/ 13973725 h 16570717"/>
                <a:gd name="connsiteX3655" fmla="*/ 15779720 w 26653740"/>
                <a:gd name="connsiteY3655" fmla="*/ 14002317 h 16570717"/>
                <a:gd name="connsiteX3656" fmla="*/ 15779720 w 26653740"/>
                <a:gd name="connsiteY3656" fmla="*/ 14026141 h 16570717"/>
                <a:gd name="connsiteX3657" fmla="*/ 15794016 w 26653740"/>
                <a:gd name="connsiteY3657" fmla="*/ 14049965 h 16570717"/>
                <a:gd name="connsiteX3658" fmla="*/ 15794016 w 26653740"/>
                <a:gd name="connsiteY3658" fmla="*/ 14078557 h 16570717"/>
                <a:gd name="connsiteX3659" fmla="*/ 15784484 w 26653740"/>
                <a:gd name="connsiteY3659" fmla="*/ 14107149 h 16570717"/>
                <a:gd name="connsiteX3660" fmla="*/ 15755896 w 26653740"/>
                <a:gd name="connsiteY3660" fmla="*/ 14140505 h 16570717"/>
                <a:gd name="connsiteX3661" fmla="*/ 15713008 w 26653740"/>
                <a:gd name="connsiteY3661" fmla="*/ 14173861 h 16570717"/>
                <a:gd name="connsiteX3662" fmla="*/ 15689184 w 26653740"/>
                <a:gd name="connsiteY3662" fmla="*/ 14202449 h 16570717"/>
                <a:gd name="connsiteX3663" fmla="*/ 15670120 w 26653740"/>
                <a:gd name="connsiteY3663" fmla="*/ 14245337 h 16570717"/>
                <a:gd name="connsiteX3664" fmla="*/ 15646296 w 26653740"/>
                <a:gd name="connsiteY3664" fmla="*/ 14288221 h 16570717"/>
                <a:gd name="connsiteX3665" fmla="*/ 15636764 w 26653740"/>
                <a:gd name="connsiteY3665" fmla="*/ 14307285 h 16570717"/>
                <a:gd name="connsiteX3666" fmla="*/ 15636764 w 26653740"/>
                <a:gd name="connsiteY3666" fmla="*/ 14326345 h 16570717"/>
                <a:gd name="connsiteX3667" fmla="*/ 15627236 w 26653740"/>
                <a:gd name="connsiteY3667" fmla="*/ 14345405 h 16570717"/>
                <a:gd name="connsiteX3668" fmla="*/ 15612940 w 26653740"/>
                <a:gd name="connsiteY3668" fmla="*/ 14364465 h 16570717"/>
                <a:gd name="connsiteX3669" fmla="*/ 15598644 w 26653740"/>
                <a:gd name="connsiteY3669" fmla="*/ 14388289 h 16570717"/>
                <a:gd name="connsiteX3670" fmla="*/ 15598644 w 26653740"/>
                <a:gd name="connsiteY3670" fmla="*/ 14407349 h 16570717"/>
                <a:gd name="connsiteX3671" fmla="*/ 15589112 w 26653740"/>
                <a:gd name="connsiteY3671" fmla="*/ 14426413 h 16570717"/>
                <a:gd name="connsiteX3672" fmla="*/ 15574820 w 26653740"/>
                <a:gd name="connsiteY3672" fmla="*/ 14445473 h 16570717"/>
                <a:gd name="connsiteX3673" fmla="*/ 15565288 w 26653740"/>
                <a:gd name="connsiteY3673" fmla="*/ 14459769 h 16570717"/>
                <a:gd name="connsiteX3674" fmla="*/ 15560524 w 26653740"/>
                <a:gd name="connsiteY3674" fmla="*/ 14478829 h 16570717"/>
                <a:gd name="connsiteX3675" fmla="*/ 15555760 w 26653740"/>
                <a:gd name="connsiteY3675" fmla="*/ 14493125 h 16570717"/>
                <a:gd name="connsiteX3676" fmla="*/ 15546228 w 26653740"/>
                <a:gd name="connsiteY3676" fmla="*/ 14497889 h 16570717"/>
                <a:gd name="connsiteX3677" fmla="*/ 15550992 w 26653740"/>
                <a:gd name="connsiteY3677" fmla="*/ 14507417 h 16570717"/>
                <a:gd name="connsiteX3678" fmla="*/ 15570056 w 26653740"/>
                <a:gd name="connsiteY3678" fmla="*/ 14512185 h 16570717"/>
                <a:gd name="connsiteX3679" fmla="*/ 15574820 w 26653740"/>
                <a:gd name="connsiteY3679" fmla="*/ 14531245 h 16570717"/>
                <a:gd name="connsiteX3680" fmla="*/ 15570056 w 26653740"/>
                <a:gd name="connsiteY3680" fmla="*/ 14559833 h 16570717"/>
                <a:gd name="connsiteX3681" fmla="*/ 15560524 w 26653740"/>
                <a:gd name="connsiteY3681" fmla="*/ 14583661 h 16570717"/>
                <a:gd name="connsiteX3682" fmla="*/ 15541464 w 26653740"/>
                <a:gd name="connsiteY3682" fmla="*/ 14593189 h 16570717"/>
                <a:gd name="connsiteX3683" fmla="*/ 15517636 w 26653740"/>
                <a:gd name="connsiteY3683" fmla="*/ 14602721 h 16570717"/>
                <a:gd name="connsiteX3684" fmla="*/ 15484280 w 26653740"/>
                <a:gd name="connsiteY3684" fmla="*/ 14607485 h 16570717"/>
                <a:gd name="connsiteX3685" fmla="*/ 15436632 w 26653740"/>
                <a:gd name="connsiteY3685" fmla="*/ 14636077 h 16570717"/>
                <a:gd name="connsiteX3686" fmla="*/ 15393744 w 26653740"/>
                <a:gd name="connsiteY3686" fmla="*/ 14674197 h 16570717"/>
                <a:gd name="connsiteX3687" fmla="*/ 15346092 w 26653740"/>
                <a:gd name="connsiteY3687" fmla="*/ 14717085 h 16570717"/>
                <a:gd name="connsiteX3688" fmla="*/ 15336560 w 26653740"/>
                <a:gd name="connsiteY3688" fmla="*/ 14717085 h 16570717"/>
                <a:gd name="connsiteX3689" fmla="*/ 15317504 w 26653740"/>
                <a:gd name="connsiteY3689" fmla="*/ 14712317 h 16570717"/>
                <a:gd name="connsiteX3690" fmla="*/ 15284144 w 26653740"/>
                <a:gd name="connsiteY3690" fmla="*/ 14693257 h 16570717"/>
                <a:gd name="connsiteX3691" fmla="*/ 15246024 w 26653740"/>
                <a:gd name="connsiteY3691" fmla="*/ 14688493 h 16570717"/>
                <a:gd name="connsiteX3692" fmla="*/ 15212668 w 26653740"/>
                <a:gd name="connsiteY3692" fmla="*/ 14674197 h 16570717"/>
                <a:gd name="connsiteX3693" fmla="*/ 15188844 w 26653740"/>
                <a:gd name="connsiteY3693" fmla="*/ 14664669 h 16570717"/>
                <a:gd name="connsiteX3694" fmla="*/ 15160252 w 26653740"/>
                <a:gd name="connsiteY3694" fmla="*/ 14640841 h 16570717"/>
                <a:gd name="connsiteX3695" fmla="*/ 15150720 w 26653740"/>
                <a:gd name="connsiteY3695" fmla="*/ 14626545 h 16570717"/>
                <a:gd name="connsiteX3696" fmla="*/ 15136428 w 26653740"/>
                <a:gd name="connsiteY3696" fmla="*/ 14617017 h 16570717"/>
                <a:gd name="connsiteX3697" fmla="*/ 15107836 w 26653740"/>
                <a:gd name="connsiteY3697" fmla="*/ 14602721 h 16570717"/>
                <a:gd name="connsiteX3698" fmla="*/ 15084012 w 26653740"/>
                <a:gd name="connsiteY3698" fmla="*/ 14597957 h 16570717"/>
                <a:gd name="connsiteX3699" fmla="*/ 15074480 w 26653740"/>
                <a:gd name="connsiteY3699" fmla="*/ 14597957 h 16570717"/>
                <a:gd name="connsiteX3700" fmla="*/ 15041124 w 26653740"/>
                <a:gd name="connsiteY3700" fmla="*/ 14612253 h 16570717"/>
                <a:gd name="connsiteX3701" fmla="*/ 15022064 w 26653740"/>
                <a:gd name="connsiteY3701" fmla="*/ 14621781 h 16570717"/>
                <a:gd name="connsiteX3702" fmla="*/ 15007768 w 26653740"/>
                <a:gd name="connsiteY3702" fmla="*/ 14626545 h 16570717"/>
                <a:gd name="connsiteX3703" fmla="*/ 14988708 w 26653740"/>
                <a:gd name="connsiteY3703" fmla="*/ 14626545 h 16570717"/>
                <a:gd name="connsiteX3704" fmla="*/ 14964880 w 26653740"/>
                <a:gd name="connsiteY3704" fmla="*/ 14621781 h 16570717"/>
                <a:gd name="connsiteX3705" fmla="*/ 14955352 w 26653740"/>
                <a:gd name="connsiteY3705" fmla="*/ 14621781 h 16570717"/>
                <a:gd name="connsiteX3706" fmla="*/ 14941056 w 26653740"/>
                <a:gd name="connsiteY3706" fmla="*/ 14612253 h 16570717"/>
                <a:gd name="connsiteX3707" fmla="*/ 14912464 w 26653740"/>
                <a:gd name="connsiteY3707" fmla="*/ 14583661 h 16570717"/>
                <a:gd name="connsiteX3708" fmla="*/ 14898172 w 26653740"/>
                <a:gd name="connsiteY3708" fmla="*/ 14564601 h 16570717"/>
                <a:gd name="connsiteX3709" fmla="*/ 14879112 w 26653740"/>
                <a:gd name="connsiteY3709" fmla="*/ 14555069 h 16570717"/>
                <a:gd name="connsiteX3710" fmla="*/ 14855284 w 26653740"/>
                <a:gd name="connsiteY3710" fmla="*/ 14540773 h 16570717"/>
                <a:gd name="connsiteX3711" fmla="*/ 14845752 w 26653740"/>
                <a:gd name="connsiteY3711" fmla="*/ 14540773 h 16570717"/>
                <a:gd name="connsiteX3712" fmla="*/ 14826696 w 26653740"/>
                <a:gd name="connsiteY3712" fmla="*/ 14540773 h 16570717"/>
                <a:gd name="connsiteX3713" fmla="*/ 14798104 w 26653740"/>
                <a:gd name="connsiteY3713" fmla="*/ 14536009 h 16570717"/>
                <a:gd name="connsiteX3714" fmla="*/ 14783808 w 26653740"/>
                <a:gd name="connsiteY3714" fmla="*/ 14531245 h 16570717"/>
                <a:gd name="connsiteX3715" fmla="*/ 14774276 w 26653740"/>
                <a:gd name="connsiteY3715" fmla="*/ 14536009 h 16570717"/>
                <a:gd name="connsiteX3716" fmla="*/ 14750452 w 26653740"/>
                <a:gd name="connsiteY3716" fmla="*/ 14550305 h 16570717"/>
                <a:gd name="connsiteX3717" fmla="*/ 14721860 w 26653740"/>
                <a:gd name="connsiteY3717" fmla="*/ 14574129 h 16570717"/>
                <a:gd name="connsiteX3718" fmla="*/ 14698036 w 26653740"/>
                <a:gd name="connsiteY3718" fmla="*/ 14583661 h 16570717"/>
                <a:gd name="connsiteX3719" fmla="*/ 14674208 w 26653740"/>
                <a:gd name="connsiteY3719" fmla="*/ 14597957 h 16570717"/>
                <a:gd name="connsiteX3720" fmla="*/ 14636088 w 26653740"/>
                <a:gd name="connsiteY3720" fmla="*/ 14631313 h 16570717"/>
                <a:gd name="connsiteX3721" fmla="*/ 14607496 w 26653740"/>
                <a:gd name="connsiteY3721" fmla="*/ 14645609 h 16570717"/>
                <a:gd name="connsiteX3722" fmla="*/ 14597968 w 26653740"/>
                <a:gd name="connsiteY3722" fmla="*/ 14674197 h 16570717"/>
                <a:gd name="connsiteX3723" fmla="*/ 14593200 w 26653740"/>
                <a:gd name="connsiteY3723" fmla="*/ 14693257 h 16570717"/>
                <a:gd name="connsiteX3724" fmla="*/ 14569376 w 26653740"/>
                <a:gd name="connsiteY3724" fmla="*/ 14702789 h 16570717"/>
                <a:gd name="connsiteX3725" fmla="*/ 14555080 w 26653740"/>
                <a:gd name="connsiteY3725" fmla="*/ 14712317 h 16570717"/>
                <a:gd name="connsiteX3726" fmla="*/ 14536020 w 26653740"/>
                <a:gd name="connsiteY3726" fmla="*/ 14717085 h 16570717"/>
                <a:gd name="connsiteX3727" fmla="*/ 14502664 w 26653740"/>
                <a:gd name="connsiteY3727" fmla="*/ 14712317 h 16570717"/>
                <a:gd name="connsiteX3728" fmla="*/ 14488368 w 26653740"/>
                <a:gd name="connsiteY3728" fmla="*/ 14717085 h 16570717"/>
                <a:gd name="connsiteX3729" fmla="*/ 14440720 w 26653740"/>
                <a:gd name="connsiteY3729" fmla="*/ 14736145 h 16570717"/>
                <a:gd name="connsiteX3730" fmla="*/ 14416892 w 26653740"/>
                <a:gd name="connsiteY3730" fmla="*/ 14740909 h 16570717"/>
                <a:gd name="connsiteX3731" fmla="*/ 14402596 w 26653740"/>
                <a:gd name="connsiteY3731" fmla="*/ 14740909 h 16570717"/>
                <a:gd name="connsiteX3732" fmla="*/ 14388304 w 26653740"/>
                <a:gd name="connsiteY3732" fmla="*/ 14745673 h 16570717"/>
                <a:gd name="connsiteX3733" fmla="*/ 14359712 w 26653740"/>
                <a:gd name="connsiteY3733" fmla="*/ 14750441 h 16570717"/>
                <a:gd name="connsiteX3734" fmla="*/ 14350180 w 26653740"/>
                <a:gd name="connsiteY3734" fmla="*/ 14750441 h 16570717"/>
                <a:gd name="connsiteX3735" fmla="*/ 14340652 w 26653740"/>
                <a:gd name="connsiteY3735" fmla="*/ 14755205 h 16570717"/>
                <a:gd name="connsiteX3736" fmla="*/ 14326356 w 26653740"/>
                <a:gd name="connsiteY3736" fmla="*/ 14755205 h 16570717"/>
                <a:gd name="connsiteX3737" fmla="*/ 14302528 w 26653740"/>
                <a:gd name="connsiteY3737" fmla="*/ 14764737 h 16570717"/>
                <a:gd name="connsiteX3738" fmla="*/ 14245348 w 26653740"/>
                <a:gd name="connsiteY3738" fmla="*/ 14798093 h 16570717"/>
                <a:gd name="connsiteX3739" fmla="*/ 14226288 w 26653740"/>
                <a:gd name="connsiteY3739" fmla="*/ 14802857 h 16570717"/>
                <a:gd name="connsiteX3740" fmla="*/ 14211992 w 26653740"/>
                <a:gd name="connsiteY3740" fmla="*/ 14807621 h 16570717"/>
                <a:gd name="connsiteX3741" fmla="*/ 14197696 w 26653740"/>
                <a:gd name="connsiteY3741" fmla="*/ 14793325 h 16570717"/>
                <a:gd name="connsiteX3742" fmla="*/ 14183400 w 26653740"/>
                <a:gd name="connsiteY3742" fmla="*/ 14788561 h 16570717"/>
                <a:gd name="connsiteX3743" fmla="*/ 14164340 w 26653740"/>
                <a:gd name="connsiteY3743" fmla="*/ 14788561 h 16570717"/>
                <a:gd name="connsiteX3744" fmla="*/ 14145280 w 26653740"/>
                <a:gd name="connsiteY3744" fmla="*/ 14798093 h 16570717"/>
                <a:gd name="connsiteX3745" fmla="*/ 14111924 w 26653740"/>
                <a:gd name="connsiteY3745" fmla="*/ 14788561 h 16570717"/>
                <a:gd name="connsiteX3746" fmla="*/ 14073804 w 26653740"/>
                <a:gd name="connsiteY3746" fmla="*/ 14783797 h 16570717"/>
                <a:gd name="connsiteX3747" fmla="*/ 14040448 w 26653740"/>
                <a:gd name="connsiteY3747" fmla="*/ 14774265 h 16570717"/>
                <a:gd name="connsiteX3748" fmla="*/ 14030916 w 26653740"/>
                <a:gd name="connsiteY3748" fmla="*/ 14769501 h 16570717"/>
                <a:gd name="connsiteX3749" fmla="*/ 13997560 w 26653740"/>
                <a:gd name="connsiteY3749" fmla="*/ 14759969 h 16570717"/>
                <a:gd name="connsiteX3750" fmla="*/ 13916552 w 26653740"/>
                <a:gd name="connsiteY3750" fmla="*/ 14759969 h 16570717"/>
                <a:gd name="connsiteX3751" fmla="*/ 13897496 w 26653740"/>
                <a:gd name="connsiteY3751" fmla="*/ 14759969 h 16570717"/>
                <a:gd name="connsiteX3752" fmla="*/ 13883200 w 26653740"/>
                <a:gd name="connsiteY3752" fmla="*/ 14755205 h 16570717"/>
                <a:gd name="connsiteX3753" fmla="*/ 13864136 w 26653740"/>
                <a:gd name="connsiteY3753" fmla="*/ 14745673 h 16570717"/>
                <a:gd name="connsiteX3754" fmla="*/ 13835548 w 26653740"/>
                <a:gd name="connsiteY3754" fmla="*/ 14712317 h 16570717"/>
                <a:gd name="connsiteX3755" fmla="*/ 13816488 w 26653740"/>
                <a:gd name="connsiteY3755" fmla="*/ 14702789 h 16570717"/>
                <a:gd name="connsiteX3756" fmla="*/ 13806956 w 26653740"/>
                <a:gd name="connsiteY3756" fmla="*/ 14698025 h 16570717"/>
                <a:gd name="connsiteX3757" fmla="*/ 13802192 w 26653740"/>
                <a:gd name="connsiteY3757" fmla="*/ 14683729 h 16570717"/>
                <a:gd name="connsiteX3758" fmla="*/ 13797424 w 26653740"/>
                <a:gd name="connsiteY3758" fmla="*/ 14683729 h 16570717"/>
                <a:gd name="connsiteX3759" fmla="*/ 13792660 w 26653740"/>
                <a:gd name="connsiteY3759" fmla="*/ 14674197 h 16570717"/>
                <a:gd name="connsiteX3760" fmla="*/ 13792660 w 26653740"/>
                <a:gd name="connsiteY3760" fmla="*/ 14659901 h 16570717"/>
                <a:gd name="connsiteX3761" fmla="*/ 13792660 w 26653740"/>
                <a:gd name="connsiteY3761" fmla="*/ 14636077 h 16570717"/>
                <a:gd name="connsiteX3762" fmla="*/ 13792660 w 26653740"/>
                <a:gd name="connsiteY3762" fmla="*/ 14617017 h 16570717"/>
                <a:gd name="connsiteX3763" fmla="*/ 13787896 w 26653740"/>
                <a:gd name="connsiteY3763" fmla="*/ 14612253 h 16570717"/>
                <a:gd name="connsiteX3764" fmla="*/ 13768836 w 26653740"/>
                <a:gd name="connsiteY3764" fmla="*/ 14607485 h 16570717"/>
                <a:gd name="connsiteX3765" fmla="*/ 13745008 w 26653740"/>
                <a:gd name="connsiteY3765" fmla="*/ 14602721 h 16570717"/>
                <a:gd name="connsiteX3766" fmla="*/ 13702124 w 26653740"/>
                <a:gd name="connsiteY3766" fmla="*/ 14602721 h 16570717"/>
                <a:gd name="connsiteX3767" fmla="*/ 13683064 w 26653740"/>
                <a:gd name="connsiteY3767" fmla="*/ 14602721 h 16570717"/>
                <a:gd name="connsiteX3768" fmla="*/ 13668768 w 26653740"/>
                <a:gd name="connsiteY3768" fmla="*/ 14588425 h 16570717"/>
                <a:gd name="connsiteX3769" fmla="*/ 13654472 w 26653740"/>
                <a:gd name="connsiteY3769" fmla="*/ 14578897 h 16570717"/>
                <a:gd name="connsiteX3770" fmla="*/ 13635412 w 26653740"/>
                <a:gd name="connsiteY3770" fmla="*/ 14550305 h 16570717"/>
                <a:gd name="connsiteX3771" fmla="*/ 13625880 w 26653740"/>
                <a:gd name="connsiteY3771" fmla="*/ 14536009 h 16570717"/>
                <a:gd name="connsiteX3772" fmla="*/ 13602056 w 26653740"/>
                <a:gd name="connsiteY3772" fmla="*/ 14521713 h 16570717"/>
                <a:gd name="connsiteX3773" fmla="*/ 13578232 w 26653740"/>
                <a:gd name="connsiteY3773" fmla="*/ 14516949 h 16570717"/>
                <a:gd name="connsiteX3774" fmla="*/ 13549640 w 26653740"/>
                <a:gd name="connsiteY3774" fmla="*/ 14521713 h 16570717"/>
                <a:gd name="connsiteX3775" fmla="*/ 13525816 w 26653740"/>
                <a:gd name="connsiteY3775" fmla="*/ 14521713 h 16570717"/>
                <a:gd name="connsiteX3776" fmla="*/ 13501988 w 26653740"/>
                <a:gd name="connsiteY3776" fmla="*/ 14516949 h 16570717"/>
                <a:gd name="connsiteX3777" fmla="*/ 13487692 w 26653740"/>
                <a:gd name="connsiteY3777" fmla="*/ 14507417 h 16570717"/>
                <a:gd name="connsiteX3778" fmla="*/ 13468632 w 26653740"/>
                <a:gd name="connsiteY3778" fmla="*/ 14497889 h 16570717"/>
                <a:gd name="connsiteX3779" fmla="*/ 13444808 w 26653740"/>
                <a:gd name="connsiteY3779" fmla="*/ 14497889 h 16570717"/>
                <a:gd name="connsiteX3780" fmla="*/ 13420980 w 26653740"/>
                <a:gd name="connsiteY3780" fmla="*/ 14493125 h 16570717"/>
                <a:gd name="connsiteX3781" fmla="*/ 13392392 w 26653740"/>
                <a:gd name="connsiteY3781" fmla="*/ 14483593 h 16570717"/>
                <a:gd name="connsiteX3782" fmla="*/ 13378096 w 26653740"/>
                <a:gd name="connsiteY3782" fmla="*/ 14483593 h 16570717"/>
                <a:gd name="connsiteX3783" fmla="*/ 13363800 w 26653740"/>
                <a:gd name="connsiteY3783" fmla="*/ 14493125 h 16570717"/>
                <a:gd name="connsiteX3784" fmla="*/ 13349504 w 26653740"/>
                <a:gd name="connsiteY3784" fmla="*/ 14502653 h 16570717"/>
                <a:gd name="connsiteX3785" fmla="*/ 13330444 w 26653740"/>
                <a:gd name="connsiteY3785" fmla="*/ 14507417 h 16570717"/>
                <a:gd name="connsiteX3786" fmla="*/ 13287560 w 26653740"/>
                <a:gd name="connsiteY3786" fmla="*/ 14516949 h 16570717"/>
                <a:gd name="connsiteX3787" fmla="*/ 13273264 w 26653740"/>
                <a:gd name="connsiteY3787" fmla="*/ 14521713 h 16570717"/>
                <a:gd name="connsiteX3788" fmla="*/ 13249436 w 26653740"/>
                <a:gd name="connsiteY3788" fmla="*/ 14521713 h 16570717"/>
                <a:gd name="connsiteX3789" fmla="*/ 13235140 w 26653740"/>
                <a:gd name="connsiteY3789" fmla="*/ 14531245 h 16570717"/>
                <a:gd name="connsiteX3790" fmla="*/ 13220848 w 26653740"/>
                <a:gd name="connsiteY3790" fmla="*/ 14545541 h 16570717"/>
                <a:gd name="connsiteX3791" fmla="*/ 13206552 w 26653740"/>
                <a:gd name="connsiteY3791" fmla="*/ 14555069 h 16570717"/>
                <a:gd name="connsiteX3792" fmla="*/ 13192256 w 26653740"/>
                <a:gd name="connsiteY3792" fmla="*/ 14559833 h 16570717"/>
                <a:gd name="connsiteX3793" fmla="*/ 13173192 w 26653740"/>
                <a:gd name="connsiteY3793" fmla="*/ 14559833 h 16570717"/>
                <a:gd name="connsiteX3794" fmla="*/ 13154136 w 26653740"/>
                <a:gd name="connsiteY3794" fmla="*/ 14555069 h 16570717"/>
                <a:gd name="connsiteX3795" fmla="*/ 13149368 w 26653740"/>
                <a:gd name="connsiteY3795" fmla="*/ 14555069 h 16570717"/>
                <a:gd name="connsiteX3796" fmla="*/ 13135072 w 26653740"/>
                <a:gd name="connsiteY3796" fmla="*/ 14559833 h 16570717"/>
                <a:gd name="connsiteX3797" fmla="*/ 13120776 w 26653740"/>
                <a:gd name="connsiteY3797" fmla="*/ 14564601 h 16570717"/>
                <a:gd name="connsiteX3798" fmla="*/ 13096952 w 26653740"/>
                <a:gd name="connsiteY3798" fmla="*/ 14559833 h 16570717"/>
                <a:gd name="connsiteX3799" fmla="*/ 13087424 w 26653740"/>
                <a:gd name="connsiteY3799" fmla="*/ 14555069 h 16570717"/>
                <a:gd name="connsiteX3800" fmla="*/ 13068360 w 26653740"/>
                <a:gd name="connsiteY3800" fmla="*/ 14550305 h 16570717"/>
                <a:gd name="connsiteX3801" fmla="*/ 13058832 w 26653740"/>
                <a:gd name="connsiteY3801" fmla="*/ 14536009 h 16570717"/>
                <a:gd name="connsiteX3802" fmla="*/ 13049300 w 26653740"/>
                <a:gd name="connsiteY3802" fmla="*/ 14526481 h 16570717"/>
                <a:gd name="connsiteX3803" fmla="*/ 13030240 w 26653740"/>
                <a:gd name="connsiteY3803" fmla="*/ 14526481 h 16570717"/>
                <a:gd name="connsiteX3804" fmla="*/ 13001648 w 26653740"/>
                <a:gd name="connsiteY3804" fmla="*/ 14516949 h 16570717"/>
                <a:gd name="connsiteX3805" fmla="*/ 12987352 w 26653740"/>
                <a:gd name="connsiteY3805" fmla="*/ 14507417 h 16570717"/>
                <a:gd name="connsiteX3806" fmla="*/ 12973060 w 26653740"/>
                <a:gd name="connsiteY3806" fmla="*/ 14502653 h 16570717"/>
                <a:gd name="connsiteX3807" fmla="*/ 12949232 w 26653740"/>
                <a:gd name="connsiteY3807" fmla="*/ 14483593 h 16570717"/>
                <a:gd name="connsiteX3808" fmla="*/ 12939704 w 26653740"/>
                <a:gd name="connsiteY3808" fmla="*/ 14469297 h 16570717"/>
                <a:gd name="connsiteX3809" fmla="*/ 12930172 w 26653740"/>
                <a:gd name="connsiteY3809" fmla="*/ 14469297 h 16570717"/>
                <a:gd name="connsiteX3810" fmla="*/ 12915880 w 26653740"/>
                <a:gd name="connsiteY3810" fmla="*/ 14464533 h 16570717"/>
                <a:gd name="connsiteX3811" fmla="*/ 12911112 w 26653740"/>
                <a:gd name="connsiteY3811" fmla="*/ 14455001 h 16570717"/>
                <a:gd name="connsiteX3812" fmla="*/ 12911112 w 26653740"/>
                <a:gd name="connsiteY3812" fmla="*/ 14440705 h 16570717"/>
                <a:gd name="connsiteX3813" fmla="*/ 12911112 w 26653740"/>
                <a:gd name="connsiteY3813" fmla="*/ 14435941 h 16570717"/>
                <a:gd name="connsiteX3814" fmla="*/ 12915880 w 26653740"/>
                <a:gd name="connsiteY3814" fmla="*/ 14421645 h 16570717"/>
                <a:gd name="connsiteX3815" fmla="*/ 12911112 w 26653740"/>
                <a:gd name="connsiteY3815" fmla="*/ 14412117 h 16570717"/>
                <a:gd name="connsiteX3816" fmla="*/ 12901584 w 26653740"/>
                <a:gd name="connsiteY3816" fmla="*/ 14402585 h 16570717"/>
                <a:gd name="connsiteX3817" fmla="*/ 12896816 w 26653740"/>
                <a:gd name="connsiteY3817" fmla="*/ 14393057 h 16570717"/>
                <a:gd name="connsiteX3818" fmla="*/ 12901584 w 26653740"/>
                <a:gd name="connsiteY3818" fmla="*/ 14378761 h 16570717"/>
                <a:gd name="connsiteX3819" fmla="*/ 12896816 w 26653740"/>
                <a:gd name="connsiteY3819" fmla="*/ 14359701 h 16570717"/>
                <a:gd name="connsiteX3820" fmla="*/ 12896816 w 26653740"/>
                <a:gd name="connsiteY3820" fmla="*/ 14340641 h 16570717"/>
                <a:gd name="connsiteX3821" fmla="*/ 12887288 w 26653740"/>
                <a:gd name="connsiteY3821" fmla="*/ 14326345 h 16570717"/>
                <a:gd name="connsiteX3822" fmla="*/ 12887288 w 26653740"/>
                <a:gd name="connsiteY3822" fmla="*/ 14297753 h 16570717"/>
                <a:gd name="connsiteX3823" fmla="*/ 12892052 w 26653740"/>
                <a:gd name="connsiteY3823" fmla="*/ 14288221 h 16570717"/>
                <a:gd name="connsiteX3824" fmla="*/ 12892052 w 26653740"/>
                <a:gd name="connsiteY3824" fmla="*/ 14273929 h 16570717"/>
                <a:gd name="connsiteX3825" fmla="*/ 12882520 w 26653740"/>
                <a:gd name="connsiteY3825" fmla="*/ 14264397 h 16570717"/>
                <a:gd name="connsiteX3826" fmla="*/ 12863460 w 26653740"/>
                <a:gd name="connsiteY3826" fmla="*/ 14259633 h 16570717"/>
                <a:gd name="connsiteX3827" fmla="*/ 12839636 w 26653740"/>
                <a:gd name="connsiteY3827" fmla="*/ 14250101 h 16570717"/>
                <a:gd name="connsiteX3828" fmla="*/ 12796748 w 26653740"/>
                <a:gd name="connsiteY3828" fmla="*/ 14235805 h 16570717"/>
                <a:gd name="connsiteX3829" fmla="*/ 12782456 w 26653740"/>
                <a:gd name="connsiteY3829" fmla="*/ 14235805 h 16570717"/>
                <a:gd name="connsiteX3830" fmla="*/ 12768160 w 26653740"/>
                <a:gd name="connsiteY3830" fmla="*/ 14240573 h 16570717"/>
                <a:gd name="connsiteX3831" fmla="*/ 12758628 w 26653740"/>
                <a:gd name="connsiteY3831" fmla="*/ 14235805 h 16570717"/>
                <a:gd name="connsiteX3832" fmla="*/ 12744332 w 26653740"/>
                <a:gd name="connsiteY3832" fmla="*/ 14226277 h 16570717"/>
                <a:gd name="connsiteX3833" fmla="*/ 12720508 w 26653740"/>
                <a:gd name="connsiteY3833" fmla="*/ 14216745 h 16570717"/>
                <a:gd name="connsiteX3834" fmla="*/ 12696680 w 26653740"/>
                <a:gd name="connsiteY3834" fmla="*/ 14202449 h 16570717"/>
                <a:gd name="connsiteX3835" fmla="*/ 12663328 w 26653740"/>
                <a:gd name="connsiteY3835" fmla="*/ 14188153 h 16570717"/>
                <a:gd name="connsiteX3836" fmla="*/ 12639500 w 26653740"/>
                <a:gd name="connsiteY3836" fmla="*/ 14173861 h 16570717"/>
                <a:gd name="connsiteX3837" fmla="*/ 12625204 w 26653740"/>
                <a:gd name="connsiteY3837" fmla="*/ 14169093 h 16570717"/>
                <a:gd name="connsiteX3838" fmla="*/ 12587084 w 26653740"/>
                <a:gd name="connsiteY3838" fmla="*/ 14169093 h 16570717"/>
                <a:gd name="connsiteX3839" fmla="*/ 12558492 w 26653740"/>
                <a:gd name="connsiteY3839" fmla="*/ 14169093 h 16570717"/>
                <a:gd name="connsiteX3840" fmla="*/ 12539432 w 26653740"/>
                <a:gd name="connsiteY3840" fmla="*/ 14164329 h 16570717"/>
                <a:gd name="connsiteX3841" fmla="*/ 12520372 w 26653740"/>
                <a:gd name="connsiteY3841" fmla="*/ 14145269 h 16570717"/>
                <a:gd name="connsiteX3842" fmla="*/ 12510840 w 26653740"/>
                <a:gd name="connsiteY3842" fmla="*/ 14135737 h 16570717"/>
                <a:gd name="connsiteX3843" fmla="*/ 12491780 w 26653740"/>
                <a:gd name="connsiteY3843" fmla="*/ 14130973 h 16570717"/>
                <a:gd name="connsiteX3844" fmla="*/ 12482252 w 26653740"/>
                <a:gd name="connsiteY3844" fmla="*/ 14126209 h 16570717"/>
                <a:gd name="connsiteX3845" fmla="*/ 12463192 w 26653740"/>
                <a:gd name="connsiteY3845" fmla="*/ 14121445 h 16570717"/>
                <a:gd name="connsiteX3846" fmla="*/ 12425068 w 26653740"/>
                <a:gd name="connsiteY3846" fmla="*/ 14102381 h 16570717"/>
                <a:gd name="connsiteX3847" fmla="*/ 12410776 w 26653740"/>
                <a:gd name="connsiteY3847" fmla="*/ 14092853 h 16570717"/>
                <a:gd name="connsiteX3848" fmla="*/ 12401244 w 26653740"/>
                <a:gd name="connsiteY3848" fmla="*/ 14092853 h 16570717"/>
                <a:gd name="connsiteX3849" fmla="*/ 12391712 w 26653740"/>
                <a:gd name="connsiteY3849" fmla="*/ 14078557 h 16570717"/>
                <a:gd name="connsiteX3850" fmla="*/ 12382184 w 26653740"/>
                <a:gd name="connsiteY3850" fmla="*/ 14073793 h 16570717"/>
                <a:gd name="connsiteX3851" fmla="*/ 12372652 w 26653740"/>
                <a:gd name="connsiteY3851" fmla="*/ 14083321 h 16570717"/>
                <a:gd name="connsiteX3852" fmla="*/ 12367888 w 26653740"/>
                <a:gd name="connsiteY3852" fmla="*/ 14111913 h 16570717"/>
                <a:gd name="connsiteX3853" fmla="*/ 12358360 w 26653740"/>
                <a:gd name="connsiteY3853" fmla="*/ 14126209 h 16570717"/>
                <a:gd name="connsiteX3854" fmla="*/ 12339296 w 26653740"/>
                <a:gd name="connsiteY3854" fmla="*/ 14154801 h 16570717"/>
                <a:gd name="connsiteX3855" fmla="*/ 12296412 w 26653740"/>
                <a:gd name="connsiteY3855" fmla="*/ 14173861 h 16570717"/>
                <a:gd name="connsiteX3856" fmla="*/ 12286880 w 26653740"/>
                <a:gd name="connsiteY3856" fmla="*/ 14183389 h 16570717"/>
                <a:gd name="connsiteX3857" fmla="*/ 12277352 w 26653740"/>
                <a:gd name="connsiteY3857" fmla="*/ 14207217 h 16570717"/>
                <a:gd name="connsiteX3858" fmla="*/ 12277352 w 26653740"/>
                <a:gd name="connsiteY3858" fmla="*/ 14226277 h 16570717"/>
                <a:gd name="connsiteX3859" fmla="*/ 12267820 w 26653740"/>
                <a:gd name="connsiteY3859" fmla="*/ 14231041 h 16570717"/>
                <a:gd name="connsiteX3860" fmla="*/ 12260672 w 26653740"/>
                <a:gd name="connsiteY3860" fmla="*/ 14231041 h 16570717"/>
                <a:gd name="connsiteX3861" fmla="*/ 12251144 w 26653740"/>
                <a:gd name="connsiteY3861" fmla="*/ 14240573 h 16570717"/>
                <a:gd name="connsiteX3862" fmla="*/ 12241612 w 26653740"/>
                <a:gd name="connsiteY3862" fmla="*/ 14259633 h 16570717"/>
                <a:gd name="connsiteX3863" fmla="*/ 12236848 w 26653740"/>
                <a:gd name="connsiteY3863" fmla="*/ 14264397 h 16570717"/>
                <a:gd name="connsiteX3864" fmla="*/ 12232080 w 26653740"/>
                <a:gd name="connsiteY3864" fmla="*/ 14283457 h 16570717"/>
                <a:gd name="connsiteX3865" fmla="*/ 12232080 w 26653740"/>
                <a:gd name="connsiteY3865" fmla="*/ 14288221 h 16570717"/>
                <a:gd name="connsiteX3866" fmla="*/ 12232080 w 26653740"/>
                <a:gd name="connsiteY3866" fmla="*/ 14297753 h 16570717"/>
                <a:gd name="connsiteX3867" fmla="*/ 12227316 w 26653740"/>
                <a:gd name="connsiteY3867" fmla="*/ 14312049 h 16570717"/>
                <a:gd name="connsiteX3868" fmla="*/ 12217784 w 26653740"/>
                <a:gd name="connsiteY3868" fmla="*/ 14340641 h 16570717"/>
                <a:gd name="connsiteX3869" fmla="*/ 12217784 w 26653740"/>
                <a:gd name="connsiteY3869" fmla="*/ 14354933 h 16570717"/>
                <a:gd name="connsiteX3870" fmla="*/ 12222552 w 26653740"/>
                <a:gd name="connsiteY3870" fmla="*/ 14364465 h 16570717"/>
                <a:gd name="connsiteX3871" fmla="*/ 12232080 w 26653740"/>
                <a:gd name="connsiteY3871" fmla="*/ 14378761 h 16570717"/>
                <a:gd name="connsiteX3872" fmla="*/ 12236848 w 26653740"/>
                <a:gd name="connsiteY3872" fmla="*/ 14388289 h 16570717"/>
                <a:gd name="connsiteX3873" fmla="*/ 12236848 w 26653740"/>
                <a:gd name="connsiteY3873" fmla="*/ 14397821 h 16570717"/>
                <a:gd name="connsiteX3874" fmla="*/ 12236848 w 26653740"/>
                <a:gd name="connsiteY3874" fmla="*/ 14412117 h 16570717"/>
                <a:gd name="connsiteX3875" fmla="*/ 12241612 w 26653740"/>
                <a:gd name="connsiteY3875" fmla="*/ 14426413 h 16570717"/>
                <a:gd name="connsiteX3876" fmla="*/ 12246376 w 26653740"/>
                <a:gd name="connsiteY3876" fmla="*/ 14440705 h 16570717"/>
                <a:gd name="connsiteX3877" fmla="*/ 12255908 w 26653740"/>
                <a:gd name="connsiteY3877" fmla="*/ 14450237 h 16570717"/>
                <a:gd name="connsiteX3878" fmla="*/ 12265440 w 26653740"/>
                <a:gd name="connsiteY3878" fmla="*/ 14459769 h 16570717"/>
                <a:gd name="connsiteX3879" fmla="*/ 12277352 w 26653740"/>
                <a:gd name="connsiteY3879" fmla="*/ 14459769 h 16570717"/>
                <a:gd name="connsiteX3880" fmla="*/ 12286880 w 26653740"/>
                <a:gd name="connsiteY3880" fmla="*/ 14469297 h 16570717"/>
                <a:gd name="connsiteX3881" fmla="*/ 12286880 w 26653740"/>
                <a:gd name="connsiteY3881" fmla="*/ 14478829 h 16570717"/>
                <a:gd name="connsiteX3882" fmla="*/ 12282116 w 26653740"/>
                <a:gd name="connsiteY3882" fmla="*/ 14493125 h 16570717"/>
                <a:gd name="connsiteX3883" fmla="*/ 12277352 w 26653740"/>
                <a:gd name="connsiteY3883" fmla="*/ 14526481 h 16570717"/>
                <a:gd name="connsiteX3884" fmla="*/ 12272584 w 26653740"/>
                <a:gd name="connsiteY3884" fmla="*/ 14545541 h 16570717"/>
                <a:gd name="connsiteX3885" fmla="*/ 12267820 w 26653740"/>
                <a:gd name="connsiteY3885" fmla="*/ 14555069 h 16570717"/>
                <a:gd name="connsiteX3886" fmla="*/ 12260672 w 26653740"/>
                <a:gd name="connsiteY3886" fmla="*/ 14574129 h 16570717"/>
                <a:gd name="connsiteX3887" fmla="*/ 12260672 w 26653740"/>
                <a:gd name="connsiteY3887" fmla="*/ 14578897 h 16570717"/>
                <a:gd name="connsiteX3888" fmla="*/ 12241612 w 26653740"/>
                <a:gd name="connsiteY3888" fmla="*/ 14593189 h 16570717"/>
                <a:gd name="connsiteX3889" fmla="*/ 12232080 w 26653740"/>
                <a:gd name="connsiteY3889" fmla="*/ 14597957 h 16570717"/>
                <a:gd name="connsiteX3890" fmla="*/ 12222552 w 26653740"/>
                <a:gd name="connsiteY3890" fmla="*/ 14612253 h 16570717"/>
                <a:gd name="connsiteX3891" fmla="*/ 12208256 w 26653740"/>
                <a:gd name="connsiteY3891" fmla="*/ 14612253 h 16570717"/>
                <a:gd name="connsiteX3892" fmla="*/ 12198728 w 26653740"/>
                <a:gd name="connsiteY3892" fmla="*/ 14612253 h 16570717"/>
                <a:gd name="connsiteX3893" fmla="*/ 12189196 w 26653740"/>
                <a:gd name="connsiteY3893" fmla="*/ 14612253 h 16570717"/>
                <a:gd name="connsiteX3894" fmla="*/ 12179664 w 26653740"/>
                <a:gd name="connsiteY3894" fmla="*/ 14621781 h 16570717"/>
                <a:gd name="connsiteX3895" fmla="*/ 12170136 w 26653740"/>
                <a:gd name="connsiteY3895" fmla="*/ 14636077 h 16570717"/>
                <a:gd name="connsiteX3896" fmla="*/ 12151076 w 26653740"/>
                <a:gd name="connsiteY3896" fmla="*/ 14655137 h 16570717"/>
                <a:gd name="connsiteX3897" fmla="*/ 12141544 w 26653740"/>
                <a:gd name="connsiteY3897" fmla="*/ 14659901 h 16570717"/>
                <a:gd name="connsiteX3898" fmla="*/ 12117720 w 26653740"/>
                <a:gd name="connsiteY3898" fmla="*/ 14664669 h 16570717"/>
                <a:gd name="connsiteX3899" fmla="*/ 12108188 w 26653740"/>
                <a:gd name="connsiteY3899" fmla="*/ 14655137 h 16570717"/>
                <a:gd name="connsiteX3900" fmla="*/ 12103424 w 26653740"/>
                <a:gd name="connsiteY3900" fmla="*/ 14645609 h 16570717"/>
                <a:gd name="connsiteX3901" fmla="*/ 12093892 w 26653740"/>
                <a:gd name="connsiteY3901" fmla="*/ 14640841 h 16570717"/>
                <a:gd name="connsiteX3902" fmla="*/ 12084364 w 26653740"/>
                <a:gd name="connsiteY3902" fmla="*/ 14626545 h 16570717"/>
                <a:gd name="connsiteX3903" fmla="*/ 12041476 w 26653740"/>
                <a:gd name="connsiteY3903" fmla="*/ 14621781 h 16570717"/>
                <a:gd name="connsiteX3904" fmla="*/ 12031944 w 26653740"/>
                <a:gd name="connsiteY3904" fmla="*/ 14621781 h 16570717"/>
                <a:gd name="connsiteX3905" fmla="*/ 12022416 w 26653740"/>
                <a:gd name="connsiteY3905" fmla="*/ 14626545 h 16570717"/>
                <a:gd name="connsiteX3906" fmla="*/ 12017652 w 26653740"/>
                <a:gd name="connsiteY3906" fmla="*/ 14626545 h 16570717"/>
                <a:gd name="connsiteX3907" fmla="*/ 12008120 w 26653740"/>
                <a:gd name="connsiteY3907" fmla="*/ 14617017 h 16570717"/>
                <a:gd name="connsiteX3908" fmla="*/ 12003356 w 26653740"/>
                <a:gd name="connsiteY3908" fmla="*/ 14621781 h 16570717"/>
                <a:gd name="connsiteX3909" fmla="*/ 11989060 w 26653740"/>
                <a:gd name="connsiteY3909" fmla="*/ 14621781 h 16570717"/>
                <a:gd name="connsiteX3910" fmla="*/ 11979528 w 26653740"/>
                <a:gd name="connsiteY3910" fmla="*/ 14621781 h 16570717"/>
                <a:gd name="connsiteX3911" fmla="*/ 11965236 w 26653740"/>
                <a:gd name="connsiteY3911" fmla="*/ 14607485 h 16570717"/>
                <a:gd name="connsiteX3912" fmla="*/ 11946176 w 26653740"/>
                <a:gd name="connsiteY3912" fmla="*/ 14602721 h 16570717"/>
                <a:gd name="connsiteX3913" fmla="*/ 11941408 w 26653740"/>
                <a:gd name="connsiteY3913" fmla="*/ 14597957 h 16570717"/>
                <a:gd name="connsiteX3914" fmla="*/ 11931880 w 26653740"/>
                <a:gd name="connsiteY3914" fmla="*/ 14597957 h 16570717"/>
                <a:gd name="connsiteX3915" fmla="*/ 11927112 w 26653740"/>
                <a:gd name="connsiteY3915" fmla="*/ 14607485 h 16570717"/>
                <a:gd name="connsiteX3916" fmla="*/ 11922348 w 26653740"/>
                <a:gd name="connsiteY3916" fmla="*/ 14607485 h 16570717"/>
                <a:gd name="connsiteX3917" fmla="*/ 11917584 w 26653740"/>
                <a:gd name="connsiteY3917" fmla="*/ 14602721 h 16570717"/>
                <a:gd name="connsiteX3918" fmla="*/ 11908052 w 26653740"/>
                <a:gd name="connsiteY3918" fmla="*/ 14593189 h 16570717"/>
                <a:gd name="connsiteX3919" fmla="*/ 11898524 w 26653740"/>
                <a:gd name="connsiteY3919" fmla="*/ 14593189 h 16570717"/>
                <a:gd name="connsiteX3920" fmla="*/ 11884228 w 26653740"/>
                <a:gd name="connsiteY3920" fmla="*/ 14607485 h 16570717"/>
                <a:gd name="connsiteX3921" fmla="*/ 11865168 w 26653740"/>
                <a:gd name="connsiteY3921" fmla="*/ 14612253 h 16570717"/>
                <a:gd name="connsiteX3922" fmla="*/ 11855636 w 26653740"/>
                <a:gd name="connsiteY3922" fmla="*/ 14621781 h 16570717"/>
                <a:gd name="connsiteX3923" fmla="*/ 11841340 w 26653740"/>
                <a:gd name="connsiteY3923" fmla="*/ 14617017 h 16570717"/>
                <a:gd name="connsiteX3924" fmla="*/ 11836576 w 26653740"/>
                <a:gd name="connsiteY3924" fmla="*/ 14612253 h 16570717"/>
                <a:gd name="connsiteX3925" fmla="*/ 11827048 w 26653740"/>
                <a:gd name="connsiteY3925" fmla="*/ 14612253 h 16570717"/>
                <a:gd name="connsiteX3926" fmla="*/ 11798456 w 26653740"/>
                <a:gd name="connsiteY3926" fmla="*/ 14612253 h 16570717"/>
                <a:gd name="connsiteX3927" fmla="*/ 11793688 w 26653740"/>
                <a:gd name="connsiteY3927" fmla="*/ 14612253 h 16570717"/>
                <a:gd name="connsiteX3928" fmla="*/ 11779396 w 26653740"/>
                <a:gd name="connsiteY3928" fmla="*/ 14607485 h 16570717"/>
                <a:gd name="connsiteX3929" fmla="*/ 11774632 w 26653740"/>
                <a:gd name="connsiteY3929" fmla="*/ 14597957 h 16570717"/>
                <a:gd name="connsiteX3930" fmla="*/ 11765100 w 26653740"/>
                <a:gd name="connsiteY3930" fmla="*/ 14588425 h 16570717"/>
                <a:gd name="connsiteX3931" fmla="*/ 11746040 w 26653740"/>
                <a:gd name="connsiteY3931" fmla="*/ 14588425 h 16570717"/>
                <a:gd name="connsiteX3932" fmla="*/ 11731744 w 26653740"/>
                <a:gd name="connsiteY3932" fmla="*/ 14588425 h 16570717"/>
                <a:gd name="connsiteX3933" fmla="*/ 11722212 w 26653740"/>
                <a:gd name="connsiteY3933" fmla="*/ 14593189 h 16570717"/>
                <a:gd name="connsiteX3934" fmla="*/ 11712684 w 26653740"/>
                <a:gd name="connsiteY3934" fmla="*/ 14593189 h 16570717"/>
                <a:gd name="connsiteX3935" fmla="*/ 11707920 w 26653740"/>
                <a:gd name="connsiteY3935" fmla="*/ 14578897 h 16570717"/>
                <a:gd name="connsiteX3936" fmla="*/ 11693624 w 26653740"/>
                <a:gd name="connsiteY3936" fmla="*/ 14564601 h 16570717"/>
                <a:gd name="connsiteX3937" fmla="*/ 11688856 w 26653740"/>
                <a:gd name="connsiteY3937" fmla="*/ 14559833 h 16570717"/>
                <a:gd name="connsiteX3938" fmla="*/ 11679328 w 26653740"/>
                <a:gd name="connsiteY3938" fmla="*/ 14555069 h 16570717"/>
                <a:gd name="connsiteX3939" fmla="*/ 11674560 w 26653740"/>
                <a:gd name="connsiteY3939" fmla="*/ 14545541 h 16570717"/>
                <a:gd name="connsiteX3940" fmla="*/ 11674560 w 26653740"/>
                <a:gd name="connsiteY3940" fmla="*/ 14526481 h 16570717"/>
                <a:gd name="connsiteX3941" fmla="*/ 11669796 w 26653740"/>
                <a:gd name="connsiteY3941" fmla="*/ 14497889 h 16570717"/>
                <a:gd name="connsiteX3942" fmla="*/ 11665032 w 26653740"/>
                <a:gd name="connsiteY3942" fmla="*/ 14474061 h 16570717"/>
                <a:gd name="connsiteX3943" fmla="*/ 11655500 w 26653740"/>
                <a:gd name="connsiteY3943" fmla="*/ 14464533 h 16570717"/>
                <a:gd name="connsiteX3944" fmla="*/ 11631676 w 26653740"/>
                <a:gd name="connsiteY3944" fmla="*/ 14459769 h 16570717"/>
                <a:gd name="connsiteX3945" fmla="*/ 11617380 w 26653740"/>
                <a:gd name="connsiteY3945" fmla="*/ 14459769 h 16570717"/>
                <a:gd name="connsiteX3946" fmla="*/ 11588792 w 26653740"/>
                <a:gd name="connsiteY3946" fmla="*/ 14455001 h 16570717"/>
                <a:gd name="connsiteX3947" fmla="*/ 11564964 w 26653740"/>
                <a:gd name="connsiteY3947" fmla="*/ 14455001 h 16570717"/>
                <a:gd name="connsiteX3948" fmla="*/ 11560200 w 26653740"/>
                <a:gd name="connsiteY3948" fmla="*/ 14455001 h 16570717"/>
                <a:gd name="connsiteX3949" fmla="*/ 11541136 w 26653740"/>
                <a:gd name="connsiteY3949" fmla="*/ 14450237 h 16570717"/>
                <a:gd name="connsiteX3950" fmla="*/ 11522080 w 26653740"/>
                <a:gd name="connsiteY3950" fmla="*/ 14450237 h 16570717"/>
                <a:gd name="connsiteX3951" fmla="*/ 11503016 w 26653740"/>
                <a:gd name="connsiteY3951" fmla="*/ 14445473 h 16570717"/>
                <a:gd name="connsiteX3952" fmla="*/ 11498252 w 26653740"/>
                <a:gd name="connsiteY3952" fmla="*/ 14450237 h 16570717"/>
                <a:gd name="connsiteX3953" fmla="*/ 11479192 w 26653740"/>
                <a:gd name="connsiteY3953" fmla="*/ 14450237 h 16570717"/>
                <a:gd name="connsiteX3954" fmla="*/ 11464896 w 26653740"/>
                <a:gd name="connsiteY3954" fmla="*/ 14440705 h 16570717"/>
                <a:gd name="connsiteX3955" fmla="*/ 11455368 w 26653740"/>
                <a:gd name="connsiteY3955" fmla="*/ 14421645 h 16570717"/>
                <a:gd name="connsiteX3956" fmla="*/ 11455368 w 26653740"/>
                <a:gd name="connsiteY3956" fmla="*/ 14416881 h 16570717"/>
                <a:gd name="connsiteX3957" fmla="*/ 11455368 w 26653740"/>
                <a:gd name="connsiteY3957" fmla="*/ 14407349 h 16570717"/>
                <a:gd name="connsiteX3958" fmla="*/ 11441072 w 26653740"/>
                <a:gd name="connsiteY3958" fmla="*/ 14402585 h 16570717"/>
                <a:gd name="connsiteX3959" fmla="*/ 11426776 w 26653740"/>
                <a:gd name="connsiteY3959" fmla="*/ 14407349 h 16570717"/>
                <a:gd name="connsiteX3960" fmla="*/ 11422008 w 26653740"/>
                <a:gd name="connsiteY3960" fmla="*/ 14426413 h 16570717"/>
                <a:gd name="connsiteX3961" fmla="*/ 11412480 w 26653740"/>
                <a:gd name="connsiteY3961" fmla="*/ 14431177 h 16570717"/>
                <a:gd name="connsiteX3962" fmla="*/ 11402952 w 26653740"/>
                <a:gd name="connsiteY3962" fmla="*/ 14431177 h 16570717"/>
                <a:gd name="connsiteX3963" fmla="*/ 11398184 w 26653740"/>
                <a:gd name="connsiteY3963" fmla="*/ 14421645 h 16570717"/>
                <a:gd name="connsiteX3964" fmla="*/ 11383888 w 26653740"/>
                <a:gd name="connsiteY3964" fmla="*/ 14412117 h 16570717"/>
                <a:gd name="connsiteX3965" fmla="*/ 11374360 w 26653740"/>
                <a:gd name="connsiteY3965" fmla="*/ 14402585 h 16570717"/>
                <a:gd name="connsiteX3966" fmla="*/ 11360064 w 26653740"/>
                <a:gd name="connsiteY3966" fmla="*/ 14388289 h 16570717"/>
                <a:gd name="connsiteX3967" fmla="*/ 11350532 w 26653740"/>
                <a:gd name="connsiteY3967" fmla="*/ 14388289 h 16570717"/>
                <a:gd name="connsiteX3968" fmla="*/ 11350532 w 26653740"/>
                <a:gd name="connsiteY3968" fmla="*/ 14397821 h 16570717"/>
                <a:gd name="connsiteX3969" fmla="*/ 11345768 w 26653740"/>
                <a:gd name="connsiteY3969" fmla="*/ 14407349 h 16570717"/>
                <a:gd name="connsiteX3970" fmla="*/ 11336240 w 26653740"/>
                <a:gd name="connsiteY3970" fmla="*/ 14426413 h 16570717"/>
                <a:gd name="connsiteX3971" fmla="*/ 11321944 w 26653740"/>
                <a:gd name="connsiteY3971" fmla="*/ 14431177 h 16570717"/>
                <a:gd name="connsiteX3972" fmla="*/ 11298116 w 26653740"/>
                <a:gd name="connsiteY3972" fmla="*/ 14426413 h 16570717"/>
                <a:gd name="connsiteX3973" fmla="*/ 11274292 w 26653740"/>
                <a:gd name="connsiteY3973" fmla="*/ 14431177 h 16570717"/>
                <a:gd name="connsiteX3974" fmla="*/ 11259996 w 26653740"/>
                <a:gd name="connsiteY3974" fmla="*/ 14435941 h 16570717"/>
                <a:gd name="connsiteX3975" fmla="*/ 11250464 w 26653740"/>
                <a:gd name="connsiteY3975" fmla="*/ 14445473 h 16570717"/>
                <a:gd name="connsiteX3976" fmla="*/ 11240936 w 26653740"/>
                <a:gd name="connsiteY3976" fmla="*/ 14459769 h 16570717"/>
                <a:gd name="connsiteX3977" fmla="*/ 11231404 w 26653740"/>
                <a:gd name="connsiteY3977" fmla="*/ 14459769 h 16570717"/>
                <a:gd name="connsiteX3978" fmla="*/ 11221876 w 26653740"/>
                <a:gd name="connsiteY3978" fmla="*/ 14469297 h 16570717"/>
                <a:gd name="connsiteX3979" fmla="*/ 11217112 w 26653740"/>
                <a:gd name="connsiteY3979" fmla="*/ 14483593 h 16570717"/>
                <a:gd name="connsiteX3980" fmla="*/ 11202816 w 26653740"/>
                <a:gd name="connsiteY3980" fmla="*/ 14483593 h 16570717"/>
                <a:gd name="connsiteX3981" fmla="*/ 11198048 w 26653740"/>
                <a:gd name="connsiteY3981" fmla="*/ 14483593 h 16570717"/>
                <a:gd name="connsiteX3982" fmla="*/ 11183752 w 26653740"/>
                <a:gd name="connsiteY3982" fmla="*/ 14488357 h 16570717"/>
                <a:gd name="connsiteX3983" fmla="*/ 11159928 w 26653740"/>
                <a:gd name="connsiteY3983" fmla="*/ 14493125 h 16570717"/>
                <a:gd name="connsiteX3984" fmla="*/ 11155164 w 26653740"/>
                <a:gd name="connsiteY3984" fmla="*/ 14497889 h 16570717"/>
                <a:gd name="connsiteX3985" fmla="*/ 11136104 w 26653740"/>
                <a:gd name="connsiteY3985" fmla="*/ 14512185 h 16570717"/>
                <a:gd name="connsiteX3986" fmla="*/ 11126572 w 26653740"/>
                <a:gd name="connsiteY3986" fmla="*/ 14521713 h 16570717"/>
                <a:gd name="connsiteX3987" fmla="*/ 11112276 w 26653740"/>
                <a:gd name="connsiteY3987" fmla="*/ 14521713 h 16570717"/>
                <a:gd name="connsiteX3988" fmla="*/ 11102748 w 26653740"/>
                <a:gd name="connsiteY3988" fmla="*/ 14536009 h 16570717"/>
                <a:gd name="connsiteX3989" fmla="*/ 11097980 w 26653740"/>
                <a:gd name="connsiteY3989" fmla="*/ 14545541 h 16570717"/>
                <a:gd name="connsiteX3990" fmla="*/ 11074156 w 26653740"/>
                <a:gd name="connsiteY3990" fmla="*/ 14545541 h 16570717"/>
                <a:gd name="connsiteX3991" fmla="*/ 11050328 w 26653740"/>
                <a:gd name="connsiteY3991" fmla="*/ 14559833 h 16570717"/>
                <a:gd name="connsiteX3992" fmla="*/ 11040800 w 26653740"/>
                <a:gd name="connsiteY3992" fmla="*/ 14559833 h 16570717"/>
                <a:gd name="connsiteX3993" fmla="*/ 11026504 w 26653740"/>
                <a:gd name="connsiteY3993" fmla="*/ 14569365 h 16570717"/>
                <a:gd name="connsiteX3994" fmla="*/ 11012208 w 26653740"/>
                <a:gd name="connsiteY3994" fmla="*/ 14574129 h 16570717"/>
                <a:gd name="connsiteX3995" fmla="*/ 11002680 w 26653740"/>
                <a:gd name="connsiteY3995" fmla="*/ 14574129 h 16570717"/>
                <a:gd name="connsiteX3996" fmla="*/ 10993148 w 26653740"/>
                <a:gd name="connsiteY3996" fmla="*/ 14583661 h 16570717"/>
                <a:gd name="connsiteX3997" fmla="*/ 10988384 w 26653740"/>
                <a:gd name="connsiteY3997" fmla="*/ 14602721 h 16570717"/>
                <a:gd name="connsiteX3998" fmla="*/ 10974088 w 26653740"/>
                <a:gd name="connsiteY3998" fmla="*/ 14612253 h 16570717"/>
                <a:gd name="connsiteX3999" fmla="*/ 10955028 w 26653740"/>
                <a:gd name="connsiteY3999" fmla="*/ 14612253 h 16570717"/>
                <a:gd name="connsiteX4000" fmla="*/ 10935968 w 26653740"/>
                <a:gd name="connsiteY4000" fmla="*/ 14621781 h 16570717"/>
                <a:gd name="connsiteX4001" fmla="*/ 10935968 w 26653740"/>
                <a:gd name="connsiteY4001" fmla="*/ 14640841 h 16570717"/>
                <a:gd name="connsiteX4002" fmla="*/ 10940732 w 26653740"/>
                <a:gd name="connsiteY4002" fmla="*/ 14659901 h 16570717"/>
                <a:gd name="connsiteX4003" fmla="*/ 10940732 w 26653740"/>
                <a:gd name="connsiteY4003" fmla="*/ 14669433 h 16570717"/>
                <a:gd name="connsiteX4004" fmla="*/ 10926436 w 26653740"/>
                <a:gd name="connsiteY4004" fmla="*/ 14669433 h 16570717"/>
                <a:gd name="connsiteX4005" fmla="*/ 10912140 w 26653740"/>
                <a:gd name="connsiteY4005" fmla="*/ 14678965 h 16570717"/>
                <a:gd name="connsiteX4006" fmla="*/ 10897848 w 26653740"/>
                <a:gd name="connsiteY4006" fmla="*/ 14693257 h 16570717"/>
                <a:gd name="connsiteX4007" fmla="*/ 10883552 w 26653740"/>
                <a:gd name="connsiteY4007" fmla="*/ 14693257 h 16570717"/>
                <a:gd name="connsiteX4008" fmla="*/ 10874020 w 26653740"/>
                <a:gd name="connsiteY4008" fmla="*/ 14688493 h 16570717"/>
                <a:gd name="connsiteX4009" fmla="*/ 10869256 w 26653740"/>
                <a:gd name="connsiteY4009" fmla="*/ 14698025 h 16570717"/>
                <a:gd name="connsiteX4010" fmla="*/ 10864488 w 26653740"/>
                <a:gd name="connsiteY4010" fmla="*/ 14712317 h 16570717"/>
                <a:gd name="connsiteX4011" fmla="*/ 10854960 w 26653740"/>
                <a:gd name="connsiteY4011" fmla="*/ 14717085 h 16570717"/>
                <a:gd name="connsiteX4012" fmla="*/ 10840664 w 26653740"/>
                <a:gd name="connsiteY4012" fmla="*/ 14726613 h 16570717"/>
                <a:gd name="connsiteX4013" fmla="*/ 10831136 w 26653740"/>
                <a:gd name="connsiteY4013" fmla="*/ 14721849 h 16570717"/>
                <a:gd name="connsiteX4014" fmla="*/ 10831136 w 26653740"/>
                <a:gd name="connsiteY4014" fmla="*/ 14717085 h 16570717"/>
                <a:gd name="connsiteX4015" fmla="*/ 10821604 w 26653740"/>
                <a:gd name="connsiteY4015" fmla="*/ 14707553 h 16570717"/>
                <a:gd name="connsiteX4016" fmla="*/ 10816840 w 26653740"/>
                <a:gd name="connsiteY4016" fmla="*/ 14712317 h 16570717"/>
                <a:gd name="connsiteX4017" fmla="*/ 10816840 w 26653740"/>
                <a:gd name="connsiteY4017" fmla="*/ 14721849 h 16570717"/>
                <a:gd name="connsiteX4018" fmla="*/ 10812072 w 26653740"/>
                <a:gd name="connsiteY4018" fmla="*/ 14731381 h 16570717"/>
                <a:gd name="connsiteX4019" fmla="*/ 10797776 w 26653740"/>
                <a:gd name="connsiteY4019" fmla="*/ 14731381 h 16570717"/>
                <a:gd name="connsiteX4020" fmla="*/ 10788248 w 26653740"/>
                <a:gd name="connsiteY4020" fmla="*/ 14726613 h 16570717"/>
                <a:gd name="connsiteX4021" fmla="*/ 10778720 w 26653740"/>
                <a:gd name="connsiteY4021" fmla="*/ 14721849 h 16570717"/>
                <a:gd name="connsiteX4022" fmla="*/ 10764424 w 26653740"/>
                <a:gd name="connsiteY4022" fmla="*/ 14721849 h 16570717"/>
                <a:gd name="connsiteX4023" fmla="*/ 10750128 w 26653740"/>
                <a:gd name="connsiteY4023" fmla="*/ 14726613 h 16570717"/>
                <a:gd name="connsiteX4024" fmla="*/ 10740596 w 26653740"/>
                <a:gd name="connsiteY4024" fmla="*/ 14721849 h 16570717"/>
                <a:gd name="connsiteX4025" fmla="*/ 10735832 w 26653740"/>
                <a:gd name="connsiteY4025" fmla="*/ 14726613 h 16570717"/>
                <a:gd name="connsiteX4026" fmla="*/ 10712008 w 26653740"/>
                <a:gd name="connsiteY4026" fmla="*/ 14731381 h 16570717"/>
                <a:gd name="connsiteX4027" fmla="*/ 10702476 w 26653740"/>
                <a:gd name="connsiteY4027" fmla="*/ 14745673 h 16570717"/>
                <a:gd name="connsiteX4028" fmla="*/ 10702476 w 26653740"/>
                <a:gd name="connsiteY4028" fmla="*/ 14769501 h 16570717"/>
                <a:gd name="connsiteX4029" fmla="*/ 10697712 w 26653740"/>
                <a:gd name="connsiteY4029" fmla="*/ 14779029 h 16570717"/>
                <a:gd name="connsiteX4030" fmla="*/ 10688180 w 26653740"/>
                <a:gd name="connsiteY4030" fmla="*/ 14788561 h 16570717"/>
                <a:gd name="connsiteX4031" fmla="*/ 10678648 w 26653740"/>
                <a:gd name="connsiteY4031" fmla="*/ 14793325 h 16570717"/>
                <a:gd name="connsiteX4032" fmla="*/ 10669120 w 26653740"/>
                <a:gd name="connsiteY4032" fmla="*/ 14798093 h 16570717"/>
                <a:gd name="connsiteX4033" fmla="*/ 10654824 w 26653740"/>
                <a:gd name="connsiteY4033" fmla="*/ 14802857 h 16570717"/>
                <a:gd name="connsiteX4034" fmla="*/ 10650060 w 26653740"/>
                <a:gd name="connsiteY4034" fmla="*/ 14802857 h 16570717"/>
                <a:gd name="connsiteX4035" fmla="*/ 10645296 w 26653740"/>
                <a:gd name="connsiteY4035" fmla="*/ 14798093 h 16570717"/>
                <a:gd name="connsiteX4036" fmla="*/ 10631000 w 26653740"/>
                <a:gd name="connsiteY4036" fmla="*/ 14802857 h 16570717"/>
                <a:gd name="connsiteX4037" fmla="*/ 10616704 w 26653740"/>
                <a:gd name="connsiteY4037" fmla="*/ 14807621 h 16570717"/>
                <a:gd name="connsiteX4038" fmla="*/ 10607172 w 26653740"/>
                <a:gd name="connsiteY4038" fmla="*/ 14807621 h 16570717"/>
                <a:gd name="connsiteX4039" fmla="*/ 10597644 w 26653740"/>
                <a:gd name="connsiteY4039" fmla="*/ 14817153 h 16570717"/>
                <a:gd name="connsiteX4040" fmla="*/ 10588112 w 26653740"/>
                <a:gd name="connsiteY4040" fmla="*/ 14821917 h 16570717"/>
                <a:gd name="connsiteX4041" fmla="*/ 10573816 w 26653740"/>
                <a:gd name="connsiteY4041" fmla="*/ 14817153 h 16570717"/>
                <a:gd name="connsiteX4042" fmla="*/ 10573816 w 26653740"/>
                <a:gd name="connsiteY4042" fmla="*/ 14802857 h 16570717"/>
                <a:gd name="connsiteX4043" fmla="*/ 10559520 w 26653740"/>
                <a:gd name="connsiteY4043" fmla="*/ 14788561 h 16570717"/>
                <a:gd name="connsiteX4044" fmla="*/ 10549992 w 26653740"/>
                <a:gd name="connsiteY4044" fmla="*/ 14783797 h 16570717"/>
                <a:gd name="connsiteX4045" fmla="*/ 10535696 w 26653740"/>
                <a:gd name="connsiteY4045" fmla="*/ 14779029 h 16570717"/>
                <a:gd name="connsiteX4046" fmla="*/ 10526168 w 26653740"/>
                <a:gd name="connsiteY4046" fmla="*/ 14769501 h 16570717"/>
                <a:gd name="connsiteX4047" fmla="*/ 10516636 w 26653740"/>
                <a:gd name="connsiteY4047" fmla="*/ 14764737 h 16570717"/>
                <a:gd name="connsiteX4048" fmla="*/ 10497576 w 26653740"/>
                <a:gd name="connsiteY4048" fmla="*/ 14721849 h 16570717"/>
                <a:gd name="connsiteX4049" fmla="*/ 10478516 w 26653740"/>
                <a:gd name="connsiteY4049" fmla="*/ 14707553 h 16570717"/>
                <a:gd name="connsiteX4050" fmla="*/ 10468984 w 26653740"/>
                <a:gd name="connsiteY4050" fmla="*/ 14702789 h 16570717"/>
                <a:gd name="connsiteX4051" fmla="*/ 10464220 w 26653740"/>
                <a:gd name="connsiteY4051" fmla="*/ 14693257 h 16570717"/>
                <a:gd name="connsiteX4052" fmla="*/ 10473752 w 26653740"/>
                <a:gd name="connsiteY4052" fmla="*/ 14678965 h 16570717"/>
                <a:gd name="connsiteX4053" fmla="*/ 10483280 w 26653740"/>
                <a:gd name="connsiteY4053" fmla="*/ 14674197 h 16570717"/>
                <a:gd name="connsiteX4054" fmla="*/ 10483280 w 26653740"/>
                <a:gd name="connsiteY4054" fmla="*/ 14659901 h 16570717"/>
                <a:gd name="connsiteX4055" fmla="*/ 10473752 w 26653740"/>
                <a:gd name="connsiteY4055" fmla="*/ 14650373 h 16570717"/>
                <a:gd name="connsiteX4056" fmla="*/ 10464220 w 26653740"/>
                <a:gd name="connsiteY4056" fmla="*/ 14655137 h 16570717"/>
                <a:gd name="connsiteX4057" fmla="*/ 10449924 w 26653740"/>
                <a:gd name="connsiteY4057" fmla="*/ 14669433 h 16570717"/>
                <a:gd name="connsiteX4058" fmla="*/ 10435628 w 26653740"/>
                <a:gd name="connsiteY4058" fmla="*/ 14688493 h 16570717"/>
                <a:gd name="connsiteX4059" fmla="*/ 10416568 w 26653740"/>
                <a:gd name="connsiteY4059" fmla="*/ 14698025 h 16570717"/>
                <a:gd name="connsiteX4060" fmla="*/ 10407040 w 26653740"/>
                <a:gd name="connsiteY4060" fmla="*/ 14707553 h 16570717"/>
                <a:gd name="connsiteX4061" fmla="*/ 10397508 w 26653740"/>
                <a:gd name="connsiteY4061" fmla="*/ 14717085 h 16570717"/>
                <a:gd name="connsiteX4062" fmla="*/ 10383212 w 26653740"/>
                <a:gd name="connsiteY4062" fmla="*/ 14717085 h 16570717"/>
                <a:gd name="connsiteX4063" fmla="*/ 10373680 w 26653740"/>
                <a:gd name="connsiteY4063" fmla="*/ 14717085 h 16570717"/>
                <a:gd name="connsiteX4064" fmla="*/ 10364152 w 26653740"/>
                <a:gd name="connsiteY4064" fmla="*/ 14717085 h 16570717"/>
                <a:gd name="connsiteX4065" fmla="*/ 10359388 w 26653740"/>
                <a:gd name="connsiteY4065" fmla="*/ 14707553 h 16570717"/>
                <a:gd name="connsiteX4066" fmla="*/ 10349856 w 26653740"/>
                <a:gd name="connsiteY4066" fmla="*/ 14707553 h 16570717"/>
                <a:gd name="connsiteX4067" fmla="*/ 10292676 w 26653740"/>
                <a:gd name="connsiteY4067" fmla="*/ 14693257 h 16570717"/>
                <a:gd name="connsiteX4068" fmla="*/ 10268848 w 26653740"/>
                <a:gd name="connsiteY4068" fmla="*/ 14688493 h 16570717"/>
                <a:gd name="connsiteX4069" fmla="*/ 10259320 w 26653740"/>
                <a:gd name="connsiteY4069" fmla="*/ 14693257 h 16570717"/>
                <a:gd name="connsiteX4070" fmla="*/ 10249788 w 26653740"/>
                <a:gd name="connsiteY4070" fmla="*/ 14693257 h 16570717"/>
                <a:gd name="connsiteX4071" fmla="*/ 10245024 w 26653740"/>
                <a:gd name="connsiteY4071" fmla="*/ 14678965 h 16570717"/>
                <a:gd name="connsiteX4072" fmla="*/ 10235492 w 26653740"/>
                <a:gd name="connsiteY4072" fmla="*/ 14659901 h 16570717"/>
                <a:gd name="connsiteX4073" fmla="*/ 10225964 w 26653740"/>
                <a:gd name="connsiteY4073" fmla="*/ 14640841 h 16570717"/>
                <a:gd name="connsiteX4074" fmla="*/ 10211668 w 26653740"/>
                <a:gd name="connsiteY4074" fmla="*/ 14626545 h 16570717"/>
                <a:gd name="connsiteX4075" fmla="*/ 10206904 w 26653740"/>
                <a:gd name="connsiteY4075" fmla="*/ 14612253 h 16570717"/>
                <a:gd name="connsiteX4076" fmla="*/ 10211668 w 26653740"/>
                <a:gd name="connsiteY4076" fmla="*/ 14597957 h 16570717"/>
                <a:gd name="connsiteX4077" fmla="*/ 10211668 w 26653740"/>
                <a:gd name="connsiteY4077" fmla="*/ 14583661 h 16570717"/>
                <a:gd name="connsiteX4078" fmla="*/ 10202136 w 26653740"/>
                <a:gd name="connsiteY4078" fmla="*/ 14578897 h 16570717"/>
                <a:gd name="connsiteX4079" fmla="*/ 10187840 w 26653740"/>
                <a:gd name="connsiteY4079" fmla="*/ 14574129 h 16570717"/>
                <a:gd name="connsiteX4080" fmla="*/ 10149720 w 26653740"/>
                <a:gd name="connsiteY4080" fmla="*/ 14550305 h 16570717"/>
                <a:gd name="connsiteX4081" fmla="*/ 10135424 w 26653740"/>
                <a:gd name="connsiteY4081" fmla="*/ 14545541 h 16570717"/>
                <a:gd name="connsiteX4082" fmla="*/ 10121128 w 26653740"/>
                <a:gd name="connsiteY4082" fmla="*/ 14540773 h 16570717"/>
                <a:gd name="connsiteX4083" fmla="*/ 10106836 w 26653740"/>
                <a:gd name="connsiteY4083" fmla="*/ 14540773 h 16570717"/>
                <a:gd name="connsiteX4084" fmla="*/ 10097304 w 26653740"/>
                <a:gd name="connsiteY4084" fmla="*/ 14526481 h 16570717"/>
                <a:gd name="connsiteX4085" fmla="*/ 10087776 w 26653740"/>
                <a:gd name="connsiteY4085" fmla="*/ 14493125 h 16570717"/>
                <a:gd name="connsiteX4086" fmla="*/ 10083008 w 26653740"/>
                <a:gd name="connsiteY4086" fmla="*/ 14469297 h 16570717"/>
                <a:gd name="connsiteX4087" fmla="*/ 10073480 w 26653740"/>
                <a:gd name="connsiteY4087" fmla="*/ 14450237 h 16570717"/>
                <a:gd name="connsiteX4088" fmla="*/ 10059184 w 26653740"/>
                <a:gd name="connsiteY4088" fmla="*/ 14431177 h 16570717"/>
                <a:gd name="connsiteX4089" fmla="*/ 10049652 w 26653740"/>
                <a:gd name="connsiteY4089" fmla="*/ 14407349 h 16570717"/>
                <a:gd name="connsiteX4090" fmla="*/ 10035360 w 26653740"/>
                <a:gd name="connsiteY4090" fmla="*/ 14397821 h 16570717"/>
                <a:gd name="connsiteX4091" fmla="*/ 10011532 w 26653740"/>
                <a:gd name="connsiteY4091" fmla="*/ 14378761 h 16570717"/>
                <a:gd name="connsiteX4092" fmla="*/ 9992472 w 26653740"/>
                <a:gd name="connsiteY4092" fmla="*/ 14369229 h 16570717"/>
                <a:gd name="connsiteX4093" fmla="*/ 9954352 w 26653740"/>
                <a:gd name="connsiteY4093" fmla="*/ 14354933 h 16570717"/>
                <a:gd name="connsiteX4094" fmla="*/ 9944820 w 26653740"/>
                <a:gd name="connsiteY4094" fmla="*/ 14354933 h 16570717"/>
                <a:gd name="connsiteX4095" fmla="*/ 9925760 w 26653740"/>
                <a:gd name="connsiteY4095" fmla="*/ 14354933 h 16570717"/>
                <a:gd name="connsiteX4096" fmla="*/ 9916232 w 26653740"/>
                <a:gd name="connsiteY4096" fmla="*/ 14364465 h 16570717"/>
                <a:gd name="connsiteX4097" fmla="*/ 9901936 w 26653740"/>
                <a:gd name="connsiteY4097" fmla="*/ 14378761 h 16570717"/>
                <a:gd name="connsiteX4098" fmla="*/ 9887640 w 26653740"/>
                <a:gd name="connsiteY4098" fmla="*/ 14378761 h 16570717"/>
                <a:gd name="connsiteX4099" fmla="*/ 9863812 w 26653740"/>
                <a:gd name="connsiteY4099" fmla="*/ 14378761 h 16570717"/>
                <a:gd name="connsiteX4100" fmla="*/ 9854284 w 26653740"/>
                <a:gd name="connsiteY4100" fmla="*/ 14383525 h 16570717"/>
                <a:gd name="connsiteX4101" fmla="*/ 9854284 w 26653740"/>
                <a:gd name="connsiteY4101" fmla="*/ 14397821 h 16570717"/>
                <a:gd name="connsiteX4102" fmla="*/ 9839988 w 26653740"/>
                <a:gd name="connsiteY4102" fmla="*/ 14412117 h 16570717"/>
                <a:gd name="connsiteX4103" fmla="*/ 9820928 w 26653740"/>
                <a:gd name="connsiteY4103" fmla="*/ 14421645 h 16570717"/>
                <a:gd name="connsiteX4104" fmla="*/ 9797104 w 26653740"/>
                <a:gd name="connsiteY4104" fmla="*/ 14416881 h 16570717"/>
                <a:gd name="connsiteX4105" fmla="*/ 9778040 w 26653740"/>
                <a:gd name="connsiteY4105" fmla="*/ 14421645 h 16570717"/>
                <a:gd name="connsiteX4106" fmla="*/ 9758980 w 26653740"/>
                <a:gd name="connsiteY4106" fmla="*/ 14426413 h 16570717"/>
                <a:gd name="connsiteX4107" fmla="*/ 9735156 w 26653740"/>
                <a:gd name="connsiteY4107" fmla="*/ 14412117 h 16570717"/>
                <a:gd name="connsiteX4108" fmla="*/ 9706564 w 26653740"/>
                <a:gd name="connsiteY4108" fmla="*/ 14412117 h 16570717"/>
                <a:gd name="connsiteX4109" fmla="*/ 9687504 w 26653740"/>
                <a:gd name="connsiteY4109" fmla="*/ 14416881 h 16570717"/>
                <a:gd name="connsiteX4110" fmla="*/ 9658912 w 26653740"/>
                <a:gd name="connsiteY4110" fmla="*/ 14416881 h 16570717"/>
                <a:gd name="connsiteX4111" fmla="*/ 9654148 w 26653740"/>
                <a:gd name="connsiteY4111" fmla="*/ 14412117 h 16570717"/>
                <a:gd name="connsiteX4112" fmla="*/ 9658912 w 26653740"/>
                <a:gd name="connsiteY4112" fmla="*/ 14397821 h 16570717"/>
                <a:gd name="connsiteX4113" fmla="*/ 9654148 w 26653740"/>
                <a:gd name="connsiteY4113" fmla="*/ 14383525 h 16570717"/>
                <a:gd name="connsiteX4114" fmla="*/ 9654148 w 26653740"/>
                <a:gd name="connsiteY4114" fmla="*/ 14373993 h 16570717"/>
                <a:gd name="connsiteX4115" fmla="*/ 9649384 w 26653740"/>
                <a:gd name="connsiteY4115" fmla="*/ 14364465 h 16570717"/>
                <a:gd name="connsiteX4116" fmla="*/ 9639852 w 26653740"/>
                <a:gd name="connsiteY4116" fmla="*/ 14359701 h 16570717"/>
                <a:gd name="connsiteX4117" fmla="*/ 9606496 w 26653740"/>
                <a:gd name="connsiteY4117" fmla="*/ 14364465 h 16570717"/>
                <a:gd name="connsiteX4118" fmla="*/ 9596968 w 26653740"/>
                <a:gd name="connsiteY4118" fmla="*/ 14359701 h 16570717"/>
                <a:gd name="connsiteX4119" fmla="*/ 9601732 w 26653740"/>
                <a:gd name="connsiteY4119" fmla="*/ 14350169 h 16570717"/>
                <a:gd name="connsiteX4120" fmla="*/ 9606496 w 26653740"/>
                <a:gd name="connsiteY4120" fmla="*/ 14335873 h 16570717"/>
                <a:gd name="connsiteX4121" fmla="*/ 9611264 w 26653740"/>
                <a:gd name="connsiteY4121" fmla="*/ 14316813 h 16570717"/>
                <a:gd name="connsiteX4122" fmla="*/ 9606496 w 26653740"/>
                <a:gd name="connsiteY4122" fmla="*/ 14307285 h 16570717"/>
                <a:gd name="connsiteX4123" fmla="*/ 9592200 w 26653740"/>
                <a:gd name="connsiteY4123" fmla="*/ 14307285 h 16570717"/>
                <a:gd name="connsiteX4124" fmla="*/ 9582672 w 26653740"/>
                <a:gd name="connsiteY4124" fmla="*/ 14307285 h 16570717"/>
                <a:gd name="connsiteX4125" fmla="*/ 9577904 w 26653740"/>
                <a:gd name="connsiteY4125" fmla="*/ 14292989 h 16570717"/>
                <a:gd name="connsiteX4126" fmla="*/ 9568376 w 26653740"/>
                <a:gd name="connsiteY4126" fmla="*/ 14283457 h 16570717"/>
                <a:gd name="connsiteX4127" fmla="*/ 9558844 w 26653740"/>
                <a:gd name="connsiteY4127" fmla="*/ 14283457 h 16570717"/>
                <a:gd name="connsiteX4128" fmla="*/ 9544552 w 26653740"/>
                <a:gd name="connsiteY4128" fmla="*/ 14278693 h 16570717"/>
                <a:gd name="connsiteX4129" fmla="*/ 9535020 w 26653740"/>
                <a:gd name="connsiteY4129" fmla="*/ 14283457 h 16570717"/>
                <a:gd name="connsiteX4130" fmla="*/ 9525488 w 26653740"/>
                <a:gd name="connsiteY4130" fmla="*/ 14297753 h 16570717"/>
                <a:gd name="connsiteX4131" fmla="*/ 9515960 w 26653740"/>
                <a:gd name="connsiteY4131" fmla="*/ 14297753 h 16570717"/>
                <a:gd name="connsiteX4132" fmla="*/ 9506428 w 26653740"/>
                <a:gd name="connsiteY4132" fmla="*/ 14302517 h 16570717"/>
                <a:gd name="connsiteX4133" fmla="*/ 9501664 w 26653740"/>
                <a:gd name="connsiteY4133" fmla="*/ 14307285 h 16570717"/>
                <a:gd name="connsiteX4134" fmla="*/ 9496900 w 26653740"/>
                <a:gd name="connsiteY4134" fmla="*/ 14316813 h 16570717"/>
                <a:gd name="connsiteX4135" fmla="*/ 9501664 w 26653740"/>
                <a:gd name="connsiteY4135" fmla="*/ 14331109 h 16570717"/>
                <a:gd name="connsiteX4136" fmla="*/ 9501664 w 26653740"/>
                <a:gd name="connsiteY4136" fmla="*/ 14354933 h 16570717"/>
                <a:gd name="connsiteX4137" fmla="*/ 9496900 w 26653740"/>
                <a:gd name="connsiteY4137" fmla="*/ 14364465 h 16570717"/>
                <a:gd name="connsiteX4138" fmla="*/ 9487368 w 26653740"/>
                <a:gd name="connsiteY4138" fmla="*/ 14373993 h 16570717"/>
                <a:gd name="connsiteX4139" fmla="*/ 9473072 w 26653740"/>
                <a:gd name="connsiteY4139" fmla="*/ 14373993 h 16570717"/>
                <a:gd name="connsiteX4140" fmla="*/ 9468308 w 26653740"/>
                <a:gd name="connsiteY4140" fmla="*/ 14373993 h 16570717"/>
                <a:gd name="connsiteX4141" fmla="*/ 9454012 w 26653740"/>
                <a:gd name="connsiteY4141" fmla="*/ 14388289 h 16570717"/>
                <a:gd name="connsiteX4142" fmla="*/ 9444480 w 26653740"/>
                <a:gd name="connsiteY4142" fmla="*/ 14393057 h 16570717"/>
                <a:gd name="connsiteX4143" fmla="*/ 9444480 w 26653740"/>
                <a:gd name="connsiteY4143" fmla="*/ 14402585 h 16570717"/>
                <a:gd name="connsiteX4144" fmla="*/ 9439716 w 26653740"/>
                <a:gd name="connsiteY4144" fmla="*/ 14412117 h 16570717"/>
                <a:gd name="connsiteX4145" fmla="*/ 9430188 w 26653740"/>
                <a:gd name="connsiteY4145" fmla="*/ 14407349 h 16570717"/>
                <a:gd name="connsiteX4146" fmla="*/ 9411128 w 26653740"/>
                <a:gd name="connsiteY4146" fmla="*/ 14364465 h 16570717"/>
                <a:gd name="connsiteX4147" fmla="*/ 9387300 w 26653740"/>
                <a:gd name="connsiteY4147" fmla="*/ 14312049 h 16570717"/>
                <a:gd name="connsiteX4148" fmla="*/ 9363476 w 26653740"/>
                <a:gd name="connsiteY4148" fmla="*/ 14259633 h 16570717"/>
                <a:gd name="connsiteX4149" fmla="*/ 9349180 w 26653740"/>
                <a:gd name="connsiteY4149" fmla="*/ 14231041 h 16570717"/>
                <a:gd name="connsiteX4150" fmla="*/ 9296764 w 26653740"/>
                <a:gd name="connsiteY4150" fmla="*/ 14135737 h 16570717"/>
                <a:gd name="connsiteX4151" fmla="*/ 9272936 w 26653740"/>
                <a:gd name="connsiteY4151" fmla="*/ 14088089 h 16570717"/>
                <a:gd name="connsiteX4152" fmla="*/ 9230052 w 26653740"/>
                <a:gd name="connsiteY4152" fmla="*/ 14011845 h 16570717"/>
                <a:gd name="connsiteX4153" fmla="*/ 9191932 w 26653740"/>
                <a:gd name="connsiteY4153" fmla="*/ 13940369 h 16570717"/>
                <a:gd name="connsiteX4154" fmla="*/ 9149044 w 26653740"/>
                <a:gd name="connsiteY4154" fmla="*/ 13864125 h 16570717"/>
                <a:gd name="connsiteX4155" fmla="*/ 9125220 w 26653740"/>
                <a:gd name="connsiteY4155" fmla="*/ 13821241 h 16570717"/>
                <a:gd name="connsiteX4156" fmla="*/ 9096628 w 26653740"/>
                <a:gd name="connsiteY4156" fmla="*/ 13773589 h 16570717"/>
                <a:gd name="connsiteX4157" fmla="*/ 9087096 w 26653740"/>
                <a:gd name="connsiteY4157" fmla="*/ 13764057 h 16570717"/>
                <a:gd name="connsiteX4158" fmla="*/ 9072804 w 26653740"/>
                <a:gd name="connsiteY4158" fmla="*/ 13744997 h 16570717"/>
                <a:gd name="connsiteX4159" fmla="*/ 9034680 w 26653740"/>
                <a:gd name="connsiteY4159" fmla="*/ 13716409 h 16570717"/>
                <a:gd name="connsiteX4160" fmla="*/ 8982264 w 26653740"/>
                <a:gd name="connsiteY4160" fmla="*/ 13668757 h 16570717"/>
                <a:gd name="connsiteX4161" fmla="*/ 8934612 w 26653740"/>
                <a:gd name="connsiteY4161" fmla="*/ 13630637 h 16570717"/>
                <a:gd name="connsiteX4162" fmla="*/ 8896492 w 26653740"/>
                <a:gd name="connsiteY4162" fmla="*/ 13597281 h 16570717"/>
                <a:gd name="connsiteX4163" fmla="*/ 8886964 w 26653740"/>
                <a:gd name="connsiteY4163" fmla="*/ 13582985 h 16570717"/>
                <a:gd name="connsiteX4164" fmla="*/ 8882196 w 26653740"/>
                <a:gd name="connsiteY4164" fmla="*/ 13578217 h 16570717"/>
                <a:gd name="connsiteX4165" fmla="*/ 8877432 w 26653740"/>
                <a:gd name="connsiteY4165" fmla="*/ 13568689 h 16570717"/>
                <a:gd name="connsiteX4166" fmla="*/ 8872668 w 26653740"/>
                <a:gd name="connsiteY4166" fmla="*/ 13554393 h 16570717"/>
                <a:gd name="connsiteX4167" fmla="*/ 8872668 w 26653740"/>
                <a:gd name="connsiteY4167" fmla="*/ 13540097 h 16570717"/>
                <a:gd name="connsiteX4168" fmla="*/ 8910788 w 26653740"/>
                <a:gd name="connsiteY4168" fmla="*/ 13544861 h 16570717"/>
                <a:gd name="connsiteX4169" fmla="*/ 8915552 w 26653740"/>
                <a:gd name="connsiteY4169" fmla="*/ 13535333 h 16570717"/>
                <a:gd name="connsiteX4170" fmla="*/ 8929848 w 26653740"/>
                <a:gd name="connsiteY4170" fmla="*/ 13497213 h 16570717"/>
                <a:gd name="connsiteX4171" fmla="*/ 8939380 w 26653740"/>
                <a:gd name="connsiteY4171" fmla="*/ 13463857 h 16570717"/>
                <a:gd name="connsiteX4172" fmla="*/ 8925084 w 26653740"/>
                <a:gd name="connsiteY4172" fmla="*/ 13463857 h 16570717"/>
                <a:gd name="connsiteX4173" fmla="*/ 8901256 w 26653740"/>
                <a:gd name="connsiteY4173" fmla="*/ 13478153 h 16570717"/>
                <a:gd name="connsiteX4174" fmla="*/ 8891728 w 26653740"/>
                <a:gd name="connsiteY4174" fmla="*/ 13487681 h 16570717"/>
                <a:gd name="connsiteX4175" fmla="*/ 8886964 w 26653740"/>
                <a:gd name="connsiteY4175" fmla="*/ 13492445 h 16570717"/>
                <a:gd name="connsiteX4176" fmla="*/ 8848840 w 26653740"/>
                <a:gd name="connsiteY4176" fmla="*/ 13497213 h 16570717"/>
                <a:gd name="connsiteX4177" fmla="*/ 8829780 w 26653740"/>
                <a:gd name="connsiteY4177" fmla="*/ 13516273 h 16570717"/>
                <a:gd name="connsiteX4178" fmla="*/ 8786896 w 26653740"/>
                <a:gd name="connsiteY4178" fmla="*/ 13540097 h 16570717"/>
                <a:gd name="connsiteX4179" fmla="*/ 8758304 w 26653740"/>
                <a:gd name="connsiteY4179" fmla="*/ 13554393 h 16570717"/>
                <a:gd name="connsiteX4180" fmla="*/ 8753540 w 26653740"/>
                <a:gd name="connsiteY4180" fmla="*/ 13554393 h 16570717"/>
                <a:gd name="connsiteX4181" fmla="*/ 8720184 w 26653740"/>
                <a:gd name="connsiteY4181" fmla="*/ 13559157 h 16570717"/>
                <a:gd name="connsiteX4182" fmla="*/ 8710652 w 26653740"/>
                <a:gd name="connsiteY4182" fmla="*/ 13563925 h 16570717"/>
                <a:gd name="connsiteX4183" fmla="*/ 8710652 w 26653740"/>
                <a:gd name="connsiteY4183" fmla="*/ 13578217 h 16570717"/>
                <a:gd name="connsiteX4184" fmla="*/ 8710652 w 26653740"/>
                <a:gd name="connsiteY4184" fmla="*/ 13592513 h 16570717"/>
                <a:gd name="connsiteX4185" fmla="*/ 8686828 w 26653740"/>
                <a:gd name="connsiteY4185" fmla="*/ 13611573 h 16570717"/>
                <a:gd name="connsiteX4186" fmla="*/ 8658236 w 26653740"/>
                <a:gd name="connsiteY4186" fmla="*/ 13630637 h 16570717"/>
                <a:gd name="connsiteX4187" fmla="*/ 8648704 w 26653740"/>
                <a:gd name="connsiteY4187" fmla="*/ 13630637 h 16570717"/>
                <a:gd name="connsiteX4188" fmla="*/ 8634412 w 26653740"/>
                <a:gd name="connsiteY4188" fmla="*/ 13625869 h 16570717"/>
                <a:gd name="connsiteX4189" fmla="*/ 8624880 w 26653740"/>
                <a:gd name="connsiteY4189" fmla="*/ 13630637 h 16570717"/>
                <a:gd name="connsiteX4190" fmla="*/ 8601056 w 26653740"/>
                <a:gd name="connsiteY4190" fmla="*/ 13649697 h 16570717"/>
                <a:gd name="connsiteX4191" fmla="*/ 8562932 w 26653740"/>
                <a:gd name="connsiteY4191" fmla="*/ 13678285 h 16570717"/>
                <a:gd name="connsiteX4192" fmla="*/ 8562932 w 26653740"/>
                <a:gd name="connsiteY4192" fmla="*/ 13687817 h 16570717"/>
                <a:gd name="connsiteX4193" fmla="*/ 8562932 w 26653740"/>
                <a:gd name="connsiteY4193" fmla="*/ 13702113 h 16570717"/>
                <a:gd name="connsiteX4194" fmla="*/ 8558168 w 26653740"/>
                <a:gd name="connsiteY4194" fmla="*/ 13711641 h 16570717"/>
                <a:gd name="connsiteX4195" fmla="*/ 8548640 w 26653740"/>
                <a:gd name="connsiteY4195" fmla="*/ 13716409 h 16570717"/>
                <a:gd name="connsiteX4196" fmla="*/ 8539108 w 26653740"/>
                <a:gd name="connsiteY4196" fmla="*/ 13706877 h 16570717"/>
                <a:gd name="connsiteX4197" fmla="*/ 8529576 w 26653740"/>
                <a:gd name="connsiteY4197" fmla="*/ 13692581 h 16570717"/>
                <a:gd name="connsiteX4198" fmla="*/ 8505752 w 26653740"/>
                <a:gd name="connsiteY4198" fmla="*/ 13687817 h 16570717"/>
                <a:gd name="connsiteX4199" fmla="*/ 8472396 w 26653740"/>
                <a:gd name="connsiteY4199" fmla="*/ 13683053 h 16570717"/>
                <a:gd name="connsiteX4200" fmla="*/ 8453336 w 26653740"/>
                <a:gd name="connsiteY4200" fmla="*/ 13687817 h 16570717"/>
                <a:gd name="connsiteX4201" fmla="*/ 8439040 w 26653740"/>
                <a:gd name="connsiteY4201" fmla="*/ 13692581 h 16570717"/>
                <a:gd name="connsiteX4202" fmla="*/ 8410448 w 26653740"/>
                <a:gd name="connsiteY4202" fmla="*/ 13721173 h 16570717"/>
                <a:gd name="connsiteX4203" fmla="*/ 8400920 w 26653740"/>
                <a:gd name="connsiteY4203" fmla="*/ 13730701 h 16570717"/>
                <a:gd name="connsiteX4204" fmla="*/ 8396152 w 26653740"/>
                <a:gd name="connsiteY4204" fmla="*/ 13725937 h 16570717"/>
                <a:gd name="connsiteX4205" fmla="*/ 8396152 w 26653740"/>
                <a:gd name="connsiteY4205" fmla="*/ 13711641 h 16570717"/>
                <a:gd name="connsiteX4206" fmla="*/ 8391388 w 26653740"/>
                <a:gd name="connsiteY4206" fmla="*/ 13702113 h 16570717"/>
                <a:gd name="connsiteX4207" fmla="*/ 8381860 w 26653740"/>
                <a:gd name="connsiteY4207" fmla="*/ 13687817 h 16570717"/>
                <a:gd name="connsiteX4208" fmla="*/ 8386624 w 26653740"/>
                <a:gd name="connsiteY4208" fmla="*/ 13659225 h 16570717"/>
                <a:gd name="connsiteX4209" fmla="*/ 8400920 w 26653740"/>
                <a:gd name="connsiteY4209" fmla="*/ 13630637 h 16570717"/>
                <a:gd name="connsiteX4210" fmla="*/ 8424744 w 26653740"/>
                <a:gd name="connsiteY4210" fmla="*/ 13616341 h 16570717"/>
                <a:gd name="connsiteX4211" fmla="*/ 8443804 w 26653740"/>
                <a:gd name="connsiteY4211" fmla="*/ 13602045 h 16570717"/>
                <a:gd name="connsiteX4212" fmla="*/ 8448572 w 26653740"/>
                <a:gd name="connsiteY4212" fmla="*/ 13582985 h 16570717"/>
                <a:gd name="connsiteX4213" fmla="*/ 8448572 w 26653740"/>
                <a:gd name="connsiteY4213" fmla="*/ 13573453 h 16570717"/>
                <a:gd name="connsiteX4214" fmla="*/ 8443804 w 26653740"/>
                <a:gd name="connsiteY4214" fmla="*/ 13568689 h 16570717"/>
                <a:gd name="connsiteX4215" fmla="*/ 8434276 w 26653740"/>
                <a:gd name="connsiteY4215" fmla="*/ 13563925 h 16570717"/>
                <a:gd name="connsiteX4216" fmla="*/ 8429512 w 26653740"/>
                <a:gd name="connsiteY4216" fmla="*/ 13568689 h 16570717"/>
                <a:gd name="connsiteX4217" fmla="*/ 8415216 w 26653740"/>
                <a:gd name="connsiteY4217" fmla="*/ 13582985 h 16570717"/>
                <a:gd name="connsiteX4218" fmla="*/ 8396152 w 26653740"/>
                <a:gd name="connsiteY4218" fmla="*/ 13592513 h 16570717"/>
                <a:gd name="connsiteX4219" fmla="*/ 8381860 w 26653740"/>
                <a:gd name="connsiteY4219" fmla="*/ 13592513 h 16570717"/>
                <a:gd name="connsiteX4220" fmla="*/ 8372328 w 26653740"/>
                <a:gd name="connsiteY4220" fmla="*/ 13592513 h 16570717"/>
                <a:gd name="connsiteX4221" fmla="*/ 8358032 w 26653740"/>
                <a:gd name="connsiteY4221" fmla="*/ 13587749 h 16570717"/>
                <a:gd name="connsiteX4222" fmla="*/ 8324676 w 26653740"/>
                <a:gd name="connsiteY4222" fmla="*/ 13554393 h 16570717"/>
                <a:gd name="connsiteX4223" fmla="*/ 8296088 w 26653740"/>
                <a:gd name="connsiteY4223" fmla="*/ 13549629 h 16570717"/>
                <a:gd name="connsiteX4224" fmla="*/ 8281792 w 26653740"/>
                <a:gd name="connsiteY4224" fmla="*/ 13549629 h 16570717"/>
                <a:gd name="connsiteX4225" fmla="*/ 8272260 w 26653740"/>
                <a:gd name="connsiteY4225" fmla="*/ 13549629 h 16570717"/>
                <a:gd name="connsiteX4226" fmla="*/ 8272260 w 26653740"/>
                <a:gd name="connsiteY4226" fmla="*/ 13559157 h 16570717"/>
                <a:gd name="connsiteX4227" fmla="*/ 8272260 w 26653740"/>
                <a:gd name="connsiteY4227" fmla="*/ 13568689 h 16570717"/>
                <a:gd name="connsiteX4228" fmla="*/ 8277024 w 26653740"/>
                <a:gd name="connsiteY4228" fmla="*/ 13578217 h 16570717"/>
                <a:gd name="connsiteX4229" fmla="*/ 8272260 w 26653740"/>
                <a:gd name="connsiteY4229" fmla="*/ 13582985 h 16570717"/>
                <a:gd name="connsiteX4230" fmla="*/ 8262732 w 26653740"/>
                <a:gd name="connsiteY4230" fmla="*/ 13587749 h 16570717"/>
                <a:gd name="connsiteX4231" fmla="*/ 8253200 w 26653740"/>
                <a:gd name="connsiteY4231" fmla="*/ 13597281 h 16570717"/>
                <a:gd name="connsiteX4232" fmla="*/ 8243672 w 26653740"/>
                <a:gd name="connsiteY4232" fmla="*/ 13592513 h 16570717"/>
                <a:gd name="connsiteX4233" fmla="*/ 8243672 w 26653740"/>
                <a:gd name="connsiteY4233" fmla="*/ 13568689 h 16570717"/>
                <a:gd name="connsiteX4234" fmla="*/ 8243672 w 26653740"/>
                <a:gd name="connsiteY4234" fmla="*/ 13549629 h 16570717"/>
                <a:gd name="connsiteX4235" fmla="*/ 8234140 w 26653740"/>
                <a:gd name="connsiteY4235" fmla="*/ 13535333 h 16570717"/>
                <a:gd name="connsiteX4236" fmla="*/ 8224608 w 26653740"/>
                <a:gd name="connsiteY4236" fmla="*/ 13511505 h 16570717"/>
                <a:gd name="connsiteX4237" fmla="*/ 8210312 w 26653740"/>
                <a:gd name="connsiteY4237" fmla="*/ 13497213 h 16570717"/>
                <a:gd name="connsiteX4238" fmla="*/ 8200784 w 26653740"/>
                <a:gd name="connsiteY4238" fmla="*/ 13501977 h 16570717"/>
                <a:gd name="connsiteX4239" fmla="*/ 8191252 w 26653740"/>
                <a:gd name="connsiteY4239" fmla="*/ 13521037 h 16570717"/>
                <a:gd name="connsiteX4240" fmla="*/ 8181724 w 26653740"/>
                <a:gd name="connsiteY4240" fmla="*/ 13530569 h 16570717"/>
                <a:gd name="connsiteX4241" fmla="*/ 8162664 w 26653740"/>
                <a:gd name="connsiteY4241" fmla="*/ 13525801 h 16570717"/>
                <a:gd name="connsiteX4242" fmla="*/ 8129308 w 26653740"/>
                <a:gd name="connsiteY4242" fmla="*/ 13535333 h 16570717"/>
                <a:gd name="connsiteX4243" fmla="*/ 8076892 w 26653740"/>
                <a:gd name="connsiteY4243" fmla="*/ 13540097 h 16570717"/>
                <a:gd name="connsiteX4244" fmla="*/ 8038768 w 26653740"/>
                <a:gd name="connsiteY4244" fmla="*/ 13525801 h 16570717"/>
                <a:gd name="connsiteX4245" fmla="*/ 8034004 w 26653740"/>
                <a:gd name="connsiteY4245" fmla="*/ 13511505 h 16570717"/>
                <a:gd name="connsiteX4246" fmla="*/ 8048300 w 26653740"/>
                <a:gd name="connsiteY4246" fmla="*/ 13487681 h 16570717"/>
                <a:gd name="connsiteX4247" fmla="*/ 8053064 w 26653740"/>
                <a:gd name="connsiteY4247" fmla="*/ 13459089 h 16570717"/>
                <a:gd name="connsiteX4248" fmla="*/ 8053064 w 26653740"/>
                <a:gd name="connsiteY4248" fmla="*/ 13440029 h 16570717"/>
                <a:gd name="connsiteX4249" fmla="*/ 8053064 w 26653740"/>
                <a:gd name="connsiteY4249" fmla="*/ 13420969 h 16570717"/>
                <a:gd name="connsiteX4250" fmla="*/ 8043536 w 26653740"/>
                <a:gd name="connsiteY4250" fmla="*/ 13392377 h 16570717"/>
                <a:gd name="connsiteX4251" fmla="*/ 8024472 w 26653740"/>
                <a:gd name="connsiteY4251" fmla="*/ 13325668 h 16570717"/>
                <a:gd name="connsiteX4252" fmla="*/ 8010180 w 26653740"/>
                <a:gd name="connsiteY4252" fmla="*/ 13278016 h 16570717"/>
                <a:gd name="connsiteX4253" fmla="*/ 7991120 w 26653740"/>
                <a:gd name="connsiteY4253" fmla="*/ 13244660 h 16570717"/>
                <a:gd name="connsiteX4254" fmla="*/ 7986352 w 26653740"/>
                <a:gd name="connsiteY4254" fmla="*/ 13230365 h 16570717"/>
                <a:gd name="connsiteX4255" fmla="*/ 7948232 w 26653740"/>
                <a:gd name="connsiteY4255" fmla="*/ 13235130 h 16570717"/>
                <a:gd name="connsiteX4256" fmla="*/ 7933936 w 26653740"/>
                <a:gd name="connsiteY4256" fmla="*/ 13244660 h 16570717"/>
                <a:gd name="connsiteX4257" fmla="*/ 7929172 w 26653740"/>
                <a:gd name="connsiteY4257" fmla="*/ 13254191 h 16570717"/>
                <a:gd name="connsiteX4258" fmla="*/ 7914876 w 26653740"/>
                <a:gd name="connsiteY4258" fmla="*/ 13263721 h 16570717"/>
                <a:gd name="connsiteX4259" fmla="*/ 7895816 w 26653740"/>
                <a:gd name="connsiteY4259" fmla="*/ 13268486 h 16570717"/>
                <a:gd name="connsiteX4260" fmla="*/ 7881520 w 26653740"/>
                <a:gd name="connsiteY4260" fmla="*/ 13263721 h 16570717"/>
                <a:gd name="connsiteX4261" fmla="*/ 7867224 w 26653740"/>
                <a:gd name="connsiteY4261" fmla="*/ 13258956 h 16570717"/>
                <a:gd name="connsiteX4262" fmla="*/ 7848164 w 26653740"/>
                <a:gd name="connsiteY4262" fmla="*/ 13244660 h 16570717"/>
                <a:gd name="connsiteX4263" fmla="*/ 7829104 w 26653740"/>
                <a:gd name="connsiteY4263" fmla="*/ 13230365 h 16570717"/>
                <a:gd name="connsiteX4264" fmla="*/ 7790984 w 26653740"/>
                <a:gd name="connsiteY4264" fmla="*/ 13216070 h 16570717"/>
                <a:gd name="connsiteX4265" fmla="*/ 7752864 w 26653740"/>
                <a:gd name="connsiteY4265" fmla="*/ 13211304 h 16570717"/>
                <a:gd name="connsiteX4266" fmla="*/ 7709976 w 26653740"/>
                <a:gd name="connsiteY4266" fmla="*/ 13206539 h 16570717"/>
                <a:gd name="connsiteX4267" fmla="*/ 7690916 w 26653740"/>
                <a:gd name="connsiteY4267" fmla="*/ 13216070 h 16570717"/>
                <a:gd name="connsiteX4268" fmla="*/ 7667088 w 26653740"/>
                <a:gd name="connsiteY4268" fmla="*/ 13230365 h 16570717"/>
                <a:gd name="connsiteX4269" fmla="*/ 7638500 w 26653740"/>
                <a:gd name="connsiteY4269" fmla="*/ 13258956 h 16570717"/>
                <a:gd name="connsiteX4270" fmla="*/ 7624204 w 26653740"/>
                <a:gd name="connsiteY4270" fmla="*/ 13258956 h 16570717"/>
                <a:gd name="connsiteX4271" fmla="*/ 7605144 w 26653740"/>
                <a:gd name="connsiteY4271" fmla="*/ 13263721 h 16570717"/>
                <a:gd name="connsiteX4272" fmla="*/ 7590848 w 26653740"/>
                <a:gd name="connsiteY4272" fmla="*/ 13268486 h 16570717"/>
                <a:gd name="connsiteX4273" fmla="*/ 7590848 w 26653740"/>
                <a:gd name="connsiteY4273" fmla="*/ 13282781 h 16570717"/>
                <a:gd name="connsiteX4274" fmla="*/ 7595612 w 26653740"/>
                <a:gd name="connsiteY4274" fmla="*/ 13301842 h 16570717"/>
                <a:gd name="connsiteX4275" fmla="*/ 7590848 w 26653740"/>
                <a:gd name="connsiteY4275" fmla="*/ 13311372 h 16570717"/>
                <a:gd name="connsiteX4276" fmla="*/ 7581316 w 26653740"/>
                <a:gd name="connsiteY4276" fmla="*/ 13320902 h 16570717"/>
                <a:gd name="connsiteX4277" fmla="*/ 7567024 w 26653740"/>
                <a:gd name="connsiteY4277" fmla="*/ 13325668 h 16570717"/>
                <a:gd name="connsiteX4278" fmla="*/ 7547960 w 26653740"/>
                <a:gd name="connsiteY4278" fmla="*/ 13325668 h 16570717"/>
                <a:gd name="connsiteX4279" fmla="*/ 7528900 w 26653740"/>
                <a:gd name="connsiteY4279" fmla="*/ 13330433 h 16570717"/>
                <a:gd name="connsiteX4280" fmla="*/ 7509840 w 26653740"/>
                <a:gd name="connsiteY4280" fmla="*/ 13349493 h 16570717"/>
                <a:gd name="connsiteX4281" fmla="*/ 7476484 w 26653740"/>
                <a:gd name="connsiteY4281" fmla="*/ 13354258 h 16570717"/>
                <a:gd name="connsiteX4282" fmla="*/ 7443128 w 26653740"/>
                <a:gd name="connsiteY4282" fmla="*/ 13359023 h 16570717"/>
                <a:gd name="connsiteX4283" fmla="*/ 7414536 w 26653740"/>
                <a:gd name="connsiteY4283" fmla="*/ 13373319 h 16570717"/>
                <a:gd name="connsiteX4284" fmla="*/ 7362120 w 26653740"/>
                <a:gd name="connsiteY4284" fmla="*/ 13382849 h 16570717"/>
                <a:gd name="connsiteX4285" fmla="*/ 7333532 w 26653740"/>
                <a:gd name="connsiteY4285" fmla="*/ 13392377 h 16570717"/>
                <a:gd name="connsiteX4286" fmla="*/ 7281116 w 26653740"/>
                <a:gd name="connsiteY4286" fmla="*/ 13401909 h 16570717"/>
                <a:gd name="connsiteX4287" fmla="*/ 7238228 w 26653740"/>
                <a:gd name="connsiteY4287" fmla="*/ 13406673 h 16570717"/>
                <a:gd name="connsiteX4288" fmla="*/ 7233464 w 26653740"/>
                <a:gd name="connsiteY4288" fmla="*/ 13397145 h 16570717"/>
                <a:gd name="connsiteX4289" fmla="*/ 7200108 w 26653740"/>
                <a:gd name="connsiteY4289" fmla="*/ 13416205 h 16570717"/>
                <a:gd name="connsiteX4290" fmla="*/ 7161984 w 26653740"/>
                <a:gd name="connsiteY4290" fmla="*/ 13416205 h 16570717"/>
                <a:gd name="connsiteX4291" fmla="*/ 7157220 w 26653740"/>
                <a:gd name="connsiteY4291" fmla="*/ 13425733 h 16570717"/>
                <a:gd name="connsiteX4292" fmla="*/ 7147692 w 26653740"/>
                <a:gd name="connsiteY4292" fmla="*/ 13430501 h 16570717"/>
                <a:gd name="connsiteX4293" fmla="*/ 7138160 w 26653740"/>
                <a:gd name="connsiteY4293" fmla="*/ 13435265 h 16570717"/>
                <a:gd name="connsiteX4294" fmla="*/ 7123864 w 26653740"/>
                <a:gd name="connsiteY4294" fmla="*/ 13444797 h 16570717"/>
                <a:gd name="connsiteX4295" fmla="*/ 7119100 w 26653740"/>
                <a:gd name="connsiteY4295" fmla="*/ 13463857 h 16570717"/>
                <a:gd name="connsiteX4296" fmla="*/ 7114336 w 26653740"/>
                <a:gd name="connsiteY4296" fmla="*/ 13487681 h 16570717"/>
                <a:gd name="connsiteX4297" fmla="*/ 7104804 w 26653740"/>
                <a:gd name="connsiteY4297" fmla="*/ 13492445 h 16570717"/>
                <a:gd name="connsiteX4298" fmla="*/ 7090508 w 26653740"/>
                <a:gd name="connsiteY4298" fmla="*/ 13482917 h 16570717"/>
                <a:gd name="connsiteX4299" fmla="*/ 7076216 w 26653740"/>
                <a:gd name="connsiteY4299" fmla="*/ 13478153 h 16570717"/>
                <a:gd name="connsiteX4300" fmla="*/ 7057152 w 26653740"/>
                <a:gd name="connsiteY4300" fmla="*/ 13482917 h 16570717"/>
                <a:gd name="connsiteX4301" fmla="*/ 7033328 w 26653740"/>
                <a:gd name="connsiteY4301" fmla="*/ 13487681 h 16570717"/>
                <a:gd name="connsiteX4302" fmla="*/ 7014268 w 26653740"/>
                <a:gd name="connsiteY4302" fmla="*/ 13487681 h 16570717"/>
                <a:gd name="connsiteX4303" fmla="*/ 7004736 w 26653740"/>
                <a:gd name="connsiteY4303" fmla="*/ 13478153 h 16570717"/>
                <a:gd name="connsiteX4304" fmla="*/ 6961852 w 26653740"/>
                <a:gd name="connsiteY4304" fmla="*/ 13492445 h 16570717"/>
                <a:gd name="connsiteX4305" fmla="*/ 6942792 w 26653740"/>
                <a:gd name="connsiteY4305" fmla="*/ 13501977 h 16570717"/>
                <a:gd name="connsiteX4306" fmla="*/ 6938024 w 26653740"/>
                <a:gd name="connsiteY4306" fmla="*/ 13506741 h 16570717"/>
                <a:gd name="connsiteX4307" fmla="*/ 6933260 w 26653740"/>
                <a:gd name="connsiteY4307" fmla="*/ 13511505 h 16570717"/>
                <a:gd name="connsiteX4308" fmla="*/ 6909436 w 26653740"/>
                <a:gd name="connsiteY4308" fmla="*/ 13521037 h 16570717"/>
                <a:gd name="connsiteX4309" fmla="*/ 6890376 w 26653740"/>
                <a:gd name="connsiteY4309" fmla="*/ 13516273 h 16570717"/>
                <a:gd name="connsiteX4310" fmla="*/ 6885608 w 26653740"/>
                <a:gd name="connsiteY4310" fmla="*/ 13516273 h 16570717"/>
                <a:gd name="connsiteX4311" fmla="*/ 6866548 w 26653740"/>
                <a:gd name="connsiteY4311" fmla="*/ 13525801 h 16570717"/>
                <a:gd name="connsiteX4312" fmla="*/ 6842724 w 26653740"/>
                <a:gd name="connsiteY4312" fmla="*/ 13535333 h 16570717"/>
                <a:gd name="connsiteX4313" fmla="*/ 6823664 w 26653740"/>
                <a:gd name="connsiteY4313" fmla="*/ 13535333 h 16570717"/>
                <a:gd name="connsiteX4314" fmla="*/ 6804600 w 26653740"/>
                <a:gd name="connsiteY4314" fmla="*/ 13535333 h 16570717"/>
                <a:gd name="connsiteX4315" fmla="*/ 6795072 w 26653740"/>
                <a:gd name="connsiteY4315" fmla="*/ 13544861 h 16570717"/>
                <a:gd name="connsiteX4316" fmla="*/ 6790304 w 26653740"/>
                <a:gd name="connsiteY4316" fmla="*/ 13554393 h 16570717"/>
                <a:gd name="connsiteX4317" fmla="*/ 6718828 w 26653740"/>
                <a:gd name="connsiteY4317" fmla="*/ 13563925 h 16570717"/>
                <a:gd name="connsiteX4318" fmla="*/ 6714064 w 26653740"/>
                <a:gd name="connsiteY4318" fmla="*/ 13573453 h 16570717"/>
                <a:gd name="connsiteX4319" fmla="*/ 6699768 w 26653740"/>
                <a:gd name="connsiteY4319" fmla="*/ 13578217 h 16570717"/>
                <a:gd name="connsiteX4320" fmla="*/ 6628292 w 26653740"/>
                <a:gd name="connsiteY4320" fmla="*/ 13582985 h 16570717"/>
                <a:gd name="connsiteX4321" fmla="*/ 6618760 w 26653740"/>
                <a:gd name="connsiteY4321" fmla="*/ 13587749 h 16570717"/>
                <a:gd name="connsiteX4322" fmla="*/ 6618760 w 26653740"/>
                <a:gd name="connsiteY4322" fmla="*/ 13597281 h 16570717"/>
                <a:gd name="connsiteX4323" fmla="*/ 6609232 w 26653740"/>
                <a:gd name="connsiteY4323" fmla="*/ 13597281 h 16570717"/>
                <a:gd name="connsiteX4324" fmla="*/ 6556816 w 26653740"/>
                <a:gd name="connsiteY4324" fmla="*/ 13582985 h 16570717"/>
                <a:gd name="connsiteX4325" fmla="*/ 6518696 w 26653740"/>
                <a:gd name="connsiteY4325" fmla="*/ 13568689 h 16570717"/>
                <a:gd name="connsiteX4326" fmla="*/ 6499632 w 26653740"/>
                <a:gd name="connsiteY4326" fmla="*/ 13578217 h 16570717"/>
                <a:gd name="connsiteX4327" fmla="*/ 6485336 w 26653740"/>
                <a:gd name="connsiteY4327" fmla="*/ 13592513 h 16570717"/>
                <a:gd name="connsiteX4328" fmla="*/ 6480572 w 26653740"/>
                <a:gd name="connsiteY4328" fmla="*/ 13616341 h 16570717"/>
                <a:gd name="connsiteX4329" fmla="*/ 6480572 w 26653740"/>
                <a:gd name="connsiteY4329" fmla="*/ 13649697 h 16570717"/>
                <a:gd name="connsiteX4330" fmla="*/ 6475808 w 26653740"/>
                <a:gd name="connsiteY4330" fmla="*/ 13659225 h 16570717"/>
                <a:gd name="connsiteX4331" fmla="*/ 6461512 w 26653740"/>
                <a:gd name="connsiteY4331" fmla="*/ 13673521 h 16570717"/>
                <a:gd name="connsiteX4332" fmla="*/ 6461512 w 26653740"/>
                <a:gd name="connsiteY4332" fmla="*/ 13683053 h 16570717"/>
                <a:gd name="connsiteX4333" fmla="*/ 6480572 w 26653740"/>
                <a:gd name="connsiteY4333" fmla="*/ 13692581 h 16570717"/>
                <a:gd name="connsiteX4334" fmla="*/ 6504400 w 26653740"/>
                <a:gd name="connsiteY4334" fmla="*/ 13702113 h 16570717"/>
                <a:gd name="connsiteX4335" fmla="*/ 6518696 w 26653740"/>
                <a:gd name="connsiteY4335" fmla="*/ 13697345 h 16570717"/>
                <a:gd name="connsiteX4336" fmla="*/ 6528224 w 26653740"/>
                <a:gd name="connsiteY4336" fmla="*/ 13692581 h 16570717"/>
                <a:gd name="connsiteX4337" fmla="*/ 6537756 w 26653740"/>
                <a:gd name="connsiteY4337" fmla="*/ 13692581 h 16570717"/>
                <a:gd name="connsiteX4338" fmla="*/ 6547284 w 26653740"/>
                <a:gd name="connsiteY4338" fmla="*/ 13702113 h 16570717"/>
                <a:gd name="connsiteX4339" fmla="*/ 6547284 w 26653740"/>
                <a:gd name="connsiteY4339" fmla="*/ 13706877 h 16570717"/>
                <a:gd name="connsiteX4340" fmla="*/ 6547284 w 26653740"/>
                <a:gd name="connsiteY4340" fmla="*/ 13716409 h 16570717"/>
                <a:gd name="connsiteX4341" fmla="*/ 6542520 w 26653740"/>
                <a:gd name="connsiteY4341" fmla="*/ 13716409 h 16570717"/>
                <a:gd name="connsiteX4342" fmla="*/ 6528224 w 26653740"/>
                <a:gd name="connsiteY4342" fmla="*/ 13725937 h 16570717"/>
                <a:gd name="connsiteX4343" fmla="*/ 6513928 w 26653740"/>
                <a:gd name="connsiteY4343" fmla="*/ 13725937 h 16570717"/>
                <a:gd name="connsiteX4344" fmla="*/ 6499632 w 26653740"/>
                <a:gd name="connsiteY4344" fmla="*/ 13730701 h 16570717"/>
                <a:gd name="connsiteX4345" fmla="*/ 6494868 w 26653740"/>
                <a:gd name="connsiteY4345" fmla="*/ 13740233 h 16570717"/>
                <a:gd name="connsiteX4346" fmla="*/ 6490104 w 26653740"/>
                <a:gd name="connsiteY4346" fmla="*/ 13759293 h 16570717"/>
                <a:gd name="connsiteX4347" fmla="*/ 6494868 w 26653740"/>
                <a:gd name="connsiteY4347" fmla="*/ 13768825 h 16570717"/>
                <a:gd name="connsiteX4348" fmla="*/ 6513928 w 26653740"/>
                <a:gd name="connsiteY4348" fmla="*/ 13773589 h 16570717"/>
                <a:gd name="connsiteX4349" fmla="*/ 6532988 w 26653740"/>
                <a:gd name="connsiteY4349" fmla="*/ 13783121 h 16570717"/>
                <a:gd name="connsiteX4350" fmla="*/ 6552048 w 26653740"/>
                <a:gd name="connsiteY4350" fmla="*/ 13787885 h 16570717"/>
                <a:gd name="connsiteX4351" fmla="*/ 6566344 w 26653740"/>
                <a:gd name="connsiteY4351" fmla="*/ 13787885 h 16570717"/>
                <a:gd name="connsiteX4352" fmla="*/ 6585408 w 26653740"/>
                <a:gd name="connsiteY4352" fmla="*/ 13802181 h 16570717"/>
                <a:gd name="connsiteX4353" fmla="*/ 6623528 w 26653740"/>
                <a:gd name="connsiteY4353" fmla="*/ 13816477 h 16570717"/>
                <a:gd name="connsiteX4354" fmla="*/ 6633056 w 26653740"/>
                <a:gd name="connsiteY4354" fmla="*/ 13830769 h 16570717"/>
                <a:gd name="connsiteX4355" fmla="*/ 6633056 w 26653740"/>
                <a:gd name="connsiteY4355" fmla="*/ 13845065 h 16570717"/>
                <a:gd name="connsiteX4356" fmla="*/ 6623528 w 26653740"/>
                <a:gd name="connsiteY4356" fmla="*/ 13854597 h 16570717"/>
                <a:gd name="connsiteX4357" fmla="*/ 6613996 w 26653740"/>
                <a:gd name="connsiteY4357" fmla="*/ 13859361 h 16570717"/>
                <a:gd name="connsiteX4358" fmla="*/ 6604468 w 26653740"/>
                <a:gd name="connsiteY4358" fmla="*/ 13854597 h 16570717"/>
                <a:gd name="connsiteX4359" fmla="*/ 6575876 w 26653740"/>
                <a:gd name="connsiteY4359" fmla="*/ 13854597 h 16570717"/>
                <a:gd name="connsiteX4360" fmla="*/ 6547284 w 26653740"/>
                <a:gd name="connsiteY4360" fmla="*/ 13849829 h 16570717"/>
                <a:gd name="connsiteX4361" fmla="*/ 6528224 w 26653740"/>
                <a:gd name="connsiteY4361" fmla="*/ 13845065 h 16570717"/>
                <a:gd name="connsiteX4362" fmla="*/ 6494868 w 26653740"/>
                <a:gd name="connsiteY4362" fmla="*/ 13849829 h 16570717"/>
                <a:gd name="connsiteX4363" fmla="*/ 6471044 w 26653740"/>
                <a:gd name="connsiteY4363" fmla="*/ 13854597 h 16570717"/>
                <a:gd name="connsiteX4364" fmla="*/ 6466276 w 26653740"/>
                <a:gd name="connsiteY4364" fmla="*/ 13864125 h 16570717"/>
                <a:gd name="connsiteX4365" fmla="*/ 6456748 w 26653740"/>
                <a:gd name="connsiteY4365" fmla="*/ 13883185 h 16570717"/>
                <a:gd name="connsiteX4366" fmla="*/ 6447216 w 26653740"/>
                <a:gd name="connsiteY4366" fmla="*/ 13892717 h 16570717"/>
                <a:gd name="connsiteX4367" fmla="*/ 6432920 w 26653740"/>
                <a:gd name="connsiteY4367" fmla="*/ 13911777 h 16570717"/>
                <a:gd name="connsiteX4368" fmla="*/ 6428156 w 26653740"/>
                <a:gd name="connsiteY4368" fmla="*/ 13930837 h 16570717"/>
                <a:gd name="connsiteX4369" fmla="*/ 6437688 w 26653740"/>
                <a:gd name="connsiteY4369" fmla="*/ 13954665 h 16570717"/>
                <a:gd name="connsiteX4370" fmla="*/ 6461512 w 26653740"/>
                <a:gd name="connsiteY4370" fmla="*/ 14002317 h 16570717"/>
                <a:gd name="connsiteX4371" fmla="*/ 6461512 w 26653740"/>
                <a:gd name="connsiteY4371" fmla="*/ 14016609 h 16570717"/>
                <a:gd name="connsiteX4372" fmla="*/ 6456748 w 26653740"/>
                <a:gd name="connsiteY4372" fmla="*/ 14030905 h 16570717"/>
                <a:gd name="connsiteX4373" fmla="*/ 6437688 w 26653740"/>
                <a:gd name="connsiteY4373" fmla="*/ 14040437 h 16570717"/>
                <a:gd name="connsiteX4374" fmla="*/ 6413860 w 26653740"/>
                <a:gd name="connsiteY4374" fmla="*/ 14064261 h 16570717"/>
                <a:gd name="connsiteX4375" fmla="*/ 6385272 w 26653740"/>
                <a:gd name="connsiteY4375" fmla="*/ 14064261 h 16570717"/>
                <a:gd name="connsiteX4376" fmla="*/ 6375740 w 26653740"/>
                <a:gd name="connsiteY4376" fmla="*/ 14069025 h 16570717"/>
                <a:gd name="connsiteX4377" fmla="*/ 6342384 w 26653740"/>
                <a:gd name="connsiteY4377" fmla="*/ 14097617 h 16570717"/>
                <a:gd name="connsiteX4378" fmla="*/ 6318560 w 26653740"/>
                <a:gd name="connsiteY4378" fmla="*/ 14107149 h 16570717"/>
                <a:gd name="connsiteX4379" fmla="*/ 6313792 w 26653740"/>
                <a:gd name="connsiteY4379" fmla="*/ 14121445 h 16570717"/>
                <a:gd name="connsiteX4380" fmla="*/ 6318560 w 26653740"/>
                <a:gd name="connsiteY4380" fmla="*/ 14130973 h 16570717"/>
                <a:gd name="connsiteX4381" fmla="*/ 6351916 w 26653740"/>
                <a:gd name="connsiteY4381" fmla="*/ 14145269 h 16570717"/>
                <a:gd name="connsiteX4382" fmla="*/ 6366208 w 26653740"/>
                <a:gd name="connsiteY4382" fmla="*/ 14159565 h 16570717"/>
                <a:gd name="connsiteX4383" fmla="*/ 6370976 w 26653740"/>
                <a:gd name="connsiteY4383" fmla="*/ 14178625 h 16570717"/>
                <a:gd name="connsiteX4384" fmla="*/ 6380504 w 26653740"/>
                <a:gd name="connsiteY4384" fmla="*/ 14192921 h 16570717"/>
                <a:gd name="connsiteX4385" fmla="*/ 6404332 w 26653740"/>
                <a:gd name="connsiteY4385" fmla="*/ 14197685 h 16570717"/>
                <a:gd name="connsiteX4386" fmla="*/ 6461512 w 26653740"/>
                <a:gd name="connsiteY4386" fmla="*/ 14216745 h 16570717"/>
                <a:gd name="connsiteX4387" fmla="*/ 6461512 w 26653740"/>
                <a:gd name="connsiteY4387" fmla="*/ 14221509 h 16570717"/>
                <a:gd name="connsiteX4388" fmla="*/ 6466276 w 26653740"/>
                <a:gd name="connsiteY4388" fmla="*/ 14231041 h 16570717"/>
                <a:gd name="connsiteX4389" fmla="*/ 6518696 w 26653740"/>
                <a:gd name="connsiteY4389" fmla="*/ 14240573 h 16570717"/>
                <a:gd name="connsiteX4390" fmla="*/ 6528224 w 26653740"/>
                <a:gd name="connsiteY4390" fmla="*/ 14250101 h 16570717"/>
                <a:gd name="connsiteX4391" fmla="*/ 6552048 w 26653740"/>
                <a:gd name="connsiteY4391" fmla="*/ 14273929 h 16570717"/>
                <a:gd name="connsiteX4392" fmla="*/ 6556816 w 26653740"/>
                <a:gd name="connsiteY4392" fmla="*/ 14297753 h 16570717"/>
                <a:gd name="connsiteX4393" fmla="*/ 6542520 w 26653740"/>
                <a:gd name="connsiteY4393" fmla="*/ 14316813 h 16570717"/>
                <a:gd name="connsiteX4394" fmla="*/ 6537756 w 26653740"/>
                <a:gd name="connsiteY4394" fmla="*/ 14354933 h 16570717"/>
                <a:gd name="connsiteX4395" fmla="*/ 6523460 w 26653740"/>
                <a:gd name="connsiteY4395" fmla="*/ 14388289 h 16570717"/>
                <a:gd name="connsiteX4396" fmla="*/ 6499632 w 26653740"/>
                <a:gd name="connsiteY4396" fmla="*/ 14407349 h 16570717"/>
                <a:gd name="connsiteX4397" fmla="*/ 6456748 w 26653740"/>
                <a:gd name="connsiteY4397" fmla="*/ 14426413 h 16570717"/>
                <a:gd name="connsiteX4398" fmla="*/ 6409096 w 26653740"/>
                <a:gd name="connsiteY4398" fmla="*/ 14435941 h 16570717"/>
                <a:gd name="connsiteX4399" fmla="*/ 6385272 w 26653740"/>
                <a:gd name="connsiteY4399" fmla="*/ 14435941 h 16570717"/>
                <a:gd name="connsiteX4400" fmla="*/ 6375740 w 26653740"/>
                <a:gd name="connsiteY4400" fmla="*/ 14431177 h 16570717"/>
                <a:gd name="connsiteX4401" fmla="*/ 6351916 w 26653740"/>
                <a:gd name="connsiteY4401" fmla="*/ 14426413 h 16570717"/>
                <a:gd name="connsiteX4402" fmla="*/ 6337620 w 26653740"/>
                <a:gd name="connsiteY4402" fmla="*/ 14412117 h 16570717"/>
                <a:gd name="connsiteX4403" fmla="*/ 6323324 w 26653740"/>
                <a:gd name="connsiteY4403" fmla="*/ 14393057 h 16570717"/>
                <a:gd name="connsiteX4404" fmla="*/ 6318560 w 26653740"/>
                <a:gd name="connsiteY4404" fmla="*/ 14388289 h 16570717"/>
                <a:gd name="connsiteX4405" fmla="*/ 6309028 w 26653740"/>
                <a:gd name="connsiteY4405" fmla="*/ 14393057 h 16570717"/>
                <a:gd name="connsiteX4406" fmla="*/ 6299496 w 26653740"/>
                <a:gd name="connsiteY4406" fmla="*/ 14402585 h 16570717"/>
                <a:gd name="connsiteX4407" fmla="*/ 6289968 w 26653740"/>
                <a:gd name="connsiteY4407" fmla="*/ 14431177 h 16570717"/>
                <a:gd name="connsiteX4408" fmla="*/ 6280436 w 26653740"/>
                <a:gd name="connsiteY4408" fmla="*/ 14455001 h 16570717"/>
                <a:gd name="connsiteX4409" fmla="*/ 6270908 w 26653740"/>
                <a:gd name="connsiteY4409" fmla="*/ 14464533 h 16570717"/>
                <a:gd name="connsiteX4410" fmla="*/ 6232788 w 26653740"/>
                <a:gd name="connsiteY4410" fmla="*/ 14478829 h 16570717"/>
                <a:gd name="connsiteX4411" fmla="*/ 6228020 w 26653740"/>
                <a:gd name="connsiteY4411" fmla="*/ 14474061 h 16570717"/>
                <a:gd name="connsiteX4412" fmla="*/ 6232788 w 26653740"/>
                <a:gd name="connsiteY4412" fmla="*/ 14455001 h 16570717"/>
                <a:gd name="connsiteX4413" fmla="*/ 6228020 w 26653740"/>
                <a:gd name="connsiteY4413" fmla="*/ 14450237 h 16570717"/>
                <a:gd name="connsiteX4414" fmla="*/ 6223256 w 26653740"/>
                <a:gd name="connsiteY4414" fmla="*/ 14445473 h 16570717"/>
                <a:gd name="connsiteX4415" fmla="*/ 6180368 w 26653740"/>
                <a:gd name="connsiteY4415" fmla="*/ 14440705 h 16570717"/>
                <a:gd name="connsiteX4416" fmla="*/ 6161308 w 26653740"/>
                <a:gd name="connsiteY4416" fmla="*/ 14435941 h 16570717"/>
                <a:gd name="connsiteX4417" fmla="*/ 6147016 w 26653740"/>
                <a:gd name="connsiteY4417" fmla="*/ 14431177 h 16570717"/>
                <a:gd name="connsiteX4418" fmla="*/ 6132720 w 26653740"/>
                <a:gd name="connsiteY4418" fmla="*/ 14431177 h 16570717"/>
                <a:gd name="connsiteX4419" fmla="*/ 6123188 w 26653740"/>
                <a:gd name="connsiteY4419" fmla="*/ 14416881 h 16570717"/>
                <a:gd name="connsiteX4420" fmla="*/ 6099364 w 26653740"/>
                <a:gd name="connsiteY4420" fmla="*/ 14388289 h 16570717"/>
                <a:gd name="connsiteX4421" fmla="*/ 6080304 w 26653740"/>
                <a:gd name="connsiteY4421" fmla="*/ 14359701 h 16570717"/>
                <a:gd name="connsiteX4422" fmla="*/ 6051712 w 26653740"/>
                <a:gd name="connsiteY4422" fmla="*/ 14335873 h 16570717"/>
                <a:gd name="connsiteX4423" fmla="*/ 6023120 w 26653740"/>
                <a:gd name="connsiteY4423" fmla="*/ 14331109 h 16570717"/>
                <a:gd name="connsiteX4424" fmla="*/ 6023120 w 26653740"/>
                <a:gd name="connsiteY4424" fmla="*/ 14335873 h 16570717"/>
                <a:gd name="connsiteX4425" fmla="*/ 6004060 w 26653740"/>
                <a:gd name="connsiteY4425" fmla="*/ 14335873 h 16570717"/>
                <a:gd name="connsiteX4426" fmla="*/ 5970704 w 26653740"/>
                <a:gd name="connsiteY4426" fmla="*/ 14331109 h 16570717"/>
                <a:gd name="connsiteX4427" fmla="*/ 5956408 w 26653740"/>
                <a:gd name="connsiteY4427" fmla="*/ 14340641 h 16570717"/>
                <a:gd name="connsiteX4428" fmla="*/ 5951644 w 26653740"/>
                <a:gd name="connsiteY4428" fmla="*/ 14359701 h 16570717"/>
                <a:gd name="connsiteX4429" fmla="*/ 5942112 w 26653740"/>
                <a:gd name="connsiteY4429" fmla="*/ 14373993 h 16570717"/>
                <a:gd name="connsiteX4430" fmla="*/ 5927816 w 26653740"/>
                <a:gd name="connsiteY4430" fmla="*/ 14378761 h 16570717"/>
                <a:gd name="connsiteX4431" fmla="*/ 5908756 w 26653740"/>
                <a:gd name="connsiteY4431" fmla="*/ 14378761 h 16570717"/>
                <a:gd name="connsiteX4432" fmla="*/ 5889696 w 26653740"/>
                <a:gd name="connsiteY4432" fmla="*/ 14364465 h 16570717"/>
                <a:gd name="connsiteX4433" fmla="*/ 5865872 w 26653740"/>
                <a:gd name="connsiteY4433" fmla="*/ 14345405 h 16570717"/>
                <a:gd name="connsiteX4434" fmla="*/ 5842048 w 26653740"/>
                <a:gd name="connsiteY4434" fmla="*/ 14335873 h 16570717"/>
                <a:gd name="connsiteX4435" fmla="*/ 5818220 w 26653740"/>
                <a:gd name="connsiteY4435" fmla="*/ 14340641 h 16570717"/>
                <a:gd name="connsiteX4436" fmla="*/ 5803924 w 26653740"/>
                <a:gd name="connsiteY4436" fmla="*/ 14345405 h 16570717"/>
                <a:gd name="connsiteX4437" fmla="*/ 5780100 w 26653740"/>
                <a:gd name="connsiteY4437" fmla="*/ 14359701 h 16570717"/>
                <a:gd name="connsiteX4438" fmla="*/ 5770568 w 26653740"/>
                <a:gd name="connsiteY4438" fmla="*/ 14350169 h 16570717"/>
                <a:gd name="connsiteX4439" fmla="*/ 5761040 w 26653740"/>
                <a:gd name="connsiteY4439" fmla="*/ 14350169 h 16570717"/>
                <a:gd name="connsiteX4440" fmla="*/ 5732448 w 26653740"/>
                <a:gd name="connsiteY4440" fmla="*/ 14369229 h 16570717"/>
                <a:gd name="connsiteX4441" fmla="*/ 5703856 w 26653740"/>
                <a:gd name="connsiteY4441" fmla="*/ 14393057 h 16570717"/>
                <a:gd name="connsiteX4442" fmla="*/ 5699092 w 26653740"/>
                <a:gd name="connsiteY4442" fmla="*/ 14407349 h 16570717"/>
                <a:gd name="connsiteX4443" fmla="*/ 5689560 w 26653740"/>
                <a:gd name="connsiteY4443" fmla="*/ 14421645 h 16570717"/>
                <a:gd name="connsiteX4444" fmla="*/ 5670500 w 26653740"/>
                <a:gd name="connsiteY4444" fmla="*/ 14440705 h 16570717"/>
                <a:gd name="connsiteX4445" fmla="*/ 5651440 w 26653740"/>
                <a:gd name="connsiteY4445" fmla="*/ 14450237 h 16570717"/>
                <a:gd name="connsiteX4446" fmla="*/ 5632380 w 26653740"/>
                <a:gd name="connsiteY4446" fmla="*/ 14455001 h 16570717"/>
                <a:gd name="connsiteX4447" fmla="*/ 5613320 w 26653740"/>
                <a:gd name="connsiteY4447" fmla="*/ 14450237 h 16570717"/>
                <a:gd name="connsiteX4448" fmla="*/ 5584728 w 26653740"/>
                <a:gd name="connsiteY4448" fmla="*/ 14435941 h 16570717"/>
                <a:gd name="connsiteX4449" fmla="*/ 5556136 w 26653740"/>
                <a:gd name="connsiteY4449" fmla="*/ 14416881 h 16570717"/>
                <a:gd name="connsiteX4450" fmla="*/ 5527548 w 26653740"/>
                <a:gd name="connsiteY4450" fmla="*/ 14383525 h 16570717"/>
                <a:gd name="connsiteX4451" fmla="*/ 5508488 w 26653740"/>
                <a:gd name="connsiteY4451" fmla="*/ 14369229 h 16570717"/>
                <a:gd name="connsiteX4452" fmla="*/ 5484660 w 26653740"/>
                <a:gd name="connsiteY4452" fmla="*/ 14354933 h 16570717"/>
                <a:gd name="connsiteX4453" fmla="*/ 5470368 w 26653740"/>
                <a:gd name="connsiteY4453" fmla="*/ 14350169 h 16570717"/>
                <a:gd name="connsiteX4454" fmla="*/ 5460836 w 26653740"/>
                <a:gd name="connsiteY4454" fmla="*/ 14354933 h 16570717"/>
                <a:gd name="connsiteX4455" fmla="*/ 5456072 w 26653740"/>
                <a:gd name="connsiteY4455" fmla="*/ 14364465 h 16570717"/>
                <a:gd name="connsiteX4456" fmla="*/ 5460836 w 26653740"/>
                <a:gd name="connsiteY4456" fmla="*/ 14373993 h 16570717"/>
                <a:gd name="connsiteX4457" fmla="*/ 5465600 w 26653740"/>
                <a:gd name="connsiteY4457" fmla="*/ 14383525 h 16570717"/>
                <a:gd name="connsiteX4458" fmla="*/ 5470368 w 26653740"/>
                <a:gd name="connsiteY4458" fmla="*/ 14407349 h 16570717"/>
                <a:gd name="connsiteX4459" fmla="*/ 5470368 w 26653740"/>
                <a:gd name="connsiteY4459" fmla="*/ 14435941 h 16570717"/>
                <a:gd name="connsiteX4460" fmla="*/ 5470368 w 26653740"/>
                <a:gd name="connsiteY4460" fmla="*/ 14455001 h 16570717"/>
                <a:gd name="connsiteX4461" fmla="*/ 5465600 w 26653740"/>
                <a:gd name="connsiteY4461" fmla="*/ 14464533 h 16570717"/>
                <a:gd name="connsiteX4462" fmla="*/ 5456072 w 26653740"/>
                <a:gd name="connsiteY4462" fmla="*/ 14469297 h 16570717"/>
                <a:gd name="connsiteX4463" fmla="*/ 5451304 w 26653740"/>
                <a:gd name="connsiteY4463" fmla="*/ 14464533 h 16570717"/>
                <a:gd name="connsiteX4464" fmla="*/ 5446540 w 26653740"/>
                <a:gd name="connsiteY4464" fmla="*/ 14455001 h 16570717"/>
                <a:gd name="connsiteX4465" fmla="*/ 5441776 w 26653740"/>
                <a:gd name="connsiteY4465" fmla="*/ 14435941 h 16570717"/>
                <a:gd name="connsiteX4466" fmla="*/ 5437008 w 26653740"/>
                <a:gd name="connsiteY4466" fmla="*/ 14407349 h 16570717"/>
                <a:gd name="connsiteX4467" fmla="*/ 5417948 w 26653740"/>
                <a:gd name="connsiteY4467" fmla="*/ 14373993 h 16570717"/>
                <a:gd name="connsiteX4468" fmla="*/ 5398888 w 26653740"/>
                <a:gd name="connsiteY4468" fmla="*/ 14354933 h 16570717"/>
                <a:gd name="connsiteX4469" fmla="*/ 5394124 w 26653740"/>
                <a:gd name="connsiteY4469" fmla="*/ 14340641 h 16570717"/>
                <a:gd name="connsiteX4470" fmla="*/ 5375064 w 26653740"/>
                <a:gd name="connsiteY4470" fmla="*/ 14326345 h 16570717"/>
                <a:gd name="connsiteX4471" fmla="*/ 5365532 w 26653740"/>
                <a:gd name="connsiteY4471" fmla="*/ 14312049 h 16570717"/>
                <a:gd name="connsiteX4472" fmla="*/ 5336944 w 26653740"/>
                <a:gd name="connsiteY4472" fmla="*/ 14297753 h 16570717"/>
                <a:gd name="connsiteX4473" fmla="*/ 5322648 w 26653740"/>
                <a:gd name="connsiteY4473" fmla="*/ 14288221 h 16570717"/>
                <a:gd name="connsiteX4474" fmla="*/ 5298820 w 26653740"/>
                <a:gd name="connsiteY4474" fmla="*/ 14254865 h 16570717"/>
                <a:gd name="connsiteX4475" fmla="*/ 5284528 w 26653740"/>
                <a:gd name="connsiteY4475" fmla="*/ 14240573 h 16570717"/>
                <a:gd name="connsiteX4476" fmla="*/ 5265464 w 26653740"/>
                <a:gd name="connsiteY4476" fmla="*/ 14231041 h 16570717"/>
                <a:gd name="connsiteX4477" fmla="*/ 5251168 w 26653740"/>
                <a:gd name="connsiteY4477" fmla="*/ 14231041 h 16570717"/>
                <a:gd name="connsiteX4478" fmla="*/ 5222580 w 26653740"/>
                <a:gd name="connsiteY4478" fmla="*/ 14235805 h 16570717"/>
                <a:gd name="connsiteX4479" fmla="*/ 5198752 w 26653740"/>
                <a:gd name="connsiteY4479" fmla="*/ 14235805 h 16570717"/>
                <a:gd name="connsiteX4480" fmla="*/ 5184460 w 26653740"/>
                <a:gd name="connsiteY4480" fmla="*/ 14231041 h 16570717"/>
                <a:gd name="connsiteX4481" fmla="*/ 5174928 w 26653740"/>
                <a:gd name="connsiteY4481" fmla="*/ 14226277 h 16570717"/>
                <a:gd name="connsiteX4482" fmla="*/ 5170164 w 26653740"/>
                <a:gd name="connsiteY4482" fmla="*/ 14226277 h 16570717"/>
                <a:gd name="connsiteX4483" fmla="*/ 5155868 w 26653740"/>
                <a:gd name="connsiteY4483" fmla="*/ 14235805 h 16570717"/>
                <a:gd name="connsiteX4484" fmla="*/ 5155868 w 26653740"/>
                <a:gd name="connsiteY4484" fmla="*/ 14231041 h 16570717"/>
                <a:gd name="connsiteX4485" fmla="*/ 5146336 w 26653740"/>
                <a:gd name="connsiteY4485" fmla="*/ 14231041 h 16570717"/>
                <a:gd name="connsiteX4486" fmla="*/ 5136808 w 26653740"/>
                <a:gd name="connsiteY4486" fmla="*/ 14226277 h 16570717"/>
                <a:gd name="connsiteX4487" fmla="*/ 5122512 w 26653740"/>
                <a:gd name="connsiteY4487" fmla="*/ 14202449 h 16570717"/>
                <a:gd name="connsiteX4488" fmla="*/ 5108216 w 26653740"/>
                <a:gd name="connsiteY4488" fmla="*/ 14183389 h 16570717"/>
                <a:gd name="connsiteX4489" fmla="*/ 5093920 w 26653740"/>
                <a:gd name="connsiteY4489" fmla="*/ 14173861 h 16570717"/>
                <a:gd name="connsiteX4490" fmla="*/ 5060564 w 26653740"/>
                <a:gd name="connsiteY4490" fmla="*/ 14183389 h 16570717"/>
                <a:gd name="connsiteX4491" fmla="*/ 5022444 w 26653740"/>
                <a:gd name="connsiteY4491" fmla="*/ 14216745 h 16570717"/>
                <a:gd name="connsiteX4492" fmla="*/ 4998620 w 26653740"/>
                <a:gd name="connsiteY4492" fmla="*/ 14231041 h 16570717"/>
                <a:gd name="connsiteX4493" fmla="*/ 4974792 w 26653740"/>
                <a:gd name="connsiteY4493" fmla="*/ 14231041 h 16570717"/>
                <a:gd name="connsiteX4494" fmla="*/ 4965264 w 26653740"/>
                <a:gd name="connsiteY4494" fmla="*/ 14235805 h 16570717"/>
                <a:gd name="connsiteX4495" fmla="*/ 4955732 w 26653740"/>
                <a:gd name="connsiteY4495" fmla="*/ 14235805 h 16570717"/>
                <a:gd name="connsiteX4496" fmla="*/ 4950968 w 26653740"/>
                <a:gd name="connsiteY4496" fmla="*/ 14226277 h 16570717"/>
                <a:gd name="connsiteX4497" fmla="*/ 4946200 w 26653740"/>
                <a:gd name="connsiteY4497" fmla="*/ 14216745 h 16570717"/>
                <a:gd name="connsiteX4498" fmla="*/ 4946200 w 26653740"/>
                <a:gd name="connsiteY4498" fmla="*/ 14202449 h 16570717"/>
                <a:gd name="connsiteX4499" fmla="*/ 4927140 w 26653740"/>
                <a:gd name="connsiteY4499" fmla="*/ 14192921 h 16570717"/>
                <a:gd name="connsiteX4500" fmla="*/ 4903316 w 26653740"/>
                <a:gd name="connsiteY4500" fmla="*/ 14183389 h 16570717"/>
                <a:gd name="connsiteX4501" fmla="*/ 4884256 w 26653740"/>
                <a:gd name="connsiteY4501" fmla="*/ 14173861 h 16570717"/>
                <a:gd name="connsiteX4502" fmla="*/ 4869960 w 26653740"/>
                <a:gd name="connsiteY4502" fmla="*/ 14169093 h 16570717"/>
                <a:gd name="connsiteX4503" fmla="*/ 4865196 w 26653740"/>
                <a:gd name="connsiteY4503" fmla="*/ 14183389 h 16570717"/>
                <a:gd name="connsiteX4504" fmla="*/ 4846136 w 26653740"/>
                <a:gd name="connsiteY4504" fmla="*/ 14207217 h 16570717"/>
                <a:gd name="connsiteX4505" fmla="*/ 4827072 w 26653740"/>
                <a:gd name="connsiteY4505" fmla="*/ 14226277 h 16570717"/>
                <a:gd name="connsiteX4506" fmla="*/ 4803248 w 26653740"/>
                <a:gd name="connsiteY4506" fmla="*/ 14259633 h 16570717"/>
                <a:gd name="connsiteX4507" fmla="*/ 4793716 w 26653740"/>
                <a:gd name="connsiteY4507" fmla="*/ 14273929 h 16570717"/>
                <a:gd name="connsiteX4508" fmla="*/ 4784188 w 26653740"/>
                <a:gd name="connsiteY4508" fmla="*/ 14278693 h 16570717"/>
                <a:gd name="connsiteX4509" fmla="*/ 4760360 w 26653740"/>
                <a:gd name="connsiteY4509" fmla="*/ 14288221 h 16570717"/>
                <a:gd name="connsiteX4510" fmla="*/ 4736536 w 26653740"/>
                <a:gd name="connsiteY4510" fmla="*/ 14302517 h 16570717"/>
                <a:gd name="connsiteX4511" fmla="*/ 4717476 w 26653740"/>
                <a:gd name="connsiteY4511" fmla="*/ 14321577 h 16570717"/>
                <a:gd name="connsiteX4512" fmla="*/ 4693652 w 26653740"/>
                <a:gd name="connsiteY4512" fmla="*/ 14326345 h 16570717"/>
                <a:gd name="connsiteX4513" fmla="*/ 4665060 w 26653740"/>
                <a:gd name="connsiteY4513" fmla="*/ 14331109 h 16570717"/>
                <a:gd name="connsiteX4514" fmla="*/ 4655528 w 26653740"/>
                <a:gd name="connsiteY4514" fmla="*/ 14345405 h 16570717"/>
                <a:gd name="connsiteX4515" fmla="*/ 4650764 w 26653740"/>
                <a:gd name="connsiteY4515" fmla="*/ 14369229 h 16570717"/>
                <a:gd name="connsiteX4516" fmla="*/ 4641232 w 26653740"/>
                <a:gd name="connsiteY4516" fmla="*/ 14388289 h 16570717"/>
                <a:gd name="connsiteX4517" fmla="*/ 4598348 w 26653740"/>
                <a:gd name="connsiteY4517" fmla="*/ 14421645 h 16570717"/>
                <a:gd name="connsiteX4518" fmla="*/ 4574520 w 26653740"/>
                <a:gd name="connsiteY4518" fmla="*/ 14440705 h 16570717"/>
                <a:gd name="connsiteX4519" fmla="*/ 4560228 w 26653740"/>
                <a:gd name="connsiteY4519" fmla="*/ 14450237 h 16570717"/>
                <a:gd name="connsiteX4520" fmla="*/ 4545932 w 26653740"/>
                <a:gd name="connsiteY4520" fmla="*/ 14450237 h 16570717"/>
                <a:gd name="connsiteX4521" fmla="*/ 4536400 w 26653740"/>
                <a:gd name="connsiteY4521" fmla="*/ 14445473 h 16570717"/>
                <a:gd name="connsiteX4522" fmla="*/ 4531636 w 26653740"/>
                <a:gd name="connsiteY4522" fmla="*/ 14450237 h 16570717"/>
                <a:gd name="connsiteX4523" fmla="*/ 4536400 w 26653740"/>
                <a:gd name="connsiteY4523" fmla="*/ 14464533 h 16570717"/>
                <a:gd name="connsiteX4524" fmla="*/ 4541168 w 26653740"/>
                <a:gd name="connsiteY4524" fmla="*/ 14512185 h 16570717"/>
                <a:gd name="connsiteX4525" fmla="*/ 4550696 w 26653740"/>
                <a:gd name="connsiteY4525" fmla="*/ 14545541 h 16570717"/>
                <a:gd name="connsiteX4526" fmla="*/ 4555460 w 26653740"/>
                <a:gd name="connsiteY4526" fmla="*/ 14559833 h 16570717"/>
                <a:gd name="connsiteX4527" fmla="*/ 4560228 w 26653740"/>
                <a:gd name="connsiteY4527" fmla="*/ 14574129 h 16570717"/>
                <a:gd name="connsiteX4528" fmla="*/ 4564992 w 26653740"/>
                <a:gd name="connsiteY4528" fmla="*/ 14593189 h 16570717"/>
                <a:gd name="connsiteX4529" fmla="*/ 4560228 w 26653740"/>
                <a:gd name="connsiteY4529" fmla="*/ 14607485 h 16570717"/>
                <a:gd name="connsiteX4530" fmla="*/ 4550696 w 26653740"/>
                <a:gd name="connsiteY4530" fmla="*/ 14617017 h 16570717"/>
                <a:gd name="connsiteX4531" fmla="*/ 4526872 w 26653740"/>
                <a:gd name="connsiteY4531" fmla="*/ 14631313 h 16570717"/>
                <a:gd name="connsiteX4532" fmla="*/ 4503044 w 26653740"/>
                <a:gd name="connsiteY4532" fmla="*/ 14640841 h 16570717"/>
                <a:gd name="connsiteX4533" fmla="*/ 4483984 w 26653740"/>
                <a:gd name="connsiteY4533" fmla="*/ 14631313 h 16570717"/>
                <a:gd name="connsiteX4534" fmla="*/ 4469688 w 26653740"/>
                <a:gd name="connsiteY4534" fmla="*/ 14617017 h 16570717"/>
                <a:gd name="connsiteX4535" fmla="*/ 4460160 w 26653740"/>
                <a:gd name="connsiteY4535" fmla="*/ 14607485 h 16570717"/>
                <a:gd name="connsiteX4536" fmla="*/ 4441100 w 26653740"/>
                <a:gd name="connsiteY4536" fmla="*/ 14574129 h 16570717"/>
                <a:gd name="connsiteX4537" fmla="*/ 4407744 w 26653740"/>
                <a:gd name="connsiteY4537" fmla="*/ 14531245 h 16570717"/>
                <a:gd name="connsiteX4538" fmla="*/ 4388680 w 26653740"/>
                <a:gd name="connsiteY4538" fmla="*/ 14507417 h 16570717"/>
                <a:gd name="connsiteX4539" fmla="*/ 4369620 w 26653740"/>
                <a:gd name="connsiteY4539" fmla="*/ 14497889 h 16570717"/>
                <a:gd name="connsiteX4540" fmla="*/ 4355328 w 26653740"/>
                <a:gd name="connsiteY4540" fmla="*/ 14497889 h 16570717"/>
                <a:gd name="connsiteX4541" fmla="*/ 4345796 w 26653740"/>
                <a:gd name="connsiteY4541" fmla="*/ 14512185 h 16570717"/>
                <a:gd name="connsiteX4542" fmla="*/ 4336264 w 26653740"/>
                <a:gd name="connsiteY4542" fmla="*/ 14521713 h 16570717"/>
                <a:gd name="connsiteX4543" fmla="*/ 4326736 w 26653740"/>
                <a:gd name="connsiteY4543" fmla="*/ 14531245 h 16570717"/>
                <a:gd name="connsiteX4544" fmla="*/ 4321972 w 26653740"/>
                <a:gd name="connsiteY4544" fmla="*/ 14545541 h 16570717"/>
                <a:gd name="connsiteX4545" fmla="*/ 4321972 w 26653740"/>
                <a:gd name="connsiteY4545" fmla="*/ 14564601 h 16570717"/>
                <a:gd name="connsiteX4546" fmla="*/ 4321972 w 26653740"/>
                <a:gd name="connsiteY4546" fmla="*/ 14583661 h 16570717"/>
                <a:gd name="connsiteX4547" fmla="*/ 4317204 w 26653740"/>
                <a:gd name="connsiteY4547" fmla="*/ 14597957 h 16570717"/>
                <a:gd name="connsiteX4548" fmla="*/ 4298144 w 26653740"/>
                <a:gd name="connsiteY4548" fmla="*/ 14612253 h 16570717"/>
                <a:gd name="connsiteX4549" fmla="*/ 4274320 w 26653740"/>
                <a:gd name="connsiteY4549" fmla="*/ 14636077 h 16570717"/>
                <a:gd name="connsiteX4550" fmla="*/ 4260024 w 26653740"/>
                <a:gd name="connsiteY4550" fmla="*/ 14674197 h 16570717"/>
                <a:gd name="connsiteX4551" fmla="*/ 4250492 w 26653740"/>
                <a:gd name="connsiteY4551" fmla="*/ 14717085 h 16570717"/>
                <a:gd name="connsiteX4552" fmla="*/ 4245728 w 26653740"/>
                <a:gd name="connsiteY4552" fmla="*/ 14750441 h 16570717"/>
                <a:gd name="connsiteX4553" fmla="*/ 4255260 w 26653740"/>
                <a:gd name="connsiteY4553" fmla="*/ 14764737 h 16570717"/>
                <a:gd name="connsiteX4554" fmla="*/ 4269552 w 26653740"/>
                <a:gd name="connsiteY4554" fmla="*/ 14779029 h 16570717"/>
                <a:gd name="connsiteX4555" fmla="*/ 4279084 w 26653740"/>
                <a:gd name="connsiteY4555" fmla="*/ 14793325 h 16570717"/>
                <a:gd name="connsiteX4556" fmla="*/ 4283848 w 26653740"/>
                <a:gd name="connsiteY4556" fmla="*/ 14802857 h 16570717"/>
                <a:gd name="connsiteX4557" fmla="*/ 4279084 w 26653740"/>
                <a:gd name="connsiteY4557" fmla="*/ 14817153 h 16570717"/>
                <a:gd name="connsiteX4558" fmla="*/ 4269552 w 26653740"/>
                <a:gd name="connsiteY4558" fmla="*/ 14831449 h 16570717"/>
                <a:gd name="connsiteX4559" fmla="*/ 4255260 w 26653740"/>
                <a:gd name="connsiteY4559" fmla="*/ 14845741 h 16570717"/>
                <a:gd name="connsiteX4560" fmla="*/ 4231432 w 26653740"/>
                <a:gd name="connsiteY4560" fmla="*/ 14883865 h 16570717"/>
                <a:gd name="connsiteX4561" fmla="*/ 4217136 w 26653740"/>
                <a:gd name="connsiteY4561" fmla="*/ 14941045 h 16570717"/>
                <a:gd name="connsiteX4562" fmla="*/ 4221904 w 26653740"/>
                <a:gd name="connsiteY4562" fmla="*/ 14979165 h 16570717"/>
                <a:gd name="connsiteX4563" fmla="*/ 4255260 w 26653740"/>
                <a:gd name="connsiteY4563" fmla="*/ 14998225 h 16570717"/>
                <a:gd name="connsiteX4564" fmla="*/ 4279084 w 26653740"/>
                <a:gd name="connsiteY4564" fmla="*/ 15007757 h 16570717"/>
                <a:gd name="connsiteX4565" fmla="*/ 4288616 w 26653740"/>
                <a:gd name="connsiteY4565" fmla="*/ 15022053 h 16570717"/>
                <a:gd name="connsiteX4566" fmla="*/ 4298144 w 26653740"/>
                <a:gd name="connsiteY4566" fmla="*/ 15045877 h 16570717"/>
                <a:gd name="connsiteX4567" fmla="*/ 4293380 w 26653740"/>
                <a:gd name="connsiteY4567" fmla="*/ 15069705 h 16570717"/>
                <a:gd name="connsiteX4568" fmla="*/ 4293380 w 26653740"/>
                <a:gd name="connsiteY4568" fmla="*/ 15088765 h 16570717"/>
                <a:gd name="connsiteX4569" fmla="*/ 4298144 w 26653740"/>
                <a:gd name="connsiteY4569" fmla="*/ 15103061 h 16570717"/>
                <a:gd name="connsiteX4570" fmla="*/ 4307676 w 26653740"/>
                <a:gd name="connsiteY4570" fmla="*/ 15122121 h 16570717"/>
                <a:gd name="connsiteX4571" fmla="*/ 4321972 w 26653740"/>
                <a:gd name="connsiteY4571" fmla="*/ 15136417 h 16570717"/>
                <a:gd name="connsiteX4572" fmla="*/ 4336264 w 26653740"/>
                <a:gd name="connsiteY4572" fmla="*/ 15126885 h 16570717"/>
                <a:gd name="connsiteX4573" fmla="*/ 4350560 w 26653740"/>
                <a:gd name="connsiteY4573" fmla="*/ 15122121 h 16570717"/>
                <a:gd name="connsiteX4574" fmla="*/ 4369620 w 26653740"/>
                <a:gd name="connsiteY4574" fmla="*/ 15122121 h 16570717"/>
                <a:gd name="connsiteX4575" fmla="*/ 4422040 w 26653740"/>
                <a:gd name="connsiteY4575" fmla="*/ 15131649 h 16570717"/>
                <a:gd name="connsiteX4576" fmla="*/ 4450628 w 26653740"/>
                <a:gd name="connsiteY4576" fmla="*/ 15136417 h 16570717"/>
                <a:gd name="connsiteX4577" fmla="*/ 4460160 w 26653740"/>
                <a:gd name="connsiteY4577" fmla="*/ 15141181 h 16570717"/>
                <a:gd name="connsiteX4578" fmla="*/ 4474456 w 26653740"/>
                <a:gd name="connsiteY4578" fmla="*/ 15169773 h 16570717"/>
                <a:gd name="connsiteX4579" fmla="*/ 4498280 w 26653740"/>
                <a:gd name="connsiteY4579" fmla="*/ 15203129 h 16570717"/>
                <a:gd name="connsiteX4580" fmla="*/ 4522104 w 26653740"/>
                <a:gd name="connsiteY4580" fmla="*/ 15231717 h 16570717"/>
                <a:gd name="connsiteX4581" fmla="*/ 4526872 w 26653740"/>
                <a:gd name="connsiteY4581" fmla="*/ 15246013 h 16570717"/>
                <a:gd name="connsiteX4582" fmla="*/ 4545932 w 26653740"/>
                <a:gd name="connsiteY4582" fmla="*/ 15284133 h 16570717"/>
                <a:gd name="connsiteX4583" fmla="*/ 4564992 w 26653740"/>
                <a:gd name="connsiteY4583" fmla="*/ 15317489 h 16570717"/>
                <a:gd name="connsiteX4584" fmla="*/ 4584052 w 26653740"/>
                <a:gd name="connsiteY4584" fmla="*/ 15355613 h 16570717"/>
                <a:gd name="connsiteX4585" fmla="*/ 4584052 w 26653740"/>
                <a:gd name="connsiteY4585" fmla="*/ 15369905 h 16570717"/>
                <a:gd name="connsiteX4586" fmla="*/ 4569756 w 26653740"/>
                <a:gd name="connsiteY4586" fmla="*/ 15374673 h 16570717"/>
                <a:gd name="connsiteX4587" fmla="*/ 4555460 w 26653740"/>
                <a:gd name="connsiteY4587" fmla="*/ 15369905 h 16570717"/>
                <a:gd name="connsiteX4588" fmla="*/ 4541168 w 26653740"/>
                <a:gd name="connsiteY4588" fmla="*/ 15365141 h 16570717"/>
                <a:gd name="connsiteX4589" fmla="*/ 4536400 w 26653740"/>
                <a:gd name="connsiteY4589" fmla="*/ 15360377 h 16570717"/>
                <a:gd name="connsiteX4590" fmla="*/ 4526872 w 26653740"/>
                <a:gd name="connsiteY4590" fmla="*/ 15360377 h 16570717"/>
                <a:gd name="connsiteX4591" fmla="*/ 4522104 w 26653740"/>
                <a:gd name="connsiteY4591" fmla="*/ 15360377 h 16570717"/>
                <a:gd name="connsiteX4592" fmla="*/ 4512576 w 26653740"/>
                <a:gd name="connsiteY4592" fmla="*/ 15365141 h 16570717"/>
                <a:gd name="connsiteX4593" fmla="*/ 4512576 w 26653740"/>
                <a:gd name="connsiteY4593" fmla="*/ 15374673 h 16570717"/>
                <a:gd name="connsiteX4594" fmla="*/ 4512576 w 26653740"/>
                <a:gd name="connsiteY4594" fmla="*/ 15384201 h 16570717"/>
                <a:gd name="connsiteX4595" fmla="*/ 4517340 w 26653740"/>
                <a:gd name="connsiteY4595" fmla="*/ 15393733 h 16570717"/>
                <a:gd name="connsiteX4596" fmla="*/ 4526872 w 26653740"/>
                <a:gd name="connsiteY4596" fmla="*/ 15403261 h 16570717"/>
                <a:gd name="connsiteX4597" fmla="*/ 4555460 w 26653740"/>
                <a:gd name="connsiteY4597" fmla="*/ 15417557 h 16570717"/>
                <a:gd name="connsiteX4598" fmla="*/ 4584052 w 26653740"/>
                <a:gd name="connsiteY4598" fmla="*/ 15431853 h 16570717"/>
                <a:gd name="connsiteX4599" fmla="*/ 4617408 w 26653740"/>
                <a:gd name="connsiteY4599" fmla="*/ 15455677 h 16570717"/>
                <a:gd name="connsiteX4600" fmla="*/ 4626940 w 26653740"/>
                <a:gd name="connsiteY4600" fmla="*/ 15455677 h 16570717"/>
                <a:gd name="connsiteX4601" fmla="*/ 4626940 w 26653740"/>
                <a:gd name="connsiteY4601" fmla="*/ 15465209 h 16570717"/>
                <a:gd name="connsiteX4602" fmla="*/ 4607876 w 26653740"/>
                <a:gd name="connsiteY4602" fmla="*/ 15469973 h 16570717"/>
                <a:gd name="connsiteX4603" fmla="*/ 4607876 w 26653740"/>
                <a:gd name="connsiteY4603" fmla="*/ 15479505 h 16570717"/>
                <a:gd name="connsiteX4604" fmla="*/ 4603112 w 26653740"/>
                <a:gd name="connsiteY4604" fmla="*/ 15489033 h 16570717"/>
                <a:gd name="connsiteX4605" fmla="*/ 4560228 w 26653740"/>
                <a:gd name="connsiteY4605" fmla="*/ 15508097 h 16570717"/>
                <a:gd name="connsiteX4606" fmla="*/ 4550696 w 26653740"/>
                <a:gd name="connsiteY4606" fmla="*/ 15508097 h 16570717"/>
                <a:gd name="connsiteX4607" fmla="*/ 4541168 w 26653740"/>
                <a:gd name="connsiteY4607" fmla="*/ 15512861 h 16570717"/>
                <a:gd name="connsiteX4608" fmla="*/ 4541168 w 26653740"/>
                <a:gd name="connsiteY4608" fmla="*/ 15527157 h 16570717"/>
                <a:gd name="connsiteX4609" fmla="*/ 4541168 w 26653740"/>
                <a:gd name="connsiteY4609" fmla="*/ 15536685 h 16570717"/>
                <a:gd name="connsiteX4610" fmla="*/ 4550696 w 26653740"/>
                <a:gd name="connsiteY4610" fmla="*/ 15550981 h 16570717"/>
                <a:gd name="connsiteX4611" fmla="*/ 4545932 w 26653740"/>
                <a:gd name="connsiteY4611" fmla="*/ 15555745 h 16570717"/>
                <a:gd name="connsiteX4612" fmla="*/ 4541168 w 26653740"/>
                <a:gd name="connsiteY4612" fmla="*/ 15555745 h 16570717"/>
                <a:gd name="connsiteX4613" fmla="*/ 4531636 w 26653740"/>
                <a:gd name="connsiteY4613" fmla="*/ 15555745 h 16570717"/>
                <a:gd name="connsiteX4614" fmla="*/ 4526872 w 26653740"/>
                <a:gd name="connsiteY4614" fmla="*/ 15546217 h 16570717"/>
                <a:gd name="connsiteX4615" fmla="*/ 4517340 w 26653740"/>
                <a:gd name="connsiteY4615" fmla="*/ 15546217 h 16570717"/>
                <a:gd name="connsiteX4616" fmla="*/ 4507812 w 26653740"/>
                <a:gd name="connsiteY4616" fmla="*/ 15546217 h 16570717"/>
                <a:gd name="connsiteX4617" fmla="*/ 4474456 w 26653740"/>
                <a:gd name="connsiteY4617" fmla="*/ 15584337 h 16570717"/>
                <a:gd name="connsiteX4618" fmla="*/ 4460160 w 26653740"/>
                <a:gd name="connsiteY4618" fmla="*/ 15593869 h 16570717"/>
                <a:gd name="connsiteX4619" fmla="*/ 4441100 w 26653740"/>
                <a:gd name="connsiteY4619" fmla="*/ 15593869 h 16570717"/>
                <a:gd name="connsiteX4620" fmla="*/ 4407744 w 26653740"/>
                <a:gd name="connsiteY4620" fmla="*/ 15608161 h 16570717"/>
                <a:gd name="connsiteX4621" fmla="*/ 4398212 w 26653740"/>
                <a:gd name="connsiteY4621" fmla="*/ 15608161 h 16570717"/>
                <a:gd name="connsiteX4622" fmla="*/ 4388680 w 26653740"/>
                <a:gd name="connsiteY4622" fmla="*/ 15603397 h 16570717"/>
                <a:gd name="connsiteX4623" fmla="*/ 4379152 w 26653740"/>
                <a:gd name="connsiteY4623" fmla="*/ 15608161 h 16570717"/>
                <a:gd name="connsiteX4624" fmla="*/ 4374388 w 26653740"/>
                <a:gd name="connsiteY4624" fmla="*/ 15627225 h 16570717"/>
                <a:gd name="connsiteX4625" fmla="*/ 4364856 w 26653740"/>
                <a:gd name="connsiteY4625" fmla="*/ 15612929 h 16570717"/>
                <a:gd name="connsiteX4626" fmla="*/ 4355328 w 26653740"/>
                <a:gd name="connsiteY4626" fmla="*/ 15608161 h 16570717"/>
                <a:gd name="connsiteX4627" fmla="*/ 4350560 w 26653740"/>
                <a:gd name="connsiteY4627" fmla="*/ 15603397 h 16570717"/>
                <a:gd name="connsiteX4628" fmla="*/ 4360092 w 26653740"/>
                <a:gd name="connsiteY4628" fmla="*/ 15622457 h 16570717"/>
                <a:gd name="connsiteX4629" fmla="*/ 4360092 w 26653740"/>
                <a:gd name="connsiteY4629" fmla="*/ 15636753 h 16570717"/>
                <a:gd name="connsiteX4630" fmla="*/ 4355328 w 26653740"/>
                <a:gd name="connsiteY4630" fmla="*/ 15646285 h 16570717"/>
                <a:gd name="connsiteX4631" fmla="*/ 4355328 w 26653740"/>
                <a:gd name="connsiteY4631" fmla="*/ 15655813 h 16570717"/>
                <a:gd name="connsiteX4632" fmla="*/ 4350560 w 26653740"/>
                <a:gd name="connsiteY4632" fmla="*/ 15660581 h 16570717"/>
                <a:gd name="connsiteX4633" fmla="*/ 4341032 w 26653740"/>
                <a:gd name="connsiteY4633" fmla="*/ 15660581 h 16570717"/>
                <a:gd name="connsiteX4634" fmla="*/ 4336264 w 26653740"/>
                <a:gd name="connsiteY4634" fmla="*/ 15689169 h 16570717"/>
                <a:gd name="connsiteX4635" fmla="*/ 4331500 w 26653740"/>
                <a:gd name="connsiteY4635" fmla="*/ 15708229 h 16570717"/>
                <a:gd name="connsiteX4636" fmla="*/ 4321972 w 26653740"/>
                <a:gd name="connsiteY4636" fmla="*/ 15722525 h 16570717"/>
                <a:gd name="connsiteX4637" fmla="*/ 4312440 w 26653740"/>
                <a:gd name="connsiteY4637" fmla="*/ 15751117 h 16570717"/>
                <a:gd name="connsiteX4638" fmla="*/ 4302908 w 26653740"/>
                <a:gd name="connsiteY4638" fmla="*/ 15760645 h 16570717"/>
                <a:gd name="connsiteX4639" fmla="*/ 4293380 w 26653740"/>
                <a:gd name="connsiteY4639" fmla="*/ 15774941 h 16570717"/>
                <a:gd name="connsiteX4640" fmla="*/ 4288616 w 26653740"/>
                <a:gd name="connsiteY4640" fmla="*/ 15794001 h 16570717"/>
                <a:gd name="connsiteX4641" fmla="*/ 4283848 w 26653740"/>
                <a:gd name="connsiteY4641" fmla="*/ 15789237 h 16570717"/>
                <a:gd name="connsiteX4642" fmla="*/ 4279084 w 26653740"/>
                <a:gd name="connsiteY4642" fmla="*/ 15784473 h 16570717"/>
                <a:gd name="connsiteX4643" fmla="*/ 4274320 w 26653740"/>
                <a:gd name="connsiteY4643" fmla="*/ 15794001 h 16570717"/>
                <a:gd name="connsiteX4644" fmla="*/ 4269552 w 26653740"/>
                <a:gd name="connsiteY4644" fmla="*/ 15803533 h 16570717"/>
                <a:gd name="connsiteX4645" fmla="*/ 4250492 w 26653740"/>
                <a:gd name="connsiteY4645" fmla="*/ 15817829 h 16570717"/>
                <a:gd name="connsiteX4646" fmla="*/ 4240964 w 26653740"/>
                <a:gd name="connsiteY4646" fmla="*/ 15832125 h 16570717"/>
                <a:gd name="connsiteX4647" fmla="*/ 4231432 w 26653740"/>
                <a:gd name="connsiteY4647" fmla="*/ 15851185 h 16570717"/>
                <a:gd name="connsiteX4648" fmla="*/ 4231432 w 26653740"/>
                <a:gd name="connsiteY4648" fmla="*/ 15865481 h 16570717"/>
                <a:gd name="connsiteX4649" fmla="*/ 4231432 w 26653740"/>
                <a:gd name="connsiteY4649" fmla="*/ 15875009 h 16570717"/>
                <a:gd name="connsiteX4650" fmla="*/ 4240964 w 26653740"/>
                <a:gd name="connsiteY4650" fmla="*/ 15884541 h 16570717"/>
                <a:gd name="connsiteX4651" fmla="*/ 4264788 w 26653740"/>
                <a:gd name="connsiteY4651" fmla="*/ 15889305 h 16570717"/>
                <a:gd name="connsiteX4652" fmla="*/ 4279084 w 26653740"/>
                <a:gd name="connsiteY4652" fmla="*/ 15898837 h 16570717"/>
                <a:gd name="connsiteX4653" fmla="*/ 4298144 w 26653740"/>
                <a:gd name="connsiteY4653" fmla="*/ 15917897 h 16570717"/>
                <a:gd name="connsiteX4654" fmla="*/ 4312440 w 26653740"/>
                <a:gd name="connsiteY4654" fmla="*/ 15932193 h 16570717"/>
                <a:gd name="connsiteX4655" fmla="*/ 4326736 w 26653740"/>
                <a:gd name="connsiteY4655" fmla="*/ 15951253 h 16570717"/>
                <a:gd name="connsiteX4656" fmla="*/ 4331500 w 26653740"/>
                <a:gd name="connsiteY4656" fmla="*/ 15975077 h 16570717"/>
                <a:gd name="connsiteX4657" fmla="*/ 4345796 w 26653740"/>
                <a:gd name="connsiteY4657" fmla="*/ 16022729 h 16570717"/>
                <a:gd name="connsiteX4658" fmla="*/ 4350560 w 26653740"/>
                <a:gd name="connsiteY4658" fmla="*/ 16070381 h 16570717"/>
                <a:gd name="connsiteX4659" fmla="*/ 4364856 w 26653740"/>
                <a:gd name="connsiteY4659" fmla="*/ 16013197 h 16570717"/>
                <a:gd name="connsiteX4660" fmla="*/ 4379152 w 26653740"/>
                <a:gd name="connsiteY4660" fmla="*/ 15998905 h 16570717"/>
                <a:gd name="connsiteX4661" fmla="*/ 4374388 w 26653740"/>
                <a:gd name="connsiteY4661" fmla="*/ 16017965 h 16570717"/>
                <a:gd name="connsiteX4662" fmla="*/ 4364856 w 26653740"/>
                <a:gd name="connsiteY4662" fmla="*/ 16041789 h 16570717"/>
                <a:gd name="connsiteX4663" fmla="*/ 4355328 w 26653740"/>
                <a:gd name="connsiteY4663" fmla="*/ 16079909 h 16570717"/>
                <a:gd name="connsiteX4664" fmla="*/ 4355328 w 26653740"/>
                <a:gd name="connsiteY4664" fmla="*/ 16108501 h 16570717"/>
                <a:gd name="connsiteX4665" fmla="*/ 4355328 w 26653740"/>
                <a:gd name="connsiteY4665" fmla="*/ 16132325 h 16570717"/>
                <a:gd name="connsiteX4666" fmla="*/ 4355328 w 26653740"/>
                <a:gd name="connsiteY4666" fmla="*/ 16141857 h 16570717"/>
                <a:gd name="connsiteX4667" fmla="*/ 4350560 w 26653740"/>
                <a:gd name="connsiteY4667" fmla="*/ 16184745 h 16570717"/>
                <a:gd name="connsiteX4668" fmla="*/ 4355328 w 26653740"/>
                <a:gd name="connsiteY4668" fmla="*/ 16189509 h 16570717"/>
                <a:gd name="connsiteX4669" fmla="*/ 4360092 w 26653740"/>
                <a:gd name="connsiteY4669" fmla="*/ 16199037 h 16570717"/>
                <a:gd name="connsiteX4670" fmla="*/ 4374388 w 26653740"/>
                <a:gd name="connsiteY4670" fmla="*/ 16208569 h 16570717"/>
                <a:gd name="connsiteX4671" fmla="*/ 4388680 w 26653740"/>
                <a:gd name="connsiteY4671" fmla="*/ 16232393 h 16570717"/>
                <a:gd name="connsiteX4672" fmla="*/ 4388680 w 26653740"/>
                <a:gd name="connsiteY4672" fmla="*/ 16256221 h 16570717"/>
                <a:gd name="connsiteX4673" fmla="*/ 4398212 w 26653740"/>
                <a:gd name="connsiteY4673" fmla="*/ 16265749 h 16570717"/>
                <a:gd name="connsiteX4674" fmla="*/ 4407744 w 26653740"/>
                <a:gd name="connsiteY4674" fmla="*/ 16270517 h 16570717"/>
                <a:gd name="connsiteX4675" fmla="*/ 4445864 w 26653740"/>
                <a:gd name="connsiteY4675" fmla="*/ 16327697 h 16570717"/>
                <a:gd name="connsiteX4676" fmla="*/ 4469688 w 26653740"/>
                <a:gd name="connsiteY4676" fmla="*/ 16365817 h 16570717"/>
                <a:gd name="connsiteX4677" fmla="*/ 4479220 w 26653740"/>
                <a:gd name="connsiteY4677" fmla="*/ 16384877 h 16570717"/>
                <a:gd name="connsiteX4678" fmla="*/ 4493516 w 26653740"/>
                <a:gd name="connsiteY4678" fmla="*/ 16413469 h 16570717"/>
                <a:gd name="connsiteX4679" fmla="*/ 4498280 w 26653740"/>
                <a:gd name="connsiteY4679" fmla="*/ 16418233 h 16570717"/>
                <a:gd name="connsiteX4680" fmla="*/ 4507812 w 26653740"/>
                <a:gd name="connsiteY4680" fmla="*/ 16423001 h 16570717"/>
                <a:gd name="connsiteX4681" fmla="*/ 4522104 w 26653740"/>
                <a:gd name="connsiteY4681" fmla="*/ 16432529 h 16570717"/>
                <a:gd name="connsiteX4682" fmla="*/ 4512576 w 26653740"/>
                <a:gd name="connsiteY4682" fmla="*/ 16446825 h 16570717"/>
                <a:gd name="connsiteX4683" fmla="*/ 4503044 w 26653740"/>
                <a:gd name="connsiteY4683" fmla="*/ 16470649 h 16570717"/>
                <a:gd name="connsiteX4684" fmla="*/ 4493516 w 26653740"/>
                <a:gd name="connsiteY4684" fmla="*/ 16484945 h 16570717"/>
                <a:gd name="connsiteX4685" fmla="*/ 4479220 w 26653740"/>
                <a:gd name="connsiteY4685" fmla="*/ 16499241 h 16570717"/>
                <a:gd name="connsiteX4686" fmla="*/ 4455392 w 26653740"/>
                <a:gd name="connsiteY4686" fmla="*/ 16508773 h 16570717"/>
                <a:gd name="connsiteX4687" fmla="*/ 4441100 w 26653740"/>
                <a:gd name="connsiteY4687" fmla="*/ 16513537 h 16570717"/>
                <a:gd name="connsiteX4688" fmla="*/ 4426804 w 26653740"/>
                <a:gd name="connsiteY4688" fmla="*/ 16542129 h 16570717"/>
                <a:gd name="connsiteX4689" fmla="*/ 4412508 w 26653740"/>
                <a:gd name="connsiteY4689" fmla="*/ 16565953 h 16570717"/>
                <a:gd name="connsiteX4690" fmla="*/ 4402976 w 26653740"/>
                <a:gd name="connsiteY4690" fmla="*/ 16570717 h 16570717"/>
                <a:gd name="connsiteX4691" fmla="*/ 4369620 w 26653740"/>
                <a:gd name="connsiteY4691" fmla="*/ 16565953 h 16570717"/>
                <a:gd name="connsiteX4692" fmla="*/ 4360092 w 26653740"/>
                <a:gd name="connsiteY4692" fmla="*/ 16561189 h 16570717"/>
                <a:gd name="connsiteX4693" fmla="*/ 4326736 w 26653740"/>
                <a:gd name="connsiteY4693" fmla="*/ 16551657 h 16570717"/>
                <a:gd name="connsiteX4694" fmla="*/ 4317204 w 26653740"/>
                <a:gd name="connsiteY4694" fmla="*/ 16546893 h 16570717"/>
                <a:gd name="connsiteX4695" fmla="*/ 4307676 w 26653740"/>
                <a:gd name="connsiteY4695" fmla="*/ 16513537 h 16570717"/>
                <a:gd name="connsiteX4696" fmla="*/ 4298144 w 26653740"/>
                <a:gd name="connsiteY4696" fmla="*/ 16504005 h 16570717"/>
                <a:gd name="connsiteX4697" fmla="*/ 4288616 w 26653740"/>
                <a:gd name="connsiteY4697" fmla="*/ 16494477 h 16570717"/>
                <a:gd name="connsiteX4698" fmla="*/ 4279084 w 26653740"/>
                <a:gd name="connsiteY4698" fmla="*/ 16489713 h 16570717"/>
                <a:gd name="connsiteX4699" fmla="*/ 4274320 w 26653740"/>
                <a:gd name="connsiteY4699" fmla="*/ 16480181 h 16570717"/>
                <a:gd name="connsiteX4700" fmla="*/ 4264788 w 26653740"/>
                <a:gd name="connsiteY4700" fmla="*/ 16470649 h 16570717"/>
                <a:gd name="connsiteX4701" fmla="*/ 4250492 w 26653740"/>
                <a:gd name="connsiteY4701" fmla="*/ 16456357 h 16570717"/>
                <a:gd name="connsiteX4702" fmla="*/ 4236200 w 26653740"/>
                <a:gd name="connsiteY4702" fmla="*/ 16442061 h 16570717"/>
                <a:gd name="connsiteX4703" fmla="*/ 4231432 w 26653740"/>
                <a:gd name="connsiteY4703" fmla="*/ 16437293 h 16570717"/>
                <a:gd name="connsiteX4704" fmla="*/ 4217136 w 26653740"/>
                <a:gd name="connsiteY4704" fmla="*/ 16442061 h 16570717"/>
                <a:gd name="connsiteX4705" fmla="*/ 4212372 w 26653740"/>
                <a:gd name="connsiteY4705" fmla="*/ 16442061 h 16570717"/>
                <a:gd name="connsiteX4706" fmla="*/ 4207608 w 26653740"/>
                <a:gd name="connsiteY4706" fmla="*/ 16442061 h 16570717"/>
                <a:gd name="connsiteX4707" fmla="*/ 4207608 w 26653740"/>
                <a:gd name="connsiteY4707" fmla="*/ 16427765 h 16570717"/>
                <a:gd name="connsiteX4708" fmla="*/ 4188548 w 26653740"/>
                <a:gd name="connsiteY4708" fmla="*/ 16423001 h 16570717"/>
                <a:gd name="connsiteX4709" fmla="*/ 4183780 w 26653740"/>
                <a:gd name="connsiteY4709" fmla="*/ 16423001 h 16570717"/>
                <a:gd name="connsiteX4710" fmla="*/ 4164720 w 26653740"/>
                <a:gd name="connsiteY4710" fmla="*/ 16408705 h 16570717"/>
                <a:gd name="connsiteX4711" fmla="*/ 4155192 w 26653740"/>
                <a:gd name="connsiteY4711" fmla="*/ 16403941 h 16570717"/>
                <a:gd name="connsiteX4712" fmla="*/ 4145660 w 26653740"/>
                <a:gd name="connsiteY4712" fmla="*/ 16403941 h 16570717"/>
                <a:gd name="connsiteX4713" fmla="*/ 4126600 w 26653740"/>
                <a:gd name="connsiteY4713" fmla="*/ 16399173 h 16570717"/>
                <a:gd name="connsiteX4714" fmla="*/ 4112304 w 26653740"/>
                <a:gd name="connsiteY4714" fmla="*/ 16394409 h 16570717"/>
                <a:gd name="connsiteX4715" fmla="*/ 4107540 w 26653740"/>
                <a:gd name="connsiteY4715" fmla="*/ 16389645 h 16570717"/>
                <a:gd name="connsiteX4716" fmla="*/ 4098008 w 26653740"/>
                <a:gd name="connsiteY4716" fmla="*/ 16380113 h 16570717"/>
                <a:gd name="connsiteX4717" fmla="*/ 4078948 w 26653740"/>
                <a:gd name="connsiteY4717" fmla="*/ 16370585 h 16570717"/>
                <a:gd name="connsiteX4718" fmla="*/ 4064652 w 26653740"/>
                <a:gd name="connsiteY4718" fmla="*/ 16356289 h 16570717"/>
                <a:gd name="connsiteX4719" fmla="*/ 4064652 w 26653740"/>
                <a:gd name="connsiteY4719" fmla="*/ 16351521 h 16570717"/>
                <a:gd name="connsiteX4720" fmla="*/ 4074184 w 26653740"/>
                <a:gd name="connsiteY4720" fmla="*/ 16327697 h 16570717"/>
                <a:gd name="connsiteX4721" fmla="*/ 4078948 w 26653740"/>
                <a:gd name="connsiteY4721" fmla="*/ 16303873 h 16570717"/>
                <a:gd name="connsiteX4722" fmla="*/ 4074184 w 26653740"/>
                <a:gd name="connsiteY4722" fmla="*/ 16299105 h 16570717"/>
                <a:gd name="connsiteX4723" fmla="*/ 4064652 w 26653740"/>
                <a:gd name="connsiteY4723" fmla="*/ 16294341 h 16570717"/>
                <a:gd name="connsiteX4724" fmla="*/ 4055124 w 26653740"/>
                <a:gd name="connsiteY4724" fmla="*/ 16289577 h 16570717"/>
                <a:gd name="connsiteX4725" fmla="*/ 4017000 w 26653740"/>
                <a:gd name="connsiteY4725" fmla="*/ 16289577 h 16570717"/>
                <a:gd name="connsiteX4726" fmla="*/ 3997940 w 26653740"/>
                <a:gd name="connsiteY4726" fmla="*/ 16265749 h 16570717"/>
                <a:gd name="connsiteX4727" fmla="*/ 3988412 w 26653740"/>
                <a:gd name="connsiteY4727" fmla="*/ 16260985 h 16570717"/>
                <a:gd name="connsiteX4728" fmla="*/ 3974116 w 26653740"/>
                <a:gd name="connsiteY4728" fmla="*/ 16256221 h 16570717"/>
                <a:gd name="connsiteX4729" fmla="*/ 3955056 w 26653740"/>
                <a:gd name="connsiteY4729" fmla="*/ 16246689 h 16570717"/>
                <a:gd name="connsiteX4730" fmla="*/ 3945524 w 26653740"/>
                <a:gd name="connsiteY4730" fmla="*/ 16241925 h 16570717"/>
                <a:gd name="connsiteX4731" fmla="*/ 3940760 w 26653740"/>
                <a:gd name="connsiteY4731" fmla="*/ 16246689 h 16570717"/>
                <a:gd name="connsiteX4732" fmla="*/ 3931228 w 26653740"/>
                <a:gd name="connsiteY4732" fmla="*/ 16270517 h 16570717"/>
                <a:gd name="connsiteX4733" fmla="*/ 3916936 w 26653740"/>
                <a:gd name="connsiteY4733" fmla="*/ 16251453 h 16570717"/>
                <a:gd name="connsiteX4734" fmla="*/ 3907404 w 26653740"/>
                <a:gd name="connsiteY4734" fmla="*/ 16246689 h 16570717"/>
                <a:gd name="connsiteX4735" fmla="*/ 3897872 w 26653740"/>
                <a:gd name="connsiteY4735" fmla="*/ 16241925 h 16570717"/>
                <a:gd name="connsiteX4736" fmla="*/ 3888344 w 26653740"/>
                <a:gd name="connsiteY4736" fmla="*/ 16241925 h 16570717"/>
                <a:gd name="connsiteX4737" fmla="*/ 3859752 w 26653740"/>
                <a:gd name="connsiteY4737" fmla="*/ 16251453 h 16570717"/>
                <a:gd name="connsiteX4738" fmla="*/ 3840692 w 26653740"/>
                <a:gd name="connsiteY4738" fmla="*/ 16265749 h 16570717"/>
                <a:gd name="connsiteX4739" fmla="*/ 3826396 w 26653740"/>
                <a:gd name="connsiteY4739" fmla="*/ 16270517 h 16570717"/>
                <a:gd name="connsiteX4740" fmla="*/ 3807336 w 26653740"/>
                <a:gd name="connsiteY4740" fmla="*/ 16275281 h 16570717"/>
                <a:gd name="connsiteX4741" fmla="*/ 3802572 w 26653740"/>
                <a:gd name="connsiteY4741" fmla="*/ 16280045 h 16570717"/>
                <a:gd name="connsiteX4742" fmla="*/ 3783512 w 26653740"/>
                <a:gd name="connsiteY4742" fmla="*/ 16280045 h 16570717"/>
                <a:gd name="connsiteX4743" fmla="*/ 3769216 w 26653740"/>
                <a:gd name="connsiteY4743" fmla="*/ 16275281 h 16570717"/>
                <a:gd name="connsiteX4744" fmla="*/ 3769216 w 26653740"/>
                <a:gd name="connsiteY4744" fmla="*/ 16270517 h 16570717"/>
                <a:gd name="connsiteX4745" fmla="*/ 3769216 w 26653740"/>
                <a:gd name="connsiteY4745" fmla="*/ 16260985 h 16570717"/>
                <a:gd name="connsiteX4746" fmla="*/ 3778744 w 26653740"/>
                <a:gd name="connsiteY4746" fmla="*/ 16251453 h 16570717"/>
                <a:gd name="connsiteX4747" fmla="*/ 3778744 w 26653740"/>
                <a:gd name="connsiteY4747" fmla="*/ 16246689 h 16570717"/>
                <a:gd name="connsiteX4748" fmla="*/ 3773980 w 26653740"/>
                <a:gd name="connsiteY4748" fmla="*/ 16246689 h 16570717"/>
                <a:gd name="connsiteX4749" fmla="*/ 3750156 w 26653740"/>
                <a:gd name="connsiteY4749" fmla="*/ 16232393 h 16570717"/>
                <a:gd name="connsiteX4750" fmla="*/ 3740624 w 26653740"/>
                <a:gd name="connsiteY4750" fmla="*/ 16222865 h 16570717"/>
                <a:gd name="connsiteX4751" fmla="*/ 3707268 w 26653740"/>
                <a:gd name="connsiteY4751" fmla="*/ 16213333 h 16570717"/>
                <a:gd name="connsiteX4752" fmla="*/ 3664384 w 26653740"/>
                <a:gd name="connsiteY4752" fmla="*/ 16194273 h 16570717"/>
                <a:gd name="connsiteX4753" fmla="*/ 3650088 w 26653740"/>
                <a:gd name="connsiteY4753" fmla="*/ 16179977 h 16570717"/>
                <a:gd name="connsiteX4754" fmla="*/ 3650088 w 26653740"/>
                <a:gd name="connsiteY4754" fmla="*/ 16170449 h 16570717"/>
                <a:gd name="connsiteX4755" fmla="*/ 3635792 w 26653740"/>
                <a:gd name="connsiteY4755" fmla="*/ 16160917 h 16570717"/>
                <a:gd name="connsiteX4756" fmla="*/ 3616732 w 26653740"/>
                <a:gd name="connsiteY4756" fmla="*/ 16156153 h 16570717"/>
                <a:gd name="connsiteX4757" fmla="*/ 3597672 w 26653740"/>
                <a:gd name="connsiteY4757" fmla="*/ 16156153 h 16570717"/>
                <a:gd name="connsiteX4758" fmla="*/ 3583376 w 26653740"/>
                <a:gd name="connsiteY4758" fmla="*/ 16156153 h 16570717"/>
                <a:gd name="connsiteX4759" fmla="*/ 3564316 w 26653740"/>
                <a:gd name="connsiteY4759" fmla="*/ 16141857 h 16570717"/>
                <a:gd name="connsiteX4760" fmla="*/ 3540488 w 26653740"/>
                <a:gd name="connsiteY4760" fmla="*/ 16141857 h 16570717"/>
                <a:gd name="connsiteX4761" fmla="*/ 3516664 w 26653740"/>
                <a:gd name="connsiteY4761" fmla="*/ 16146621 h 16570717"/>
                <a:gd name="connsiteX4762" fmla="*/ 3502368 w 26653740"/>
                <a:gd name="connsiteY4762" fmla="*/ 16151389 h 16570717"/>
                <a:gd name="connsiteX4763" fmla="*/ 3430892 w 26653740"/>
                <a:gd name="connsiteY4763" fmla="*/ 16141857 h 16570717"/>
                <a:gd name="connsiteX4764" fmla="*/ 3411832 w 26653740"/>
                <a:gd name="connsiteY4764" fmla="*/ 16132325 h 16570717"/>
                <a:gd name="connsiteX4765" fmla="*/ 3397536 w 26653740"/>
                <a:gd name="connsiteY4765" fmla="*/ 16118033 h 16570717"/>
                <a:gd name="connsiteX4766" fmla="*/ 3354648 w 26653740"/>
                <a:gd name="connsiteY4766" fmla="*/ 16108501 h 16570717"/>
                <a:gd name="connsiteX4767" fmla="*/ 3330824 w 26653740"/>
                <a:gd name="connsiteY4767" fmla="*/ 16098969 h 16570717"/>
                <a:gd name="connsiteX4768" fmla="*/ 3307000 w 26653740"/>
                <a:gd name="connsiteY4768" fmla="*/ 16084677 h 16570717"/>
                <a:gd name="connsiteX4769" fmla="*/ 3283172 w 26653740"/>
                <a:gd name="connsiteY4769" fmla="*/ 16075145 h 16570717"/>
                <a:gd name="connsiteX4770" fmla="*/ 3264112 w 26653740"/>
                <a:gd name="connsiteY4770" fmla="*/ 16079909 h 16570717"/>
                <a:gd name="connsiteX4771" fmla="*/ 3235520 w 26653740"/>
                <a:gd name="connsiteY4771" fmla="*/ 16075145 h 16570717"/>
                <a:gd name="connsiteX4772" fmla="*/ 3206932 w 26653740"/>
                <a:gd name="connsiteY4772" fmla="*/ 16065617 h 16570717"/>
                <a:gd name="connsiteX4773" fmla="*/ 3197400 w 26653740"/>
                <a:gd name="connsiteY4773" fmla="*/ 16070381 h 16570717"/>
                <a:gd name="connsiteX4774" fmla="*/ 3187868 w 26653740"/>
                <a:gd name="connsiteY4774" fmla="*/ 16084677 h 16570717"/>
                <a:gd name="connsiteX4775" fmla="*/ 3178340 w 26653740"/>
                <a:gd name="connsiteY4775" fmla="*/ 16098969 h 16570717"/>
                <a:gd name="connsiteX4776" fmla="*/ 3164044 w 26653740"/>
                <a:gd name="connsiteY4776" fmla="*/ 16089441 h 16570717"/>
                <a:gd name="connsiteX4777" fmla="*/ 3106864 w 26653740"/>
                <a:gd name="connsiteY4777" fmla="*/ 16032261 h 16570717"/>
                <a:gd name="connsiteX4778" fmla="*/ 3078272 w 26653740"/>
                <a:gd name="connsiteY4778" fmla="*/ 15998905 h 16570717"/>
                <a:gd name="connsiteX4779" fmla="*/ 2982968 w 26653740"/>
                <a:gd name="connsiteY4779" fmla="*/ 15913129 h 16570717"/>
                <a:gd name="connsiteX4780" fmla="*/ 2968672 w 26653740"/>
                <a:gd name="connsiteY4780" fmla="*/ 15903601 h 16570717"/>
                <a:gd name="connsiteX4781" fmla="*/ 2921024 w 26653740"/>
                <a:gd name="connsiteY4781" fmla="*/ 15894069 h 16570717"/>
                <a:gd name="connsiteX4782" fmla="*/ 2901964 w 26653740"/>
                <a:gd name="connsiteY4782" fmla="*/ 15884541 h 16570717"/>
                <a:gd name="connsiteX4783" fmla="*/ 2849544 w 26653740"/>
                <a:gd name="connsiteY4783" fmla="*/ 15822593 h 16570717"/>
                <a:gd name="connsiteX4784" fmla="*/ 2825720 w 26653740"/>
                <a:gd name="connsiteY4784" fmla="*/ 15832125 h 16570717"/>
                <a:gd name="connsiteX4785" fmla="*/ 2806660 w 26653740"/>
                <a:gd name="connsiteY4785" fmla="*/ 15827357 h 16570717"/>
                <a:gd name="connsiteX4786" fmla="*/ 2792364 w 26653740"/>
                <a:gd name="connsiteY4786" fmla="*/ 15822593 h 16570717"/>
                <a:gd name="connsiteX4787" fmla="*/ 2778068 w 26653740"/>
                <a:gd name="connsiteY4787" fmla="*/ 15813065 h 16570717"/>
                <a:gd name="connsiteX4788" fmla="*/ 2768540 w 26653740"/>
                <a:gd name="connsiteY4788" fmla="*/ 15803533 h 16570717"/>
                <a:gd name="connsiteX4789" fmla="*/ 2759008 w 26653740"/>
                <a:gd name="connsiteY4789" fmla="*/ 15774941 h 16570717"/>
                <a:gd name="connsiteX4790" fmla="*/ 2749480 w 26653740"/>
                <a:gd name="connsiteY4790" fmla="*/ 15760645 h 16570717"/>
                <a:gd name="connsiteX4791" fmla="*/ 2706592 w 26653740"/>
                <a:gd name="connsiteY4791" fmla="*/ 15741585 h 16570717"/>
                <a:gd name="connsiteX4792" fmla="*/ 2658940 w 26653740"/>
                <a:gd name="connsiteY4792" fmla="*/ 15727293 h 16570717"/>
                <a:gd name="connsiteX4793" fmla="*/ 2658940 w 26653740"/>
                <a:gd name="connsiteY4793" fmla="*/ 15722525 h 16570717"/>
                <a:gd name="connsiteX4794" fmla="*/ 2654176 w 26653740"/>
                <a:gd name="connsiteY4794" fmla="*/ 15712997 h 16570717"/>
                <a:gd name="connsiteX4795" fmla="*/ 2697060 w 26653740"/>
                <a:gd name="connsiteY4795" fmla="*/ 15698701 h 16570717"/>
                <a:gd name="connsiteX4796" fmla="*/ 2706592 w 26653740"/>
                <a:gd name="connsiteY4796" fmla="*/ 15689169 h 16570717"/>
                <a:gd name="connsiteX4797" fmla="*/ 2687532 w 26653740"/>
                <a:gd name="connsiteY4797" fmla="*/ 15679641 h 16570717"/>
                <a:gd name="connsiteX4798" fmla="*/ 2678000 w 26653740"/>
                <a:gd name="connsiteY4798" fmla="*/ 15679641 h 16570717"/>
                <a:gd name="connsiteX4799" fmla="*/ 2673236 w 26653740"/>
                <a:gd name="connsiteY4799" fmla="*/ 15674873 h 16570717"/>
                <a:gd name="connsiteX4800" fmla="*/ 2682768 w 26653740"/>
                <a:gd name="connsiteY4800" fmla="*/ 15665345 h 16570717"/>
                <a:gd name="connsiteX4801" fmla="*/ 2692296 w 26653740"/>
                <a:gd name="connsiteY4801" fmla="*/ 15660581 h 16570717"/>
                <a:gd name="connsiteX4802" fmla="*/ 2711356 w 26653740"/>
                <a:gd name="connsiteY4802" fmla="*/ 15670109 h 16570717"/>
                <a:gd name="connsiteX4803" fmla="*/ 2730416 w 26653740"/>
                <a:gd name="connsiteY4803" fmla="*/ 15689169 h 16570717"/>
                <a:gd name="connsiteX4804" fmla="*/ 2749480 w 26653740"/>
                <a:gd name="connsiteY4804" fmla="*/ 15693937 h 16570717"/>
                <a:gd name="connsiteX4805" fmla="*/ 2759008 w 26653740"/>
                <a:gd name="connsiteY4805" fmla="*/ 15689169 h 16570717"/>
                <a:gd name="connsiteX4806" fmla="*/ 2816192 w 26653740"/>
                <a:gd name="connsiteY4806" fmla="*/ 15670109 h 16570717"/>
                <a:gd name="connsiteX4807" fmla="*/ 2820956 w 26653740"/>
                <a:gd name="connsiteY4807" fmla="*/ 15660581 h 16570717"/>
                <a:gd name="connsiteX4808" fmla="*/ 2820956 w 26653740"/>
                <a:gd name="connsiteY4808" fmla="*/ 15646285 h 16570717"/>
                <a:gd name="connsiteX4809" fmla="*/ 2816192 w 26653740"/>
                <a:gd name="connsiteY4809" fmla="*/ 15646285 h 16570717"/>
                <a:gd name="connsiteX4810" fmla="*/ 2811424 w 26653740"/>
                <a:gd name="connsiteY4810" fmla="*/ 15646285 h 16570717"/>
                <a:gd name="connsiteX4811" fmla="*/ 2811424 w 26653740"/>
                <a:gd name="connsiteY4811" fmla="*/ 15631989 h 16570717"/>
                <a:gd name="connsiteX4812" fmla="*/ 2820956 w 26653740"/>
                <a:gd name="connsiteY4812" fmla="*/ 15608161 h 16570717"/>
                <a:gd name="connsiteX4813" fmla="*/ 2844780 w 26653740"/>
                <a:gd name="connsiteY4813" fmla="*/ 15579573 h 16570717"/>
                <a:gd name="connsiteX4814" fmla="*/ 2859076 w 26653740"/>
                <a:gd name="connsiteY4814" fmla="*/ 15531921 h 16570717"/>
                <a:gd name="connsiteX4815" fmla="*/ 2873372 w 26653740"/>
                <a:gd name="connsiteY4815" fmla="*/ 15522389 h 16570717"/>
                <a:gd name="connsiteX4816" fmla="*/ 2882900 w 26653740"/>
                <a:gd name="connsiteY4816" fmla="*/ 15527157 h 16570717"/>
                <a:gd name="connsiteX4817" fmla="*/ 2882900 w 26653740"/>
                <a:gd name="connsiteY4817" fmla="*/ 15541453 h 16570717"/>
                <a:gd name="connsiteX4818" fmla="*/ 2882900 w 26653740"/>
                <a:gd name="connsiteY4818" fmla="*/ 15546217 h 16570717"/>
                <a:gd name="connsiteX4819" fmla="*/ 2892432 w 26653740"/>
                <a:gd name="connsiteY4819" fmla="*/ 15531921 h 16570717"/>
                <a:gd name="connsiteX4820" fmla="*/ 2901964 w 26653740"/>
                <a:gd name="connsiteY4820" fmla="*/ 15512861 h 16570717"/>
                <a:gd name="connsiteX4821" fmla="*/ 2921024 w 26653740"/>
                <a:gd name="connsiteY4821" fmla="*/ 15512861 h 16570717"/>
                <a:gd name="connsiteX4822" fmla="*/ 2935320 w 26653740"/>
                <a:gd name="connsiteY4822" fmla="*/ 15512861 h 16570717"/>
                <a:gd name="connsiteX4823" fmla="*/ 2949612 w 26653740"/>
                <a:gd name="connsiteY4823" fmla="*/ 15512861 h 16570717"/>
                <a:gd name="connsiteX4824" fmla="*/ 2921024 w 26653740"/>
                <a:gd name="connsiteY4824" fmla="*/ 15479505 h 16570717"/>
                <a:gd name="connsiteX4825" fmla="*/ 2882900 w 26653740"/>
                <a:gd name="connsiteY4825" fmla="*/ 15441385 h 16570717"/>
                <a:gd name="connsiteX4826" fmla="*/ 2868608 w 26653740"/>
                <a:gd name="connsiteY4826" fmla="*/ 15446149 h 16570717"/>
                <a:gd name="connsiteX4827" fmla="*/ 2859076 w 26653740"/>
                <a:gd name="connsiteY4827" fmla="*/ 15441385 h 16570717"/>
                <a:gd name="connsiteX4828" fmla="*/ 2840016 w 26653740"/>
                <a:gd name="connsiteY4828" fmla="*/ 15412793 h 16570717"/>
                <a:gd name="connsiteX4829" fmla="*/ 2835252 w 26653740"/>
                <a:gd name="connsiteY4829" fmla="*/ 15388969 h 16570717"/>
                <a:gd name="connsiteX4830" fmla="*/ 2849544 w 26653740"/>
                <a:gd name="connsiteY4830" fmla="*/ 15388969 h 16570717"/>
                <a:gd name="connsiteX4831" fmla="*/ 2868608 w 26653740"/>
                <a:gd name="connsiteY4831" fmla="*/ 15393733 h 16570717"/>
                <a:gd name="connsiteX4832" fmla="*/ 2897196 w 26653740"/>
                <a:gd name="connsiteY4832" fmla="*/ 15374673 h 16570717"/>
                <a:gd name="connsiteX4833" fmla="*/ 2906728 w 26653740"/>
                <a:gd name="connsiteY4833" fmla="*/ 15374673 h 16570717"/>
                <a:gd name="connsiteX4834" fmla="*/ 2925788 w 26653740"/>
                <a:gd name="connsiteY4834" fmla="*/ 15379437 h 16570717"/>
                <a:gd name="connsiteX4835" fmla="*/ 2949612 w 26653740"/>
                <a:gd name="connsiteY4835" fmla="*/ 15384201 h 16570717"/>
                <a:gd name="connsiteX4836" fmla="*/ 2949612 w 26653740"/>
                <a:gd name="connsiteY4836" fmla="*/ 15365141 h 16570717"/>
                <a:gd name="connsiteX4837" fmla="*/ 2940084 w 26653740"/>
                <a:gd name="connsiteY4837" fmla="*/ 15350845 h 16570717"/>
                <a:gd name="connsiteX4838" fmla="*/ 2968672 w 26653740"/>
                <a:gd name="connsiteY4838" fmla="*/ 15336549 h 16570717"/>
                <a:gd name="connsiteX4839" fmla="*/ 2997264 w 26653740"/>
                <a:gd name="connsiteY4839" fmla="*/ 15327021 h 16570717"/>
                <a:gd name="connsiteX4840" fmla="*/ 3049680 w 26653740"/>
                <a:gd name="connsiteY4840" fmla="*/ 15298429 h 16570717"/>
                <a:gd name="connsiteX4841" fmla="*/ 3068740 w 26653740"/>
                <a:gd name="connsiteY4841" fmla="*/ 15293665 h 16570717"/>
                <a:gd name="connsiteX4842" fmla="*/ 3073508 w 26653740"/>
                <a:gd name="connsiteY4842" fmla="*/ 15288901 h 16570717"/>
                <a:gd name="connsiteX4843" fmla="*/ 3073508 w 26653740"/>
                <a:gd name="connsiteY4843" fmla="*/ 15279369 h 16570717"/>
                <a:gd name="connsiteX4844" fmla="*/ 3063976 w 26653740"/>
                <a:gd name="connsiteY4844" fmla="*/ 15260309 h 16570717"/>
                <a:gd name="connsiteX4845" fmla="*/ 3059212 w 26653740"/>
                <a:gd name="connsiteY4845" fmla="*/ 15246013 h 16570717"/>
                <a:gd name="connsiteX4846" fmla="*/ 3030620 w 26653740"/>
                <a:gd name="connsiteY4846" fmla="*/ 15241249 h 16570717"/>
                <a:gd name="connsiteX4847" fmla="*/ 3016324 w 26653740"/>
                <a:gd name="connsiteY4847" fmla="*/ 15265073 h 16570717"/>
                <a:gd name="connsiteX4848" fmla="*/ 2978204 w 26653740"/>
                <a:gd name="connsiteY4848" fmla="*/ 15274605 h 16570717"/>
                <a:gd name="connsiteX4849" fmla="*/ 2959144 w 26653740"/>
                <a:gd name="connsiteY4849" fmla="*/ 15269837 h 16570717"/>
                <a:gd name="connsiteX4850" fmla="*/ 2973440 w 26653740"/>
                <a:gd name="connsiteY4850" fmla="*/ 15255545 h 16570717"/>
                <a:gd name="connsiteX4851" fmla="*/ 2987736 w 26653740"/>
                <a:gd name="connsiteY4851" fmla="*/ 15250777 h 16570717"/>
                <a:gd name="connsiteX4852" fmla="*/ 2992500 w 26653740"/>
                <a:gd name="connsiteY4852" fmla="*/ 15246013 h 16570717"/>
                <a:gd name="connsiteX4853" fmla="*/ 2963908 w 26653740"/>
                <a:gd name="connsiteY4853" fmla="*/ 15250777 h 16570717"/>
                <a:gd name="connsiteX4854" fmla="*/ 2944848 w 26653740"/>
                <a:gd name="connsiteY4854" fmla="*/ 15265073 h 16570717"/>
                <a:gd name="connsiteX4855" fmla="*/ 2906728 w 26653740"/>
                <a:gd name="connsiteY4855" fmla="*/ 15284133 h 16570717"/>
                <a:gd name="connsiteX4856" fmla="*/ 2901964 w 26653740"/>
                <a:gd name="connsiteY4856" fmla="*/ 15274605 h 16570717"/>
                <a:gd name="connsiteX4857" fmla="*/ 2901964 w 26653740"/>
                <a:gd name="connsiteY4857" fmla="*/ 15265073 h 16570717"/>
                <a:gd name="connsiteX4858" fmla="*/ 2906728 w 26653740"/>
                <a:gd name="connsiteY4858" fmla="*/ 15255545 h 16570717"/>
                <a:gd name="connsiteX4859" fmla="*/ 2911492 w 26653740"/>
                <a:gd name="connsiteY4859" fmla="*/ 15250777 h 16570717"/>
                <a:gd name="connsiteX4860" fmla="*/ 2916256 w 26653740"/>
                <a:gd name="connsiteY4860" fmla="*/ 15246013 h 16570717"/>
                <a:gd name="connsiteX4861" fmla="*/ 2916256 w 26653740"/>
                <a:gd name="connsiteY4861" fmla="*/ 15241249 h 16570717"/>
                <a:gd name="connsiteX4862" fmla="*/ 2906728 w 26653740"/>
                <a:gd name="connsiteY4862" fmla="*/ 15241249 h 16570717"/>
                <a:gd name="connsiteX4863" fmla="*/ 2901964 w 26653740"/>
                <a:gd name="connsiteY4863" fmla="*/ 15236481 h 16570717"/>
                <a:gd name="connsiteX4864" fmla="*/ 2901964 w 26653740"/>
                <a:gd name="connsiteY4864" fmla="*/ 15231717 h 16570717"/>
                <a:gd name="connsiteX4865" fmla="*/ 2906728 w 26653740"/>
                <a:gd name="connsiteY4865" fmla="*/ 15226953 h 16570717"/>
                <a:gd name="connsiteX4866" fmla="*/ 2911492 w 26653740"/>
                <a:gd name="connsiteY4866" fmla="*/ 15222189 h 16570717"/>
                <a:gd name="connsiteX4867" fmla="*/ 2911492 w 26653740"/>
                <a:gd name="connsiteY4867" fmla="*/ 15212657 h 16570717"/>
                <a:gd name="connsiteX4868" fmla="*/ 2911492 w 26653740"/>
                <a:gd name="connsiteY4868" fmla="*/ 15193597 h 16570717"/>
                <a:gd name="connsiteX4869" fmla="*/ 2916256 w 26653740"/>
                <a:gd name="connsiteY4869" fmla="*/ 15179301 h 16570717"/>
                <a:gd name="connsiteX4870" fmla="*/ 2930552 w 26653740"/>
                <a:gd name="connsiteY4870" fmla="*/ 15165005 h 16570717"/>
                <a:gd name="connsiteX4871" fmla="*/ 2949612 w 26653740"/>
                <a:gd name="connsiteY4871" fmla="*/ 15160241 h 16570717"/>
                <a:gd name="connsiteX4872" fmla="*/ 2973440 w 26653740"/>
                <a:gd name="connsiteY4872" fmla="*/ 15150709 h 16570717"/>
                <a:gd name="connsiteX4873" fmla="*/ 2982968 w 26653740"/>
                <a:gd name="connsiteY4873" fmla="*/ 15141181 h 16570717"/>
                <a:gd name="connsiteX4874" fmla="*/ 3002028 w 26653740"/>
                <a:gd name="connsiteY4874" fmla="*/ 15112589 h 16570717"/>
                <a:gd name="connsiteX4875" fmla="*/ 3011560 w 26653740"/>
                <a:gd name="connsiteY4875" fmla="*/ 15107825 h 16570717"/>
                <a:gd name="connsiteX4876" fmla="*/ 3035384 w 26653740"/>
                <a:gd name="connsiteY4876" fmla="*/ 15107825 h 16570717"/>
                <a:gd name="connsiteX4877" fmla="*/ 3054448 w 26653740"/>
                <a:gd name="connsiteY4877" fmla="*/ 15112589 h 16570717"/>
                <a:gd name="connsiteX4878" fmla="*/ 3087804 w 26653740"/>
                <a:gd name="connsiteY4878" fmla="*/ 15112589 h 16570717"/>
                <a:gd name="connsiteX4879" fmla="*/ 3130688 w 26653740"/>
                <a:gd name="connsiteY4879" fmla="*/ 15112589 h 16570717"/>
                <a:gd name="connsiteX4880" fmla="*/ 3140220 w 26653740"/>
                <a:gd name="connsiteY4880" fmla="*/ 15112589 h 16570717"/>
                <a:gd name="connsiteX4881" fmla="*/ 3149748 w 26653740"/>
                <a:gd name="connsiteY4881" fmla="*/ 15103061 h 16570717"/>
                <a:gd name="connsiteX4882" fmla="*/ 3149748 w 26653740"/>
                <a:gd name="connsiteY4882" fmla="*/ 15083997 h 16570717"/>
                <a:gd name="connsiteX4883" fmla="*/ 3154512 w 26653740"/>
                <a:gd name="connsiteY4883" fmla="*/ 15064937 h 16570717"/>
                <a:gd name="connsiteX4884" fmla="*/ 3164044 w 26653740"/>
                <a:gd name="connsiteY4884" fmla="*/ 15036349 h 16570717"/>
                <a:gd name="connsiteX4885" fmla="*/ 3178340 w 26653740"/>
                <a:gd name="connsiteY4885" fmla="*/ 15017289 h 16570717"/>
                <a:gd name="connsiteX4886" fmla="*/ 3178340 w 26653740"/>
                <a:gd name="connsiteY4886" fmla="*/ 15012521 h 16570717"/>
                <a:gd name="connsiteX4887" fmla="*/ 3173576 w 26653740"/>
                <a:gd name="connsiteY4887" fmla="*/ 15007757 h 16570717"/>
                <a:gd name="connsiteX4888" fmla="*/ 3164044 w 26653740"/>
                <a:gd name="connsiteY4888" fmla="*/ 15007757 h 16570717"/>
                <a:gd name="connsiteX4889" fmla="*/ 3159280 w 26653740"/>
                <a:gd name="connsiteY4889" fmla="*/ 15002993 h 16570717"/>
                <a:gd name="connsiteX4890" fmla="*/ 3159280 w 26653740"/>
                <a:gd name="connsiteY4890" fmla="*/ 14998225 h 16570717"/>
                <a:gd name="connsiteX4891" fmla="*/ 3168808 w 26653740"/>
                <a:gd name="connsiteY4891" fmla="*/ 14988697 h 16570717"/>
                <a:gd name="connsiteX4892" fmla="*/ 3164044 w 26653740"/>
                <a:gd name="connsiteY4892" fmla="*/ 14979165 h 16570717"/>
                <a:gd name="connsiteX4893" fmla="*/ 3159280 w 26653740"/>
                <a:gd name="connsiteY4893" fmla="*/ 14960105 h 16570717"/>
                <a:gd name="connsiteX4894" fmla="*/ 3159280 w 26653740"/>
                <a:gd name="connsiteY4894" fmla="*/ 14945809 h 16570717"/>
                <a:gd name="connsiteX4895" fmla="*/ 3149748 w 26653740"/>
                <a:gd name="connsiteY4895" fmla="*/ 14941045 h 16570717"/>
                <a:gd name="connsiteX4896" fmla="*/ 3125924 w 26653740"/>
                <a:gd name="connsiteY4896" fmla="*/ 14936281 h 16570717"/>
                <a:gd name="connsiteX4897" fmla="*/ 3130688 w 26653740"/>
                <a:gd name="connsiteY4897" fmla="*/ 14917221 h 16570717"/>
                <a:gd name="connsiteX4898" fmla="*/ 3140220 w 26653740"/>
                <a:gd name="connsiteY4898" fmla="*/ 14902925 h 16570717"/>
                <a:gd name="connsiteX4899" fmla="*/ 3144984 w 26653740"/>
                <a:gd name="connsiteY4899" fmla="*/ 14888629 h 16570717"/>
                <a:gd name="connsiteX4900" fmla="*/ 3149748 w 26653740"/>
                <a:gd name="connsiteY4900" fmla="*/ 14883865 h 16570717"/>
                <a:gd name="connsiteX4901" fmla="*/ 3168808 w 26653740"/>
                <a:gd name="connsiteY4901" fmla="*/ 14888629 h 16570717"/>
                <a:gd name="connsiteX4902" fmla="*/ 3183104 w 26653740"/>
                <a:gd name="connsiteY4902" fmla="*/ 14883865 h 16570717"/>
                <a:gd name="connsiteX4903" fmla="*/ 3183104 w 26653740"/>
                <a:gd name="connsiteY4903" fmla="*/ 14874333 h 16570717"/>
                <a:gd name="connsiteX4904" fmla="*/ 3164044 w 26653740"/>
                <a:gd name="connsiteY4904" fmla="*/ 14869569 h 16570717"/>
                <a:gd name="connsiteX4905" fmla="*/ 3144984 w 26653740"/>
                <a:gd name="connsiteY4905" fmla="*/ 14860037 h 16570717"/>
                <a:gd name="connsiteX4906" fmla="*/ 3140220 w 26653740"/>
                <a:gd name="connsiteY4906" fmla="*/ 14850509 h 16570717"/>
                <a:gd name="connsiteX4907" fmla="*/ 3135452 w 26653740"/>
                <a:gd name="connsiteY4907" fmla="*/ 14836213 h 16570717"/>
                <a:gd name="connsiteX4908" fmla="*/ 3144984 w 26653740"/>
                <a:gd name="connsiteY4908" fmla="*/ 14831449 h 16570717"/>
                <a:gd name="connsiteX4909" fmla="*/ 3168808 w 26653740"/>
                <a:gd name="connsiteY4909" fmla="*/ 14821917 h 16570717"/>
                <a:gd name="connsiteX4910" fmla="*/ 3178340 w 26653740"/>
                <a:gd name="connsiteY4910" fmla="*/ 14807621 h 16570717"/>
                <a:gd name="connsiteX4911" fmla="*/ 3192636 w 26653740"/>
                <a:gd name="connsiteY4911" fmla="*/ 14793325 h 16570717"/>
                <a:gd name="connsiteX4912" fmla="*/ 3202164 w 26653740"/>
                <a:gd name="connsiteY4912" fmla="*/ 14779029 h 16570717"/>
                <a:gd name="connsiteX4913" fmla="*/ 3202164 w 26653740"/>
                <a:gd name="connsiteY4913" fmla="*/ 14764737 h 16570717"/>
                <a:gd name="connsiteX4914" fmla="*/ 3202164 w 26653740"/>
                <a:gd name="connsiteY4914" fmla="*/ 14750441 h 16570717"/>
                <a:gd name="connsiteX4915" fmla="*/ 3192636 w 26653740"/>
                <a:gd name="connsiteY4915" fmla="*/ 14736145 h 16570717"/>
                <a:gd name="connsiteX4916" fmla="*/ 3192636 w 26653740"/>
                <a:gd name="connsiteY4916" fmla="*/ 14721849 h 16570717"/>
                <a:gd name="connsiteX4917" fmla="*/ 3197400 w 26653740"/>
                <a:gd name="connsiteY4917" fmla="*/ 14707553 h 16570717"/>
                <a:gd name="connsiteX4918" fmla="*/ 3197400 w 26653740"/>
                <a:gd name="connsiteY4918" fmla="*/ 14702789 h 16570717"/>
                <a:gd name="connsiteX4919" fmla="*/ 3187868 w 26653740"/>
                <a:gd name="connsiteY4919" fmla="*/ 14698025 h 16570717"/>
                <a:gd name="connsiteX4920" fmla="*/ 3178340 w 26653740"/>
                <a:gd name="connsiteY4920" fmla="*/ 14698025 h 16570717"/>
                <a:gd name="connsiteX4921" fmla="*/ 3164044 w 26653740"/>
                <a:gd name="connsiteY4921" fmla="*/ 14702789 h 16570717"/>
                <a:gd name="connsiteX4922" fmla="*/ 3149748 w 26653740"/>
                <a:gd name="connsiteY4922" fmla="*/ 14702789 h 16570717"/>
                <a:gd name="connsiteX4923" fmla="*/ 3125924 w 26653740"/>
                <a:gd name="connsiteY4923" fmla="*/ 14683729 h 16570717"/>
                <a:gd name="connsiteX4924" fmla="*/ 3102096 w 26653740"/>
                <a:gd name="connsiteY4924" fmla="*/ 14664669 h 16570717"/>
                <a:gd name="connsiteX4925" fmla="*/ 3083036 w 26653740"/>
                <a:gd name="connsiteY4925" fmla="*/ 14664669 h 16570717"/>
                <a:gd name="connsiteX4926" fmla="*/ 3073508 w 26653740"/>
                <a:gd name="connsiteY4926" fmla="*/ 14659901 h 16570717"/>
                <a:gd name="connsiteX4927" fmla="*/ 3063976 w 26653740"/>
                <a:gd name="connsiteY4927" fmla="*/ 14650373 h 16570717"/>
                <a:gd name="connsiteX4928" fmla="*/ 3059212 w 26653740"/>
                <a:gd name="connsiteY4928" fmla="*/ 14640841 h 16570717"/>
                <a:gd name="connsiteX4929" fmla="*/ 3054448 w 26653740"/>
                <a:gd name="connsiteY4929" fmla="*/ 14631313 h 16570717"/>
                <a:gd name="connsiteX4930" fmla="*/ 3044916 w 26653740"/>
                <a:gd name="connsiteY4930" fmla="*/ 14636077 h 16570717"/>
                <a:gd name="connsiteX4931" fmla="*/ 3030620 w 26653740"/>
                <a:gd name="connsiteY4931" fmla="*/ 14640841 h 16570717"/>
                <a:gd name="connsiteX4932" fmla="*/ 3016324 w 26653740"/>
                <a:gd name="connsiteY4932" fmla="*/ 14640841 h 16570717"/>
                <a:gd name="connsiteX4933" fmla="*/ 2992500 w 26653740"/>
                <a:gd name="connsiteY4933" fmla="*/ 14626545 h 16570717"/>
                <a:gd name="connsiteX4934" fmla="*/ 2973440 w 26653740"/>
                <a:gd name="connsiteY4934" fmla="*/ 14612253 h 16570717"/>
                <a:gd name="connsiteX4935" fmla="*/ 2959144 w 26653740"/>
                <a:gd name="connsiteY4935" fmla="*/ 14607485 h 16570717"/>
                <a:gd name="connsiteX4936" fmla="*/ 2940084 w 26653740"/>
                <a:gd name="connsiteY4936" fmla="*/ 14607485 h 16570717"/>
                <a:gd name="connsiteX4937" fmla="*/ 2911492 w 26653740"/>
                <a:gd name="connsiteY4937" fmla="*/ 14588425 h 16570717"/>
                <a:gd name="connsiteX4938" fmla="*/ 2901964 w 26653740"/>
                <a:gd name="connsiteY4938" fmla="*/ 14588425 h 16570717"/>
                <a:gd name="connsiteX4939" fmla="*/ 2897196 w 26653740"/>
                <a:gd name="connsiteY4939" fmla="*/ 14593189 h 16570717"/>
                <a:gd name="connsiteX4940" fmla="*/ 2897196 w 26653740"/>
                <a:gd name="connsiteY4940" fmla="*/ 14607485 h 16570717"/>
                <a:gd name="connsiteX4941" fmla="*/ 2897196 w 26653740"/>
                <a:gd name="connsiteY4941" fmla="*/ 14612253 h 16570717"/>
                <a:gd name="connsiteX4942" fmla="*/ 2887668 w 26653740"/>
                <a:gd name="connsiteY4942" fmla="*/ 14617017 h 16570717"/>
                <a:gd name="connsiteX4943" fmla="*/ 2878136 w 26653740"/>
                <a:gd name="connsiteY4943" fmla="*/ 14617017 h 16570717"/>
                <a:gd name="connsiteX4944" fmla="*/ 2863840 w 26653740"/>
                <a:gd name="connsiteY4944" fmla="*/ 14607485 h 16570717"/>
                <a:gd name="connsiteX4945" fmla="*/ 2825720 w 26653740"/>
                <a:gd name="connsiteY4945" fmla="*/ 14574129 h 16570717"/>
                <a:gd name="connsiteX4946" fmla="*/ 2811424 w 26653740"/>
                <a:gd name="connsiteY4946" fmla="*/ 14545541 h 16570717"/>
                <a:gd name="connsiteX4947" fmla="*/ 2806660 w 26653740"/>
                <a:gd name="connsiteY4947" fmla="*/ 14526481 h 16570717"/>
                <a:gd name="connsiteX4948" fmla="*/ 2792364 w 26653740"/>
                <a:gd name="connsiteY4948" fmla="*/ 14516949 h 16570717"/>
                <a:gd name="connsiteX4949" fmla="*/ 2782832 w 26653740"/>
                <a:gd name="connsiteY4949" fmla="*/ 14497889 h 16570717"/>
                <a:gd name="connsiteX4950" fmla="*/ 2768540 w 26653740"/>
                <a:gd name="connsiteY4950" fmla="*/ 14497889 h 16570717"/>
                <a:gd name="connsiteX4951" fmla="*/ 2754244 w 26653740"/>
                <a:gd name="connsiteY4951" fmla="*/ 14502653 h 16570717"/>
                <a:gd name="connsiteX4952" fmla="*/ 2739948 w 26653740"/>
                <a:gd name="connsiteY4952" fmla="*/ 14512185 h 16570717"/>
                <a:gd name="connsiteX4953" fmla="*/ 2735184 w 26653740"/>
                <a:gd name="connsiteY4953" fmla="*/ 14512185 h 16570717"/>
                <a:gd name="connsiteX4954" fmla="*/ 2711356 w 26653740"/>
                <a:gd name="connsiteY4954" fmla="*/ 14516949 h 16570717"/>
                <a:gd name="connsiteX4955" fmla="*/ 2678000 w 26653740"/>
                <a:gd name="connsiteY4955" fmla="*/ 14526481 h 16570717"/>
                <a:gd name="connsiteX4956" fmla="*/ 2668472 w 26653740"/>
                <a:gd name="connsiteY4956" fmla="*/ 14540773 h 16570717"/>
                <a:gd name="connsiteX4957" fmla="*/ 2654176 w 26653740"/>
                <a:gd name="connsiteY4957" fmla="*/ 14545541 h 16570717"/>
                <a:gd name="connsiteX4958" fmla="*/ 2644644 w 26653740"/>
                <a:gd name="connsiteY4958" fmla="*/ 14540773 h 16570717"/>
                <a:gd name="connsiteX4959" fmla="*/ 2635116 w 26653740"/>
                <a:gd name="connsiteY4959" fmla="*/ 14531245 h 16570717"/>
                <a:gd name="connsiteX4960" fmla="*/ 2616056 w 26653740"/>
                <a:gd name="connsiteY4960" fmla="*/ 14526481 h 16570717"/>
                <a:gd name="connsiteX4961" fmla="*/ 2606524 w 26653740"/>
                <a:gd name="connsiteY4961" fmla="*/ 14531245 h 16570717"/>
                <a:gd name="connsiteX4962" fmla="*/ 2596996 w 26653740"/>
                <a:gd name="connsiteY4962" fmla="*/ 14521713 h 16570717"/>
                <a:gd name="connsiteX4963" fmla="*/ 2587464 w 26653740"/>
                <a:gd name="connsiteY4963" fmla="*/ 14507417 h 16570717"/>
                <a:gd name="connsiteX4964" fmla="*/ 2577932 w 26653740"/>
                <a:gd name="connsiteY4964" fmla="*/ 14497889 h 16570717"/>
                <a:gd name="connsiteX4965" fmla="*/ 2558872 w 26653740"/>
                <a:gd name="connsiteY4965" fmla="*/ 14497889 h 16570717"/>
                <a:gd name="connsiteX4966" fmla="*/ 2544576 w 26653740"/>
                <a:gd name="connsiteY4966" fmla="*/ 14493125 h 16570717"/>
                <a:gd name="connsiteX4967" fmla="*/ 2525516 w 26653740"/>
                <a:gd name="connsiteY4967" fmla="*/ 14497889 h 16570717"/>
                <a:gd name="connsiteX4968" fmla="*/ 2506456 w 26653740"/>
                <a:gd name="connsiteY4968" fmla="*/ 14512185 h 16570717"/>
                <a:gd name="connsiteX4969" fmla="*/ 2496928 w 26653740"/>
                <a:gd name="connsiteY4969" fmla="*/ 14507417 h 16570717"/>
                <a:gd name="connsiteX4970" fmla="*/ 2487396 w 26653740"/>
                <a:gd name="connsiteY4970" fmla="*/ 14493125 h 16570717"/>
                <a:gd name="connsiteX4971" fmla="*/ 2477864 w 26653740"/>
                <a:gd name="connsiteY4971" fmla="*/ 14483593 h 16570717"/>
                <a:gd name="connsiteX4972" fmla="*/ 2468336 w 26653740"/>
                <a:gd name="connsiteY4972" fmla="*/ 14469297 h 16570717"/>
                <a:gd name="connsiteX4973" fmla="*/ 2463572 w 26653740"/>
                <a:gd name="connsiteY4973" fmla="*/ 14450237 h 16570717"/>
                <a:gd name="connsiteX4974" fmla="*/ 2468336 w 26653740"/>
                <a:gd name="connsiteY4974" fmla="*/ 14440705 h 16570717"/>
                <a:gd name="connsiteX4975" fmla="*/ 2473100 w 26653740"/>
                <a:gd name="connsiteY4975" fmla="*/ 14431177 h 16570717"/>
                <a:gd name="connsiteX4976" fmla="*/ 2473100 w 26653740"/>
                <a:gd name="connsiteY4976" fmla="*/ 14421645 h 16570717"/>
                <a:gd name="connsiteX4977" fmla="*/ 2468336 w 26653740"/>
                <a:gd name="connsiteY4977" fmla="*/ 14412117 h 16570717"/>
                <a:gd name="connsiteX4978" fmla="*/ 2463572 w 26653740"/>
                <a:gd name="connsiteY4978" fmla="*/ 14402585 h 16570717"/>
                <a:gd name="connsiteX4979" fmla="*/ 2458804 w 26653740"/>
                <a:gd name="connsiteY4979" fmla="*/ 14378761 h 16570717"/>
                <a:gd name="connsiteX4980" fmla="*/ 2454040 w 26653740"/>
                <a:gd name="connsiteY4980" fmla="*/ 14364465 h 16570717"/>
                <a:gd name="connsiteX4981" fmla="*/ 2449276 w 26653740"/>
                <a:gd name="connsiteY4981" fmla="*/ 14354933 h 16570717"/>
                <a:gd name="connsiteX4982" fmla="*/ 2454040 w 26653740"/>
                <a:gd name="connsiteY4982" fmla="*/ 14350169 h 16570717"/>
                <a:gd name="connsiteX4983" fmla="*/ 2454040 w 26653740"/>
                <a:gd name="connsiteY4983" fmla="*/ 14340641 h 16570717"/>
                <a:gd name="connsiteX4984" fmla="*/ 2444512 w 26653740"/>
                <a:gd name="connsiteY4984" fmla="*/ 14340641 h 16570717"/>
                <a:gd name="connsiteX4985" fmla="*/ 2434980 w 26653740"/>
                <a:gd name="connsiteY4985" fmla="*/ 14340641 h 16570717"/>
                <a:gd name="connsiteX4986" fmla="*/ 2430216 w 26653740"/>
                <a:gd name="connsiteY4986" fmla="*/ 14335873 h 16570717"/>
                <a:gd name="connsiteX4987" fmla="*/ 2420684 w 26653740"/>
                <a:gd name="connsiteY4987" fmla="*/ 14321577 h 16570717"/>
                <a:gd name="connsiteX4988" fmla="*/ 2415920 w 26653740"/>
                <a:gd name="connsiteY4988" fmla="*/ 14307285 h 16570717"/>
                <a:gd name="connsiteX4989" fmla="*/ 2411156 w 26653740"/>
                <a:gd name="connsiteY4989" fmla="*/ 14302517 h 16570717"/>
                <a:gd name="connsiteX4990" fmla="*/ 2401624 w 26653740"/>
                <a:gd name="connsiteY4990" fmla="*/ 14302517 h 16570717"/>
                <a:gd name="connsiteX4991" fmla="*/ 2382564 w 26653740"/>
                <a:gd name="connsiteY4991" fmla="*/ 14307285 h 16570717"/>
                <a:gd name="connsiteX4992" fmla="*/ 2368268 w 26653740"/>
                <a:gd name="connsiteY4992" fmla="*/ 14312049 h 16570717"/>
                <a:gd name="connsiteX4993" fmla="*/ 2358736 w 26653740"/>
                <a:gd name="connsiteY4993" fmla="*/ 14312049 h 16570717"/>
                <a:gd name="connsiteX4994" fmla="*/ 2344444 w 26653740"/>
                <a:gd name="connsiteY4994" fmla="*/ 14302517 h 16570717"/>
                <a:gd name="connsiteX4995" fmla="*/ 2325380 w 26653740"/>
                <a:gd name="connsiteY4995" fmla="*/ 14292989 h 16570717"/>
                <a:gd name="connsiteX4996" fmla="*/ 2282496 w 26653740"/>
                <a:gd name="connsiteY4996" fmla="*/ 14292989 h 16570717"/>
                <a:gd name="connsiteX4997" fmla="*/ 2282496 w 26653740"/>
                <a:gd name="connsiteY4997" fmla="*/ 14288221 h 16570717"/>
                <a:gd name="connsiteX4998" fmla="*/ 2282496 w 26653740"/>
                <a:gd name="connsiteY4998" fmla="*/ 14283457 h 16570717"/>
                <a:gd name="connsiteX4999" fmla="*/ 2292024 w 26653740"/>
                <a:gd name="connsiteY4999" fmla="*/ 14273929 h 16570717"/>
                <a:gd name="connsiteX5000" fmla="*/ 2292024 w 26653740"/>
                <a:gd name="connsiteY5000" fmla="*/ 14269161 h 16570717"/>
                <a:gd name="connsiteX5001" fmla="*/ 2282496 w 26653740"/>
                <a:gd name="connsiteY5001" fmla="*/ 14264397 h 16570717"/>
                <a:gd name="connsiteX5002" fmla="*/ 2277732 w 26653740"/>
                <a:gd name="connsiteY5002" fmla="*/ 14250101 h 16570717"/>
                <a:gd name="connsiteX5003" fmla="*/ 2277732 w 26653740"/>
                <a:gd name="connsiteY5003" fmla="*/ 14231041 h 16570717"/>
                <a:gd name="connsiteX5004" fmla="*/ 2277732 w 26653740"/>
                <a:gd name="connsiteY5004" fmla="*/ 14216745 h 16570717"/>
                <a:gd name="connsiteX5005" fmla="*/ 2268200 w 26653740"/>
                <a:gd name="connsiteY5005" fmla="*/ 14202449 h 16570717"/>
                <a:gd name="connsiteX5006" fmla="*/ 2263436 w 26653740"/>
                <a:gd name="connsiteY5006" fmla="*/ 14192921 h 16570717"/>
                <a:gd name="connsiteX5007" fmla="*/ 2263436 w 26653740"/>
                <a:gd name="connsiteY5007" fmla="*/ 14183389 h 16570717"/>
                <a:gd name="connsiteX5008" fmla="*/ 2282496 w 26653740"/>
                <a:gd name="connsiteY5008" fmla="*/ 14178625 h 16570717"/>
                <a:gd name="connsiteX5009" fmla="*/ 2306320 w 26653740"/>
                <a:gd name="connsiteY5009" fmla="*/ 14173861 h 16570717"/>
                <a:gd name="connsiteX5010" fmla="*/ 2311088 w 26653740"/>
                <a:gd name="connsiteY5010" fmla="*/ 14169093 h 16570717"/>
                <a:gd name="connsiteX5011" fmla="*/ 2311088 w 26653740"/>
                <a:gd name="connsiteY5011" fmla="*/ 14159565 h 16570717"/>
                <a:gd name="connsiteX5012" fmla="*/ 2263436 w 26653740"/>
                <a:gd name="connsiteY5012" fmla="*/ 14107149 h 16570717"/>
                <a:gd name="connsiteX5013" fmla="*/ 2249140 w 26653740"/>
                <a:gd name="connsiteY5013" fmla="*/ 14064261 h 16570717"/>
                <a:gd name="connsiteX5014" fmla="*/ 2234844 w 26653740"/>
                <a:gd name="connsiteY5014" fmla="*/ 14040437 h 16570717"/>
                <a:gd name="connsiteX5015" fmla="*/ 2220548 w 26653740"/>
                <a:gd name="connsiteY5015" fmla="*/ 14021377 h 16570717"/>
                <a:gd name="connsiteX5016" fmla="*/ 2206252 w 26653740"/>
                <a:gd name="connsiteY5016" fmla="*/ 14011845 h 16570717"/>
                <a:gd name="connsiteX5017" fmla="*/ 2187192 w 26653740"/>
                <a:gd name="connsiteY5017" fmla="*/ 14016609 h 16570717"/>
                <a:gd name="connsiteX5018" fmla="*/ 2163368 w 26653740"/>
                <a:gd name="connsiteY5018" fmla="*/ 14016609 h 16570717"/>
                <a:gd name="connsiteX5019" fmla="*/ 2134776 w 26653740"/>
                <a:gd name="connsiteY5019" fmla="*/ 14011845 h 16570717"/>
                <a:gd name="connsiteX5020" fmla="*/ 2115716 w 26653740"/>
                <a:gd name="connsiteY5020" fmla="*/ 14016609 h 16570717"/>
                <a:gd name="connsiteX5021" fmla="*/ 2072832 w 26653740"/>
                <a:gd name="connsiteY5021" fmla="*/ 14035669 h 16570717"/>
                <a:gd name="connsiteX5022" fmla="*/ 2058536 w 26653740"/>
                <a:gd name="connsiteY5022" fmla="*/ 14035669 h 16570717"/>
                <a:gd name="connsiteX5023" fmla="*/ 2034708 w 26653740"/>
                <a:gd name="connsiteY5023" fmla="*/ 14030905 h 16570717"/>
                <a:gd name="connsiteX5024" fmla="*/ 2015648 w 26653740"/>
                <a:gd name="connsiteY5024" fmla="*/ 14021377 h 16570717"/>
                <a:gd name="connsiteX5025" fmla="*/ 2001352 w 26653740"/>
                <a:gd name="connsiteY5025" fmla="*/ 14026141 h 16570717"/>
                <a:gd name="connsiteX5026" fmla="*/ 1996588 w 26653740"/>
                <a:gd name="connsiteY5026" fmla="*/ 14026141 h 16570717"/>
                <a:gd name="connsiteX5027" fmla="*/ 1991824 w 26653740"/>
                <a:gd name="connsiteY5027" fmla="*/ 14030905 h 16570717"/>
                <a:gd name="connsiteX5028" fmla="*/ 1977528 w 26653740"/>
                <a:gd name="connsiteY5028" fmla="*/ 14073793 h 16570717"/>
                <a:gd name="connsiteX5029" fmla="*/ 1967996 w 26653740"/>
                <a:gd name="connsiteY5029" fmla="*/ 14083321 h 16570717"/>
                <a:gd name="connsiteX5030" fmla="*/ 1953700 w 26653740"/>
                <a:gd name="connsiteY5030" fmla="*/ 14088089 h 16570717"/>
                <a:gd name="connsiteX5031" fmla="*/ 1939408 w 26653740"/>
                <a:gd name="connsiteY5031" fmla="*/ 14088089 h 16570717"/>
                <a:gd name="connsiteX5032" fmla="*/ 1929876 w 26653740"/>
                <a:gd name="connsiteY5032" fmla="*/ 14088089 h 16570717"/>
                <a:gd name="connsiteX5033" fmla="*/ 1915580 w 26653740"/>
                <a:gd name="connsiteY5033" fmla="*/ 14083321 h 16570717"/>
                <a:gd name="connsiteX5034" fmla="*/ 1901284 w 26653740"/>
                <a:gd name="connsiteY5034" fmla="*/ 14078557 h 16570717"/>
                <a:gd name="connsiteX5035" fmla="*/ 1896520 w 26653740"/>
                <a:gd name="connsiteY5035" fmla="*/ 14078557 h 16570717"/>
                <a:gd name="connsiteX5036" fmla="*/ 1896520 w 26653740"/>
                <a:gd name="connsiteY5036" fmla="*/ 14069025 h 16570717"/>
                <a:gd name="connsiteX5037" fmla="*/ 1886992 w 26653740"/>
                <a:gd name="connsiteY5037" fmla="*/ 14045201 h 16570717"/>
                <a:gd name="connsiteX5038" fmla="*/ 1882224 w 26653740"/>
                <a:gd name="connsiteY5038" fmla="*/ 14035669 h 16570717"/>
                <a:gd name="connsiteX5039" fmla="*/ 1872696 w 26653740"/>
                <a:gd name="connsiteY5039" fmla="*/ 14030905 h 16570717"/>
                <a:gd name="connsiteX5040" fmla="*/ 1867928 w 26653740"/>
                <a:gd name="connsiteY5040" fmla="*/ 14021377 h 16570717"/>
                <a:gd name="connsiteX5041" fmla="*/ 1867928 w 26653740"/>
                <a:gd name="connsiteY5041" fmla="*/ 13992785 h 16570717"/>
                <a:gd name="connsiteX5042" fmla="*/ 1867928 w 26653740"/>
                <a:gd name="connsiteY5042" fmla="*/ 13964193 h 16570717"/>
                <a:gd name="connsiteX5043" fmla="*/ 1872696 w 26653740"/>
                <a:gd name="connsiteY5043" fmla="*/ 13964193 h 16570717"/>
                <a:gd name="connsiteX5044" fmla="*/ 1858400 w 26653740"/>
                <a:gd name="connsiteY5044" fmla="*/ 13940369 h 16570717"/>
                <a:gd name="connsiteX5045" fmla="*/ 1858400 w 26653740"/>
                <a:gd name="connsiteY5045" fmla="*/ 13921309 h 16570717"/>
                <a:gd name="connsiteX5046" fmla="*/ 1867928 w 26653740"/>
                <a:gd name="connsiteY5046" fmla="*/ 13916541 h 16570717"/>
                <a:gd name="connsiteX5047" fmla="*/ 1867928 w 26653740"/>
                <a:gd name="connsiteY5047" fmla="*/ 13907013 h 16570717"/>
                <a:gd name="connsiteX5048" fmla="*/ 1863164 w 26653740"/>
                <a:gd name="connsiteY5048" fmla="*/ 13897481 h 16570717"/>
                <a:gd name="connsiteX5049" fmla="*/ 1848870 w 26653740"/>
                <a:gd name="connsiteY5049" fmla="*/ 13883185 h 16570717"/>
                <a:gd name="connsiteX5050" fmla="*/ 1834574 w 26653740"/>
                <a:gd name="connsiteY5050" fmla="*/ 13864125 h 16570717"/>
                <a:gd name="connsiteX5051" fmla="*/ 1825044 w 26653740"/>
                <a:gd name="connsiteY5051" fmla="*/ 13849829 h 16570717"/>
                <a:gd name="connsiteX5052" fmla="*/ 1820278 w 26653740"/>
                <a:gd name="connsiteY5052" fmla="*/ 13840301 h 16570717"/>
                <a:gd name="connsiteX5053" fmla="*/ 1825044 w 26653740"/>
                <a:gd name="connsiteY5053" fmla="*/ 13830769 h 16570717"/>
                <a:gd name="connsiteX5054" fmla="*/ 1834574 w 26653740"/>
                <a:gd name="connsiteY5054" fmla="*/ 13811709 h 16570717"/>
                <a:gd name="connsiteX5055" fmla="*/ 1839338 w 26653740"/>
                <a:gd name="connsiteY5055" fmla="*/ 13797413 h 16570717"/>
                <a:gd name="connsiteX5056" fmla="*/ 1844104 w 26653740"/>
                <a:gd name="connsiteY5056" fmla="*/ 13792649 h 16570717"/>
                <a:gd name="connsiteX5057" fmla="*/ 1867928 w 26653740"/>
                <a:gd name="connsiteY5057" fmla="*/ 13792649 h 16570717"/>
                <a:gd name="connsiteX5058" fmla="*/ 1882224 w 26653740"/>
                <a:gd name="connsiteY5058" fmla="*/ 13792649 h 16570717"/>
                <a:gd name="connsiteX5059" fmla="*/ 1896520 w 26653740"/>
                <a:gd name="connsiteY5059" fmla="*/ 13797413 h 16570717"/>
                <a:gd name="connsiteX5060" fmla="*/ 1901284 w 26653740"/>
                <a:gd name="connsiteY5060" fmla="*/ 13806945 h 16570717"/>
                <a:gd name="connsiteX5061" fmla="*/ 1910816 w 26653740"/>
                <a:gd name="connsiteY5061" fmla="*/ 13816477 h 16570717"/>
                <a:gd name="connsiteX5062" fmla="*/ 1944172 w 26653740"/>
                <a:gd name="connsiteY5062" fmla="*/ 13821241 h 16570717"/>
                <a:gd name="connsiteX5063" fmla="*/ 1958468 w 26653740"/>
                <a:gd name="connsiteY5063" fmla="*/ 13821241 h 16570717"/>
                <a:gd name="connsiteX5064" fmla="*/ 1972764 w 26653740"/>
                <a:gd name="connsiteY5064" fmla="*/ 13811709 h 16570717"/>
                <a:gd name="connsiteX5065" fmla="*/ 2001352 w 26653740"/>
                <a:gd name="connsiteY5065" fmla="*/ 13792649 h 16570717"/>
                <a:gd name="connsiteX5066" fmla="*/ 2006120 w 26653740"/>
                <a:gd name="connsiteY5066" fmla="*/ 13773589 h 16570717"/>
                <a:gd name="connsiteX5067" fmla="*/ 2025180 w 26653740"/>
                <a:gd name="connsiteY5067" fmla="*/ 13764057 h 16570717"/>
                <a:gd name="connsiteX5068" fmla="*/ 2034708 w 26653740"/>
                <a:gd name="connsiteY5068" fmla="*/ 13759293 h 16570717"/>
                <a:gd name="connsiteX5069" fmla="*/ 2044240 w 26653740"/>
                <a:gd name="connsiteY5069" fmla="*/ 13759293 h 16570717"/>
                <a:gd name="connsiteX5070" fmla="*/ 2044240 w 26653740"/>
                <a:gd name="connsiteY5070" fmla="*/ 13749765 h 16570717"/>
                <a:gd name="connsiteX5071" fmla="*/ 2044240 w 26653740"/>
                <a:gd name="connsiteY5071" fmla="*/ 13735469 h 16570717"/>
                <a:gd name="connsiteX5072" fmla="*/ 2039476 w 26653740"/>
                <a:gd name="connsiteY5072" fmla="*/ 13730701 h 16570717"/>
                <a:gd name="connsiteX5073" fmla="*/ 2006120 w 26653740"/>
                <a:gd name="connsiteY5073" fmla="*/ 13702113 h 16570717"/>
                <a:gd name="connsiteX5074" fmla="*/ 2001352 w 26653740"/>
                <a:gd name="connsiteY5074" fmla="*/ 13692581 h 16570717"/>
                <a:gd name="connsiteX5075" fmla="*/ 2001352 w 26653740"/>
                <a:gd name="connsiteY5075" fmla="*/ 13683053 h 16570717"/>
                <a:gd name="connsiteX5076" fmla="*/ 2006120 w 26653740"/>
                <a:gd name="connsiteY5076" fmla="*/ 13673521 h 16570717"/>
                <a:gd name="connsiteX5077" fmla="*/ 2006120 w 26653740"/>
                <a:gd name="connsiteY5077" fmla="*/ 13663993 h 16570717"/>
                <a:gd name="connsiteX5078" fmla="*/ 1967996 w 26653740"/>
                <a:gd name="connsiteY5078" fmla="*/ 13640165 h 16570717"/>
                <a:gd name="connsiteX5079" fmla="*/ 1934640 w 26653740"/>
                <a:gd name="connsiteY5079" fmla="*/ 13635401 h 16570717"/>
                <a:gd name="connsiteX5080" fmla="*/ 1906052 w 26653740"/>
                <a:gd name="connsiteY5080" fmla="*/ 13640165 h 16570717"/>
                <a:gd name="connsiteX5081" fmla="*/ 1896520 w 26653740"/>
                <a:gd name="connsiteY5081" fmla="*/ 13635401 h 16570717"/>
                <a:gd name="connsiteX5082" fmla="*/ 1901284 w 26653740"/>
                <a:gd name="connsiteY5082" fmla="*/ 13621105 h 16570717"/>
                <a:gd name="connsiteX5083" fmla="*/ 1906052 w 26653740"/>
                <a:gd name="connsiteY5083" fmla="*/ 13602045 h 16570717"/>
                <a:gd name="connsiteX5084" fmla="*/ 1910816 w 26653740"/>
                <a:gd name="connsiteY5084" fmla="*/ 13582985 h 16570717"/>
                <a:gd name="connsiteX5085" fmla="*/ 1906052 w 26653740"/>
                <a:gd name="connsiteY5085" fmla="*/ 13573453 h 16570717"/>
                <a:gd name="connsiteX5086" fmla="*/ 1901284 w 26653740"/>
                <a:gd name="connsiteY5086" fmla="*/ 13568689 h 16570717"/>
                <a:gd name="connsiteX5087" fmla="*/ 1877460 w 26653740"/>
                <a:gd name="connsiteY5087" fmla="*/ 13554393 h 16570717"/>
                <a:gd name="connsiteX5088" fmla="*/ 1839338 w 26653740"/>
                <a:gd name="connsiteY5088" fmla="*/ 13530569 h 16570717"/>
                <a:gd name="connsiteX5089" fmla="*/ 1825044 w 26653740"/>
                <a:gd name="connsiteY5089" fmla="*/ 13506741 h 16570717"/>
                <a:gd name="connsiteX5090" fmla="*/ 1815514 w 26653740"/>
                <a:gd name="connsiteY5090" fmla="*/ 13478153 h 16570717"/>
                <a:gd name="connsiteX5091" fmla="*/ 1805982 w 26653740"/>
                <a:gd name="connsiteY5091" fmla="*/ 13463857 h 16570717"/>
                <a:gd name="connsiteX5092" fmla="*/ 1791688 w 26653740"/>
                <a:gd name="connsiteY5092" fmla="*/ 13449561 h 16570717"/>
                <a:gd name="connsiteX5093" fmla="*/ 1791688 w 26653740"/>
                <a:gd name="connsiteY5093" fmla="*/ 13444797 h 16570717"/>
                <a:gd name="connsiteX5094" fmla="*/ 1801218 w 26653740"/>
                <a:gd name="connsiteY5094" fmla="*/ 13420969 h 16570717"/>
                <a:gd name="connsiteX5095" fmla="*/ 1801218 w 26653740"/>
                <a:gd name="connsiteY5095" fmla="*/ 13416205 h 16570717"/>
                <a:gd name="connsiteX5096" fmla="*/ 1796452 w 26653740"/>
                <a:gd name="connsiteY5096" fmla="*/ 13411441 h 16570717"/>
                <a:gd name="connsiteX5097" fmla="*/ 1777392 w 26653740"/>
                <a:gd name="connsiteY5097" fmla="*/ 13397145 h 16570717"/>
                <a:gd name="connsiteX5098" fmla="*/ 1748802 w 26653740"/>
                <a:gd name="connsiteY5098" fmla="*/ 13373319 h 16570717"/>
                <a:gd name="connsiteX5099" fmla="*/ 1744036 w 26653740"/>
                <a:gd name="connsiteY5099" fmla="*/ 13368554 h 16570717"/>
                <a:gd name="connsiteX5100" fmla="*/ 1748802 w 26653740"/>
                <a:gd name="connsiteY5100" fmla="*/ 13354258 h 16570717"/>
                <a:gd name="connsiteX5101" fmla="*/ 1753566 w 26653740"/>
                <a:gd name="connsiteY5101" fmla="*/ 13335198 h 16570717"/>
                <a:gd name="connsiteX5102" fmla="*/ 1758332 w 26653740"/>
                <a:gd name="connsiteY5102" fmla="*/ 13330433 h 16570717"/>
                <a:gd name="connsiteX5103" fmla="*/ 1772628 w 26653740"/>
                <a:gd name="connsiteY5103" fmla="*/ 13301842 h 16570717"/>
                <a:gd name="connsiteX5104" fmla="*/ 1772628 w 26653740"/>
                <a:gd name="connsiteY5104" fmla="*/ 13287546 h 16570717"/>
                <a:gd name="connsiteX5105" fmla="*/ 1772628 w 26653740"/>
                <a:gd name="connsiteY5105" fmla="*/ 13278016 h 16570717"/>
                <a:gd name="connsiteX5106" fmla="*/ 1758332 w 26653740"/>
                <a:gd name="connsiteY5106" fmla="*/ 13254191 h 16570717"/>
                <a:gd name="connsiteX5107" fmla="*/ 1748802 w 26653740"/>
                <a:gd name="connsiteY5107" fmla="*/ 13239895 h 16570717"/>
                <a:gd name="connsiteX5108" fmla="*/ 1748802 w 26653740"/>
                <a:gd name="connsiteY5108" fmla="*/ 13230365 h 16570717"/>
                <a:gd name="connsiteX5109" fmla="*/ 1748802 w 26653740"/>
                <a:gd name="connsiteY5109" fmla="*/ 13225600 h 16570717"/>
                <a:gd name="connsiteX5110" fmla="*/ 1758332 w 26653740"/>
                <a:gd name="connsiteY5110" fmla="*/ 13216070 h 16570717"/>
                <a:gd name="connsiteX5111" fmla="*/ 1763096 w 26653740"/>
                <a:gd name="connsiteY5111" fmla="*/ 13206539 h 16570717"/>
                <a:gd name="connsiteX5112" fmla="*/ 1763096 w 26653740"/>
                <a:gd name="connsiteY5112" fmla="*/ 13168418 h 16570717"/>
                <a:gd name="connsiteX5113" fmla="*/ 1763096 w 26653740"/>
                <a:gd name="connsiteY5113" fmla="*/ 13158888 h 16570717"/>
                <a:gd name="connsiteX5114" fmla="*/ 1758332 w 26653740"/>
                <a:gd name="connsiteY5114" fmla="*/ 13149358 h 16570717"/>
                <a:gd name="connsiteX5115" fmla="*/ 1753566 w 26653740"/>
                <a:gd name="connsiteY5115" fmla="*/ 13149358 h 16570717"/>
                <a:gd name="connsiteX5116" fmla="*/ 1748802 w 26653740"/>
                <a:gd name="connsiteY5116" fmla="*/ 13149358 h 16570717"/>
                <a:gd name="connsiteX5117" fmla="*/ 1734506 w 26653740"/>
                <a:gd name="connsiteY5117" fmla="*/ 13144593 h 16570717"/>
                <a:gd name="connsiteX5118" fmla="*/ 1724976 w 26653740"/>
                <a:gd name="connsiteY5118" fmla="*/ 13135062 h 16570717"/>
                <a:gd name="connsiteX5119" fmla="*/ 1720210 w 26653740"/>
                <a:gd name="connsiteY5119" fmla="*/ 13130297 h 16570717"/>
                <a:gd name="connsiteX5120" fmla="*/ 1715446 w 26653740"/>
                <a:gd name="connsiteY5120" fmla="*/ 13120767 h 16570717"/>
                <a:gd name="connsiteX5121" fmla="*/ 1696384 w 26653740"/>
                <a:gd name="connsiteY5121" fmla="*/ 13101707 h 16570717"/>
                <a:gd name="connsiteX5122" fmla="*/ 1691620 w 26653740"/>
                <a:gd name="connsiteY5122" fmla="*/ 13096941 h 16570717"/>
                <a:gd name="connsiteX5123" fmla="*/ 1658264 w 26653740"/>
                <a:gd name="connsiteY5123" fmla="*/ 13082646 h 16570717"/>
                <a:gd name="connsiteX5124" fmla="*/ 1629674 w 26653740"/>
                <a:gd name="connsiteY5124" fmla="*/ 13082646 h 16570717"/>
                <a:gd name="connsiteX5125" fmla="*/ 1610612 w 26653740"/>
                <a:gd name="connsiteY5125" fmla="*/ 13082646 h 16570717"/>
                <a:gd name="connsiteX5126" fmla="*/ 1605848 w 26653740"/>
                <a:gd name="connsiteY5126" fmla="*/ 13082646 h 16570717"/>
                <a:gd name="connsiteX5127" fmla="*/ 1596318 w 26653740"/>
                <a:gd name="connsiteY5127" fmla="*/ 13096941 h 16570717"/>
                <a:gd name="connsiteX5128" fmla="*/ 1582022 w 26653740"/>
                <a:gd name="connsiteY5128" fmla="*/ 13101707 h 16570717"/>
                <a:gd name="connsiteX5129" fmla="*/ 1572492 w 26653740"/>
                <a:gd name="connsiteY5129" fmla="*/ 13101707 h 16570717"/>
                <a:gd name="connsiteX5130" fmla="*/ 1562962 w 26653740"/>
                <a:gd name="connsiteY5130" fmla="*/ 13106472 h 16570717"/>
                <a:gd name="connsiteX5131" fmla="*/ 1539136 w 26653740"/>
                <a:gd name="connsiteY5131" fmla="*/ 13125532 h 16570717"/>
                <a:gd name="connsiteX5132" fmla="*/ 1529606 w 26653740"/>
                <a:gd name="connsiteY5132" fmla="*/ 13116002 h 16570717"/>
                <a:gd name="connsiteX5133" fmla="*/ 1520076 w 26653740"/>
                <a:gd name="connsiteY5133" fmla="*/ 13096941 h 16570717"/>
                <a:gd name="connsiteX5134" fmla="*/ 1524840 w 26653740"/>
                <a:gd name="connsiteY5134" fmla="*/ 13082646 h 16570717"/>
                <a:gd name="connsiteX5135" fmla="*/ 1529606 w 26653740"/>
                <a:gd name="connsiteY5135" fmla="*/ 13073116 h 16570717"/>
                <a:gd name="connsiteX5136" fmla="*/ 1529606 w 26653740"/>
                <a:gd name="connsiteY5136" fmla="*/ 13063586 h 16570717"/>
                <a:gd name="connsiteX5137" fmla="*/ 1524840 w 26653740"/>
                <a:gd name="connsiteY5137" fmla="*/ 13054055 h 16570717"/>
                <a:gd name="connsiteX5138" fmla="*/ 1510546 w 26653740"/>
                <a:gd name="connsiteY5138" fmla="*/ 13049290 h 16570717"/>
                <a:gd name="connsiteX5139" fmla="*/ 1477190 w 26653740"/>
                <a:gd name="connsiteY5139" fmla="*/ 13030230 h 16570717"/>
                <a:gd name="connsiteX5140" fmla="*/ 1472424 w 26653740"/>
                <a:gd name="connsiteY5140" fmla="*/ 13030230 h 16570717"/>
                <a:gd name="connsiteX5141" fmla="*/ 1458128 w 26653740"/>
                <a:gd name="connsiteY5141" fmla="*/ 13039760 h 16570717"/>
                <a:gd name="connsiteX5142" fmla="*/ 1434302 w 26653740"/>
                <a:gd name="connsiteY5142" fmla="*/ 13054055 h 16570717"/>
                <a:gd name="connsiteX5143" fmla="*/ 1424772 w 26653740"/>
                <a:gd name="connsiteY5143" fmla="*/ 13049290 h 16570717"/>
                <a:gd name="connsiteX5144" fmla="*/ 1415242 w 26653740"/>
                <a:gd name="connsiteY5144" fmla="*/ 13039760 h 16570717"/>
                <a:gd name="connsiteX5145" fmla="*/ 1410478 w 26653740"/>
                <a:gd name="connsiteY5145" fmla="*/ 13020699 h 16570717"/>
                <a:gd name="connsiteX5146" fmla="*/ 1396182 w 26653740"/>
                <a:gd name="connsiteY5146" fmla="*/ 13011169 h 16570717"/>
                <a:gd name="connsiteX5147" fmla="*/ 1372356 w 26653740"/>
                <a:gd name="connsiteY5147" fmla="*/ 13011169 h 16570717"/>
                <a:gd name="connsiteX5148" fmla="*/ 1372356 w 26653740"/>
                <a:gd name="connsiteY5148" fmla="*/ 13015934 h 16570717"/>
                <a:gd name="connsiteX5149" fmla="*/ 1358060 w 26653740"/>
                <a:gd name="connsiteY5149" fmla="*/ 13025465 h 16570717"/>
                <a:gd name="connsiteX5150" fmla="*/ 1353296 w 26653740"/>
                <a:gd name="connsiteY5150" fmla="*/ 13020699 h 16570717"/>
                <a:gd name="connsiteX5151" fmla="*/ 1334236 w 26653740"/>
                <a:gd name="connsiteY5151" fmla="*/ 12996874 h 16570717"/>
                <a:gd name="connsiteX5152" fmla="*/ 1339000 w 26653740"/>
                <a:gd name="connsiteY5152" fmla="*/ 12982578 h 16570717"/>
                <a:gd name="connsiteX5153" fmla="*/ 1339000 w 26653740"/>
                <a:gd name="connsiteY5153" fmla="*/ 12963518 h 16570717"/>
                <a:gd name="connsiteX5154" fmla="*/ 1339000 w 26653740"/>
                <a:gd name="connsiteY5154" fmla="*/ 12949222 h 16570717"/>
                <a:gd name="connsiteX5155" fmla="*/ 1334236 w 26653740"/>
                <a:gd name="connsiteY5155" fmla="*/ 12930162 h 16570717"/>
                <a:gd name="connsiteX5156" fmla="*/ 1329470 w 26653740"/>
                <a:gd name="connsiteY5156" fmla="*/ 12892041 h 16570717"/>
                <a:gd name="connsiteX5157" fmla="*/ 1324706 w 26653740"/>
                <a:gd name="connsiteY5157" fmla="*/ 12882511 h 16570717"/>
                <a:gd name="connsiteX5158" fmla="*/ 1310410 w 26653740"/>
                <a:gd name="connsiteY5158" fmla="*/ 12868215 h 16570717"/>
                <a:gd name="connsiteX5159" fmla="*/ 1305644 w 26653740"/>
                <a:gd name="connsiteY5159" fmla="*/ 12853920 h 16570717"/>
                <a:gd name="connsiteX5160" fmla="*/ 1300880 w 26653740"/>
                <a:gd name="connsiteY5160" fmla="*/ 12839625 h 16570717"/>
                <a:gd name="connsiteX5161" fmla="*/ 1291350 w 26653740"/>
                <a:gd name="connsiteY5161" fmla="*/ 12830094 h 16570717"/>
                <a:gd name="connsiteX5162" fmla="*/ 1291350 w 26653740"/>
                <a:gd name="connsiteY5162" fmla="*/ 12806269 h 16570717"/>
                <a:gd name="connsiteX5163" fmla="*/ 1286584 w 26653740"/>
                <a:gd name="connsiteY5163" fmla="*/ 12796738 h 16570717"/>
                <a:gd name="connsiteX5164" fmla="*/ 1277054 w 26653740"/>
                <a:gd name="connsiteY5164" fmla="*/ 12791973 h 16570717"/>
                <a:gd name="connsiteX5165" fmla="*/ 1257994 w 26653740"/>
                <a:gd name="connsiteY5165" fmla="*/ 12801504 h 16570717"/>
                <a:gd name="connsiteX5166" fmla="*/ 1253228 w 26653740"/>
                <a:gd name="connsiteY5166" fmla="*/ 12796738 h 16570717"/>
                <a:gd name="connsiteX5167" fmla="*/ 1262758 w 26653740"/>
                <a:gd name="connsiteY5167" fmla="*/ 12763383 h 16570717"/>
                <a:gd name="connsiteX5168" fmla="*/ 1267524 w 26653740"/>
                <a:gd name="connsiteY5168" fmla="*/ 12739557 h 16570717"/>
                <a:gd name="connsiteX5169" fmla="*/ 1272288 w 26653740"/>
                <a:gd name="connsiteY5169" fmla="*/ 12715731 h 16570717"/>
                <a:gd name="connsiteX5170" fmla="*/ 1281818 w 26653740"/>
                <a:gd name="connsiteY5170" fmla="*/ 12706201 h 16570717"/>
                <a:gd name="connsiteX5171" fmla="*/ 1281818 w 26653740"/>
                <a:gd name="connsiteY5171" fmla="*/ 12696671 h 16570717"/>
                <a:gd name="connsiteX5172" fmla="*/ 1286584 w 26653740"/>
                <a:gd name="connsiteY5172" fmla="*/ 12682375 h 16570717"/>
                <a:gd name="connsiteX5173" fmla="*/ 1281818 w 26653740"/>
                <a:gd name="connsiteY5173" fmla="*/ 12672845 h 16570717"/>
                <a:gd name="connsiteX5174" fmla="*/ 1277054 w 26653740"/>
                <a:gd name="connsiteY5174" fmla="*/ 12663315 h 16570717"/>
                <a:gd name="connsiteX5175" fmla="*/ 1257994 w 26653740"/>
                <a:gd name="connsiteY5175" fmla="*/ 12649019 h 16570717"/>
                <a:gd name="connsiteX5176" fmla="*/ 1238932 w 26653740"/>
                <a:gd name="connsiteY5176" fmla="*/ 12629959 h 16570717"/>
                <a:gd name="connsiteX5177" fmla="*/ 1234168 w 26653740"/>
                <a:gd name="connsiteY5177" fmla="*/ 12610898 h 16570717"/>
                <a:gd name="connsiteX5178" fmla="*/ 1224638 w 26653740"/>
                <a:gd name="connsiteY5178" fmla="*/ 12601368 h 16570717"/>
                <a:gd name="connsiteX5179" fmla="*/ 1210342 w 26653740"/>
                <a:gd name="connsiteY5179" fmla="*/ 12601368 h 16570717"/>
                <a:gd name="connsiteX5180" fmla="*/ 1210342 w 26653740"/>
                <a:gd name="connsiteY5180" fmla="*/ 12596603 h 16570717"/>
                <a:gd name="connsiteX5181" fmla="*/ 1210342 w 26653740"/>
                <a:gd name="connsiteY5181" fmla="*/ 12577543 h 16570717"/>
                <a:gd name="connsiteX5182" fmla="*/ 1215108 w 26653740"/>
                <a:gd name="connsiteY5182" fmla="*/ 12563247 h 16570717"/>
                <a:gd name="connsiteX5183" fmla="*/ 1229402 w 26653740"/>
                <a:gd name="connsiteY5183" fmla="*/ 12544187 h 16570717"/>
                <a:gd name="connsiteX5184" fmla="*/ 1234168 w 26653740"/>
                <a:gd name="connsiteY5184" fmla="*/ 12534656 h 16570717"/>
                <a:gd name="connsiteX5185" fmla="*/ 1238932 w 26653740"/>
                <a:gd name="connsiteY5185" fmla="*/ 12525126 h 16570717"/>
                <a:gd name="connsiteX5186" fmla="*/ 1272288 w 26653740"/>
                <a:gd name="connsiteY5186" fmla="*/ 12510831 h 16570717"/>
                <a:gd name="connsiteX5187" fmla="*/ 1277054 w 26653740"/>
                <a:gd name="connsiteY5187" fmla="*/ 12506066 h 16570717"/>
                <a:gd name="connsiteX5188" fmla="*/ 1277054 w 26653740"/>
                <a:gd name="connsiteY5188" fmla="*/ 12501301 h 16570717"/>
                <a:gd name="connsiteX5189" fmla="*/ 1272288 w 26653740"/>
                <a:gd name="connsiteY5189" fmla="*/ 12496535 h 16570717"/>
                <a:gd name="connsiteX5190" fmla="*/ 1267524 w 26653740"/>
                <a:gd name="connsiteY5190" fmla="*/ 12491770 h 16570717"/>
                <a:gd name="connsiteX5191" fmla="*/ 1257994 w 26653740"/>
                <a:gd name="connsiteY5191" fmla="*/ 12482240 h 16570717"/>
                <a:gd name="connsiteX5192" fmla="*/ 1253228 w 26653740"/>
                <a:gd name="connsiteY5192" fmla="*/ 12458414 h 16570717"/>
                <a:gd name="connsiteX5193" fmla="*/ 1257994 w 26653740"/>
                <a:gd name="connsiteY5193" fmla="*/ 12458414 h 16570717"/>
                <a:gd name="connsiteX5194" fmla="*/ 1277054 w 26653740"/>
                <a:gd name="connsiteY5194" fmla="*/ 12467945 h 16570717"/>
                <a:gd name="connsiteX5195" fmla="*/ 1291350 w 26653740"/>
                <a:gd name="connsiteY5195" fmla="*/ 12482240 h 16570717"/>
                <a:gd name="connsiteX5196" fmla="*/ 1291350 w 26653740"/>
                <a:gd name="connsiteY5196" fmla="*/ 12487005 h 16570717"/>
                <a:gd name="connsiteX5197" fmla="*/ 1296114 w 26653740"/>
                <a:gd name="connsiteY5197" fmla="*/ 12496535 h 16570717"/>
                <a:gd name="connsiteX5198" fmla="*/ 1310410 w 26653740"/>
                <a:gd name="connsiteY5198" fmla="*/ 12501301 h 16570717"/>
                <a:gd name="connsiteX5199" fmla="*/ 1324706 w 26653740"/>
                <a:gd name="connsiteY5199" fmla="*/ 12506066 h 16570717"/>
                <a:gd name="connsiteX5200" fmla="*/ 1334236 w 26653740"/>
                <a:gd name="connsiteY5200" fmla="*/ 12491770 h 16570717"/>
                <a:gd name="connsiteX5201" fmla="*/ 1334236 w 26653740"/>
                <a:gd name="connsiteY5201" fmla="*/ 12472710 h 16570717"/>
                <a:gd name="connsiteX5202" fmla="*/ 1324706 w 26653740"/>
                <a:gd name="connsiteY5202" fmla="*/ 12453649 h 16570717"/>
                <a:gd name="connsiteX5203" fmla="*/ 1305644 w 26653740"/>
                <a:gd name="connsiteY5203" fmla="*/ 12425059 h 16570717"/>
                <a:gd name="connsiteX5204" fmla="*/ 1286584 w 26653740"/>
                <a:gd name="connsiteY5204" fmla="*/ 12415528 h 16570717"/>
                <a:gd name="connsiteX5205" fmla="*/ 1262758 w 26653740"/>
                <a:gd name="connsiteY5205" fmla="*/ 12415528 h 16570717"/>
                <a:gd name="connsiteX5206" fmla="*/ 1243698 w 26653740"/>
                <a:gd name="connsiteY5206" fmla="*/ 12410763 h 16570717"/>
                <a:gd name="connsiteX5207" fmla="*/ 1243698 w 26653740"/>
                <a:gd name="connsiteY5207" fmla="*/ 12401233 h 16570717"/>
                <a:gd name="connsiteX5208" fmla="*/ 1238932 w 26653740"/>
                <a:gd name="connsiteY5208" fmla="*/ 12386937 h 16570717"/>
                <a:gd name="connsiteX5209" fmla="*/ 1243698 w 26653740"/>
                <a:gd name="connsiteY5209" fmla="*/ 12372642 h 16570717"/>
                <a:gd name="connsiteX5210" fmla="*/ 1272288 w 26653740"/>
                <a:gd name="connsiteY5210" fmla="*/ 12339286 h 16570717"/>
                <a:gd name="connsiteX5211" fmla="*/ 1277054 w 26653740"/>
                <a:gd name="connsiteY5211" fmla="*/ 12334521 h 16570717"/>
                <a:gd name="connsiteX5212" fmla="*/ 1281818 w 26653740"/>
                <a:gd name="connsiteY5212" fmla="*/ 12320226 h 16570717"/>
                <a:gd name="connsiteX5213" fmla="*/ 1281818 w 26653740"/>
                <a:gd name="connsiteY5213" fmla="*/ 12296400 h 16570717"/>
                <a:gd name="connsiteX5214" fmla="*/ 1272288 w 26653740"/>
                <a:gd name="connsiteY5214" fmla="*/ 12191567 h 16570717"/>
                <a:gd name="connsiteX5215" fmla="*/ 1257994 w 26653740"/>
                <a:gd name="connsiteY5215" fmla="*/ 12172507 h 16570717"/>
                <a:gd name="connsiteX5216" fmla="*/ 1272288 w 26653740"/>
                <a:gd name="connsiteY5216" fmla="*/ 12148681 h 16570717"/>
                <a:gd name="connsiteX5217" fmla="*/ 1286584 w 26653740"/>
                <a:gd name="connsiteY5217" fmla="*/ 12105795 h 16570717"/>
                <a:gd name="connsiteX5218" fmla="*/ 1296114 w 26653740"/>
                <a:gd name="connsiteY5218" fmla="*/ 12081969 h 16570717"/>
                <a:gd name="connsiteX5219" fmla="*/ 1300880 w 26653740"/>
                <a:gd name="connsiteY5219" fmla="*/ 12072439 h 16570717"/>
                <a:gd name="connsiteX5220" fmla="*/ 1310410 w 26653740"/>
                <a:gd name="connsiteY5220" fmla="*/ 12072439 h 16570717"/>
                <a:gd name="connsiteX5221" fmla="*/ 1315174 w 26653740"/>
                <a:gd name="connsiteY5221" fmla="*/ 12067674 h 16570717"/>
                <a:gd name="connsiteX5222" fmla="*/ 1319940 w 26653740"/>
                <a:gd name="connsiteY5222" fmla="*/ 12062909 h 16570717"/>
                <a:gd name="connsiteX5223" fmla="*/ 1329470 w 26653740"/>
                <a:gd name="connsiteY5223" fmla="*/ 12058144 h 16570717"/>
                <a:gd name="connsiteX5224" fmla="*/ 1334236 w 26653740"/>
                <a:gd name="connsiteY5224" fmla="*/ 12053378 h 16570717"/>
                <a:gd name="connsiteX5225" fmla="*/ 1329470 w 26653740"/>
                <a:gd name="connsiteY5225" fmla="*/ 12043848 h 16570717"/>
                <a:gd name="connsiteX5226" fmla="*/ 1319940 w 26653740"/>
                <a:gd name="connsiteY5226" fmla="*/ 12024788 h 16570717"/>
                <a:gd name="connsiteX5227" fmla="*/ 1310410 w 26653740"/>
                <a:gd name="connsiteY5227" fmla="*/ 12020022 h 16570717"/>
                <a:gd name="connsiteX5228" fmla="*/ 1319940 w 26653740"/>
                <a:gd name="connsiteY5228" fmla="*/ 11996197 h 16570717"/>
                <a:gd name="connsiteX5229" fmla="*/ 1315174 w 26653740"/>
                <a:gd name="connsiteY5229" fmla="*/ 11967606 h 16570717"/>
                <a:gd name="connsiteX5230" fmla="*/ 1310410 w 26653740"/>
                <a:gd name="connsiteY5230" fmla="*/ 11943780 h 16570717"/>
                <a:gd name="connsiteX5231" fmla="*/ 1319940 w 26653740"/>
                <a:gd name="connsiteY5231" fmla="*/ 11924720 h 16570717"/>
                <a:gd name="connsiteX5232" fmla="*/ 1329470 w 26653740"/>
                <a:gd name="connsiteY5232" fmla="*/ 11924720 h 16570717"/>
                <a:gd name="connsiteX5233" fmla="*/ 1343766 w 26653740"/>
                <a:gd name="connsiteY5233" fmla="*/ 11943780 h 16570717"/>
                <a:gd name="connsiteX5234" fmla="*/ 1362826 w 26653740"/>
                <a:gd name="connsiteY5234" fmla="*/ 11953311 h 16570717"/>
                <a:gd name="connsiteX5235" fmla="*/ 1377122 w 26653740"/>
                <a:gd name="connsiteY5235" fmla="*/ 11939016 h 16570717"/>
                <a:gd name="connsiteX5236" fmla="*/ 1381886 w 26653740"/>
                <a:gd name="connsiteY5236" fmla="*/ 11915190 h 16570717"/>
                <a:gd name="connsiteX5237" fmla="*/ 1391416 w 26653740"/>
                <a:gd name="connsiteY5237" fmla="*/ 11905660 h 16570717"/>
                <a:gd name="connsiteX5238" fmla="*/ 1405712 w 26653740"/>
                <a:gd name="connsiteY5238" fmla="*/ 11915190 h 16570717"/>
                <a:gd name="connsiteX5239" fmla="*/ 1424772 w 26653740"/>
                <a:gd name="connsiteY5239" fmla="*/ 11919955 h 16570717"/>
                <a:gd name="connsiteX5240" fmla="*/ 1443834 w 26653740"/>
                <a:gd name="connsiteY5240" fmla="*/ 11915190 h 16570717"/>
                <a:gd name="connsiteX5241" fmla="*/ 1458128 w 26653740"/>
                <a:gd name="connsiteY5241" fmla="*/ 11910425 h 16570717"/>
                <a:gd name="connsiteX5242" fmla="*/ 1462894 w 26653740"/>
                <a:gd name="connsiteY5242" fmla="*/ 11900894 h 16570717"/>
                <a:gd name="connsiteX5243" fmla="*/ 1467658 w 26653740"/>
                <a:gd name="connsiteY5243" fmla="*/ 11886599 h 16570717"/>
                <a:gd name="connsiteX5244" fmla="*/ 1477190 w 26653740"/>
                <a:gd name="connsiteY5244" fmla="*/ 11872304 h 16570717"/>
                <a:gd name="connsiteX5245" fmla="*/ 1486720 w 26653740"/>
                <a:gd name="connsiteY5245" fmla="*/ 11858008 h 16570717"/>
                <a:gd name="connsiteX5246" fmla="*/ 1572492 w 26653740"/>
                <a:gd name="connsiteY5246" fmla="*/ 11872304 h 16570717"/>
                <a:gd name="connsiteX5247" fmla="*/ 1639204 w 26653740"/>
                <a:gd name="connsiteY5247" fmla="*/ 11896130 h 16570717"/>
                <a:gd name="connsiteX5248" fmla="*/ 1648734 w 26653740"/>
                <a:gd name="connsiteY5248" fmla="*/ 11886599 h 16570717"/>
                <a:gd name="connsiteX5249" fmla="*/ 1648734 w 26653740"/>
                <a:gd name="connsiteY5249" fmla="*/ 11872304 h 16570717"/>
                <a:gd name="connsiteX5250" fmla="*/ 1629674 w 26653740"/>
                <a:gd name="connsiteY5250" fmla="*/ 11858008 h 16570717"/>
                <a:gd name="connsiteX5251" fmla="*/ 1620142 w 26653740"/>
                <a:gd name="connsiteY5251" fmla="*/ 11848478 h 16570717"/>
                <a:gd name="connsiteX5252" fmla="*/ 1601082 w 26653740"/>
                <a:gd name="connsiteY5252" fmla="*/ 11819888 h 16570717"/>
                <a:gd name="connsiteX5253" fmla="*/ 1577256 w 26653740"/>
                <a:gd name="connsiteY5253" fmla="*/ 11796062 h 16570717"/>
                <a:gd name="connsiteX5254" fmla="*/ 1553432 w 26653740"/>
                <a:gd name="connsiteY5254" fmla="*/ 11796062 h 16570717"/>
                <a:gd name="connsiteX5255" fmla="*/ 1524840 w 26653740"/>
                <a:gd name="connsiteY5255" fmla="*/ 11800827 h 16570717"/>
                <a:gd name="connsiteX5256" fmla="*/ 1477190 w 26653740"/>
                <a:gd name="connsiteY5256" fmla="*/ 11796062 h 16570717"/>
                <a:gd name="connsiteX5257" fmla="*/ 1434302 w 26653740"/>
                <a:gd name="connsiteY5257" fmla="*/ 11753176 h 16570717"/>
                <a:gd name="connsiteX5258" fmla="*/ 1410478 w 26653740"/>
                <a:gd name="connsiteY5258" fmla="*/ 11738880 h 16570717"/>
                <a:gd name="connsiteX5259" fmla="*/ 1391416 w 26653740"/>
                <a:gd name="connsiteY5259" fmla="*/ 11705524 h 16570717"/>
                <a:gd name="connsiteX5260" fmla="*/ 1386652 w 26653740"/>
                <a:gd name="connsiteY5260" fmla="*/ 11686464 h 16570717"/>
                <a:gd name="connsiteX5261" fmla="*/ 1405712 w 26653740"/>
                <a:gd name="connsiteY5261" fmla="*/ 11700759 h 16570717"/>
                <a:gd name="connsiteX5262" fmla="*/ 1410478 w 26653740"/>
                <a:gd name="connsiteY5262" fmla="*/ 11686464 h 16570717"/>
                <a:gd name="connsiteX5263" fmla="*/ 1410478 w 26653740"/>
                <a:gd name="connsiteY5263" fmla="*/ 11662638 h 16570717"/>
                <a:gd name="connsiteX5264" fmla="*/ 1400948 w 26653740"/>
                <a:gd name="connsiteY5264" fmla="*/ 11653108 h 16570717"/>
                <a:gd name="connsiteX5265" fmla="*/ 1391416 w 26653740"/>
                <a:gd name="connsiteY5265" fmla="*/ 11643578 h 16570717"/>
                <a:gd name="connsiteX5266" fmla="*/ 1339000 w 26653740"/>
                <a:gd name="connsiteY5266" fmla="*/ 11676934 h 16570717"/>
                <a:gd name="connsiteX5267" fmla="*/ 1277054 w 26653740"/>
                <a:gd name="connsiteY5267" fmla="*/ 11691229 h 16570717"/>
                <a:gd name="connsiteX5268" fmla="*/ 1334236 w 26653740"/>
                <a:gd name="connsiteY5268" fmla="*/ 11619752 h 16570717"/>
                <a:gd name="connsiteX5269" fmla="*/ 1372356 w 26653740"/>
                <a:gd name="connsiteY5269" fmla="*/ 11572101 h 16570717"/>
                <a:gd name="connsiteX5270" fmla="*/ 1381886 w 26653740"/>
                <a:gd name="connsiteY5270" fmla="*/ 11567336 h 16570717"/>
                <a:gd name="connsiteX5271" fmla="*/ 1396182 w 26653740"/>
                <a:gd name="connsiteY5271" fmla="*/ 11553040 h 16570717"/>
                <a:gd name="connsiteX5272" fmla="*/ 1415242 w 26653740"/>
                <a:gd name="connsiteY5272" fmla="*/ 11538745 h 16570717"/>
                <a:gd name="connsiteX5273" fmla="*/ 1424772 w 26653740"/>
                <a:gd name="connsiteY5273" fmla="*/ 11519684 h 16570717"/>
                <a:gd name="connsiteX5274" fmla="*/ 1462894 w 26653740"/>
                <a:gd name="connsiteY5274" fmla="*/ 11486328 h 16570717"/>
                <a:gd name="connsiteX5275" fmla="*/ 1505780 w 26653740"/>
                <a:gd name="connsiteY5275" fmla="*/ 11448208 h 16570717"/>
                <a:gd name="connsiteX5276" fmla="*/ 1543900 w 26653740"/>
                <a:gd name="connsiteY5276" fmla="*/ 11395791 h 16570717"/>
                <a:gd name="connsiteX5277" fmla="*/ 1558196 w 26653740"/>
                <a:gd name="connsiteY5277" fmla="*/ 11381496 h 16570717"/>
                <a:gd name="connsiteX5278" fmla="*/ 1572492 w 26653740"/>
                <a:gd name="connsiteY5278" fmla="*/ 11362435 h 16570717"/>
                <a:gd name="connsiteX5279" fmla="*/ 1610612 w 26653740"/>
                <a:gd name="connsiteY5279" fmla="*/ 11310019 h 16570717"/>
                <a:gd name="connsiteX5280" fmla="*/ 1624908 w 26653740"/>
                <a:gd name="connsiteY5280" fmla="*/ 11290958 h 16570717"/>
                <a:gd name="connsiteX5281" fmla="*/ 1667794 w 26653740"/>
                <a:gd name="connsiteY5281" fmla="*/ 11224246 h 16570717"/>
                <a:gd name="connsiteX5282" fmla="*/ 1696384 w 26653740"/>
                <a:gd name="connsiteY5282" fmla="*/ 11190890 h 16570717"/>
                <a:gd name="connsiteX5283" fmla="*/ 1710680 w 26653740"/>
                <a:gd name="connsiteY5283" fmla="*/ 11171830 h 16570717"/>
                <a:gd name="connsiteX5284" fmla="*/ 1767862 w 26653740"/>
                <a:gd name="connsiteY5284" fmla="*/ 11105118 h 16570717"/>
                <a:gd name="connsiteX5285" fmla="*/ 1805982 w 26653740"/>
                <a:gd name="connsiteY5285" fmla="*/ 11052702 h 16570717"/>
                <a:gd name="connsiteX5286" fmla="*/ 1825044 w 26653740"/>
                <a:gd name="connsiteY5286" fmla="*/ 11024111 h 16570717"/>
                <a:gd name="connsiteX5287" fmla="*/ 1839338 w 26653740"/>
                <a:gd name="connsiteY5287" fmla="*/ 10981225 h 16570717"/>
                <a:gd name="connsiteX5288" fmla="*/ 1848870 w 26653740"/>
                <a:gd name="connsiteY5288" fmla="*/ 10952634 h 16570717"/>
                <a:gd name="connsiteX5289" fmla="*/ 1863164 w 26653740"/>
                <a:gd name="connsiteY5289" fmla="*/ 10914513 h 16570717"/>
                <a:gd name="connsiteX5290" fmla="*/ 1863164 w 26653740"/>
                <a:gd name="connsiteY5290" fmla="*/ 10900218 h 16570717"/>
                <a:gd name="connsiteX5291" fmla="*/ 1858400 w 26653740"/>
                <a:gd name="connsiteY5291" fmla="*/ 10890688 h 16570717"/>
                <a:gd name="connsiteX5292" fmla="*/ 1848870 w 26653740"/>
                <a:gd name="connsiteY5292" fmla="*/ 10871627 h 16570717"/>
                <a:gd name="connsiteX5293" fmla="*/ 1829808 w 26653740"/>
                <a:gd name="connsiteY5293" fmla="*/ 10852566 h 16570717"/>
                <a:gd name="connsiteX5294" fmla="*/ 1815514 w 26653740"/>
                <a:gd name="connsiteY5294" fmla="*/ 10823976 h 16570717"/>
                <a:gd name="connsiteX5295" fmla="*/ 1805982 w 26653740"/>
                <a:gd name="connsiteY5295" fmla="*/ 10804916 h 16570717"/>
                <a:gd name="connsiteX5296" fmla="*/ 1772628 w 26653740"/>
                <a:gd name="connsiteY5296" fmla="*/ 10771560 h 16570717"/>
                <a:gd name="connsiteX5297" fmla="*/ 1724976 w 26653740"/>
                <a:gd name="connsiteY5297" fmla="*/ 10728674 h 16570717"/>
                <a:gd name="connsiteX5298" fmla="*/ 1686854 w 26653740"/>
                <a:gd name="connsiteY5298" fmla="*/ 10700082 h 16570717"/>
                <a:gd name="connsiteX5299" fmla="*/ 1629674 w 26653740"/>
                <a:gd name="connsiteY5299" fmla="*/ 10633370 h 16570717"/>
                <a:gd name="connsiteX5300" fmla="*/ 1620142 w 26653740"/>
                <a:gd name="connsiteY5300" fmla="*/ 10619076 h 16570717"/>
                <a:gd name="connsiteX5301" fmla="*/ 1620142 w 26653740"/>
                <a:gd name="connsiteY5301" fmla="*/ 10614310 h 16570717"/>
                <a:gd name="connsiteX5302" fmla="*/ 1653498 w 26653740"/>
                <a:gd name="connsiteY5302" fmla="*/ 10595250 h 16570717"/>
                <a:gd name="connsiteX5303" fmla="*/ 1686854 w 26653740"/>
                <a:gd name="connsiteY5303" fmla="*/ 10542834 h 16570717"/>
                <a:gd name="connsiteX5304" fmla="*/ 1701150 w 26653740"/>
                <a:gd name="connsiteY5304" fmla="*/ 10519008 h 16570717"/>
                <a:gd name="connsiteX5305" fmla="*/ 1705916 w 26653740"/>
                <a:gd name="connsiteY5305" fmla="*/ 10495182 h 16570717"/>
                <a:gd name="connsiteX5306" fmla="*/ 1705916 w 26653740"/>
                <a:gd name="connsiteY5306" fmla="*/ 10476122 h 16570717"/>
                <a:gd name="connsiteX5307" fmla="*/ 1701150 w 26653740"/>
                <a:gd name="connsiteY5307" fmla="*/ 10452296 h 16570717"/>
                <a:gd name="connsiteX5308" fmla="*/ 1696384 w 26653740"/>
                <a:gd name="connsiteY5308" fmla="*/ 10438000 h 16570717"/>
                <a:gd name="connsiteX5309" fmla="*/ 1682090 w 26653740"/>
                <a:gd name="connsiteY5309" fmla="*/ 10423705 h 16570717"/>
                <a:gd name="connsiteX5310" fmla="*/ 1639204 w 26653740"/>
                <a:gd name="connsiteY5310" fmla="*/ 10395114 h 16570717"/>
                <a:gd name="connsiteX5311" fmla="*/ 1629674 w 26653740"/>
                <a:gd name="connsiteY5311" fmla="*/ 10366524 h 16570717"/>
                <a:gd name="connsiteX5312" fmla="*/ 1620142 w 26653740"/>
                <a:gd name="connsiteY5312" fmla="*/ 10337933 h 16570717"/>
                <a:gd name="connsiteX5313" fmla="*/ 1620142 w 26653740"/>
                <a:gd name="connsiteY5313" fmla="*/ 10323638 h 16570717"/>
                <a:gd name="connsiteX5314" fmla="*/ 1639204 w 26653740"/>
                <a:gd name="connsiteY5314" fmla="*/ 10290282 h 16570717"/>
                <a:gd name="connsiteX5315" fmla="*/ 1643968 w 26653740"/>
                <a:gd name="connsiteY5315" fmla="*/ 10275986 h 16570717"/>
                <a:gd name="connsiteX5316" fmla="*/ 1639204 w 26653740"/>
                <a:gd name="connsiteY5316" fmla="*/ 10261691 h 16570717"/>
                <a:gd name="connsiteX5317" fmla="*/ 1634438 w 26653740"/>
                <a:gd name="connsiteY5317" fmla="*/ 10247396 h 16570717"/>
                <a:gd name="connsiteX5318" fmla="*/ 1586788 w 26653740"/>
                <a:gd name="connsiteY5318" fmla="*/ 10233100 h 16570717"/>
                <a:gd name="connsiteX5319" fmla="*/ 1577256 w 26653740"/>
                <a:gd name="connsiteY5319" fmla="*/ 10218804 h 16570717"/>
                <a:gd name="connsiteX5320" fmla="*/ 1567726 w 26653740"/>
                <a:gd name="connsiteY5320" fmla="*/ 10194979 h 16570717"/>
                <a:gd name="connsiteX5321" fmla="*/ 1562962 w 26653740"/>
                <a:gd name="connsiteY5321" fmla="*/ 10171154 h 16570717"/>
                <a:gd name="connsiteX5322" fmla="*/ 1558196 w 26653740"/>
                <a:gd name="connsiteY5322" fmla="*/ 10161623 h 16570717"/>
                <a:gd name="connsiteX5323" fmla="*/ 1562962 w 26653740"/>
                <a:gd name="connsiteY5323" fmla="*/ 10147328 h 16570717"/>
                <a:gd name="connsiteX5324" fmla="*/ 1577256 w 26653740"/>
                <a:gd name="connsiteY5324" fmla="*/ 10133032 h 16570717"/>
                <a:gd name="connsiteX5325" fmla="*/ 1591552 w 26653740"/>
                <a:gd name="connsiteY5325" fmla="*/ 10123502 h 16570717"/>
                <a:gd name="connsiteX5326" fmla="*/ 1596318 w 26653740"/>
                <a:gd name="connsiteY5326" fmla="*/ 10109207 h 16570717"/>
                <a:gd name="connsiteX5327" fmla="*/ 1596318 w 26653740"/>
                <a:gd name="connsiteY5327" fmla="*/ 10094912 h 16570717"/>
                <a:gd name="connsiteX5328" fmla="*/ 1591552 w 26653740"/>
                <a:gd name="connsiteY5328" fmla="*/ 10085381 h 16570717"/>
                <a:gd name="connsiteX5329" fmla="*/ 1562962 w 26653740"/>
                <a:gd name="connsiteY5329" fmla="*/ 10080616 h 16570717"/>
                <a:gd name="connsiteX5330" fmla="*/ 1562962 w 26653740"/>
                <a:gd name="connsiteY5330" fmla="*/ 10075851 h 16570717"/>
                <a:gd name="connsiteX5331" fmla="*/ 1562962 w 26653740"/>
                <a:gd name="connsiteY5331" fmla="*/ 10071086 h 16570717"/>
                <a:gd name="connsiteX5332" fmla="*/ 1562962 w 26653740"/>
                <a:gd name="connsiteY5332" fmla="*/ 10061556 h 16570717"/>
                <a:gd name="connsiteX5333" fmla="*/ 1577256 w 26653740"/>
                <a:gd name="connsiteY5333" fmla="*/ 10037730 h 16570717"/>
                <a:gd name="connsiteX5334" fmla="*/ 1577256 w 26653740"/>
                <a:gd name="connsiteY5334" fmla="*/ 9985314 h 16570717"/>
                <a:gd name="connsiteX5335" fmla="*/ 1591552 w 26653740"/>
                <a:gd name="connsiteY5335" fmla="*/ 9947192 h 16570717"/>
                <a:gd name="connsiteX5336" fmla="*/ 1577256 w 26653740"/>
                <a:gd name="connsiteY5336" fmla="*/ 9928132 h 16570717"/>
                <a:gd name="connsiteX5337" fmla="*/ 1577256 w 26653740"/>
                <a:gd name="connsiteY5337" fmla="*/ 9923367 h 16570717"/>
                <a:gd name="connsiteX5338" fmla="*/ 1605848 w 26653740"/>
                <a:gd name="connsiteY5338" fmla="*/ 9913836 h 16570717"/>
                <a:gd name="connsiteX5339" fmla="*/ 1624908 w 26653740"/>
                <a:gd name="connsiteY5339" fmla="*/ 9909072 h 16570717"/>
                <a:gd name="connsiteX5340" fmla="*/ 1634438 w 26653740"/>
                <a:gd name="connsiteY5340" fmla="*/ 9904306 h 16570717"/>
                <a:gd name="connsiteX5341" fmla="*/ 1639204 w 26653740"/>
                <a:gd name="connsiteY5341" fmla="*/ 9890011 h 16570717"/>
                <a:gd name="connsiteX5342" fmla="*/ 1634438 w 26653740"/>
                <a:gd name="connsiteY5342" fmla="*/ 9866186 h 16570717"/>
                <a:gd name="connsiteX5343" fmla="*/ 1610612 w 26653740"/>
                <a:gd name="connsiteY5343" fmla="*/ 9775648 h 16570717"/>
                <a:gd name="connsiteX5344" fmla="*/ 1605848 w 26653740"/>
                <a:gd name="connsiteY5344" fmla="*/ 9751822 h 16570717"/>
                <a:gd name="connsiteX5345" fmla="*/ 1591552 w 26653740"/>
                <a:gd name="connsiteY5345" fmla="*/ 9718466 h 16570717"/>
                <a:gd name="connsiteX5346" fmla="*/ 1577256 w 26653740"/>
                <a:gd name="connsiteY5346" fmla="*/ 9694640 h 16570717"/>
                <a:gd name="connsiteX5347" fmla="*/ 1572492 w 26653740"/>
                <a:gd name="connsiteY5347" fmla="*/ 9680346 h 16570717"/>
                <a:gd name="connsiteX5348" fmla="*/ 1558196 w 26653740"/>
                <a:gd name="connsiteY5348" fmla="*/ 9646990 h 16570717"/>
                <a:gd name="connsiteX5349" fmla="*/ 1548666 w 26653740"/>
                <a:gd name="connsiteY5349" fmla="*/ 9613634 h 16570717"/>
                <a:gd name="connsiteX5350" fmla="*/ 1539136 w 26653740"/>
                <a:gd name="connsiteY5350" fmla="*/ 9580278 h 16570717"/>
                <a:gd name="connsiteX5351" fmla="*/ 1524840 w 26653740"/>
                <a:gd name="connsiteY5351" fmla="*/ 9546922 h 16570717"/>
                <a:gd name="connsiteX5352" fmla="*/ 1510546 w 26653740"/>
                <a:gd name="connsiteY5352" fmla="*/ 9513566 h 16570717"/>
                <a:gd name="connsiteX5353" fmla="*/ 1481954 w 26653740"/>
                <a:gd name="connsiteY5353" fmla="*/ 9451619 h 16570717"/>
                <a:gd name="connsiteX5354" fmla="*/ 1477190 w 26653740"/>
                <a:gd name="connsiteY5354" fmla="*/ 9437324 h 16570717"/>
                <a:gd name="connsiteX5355" fmla="*/ 1477190 w 26653740"/>
                <a:gd name="connsiteY5355" fmla="*/ 9423028 h 16570717"/>
                <a:gd name="connsiteX5356" fmla="*/ 1477190 w 26653740"/>
                <a:gd name="connsiteY5356" fmla="*/ 9403968 h 16570717"/>
                <a:gd name="connsiteX5357" fmla="*/ 1505780 w 26653740"/>
                <a:gd name="connsiteY5357" fmla="*/ 9356316 h 16570717"/>
                <a:gd name="connsiteX5358" fmla="*/ 1524840 w 26653740"/>
                <a:gd name="connsiteY5358" fmla="*/ 9313430 h 16570717"/>
                <a:gd name="connsiteX5359" fmla="*/ 1553432 w 26653740"/>
                <a:gd name="connsiteY5359" fmla="*/ 9261014 h 16570717"/>
                <a:gd name="connsiteX5360" fmla="*/ 1582022 w 26653740"/>
                <a:gd name="connsiteY5360" fmla="*/ 9222893 h 16570717"/>
                <a:gd name="connsiteX5361" fmla="*/ 1610612 w 26653740"/>
                <a:gd name="connsiteY5361" fmla="*/ 9170477 h 16570717"/>
                <a:gd name="connsiteX5362" fmla="*/ 1620142 w 26653740"/>
                <a:gd name="connsiteY5362" fmla="*/ 9122826 h 16570717"/>
                <a:gd name="connsiteX5363" fmla="*/ 1620142 w 26653740"/>
                <a:gd name="connsiteY5363" fmla="*/ 9113295 h 16570717"/>
                <a:gd name="connsiteX5364" fmla="*/ 1596318 w 26653740"/>
                <a:gd name="connsiteY5364" fmla="*/ 9089470 h 16570717"/>
                <a:gd name="connsiteX5365" fmla="*/ 1548666 w 26653740"/>
                <a:gd name="connsiteY5365" fmla="*/ 9013228 h 16570717"/>
                <a:gd name="connsiteX5366" fmla="*/ 1520076 w 26653740"/>
                <a:gd name="connsiteY5366" fmla="*/ 8960811 h 16570717"/>
                <a:gd name="connsiteX5367" fmla="*/ 1477190 w 26653740"/>
                <a:gd name="connsiteY5367" fmla="*/ 8936986 h 16570717"/>
                <a:gd name="connsiteX5368" fmla="*/ 1415242 w 26653740"/>
                <a:gd name="connsiteY5368" fmla="*/ 8903630 h 16570717"/>
                <a:gd name="connsiteX5369" fmla="*/ 1396182 w 26653740"/>
                <a:gd name="connsiteY5369" fmla="*/ 8836918 h 16570717"/>
                <a:gd name="connsiteX5370" fmla="*/ 1381886 w 26653740"/>
                <a:gd name="connsiteY5370" fmla="*/ 8779736 h 16570717"/>
                <a:gd name="connsiteX5371" fmla="*/ 1381886 w 26653740"/>
                <a:gd name="connsiteY5371" fmla="*/ 8760676 h 16570717"/>
                <a:gd name="connsiteX5372" fmla="*/ 1429538 w 26653740"/>
                <a:gd name="connsiteY5372" fmla="*/ 8655843 h 16570717"/>
                <a:gd name="connsiteX5373" fmla="*/ 1429538 w 26653740"/>
                <a:gd name="connsiteY5373" fmla="*/ 8641548 h 16570717"/>
                <a:gd name="connsiteX5374" fmla="*/ 1429538 w 26653740"/>
                <a:gd name="connsiteY5374" fmla="*/ 8627252 h 16570717"/>
                <a:gd name="connsiteX5375" fmla="*/ 1424772 w 26653740"/>
                <a:gd name="connsiteY5375" fmla="*/ 8622487 h 16570717"/>
                <a:gd name="connsiteX5376" fmla="*/ 1420008 w 26653740"/>
                <a:gd name="connsiteY5376" fmla="*/ 8617722 h 16570717"/>
                <a:gd name="connsiteX5377" fmla="*/ 1381886 w 26653740"/>
                <a:gd name="connsiteY5377" fmla="*/ 8612957 h 16570717"/>
                <a:gd name="connsiteX5378" fmla="*/ 1372356 w 26653740"/>
                <a:gd name="connsiteY5378" fmla="*/ 8598662 h 16570717"/>
                <a:gd name="connsiteX5379" fmla="*/ 1396182 w 26653740"/>
                <a:gd name="connsiteY5379" fmla="*/ 8589132 h 16570717"/>
                <a:gd name="connsiteX5380" fmla="*/ 1420008 w 26653740"/>
                <a:gd name="connsiteY5380" fmla="*/ 8574836 h 16570717"/>
                <a:gd name="connsiteX5381" fmla="*/ 1448598 w 26653740"/>
                <a:gd name="connsiteY5381" fmla="*/ 8555776 h 16570717"/>
                <a:gd name="connsiteX5382" fmla="*/ 1458128 w 26653740"/>
                <a:gd name="connsiteY5382" fmla="*/ 8551010 h 16570717"/>
                <a:gd name="connsiteX5383" fmla="*/ 1486720 w 26653740"/>
                <a:gd name="connsiteY5383" fmla="*/ 8536715 h 16570717"/>
                <a:gd name="connsiteX5384" fmla="*/ 1491484 w 26653740"/>
                <a:gd name="connsiteY5384" fmla="*/ 8527184 h 16570717"/>
                <a:gd name="connsiteX5385" fmla="*/ 1496250 w 26653740"/>
                <a:gd name="connsiteY5385" fmla="*/ 8517654 h 16570717"/>
                <a:gd name="connsiteX5386" fmla="*/ 1520076 w 26653740"/>
                <a:gd name="connsiteY5386" fmla="*/ 8441412 h 16570717"/>
                <a:gd name="connsiteX5387" fmla="*/ 1524840 w 26653740"/>
                <a:gd name="connsiteY5387" fmla="*/ 8427117 h 16570717"/>
                <a:gd name="connsiteX5388" fmla="*/ 1596318 w 26653740"/>
                <a:gd name="connsiteY5388" fmla="*/ 8398526 h 16570717"/>
                <a:gd name="connsiteX5389" fmla="*/ 1620142 w 26653740"/>
                <a:gd name="connsiteY5389" fmla="*/ 8384231 h 16570717"/>
                <a:gd name="connsiteX5390" fmla="*/ 1634438 w 26653740"/>
                <a:gd name="connsiteY5390" fmla="*/ 8369936 h 16570717"/>
                <a:gd name="connsiteX5391" fmla="*/ 1643968 w 26653740"/>
                <a:gd name="connsiteY5391" fmla="*/ 8355640 h 16570717"/>
                <a:gd name="connsiteX5392" fmla="*/ 1648734 w 26653740"/>
                <a:gd name="connsiteY5392" fmla="*/ 8336580 h 16570717"/>
                <a:gd name="connsiteX5393" fmla="*/ 1653498 w 26653740"/>
                <a:gd name="connsiteY5393" fmla="*/ 8317519 h 16570717"/>
                <a:gd name="connsiteX5394" fmla="*/ 1653498 w 26653740"/>
                <a:gd name="connsiteY5394" fmla="*/ 8303224 h 16570717"/>
                <a:gd name="connsiteX5395" fmla="*/ 1648734 w 26653740"/>
                <a:gd name="connsiteY5395" fmla="*/ 8279398 h 16570717"/>
                <a:gd name="connsiteX5396" fmla="*/ 1658264 w 26653740"/>
                <a:gd name="connsiteY5396" fmla="*/ 8279398 h 16570717"/>
                <a:gd name="connsiteX5397" fmla="*/ 1682090 w 26653740"/>
                <a:gd name="connsiteY5397" fmla="*/ 8303224 h 16570717"/>
                <a:gd name="connsiteX5398" fmla="*/ 1720210 w 26653740"/>
                <a:gd name="connsiteY5398" fmla="*/ 8322284 h 16570717"/>
                <a:gd name="connsiteX5399" fmla="*/ 1744036 w 26653740"/>
                <a:gd name="connsiteY5399" fmla="*/ 8327050 h 16570717"/>
                <a:gd name="connsiteX5400" fmla="*/ 1758332 w 26653740"/>
                <a:gd name="connsiteY5400" fmla="*/ 8322284 h 16570717"/>
                <a:gd name="connsiteX5401" fmla="*/ 1763096 w 26653740"/>
                <a:gd name="connsiteY5401" fmla="*/ 8312754 h 16570717"/>
                <a:gd name="connsiteX5402" fmla="*/ 1767862 w 26653740"/>
                <a:gd name="connsiteY5402" fmla="*/ 8288928 h 16570717"/>
                <a:gd name="connsiteX5403" fmla="*/ 1767862 w 26653740"/>
                <a:gd name="connsiteY5403" fmla="*/ 8269868 h 16570717"/>
                <a:gd name="connsiteX5404" fmla="*/ 1758332 w 26653740"/>
                <a:gd name="connsiteY5404" fmla="*/ 8212686 h 16570717"/>
                <a:gd name="connsiteX5405" fmla="*/ 1786922 w 26653740"/>
                <a:gd name="connsiteY5405" fmla="*/ 8217452 h 16570717"/>
                <a:gd name="connsiteX5406" fmla="*/ 1848870 w 26653740"/>
                <a:gd name="connsiteY5406" fmla="*/ 8255572 h 16570717"/>
                <a:gd name="connsiteX5407" fmla="*/ 1863164 w 26653740"/>
                <a:gd name="connsiteY5407" fmla="*/ 8250807 h 16570717"/>
                <a:gd name="connsiteX5408" fmla="*/ 1882224 w 26653740"/>
                <a:gd name="connsiteY5408" fmla="*/ 8241277 h 16570717"/>
                <a:gd name="connsiteX5409" fmla="*/ 1901284 w 26653740"/>
                <a:gd name="connsiteY5409" fmla="*/ 8198391 h 16570717"/>
                <a:gd name="connsiteX5410" fmla="*/ 1915580 w 26653740"/>
                <a:gd name="connsiteY5410" fmla="*/ 8188860 h 16570717"/>
                <a:gd name="connsiteX5411" fmla="*/ 1934640 w 26653740"/>
                <a:gd name="connsiteY5411" fmla="*/ 8198391 h 16570717"/>
                <a:gd name="connsiteX5412" fmla="*/ 1939408 w 26653740"/>
                <a:gd name="connsiteY5412" fmla="*/ 8188860 h 16570717"/>
                <a:gd name="connsiteX5413" fmla="*/ 1929876 w 26653740"/>
                <a:gd name="connsiteY5413" fmla="*/ 8150740 h 16570717"/>
                <a:gd name="connsiteX5414" fmla="*/ 1929876 w 26653740"/>
                <a:gd name="connsiteY5414" fmla="*/ 8131679 h 16570717"/>
                <a:gd name="connsiteX5415" fmla="*/ 1996588 w 26653740"/>
                <a:gd name="connsiteY5415" fmla="*/ 8174565 h 16570717"/>
                <a:gd name="connsiteX5416" fmla="*/ 2020412 w 26653740"/>
                <a:gd name="connsiteY5416" fmla="*/ 8198391 h 16570717"/>
                <a:gd name="connsiteX5417" fmla="*/ 2082360 w 26653740"/>
                <a:gd name="connsiteY5417" fmla="*/ 8226982 h 16570717"/>
                <a:gd name="connsiteX5418" fmla="*/ 2091892 w 26653740"/>
                <a:gd name="connsiteY5418" fmla="*/ 8236512 h 16570717"/>
                <a:gd name="connsiteX5419" fmla="*/ 2091892 w 26653740"/>
                <a:gd name="connsiteY5419" fmla="*/ 8260338 h 16570717"/>
                <a:gd name="connsiteX5420" fmla="*/ 2087124 w 26653740"/>
                <a:gd name="connsiteY5420" fmla="*/ 8279398 h 16570717"/>
                <a:gd name="connsiteX5421" fmla="*/ 2077596 w 26653740"/>
                <a:gd name="connsiteY5421" fmla="*/ 8293694 h 16570717"/>
                <a:gd name="connsiteX5422" fmla="*/ 2053768 w 26653740"/>
                <a:gd name="connsiteY5422" fmla="*/ 8288928 h 16570717"/>
                <a:gd name="connsiteX5423" fmla="*/ 1963232 w 26653740"/>
                <a:gd name="connsiteY5423" fmla="*/ 8260338 h 16570717"/>
                <a:gd name="connsiteX5424" fmla="*/ 1948936 w 26653740"/>
                <a:gd name="connsiteY5424" fmla="*/ 8279398 h 16570717"/>
                <a:gd name="connsiteX5425" fmla="*/ 1958468 w 26653740"/>
                <a:gd name="connsiteY5425" fmla="*/ 8293694 h 16570717"/>
                <a:gd name="connsiteX5426" fmla="*/ 1987056 w 26653740"/>
                <a:gd name="connsiteY5426" fmla="*/ 8312754 h 16570717"/>
                <a:gd name="connsiteX5427" fmla="*/ 1991824 w 26653740"/>
                <a:gd name="connsiteY5427" fmla="*/ 8346110 h 16570717"/>
                <a:gd name="connsiteX5428" fmla="*/ 2034708 w 26653740"/>
                <a:gd name="connsiteY5428" fmla="*/ 8341344 h 16570717"/>
                <a:gd name="connsiteX5429" fmla="*/ 2072832 w 26653740"/>
                <a:gd name="connsiteY5429" fmla="*/ 8355640 h 16570717"/>
                <a:gd name="connsiteX5430" fmla="*/ 2091892 w 26653740"/>
                <a:gd name="connsiteY5430" fmla="*/ 8350875 h 16570717"/>
                <a:gd name="connsiteX5431" fmla="*/ 2091892 w 26653740"/>
                <a:gd name="connsiteY5431" fmla="*/ 8360405 h 16570717"/>
                <a:gd name="connsiteX5432" fmla="*/ 2082360 w 26653740"/>
                <a:gd name="connsiteY5432" fmla="*/ 8388996 h 16570717"/>
                <a:gd name="connsiteX5433" fmla="*/ 2087124 w 26653740"/>
                <a:gd name="connsiteY5433" fmla="*/ 8398526 h 16570717"/>
                <a:gd name="connsiteX5434" fmla="*/ 2130012 w 26653740"/>
                <a:gd name="connsiteY5434" fmla="*/ 8369936 h 16570717"/>
                <a:gd name="connsiteX5435" fmla="*/ 2149072 w 26653740"/>
                <a:gd name="connsiteY5435" fmla="*/ 8365170 h 16570717"/>
                <a:gd name="connsiteX5436" fmla="*/ 2163368 w 26653740"/>
                <a:gd name="connsiteY5436" fmla="*/ 8369936 h 16570717"/>
                <a:gd name="connsiteX5437" fmla="*/ 2163368 w 26653740"/>
                <a:gd name="connsiteY5437" fmla="*/ 8393761 h 16570717"/>
                <a:gd name="connsiteX5438" fmla="*/ 2153836 w 26653740"/>
                <a:gd name="connsiteY5438" fmla="*/ 8422352 h 16570717"/>
                <a:gd name="connsiteX5439" fmla="*/ 2153836 w 26653740"/>
                <a:gd name="connsiteY5439" fmla="*/ 8441412 h 16570717"/>
                <a:gd name="connsiteX5440" fmla="*/ 2139540 w 26653740"/>
                <a:gd name="connsiteY5440" fmla="*/ 8493828 h 16570717"/>
                <a:gd name="connsiteX5441" fmla="*/ 2120480 w 26653740"/>
                <a:gd name="connsiteY5441" fmla="*/ 8508124 h 16570717"/>
                <a:gd name="connsiteX5442" fmla="*/ 2110952 w 26653740"/>
                <a:gd name="connsiteY5442" fmla="*/ 8527184 h 16570717"/>
                <a:gd name="connsiteX5443" fmla="*/ 2144308 w 26653740"/>
                <a:gd name="connsiteY5443" fmla="*/ 8517654 h 16570717"/>
                <a:gd name="connsiteX5444" fmla="*/ 2158604 w 26653740"/>
                <a:gd name="connsiteY5444" fmla="*/ 8503359 h 16570717"/>
                <a:gd name="connsiteX5445" fmla="*/ 2187192 w 26653740"/>
                <a:gd name="connsiteY5445" fmla="*/ 8431882 h 16570717"/>
                <a:gd name="connsiteX5446" fmla="*/ 2196724 w 26653740"/>
                <a:gd name="connsiteY5446" fmla="*/ 8422352 h 16570717"/>
                <a:gd name="connsiteX5447" fmla="*/ 2282496 w 26653740"/>
                <a:gd name="connsiteY5447" fmla="*/ 8422352 h 16570717"/>
                <a:gd name="connsiteX5448" fmla="*/ 2301556 w 26653740"/>
                <a:gd name="connsiteY5448" fmla="*/ 8427117 h 16570717"/>
                <a:gd name="connsiteX5449" fmla="*/ 2382564 w 26653740"/>
                <a:gd name="connsiteY5449" fmla="*/ 8460473 h 16570717"/>
                <a:gd name="connsiteX5450" fmla="*/ 2406388 w 26653740"/>
                <a:gd name="connsiteY5450" fmla="*/ 8460473 h 16570717"/>
                <a:gd name="connsiteX5451" fmla="*/ 2430216 w 26653740"/>
                <a:gd name="connsiteY5451" fmla="*/ 8460473 h 16570717"/>
                <a:gd name="connsiteX5452" fmla="*/ 2439744 w 26653740"/>
                <a:gd name="connsiteY5452" fmla="*/ 8441412 h 16570717"/>
                <a:gd name="connsiteX5453" fmla="*/ 2449276 w 26653740"/>
                <a:gd name="connsiteY5453" fmla="*/ 8436647 h 16570717"/>
                <a:gd name="connsiteX5454" fmla="*/ 2535048 w 26653740"/>
                <a:gd name="connsiteY5454" fmla="*/ 8474768 h 16570717"/>
                <a:gd name="connsiteX5455" fmla="*/ 2654176 w 26653740"/>
                <a:gd name="connsiteY5455" fmla="*/ 8555776 h 16570717"/>
                <a:gd name="connsiteX5456" fmla="*/ 2830484 w 26653740"/>
                <a:gd name="connsiteY5456" fmla="*/ 8693964 h 16570717"/>
                <a:gd name="connsiteX5457" fmla="*/ 2925788 w 26653740"/>
                <a:gd name="connsiteY5457" fmla="*/ 8813092 h 16570717"/>
                <a:gd name="connsiteX5458" fmla="*/ 2940084 w 26653740"/>
                <a:gd name="connsiteY5458" fmla="*/ 8836918 h 16570717"/>
                <a:gd name="connsiteX5459" fmla="*/ 2973440 w 26653740"/>
                <a:gd name="connsiteY5459" fmla="*/ 8851213 h 16570717"/>
                <a:gd name="connsiteX5460" fmla="*/ 2982968 w 26653740"/>
                <a:gd name="connsiteY5460" fmla="*/ 8841683 h 16570717"/>
                <a:gd name="connsiteX5461" fmla="*/ 3002028 w 26653740"/>
                <a:gd name="connsiteY5461" fmla="*/ 8846448 h 16570717"/>
                <a:gd name="connsiteX5462" fmla="*/ 3116392 w 26653740"/>
                <a:gd name="connsiteY5462" fmla="*/ 8956046 h 16570717"/>
                <a:gd name="connsiteX5463" fmla="*/ 3154512 w 26653740"/>
                <a:gd name="connsiteY5463" fmla="*/ 8960811 h 16570717"/>
                <a:gd name="connsiteX5464" fmla="*/ 3149748 w 26653740"/>
                <a:gd name="connsiteY5464" fmla="*/ 8936986 h 16570717"/>
                <a:gd name="connsiteX5465" fmla="*/ 3144984 w 26653740"/>
                <a:gd name="connsiteY5465" fmla="*/ 8917925 h 16570717"/>
                <a:gd name="connsiteX5466" fmla="*/ 3154512 w 26653740"/>
                <a:gd name="connsiteY5466" fmla="*/ 8922690 h 16570717"/>
                <a:gd name="connsiteX5467" fmla="*/ 3168808 w 26653740"/>
                <a:gd name="connsiteY5467" fmla="*/ 8936986 h 16570717"/>
                <a:gd name="connsiteX5468" fmla="*/ 3187868 w 26653740"/>
                <a:gd name="connsiteY5468" fmla="*/ 8979872 h 16570717"/>
                <a:gd name="connsiteX5469" fmla="*/ 3216460 w 26653740"/>
                <a:gd name="connsiteY5469" fmla="*/ 9008462 h 16570717"/>
                <a:gd name="connsiteX5470" fmla="*/ 3245052 w 26653740"/>
                <a:gd name="connsiteY5470" fmla="*/ 9056114 h 16570717"/>
                <a:gd name="connsiteX5471" fmla="*/ 3264112 w 26653740"/>
                <a:gd name="connsiteY5471" fmla="*/ 9070409 h 16570717"/>
                <a:gd name="connsiteX5472" fmla="*/ 3287936 w 26653740"/>
                <a:gd name="connsiteY5472" fmla="*/ 9079940 h 16570717"/>
                <a:gd name="connsiteX5473" fmla="*/ 3302232 w 26653740"/>
                <a:gd name="connsiteY5473" fmla="*/ 9089470 h 16570717"/>
                <a:gd name="connsiteX5474" fmla="*/ 3335588 w 26653740"/>
                <a:gd name="connsiteY5474" fmla="*/ 9103765 h 16570717"/>
                <a:gd name="connsiteX5475" fmla="*/ 3349884 w 26653740"/>
                <a:gd name="connsiteY5475" fmla="*/ 9213363 h 16570717"/>
                <a:gd name="connsiteX5476" fmla="*/ 3359416 w 26653740"/>
                <a:gd name="connsiteY5476" fmla="*/ 9237188 h 16570717"/>
                <a:gd name="connsiteX5477" fmla="*/ 3359416 w 26653740"/>
                <a:gd name="connsiteY5477" fmla="*/ 9284840 h 16570717"/>
                <a:gd name="connsiteX5478" fmla="*/ 3383240 w 26653740"/>
                <a:gd name="connsiteY5478" fmla="*/ 9303900 h 16570717"/>
                <a:gd name="connsiteX5479" fmla="*/ 3397536 w 26653740"/>
                <a:gd name="connsiteY5479" fmla="*/ 9308666 h 16570717"/>
                <a:gd name="connsiteX5480" fmla="*/ 3397536 w 26653740"/>
                <a:gd name="connsiteY5480" fmla="*/ 9346786 h 16570717"/>
                <a:gd name="connsiteX5481" fmla="*/ 3383240 w 26653740"/>
                <a:gd name="connsiteY5481" fmla="*/ 9427794 h 16570717"/>
                <a:gd name="connsiteX5482" fmla="*/ 3368944 w 26653740"/>
                <a:gd name="connsiteY5482" fmla="*/ 9461150 h 16570717"/>
                <a:gd name="connsiteX5483" fmla="*/ 3264112 w 26653740"/>
                <a:gd name="connsiteY5483" fmla="*/ 9613634 h 16570717"/>
                <a:gd name="connsiteX5484" fmla="*/ 3202164 w 26653740"/>
                <a:gd name="connsiteY5484" fmla="*/ 9670815 h 16570717"/>
                <a:gd name="connsiteX5485" fmla="*/ 3073508 w 26653740"/>
                <a:gd name="connsiteY5485" fmla="*/ 9732762 h 16570717"/>
                <a:gd name="connsiteX5486" fmla="*/ 2973440 w 26653740"/>
                <a:gd name="connsiteY5486" fmla="*/ 9756588 h 16570717"/>
                <a:gd name="connsiteX5487" fmla="*/ 2935320 w 26653740"/>
                <a:gd name="connsiteY5487" fmla="*/ 9761352 h 16570717"/>
                <a:gd name="connsiteX5488" fmla="*/ 2854312 w 26653740"/>
                <a:gd name="connsiteY5488" fmla="*/ 9747057 h 16570717"/>
                <a:gd name="connsiteX5489" fmla="*/ 2811424 w 26653740"/>
                <a:gd name="connsiteY5489" fmla="*/ 9737527 h 16570717"/>
                <a:gd name="connsiteX5490" fmla="*/ 2763772 w 26653740"/>
                <a:gd name="connsiteY5490" fmla="*/ 9699406 h 16570717"/>
                <a:gd name="connsiteX5491" fmla="*/ 2711356 w 26653740"/>
                <a:gd name="connsiteY5491" fmla="*/ 9680346 h 16570717"/>
                <a:gd name="connsiteX5492" fmla="*/ 2678000 w 26653740"/>
                <a:gd name="connsiteY5492" fmla="*/ 9670815 h 16570717"/>
                <a:gd name="connsiteX5493" fmla="*/ 2616056 w 26653740"/>
                <a:gd name="connsiteY5493" fmla="*/ 9666050 h 16570717"/>
                <a:gd name="connsiteX5494" fmla="*/ 2482632 w 26653740"/>
                <a:gd name="connsiteY5494" fmla="*/ 9632694 h 16570717"/>
                <a:gd name="connsiteX5495" fmla="*/ 2458804 w 26653740"/>
                <a:gd name="connsiteY5495" fmla="*/ 9618398 h 16570717"/>
                <a:gd name="connsiteX5496" fmla="*/ 2377800 w 26653740"/>
                <a:gd name="connsiteY5496" fmla="*/ 9546922 h 16570717"/>
                <a:gd name="connsiteX5497" fmla="*/ 2339676 w 26653740"/>
                <a:gd name="connsiteY5497" fmla="*/ 9565982 h 16570717"/>
                <a:gd name="connsiteX5498" fmla="*/ 2320616 w 26653740"/>
                <a:gd name="connsiteY5498" fmla="*/ 9570748 h 16570717"/>
                <a:gd name="connsiteX5499" fmla="*/ 2311088 w 26653740"/>
                <a:gd name="connsiteY5499" fmla="*/ 9546922 h 16570717"/>
                <a:gd name="connsiteX5500" fmla="*/ 2315852 w 26653740"/>
                <a:gd name="connsiteY5500" fmla="*/ 9542156 h 16570717"/>
                <a:gd name="connsiteX5501" fmla="*/ 2315852 w 26653740"/>
                <a:gd name="connsiteY5501" fmla="*/ 9532626 h 16570717"/>
                <a:gd name="connsiteX5502" fmla="*/ 2268200 w 26653740"/>
                <a:gd name="connsiteY5502" fmla="*/ 9508801 h 16570717"/>
                <a:gd name="connsiteX5503" fmla="*/ 2230080 w 26653740"/>
                <a:gd name="connsiteY5503" fmla="*/ 9508801 h 16570717"/>
                <a:gd name="connsiteX5504" fmla="*/ 2211020 w 26653740"/>
                <a:gd name="connsiteY5504" fmla="*/ 9494506 h 16570717"/>
                <a:gd name="connsiteX5505" fmla="*/ 2182428 w 26653740"/>
                <a:gd name="connsiteY5505" fmla="*/ 9480210 h 16570717"/>
                <a:gd name="connsiteX5506" fmla="*/ 2172896 w 26653740"/>
                <a:gd name="connsiteY5506" fmla="*/ 9484975 h 16570717"/>
                <a:gd name="connsiteX5507" fmla="*/ 2163368 w 26653740"/>
                <a:gd name="connsiteY5507" fmla="*/ 9484975 h 16570717"/>
                <a:gd name="connsiteX5508" fmla="*/ 2115716 w 26653740"/>
                <a:gd name="connsiteY5508" fmla="*/ 9456384 h 16570717"/>
                <a:gd name="connsiteX5509" fmla="*/ 2091892 w 26653740"/>
                <a:gd name="connsiteY5509" fmla="*/ 9427794 h 16570717"/>
                <a:gd name="connsiteX5510" fmla="*/ 2068064 w 26653740"/>
                <a:gd name="connsiteY5510" fmla="*/ 9384908 h 16570717"/>
                <a:gd name="connsiteX5511" fmla="*/ 2072832 w 26653740"/>
                <a:gd name="connsiteY5511" fmla="*/ 9370612 h 16570717"/>
                <a:gd name="connsiteX5512" fmla="*/ 2077596 w 26653740"/>
                <a:gd name="connsiteY5512" fmla="*/ 9356316 h 16570717"/>
                <a:gd name="connsiteX5513" fmla="*/ 1996588 w 26653740"/>
                <a:gd name="connsiteY5513" fmla="*/ 9332491 h 16570717"/>
                <a:gd name="connsiteX5514" fmla="*/ 1920344 w 26653740"/>
                <a:gd name="connsiteY5514" fmla="*/ 9327726 h 16570717"/>
                <a:gd name="connsiteX5515" fmla="*/ 1929876 w 26653740"/>
                <a:gd name="connsiteY5515" fmla="*/ 9342022 h 16570717"/>
                <a:gd name="connsiteX5516" fmla="*/ 1967996 w 26653740"/>
                <a:gd name="connsiteY5516" fmla="*/ 9346786 h 16570717"/>
                <a:gd name="connsiteX5517" fmla="*/ 1987056 w 26653740"/>
                <a:gd name="connsiteY5517" fmla="*/ 9365847 h 16570717"/>
                <a:gd name="connsiteX5518" fmla="*/ 2010884 w 26653740"/>
                <a:gd name="connsiteY5518" fmla="*/ 9389672 h 16570717"/>
                <a:gd name="connsiteX5519" fmla="*/ 2006120 w 26653740"/>
                <a:gd name="connsiteY5519" fmla="*/ 9427794 h 16570717"/>
                <a:gd name="connsiteX5520" fmla="*/ 2039476 w 26653740"/>
                <a:gd name="connsiteY5520" fmla="*/ 9461150 h 16570717"/>
                <a:gd name="connsiteX5521" fmla="*/ 2068064 w 26653740"/>
                <a:gd name="connsiteY5521" fmla="*/ 9494506 h 16570717"/>
                <a:gd name="connsiteX5522" fmla="*/ 2068064 w 26653740"/>
                <a:gd name="connsiteY5522" fmla="*/ 9504036 h 16570717"/>
                <a:gd name="connsiteX5523" fmla="*/ 2077596 w 26653740"/>
                <a:gd name="connsiteY5523" fmla="*/ 9508801 h 16570717"/>
                <a:gd name="connsiteX5524" fmla="*/ 2120480 w 26653740"/>
                <a:gd name="connsiteY5524" fmla="*/ 9518331 h 16570717"/>
                <a:gd name="connsiteX5525" fmla="*/ 2125248 w 26653740"/>
                <a:gd name="connsiteY5525" fmla="*/ 9551687 h 16570717"/>
                <a:gd name="connsiteX5526" fmla="*/ 2120480 w 26653740"/>
                <a:gd name="connsiteY5526" fmla="*/ 9561217 h 16570717"/>
                <a:gd name="connsiteX5527" fmla="*/ 2125248 w 26653740"/>
                <a:gd name="connsiteY5527" fmla="*/ 9580278 h 16570717"/>
                <a:gd name="connsiteX5528" fmla="*/ 2153836 w 26653740"/>
                <a:gd name="connsiteY5528" fmla="*/ 9599338 h 16570717"/>
                <a:gd name="connsiteX5529" fmla="*/ 2172896 w 26653740"/>
                <a:gd name="connsiteY5529" fmla="*/ 9604104 h 16570717"/>
                <a:gd name="connsiteX5530" fmla="*/ 2191960 w 26653740"/>
                <a:gd name="connsiteY5530" fmla="*/ 9613634 h 16570717"/>
                <a:gd name="connsiteX5531" fmla="*/ 2182428 w 26653740"/>
                <a:gd name="connsiteY5531" fmla="*/ 9637459 h 16570717"/>
                <a:gd name="connsiteX5532" fmla="*/ 2163368 w 26653740"/>
                <a:gd name="connsiteY5532" fmla="*/ 9651754 h 16570717"/>
                <a:gd name="connsiteX5533" fmla="*/ 2149072 w 26653740"/>
                <a:gd name="connsiteY5533" fmla="*/ 9656520 h 16570717"/>
                <a:gd name="connsiteX5534" fmla="*/ 2153836 w 26653740"/>
                <a:gd name="connsiteY5534" fmla="*/ 9661285 h 16570717"/>
                <a:gd name="connsiteX5535" fmla="*/ 2177664 w 26653740"/>
                <a:gd name="connsiteY5535" fmla="*/ 9661285 h 16570717"/>
                <a:gd name="connsiteX5536" fmla="*/ 2263436 w 26653740"/>
                <a:gd name="connsiteY5536" fmla="*/ 9699406 h 16570717"/>
                <a:gd name="connsiteX5537" fmla="*/ 2311088 w 26653740"/>
                <a:gd name="connsiteY5537" fmla="*/ 9737527 h 16570717"/>
                <a:gd name="connsiteX5538" fmla="*/ 2353972 w 26653740"/>
                <a:gd name="connsiteY5538" fmla="*/ 9804238 h 16570717"/>
                <a:gd name="connsiteX5539" fmla="*/ 2368268 w 26653740"/>
                <a:gd name="connsiteY5539" fmla="*/ 9837594 h 16570717"/>
                <a:gd name="connsiteX5540" fmla="*/ 2373032 w 26653740"/>
                <a:gd name="connsiteY5540" fmla="*/ 9856655 h 16570717"/>
                <a:gd name="connsiteX5541" fmla="*/ 2368268 w 26653740"/>
                <a:gd name="connsiteY5541" fmla="*/ 9875716 h 16570717"/>
                <a:gd name="connsiteX5542" fmla="*/ 2363504 w 26653740"/>
                <a:gd name="connsiteY5542" fmla="*/ 9894776 h 16570717"/>
                <a:gd name="connsiteX5543" fmla="*/ 2358736 w 26653740"/>
                <a:gd name="connsiteY5543" fmla="*/ 9913836 h 16570717"/>
                <a:gd name="connsiteX5544" fmla="*/ 2344444 w 26653740"/>
                <a:gd name="connsiteY5544" fmla="*/ 9971018 h 16570717"/>
                <a:gd name="connsiteX5545" fmla="*/ 2330148 w 26653740"/>
                <a:gd name="connsiteY5545" fmla="*/ 9990078 h 16570717"/>
                <a:gd name="connsiteX5546" fmla="*/ 2311088 w 26653740"/>
                <a:gd name="connsiteY5546" fmla="*/ 10013904 h 16570717"/>
                <a:gd name="connsiteX5547" fmla="*/ 2330148 w 26653740"/>
                <a:gd name="connsiteY5547" fmla="*/ 10056790 h 16570717"/>
                <a:gd name="connsiteX5548" fmla="*/ 2353972 w 26653740"/>
                <a:gd name="connsiteY5548" fmla="*/ 10099676 h 16570717"/>
                <a:gd name="connsiteX5549" fmla="*/ 2373032 w 26653740"/>
                <a:gd name="connsiteY5549" fmla="*/ 10166388 h 16570717"/>
                <a:gd name="connsiteX5550" fmla="*/ 2377800 w 26653740"/>
                <a:gd name="connsiteY5550" fmla="*/ 10194979 h 16570717"/>
                <a:gd name="connsiteX5551" fmla="*/ 2377800 w 26653740"/>
                <a:gd name="connsiteY5551" fmla="*/ 10233100 h 16570717"/>
                <a:gd name="connsiteX5552" fmla="*/ 2396860 w 26653740"/>
                <a:gd name="connsiteY5552" fmla="*/ 10252160 h 16570717"/>
                <a:gd name="connsiteX5553" fmla="*/ 2387328 w 26653740"/>
                <a:gd name="connsiteY5553" fmla="*/ 10256926 h 16570717"/>
                <a:gd name="connsiteX5554" fmla="*/ 2382564 w 26653740"/>
                <a:gd name="connsiteY5554" fmla="*/ 10271221 h 16570717"/>
                <a:gd name="connsiteX5555" fmla="*/ 2382564 w 26653740"/>
                <a:gd name="connsiteY5555" fmla="*/ 10323638 h 16570717"/>
                <a:gd name="connsiteX5556" fmla="*/ 2406388 w 26653740"/>
                <a:gd name="connsiteY5556" fmla="*/ 10366524 h 16570717"/>
                <a:gd name="connsiteX5557" fmla="*/ 2449276 w 26653740"/>
                <a:gd name="connsiteY5557" fmla="*/ 10395114 h 16570717"/>
                <a:gd name="connsiteX5558" fmla="*/ 2468336 w 26653740"/>
                <a:gd name="connsiteY5558" fmla="*/ 10399880 h 16570717"/>
                <a:gd name="connsiteX5559" fmla="*/ 2506456 w 26653740"/>
                <a:gd name="connsiteY5559" fmla="*/ 10390350 h 16570717"/>
                <a:gd name="connsiteX5560" fmla="*/ 2530284 w 26653740"/>
                <a:gd name="connsiteY5560" fmla="*/ 10404644 h 16570717"/>
                <a:gd name="connsiteX5561" fmla="*/ 2582700 w 26653740"/>
                <a:gd name="connsiteY5561" fmla="*/ 10457061 h 16570717"/>
                <a:gd name="connsiteX5562" fmla="*/ 2606524 w 26653740"/>
                <a:gd name="connsiteY5562" fmla="*/ 10514242 h 16570717"/>
                <a:gd name="connsiteX5563" fmla="*/ 2616056 w 26653740"/>
                <a:gd name="connsiteY5563" fmla="*/ 10523773 h 16570717"/>
                <a:gd name="connsiteX5564" fmla="*/ 2668472 w 26653740"/>
                <a:gd name="connsiteY5564" fmla="*/ 10542834 h 16570717"/>
                <a:gd name="connsiteX5565" fmla="*/ 2711356 w 26653740"/>
                <a:gd name="connsiteY5565" fmla="*/ 10557128 h 16570717"/>
                <a:gd name="connsiteX5566" fmla="*/ 2773304 w 26653740"/>
                <a:gd name="connsiteY5566" fmla="*/ 10590484 h 16570717"/>
                <a:gd name="connsiteX5567" fmla="*/ 2782832 w 26653740"/>
                <a:gd name="connsiteY5567" fmla="*/ 10590484 h 16570717"/>
                <a:gd name="connsiteX5568" fmla="*/ 2816192 w 26653740"/>
                <a:gd name="connsiteY5568" fmla="*/ 10561894 h 16570717"/>
                <a:gd name="connsiteX5569" fmla="*/ 2868608 w 26653740"/>
                <a:gd name="connsiteY5569" fmla="*/ 10542834 h 16570717"/>
                <a:gd name="connsiteX5570" fmla="*/ 2882900 w 26653740"/>
                <a:gd name="connsiteY5570" fmla="*/ 10514242 h 16570717"/>
                <a:gd name="connsiteX5571" fmla="*/ 2882900 w 26653740"/>
                <a:gd name="connsiteY5571" fmla="*/ 10490417 h 16570717"/>
                <a:gd name="connsiteX5572" fmla="*/ 2868608 w 26653740"/>
                <a:gd name="connsiteY5572" fmla="*/ 10452296 h 16570717"/>
                <a:gd name="connsiteX5573" fmla="*/ 2863840 w 26653740"/>
                <a:gd name="connsiteY5573" fmla="*/ 10409410 h 16570717"/>
                <a:gd name="connsiteX5574" fmla="*/ 2844780 w 26653740"/>
                <a:gd name="connsiteY5574" fmla="*/ 10395114 h 16570717"/>
                <a:gd name="connsiteX5575" fmla="*/ 2830484 w 26653740"/>
                <a:gd name="connsiteY5575" fmla="*/ 10380819 h 16570717"/>
                <a:gd name="connsiteX5576" fmla="*/ 2782832 w 26653740"/>
                <a:gd name="connsiteY5576" fmla="*/ 10390350 h 16570717"/>
                <a:gd name="connsiteX5577" fmla="*/ 2759008 w 26653740"/>
                <a:gd name="connsiteY5577" fmla="*/ 10390350 h 16570717"/>
                <a:gd name="connsiteX5578" fmla="*/ 2744712 w 26653740"/>
                <a:gd name="connsiteY5578" fmla="*/ 10376054 h 16570717"/>
                <a:gd name="connsiteX5579" fmla="*/ 2720888 w 26653740"/>
                <a:gd name="connsiteY5579" fmla="*/ 10347463 h 16570717"/>
                <a:gd name="connsiteX5580" fmla="*/ 2678000 w 26653740"/>
                <a:gd name="connsiteY5580" fmla="*/ 10275986 h 16570717"/>
                <a:gd name="connsiteX5581" fmla="*/ 2654176 w 26653740"/>
                <a:gd name="connsiteY5581" fmla="*/ 10252160 h 16570717"/>
                <a:gd name="connsiteX5582" fmla="*/ 2649412 w 26653740"/>
                <a:gd name="connsiteY5582" fmla="*/ 10237865 h 16570717"/>
                <a:gd name="connsiteX5583" fmla="*/ 2639880 w 26653740"/>
                <a:gd name="connsiteY5583" fmla="*/ 10218804 h 16570717"/>
                <a:gd name="connsiteX5584" fmla="*/ 2644644 w 26653740"/>
                <a:gd name="connsiteY5584" fmla="*/ 10185449 h 16570717"/>
                <a:gd name="connsiteX5585" fmla="*/ 2663704 w 26653740"/>
                <a:gd name="connsiteY5585" fmla="*/ 10185449 h 16570717"/>
                <a:gd name="connsiteX5586" fmla="*/ 2682768 w 26653740"/>
                <a:gd name="connsiteY5586" fmla="*/ 10166388 h 16570717"/>
                <a:gd name="connsiteX5587" fmla="*/ 2697060 w 26653740"/>
                <a:gd name="connsiteY5587" fmla="*/ 10099676 h 16570717"/>
                <a:gd name="connsiteX5588" fmla="*/ 2725652 w 26653740"/>
                <a:gd name="connsiteY5588" fmla="*/ 10090146 h 16570717"/>
                <a:gd name="connsiteX5589" fmla="*/ 2739948 w 26653740"/>
                <a:gd name="connsiteY5589" fmla="*/ 10090146 h 16570717"/>
                <a:gd name="connsiteX5590" fmla="*/ 2797128 w 26653740"/>
                <a:gd name="connsiteY5590" fmla="*/ 10123502 h 16570717"/>
                <a:gd name="connsiteX5591" fmla="*/ 2873372 w 26653740"/>
                <a:gd name="connsiteY5591" fmla="*/ 10204510 h 16570717"/>
                <a:gd name="connsiteX5592" fmla="*/ 2887668 w 26653740"/>
                <a:gd name="connsiteY5592" fmla="*/ 10214040 h 16570717"/>
                <a:gd name="connsiteX5593" fmla="*/ 2906728 w 26653740"/>
                <a:gd name="connsiteY5593" fmla="*/ 10214040 h 16570717"/>
                <a:gd name="connsiteX5594" fmla="*/ 2935320 w 26653740"/>
                <a:gd name="connsiteY5594" fmla="*/ 10214040 h 16570717"/>
                <a:gd name="connsiteX5595" fmla="*/ 2940084 w 26653740"/>
                <a:gd name="connsiteY5595" fmla="*/ 10223570 h 16570717"/>
                <a:gd name="connsiteX5596" fmla="*/ 2954380 w 26653740"/>
                <a:gd name="connsiteY5596" fmla="*/ 10237865 h 16570717"/>
                <a:gd name="connsiteX5597" fmla="*/ 2968672 w 26653740"/>
                <a:gd name="connsiteY5597" fmla="*/ 10242630 h 16570717"/>
                <a:gd name="connsiteX5598" fmla="*/ 3035384 w 26653740"/>
                <a:gd name="connsiteY5598" fmla="*/ 10266456 h 16570717"/>
                <a:gd name="connsiteX5599" fmla="*/ 3116392 w 26653740"/>
                <a:gd name="connsiteY5599" fmla="*/ 10318872 h 16570717"/>
                <a:gd name="connsiteX5600" fmla="*/ 3144984 w 26653740"/>
                <a:gd name="connsiteY5600" fmla="*/ 10318872 h 16570717"/>
                <a:gd name="connsiteX5601" fmla="*/ 3159280 w 26653740"/>
                <a:gd name="connsiteY5601" fmla="*/ 10290282 h 16570717"/>
                <a:gd name="connsiteX5602" fmla="*/ 3159280 w 26653740"/>
                <a:gd name="connsiteY5602" fmla="*/ 10275986 h 16570717"/>
                <a:gd name="connsiteX5603" fmla="*/ 3192636 w 26653740"/>
                <a:gd name="connsiteY5603" fmla="*/ 10247396 h 16570717"/>
                <a:gd name="connsiteX5604" fmla="*/ 3216460 w 26653740"/>
                <a:gd name="connsiteY5604" fmla="*/ 10242630 h 16570717"/>
                <a:gd name="connsiteX5605" fmla="*/ 3249816 w 26653740"/>
                <a:gd name="connsiteY5605" fmla="*/ 10252160 h 16570717"/>
                <a:gd name="connsiteX5606" fmla="*/ 3254580 w 26653740"/>
                <a:gd name="connsiteY5606" fmla="*/ 10242630 h 16570717"/>
                <a:gd name="connsiteX5607" fmla="*/ 3240288 w 26653740"/>
                <a:gd name="connsiteY5607" fmla="*/ 10199744 h 16570717"/>
                <a:gd name="connsiteX5608" fmla="*/ 3225992 w 26653740"/>
                <a:gd name="connsiteY5608" fmla="*/ 10161623 h 16570717"/>
                <a:gd name="connsiteX5609" fmla="*/ 3206932 w 26653740"/>
                <a:gd name="connsiteY5609" fmla="*/ 10137798 h 16570717"/>
                <a:gd name="connsiteX5610" fmla="*/ 3168808 w 26653740"/>
                <a:gd name="connsiteY5610" fmla="*/ 10066320 h 16570717"/>
                <a:gd name="connsiteX5611" fmla="*/ 3154512 w 26653740"/>
                <a:gd name="connsiteY5611" fmla="*/ 10032964 h 16570717"/>
                <a:gd name="connsiteX5612" fmla="*/ 3144984 w 26653740"/>
                <a:gd name="connsiteY5612" fmla="*/ 9994844 h 16570717"/>
                <a:gd name="connsiteX5613" fmla="*/ 3149748 w 26653740"/>
                <a:gd name="connsiteY5613" fmla="*/ 9961488 h 16570717"/>
                <a:gd name="connsiteX5614" fmla="*/ 3154512 w 26653740"/>
                <a:gd name="connsiteY5614" fmla="*/ 9937662 h 16570717"/>
                <a:gd name="connsiteX5615" fmla="*/ 3235520 w 26653740"/>
                <a:gd name="connsiteY5615" fmla="*/ 9880480 h 16570717"/>
                <a:gd name="connsiteX5616" fmla="*/ 3264112 w 26653740"/>
                <a:gd name="connsiteY5616" fmla="*/ 9842360 h 16570717"/>
                <a:gd name="connsiteX5617" fmla="*/ 3292704 w 26653740"/>
                <a:gd name="connsiteY5617" fmla="*/ 9799474 h 16570717"/>
                <a:gd name="connsiteX5618" fmla="*/ 3307000 w 26653740"/>
                <a:gd name="connsiteY5618" fmla="*/ 9789944 h 16570717"/>
                <a:gd name="connsiteX5619" fmla="*/ 3349884 w 26653740"/>
                <a:gd name="connsiteY5619" fmla="*/ 9775648 h 16570717"/>
                <a:gd name="connsiteX5620" fmla="*/ 3416596 w 26653740"/>
                <a:gd name="connsiteY5620" fmla="*/ 9737527 h 16570717"/>
                <a:gd name="connsiteX5621" fmla="*/ 3464248 w 26653740"/>
                <a:gd name="connsiteY5621" fmla="*/ 9685110 h 16570717"/>
                <a:gd name="connsiteX5622" fmla="*/ 3507132 w 26653740"/>
                <a:gd name="connsiteY5622" fmla="*/ 9604104 h 16570717"/>
                <a:gd name="connsiteX5623" fmla="*/ 3530960 w 26653740"/>
                <a:gd name="connsiteY5623" fmla="*/ 9585043 h 16570717"/>
                <a:gd name="connsiteX5624" fmla="*/ 3545256 w 26653740"/>
                <a:gd name="connsiteY5624" fmla="*/ 9585043 h 16570717"/>
                <a:gd name="connsiteX5625" fmla="*/ 3569080 w 26653740"/>
                <a:gd name="connsiteY5625" fmla="*/ 9599338 h 16570717"/>
                <a:gd name="connsiteX5626" fmla="*/ 3588140 w 26653740"/>
                <a:gd name="connsiteY5626" fmla="*/ 9623164 h 16570717"/>
                <a:gd name="connsiteX5627" fmla="*/ 3621496 w 26653740"/>
                <a:gd name="connsiteY5627" fmla="*/ 9627929 h 16570717"/>
                <a:gd name="connsiteX5628" fmla="*/ 3654852 w 26653740"/>
                <a:gd name="connsiteY5628" fmla="*/ 9623164 h 16570717"/>
                <a:gd name="connsiteX5629" fmla="*/ 3688208 w 26653740"/>
                <a:gd name="connsiteY5629" fmla="*/ 9623164 h 16570717"/>
                <a:gd name="connsiteX5630" fmla="*/ 3740624 w 26653740"/>
                <a:gd name="connsiteY5630" fmla="*/ 9661285 h 16570717"/>
                <a:gd name="connsiteX5631" fmla="*/ 3745388 w 26653740"/>
                <a:gd name="connsiteY5631" fmla="*/ 9670815 h 16570717"/>
                <a:gd name="connsiteX5632" fmla="*/ 3754920 w 26653740"/>
                <a:gd name="connsiteY5632" fmla="*/ 9689876 h 16570717"/>
                <a:gd name="connsiteX5633" fmla="*/ 3740624 w 26653740"/>
                <a:gd name="connsiteY5633" fmla="*/ 9718466 h 16570717"/>
                <a:gd name="connsiteX5634" fmla="*/ 3735860 w 26653740"/>
                <a:gd name="connsiteY5634" fmla="*/ 9737527 h 16570717"/>
                <a:gd name="connsiteX5635" fmla="*/ 3750156 w 26653740"/>
                <a:gd name="connsiteY5635" fmla="*/ 9727996 h 16570717"/>
                <a:gd name="connsiteX5636" fmla="*/ 3769216 w 26653740"/>
                <a:gd name="connsiteY5636" fmla="*/ 9723232 h 16570717"/>
                <a:gd name="connsiteX5637" fmla="*/ 3783512 w 26653740"/>
                <a:gd name="connsiteY5637" fmla="*/ 9732762 h 16570717"/>
                <a:gd name="connsiteX5638" fmla="*/ 3797808 w 26653740"/>
                <a:gd name="connsiteY5638" fmla="*/ 9747057 h 16570717"/>
                <a:gd name="connsiteX5639" fmla="*/ 3812100 w 26653740"/>
                <a:gd name="connsiteY5639" fmla="*/ 9766118 h 16570717"/>
                <a:gd name="connsiteX5640" fmla="*/ 3826396 w 26653740"/>
                <a:gd name="connsiteY5640" fmla="*/ 9780413 h 16570717"/>
                <a:gd name="connsiteX5641" fmla="*/ 3831160 w 26653740"/>
                <a:gd name="connsiteY5641" fmla="*/ 9761352 h 16570717"/>
                <a:gd name="connsiteX5642" fmla="*/ 3831160 w 26653740"/>
                <a:gd name="connsiteY5642" fmla="*/ 9742292 h 16570717"/>
                <a:gd name="connsiteX5643" fmla="*/ 3821632 w 26653740"/>
                <a:gd name="connsiteY5643" fmla="*/ 9694640 h 16570717"/>
                <a:gd name="connsiteX5644" fmla="*/ 3845456 w 26653740"/>
                <a:gd name="connsiteY5644" fmla="*/ 9627929 h 16570717"/>
                <a:gd name="connsiteX5645" fmla="*/ 3859752 w 26653740"/>
                <a:gd name="connsiteY5645" fmla="*/ 9599338 h 16570717"/>
                <a:gd name="connsiteX5646" fmla="*/ 3883580 w 26653740"/>
                <a:gd name="connsiteY5646" fmla="*/ 9523096 h 16570717"/>
                <a:gd name="connsiteX5647" fmla="*/ 3878812 w 26653740"/>
                <a:gd name="connsiteY5647" fmla="*/ 9475445 h 16570717"/>
                <a:gd name="connsiteX5648" fmla="*/ 3874048 w 26653740"/>
                <a:gd name="connsiteY5648" fmla="*/ 9418264 h 16570717"/>
                <a:gd name="connsiteX5649" fmla="*/ 3869284 w 26653740"/>
                <a:gd name="connsiteY5649" fmla="*/ 9389672 h 16570717"/>
                <a:gd name="connsiteX5650" fmla="*/ 3854988 w 26653740"/>
                <a:gd name="connsiteY5650" fmla="*/ 9351552 h 16570717"/>
                <a:gd name="connsiteX5651" fmla="*/ 3821632 w 26653740"/>
                <a:gd name="connsiteY5651" fmla="*/ 9327726 h 16570717"/>
                <a:gd name="connsiteX5652" fmla="*/ 3788276 w 26653740"/>
                <a:gd name="connsiteY5652" fmla="*/ 9318196 h 16570717"/>
                <a:gd name="connsiteX5653" fmla="*/ 3773980 w 26653740"/>
                <a:gd name="connsiteY5653" fmla="*/ 9289605 h 16570717"/>
                <a:gd name="connsiteX5654" fmla="*/ 3778744 w 26653740"/>
                <a:gd name="connsiteY5654" fmla="*/ 9261014 h 16570717"/>
                <a:gd name="connsiteX5655" fmla="*/ 3788276 w 26653740"/>
                <a:gd name="connsiteY5655" fmla="*/ 9218128 h 16570717"/>
                <a:gd name="connsiteX5656" fmla="*/ 3816868 w 26653740"/>
                <a:gd name="connsiteY5656" fmla="*/ 9122826 h 16570717"/>
                <a:gd name="connsiteX5657" fmla="*/ 3845456 w 26653740"/>
                <a:gd name="connsiteY5657" fmla="*/ 8984637 h 16570717"/>
                <a:gd name="connsiteX5658" fmla="*/ 3845456 w 26653740"/>
                <a:gd name="connsiteY5658" fmla="*/ 8956046 h 16570717"/>
                <a:gd name="connsiteX5659" fmla="*/ 3840692 w 26653740"/>
                <a:gd name="connsiteY5659" fmla="*/ 8936986 h 16570717"/>
                <a:gd name="connsiteX5660" fmla="*/ 3845456 w 26653740"/>
                <a:gd name="connsiteY5660" fmla="*/ 8922690 h 16570717"/>
                <a:gd name="connsiteX5661" fmla="*/ 3840692 w 26653740"/>
                <a:gd name="connsiteY5661" fmla="*/ 8879804 h 16570717"/>
                <a:gd name="connsiteX5662" fmla="*/ 3835928 w 26653740"/>
                <a:gd name="connsiteY5662" fmla="*/ 8846448 h 16570717"/>
                <a:gd name="connsiteX5663" fmla="*/ 3716800 w 26653740"/>
                <a:gd name="connsiteY5663" fmla="*/ 8727320 h 16570717"/>
                <a:gd name="connsiteX5664" fmla="*/ 3707268 w 26653740"/>
                <a:gd name="connsiteY5664" fmla="*/ 8717790 h 16570717"/>
                <a:gd name="connsiteX5665" fmla="*/ 3702504 w 26653740"/>
                <a:gd name="connsiteY5665" fmla="*/ 8698729 h 16570717"/>
                <a:gd name="connsiteX5666" fmla="*/ 3716800 w 26653740"/>
                <a:gd name="connsiteY5666" fmla="*/ 8698729 h 16570717"/>
                <a:gd name="connsiteX5667" fmla="*/ 3726328 w 26653740"/>
                <a:gd name="connsiteY5667" fmla="*/ 8698729 h 16570717"/>
                <a:gd name="connsiteX5668" fmla="*/ 3816868 w 26653740"/>
                <a:gd name="connsiteY5668" fmla="*/ 8751146 h 16570717"/>
                <a:gd name="connsiteX5669" fmla="*/ 3835928 w 26653740"/>
                <a:gd name="connsiteY5669" fmla="*/ 8755910 h 16570717"/>
                <a:gd name="connsiteX5670" fmla="*/ 3978880 w 26653740"/>
                <a:gd name="connsiteY5670" fmla="*/ 8741616 h 16570717"/>
                <a:gd name="connsiteX5671" fmla="*/ 4045592 w 26653740"/>
                <a:gd name="connsiteY5671" fmla="*/ 8755910 h 16570717"/>
                <a:gd name="connsiteX5672" fmla="*/ 4102776 w 26653740"/>
                <a:gd name="connsiteY5672" fmla="*/ 8784502 h 16570717"/>
                <a:gd name="connsiteX5673" fmla="*/ 4145660 w 26653740"/>
                <a:gd name="connsiteY5673" fmla="*/ 8860744 h 16570717"/>
                <a:gd name="connsiteX5674" fmla="*/ 4188548 w 26653740"/>
                <a:gd name="connsiteY5674" fmla="*/ 8936986 h 16570717"/>
                <a:gd name="connsiteX5675" fmla="*/ 4226668 w 26653740"/>
                <a:gd name="connsiteY5675" fmla="*/ 8998932 h 16570717"/>
                <a:gd name="connsiteX5676" fmla="*/ 4231432 w 26653740"/>
                <a:gd name="connsiteY5676" fmla="*/ 9046584 h 16570717"/>
                <a:gd name="connsiteX5677" fmla="*/ 4188548 w 26653740"/>
                <a:gd name="connsiteY5677" fmla="*/ 9056114 h 16570717"/>
                <a:gd name="connsiteX5678" fmla="*/ 4150424 w 26653740"/>
                <a:gd name="connsiteY5678" fmla="*/ 9060879 h 16570717"/>
                <a:gd name="connsiteX5679" fmla="*/ 4045592 w 26653740"/>
                <a:gd name="connsiteY5679" fmla="*/ 9084704 h 16570717"/>
                <a:gd name="connsiteX5680" fmla="*/ 4021768 w 26653740"/>
                <a:gd name="connsiteY5680" fmla="*/ 9113295 h 16570717"/>
                <a:gd name="connsiteX5681" fmla="*/ 3955056 w 26653740"/>
                <a:gd name="connsiteY5681" fmla="*/ 9199068 h 16570717"/>
                <a:gd name="connsiteX5682" fmla="*/ 3950292 w 26653740"/>
                <a:gd name="connsiteY5682" fmla="*/ 9227658 h 16570717"/>
                <a:gd name="connsiteX5683" fmla="*/ 3955056 w 26653740"/>
                <a:gd name="connsiteY5683" fmla="*/ 9251484 h 16570717"/>
                <a:gd name="connsiteX5684" fmla="*/ 3988412 w 26653740"/>
                <a:gd name="connsiteY5684" fmla="*/ 9280074 h 16570717"/>
                <a:gd name="connsiteX5685" fmla="*/ 4055124 w 26653740"/>
                <a:gd name="connsiteY5685" fmla="*/ 9318196 h 16570717"/>
                <a:gd name="connsiteX5686" fmla="*/ 4083712 w 26653740"/>
                <a:gd name="connsiteY5686" fmla="*/ 9399203 h 16570717"/>
                <a:gd name="connsiteX5687" fmla="*/ 4102776 w 26653740"/>
                <a:gd name="connsiteY5687" fmla="*/ 9437324 h 16570717"/>
                <a:gd name="connsiteX5688" fmla="*/ 4117068 w 26653740"/>
                <a:gd name="connsiteY5688" fmla="*/ 9451619 h 16570717"/>
                <a:gd name="connsiteX5689" fmla="*/ 4136132 w 26653740"/>
                <a:gd name="connsiteY5689" fmla="*/ 9456384 h 16570717"/>
                <a:gd name="connsiteX5690" fmla="*/ 4169488 w 26653740"/>
                <a:gd name="connsiteY5690" fmla="*/ 9456384 h 16570717"/>
                <a:gd name="connsiteX5691" fmla="*/ 4193312 w 26653740"/>
                <a:gd name="connsiteY5691" fmla="*/ 9465914 h 16570717"/>
                <a:gd name="connsiteX5692" fmla="*/ 4198076 w 26653740"/>
                <a:gd name="connsiteY5692" fmla="*/ 9470680 h 16570717"/>
                <a:gd name="connsiteX5693" fmla="*/ 4207608 w 26653740"/>
                <a:gd name="connsiteY5693" fmla="*/ 9465914 h 16570717"/>
                <a:gd name="connsiteX5694" fmla="*/ 4231432 w 26653740"/>
                <a:gd name="connsiteY5694" fmla="*/ 9461150 h 16570717"/>
                <a:gd name="connsiteX5695" fmla="*/ 4355328 w 26653740"/>
                <a:gd name="connsiteY5695" fmla="*/ 9423028 h 16570717"/>
                <a:gd name="connsiteX5696" fmla="*/ 4379152 w 26653740"/>
                <a:gd name="connsiteY5696" fmla="*/ 9403968 h 16570717"/>
                <a:gd name="connsiteX5697" fmla="*/ 4388680 w 26653740"/>
                <a:gd name="connsiteY5697" fmla="*/ 9375377 h 16570717"/>
                <a:gd name="connsiteX5698" fmla="*/ 4398212 w 26653740"/>
                <a:gd name="connsiteY5698" fmla="*/ 9284840 h 16570717"/>
                <a:gd name="connsiteX5699" fmla="*/ 4407744 w 26653740"/>
                <a:gd name="connsiteY5699" fmla="*/ 9251484 h 16570717"/>
                <a:gd name="connsiteX5700" fmla="*/ 4417272 w 26653740"/>
                <a:gd name="connsiteY5700" fmla="*/ 9208598 h 16570717"/>
                <a:gd name="connsiteX5701" fmla="*/ 4417272 w 26653740"/>
                <a:gd name="connsiteY5701" fmla="*/ 9184772 h 16570717"/>
                <a:gd name="connsiteX5702" fmla="*/ 4412508 w 26653740"/>
                <a:gd name="connsiteY5702" fmla="*/ 9156182 h 16570717"/>
                <a:gd name="connsiteX5703" fmla="*/ 4474456 w 26653740"/>
                <a:gd name="connsiteY5703" fmla="*/ 9127590 h 16570717"/>
                <a:gd name="connsiteX5704" fmla="*/ 4536400 w 26653740"/>
                <a:gd name="connsiteY5704" fmla="*/ 9113295 h 16570717"/>
                <a:gd name="connsiteX5705" fmla="*/ 4564992 w 26653740"/>
                <a:gd name="connsiteY5705" fmla="*/ 9118060 h 16570717"/>
                <a:gd name="connsiteX5706" fmla="*/ 4569756 w 26653740"/>
                <a:gd name="connsiteY5706" fmla="*/ 9094234 h 16570717"/>
                <a:gd name="connsiteX5707" fmla="*/ 4550696 w 26653740"/>
                <a:gd name="connsiteY5707" fmla="*/ 9056114 h 16570717"/>
                <a:gd name="connsiteX5708" fmla="*/ 4541168 w 26653740"/>
                <a:gd name="connsiteY5708" fmla="*/ 9037053 h 16570717"/>
                <a:gd name="connsiteX5709" fmla="*/ 4550696 w 26653740"/>
                <a:gd name="connsiteY5709" fmla="*/ 9027523 h 16570717"/>
                <a:gd name="connsiteX5710" fmla="*/ 4564992 w 26653740"/>
                <a:gd name="connsiteY5710" fmla="*/ 9037053 h 16570717"/>
                <a:gd name="connsiteX5711" fmla="*/ 4584052 w 26653740"/>
                <a:gd name="connsiteY5711" fmla="*/ 9046584 h 16570717"/>
                <a:gd name="connsiteX5712" fmla="*/ 4612644 w 26653740"/>
                <a:gd name="connsiteY5712" fmla="*/ 9037053 h 16570717"/>
                <a:gd name="connsiteX5713" fmla="*/ 4736536 w 26653740"/>
                <a:gd name="connsiteY5713" fmla="*/ 8956046 h 16570717"/>
                <a:gd name="connsiteX5714" fmla="*/ 4784188 w 26653740"/>
                <a:gd name="connsiteY5714" fmla="*/ 8913160 h 16570717"/>
                <a:gd name="connsiteX5715" fmla="*/ 4812780 w 26653740"/>
                <a:gd name="connsiteY5715" fmla="*/ 8894100 h 16570717"/>
                <a:gd name="connsiteX5716" fmla="*/ 4855664 w 26653740"/>
                <a:gd name="connsiteY5716" fmla="*/ 8851213 h 16570717"/>
                <a:gd name="connsiteX5717" fmla="*/ 4874724 w 26653740"/>
                <a:gd name="connsiteY5717" fmla="*/ 8836918 h 16570717"/>
                <a:gd name="connsiteX5718" fmla="*/ 4912848 w 26653740"/>
                <a:gd name="connsiteY5718" fmla="*/ 8832152 h 16570717"/>
                <a:gd name="connsiteX5719" fmla="*/ 4955732 w 26653740"/>
                <a:gd name="connsiteY5719" fmla="*/ 8817858 h 16570717"/>
                <a:gd name="connsiteX5720" fmla="*/ 4998620 w 26653740"/>
                <a:gd name="connsiteY5720" fmla="*/ 8784502 h 16570717"/>
                <a:gd name="connsiteX5721" fmla="*/ 5055800 w 26653740"/>
                <a:gd name="connsiteY5721" fmla="*/ 8755910 h 16570717"/>
                <a:gd name="connsiteX5722" fmla="*/ 5065328 w 26653740"/>
                <a:gd name="connsiteY5722" fmla="*/ 8755910 h 16570717"/>
                <a:gd name="connsiteX5723" fmla="*/ 5079624 w 26653740"/>
                <a:gd name="connsiteY5723" fmla="*/ 8760676 h 16570717"/>
                <a:gd name="connsiteX5724" fmla="*/ 5103452 w 26653740"/>
                <a:gd name="connsiteY5724" fmla="*/ 8789266 h 16570717"/>
                <a:gd name="connsiteX5725" fmla="*/ 5093920 w 26653740"/>
                <a:gd name="connsiteY5725" fmla="*/ 8808327 h 16570717"/>
                <a:gd name="connsiteX5726" fmla="*/ 5089156 w 26653740"/>
                <a:gd name="connsiteY5726" fmla="*/ 8827388 h 16570717"/>
                <a:gd name="connsiteX5727" fmla="*/ 5098688 w 26653740"/>
                <a:gd name="connsiteY5727" fmla="*/ 8836918 h 16570717"/>
                <a:gd name="connsiteX5728" fmla="*/ 5108216 w 26653740"/>
                <a:gd name="connsiteY5728" fmla="*/ 8841683 h 16570717"/>
                <a:gd name="connsiteX5729" fmla="*/ 5117748 w 26653740"/>
                <a:gd name="connsiteY5729" fmla="*/ 8836918 h 16570717"/>
                <a:gd name="connsiteX5730" fmla="*/ 5132040 w 26653740"/>
                <a:gd name="connsiteY5730" fmla="*/ 8822622 h 16570717"/>
                <a:gd name="connsiteX5731" fmla="*/ 5165396 w 26653740"/>
                <a:gd name="connsiteY5731" fmla="*/ 8803562 h 16570717"/>
                <a:gd name="connsiteX5732" fmla="*/ 5170164 w 26653740"/>
                <a:gd name="connsiteY5732" fmla="*/ 8779736 h 16570717"/>
                <a:gd name="connsiteX5733" fmla="*/ 5160632 w 26653740"/>
                <a:gd name="connsiteY5733" fmla="*/ 8770206 h 16570717"/>
                <a:gd name="connsiteX5734" fmla="*/ 5141572 w 26653740"/>
                <a:gd name="connsiteY5734" fmla="*/ 8736850 h 16570717"/>
                <a:gd name="connsiteX5735" fmla="*/ 5127276 w 26653740"/>
                <a:gd name="connsiteY5735" fmla="*/ 8727320 h 16570717"/>
                <a:gd name="connsiteX5736" fmla="*/ 5112980 w 26653740"/>
                <a:gd name="connsiteY5736" fmla="*/ 8727320 h 16570717"/>
                <a:gd name="connsiteX5737" fmla="*/ 5165396 w 26653740"/>
                <a:gd name="connsiteY5737" fmla="*/ 8674904 h 16570717"/>
                <a:gd name="connsiteX5738" fmla="*/ 5279760 w 26653740"/>
                <a:gd name="connsiteY5738" fmla="*/ 8598662 h 16570717"/>
                <a:gd name="connsiteX5739" fmla="*/ 5341708 w 26653740"/>
                <a:gd name="connsiteY5739" fmla="*/ 8560540 h 16570717"/>
                <a:gd name="connsiteX5740" fmla="*/ 5398888 w 26653740"/>
                <a:gd name="connsiteY5740" fmla="*/ 8555776 h 16570717"/>
                <a:gd name="connsiteX5741" fmla="*/ 5446540 w 26653740"/>
                <a:gd name="connsiteY5741" fmla="*/ 8560540 h 16570717"/>
                <a:gd name="connsiteX5742" fmla="*/ 5427480 w 26653740"/>
                <a:gd name="connsiteY5742" fmla="*/ 8574836 h 16570717"/>
                <a:gd name="connsiteX5743" fmla="*/ 5351236 w 26653740"/>
                <a:gd name="connsiteY5743" fmla="*/ 8589132 h 16570717"/>
                <a:gd name="connsiteX5744" fmla="*/ 5336944 w 26653740"/>
                <a:gd name="connsiteY5744" fmla="*/ 8598662 h 16570717"/>
                <a:gd name="connsiteX5745" fmla="*/ 5336944 w 26653740"/>
                <a:gd name="connsiteY5745" fmla="*/ 8608192 h 16570717"/>
                <a:gd name="connsiteX5746" fmla="*/ 5360768 w 26653740"/>
                <a:gd name="connsiteY5746" fmla="*/ 8612957 h 16570717"/>
                <a:gd name="connsiteX5747" fmla="*/ 5365532 w 26653740"/>
                <a:gd name="connsiteY5747" fmla="*/ 8627252 h 16570717"/>
                <a:gd name="connsiteX5748" fmla="*/ 5360768 w 26653740"/>
                <a:gd name="connsiteY5748" fmla="*/ 8641548 h 16570717"/>
                <a:gd name="connsiteX5749" fmla="*/ 5351236 w 26653740"/>
                <a:gd name="connsiteY5749" fmla="*/ 8646313 h 16570717"/>
                <a:gd name="connsiteX5750" fmla="*/ 5346472 w 26653740"/>
                <a:gd name="connsiteY5750" fmla="*/ 8684434 h 16570717"/>
                <a:gd name="connsiteX5751" fmla="*/ 5332176 w 26653740"/>
                <a:gd name="connsiteY5751" fmla="*/ 8717790 h 16570717"/>
                <a:gd name="connsiteX5752" fmla="*/ 5356004 w 26653740"/>
                <a:gd name="connsiteY5752" fmla="*/ 8760676 h 16570717"/>
                <a:gd name="connsiteX5753" fmla="*/ 5360768 w 26653740"/>
                <a:gd name="connsiteY5753" fmla="*/ 8803562 h 16570717"/>
                <a:gd name="connsiteX5754" fmla="*/ 5346472 w 26653740"/>
                <a:gd name="connsiteY5754" fmla="*/ 8822622 h 16570717"/>
                <a:gd name="connsiteX5755" fmla="*/ 5322648 w 26653740"/>
                <a:gd name="connsiteY5755" fmla="*/ 8817858 h 16570717"/>
                <a:gd name="connsiteX5756" fmla="*/ 5303588 w 26653740"/>
                <a:gd name="connsiteY5756" fmla="*/ 8832152 h 16570717"/>
                <a:gd name="connsiteX5757" fmla="*/ 5270232 w 26653740"/>
                <a:gd name="connsiteY5757" fmla="*/ 8841683 h 16570717"/>
                <a:gd name="connsiteX5758" fmla="*/ 5260700 w 26653740"/>
                <a:gd name="connsiteY5758" fmla="*/ 8855978 h 16570717"/>
                <a:gd name="connsiteX5759" fmla="*/ 5255936 w 26653740"/>
                <a:gd name="connsiteY5759" fmla="*/ 8875039 h 16570717"/>
                <a:gd name="connsiteX5760" fmla="*/ 5279760 w 26653740"/>
                <a:gd name="connsiteY5760" fmla="*/ 8879804 h 16570717"/>
                <a:gd name="connsiteX5761" fmla="*/ 5294056 w 26653740"/>
                <a:gd name="connsiteY5761" fmla="*/ 8875039 h 16570717"/>
                <a:gd name="connsiteX5762" fmla="*/ 5356004 w 26653740"/>
                <a:gd name="connsiteY5762" fmla="*/ 8889334 h 16570717"/>
                <a:gd name="connsiteX5763" fmla="*/ 5365532 w 26653740"/>
                <a:gd name="connsiteY5763" fmla="*/ 8889334 h 16570717"/>
                <a:gd name="connsiteX5764" fmla="*/ 5384592 w 26653740"/>
                <a:gd name="connsiteY5764" fmla="*/ 8875039 h 16570717"/>
                <a:gd name="connsiteX5765" fmla="*/ 5408420 w 26653740"/>
                <a:gd name="connsiteY5765" fmla="*/ 8875039 h 16570717"/>
                <a:gd name="connsiteX5766" fmla="*/ 5432244 w 26653740"/>
                <a:gd name="connsiteY5766" fmla="*/ 8870274 h 16570717"/>
                <a:gd name="connsiteX5767" fmla="*/ 5446540 w 26653740"/>
                <a:gd name="connsiteY5767" fmla="*/ 8860744 h 16570717"/>
                <a:gd name="connsiteX5768" fmla="*/ 5460836 w 26653740"/>
                <a:gd name="connsiteY5768" fmla="*/ 8870274 h 16570717"/>
                <a:gd name="connsiteX5769" fmla="*/ 5484660 w 26653740"/>
                <a:gd name="connsiteY5769" fmla="*/ 8908395 h 16570717"/>
                <a:gd name="connsiteX5770" fmla="*/ 5503720 w 26653740"/>
                <a:gd name="connsiteY5770" fmla="*/ 8898864 h 16570717"/>
                <a:gd name="connsiteX5771" fmla="*/ 5513252 w 26653740"/>
                <a:gd name="connsiteY5771" fmla="*/ 8827388 h 16570717"/>
                <a:gd name="connsiteX5772" fmla="*/ 5551372 w 26653740"/>
                <a:gd name="connsiteY5772" fmla="*/ 8784502 h 16570717"/>
                <a:gd name="connsiteX5773" fmla="*/ 5594260 w 26653740"/>
                <a:gd name="connsiteY5773" fmla="*/ 8746380 h 16570717"/>
                <a:gd name="connsiteX5774" fmla="*/ 5632380 w 26653740"/>
                <a:gd name="connsiteY5774" fmla="*/ 8741616 h 16570717"/>
                <a:gd name="connsiteX5775" fmla="*/ 5670500 w 26653740"/>
                <a:gd name="connsiteY5775" fmla="*/ 8713024 h 16570717"/>
                <a:gd name="connsiteX5776" fmla="*/ 5689560 w 26653740"/>
                <a:gd name="connsiteY5776" fmla="*/ 8708260 h 16570717"/>
                <a:gd name="connsiteX5777" fmla="*/ 5727684 w 26653740"/>
                <a:gd name="connsiteY5777" fmla="*/ 8722555 h 16570717"/>
                <a:gd name="connsiteX5778" fmla="*/ 5780100 w 26653740"/>
                <a:gd name="connsiteY5778" fmla="*/ 8722555 h 16570717"/>
                <a:gd name="connsiteX5779" fmla="*/ 5822984 w 26653740"/>
                <a:gd name="connsiteY5779" fmla="*/ 8746380 h 16570717"/>
                <a:gd name="connsiteX5780" fmla="*/ 5861108 w 26653740"/>
                <a:gd name="connsiteY5780" fmla="*/ 8751146 h 16570717"/>
                <a:gd name="connsiteX5781" fmla="*/ 5908756 w 26653740"/>
                <a:gd name="connsiteY5781" fmla="*/ 8713024 h 16570717"/>
                <a:gd name="connsiteX5782" fmla="*/ 6023120 w 26653740"/>
                <a:gd name="connsiteY5782" fmla="*/ 8608192 h 16570717"/>
                <a:gd name="connsiteX5783" fmla="*/ 6032652 w 26653740"/>
                <a:gd name="connsiteY5783" fmla="*/ 8632018 h 16570717"/>
                <a:gd name="connsiteX5784" fmla="*/ 6051712 w 26653740"/>
                <a:gd name="connsiteY5784" fmla="*/ 8593896 h 16570717"/>
                <a:gd name="connsiteX5785" fmla="*/ 6137484 w 26653740"/>
                <a:gd name="connsiteY5785" fmla="*/ 8555776 h 16570717"/>
                <a:gd name="connsiteX5786" fmla="*/ 6161308 w 26653740"/>
                <a:gd name="connsiteY5786" fmla="*/ 8555776 h 16570717"/>
                <a:gd name="connsiteX5787" fmla="*/ 6161308 w 26653740"/>
                <a:gd name="connsiteY5787" fmla="*/ 8570070 h 16570717"/>
                <a:gd name="connsiteX5788" fmla="*/ 6170840 w 26653740"/>
                <a:gd name="connsiteY5788" fmla="*/ 8603426 h 16570717"/>
                <a:gd name="connsiteX5789" fmla="*/ 6185136 w 26653740"/>
                <a:gd name="connsiteY5789" fmla="*/ 8622487 h 16570717"/>
                <a:gd name="connsiteX5790" fmla="*/ 6208960 w 26653740"/>
                <a:gd name="connsiteY5790" fmla="*/ 8670138 h 16570717"/>
                <a:gd name="connsiteX5791" fmla="*/ 6199432 w 26653740"/>
                <a:gd name="connsiteY5791" fmla="*/ 8684434 h 16570717"/>
                <a:gd name="connsiteX5792" fmla="*/ 6185136 w 26653740"/>
                <a:gd name="connsiteY5792" fmla="*/ 8693964 h 16570717"/>
                <a:gd name="connsiteX5793" fmla="*/ 6170840 w 26653740"/>
                <a:gd name="connsiteY5793" fmla="*/ 8722555 h 16570717"/>
                <a:gd name="connsiteX5794" fmla="*/ 6166076 w 26653740"/>
                <a:gd name="connsiteY5794" fmla="*/ 8798797 h 16570717"/>
                <a:gd name="connsiteX5795" fmla="*/ 6199432 w 26653740"/>
                <a:gd name="connsiteY5795" fmla="*/ 8817858 h 16570717"/>
                <a:gd name="connsiteX5796" fmla="*/ 6247080 w 26653740"/>
                <a:gd name="connsiteY5796" fmla="*/ 8836918 h 16570717"/>
                <a:gd name="connsiteX5797" fmla="*/ 6266144 w 26653740"/>
                <a:gd name="connsiteY5797" fmla="*/ 8836918 h 16570717"/>
                <a:gd name="connsiteX5798" fmla="*/ 6280436 w 26653740"/>
                <a:gd name="connsiteY5798" fmla="*/ 8827388 h 16570717"/>
                <a:gd name="connsiteX5799" fmla="*/ 6285204 w 26653740"/>
                <a:gd name="connsiteY5799" fmla="*/ 8817858 h 16570717"/>
                <a:gd name="connsiteX5800" fmla="*/ 6289968 w 26653740"/>
                <a:gd name="connsiteY5800" fmla="*/ 8808327 h 16570717"/>
                <a:gd name="connsiteX5801" fmla="*/ 6299496 w 26653740"/>
                <a:gd name="connsiteY5801" fmla="*/ 8770206 h 16570717"/>
                <a:gd name="connsiteX5802" fmla="*/ 6285204 w 26653740"/>
                <a:gd name="connsiteY5802" fmla="*/ 8727320 h 16570717"/>
                <a:gd name="connsiteX5803" fmla="*/ 6289968 w 26653740"/>
                <a:gd name="connsiteY5803" fmla="*/ 8684434 h 16570717"/>
                <a:gd name="connsiteX5804" fmla="*/ 6332856 w 26653740"/>
                <a:gd name="connsiteY5804" fmla="*/ 8689199 h 16570717"/>
                <a:gd name="connsiteX5805" fmla="*/ 6385272 w 26653740"/>
                <a:gd name="connsiteY5805" fmla="*/ 8674904 h 16570717"/>
                <a:gd name="connsiteX5806" fmla="*/ 6409096 w 26653740"/>
                <a:gd name="connsiteY5806" fmla="*/ 8651078 h 16570717"/>
                <a:gd name="connsiteX5807" fmla="*/ 6437688 w 26653740"/>
                <a:gd name="connsiteY5807" fmla="*/ 8603426 h 16570717"/>
                <a:gd name="connsiteX5808" fmla="*/ 6451984 w 26653740"/>
                <a:gd name="connsiteY5808" fmla="*/ 8565306 h 16570717"/>
                <a:gd name="connsiteX5809" fmla="*/ 6442452 w 26653740"/>
                <a:gd name="connsiteY5809" fmla="*/ 8493828 h 16570717"/>
                <a:gd name="connsiteX5810" fmla="*/ 6409096 w 26653740"/>
                <a:gd name="connsiteY5810" fmla="*/ 8512889 h 16570717"/>
                <a:gd name="connsiteX5811" fmla="*/ 6361444 w 26653740"/>
                <a:gd name="connsiteY5811" fmla="*/ 8355640 h 16570717"/>
                <a:gd name="connsiteX5812" fmla="*/ 6332856 w 26653740"/>
                <a:gd name="connsiteY5812" fmla="*/ 8298458 h 16570717"/>
                <a:gd name="connsiteX5813" fmla="*/ 6351916 w 26653740"/>
                <a:gd name="connsiteY5813" fmla="*/ 8269868 h 16570717"/>
                <a:gd name="connsiteX5814" fmla="*/ 6394800 w 26653740"/>
                <a:gd name="connsiteY5814" fmla="*/ 8250807 h 16570717"/>
                <a:gd name="connsiteX5815" fmla="*/ 6432920 w 26653740"/>
                <a:gd name="connsiteY5815" fmla="*/ 8193626 h 16570717"/>
                <a:gd name="connsiteX5816" fmla="*/ 6451984 w 26653740"/>
                <a:gd name="connsiteY5816" fmla="*/ 8184096 h 16570717"/>
                <a:gd name="connsiteX5817" fmla="*/ 6466276 w 26653740"/>
                <a:gd name="connsiteY5817" fmla="*/ 8179330 h 16570717"/>
                <a:gd name="connsiteX5818" fmla="*/ 6585408 w 26653740"/>
                <a:gd name="connsiteY5818" fmla="*/ 8222216 h 16570717"/>
                <a:gd name="connsiteX5819" fmla="*/ 6718828 w 26653740"/>
                <a:gd name="connsiteY5819" fmla="*/ 8231746 h 16570717"/>
                <a:gd name="connsiteX5820" fmla="*/ 6833192 w 26653740"/>
                <a:gd name="connsiteY5820" fmla="*/ 8260338 h 16570717"/>
                <a:gd name="connsiteX5821" fmla="*/ 6961852 w 26653740"/>
                <a:gd name="connsiteY5821" fmla="*/ 8322284 h 16570717"/>
                <a:gd name="connsiteX5822" fmla="*/ 7023796 w 26653740"/>
                <a:gd name="connsiteY5822" fmla="*/ 8365170 h 16570717"/>
                <a:gd name="connsiteX5823" fmla="*/ 7076216 w 26653740"/>
                <a:gd name="connsiteY5823" fmla="*/ 8417586 h 16570717"/>
                <a:gd name="connsiteX5824" fmla="*/ 7071448 w 26653740"/>
                <a:gd name="connsiteY5824" fmla="*/ 8450942 h 16570717"/>
                <a:gd name="connsiteX5825" fmla="*/ 7095276 w 26653740"/>
                <a:gd name="connsiteY5825" fmla="*/ 8441412 h 16570717"/>
                <a:gd name="connsiteX5826" fmla="*/ 7138160 w 26653740"/>
                <a:gd name="connsiteY5826" fmla="*/ 8470003 h 16570717"/>
                <a:gd name="connsiteX5827" fmla="*/ 7171516 w 26653740"/>
                <a:gd name="connsiteY5827" fmla="*/ 8484298 h 16570717"/>
                <a:gd name="connsiteX5828" fmla="*/ 7204872 w 26653740"/>
                <a:gd name="connsiteY5828" fmla="*/ 8503359 h 16570717"/>
                <a:gd name="connsiteX5829" fmla="*/ 7214404 w 26653740"/>
                <a:gd name="connsiteY5829" fmla="*/ 8527184 h 16570717"/>
                <a:gd name="connsiteX5830" fmla="*/ 7257288 w 26653740"/>
                <a:gd name="connsiteY5830" fmla="*/ 8541480 h 16570717"/>
                <a:gd name="connsiteX5831" fmla="*/ 7300176 w 26653740"/>
                <a:gd name="connsiteY5831" fmla="*/ 8574836 h 16570717"/>
                <a:gd name="connsiteX5832" fmla="*/ 7309704 w 26653740"/>
                <a:gd name="connsiteY5832" fmla="*/ 8579601 h 16570717"/>
                <a:gd name="connsiteX5833" fmla="*/ 7362120 w 26653740"/>
                <a:gd name="connsiteY5833" fmla="*/ 8603426 h 16570717"/>
                <a:gd name="connsiteX5834" fmla="*/ 7400244 w 26653740"/>
                <a:gd name="connsiteY5834" fmla="*/ 8612957 h 16570717"/>
                <a:gd name="connsiteX5835" fmla="*/ 7424068 w 26653740"/>
                <a:gd name="connsiteY5835" fmla="*/ 8665374 h 16570717"/>
                <a:gd name="connsiteX5836" fmla="*/ 7500312 w 26653740"/>
                <a:gd name="connsiteY5836" fmla="*/ 8741616 h 16570717"/>
                <a:gd name="connsiteX5837" fmla="*/ 7514604 w 26653740"/>
                <a:gd name="connsiteY5837" fmla="*/ 8770206 h 16570717"/>
                <a:gd name="connsiteX5838" fmla="*/ 7581316 w 26653740"/>
                <a:gd name="connsiteY5838" fmla="*/ 8817858 h 16570717"/>
                <a:gd name="connsiteX5839" fmla="*/ 7614672 w 26653740"/>
                <a:gd name="connsiteY5839" fmla="*/ 8851213 h 16570717"/>
                <a:gd name="connsiteX5840" fmla="*/ 7638500 w 26653740"/>
                <a:gd name="connsiteY5840" fmla="*/ 8836918 h 16570717"/>
                <a:gd name="connsiteX5841" fmla="*/ 7686152 w 26653740"/>
                <a:gd name="connsiteY5841" fmla="*/ 8746380 h 16570717"/>
                <a:gd name="connsiteX5842" fmla="*/ 7719504 w 26653740"/>
                <a:gd name="connsiteY5842" fmla="*/ 8636782 h 16570717"/>
                <a:gd name="connsiteX5843" fmla="*/ 7733800 w 26653740"/>
                <a:gd name="connsiteY5843" fmla="*/ 8579601 h 16570717"/>
                <a:gd name="connsiteX5844" fmla="*/ 7700444 w 26653740"/>
                <a:gd name="connsiteY5844" fmla="*/ 8579601 h 16570717"/>
                <a:gd name="connsiteX5845" fmla="*/ 7676620 w 26653740"/>
                <a:gd name="connsiteY5845" fmla="*/ 8593896 h 16570717"/>
                <a:gd name="connsiteX5846" fmla="*/ 7662324 w 26653740"/>
                <a:gd name="connsiteY5846" fmla="*/ 8589132 h 16570717"/>
                <a:gd name="connsiteX5847" fmla="*/ 7643264 w 26653740"/>
                <a:gd name="connsiteY5847" fmla="*/ 8574836 h 16570717"/>
                <a:gd name="connsiteX5848" fmla="*/ 7614672 w 26653740"/>
                <a:gd name="connsiteY5848" fmla="*/ 8527184 h 16570717"/>
                <a:gd name="connsiteX5849" fmla="*/ 7576552 w 26653740"/>
                <a:gd name="connsiteY5849" fmla="*/ 8455708 h 16570717"/>
                <a:gd name="connsiteX5850" fmla="*/ 7567024 w 26653740"/>
                <a:gd name="connsiteY5850" fmla="*/ 8374700 h 16570717"/>
                <a:gd name="connsiteX5851" fmla="*/ 7557492 w 26653740"/>
                <a:gd name="connsiteY5851" fmla="*/ 8346110 h 16570717"/>
                <a:gd name="connsiteX5852" fmla="*/ 7524136 w 26653740"/>
                <a:gd name="connsiteY5852" fmla="*/ 8327050 h 16570717"/>
                <a:gd name="connsiteX5853" fmla="*/ 7500312 w 26653740"/>
                <a:gd name="connsiteY5853" fmla="*/ 8303224 h 16570717"/>
                <a:gd name="connsiteX5854" fmla="*/ 7409772 w 26653740"/>
                <a:gd name="connsiteY5854" fmla="*/ 8250807 h 16570717"/>
                <a:gd name="connsiteX5855" fmla="*/ 7395476 w 26653740"/>
                <a:gd name="connsiteY5855" fmla="*/ 8269868 h 16570717"/>
                <a:gd name="connsiteX5856" fmla="*/ 7390712 w 26653740"/>
                <a:gd name="connsiteY5856" fmla="*/ 8293694 h 16570717"/>
                <a:gd name="connsiteX5857" fmla="*/ 7385948 w 26653740"/>
                <a:gd name="connsiteY5857" fmla="*/ 8312754 h 16570717"/>
                <a:gd name="connsiteX5858" fmla="*/ 7376416 w 26653740"/>
                <a:gd name="connsiteY5858" fmla="*/ 8288928 h 16570717"/>
                <a:gd name="connsiteX5859" fmla="*/ 7371652 w 26653740"/>
                <a:gd name="connsiteY5859" fmla="*/ 8265102 h 16570717"/>
                <a:gd name="connsiteX5860" fmla="*/ 7371652 w 26653740"/>
                <a:gd name="connsiteY5860" fmla="*/ 8231746 h 16570717"/>
                <a:gd name="connsiteX5861" fmla="*/ 7376416 w 26653740"/>
                <a:gd name="connsiteY5861" fmla="*/ 8184096 h 16570717"/>
                <a:gd name="connsiteX5862" fmla="*/ 7390712 w 26653740"/>
                <a:gd name="connsiteY5862" fmla="*/ 8107854 h 16570717"/>
                <a:gd name="connsiteX5863" fmla="*/ 7414536 w 26653740"/>
                <a:gd name="connsiteY5863" fmla="*/ 8112618 h 16570717"/>
                <a:gd name="connsiteX5864" fmla="*/ 7424068 w 26653740"/>
                <a:gd name="connsiteY5864" fmla="*/ 8098323 h 16570717"/>
                <a:gd name="connsiteX5865" fmla="*/ 7438364 w 26653740"/>
                <a:gd name="connsiteY5865" fmla="*/ 8064968 h 16570717"/>
                <a:gd name="connsiteX5866" fmla="*/ 7433600 w 26653740"/>
                <a:gd name="connsiteY5866" fmla="*/ 8036376 h 16570717"/>
                <a:gd name="connsiteX5867" fmla="*/ 7424068 w 26653740"/>
                <a:gd name="connsiteY5867" fmla="*/ 8012551 h 16570717"/>
                <a:gd name="connsiteX5868" fmla="*/ 7424068 w 26653740"/>
                <a:gd name="connsiteY5868" fmla="*/ 7979195 h 16570717"/>
                <a:gd name="connsiteX5869" fmla="*/ 7438364 w 26653740"/>
                <a:gd name="connsiteY5869" fmla="*/ 7883892 h 16570717"/>
                <a:gd name="connsiteX5870" fmla="*/ 7447896 w 26653740"/>
                <a:gd name="connsiteY5870" fmla="*/ 7769530 h 16570717"/>
                <a:gd name="connsiteX5871" fmla="*/ 7433600 w 26653740"/>
                <a:gd name="connsiteY5871" fmla="*/ 7740939 h 16570717"/>
                <a:gd name="connsiteX5872" fmla="*/ 7424068 w 26653740"/>
                <a:gd name="connsiteY5872" fmla="*/ 7721878 h 16570717"/>
                <a:gd name="connsiteX5873" fmla="*/ 7371652 w 26653740"/>
                <a:gd name="connsiteY5873" fmla="*/ 7740939 h 16570717"/>
                <a:gd name="connsiteX5874" fmla="*/ 7352592 w 26653740"/>
                <a:gd name="connsiteY5874" fmla="*/ 7731408 h 16570717"/>
                <a:gd name="connsiteX5875" fmla="*/ 7352592 w 26653740"/>
                <a:gd name="connsiteY5875" fmla="*/ 7707583 h 16570717"/>
                <a:gd name="connsiteX5876" fmla="*/ 7347824 w 26653740"/>
                <a:gd name="connsiteY5876" fmla="*/ 7693288 h 16570717"/>
                <a:gd name="connsiteX5877" fmla="*/ 7362120 w 26653740"/>
                <a:gd name="connsiteY5877" fmla="*/ 7664696 h 16570717"/>
                <a:gd name="connsiteX5878" fmla="*/ 7376416 w 26653740"/>
                <a:gd name="connsiteY5878" fmla="*/ 7612280 h 16570717"/>
                <a:gd name="connsiteX5879" fmla="*/ 7352592 w 26653740"/>
                <a:gd name="connsiteY5879" fmla="*/ 7626576 h 16570717"/>
                <a:gd name="connsiteX5880" fmla="*/ 7343060 w 26653740"/>
                <a:gd name="connsiteY5880" fmla="*/ 7607515 h 16570717"/>
                <a:gd name="connsiteX5881" fmla="*/ 7366888 w 26653740"/>
                <a:gd name="connsiteY5881" fmla="*/ 7578924 h 16570717"/>
                <a:gd name="connsiteX5882" fmla="*/ 7385948 w 26653740"/>
                <a:gd name="connsiteY5882" fmla="*/ 7507448 h 16570717"/>
                <a:gd name="connsiteX5883" fmla="*/ 7443128 w 26653740"/>
                <a:gd name="connsiteY5883" fmla="*/ 7474092 h 16570717"/>
                <a:gd name="connsiteX5884" fmla="*/ 7486016 w 26653740"/>
                <a:gd name="connsiteY5884" fmla="*/ 7445501 h 16570717"/>
                <a:gd name="connsiteX5885" fmla="*/ 7552728 w 26653740"/>
                <a:gd name="connsiteY5885" fmla="*/ 7378789 h 16570717"/>
                <a:gd name="connsiteX5886" fmla="*/ 7600376 w 26653740"/>
                <a:gd name="connsiteY5886" fmla="*/ 7312077 h 16570717"/>
                <a:gd name="connsiteX5887" fmla="*/ 7628968 w 26653740"/>
                <a:gd name="connsiteY5887" fmla="*/ 7226305 h 16570717"/>
                <a:gd name="connsiteX5888" fmla="*/ 7652796 w 26653740"/>
                <a:gd name="connsiteY5888" fmla="*/ 7145298 h 16570717"/>
                <a:gd name="connsiteX5889" fmla="*/ 7686152 w 26653740"/>
                <a:gd name="connsiteY5889" fmla="*/ 6957075 h 16570717"/>
                <a:gd name="connsiteX5890" fmla="*/ 7719504 w 26653740"/>
                <a:gd name="connsiteY5890" fmla="*/ 6809356 h 16570717"/>
                <a:gd name="connsiteX5891" fmla="*/ 7776688 w 26653740"/>
                <a:gd name="connsiteY5891" fmla="*/ 6656872 h 16570717"/>
                <a:gd name="connsiteX5892" fmla="*/ 7810044 w 26653740"/>
                <a:gd name="connsiteY5892" fmla="*/ 6647342 h 16570717"/>
                <a:gd name="connsiteX5893" fmla="*/ 7819576 w 26653740"/>
                <a:gd name="connsiteY5893" fmla="*/ 6647342 h 16570717"/>
                <a:gd name="connsiteX5894" fmla="*/ 7824340 w 26653740"/>
                <a:gd name="connsiteY5894" fmla="*/ 6656872 h 16570717"/>
                <a:gd name="connsiteX5895" fmla="*/ 7814808 w 26653740"/>
                <a:gd name="connsiteY5895" fmla="*/ 6671168 h 16570717"/>
                <a:gd name="connsiteX5896" fmla="*/ 7814808 w 26653740"/>
                <a:gd name="connsiteY5896" fmla="*/ 6690228 h 16570717"/>
                <a:gd name="connsiteX5897" fmla="*/ 7829104 w 26653740"/>
                <a:gd name="connsiteY5897" fmla="*/ 6694993 h 16570717"/>
                <a:gd name="connsiteX5898" fmla="*/ 7852928 w 26653740"/>
                <a:gd name="connsiteY5898" fmla="*/ 6699758 h 16570717"/>
                <a:gd name="connsiteX5899" fmla="*/ 7895816 w 26653740"/>
                <a:gd name="connsiteY5899" fmla="*/ 6690228 h 16570717"/>
                <a:gd name="connsiteX5900" fmla="*/ 7972056 w 26653740"/>
                <a:gd name="connsiteY5900" fmla="*/ 6694993 h 16570717"/>
                <a:gd name="connsiteX5901" fmla="*/ 8105480 w 26653740"/>
                <a:gd name="connsiteY5901" fmla="*/ 6680698 h 16570717"/>
                <a:gd name="connsiteX5902" fmla="*/ 8124544 w 26653740"/>
                <a:gd name="connsiteY5902" fmla="*/ 6685463 h 16570717"/>
                <a:gd name="connsiteX5903" fmla="*/ 8172192 w 26653740"/>
                <a:gd name="connsiteY5903" fmla="*/ 6733114 h 16570717"/>
                <a:gd name="connsiteX5904" fmla="*/ 8196020 w 26653740"/>
                <a:gd name="connsiteY5904" fmla="*/ 6728349 h 16570717"/>
                <a:gd name="connsiteX5905" fmla="*/ 8253200 w 26653740"/>
                <a:gd name="connsiteY5905" fmla="*/ 6747410 h 16570717"/>
                <a:gd name="connsiteX5906" fmla="*/ 8281792 w 26653740"/>
                <a:gd name="connsiteY5906" fmla="*/ 6771235 h 16570717"/>
                <a:gd name="connsiteX5907" fmla="*/ 8310384 w 26653740"/>
                <a:gd name="connsiteY5907" fmla="*/ 6799826 h 16570717"/>
                <a:gd name="connsiteX5908" fmla="*/ 8305616 w 26653740"/>
                <a:gd name="connsiteY5908" fmla="*/ 6909424 h 16570717"/>
                <a:gd name="connsiteX5909" fmla="*/ 8300852 w 26653740"/>
                <a:gd name="connsiteY5909" fmla="*/ 6980901 h 16570717"/>
                <a:gd name="connsiteX5910" fmla="*/ 8281792 w 26653740"/>
                <a:gd name="connsiteY5910" fmla="*/ 7114324 h 16570717"/>
                <a:gd name="connsiteX5911" fmla="*/ 8272260 w 26653740"/>
                <a:gd name="connsiteY5911" fmla="*/ 7145298 h 16570717"/>
                <a:gd name="connsiteX5912" fmla="*/ 8238904 w 26653740"/>
                <a:gd name="connsiteY5912" fmla="*/ 7240600 h 16570717"/>
                <a:gd name="connsiteX5913" fmla="*/ 8224608 w 26653740"/>
                <a:gd name="connsiteY5913" fmla="*/ 7307312 h 16570717"/>
                <a:gd name="connsiteX5914" fmla="*/ 8200784 w 26653740"/>
                <a:gd name="connsiteY5914" fmla="*/ 7350198 h 16570717"/>
                <a:gd name="connsiteX5915" fmla="*/ 8167428 w 26653740"/>
                <a:gd name="connsiteY5915" fmla="*/ 7378789 h 16570717"/>
                <a:gd name="connsiteX5916" fmla="*/ 8162664 w 26653740"/>
                <a:gd name="connsiteY5916" fmla="*/ 7397850 h 16570717"/>
                <a:gd name="connsiteX5917" fmla="*/ 8162664 w 26653740"/>
                <a:gd name="connsiteY5917" fmla="*/ 7421675 h 16570717"/>
                <a:gd name="connsiteX5918" fmla="*/ 8196020 w 26653740"/>
                <a:gd name="connsiteY5918" fmla="*/ 7497917 h 16570717"/>
                <a:gd name="connsiteX5919" fmla="*/ 8272260 w 26653740"/>
                <a:gd name="connsiteY5919" fmla="*/ 7574159 h 16570717"/>
                <a:gd name="connsiteX5920" fmla="*/ 8291320 w 26653740"/>
                <a:gd name="connsiteY5920" fmla="*/ 7664696 h 16570717"/>
                <a:gd name="connsiteX5921" fmla="*/ 8296088 w 26653740"/>
                <a:gd name="connsiteY5921" fmla="*/ 7731408 h 16570717"/>
                <a:gd name="connsiteX5922" fmla="*/ 8291320 w 26653740"/>
                <a:gd name="connsiteY5922" fmla="*/ 7902953 h 16570717"/>
                <a:gd name="connsiteX5923" fmla="*/ 8286556 w 26653740"/>
                <a:gd name="connsiteY5923" fmla="*/ 7926778 h 16570717"/>
                <a:gd name="connsiteX5924" fmla="*/ 8267496 w 26653740"/>
                <a:gd name="connsiteY5924" fmla="*/ 7955370 h 16570717"/>
                <a:gd name="connsiteX5925" fmla="*/ 8257964 w 26653740"/>
                <a:gd name="connsiteY5925" fmla="*/ 7983960 h 16570717"/>
                <a:gd name="connsiteX5926" fmla="*/ 8262732 w 26653740"/>
                <a:gd name="connsiteY5926" fmla="*/ 8031612 h 16570717"/>
                <a:gd name="connsiteX5927" fmla="*/ 8277024 w 26653740"/>
                <a:gd name="connsiteY5927" fmla="*/ 8207921 h 16570717"/>
                <a:gd name="connsiteX5928" fmla="*/ 8277024 w 26653740"/>
                <a:gd name="connsiteY5928" fmla="*/ 8346110 h 16570717"/>
                <a:gd name="connsiteX5929" fmla="*/ 8267496 w 26653740"/>
                <a:gd name="connsiteY5929" fmla="*/ 8393761 h 16570717"/>
                <a:gd name="connsiteX5930" fmla="*/ 8262732 w 26653740"/>
                <a:gd name="connsiteY5930" fmla="*/ 8489064 h 16570717"/>
                <a:gd name="connsiteX5931" fmla="*/ 8262732 w 26653740"/>
                <a:gd name="connsiteY5931" fmla="*/ 8522420 h 16570717"/>
                <a:gd name="connsiteX5932" fmla="*/ 8272260 w 26653740"/>
                <a:gd name="connsiteY5932" fmla="*/ 8570070 h 16570717"/>
                <a:gd name="connsiteX5933" fmla="*/ 8286556 w 26653740"/>
                <a:gd name="connsiteY5933" fmla="*/ 8612957 h 16570717"/>
                <a:gd name="connsiteX5934" fmla="*/ 8310384 w 26653740"/>
                <a:gd name="connsiteY5934" fmla="*/ 8641548 h 16570717"/>
                <a:gd name="connsiteX5935" fmla="*/ 8367564 w 26653740"/>
                <a:gd name="connsiteY5935" fmla="*/ 8684434 h 16570717"/>
                <a:gd name="connsiteX5936" fmla="*/ 8424744 w 26653740"/>
                <a:gd name="connsiteY5936" fmla="*/ 8741616 h 16570717"/>
                <a:gd name="connsiteX5937" fmla="*/ 8429512 w 26653740"/>
                <a:gd name="connsiteY5937" fmla="*/ 8760676 h 16570717"/>
                <a:gd name="connsiteX5938" fmla="*/ 8429512 w 26653740"/>
                <a:gd name="connsiteY5938" fmla="*/ 8779736 h 16570717"/>
                <a:gd name="connsiteX5939" fmla="*/ 8410448 w 26653740"/>
                <a:gd name="connsiteY5939" fmla="*/ 8803562 h 16570717"/>
                <a:gd name="connsiteX5940" fmla="*/ 8381860 w 26653740"/>
                <a:gd name="connsiteY5940" fmla="*/ 8860744 h 16570717"/>
                <a:gd name="connsiteX5941" fmla="*/ 8358032 w 26653740"/>
                <a:gd name="connsiteY5941" fmla="*/ 8908395 h 16570717"/>
                <a:gd name="connsiteX5942" fmla="*/ 8358032 w 26653740"/>
                <a:gd name="connsiteY5942" fmla="*/ 8946516 h 16570717"/>
                <a:gd name="connsiteX5943" fmla="*/ 8367564 w 26653740"/>
                <a:gd name="connsiteY5943" fmla="*/ 8994167 h 16570717"/>
                <a:gd name="connsiteX5944" fmla="*/ 8362800 w 26653740"/>
                <a:gd name="connsiteY5944" fmla="*/ 9041818 h 16570717"/>
                <a:gd name="connsiteX5945" fmla="*/ 8348504 w 26653740"/>
                <a:gd name="connsiteY5945" fmla="*/ 9079940 h 16570717"/>
                <a:gd name="connsiteX5946" fmla="*/ 8329444 w 26653740"/>
                <a:gd name="connsiteY5946" fmla="*/ 9113295 h 16570717"/>
                <a:gd name="connsiteX5947" fmla="*/ 8277024 w 26653740"/>
                <a:gd name="connsiteY5947" fmla="*/ 9156182 h 16570717"/>
                <a:gd name="connsiteX5948" fmla="*/ 8157896 w 26653740"/>
                <a:gd name="connsiteY5948" fmla="*/ 9389672 h 16570717"/>
                <a:gd name="connsiteX5949" fmla="*/ 8129308 w 26653740"/>
                <a:gd name="connsiteY5949" fmla="*/ 9418264 h 16570717"/>
                <a:gd name="connsiteX5950" fmla="*/ 8081656 w 26653740"/>
                <a:gd name="connsiteY5950" fmla="*/ 9408733 h 16570717"/>
                <a:gd name="connsiteX5951" fmla="*/ 8095952 w 26653740"/>
                <a:gd name="connsiteY5951" fmla="*/ 9442089 h 16570717"/>
                <a:gd name="connsiteX5952" fmla="*/ 8110248 w 26653740"/>
                <a:gd name="connsiteY5952" fmla="*/ 9489740 h 16570717"/>
                <a:gd name="connsiteX5953" fmla="*/ 8110248 w 26653740"/>
                <a:gd name="connsiteY5953" fmla="*/ 9518331 h 16570717"/>
                <a:gd name="connsiteX5954" fmla="*/ 8081656 w 26653740"/>
                <a:gd name="connsiteY5954" fmla="*/ 9518331 h 16570717"/>
                <a:gd name="connsiteX5955" fmla="*/ 8034004 w 26653740"/>
                <a:gd name="connsiteY5955" fmla="*/ 9551687 h 16570717"/>
                <a:gd name="connsiteX5956" fmla="*/ 8014944 w 26653740"/>
                <a:gd name="connsiteY5956" fmla="*/ 9570748 h 16570717"/>
                <a:gd name="connsiteX5957" fmla="*/ 7981588 w 26653740"/>
                <a:gd name="connsiteY5957" fmla="*/ 9585043 h 16570717"/>
                <a:gd name="connsiteX5958" fmla="*/ 7957764 w 26653740"/>
                <a:gd name="connsiteY5958" fmla="*/ 9570748 h 16570717"/>
                <a:gd name="connsiteX5959" fmla="*/ 7929172 w 26653740"/>
                <a:gd name="connsiteY5959" fmla="*/ 9551687 h 16570717"/>
                <a:gd name="connsiteX5960" fmla="*/ 7933936 w 26653740"/>
                <a:gd name="connsiteY5960" fmla="*/ 9532626 h 16570717"/>
                <a:gd name="connsiteX5961" fmla="*/ 7938704 w 26653740"/>
                <a:gd name="connsiteY5961" fmla="*/ 9523096 h 16570717"/>
                <a:gd name="connsiteX5962" fmla="*/ 7957764 w 26653740"/>
                <a:gd name="connsiteY5962" fmla="*/ 9513566 h 16570717"/>
                <a:gd name="connsiteX5963" fmla="*/ 7976824 w 26653740"/>
                <a:gd name="connsiteY5963" fmla="*/ 9494506 h 16570717"/>
                <a:gd name="connsiteX5964" fmla="*/ 7967292 w 26653740"/>
                <a:gd name="connsiteY5964" fmla="*/ 9489740 h 16570717"/>
                <a:gd name="connsiteX5965" fmla="*/ 7962528 w 26653740"/>
                <a:gd name="connsiteY5965" fmla="*/ 9489740 h 16570717"/>
                <a:gd name="connsiteX5966" fmla="*/ 7938704 w 26653740"/>
                <a:gd name="connsiteY5966" fmla="*/ 9513566 h 16570717"/>
                <a:gd name="connsiteX5967" fmla="*/ 7914876 w 26653740"/>
                <a:gd name="connsiteY5967" fmla="*/ 9518331 h 16570717"/>
                <a:gd name="connsiteX5968" fmla="*/ 7886284 w 26653740"/>
                <a:gd name="connsiteY5968" fmla="*/ 9489740 h 16570717"/>
                <a:gd name="connsiteX5969" fmla="*/ 7862460 w 26653740"/>
                <a:gd name="connsiteY5969" fmla="*/ 9461150 h 16570717"/>
                <a:gd name="connsiteX5970" fmla="*/ 7852928 w 26653740"/>
                <a:gd name="connsiteY5970" fmla="*/ 9456384 h 16570717"/>
                <a:gd name="connsiteX5971" fmla="*/ 7829104 w 26653740"/>
                <a:gd name="connsiteY5971" fmla="*/ 9465914 h 16570717"/>
                <a:gd name="connsiteX5972" fmla="*/ 7748096 w 26653740"/>
                <a:gd name="connsiteY5972" fmla="*/ 9461150 h 16570717"/>
                <a:gd name="connsiteX5973" fmla="*/ 7724272 w 26653740"/>
                <a:gd name="connsiteY5973" fmla="*/ 9465914 h 16570717"/>
                <a:gd name="connsiteX5974" fmla="*/ 7714740 w 26653740"/>
                <a:gd name="connsiteY5974" fmla="*/ 9480210 h 16570717"/>
                <a:gd name="connsiteX5975" fmla="*/ 7719504 w 26653740"/>
                <a:gd name="connsiteY5975" fmla="*/ 9484975 h 16570717"/>
                <a:gd name="connsiteX5976" fmla="*/ 7729036 w 26653740"/>
                <a:gd name="connsiteY5976" fmla="*/ 9504036 h 16570717"/>
                <a:gd name="connsiteX5977" fmla="*/ 7733800 w 26653740"/>
                <a:gd name="connsiteY5977" fmla="*/ 9537392 h 16570717"/>
                <a:gd name="connsiteX5978" fmla="*/ 7743332 w 26653740"/>
                <a:gd name="connsiteY5978" fmla="*/ 9561217 h 16570717"/>
                <a:gd name="connsiteX5979" fmla="*/ 7776688 w 26653740"/>
                <a:gd name="connsiteY5979" fmla="*/ 9585043 h 16570717"/>
                <a:gd name="connsiteX5980" fmla="*/ 7824340 w 26653740"/>
                <a:gd name="connsiteY5980" fmla="*/ 9599338 h 16570717"/>
                <a:gd name="connsiteX5981" fmla="*/ 7867224 w 26653740"/>
                <a:gd name="connsiteY5981" fmla="*/ 9627929 h 16570717"/>
                <a:gd name="connsiteX5982" fmla="*/ 7924408 w 26653740"/>
                <a:gd name="connsiteY5982" fmla="*/ 9651754 h 16570717"/>
                <a:gd name="connsiteX5983" fmla="*/ 8048300 w 26653740"/>
                <a:gd name="connsiteY5983" fmla="*/ 9642224 h 16570717"/>
                <a:gd name="connsiteX5984" fmla="*/ 8081656 w 26653740"/>
                <a:gd name="connsiteY5984" fmla="*/ 9646990 h 16570717"/>
                <a:gd name="connsiteX5985" fmla="*/ 8115012 w 26653740"/>
                <a:gd name="connsiteY5985" fmla="*/ 9656520 h 16570717"/>
                <a:gd name="connsiteX5986" fmla="*/ 8167428 w 26653740"/>
                <a:gd name="connsiteY5986" fmla="*/ 9689876 h 16570717"/>
                <a:gd name="connsiteX5987" fmla="*/ 8191252 w 26653740"/>
                <a:gd name="connsiteY5987" fmla="*/ 9685110 h 16570717"/>
                <a:gd name="connsiteX5988" fmla="*/ 8234140 w 26653740"/>
                <a:gd name="connsiteY5988" fmla="*/ 9656520 h 16570717"/>
                <a:gd name="connsiteX5989" fmla="*/ 8243672 w 26653740"/>
                <a:gd name="connsiteY5989" fmla="*/ 9589808 h 16570717"/>
                <a:gd name="connsiteX5990" fmla="*/ 8248436 w 26653740"/>
                <a:gd name="connsiteY5990" fmla="*/ 9565982 h 16570717"/>
                <a:gd name="connsiteX5991" fmla="*/ 8391388 w 26653740"/>
                <a:gd name="connsiteY5991" fmla="*/ 9470680 h 16570717"/>
                <a:gd name="connsiteX5992" fmla="*/ 8419980 w 26653740"/>
                <a:gd name="connsiteY5992" fmla="*/ 9446854 h 16570717"/>
                <a:gd name="connsiteX5993" fmla="*/ 8462864 w 26653740"/>
                <a:gd name="connsiteY5993" fmla="*/ 9394438 h 16570717"/>
                <a:gd name="connsiteX5994" fmla="*/ 8477160 w 26653740"/>
                <a:gd name="connsiteY5994" fmla="*/ 9361082 h 16570717"/>
                <a:gd name="connsiteX5995" fmla="*/ 8491456 w 26653740"/>
                <a:gd name="connsiteY5995" fmla="*/ 9261014 h 16570717"/>
                <a:gd name="connsiteX5996" fmla="*/ 8505752 w 26653740"/>
                <a:gd name="connsiteY5996" fmla="*/ 9227658 h 16570717"/>
                <a:gd name="connsiteX5997" fmla="*/ 8601056 w 26653740"/>
                <a:gd name="connsiteY5997" fmla="*/ 9113295 h 16570717"/>
                <a:gd name="connsiteX5998" fmla="*/ 8615352 w 26653740"/>
                <a:gd name="connsiteY5998" fmla="*/ 9079940 h 16570717"/>
                <a:gd name="connsiteX5999" fmla="*/ 8615352 w 26653740"/>
                <a:gd name="connsiteY5999" fmla="*/ 9027523 h 16570717"/>
                <a:gd name="connsiteX6000" fmla="*/ 8615352 w 26653740"/>
                <a:gd name="connsiteY6000" fmla="*/ 8989402 h 16570717"/>
                <a:gd name="connsiteX6001" fmla="*/ 8610584 w 26653740"/>
                <a:gd name="connsiteY6001" fmla="*/ 8956046 h 16570717"/>
                <a:gd name="connsiteX6002" fmla="*/ 8591524 w 26653740"/>
                <a:gd name="connsiteY6002" fmla="*/ 8894100 h 16570717"/>
                <a:gd name="connsiteX6003" fmla="*/ 8572464 w 26653740"/>
                <a:gd name="connsiteY6003" fmla="*/ 8855978 h 16570717"/>
                <a:gd name="connsiteX6004" fmla="*/ 8553404 w 26653740"/>
                <a:gd name="connsiteY6004" fmla="*/ 8808327 h 16570717"/>
                <a:gd name="connsiteX6005" fmla="*/ 8567700 w 26653740"/>
                <a:gd name="connsiteY6005" fmla="*/ 8708260 h 16570717"/>
                <a:gd name="connsiteX6006" fmla="*/ 8586760 w 26653740"/>
                <a:gd name="connsiteY6006" fmla="*/ 8665374 h 16570717"/>
                <a:gd name="connsiteX6007" fmla="*/ 8672532 w 26653740"/>
                <a:gd name="connsiteY6007" fmla="*/ 8617722 h 16570717"/>
                <a:gd name="connsiteX6008" fmla="*/ 8744008 w 26653740"/>
                <a:gd name="connsiteY6008" fmla="*/ 8603426 h 16570717"/>
                <a:gd name="connsiteX6009" fmla="*/ 8825016 w 26653740"/>
                <a:gd name="connsiteY6009" fmla="*/ 8570070 h 16570717"/>
                <a:gd name="connsiteX6010" fmla="*/ 8858372 w 26653740"/>
                <a:gd name="connsiteY6010" fmla="*/ 8560540 h 16570717"/>
                <a:gd name="connsiteX6011" fmla="*/ 8877432 w 26653740"/>
                <a:gd name="connsiteY6011" fmla="*/ 8570070 h 16570717"/>
                <a:gd name="connsiteX6012" fmla="*/ 8901256 w 26653740"/>
                <a:gd name="connsiteY6012" fmla="*/ 8603426 h 16570717"/>
                <a:gd name="connsiteX6013" fmla="*/ 8920320 w 26653740"/>
                <a:gd name="connsiteY6013" fmla="*/ 8655843 h 16570717"/>
                <a:gd name="connsiteX6014" fmla="*/ 8982264 w 26653740"/>
                <a:gd name="connsiteY6014" fmla="*/ 8732085 h 16570717"/>
                <a:gd name="connsiteX6015" fmla="*/ 9001324 w 26653740"/>
                <a:gd name="connsiteY6015" fmla="*/ 8789266 h 16570717"/>
                <a:gd name="connsiteX6016" fmla="*/ 9006092 w 26653740"/>
                <a:gd name="connsiteY6016" fmla="*/ 8851213 h 16570717"/>
                <a:gd name="connsiteX6017" fmla="*/ 9001324 w 26653740"/>
                <a:gd name="connsiteY6017" fmla="*/ 9008462 h 16570717"/>
                <a:gd name="connsiteX6018" fmla="*/ 8991796 w 26653740"/>
                <a:gd name="connsiteY6018" fmla="*/ 9075174 h 16570717"/>
                <a:gd name="connsiteX6019" fmla="*/ 9015620 w 26653740"/>
                <a:gd name="connsiteY6019" fmla="*/ 9094234 h 16570717"/>
                <a:gd name="connsiteX6020" fmla="*/ 9025152 w 26653740"/>
                <a:gd name="connsiteY6020" fmla="*/ 9108530 h 16570717"/>
                <a:gd name="connsiteX6021" fmla="*/ 9053744 w 26653740"/>
                <a:gd name="connsiteY6021" fmla="*/ 9132356 h 16570717"/>
                <a:gd name="connsiteX6022" fmla="*/ 9068036 w 26653740"/>
                <a:gd name="connsiteY6022" fmla="*/ 9156182 h 16570717"/>
                <a:gd name="connsiteX6023" fmla="*/ 9082332 w 26653740"/>
                <a:gd name="connsiteY6023" fmla="*/ 9160946 h 16570717"/>
                <a:gd name="connsiteX6024" fmla="*/ 9115688 w 26653740"/>
                <a:gd name="connsiteY6024" fmla="*/ 9165712 h 16570717"/>
                <a:gd name="connsiteX6025" fmla="*/ 9210992 w 26653740"/>
                <a:gd name="connsiteY6025" fmla="*/ 9160946 h 16570717"/>
                <a:gd name="connsiteX6026" fmla="*/ 9263408 w 26653740"/>
                <a:gd name="connsiteY6026" fmla="*/ 9156182 h 16570717"/>
                <a:gd name="connsiteX6027" fmla="*/ 9258644 w 26653740"/>
                <a:gd name="connsiteY6027" fmla="*/ 9146651 h 16570717"/>
                <a:gd name="connsiteX6028" fmla="*/ 9249112 w 26653740"/>
                <a:gd name="connsiteY6028" fmla="*/ 9137121 h 16570717"/>
                <a:gd name="connsiteX6029" fmla="*/ 9206224 w 26653740"/>
                <a:gd name="connsiteY6029" fmla="*/ 9132356 h 16570717"/>
                <a:gd name="connsiteX6030" fmla="*/ 9144280 w 26653740"/>
                <a:gd name="connsiteY6030" fmla="*/ 9118060 h 16570717"/>
                <a:gd name="connsiteX6031" fmla="*/ 9053744 w 26653740"/>
                <a:gd name="connsiteY6031" fmla="*/ 9089470 h 16570717"/>
                <a:gd name="connsiteX6032" fmla="*/ 9044212 w 26653740"/>
                <a:gd name="connsiteY6032" fmla="*/ 9022758 h 16570717"/>
                <a:gd name="connsiteX6033" fmla="*/ 9048976 w 26653740"/>
                <a:gd name="connsiteY6033" fmla="*/ 8979872 h 16570717"/>
                <a:gd name="connsiteX6034" fmla="*/ 9068036 w 26653740"/>
                <a:gd name="connsiteY6034" fmla="*/ 8903630 h 16570717"/>
                <a:gd name="connsiteX6035" fmla="*/ 9082332 w 26653740"/>
                <a:gd name="connsiteY6035" fmla="*/ 8894100 h 16570717"/>
                <a:gd name="connsiteX6036" fmla="*/ 9096628 w 26653740"/>
                <a:gd name="connsiteY6036" fmla="*/ 8884569 h 16570717"/>
                <a:gd name="connsiteX6037" fmla="*/ 9120452 w 26653740"/>
                <a:gd name="connsiteY6037" fmla="*/ 8875039 h 16570717"/>
                <a:gd name="connsiteX6038" fmla="*/ 9115688 w 26653740"/>
                <a:gd name="connsiteY6038" fmla="*/ 8827388 h 16570717"/>
                <a:gd name="connsiteX6039" fmla="*/ 9106160 w 26653740"/>
                <a:gd name="connsiteY6039" fmla="*/ 8779736 h 16570717"/>
                <a:gd name="connsiteX6040" fmla="*/ 9087096 w 26653740"/>
                <a:gd name="connsiteY6040" fmla="*/ 8717790 h 16570717"/>
                <a:gd name="connsiteX6041" fmla="*/ 9063272 w 26653740"/>
                <a:gd name="connsiteY6041" fmla="*/ 8603426 h 16570717"/>
                <a:gd name="connsiteX6042" fmla="*/ 9034680 w 26653740"/>
                <a:gd name="connsiteY6042" fmla="*/ 8598662 h 16570717"/>
                <a:gd name="connsiteX6043" fmla="*/ 9015620 w 26653740"/>
                <a:gd name="connsiteY6043" fmla="*/ 8574836 h 16570717"/>
                <a:gd name="connsiteX6044" fmla="*/ 8906024 w 26653740"/>
                <a:gd name="connsiteY6044" fmla="*/ 8508124 h 16570717"/>
                <a:gd name="connsiteX6045" fmla="*/ 8805956 w 26653740"/>
                <a:gd name="connsiteY6045" fmla="*/ 8455708 h 16570717"/>
                <a:gd name="connsiteX6046" fmla="*/ 8739244 w 26653740"/>
                <a:gd name="connsiteY6046" fmla="*/ 8446178 h 16570717"/>
                <a:gd name="connsiteX6047" fmla="*/ 8715416 w 26653740"/>
                <a:gd name="connsiteY6047" fmla="*/ 8455708 h 16570717"/>
                <a:gd name="connsiteX6048" fmla="*/ 8658236 w 26653740"/>
                <a:gd name="connsiteY6048" fmla="*/ 8508124 h 16570717"/>
                <a:gd name="connsiteX6049" fmla="*/ 8620116 w 26653740"/>
                <a:gd name="connsiteY6049" fmla="*/ 8517654 h 16570717"/>
                <a:gd name="connsiteX6050" fmla="*/ 8553404 w 26653740"/>
                <a:gd name="connsiteY6050" fmla="*/ 8493828 h 16570717"/>
                <a:gd name="connsiteX6051" fmla="*/ 8491456 w 26653740"/>
                <a:gd name="connsiteY6051" fmla="*/ 8508124 h 16570717"/>
                <a:gd name="connsiteX6052" fmla="*/ 8467632 w 26653740"/>
                <a:gd name="connsiteY6052" fmla="*/ 8493828 h 16570717"/>
                <a:gd name="connsiteX6053" fmla="*/ 8458100 w 26653740"/>
                <a:gd name="connsiteY6053" fmla="*/ 8470003 h 16570717"/>
                <a:gd name="connsiteX6054" fmla="*/ 8477160 w 26653740"/>
                <a:gd name="connsiteY6054" fmla="*/ 8374700 h 16570717"/>
                <a:gd name="connsiteX6055" fmla="*/ 8467632 w 26653740"/>
                <a:gd name="connsiteY6055" fmla="*/ 8336580 h 16570717"/>
                <a:gd name="connsiteX6056" fmla="*/ 8443804 w 26653740"/>
                <a:gd name="connsiteY6056" fmla="*/ 8284163 h 16570717"/>
                <a:gd name="connsiteX6057" fmla="*/ 8424744 w 26653740"/>
                <a:gd name="connsiteY6057" fmla="*/ 8246042 h 16570717"/>
                <a:gd name="connsiteX6058" fmla="*/ 8429512 w 26653740"/>
                <a:gd name="connsiteY6058" fmla="*/ 8203156 h 16570717"/>
                <a:gd name="connsiteX6059" fmla="*/ 8467632 w 26653740"/>
                <a:gd name="connsiteY6059" fmla="*/ 8031612 h 16570717"/>
                <a:gd name="connsiteX6060" fmla="*/ 8486692 w 26653740"/>
                <a:gd name="connsiteY6060" fmla="*/ 7988726 h 16570717"/>
                <a:gd name="connsiteX6061" fmla="*/ 8529576 w 26653740"/>
                <a:gd name="connsiteY6061" fmla="*/ 7907718 h 16570717"/>
                <a:gd name="connsiteX6062" fmla="*/ 8548640 w 26653740"/>
                <a:gd name="connsiteY6062" fmla="*/ 7845772 h 16570717"/>
                <a:gd name="connsiteX6063" fmla="*/ 8543872 w 26653740"/>
                <a:gd name="connsiteY6063" fmla="*/ 7807650 h 16570717"/>
                <a:gd name="connsiteX6064" fmla="*/ 8453336 w 26653740"/>
                <a:gd name="connsiteY6064" fmla="*/ 7612280 h 16570717"/>
                <a:gd name="connsiteX6065" fmla="*/ 8429512 w 26653740"/>
                <a:gd name="connsiteY6065" fmla="*/ 7540803 h 16570717"/>
                <a:gd name="connsiteX6066" fmla="*/ 8419980 w 26653740"/>
                <a:gd name="connsiteY6066" fmla="*/ 7516978 h 16570717"/>
                <a:gd name="connsiteX6067" fmla="*/ 8396152 w 26653740"/>
                <a:gd name="connsiteY6067" fmla="*/ 7488387 h 16570717"/>
                <a:gd name="connsiteX6068" fmla="*/ 8362800 w 26653740"/>
                <a:gd name="connsiteY6068" fmla="*/ 7459796 h 16570717"/>
                <a:gd name="connsiteX6069" fmla="*/ 8353268 w 26653740"/>
                <a:gd name="connsiteY6069" fmla="*/ 7431206 h 16570717"/>
                <a:gd name="connsiteX6070" fmla="*/ 8443804 w 26653740"/>
                <a:gd name="connsiteY6070" fmla="*/ 7231070 h 16570717"/>
                <a:gd name="connsiteX6071" fmla="*/ 8486692 w 26653740"/>
                <a:gd name="connsiteY6071" fmla="*/ 7197714 h 16570717"/>
                <a:gd name="connsiteX6072" fmla="*/ 8543872 w 26653740"/>
                <a:gd name="connsiteY6072" fmla="*/ 7173888 h 16570717"/>
                <a:gd name="connsiteX6073" fmla="*/ 8572464 w 26653740"/>
                <a:gd name="connsiteY6073" fmla="*/ 7154828 h 16570717"/>
                <a:gd name="connsiteX6074" fmla="*/ 8620116 w 26653740"/>
                <a:gd name="connsiteY6074" fmla="*/ 7114324 h 16570717"/>
                <a:gd name="connsiteX6075" fmla="*/ 8648704 w 26653740"/>
                <a:gd name="connsiteY6075" fmla="*/ 7080968 h 16570717"/>
                <a:gd name="connsiteX6076" fmla="*/ 8658236 w 26653740"/>
                <a:gd name="connsiteY6076" fmla="*/ 7052378 h 16570717"/>
                <a:gd name="connsiteX6077" fmla="*/ 8663000 w 26653740"/>
                <a:gd name="connsiteY6077" fmla="*/ 7019022 h 16570717"/>
                <a:gd name="connsiteX6078" fmla="*/ 8667768 w 26653740"/>
                <a:gd name="connsiteY6078" fmla="*/ 6938015 h 16570717"/>
                <a:gd name="connsiteX6079" fmla="*/ 8658236 w 26653740"/>
                <a:gd name="connsiteY6079" fmla="*/ 6871303 h 16570717"/>
                <a:gd name="connsiteX6080" fmla="*/ 8653472 w 26653740"/>
                <a:gd name="connsiteY6080" fmla="*/ 6837947 h 16570717"/>
                <a:gd name="connsiteX6081" fmla="*/ 8634412 w 26653740"/>
                <a:gd name="connsiteY6081" fmla="*/ 6790296 h 16570717"/>
                <a:gd name="connsiteX6082" fmla="*/ 8615352 w 26653740"/>
                <a:gd name="connsiteY6082" fmla="*/ 6733114 h 16570717"/>
                <a:gd name="connsiteX6083" fmla="*/ 8629644 w 26653740"/>
                <a:gd name="connsiteY6083" fmla="*/ 6723584 h 16570717"/>
                <a:gd name="connsiteX6084" fmla="*/ 8639176 w 26653740"/>
                <a:gd name="connsiteY6084" fmla="*/ 6714054 h 16570717"/>
                <a:gd name="connsiteX6085" fmla="*/ 8672532 w 26653740"/>
                <a:gd name="connsiteY6085" fmla="*/ 6714054 h 16570717"/>
                <a:gd name="connsiteX6086" fmla="*/ 8710652 w 26653740"/>
                <a:gd name="connsiteY6086" fmla="*/ 6742644 h 16570717"/>
                <a:gd name="connsiteX6087" fmla="*/ 8724948 w 26653740"/>
                <a:gd name="connsiteY6087" fmla="*/ 6799826 h 16570717"/>
                <a:gd name="connsiteX6088" fmla="*/ 8744008 w 26653740"/>
                <a:gd name="connsiteY6088" fmla="*/ 6857008 h 16570717"/>
                <a:gd name="connsiteX6089" fmla="*/ 8744008 w 26653740"/>
                <a:gd name="connsiteY6089" fmla="*/ 6890364 h 16570717"/>
                <a:gd name="connsiteX6090" fmla="*/ 8744008 w 26653740"/>
                <a:gd name="connsiteY6090" fmla="*/ 6918954 h 16570717"/>
                <a:gd name="connsiteX6091" fmla="*/ 8753540 w 26653740"/>
                <a:gd name="connsiteY6091" fmla="*/ 6961840 h 16570717"/>
                <a:gd name="connsiteX6092" fmla="*/ 8758304 w 26653740"/>
                <a:gd name="connsiteY6092" fmla="*/ 6976136 h 16570717"/>
                <a:gd name="connsiteX6093" fmla="*/ 8767832 w 26653740"/>
                <a:gd name="connsiteY6093" fmla="*/ 7004726 h 16570717"/>
                <a:gd name="connsiteX6094" fmla="*/ 8758304 w 26653740"/>
                <a:gd name="connsiteY6094" fmla="*/ 7023787 h 16570717"/>
                <a:gd name="connsiteX6095" fmla="*/ 8753540 w 26653740"/>
                <a:gd name="connsiteY6095" fmla="*/ 7038082 h 16570717"/>
                <a:gd name="connsiteX6096" fmla="*/ 8734480 w 26653740"/>
                <a:gd name="connsiteY6096" fmla="*/ 7066673 h 16570717"/>
                <a:gd name="connsiteX6097" fmla="*/ 8710652 w 26653740"/>
                <a:gd name="connsiteY6097" fmla="*/ 7159593 h 16570717"/>
                <a:gd name="connsiteX6098" fmla="*/ 8691592 w 26653740"/>
                <a:gd name="connsiteY6098" fmla="*/ 7173888 h 16570717"/>
                <a:gd name="connsiteX6099" fmla="*/ 8691592 w 26653740"/>
                <a:gd name="connsiteY6099" fmla="*/ 7245366 h 16570717"/>
                <a:gd name="connsiteX6100" fmla="*/ 8729712 w 26653740"/>
                <a:gd name="connsiteY6100" fmla="*/ 7326372 h 16570717"/>
                <a:gd name="connsiteX6101" fmla="*/ 8724948 w 26653740"/>
                <a:gd name="connsiteY6101" fmla="*/ 7383554 h 16570717"/>
                <a:gd name="connsiteX6102" fmla="*/ 8715416 w 26653740"/>
                <a:gd name="connsiteY6102" fmla="*/ 7402615 h 16570717"/>
                <a:gd name="connsiteX6103" fmla="*/ 8696356 w 26653740"/>
                <a:gd name="connsiteY6103" fmla="*/ 7435970 h 16570717"/>
                <a:gd name="connsiteX6104" fmla="*/ 8696356 w 26653740"/>
                <a:gd name="connsiteY6104" fmla="*/ 7459796 h 16570717"/>
                <a:gd name="connsiteX6105" fmla="*/ 8701124 w 26653740"/>
                <a:gd name="connsiteY6105" fmla="*/ 7478857 h 16570717"/>
                <a:gd name="connsiteX6106" fmla="*/ 8767832 w 26653740"/>
                <a:gd name="connsiteY6106" fmla="*/ 7516978 h 16570717"/>
                <a:gd name="connsiteX6107" fmla="*/ 8825016 w 26653740"/>
                <a:gd name="connsiteY6107" fmla="*/ 7540803 h 16570717"/>
                <a:gd name="connsiteX6108" fmla="*/ 8925084 w 26653740"/>
                <a:gd name="connsiteY6108" fmla="*/ 7545568 h 16570717"/>
                <a:gd name="connsiteX6109" fmla="*/ 8953672 w 26653740"/>
                <a:gd name="connsiteY6109" fmla="*/ 7583690 h 16570717"/>
                <a:gd name="connsiteX6110" fmla="*/ 8963204 w 26653740"/>
                <a:gd name="connsiteY6110" fmla="*/ 7555099 h 16570717"/>
                <a:gd name="connsiteX6111" fmla="*/ 9053744 w 26653740"/>
                <a:gd name="connsiteY6111" fmla="*/ 7564629 h 16570717"/>
                <a:gd name="connsiteX6112" fmla="*/ 9129984 w 26653740"/>
                <a:gd name="connsiteY6112" fmla="*/ 7650401 h 16570717"/>
                <a:gd name="connsiteX6113" fmla="*/ 9168104 w 26653740"/>
                <a:gd name="connsiteY6113" fmla="*/ 7678992 h 16570717"/>
                <a:gd name="connsiteX6114" fmla="*/ 9201460 w 26653740"/>
                <a:gd name="connsiteY6114" fmla="*/ 7688522 h 16570717"/>
                <a:gd name="connsiteX6115" fmla="*/ 9268172 w 26653740"/>
                <a:gd name="connsiteY6115" fmla="*/ 7678992 h 16570717"/>
                <a:gd name="connsiteX6116" fmla="*/ 9277704 w 26653740"/>
                <a:gd name="connsiteY6116" fmla="*/ 7669462 h 16570717"/>
                <a:gd name="connsiteX6117" fmla="*/ 9287232 w 26653740"/>
                <a:gd name="connsiteY6117" fmla="*/ 7645636 h 16570717"/>
                <a:gd name="connsiteX6118" fmla="*/ 9258644 w 26653740"/>
                <a:gd name="connsiteY6118" fmla="*/ 7645636 h 16570717"/>
                <a:gd name="connsiteX6119" fmla="*/ 9244348 w 26653740"/>
                <a:gd name="connsiteY6119" fmla="*/ 7655166 h 16570717"/>
                <a:gd name="connsiteX6120" fmla="*/ 9234816 w 26653740"/>
                <a:gd name="connsiteY6120" fmla="*/ 7655166 h 16570717"/>
                <a:gd name="connsiteX6121" fmla="*/ 9210992 w 26653740"/>
                <a:gd name="connsiteY6121" fmla="*/ 7645636 h 16570717"/>
                <a:gd name="connsiteX6122" fmla="*/ 9196696 w 26653740"/>
                <a:gd name="connsiteY6122" fmla="*/ 7631341 h 16570717"/>
                <a:gd name="connsiteX6123" fmla="*/ 9177636 w 26653740"/>
                <a:gd name="connsiteY6123" fmla="*/ 7602750 h 16570717"/>
                <a:gd name="connsiteX6124" fmla="*/ 9153808 w 26653740"/>
                <a:gd name="connsiteY6124" fmla="*/ 7516978 h 16570717"/>
                <a:gd name="connsiteX6125" fmla="*/ 9106160 w 26653740"/>
                <a:gd name="connsiteY6125" fmla="*/ 7488387 h 16570717"/>
                <a:gd name="connsiteX6126" fmla="*/ 9072804 w 26653740"/>
                <a:gd name="connsiteY6126" fmla="*/ 7497917 h 16570717"/>
                <a:gd name="connsiteX6127" fmla="*/ 9039448 w 26653740"/>
                <a:gd name="connsiteY6127" fmla="*/ 7493152 h 16570717"/>
                <a:gd name="connsiteX6128" fmla="*/ 8982264 w 26653740"/>
                <a:gd name="connsiteY6128" fmla="*/ 7445501 h 16570717"/>
                <a:gd name="connsiteX6129" fmla="*/ 8944144 w 26653740"/>
                <a:gd name="connsiteY6129" fmla="*/ 7426440 h 16570717"/>
                <a:gd name="connsiteX6130" fmla="*/ 8872668 w 26653740"/>
                <a:gd name="connsiteY6130" fmla="*/ 7374024 h 16570717"/>
                <a:gd name="connsiteX6131" fmla="*/ 8853608 w 26653740"/>
                <a:gd name="connsiteY6131" fmla="*/ 7354963 h 16570717"/>
                <a:gd name="connsiteX6132" fmla="*/ 8839312 w 26653740"/>
                <a:gd name="connsiteY6132" fmla="*/ 7312077 h 16570717"/>
                <a:gd name="connsiteX6133" fmla="*/ 8825016 w 26653740"/>
                <a:gd name="connsiteY6133" fmla="*/ 7240600 h 16570717"/>
                <a:gd name="connsiteX6134" fmla="*/ 8810720 w 26653740"/>
                <a:gd name="connsiteY6134" fmla="*/ 7197714 h 16570717"/>
                <a:gd name="connsiteX6135" fmla="*/ 8825016 w 26653740"/>
                <a:gd name="connsiteY6135" fmla="*/ 7188184 h 16570717"/>
                <a:gd name="connsiteX6136" fmla="*/ 8872668 w 26653740"/>
                <a:gd name="connsiteY6136" fmla="*/ 7150063 h 16570717"/>
                <a:gd name="connsiteX6137" fmla="*/ 8944144 w 26653740"/>
                <a:gd name="connsiteY6137" fmla="*/ 7135768 h 16570717"/>
                <a:gd name="connsiteX6138" fmla="*/ 8972736 w 26653740"/>
                <a:gd name="connsiteY6138" fmla="*/ 7150063 h 16570717"/>
                <a:gd name="connsiteX6139" fmla="*/ 9048976 w 26653740"/>
                <a:gd name="connsiteY6139" fmla="*/ 7231070 h 16570717"/>
                <a:gd name="connsiteX6140" fmla="*/ 9082332 w 26653740"/>
                <a:gd name="connsiteY6140" fmla="*/ 7235835 h 16570717"/>
                <a:gd name="connsiteX6141" fmla="*/ 9149044 w 26653740"/>
                <a:gd name="connsiteY6141" fmla="*/ 7197714 h 16570717"/>
                <a:gd name="connsiteX6142" fmla="*/ 9153808 w 26653740"/>
                <a:gd name="connsiteY6142" fmla="*/ 7178654 h 16570717"/>
                <a:gd name="connsiteX6143" fmla="*/ 9139512 w 26653740"/>
                <a:gd name="connsiteY6143" fmla="*/ 7131002 h 16570717"/>
                <a:gd name="connsiteX6144" fmla="*/ 9120452 w 26653740"/>
                <a:gd name="connsiteY6144" fmla="*/ 7109559 h 16570717"/>
                <a:gd name="connsiteX6145" fmla="*/ 9087096 w 26653740"/>
                <a:gd name="connsiteY6145" fmla="*/ 7095264 h 16570717"/>
                <a:gd name="connsiteX6146" fmla="*/ 9039448 w 26653740"/>
                <a:gd name="connsiteY6146" fmla="*/ 7116707 h 16570717"/>
                <a:gd name="connsiteX6147" fmla="*/ 9025152 w 26653740"/>
                <a:gd name="connsiteY6147" fmla="*/ 7100029 h 16570717"/>
                <a:gd name="connsiteX6148" fmla="*/ 9029916 w 26653740"/>
                <a:gd name="connsiteY6148" fmla="*/ 7076204 h 16570717"/>
                <a:gd name="connsiteX6149" fmla="*/ 9039448 w 26653740"/>
                <a:gd name="connsiteY6149" fmla="*/ 7057143 h 16570717"/>
                <a:gd name="connsiteX6150" fmla="*/ 9063272 w 26653740"/>
                <a:gd name="connsiteY6150" fmla="*/ 7052378 h 16570717"/>
                <a:gd name="connsiteX6151" fmla="*/ 9077568 w 26653740"/>
                <a:gd name="connsiteY6151" fmla="*/ 7038082 h 16570717"/>
                <a:gd name="connsiteX6152" fmla="*/ 9115688 w 26653740"/>
                <a:gd name="connsiteY6152" fmla="*/ 6985666 h 16570717"/>
                <a:gd name="connsiteX6153" fmla="*/ 9153808 w 26653740"/>
                <a:gd name="connsiteY6153" fmla="*/ 6961840 h 16570717"/>
                <a:gd name="connsiteX6154" fmla="*/ 9196696 w 26653740"/>
                <a:gd name="connsiteY6154" fmla="*/ 6952310 h 16570717"/>
                <a:gd name="connsiteX6155" fmla="*/ 9339648 w 26653740"/>
                <a:gd name="connsiteY6155" fmla="*/ 6961840 h 16570717"/>
                <a:gd name="connsiteX6156" fmla="*/ 9425420 w 26653740"/>
                <a:gd name="connsiteY6156" fmla="*/ 7042848 h 16570717"/>
                <a:gd name="connsiteX6157" fmla="*/ 9506428 w 26653740"/>
                <a:gd name="connsiteY6157" fmla="*/ 7076204 h 16570717"/>
                <a:gd name="connsiteX6158" fmla="*/ 9539784 w 26653740"/>
                <a:gd name="connsiteY6158" fmla="*/ 7104794 h 16570717"/>
                <a:gd name="connsiteX6159" fmla="*/ 9549316 w 26653740"/>
                <a:gd name="connsiteY6159" fmla="*/ 7109559 h 16570717"/>
                <a:gd name="connsiteX6160" fmla="*/ 9558844 w 26653740"/>
                <a:gd name="connsiteY6160" fmla="*/ 7126237 h 16570717"/>
                <a:gd name="connsiteX6161" fmla="*/ 9563612 w 26653740"/>
                <a:gd name="connsiteY6161" fmla="*/ 7169124 h 16570717"/>
                <a:gd name="connsiteX6162" fmla="*/ 9668444 w 26653740"/>
                <a:gd name="connsiteY6162" fmla="*/ 7278721 h 16570717"/>
                <a:gd name="connsiteX6163" fmla="*/ 9692268 w 26653740"/>
                <a:gd name="connsiteY6163" fmla="*/ 7293017 h 16570717"/>
                <a:gd name="connsiteX6164" fmla="*/ 9754216 w 26653740"/>
                <a:gd name="connsiteY6164" fmla="*/ 7297782 h 16570717"/>
                <a:gd name="connsiteX6165" fmla="*/ 9830456 w 26653740"/>
                <a:gd name="connsiteY6165" fmla="*/ 7273956 h 16570717"/>
                <a:gd name="connsiteX6166" fmla="*/ 9863812 w 26653740"/>
                <a:gd name="connsiteY6166" fmla="*/ 7269191 h 16570717"/>
                <a:gd name="connsiteX6167" fmla="*/ 9897168 w 26653740"/>
                <a:gd name="connsiteY6167" fmla="*/ 7278721 h 16570717"/>
                <a:gd name="connsiteX6168" fmla="*/ 9916232 w 26653740"/>
                <a:gd name="connsiteY6168" fmla="*/ 7293017 h 16570717"/>
                <a:gd name="connsiteX6169" fmla="*/ 9935288 w 26653740"/>
                <a:gd name="connsiteY6169" fmla="*/ 7316842 h 16570717"/>
                <a:gd name="connsiteX6170" fmla="*/ 9925760 w 26653740"/>
                <a:gd name="connsiteY6170" fmla="*/ 7350198 h 16570717"/>
                <a:gd name="connsiteX6171" fmla="*/ 9916232 w 26653740"/>
                <a:gd name="connsiteY6171" fmla="*/ 7369259 h 16570717"/>
                <a:gd name="connsiteX6172" fmla="*/ 9897168 w 26653740"/>
                <a:gd name="connsiteY6172" fmla="*/ 7426440 h 16570717"/>
                <a:gd name="connsiteX6173" fmla="*/ 9887640 w 26653740"/>
                <a:gd name="connsiteY6173" fmla="*/ 7440736 h 16570717"/>
                <a:gd name="connsiteX6174" fmla="*/ 9820928 w 26653740"/>
                <a:gd name="connsiteY6174" fmla="*/ 7502682 h 16570717"/>
                <a:gd name="connsiteX6175" fmla="*/ 9792336 w 26653740"/>
                <a:gd name="connsiteY6175" fmla="*/ 7516978 h 16570717"/>
                <a:gd name="connsiteX6176" fmla="*/ 9787572 w 26653740"/>
                <a:gd name="connsiteY6176" fmla="*/ 7597985 h 16570717"/>
                <a:gd name="connsiteX6177" fmla="*/ 9782808 w 26653740"/>
                <a:gd name="connsiteY6177" fmla="*/ 7617045 h 16570717"/>
                <a:gd name="connsiteX6178" fmla="*/ 9782808 w 26653740"/>
                <a:gd name="connsiteY6178" fmla="*/ 7645636 h 16570717"/>
                <a:gd name="connsiteX6179" fmla="*/ 9792336 w 26653740"/>
                <a:gd name="connsiteY6179" fmla="*/ 7702818 h 16570717"/>
                <a:gd name="connsiteX6180" fmla="*/ 9797104 w 26653740"/>
                <a:gd name="connsiteY6180" fmla="*/ 7736174 h 16570717"/>
                <a:gd name="connsiteX6181" fmla="*/ 9787572 w 26653740"/>
                <a:gd name="connsiteY6181" fmla="*/ 7783825 h 16570717"/>
                <a:gd name="connsiteX6182" fmla="*/ 9768512 w 26653740"/>
                <a:gd name="connsiteY6182" fmla="*/ 7836241 h 16570717"/>
                <a:gd name="connsiteX6183" fmla="*/ 9773276 w 26653740"/>
                <a:gd name="connsiteY6183" fmla="*/ 7874362 h 16570717"/>
                <a:gd name="connsiteX6184" fmla="*/ 9778040 w 26653740"/>
                <a:gd name="connsiteY6184" fmla="*/ 7931544 h 16570717"/>
                <a:gd name="connsiteX6185" fmla="*/ 9782808 w 26653740"/>
                <a:gd name="connsiteY6185" fmla="*/ 7912483 h 16570717"/>
                <a:gd name="connsiteX6186" fmla="*/ 9782808 w 26653740"/>
                <a:gd name="connsiteY6186" fmla="*/ 7888658 h 16570717"/>
                <a:gd name="connsiteX6187" fmla="*/ 9782808 w 26653740"/>
                <a:gd name="connsiteY6187" fmla="*/ 7860067 h 16570717"/>
                <a:gd name="connsiteX6188" fmla="*/ 9816160 w 26653740"/>
                <a:gd name="connsiteY6188" fmla="*/ 7793355 h 16570717"/>
                <a:gd name="connsiteX6189" fmla="*/ 9835224 w 26653740"/>
                <a:gd name="connsiteY6189" fmla="*/ 7698052 h 16570717"/>
                <a:gd name="connsiteX6190" fmla="*/ 9859048 w 26653740"/>
                <a:gd name="connsiteY6190" fmla="*/ 7674227 h 16570717"/>
                <a:gd name="connsiteX6191" fmla="*/ 9878108 w 26653740"/>
                <a:gd name="connsiteY6191" fmla="*/ 7664696 h 16570717"/>
                <a:gd name="connsiteX6192" fmla="*/ 9901936 w 26653740"/>
                <a:gd name="connsiteY6192" fmla="*/ 7693288 h 16570717"/>
                <a:gd name="connsiteX6193" fmla="*/ 9906700 w 26653740"/>
                <a:gd name="connsiteY6193" fmla="*/ 7731408 h 16570717"/>
                <a:gd name="connsiteX6194" fmla="*/ 9911464 w 26653740"/>
                <a:gd name="connsiteY6194" fmla="*/ 7788590 h 16570717"/>
                <a:gd name="connsiteX6195" fmla="*/ 9906700 w 26653740"/>
                <a:gd name="connsiteY6195" fmla="*/ 7845772 h 16570717"/>
                <a:gd name="connsiteX6196" fmla="*/ 9887640 w 26653740"/>
                <a:gd name="connsiteY6196" fmla="*/ 7926778 h 16570717"/>
                <a:gd name="connsiteX6197" fmla="*/ 9859048 w 26653740"/>
                <a:gd name="connsiteY6197" fmla="*/ 7979195 h 16570717"/>
                <a:gd name="connsiteX6198" fmla="*/ 9849520 w 26653740"/>
                <a:gd name="connsiteY6198" fmla="*/ 8012551 h 16570717"/>
                <a:gd name="connsiteX6199" fmla="*/ 9863812 w 26653740"/>
                <a:gd name="connsiteY6199" fmla="*/ 8041142 h 16570717"/>
                <a:gd name="connsiteX6200" fmla="*/ 9878108 w 26653740"/>
                <a:gd name="connsiteY6200" fmla="*/ 8064968 h 16570717"/>
                <a:gd name="connsiteX6201" fmla="*/ 9892404 w 26653740"/>
                <a:gd name="connsiteY6201" fmla="*/ 8074498 h 16570717"/>
                <a:gd name="connsiteX6202" fmla="*/ 9911464 w 26653740"/>
                <a:gd name="connsiteY6202" fmla="*/ 8069732 h 16570717"/>
                <a:gd name="connsiteX6203" fmla="*/ 9916232 w 26653740"/>
                <a:gd name="connsiteY6203" fmla="*/ 8060202 h 16570717"/>
                <a:gd name="connsiteX6204" fmla="*/ 9920996 w 26653740"/>
                <a:gd name="connsiteY6204" fmla="*/ 8041142 h 16570717"/>
                <a:gd name="connsiteX6205" fmla="*/ 9916232 w 26653740"/>
                <a:gd name="connsiteY6205" fmla="*/ 8012551 h 16570717"/>
                <a:gd name="connsiteX6206" fmla="*/ 9911464 w 26653740"/>
                <a:gd name="connsiteY6206" fmla="*/ 7983960 h 16570717"/>
                <a:gd name="connsiteX6207" fmla="*/ 9944820 w 26653740"/>
                <a:gd name="connsiteY6207" fmla="*/ 7964900 h 16570717"/>
                <a:gd name="connsiteX6208" fmla="*/ 9978176 w 26653740"/>
                <a:gd name="connsiteY6208" fmla="*/ 7955370 h 16570717"/>
                <a:gd name="connsiteX6209" fmla="*/ 10002000 w 26653740"/>
                <a:gd name="connsiteY6209" fmla="*/ 7922014 h 16570717"/>
                <a:gd name="connsiteX6210" fmla="*/ 10011532 w 26653740"/>
                <a:gd name="connsiteY6210" fmla="*/ 7898188 h 16570717"/>
                <a:gd name="connsiteX6211" fmla="*/ 10016296 w 26653740"/>
                <a:gd name="connsiteY6211" fmla="*/ 7860067 h 16570717"/>
                <a:gd name="connsiteX6212" fmla="*/ 10002000 w 26653740"/>
                <a:gd name="connsiteY6212" fmla="*/ 7802885 h 16570717"/>
                <a:gd name="connsiteX6213" fmla="*/ 9992472 w 26653740"/>
                <a:gd name="connsiteY6213" fmla="*/ 7755234 h 16570717"/>
                <a:gd name="connsiteX6214" fmla="*/ 9954352 w 26653740"/>
                <a:gd name="connsiteY6214" fmla="*/ 7650401 h 16570717"/>
                <a:gd name="connsiteX6215" fmla="*/ 9925760 w 26653740"/>
                <a:gd name="connsiteY6215" fmla="*/ 7593220 h 16570717"/>
                <a:gd name="connsiteX6216" fmla="*/ 9940056 w 26653740"/>
                <a:gd name="connsiteY6216" fmla="*/ 7512212 h 16570717"/>
                <a:gd name="connsiteX6217" fmla="*/ 9973412 w 26653740"/>
                <a:gd name="connsiteY6217" fmla="*/ 7416910 h 16570717"/>
                <a:gd name="connsiteX6218" fmla="*/ 9982944 w 26653740"/>
                <a:gd name="connsiteY6218" fmla="*/ 7393084 h 16570717"/>
                <a:gd name="connsiteX6219" fmla="*/ 9987708 w 26653740"/>
                <a:gd name="connsiteY6219" fmla="*/ 7378789 h 16570717"/>
                <a:gd name="connsiteX6220" fmla="*/ 9987708 w 26653740"/>
                <a:gd name="connsiteY6220" fmla="*/ 7354963 h 16570717"/>
                <a:gd name="connsiteX6221" fmla="*/ 9987708 w 26653740"/>
                <a:gd name="connsiteY6221" fmla="*/ 7326372 h 16570717"/>
                <a:gd name="connsiteX6222" fmla="*/ 9982944 w 26653740"/>
                <a:gd name="connsiteY6222" fmla="*/ 7312077 h 16570717"/>
                <a:gd name="connsiteX6223" fmla="*/ 9954352 w 26653740"/>
                <a:gd name="connsiteY6223" fmla="*/ 7240600 h 16570717"/>
                <a:gd name="connsiteX6224" fmla="*/ 9930524 w 26653740"/>
                <a:gd name="connsiteY6224" fmla="*/ 7216775 h 16570717"/>
                <a:gd name="connsiteX6225" fmla="*/ 9863812 w 26653740"/>
                <a:gd name="connsiteY6225" fmla="*/ 7202479 h 16570717"/>
                <a:gd name="connsiteX6226" fmla="*/ 9844752 w 26653740"/>
                <a:gd name="connsiteY6226" fmla="*/ 7188184 h 16570717"/>
                <a:gd name="connsiteX6227" fmla="*/ 9792336 w 26653740"/>
                <a:gd name="connsiteY6227" fmla="*/ 7116707 h 16570717"/>
                <a:gd name="connsiteX6228" fmla="*/ 9787572 w 26653740"/>
                <a:gd name="connsiteY6228" fmla="*/ 7100029 h 16570717"/>
                <a:gd name="connsiteX6229" fmla="*/ 9778040 w 26653740"/>
                <a:gd name="connsiteY6229" fmla="*/ 7047613 h 16570717"/>
                <a:gd name="connsiteX6230" fmla="*/ 9773276 w 26653740"/>
                <a:gd name="connsiteY6230" fmla="*/ 7033317 h 16570717"/>
                <a:gd name="connsiteX6231" fmla="*/ 9758980 w 26653740"/>
                <a:gd name="connsiteY6231" fmla="*/ 7019022 h 16570717"/>
                <a:gd name="connsiteX6232" fmla="*/ 9711328 w 26653740"/>
                <a:gd name="connsiteY6232" fmla="*/ 6990431 h 16570717"/>
                <a:gd name="connsiteX6233" fmla="*/ 9677972 w 26653740"/>
                <a:gd name="connsiteY6233" fmla="*/ 6976136 h 16570717"/>
                <a:gd name="connsiteX6234" fmla="*/ 9630320 w 26653740"/>
                <a:gd name="connsiteY6234" fmla="*/ 6971371 h 16570717"/>
                <a:gd name="connsiteX6235" fmla="*/ 9601732 w 26653740"/>
                <a:gd name="connsiteY6235" fmla="*/ 6957075 h 16570717"/>
                <a:gd name="connsiteX6236" fmla="*/ 9558844 w 26653740"/>
                <a:gd name="connsiteY6236" fmla="*/ 6904659 h 16570717"/>
                <a:gd name="connsiteX6237" fmla="*/ 9554080 w 26653740"/>
                <a:gd name="connsiteY6237" fmla="*/ 6890364 h 16570717"/>
                <a:gd name="connsiteX6238" fmla="*/ 9544552 w 26653740"/>
                <a:gd name="connsiteY6238" fmla="*/ 6823652 h 16570717"/>
                <a:gd name="connsiteX6239" fmla="*/ 9535020 w 26653740"/>
                <a:gd name="connsiteY6239" fmla="*/ 6785531 h 16570717"/>
                <a:gd name="connsiteX6240" fmla="*/ 9535020 w 26653740"/>
                <a:gd name="connsiteY6240" fmla="*/ 6761705 h 16570717"/>
                <a:gd name="connsiteX6241" fmla="*/ 9554080 w 26653740"/>
                <a:gd name="connsiteY6241" fmla="*/ 6709289 h 16570717"/>
                <a:gd name="connsiteX6242" fmla="*/ 9563612 w 26653740"/>
                <a:gd name="connsiteY6242" fmla="*/ 6661638 h 16570717"/>
                <a:gd name="connsiteX6243" fmla="*/ 9549316 w 26653740"/>
                <a:gd name="connsiteY6243" fmla="*/ 6623516 h 16570717"/>
                <a:gd name="connsiteX6244" fmla="*/ 9530256 w 26653740"/>
                <a:gd name="connsiteY6244" fmla="*/ 6609221 h 16570717"/>
                <a:gd name="connsiteX6245" fmla="*/ 9511192 w 26653740"/>
                <a:gd name="connsiteY6245" fmla="*/ 6590160 h 16570717"/>
                <a:gd name="connsiteX6246" fmla="*/ 9501664 w 26653740"/>
                <a:gd name="connsiteY6246" fmla="*/ 6552040 h 16570717"/>
                <a:gd name="connsiteX6247" fmla="*/ 9496900 w 26653740"/>
                <a:gd name="connsiteY6247" fmla="*/ 6509153 h 16570717"/>
                <a:gd name="connsiteX6248" fmla="*/ 9496900 w 26653740"/>
                <a:gd name="connsiteY6248" fmla="*/ 6480562 h 16570717"/>
                <a:gd name="connsiteX6249" fmla="*/ 9492132 w 26653740"/>
                <a:gd name="connsiteY6249" fmla="*/ 6442442 h 16570717"/>
                <a:gd name="connsiteX6250" fmla="*/ 9501664 w 26653740"/>
                <a:gd name="connsiteY6250" fmla="*/ 6413851 h 16570717"/>
                <a:gd name="connsiteX6251" fmla="*/ 9525488 w 26653740"/>
                <a:gd name="connsiteY6251" fmla="*/ 6380495 h 16570717"/>
                <a:gd name="connsiteX6252" fmla="*/ 9520724 w 26653740"/>
                <a:gd name="connsiteY6252" fmla="*/ 6356669 h 16570717"/>
                <a:gd name="connsiteX6253" fmla="*/ 9520724 w 26653740"/>
                <a:gd name="connsiteY6253" fmla="*/ 6328078 h 16570717"/>
                <a:gd name="connsiteX6254" fmla="*/ 9663680 w 26653740"/>
                <a:gd name="connsiteY6254" fmla="*/ 6285192 h 16570717"/>
                <a:gd name="connsiteX6255" fmla="*/ 9716096 w 26653740"/>
                <a:gd name="connsiteY6255" fmla="*/ 6275662 h 16570717"/>
                <a:gd name="connsiteX6256" fmla="*/ 9987708 w 26653740"/>
                <a:gd name="connsiteY6256" fmla="*/ 6270897 h 16570717"/>
                <a:gd name="connsiteX6257" fmla="*/ 10006768 w 26653740"/>
                <a:gd name="connsiteY6257" fmla="*/ 6261367 h 16570717"/>
                <a:gd name="connsiteX6258" fmla="*/ 10121128 w 26653740"/>
                <a:gd name="connsiteY6258" fmla="*/ 6242306 h 16570717"/>
                <a:gd name="connsiteX6259" fmla="*/ 10173548 w 26653740"/>
                <a:gd name="connsiteY6259" fmla="*/ 6218480 h 16570717"/>
                <a:gd name="connsiteX6260" fmla="*/ 10225964 w 26653740"/>
                <a:gd name="connsiteY6260" fmla="*/ 6242306 h 16570717"/>
                <a:gd name="connsiteX6261" fmla="*/ 10245024 w 26653740"/>
                <a:gd name="connsiteY6261" fmla="*/ 6242306 h 16570717"/>
                <a:gd name="connsiteX6262" fmla="*/ 10283144 w 26653740"/>
                <a:gd name="connsiteY6262" fmla="*/ 6232776 h 16570717"/>
                <a:gd name="connsiteX6263" fmla="*/ 10306968 w 26653740"/>
                <a:gd name="connsiteY6263" fmla="*/ 6185125 h 16570717"/>
                <a:gd name="connsiteX6264" fmla="*/ 10364152 w 26653740"/>
                <a:gd name="connsiteY6264" fmla="*/ 6166064 h 16570717"/>
                <a:gd name="connsiteX6265" fmla="*/ 10459456 w 26653740"/>
                <a:gd name="connsiteY6265" fmla="*/ 6147004 h 16570717"/>
                <a:gd name="connsiteX6266" fmla="*/ 10507104 w 26653740"/>
                <a:gd name="connsiteY6266" fmla="*/ 6147004 h 16570717"/>
                <a:gd name="connsiteX6267" fmla="*/ 10516636 w 26653740"/>
                <a:gd name="connsiteY6267" fmla="*/ 6161299 h 16570717"/>
                <a:gd name="connsiteX6268" fmla="*/ 10530932 w 26653740"/>
                <a:gd name="connsiteY6268" fmla="*/ 6185125 h 16570717"/>
                <a:gd name="connsiteX6269" fmla="*/ 10478516 w 26653740"/>
                <a:gd name="connsiteY6269" fmla="*/ 6242306 h 16570717"/>
                <a:gd name="connsiteX6270" fmla="*/ 10426096 w 26653740"/>
                <a:gd name="connsiteY6270" fmla="*/ 6299488 h 16570717"/>
                <a:gd name="connsiteX6271" fmla="*/ 10383212 w 26653740"/>
                <a:gd name="connsiteY6271" fmla="*/ 6323313 h 16570717"/>
                <a:gd name="connsiteX6272" fmla="*/ 10340328 w 26653740"/>
                <a:gd name="connsiteY6272" fmla="*/ 6366200 h 16570717"/>
                <a:gd name="connsiteX6273" fmla="*/ 10335560 w 26653740"/>
                <a:gd name="connsiteY6273" fmla="*/ 6385260 h 16570717"/>
                <a:gd name="connsiteX6274" fmla="*/ 10335560 w 26653740"/>
                <a:gd name="connsiteY6274" fmla="*/ 6399556 h 16570717"/>
                <a:gd name="connsiteX6275" fmla="*/ 10340328 w 26653740"/>
                <a:gd name="connsiteY6275" fmla="*/ 6432911 h 16570717"/>
                <a:gd name="connsiteX6276" fmla="*/ 10340328 w 26653740"/>
                <a:gd name="connsiteY6276" fmla="*/ 6456737 h 16570717"/>
                <a:gd name="connsiteX6277" fmla="*/ 10383212 w 26653740"/>
                <a:gd name="connsiteY6277" fmla="*/ 6490093 h 16570717"/>
                <a:gd name="connsiteX6278" fmla="*/ 10416568 w 26653740"/>
                <a:gd name="connsiteY6278" fmla="*/ 6528214 h 16570717"/>
                <a:gd name="connsiteX6279" fmla="*/ 10449924 w 26653740"/>
                <a:gd name="connsiteY6279" fmla="*/ 6561570 h 16570717"/>
                <a:gd name="connsiteX6280" fmla="*/ 10473752 w 26653740"/>
                <a:gd name="connsiteY6280" fmla="*/ 6575865 h 16570717"/>
                <a:gd name="connsiteX6281" fmla="*/ 10478516 w 26653740"/>
                <a:gd name="connsiteY6281" fmla="*/ 6566335 h 16570717"/>
                <a:gd name="connsiteX6282" fmla="*/ 10387976 w 26653740"/>
                <a:gd name="connsiteY6282" fmla="*/ 6471032 h 16570717"/>
                <a:gd name="connsiteX6283" fmla="*/ 10364152 w 26653740"/>
                <a:gd name="connsiteY6283" fmla="*/ 6447207 h 16570717"/>
                <a:gd name="connsiteX6284" fmla="*/ 10354624 w 26653740"/>
                <a:gd name="connsiteY6284" fmla="*/ 6423381 h 16570717"/>
                <a:gd name="connsiteX6285" fmla="*/ 10359388 w 26653740"/>
                <a:gd name="connsiteY6285" fmla="*/ 6390025 h 16570717"/>
                <a:gd name="connsiteX6286" fmla="*/ 10368916 w 26653740"/>
                <a:gd name="connsiteY6286" fmla="*/ 6370965 h 16570717"/>
                <a:gd name="connsiteX6287" fmla="*/ 10383212 w 26653740"/>
                <a:gd name="connsiteY6287" fmla="*/ 6351904 h 16570717"/>
                <a:gd name="connsiteX6288" fmla="*/ 10392744 w 26653740"/>
                <a:gd name="connsiteY6288" fmla="*/ 6347139 h 16570717"/>
                <a:gd name="connsiteX6289" fmla="*/ 10426096 w 26653740"/>
                <a:gd name="connsiteY6289" fmla="*/ 6328078 h 16570717"/>
                <a:gd name="connsiteX6290" fmla="*/ 10545228 w 26653740"/>
                <a:gd name="connsiteY6290" fmla="*/ 6299488 h 16570717"/>
                <a:gd name="connsiteX6291" fmla="*/ 10569052 w 26653740"/>
                <a:gd name="connsiteY6291" fmla="*/ 6251836 h 16570717"/>
                <a:gd name="connsiteX6292" fmla="*/ 10583348 w 26653740"/>
                <a:gd name="connsiteY6292" fmla="*/ 6223246 h 16570717"/>
                <a:gd name="connsiteX6293" fmla="*/ 10611936 w 26653740"/>
                <a:gd name="connsiteY6293" fmla="*/ 6189890 h 16570717"/>
                <a:gd name="connsiteX6294" fmla="*/ 10602408 w 26653740"/>
                <a:gd name="connsiteY6294" fmla="*/ 6180360 h 16570717"/>
                <a:gd name="connsiteX6295" fmla="*/ 10578584 w 26653740"/>
                <a:gd name="connsiteY6295" fmla="*/ 6170829 h 16570717"/>
                <a:gd name="connsiteX6296" fmla="*/ 10559520 w 26653740"/>
                <a:gd name="connsiteY6296" fmla="*/ 6151769 h 16570717"/>
                <a:gd name="connsiteX6297" fmla="*/ 10478516 w 26653740"/>
                <a:gd name="connsiteY6297" fmla="*/ 5975459 h 16570717"/>
                <a:gd name="connsiteX6298" fmla="*/ 10459456 w 26653740"/>
                <a:gd name="connsiteY6298" fmla="*/ 5946868 h 16570717"/>
                <a:gd name="connsiteX6299" fmla="*/ 10397508 w 26653740"/>
                <a:gd name="connsiteY6299" fmla="*/ 5927808 h 16570717"/>
                <a:gd name="connsiteX6300" fmla="*/ 10368916 w 26653740"/>
                <a:gd name="connsiteY6300" fmla="*/ 5903982 h 16570717"/>
                <a:gd name="connsiteX6301" fmla="*/ 10397508 w 26653740"/>
                <a:gd name="connsiteY6301" fmla="*/ 5842036 h 16570717"/>
                <a:gd name="connsiteX6302" fmla="*/ 10430864 w 26653740"/>
                <a:gd name="connsiteY6302" fmla="*/ 5827740 h 16570717"/>
                <a:gd name="connsiteX6303" fmla="*/ 10454688 w 26653740"/>
                <a:gd name="connsiteY6303" fmla="*/ 5827740 h 16570717"/>
                <a:gd name="connsiteX6304" fmla="*/ 10473752 w 26653740"/>
                <a:gd name="connsiteY6304" fmla="*/ 5846801 h 16570717"/>
                <a:gd name="connsiteX6305" fmla="*/ 10507104 w 26653740"/>
                <a:gd name="connsiteY6305" fmla="*/ 5899217 h 16570717"/>
                <a:gd name="connsiteX6306" fmla="*/ 10559520 w 26653740"/>
                <a:gd name="connsiteY6306" fmla="*/ 5875392 h 16570717"/>
                <a:gd name="connsiteX6307" fmla="*/ 10540464 w 26653740"/>
                <a:gd name="connsiteY6307" fmla="*/ 5851566 h 16570717"/>
                <a:gd name="connsiteX6308" fmla="*/ 10507104 w 26653740"/>
                <a:gd name="connsiteY6308" fmla="*/ 5827740 h 16570717"/>
                <a:gd name="connsiteX6309" fmla="*/ 10478516 w 26653740"/>
                <a:gd name="connsiteY6309" fmla="*/ 5784854 h 16570717"/>
                <a:gd name="connsiteX6310" fmla="*/ 10435628 w 26653740"/>
                <a:gd name="connsiteY6310" fmla="*/ 5746733 h 16570717"/>
                <a:gd name="connsiteX6311" fmla="*/ 10387976 w 26653740"/>
                <a:gd name="connsiteY6311" fmla="*/ 5722907 h 16570717"/>
                <a:gd name="connsiteX6312" fmla="*/ 10335560 w 26653740"/>
                <a:gd name="connsiteY6312" fmla="*/ 5713377 h 16570717"/>
                <a:gd name="connsiteX6313" fmla="*/ 10349856 w 26653740"/>
                <a:gd name="connsiteY6313" fmla="*/ 5656196 h 16570717"/>
                <a:gd name="connsiteX6314" fmla="*/ 10378448 w 26653740"/>
                <a:gd name="connsiteY6314" fmla="*/ 5660961 h 16570717"/>
                <a:gd name="connsiteX6315" fmla="*/ 10387976 w 26653740"/>
                <a:gd name="connsiteY6315" fmla="*/ 5646665 h 16570717"/>
                <a:gd name="connsiteX6316" fmla="*/ 10402272 w 26653740"/>
                <a:gd name="connsiteY6316" fmla="*/ 5608544 h 16570717"/>
                <a:gd name="connsiteX6317" fmla="*/ 10468984 w 26653740"/>
                <a:gd name="connsiteY6317" fmla="*/ 5689552 h 16570717"/>
                <a:gd name="connsiteX6318" fmla="*/ 10502340 w 26653740"/>
                <a:gd name="connsiteY6318" fmla="*/ 5670491 h 16570717"/>
                <a:gd name="connsiteX6319" fmla="*/ 10530932 w 26653740"/>
                <a:gd name="connsiteY6319" fmla="*/ 5632370 h 16570717"/>
                <a:gd name="connsiteX6320" fmla="*/ 10592880 w 26653740"/>
                <a:gd name="connsiteY6320" fmla="*/ 5537067 h 16570717"/>
                <a:gd name="connsiteX6321" fmla="*/ 10597644 w 26653740"/>
                <a:gd name="connsiteY6321" fmla="*/ 5494181 h 16570717"/>
                <a:gd name="connsiteX6322" fmla="*/ 10569052 w 26653740"/>
                <a:gd name="connsiteY6322" fmla="*/ 5470356 h 16570717"/>
                <a:gd name="connsiteX6323" fmla="*/ 10545228 w 26653740"/>
                <a:gd name="connsiteY6323" fmla="*/ 5456060 h 16570717"/>
                <a:gd name="connsiteX6324" fmla="*/ 10516636 w 26653740"/>
                <a:gd name="connsiteY6324" fmla="*/ 5460825 h 16570717"/>
                <a:gd name="connsiteX6325" fmla="*/ 10511872 w 26653740"/>
                <a:gd name="connsiteY6325" fmla="*/ 5432235 h 16570717"/>
                <a:gd name="connsiteX6326" fmla="*/ 10526168 w 26653740"/>
                <a:gd name="connsiteY6326" fmla="*/ 5398879 h 16570717"/>
                <a:gd name="connsiteX6327" fmla="*/ 10549992 w 26653740"/>
                <a:gd name="connsiteY6327" fmla="*/ 5384583 h 16570717"/>
                <a:gd name="connsiteX6328" fmla="*/ 10631000 w 26653740"/>
                <a:gd name="connsiteY6328" fmla="*/ 5422704 h 16570717"/>
                <a:gd name="connsiteX6329" fmla="*/ 10759656 w 26653740"/>
                <a:gd name="connsiteY6329" fmla="*/ 5322637 h 16570717"/>
                <a:gd name="connsiteX6330" fmla="*/ 10797776 w 26653740"/>
                <a:gd name="connsiteY6330" fmla="*/ 5274985 h 16570717"/>
                <a:gd name="connsiteX6331" fmla="*/ 10883552 w 26653740"/>
                <a:gd name="connsiteY6331" fmla="*/ 5213039 h 16570717"/>
                <a:gd name="connsiteX6332" fmla="*/ 10931200 w 26653740"/>
                <a:gd name="connsiteY6332" fmla="*/ 5217804 h 16570717"/>
                <a:gd name="connsiteX6333" fmla="*/ 11021740 w 26653740"/>
                <a:gd name="connsiteY6333" fmla="*/ 5136797 h 16570717"/>
                <a:gd name="connsiteX6334" fmla="*/ 11150400 w 26653740"/>
                <a:gd name="connsiteY6334" fmla="*/ 5098676 h 16570717"/>
                <a:gd name="connsiteX6335" fmla="*/ 11226640 w 26653740"/>
                <a:gd name="connsiteY6335" fmla="*/ 5098676 h 16570717"/>
                <a:gd name="connsiteX6336" fmla="*/ 11283820 w 26653740"/>
                <a:gd name="connsiteY6336" fmla="*/ 5051024 h 16570717"/>
                <a:gd name="connsiteX6337" fmla="*/ 11369592 w 26653740"/>
                <a:gd name="connsiteY6337" fmla="*/ 5036729 h 16570717"/>
                <a:gd name="connsiteX6338" fmla="*/ 11398184 w 26653740"/>
                <a:gd name="connsiteY6338" fmla="*/ 5017669 h 16570717"/>
                <a:gd name="connsiteX6339" fmla="*/ 11545904 w 26653740"/>
                <a:gd name="connsiteY6339" fmla="*/ 4970028 h 16570717"/>
                <a:gd name="connsiteX6340" fmla="*/ 11631676 w 26653740"/>
                <a:gd name="connsiteY6340" fmla="*/ 4931907 h 16570717"/>
                <a:gd name="connsiteX6341" fmla="*/ 11641208 w 26653740"/>
                <a:gd name="connsiteY6341" fmla="*/ 4903317 h 16570717"/>
                <a:gd name="connsiteX6342" fmla="*/ 11569728 w 26653740"/>
                <a:gd name="connsiteY6342" fmla="*/ 4927142 h 16570717"/>
                <a:gd name="connsiteX6343" fmla="*/ 11550668 w 26653740"/>
                <a:gd name="connsiteY6343" fmla="*/ 4903317 h 16570717"/>
                <a:gd name="connsiteX6344" fmla="*/ 11536372 w 26653740"/>
                <a:gd name="connsiteY6344" fmla="*/ 4917613 h 16570717"/>
                <a:gd name="connsiteX6345" fmla="*/ 11526844 w 26653740"/>
                <a:gd name="connsiteY6345" fmla="*/ 4941437 h 16570717"/>
                <a:gd name="connsiteX6346" fmla="*/ 11488720 w 26653740"/>
                <a:gd name="connsiteY6346" fmla="*/ 4903317 h 16570717"/>
                <a:gd name="connsiteX6347" fmla="*/ 11479192 w 26653740"/>
                <a:gd name="connsiteY6347" fmla="*/ 4912847 h 16570717"/>
                <a:gd name="connsiteX6348" fmla="*/ 11474428 w 26653740"/>
                <a:gd name="connsiteY6348" fmla="*/ 4931907 h 16570717"/>
                <a:gd name="connsiteX6349" fmla="*/ 11460132 w 26653740"/>
                <a:gd name="connsiteY6349" fmla="*/ 4936672 h 16570717"/>
                <a:gd name="connsiteX6350" fmla="*/ 11445836 w 26653740"/>
                <a:gd name="connsiteY6350" fmla="*/ 4931907 h 16570717"/>
                <a:gd name="connsiteX6351" fmla="*/ 11441072 w 26653740"/>
                <a:gd name="connsiteY6351" fmla="*/ 4889022 h 16570717"/>
                <a:gd name="connsiteX6352" fmla="*/ 11455368 w 26653740"/>
                <a:gd name="connsiteY6352" fmla="*/ 4827076 h 16570717"/>
                <a:gd name="connsiteX6353" fmla="*/ 11479192 w 26653740"/>
                <a:gd name="connsiteY6353" fmla="*/ 4860432 h 16570717"/>
                <a:gd name="connsiteX6354" fmla="*/ 11503016 w 26653740"/>
                <a:gd name="connsiteY6354" fmla="*/ 4812779 h 16570717"/>
                <a:gd name="connsiteX6355" fmla="*/ 11517312 w 26653740"/>
                <a:gd name="connsiteY6355" fmla="*/ 4812779 h 16570717"/>
                <a:gd name="connsiteX6356" fmla="*/ 11564964 w 26653740"/>
                <a:gd name="connsiteY6356" fmla="*/ 4841371 h 16570717"/>
                <a:gd name="connsiteX6357" fmla="*/ 11593556 w 26653740"/>
                <a:gd name="connsiteY6357" fmla="*/ 4812779 h 16570717"/>
                <a:gd name="connsiteX6358" fmla="*/ 11636440 w 26653740"/>
                <a:gd name="connsiteY6358" fmla="*/ 4793719 h 16570717"/>
                <a:gd name="connsiteX6359" fmla="*/ 11679328 w 26653740"/>
                <a:gd name="connsiteY6359" fmla="*/ 4808015 h 16570717"/>
                <a:gd name="connsiteX6360" fmla="*/ 11698388 w 26653740"/>
                <a:gd name="connsiteY6360" fmla="*/ 4808015 h 16570717"/>
                <a:gd name="connsiteX6361" fmla="*/ 11707920 w 26653740"/>
                <a:gd name="connsiteY6361" fmla="*/ 4779425 h 16570717"/>
                <a:gd name="connsiteX6362" fmla="*/ 11779396 w 26653740"/>
                <a:gd name="connsiteY6362" fmla="*/ 4803249 h 16570717"/>
                <a:gd name="connsiteX6363" fmla="*/ 11831812 w 26653740"/>
                <a:gd name="connsiteY6363" fmla="*/ 4784188 h 16570717"/>
                <a:gd name="connsiteX6364" fmla="*/ 11865168 w 26653740"/>
                <a:gd name="connsiteY6364" fmla="*/ 4788950 h 16570717"/>
                <a:gd name="connsiteX6365" fmla="*/ 11917584 w 26653740"/>
                <a:gd name="connsiteY6365" fmla="*/ 4803249 h 16570717"/>
                <a:gd name="connsiteX6366" fmla="*/ 11941408 w 26653740"/>
                <a:gd name="connsiteY6366" fmla="*/ 4822310 h 16570717"/>
                <a:gd name="connsiteX6367" fmla="*/ 11927112 w 26653740"/>
                <a:gd name="connsiteY6367" fmla="*/ 4869961 h 16570717"/>
                <a:gd name="connsiteX6368" fmla="*/ 11874696 w 26653740"/>
                <a:gd name="connsiteY6368" fmla="*/ 4946203 h 16570717"/>
                <a:gd name="connsiteX6369" fmla="*/ 11888992 w 26653740"/>
                <a:gd name="connsiteY6369" fmla="*/ 4955732 h 16570717"/>
                <a:gd name="connsiteX6370" fmla="*/ 11922348 w 26653740"/>
                <a:gd name="connsiteY6370" fmla="*/ 4922378 h 16570717"/>
                <a:gd name="connsiteX6371" fmla="*/ 12012888 w 26653740"/>
                <a:gd name="connsiteY6371" fmla="*/ 4874726 h 16570717"/>
                <a:gd name="connsiteX6372" fmla="*/ 12022416 w 26653740"/>
                <a:gd name="connsiteY6372" fmla="*/ 4884257 h 16570717"/>
                <a:gd name="connsiteX6373" fmla="*/ 12012888 w 26653740"/>
                <a:gd name="connsiteY6373" fmla="*/ 4927142 h 16570717"/>
                <a:gd name="connsiteX6374" fmla="*/ 12008120 w 26653740"/>
                <a:gd name="connsiteY6374" fmla="*/ 4946203 h 16570717"/>
                <a:gd name="connsiteX6375" fmla="*/ 12070068 w 26653740"/>
                <a:gd name="connsiteY6375" fmla="*/ 4922378 h 16570717"/>
                <a:gd name="connsiteX6376" fmla="*/ 12117720 w 26653740"/>
                <a:gd name="connsiteY6376" fmla="*/ 4865194 h 16570717"/>
                <a:gd name="connsiteX6377" fmla="*/ 12141544 w 26653740"/>
                <a:gd name="connsiteY6377" fmla="*/ 4855665 h 16570717"/>
                <a:gd name="connsiteX6378" fmla="*/ 12165368 w 26653740"/>
                <a:gd name="connsiteY6378" fmla="*/ 4889022 h 16570717"/>
                <a:gd name="connsiteX6379" fmla="*/ 12189196 w 26653740"/>
                <a:gd name="connsiteY6379" fmla="*/ 4855665 h 16570717"/>
                <a:gd name="connsiteX6380" fmla="*/ 12193960 w 26653740"/>
                <a:gd name="connsiteY6380" fmla="*/ 4827076 h 16570717"/>
                <a:gd name="connsiteX6381" fmla="*/ 12232080 w 26653740"/>
                <a:gd name="connsiteY6381" fmla="*/ 4817545 h 16570717"/>
                <a:gd name="connsiteX6382" fmla="*/ 12246376 w 26653740"/>
                <a:gd name="connsiteY6382" fmla="*/ 4788950 h 16570717"/>
                <a:gd name="connsiteX6383" fmla="*/ 12272584 w 26653740"/>
                <a:gd name="connsiteY6383" fmla="*/ 4769894 h 16570717"/>
                <a:gd name="connsiteX6384" fmla="*/ 12296412 w 26653740"/>
                <a:gd name="connsiteY6384" fmla="*/ 4760362 h 16570717"/>
                <a:gd name="connsiteX6385" fmla="*/ 12344064 w 26653740"/>
                <a:gd name="connsiteY6385" fmla="*/ 4717477 h 16570717"/>
                <a:gd name="connsiteX6386" fmla="*/ 12363124 w 26653740"/>
                <a:gd name="connsiteY6386" fmla="*/ 4731773 h 16570717"/>
                <a:gd name="connsiteX6387" fmla="*/ 12396480 w 26653740"/>
                <a:gd name="connsiteY6387" fmla="*/ 4741303 h 16570717"/>
                <a:gd name="connsiteX6388" fmla="*/ 12425068 w 26653740"/>
                <a:gd name="connsiteY6388" fmla="*/ 4760362 h 16570717"/>
                <a:gd name="connsiteX6389" fmla="*/ 12487016 w 26653740"/>
                <a:gd name="connsiteY6389" fmla="*/ 4808015 h 16570717"/>
                <a:gd name="connsiteX6390" fmla="*/ 12491780 w 26653740"/>
                <a:gd name="connsiteY6390" fmla="*/ 4822310 h 16570717"/>
                <a:gd name="connsiteX6391" fmla="*/ 12501312 w 26653740"/>
                <a:gd name="connsiteY6391" fmla="*/ 4827076 h 16570717"/>
                <a:gd name="connsiteX6392" fmla="*/ 12515608 w 26653740"/>
                <a:gd name="connsiteY6392" fmla="*/ 4855665 h 16570717"/>
                <a:gd name="connsiteX6393" fmla="*/ 12506076 w 26653740"/>
                <a:gd name="connsiteY6393" fmla="*/ 4903317 h 16570717"/>
                <a:gd name="connsiteX6394" fmla="*/ 12491780 w 26653740"/>
                <a:gd name="connsiteY6394" fmla="*/ 4970028 h 16570717"/>
                <a:gd name="connsiteX6395" fmla="*/ 12467956 w 26653740"/>
                <a:gd name="connsiteY6395" fmla="*/ 5003373 h 16570717"/>
                <a:gd name="connsiteX6396" fmla="*/ 12482252 w 26653740"/>
                <a:gd name="connsiteY6396" fmla="*/ 5003373 h 16570717"/>
                <a:gd name="connsiteX6397" fmla="*/ 12491780 w 26653740"/>
                <a:gd name="connsiteY6397" fmla="*/ 4998608 h 16570717"/>
                <a:gd name="connsiteX6398" fmla="*/ 12510840 w 26653740"/>
                <a:gd name="connsiteY6398" fmla="*/ 4950968 h 16570717"/>
                <a:gd name="connsiteX6399" fmla="*/ 12529904 w 26653740"/>
                <a:gd name="connsiteY6399" fmla="*/ 4922378 h 16570717"/>
                <a:gd name="connsiteX6400" fmla="*/ 12525136 w 26653740"/>
                <a:gd name="connsiteY6400" fmla="*/ 4788950 h 16570717"/>
                <a:gd name="connsiteX6401" fmla="*/ 12491780 w 26653740"/>
                <a:gd name="connsiteY6401" fmla="*/ 4717477 h 16570717"/>
                <a:gd name="connsiteX6402" fmla="*/ 12467956 w 26653740"/>
                <a:gd name="connsiteY6402" fmla="*/ 4698417 h 16570717"/>
                <a:gd name="connsiteX6403" fmla="*/ 12410776 w 26653740"/>
                <a:gd name="connsiteY6403" fmla="*/ 4622175 h 16570717"/>
                <a:gd name="connsiteX6404" fmla="*/ 12391712 w 26653740"/>
                <a:gd name="connsiteY6404" fmla="*/ 4593584 h 16570717"/>
                <a:gd name="connsiteX6405" fmla="*/ 12367888 w 26653740"/>
                <a:gd name="connsiteY6405" fmla="*/ 4560228 h 16570717"/>
                <a:gd name="connsiteX6406" fmla="*/ 12377416 w 26653740"/>
                <a:gd name="connsiteY6406" fmla="*/ 4541168 h 16570717"/>
                <a:gd name="connsiteX6407" fmla="*/ 12487016 w 26653740"/>
                <a:gd name="connsiteY6407" fmla="*/ 4564993 h 16570717"/>
                <a:gd name="connsiteX6408" fmla="*/ 12544200 w 26653740"/>
                <a:gd name="connsiteY6408" fmla="*/ 4555462 h 16570717"/>
                <a:gd name="connsiteX6409" fmla="*/ 12601380 w 26653740"/>
                <a:gd name="connsiteY6409" fmla="*/ 4560228 h 16570717"/>
                <a:gd name="connsiteX6410" fmla="*/ 12687152 w 26653740"/>
                <a:gd name="connsiteY6410" fmla="*/ 4531638 h 16570717"/>
                <a:gd name="connsiteX6411" fmla="*/ 12720508 w 26653740"/>
                <a:gd name="connsiteY6411" fmla="*/ 4564993 h 16570717"/>
                <a:gd name="connsiteX6412" fmla="*/ 12758628 w 26653740"/>
                <a:gd name="connsiteY6412" fmla="*/ 4560228 h 16570717"/>
                <a:gd name="connsiteX6413" fmla="*/ 12801516 w 26653740"/>
                <a:gd name="connsiteY6413" fmla="*/ 4588816 h 16570717"/>
                <a:gd name="connsiteX6414" fmla="*/ 12815808 w 26653740"/>
                <a:gd name="connsiteY6414" fmla="*/ 4555462 h 16570717"/>
                <a:gd name="connsiteX6415" fmla="*/ 12744332 w 26653740"/>
                <a:gd name="connsiteY6415" fmla="*/ 4522107 h 16570717"/>
                <a:gd name="connsiteX6416" fmla="*/ 12710976 w 26653740"/>
                <a:gd name="connsiteY6416" fmla="*/ 4526871 h 16570717"/>
                <a:gd name="connsiteX6417" fmla="*/ 12696680 w 26653740"/>
                <a:gd name="connsiteY6417" fmla="*/ 4507811 h 16570717"/>
                <a:gd name="connsiteX6418" fmla="*/ 12710976 w 26653740"/>
                <a:gd name="connsiteY6418" fmla="*/ 4469690 h 16570717"/>
                <a:gd name="connsiteX6419" fmla="*/ 12725272 w 26653740"/>
                <a:gd name="connsiteY6419" fmla="*/ 4407743 h 16570717"/>
                <a:gd name="connsiteX6420" fmla="*/ 12710976 w 26653740"/>
                <a:gd name="connsiteY6420" fmla="*/ 4355328 h 16570717"/>
                <a:gd name="connsiteX6421" fmla="*/ 12696680 w 26653740"/>
                <a:gd name="connsiteY6421" fmla="*/ 4331501 h 16570717"/>
                <a:gd name="connsiteX6422" fmla="*/ 12696680 w 26653740"/>
                <a:gd name="connsiteY6422" fmla="*/ 4274320 h 16570717"/>
                <a:gd name="connsiteX6423" fmla="*/ 12706212 w 26653740"/>
                <a:gd name="connsiteY6423" fmla="*/ 4212373 h 16570717"/>
                <a:gd name="connsiteX6424" fmla="*/ 12739568 w 26653740"/>
                <a:gd name="connsiteY6424" fmla="*/ 4188547 h 16570717"/>
                <a:gd name="connsiteX6425" fmla="*/ 12753864 w 26653740"/>
                <a:gd name="connsiteY6425" fmla="*/ 4136131 h 16570717"/>
                <a:gd name="connsiteX6426" fmla="*/ 12791984 w 26653740"/>
                <a:gd name="connsiteY6426" fmla="*/ 4069419 h 16570717"/>
                <a:gd name="connsiteX6427" fmla="*/ 12958764 w 26653740"/>
                <a:gd name="connsiteY6427" fmla="*/ 3845458 h 16570717"/>
                <a:gd name="connsiteX6428" fmla="*/ 13039772 w 26653740"/>
                <a:gd name="connsiteY6428" fmla="*/ 3759686 h 16570717"/>
                <a:gd name="connsiteX6429" fmla="*/ 13073128 w 26653740"/>
                <a:gd name="connsiteY6429" fmla="*/ 3750156 h 16570717"/>
                <a:gd name="connsiteX6430" fmla="*/ 13111248 w 26653740"/>
                <a:gd name="connsiteY6430" fmla="*/ 3754921 h 16570717"/>
                <a:gd name="connsiteX6431" fmla="*/ 13725948 w 26653740"/>
                <a:gd name="connsiteY6431" fmla="*/ 3340351 h 16570717"/>
                <a:gd name="connsiteX6432" fmla="*/ 13735480 w 26653740"/>
                <a:gd name="connsiteY6432" fmla="*/ 3345115 h 16570717"/>
                <a:gd name="connsiteX6433" fmla="*/ 13754540 w 26653740"/>
                <a:gd name="connsiteY6433" fmla="*/ 3388002 h 16570717"/>
                <a:gd name="connsiteX6434" fmla="*/ 13740244 w 26653740"/>
                <a:gd name="connsiteY6434" fmla="*/ 3421357 h 16570717"/>
                <a:gd name="connsiteX6435" fmla="*/ 13721184 w 26653740"/>
                <a:gd name="connsiteY6435" fmla="*/ 3440417 h 16570717"/>
                <a:gd name="connsiteX6436" fmla="*/ 13702124 w 26653740"/>
                <a:gd name="connsiteY6436" fmla="*/ 3411828 h 16570717"/>
                <a:gd name="connsiteX6437" fmla="*/ 13644944 w 26653740"/>
                <a:gd name="connsiteY6437" fmla="*/ 3411828 h 16570717"/>
                <a:gd name="connsiteX6438" fmla="*/ 13554404 w 26653740"/>
                <a:gd name="connsiteY6438" fmla="*/ 3378471 h 16570717"/>
                <a:gd name="connsiteX6439" fmla="*/ 13582996 w 26653740"/>
                <a:gd name="connsiteY6439" fmla="*/ 3359411 h 16570717"/>
                <a:gd name="connsiteX6440" fmla="*/ 13563936 w 26653740"/>
                <a:gd name="connsiteY6440" fmla="*/ 3225991 h 16570717"/>
                <a:gd name="connsiteX6441" fmla="*/ 13592528 w 26653740"/>
                <a:gd name="connsiteY6441" fmla="*/ 3230756 h 16570717"/>
                <a:gd name="connsiteX6442" fmla="*/ 13597292 w 26653740"/>
                <a:gd name="connsiteY6442" fmla="*/ 3245050 h 16570717"/>
                <a:gd name="connsiteX6443" fmla="*/ 13602056 w 26653740"/>
                <a:gd name="connsiteY6443" fmla="*/ 3259348 h 16570717"/>
                <a:gd name="connsiteX6444" fmla="*/ 13602056 w 26653740"/>
                <a:gd name="connsiteY6444" fmla="*/ 3283172 h 16570717"/>
                <a:gd name="connsiteX6445" fmla="*/ 13597292 w 26653740"/>
                <a:gd name="connsiteY6445" fmla="*/ 3283172 h 16570717"/>
                <a:gd name="connsiteX6446" fmla="*/ 13568700 w 26653740"/>
                <a:gd name="connsiteY6446" fmla="*/ 3287937 h 16570717"/>
                <a:gd name="connsiteX6447" fmla="*/ 13563936 w 26653740"/>
                <a:gd name="connsiteY6447" fmla="*/ 3297468 h 16570717"/>
                <a:gd name="connsiteX6448" fmla="*/ 13535344 w 26653740"/>
                <a:gd name="connsiteY6448" fmla="*/ 3330825 h 16570717"/>
                <a:gd name="connsiteX6449" fmla="*/ 13511520 w 26653740"/>
                <a:gd name="connsiteY6449" fmla="*/ 3335588 h 16570717"/>
                <a:gd name="connsiteX6450" fmla="*/ 13492460 w 26653740"/>
                <a:gd name="connsiteY6450" fmla="*/ 3316528 h 16570717"/>
                <a:gd name="connsiteX6451" fmla="*/ 13501988 w 26653740"/>
                <a:gd name="connsiteY6451" fmla="*/ 3283172 h 16570717"/>
                <a:gd name="connsiteX6452" fmla="*/ 13544876 w 26653740"/>
                <a:gd name="connsiteY6452" fmla="*/ 3278407 h 16570717"/>
                <a:gd name="connsiteX6453" fmla="*/ 12930172 w 26653740"/>
                <a:gd name="connsiteY6453" fmla="*/ 2339679 h 16570717"/>
                <a:gd name="connsiteX6454" fmla="*/ 12987356 w 26653740"/>
                <a:gd name="connsiteY6454" fmla="*/ 2373034 h 16570717"/>
                <a:gd name="connsiteX6455" fmla="*/ 13030240 w 26653740"/>
                <a:gd name="connsiteY6455" fmla="*/ 2425449 h 16570717"/>
                <a:gd name="connsiteX6456" fmla="*/ 13035008 w 26653740"/>
                <a:gd name="connsiteY6456" fmla="*/ 2454038 h 16570717"/>
                <a:gd name="connsiteX6457" fmla="*/ 13030240 w 26653740"/>
                <a:gd name="connsiteY6457" fmla="*/ 2468337 h 16570717"/>
                <a:gd name="connsiteX6458" fmla="*/ 13011180 w 26653740"/>
                <a:gd name="connsiteY6458" fmla="*/ 2477867 h 16570717"/>
                <a:gd name="connsiteX6459" fmla="*/ 13001652 w 26653740"/>
                <a:gd name="connsiteY6459" fmla="*/ 2492161 h 16570717"/>
                <a:gd name="connsiteX6460" fmla="*/ 12987356 w 26653740"/>
                <a:gd name="connsiteY6460" fmla="*/ 2554109 h 16570717"/>
                <a:gd name="connsiteX6461" fmla="*/ 12982592 w 26653740"/>
                <a:gd name="connsiteY6461" fmla="*/ 2616058 h 16570717"/>
                <a:gd name="connsiteX6462" fmla="*/ 12934940 w 26653740"/>
                <a:gd name="connsiteY6462" fmla="*/ 2801896 h 16570717"/>
                <a:gd name="connsiteX6463" fmla="*/ 12930172 w 26653740"/>
                <a:gd name="connsiteY6463" fmla="*/ 2835252 h 16570717"/>
                <a:gd name="connsiteX6464" fmla="*/ 12958764 w 26653740"/>
                <a:gd name="connsiteY6464" fmla="*/ 2806660 h 16570717"/>
                <a:gd name="connsiteX6465" fmla="*/ 12982592 w 26653740"/>
                <a:gd name="connsiteY6465" fmla="*/ 2739947 h 16570717"/>
                <a:gd name="connsiteX6466" fmla="*/ 12996884 w 26653740"/>
                <a:gd name="connsiteY6466" fmla="*/ 2687531 h 16570717"/>
                <a:gd name="connsiteX6467" fmla="*/ 13015948 w 26653740"/>
                <a:gd name="connsiteY6467" fmla="*/ 2654176 h 16570717"/>
                <a:gd name="connsiteX6468" fmla="*/ 13035008 w 26653740"/>
                <a:gd name="connsiteY6468" fmla="*/ 2654176 h 16570717"/>
                <a:gd name="connsiteX6469" fmla="*/ 13054068 w 26653740"/>
                <a:gd name="connsiteY6469" fmla="*/ 2644647 h 16570717"/>
                <a:gd name="connsiteX6470" fmla="*/ 13087424 w 26653740"/>
                <a:gd name="connsiteY6470" fmla="*/ 2596995 h 16570717"/>
                <a:gd name="connsiteX6471" fmla="*/ 13125544 w 26653740"/>
                <a:gd name="connsiteY6471" fmla="*/ 2577935 h 16570717"/>
                <a:gd name="connsiteX6472" fmla="*/ 13149368 w 26653740"/>
                <a:gd name="connsiteY6472" fmla="*/ 2577935 h 16570717"/>
                <a:gd name="connsiteX6473" fmla="*/ 13168432 w 26653740"/>
                <a:gd name="connsiteY6473" fmla="*/ 2601757 h 16570717"/>
                <a:gd name="connsiteX6474" fmla="*/ 13177960 w 26653740"/>
                <a:gd name="connsiteY6474" fmla="*/ 2649410 h 16570717"/>
                <a:gd name="connsiteX6475" fmla="*/ 13192256 w 26653740"/>
                <a:gd name="connsiteY6475" fmla="*/ 2692298 h 16570717"/>
                <a:gd name="connsiteX6476" fmla="*/ 13239908 w 26653740"/>
                <a:gd name="connsiteY6476" fmla="*/ 2720888 h 16570717"/>
                <a:gd name="connsiteX6477" fmla="*/ 13249436 w 26653740"/>
                <a:gd name="connsiteY6477" fmla="*/ 2730419 h 16570717"/>
                <a:gd name="connsiteX6478" fmla="*/ 13254204 w 26653740"/>
                <a:gd name="connsiteY6478" fmla="*/ 2763775 h 16570717"/>
                <a:gd name="connsiteX6479" fmla="*/ 13249436 w 26653740"/>
                <a:gd name="connsiteY6479" fmla="*/ 2797130 h 16570717"/>
                <a:gd name="connsiteX6480" fmla="*/ 13278028 w 26653740"/>
                <a:gd name="connsiteY6480" fmla="*/ 2835252 h 16570717"/>
                <a:gd name="connsiteX6481" fmla="*/ 13316148 w 26653740"/>
                <a:gd name="connsiteY6481" fmla="*/ 2820956 h 16570717"/>
                <a:gd name="connsiteX6482" fmla="*/ 13335208 w 26653740"/>
                <a:gd name="connsiteY6482" fmla="*/ 2825722 h 16570717"/>
                <a:gd name="connsiteX6483" fmla="*/ 13359036 w 26653740"/>
                <a:gd name="connsiteY6483" fmla="*/ 2849544 h 16570717"/>
                <a:gd name="connsiteX6484" fmla="*/ 13368564 w 26653740"/>
                <a:gd name="connsiteY6484" fmla="*/ 2878139 h 16570717"/>
                <a:gd name="connsiteX6485" fmla="*/ 13373332 w 26653740"/>
                <a:gd name="connsiteY6485" fmla="*/ 2916257 h 16570717"/>
                <a:gd name="connsiteX6486" fmla="*/ 13382860 w 26653740"/>
                <a:gd name="connsiteY6486" fmla="*/ 2968674 h 16570717"/>
                <a:gd name="connsiteX6487" fmla="*/ 13387624 w 26653740"/>
                <a:gd name="connsiteY6487" fmla="*/ 3025857 h 16570717"/>
                <a:gd name="connsiteX6488" fmla="*/ 13382860 w 26653740"/>
                <a:gd name="connsiteY6488" fmla="*/ 3102098 h 16570717"/>
                <a:gd name="connsiteX6489" fmla="*/ 13306620 w 26653740"/>
                <a:gd name="connsiteY6489" fmla="*/ 3216460 h 16570717"/>
                <a:gd name="connsiteX6490" fmla="*/ 13292324 w 26653740"/>
                <a:gd name="connsiteY6490" fmla="*/ 3225991 h 16570717"/>
                <a:gd name="connsiteX6491" fmla="*/ 13258968 w 26653740"/>
                <a:gd name="connsiteY6491" fmla="*/ 3216460 h 16570717"/>
                <a:gd name="connsiteX6492" fmla="*/ 13225612 w 26653740"/>
                <a:gd name="connsiteY6492" fmla="*/ 3230756 h 16570717"/>
                <a:gd name="connsiteX6493" fmla="*/ 13135076 w 26653740"/>
                <a:gd name="connsiteY6493" fmla="*/ 3287939 h 16570717"/>
                <a:gd name="connsiteX6494" fmla="*/ 13020712 w 26653740"/>
                <a:gd name="connsiteY6494" fmla="*/ 3292704 h 16570717"/>
                <a:gd name="connsiteX6495" fmla="*/ 12992120 w 26653740"/>
                <a:gd name="connsiteY6495" fmla="*/ 3345118 h 16570717"/>
                <a:gd name="connsiteX6496" fmla="*/ 12977824 w 26653740"/>
                <a:gd name="connsiteY6496" fmla="*/ 3340355 h 16570717"/>
                <a:gd name="connsiteX6497" fmla="*/ 12973060 w 26653740"/>
                <a:gd name="connsiteY6497" fmla="*/ 3330825 h 16570717"/>
                <a:gd name="connsiteX6498" fmla="*/ 12963528 w 26653740"/>
                <a:gd name="connsiteY6498" fmla="*/ 3316530 h 16570717"/>
                <a:gd name="connsiteX6499" fmla="*/ 12892052 w 26653740"/>
                <a:gd name="connsiteY6499" fmla="*/ 3330825 h 16570717"/>
                <a:gd name="connsiteX6500" fmla="*/ 12815812 w 26653740"/>
                <a:gd name="connsiteY6500" fmla="*/ 3340355 h 16570717"/>
                <a:gd name="connsiteX6501" fmla="*/ 12739568 w 26653740"/>
                <a:gd name="connsiteY6501" fmla="*/ 3340355 h 16570717"/>
                <a:gd name="connsiteX6502" fmla="*/ 12715744 w 26653740"/>
                <a:gd name="connsiteY6502" fmla="*/ 3378477 h 16570717"/>
                <a:gd name="connsiteX6503" fmla="*/ 12639500 w 26653740"/>
                <a:gd name="connsiteY6503" fmla="*/ 3449953 h 16570717"/>
                <a:gd name="connsiteX6504" fmla="*/ 12568024 w 26653740"/>
                <a:gd name="connsiteY6504" fmla="*/ 3502368 h 16570717"/>
                <a:gd name="connsiteX6505" fmla="*/ 12529904 w 26653740"/>
                <a:gd name="connsiteY6505" fmla="*/ 3516664 h 16570717"/>
                <a:gd name="connsiteX6506" fmla="*/ 12472720 w 26653740"/>
                <a:gd name="connsiteY6506" fmla="*/ 3502368 h 16570717"/>
                <a:gd name="connsiteX6507" fmla="*/ 12458428 w 26653740"/>
                <a:gd name="connsiteY6507" fmla="*/ 3483308 h 16570717"/>
                <a:gd name="connsiteX6508" fmla="*/ 12444132 w 26653740"/>
                <a:gd name="connsiteY6508" fmla="*/ 3454718 h 16570717"/>
                <a:gd name="connsiteX6509" fmla="*/ 12467956 w 26653740"/>
                <a:gd name="connsiteY6509" fmla="*/ 3421361 h 16570717"/>
                <a:gd name="connsiteX6510" fmla="*/ 12482252 w 26653740"/>
                <a:gd name="connsiteY6510" fmla="*/ 3349886 h 16570717"/>
                <a:gd name="connsiteX6511" fmla="*/ 12501312 w 26653740"/>
                <a:gd name="connsiteY6511" fmla="*/ 3306997 h 16570717"/>
                <a:gd name="connsiteX6512" fmla="*/ 12558496 w 26653740"/>
                <a:gd name="connsiteY6512" fmla="*/ 3225991 h 16570717"/>
                <a:gd name="connsiteX6513" fmla="*/ 12563260 w 26653740"/>
                <a:gd name="connsiteY6513" fmla="*/ 3192635 h 16570717"/>
                <a:gd name="connsiteX6514" fmla="*/ 12572788 w 26653740"/>
                <a:gd name="connsiteY6514" fmla="*/ 3125921 h 16570717"/>
                <a:gd name="connsiteX6515" fmla="*/ 12577556 w 26653740"/>
                <a:gd name="connsiteY6515" fmla="*/ 3097333 h 16570717"/>
                <a:gd name="connsiteX6516" fmla="*/ 12587084 w 26653740"/>
                <a:gd name="connsiteY6516" fmla="*/ 3073507 h 16570717"/>
                <a:gd name="connsiteX6517" fmla="*/ 12591848 w 26653740"/>
                <a:gd name="connsiteY6517" fmla="*/ 3044916 h 16570717"/>
                <a:gd name="connsiteX6518" fmla="*/ 12596616 w 26653740"/>
                <a:gd name="connsiteY6518" fmla="*/ 2997263 h 16570717"/>
                <a:gd name="connsiteX6519" fmla="*/ 12596616 w 26653740"/>
                <a:gd name="connsiteY6519" fmla="*/ 2959145 h 16570717"/>
                <a:gd name="connsiteX6520" fmla="*/ 12620440 w 26653740"/>
                <a:gd name="connsiteY6520" fmla="*/ 2901965 h 16570717"/>
                <a:gd name="connsiteX6521" fmla="*/ 12634736 w 26653740"/>
                <a:gd name="connsiteY6521" fmla="*/ 2873373 h 16570717"/>
                <a:gd name="connsiteX6522" fmla="*/ 12649032 w 26653740"/>
                <a:gd name="connsiteY6522" fmla="*/ 2863843 h 16570717"/>
                <a:gd name="connsiteX6523" fmla="*/ 12691916 w 26653740"/>
                <a:gd name="connsiteY6523" fmla="*/ 2878139 h 16570717"/>
                <a:gd name="connsiteX6524" fmla="*/ 12701448 w 26653740"/>
                <a:gd name="connsiteY6524" fmla="*/ 2873373 h 16570717"/>
                <a:gd name="connsiteX6525" fmla="*/ 12691916 w 26653740"/>
                <a:gd name="connsiteY6525" fmla="*/ 2854313 h 16570717"/>
                <a:gd name="connsiteX6526" fmla="*/ 12687152 w 26653740"/>
                <a:gd name="connsiteY6526" fmla="*/ 2782835 h 16570717"/>
                <a:gd name="connsiteX6527" fmla="*/ 12687152 w 26653740"/>
                <a:gd name="connsiteY6527" fmla="*/ 2759009 h 16570717"/>
                <a:gd name="connsiteX6528" fmla="*/ 12696684 w 26653740"/>
                <a:gd name="connsiteY6528" fmla="*/ 2716122 h 16570717"/>
                <a:gd name="connsiteX6529" fmla="*/ 12706212 w 26653740"/>
                <a:gd name="connsiteY6529" fmla="*/ 2697062 h 16570717"/>
                <a:gd name="connsiteX6530" fmla="*/ 12715744 w 26653740"/>
                <a:gd name="connsiteY6530" fmla="*/ 2682768 h 16570717"/>
                <a:gd name="connsiteX6531" fmla="*/ 12720508 w 26653740"/>
                <a:gd name="connsiteY6531" fmla="*/ 2620820 h 16570717"/>
                <a:gd name="connsiteX6532" fmla="*/ 12715744 w 26653740"/>
                <a:gd name="connsiteY6532" fmla="*/ 2601757 h 16570717"/>
                <a:gd name="connsiteX6533" fmla="*/ 12734804 w 26653740"/>
                <a:gd name="connsiteY6533" fmla="*/ 2573167 h 16570717"/>
                <a:gd name="connsiteX6534" fmla="*/ 12739568 w 26653740"/>
                <a:gd name="connsiteY6534" fmla="*/ 2530283 h 16570717"/>
                <a:gd name="connsiteX6535" fmla="*/ 12758628 w 26653740"/>
                <a:gd name="connsiteY6535" fmla="*/ 2506457 h 16570717"/>
                <a:gd name="connsiteX6536" fmla="*/ 12796752 w 26653740"/>
                <a:gd name="connsiteY6536" fmla="*/ 2492161 h 16570717"/>
                <a:gd name="connsiteX6537" fmla="*/ 12796752 w 26653740"/>
                <a:gd name="connsiteY6537" fmla="*/ 2439746 h 16570717"/>
                <a:gd name="connsiteX6538" fmla="*/ 12801516 w 26653740"/>
                <a:gd name="connsiteY6538" fmla="*/ 2411155 h 16570717"/>
                <a:gd name="connsiteX6539" fmla="*/ 12811044 w 26653740"/>
                <a:gd name="connsiteY6539" fmla="*/ 2401623 h 16570717"/>
                <a:gd name="connsiteX6540" fmla="*/ 12830108 w 26653740"/>
                <a:gd name="connsiteY6540" fmla="*/ 2392093 h 16570717"/>
                <a:gd name="connsiteX6541" fmla="*/ 12839636 w 26653740"/>
                <a:gd name="connsiteY6541" fmla="*/ 2392093 h 16570717"/>
                <a:gd name="connsiteX6542" fmla="*/ 12853932 w 26653740"/>
                <a:gd name="connsiteY6542" fmla="*/ 2444508 h 16570717"/>
                <a:gd name="connsiteX6543" fmla="*/ 12868228 w 26653740"/>
                <a:gd name="connsiteY6543" fmla="*/ 2482631 h 16570717"/>
                <a:gd name="connsiteX6544" fmla="*/ 12887288 w 26653740"/>
                <a:gd name="connsiteY6544" fmla="*/ 2492161 h 16570717"/>
                <a:gd name="connsiteX6545" fmla="*/ 12906348 w 26653740"/>
                <a:gd name="connsiteY6545" fmla="*/ 2487398 h 16570717"/>
                <a:gd name="connsiteX6546" fmla="*/ 12892052 w 26653740"/>
                <a:gd name="connsiteY6546" fmla="*/ 2439746 h 16570717"/>
                <a:gd name="connsiteX6547" fmla="*/ 12892052 w 26653740"/>
                <a:gd name="connsiteY6547" fmla="*/ 2392093 h 16570717"/>
                <a:gd name="connsiteX6548" fmla="*/ 12901584 w 26653740"/>
                <a:gd name="connsiteY6548" fmla="*/ 2353973 h 16570717"/>
                <a:gd name="connsiteX6549" fmla="*/ 12911112 w 26653740"/>
                <a:gd name="connsiteY6549" fmla="*/ 2344441 h 16570717"/>
                <a:gd name="connsiteX6550" fmla="*/ 8829780 w 26653740"/>
                <a:gd name="connsiteY6550" fmla="*/ 2139541 h 16570717"/>
                <a:gd name="connsiteX6551" fmla="*/ 8844076 w 26653740"/>
                <a:gd name="connsiteY6551" fmla="*/ 2153838 h 16570717"/>
                <a:gd name="connsiteX6552" fmla="*/ 8863136 w 26653740"/>
                <a:gd name="connsiteY6552" fmla="*/ 2182428 h 16570717"/>
                <a:gd name="connsiteX6553" fmla="*/ 8882196 w 26653740"/>
                <a:gd name="connsiteY6553" fmla="*/ 2158603 h 16570717"/>
                <a:gd name="connsiteX6554" fmla="*/ 9020384 w 26653740"/>
                <a:gd name="connsiteY6554" fmla="*/ 2234845 h 16570717"/>
                <a:gd name="connsiteX6555" fmla="*/ 9048976 w 26653740"/>
                <a:gd name="connsiteY6555" fmla="*/ 2263436 h 16570717"/>
                <a:gd name="connsiteX6556" fmla="*/ 9053740 w 26653740"/>
                <a:gd name="connsiteY6556" fmla="*/ 2282496 h 16570717"/>
                <a:gd name="connsiteX6557" fmla="*/ 8934612 w 26653740"/>
                <a:gd name="connsiteY6557" fmla="*/ 2292026 h 16570717"/>
                <a:gd name="connsiteX6558" fmla="*/ 8910788 w 26653740"/>
                <a:gd name="connsiteY6558" fmla="*/ 2287262 h 16570717"/>
                <a:gd name="connsiteX6559" fmla="*/ 8906024 w 26653740"/>
                <a:gd name="connsiteY6559" fmla="*/ 2244377 h 16570717"/>
                <a:gd name="connsiteX6560" fmla="*/ 8877432 w 26653740"/>
                <a:gd name="connsiteY6560" fmla="*/ 2244377 h 16570717"/>
                <a:gd name="connsiteX6561" fmla="*/ 8829780 w 26653740"/>
                <a:gd name="connsiteY6561" fmla="*/ 2215784 h 16570717"/>
                <a:gd name="connsiteX6562" fmla="*/ 8820252 w 26653740"/>
                <a:gd name="connsiteY6562" fmla="*/ 2172898 h 16570717"/>
                <a:gd name="connsiteX6563" fmla="*/ 8815484 w 26653740"/>
                <a:gd name="connsiteY6563" fmla="*/ 2158603 h 16570717"/>
                <a:gd name="connsiteX6564" fmla="*/ 12563260 w 26653740"/>
                <a:gd name="connsiteY6564" fmla="*/ 2106187 h 16570717"/>
                <a:gd name="connsiteX6565" fmla="*/ 12572788 w 26653740"/>
                <a:gd name="connsiteY6565" fmla="*/ 2125246 h 16570717"/>
                <a:gd name="connsiteX6566" fmla="*/ 12601380 w 26653740"/>
                <a:gd name="connsiteY6566" fmla="*/ 2134776 h 16570717"/>
                <a:gd name="connsiteX6567" fmla="*/ 12572788 w 26653740"/>
                <a:gd name="connsiteY6567" fmla="*/ 2182427 h 16570717"/>
                <a:gd name="connsiteX6568" fmla="*/ 12539432 w 26653740"/>
                <a:gd name="connsiteY6568" fmla="*/ 2196723 h 16570717"/>
                <a:gd name="connsiteX6569" fmla="*/ 12544200 w 26653740"/>
                <a:gd name="connsiteY6569" fmla="*/ 2134776 h 16570717"/>
                <a:gd name="connsiteX6570" fmla="*/ 12544200 w 26653740"/>
                <a:gd name="connsiteY6570" fmla="*/ 2115717 h 16570717"/>
                <a:gd name="connsiteX6571" fmla="*/ 11264760 w 26653740"/>
                <a:gd name="connsiteY6571" fmla="*/ 1796456 h 16570717"/>
                <a:gd name="connsiteX6572" fmla="*/ 11331472 w 26653740"/>
                <a:gd name="connsiteY6572" fmla="*/ 1801217 h 16570717"/>
                <a:gd name="connsiteX6573" fmla="*/ 11398184 w 26653740"/>
                <a:gd name="connsiteY6573" fmla="*/ 1844102 h 16570717"/>
                <a:gd name="connsiteX6574" fmla="*/ 11536372 w 26653740"/>
                <a:gd name="connsiteY6574" fmla="*/ 1896517 h 16570717"/>
                <a:gd name="connsiteX6575" fmla="*/ 11588788 w 26653740"/>
                <a:gd name="connsiteY6575" fmla="*/ 1929873 h 16570717"/>
                <a:gd name="connsiteX6576" fmla="*/ 11555432 w 26653740"/>
                <a:gd name="connsiteY6576" fmla="*/ 2006118 h 16570717"/>
                <a:gd name="connsiteX6577" fmla="*/ 11522076 w 26653740"/>
                <a:gd name="connsiteY6577" fmla="*/ 2034709 h 16570717"/>
                <a:gd name="connsiteX6578" fmla="*/ 11488720 w 26653740"/>
                <a:gd name="connsiteY6578" fmla="*/ 2077595 h 16570717"/>
                <a:gd name="connsiteX6579" fmla="*/ 11450600 w 26653740"/>
                <a:gd name="connsiteY6579" fmla="*/ 2106187 h 16570717"/>
                <a:gd name="connsiteX6580" fmla="*/ 11412480 w 26653740"/>
                <a:gd name="connsiteY6580" fmla="*/ 2120482 h 16570717"/>
                <a:gd name="connsiteX6581" fmla="*/ 11374360 w 26653740"/>
                <a:gd name="connsiteY6581" fmla="*/ 2130011 h 16570717"/>
                <a:gd name="connsiteX6582" fmla="*/ 11331472 w 26653740"/>
                <a:gd name="connsiteY6582" fmla="*/ 2120482 h 16570717"/>
                <a:gd name="connsiteX6583" fmla="*/ 11255232 w 26653740"/>
                <a:gd name="connsiteY6583" fmla="*/ 2029942 h 16570717"/>
                <a:gd name="connsiteX6584" fmla="*/ 11207580 w 26653740"/>
                <a:gd name="connsiteY6584" fmla="*/ 1991822 h 16570717"/>
                <a:gd name="connsiteX6585" fmla="*/ 11169460 w 26653740"/>
                <a:gd name="connsiteY6585" fmla="*/ 1929873 h 16570717"/>
                <a:gd name="connsiteX6586" fmla="*/ 11159928 w 26653740"/>
                <a:gd name="connsiteY6586" fmla="*/ 1858400 h 16570717"/>
                <a:gd name="connsiteX6587" fmla="*/ 11183752 w 26653740"/>
                <a:gd name="connsiteY6587" fmla="*/ 1815515 h 16570717"/>
                <a:gd name="connsiteX6588" fmla="*/ 11217108 w 26653740"/>
                <a:gd name="connsiteY6588" fmla="*/ 1801217 h 16570717"/>
                <a:gd name="connsiteX6589" fmla="*/ 4893784 w 26653740"/>
                <a:gd name="connsiteY6589" fmla="*/ 1758331 h 16570717"/>
                <a:gd name="connsiteX6590" fmla="*/ 4941436 w 26653740"/>
                <a:gd name="connsiteY6590" fmla="*/ 1801217 h 16570717"/>
                <a:gd name="connsiteX6591" fmla="*/ 4941436 w 26653740"/>
                <a:gd name="connsiteY6591" fmla="*/ 1834573 h 16570717"/>
                <a:gd name="connsiteX6592" fmla="*/ 4941436 w 26653740"/>
                <a:gd name="connsiteY6592" fmla="*/ 1853632 h 16570717"/>
                <a:gd name="connsiteX6593" fmla="*/ 4950968 w 26653740"/>
                <a:gd name="connsiteY6593" fmla="*/ 1867929 h 16570717"/>
                <a:gd name="connsiteX6594" fmla="*/ 4965264 w 26653740"/>
                <a:gd name="connsiteY6594" fmla="*/ 1891755 h 16570717"/>
                <a:gd name="connsiteX6595" fmla="*/ 4970028 w 26653740"/>
                <a:gd name="connsiteY6595" fmla="*/ 1906047 h 16570717"/>
                <a:gd name="connsiteX6596" fmla="*/ 4970028 w 26653740"/>
                <a:gd name="connsiteY6596" fmla="*/ 1915577 h 16570717"/>
                <a:gd name="connsiteX6597" fmla="*/ 4912848 w 26653740"/>
                <a:gd name="connsiteY6597" fmla="*/ 1906047 h 16570717"/>
                <a:gd name="connsiteX6598" fmla="*/ 4817544 w 26653740"/>
                <a:gd name="connsiteY6598" fmla="*/ 1910814 h 16570717"/>
                <a:gd name="connsiteX6599" fmla="*/ 4760360 w 26653740"/>
                <a:gd name="connsiteY6599" fmla="*/ 1858400 h 16570717"/>
                <a:gd name="connsiteX6600" fmla="*/ 4817544 w 26653740"/>
                <a:gd name="connsiteY6600" fmla="*/ 1810746 h 16570717"/>
                <a:gd name="connsiteX6601" fmla="*/ 4850900 w 26653740"/>
                <a:gd name="connsiteY6601" fmla="*/ 1801217 h 16570717"/>
                <a:gd name="connsiteX6602" fmla="*/ 6237552 w 26653740"/>
                <a:gd name="connsiteY6602" fmla="*/ 1734510 h 16570717"/>
                <a:gd name="connsiteX6603" fmla="*/ 6275672 w 26653740"/>
                <a:gd name="connsiteY6603" fmla="*/ 1767866 h 16570717"/>
                <a:gd name="connsiteX6604" fmla="*/ 6294732 w 26653740"/>
                <a:gd name="connsiteY6604" fmla="*/ 1848870 h 16570717"/>
                <a:gd name="connsiteX6605" fmla="*/ 6261376 w 26653740"/>
                <a:gd name="connsiteY6605" fmla="*/ 1882226 h 16570717"/>
                <a:gd name="connsiteX6606" fmla="*/ 6204196 w 26653740"/>
                <a:gd name="connsiteY6606" fmla="*/ 1910814 h 16570717"/>
                <a:gd name="connsiteX6607" fmla="*/ 6185136 w 26653740"/>
                <a:gd name="connsiteY6607" fmla="*/ 1901284 h 16570717"/>
                <a:gd name="connsiteX6608" fmla="*/ 6175604 w 26653740"/>
                <a:gd name="connsiteY6608" fmla="*/ 1891755 h 16570717"/>
                <a:gd name="connsiteX6609" fmla="*/ 6166076 w 26653740"/>
                <a:gd name="connsiteY6609" fmla="*/ 1877458 h 16570717"/>
                <a:gd name="connsiteX6610" fmla="*/ 6137484 w 26653740"/>
                <a:gd name="connsiteY6610" fmla="*/ 1858400 h 16570717"/>
                <a:gd name="connsiteX6611" fmla="*/ 6142248 w 26653740"/>
                <a:gd name="connsiteY6611" fmla="*/ 1805985 h 16570717"/>
                <a:gd name="connsiteX6612" fmla="*/ 6151780 w 26653740"/>
                <a:gd name="connsiteY6612" fmla="*/ 1796456 h 16570717"/>
                <a:gd name="connsiteX6613" fmla="*/ 12179664 w 26653740"/>
                <a:gd name="connsiteY6613" fmla="*/ 1691620 h 16570717"/>
                <a:gd name="connsiteX6614" fmla="*/ 12193960 w 26653740"/>
                <a:gd name="connsiteY6614" fmla="*/ 1701150 h 16570717"/>
                <a:gd name="connsiteX6615" fmla="*/ 12227316 w 26653740"/>
                <a:gd name="connsiteY6615" fmla="*/ 1758335 h 16570717"/>
                <a:gd name="connsiteX6616" fmla="*/ 12246376 w 26653740"/>
                <a:gd name="connsiteY6616" fmla="*/ 1820282 h 16570717"/>
                <a:gd name="connsiteX6617" fmla="*/ 12227316 w 26653740"/>
                <a:gd name="connsiteY6617" fmla="*/ 1839341 h 16570717"/>
                <a:gd name="connsiteX6618" fmla="*/ 12213020 w 26653740"/>
                <a:gd name="connsiteY6618" fmla="*/ 1882226 h 16570717"/>
                <a:gd name="connsiteX6619" fmla="*/ 12208256 w 26653740"/>
                <a:gd name="connsiteY6619" fmla="*/ 1934642 h 16570717"/>
                <a:gd name="connsiteX6620" fmla="*/ 12184432 w 26653740"/>
                <a:gd name="connsiteY6620" fmla="*/ 1977527 h 16570717"/>
                <a:gd name="connsiteX6621" fmla="*/ 12179664 w 26653740"/>
                <a:gd name="connsiteY6621" fmla="*/ 2044238 h 16570717"/>
                <a:gd name="connsiteX6622" fmla="*/ 12189196 w 26653740"/>
                <a:gd name="connsiteY6622" fmla="*/ 2053768 h 16570717"/>
                <a:gd name="connsiteX6623" fmla="*/ 12198724 w 26653740"/>
                <a:gd name="connsiteY6623" fmla="*/ 2039475 h 16570717"/>
                <a:gd name="connsiteX6624" fmla="*/ 12222552 w 26653740"/>
                <a:gd name="connsiteY6624" fmla="*/ 1972763 h 16570717"/>
                <a:gd name="connsiteX6625" fmla="*/ 12251144 w 26653740"/>
                <a:gd name="connsiteY6625" fmla="*/ 1929873 h 16570717"/>
                <a:gd name="connsiteX6626" fmla="*/ 12282116 w 26653740"/>
                <a:gd name="connsiteY6626" fmla="*/ 1953701 h 16570717"/>
                <a:gd name="connsiteX6627" fmla="*/ 12296412 w 26653740"/>
                <a:gd name="connsiteY6627" fmla="*/ 1948936 h 16570717"/>
                <a:gd name="connsiteX6628" fmla="*/ 12320236 w 26653740"/>
                <a:gd name="connsiteY6628" fmla="*/ 1886987 h 16570717"/>
                <a:gd name="connsiteX6629" fmla="*/ 12315472 w 26653740"/>
                <a:gd name="connsiteY6629" fmla="*/ 1834573 h 16570717"/>
                <a:gd name="connsiteX6630" fmla="*/ 12325000 w 26653740"/>
                <a:gd name="connsiteY6630" fmla="*/ 1805985 h 16570717"/>
                <a:gd name="connsiteX6631" fmla="*/ 12334532 w 26653740"/>
                <a:gd name="connsiteY6631" fmla="*/ 1796456 h 16570717"/>
                <a:gd name="connsiteX6632" fmla="*/ 12377416 w 26653740"/>
                <a:gd name="connsiteY6632" fmla="*/ 1801222 h 16570717"/>
                <a:gd name="connsiteX6633" fmla="*/ 12444128 w 26653740"/>
                <a:gd name="connsiteY6633" fmla="*/ 1829812 h 16570717"/>
                <a:gd name="connsiteX6634" fmla="*/ 12453660 w 26653740"/>
                <a:gd name="connsiteY6634" fmla="*/ 1853632 h 16570717"/>
                <a:gd name="connsiteX6635" fmla="*/ 12472720 w 26653740"/>
                <a:gd name="connsiteY6635" fmla="*/ 1867929 h 16570717"/>
                <a:gd name="connsiteX6636" fmla="*/ 12482252 w 26653740"/>
                <a:gd name="connsiteY6636" fmla="*/ 1896518 h 16570717"/>
                <a:gd name="connsiteX6637" fmla="*/ 12510840 w 26653740"/>
                <a:gd name="connsiteY6637" fmla="*/ 1915578 h 16570717"/>
                <a:gd name="connsiteX6638" fmla="*/ 12525136 w 26653740"/>
                <a:gd name="connsiteY6638" fmla="*/ 1934642 h 16570717"/>
                <a:gd name="connsiteX6639" fmla="*/ 12544196 w 26653740"/>
                <a:gd name="connsiteY6639" fmla="*/ 1977527 h 16570717"/>
                <a:gd name="connsiteX6640" fmla="*/ 12563256 w 26653740"/>
                <a:gd name="connsiteY6640" fmla="*/ 2039475 h 16570717"/>
                <a:gd name="connsiteX6641" fmla="*/ 12539432 w 26653740"/>
                <a:gd name="connsiteY6641" fmla="*/ 2077595 h 16570717"/>
                <a:gd name="connsiteX6642" fmla="*/ 12529904 w 26653740"/>
                <a:gd name="connsiteY6642" fmla="*/ 2134776 h 16570717"/>
                <a:gd name="connsiteX6643" fmla="*/ 12525136 w 26653740"/>
                <a:gd name="connsiteY6643" fmla="*/ 2149073 h 16570717"/>
                <a:gd name="connsiteX6644" fmla="*/ 12520372 w 26653740"/>
                <a:gd name="connsiteY6644" fmla="*/ 2172897 h 16570717"/>
                <a:gd name="connsiteX6645" fmla="*/ 12515608 w 26653740"/>
                <a:gd name="connsiteY6645" fmla="*/ 2225314 h 16570717"/>
                <a:gd name="connsiteX6646" fmla="*/ 12515608 w 26653740"/>
                <a:gd name="connsiteY6646" fmla="*/ 2268200 h 16570717"/>
                <a:gd name="connsiteX6647" fmla="*/ 12510840 w 26653740"/>
                <a:gd name="connsiteY6647" fmla="*/ 2287262 h 16570717"/>
                <a:gd name="connsiteX6648" fmla="*/ 12506076 w 26653740"/>
                <a:gd name="connsiteY6648" fmla="*/ 2311087 h 16570717"/>
                <a:gd name="connsiteX6649" fmla="*/ 12510840 w 26653740"/>
                <a:gd name="connsiteY6649" fmla="*/ 2382564 h 16570717"/>
                <a:gd name="connsiteX6650" fmla="*/ 12501312 w 26653740"/>
                <a:gd name="connsiteY6650" fmla="*/ 2430217 h 16570717"/>
                <a:gd name="connsiteX6651" fmla="*/ 12482252 w 26653740"/>
                <a:gd name="connsiteY6651" fmla="*/ 2473100 h 16570717"/>
                <a:gd name="connsiteX6652" fmla="*/ 12458424 w 26653740"/>
                <a:gd name="connsiteY6652" fmla="*/ 2473100 h 16570717"/>
                <a:gd name="connsiteX6653" fmla="*/ 12425068 w 26653740"/>
                <a:gd name="connsiteY6653" fmla="*/ 2444508 h 16570717"/>
                <a:gd name="connsiteX6654" fmla="*/ 12415540 w 26653740"/>
                <a:gd name="connsiteY6654" fmla="*/ 2449276 h 16570717"/>
                <a:gd name="connsiteX6655" fmla="*/ 12406008 w 26653740"/>
                <a:gd name="connsiteY6655" fmla="*/ 2458806 h 16570717"/>
                <a:gd name="connsiteX6656" fmla="*/ 12448896 w 26653740"/>
                <a:gd name="connsiteY6656" fmla="*/ 2511222 h 16570717"/>
                <a:gd name="connsiteX6657" fmla="*/ 12477484 w 26653740"/>
                <a:gd name="connsiteY6657" fmla="*/ 2592227 h 16570717"/>
                <a:gd name="connsiteX6658" fmla="*/ 12515608 w 26653740"/>
                <a:gd name="connsiteY6658" fmla="*/ 2611288 h 16570717"/>
                <a:gd name="connsiteX6659" fmla="*/ 12525136 w 26653740"/>
                <a:gd name="connsiteY6659" fmla="*/ 2620820 h 16570717"/>
                <a:gd name="connsiteX6660" fmla="*/ 12539432 w 26653740"/>
                <a:gd name="connsiteY6660" fmla="*/ 2697062 h 16570717"/>
                <a:gd name="connsiteX6661" fmla="*/ 12544196 w 26653740"/>
                <a:gd name="connsiteY6661" fmla="*/ 2730419 h 16570717"/>
                <a:gd name="connsiteX6662" fmla="*/ 12482252 w 26653740"/>
                <a:gd name="connsiteY6662" fmla="*/ 2820956 h 16570717"/>
                <a:gd name="connsiteX6663" fmla="*/ 12467956 w 26653740"/>
                <a:gd name="connsiteY6663" fmla="*/ 2835252 h 16570717"/>
                <a:gd name="connsiteX6664" fmla="*/ 12367888 w 26653740"/>
                <a:gd name="connsiteY6664" fmla="*/ 2849544 h 16570717"/>
                <a:gd name="connsiteX6665" fmla="*/ 12305940 w 26653740"/>
                <a:gd name="connsiteY6665" fmla="*/ 2873373 h 16570717"/>
                <a:gd name="connsiteX6666" fmla="*/ 12286880 w 26653740"/>
                <a:gd name="connsiteY6666" fmla="*/ 2868607 h 16570717"/>
                <a:gd name="connsiteX6667" fmla="*/ 12251144 w 26653740"/>
                <a:gd name="connsiteY6667" fmla="*/ 2844781 h 16570717"/>
                <a:gd name="connsiteX6668" fmla="*/ 12227316 w 26653740"/>
                <a:gd name="connsiteY6668" fmla="*/ 2854313 h 16570717"/>
                <a:gd name="connsiteX6669" fmla="*/ 12193960 w 26653740"/>
                <a:gd name="connsiteY6669" fmla="*/ 2840014 h 16570717"/>
                <a:gd name="connsiteX6670" fmla="*/ 12174900 w 26653740"/>
                <a:gd name="connsiteY6670" fmla="*/ 2840014 h 16570717"/>
                <a:gd name="connsiteX6671" fmla="*/ 12127248 w 26653740"/>
                <a:gd name="connsiteY6671" fmla="*/ 2806659 h 16570717"/>
                <a:gd name="connsiteX6672" fmla="*/ 12074832 w 26653740"/>
                <a:gd name="connsiteY6672" fmla="*/ 2754245 h 16570717"/>
                <a:gd name="connsiteX6673" fmla="*/ 12065304 w 26653740"/>
                <a:gd name="connsiteY6673" fmla="*/ 2730419 h 16570717"/>
                <a:gd name="connsiteX6674" fmla="*/ 12055772 w 26653740"/>
                <a:gd name="connsiteY6674" fmla="*/ 2711357 h 16570717"/>
                <a:gd name="connsiteX6675" fmla="*/ 11998592 w 26653740"/>
                <a:gd name="connsiteY6675" fmla="*/ 2697062 h 16570717"/>
                <a:gd name="connsiteX6676" fmla="*/ 11984296 w 26653740"/>
                <a:gd name="connsiteY6676" fmla="*/ 2687531 h 16570717"/>
                <a:gd name="connsiteX6677" fmla="*/ 11898524 w 26653740"/>
                <a:gd name="connsiteY6677" fmla="*/ 2701827 h 16570717"/>
                <a:gd name="connsiteX6678" fmla="*/ 11884228 w 26653740"/>
                <a:gd name="connsiteY6678" fmla="*/ 2692298 h 16570717"/>
                <a:gd name="connsiteX6679" fmla="*/ 11855636 w 26653740"/>
                <a:gd name="connsiteY6679" fmla="*/ 2620820 h 16570717"/>
                <a:gd name="connsiteX6680" fmla="*/ 11841340 w 26653740"/>
                <a:gd name="connsiteY6680" fmla="*/ 2620820 h 16570717"/>
                <a:gd name="connsiteX6681" fmla="*/ 11793688 w 26653740"/>
                <a:gd name="connsiteY6681" fmla="*/ 2658941 h 16570717"/>
                <a:gd name="connsiteX6682" fmla="*/ 11779396 w 26653740"/>
                <a:gd name="connsiteY6682" fmla="*/ 2658941 h 16570717"/>
                <a:gd name="connsiteX6683" fmla="*/ 11741272 w 26653740"/>
                <a:gd name="connsiteY6683" fmla="*/ 2630349 h 16570717"/>
                <a:gd name="connsiteX6684" fmla="*/ 11722212 w 26653740"/>
                <a:gd name="connsiteY6684" fmla="*/ 2596995 h 16570717"/>
                <a:gd name="connsiteX6685" fmla="*/ 11717448 w 26653740"/>
                <a:gd name="connsiteY6685" fmla="*/ 2582696 h 16570717"/>
                <a:gd name="connsiteX6686" fmla="*/ 11712684 w 26653740"/>
                <a:gd name="connsiteY6686" fmla="*/ 2539813 h 16570717"/>
                <a:gd name="connsiteX6687" fmla="*/ 11693620 w 26653740"/>
                <a:gd name="connsiteY6687" fmla="*/ 2520753 h 16570717"/>
                <a:gd name="connsiteX6688" fmla="*/ 11669796 w 26653740"/>
                <a:gd name="connsiteY6688" fmla="*/ 2444508 h 16570717"/>
                <a:gd name="connsiteX6689" fmla="*/ 11650736 w 26653740"/>
                <a:gd name="connsiteY6689" fmla="*/ 2363503 h 16570717"/>
                <a:gd name="connsiteX6690" fmla="*/ 11579260 w 26653740"/>
                <a:gd name="connsiteY6690" fmla="*/ 2325381 h 16570717"/>
                <a:gd name="connsiteX6691" fmla="*/ 11536372 w 26653740"/>
                <a:gd name="connsiteY6691" fmla="*/ 2315851 h 16570717"/>
                <a:gd name="connsiteX6692" fmla="*/ 11503016 w 26653740"/>
                <a:gd name="connsiteY6692" fmla="*/ 2315851 h 16570717"/>
                <a:gd name="connsiteX6693" fmla="*/ 11474424 w 26653740"/>
                <a:gd name="connsiteY6693" fmla="*/ 2287262 h 16570717"/>
                <a:gd name="connsiteX6694" fmla="*/ 11526844 w 26653740"/>
                <a:gd name="connsiteY6694" fmla="*/ 2168133 h 16570717"/>
                <a:gd name="connsiteX6695" fmla="*/ 11593556 w 26653740"/>
                <a:gd name="connsiteY6695" fmla="*/ 2106187 h 16570717"/>
                <a:gd name="connsiteX6696" fmla="*/ 11626912 w 26653740"/>
                <a:gd name="connsiteY6696" fmla="*/ 2058535 h 16570717"/>
                <a:gd name="connsiteX6697" fmla="*/ 11660268 w 26653740"/>
                <a:gd name="connsiteY6697" fmla="*/ 1996587 h 16570717"/>
                <a:gd name="connsiteX6698" fmla="*/ 11674560 w 26653740"/>
                <a:gd name="connsiteY6698" fmla="*/ 1896518 h 16570717"/>
                <a:gd name="connsiteX6699" fmla="*/ 11731744 w 26653740"/>
                <a:gd name="connsiteY6699" fmla="*/ 1834573 h 16570717"/>
                <a:gd name="connsiteX6700" fmla="*/ 11746040 w 26653740"/>
                <a:gd name="connsiteY6700" fmla="*/ 1810752 h 16570717"/>
                <a:gd name="connsiteX6701" fmla="*/ 11765100 w 26653740"/>
                <a:gd name="connsiteY6701" fmla="*/ 1763098 h 16570717"/>
                <a:gd name="connsiteX6702" fmla="*/ 11774628 w 26653740"/>
                <a:gd name="connsiteY6702" fmla="*/ 1753569 h 16570717"/>
                <a:gd name="connsiteX6703" fmla="*/ 11817516 w 26653740"/>
                <a:gd name="connsiteY6703" fmla="*/ 1815515 h 16570717"/>
                <a:gd name="connsiteX6704" fmla="*/ 11827044 w 26653740"/>
                <a:gd name="connsiteY6704" fmla="*/ 1805985 h 16570717"/>
                <a:gd name="connsiteX6705" fmla="*/ 11836576 w 26653740"/>
                <a:gd name="connsiteY6705" fmla="*/ 1777396 h 16570717"/>
                <a:gd name="connsiteX6706" fmla="*/ 11850872 w 26653740"/>
                <a:gd name="connsiteY6706" fmla="*/ 1748802 h 16570717"/>
                <a:gd name="connsiteX6707" fmla="*/ 11908052 w 26653740"/>
                <a:gd name="connsiteY6707" fmla="*/ 1744039 h 16570717"/>
                <a:gd name="connsiteX6708" fmla="*/ 11955704 w 26653740"/>
                <a:gd name="connsiteY6708" fmla="*/ 1753569 h 16570717"/>
                <a:gd name="connsiteX6709" fmla="*/ 11974764 w 26653740"/>
                <a:gd name="connsiteY6709" fmla="*/ 1744039 h 16570717"/>
                <a:gd name="connsiteX6710" fmla="*/ 11993824 w 26653740"/>
                <a:gd name="connsiteY6710" fmla="*/ 1748802 h 16570717"/>
                <a:gd name="connsiteX6711" fmla="*/ 12103424 w 26653740"/>
                <a:gd name="connsiteY6711" fmla="*/ 1705918 h 16570717"/>
                <a:gd name="connsiteX6712" fmla="*/ 4727008 w 26653740"/>
                <a:gd name="connsiteY6712" fmla="*/ 1634439 h 16570717"/>
                <a:gd name="connsiteX6713" fmla="*/ 4784188 w 26653740"/>
                <a:gd name="connsiteY6713" fmla="*/ 1643968 h 16570717"/>
                <a:gd name="connsiteX6714" fmla="*/ 4793720 w 26653740"/>
                <a:gd name="connsiteY6714" fmla="*/ 1677324 h 16570717"/>
                <a:gd name="connsiteX6715" fmla="*/ 4793720 w 26653740"/>
                <a:gd name="connsiteY6715" fmla="*/ 1686855 h 16570717"/>
                <a:gd name="connsiteX6716" fmla="*/ 4755596 w 26653740"/>
                <a:gd name="connsiteY6716" fmla="*/ 1744039 h 16570717"/>
                <a:gd name="connsiteX6717" fmla="*/ 4755596 w 26653740"/>
                <a:gd name="connsiteY6717" fmla="*/ 1777396 h 16570717"/>
                <a:gd name="connsiteX6718" fmla="*/ 4741300 w 26653740"/>
                <a:gd name="connsiteY6718" fmla="*/ 1786926 h 16570717"/>
                <a:gd name="connsiteX6719" fmla="*/ 4679356 w 26653740"/>
                <a:gd name="connsiteY6719" fmla="*/ 1720211 h 16570717"/>
                <a:gd name="connsiteX6720" fmla="*/ 4674592 w 26653740"/>
                <a:gd name="connsiteY6720" fmla="*/ 1701150 h 16570717"/>
                <a:gd name="connsiteX6721" fmla="*/ 5565668 w 26653740"/>
                <a:gd name="connsiteY6721" fmla="*/ 1543900 h 16570717"/>
                <a:gd name="connsiteX6722" fmla="*/ 5579964 w 26653740"/>
                <a:gd name="connsiteY6722" fmla="*/ 1553431 h 16570717"/>
                <a:gd name="connsiteX6723" fmla="*/ 5594260 w 26653740"/>
                <a:gd name="connsiteY6723" fmla="*/ 1567729 h 16570717"/>
                <a:gd name="connsiteX6724" fmla="*/ 5603792 w 26653740"/>
                <a:gd name="connsiteY6724" fmla="*/ 1591553 h 16570717"/>
                <a:gd name="connsiteX6725" fmla="*/ 5556140 w 26653740"/>
                <a:gd name="connsiteY6725" fmla="*/ 1639205 h 16570717"/>
                <a:gd name="connsiteX6726" fmla="*/ 5532312 w 26653740"/>
                <a:gd name="connsiteY6726" fmla="*/ 1634440 h 16570717"/>
                <a:gd name="connsiteX6727" fmla="*/ 5522784 w 26653740"/>
                <a:gd name="connsiteY6727" fmla="*/ 1610616 h 16570717"/>
                <a:gd name="connsiteX6728" fmla="*/ 5541844 w 26653740"/>
                <a:gd name="connsiteY6728" fmla="*/ 1572492 h 16570717"/>
                <a:gd name="connsiteX6729" fmla="*/ 5832516 w 26653740"/>
                <a:gd name="connsiteY6729" fmla="*/ 1505780 h 16570717"/>
                <a:gd name="connsiteX6730" fmla="*/ 5851576 w 26653740"/>
                <a:gd name="connsiteY6730" fmla="*/ 1520078 h 16570717"/>
                <a:gd name="connsiteX6731" fmla="*/ 5856344 w 26653740"/>
                <a:gd name="connsiteY6731" fmla="*/ 1553431 h 16570717"/>
                <a:gd name="connsiteX6732" fmla="*/ 5856344 w 26653740"/>
                <a:gd name="connsiteY6732" fmla="*/ 1667794 h 16570717"/>
                <a:gd name="connsiteX6733" fmla="*/ 5851576 w 26653740"/>
                <a:gd name="connsiteY6733" fmla="*/ 1715449 h 16570717"/>
                <a:gd name="connsiteX6734" fmla="*/ 5851576 w 26653740"/>
                <a:gd name="connsiteY6734" fmla="*/ 1758332 h 16570717"/>
                <a:gd name="connsiteX6735" fmla="*/ 5837280 w 26653740"/>
                <a:gd name="connsiteY6735" fmla="*/ 1777396 h 16570717"/>
                <a:gd name="connsiteX6736" fmla="*/ 5713388 w 26653740"/>
                <a:gd name="connsiteY6736" fmla="*/ 1772628 h 16570717"/>
                <a:gd name="connsiteX6737" fmla="*/ 5656208 w 26653740"/>
                <a:gd name="connsiteY6737" fmla="*/ 1763098 h 16570717"/>
                <a:gd name="connsiteX6738" fmla="*/ 5641912 w 26653740"/>
                <a:gd name="connsiteY6738" fmla="*/ 1748802 h 16570717"/>
                <a:gd name="connsiteX6739" fmla="*/ 5675268 w 26653740"/>
                <a:gd name="connsiteY6739" fmla="*/ 1696388 h 16570717"/>
                <a:gd name="connsiteX6740" fmla="*/ 5684796 w 26653740"/>
                <a:gd name="connsiteY6740" fmla="*/ 1658264 h 16570717"/>
                <a:gd name="connsiteX6741" fmla="*/ 5680032 w 26653740"/>
                <a:gd name="connsiteY6741" fmla="*/ 1548668 h 16570717"/>
                <a:gd name="connsiteX6742" fmla="*/ 5684796 w 26653740"/>
                <a:gd name="connsiteY6742" fmla="*/ 1529608 h 16570717"/>
                <a:gd name="connsiteX6743" fmla="*/ 5784864 w 26653740"/>
                <a:gd name="connsiteY6743" fmla="*/ 1539138 h 16570717"/>
                <a:gd name="connsiteX6744" fmla="*/ 5794396 w 26653740"/>
                <a:gd name="connsiteY6744" fmla="*/ 1510546 h 16570717"/>
                <a:gd name="connsiteX6745" fmla="*/ 5241640 w 26653740"/>
                <a:gd name="connsiteY6745" fmla="*/ 1462895 h 16570717"/>
                <a:gd name="connsiteX6746" fmla="*/ 5265464 w 26653740"/>
                <a:gd name="connsiteY6746" fmla="*/ 1472425 h 16570717"/>
                <a:gd name="connsiteX6747" fmla="*/ 5270232 w 26653740"/>
                <a:gd name="connsiteY6747" fmla="*/ 1505780 h 16570717"/>
                <a:gd name="connsiteX6748" fmla="*/ 5289292 w 26653740"/>
                <a:gd name="connsiteY6748" fmla="*/ 1548669 h 16570717"/>
                <a:gd name="connsiteX6749" fmla="*/ 5346472 w 26653740"/>
                <a:gd name="connsiteY6749" fmla="*/ 1601083 h 16570717"/>
                <a:gd name="connsiteX6750" fmla="*/ 5336944 w 26653740"/>
                <a:gd name="connsiteY6750" fmla="*/ 1634439 h 16570717"/>
                <a:gd name="connsiteX6751" fmla="*/ 5317884 w 26653740"/>
                <a:gd name="connsiteY6751" fmla="*/ 1639205 h 16570717"/>
                <a:gd name="connsiteX6752" fmla="*/ 5294056 w 26653740"/>
                <a:gd name="connsiteY6752" fmla="*/ 1677327 h 16570717"/>
                <a:gd name="connsiteX6753" fmla="*/ 5193988 w 26653740"/>
                <a:gd name="connsiteY6753" fmla="*/ 1686858 h 16570717"/>
                <a:gd name="connsiteX6754" fmla="*/ 5155868 w 26653740"/>
                <a:gd name="connsiteY6754" fmla="*/ 1682091 h 16570717"/>
                <a:gd name="connsiteX6755" fmla="*/ 5151104 w 26653740"/>
                <a:gd name="connsiteY6755" fmla="*/ 1667794 h 16570717"/>
                <a:gd name="connsiteX6756" fmla="*/ 5141572 w 26653740"/>
                <a:gd name="connsiteY6756" fmla="*/ 1658264 h 16570717"/>
                <a:gd name="connsiteX6757" fmla="*/ 5112980 w 26653740"/>
                <a:gd name="connsiteY6757" fmla="*/ 1648735 h 16570717"/>
                <a:gd name="connsiteX6758" fmla="*/ 5093920 w 26653740"/>
                <a:gd name="connsiteY6758" fmla="*/ 1601083 h 16570717"/>
                <a:gd name="connsiteX6759" fmla="*/ 5098688 w 26653740"/>
                <a:gd name="connsiteY6759" fmla="*/ 1591553 h 16570717"/>
                <a:gd name="connsiteX6760" fmla="*/ 5146336 w 26653740"/>
                <a:gd name="connsiteY6760" fmla="*/ 1572492 h 16570717"/>
                <a:gd name="connsiteX6761" fmla="*/ 5165396 w 26653740"/>
                <a:gd name="connsiteY6761" fmla="*/ 1553431 h 16570717"/>
                <a:gd name="connsiteX6762" fmla="*/ 5170164 w 26653740"/>
                <a:gd name="connsiteY6762" fmla="*/ 1524841 h 16570717"/>
                <a:gd name="connsiteX6763" fmla="*/ 5193988 w 26653740"/>
                <a:gd name="connsiteY6763" fmla="*/ 1472425 h 16570717"/>
                <a:gd name="connsiteX6764" fmla="*/ 5851576 w 26653740"/>
                <a:gd name="connsiteY6764" fmla="*/ 1386651 h 16570717"/>
                <a:gd name="connsiteX6765" fmla="*/ 5918288 w 26653740"/>
                <a:gd name="connsiteY6765" fmla="*/ 1405714 h 16570717"/>
                <a:gd name="connsiteX6766" fmla="*/ 6070772 w 26653740"/>
                <a:gd name="connsiteY6766" fmla="*/ 1415245 h 16570717"/>
                <a:gd name="connsiteX6767" fmla="*/ 6147012 w 26653740"/>
                <a:gd name="connsiteY6767" fmla="*/ 1462895 h 16570717"/>
                <a:gd name="connsiteX6768" fmla="*/ 6170840 w 26653740"/>
                <a:gd name="connsiteY6768" fmla="*/ 1486720 h 16570717"/>
                <a:gd name="connsiteX6769" fmla="*/ 6189900 w 26653740"/>
                <a:gd name="connsiteY6769" fmla="*/ 1529608 h 16570717"/>
                <a:gd name="connsiteX6770" fmla="*/ 6056476 w 26653740"/>
                <a:gd name="connsiteY6770" fmla="*/ 1553431 h 16570717"/>
                <a:gd name="connsiteX6771" fmla="*/ 6037416 w 26653740"/>
                <a:gd name="connsiteY6771" fmla="*/ 1572492 h 16570717"/>
                <a:gd name="connsiteX6772" fmla="*/ 6042180 w 26653740"/>
                <a:gd name="connsiteY6772" fmla="*/ 1615379 h 16570717"/>
                <a:gd name="connsiteX6773" fmla="*/ 6037416 w 26653740"/>
                <a:gd name="connsiteY6773" fmla="*/ 1658264 h 16570717"/>
                <a:gd name="connsiteX6774" fmla="*/ 6018356 w 26653740"/>
                <a:gd name="connsiteY6774" fmla="*/ 1663032 h 16570717"/>
                <a:gd name="connsiteX6775" fmla="*/ 5989764 w 26653740"/>
                <a:gd name="connsiteY6775" fmla="*/ 1729742 h 16570717"/>
                <a:gd name="connsiteX6776" fmla="*/ 5965940 w 26653740"/>
                <a:gd name="connsiteY6776" fmla="*/ 1748802 h 16570717"/>
                <a:gd name="connsiteX6777" fmla="*/ 5899228 w 26653740"/>
                <a:gd name="connsiteY6777" fmla="*/ 1715449 h 16570717"/>
                <a:gd name="connsiteX6778" fmla="*/ 5889696 w 26653740"/>
                <a:gd name="connsiteY6778" fmla="*/ 1701152 h 16570717"/>
                <a:gd name="connsiteX6779" fmla="*/ 5884932 w 26653740"/>
                <a:gd name="connsiteY6779" fmla="*/ 1667796 h 16570717"/>
                <a:gd name="connsiteX6780" fmla="*/ 5870636 w 26653740"/>
                <a:gd name="connsiteY6780" fmla="*/ 1543901 h 16570717"/>
                <a:gd name="connsiteX6781" fmla="*/ 5870636 w 26653740"/>
                <a:gd name="connsiteY6781" fmla="*/ 1505780 h 16570717"/>
                <a:gd name="connsiteX6782" fmla="*/ 5870636 w 26653740"/>
                <a:gd name="connsiteY6782" fmla="*/ 1481955 h 16570717"/>
                <a:gd name="connsiteX6783" fmla="*/ 5851576 w 26653740"/>
                <a:gd name="connsiteY6783" fmla="*/ 1434304 h 16570717"/>
                <a:gd name="connsiteX6784" fmla="*/ 5842048 w 26653740"/>
                <a:gd name="connsiteY6784" fmla="*/ 1410478 h 16570717"/>
                <a:gd name="connsiteX6785" fmla="*/ 5351240 w 26653740"/>
                <a:gd name="connsiteY6785" fmla="*/ 1281820 h 16570717"/>
                <a:gd name="connsiteX6786" fmla="*/ 5398888 w 26653740"/>
                <a:gd name="connsiteY6786" fmla="*/ 1310410 h 16570717"/>
                <a:gd name="connsiteX6787" fmla="*/ 5403656 w 26653740"/>
                <a:gd name="connsiteY6787" fmla="*/ 1324706 h 16570717"/>
                <a:gd name="connsiteX6788" fmla="*/ 5437012 w 26653740"/>
                <a:gd name="connsiteY6788" fmla="*/ 1343768 h 16570717"/>
                <a:gd name="connsiteX6789" fmla="*/ 5437012 w 26653740"/>
                <a:gd name="connsiteY6789" fmla="*/ 1381889 h 16570717"/>
                <a:gd name="connsiteX6790" fmla="*/ 5437012 w 26653740"/>
                <a:gd name="connsiteY6790" fmla="*/ 1405714 h 16570717"/>
                <a:gd name="connsiteX6791" fmla="*/ 5413184 w 26653740"/>
                <a:gd name="connsiteY6791" fmla="*/ 1458130 h 16570717"/>
                <a:gd name="connsiteX6792" fmla="*/ 5341708 w 26653740"/>
                <a:gd name="connsiteY6792" fmla="*/ 1405714 h 16570717"/>
                <a:gd name="connsiteX6793" fmla="*/ 5346472 w 26653740"/>
                <a:gd name="connsiteY6793" fmla="*/ 1377121 h 16570717"/>
                <a:gd name="connsiteX6794" fmla="*/ 5356004 w 26653740"/>
                <a:gd name="connsiteY6794" fmla="*/ 1367592 h 16570717"/>
                <a:gd name="connsiteX6795" fmla="*/ 5356004 w 26653740"/>
                <a:gd name="connsiteY6795" fmla="*/ 1343768 h 16570717"/>
                <a:gd name="connsiteX6796" fmla="*/ 5346472 w 26653740"/>
                <a:gd name="connsiteY6796" fmla="*/ 1324706 h 16570717"/>
                <a:gd name="connsiteX6797" fmla="*/ 4345796 w 26653740"/>
                <a:gd name="connsiteY6797" fmla="*/ 1038799 h 16570717"/>
                <a:gd name="connsiteX6798" fmla="*/ 4417272 w 26653740"/>
                <a:gd name="connsiteY6798" fmla="*/ 1081683 h 16570717"/>
                <a:gd name="connsiteX6799" fmla="*/ 4469692 w 26653740"/>
                <a:gd name="connsiteY6799" fmla="*/ 1072153 h 16570717"/>
                <a:gd name="connsiteX6800" fmla="*/ 4488752 w 26653740"/>
                <a:gd name="connsiteY6800" fmla="*/ 1076919 h 16570717"/>
                <a:gd name="connsiteX6801" fmla="*/ 4503044 w 26653740"/>
                <a:gd name="connsiteY6801" fmla="*/ 1086448 h 16570717"/>
                <a:gd name="connsiteX6802" fmla="*/ 4517340 w 26653740"/>
                <a:gd name="connsiteY6802" fmla="*/ 1115041 h 16570717"/>
                <a:gd name="connsiteX6803" fmla="*/ 4541168 w 26653740"/>
                <a:gd name="connsiteY6803" fmla="*/ 1172222 h 16570717"/>
                <a:gd name="connsiteX6804" fmla="*/ 4541168 w 26653740"/>
                <a:gd name="connsiteY6804" fmla="*/ 1253229 h 16570717"/>
                <a:gd name="connsiteX6805" fmla="*/ 4531636 w 26653740"/>
                <a:gd name="connsiteY6805" fmla="*/ 1257993 h 16570717"/>
                <a:gd name="connsiteX6806" fmla="*/ 4441100 w 26653740"/>
                <a:gd name="connsiteY6806" fmla="*/ 1219872 h 16570717"/>
                <a:gd name="connsiteX6807" fmla="*/ 4398212 w 26653740"/>
                <a:gd name="connsiteY6807" fmla="*/ 1134100 h 16570717"/>
                <a:gd name="connsiteX6808" fmla="*/ 4388684 w 26653740"/>
                <a:gd name="connsiteY6808" fmla="*/ 1129334 h 16570717"/>
                <a:gd name="connsiteX6809" fmla="*/ 4369624 w 26653740"/>
                <a:gd name="connsiteY6809" fmla="*/ 1148396 h 16570717"/>
                <a:gd name="connsiteX6810" fmla="*/ 4355328 w 26653740"/>
                <a:gd name="connsiteY6810" fmla="*/ 1200812 h 16570717"/>
                <a:gd name="connsiteX6811" fmla="*/ 4341032 w 26653740"/>
                <a:gd name="connsiteY6811" fmla="*/ 1215108 h 16570717"/>
                <a:gd name="connsiteX6812" fmla="*/ 4326736 w 26653740"/>
                <a:gd name="connsiteY6812" fmla="*/ 1281820 h 16570717"/>
                <a:gd name="connsiteX6813" fmla="*/ 4307676 w 26653740"/>
                <a:gd name="connsiteY6813" fmla="*/ 1272289 h 16570717"/>
                <a:gd name="connsiteX6814" fmla="*/ 4298144 w 26653740"/>
                <a:gd name="connsiteY6814" fmla="*/ 1277054 h 16570717"/>
                <a:gd name="connsiteX6815" fmla="*/ 4279084 w 26653740"/>
                <a:gd name="connsiteY6815" fmla="*/ 1324706 h 16570717"/>
                <a:gd name="connsiteX6816" fmla="*/ 4226668 w 26653740"/>
                <a:gd name="connsiteY6816" fmla="*/ 1324706 h 16570717"/>
                <a:gd name="connsiteX6817" fmla="*/ 4217140 w 26653740"/>
                <a:gd name="connsiteY6817" fmla="*/ 1343768 h 16570717"/>
                <a:gd name="connsiteX6818" fmla="*/ 4202844 w 26653740"/>
                <a:gd name="connsiteY6818" fmla="*/ 1405710 h 16570717"/>
                <a:gd name="connsiteX6819" fmla="*/ 4179016 w 26653740"/>
                <a:gd name="connsiteY6819" fmla="*/ 1424774 h 16570717"/>
                <a:gd name="connsiteX6820" fmla="*/ 4140896 w 26653740"/>
                <a:gd name="connsiteY6820" fmla="*/ 1434304 h 16570717"/>
                <a:gd name="connsiteX6821" fmla="*/ 4131364 w 26653740"/>
                <a:gd name="connsiteY6821" fmla="*/ 1396181 h 16570717"/>
                <a:gd name="connsiteX6822" fmla="*/ 4126600 w 26653740"/>
                <a:gd name="connsiteY6822" fmla="*/ 1343768 h 16570717"/>
                <a:gd name="connsiteX6823" fmla="*/ 4117072 w 26653740"/>
                <a:gd name="connsiteY6823" fmla="*/ 1315175 h 16570717"/>
                <a:gd name="connsiteX6824" fmla="*/ 4064656 w 26653740"/>
                <a:gd name="connsiteY6824" fmla="*/ 1348531 h 16570717"/>
                <a:gd name="connsiteX6825" fmla="*/ 4026532 w 26653740"/>
                <a:gd name="connsiteY6825" fmla="*/ 1324706 h 16570717"/>
                <a:gd name="connsiteX6826" fmla="*/ 3988412 w 26653740"/>
                <a:gd name="connsiteY6826" fmla="*/ 1286584 h 16570717"/>
                <a:gd name="connsiteX6827" fmla="*/ 3950292 w 26653740"/>
                <a:gd name="connsiteY6827" fmla="*/ 1277054 h 16570717"/>
                <a:gd name="connsiteX6828" fmla="*/ 3983648 w 26653740"/>
                <a:gd name="connsiteY6828" fmla="*/ 1238932 h 16570717"/>
                <a:gd name="connsiteX6829" fmla="*/ 4174252 w 26653740"/>
                <a:gd name="connsiteY6829" fmla="*/ 1157926 h 16570717"/>
                <a:gd name="connsiteX6830" fmla="*/ 4245728 w 26653740"/>
                <a:gd name="connsiteY6830" fmla="*/ 1138866 h 16570717"/>
                <a:gd name="connsiteX6831" fmla="*/ 4279084 w 26653740"/>
                <a:gd name="connsiteY6831" fmla="*/ 1081683 h 16570717"/>
                <a:gd name="connsiteX6832" fmla="*/ 4331500 w 26653740"/>
                <a:gd name="connsiteY6832" fmla="*/ 1043563 h 16570717"/>
                <a:gd name="connsiteX6833" fmla="*/ 6556816 w 26653740"/>
                <a:gd name="connsiteY6833" fmla="*/ 1000677 h 16570717"/>
                <a:gd name="connsiteX6834" fmla="*/ 6594936 w 26653740"/>
                <a:gd name="connsiteY6834" fmla="*/ 1010206 h 16570717"/>
                <a:gd name="connsiteX6835" fmla="*/ 6637824 w 26653740"/>
                <a:gd name="connsiteY6835" fmla="*/ 1029270 h 16570717"/>
                <a:gd name="connsiteX6836" fmla="*/ 6647352 w 26653740"/>
                <a:gd name="connsiteY6836" fmla="*/ 1057857 h 16570717"/>
                <a:gd name="connsiteX6837" fmla="*/ 6656884 w 26653740"/>
                <a:gd name="connsiteY6837" fmla="*/ 1100744 h 16570717"/>
                <a:gd name="connsiteX6838" fmla="*/ 6652116 w 26653740"/>
                <a:gd name="connsiteY6838" fmla="*/ 1162690 h 16570717"/>
                <a:gd name="connsiteX6839" fmla="*/ 6637824 w 26653740"/>
                <a:gd name="connsiteY6839" fmla="*/ 1205578 h 16570717"/>
                <a:gd name="connsiteX6840" fmla="*/ 6633056 w 26653740"/>
                <a:gd name="connsiteY6840" fmla="*/ 1272289 h 16570717"/>
                <a:gd name="connsiteX6841" fmla="*/ 6585408 w 26653740"/>
                <a:gd name="connsiteY6841" fmla="*/ 1286584 h 16570717"/>
                <a:gd name="connsiteX6842" fmla="*/ 6571112 w 26653740"/>
                <a:gd name="connsiteY6842" fmla="*/ 1300881 h 16570717"/>
                <a:gd name="connsiteX6843" fmla="*/ 6556816 w 26653740"/>
                <a:gd name="connsiteY6843" fmla="*/ 1348531 h 16570717"/>
                <a:gd name="connsiteX6844" fmla="*/ 6509164 w 26653740"/>
                <a:gd name="connsiteY6844" fmla="*/ 1377121 h 16570717"/>
                <a:gd name="connsiteX6845" fmla="*/ 6471044 w 26653740"/>
                <a:gd name="connsiteY6845" fmla="*/ 1458129 h 16570717"/>
                <a:gd name="connsiteX6846" fmla="*/ 6418628 w 26653740"/>
                <a:gd name="connsiteY6846" fmla="*/ 1443833 h 16570717"/>
                <a:gd name="connsiteX6847" fmla="*/ 6351916 w 26653740"/>
                <a:gd name="connsiteY6847" fmla="*/ 1386651 h 16570717"/>
                <a:gd name="connsiteX6848" fmla="*/ 6289968 w 26653740"/>
                <a:gd name="connsiteY6848" fmla="*/ 1434304 h 16570717"/>
                <a:gd name="connsiteX6849" fmla="*/ 6251848 w 26653740"/>
                <a:gd name="connsiteY6849" fmla="*/ 1448599 h 16570717"/>
                <a:gd name="connsiteX6850" fmla="*/ 6204196 w 26653740"/>
                <a:gd name="connsiteY6850" fmla="*/ 1377121 h 16570717"/>
                <a:gd name="connsiteX6851" fmla="*/ 6199432 w 26653740"/>
                <a:gd name="connsiteY6851" fmla="*/ 1362828 h 16570717"/>
                <a:gd name="connsiteX6852" fmla="*/ 6194664 w 26653740"/>
                <a:gd name="connsiteY6852" fmla="*/ 1315175 h 16570717"/>
                <a:gd name="connsiteX6853" fmla="*/ 6199432 w 26653740"/>
                <a:gd name="connsiteY6853" fmla="*/ 1267524 h 16570717"/>
                <a:gd name="connsiteX6854" fmla="*/ 6213728 w 26653740"/>
                <a:gd name="connsiteY6854" fmla="*/ 1176989 h 16570717"/>
                <a:gd name="connsiteX6855" fmla="*/ 6228020 w 26653740"/>
                <a:gd name="connsiteY6855" fmla="*/ 1124571 h 16570717"/>
                <a:gd name="connsiteX6856" fmla="*/ 6237552 w 26653740"/>
                <a:gd name="connsiteY6856" fmla="*/ 1110274 h 16570717"/>
                <a:gd name="connsiteX6857" fmla="*/ 6242316 w 26653740"/>
                <a:gd name="connsiteY6857" fmla="*/ 1076919 h 16570717"/>
                <a:gd name="connsiteX6858" fmla="*/ 6261376 w 26653740"/>
                <a:gd name="connsiteY6858" fmla="*/ 1057857 h 16570717"/>
                <a:gd name="connsiteX6859" fmla="*/ 6323324 w 26653740"/>
                <a:gd name="connsiteY6859" fmla="*/ 1043563 h 16570717"/>
                <a:gd name="connsiteX6860" fmla="*/ 6342384 w 26653740"/>
                <a:gd name="connsiteY6860" fmla="*/ 1057857 h 16570717"/>
                <a:gd name="connsiteX6861" fmla="*/ 6351916 w 26653740"/>
                <a:gd name="connsiteY6861" fmla="*/ 1091213 h 16570717"/>
                <a:gd name="connsiteX6862" fmla="*/ 6385272 w 26653740"/>
                <a:gd name="connsiteY6862" fmla="*/ 1091213 h 16570717"/>
                <a:gd name="connsiteX6863" fmla="*/ 6437688 w 26653740"/>
                <a:gd name="connsiteY6863" fmla="*/ 1067390 h 16570717"/>
                <a:gd name="connsiteX6864" fmla="*/ 6513928 w 26653740"/>
                <a:gd name="connsiteY6864" fmla="*/ 1034033 h 16570717"/>
                <a:gd name="connsiteX6865" fmla="*/ 4788952 w 26653740"/>
                <a:gd name="connsiteY6865" fmla="*/ 967321 h 16570717"/>
                <a:gd name="connsiteX6866" fmla="*/ 4812780 w 26653740"/>
                <a:gd name="connsiteY6866" fmla="*/ 986381 h 16570717"/>
                <a:gd name="connsiteX6867" fmla="*/ 4869960 w 26653740"/>
                <a:gd name="connsiteY6867" fmla="*/ 981617 h 16570717"/>
                <a:gd name="connsiteX6868" fmla="*/ 4889020 w 26653740"/>
                <a:gd name="connsiteY6868" fmla="*/ 1005442 h 16570717"/>
                <a:gd name="connsiteX6869" fmla="*/ 4974792 w 26653740"/>
                <a:gd name="connsiteY6869" fmla="*/ 1148396 h 16570717"/>
                <a:gd name="connsiteX6870" fmla="*/ 4993852 w 26653740"/>
                <a:gd name="connsiteY6870" fmla="*/ 1153161 h 16570717"/>
                <a:gd name="connsiteX6871" fmla="*/ 5012912 w 26653740"/>
                <a:gd name="connsiteY6871" fmla="*/ 1200810 h 16570717"/>
                <a:gd name="connsiteX6872" fmla="*/ 4922376 w 26653740"/>
                <a:gd name="connsiteY6872" fmla="*/ 1281819 h 16570717"/>
                <a:gd name="connsiteX6873" fmla="*/ 4893784 w 26653740"/>
                <a:gd name="connsiteY6873" fmla="*/ 1343766 h 16570717"/>
                <a:gd name="connsiteX6874" fmla="*/ 4788952 w 26653740"/>
                <a:gd name="connsiteY6874" fmla="*/ 1358061 h 16570717"/>
                <a:gd name="connsiteX6875" fmla="*/ 4722240 w 26653740"/>
                <a:gd name="connsiteY6875" fmla="*/ 1386651 h 16570717"/>
                <a:gd name="connsiteX6876" fmla="*/ 4707944 w 26653740"/>
                <a:gd name="connsiteY6876" fmla="*/ 1410477 h 16570717"/>
                <a:gd name="connsiteX6877" fmla="*/ 4712712 w 26653740"/>
                <a:gd name="connsiteY6877" fmla="*/ 1453363 h 16570717"/>
                <a:gd name="connsiteX6878" fmla="*/ 4679356 w 26653740"/>
                <a:gd name="connsiteY6878" fmla="*/ 1496249 h 16570717"/>
                <a:gd name="connsiteX6879" fmla="*/ 4574524 w 26653740"/>
                <a:gd name="connsiteY6879" fmla="*/ 1505780 h 16570717"/>
                <a:gd name="connsiteX6880" fmla="*/ 4560228 w 26653740"/>
                <a:gd name="connsiteY6880" fmla="*/ 1520075 h 16570717"/>
                <a:gd name="connsiteX6881" fmla="*/ 4541168 w 26653740"/>
                <a:gd name="connsiteY6881" fmla="*/ 1567728 h 16570717"/>
                <a:gd name="connsiteX6882" fmla="*/ 4541168 w 26653740"/>
                <a:gd name="connsiteY6882" fmla="*/ 1577258 h 16570717"/>
                <a:gd name="connsiteX6883" fmla="*/ 4579288 w 26653740"/>
                <a:gd name="connsiteY6883" fmla="*/ 1591552 h 16570717"/>
                <a:gd name="connsiteX6884" fmla="*/ 4584052 w 26653740"/>
                <a:gd name="connsiteY6884" fmla="*/ 1601081 h 16570717"/>
                <a:gd name="connsiteX6885" fmla="*/ 4588816 w 26653740"/>
                <a:gd name="connsiteY6885" fmla="*/ 1624909 h 16570717"/>
                <a:gd name="connsiteX6886" fmla="*/ 4593584 w 26653740"/>
                <a:gd name="connsiteY6886" fmla="*/ 1653498 h 16570717"/>
                <a:gd name="connsiteX6887" fmla="*/ 4584052 w 26653740"/>
                <a:gd name="connsiteY6887" fmla="*/ 1696386 h 16570717"/>
                <a:gd name="connsiteX6888" fmla="*/ 4574524 w 26653740"/>
                <a:gd name="connsiteY6888" fmla="*/ 1701150 h 16570717"/>
                <a:gd name="connsiteX6889" fmla="*/ 4560228 w 26653740"/>
                <a:gd name="connsiteY6889" fmla="*/ 1696386 h 16570717"/>
                <a:gd name="connsiteX6890" fmla="*/ 4526872 w 26653740"/>
                <a:gd name="connsiteY6890" fmla="*/ 1667794 h 16570717"/>
                <a:gd name="connsiteX6891" fmla="*/ 4522104 w 26653740"/>
                <a:gd name="connsiteY6891" fmla="*/ 1677324 h 16570717"/>
                <a:gd name="connsiteX6892" fmla="*/ 4517340 w 26653740"/>
                <a:gd name="connsiteY6892" fmla="*/ 1701150 h 16570717"/>
                <a:gd name="connsiteX6893" fmla="*/ 4507812 w 26653740"/>
                <a:gd name="connsiteY6893" fmla="*/ 1744039 h 16570717"/>
                <a:gd name="connsiteX6894" fmla="*/ 4493516 w 26653740"/>
                <a:gd name="connsiteY6894" fmla="*/ 1758331 h 16570717"/>
                <a:gd name="connsiteX6895" fmla="*/ 4460160 w 26653740"/>
                <a:gd name="connsiteY6895" fmla="*/ 1724977 h 16570717"/>
                <a:gd name="connsiteX6896" fmla="*/ 4450628 w 26653740"/>
                <a:gd name="connsiteY6896" fmla="*/ 1734508 h 16570717"/>
                <a:gd name="connsiteX6897" fmla="*/ 4436332 w 26653740"/>
                <a:gd name="connsiteY6897" fmla="*/ 1753569 h 16570717"/>
                <a:gd name="connsiteX6898" fmla="*/ 4422040 w 26653740"/>
                <a:gd name="connsiteY6898" fmla="*/ 1763098 h 16570717"/>
                <a:gd name="connsiteX6899" fmla="*/ 4393448 w 26653740"/>
                <a:gd name="connsiteY6899" fmla="*/ 1767861 h 16570717"/>
                <a:gd name="connsiteX6900" fmla="*/ 4374388 w 26653740"/>
                <a:gd name="connsiteY6900" fmla="*/ 1744039 h 16570717"/>
                <a:gd name="connsiteX6901" fmla="*/ 4388684 w 26653740"/>
                <a:gd name="connsiteY6901" fmla="*/ 1705916 h 16570717"/>
                <a:gd name="connsiteX6902" fmla="*/ 4431568 w 26653740"/>
                <a:gd name="connsiteY6902" fmla="*/ 1648735 h 16570717"/>
                <a:gd name="connsiteX6903" fmla="*/ 4417272 w 26653740"/>
                <a:gd name="connsiteY6903" fmla="*/ 1624909 h 16570717"/>
                <a:gd name="connsiteX6904" fmla="*/ 4379152 w 26653740"/>
                <a:gd name="connsiteY6904" fmla="*/ 1620145 h 16570717"/>
                <a:gd name="connsiteX6905" fmla="*/ 4345796 w 26653740"/>
                <a:gd name="connsiteY6905" fmla="*/ 1634438 h 16570717"/>
                <a:gd name="connsiteX6906" fmla="*/ 4331500 w 26653740"/>
                <a:gd name="connsiteY6906" fmla="*/ 1672560 h 16570717"/>
                <a:gd name="connsiteX6907" fmla="*/ 4317204 w 26653740"/>
                <a:gd name="connsiteY6907" fmla="*/ 1682091 h 16570717"/>
                <a:gd name="connsiteX6908" fmla="*/ 4274320 w 26653740"/>
                <a:gd name="connsiteY6908" fmla="*/ 1677324 h 16570717"/>
                <a:gd name="connsiteX6909" fmla="*/ 4255260 w 26653740"/>
                <a:gd name="connsiteY6909" fmla="*/ 1624909 h 16570717"/>
                <a:gd name="connsiteX6910" fmla="*/ 4236200 w 26653740"/>
                <a:gd name="connsiteY6910" fmla="*/ 1610612 h 16570717"/>
                <a:gd name="connsiteX6911" fmla="*/ 4221904 w 26653740"/>
                <a:gd name="connsiteY6911" fmla="*/ 1567728 h 16570717"/>
                <a:gd name="connsiteX6912" fmla="*/ 4341032 w 26653740"/>
                <a:gd name="connsiteY6912" fmla="*/ 1434304 h 16570717"/>
                <a:gd name="connsiteX6913" fmla="*/ 4379152 w 26653740"/>
                <a:gd name="connsiteY6913" fmla="*/ 1381888 h 16570717"/>
                <a:gd name="connsiteX6914" fmla="*/ 4417272 w 26653740"/>
                <a:gd name="connsiteY6914" fmla="*/ 1353297 h 16570717"/>
                <a:gd name="connsiteX6915" fmla="*/ 4464924 w 26653740"/>
                <a:gd name="connsiteY6915" fmla="*/ 1338999 h 16570717"/>
                <a:gd name="connsiteX6916" fmla="*/ 4479220 w 26653740"/>
                <a:gd name="connsiteY6916" fmla="*/ 1324705 h 16570717"/>
                <a:gd name="connsiteX6917" fmla="*/ 4498280 w 26653740"/>
                <a:gd name="connsiteY6917" fmla="*/ 1315175 h 16570717"/>
                <a:gd name="connsiteX6918" fmla="*/ 4507812 w 26653740"/>
                <a:gd name="connsiteY6918" fmla="*/ 1324705 h 16570717"/>
                <a:gd name="connsiteX6919" fmla="*/ 4531636 w 26653740"/>
                <a:gd name="connsiteY6919" fmla="*/ 1372358 h 16570717"/>
                <a:gd name="connsiteX6920" fmla="*/ 4603112 w 26653740"/>
                <a:gd name="connsiteY6920" fmla="*/ 1367592 h 16570717"/>
                <a:gd name="connsiteX6921" fmla="*/ 4617408 w 26653740"/>
                <a:gd name="connsiteY6921" fmla="*/ 1324705 h 16570717"/>
                <a:gd name="connsiteX6922" fmla="*/ 4622172 w 26653740"/>
                <a:gd name="connsiteY6922" fmla="*/ 1234168 h 16570717"/>
                <a:gd name="connsiteX6923" fmla="*/ 4612644 w 26653740"/>
                <a:gd name="connsiteY6923" fmla="*/ 1176989 h 16570717"/>
                <a:gd name="connsiteX6924" fmla="*/ 4626940 w 26653740"/>
                <a:gd name="connsiteY6924" fmla="*/ 1072153 h 16570717"/>
                <a:gd name="connsiteX6925" fmla="*/ 4669824 w 26653740"/>
                <a:gd name="connsiteY6925" fmla="*/ 1029270 h 16570717"/>
                <a:gd name="connsiteX6926" fmla="*/ 4765128 w 26653740"/>
                <a:gd name="connsiteY6926" fmla="*/ 972085 h 16570717"/>
                <a:gd name="connsiteX6927" fmla="*/ 9401596 w 26653740"/>
                <a:gd name="connsiteY6927" fmla="*/ 919670 h 16570717"/>
                <a:gd name="connsiteX6928" fmla="*/ 9477840 w 26653740"/>
                <a:gd name="connsiteY6928" fmla="*/ 943496 h 16570717"/>
                <a:gd name="connsiteX6929" fmla="*/ 9496900 w 26653740"/>
                <a:gd name="connsiteY6929" fmla="*/ 967321 h 16570717"/>
                <a:gd name="connsiteX6930" fmla="*/ 9492132 w 26653740"/>
                <a:gd name="connsiteY6930" fmla="*/ 1014974 h 16570717"/>
                <a:gd name="connsiteX6931" fmla="*/ 9487368 w 26653740"/>
                <a:gd name="connsiteY6931" fmla="*/ 1029270 h 16570717"/>
                <a:gd name="connsiteX6932" fmla="*/ 9434952 w 26653740"/>
                <a:gd name="connsiteY6932" fmla="*/ 1048328 h 16570717"/>
                <a:gd name="connsiteX6933" fmla="*/ 9292000 w 26653740"/>
                <a:gd name="connsiteY6933" fmla="*/ 1081683 h 16570717"/>
                <a:gd name="connsiteX6934" fmla="*/ 9277704 w 26653740"/>
                <a:gd name="connsiteY6934" fmla="*/ 1057857 h 16570717"/>
                <a:gd name="connsiteX6935" fmla="*/ 9272936 w 26653740"/>
                <a:gd name="connsiteY6935" fmla="*/ 1048328 h 16570717"/>
                <a:gd name="connsiteX6936" fmla="*/ 9292000 w 26653740"/>
                <a:gd name="connsiteY6936" fmla="*/ 972085 h 16570717"/>
                <a:gd name="connsiteX6937" fmla="*/ 9311060 w 26653740"/>
                <a:gd name="connsiteY6937" fmla="*/ 933966 h 16570717"/>
                <a:gd name="connsiteX6938" fmla="*/ 6537756 w 26653740"/>
                <a:gd name="connsiteY6938" fmla="*/ 791013 h 16570717"/>
                <a:gd name="connsiteX6939" fmla="*/ 6552048 w 26653740"/>
                <a:gd name="connsiteY6939" fmla="*/ 843428 h 16570717"/>
                <a:gd name="connsiteX6940" fmla="*/ 6537756 w 26653740"/>
                <a:gd name="connsiteY6940" fmla="*/ 886314 h 16570717"/>
                <a:gd name="connsiteX6941" fmla="*/ 6485340 w 26653740"/>
                <a:gd name="connsiteY6941" fmla="*/ 943497 h 16570717"/>
                <a:gd name="connsiteX6942" fmla="*/ 6437688 w 26653740"/>
                <a:gd name="connsiteY6942" fmla="*/ 967321 h 16570717"/>
                <a:gd name="connsiteX6943" fmla="*/ 6356680 w 26653740"/>
                <a:gd name="connsiteY6943" fmla="*/ 938731 h 16570717"/>
                <a:gd name="connsiteX6944" fmla="*/ 6318560 w 26653740"/>
                <a:gd name="connsiteY6944" fmla="*/ 910140 h 16570717"/>
                <a:gd name="connsiteX6945" fmla="*/ 6318560 w 26653740"/>
                <a:gd name="connsiteY6945" fmla="*/ 895845 h 16570717"/>
                <a:gd name="connsiteX6946" fmla="*/ 6332856 w 26653740"/>
                <a:gd name="connsiteY6946" fmla="*/ 881549 h 16570717"/>
                <a:gd name="connsiteX6947" fmla="*/ 6399568 w 26653740"/>
                <a:gd name="connsiteY6947" fmla="*/ 810072 h 16570717"/>
                <a:gd name="connsiteX6948" fmla="*/ 5470368 w 26653740"/>
                <a:gd name="connsiteY6948" fmla="*/ 781482 h 16570717"/>
                <a:gd name="connsiteX6949" fmla="*/ 5484660 w 26653740"/>
                <a:gd name="connsiteY6949" fmla="*/ 781482 h 16570717"/>
                <a:gd name="connsiteX6950" fmla="*/ 5599024 w 26653740"/>
                <a:gd name="connsiteY6950" fmla="*/ 876782 h 16570717"/>
                <a:gd name="connsiteX6951" fmla="*/ 5708624 w 26653740"/>
                <a:gd name="connsiteY6951" fmla="*/ 867253 h 16570717"/>
                <a:gd name="connsiteX6952" fmla="*/ 5756272 w 26653740"/>
                <a:gd name="connsiteY6952" fmla="*/ 895845 h 16570717"/>
                <a:gd name="connsiteX6953" fmla="*/ 5822984 w 26653740"/>
                <a:gd name="connsiteY6953" fmla="*/ 981617 h 16570717"/>
                <a:gd name="connsiteX6954" fmla="*/ 5927820 w 26653740"/>
                <a:gd name="connsiteY6954" fmla="*/ 1072153 h 16570717"/>
                <a:gd name="connsiteX6955" fmla="*/ 5946880 w 26653740"/>
                <a:gd name="connsiteY6955" fmla="*/ 1100744 h 16570717"/>
                <a:gd name="connsiteX6956" fmla="*/ 5927820 w 26653740"/>
                <a:gd name="connsiteY6956" fmla="*/ 1138866 h 16570717"/>
                <a:gd name="connsiteX6957" fmla="*/ 5808692 w 26653740"/>
                <a:gd name="connsiteY6957" fmla="*/ 1224638 h 16570717"/>
                <a:gd name="connsiteX6958" fmla="*/ 5732448 w 26653740"/>
                <a:gd name="connsiteY6958" fmla="*/ 1253229 h 16570717"/>
                <a:gd name="connsiteX6959" fmla="*/ 5665736 w 26653740"/>
                <a:gd name="connsiteY6959" fmla="*/ 1257993 h 16570717"/>
                <a:gd name="connsiteX6960" fmla="*/ 5637144 w 26653740"/>
                <a:gd name="connsiteY6960" fmla="*/ 1253229 h 16570717"/>
                <a:gd name="connsiteX6961" fmla="*/ 5613320 w 26653740"/>
                <a:gd name="connsiteY6961" fmla="*/ 1186517 h 16570717"/>
                <a:gd name="connsiteX6962" fmla="*/ 5546608 w 26653740"/>
                <a:gd name="connsiteY6962" fmla="*/ 1138866 h 16570717"/>
                <a:gd name="connsiteX6963" fmla="*/ 5475132 w 26653740"/>
                <a:gd name="connsiteY6963" fmla="*/ 1153161 h 16570717"/>
                <a:gd name="connsiteX6964" fmla="*/ 5470368 w 26653740"/>
                <a:gd name="connsiteY6964" fmla="*/ 1129334 h 16570717"/>
                <a:gd name="connsiteX6965" fmla="*/ 5451304 w 26653740"/>
                <a:gd name="connsiteY6965" fmla="*/ 1110274 h 16570717"/>
                <a:gd name="connsiteX6966" fmla="*/ 5427480 w 26653740"/>
                <a:gd name="connsiteY6966" fmla="*/ 1105510 h 16570717"/>
                <a:gd name="connsiteX6967" fmla="*/ 5379828 w 26653740"/>
                <a:gd name="connsiteY6967" fmla="*/ 1081683 h 16570717"/>
                <a:gd name="connsiteX6968" fmla="*/ 5379828 w 26653740"/>
                <a:gd name="connsiteY6968" fmla="*/ 1024504 h 16570717"/>
                <a:gd name="connsiteX6969" fmla="*/ 5408420 w 26653740"/>
                <a:gd name="connsiteY6969" fmla="*/ 995910 h 16570717"/>
                <a:gd name="connsiteX6970" fmla="*/ 5427480 w 26653740"/>
                <a:gd name="connsiteY6970" fmla="*/ 991147 h 16570717"/>
                <a:gd name="connsiteX6971" fmla="*/ 5437012 w 26653740"/>
                <a:gd name="connsiteY6971" fmla="*/ 910139 h 16570717"/>
                <a:gd name="connsiteX6972" fmla="*/ 6004060 w 26653740"/>
                <a:gd name="connsiteY6972" fmla="*/ 776717 h 16570717"/>
                <a:gd name="connsiteX6973" fmla="*/ 6013592 w 26653740"/>
                <a:gd name="connsiteY6973" fmla="*/ 781482 h 16570717"/>
                <a:gd name="connsiteX6974" fmla="*/ 6023120 w 26653740"/>
                <a:gd name="connsiteY6974" fmla="*/ 800541 h 16570717"/>
                <a:gd name="connsiteX6975" fmla="*/ 6075536 w 26653740"/>
                <a:gd name="connsiteY6975" fmla="*/ 833897 h 16570717"/>
                <a:gd name="connsiteX6976" fmla="*/ 6094596 w 26653740"/>
                <a:gd name="connsiteY6976" fmla="*/ 852958 h 16570717"/>
                <a:gd name="connsiteX6977" fmla="*/ 6113660 w 26653740"/>
                <a:gd name="connsiteY6977" fmla="*/ 905375 h 16570717"/>
                <a:gd name="connsiteX6978" fmla="*/ 6123188 w 26653740"/>
                <a:gd name="connsiteY6978" fmla="*/ 962556 h 16570717"/>
                <a:gd name="connsiteX6979" fmla="*/ 6137484 w 26653740"/>
                <a:gd name="connsiteY6979" fmla="*/ 995910 h 16570717"/>
                <a:gd name="connsiteX6980" fmla="*/ 6142248 w 26653740"/>
                <a:gd name="connsiteY6980" fmla="*/ 1062624 h 16570717"/>
                <a:gd name="connsiteX6981" fmla="*/ 6127952 w 26653740"/>
                <a:gd name="connsiteY6981" fmla="*/ 1115040 h 16570717"/>
                <a:gd name="connsiteX6982" fmla="*/ 6094596 w 26653740"/>
                <a:gd name="connsiteY6982" fmla="*/ 1124571 h 16570717"/>
                <a:gd name="connsiteX6983" fmla="*/ 6042180 w 26653740"/>
                <a:gd name="connsiteY6983" fmla="*/ 1129334 h 16570717"/>
                <a:gd name="connsiteX6984" fmla="*/ 5985000 w 26653740"/>
                <a:gd name="connsiteY6984" fmla="*/ 1100744 h 16570717"/>
                <a:gd name="connsiteX6985" fmla="*/ 5956408 w 26653740"/>
                <a:gd name="connsiteY6985" fmla="*/ 1005442 h 16570717"/>
                <a:gd name="connsiteX6986" fmla="*/ 5903992 w 26653740"/>
                <a:gd name="connsiteY6986" fmla="*/ 981616 h 16570717"/>
                <a:gd name="connsiteX6987" fmla="*/ 5870636 w 26653740"/>
                <a:gd name="connsiteY6987" fmla="*/ 876782 h 16570717"/>
                <a:gd name="connsiteX6988" fmla="*/ 5903992 w 26653740"/>
                <a:gd name="connsiteY6988" fmla="*/ 848191 h 16570717"/>
                <a:gd name="connsiteX6989" fmla="*/ 5942112 w 26653740"/>
                <a:gd name="connsiteY6989" fmla="*/ 862488 h 16570717"/>
                <a:gd name="connsiteX6990" fmla="*/ 4836604 w 26653740"/>
                <a:gd name="connsiteY6990" fmla="*/ 724301 h 16570717"/>
                <a:gd name="connsiteX6991" fmla="*/ 4855664 w 26653740"/>
                <a:gd name="connsiteY6991" fmla="*/ 724301 h 16570717"/>
                <a:gd name="connsiteX6992" fmla="*/ 4884256 w 26653740"/>
                <a:gd name="connsiteY6992" fmla="*/ 743360 h 16570717"/>
                <a:gd name="connsiteX6993" fmla="*/ 4893784 w 26653740"/>
                <a:gd name="connsiteY6993" fmla="*/ 786247 h 16570717"/>
                <a:gd name="connsiteX6994" fmla="*/ 4869960 w 26653740"/>
                <a:gd name="connsiteY6994" fmla="*/ 824368 h 16570717"/>
                <a:gd name="connsiteX6995" fmla="*/ 4865196 w 26653740"/>
                <a:gd name="connsiteY6995" fmla="*/ 848191 h 16570717"/>
                <a:gd name="connsiteX6996" fmla="*/ 4841368 w 26653740"/>
                <a:gd name="connsiteY6996" fmla="*/ 852958 h 16570717"/>
                <a:gd name="connsiteX6997" fmla="*/ 4827072 w 26653740"/>
                <a:gd name="connsiteY6997" fmla="*/ 848191 h 16570717"/>
                <a:gd name="connsiteX6998" fmla="*/ 4812780 w 26653740"/>
                <a:gd name="connsiteY6998" fmla="*/ 810071 h 16570717"/>
                <a:gd name="connsiteX6999" fmla="*/ 4803248 w 26653740"/>
                <a:gd name="connsiteY6999" fmla="*/ 791012 h 16570717"/>
                <a:gd name="connsiteX7000" fmla="*/ 4803248 w 26653740"/>
                <a:gd name="connsiteY7000" fmla="*/ 771952 h 16570717"/>
                <a:gd name="connsiteX7001" fmla="*/ 4817544 w 26653740"/>
                <a:gd name="connsiteY7001" fmla="*/ 767187 h 16570717"/>
                <a:gd name="connsiteX7002" fmla="*/ 4827072 w 26653740"/>
                <a:gd name="connsiteY7002" fmla="*/ 752892 h 16570717"/>
                <a:gd name="connsiteX7003" fmla="*/ 4827072 w 26653740"/>
                <a:gd name="connsiteY7003" fmla="*/ 738596 h 16570717"/>
                <a:gd name="connsiteX7004" fmla="*/ 7023796 w 26653740"/>
                <a:gd name="connsiteY7004" fmla="*/ 695710 h 16570717"/>
                <a:gd name="connsiteX7005" fmla="*/ 7057152 w 26653740"/>
                <a:gd name="connsiteY7005" fmla="*/ 695710 h 16570717"/>
                <a:gd name="connsiteX7006" fmla="*/ 7095276 w 26653740"/>
                <a:gd name="connsiteY7006" fmla="*/ 724301 h 16570717"/>
                <a:gd name="connsiteX7007" fmla="*/ 7114336 w 26653740"/>
                <a:gd name="connsiteY7007" fmla="*/ 752891 h 16570717"/>
                <a:gd name="connsiteX7008" fmla="*/ 7138160 w 26653740"/>
                <a:gd name="connsiteY7008" fmla="*/ 800541 h 16570717"/>
                <a:gd name="connsiteX7009" fmla="*/ 7147692 w 26653740"/>
                <a:gd name="connsiteY7009" fmla="*/ 838662 h 16570717"/>
                <a:gd name="connsiteX7010" fmla="*/ 7142924 w 26653740"/>
                <a:gd name="connsiteY7010" fmla="*/ 886314 h 16570717"/>
                <a:gd name="connsiteX7011" fmla="*/ 7147692 w 26653740"/>
                <a:gd name="connsiteY7011" fmla="*/ 929200 h 16570717"/>
                <a:gd name="connsiteX7012" fmla="*/ 7157220 w 26653740"/>
                <a:gd name="connsiteY7012" fmla="*/ 962556 h 16570717"/>
                <a:gd name="connsiteX7013" fmla="*/ 7090508 w 26653740"/>
                <a:gd name="connsiteY7013" fmla="*/ 1076919 h 16570717"/>
                <a:gd name="connsiteX7014" fmla="*/ 7019032 w 26653740"/>
                <a:gd name="connsiteY7014" fmla="*/ 1138864 h 16570717"/>
                <a:gd name="connsiteX7015" fmla="*/ 6833192 w 26653740"/>
                <a:gd name="connsiteY7015" fmla="*/ 1191281 h 16570717"/>
                <a:gd name="connsiteX7016" fmla="*/ 6804600 w 26653740"/>
                <a:gd name="connsiteY7016" fmla="*/ 1191281 h 16570717"/>
                <a:gd name="connsiteX7017" fmla="*/ 6776012 w 26653740"/>
                <a:gd name="connsiteY7017" fmla="*/ 1176989 h 16570717"/>
                <a:gd name="connsiteX7018" fmla="*/ 6737888 w 26653740"/>
                <a:gd name="connsiteY7018" fmla="*/ 1129334 h 16570717"/>
                <a:gd name="connsiteX7019" fmla="*/ 6699768 w 26653740"/>
                <a:gd name="connsiteY7019" fmla="*/ 1072153 h 16570717"/>
                <a:gd name="connsiteX7020" fmla="*/ 6714064 w 26653740"/>
                <a:gd name="connsiteY7020" fmla="*/ 1043563 h 16570717"/>
                <a:gd name="connsiteX7021" fmla="*/ 6747420 w 26653740"/>
                <a:gd name="connsiteY7021" fmla="*/ 1000677 h 16570717"/>
                <a:gd name="connsiteX7022" fmla="*/ 6795072 w 26653740"/>
                <a:gd name="connsiteY7022" fmla="*/ 929200 h 16570717"/>
                <a:gd name="connsiteX7023" fmla="*/ 6871312 w 26653740"/>
                <a:gd name="connsiteY7023" fmla="*/ 914906 h 16570717"/>
                <a:gd name="connsiteX7024" fmla="*/ 6909436 w 26653740"/>
                <a:gd name="connsiteY7024" fmla="*/ 914906 h 16570717"/>
                <a:gd name="connsiteX7025" fmla="*/ 6947556 w 26653740"/>
                <a:gd name="connsiteY7025" fmla="*/ 895845 h 16570717"/>
                <a:gd name="connsiteX7026" fmla="*/ 6957084 w 26653740"/>
                <a:gd name="connsiteY7026" fmla="*/ 862488 h 16570717"/>
                <a:gd name="connsiteX7027" fmla="*/ 6966616 w 26653740"/>
                <a:gd name="connsiteY7027" fmla="*/ 791012 h 16570717"/>
                <a:gd name="connsiteX7028" fmla="*/ 6971380 w 26653740"/>
                <a:gd name="connsiteY7028" fmla="*/ 748126 h 16570717"/>
                <a:gd name="connsiteX7029" fmla="*/ 6980912 w 26653740"/>
                <a:gd name="connsiteY7029" fmla="*/ 719536 h 16570717"/>
                <a:gd name="connsiteX7030" fmla="*/ 11002680 w 26653740"/>
                <a:gd name="connsiteY7030" fmla="*/ 681415 h 16570717"/>
                <a:gd name="connsiteX7031" fmla="*/ 11169460 w 26653740"/>
                <a:gd name="connsiteY7031" fmla="*/ 695710 h 16570717"/>
                <a:gd name="connsiteX7032" fmla="*/ 11226640 w 26653740"/>
                <a:gd name="connsiteY7032" fmla="*/ 710005 h 16570717"/>
                <a:gd name="connsiteX7033" fmla="*/ 11236168 w 26653740"/>
                <a:gd name="connsiteY7033" fmla="*/ 752892 h 16570717"/>
                <a:gd name="connsiteX7034" fmla="*/ 11183752 w 26653740"/>
                <a:gd name="connsiteY7034" fmla="*/ 833897 h 16570717"/>
                <a:gd name="connsiteX7035" fmla="*/ 10988384 w 26653740"/>
                <a:gd name="connsiteY7035" fmla="*/ 781482 h 16570717"/>
                <a:gd name="connsiteX7036" fmla="*/ 10978852 w 26653740"/>
                <a:gd name="connsiteY7036" fmla="*/ 748127 h 16570717"/>
                <a:gd name="connsiteX7037" fmla="*/ 10978852 w 26653740"/>
                <a:gd name="connsiteY7037" fmla="*/ 724301 h 16570717"/>
                <a:gd name="connsiteX7038" fmla="*/ 11898524 w 26653740"/>
                <a:gd name="connsiteY7038" fmla="*/ 609937 h 16570717"/>
                <a:gd name="connsiteX7039" fmla="*/ 11917584 w 26653740"/>
                <a:gd name="connsiteY7039" fmla="*/ 633763 h 16570717"/>
                <a:gd name="connsiteX7040" fmla="*/ 11927112 w 26653740"/>
                <a:gd name="connsiteY7040" fmla="*/ 681415 h 16570717"/>
                <a:gd name="connsiteX7041" fmla="*/ 11941408 w 26653740"/>
                <a:gd name="connsiteY7041" fmla="*/ 700474 h 16570717"/>
                <a:gd name="connsiteX7042" fmla="*/ 11960468 w 26653740"/>
                <a:gd name="connsiteY7042" fmla="*/ 710005 h 16570717"/>
                <a:gd name="connsiteX7043" fmla="*/ 12003356 w 26653740"/>
                <a:gd name="connsiteY7043" fmla="*/ 795777 h 16570717"/>
                <a:gd name="connsiteX7044" fmla="*/ 12012884 w 26653740"/>
                <a:gd name="connsiteY7044" fmla="*/ 819602 h 16570717"/>
                <a:gd name="connsiteX7045" fmla="*/ 12017652 w 26653740"/>
                <a:gd name="connsiteY7045" fmla="*/ 867253 h 16570717"/>
                <a:gd name="connsiteX7046" fmla="*/ 12041476 w 26653740"/>
                <a:gd name="connsiteY7046" fmla="*/ 900610 h 16570717"/>
                <a:gd name="connsiteX7047" fmla="*/ 12046240 w 26653740"/>
                <a:gd name="connsiteY7047" fmla="*/ 938731 h 16570717"/>
                <a:gd name="connsiteX7048" fmla="*/ 12151076 w 26653740"/>
                <a:gd name="connsiteY7048" fmla="*/ 1053095 h 16570717"/>
                <a:gd name="connsiteX7049" fmla="*/ 12198724 w 26653740"/>
                <a:gd name="connsiteY7049" fmla="*/ 1067390 h 16570717"/>
                <a:gd name="connsiteX7050" fmla="*/ 12217784 w 26653740"/>
                <a:gd name="connsiteY7050" fmla="*/ 1095981 h 16570717"/>
                <a:gd name="connsiteX7051" fmla="*/ 12222552 w 26653740"/>
                <a:gd name="connsiteY7051" fmla="*/ 1129335 h 16570717"/>
                <a:gd name="connsiteX7052" fmla="*/ 12222552 w 26653740"/>
                <a:gd name="connsiteY7052" fmla="*/ 1191281 h 16570717"/>
                <a:gd name="connsiteX7053" fmla="*/ 12203492 w 26653740"/>
                <a:gd name="connsiteY7053" fmla="*/ 1191281 h 16570717"/>
                <a:gd name="connsiteX7054" fmla="*/ 12189196 w 26653740"/>
                <a:gd name="connsiteY7054" fmla="*/ 1210342 h 16570717"/>
                <a:gd name="connsiteX7055" fmla="*/ 12122484 w 26653740"/>
                <a:gd name="connsiteY7055" fmla="*/ 1234170 h 16570717"/>
                <a:gd name="connsiteX7056" fmla="*/ 12103424 w 26653740"/>
                <a:gd name="connsiteY7056" fmla="*/ 1272290 h 16570717"/>
                <a:gd name="connsiteX7057" fmla="*/ 12089128 w 26653740"/>
                <a:gd name="connsiteY7057" fmla="*/ 1348531 h 16570717"/>
                <a:gd name="connsiteX7058" fmla="*/ 12098656 w 26653740"/>
                <a:gd name="connsiteY7058" fmla="*/ 1362828 h 16570717"/>
                <a:gd name="connsiteX7059" fmla="*/ 12103424 w 26653740"/>
                <a:gd name="connsiteY7059" fmla="*/ 1386651 h 16570717"/>
                <a:gd name="connsiteX7060" fmla="*/ 12127248 w 26653740"/>
                <a:gd name="connsiteY7060" fmla="*/ 1510546 h 16570717"/>
                <a:gd name="connsiteX7061" fmla="*/ 12132012 w 26653740"/>
                <a:gd name="connsiteY7061" fmla="*/ 1529608 h 16570717"/>
                <a:gd name="connsiteX7062" fmla="*/ 12151076 w 26653740"/>
                <a:gd name="connsiteY7062" fmla="*/ 1548669 h 16570717"/>
                <a:gd name="connsiteX7063" fmla="*/ 12132012 w 26653740"/>
                <a:gd name="connsiteY7063" fmla="*/ 1596319 h 16570717"/>
                <a:gd name="connsiteX7064" fmla="*/ 12112952 w 26653740"/>
                <a:gd name="connsiteY7064" fmla="*/ 1624909 h 16570717"/>
                <a:gd name="connsiteX7065" fmla="*/ 11908052 w 26653740"/>
                <a:gd name="connsiteY7065" fmla="*/ 1682091 h 16570717"/>
                <a:gd name="connsiteX7066" fmla="*/ 11769864 w 26653740"/>
                <a:gd name="connsiteY7066" fmla="*/ 1705918 h 16570717"/>
                <a:gd name="connsiteX7067" fmla="*/ 11722212 w 26653740"/>
                <a:gd name="connsiteY7067" fmla="*/ 1734510 h 16570717"/>
                <a:gd name="connsiteX7068" fmla="*/ 11707916 w 26653740"/>
                <a:gd name="connsiteY7068" fmla="*/ 1729742 h 16570717"/>
                <a:gd name="connsiteX7069" fmla="*/ 11669796 w 26653740"/>
                <a:gd name="connsiteY7069" fmla="*/ 1772628 h 16570717"/>
                <a:gd name="connsiteX7070" fmla="*/ 11598320 w 26653740"/>
                <a:gd name="connsiteY7070" fmla="*/ 1834573 h 16570717"/>
                <a:gd name="connsiteX7071" fmla="*/ 11564964 w 26653740"/>
                <a:gd name="connsiteY7071" fmla="*/ 1834573 h 16570717"/>
                <a:gd name="connsiteX7072" fmla="*/ 11460132 w 26653740"/>
                <a:gd name="connsiteY7072" fmla="*/ 1753569 h 16570717"/>
                <a:gd name="connsiteX7073" fmla="*/ 11336236 w 26653740"/>
                <a:gd name="connsiteY7073" fmla="*/ 1682091 h 16570717"/>
                <a:gd name="connsiteX7074" fmla="*/ 11321944 w 26653740"/>
                <a:gd name="connsiteY7074" fmla="*/ 1639205 h 16570717"/>
                <a:gd name="connsiteX7075" fmla="*/ 11288588 w 26653740"/>
                <a:gd name="connsiteY7075" fmla="*/ 1615379 h 16570717"/>
                <a:gd name="connsiteX7076" fmla="*/ 11250464 w 26653740"/>
                <a:gd name="connsiteY7076" fmla="*/ 1596319 h 16570717"/>
                <a:gd name="connsiteX7077" fmla="*/ 11231404 w 26653740"/>
                <a:gd name="connsiteY7077" fmla="*/ 1515310 h 16570717"/>
                <a:gd name="connsiteX7078" fmla="*/ 11255232 w 26653740"/>
                <a:gd name="connsiteY7078" fmla="*/ 1458130 h 16570717"/>
                <a:gd name="connsiteX7079" fmla="*/ 11288588 w 26653740"/>
                <a:gd name="connsiteY7079" fmla="*/ 1405714 h 16570717"/>
                <a:gd name="connsiteX7080" fmla="*/ 11345768 w 26653740"/>
                <a:gd name="connsiteY7080" fmla="*/ 1381889 h 16570717"/>
                <a:gd name="connsiteX7081" fmla="*/ 11398184 w 26653740"/>
                <a:gd name="connsiteY7081" fmla="*/ 1348531 h 16570717"/>
                <a:gd name="connsiteX7082" fmla="*/ 11436304 w 26653740"/>
                <a:gd name="connsiteY7082" fmla="*/ 1267525 h 16570717"/>
                <a:gd name="connsiteX7083" fmla="*/ 11460132 w 26653740"/>
                <a:gd name="connsiteY7083" fmla="*/ 1186517 h 16570717"/>
                <a:gd name="connsiteX7084" fmla="*/ 11503016 w 26653740"/>
                <a:gd name="connsiteY7084" fmla="*/ 1100744 h 16570717"/>
                <a:gd name="connsiteX7085" fmla="*/ 11426776 w 26653740"/>
                <a:gd name="connsiteY7085" fmla="*/ 1124571 h 16570717"/>
                <a:gd name="connsiteX7086" fmla="*/ 11398184 w 26653740"/>
                <a:gd name="connsiteY7086" fmla="*/ 1110274 h 16570717"/>
                <a:gd name="connsiteX7087" fmla="*/ 11402948 w 26653740"/>
                <a:gd name="connsiteY7087" fmla="*/ 1081683 h 16570717"/>
                <a:gd name="connsiteX7088" fmla="*/ 11417244 w 26653740"/>
                <a:gd name="connsiteY7088" fmla="*/ 1024504 h 16570717"/>
                <a:gd name="connsiteX7089" fmla="*/ 11426776 w 26653740"/>
                <a:gd name="connsiteY7089" fmla="*/ 1000679 h 16570717"/>
                <a:gd name="connsiteX7090" fmla="*/ 11450600 w 26653740"/>
                <a:gd name="connsiteY7090" fmla="*/ 967321 h 16570717"/>
                <a:gd name="connsiteX7091" fmla="*/ 11474428 w 26653740"/>
                <a:gd name="connsiteY7091" fmla="*/ 905375 h 16570717"/>
                <a:gd name="connsiteX7092" fmla="*/ 11517312 w 26653740"/>
                <a:gd name="connsiteY7092" fmla="*/ 862488 h 16570717"/>
                <a:gd name="connsiteX7093" fmla="*/ 11541140 w 26653740"/>
                <a:gd name="connsiteY7093" fmla="*/ 857722 h 16570717"/>
                <a:gd name="connsiteX7094" fmla="*/ 11560200 w 26653740"/>
                <a:gd name="connsiteY7094" fmla="*/ 857722 h 16570717"/>
                <a:gd name="connsiteX7095" fmla="*/ 11603084 w 26653740"/>
                <a:gd name="connsiteY7095" fmla="*/ 838662 h 16570717"/>
                <a:gd name="connsiteX7096" fmla="*/ 11641204 w 26653740"/>
                <a:gd name="connsiteY7096" fmla="*/ 805308 h 16570717"/>
                <a:gd name="connsiteX7097" fmla="*/ 11679328 w 26653740"/>
                <a:gd name="connsiteY7097" fmla="*/ 786247 h 16570717"/>
                <a:gd name="connsiteX7098" fmla="*/ 11712684 w 26653740"/>
                <a:gd name="connsiteY7098" fmla="*/ 781482 h 16570717"/>
                <a:gd name="connsiteX7099" fmla="*/ 11750804 w 26653740"/>
                <a:gd name="connsiteY7099" fmla="*/ 757656 h 16570717"/>
                <a:gd name="connsiteX7100" fmla="*/ 11784160 w 26653740"/>
                <a:gd name="connsiteY7100" fmla="*/ 705240 h 16570717"/>
                <a:gd name="connsiteX7101" fmla="*/ 11798456 w 26653740"/>
                <a:gd name="connsiteY7101" fmla="*/ 619468 h 16570717"/>
                <a:gd name="connsiteX7102" fmla="*/ 6161308 w 26653740"/>
                <a:gd name="connsiteY7102" fmla="*/ 490809 h 16570717"/>
                <a:gd name="connsiteX7103" fmla="*/ 6194664 w 26653740"/>
                <a:gd name="connsiteY7103" fmla="*/ 524165 h 16570717"/>
                <a:gd name="connsiteX7104" fmla="*/ 6208960 w 26653740"/>
                <a:gd name="connsiteY7104" fmla="*/ 567051 h 16570717"/>
                <a:gd name="connsiteX7105" fmla="*/ 6199432 w 26653740"/>
                <a:gd name="connsiteY7105" fmla="*/ 586112 h 16570717"/>
                <a:gd name="connsiteX7106" fmla="*/ 6166076 w 26653740"/>
                <a:gd name="connsiteY7106" fmla="*/ 600407 h 16570717"/>
                <a:gd name="connsiteX7107" fmla="*/ 6108892 w 26653740"/>
                <a:gd name="connsiteY7107" fmla="*/ 576582 h 16570717"/>
                <a:gd name="connsiteX7108" fmla="*/ 6089832 w 26653740"/>
                <a:gd name="connsiteY7108" fmla="*/ 552757 h 16570717"/>
                <a:gd name="connsiteX7109" fmla="*/ 6094600 w 26653740"/>
                <a:gd name="connsiteY7109" fmla="*/ 528930 h 16570717"/>
                <a:gd name="connsiteX7110" fmla="*/ 6132720 w 26653740"/>
                <a:gd name="connsiteY7110" fmla="*/ 495575 h 16570717"/>
                <a:gd name="connsiteX7111" fmla="*/ 5951644 w 26653740"/>
                <a:gd name="connsiteY7111" fmla="*/ 314499 h 16570717"/>
                <a:gd name="connsiteX7112" fmla="*/ 5965940 w 26653740"/>
                <a:gd name="connsiteY7112" fmla="*/ 333559 h 16570717"/>
                <a:gd name="connsiteX7113" fmla="*/ 5975472 w 26653740"/>
                <a:gd name="connsiteY7113" fmla="*/ 376446 h 16570717"/>
                <a:gd name="connsiteX7114" fmla="*/ 5999296 w 26653740"/>
                <a:gd name="connsiteY7114" fmla="*/ 400271 h 16570717"/>
                <a:gd name="connsiteX7115" fmla="*/ 6066008 w 26653740"/>
                <a:gd name="connsiteY7115" fmla="*/ 419332 h 16570717"/>
                <a:gd name="connsiteX7116" fmla="*/ 6085068 w 26653740"/>
                <a:gd name="connsiteY7116" fmla="*/ 466983 h 16570717"/>
                <a:gd name="connsiteX7117" fmla="*/ 6051712 w 26653740"/>
                <a:gd name="connsiteY7117" fmla="*/ 500339 h 16570717"/>
                <a:gd name="connsiteX7118" fmla="*/ 5975472 w 26653740"/>
                <a:gd name="connsiteY7118" fmla="*/ 519400 h 16570717"/>
                <a:gd name="connsiteX7119" fmla="*/ 5980236 w 26653740"/>
                <a:gd name="connsiteY7119" fmla="*/ 586112 h 16570717"/>
                <a:gd name="connsiteX7120" fmla="*/ 5999296 w 26653740"/>
                <a:gd name="connsiteY7120" fmla="*/ 638528 h 16570717"/>
                <a:gd name="connsiteX7121" fmla="*/ 5980236 w 26653740"/>
                <a:gd name="connsiteY7121" fmla="*/ 695710 h 16570717"/>
                <a:gd name="connsiteX7122" fmla="*/ 5961176 w 26653740"/>
                <a:gd name="connsiteY7122" fmla="*/ 724300 h 16570717"/>
                <a:gd name="connsiteX7123" fmla="*/ 5908760 w 26653740"/>
                <a:gd name="connsiteY7123" fmla="*/ 757656 h 16570717"/>
                <a:gd name="connsiteX7124" fmla="*/ 5865872 w 26653740"/>
                <a:gd name="connsiteY7124" fmla="*/ 714770 h 16570717"/>
                <a:gd name="connsiteX7125" fmla="*/ 5813456 w 26653740"/>
                <a:gd name="connsiteY7125" fmla="*/ 652823 h 16570717"/>
                <a:gd name="connsiteX7126" fmla="*/ 5789632 w 26653740"/>
                <a:gd name="connsiteY7126" fmla="*/ 695710 h 16570717"/>
                <a:gd name="connsiteX7127" fmla="*/ 5761040 w 26653740"/>
                <a:gd name="connsiteY7127" fmla="*/ 719536 h 16570717"/>
                <a:gd name="connsiteX7128" fmla="*/ 5741980 w 26653740"/>
                <a:gd name="connsiteY7128" fmla="*/ 714770 h 16570717"/>
                <a:gd name="connsiteX7129" fmla="*/ 5713388 w 26653740"/>
                <a:gd name="connsiteY7129" fmla="*/ 667118 h 16570717"/>
                <a:gd name="connsiteX7130" fmla="*/ 5637148 w 26653740"/>
                <a:gd name="connsiteY7130" fmla="*/ 705240 h 16570717"/>
                <a:gd name="connsiteX7131" fmla="*/ 5618084 w 26653740"/>
                <a:gd name="connsiteY7131" fmla="*/ 667118 h 16570717"/>
                <a:gd name="connsiteX7132" fmla="*/ 5599024 w 26653740"/>
                <a:gd name="connsiteY7132" fmla="*/ 581347 h 16570717"/>
                <a:gd name="connsiteX7133" fmla="*/ 5646676 w 26653740"/>
                <a:gd name="connsiteY7133" fmla="*/ 562286 h 16570717"/>
                <a:gd name="connsiteX7134" fmla="*/ 5708624 w 26653740"/>
                <a:gd name="connsiteY7134" fmla="*/ 586112 h 16570717"/>
                <a:gd name="connsiteX7135" fmla="*/ 5746744 w 26653740"/>
                <a:gd name="connsiteY7135" fmla="*/ 500339 h 16570717"/>
                <a:gd name="connsiteX7136" fmla="*/ 5794396 w 26653740"/>
                <a:gd name="connsiteY7136" fmla="*/ 462219 h 16570717"/>
                <a:gd name="connsiteX7137" fmla="*/ 5837280 w 26653740"/>
                <a:gd name="connsiteY7137" fmla="*/ 371681 h 16570717"/>
                <a:gd name="connsiteX7138" fmla="*/ 5851576 w 26653740"/>
                <a:gd name="connsiteY7138" fmla="*/ 338325 h 16570717"/>
                <a:gd name="connsiteX7139" fmla="*/ 5894464 w 26653740"/>
                <a:gd name="connsiteY7139" fmla="*/ 343089 h 16570717"/>
                <a:gd name="connsiteX7140" fmla="*/ 5908760 w 26653740"/>
                <a:gd name="connsiteY7140" fmla="*/ 338325 h 16570717"/>
                <a:gd name="connsiteX7141" fmla="*/ 6742656 w 26653740"/>
                <a:gd name="connsiteY7141" fmla="*/ 147719 h 16570717"/>
                <a:gd name="connsiteX7142" fmla="*/ 6885608 w 26653740"/>
                <a:gd name="connsiteY7142" fmla="*/ 181076 h 16570717"/>
                <a:gd name="connsiteX7143" fmla="*/ 6895140 w 26653740"/>
                <a:gd name="connsiteY7143" fmla="*/ 209667 h 16570717"/>
                <a:gd name="connsiteX7144" fmla="*/ 6899904 w 26653740"/>
                <a:gd name="connsiteY7144" fmla="*/ 223962 h 16570717"/>
                <a:gd name="connsiteX7145" fmla="*/ 6876080 w 26653740"/>
                <a:gd name="connsiteY7145" fmla="*/ 266848 h 16570717"/>
                <a:gd name="connsiteX7146" fmla="*/ 6857016 w 26653740"/>
                <a:gd name="connsiteY7146" fmla="*/ 281144 h 16570717"/>
                <a:gd name="connsiteX7147" fmla="*/ 6756952 w 26653740"/>
                <a:gd name="connsiteY7147" fmla="*/ 266848 h 16570717"/>
                <a:gd name="connsiteX7148" fmla="*/ 6709300 w 26653740"/>
                <a:gd name="connsiteY7148" fmla="*/ 238258 h 16570717"/>
                <a:gd name="connsiteX7149" fmla="*/ 6704532 w 26653740"/>
                <a:gd name="connsiteY7149" fmla="*/ 223962 h 16570717"/>
                <a:gd name="connsiteX7150" fmla="*/ 6699768 w 26653740"/>
                <a:gd name="connsiteY7150" fmla="*/ 214432 h 16570717"/>
                <a:gd name="connsiteX7151" fmla="*/ 6637824 w 26653740"/>
                <a:gd name="connsiteY7151" fmla="*/ 190606 h 16570717"/>
                <a:gd name="connsiteX7152" fmla="*/ 6666412 w 26653740"/>
                <a:gd name="connsiteY7152" fmla="*/ 162016 h 16570717"/>
                <a:gd name="connsiteX7153" fmla="*/ 6194664 w 26653740"/>
                <a:gd name="connsiteY7153" fmla="*/ 0 h 16570717"/>
                <a:gd name="connsiteX7154" fmla="*/ 6213728 w 26653740"/>
                <a:gd name="connsiteY7154" fmla="*/ 33356 h 16570717"/>
                <a:gd name="connsiteX7155" fmla="*/ 6208960 w 26653740"/>
                <a:gd name="connsiteY7155" fmla="*/ 81008 h 16570717"/>
                <a:gd name="connsiteX7156" fmla="*/ 6208960 w 26653740"/>
                <a:gd name="connsiteY7156" fmla="*/ 104834 h 16570717"/>
                <a:gd name="connsiteX7157" fmla="*/ 6042180 w 26653740"/>
                <a:gd name="connsiteY7157" fmla="*/ 152486 h 16570717"/>
                <a:gd name="connsiteX7158" fmla="*/ 5989764 w 26653740"/>
                <a:gd name="connsiteY7158" fmla="*/ 171546 h 16570717"/>
                <a:gd name="connsiteX7159" fmla="*/ 5985000 w 26653740"/>
                <a:gd name="connsiteY7159" fmla="*/ 157250 h 16570717"/>
                <a:gd name="connsiteX7160" fmla="*/ 5980236 w 26653740"/>
                <a:gd name="connsiteY7160" fmla="*/ 142955 h 16570717"/>
                <a:gd name="connsiteX7161" fmla="*/ 5985000 w 26653740"/>
                <a:gd name="connsiteY7161" fmla="*/ 114364 h 16570717"/>
                <a:gd name="connsiteX7162" fmla="*/ 5994532 w 26653740"/>
                <a:gd name="connsiteY7162" fmla="*/ 61948 h 16570717"/>
                <a:gd name="connsiteX7163" fmla="*/ 6018356 w 26653740"/>
                <a:gd name="connsiteY7163" fmla="*/ 28592 h 16570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  <a:cxn ang="0">
                  <a:pos x="connsiteX5948" y="connsiteY5948"/>
                </a:cxn>
                <a:cxn ang="0">
                  <a:pos x="connsiteX5949" y="connsiteY5949"/>
                </a:cxn>
                <a:cxn ang="0">
                  <a:pos x="connsiteX5950" y="connsiteY5950"/>
                </a:cxn>
                <a:cxn ang="0">
                  <a:pos x="connsiteX5951" y="connsiteY5951"/>
                </a:cxn>
                <a:cxn ang="0">
                  <a:pos x="connsiteX5952" y="connsiteY5952"/>
                </a:cxn>
                <a:cxn ang="0">
                  <a:pos x="connsiteX5953" y="connsiteY5953"/>
                </a:cxn>
                <a:cxn ang="0">
                  <a:pos x="connsiteX5954" y="connsiteY5954"/>
                </a:cxn>
                <a:cxn ang="0">
                  <a:pos x="connsiteX5955" y="connsiteY5955"/>
                </a:cxn>
                <a:cxn ang="0">
                  <a:pos x="connsiteX5956" y="connsiteY5956"/>
                </a:cxn>
                <a:cxn ang="0">
                  <a:pos x="connsiteX5957" y="connsiteY5957"/>
                </a:cxn>
                <a:cxn ang="0">
                  <a:pos x="connsiteX5958" y="connsiteY5958"/>
                </a:cxn>
                <a:cxn ang="0">
                  <a:pos x="connsiteX5959" y="connsiteY5959"/>
                </a:cxn>
                <a:cxn ang="0">
                  <a:pos x="connsiteX5960" y="connsiteY5960"/>
                </a:cxn>
                <a:cxn ang="0">
                  <a:pos x="connsiteX5961" y="connsiteY5961"/>
                </a:cxn>
                <a:cxn ang="0">
                  <a:pos x="connsiteX5962" y="connsiteY5962"/>
                </a:cxn>
                <a:cxn ang="0">
                  <a:pos x="connsiteX5963" y="connsiteY5963"/>
                </a:cxn>
                <a:cxn ang="0">
                  <a:pos x="connsiteX5964" y="connsiteY5964"/>
                </a:cxn>
                <a:cxn ang="0">
                  <a:pos x="connsiteX5965" y="connsiteY5965"/>
                </a:cxn>
                <a:cxn ang="0">
                  <a:pos x="connsiteX5966" y="connsiteY5966"/>
                </a:cxn>
                <a:cxn ang="0">
                  <a:pos x="connsiteX5967" y="connsiteY5967"/>
                </a:cxn>
                <a:cxn ang="0">
                  <a:pos x="connsiteX5968" y="connsiteY5968"/>
                </a:cxn>
                <a:cxn ang="0">
                  <a:pos x="connsiteX5969" y="connsiteY5969"/>
                </a:cxn>
                <a:cxn ang="0">
                  <a:pos x="connsiteX5970" y="connsiteY5970"/>
                </a:cxn>
                <a:cxn ang="0">
                  <a:pos x="connsiteX5971" y="connsiteY5971"/>
                </a:cxn>
                <a:cxn ang="0">
                  <a:pos x="connsiteX5972" y="connsiteY5972"/>
                </a:cxn>
                <a:cxn ang="0">
                  <a:pos x="connsiteX5973" y="connsiteY5973"/>
                </a:cxn>
                <a:cxn ang="0">
                  <a:pos x="connsiteX5974" y="connsiteY5974"/>
                </a:cxn>
                <a:cxn ang="0">
                  <a:pos x="connsiteX5975" y="connsiteY5975"/>
                </a:cxn>
                <a:cxn ang="0">
                  <a:pos x="connsiteX5976" y="connsiteY5976"/>
                </a:cxn>
                <a:cxn ang="0">
                  <a:pos x="connsiteX5977" y="connsiteY5977"/>
                </a:cxn>
                <a:cxn ang="0">
                  <a:pos x="connsiteX5978" y="connsiteY5978"/>
                </a:cxn>
                <a:cxn ang="0">
                  <a:pos x="connsiteX5979" y="connsiteY5979"/>
                </a:cxn>
                <a:cxn ang="0">
                  <a:pos x="connsiteX5980" y="connsiteY5980"/>
                </a:cxn>
                <a:cxn ang="0">
                  <a:pos x="connsiteX5981" y="connsiteY5981"/>
                </a:cxn>
                <a:cxn ang="0">
                  <a:pos x="connsiteX5982" y="connsiteY5982"/>
                </a:cxn>
                <a:cxn ang="0">
                  <a:pos x="connsiteX5983" y="connsiteY5983"/>
                </a:cxn>
                <a:cxn ang="0">
                  <a:pos x="connsiteX5984" y="connsiteY5984"/>
                </a:cxn>
                <a:cxn ang="0">
                  <a:pos x="connsiteX5985" y="connsiteY5985"/>
                </a:cxn>
                <a:cxn ang="0">
                  <a:pos x="connsiteX5986" y="connsiteY5986"/>
                </a:cxn>
                <a:cxn ang="0">
                  <a:pos x="connsiteX5987" y="connsiteY5987"/>
                </a:cxn>
                <a:cxn ang="0">
                  <a:pos x="connsiteX5988" y="connsiteY5988"/>
                </a:cxn>
                <a:cxn ang="0">
                  <a:pos x="connsiteX5989" y="connsiteY5989"/>
                </a:cxn>
                <a:cxn ang="0">
                  <a:pos x="connsiteX5990" y="connsiteY5990"/>
                </a:cxn>
                <a:cxn ang="0">
                  <a:pos x="connsiteX5991" y="connsiteY5991"/>
                </a:cxn>
                <a:cxn ang="0">
                  <a:pos x="connsiteX5992" y="connsiteY5992"/>
                </a:cxn>
                <a:cxn ang="0">
                  <a:pos x="connsiteX5993" y="connsiteY5993"/>
                </a:cxn>
                <a:cxn ang="0">
                  <a:pos x="connsiteX5994" y="connsiteY5994"/>
                </a:cxn>
                <a:cxn ang="0">
                  <a:pos x="connsiteX5995" y="connsiteY5995"/>
                </a:cxn>
                <a:cxn ang="0">
                  <a:pos x="connsiteX5996" y="connsiteY5996"/>
                </a:cxn>
                <a:cxn ang="0">
                  <a:pos x="connsiteX5997" y="connsiteY5997"/>
                </a:cxn>
                <a:cxn ang="0">
                  <a:pos x="connsiteX5998" y="connsiteY5998"/>
                </a:cxn>
                <a:cxn ang="0">
                  <a:pos x="connsiteX5999" y="connsiteY5999"/>
                </a:cxn>
                <a:cxn ang="0">
                  <a:pos x="connsiteX6000" y="connsiteY6000"/>
                </a:cxn>
                <a:cxn ang="0">
                  <a:pos x="connsiteX6001" y="connsiteY6001"/>
                </a:cxn>
                <a:cxn ang="0">
                  <a:pos x="connsiteX6002" y="connsiteY6002"/>
                </a:cxn>
                <a:cxn ang="0">
                  <a:pos x="connsiteX6003" y="connsiteY6003"/>
                </a:cxn>
                <a:cxn ang="0">
                  <a:pos x="connsiteX6004" y="connsiteY6004"/>
                </a:cxn>
                <a:cxn ang="0">
                  <a:pos x="connsiteX6005" y="connsiteY6005"/>
                </a:cxn>
                <a:cxn ang="0">
                  <a:pos x="connsiteX6006" y="connsiteY6006"/>
                </a:cxn>
                <a:cxn ang="0">
                  <a:pos x="connsiteX6007" y="connsiteY6007"/>
                </a:cxn>
                <a:cxn ang="0">
                  <a:pos x="connsiteX6008" y="connsiteY6008"/>
                </a:cxn>
                <a:cxn ang="0">
                  <a:pos x="connsiteX6009" y="connsiteY6009"/>
                </a:cxn>
                <a:cxn ang="0">
                  <a:pos x="connsiteX6010" y="connsiteY6010"/>
                </a:cxn>
                <a:cxn ang="0">
                  <a:pos x="connsiteX6011" y="connsiteY6011"/>
                </a:cxn>
                <a:cxn ang="0">
                  <a:pos x="connsiteX6012" y="connsiteY6012"/>
                </a:cxn>
                <a:cxn ang="0">
                  <a:pos x="connsiteX6013" y="connsiteY6013"/>
                </a:cxn>
                <a:cxn ang="0">
                  <a:pos x="connsiteX6014" y="connsiteY6014"/>
                </a:cxn>
                <a:cxn ang="0">
                  <a:pos x="connsiteX6015" y="connsiteY6015"/>
                </a:cxn>
                <a:cxn ang="0">
                  <a:pos x="connsiteX6016" y="connsiteY6016"/>
                </a:cxn>
                <a:cxn ang="0">
                  <a:pos x="connsiteX6017" y="connsiteY6017"/>
                </a:cxn>
                <a:cxn ang="0">
                  <a:pos x="connsiteX6018" y="connsiteY6018"/>
                </a:cxn>
                <a:cxn ang="0">
                  <a:pos x="connsiteX6019" y="connsiteY6019"/>
                </a:cxn>
                <a:cxn ang="0">
                  <a:pos x="connsiteX6020" y="connsiteY6020"/>
                </a:cxn>
                <a:cxn ang="0">
                  <a:pos x="connsiteX6021" y="connsiteY6021"/>
                </a:cxn>
                <a:cxn ang="0">
                  <a:pos x="connsiteX6022" y="connsiteY6022"/>
                </a:cxn>
                <a:cxn ang="0">
                  <a:pos x="connsiteX6023" y="connsiteY6023"/>
                </a:cxn>
                <a:cxn ang="0">
                  <a:pos x="connsiteX6024" y="connsiteY6024"/>
                </a:cxn>
                <a:cxn ang="0">
                  <a:pos x="connsiteX6025" y="connsiteY6025"/>
                </a:cxn>
                <a:cxn ang="0">
                  <a:pos x="connsiteX6026" y="connsiteY6026"/>
                </a:cxn>
                <a:cxn ang="0">
                  <a:pos x="connsiteX6027" y="connsiteY6027"/>
                </a:cxn>
                <a:cxn ang="0">
                  <a:pos x="connsiteX6028" y="connsiteY6028"/>
                </a:cxn>
                <a:cxn ang="0">
                  <a:pos x="connsiteX6029" y="connsiteY6029"/>
                </a:cxn>
                <a:cxn ang="0">
                  <a:pos x="connsiteX6030" y="connsiteY6030"/>
                </a:cxn>
                <a:cxn ang="0">
                  <a:pos x="connsiteX6031" y="connsiteY6031"/>
                </a:cxn>
                <a:cxn ang="0">
                  <a:pos x="connsiteX6032" y="connsiteY6032"/>
                </a:cxn>
                <a:cxn ang="0">
                  <a:pos x="connsiteX6033" y="connsiteY6033"/>
                </a:cxn>
                <a:cxn ang="0">
                  <a:pos x="connsiteX6034" y="connsiteY6034"/>
                </a:cxn>
                <a:cxn ang="0">
                  <a:pos x="connsiteX6035" y="connsiteY6035"/>
                </a:cxn>
                <a:cxn ang="0">
                  <a:pos x="connsiteX6036" y="connsiteY6036"/>
                </a:cxn>
                <a:cxn ang="0">
                  <a:pos x="connsiteX6037" y="connsiteY6037"/>
                </a:cxn>
                <a:cxn ang="0">
                  <a:pos x="connsiteX6038" y="connsiteY6038"/>
                </a:cxn>
                <a:cxn ang="0">
                  <a:pos x="connsiteX6039" y="connsiteY6039"/>
                </a:cxn>
                <a:cxn ang="0">
                  <a:pos x="connsiteX6040" y="connsiteY6040"/>
                </a:cxn>
                <a:cxn ang="0">
                  <a:pos x="connsiteX6041" y="connsiteY6041"/>
                </a:cxn>
                <a:cxn ang="0">
                  <a:pos x="connsiteX6042" y="connsiteY6042"/>
                </a:cxn>
                <a:cxn ang="0">
                  <a:pos x="connsiteX6043" y="connsiteY6043"/>
                </a:cxn>
                <a:cxn ang="0">
                  <a:pos x="connsiteX6044" y="connsiteY6044"/>
                </a:cxn>
                <a:cxn ang="0">
                  <a:pos x="connsiteX6045" y="connsiteY6045"/>
                </a:cxn>
                <a:cxn ang="0">
                  <a:pos x="connsiteX6046" y="connsiteY6046"/>
                </a:cxn>
                <a:cxn ang="0">
                  <a:pos x="connsiteX6047" y="connsiteY6047"/>
                </a:cxn>
                <a:cxn ang="0">
                  <a:pos x="connsiteX6048" y="connsiteY6048"/>
                </a:cxn>
                <a:cxn ang="0">
                  <a:pos x="connsiteX6049" y="connsiteY6049"/>
                </a:cxn>
                <a:cxn ang="0">
                  <a:pos x="connsiteX6050" y="connsiteY6050"/>
                </a:cxn>
                <a:cxn ang="0">
                  <a:pos x="connsiteX6051" y="connsiteY6051"/>
                </a:cxn>
                <a:cxn ang="0">
                  <a:pos x="connsiteX6052" y="connsiteY6052"/>
                </a:cxn>
                <a:cxn ang="0">
                  <a:pos x="connsiteX6053" y="connsiteY6053"/>
                </a:cxn>
                <a:cxn ang="0">
                  <a:pos x="connsiteX6054" y="connsiteY6054"/>
                </a:cxn>
                <a:cxn ang="0">
                  <a:pos x="connsiteX6055" y="connsiteY6055"/>
                </a:cxn>
                <a:cxn ang="0">
                  <a:pos x="connsiteX6056" y="connsiteY6056"/>
                </a:cxn>
                <a:cxn ang="0">
                  <a:pos x="connsiteX6057" y="connsiteY6057"/>
                </a:cxn>
                <a:cxn ang="0">
                  <a:pos x="connsiteX6058" y="connsiteY6058"/>
                </a:cxn>
                <a:cxn ang="0">
                  <a:pos x="connsiteX6059" y="connsiteY6059"/>
                </a:cxn>
                <a:cxn ang="0">
                  <a:pos x="connsiteX6060" y="connsiteY6060"/>
                </a:cxn>
                <a:cxn ang="0">
                  <a:pos x="connsiteX6061" y="connsiteY6061"/>
                </a:cxn>
                <a:cxn ang="0">
                  <a:pos x="connsiteX6062" y="connsiteY6062"/>
                </a:cxn>
                <a:cxn ang="0">
                  <a:pos x="connsiteX6063" y="connsiteY6063"/>
                </a:cxn>
                <a:cxn ang="0">
                  <a:pos x="connsiteX6064" y="connsiteY6064"/>
                </a:cxn>
                <a:cxn ang="0">
                  <a:pos x="connsiteX6065" y="connsiteY6065"/>
                </a:cxn>
                <a:cxn ang="0">
                  <a:pos x="connsiteX6066" y="connsiteY6066"/>
                </a:cxn>
                <a:cxn ang="0">
                  <a:pos x="connsiteX6067" y="connsiteY6067"/>
                </a:cxn>
                <a:cxn ang="0">
                  <a:pos x="connsiteX6068" y="connsiteY6068"/>
                </a:cxn>
                <a:cxn ang="0">
                  <a:pos x="connsiteX6069" y="connsiteY6069"/>
                </a:cxn>
                <a:cxn ang="0">
                  <a:pos x="connsiteX6070" y="connsiteY6070"/>
                </a:cxn>
                <a:cxn ang="0">
                  <a:pos x="connsiteX6071" y="connsiteY6071"/>
                </a:cxn>
                <a:cxn ang="0">
                  <a:pos x="connsiteX6072" y="connsiteY6072"/>
                </a:cxn>
                <a:cxn ang="0">
                  <a:pos x="connsiteX6073" y="connsiteY6073"/>
                </a:cxn>
                <a:cxn ang="0">
                  <a:pos x="connsiteX6074" y="connsiteY6074"/>
                </a:cxn>
                <a:cxn ang="0">
                  <a:pos x="connsiteX6075" y="connsiteY6075"/>
                </a:cxn>
                <a:cxn ang="0">
                  <a:pos x="connsiteX6076" y="connsiteY6076"/>
                </a:cxn>
                <a:cxn ang="0">
                  <a:pos x="connsiteX6077" y="connsiteY6077"/>
                </a:cxn>
                <a:cxn ang="0">
                  <a:pos x="connsiteX6078" y="connsiteY6078"/>
                </a:cxn>
                <a:cxn ang="0">
                  <a:pos x="connsiteX6079" y="connsiteY6079"/>
                </a:cxn>
                <a:cxn ang="0">
                  <a:pos x="connsiteX6080" y="connsiteY6080"/>
                </a:cxn>
                <a:cxn ang="0">
                  <a:pos x="connsiteX6081" y="connsiteY6081"/>
                </a:cxn>
                <a:cxn ang="0">
                  <a:pos x="connsiteX6082" y="connsiteY6082"/>
                </a:cxn>
                <a:cxn ang="0">
                  <a:pos x="connsiteX6083" y="connsiteY6083"/>
                </a:cxn>
                <a:cxn ang="0">
                  <a:pos x="connsiteX6084" y="connsiteY6084"/>
                </a:cxn>
                <a:cxn ang="0">
                  <a:pos x="connsiteX6085" y="connsiteY6085"/>
                </a:cxn>
                <a:cxn ang="0">
                  <a:pos x="connsiteX6086" y="connsiteY6086"/>
                </a:cxn>
                <a:cxn ang="0">
                  <a:pos x="connsiteX6087" y="connsiteY6087"/>
                </a:cxn>
                <a:cxn ang="0">
                  <a:pos x="connsiteX6088" y="connsiteY6088"/>
                </a:cxn>
                <a:cxn ang="0">
                  <a:pos x="connsiteX6089" y="connsiteY6089"/>
                </a:cxn>
                <a:cxn ang="0">
                  <a:pos x="connsiteX6090" y="connsiteY6090"/>
                </a:cxn>
                <a:cxn ang="0">
                  <a:pos x="connsiteX6091" y="connsiteY6091"/>
                </a:cxn>
                <a:cxn ang="0">
                  <a:pos x="connsiteX6092" y="connsiteY6092"/>
                </a:cxn>
                <a:cxn ang="0">
                  <a:pos x="connsiteX6093" y="connsiteY6093"/>
                </a:cxn>
                <a:cxn ang="0">
                  <a:pos x="connsiteX6094" y="connsiteY6094"/>
                </a:cxn>
                <a:cxn ang="0">
                  <a:pos x="connsiteX6095" y="connsiteY6095"/>
                </a:cxn>
                <a:cxn ang="0">
                  <a:pos x="connsiteX6096" y="connsiteY6096"/>
                </a:cxn>
                <a:cxn ang="0">
                  <a:pos x="connsiteX6097" y="connsiteY6097"/>
                </a:cxn>
                <a:cxn ang="0">
                  <a:pos x="connsiteX6098" y="connsiteY6098"/>
                </a:cxn>
                <a:cxn ang="0">
                  <a:pos x="connsiteX6099" y="connsiteY6099"/>
                </a:cxn>
                <a:cxn ang="0">
                  <a:pos x="connsiteX6100" y="connsiteY6100"/>
                </a:cxn>
                <a:cxn ang="0">
                  <a:pos x="connsiteX6101" y="connsiteY6101"/>
                </a:cxn>
                <a:cxn ang="0">
                  <a:pos x="connsiteX6102" y="connsiteY6102"/>
                </a:cxn>
                <a:cxn ang="0">
                  <a:pos x="connsiteX6103" y="connsiteY6103"/>
                </a:cxn>
                <a:cxn ang="0">
                  <a:pos x="connsiteX6104" y="connsiteY6104"/>
                </a:cxn>
                <a:cxn ang="0">
                  <a:pos x="connsiteX6105" y="connsiteY6105"/>
                </a:cxn>
                <a:cxn ang="0">
                  <a:pos x="connsiteX6106" y="connsiteY6106"/>
                </a:cxn>
                <a:cxn ang="0">
                  <a:pos x="connsiteX6107" y="connsiteY6107"/>
                </a:cxn>
                <a:cxn ang="0">
                  <a:pos x="connsiteX6108" y="connsiteY6108"/>
                </a:cxn>
                <a:cxn ang="0">
                  <a:pos x="connsiteX6109" y="connsiteY6109"/>
                </a:cxn>
                <a:cxn ang="0">
                  <a:pos x="connsiteX6110" y="connsiteY6110"/>
                </a:cxn>
                <a:cxn ang="0">
                  <a:pos x="connsiteX6111" y="connsiteY6111"/>
                </a:cxn>
                <a:cxn ang="0">
                  <a:pos x="connsiteX6112" y="connsiteY6112"/>
                </a:cxn>
                <a:cxn ang="0">
                  <a:pos x="connsiteX6113" y="connsiteY6113"/>
                </a:cxn>
                <a:cxn ang="0">
                  <a:pos x="connsiteX6114" y="connsiteY6114"/>
                </a:cxn>
                <a:cxn ang="0">
                  <a:pos x="connsiteX6115" y="connsiteY6115"/>
                </a:cxn>
                <a:cxn ang="0">
                  <a:pos x="connsiteX6116" y="connsiteY6116"/>
                </a:cxn>
                <a:cxn ang="0">
                  <a:pos x="connsiteX6117" y="connsiteY6117"/>
                </a:cxn>
                <a:cxn ang="0">
                  <a:pos x="connsiteX6118" y="connsiteY6118"/>
                </a:cxn>
                <a:cxn ang="0">
                  <a:pos x="connsiteX6119" y="connsiteY6119"/>
                </a:cxn>
                <a:cxn ang="0">
                  <a:pos x="connsiteX6120" y="connsiteY6120"/>
                </a:cxn>
                <a:cxn ang="0">
                  <a:pos x="connsiteX6121" y="connsiteY6121"/>
                </a:cxn>
                <a:cxn ang="0">
                  <a:pos x="connsiteX6122" y="connsiteY6122"/>
                </a:cxn>
                <a:cxn ang="0">
                  <a:pos x="connsiteX6123" y="connsiteY6123"/>
                </a:cxn>
                <a:cxn ang="0">
                  <a:pos x="connsiteX6124" y="connsiteY6124"/>
                </a:cxn>
                <a:cxn ang="0">
                  <a:pos x="connsiteX6125" y="connsiteY6125"/>
                </a:cxn>
                <a:cxn ang="0">
                  <a:pos x="connsiteX6126" y="connsiteY6126"/>
                </a:cxn>
                <a:cxn ang="0">
                  <a:pos x="connsiteX6127" y="connsiteY6127"/>
                </a:cxn>
                <a:cxn ang="0">
                  <a:pos x="connsiteX6128" y="connsiteY6128"/>
                </a:cxn>
                <a:cxn ang="0">
                  <a:pos x="connsiteX6129" y="connsiteY6129"/>
                </a:cxn>
                <a:cxn ang="0">
                  <a:pos x="connsiteX6130" y="connsiteY6130"/>
                </a:cxn>
                <a:cxn ang="0">
                  <a:pos x="connsiteX6131" y="connsiteY6131"/>
                </a:cxn>
                <a:cxn ang="0">
                  <a:pos x="connsiteX6132" y="connsiteY6132"/>
                </a:cxn>
                <a:cxn ang="0">
                  <a:pos x="connsiteX6133" y="connsiteY6133"/>
                </a:cxn>
                <a:cxn ang="0">
                  <a:pos x="connsiteX6134" y="connsiteY6134"/>
                </a:cxn>
                <a:cxn ang="0">
                  <a:pos x="connsiteX6135" y="connsiteY6135"/>
                </a:cxn>
                <a:cxn ang="0">
                  <a:pos x="connsiteX6136" y="connsiteY6136"/>
                </a:cxn>
                <a:cxn ang="0">
                  <a:pos x="connsiteX6137" y="connsiteY6137"/>
                </a:cxn>
                <a:cxn ang="0">
                  <a:pos x="connsiteX6138" y="connsiteY6138"/>
                </a:cxn>
                <a:cxn ang="0">
                  <a:pos x="connsiteX6139" y="connsiteY6139"/>
                </a:cxn>
                <a:cxn ang="0">
                  <a:pos x="connsiteX6140" y="connsiteY6140"/>
                </a:cxn>
                <a:cxn ang="0">
                  <a:pos x="connsiteX6141" y="connsiteY6141"/>
                </a:cxn>
                <a:cxn ang="0">
                  <a:pos x="connsiteX6142" y="connsiteY6142"/>
                </a:cxn>
                <a:cxn ang="0">
                  <a:pos x="connsiteX6143" y="connsiteY6143"/>
                </a:cxn>
                <a:cxn ang="0">
                  <a:pos x="connsiteX6144" y="connsiteY6144"/>
                </a:cxn>
                <a:cxn ang="0">
                  <a:pos x="connsiteX6145" y="connsiteY6145"/>
                </a:cxn>
                <a:cxn ang="0">
                  <a:pos x="connsiteX6146" y="connsiteY6146"/>
                </a:cxn>
                <a:cxn ang="0">
                  <a:pos x="connsiteX6147" y="connsiteY6147"/>
                </a:cxn>
                <a:cxn ang="0">
                  <a:pos x="connsiteX6148" y="connsiteY6148"/>
                </a:cxn>
                <a:cxn ang="0">
                  <a:pos x="connsiteX6149" y="connsiteY6149"/>
                </a:cxn>
                <a:cxn ang="0">
                  <a:pos x="connsiteX6150" y="connsiteY6150"/>
                </a:cxn>
                <a:cxn ang="0">
                  <a:pos x="connsiteX6151" y="connsiteY6151"/>
                </a:cxn>
                <a:cxn ang="0">
                  <a:pos x="connsiteX6152" y="connsiteY6152"/>
                </a:cxn>
                <a:cxn ang="0">
                  <a:pos x="connsiteX6153" y="connsiteY6153"/>
                </a:cxn>
                <a:cxn ang="0">
                  <a:pos x="connsiteX6154" y="connsiteY6154"/>
                </a:cxn>
                <a:cxn ang="0">
                  <a:pos x="connsiteX6155" y="connsiteY6155"/>
                </a:cxn>
                <a:cxn ang="0">
                  <a:pos x="connsiteX6156" y="connsiteY6156"/>
                </a:cxn>
                <a:cxn ang="0">
                  <a:pos x="connsiteX6157" y="connsiteY6157"/>
                </a:cxn>
                <a:cxn ang="0">
                  <a:pos x="connsiteX6158" y="connsiteY6158"/>
                </a:cxn>
                <a:cxn ang="0">
                  <a:pos x="connsiteX6159" y="connsiteY6159"/>
                </a:cxn>
                <a:cxn ang="0">
                  <a:pos x="connsiteX6160" y="connsiteY6160"/>
                </a:cxn>
                <a:cxn ang="0">
                  <a:pos x="connsiteX6161" y="connsiteY6161"/>
                </a:cxn>
                <a:cxn ang="0">
                  <a:pos x="connsiteX6162" y="connsiteY6162"/>
                </a:cxn>
                <a:cxn ang="0">
                  <a:pos x="connsiteX6163" y="connsiteY6163"/>
                </a:cxn>
                <a:cxn ang="0">
                  <a:pos x="connsiteX6164" y="connsiteY6164"/>
                </a:cxn>
                <a:cxn ang="0">
                  <a:pos x="connsiteX6165" y="connsiteY6165"/>
                </a:cxn>
                <a:cxn ang="0">
                  <a:pos x="connsiteX6166" y="connsiteY6166"/>
                </a:cxn>
                <a:cxn ang="0">
                  <a:pos x="connsiteX6167" y="connsiteY6167"/>
                </a:cxn>
                <a:cxn ang="0">
                  <a:pos x="connsiteX6168" y="connsiteY6168"/>
                </a:cxn>
                <a:cxn ang="0">
                  <a:pos x="connsiteX6169" y="connsiteY6169"/>
                </a:cxn>
                <a:cxn ang="0">
                  <a:pos x="connsiteX6170" y="connsiteY6170"/>
                </a:cxn>
                <a:cxn ang="0">
                  <a:pos x="connsiteX6171" y="connsiteY6171"/>
                </a:cxn>
                <a:cxn ang="0">
                  <a:pos x="connsiteX6172" y="connsiteY6172"/>
                </a:cxn>
                <a:cxn ang="0">
                  <a:pos x="connsiteX6173" y="connsiteY6173"/>
                </a:cxn>
                <a:cxn ang="0">
                  <a:pos x="connsiteX6174" y="connsiteY6174"/>
                </a:cxn>
                <a:cxn ang="0">
                  <a:pos x="connsiteX6175" y="connsiteY6175"/>
                </a:cxn>
                <a:cxn ang="0">
                  <a:pos x="connsiteX6176" y="connsiteY6176"/>
                </a:cxn>
                <a:cxn ang="0">
                  <a:pos x="connsiteX6177" y="connsiteY6177"/>
                </a:cxn>
                <a:cxn ang="0">
                  <a:pos x="connsiteX6178" y="connsiteY6178"/>
                </a:cxn>
                <a:cxn ang="0">
                  <a:pos x="connsiteX6179" y="connsiteY6179"/>
                </a:cxn>
                <a:cxn ang="0">
                  <a:pos x="connsiteX6180" y="connsiteY6180"/>
                </a:cxn>
                <a:cxn ang="0">
                  <a:pos x="connsiteX6181" y="connsiteY6181"/>
                </a:cxn>
                <a:cxn ang="0">
                  <a:pos x="connsiteX6182" y="connsiteY6182"/>
                </a:cxn>
                <a:cxn ang="0">
                  <a:pos x="connsiteX6183" y="connsiteY6183"/>
                </a:cxn>
                <a:cxn ang="0">
                  <a:pos x="connsiteX6184" y="connsiteY6184"/>
                </a:cxn>
                <a:cxn ang="0">
                  <a:pos x="connsiteX6185" y="connsiteY6185"/>
                </a:cxn>
                <a:cxn ang="0">
                  <a:pos x="connsiteX6186" y="connsiteY6186"/>
                </a:cxn>
                <a:cxn ang="0">
                  <a:pos x="connsiteX6187" y="connsiteY6187"/>
                </a:cxn>
                <a:cxn ang="0">
                  <a:pos x="connsiteX6188" y="connsiteY6188"/>
                </a:cxn>
                <a:cxn ang="0">
                  <a:pos x="connsiteX6189" y="connsiteY6189"/>
                </a:cxn>
                <a:cxn ang="0">
                  <a:pos x="connsiteX6190" y="connsiteY6190"/>
                </a:cxn>
                <a:cxn ang="0">
                  <a:pos x="connsiteX6191" y="connsiteY6191"/>
                </a:cxn>
                <a:cxn ang="0">
                  <a:pos x="connsiteX6192" y="connsiteY6192"/>
                </a:cxn>
                <a:cxn ang="0">
                  <a:pos x="connsiteX6193" y="connsiteY6193"/>
                </a:cxn>
                <a:cxn ang="0">
                  <a:pos x="connsiteX6194" y="connsiteY6194"/>
                </a:cxn>
                <a:cxn ang="0">
                  <a:pos x="connsiteX6195" y="connsiteY6195"/>
                </a:cxn>
                <a:cxn ang="0">
                  <a:pos x="connsiteX6196" y="connsiteY6196"/>
                </a:cxn>
                <a:cxn ang="0">
                  <a:pos x="connsiteX6197" y="connsiteY6197"/>
                </a:cxn>
                <a:cxn ang="0">
                  <a:pos x="connsiteX6198" y="connsiteY6198"/>
                </a:cxn>
                <a:cxn ang="0">
                  <a:pos x="connsiteX6199" y="connsiteY6199"/>
                </a:cxn>
                <a:cxn ang="0">
                  <a:pos x="connsiteX6200" y="connsiteY6200"/>
                </a:cxn>
                <a:cxn ang="0">
                  <a:pos x="connsiteX6201" y="connsiteY6201"/>
                </a:cxn>
                <a:cxn ang="0">
                  <a:pos x="connsiteX6202" y="connsiteY6202"/>
                </a:cxn>
                <a:cxn ang="0">
                  <a:pos x="connsiteX6203" y="connsiteY6203"/>
                </a:cxn>
                <a:cxn ang="0">
                  <a:pos x="connsiteX6204" y="connsiteY6204"/>
                </a:cxn>
                <a:cxn ang="0">
                  <a:pos x="connsiteX6205" y="connsiteY6205"/>
                </a:cxn>
                <a:cxn ang="0">
                  <a:pos x="connsiteX6206" y="connsiteY6206"/>
                </a:cxn>
                <a:cxn ang="0">
                  <a:pos x="connsiteX6207" y="connsiteY6207"/>
                </a:cxn>
                <a:cxn ang="0">
                  <a:pos x="connsiteX6208" y="connsiteY6208"/>
                </a:cxn>
                <a:cxn ang="0">
                  <a:pos x="connsiteX6209" y="connsiteY6209"/>
                </a:cxn>
                <a:cxn ang="0">
                  <a:pos x="connsiteX6210" y="connsiteY6210"/>
                </a:cxn>
                <a:cxn ang="0">
                  <a:pos x="connsiteX6211" y="connsiteY6211"/>
                </a:cxn>
                <a:cxn ang="0">
                  <a:pos x="connsiteX6212" y="connsiteY6212"/>
                </a:cxn>
                <a:cxn ang="0">
                  <a:pos x="connsiteX6213" y="connsiteY6213"/>
                </a:cxn>
                <a:cxn ang="0">
                  <a:pos x="connsiteX6214" y="connsiteY6214"/>
                </a:cxn>
                <a:cxn ang="0">
                  <a:pos x="connsiteX6215" y="connsiteY6215"/>
                </a:cxn>
                <a:cxn ang="0">
                  <a:pos x="connsiteX6216" y="connsiteY6216"/>
                </a:cxn>
                <a:cxn ang="0">
                  <a:pos x="connsiteX6217" y="connsiteY6217"/>
                </a:cxn>
                <a:cxn ang="0">
                  <a:pos x="connsiteX6218" y="connsiteY6218"/>
                </a:cxn>
                <a:cxn ang="0">
                  <a:pos x="connsiteX6219" y="connsiteY6219"/>
                </a:cxn>
                <a:cxn ang="0">
                  <a:pos x="connsiteX6220" y="connsiteY6220"/>
                </a:cxn>
                <a:cxn ang="0">
                  <a:pos x="connsiteX6221" y="connsiteY6221"/>
                </a:cxn>
                <a:cxn ang="0">
                  <a:pos x="connsiteX6222" y="connsiteY6222"/>
                </a:cxn>
                <a:cxn ang="0">
                  <a:pos x="connsiteX6223" y="connsiteY6223"/>
                </a:cxn>
                <a:cxn ang="0">
                  <a:pos x="connsiteX6224" y="connsiteY6224"/>
                </a:cxn>
                <a:cxn ang="0">
                  <a:pos x="connsiteX6225" y="connsiteY6225"/>
                </a:cxn>
                <a:cxn ang="0">
                  <a:pos x="connsiteX6226" y="connsiteY6226"/>
                </a:cxn>
                <a:cxn ang="0">
                  <a:pos x="connsiteX6227" y="connsiteY6227"/>
                </a:cxn>
                <a:cxn ang="0">
                  <a:pos x="connsiteX6228" y="connsiteY6228"/>
                </a:cxn>
                <a:cxn ang="0">
                  <a:pos x="connsiteX6229" y="connsiteY6229"/>
                </a:cxn>
                <a:cxn ang="0">
                  <a:pos x="connsiteX6230" y="connsiteY6230"/>
                </a:cxn>
                <a:cxn ang="0">
                  <a:pos x="connsiteX6231" y="connsiteY6231"/>
                </a:cxn>
                <a:cxn ang="0">
                  <a:pos x="connsiteX6232" y="connsiteY6232"/>
                </a:cxn>
                <a:cxn ang="0">
                  <a:pos x="connsiteX6233" y="connsiteY6233"/>
                </a:cxn>
                <a:cxn ang="0">
                  <a:pos x="connsiteX6234" y="connsiteY6234"/>
                </a:cxn>
                <a:cxn ang="0">
                  <a:pos x="connsiteX6235" y="connsiteY6235"/>
                </a:cxn>
                <a:cxn ang="0">
                  <a:pos x="connsiteX6236" y="connsiteY6236"/>
                </a:cxn>
                <a:cxn ang="0">
                  <a:pos x="connsiteX6237" y="connsiteY6237"/>
                </a:cxn>
                <a:cxn ang="0">
                  <a:pos x="connsiteX6238" y="connsiteY6238"/>
                </a:cxn>
                <a:cxn ang="0">
                  <a:pos x="connsiteX6239" y="connsiteY6239"/>
                </a:cxn>
                <a:cxn ang="0">
                  <a:pos x="connsiteX6240" y="connsiteY6240"/>
                </a:cxn>
                <a:cxn ang="0">
                  <a:pos x="connsiteX6241" y="connsiteY6241"/>
                </a:cxn>
                <a:cxn ang="0">
                  <a:pos x="connsiteX6242" y="connsiteY6242"/>
                </a:cxn>
                <a:cxn ang="0">
                  <a:pos x="connsiteX6243" y="connsiteY6243"/>
                </a:cxn>
                <a:cxn ang="0">
                  <a:pos x="connsiteX6244" y="connsiteY6244"/>
                </a:cxn>
                <a:cxn ang="0">
                  <a:pos x="connsiteX6245" y="connsiteY6245"/>
                </a:cxn>
                <a:cxn ang="0">
                  <a:pos x="connsiteX6246" y="connsiteY6246"/>
                </a:cxn>
                <a:cxn ang="0">
                  <a:pos x="connsiteX6247" y="connsiteY6247"/>
                </a:cxn>
                <a:cxn ang="0">
                  <a:pos x="connsiteX6248" y="connsiteY6248"/>
                </a:cxn>
                <a:cxn ang="0">
                  <a:pos x="connsiteX6249" y="connsiteY6249"/>
                </a:cxn>
                <a:cxn ang="0">
                  <a:pos x="connsiteX6250" y="connsiteY6250"/>
                </a:cxn>
                <a:cxn ang="0">
                  <a:pos x="connsiteX6251" y="connsiteY6251"/>
                </a:cxn>
                <a:cxn ang="0">
                  <a:pos x="connsiteX6252" y="connsiteY6252"/>
                </a:cxn>
                <a:cxn ang="0">
                  <a:pos x="connsiteX6253" y="connsiteY6253"/>
                </a:cxn>
                <a:cxn ang="0">
                  <a:pos x="connsiteX6254" y="connsiteY6254"/>
                </a:cxn>
                <a:cxn ang="0">
                  <a:pos x="connsiteX6255" y="connsiteY6255"/>
                </a:cxn>
                <a:cxn ang="0">
                  <a:pos x="connsiteX6256" y="connsiteY6256"/>
                </a:cxn>
                <a:cxn ang="0">
                  <a:pos x="connsiteX6257" y="connsiteY6257"/>
                </a:cxn>
                <a:cxn ang="0">
                  <a:pos x="connsiteX6258" y="connsiteY6258"/>
                </a:cxn>
                <a:cxn ang="0">
                  <a:pos x="connsiteX6259" y="connsiteY6259"/>
                </a:cxn>
                <a:cxn ang="0">
                  <a:pos x="connsiteX6260" y="connsiteY6260"/>
                </a:cxn>
                <a:cxn ang="0">
                  <a:pos x="connsiteX6261" y="connsiteY6261"/>
                </a:cxn>
                <a:cxn ang="0">
                  <a:pos x="connsiteX6262" y="connsiteY6262"/>
                </a:cxn>
                <a:cxn ang="0">
                  <a:pos x="connsiteX6263" y="connsiteY6263"/>
                </a:cxn>
                <a:cxn ang="0">
                  <a:pos x="connsiteX6264" y="connsiteY6264"/>
                </a:cxn>
                <a:cxn ang="0">
                  <a:pos x="connsiteX6265" y="connsiteY6265"/>
                </a:cxn>
                <a:cxn ang="0">
                  <a:pos x="connsiteX6266" y="connsiteY6266"/>
                </a:cxn>
                <a:cxn ang="0">
                  <a:pos x="connsiteX6267" y="connsiteY6267"/>
                </a:cxn>
                <a:cxn ang="0">
                  <a:pos x="connsiteX6268" y="connsiteY6268"/>
                </a:cxn>
                <a:cxn ang="0">
                  <a:pos x="connsiteX6269" y="connsiteY6269"/>
                </a:cxn>
                <a:cxn ang="0">
                  <a:pos x="connsiteX6270" y="connsiteY6270"/>
                </a:cxn>
                <a:cxn ang="0">
                  <a:pos x="connsiteX6271" y="connsiteY6271"/>
                </a:cxn>
                <a:cxn ang="0">
                  <a:pos x="connsiteX6272" y="connsiteY6272"/>
                </a:cxn>
                <a:cxn ang="0">
                  <a:pos x="connsiteX6273" y="connsiteY6273"/>
                </a:cxn>
                <a:cxn ang="0">
                  <a:pos x="connsiteX6274" y="connsiteY6274"/>
                </a:cxn>
                <a:cxn ang="0">
                  <a:pos x="connsiteX6275" y="connsiteY6275"/>
                </a:cxn>
                <a:cxn ang="0">
                  <a:pos x="connsiteX6276" y="connsiteY6276"/>
                </a:cxn>
                <a:cxn ang="0">
                  <a:pos x="connsiteX6277" y="connsiteY6277"/>
                </a:cxn>
                <a:cxn ang="0">
                  <a:pos x="connsiteX6278" y="connsiteY6278"/>
                </a:cxn>
                <a:cxn ang="0">
                  <a:pos x="connsiteX6279" y="connsiteY6279"/>
                </a:cxn>
                <a:cxn ang="0">
                  <a:pos x="connsiteX6280" y="connsiteY6280"/>
                </a:cxn>
                <a:cxn ang="0">
                  <a:pos x="connsiteX6281" y="connsiteY6281"/>
                </a:cxn>
                <a:cxn ang="0">
                  <a:pos x="connsiteX6282" y="connsiteY6282"/>
                </a:cxn>
                <a:cxn ang="0">
                  <a:pos x="connsiteX6283" y="connsiteY6283"/>
                </a:cxn>
                <a:cxn ang="0">
                  <a:pos x="connsiteX6284" y="connsiteY6284"/>
                </a:cxn>
                <a:cxn ang="0">
                  <a:pos x="connsiteX6285" y="connsiteY6285"/>
                </a:cxn>
                <a:cxn ang="0">
                  <a:pos x="connsiteX6286" y="connsiteY6286"/>
                </a:cxn>
                <a:cxn ang="0">
                  <a:pos x="connsiteX6287" y="connsiteY6287"/>
                </a:cxn>
                <a:cxn ang="0">
                  <a:pos x="connsiteX6288" y="connsiteY6288"/>
                </a:cxn>
                <a:cxn ang="0">
                  <a:pos x="connsiteX6289" y="connsiteY6289"/>
                </a:cxn>
                <a:cxn ang="0">
                  <a:pos x="connsiteX6290" y="connsiteY6290"/>
                </a:cxn>
                <a:cxn ang="0">
                  <a:pos x="connsiteX6291" y="connsiteY6291"/>
                </a:cxn>
                <a:cxn ang="0">
                  <a:pos x="connsiteX6292" y="connsiteY6292"/>
                </a:cxn>
                <a:cxn ang="0">
                  <a:pos x="connsiteX6293" y="connsiteY6293"/>
                </a:cxn>
                <a:cxn ang="0">
                  <a:pos x="connsiteX6294" y="connsiteY6294"/>
                </a:cxn>
                <a:cxn ang="0">
                  <a:pos x="connsiteX6295" y="connsiteY6295"/>
                </a:cxn>
                <a:cxn ang="0">
                  <a:pos x="connsiteX6296" y="connsiteY6296"/>
                </a:cxn>
                <a:cxn ang="0">
                  <a:pos x="connsiteX6297" y="connsiteY6297"/>
                </a:cxn>
                <a:cxn ang="0">
                  <a:pos x="connsiteX6298" y="connsiteY6298"/>
                </a:cxn>
                <a:cxn ang="0">
                  <a:pos x="connsiteX6299" y="connsiteY6299"/>
                </a:cxn>
                <a:cxn ang="0">
                  <a:pos x="connsiteX6300" y="connsiteY6300"/>
                </a:cxn>
                <a:cxn ang="0">
                  <a:pos x="connsiteX6301" y="connsiteY6301"/>
                </a:cxn>
                <a:cxn ang="0">
                  <a:pos x="connsiteX6302" y="connsiteY6302"/>
                </a:cxn>
                <a:cxn ang="0">
                  <a:pos x="connsiteX6303" y="connsiteY6303"/>
                </a:cxn>
                <a:cxn ang="0">
                  <a:pos x="connsiteX6304" y="connsiteY6304"/>
                </a:cxn>
                <a:cxn ang="0">
                  <a:pos x="connsiteX6305" y="connsiteY6305"/>
                </a:cxn>
                <a:cxn ang="0">
                  <a:pos x="connsiteX6306" y="connsiteY6306"/>
                </a:cxn>
                <a:cxn ang="0">
                  <a:pos x="connsiteX6307" y="connsiteY6307"/>
                </a:cxn>
                <a:cxn ang="0">
                  <a:pos x="connsiteX6308" y="connsiteY6308"/>
                </a:cxn>
                <a:cxn ang="0">
                  <a:pos x="connsiteX6309" y="connsiteY6309"/>
                </a:cxn>
                <a:cxn ang="0">
                  <a:pos x="connsiteX6310" y="connsiteY6310"/>
                </a:cxn>
                <a:cxn ang="0">
                  <a:pos x="connsiteX6311" y="connsiteY6311"/>
                </a:cxn>
                <a:cxn ang="0">
                  <a:pos x="connsiteX6312" y="connsiteY6312"/>
                </a:cxn>
                <a:cxn ang="0">
                  <a:pos x="connsiteX6313" y="connsiteY6313"/>
                </a:cxn>
                <a:cxn ang="0">
                  <a:pos x="connsiteX6314" y="connsiteY6314"/>
                </a:cxn>
                <a:cxn ang="0">
                  <a:pos x="connsiteX6315" y="connsiteY6315"/>
                </a:cxn>
                <a:cxn ang="0">
                  <a:pos x="connsiteX6316" y="connsiteY6316"/>
                </a:cxn>
                <a:cxn ang="0">
                  <a:pos x="connsiteX6317" y="connsiteY6317"/>
                </a:cxn>
                <a:cxn ang="0">
                  <a:pos x="connsiteX6318" y="connsiteY6318"/>
                </a:cxn>
                <a:cxn ang="0">
                  <a:pos x="connsiteX6319" y="connsiteY6319"/>
                </a:cxn>
                <a:cxn ang="0">
                  <a:pos x="connsiteX6320" y="connsiteY6320"/>
                </a:cxn>
                <a:cxn ang="0">
                  <a:pos x="connsiteX6321" y="connsiteY6321"/>
                </a:cxn>
                <a:cxn ang="0">
                  <a:pos x="connsiteX6322" y="connsiteY6322"/>
                </a:cxn>
                <a:cxn ang="0">
                  <a:pos x="connsiteX6323" y="connsiteY6323"/>
                </a:cxn>
                <a:cxn ang="0">
                  <a:pos x="connsiteX6324" y="connsiteY6324"/>
                </a:cxn>
                <a:cxn ang="0">
                  <a:pos x="connsiteX6325" y="connsiteY6325"/>
                </a:cxn>
                <a:cxn ang="0">
                  <a:pos x="connsiteX6326" y="connsiteY6326"/>
                </a:cxn>
                <a:cxn ang="0">
                  <a:pos x="connsiteX6327" y="connsiteY6327"/>
                </a:cxn>
                <a:cxn ang="0">
                  <a:pos x="connsiteX6328" y="connsiteY6328"/>
                </a:cxn>
                <a:cxn ang="0">
                  <a:pos x="connsiteX6329" y="connsiteY6329"/>
                </a:cxn>
                <a:cxn ang="0">
                  <a:pos x="connsiteX6330" y="connsiteY6330"/>
                </a:cxn>
                <a:cxn ang="0">
                  <a:pos x="connsiteX6331" y="connsiteY6331"/>
                </a:cxn>
                <a:cxn ang="0">
                  <a:pos x="connsiteX6332" y="connsiteY6332"/>
                </a:cxn>
                <a:cxn ang="0">
                  <a:pos x="connsiteX6333" y="connsiteY6333"/>
                </a:cxn>
                <a:cxn ang="0">
                  <a:pos x="connsiteX6334" y="connsiteY6334"/>
                </a:cxn>
                <a:cxn ang="0">
                  <a:pos x="connsiteX6335" y="connsiteY6335"/>
                </a:cxn>
                <a:cxn ang="0">
                  <a:pos x="connsiteX6336" y="connsiteY6336"/>
                </a:cxn>
                <a:cxn ang="0">
                  <a:pos x="connsiteX6337" y="connsiteY6337"/>
                </a:cxn>
                <a:cxn ang="0">
                  <a:pos x="connsiteX6338" y="connsiteY6338"/>
                </a:cxn>
                <a:cxn ang="0">
                  <a:pos x="connsiteX6339" y="connsiteY6339"/>
                </a:cxn>
                <a:cxn ang="0">
                  <a:pos x="connsiteX6340" y="connsiteY6340"/>
                </a:cxn>
                <a:cxn ang="0">
                  <a:pos x="connsiteX6341" y="connsiteY6341"/>
                </a:cxn>
                <a:cxn ang="0">
                  <a:pos x="connsiteX6342" y="connsiteY6342"/>
                </a:cxn>
                <a:cxn ang="0">
                  <a:pos x="connsiteX6343" y="connsiteY6343"/>
                </a:cxn>
                <a:cxn ang="0">
                  <a:pos x="connsiteX6344" y="connsiteY6344"/>
                </a:cxn>
                <a:cxn ang="0">
                  <a:pos x="connsiteX6345" y="connsiteY6345"/>
                </a:cxn>
                <a:cxn ang="0">
                  <a:pos x="connsiteX6346" y="connsiteY6346"/>
                </a:cxn>
                <a:cxn ang="0">
                  <a:pos x="connsiteX6347" y="connsiteY6347"/>
                </a:cxn>
                <a:cxn ang="0">
                  <a:pos x="connsiteX6348" y="connsiteY6348"/>
                </a:cxn>
                <a:cxn ang="0">
                  <a:pos x="connsiteX6349" y="connsiteY6349"/>
                </a:cxn>
                <a:cxn ang="0">
                  <a:pos x="connsiteX6350" y="connsiteY6350"/>
                </a:cxn>
                <a:cxn ang="0">
                  <a:pos x="connsiteX6351" y="connsiteY6351"/>
                </a:cxn>
                <a:cxn ang="0">
                  <a:pos x="connsiteX6352" y="connsiteY6352"/>
                </a:cxn>
                <a:cxn ang="0">
                  <a:pos x="connsiteX6353" y="connsiteY6353"/>
                </a:cxn>
                <a:cxn ang="0">
                  <a:pos x="connsiteX6354" y="connsiteY6354"/>
                </a:cxn>
                <a:cxn ang="0">
                  <a:pos x="connsiteX6355" y="connsiteY6355"/>
                </a:cxn>
                <a:cxn ang="0">
                  <a:pos x="connsiteX6356" y="connsiteY6356"/>
                </a:cxn>
                <a:cxn ang="0">
                  <a:pos x="connsiteX6357" y="connsiteY6357"/>
                </a:cxn>
                <a:cxn ang="0">
                  <a:pos x="connsiteX6358" y="connsiteY6358"/>
                </a:cxn>
                <a:cxn ang="0">
                  <a:pos x="connsiteX6359" y="connsiteY6359"/>
                </a:cxn>
                <a:cxn ang="0">
                  <a:pos x="connsiteX6360" y="connsiteY6360"/>
                </a:cxn>
                <a:cxn ang="0">
                  <a:pos x="connsiteX6361" y="connsiteY6361"/>
                </a:cxn>
                <a:cxn ang="0">
                  <a:pos x="connsiteX6362" y="connsiteY6362"/>
                </a:cxn>
                <a:cxn ang="0">
                  <a:pos x="connsiteX6363" y="connsiteY6363"/>
                </a:cxn>
                <a:cxn ang="0">
                  <a:pos x="connsiteX6364" y="connsiteY6364"/>
                </a:cxn>
                <a:cxn ang="0">
                  <a:pos x="connsiteX6365" y="connsiteY6365"/>
                </a:cxn>
                <a:cxn ang="0">
                  <a:pos x="connsiteX6366" y="connsiteY6366"/>
                </a:cxn>
                <a:cxn ang="0">
                  <a:pos x="connsiteX6367" y="connsiteY6367"/>
                </a:cxn>
                <a:cxn ang="0">
                  <a:pos x="connsiteX6368" y="connsiteY6368"/>
                </a:cxn>
                <a:cxn ang="0">
                  <a:pos x="connsiteX6369" y="connsiteY6369"/>
                </a:cxn>
                <a:cxn ang="0">
                  <a:pos x="connsiteX6370" y="connsiteY6370"/>
                </a:cxn>
                <a:cxn ang="0">
                  <a:pos x="connsiteX6371" y="connsiteY6371"/>
                </a:cxn>
                <a:cxn ang="0">
                  <a:pos x="connsiteX6372" y="connsiteY6372"/>
                </a:cxn>
                <a:cxn ang="0">
                  <a:pos x="connsiteX6373" y="connsiteY6373"/>
                </a:cxn>
                <a:cxn ang="0">
                  <a:pos x="connsiteX6374" y="connsiteY6374"/>
                </a:cxn>
                <a:cxn ang="0">
                  <a:pos x="connsiteX6375" y="connsiteY6375"/>
                </a:cxn>
                <a:cxn ang="0">
                  <a:pos x="connsiteX6376" y="connsiteY6376"/>
                </a:cxn>
                <a:cxn ang="0">
                  <a:pos x="connsiteX6377" y="connsiteY6377"/>
                </a:cxn>
                <a:cxn ang="0">
                  <a:pos x="connsiteX6378" y="connsiteY6378"/>
                </a:cxn>
                <a:cxn ang="0">
                  <a:pos x="connsiteX6379" y="connsiteY6379"/>
                </a:cxn>
                <a:cxn ang="0">
                  <a:pos x="connsiteX6380" y="connsiteY6380"/>
                </a:cxn>
                <a:cxn ang="0">
                  <a:pos x="connsiteX6381" y="connsiteY6381"/>
                </a:cxn>
                <a:cxn ang="0">
                  <a:pos x="connsiteX6382" y="connsiteY6382"/>
                </a:cxn>
                <a:cxn ang="0">
                  <a:pos x="connsiteX6383" y="connsiteY6383"/>
                </a:cxn>
                <a:cxn ang="0">
                  <a:pos x="connsiteX6384" y="connsiteY6384"/>
                </a:cxn>
                <a:cxn ang="0">
                  <a:pos x="connsiteX6385" y="connsiteY6385"/>
                </a:cxn>
                <a:cxn ang="0">
                  <a:pos x="connsiteX6386" y="connsiteY6386"/>
                </a:cxn>
                <a:cxn ang="0">
                  <a:pos x="connsiteX6387" y="connsiteY6387"/>
                </a:cxn>
                <a:cxn ang="0">
                  <a:pos x="connsiteX6388" y="connsiteY6388"/>
                </a:cxn>
                <a:cxn ang="0">
                  <a:pos x="connsiteX6389" y="connsiteY6389"/>
                </a:cxn>
                <a:cxn ang="0">
                  <a:pos x="connsiteX6390" y="connsiteY6390"/>
                </a:cxn>
                <a:cxn ang="0">
                  <a:pos x="connsiteX6391" y="connsiteY6391"/>
                </a:cxn>
                <a:cxn ang="0">
                  <a:pos x="connsiteX6392" y="connsiteY6392"/>
                </a:cxn>
                <a:cxn ang="0">
                  <a:pos x="connsiteX6393" y="connsiteY6393"/>
                </a:cxn>
                <a:cxn ang="0">
                  <a:pos x="connsiteX6394" y="connsiteY6394"/>
                </a:cxn>
                <a:cxn ang="0">
                  <a:pos x="connsiteX6395" y="connsiteY6395"/>
                </a:cxn>
                <a:cxn ang="0">
                  <a:pos x="connsiteX6396" y="connsiteY6396"/>
                </a:cxn>
                <a:cxn ang="0">
                  <a:pos x="connsiteX6397" y="connsiteY6397"/>
                </a:cxn>
                <a:cxn ang="0">
                  <a:pos x="connsiteX6398" y="connsiteY6398"/>
                </a:cxn>
                <a:cxn ang="0">
                  <a:pos x="connsiteX6399" y="connsiteY6399"/>
                </a:cxn>
                <a:cxn ang="0">
                  <a:pos x="connsiteX6400" y="connsiteY6400"/>
                </a:cxn>
                <a:cxn ang="0">
                  <a:pos x="connsiteX6401" y="connsiteY6401"/>
                </a:cxn>
                <a:cxn ang="0">
                  <a:pos x="connsiteX6402" y="connsiteY6402"/>
                </a:cxn>
                <a:cxn ang="0">
                  <a:pos x="connsiteX6403" y="connsiteY6403"/>
                </a:cxn>
                <a:cxn ang="0">
                  <a:pos x="connsiteX6404" y="connsiteY6404"/>
                </a:cxn>
                <a:cxn ang="0">
                  <a:pos x="connsiteX6405" y="connsiteY6405"/>
                </a:cxn>
                <a:cxn ang="0">
                  <a:pos x="connsiteX6406" y="connsiteY6406"/>
                </a:cxn>
                <a:cxn ang="0">
                  <a:pos x="connsiteX6407" y="connsiteY6407"/>
                </a:cxn>
                <a:cxn ang="0">
                  <a:pos x="connsiteX6408" y="connsiteY6408"/>
                </a:cxn>
                <a:cxn ang="0">
                  <a:pos x="connsiteX6409" y="connsiteY6409"/>
                </a:cxn>
                <a:cxn ang="0">
                  <a:pos x="connsiteX6410" y="connsiteY6410"/>
                </a:cxn>
                <a:cxn ang="0">
                  <a:pos x="connsiteX6411" y="connsiteY6411"/>
                </a:cxn>
                <a:cxn ang="0">
                  <a:pos x="connsiteX6412" y="connsiteY6412"/>
                </a:cxn>
                <a:cxn ang="0">
                  <a:pos x="connsiteX6413" y="connsiteY6413"/>
                </a:cxn>
                <a:cxn ang="0">
                  <a:pos x="connsiteX6414" y="connsiteY6414"/>
                </a:cxn>
                <a:cxn ang="0">
                  <a:pos x="connsiteX6415" y="connsiteY6415"/>
                </a:cxn>
                <a:cxn ang="0">
                  <a:pos x="connsiteX6416" y="connsiteY6416"/>
                </a:cxn>
                <a:cxn ang="0">
                  <a:pos x="connsiteX6417" y="connsiteY6417"/>
                </a:cxn>
                <a:cxn ang="0">
                  <a:pos x="connsiteX6418" y="connsiteY6418"/>
                </a:cxn>
                <a:cxn ang="0">
                  <a:pos x="connsiteX6419" y="connsiteY6419"/>
                </a:cxn>
                <a:cxn ang="0">
                  <a:pos x="connsiteX6420" y="connsiteY6420"/>
                </a:cxn>
                <a:cxn ang="0">
                  <a:pos x="connsiteX6421" y="connsiteY6421"/>
                </a:cxn>
                <a:cxn ang="0">
                  <a:pos x="connsiteX6422" y="connsiteY6422"/>
                </a:cxn>
                <a:cxn ang="0">
                  <a:pos x="connsiteX6423" y="connsiteY6423"/>
                </a:cxn>
                <a:cxn ang="0">
                  <a:pos x="connsiteX6424" y="connsiteY6424"/>
                </a:cxn>
                <a:cxn ang="0">
                  <a:pos x="connsiteX6425" y="connsiteY6425"/>
                </a:cxn>
                <a:cxn ang="0">
                  <a:pos x="connsiteX6426" y="connsiteY6426"/>
                </a:cxn>
                <a:cxn ang="0">
                  <a:pos x="connsiteX6427" y="connsiteY6427"/>
                </a:cxn>
                <a:cxn ang="0">
                  <a:pos x="connsiteX6428" y="connsiteY6428"/>
                </a:cxn>
                <a:cxn ang="0">
                  <a:pos x="connsiteX6429" y="connsiteY6429"/>
                </a:cxn>
                <a:cxn ang="0">
                  <a:pos x="connsiteX6430" y="connsiteY6430"/>
                </a:cxn>
                <a:cxn ang="0">
                  <a:pos x="connsiteX6431" y="connsiteY6431"/>
                </a:cxn>
                <a:cxn ang="0">
                  <a:pos x="connsiteX6432" y="connsiteY6432"/>
                </a:cxn>
                <a:cxn ang="0">
                  <a:pos x="connsiteX6433" y="connsiteY6433"/>
                </a:cxn>
                <a:cxn ang="0">
                  <a:pos x="connsiteX6434" y="connsiteY6434"/>
                </a:cxn>
                <a:cxn ang="0">
                  <a:pos x="connsiteX6435" y="connsiteY6435"/>
                </a:cxn>
                <a:cxn ang="0">
                  <a:pos x="connsiteX6436" y="connsiteY6436"/>
                </a:cxn>
                <a:cxn ang="0">
                  <a:pos x="connsiteX6437" y="connsiteY6437"/>
                </a:cxn>
                <a:cxn ang="0">
                  <a:pos x="connsiteX6438" y="connsiteY6438"/>
                </a:cxn>
                <a:cxn ang="0">
                  <a:pos x="connsiteX6439" y="connsiteY6439"/>
                </a:cxn>
                <a:cxn ang="0">
                  <a:pos x="connsiteX6440" y="connsiteY6440"/>
                </a:cxn>
                <a:cxn ang="0">
                  <a:pos x="connsiteX6441" y="connsiteY6441"/>
                </a:cxn>
                <a:cxn ang="0">
                  <a:pos x="connsiteX6442" y="connsiteY6442"/>
                </a:cxn>
                <a:cxn ang="0">
                  <a:pos x="connsiteX6443" y="connsiteY6443"/>
                </a:cxn>
                <a:cxn ang="0">
                  <a:pos x="connsiteX6444" y="connsiteY6444"/>
                </a:cxn>
                <a:cxn ang="0">
                  <a:pos x="connsiteX6445" y="connsiteY6445"/>
                </a:cxn>
                <a:cxn ang="0">
                  <a:pos x="connsiteX6446" y="connsiteY6446"/>
                </a:cxn>
                <a:cxn ang="0">
                  <a:pos x="connsiteX6447" y="connsiteY6447"/>
                </a:cxn>
                <a:cxn ang="0">
                  <a:pos x="connsiteX6448" y="connsiteY6448"/>
                </a:cxn>
                <a:cxn ang="0">
                  <a:pos x="connsiteX6449" y="connsiteY6449"/>
                </a:cxn>
                <a:cxn ang="0">
                  <a:pos x="connsiteX6450" y="connsiteY6450"/>
                </a:cxn>
                <a:cxn ang="0">
                  <a:pos x="connsiteX6451" y="connsiteY6451"/>
                </a:cxn>
                <a:cxn ang="0">
                  <a:pos x="connsiteX6452" y="connsiteY6452"/>
                </a:cxn>
                <a:cxn ang="0">
                  <a:pos x="connsiteX6453" y="connsiteY6453"/>
                </a:cxn>
                <a:cxn ang="0">
                  <a:pos x="connsiteX6454" y="connsiteY6454"/>
                </a:cxn>
                <a:cxn ang="0">
                  <a:pos x="connsiteX6455" y="connsiteY6455"/>
                </a:cxn>
                <a:cxn ang="0">
                  <a:pos x="connsiteX6456" y="connsiteY6456"/>
                </a:cxn>
                <a:cxn ang="0">
                  <a:pos x="connsiteX6457" y="connsiteY6457"/>
                </a:cxn>
                <a:cxn ang="0">
                  <a:pos x="connsiteX6458" y="connsiteY6458"/>
                </a:cxn>
                <a:cxn ang="0">
                  <a:pos x="connsiteX6459" y="connsiteY6459"/>
                </a:cxn>
                <a:cxn ang="0">
                  <a:pos x="connsiteX6460" y="connsiteY6460"/>
                </a:cxn>
                <a:cxn ang="0">
                  <a:pos x="connsiteX6461" y="connsiteY6461"/>
                </a:cxn>
                <a:cxn ang="0">
                  <a:pos x="connsiteX6462" y="connsiteY6462"/>
                </a:cxn>
                <a:cxn ang="0">
                  <a:pos x="connsiteX6463" y="connsiteY6463"/>
                </a:cxn>
                <a:cxn ang="0">
                  <a:pos x="connsiteX6464" y="connsiteY6464"/>
                </a:cxn>
                <a:cxn ang="0">
                  <a:pos x="connsiteX6465" y="connsiteY6465"/>
                </a:cxn>
                <a:cxn ang="0">
                  <a:pos x="connsiteX6466" y="connsiteY6466"/>
                </a:cxn>
                <a:cxn ang="0">
                  <a:pos x="connsiteX6467" y="connsiteY6467"/>
                </a:cxn>
                <a:cxn ang="0">
                  <a:pos x="connsiteX6468" y="connsiteY6468"/>
                </a:cxn>
                <a:cxn ang="0">
                  <a:pos x="connsiteX6469" y="connsiteY6469"/>
                </a:cxn>
                <a:cxn ang="0">
                  <a:pos x="connsiteX6470" y="connsiteY6470"/>
                </a:cxn>
                <a:cxn ang="0">
                  <a:pos x="connsiteX6471" y="connsiteY6471"/>
                </a:cxn>
                <a:cxn ang="0">
                  <a:pos x="connsiteX6472" y="connsiteY6472"/>
                </a:cxn>
                <a:cxn ang="0">
                  <a:pos x="connsiteX6473" y="connsiteY6473"/>
                </a:cxn>
                <a:cxn ang="0">
                  <a:pos x="connsiteX6474" y="connsiteY6474"/>
                </a:cxn>
                <a:cxn ang="0">
                  <a:pos x="connsiteX6475" y="connsiteY6475"/>
                </a:cxn>
                <a:cxn ang="0">
                  <a:pos x="connsiteX6476" y="connsiteY6476"/>
                </a:cxn>
                <a:cxn ang="0">
                  <a:pos x="connsiteX6477" y="connsiteY6477"/>
                </a:cxn>
                <a:cxn ang="0">
                  <a:pos x="connsiteX6478" y="connsiteY6478"/>
                </a:cxn>
                <a:cxn ang="0">
                  <a:pos x="connsiteX6479" y="connsiteY6479"/>
                </a:cxn>
                <a:cxn ang="0">
                  <a:pos x="connsiteX6480" y="connsiteY6480"/>
                </a:cxn>
                <a:cxn ang="0">
                  <a:pos x="connsiteX6481" y="connsiteY6481"/>
                </a:cxn>
                <a:cxn ang="0">
                  <a:pos x="connsiteX6482" y="connsiteY6482"/>
                </a:cxn>
                <a:cxn ang="0">
                  <a:pos x="connsiteX6483" y="connsiteY6483"/>
                </a:cxn>
                <a:cxn ang="0">
                  <a:pos x="connsiteX6484" y="connsiteY6484"/>
                </a:cxn>
                <a:cxn ang="0">
                  <a:pos x="connsiteX6485" y="connsiteY6485"/>
                </a:cxn>
                <a:cxn ang="0">
                  <a:pos x="connsiteX6486" y="connsiteY6486"/>
                </a:cxn>
                <a:cxn ang="0">
                  <a:pos x="connsiteX6487" y="connsiteY6487"/>
                </a:cxn>
                <a:cxn ang="0">
                  <a:pos x="connsiteX6488" y="connsiteY6488"/>
                </a:cxn>
                <a:cxn ang="0">
                  <a:pos x="connsiteX6489" y="connsiteY6489"/>
                </a:cxn>
                <a:cxn ang="0">
                  <a:pos x="connsiteX6490" y="connsiteY6490"/>
                </a:cxn>
                <a:cxn ang="0">
                  <a:pos x="connsiteX6491" y="connsiteY6491"/>
                </a:cxn>
                <a:cxn ang="0">
                  <a:pos x="connsiteX6492" y="connsiteY6492"/>
                </a:cxn>
                <a:cxn ang="0">
                  <a:pos x="connsiteX6493" y="connsiteY6493"/>
                </a:cxn>
                <a:cxn ang="0">
                  <a:pos x="connsiteX6494" y="connsiteY6494"/>
                </a:cxn>
                <a:cxn ang="0">
                  <a:pos x="connsiteX6495" y="connsiteY6495"/>
                </a:cxn>
                <a:cxn ang="0">
                  <a:pos x="connsiteX6496" y="connsiteY6496"/>
                </a:cxn>
                <a:cxn ang="0">
                  <a:pos x="connsiteX6497" y="connsiteY6497"/>
                </a:cxn>
                <a:cxn ang="0">
                  <a:pos x="connsiteX6498" y="connsiteY6498"/>
                </a:cxn>
                <a:cxn ang="0">
                  <a:pos x="connsiteX6499" y="connsiteY6499"/>
                </a:cxn>
                <a:cxn ang="0">
                  <a:pos x="connsiteX6500" y="connsiteY6500"/>
                </a:cxn>
                <a:cxn ang="0">
                  <a:pos x="connsiteX6501" y="connsiteY6501"/>
                </a:cxn>
                <a:cxn ang="0">
                  <a:pos x="connsiteX6502" y="connsiteY6502"/>
                </a:cxn>
                <a:cxn ang="0">
                  <a:pos x="connsiteX6503" y="connsiteY6503"/>
                </a:cxn>
                <a:cxn ang="0">
                  <a:pos x="connsiteX6504" y="connsiteY6504"/>
                </a:cxn>
                <a:cxn ang="0">
                  <a:pos x="connsiteX6505" y="connsiteY6505"/>
                </a:cxn>
                <a:cxn ang="0">
                  <a:pos x="connsiteX6506" y="connsiteY6506"/>
                </a:cxn>
                <a:cxn ang="0">
                  <a:pos x="connsiteX6507" y="connsiteY6507"/>
                </a:cxn>
                <a:cxn ang="0">
                  <a:pos x="connsiteX6508" y="connsiteY6508"/>
                </a:cxn>
                <a:cxn ang="0">
                  <a:pos x="connsiteX6509" y="connsiteY6509"/>
                </a:cxn>
                <a:cxn ang="0">
                  <a:pos x="connsiteX6510" y="connsiteY6510"/>
                </a:cxn>
                <a:cxn ang="0">
                  <a:pos x="connsiteX6511" y="connsiteY6511"/>
                </a:cxn>
                <a:cxn ang="0">
                  <a:pos x="connsiteX6512" y="connsiteY6512"/>
                </a:cxn>
                <a:cxn ang="0">
                  <a:pos x="connsiteX6513" y="connsiteY6513"/>
                </a:cxn>
                <a:cxn ang="0">
                  <a:pos x="connsiteX6514" y="connsiteY6514"/>
                </a:cxn>
                <a:cxn ang="0">
                  <a:pos x="connsiteX6515" y="connsiteY6515"/>
                </a:cxn>
                <a:cxn ang="0">
                  <a:pos x="connsiteX6516" y="connsiteY6516"/>
                </a:cxn>
                <a:cxn ang="0">
                  <a:pos x="connsiteX6517" y="connsiteY6517"/>
                </a:cxn>
                <a:cxn ang="0">
                  <a:pos x="connsiteX6518" y="connsiteY6518"/>
                </a:cxn>
                <a:cxn ang="0">
                  <a:pos x="connsiteX6519" y="connsiteY6519"/>
                </a:cxn>
                <a:cxn ang="0">
                  <a:pos x="connsiteX6520" y="connsiteY6520"/>
                </a:cxn>
                <a:cxn ang="0">
                  <a:pos x="connsiteX6521" y="connsiteY6521"/>
                </a:cxn>
                <a:cxn ang="0">
                  <a:pos x="connsiteX6522" y="connsiteY6522"/>
                </a:cxn>
                <a:cxn ang="0">
                  <a:pos x="connsiteX6523" y="connsiteY6523"/>
                </a:cxn>
                <a:cxn ang="0">
                  <a:pos x="connsiteX6524" y="connsiteY6524"/>
                </a:cxn>
                <a:cxn ang="0">
                  <a:pos x="connsiteX6525" y="connsiteY6525"/>
                </a:cxn>
                <a:cxn ang="0">
                  <a:pos x="connsiteX6526" y="connsiteY6526"/>
                </a:cxn>
                <a:cxn ang="0">
                  <a:pos x="connsiteX6527" y="connsiteY6527"/>
                </a:cxn>
                <a:cxn ang="0">
                  <a:pos x="connsiteX6528" y="connsiteY6528"/>
                </a:cxn>
                <a:cxn ang="0">
                  <a:pos x="connsiteX6529" y="connsiteY6529"/>
                </a:cxn>
                <a:cxn ang="0">
                  <a:pos x="connsiteX6530" y="connsiteY6530"/>
                </a:cxn>
                <a:cxn ang="0">
                  <a:pos x="connsiteX6531" y="connsiteY6531"/>
                </a:cxn>
                <a:cxn ang="0">
                  <a:pos x="connsiteX6532" y="connsiteY6532"/>
                </a:cxn>
                <a:cxn ang="0">
                  <a:pos x="connsiteX6533" y="connsiteY6533"/>
                </a:cxn>
                <a:cxn ang="0">
                  <a:pos x="connsiteX6534" y="connsiteY6534"/>
                </a:cxn>
                <a:cxn ang="0">
                  <a:pos x="connsiteX6535" y="connsiteY6535"/>
                </a:cxn>
                <a:cxn ang="0">
                  <a:pos x="connsiteX6536" y="connsiteY6536"/>
                </a:cxn>
                <a:cxn ang="0">
                  <a:pos x="connsiteX6537" y="connsiteY6537"/>
                </a:cxn>
                <a:cxn ang="0">
                  <a:pos x="connsiteX6538" y="connsiteY6538"/>
                </a:cxn>
                <a:cxn ang="0">
                  <a:pos x="connsiteX6539" y="connsiteY6539"/>
                </a:cxn>
                <a:cxn ang="0">
                  <a:pos x="connsiteX6540" y="connsiteY6540"/>
                </a:cxn>
                <a:cxn ang="0">
                  <a:pos x="connsiteX6541" y="connsiteY6541"/>
                </a:cxn>
                <a:cxn ang="0">
                  <a:pos x="connsiteX6542" y="connsiteY6542"/>
                </a:cxn>
                <a:cxn ang="0">
                  <a:pos x="connsiteX6543" y="connsiteY6543"/>
                </a:cxn>
                <a:cxn ang="0">
                  <a:pos x="connsiteX6544" y="connsiteY6544"/>
                </a:cxn>
                <a:cxn ang="0">
                  <a:pos x="connsiteX6545" y="connsiteY6545"/>
                </a:cxn>
                <a:cxn ang="0">
                  <a:pos x="connsiteX6546" y="connsiteY6546"/>
                </a:cxn>
                <a:cxn ang="0">
                  <a:pos x="connsiteX6547" y="connsiteY6547"/>
                </a:cxn>
                <a:cxn ang="0">
                  <a:pos x="connsiteX6548" y="connsiteY6548"/>
                </a:cxn>
                <a:cxn ang="0">
                  <a:pos x="connsiteX6549" y="connsiteY6549"/>
                </a:cxn>
                <a:cxn ang="0">
                  <a:pos x="connsiteX6550" y="connsiteY6550"/>
                </a:cxn>
                <a:cxn ang="0">
                  <a:pos x="connsiteX6551" y="connsiteY6551"/>
                </a:cxn>
                <a:cxn ang="0">
                  <a:pos x="connsiteX6552" y="connsiteY6552"/>
                </a:cxn>
                <a:cxn ang="0">
                  <a:pos x="connsiteX6553" y="connsiteY6553"/>
                </a:cxn>
                <a:cxn ang="0">
                  <a:pos x="connsiteX6554" y="connsiteY6554"/>
                </a:cxn>
                <a:cxn ang="0">
                  <a:pos x="connsiteX6555" y="connsiteY6555"/>
                </a:cxn>
                <a:cxn ang="0">
                  <a:pos x="connsiteX6556" y="connsiteY6556"/>
                </a:cxn>
                <a:cxn ang="0">
                  <a:pos x="connsiteX6557" y="connsiteY6557"/>
                </a:cxn>
                <a:cxn ang="0">
                  <a:pos x="connsiteX6558" y="connsiteY6558"/>
                </a:cxn>
                <a:cxn ang="0">
                  <a:pos x="connsiteX6559" y="connsiteY6559"/>
                </a:cxn>
                <a:cxn ang="0">
                  <a:pos x="connsiteX6560" y="connsiteY6560"/>
                </a:cxn>
                <a:cxn ang="0">
                  <a:pos x="connsiteX6561" y="connsiteY6561"/>
                </a:cxn>
                <a:cxn ang="0">
                  <a:pos x="connsiteX6562" y="connsiteY6562"/>
                </a:cxn>
                <a:cxn ang="0">
                  <a:pos x="connsiteX6563" y="connsiteY6563"/>
                </a:cxn>
                <a:cxn ang="0">
                  <a:pos x="connsiteX6564" y="connsiteY6564"/>
                </a:cxn>
                <a:cxn ang="0">
                  <a:pos x="connsiteX6565" y="connsiteY6565"/>
                </a:cxn>
                <a:cxn ang="0">
                  <a:pos x="connsiteX6566" y="connsiteY6566"/>
                </a:cxn>
                <a:cxn ang="0">
                  <a:pos x="connsiteX6567" y="connsiteY6567"/>
                </a:cxn>
                <a:cxn ang="0">
                  <a:pos x="connsiteX6568" y="connsiteY6568"/>
                </a:cxn>
                <a:cxn ang="0">
                  <a:pos x="connsiteX6569" y="connsiteY6569"/>
                </a:cxn>
                <a:cxn ang="0">
                  <a:pos x="connsiteX6570" y="connsiteY6570"/>
                </a:cxn>
                <a:cxn ang="0">
                  <a:pos x="connsiteX6571" y="connsiteY6571"/>
                </a:cxn>
                <a:cxn ang="0">
                  <a:pos x="connsiteX6572" y="connsiteY6572"/>
                </a:cxn>
                <a:cxn ang="0">
                  <a:pos x="connsiteX6573" y="connsiteY6573"/>
                </a:cxn>
                <a:cxn ang="0">
                  <a:pos x="connsiteX6574" y="connsiteY6574"/>
                </a:cxn>
                <a:cxn ang="0">
                  <a:pos x="connsiteX6575" y="connsiteY6575"/>
                </a:cxn>
                <a:cxn ang="0">
                  <a:pos x="connsiteX6576" y="connsiteY6576"/>
                </a:cxn>
                <a:cxn ang="0">
                  <a:pos x="connsiteX6577" y="connsiteY6577"/>
                </a:cxn>
                <a:cxn ang="0">
                  <a:pos x="connsiteX6578" y="connsiteY6578"/>
                </a:cxn>
                <a:cxn ang="0">
                  <a:pos x="connsiteX6579" y="connsiteY6579"/>
                </a:cxn>
                <a:cxn ang="0">
                  <a:pos x="connsiteX6580" y="connsiteY6580"/>
                </a:cxn>
                <a:cxn ang="0">
                  <a:pos x="connsiteX6581" y="connsiteY6581"/>
                </a:cxn>
                <a:cxn ang="0">
                  <a:pos x="connsiteX6582" y="connsiteY6582"/>
                </a:cxn>
                <a:cxn ang="0">
                  <a:pos x="connsiteX6583" y="connsiteY6583"/>
                </a:cxn>
                <a:cxn ang="0">
                  <a:pos x="connsiteX6584" y="connsiteY6584"/>
                </a:cxn>
                <a:cxn ang="0">
                  <a:pos x="connsiteX6585" y="connsiteY6585"/>
                </a:cxn>
                <a:cxn ang="0">
                  <a:pos x="connsiteX6586" y="connsiteY6586"/>
                </a:cxn>
                <a:cxn ang="0">
                  <a:pos x="connsiteX6587" y="connsiteY6587"/>
                </a:cxn>
                <a:cxn ang="0">
                  <a:pos x="connsiteX6588" y="connsiteY6588"/>
                </a:cxn>
                <a:cxn ang="0">
                  <a:pos x="connsiteX6589" y="connsiteY6589"/>
                </a:cxn>
                <a:cxn ang="0">
                  <a:pos x="connsiteX6590" y="connsiteY6590"/>
                </a:cxn>
                <a:cxn ang="0">
                  <a:pos x="connsiteX6591" y="connsiteY6591"/>
                </a:cxn>
                <a:cxn ang="0">
                  <a:pos x="connsiteX6592" y="connsiteY6592"/>
                </a:cxn>
                <a:cxn ang="0">
                  <a:pos x="connsiteX6593" y="connsiteY6593"/>
                </a:cxn>
                <a:cxn ang="0">
                  <a:pos x="connsiteX6594" y="connsiteY6594"/>
                </a:cxn>
                <a:cxn ang="0">
                  <a:pos x="connsiteX6595" y="connsiteY6595"/>
                </a:cxn>
                <a:cxn ang="0">
                  <a:pos x="connsiteX6596" y="connsiteY6596"/>
                </a:cxn>
                <a:cxn ang="0">
                  <a:pos x="connsiteX6597" y="connsiteY6597"/>
                </a:cxn>
                <a:cxn ang="0">
                  <a:pos x="connsiteX6598" y="connsiteY6598"/>
                </a:cxn>
                <a:cxn ang="0">
                  <a:pos x="connsiteX6599" y="connsiteY6599"/>
                </a:cxn>
                <a:cxn ang="0">
                  <a:pos x="connsiteX6600" y="connsiteY6600"/>
                </a:cxn>
                <a:cxn ang="0">
                  <a:pos x="connsiteX6601" y="connsiteY6601"/>
                </a:cxn>
                <a:cxn ang="0">
                  <a:pos x="connsiteX6602" y="connsiteY6602"/>
                </a:cxn>
                <a:cxn ang="0">
                  <a:pos x="connsiteX6603" y="connsiteY6603"/>
                </a:cxn>
                <a:cxn ang="0">
                  <a:pos x="connsiteX6604" y="connsiteY6604"/>
                </a:cxn>
                <a:cxn ang="0">
                  <a:pos x="connsiteX6605" y="connsiteY6605"/>
                </a:cxn>
                <a:cxn ang="0">
                  <a:pos x="connsiteX6606" y="connsiteY6606"/>
                </a:cxn>
                <a:cxn ang="0">
                  <a:pos x="connsiteX6607" y="connsiteY6607"/>
                </a:cxn>
                <a:cxn ang="0">
                  <a:pos x="connsiteX6608" y="connsiteY6608"/>
                </a:cxn>
                <a:cxn ang="0">
                  <a:pos x="connsiteX6609" y="connsiteY6609"/>
                </a:cxn>
                <a:cxn ang="0">
                  <a:pos x="connsiteX6610" y="connsiteY6610"/>
                </a:cxn>
                <a:cxn ang="0">
                  <a:pos x="connsiteX6611" y="connsiteY6611"/>
                </a:cxn>
                <a:cxn ang="0">
                  <a:pos x="connsiteX6612" y="connsiteY6612"/>
                </a:cxn>
                <a:cxn ang="0">
                  <a:pos x="connsiteX6613" y="connsiteY6613"/>
                </a:cxn>
                <a:cxn ang="0">
                  <a:pos x="connsiteX6614" y="connsiteY6614"/>
                </a:cxn>
                <a:cxn ang="0">
                  <a:pos x="connsiteX6615" y="connsiteY6615"/>
                </a:cxn>
                <a:cxn ang="0">
                  <a:pos x="connsiteX6616" y="connsiteY6616"/>
                </a:cxn>
                <a:cxn ang="0">
                  <a:pos x="connsiteX6617" y="connsiteY6617"/>
                </a:cxn>
                <a:cxn ang="0">
                  <a:pos x="connsiteX6618" y="connsiteY6618"/>
                </a:cxn>
                <a:cxn ang="0">
                  <a:pos x="connsiteX6619" y="connsiteY6619"/>
                </a:cxn>
                <a:cxn ang="0">
                  <a:pos x="connsiteX6620" y="connsiteY6620"/>
                </a:cxn>
                <a:cxn ang="0">
                  <a:pos x="connsiteX6621" y="connsiteY6621"/>
                </a:cxn>
                <a:cxn ang="0">
                  <a:pos x="connsiteX6622" y="connsiteY6622"/>
                </a:cxn>
                <a:cxn ang="0">
                  <a:pos x="connsiteX6623" y="connsiteY6623"/>
                </a:cxn>
                <a:cxn ang="0">
                  <a:pos x="connsiteX6624" y="connsiteY6624"/>
                </a:cxn>
                <a:cxn ang="0">
                  <a:pos x="connsiteX6625" y="connsiteY6625"/>
                </a:cxn>
                <a:cxn ang="0">
                  <a:pos x="connsiteX6626" y="connsiteY6626"/>
                </a:cxn>
                <a:cxn ang="0">
                  <a:pos x="connsiteX6627" y="connsiteY6627"/>
                </a:cxn>
                <a:cxn ang="0">
                  <a:pos x="connsiteX6628" y="connsiteY6628"/>
                </a:cxn>
                <a:cxn ang="0">
                  <a:pos x="connsiteX6629" y="connsiteY6629"/>
                </a:cxn>
                <a:cxn ang="0">
                  <a:pos x="connsiteX6630" y="connsiteY6630"/>
                </a:cxn>
                <a:cxn ang="0">
                  <a:pos x="connsiteX6631" y="connsiteY6631"/>
                </a:cxn>
                <a:cxn ang="0">
                  <a:pos x="connsiteX6632" y="connsiteY6632"/>
                </a:cxn>
                <a:cxn ang="0">
                  <a:pos x="connsiteX6633" y="connsiteY6633"/>
                </a:cxn>
                <a:cxn ang="0">
                  <a:pos x="connsiteX6634" y="connsiteY6634"/>
                </a:cxn>
                <a:cxn ang="0">
                  <a:pos x="connsiteX6635" y="connsiteY6635"/>
                </a:cxn>
                <a:cxn ang="0">
                  <a:pos x="connsiteX6636" y="connsiteY6636"/>
                </a:cxn>
                <a:cxn ang="0">
                  <a:pos x="connsiteX6637" y="connsiteY6637"/>
                </a:cxn>
                <a:cxn ang="0">
                  <a:pos x="connsiteX6638" y="connsiteY6638"/>
                </a:cxn>
                <a:cxn ang="0">
                  <a:pos x="connsiteX6639" y="connsiteY6639"/>
                </a:cxn>
                <a:cxn ang="0">
                  <a:pos x="connsiteX6640" y="connsiteY6640"/>
                </a:cxn>
                <a:cxn ang="0">
                  <a:pos x="connsiteX6641" y="connsiteY6641"/>
                </a:cxn>
                <a:cxn ang="0">
                  <a:pos x="connsiteX6642" y="connsiteY6642"/>
                </a:cxn>
                <a:cxn ang="0">
                  <a:pos x="connsiteX6643" y="connsiteY6643"/>
                </a:cxn>
                <a:cxn ang="0">
                  <a:pos x="connsiteX6644" y="connsiteY6644"/>
                </a:cxn>
                <a:cxn ang="0">
                  <a:pos x="connsiteX6645" y="connsiteY6645"/>
                </a:cxn>
                <a:cxn ang="0">
                  <a:pos x="connsiteX6646" y="connsiteY6646"/>
                </a:cxn>
                <a:cxn ang="0">
                  <a:pos x="connsiteX6647" y="connsiteY6647"/>
                </a:cxn>
                <a:cxn ang="0">
                  <a:pos x="connsiteX6648" y="connsiteY6648"/>
                </a:cxn>
                <a:cxn ang="0">
                  <a:pos x="connsiteX6649" y="connsiteY6649"/>
                </a:cxn>
                <a:cxn ang="0">
                  <a:pos x="connsiteX6650" y="connsiteY6650"/>
                </a:cxn>
                <a:cxn ang="0">
                  <a:pos x="connsiteX6651" y="connsiteY6651"/>
                </a:cxn>
                <a:cxn ang="0">
                  <a:pos x="connsiteX6652" y="connsiteY6652"/>
                </a:cxn>
                <a:cxn ang="0">
                  <a:pos x="connsiteX6653" y="connsiteY6653"/>
                </a:cxn>
                <a:cxn ang="0">
                  <a:pos x="connsiteX6654" y="connsiteY6654"/>
                </a:cxn>
                <a:cxn ang="0">
                  <a:pos x="connsiteX6655" y="connsiteY6655"/>
                </a:cxn>
                <a:cxn ang="0">
                  <a:pos x="connsiteX6656" y="connsiteY6656"/>
                </a:cxn>
                <a:cxn ang="0">
                  <a:pos x="connsiteX6657" y="connsiteY6657"/>
                </a:cxn>
                <a:cxn ang="0">
                  <a:pos x="connsiteX6658" y="connsiteY6658"/>
                </a:cxn>
                <a:cxn ang="0">
                  <a:pos x="connsiteX6659" y="connsiteY6659"/>
                </a:cxn>
                <a:cxn ang="0">
                  <a:pos x="connsiteX6660" y="connsiteY6660"/>
                </a:cxn>
                <a:cxn ang="0">
                  <a:pos x="connsiteX6661" y="connsiteY6661"/>
                </a:cxn>
                <a:cxn ang="0">
                  <a:pos x="connsiteX6662" y="connsiteY6662"/>
                </a:cxn>
                <a:cxn ang="0">
                  <a:pos x="connsiteX6663" y="connsiteY6663"/>
                </a:cxn>
                <a:cxn ang="0">
                  <a:pos x="connsiteX6664" y="connsiteY6664"/>
                </a:cxn>
                <a:cxn ang="0">
                  <a:pos x="connsiteX6665" y="connsiteY6665"/>
                </a:cxn>
                <a:cxn ang="0">
                  <a:pos x="connsiteX6666" y="connsiteY6666"/>
                </a:cxn>
                <a:cxn ang="0">
                  <a:pos x="connsiteX6667" y="connsiteY6667"/>
                </a:cxn>
                <a:cxn ang="0">
                  <a:pos x="connsiteX6668" y="connsiteY6668"/>
                </a:cxn>
                <a:cxn ang="0">
                  <a:pos x="connsiteX6669" y="connsiteY6669"/>
                </a:cxn>
                <a:cxn ang="0">
                  <a:pos x="connsiteX6670" y="connsiteY6670"/>
                </a:cxn>
                <a:cxn ang="0">
                  <a:pos x="connsiteX6671" y="connsiteY6671"/>
                </a:cxn>
                <a:cxn ang="0">
                  <a:pos x="connsiteX6672" y="connsiteY6672"/>
                </a:cxn>
                <a:cxn ang="0">
                  <a:pos x="connsiteX6673" y="connsiteY6673"/>
                </a:cxn>
                <a:cxn ang="0">
                  <a:pos x="connsiteX6674" y="connsiteY6674"/>
                </a:cxn>
                <a:cxn ang="0">
                  <a:pos x="connsiteX6675" y="connsiteY6675"/>
                </a:cxn>
                <a:cxn ang="0">
                  <a:pos x="connsiteX6676" y="connsiteY6676"/>
                </a:cxn>
                <a:cxn ang="0">
                  <a:pos x="connsiteX6677" y="connsiteY6677"/>
                </a:cxn>
                <a:cxn ang="0">
                  <a:pos x="connsiteX6678" y="connsiteY6678"/>
                </a:cxn>
                <a:cxn ang="0">
                  <a:pos x="connsiteX6679" y="connsiteY6679"/>
                </a:cxn>
                <a:cxn ang="0">
                  <a:pos x="connsiteX6680" y="connsiteY6680"/>
                </a:cxn>
                <a:cxn ang="0">
                  <a:pos x="connsiteX6681" y="connsiteY6681"/>
                </a:cxn>
                <a:cxn ang="0">
                  <a:pos x="connsiteX6682" y="connsiteY6682"/>
                </a:cxn>
                <a:cxn ang="0">
                  <a:pos x="connsiteX6683" y="connsiteY6683"/>
                </a:cxn>
                <a:cxn ang="0">
                  <a:pos x="connsiteX6684" y="connsiteY6684"/>
                </a:cxn>
                <a:cxn ang="0">
                  <a:pos x="connsiteX6685" y="connsiteY6685"/>
                </a:cxn>
                <a:cxn ang="0">
                  <a:pos x="connsiteX6686" y="connsiteY6686"/>
                </a:cxn>
                <a:cxn ang="0">
                  <a:pos x="connsiteX6687" y="connsiteY6687"/>
                </a:cxn>
                <a:cxn ang="0">
                  <a:pos x="connsiteX6688" y="connsiteY6688"/>
                </a:cxn>
                <a:cxn ang="0">
                  <a:pos x="connsiteX6689" y="connsiteY6689"/>
                </a:cxn>
                <a:cxn ang="0">
                  <a:pos x="connsiteX6690" y="connsiteY6690"/>
                </a:cxn>
                <a:cxn ang="0">
                  <a:pos x="connsiteX6691" y="connsiteY6691"/>
                </a:cxn>
                <a:cxn ang="0">
                  <a:pos x="connsiteX6692" y="connsiteY6692"/>
                </a:cxn>
                <a:cxn ang="0">
                  <a:pos x="connsiteX6693" y="connsiteY6693"/>
                </a:cxn>
                <a:cxn ang="0">
                  <a:pos x="connsiteX6694" y="connsiteY6694"/>
                </a:cxn>
                <a:cxn ang="0">
                  <a:pos x="connsiteX6695" y="connsiteY6695"/>
                </a:cxn>
                <a:cxn ang="0">
                  <a:pos x="connsiteX6696" y="connsiteY6696"/>
                </a:cxn>
                <a:cxn ang="0">
                  <a:pos x="connsiteX6697" y="connsiteY6697"/>
                </a:cxn>
                <a:cxn ang="0">
                  <a:pos x="connsiteX6698" y="connsiteY6698"/>
                </a:cxn>
                <a:cxn ang="0">
                  <a:pos x="connsiteX6699" y="connsiteY6699"/>
                </a:cxn>
                <a:cxn ang="0">
                  <a:pos x="connsiteX6700" y="connsiteY6700"/>
                </a:cxn>
                <a:cxn ang="0">
                  <a:pos x="connsiteX6701" y="connsiteY6701"/>
                </a:cxn>
                <a:cxn ang="0">
                  <a:pos x="connsiteX6702" y="connsiteY6702"/>
                </a:cxn>
                <a:cxn ang="0">
                  <a:pos x="connsiteX6703" y="connsiteY6703"/>
                </a:cxn>
                <a:cxn ang="0">
                  <a:pos x="connsiteX6704" y="connsiteY6704"/>
                </a:cxn>
                <a:cxn ang="0">
                  <a:pos x="connsiteX6705" y="connsiteY6705"/>
                </a:cxn>
                <a:cxn ang="0">
                  <a:pos x="connsiteX6706" y="connsiteY6706"/>
                </a:cxn>
                <a:cxn ang="0">
                  <a:pos x="connsiteX6707" y="connsiteY6707"/>
                </a:cxn>
                <a:cxn ang="0">
                  <a:pos x="connsiteX6708" y="connsiteY6708"/>
                </a:cxn>
                <a:cxn ang="0">
                  <a:pos x="connsiteX6709" y="connsiteY6709"/>
                </a:cxn>
                <a:cxn ang="0">
                  <a:pos x="connsiteX6710" y="connsiteY6710"/>
                </a:cxn>
                <a:cxn ang="0">
                  <a:pos x="connsiteX6711" y="connsiteY6711"/>
                </a:cxn>
                <a:cxn ang="0">
                  <a:pos x="connsiteX6712" y="connsiteY6712"/>
                </a:cxn>
                <a:cxn ang="0">
                  <a:pos x="connsiteX6713" y="connsiteY6713"/>
                </a:cxn>
                <a:cxn ang="0">
                  <a:pos x="connsiteX6714" y="connsiteY6714"/>
                </a:cxn>
                <a:cxn ang="0">
                  <a:pos x="connsiteX6715" y="connsiteY6715"/>
                </a:cxn>
                <a:cxn ang="0">
                  <a:pos x="connsiteX6716" y="connsiteY6716"/>
                </a:cxn>
                <a:cxn ang="0">
                  <a:pos x="connsiteX6717" y="connsiteY6717"/>
                </a:cxn>
                <a:cxn ang="0">
                  <a:pos x="connsiteX6718" y="connsiteY6718"/>
                </a:cxn>
                <a:cxn ang="0">
                  <a:pos x="connsiteX6719" y="connsiteY6719"/>
                </a:cxn>
                <a:cxn ang="0">
                  <a:pos x="connsiteX6720" y="connsiteY6720"/>
                </a:cxn>
                <a:cxn ang="0">
                  <a:pos x="connsiteX6721" y="connsiteY6721"/>
                </a:cxn>
                <a:cxn ang="0">
                  <a:pos x="connsiteX6722" y="connsiteY6722"/>
                </a:cxn>
                <a:cxn ang="0">
                  <a:pos x="connsiteX6723" y="connsiteY6723"/>
                </a:cxn>
                <a:cxn ang="0">
                  <a:pos x="connsiteX6724" y="connsiteY6724"/>
                </a:cxn>
                <a:cxn ang="0">
                  <a:pos x="connsiteX6725" y="connsiteY6725"/>
                </a:cxn>
                <a:cxn ang="0">
                  <a:pos x="connsiteX6726" y="connsiteY6726"/>
                </a:cxn>
                <a:cxn ang="0">
                  <a:pos x="connsiteX6727" y="connsiteY6727"/>
                </a:cxn>
                <a:cxn ang="0">
                  <a:pos x="connsiteX6728" y="connsiteY6728"/>
                </a:cxn>
                <a:cxn ang="0">
                  <a:pos x="connsiteX6729" y="connsiteY6729"/>
                </a:cxn>
                <a:cxn ang="0">
                  <a:pos x="connsiteX6730" y="connsiteY6730"/>
                </a:cxn>
                <a:cxn ang="0">
                  <a:pos x="connsiteX6731" y="connsiteY6731"/>
                </a:cxn>
                <a:cxn ang="0">
                  <a:pos x="connsiteX6732" y="connsiteY6732"/>
                </a:cxn>
                <a:cxn ang="0">
                  <a:pos x="connsiteX6733" y="connsiteY6733"/>
                </a:cxn>
                <a:cxn ang="0">
                  <a:pos x="connsiteX6734" y="connsiteY6734"/>
                </a:cxn>
                <a:cxn ang="0">
                  <a:pos x="connsiteX6735" y="connsiteY6735"/>
                </a:cxn>
                <a:cxn ang="0">
                  <a:pos x="connsiteX6736" y="connsiteY6736"/>
                </a:cxn>
                <a:cxn ang="0">
                  <a:pos x="connsiteX6737" y="connsiteY6737"/>
                </a:cxn>
                <a:cxn ang="0">
                  <a:pos x="connsiteX6738" y="connsiteY6738"/>
                </a:cxn>
                <a:cxn ang="0">
                  <a:pos x="connsiteX6739" y="connsiteY6739"/>
                </a:cxn>
                <a:cxn ang="0">
                  <a:pos x="connsiteX6740" y="connsiteY6740"/>
                </a:cxn>
                <a:cxn ang="0">
                  <a:pos x="connsiteX6741" y="connsiteY6741"/>
                </a:cxn>
                <a:cxn ang="0">
                  <a:pos x="connsiteX6742" y="connsiteY6742"/>
                </a:cxn>
                <a:cxn ang="0">
                  <a:pos x="connsiteX6743" y="connsiteY6743"/>
                </a:cxn>
                <a:cxn ang="0">
                  <a:pos x="connsiteX6744" y="connsiteY6744"/>
                </a:cxn>
                <a:cxn ang="0">
                  <a:pos x="connsiteX6745" y="connsiteY6745"/>
                </a:cxn>
                <a:cxn ang="0">
                  <a:pos x="connsiteX6746" y="connsiteY6746"/>
                </a:cxn>
                <a:cxn ang="0">
                  <a:pos x="connsiteX6747" y="connsiteY6747"/>
                </a:cxn>
                <a:cxn ang="0">
                  <a:pos x="connsiteX6748" y="connsiteY6748"/>
                </a:cxn>
                <a:cxn ang="0">
                  <a:pos x="connsiteX6749" y="connsiteY6749"/>
                </a:cxn>
                <a:cxn ang="0">
                  <a:pos x="connsiteX6750" y="connsiteY6750"/>
                </a:cxn>
                <a:cxn ang="0">
                  <a:pos x="connsiteX6751" y="connsiteY6751"/>
                </a:cxn>
                <a:cxn ang="0">
                  <a:pos x="connsiteX6752" y="connsiteY6752"/>
                </a:cxn>
                <a:cxn ang="0">
                  <a:pos x="connsiteX6753" y="connsiteY6753"/>
                </a:cxn>
                <a:cxn ang="0">
                  <a:pos x="connsiteX6754" y="connsiteY6754"/>
                </a:cxn>
                <a:cxn ang="0">
                  <a:pos x="connsiteX6755" y="connsiteY6755"/>
                </a:cxn>
                <a:cxn ang="0">
                  <a:pos x="connsiteX6756" y="connsiteY6756"/>
                </a:cxn>
                <a:cxn ang="0">
                  <a:pos x="connsiteX6757" y="connsiteY6757"/>
                </a:cxn>
                <a:cxn ang="0">
                  <a:pos x="connsiteX6758" y="connsiteY6758"/>
                </a:cxn>
                <a:cxn ang="0">
                  <a:pos x="connsiteX6759" y="connsiteY6759"/>
                </a:cxn>
                <a:cxn ang="0">
                  <a:pos x="connsiteX6760" y="connsiteY6760"/>
                </a:cxn>
                <a:cxn ang="0">
                  <a:pos x="connsiteX6761" y="connsiteY6761"/>
                </a:cxn>
                <a:cxn ang="0">
                  <a:pos x="connsiteX6762" y="connsiteY6762"/>
                </a:cxn>
                <a:cxn ang="0">
                  <a:pos x="connsiteX6763" y="connsiteY6763"/>
                </a:cxn>
                <a:cxn ang="0">
                  <a:pos x="connsiteX6764" y="connsiteY6764"/>
                </a:cxn>
                <a:cxn ang="0">
                  <a:pos x="connsiteX6765" y="connsiteY6765"/>
                </a:cxn>
                <a:cxn ang="0">
                  <a:pos x="connsiteX6766" y="connsiteY6766"/>
                </a:cxn>
                <a:cxn ang="0">
                  <a:pos x="connsiteX6767" y="connsiteY6767"/>
                </a:cxn>
                <a:cxn ang="0">
                  <a:pos x="connsiteX6768" y="connsiteY6768"/>
                </a:cxn>
                <a:cxn ang="0">
                  <a:pos x="connsiteX6769" y="connsiteY6769"/>
                </a:cxn>
                <a:cxn ang="0">
                  <a:pos x="connsiteX6770" y="connsiteY6770"/>
                </a:cxn>
                <a:cxn ang="0">
                  <a:pos x="connsiteX6771" y="connsiteY6771"/>
                </a:cxn>
                <a:cxn ang="0">
                  <a:pos x="connsiteX6772" y="connsiteY6772"/>
                </a:cxn>
                <a:cxn ang="0">
                  <a:pos x="connsiteX6773" y="connsiteY6773"/>
                </a:cxn>
                <a:cxn ang="0">
                  <a:pos x="connsiteX6774" y="connsiteY6774"/>
                </a:cxn>
                <a:cxn ang="0">
                  <a:pos x="connsiteX6775" y="connsiteY6775"/>
                </a:cxn>
                <a:cxn ang="0">
                  <a:pos x="connsiteX6776" y="connsiteY6776"/>
                </a:cxn>
                <a:cxn ang="0">
                  <a:pos x="connsiteX6777" y="connsiteY6777"/>
                </a:cxn>
                <a:cxn ang="0">
                  <a:pos x="connsiteX6778" y="connsiteY6778"/>
                </a:cxn>
                <a:cxn ang="0">
                  <a:pos x="connsiteX6779" y="connsiteY6779"/>
                </a:cxn>
                <a:cxn ang="0">
                  <a:pos x="connsiteX6780" y="connsiteY6780"/>
                </a:cxn>
                <a:cxn ang="0">
                  <a:pos x="connsiteX6781" y="connsiteY6781"/>
                </a:cxn>
                <a:cxn ang="0">
                  <a:pos x="connsiteX6782" y="connsiteY6782"/>
                </a:cxn>
                <a:cxn ang="0">
                  <a:pos x="connsiteX6783" y="connsiteY6783"/>
                </a:cxn>
                <a:cxn ang="0">
                  <a:pos x="connsiteX6784" y="connsiteY6784"/>
                </a:cxn>
                <a:cxn ang="0">
                  <a:pos x="connsiteX6785" y="connsiteY6785"/>
                </a:cxn>
                <a:cxn ang="0">
                  <a:pos x="connsiteX6786" y="connsiteY6786"/>
                </a:cxn>
                <a:cxn ang="0">
                  <a:pos x="connsiteX6787" y="connsiteY6787"/>
                </a:cxn>
                <a:cxn ang="0">
                  <a:pos x="connsiteX6788" y="connsiteY6788"/>
                </a:cxn>
                <a:cxn ang="0">
                  <a:pos x="connsiteX6789" y="connsiteY6789"/>
                </a:cxn>
                <a:cxn ang="0">
                  <a:pos x="connsiteX6790" y="connsiteY6790"/>
                </a:cxn>
                <a:cxn ang="0">
                  <a:pos x="connsiteX6791" y="connsiteY6791"/>
                </a:cxn>
                <a:cxn ang="0">
                  <a:pos x="connsiteX6792" y="connsiteY6792"/>
                </a:cxn>
                <a:cxn ang="0">
                  <a:pos x="connsiteX6793" y="connsiteY6793"/>
                </a:cxn>
                <a:cxn ang="0">
                  <a:pos x="connsiteX6794" y="connsiteY6794"/>
                </a:cxn>
                <a:cxn ang="0">
                  <a:pos x="connsiteX6795" y="connsiteY6795"/>
                </a:cxn>
                <a:cxn ang="0">
                  <a:pos x="connsiteX6796" y="connsiteY6796"/>
                </a:cxn>
                <a:cxn ang="0">
                  <a:pos x="connsiteX6797" y="connsiteY6797"/>
                </a:cxn>
                <a:cxn ang="0">
                  <a:pos x="connsiteX6798" y="connsiteY6798"/>
                </a:cxn>
                <a:cxn ang="0">
                  <a:pos x="connsiteX6799" y="connsiteY6799"/>
                </a:cxn>
                <a:cxn ang="0">
                  <a:pos x="connsiteX6800" y="connsiteY6800"/>
                </a:cxn>
                <a:cxn ang="0">
                  <a:pos x="connsiteX6801" y="connsiteY6801"/>
                </a:cxn>
                <a:cxn ang="0">
                  <a:pos x="connsiteX6802" y="connsiteY6802"/>
                </a:cxn>
                <a:cxn ang="0">
                  <a:pos x="connsiteX6803" y="connsiteY6803"/>
                </a:cxn>
                <a:cxn ang="0">
                  <a:pos x="connsiteX6804" y="connsiteY6804"/>
                </a:cxn>
                <a:cxn ang="0">
                  <a:pos x="connsiteX6805" y="connsiteY6805"/>
                </a:cxn>
                <a:cxn ang="0">
                  <a:pos x="connsiteX6806" y="connsiteY6806"/>
                </a:cxn>
                <a:cxn ang="0">
                  <a:pos x="connsiteX6807" y="connsiteY6807"/>
                </a:cxn>
                <a:cxn ang="0">
                  <a:pos x="connsiteX6808" y="connsiteY6808"/>
                </a:cxn>
                <a:cxn ang="0">
                  <a:pos x="connsiteX6809" y="connsiteY6809"/>
                </a:cxn>
                <a:cxn ang="0">
                  <a:pos x="connsiteX6810" y="connsiteY6810"/>
                </a:cxn>
                <a:cxn ang="0">
                  <a:pos x="connsiteX6811" y="connsiteY6811"/>
                </a:cxn>
                <a:cxn ang="0">
                  <a:pos x="connsiteX6812" y="connsiteY6812"/>
                </a:cxn>
                <a:cxn ang="0">
                  <a:pos x="connsiteX6813" y="connsiteY6813"/>
                </a:cxn>
                <a:cxn ang="0">
                  <a:pos x="connsiteX6814" y="connsiteY6814"/>
                </a:cxn>
                <a:cxn ang="0">
                  <a:pos x="connsiteX6815" y="connsiteY6815"/>
                </a:cxn>
                <a:cxn ang="0">
                  <a:pos x="connsiteX6816" y="connsiteY6816"/>
                </a:cxn>
                <a:cxn ang="0">
                  <a:pos x="connsiteX6817" y="connsiteY6817"/>
                </a:cxn>
                <a:cxn ang="0">
                  <a:pos x="connsiteX6818" y="connsiteY6818"/>
                </a:cxn>
                <a:cxn ang="0">
                  <a:pos x="connsiteX6819" y="connsiteY6819"/>
                </a:cxn>
                <a:cxn ang="0">
                  <a:pos x="connsiteX6820" y="connsiteY6820"/>
                </a:cxn>
                <a:cxn ang="0">
                  <a:pos x="connsiteX6821" y="connsiteY6821"/>
                </a:cxn>
                <a:cxn ang="0">
                  <a:pos x="connsiteX6822" y="connsiteY6822"/>
                </a:cxn>
                <a:cxn ang="0">
                  <a:pos x="connsiteX6823" y="connsiteY6823"/>
                </a:cxn>
                <a:cxn ang="0">
                  <a:pos x="connsiteX6824" y="connsiteY6824"/>
                </a:cxn>
                <a:cxn ang="0">
                  <a:pos x="connsiteX6825" y="connsiteY6825"/>
                </a:cxn>
                <a:cxn ang="0">
                  <a:pos x="connsiteX6826" y="connsiteY6826"/>
                </a:cxn>
                <a:cxn ang="0">
                  <a:pos x="connsiteX6827" y="connsiteY6827"/>
                </a:cxn>
                <a:cxn ang="0">
                  <a:pos x="connsiteX6828" y="connsiteY6828"/>
                </a:cxn>
                <a:cxn ang="0">
                  <a:pos x="connsiteX6829" y="connsiteY6829"/>
                </a:cxn>
                <a:cxn ang="0">
                  <a:pos x="connsiteX6830" y="connsiteY6830"/>
                </a:cxn>
                <a:cxn ang="0">
                  <a:pos x="connsiteX6831" y="connsiteY6831"/>
                </a:cxn>
                <a:cxn ang="0">
                  <a:pos x="connsiteX6832" y="connsiteY6832"/>
                </a:cxn>
                <a:cxn ang="0">
                  <a:pos x="connsiteX6833" y="connsiteY6833"/>
                </a:cxn>
                <a:cxn ang="0">
                  <a:pos x="connsiteX6834" y="connsiteY6834"/>
                </a:cxn>
                <a:cxn ang="0">
                  <a:pos x="connsiteX6835" y="connsiteY6835"/>
                </a:cxn>
                <a:cxn ang="0">
                  <a:pos x="connsiteX6836" y="connsiteY6836"/>
                </a:cxn>
                <a:cxn ang="0">
                  <a:pos x="connsiteX6837" y="connsiteY6837"/>
                </a:cxn>
                <a:cxn ang="0">
                  <a:pos x="connsiteX6838" y="connsiteY6838"/>
                </a:cxn>
                <a:cxn ang="0">
                  <a:pos x="connsiteX6839" y="connsiteY6839"/>
                </a:cxn>
                <a:cxn ang="0">
                  <a:pos x="connsiteX6840" y="connsiteY6840"/>
                </a:cxn>
                <a:cxn ang="0">
                  <a:pos x="connsiteX6841" y="connsiteY6841"/>
                </a:cxn>
                <a:cxn ang="0">
                  <a:pos x="connsiteX6842" y="connsiteY6842"/>
                </a:cxn>
                <a:cxn ang="0">
                  <a:pos x="connsiteX6843" y="connsiteY6843"/>
                </a:cxn>
                <a:cxn ang="0">
                  <a:pos x="connsiteX6844" y="connsiteY6844"/>
                </a:cxn>
                <a:cxn ang="0">
                  <a:pos x="connsiteX6845" y="connsiteY6845"/>
                </a:cxn>
                <a:cxn ang="0">
                  <a:pos x="connsiteX6846" y="connsiteY6846"/>
                </a:cxn>
                <a:cxn ang="0">
                  <a:pos x="connsiteX6847" y="connsiteY6847"/>
                </a:cxn>
                <a:cxn ang="0">
                  <a:pos x="connsiteX6848" y="connsiteY6848"/>
                </a:cxn>
                <a:cxn ang="0">
                  <a:pos x="connsiteX6849" y="connsiteY6849"/>
                </a:cxn>
                <a:cxn ang="0">
                  <a:pos x="connsiteX6850" y="connsiteY6850"/>
                </a:cxn>
                <a:cxn ang="0">
                  <a:pos x="connsiteX6851" y="connsiteY6851"/>
                </a:cxn>
                <a:cxn ang="0">
                  <a:pos x="connsiteX6852" y="connsiteY6852"/>
                </a:cxn>
                <a:cxn ang="0">
                  <a:pos x="connsiteX6853" y="connsiteY6853"/>
                </a:cxn>
                <a:cxn ang="0">
                  <a:pos x="connsiteX6854" y="connsiteY6854"/>
                </a:cxn>
                <a:cxn ang="0">
                  <a:pos x="connsiteX6855" y="connsiteY6855"/>
                </a:cxn>
                <a:cxn ang="0">
                  <a:pos x="connsiteX6856" y="connsiteY6856"/>
                </a:cxn>
                <a:cxn ang="0">
                  <a:pos x="connsiteX6857" y="connsiteY6857"/>
                </a:cxn>
                <a:cxn ang="0">
                  <a:pos x="connsiteX6858" y="connsiteY6858"/>
                </a:cxn>
                <a:cxn ang="0">
                  <a:pos x="connsiteX6859" y="connsiteY6859"/>
                </a:cxn>
                <a:cxn ang="0">
                  <a:pos x="connsiteX6860" y="connsiteY6860"/>
                </a:cxn>
                <a:cxn ang="0">
                  <a:pos x="connsiteX6861" y="connsiteY6861"/>
                </a:cxn>
                <a:cxn ang="0">
                  <a:pos x="connsiteX6862" y="connsiteY6862"/>
                </a:cxn>
                <a:cxn ang="0">
                  <a:pos x="connsiteX6863" y="connsiteY6863"/>
                </a:cxn>
                <a:cxn ang="0">
                  <a:pos x="connsiteX6864" y="connsiteY6864"/>
                </a:cxn>
                <a:cxn ang="0">
                  <a:pos x="connsiteX6865" y="connsiteY6865"/>
                </a:cxn>
                <a:cxn ang="0">
                  <a:pos x="connsiteX6866" y="connsiteY6866"/>
                </a:cxn>
                <a:cxn ang="0">
                  <a:pos x="connsiteX6867" y="connsiteY6867"/>
                </a:cxn>
                <a:cxn ang="0">
                  <a:pos x="connsiteX6868" y="connsiteY6868"/>
                </a:cxn>
                <a:cxn ang="0">
                  <a:pos x="connsiteX6869" y="connsiteY6869"/>
                </a:cxn>
                <a:cxn ang="0">
                  <a:pos x="connsiteX6870" y="connsiteY6870"/>
                </a:cxn>
                <a:cxn ang="0">
                  <a:pos x="connsiteX6871" y="connsiteY6871"/>
                </a:cxn>
                <a:cxn ang="0">
                  <a:pos x="connsiteX6872" y="connsiteY6872"/>
                </a:cxn>
                <a:cxn ang="0">
                  <a:pos x="connsiteX6873" y="connsiteY6873"/>
                </a:cxn>
                <a:cxn ang="0">
                  <a:pos x="connsiteX6874" y="connsiteY6874"/>
                </a:cxn>
                <a:cxn ang="0">
                  <a:pos x="connsiteX6875" y="connsiteY6875"/>
                </a:cxn>
                <a:cxn ang="0">
                  <a:pos x="connsiteX6876" y="connsiteY6876"/>
                </a:cxn>
                <a:cxn ang="0">
                  <a:pos x="connsiteX6877" y="connsiteY6877"/>
                </a:cxn>
                <a:cxn ang="0">
                  <a:pos x="connsiteX6878" y="connsiteY6878"/>
                </a:cxn>
                <a:cxn ang="0">
                  <a:pos x="connsiteX6879" y="connsiteY6879"/>
                </a:cxn>
                <a:cxn ang="0">
                  <a:pos x="connsiteX6880" y="connsiteY6880"/>
                </a:cxn>
                <a:cxn ang="0">
                  <a:pos x="connsiteX6881" y="connsiteY6881"/>
                </a:cxn>
                <a:cxn ang="0">
                  <a:pos x="connsiteX6882" y="connsiteY6882"/>
                </a:cxn>
                <a:cxn ang="0">
                  <a:pos x="connsiteX6883" y="connsiteY6883"/>
                </a:cxn>
                <a:cxn ang="0">
                  <a:pos x="connsiteX6884" y="connsiteY6884"/>
                </a:cxn>
                <a:cxn ang="0">
                  <a:pos x="connsiteX6885" y="connsiteY6885"/>
                </a:cxn>
                <a:cxn ang="0">
                  <a:pos x="connsiteX6886" y="connsiteY6886"/>
                </a:cxn>
                <a:cxn ang="0">
                  <a:pos x="connsiteX6887" y="connsiteY6887"/>
                </a:cxn>
                <a:cxn ang="0">
                  <a:pos x="connsiteX6888" y="connsiteY6888"/>
                </a:cxn>
                <a:cxn ang="0">
                  <a:pos x="connsiteX6889" y="connsiteY6889"/>
                </a:cxn>
                <a:cxn ang="0">
                  <a:pos x="connsiteX6890" y="connsiteY6890"/>
                </a:cxn>
                <a:cxn ang="0">
                  <a:pos x="connsiteX6891" y="connsiteY6891"/>
                </a:cxn>
                <a:cxn ang="0">
                  <a:pos x="connsiteX6892" y="connsiteY6892"/>
                </a:cxn>
                <a:cxn ang="0">
                  <a:pos x="connsiteX6893" y="connsiteY6893"/>
                </a:cxn>
                <a:cxn ang="0">
                  <a:pos x="connsiteX6894" y="connsiteY6894"/>
                </a:cxn>
                <a:cxn ang="0">
                  <a:pos x="connsiteX6895" y="connsiteY6895"/>
                </a:cxn>
                <a:cxn ang="0">
                  <a:pos x="connsiteX6896" y="connsiteY6896"/>
                </a:cxn>
                <a:cxn ang="0">
                  <a:pos x="connsiteX6897" y="connsiteY6897"/>
                </a:cxn>
                <a:cxn ang="0">
                  <a:pos x="connsiteX6898" y="connsiteY6898"/>
                </a:cxn>
                <a:cxn ang="0">
                  <a:pos x="connsiteX6899" y="connsiteY6899"/>
                </a:cxn>
                <a:cxn ang="0">
                  <a:pos x="connsiteX6900" y="connsiteY6900"/>
                </a:cxn>
                <a:cxn ang="0">
                  <a:pos x="connsiteX6901" y="connsiteY6901"/>
                </a:cxn>
                <a:cxn ang="0">
                  <a:pos x="connsiteX6902" y="connsiteY6902"/>
                </a:cxn>
                <a:cxn ang="0">
                  <a:pos x="connsiteX6903" y="connsiteY6903"/>
                </a:cxn>
                <a:cxn ang="0">
                  <a:pos x="connsiteX6904" y="connsiteY6904"/>
                </a:cxn>
                <a:cxn ang="0">
                  <a:pos x="connsiteX6905" y="connsiteY6905"/>
                </a:cxn>
                <a:cxn ang="0">
                  <a:pos x="connsiteX6906" y="connsiteY6906"/>
                </a:cxn>
                <a:cxn ang="0">
                  <a:pos x="connsiteX6907" y="connsiteY6907"/>
                </a:cxn>
                <a:cxn ang="0">
                  <a:pos x="connsiteX6908" y="connsiteY6908"/>
                </a:cxn>
                <a:cxn ang="0">
                  <a:pos x="connsiteX6909" y="connsiteY6909"/>
                </a:cxn>
                <a:cxn ang="0">
                  <a:pos x="connsiteX6910" y="connsiteY6910"/>
                </a:cxn>
                <a:cxn ang="0">
                  <a:pos x="connsiteX6911" y="connsiteY6911"/>
                </a:cxn>
                <a:cxn ang="0">
                  <a:pos x="connsiteX6912" y="connsiteY6912"/>
                </a:cxn>
                <a:cxn ang="0">
                  <a:pos x="connsiteX6913" y="connsiteY6913"/>
                </a:cxn>
                <a:cxn ang="0">
                  <a:pos x="connsiteX6914" y="connsiteY6914"/>
                </a:cxn>
                <a:cxn ang="0">
                  <a:pos x="connsiteX6915" y="connsiteY6915"/>
                </a:cxn>
                <a:cxn ang="0">
                  <a:pos x="connsiteX6916" y="connsiteY6916"/>
                </a:cxn>
                <a:cxn ang="0">
                  <a:pos x="connsiteX6917" y="connsiteY6917"/>
                </a:cxn>
                <a:cxn ang="0">
                  <a:pos x="connsiteX6918" y="connsiteY6918"/>
                </a:cxn>
                <a:cxn ang="0">
                  <a:pos x="connsiteX6919" y="connsiteY6919"/>
                </a:cxn>
                <a:cxn ang="0">
                  <a:pos x="connsiteX6920" y="connsiteY6920"/>
                </a:cxn>
                <a:cxn ang="0">
                  <a:pos x="connsiteX6921" y="connsiteY6921"/>
                </a:cxn>
                <a:cxn ang="0">
                  <a:pos x="connsiteX6922" y="connsiteY6922"/>
                </a:cxn>
                <a:cxn ang="0">
                  <a:pos x="connsiteX6923" y="connsiteY6923"/>
                </a:cxn>
                <a:cxn ang="0">
                  <a:pos x="connsiteX6924" y="connsiteY6924"/>
                </a:cxn>
                <a:cxn ang="0">
                  <a:pos x="connsiteX6925" y="connsiteY6925"/>
                </a:cxn>
                <a:cxn ang="0">
                  <a:pos x="connsiteX6926" y="connsiteY6926"/>
                </a:cxn>
                <a:cxn ang="0">
                  <a:pos x="connsiteX6927" y="connsiteY6927"/>
                </a:cxn>
                <a:cxn ang="0">
                  <a:pos x="connsiteX6928" y="connsiteY6928"/>
                </a:cxn>
                <a:cxn ang="0">
                  <a:pos x="connsiteX6929" y="connsiteY6929"/>
                </a:cxn>
                <a:cxn ang="0">
                  <a:pos x="connsiteX6930" y="connsiteY6930"/>
                </a:cxn>
                <a:cxn ang="0">
                  <a:pos x="connsiteX6931" y="connsiteY6931"/>
                </a:cxn>
                <a:cxn ang="0">
                  <a:pos x="connsiteX6932" y="connsiteY6932"/>
                </a:cxn>
                <a:cxn ang="0">
                  <a:pos x="connsiteX6933" y="connsiteY6933"/>
                </a:cxn>
                <a:cxn ang="0">
                  <a:pos x="connsiteX6934" y="connsiteY6934"/>
                </a:cxn>
                <a:cxn ang="0">
                  <a:pos x="connsiteX6935" y="connsiteY6935"/>
                </a:cxn>
                <a:cxn ang="0">
                  <a:pos x="connsiteX6936" y="connsiteY6936"/>
                </a:cxn>
                <a:cxn ang="0">
                  <a:pos x="connsiteX6937" y="connsiteY6937"/>
                </a:cxn>
                <a:cxn ang="0">
                  <a:pos x="connsiteX6938" y="connsiteY6938"/>
                </a:cxn>
                <a:cxn ang="0">
                  <a:pos x="connsiteX6939" y="connsiteY6939"/>
                </a:cxn>
                <a:cxn ang="0">
                  <a:pos x="connsiteX6940" y="connsiteY6940"/>
                </a:cxn>
                <a:cxn ang="0">
                  <a:pos x="connsiteX6941" y="connsiteY6941"/>
                </a:cxn>
                <a:cxn ang="0">
                  <a:pos x="connsiteX6942" y="connsiteY6942"/>
                </a:cxn>
                <a:cxn ang="0">
                  <a:pos x="connsiteX6943" y="connsiteY6943"/>
                </a:cxn>
                <a:cxn ang="0">
                  <a:pos x="connsiteX6944" y="connsiteY6944"/>
                </a:cxn>
                <a:cxn ang="0">
                  <a:pos x="connsiteX6945" y="connsiteY6945"/>
                </a:cxn>
                <a:cxn ang="0">
                  <a:pos x="connsiteX6946" y="connsiteY6946"/>
                </a:cxn>
                <a:cxn ang="0">
                  <a:pos x="connsiteX6947" y="connsiteY6947"/>
                </a:cxn>
                <a:cxn ang="0">
                  <a:pos x="connsiteX6948" y="connsiteY6948"/>
                </a:cxn>
                <a:cxn ang="0">
                  <a:pos x="connsiteX6949" y="connsiteY6949"/>
                </a:cxn>
                <a:cxn ang="0">
                  <a:pos x="connsiteX6950" y="connsiteY6950"/>
                </a:cxn>
                <a:cxn ang="0">
                  <a:pos x="connsiteX6951" y="connsiteY6951"/>
                </a:cxn>
                <a:cxn ang="0">
                  <a:pos x="connsiteX6952" y="connsiteY6952"/>
                </a:cxn>
                <a:cxn ang="0">
                  <a:pos x="connsiteX6953" y="connsiteY6953"/>
                </a:cxn>
                <a:cxn ang="0">
                  <a:pos x="connsiteX6954" y="connsiteY6954"/>
                </a:cxn>
                <a:cxn ang="0">
                  <a:pos x="connsiteX6955" y="connsiteY6955"/>
                </a:cxn>
                <a:cxn ang="0">
                  <a:pos x="connsiteX6956" y="connsiteY6956"/>
                </a:cxn>
                <a:cxn ang="0">
                  <a:pos x="connsiteX6957" y="connsiteY6957"/>
                </a:cxn>
                <a:cxn ang="0">
                  <a:pos x="connsiteX6958" y="connsiteY6958"/>
                </a:cxn>
                <a:cxn ang="0">
                  <a:pos x="connsiteX6959" y="connsiteY6959"/>
                </a:cxn>
                <a:cxn ang="0">
                  <a:pos x="connsiteX6960" y="connsiteY6960"/>
                </a:cxn>
                <a:cxn ang="0">
                  <a:pos x="connsiteX6961" y="connsiteY6961"/>
                </a:cxn>
                <a:cxn ang="0">
                  <a:pos x="connsiteX6962" y="connsiteY6962"/>
                </a:cxn>
                <a:cxn ang="0">
                  <a:pos x="connsiteX6963" y="connsiteY6963"/>
                </a:cxn>
                <a:cxn ang="0">
                  <a:pos x="connsiteX6964" y="connsiteY6964"/>
                </a:cxn>
                <a:cxn ang="0">
                  <a:pos x="connsiteX6965" y="connsiteY6965"/>
                </a:cxn>
                <a:cxn ang="0">
                  <a:pos x="connsiteX6966" y="connsiteY6966"/>
                </a:cxn>
                <a:cxn ang="0">
                  <a:pos x="connsiteX6967" y="connsiteY6967"/>
                </a:cxn>
                <a:cxn ang="0">
                  <a:pos x="connsiteX6968" y="connsiteY6968"/>
                </a:cxn>
                <a:cxn ang="0">
                  <a:pos x="connsiteX6969" y="connsiteY6969"/>
                </a:cxn>
                <a:cxn ang="0">
                  <a:pos x="connsiteX6970" y="connsiteY6970"/>
                </a:cxn>
                <a:cxn ang="0">
                  <a:pos x="connsiteX6971" y="connsiteY6971"/>
                </a:cxn>
                <a:cxn ang="0">
                  <a:pos x="connsiteX6972" y="connsiteY6972"/>
                </a:cxn>
                <a:cxn ang="0">
                  <a:pos x="connsiteX6973" y="connsiteY6973"/>
                </a:cxn>
                <a:cxn ang="0">
                  <a:pos x="connsiteX6974" y="connsiteY6974"/>
                </a:cxn>
                <a:cxn ang="0">
                  <a:pos x="connsiteX6975" y="connsiteY6975"/>
                </a:cxn>
                <a:cxn ang="0">
                  <a:pos x="connsiteX6976" y="connsiteY6976"/>
                </a:cxn>
                <a:cxn ang="0">
                  <a:pos x="connsiteX6977" y="connsiteY6977"/>
                </a:cxn>
                <a:cxn ang="0">
                  <a:pos x="connsiteX6978" y="connsiteY6978"/>
                </a:cxn>
                <a:cxn ang="0">
                  <a:pos x="connsiteX6979" y="connsiteY6979"/>
                </a:cxn>
                <a:cxn ang="0">
                  <a:pos x="connsiteX6980" y="connsiteY6980"/>
                </a:cxn>
                <a:cxn ang="0">
                  <a:pos x="connsiteX6981" y="connsiteY6981"/>
                </a:cxn>
                <a:cxn ang="0">
                  <a:pos x="connsiteX6982" y="connsiteY6982"/>
                </a:cxn>
                <a:cxn ang="0">
                  <a:pos x="connsiteX6983" y="connsiteY6983"/>
                </a:cxn>
                <a:cxn ang="0">
                  <a:pos x="connsiteX6984" y="connsiteY6984"/>
                </a:cxn>
                <a:cxn ang="0">
                  <a:pos x="connsiteX6985" y="connsiteY6985"/>
                </a:cxn>
                <a:cxn ang="0">
                  <a:pos x="connsiteX6986" y="connsiteY6986"/>
                </a:cxn>
                <a:cxn ang="0">
                  <a:pos x="connsiteX6987" y="connsiteY6987"/>
                </a:cxn>
                <a:cxn ang="0">
                  <a:pos x="connsiteX6988" y="connsiteY6988"/>
                </a:cxn>
                <a:cxn ang="0">
                  <a:pos x="connsiteX6989" y="connsiteY6989"/>
                </a:cxn>
                <a:cxn ang="0">
                  <a:pos x="connsiteX6990" y="connsiteY6990"/>
                </a:cxn>
                <a:cxn ang="0">
                  <a:pos x="connsiteX6991" y="connsiteY6991"/>
                </a:cxn>
                <a:cxn ang="0">
                  <a:pos x="connsiteX6992" y="connsiteY6992"/>
                </a:cxn>
                <a:cxn ang="0">
                  <a:pos x="connsiteX6993" y="connsiteY6993"/>
                </a:cxn>
                <a:cxn ang="0">
                  <a:pos x="connsiteX6994" y="connsiteY6994"/>
                </a:cxn>
                <a:cxn ang="0">
                  <a:pos x="connsiteX6995" y="connsiteY6995"/>
                </a:cxn>
                <a:cxn ang="0">
                  <a:pos x="connsiteX6996" y="connsiteY6996"/>
                </a:cxn>
                <a:cxn ang="0">
                  <a:pos x="connsiteX6997" y="connsiteY6997"/>
                </a:cxn>
                <a:cxn ang="0">
                  <a:pos x="connsiteX6998" y="connsiteY6998"/>
                </a:cxn>
                <a:cxn ang="0">
                  <a:pos x="connsiteX6999" y="connsiteY6999"/>
                </a:cxn>
                <a:cxn ang="0">
                  <a:pos x="connsiteX7000" y="connsiteY7000"/>
                </a:cxn>
                <a:cxn ang="0">
                  <a:pos x="connsiteX7001" y="connsiteY7001"/>
                </a:cxn>
                <a:cxn ang="0">
                  <a:pos x="connsiteX7002" y="connsiteY7002"/>
                </a:cxn>
                <a:cxn ang="0">
                  <a:pos x="connsiteX7003" y="connsiteY7003"/>
                </a:cxn>
                <a:cxn ang="0">
                  <a:pos x="connsiteX7004" y="connsiteY7004"/>
                </a:cxn>
                <a:cxn ang="0">
                  <a:pos x="connsiteX7005" y="connsiteY7005"/>
                </a:cxn>
                <a:cxn ang="0">
                  <a:pos x="connsiteX7006" y="connsiteY7006"/>
                </a:cxn>
                <a:cxn ang="0">
                  <a:pos x="connsiteX7007" y="connsiteY7007"/>
                </a:cxn>
                <a:cxn ang="0">
                  <a:pos x="connsiteX7008" y="connsiteY7008"/>
                </a:cxn>
                <a:cxn ang="0">
                  <a:pos x="connsiteX7009" y="connsiteY7009"/>
                </a:cxn>
                <a:cxn ang="0">
                  <a:pos x="connsiteX7010" y="connsiteY7010"/>
                </a:cxn>
                <a:cxn ang="0">
                  <a:pos x="connsiteX7011" y="connsiteY7011"/>
                </a:cxn>
                <a:cxn ang="0">
                  <a:pos x="connsiteX7012" y="connsiteY7012"/>
                </a:cxn>
                <a:cxn ang="0">
                  <a:pos x="connsiteX7013" y="connsiteY7013"/>
                </a:cxn>
                <a:cxn ang="0">
                  <a:pos x="connsiteX7014" y="connsiteY7014"/>
                </a:cxn>
                <a:cxn ang="0">
                  <a:pos x="connsiteX7015" y="connsiteY7015"/>
                </a:cxn>
                <a:cxn ang="0">
                  <a:pos x="connsiteX7016" y="connsiteY7016"/>
                </a:cxn>
                <a:cxn ang="0">
                  <a:pos x="connsiteX7017" y="connsiteY7017"/>
                </a:cxn>
                <a:cxn ang="0">
                  <a:pos x="connsiteX7018" y="connsiteY7018"/>
                </a:cxn>
                <a:cxn ang="0">
                  <a:pos x="connsiteX7019" y="connsiteY7019"/>
                </a:cxn>
                <a:cxn ang="0">
                  <a:pos x="connsiteX7020" y="connsiteY7020"/>
                </a:cxn>
                <a:cxn ang="0">
                  <a:pos x="connsiteX7021" y="connsiteY7021"/>
                </a:cxn>
                <a:cxn ang="0">
                  <a:pos x="connsiteX7022" y="connsiteY7022"/>
                </a:cxn>
                <a:cxn ang="0">
                  <a:pos x="connsiteX7023" y="connsiteY7023"/>
                </a:cxn>
                <a:cxn ang="0">
                  <a:pos x="connsiteX7024" y="connsiteY7024"/>
                </a:cxn>
                <a:cxn ang="0">
                  <a:pos x="connsiteX7025" y="connsiteY7025"/>
                </a:cxn>
                <a:cxn ang="0">
                  <a:pos x="connsiteX7026" y="connsiteY7026"/>
                </a:cxn>
                <a:cxn ang="0">
                  <a:pos x="connsiteX7027" y="connsiteY7027"/>
                </a:cxn>
                <a:cxn ang="0">
                  <a:pos x="connsiteX7028" y="connsiteY7028"/>
                </a:cxn>
                <a:cxn ang="0">
                  <a:pos x="connsiteX7029" y="connsiteY7029"/>
                </a:cxn>
                <a:cxn ang="0">
                  <a:pos x="connsiteX7030" y="connsiteY7030"/>
                </a:cxn>
                <a:cxn ang="0">
                  <a:pos x="connsiteX7031" y="connsiteY7031"/>
                </a:cxn>
                <a:cxn ang="0">
                  <a:pos x="connsiteX7032" y="connsiteY7032"/>
                </a:cxn>
                <a:cxn ang="0">
                  <a:pos x="connsiteX7033" y="connsiteY7033"/>
                </a:cxn>
                <a:cxn ang="0">
                  <a:pos x="connsiteX7034" y="connsiteY7034"/>
                </a:cxn>
                <a:cxn ang="0">
                  <a:pos x="connsiteX7035" y="connsiteY7035"/>
                </a:cxn>
                <a:cxn ang="0">
                  <a:pos x="connsiteX7036" y="connsiteY7036"/>
                </a:cxn>
                <a:cxn ang="0">
                  <a:pos x="connsiteX7037" y="connsiteY7037"/>
                </a:cxn>
                <a:cxn ang="0">
                  <a:pos x="connsiteX7038" y="connsiteY7038"/>
                </a:cxn>
                <a:cxn ang="0">
                  <a:pos x="connsiteX7039" y="connsiteY7039"/>
                </a:cxn>
                <a:cxn ang="0">
                  <a:pos x="connsiteX7040" y="connsiteY7040"/>
                </a:cxn>
                <a:cxn ang="0">
                  <a:pos x="connsiteX7041" y="connsiteY7041"/>
                </a:cxn>
                <a:cxn ang="0">
                  <a:pos x="connsiteX7042" y="connsiteY7042"/>
                </a:cxn>
                <a:cxn ang="0">
                  <a:pos x="connsiteX7043" y="connsiteY7043"/>
                </a:cxn>
                <a:cxn ang="0">
                  <a:pos x="connsiteX7044" y="connsiteY7044"/>
                </a:cxn>
                <a:cxn ang="0">
                  <a:pos x="connsiteX7045" y="connsiteY7045"/>
                </a:cxn>
                <a:cxn ang="0">
                  <a:pos x="connsiteX7046" y="connsiteY7046"/>
                </a:cxn>
                <a:cxn ang="0">
                  <a:pos x="connsiteX7047" y="connsiteY7047"/>
                </a:cxn>
                <a:cxn ang="0">
                  <a:pos x="connsiteX7048" y="connsiteY7048"/>
                </a:cxn>
                <a:cxn ang="0">
                  <a:pos x="connsiteX7049" y="connsiteY7049"/>
                </a:cxn>
                <a:cxn ang="0">
                  <a:pos x="connsiteX7050" y="connsiteY7050"/>
                </a:cxn>
                <a:cxn ang="0">
                  <a:pos x="connsiteX7051" y="connsiteY7051"/>
                </a:cxn>
                <a:cxn ang="0">
                  <a:pos x="connsiteX7052" y="connsiteY7052"/>
                </a:cxn>
                <a:cxn ang="0">
                  <a:pos x="connsiteX7053" y="connsiteY7053"/>
                </a:cxn>
                <a:cxn ang="0">
                  <a:pos x="connsiteX7054" y="connsiteY7054"/>
                </a:cxn>
                <a:cxn ang="0">
                  <a:pos x="connsiteX7055" y="connsiteY7055"/>
                </a:cxn>
                <a:cxn ang="0">
                  <a:pos x="connsiteX7056" y="connsiteY7056"/>
                </a:cxn>
                <a:cxn ang="0">
                  <a:pos x="connsiteX7057" y="connsiteY7057"/>
                </a:cxn>
                <a:cxn ang="0">
                  <a:pos x="connsiteX7058" y="connsiteY7058"/>
                </a:cxn>
                <a:cxn ang="0">
                  <a:pos x="connsiteX7059" y="connsiteY7059"/>
                </a:cxn>
                <a:cxn ang="0">
                  <a:pos x="connsiteX7060" y="connsiteY7060"/>
                </a:cxn>
                <a:cxn ang="0">
                  <a:pos x="connsiteX7061" y="connsiteY7061"/>
                </a:cxn>
                <a:cxn ang="0">
                  <a:pos x="connsiteX7062" y="connsiteY7062"/>
                </a:cxn>
                <a:cxn ang="0">
                  <a:pos x="connsiteX7063" y="connsiteY7063"/>
                </a:cxn>
                <a:cxn ang="0">
                  <a:pos x="connsiteX7064" y="connsiteY7064"/>
                </a:cxn>
                <a:cxn ang="0">
                  <a:pos x="connsiteX7065" y="connsiteY7065"/>
                </a:cxn>
                <a:cxn ang="0">
                  <a:pos x="connsiteX7066" y="connsiteY7066"/>
                </a:cxn>
                <a:cxn ang="0">
                  <a:pos x="connsiteX7067" y="connsiteY7067"/>
                </a:cxn>
                <a:cxn ang="0">
                  <a:pos x="connsiteX7068" y="connsiteY7068"/>
                </a:cxn>
                <a:cxn ang="0">
                  <a:pos x="connsiteX7069" y="connsiteY7069"/>
                </a:cxn>
                <a:cxn ang="0">
                  <a:pos x="connsiteX7070" y="connsiteY7070"/>
                </a:cxn>
                <a:cxn ang="0">
                  <a:pos x="connsiteX7071" y="connsiteY7071"/>
                </a:cxn>
                <a:cxn ang="0">
                  <a:pos x="connsiteX7072" y="connsiteY7072"/>
                </a:cxn>
                <a:cxn ang="0">
                  <a:pos x="connsiteX7073" y="connsiteY7073"/>
                </a:cxn>
                <a:cxn ang="0">
                  <a:pos x="connsiteX7074" y="connsiteY7074"/>
                </a:cxn>
                <a:cxn ang="0">
                  <a:pos x="connsiteX7075" y="connsiteY7075"/>
                </a:cxn>
                <a:cxn ang="0">
                  <a:pos x="connsiteX7076" y="connsiteY7076"/>
                </a:cxn>
                <a:cxn ang="0">
                  <a:pos x="connsiteX7077" y="connsiteY7077"/>
                </a:cxn>
                <a:cxn ang="0">
                  <a:pos x="connsiteX7078" y="connsiteY7078"/>
                </a:cxn>
                <a:cxn ang="0">
                  <a:pos x="connsiteX7079" y="connsiteY7079"/>
                </a:cxn>
                <a:cxn ang="0">
                  <a:pos x="connsiteX7080" y="connsiteY7080"/>
                </a:cxn>
                <a:cxn ang="0">
                  <a:pos x="connsiteX7081" y="connsiteY7081"/>
                </a:cxn>
                <a:cxn ang="0">
                  <a:pos x="connsiteX7082" y="connsiteY7082"/>
                </a:cxn>
                <a:cxn ang="0">
                  <a:pos x="connsiteX7083" y="connsiteY7083"/>
                </a:cxn>
                <a:cxn ang="0">
                  <a:pos x="connsiteX7084" y="connsiteY7084"/>
                </a:cxn>
                <a:cxn ang="0">
                  <a:pos x="connsiteX7085" y="connsiteY7085"/>
                </a:cxn>
                <a:cxn ang="0">
                  <a:pos x="connsiteX7086" y="connsiteY7086"/>
                </a:cxn>
                <a:cxn ang="0">
                  <a:pos x="connsiteX7087" y="connsiteY7087"/>
                </a:cxn>
                <a:cxn ang="0">
                  <a:pos x="connsiteX7088" y="connsiteY7088"/>
                </a:cxn>
                <a:cxn ang="0">
                  <a:pos x="connsiteX7089" y="connsiteY7089"/>
                </a:cxn>
                <a:cxn ang="0">
                  <a:pos x="connsiteX7090" y="connsiteY7090"/>
                </a:cxn>
                <a:cxn ang="0">
                  <a:pos x="connsiteX7091" y="connsiteY7091"/>
                </a:cxn>
                <a:cxn ang="0">
                  <a:pos x="connsiteX7092" y="connsiteY7092"/>
                </a:cxn>
                <a:cxn ang="0">
                  <a:pos x="connsiteX7093" y="connsiteY7093"/>
                </a:cxn>
                <a:cxn ang="0">
                  <a:pos x="connsiteX7094" y="connsiteY7094"/>
                </a:cxn>
                <a:cxn ang="0">
                  <a:pos x="connsiteX7095" y="connsiteY7095"/>
                </a:cxn>
                <a:cxn ang="0">
                  <a:pos x="connsiteX7096" y="connsiteY7096"/>
                </a:cxn>
                <a:cxn ang="0">
                  <a:pos x="connsiteX7097" y="connsiteY7097"/>
                </a:cxn>
                <a:cxn ang="0">
                  <a:pos x="connsiteX7098" y="connsiteY7098"/>
                </a:cxn>
                <a:cxn ang="0">
                  <a:pos x="connsiteX7099" y="connsiteY7099"/>
                </a:cxn>
                <a:cxn ang="0">
                  <a:pos x="connsiteX7100" y="connsiteY7100"/>
                </a:cxn>
                <a:cxn ang="0">
                  <a:pos x="connsiteX7101" y="connsiteY7101"/>
                </a:cxn>
                <a:cxn ang="0">
                  <a:pos x="connsiteX7102" y="connsiteY7102"/>
                </a:cxn>
                <a:cxn ang="0">
                  <a:pos x="connsiteX7103" y="connsiteY7103"/>
                </a:cxn>
                <a:cxn ang="0">
                  <a:pos x="connsiteX7104" y="connsiteY7104"/>
                </a:cxn>
                <a:cxn ang="0">
                  <a:pos x="connsiteX7105" y="connsiteY7105"/>
                </a:cxn>
                <a:cxn ang="0">
                  <a:pos x="connsiteX7106" y="connsiteY7106"/>
                </a:cxn>
                <a:cxn ang="0">
                  <a:pos x="connsiteX7107" y="connsiteY7107"/>
                </a:cxn>
                <a:cxn ang="0">
                  <a:pos x="connsiteX7108" y="connsiteY7108"/>
                </a:cxn>
                <a:cxn ang="0">
                  <a:pos x="connsiteX7109" y="connsiteY7109"/>
                </a:cxn>
                <a:cxn ang="0">
                  <a:pos x="connsiteX7110" y="connsiteY7110"/>
                </a:cxn>
                <a:cxn ang="0">
                  <a:pos x="connsiteX7111" y="connsiteY7111"/>
                </a:cxn>
                <a:cxn ang="0">
                  <a:pos x="connsiteX7112" y="connsiteY7112"/>
                </a:cxn>
                <a:cxn ang="0">
                  <a:pos x="connsiteX7113" y="connsiteY7113"/>
                </a:cxn>
                <a:cxn ang="0">
                  <a:pos x="connsiteX7114" y="connsiteY7114"/>
                </a:cxn>
                <a:cxn ang="0">
                  <a:pos x="connsiteX7115" y="connsiteY7115"/>
                </a:cxn>
                <a:cxn ang="0">
                  <a:pos x="connsiteX7116" y="connsiteY7116"/>
                </a:cxn>
                <a:cxn ang="0">
                  <a:pos x="connsiteX7117" y="connsiteY7117"/>
                </a:cxn>
                <a:cxn ang="0">
                  <a:pos x="connsiteX7118" y="connsiteY7118"/>
                </a:cxn>
                <a:cxn ang="0">
                  <a:pos x="connsiteX7119" y="connsiteY7119"/>
                </a:cxn>
                <a:cxn ang="0">
                  <a:pos x="connsiteX7120" y="connsiteY7120"/>
                </a:cxn>
                <a:cxn ang="0">
                  <a:pos x="connsiteX7121" y="connsiteY7121"/>
                </a:cxn>
                <a:cxn ang="0">
                  <a:pos x="connsiteX7122" y="connsiteY7122"/>
                </a:cxn>
                <a:cxn ang="0">
                  <a:pos x="connsiteX7123" y="connsiteY7123"/>
                </a:cxn>
                <a:cxn ang="0">
                  <a:pos x="connsiteX7124" y="connsiteY7124"/>
                </a:cxn>
                <a:cxn ang="0">
                  <a:pos x="connsiteX7125" y="connsiteY7125"/>
                </a:cxn>
                <a:cxn ang="0">
                  <a:pos x="connsiteX7126" y="connsiteY7126"/>
                </a:cxn>
                <a:cxn ang="0">
                  <a:pos x="connsiteX7127" y="connsiteY7127"/>
                </a:cxn>
                <a:cxn ang="0">
                  <a:pos x="connsiteX7128" y="connsiteY7128"/>
                </a:cxn>
                <a:cxn ang="0">
                  <a:pos x="connsiteX7129" y="connsiteY7129"/>
                </a:cxn>
                <a:cxn ang="0">
                  <a:pos x="connsiteX7130" y="connsiteY7130"/>
                </a:cxn>
                <a:cxn ang="0">
                  <a:pos x="connsiteX7131" y="connsiteY7131"/>
                </a:cxn>
                <a:cxn ang="0">
                  <a:pos x="connsiteX7132" y="connsiteY7132"/>
                </a:cxn>
                <a:cxn ang="0">
                  <a:pos x="connsiteX7133" y="connsiteY7133"/>
                </a:cxn>
                <a:cxn ang="0">
                  <a:pos x="connsiteX7134" y="connsiteY7134"/>
                </a:cxn>
                <a:cxn ang="0">
                  <a:pos x="connsiteX7135" y="connsiteY7135"/>
                </a:cxn>
                <a:cxn ang="0">
                  <a:pos x="connsiteX7136" y="connsiteY7136"/>
                </a:cxn>
                <a:cxn ang="0">
                  <a:pos x="connsiteX7137" y="connsiteY7137"/>
                </a:cxn>
                <a:cxn ang="0">
                  <a:pos x="connsiteX7138" y="connsiteY7138"/>
                </a:cxn>
                <a:cxn ang="0">
                  <a:pos x="connsiteX7139" y="connsiteY7139"/>
                </a:cxn>
                <a:cxn ang="0">
                  <a:pos x="connsiteX7140" y="connsiteY7140"/>
                </a:cxn>
                <a:cxn ang="0">
                  <a:pos x="connsiteX7141" y="connsiteY7141"/>
                </a:cxn>
                <a:cxn ang="0">
                  <a:pos x="connsiteX7142" y="connsiteY7142"/>
                </a:cxn>
                <a:cxn ang="0">
                  <a:pos x="connsiteX7143" y="connsiteY7143"/>
                </a:cxn>
                <a:cxn ang="0">
                  <a:pos x="connsiteX7144" y="connsiteY7144"/>
                </a:cxn>
                <a:cxn ang="0">
                  <a:pos x="connsiteX7145" y="connsiteY7145"/>
                </a:cxn>
                <a:cxn ang="0">
                  <a:pos x="connsiteX7146" y="connsiteY7146"/>
                </a:cxn>
                <a:cxn ang="0">
                  <a:pos x="connsiteX7147" y="connsiteY7147"/>
                </a:cxn>
                <a:cxn ang="0">
                  <a:pos x="connsiteX7148" y="connsiteY7148"/>
                </a:cxn>
                <a:cxn ang="0">
                  <a:pos x="connsiteX7149" y="connsiteY7149"/>
                </a:cxn>
                <a:cxn ang="0">
                  <a:pos x="connsiteX7150" y="connsiteY7150"/>
                </a:cxn>
                <a:cxn ang="0">
                  <a:pos x="connsiteX7151" y="connsiteY7151"/>
                </a:cxn>
                <a:cxn ang="0">
                  <a:pos x="connsiteX7152" y="connsiteY7152"/>
                </a:cxn>
                <a:cxn ang="0">
                  <a:pos x="connsiteX7153" y="connsiteY7153"/>
                </a:cxn>
                <a:cxn ang="0">
                  <a:pos x="connsiteX7154" y="connsiteY7154"/>
                </a:cxn>
                <a:cxn ang="0">
                  <a:pos x="connsiteX7155" y="connsiteY7155"/>
                </a:cxn>
                <a:cxn ang="0">
                  <a:pos x="connsiteX7156" y="connsiteY7156"/>
                </a:cxn>
                <a:cxn ang="0">
                  <a:pos x="connsiteX7157" y="connsiteY7157"/>
                </a:cxn>
                <a:cxn ang="0">
                  <a:pos x="connsiteX7158" y="connsiteY7158"/>
                </a:cxn>
                <a:cxn ang="0">
                  <a:pos x="connsiteX7159" y="connsiteY7159"/>
                </a:cxn>
                <a:cxn ang="0">
                  <a:pos x="connsiteX7160" y="connsiteY7160"/>
                </a:cxn>
                <a:cxn ang="0">
                  <a:pos x="connsiteX7161" y="connsiteY7161"/>
                </a:cxn>
                <a:cxn ang="0">
                  <a:pos x="connsiteX7162" y="connsiteY7162"/>
                </a:cxn>
                <a:cxn ang="0">
                  <a:pos x="connsiteX7163" y="connsiteY7163"/>
                </a:cxn>
              </a:cxnLst>
              <a:rect l="l" t="t" r="r" b="b"/>
              <a:pathLst>
                <a:path w="26653740" h="16570717">
                  <a:moveTo>
                    <a:pt x="4426804" y="15612929"/>
                  </a:moveTo>
                  <a:lnTo>
                    <a:pt x="4431568" y="15631989"/>
                  </a:lnTo>
                  <a:lnTo>
                    <a:pt x="4431568" y="15646285"/>
                  </a:lnTo>
                  <a:lnTo>
                    <a:pt x="4426804" y="15651049"/>
                  </a:lnTo>
                  <a:lnTo>
                    <a:pt x="4422040" y="15631989"/>
                  </a:lnTo>
                  <a:lnTo>
                    <a:pt x="4422040" y="15617693"/>
                  </a:lnTo>
                  <a:close/>
                  <a:moveTo>
                    <a:pt x="20416188" y="15484269"/>
                  </a:moveTo>
                  <a:lnTo>
                    <a:pt x="20449544" y="15484269"/>
                  </a:lnTo>
                  <a:lnTo>
                    <a:pt x="20397128" y="15531921"/>
                  </a:lnTo>
                  <a:lnTo>
                    <a:pt x="20392364" y="15546215"/>
                  </a:lnTo>
                  <a:lnTo>
                    <a:pt x="20373304" y="15565277"/>
                  </a:lnTo>
                  <a:lnTo>
                    <a:pt x="20354244" y="15574807"/>
                  </a:lnTo>
                  <a:lnTo>
                    <a:pt x="20344712" y="15579571"/>
                  </a:lnTo>
                  <a:lnTo>
                    <a:pt x="20316120" y="15612927"/>
                  </a:lnTo>
                  <a:lnTo>
                    <a:pt x="20292296" y="15622457"/>
                  </a:lnTo>
                  <a:lnTo>
                    <a:pt x="20278000" y="15622457"/>
                  </a:lnTo>
                  <a:lnTo>
                    <a:pt x="20311356" y="15570041"/>
                  </a:lnTo>
                  <a:lnTo>
                    <a:pt x="20330416" y="15560511"/>
                  </a:lnTo>
                  <a:lnTo>
                    <a:pt x="20359008" y="15527155"/>
                  </a:lnTo>
                  <a:lnTo>
                    <a:pt x="20411424" y="15489035"/>
                  </a:lnTo>
                  <a:close/>
                  <a:moveTo>
                    <a:pt x="20711624" y="15274603"/>
                  </a:moveTo>
                  <a:lnTo>
                    <a:pt x="20721156" y="15274603"/>
                  </a:lnTo>
                  <a:lnTo>
                    <a:pt x="20678272" y="15331785"/>
                  </a:lnTo>
                  <a:lnTo>
                    <a:pt x="20644916" y="15355609"/>
                  </a:lnTo>
                  <a:lnTo>
                    <a:pt x="20635384" y="15355609"/>
                  </a:lnTo>
                  <a:lnTo>
                    <a:pt x="20630620" y="15346079"/>
                  </a:lnTo>
                  <a:lnTo>
                    <a:pt x="20630620" y="15341315"/>
                  </a:lnTo>
                  <a:lnTo>
                    <a:pt x="20654444" y="15336549"/>
                  </a:lnTo>
                  <a:lnTo>
                    <a:pt x="20683036" y="15303193"/>
                  </a:lnTo>
                  <a:lnTo>
                    <a:pt x="20702096" y="15279369"/>
                  </a:lnTo>
                  <a:close/>
                  <a:moveTo>
                    <a:pt x="20845048" y="15117353"/>
                  </a:moveTo>
                  <a:lnTo>
                    <a:pt x="20845048" y="15131649"/>
                  </a:lnTo>
                  <a:lnTo>
                    <a:pt x="20840284" y="15141181"/>
                  </a:lnTo>
                  <a:lnTo>
                    <a:pt x="20830756" y="15141181"/>
                  </a:lnTo>
                  <a:lnTo>
                    <a:pt x="20830756" y="15136415"/>
                  </a:lnTo>
                  <a:lnTo>
                    <a:pt x="20840284" y="15122119"/>
                  </a:lnTo>
                  <a:close/>
                  <a:moveTo>
                    <a:pt x="21007064" y="14860037"/>
                  </a:moveTo>
                  <a:lnTo>
                    <a:pt x="21016596" y="14860037"/>
                  </a:lnTo>
                  <a:lnTo>
                    <a:pt x="21021360" y="14864803"/>
                  </a:lnTo>
                  <a:lnTo>
                    <a:pt x="21021360" y="14874333"/>
                  </a:lnTo>
                  <a:lnTo>
                    <a:pt x="21002300" y="14888627"/>
                  </a:lnTo>
                  <a:lnTo>
                    <a:pt x="20992768" y="14902923"/>
                  </a:lnTo>
                  <a:lnTo>
                    <a:pt x="20988004" y="14898157"/>
                  </a:lnTo>
                  <a:lnTo>
                    <a:pt x="20988004" y="14893393"/>
                  </a:lnTo>
                  <a:lnTo>
                    <a:pt x="21002300" y="14879097"/>
                  </a:lnTo>
                  <a:close/>
                  <a:moveTo>
                    <a:pt x="21116660" y="14683729"/>
                  </a:moveTo>
                  <a:lnTo>
                    <a:pt x="21126192" y="14688493"/>
                  </a:lnTo>
                  <a:lnTo>
                    <a:pt x="21126192" y="14702789"/>
                  </a:lnTo>
                  <a:lnTo>
                    <a:pt x="21111896" y="14726613"/>
                  </a:lnTo>
                  <a:lnTo>
                    <a:pt x="21116660" y="14755205"/>
                  </a:lnTo>
                  <a:lnTo>
                    <a:pt x="21116660" y="14764735"/>
                  </a:lnTo>
                  <a:lnTo>
                    <a:pt x="21097600" y="14774265"/>
                  </a:lnTo>
                  <a:lnTo>
                    <a:pt x="21083304" y="14769499"/>
                  </a:lnTo>
                  <a:lnTo>
                    <a:pt x="21083304" y="14750439"/>
                  </a:lnTo>
                  <a:close/>
                  <a:moveTo>
                    <a:pt x="21316796" y="14407349"/>
                  </a:moveTo>
                  <a:lnTo>
                    <a:pt x="21321564" y="14435941"/>
                  </a:lnTo>
                  <a:lnTo>
                    <a:pt x="21316796" y="14459767"/>
                  </a:lnTo>
                  <a:lnTo>
                    <a:pt x="21307268" y="14488357"/>
                  </a:lnTo>
                  <a:lnTo>
                    <a:pt x="21288208" y="14526479"/>
                  </a:lnTo>
                  <a:lnTo>
                    <a:pt x="21269148" y="14550303"/>
                  </a:lnTo>
                  <a:lnTo>
                    <a:pt x="21240556" y="14555069"/>
                  </a:lnTo>
                  <a:lnTo>
                    <a:pt x="21226260" y="14564599"/>
                  </a:lnTo>
                  <a:lnTo>
                    <a:pt x="21211964" y="14578895"/>
                  </a:lnTo>
                  <a:lnTo>
                    <a:pt x="21207200" y="14588425"/>
                  </a:lnTo>
                  <a:lnTo>
                    <a:pt x="21188140" y="14583659"/>
                  </a:lnTo>
                  <a:lnTo>
                    <a:pt x="21183376" y="14574129"/>
                  </a:lnTo>
                  <a:lnTo>
                    <a:pt x="21183376" y="14545539"/>
                  </a:lnTo>
                  <a:lnTo>
                    <a:pt x="21173844" y="14536009"/>
                  </a:lnTo>
                  <a:lnTo>
                    <a:pt x="21178608" y="14526479"/>
                  </a:lnTo>
                  <a:lnTo>
                    <a:pt x="21192904" y="14526479"/>
                  </a:lnTo>
                  <a:lnTo>
                    <a:pt x="21211964" y="14507417"/>
                  </a:lnTo>
                  <a:lnTo>
                    <a:pt x="21250088" y="14502653"/>
                  </a:lnTo>
                  <a:lnTo>
                    <a:pt x="21264380" y="14478827"/>
                  </a:lnTo>
                  <a:lnTo>
                    <a:pt x="21283440" y="14431175"/>
                  </a:lnTo>
                  <a:lnTo>
                    <a:pt x="21297736" y="14412115"/>
                  </a:lnTo>
                  <a:close/>
                  <a:moveTo>
                    <a:pt x="21359684" y="14388289"/>
                  </a:moveTo>
                  <a:lnTo>
                    <a:pt x="21369212" y="14388289"/>
                  </a:lnTo>
                  <a:lnTo>
                    <a:pt x="21373980" y="14393055"/>
                  </a:lnTo>
                  <a:lnTo>
                    <a:pt x="21373980" y="14416881"/>
                  </a:lnTo>
                  <a:lnTo>
                    <a:pt x="21364448" y="14435941"/>
                  </a:lnTo>
                  <a:lnTo>
                    <a:pt x="21354920" y="14445473"/>
                  </a:lnTo>
                  <a:lnTo>
                    <a:pt x="21350152" y="14440707"/>
                  </a:lnTo>
                  <a:lnTo>
                    <a:pt x="21331092" y="14426411"/>
                  </a:lnTo>
                  <a:lnTo>
                    <a:pt x="21326328" y="14416881"/>
                  </a:lnTo>
                  <a:lnTo>
                    <a:pt x="21331092" y="14407351"/>
                  </a:lnTo>
                  <a:close/>
                  <a:moveTo>
                    <a:pt x="21231024" y="14369229"/>
                  </a:moveTo>
                  <a:lnTo>
                    <a:pt x="21245320" y="14373995"/>
                  </a:lnTo>
                  <a:lnTo>
                    <a:pt x="21245320" y="14393055"/>
                  </a:lnTo>
                  <a:lnTo>
                    <a:pt x="21245320" y="14397821"/>
                  </a:lnTo>
                  <a:lnTo>
                    <a:pt x="21231024" y="14397821"/>
                  </a:lnTo>
                  <a:lnTo>
                    <a:pt x="21221496" y="14393055"/>
                  </a:lnTo>
                  <a:lnTo>
                    <a:pt x="21221496" y="14383525"/>
                  </a:lnTo>
                  <a:lnTo>
                    <a:pt x="21216728" y="14373995"/>
                  </a:lnTo>
                  <a:close/>
                  <a:moveTo>
                    <a:pt x="19220140" y="13473385"/>
                  </a:moveTo>
                  <a:lnTo>
                    <a:pt x="19234436" y="13478151"/>
                  </a:lnTo>
                  <a:lnTo>
                    <a:pt x="19267792" y="13544863"/>
                  </a:lnTo>
                  <a:lnTo>
                    <a:pt x="19267792" y="13559159"/>
                  </a:lnTo>
                  <a:lnTo>
                    <a:pt x="19263028" y="13573453"/>
                  </a:lnTo>
                  <a:lnTo>
                    <a:pt x="19258264" y="13592515"/>
                  </a:lnTo>
                  <a:lnTo>
                    <a:pt x="19253496" y="13616339"/>
                  </a:lnTo>
                  <a:lnTo>
                    <a:pt x="19258264" y="13635401"/>
                  </a:lnTo>
                  <a:lnTo>
                    <a:pt x="19282088" y="13716407"/>
                  </a:lnTo>
                  <a:lnTo>
                    <a:pt x="19305912" y="13768823"/>
                  </a:lnTo>
                  <a:lnTo>
                    <a:pt x="19310680" y="13787885"/>
                  </a:lnTo>
                  <a:lnTo>
                    <a:pt x="19315444" y="13811709"/>
                  </a:lnTo>
                  <a:lnTo>
                    <a:pt x="19320208" y="13854597"/>
                  </a:lnTo>
                  <a:lnTo>
                    <a:pt x="19320208" y="13921307"/>
                  </a:lnTo>
                  <a:lnTo>
                    <a:pt x="19320208" y="13945133"/>
                  </a:lnTo>
                  <a:lnTo>
                    <a:pt x="19315444" y="13968959"/>
                  </a:lnTo>
                  <a:lnTo>
                    <a:pt x="19310680" y="13978489"/>
                  </a:lnTo>
                  <a:lnTo>
                    <a:pt x="19301148" y="13988019"/>
                  </a:lnTo>
                  <a:lnTo>
                    <a:pt x="19296384" y="14011845"/>
                  </a:lnTo>
                  <a:lnTo>
                    <a:pt x="19291620" y="14078557"/>
                  </a:lnTo>
                  <a:lnTo>
                    <a:pt x="19301148" y="14116677"/>
                  </a:lnTo>
                  <a:lnTo>
                    <a:pt x="19310680" y="14140503"/>
                  </a:lnTo>
                  <a:lnTo>
                    <a:pt x="19315444" y="14164329"/>
                  </a:lnTo>
                  <a:lnTo>
                    <a:pt x="19315444" y="14192921"/>
                  </a:lnTo>
                  <a:lnTo>
                    <a:pt x="19320208" y="14207215"/>
                  </a:lnTo>
                  <a:lnTo>
                    <a:pt x="19334504" y="14221511"/>
                  </a:lnTo>
                  <a:lnTo>
                    <a:pt x="19339268" y="14235807"/>
                  </a:lnTo>
                  <a:lnTo>
                    <a:pt x="19344036" y="14254867"/>
                  </a:lnTo>
                  <a:lnTo>
                    <a:pt x="19344036" y="14278693"/>
                  </a:lnTo>
                  <a:lnTo>
                    <a:pt x="19344036" y="14283457"/>
                  </a:lnTo>
                  <a:lnTo>
                    <a:pt x="19353564" y="14292987"/>
                  </a:lnTo>
                  <a:lnTo>
                    <a:pt x="19386920" y="14474063"/>
                  </a:lnTo>
                  <a:lnTo>
                    <a:pt x="19396452" y="14531245"/>
                  </a:lnTo>
                  <a:lnTo>
                    <a:pt x="19434572" y="14621781"/>
                  </a:lnTo>
                  <a:lnTo>
                    <a:pt x="19448868" y="14678963"/>
                  </a:lnTo>
                  <a:lnTo>
                    <a:pt x="19458396" y="14707553"/>
                  </a:lnTo>
                  <a:lnTo>
                    <a:pt x="19463164" y="14736145"/>
                  </a:lnTo>
                  <a:lnTo>
                    <a:pt x="19467928" y="14764735"/>
                  </a:lnTo>
                  <a:lnTo>
                    <a:pt x="19477460" y="14798091"/>
                  </a:lnTo>
                  <a:lnTo>
                    <a:pt x="19491752" y="14826681"/>
                  </a:lnTo>
                  <a:lnTo>
                    <a:pt x="19520344" y="14855273"/>
                  </a:lnTo>
                  <a:lnTo>
                    <a:pt x="19534640" y="14869569"/>
                  </a:lnTo>
                  <a:lnTo>
                    <a:pt x="19534640" y="14883863"/>
                  </a:lnTo>
                  <a:lnTo>
                    <a:pt x="19534640" y="14926749"/>
                  </a:lnTo>
                  <a:lnTo>
                    <a:pt x="19529876" y="14917219"/>
                  </a:lnTo>
                  <a:lnTo>
                    <a:pt x="19525108" y="14883863"/>
                  </a:lnTo>
                  <a:lnTo>
                    <a:pt x="19510816" y="14864803"/>
                  </a:lnTo>
                  <a:lnTo>
                    <a:pt x="19491752" y="14840977"/>
                  </a:lnTo>
                  <a:lnTo>
                    <a:pt x="19467928" y="14821917"/>
                  </a:lnTo>
                  <a:lnTo>
                    <a:pt x="19444104" y="14788561"/>
                  </a:lnTo>
                  <a:lnTo>
                    <a:pt x="19434572" y="14779031"/>
                  </a:lnTo>
                  <a:lnTo>
                    <a:pt x="19420276" y="14774265"/>
                  </a:lnTo>
                  <a:lnTo>
                    <a:pt x="19396452" y="14764735"/>
                  </a:lnTo>
                  <a:lnTo>
                    <a:pt x="19382156" y="14764735"/>
                  </a:lnTo>
                  <a:lnTo>
                    <a:pt x="19329740" y="14769501"/>
                  </a:lnTo>
                  <a:lnTo>
                    <a:pt x="19305912" y="14774265"/>
                  </a:lnTo>
                  <a:lnTo>
                    <a:pt x="19286852" y="14793325"/>
                  </a:lnTo>
                  <a:lnTo>
                    <a:pt x="19272556" y="14812387"/>
                  </a:lnTo>
                  <a:lnTo>
                    <a:pt x="19267792" y="14860037"/>
                  </a:lnTo>
                  <a:lnTo>
                    <a:pt x="19215376" y="15017287"/>
                  </a:lnTo>
                  <a:lnTo>
                    <a:pt x="19201080" y="15060173"/>
                  </a:lnTo>
                  <a:lnTo>
                    <a:pt x="19196316" y="15103059"/>
                  </a:lnTo>
                  <a:lnTo>
                    <a:pt x="19201080" y="15136415"/>
                  </a:lnTo>
                  <a:lnTo>
                    <a:pt x="19205848" y="15145945"/>
                  </a:lnTo>
                  <a:lnTo>
                    <a:pt x="19220140" y="15184067"/>
                  </a:lnTo>
                  <a:lnTo>
                    <a:pt x="19229672" y="15203127"/>
                  </a:lnTo>
                  <a:lnTo>
                    <a:pt x="19239200" y="15212657"/>
                  </a:lnTo>
                  <a:lnTo>
                    <a:pt x="19248732" y="15217423"/>
                  </a:lnTo>
                  <a:lnTo>
                    <a:pt x="19253496" y="15222187"/>
                  </a:lnTo>
                  <a:lnTo>
                    <a:pt x="19258264" y="15231717"/>
                  </a:lnTo>
                  <a:lnTo>
                    <a:pt x="19272556" y="15255543"/>
                  </a:lnTo>
                  <a:lnTo>
                    <a:pt x="19282088" y="15303195"/>
                  </a:lnTo>
                  <a:lnTo>
                    <a:pt x="19296384" y="15341315"/>
                  </a:lnTo>
                  <a:lnTo>
                    <a:pt x="19305912" y="15350845"/>
                  </a:lnTo>
                  <a:lnTo>
                    <a:pt x="19320208" y="15350845"/>
                  </a:lnTo>
                  <a:lnTo>
                    <a:pt x="19329740" y="15350845"/>
                  </a:lnTo>
                  <a:lnTo>
                    <a:pt x="19339268" y="15355611"/>
                  </a:lnTo>
                  <a:lnTo>
                    <a:pt x="19344036" y="15360377"/>
                  </a:lnTo>
                  <a:lnTo>
                    <a:pt x="19353564" y="15403263"/>
                  </a:lnTo>
                  <a:lnTo>
                    <a:pt x="19358332" y="15441383"/>
                  </a:lnTo>
                  <a:lnTo>
                    <a:pt x="19358332" y="15450913"/>
                  </a:lnTo>
                  <a:lnTo>
                    <a:pt x="19348800" y="15479505"/>
                  </a:lnTo>
                  <a:lnTo>
                    <a:pt x="19348800" y="15493799"/>
                  </a:lnTo>
                  <a:lnTo>
                    <a:pt x="19344036" y="15508095"/>
                  </a:lnTo>
                  <a:lnTo>
                    <a:pt x="19344036" y="15517625"/>
                  </a:lnTo>
                  <a:lnTo>
                    <a:pt x="19339268" y="15527155"/>
                  </a:lnTo>
                  <a:lnTo>
                    <a:pt x="19334504" y="15484269"/>
                  </a:lnTo>
                  <a:lnTo>
                    <a:pt x="19329740" y="15450913"/>
                  </a:lnTo>
                  <a:lnTo>
                    <a:pt x="19324976" y="15427087"/>
                  </a:lnTo>
                  <a:lnTo>
                    <a:pt x="19315444" y="15408027"/>
                  </a:lnTo>
                  <a:lnTo>
                    <a:pt x="19277324" y="15398497"/>
                  </a:lnTo>
                  <a:lnTo>
                    <a:pt x="19243968" y="15393731"/>
                  </a:lnTo>
                  <a:lnTo>
                    <a:pt x="19239200" y="15393731"/>
                  </a:lnTo>
                  <a:lnTo>
                    <a:pt x="19229672" y="15379437"/>
                  </a:lnTo>
                  <a:lnTo>
                    <a:pt x="19220140" y="15369907"/>
                  </a:lnTo>
                  <a:lnTo>
                    <a:pt x="19210612" y="15369907"/>
                  </a:lnTo>
                  <a:lnTo>
                    <a:pt x="19205848" y="15374671"/>
                  </a:lnTo>
                  <a:lnTo>
                    <a:pt x="19186784" y="15388967"/>
                  </a:lnTo>
                  <a:lnTo>
                    <a:pt x="19177256" y="15408027"/>
                  </a:lnTo>
                  <a:lnTo>
                    <a:pt x="19167724" y="15431853"/>
                  </a:lnTo>
                  <a:lnTo>
                    <a:pt x="19162960" y="15450913"/>
                  </a:lnTo>
                  <a:lnTo>
                    <a:pt x="19143900" y="15512861"/>
                  </a:lnTo>
                  <a:lnTo>
                    <a:pt x="19139136" y="15531921"/>
                  </a:lnTo>
                  <a:lnTo>
                    <a:pt x="19124840" y="15550981"/>
                  </a:lnTo>
                  <a:lnTo>
                    <a:pt x="19115308" y="15541451"/>
                  </a:lnTo>
                  <a:lnTo>
                    <a:pt x="19105780" y="15531921"/>
                  </a:lnTo>
                  <a:lnTo>
                    <a:pt x="19101012" y="15512861"/>
                  </a:lnTo>
                  <a:lnTo>
                    <a:pt x="19101012" y="15493799"/>
                  </a:lnTo>
                  <a:lnTo>
                    <a:pt x="19086716" y="15431853"/>
                  </a:lnTo>
                  <a:lnTo>
                    <a:pt x="19091484" y="15374671"/>
                  </a:lnTo>
                  <a:lnTo>
                    <a:pt x="19115308" y="15298429"/>
                  </a:lnTo>
                  <a:lnTo>
                    <a:pt x="19120072" y="15274603"/>
                  </a:lnTo>
                  <a:lnTo>
                    <a:pt x="19115308" y="15250777"/>
                  </a:lnTo>
                  <a:lnTo>
                    <a:pt x="19110544" y="15226953"/>
                  </a:lnTo>
                  <a:lnTo>
                    <a:pt x="19105780" y="15179301"/>
                  </a:lnTo>
                  <a:lnTo>
                    <a:pt x="19110544" y="15169771"/>
                  </a:lnTo>
                  <a:lnTo>
                    <a:pt x="19115308" y="15145945"/>
                  </a:lnTo>
                  <a:lnTo>
                    <a:pt x="19124840" y="15117355"/>
                  </a:lnTo>
                  <a:lnTo>
                    <a:pt x="19139136" y="15098293"/>
                  </a:lnTo>
                  <a:lnTo>
                    <a:pt x="19143900" y="15069703"/>
                  </a:lnTo>
                  <a:lnTo>
                    <a:pt x="19134368" y="15007757"/>
                  </a:lnTo>
                  <a:lnTo>
                    <a:pt x="19120072" y="14964871"/>
                  </a:lnTo>
                  <a:lnTo>
                    <a:pt x="19096248" y="14921985"/>
                  </a:lnTo>
                  <a:lnTo>
                    <a:pt x="19091484" y="14907689"/>
                  </a:lnTo>
                  <a:lnTo>
                    <a:pt x="19091484" y="14898159"/>
                  </a:lnTo>
                  <a:lnTo>
                    <a:pt x="19110544" y="14845743"/>
                  </a:lnTo>
                  <a:lnTo>
                    <a:pt x="19115308" y="14821917"/>
                  </a:lnTo>
                  <a:lnTo>
                    <a:pt x="19124840" y="14764735"/>
                  </a:lnTo>
                  <a:lnTo>
                    <a:pt x="19129604" y="14736145"/>
                  </a:lnTo>
                  <a:lnTo>
                    <a:pt x="19134368" y="14702789"/>
                  </a:lnTo>
                  <a:lnTo>
                    <a:pt x="19139136" y="14545539"/>
                  </a:lnTo>
                  <a:lnTo>
                    <a:pt x="19134368" y="14521713"/>
                  </a:lnTo>
                  <a:lnTo>
                    <a:pt x="19124840" y="14474063"/>
                  </a:lnTo>
                  <a:lnTo>
                    <a:pt x="19124840" y="14445471"/>
                  </a:lnTo>
                  <a:lnTo>
                    <a:pt x="19129604" y="14407351"/>
                  </a:lnTo>
                  <a:lnTo>
                    <a:pt x="19134368" y="14378759"/>
                  </a:lnTo>
                  <a:lnTo>
                    <a:pt x="19143900" y="14354935"/>
                  </a:lnTo>
                  <a:lnTo>
                    <a:pt x="19143900" y="14297753"/>
                  </a:lnTo>
                  <a:lnTo>
                    <a:pt x="19129604" y="14245337"/>
                  </a:lnTo>
                  <a:lnTo>
                    <a:pt x="19115308" y="14221511"/>
                  </a:lnTo>
                  <a:lnTo>
                    <a:pt x="19091484" y="14197685"/>
                  </a:lnTo>
                  <a:lnTo>
                    <a:pt x="19077188" y="14178625"/>
                  </a:lnTo>
                  <a:lnTo>
                    <a:pt x="19072424" y="14169095"/>
                  </a:lnTo>
                  <a:lnTo>
                    <a:pt x="19077188" y="14164329"/>
                  </a:lnTo>
                  <a:lnTo>
                    <a:pt x="19081952" y="14154799"/>
                  </a:lnTo>
                  <a:lnTo>
                    <a:pt x="19072424" y="14140503"/>
                  </a:lnTo>
                  <a:lnTo>
                    <a:pt x="19062892" y="14121443"/>
                  </a:lnTo>
                  <a:lnTo>
                    <a:pt x="19058128" y="14030905"/>
                  </a:lnTo>
                  <a:lnTo>
                    <a:pt x="19062892" y="14011845"/>
                  </a:lnTo>
                  <a:lnTo>
                    <a:pt x="19072424" y="13988019"/>
                  </a:lnTo>
                  <a:lnTo>
                    <a:pt x="19081952" y="13959429"/>
                  </a:lnTo>
                  <a:lnTo>
                    <a:pt x="19091484" y="13897483"/>
                  </a:lnTo>
                  <a:lnTo>
                    <a:pt x="19096248" y="13835535"/>
                  </a:lnTo>
                  <a:lnTo>
                    <a:pt x="19086716" y="13811709"/>
                  </a:lnTo>
                  <a:lnTo>
                    <a:pt x="19086716" y="13754529"/>
                  </a:lnTo>
                  <a:lnTo>
                    <a:pt x="19091484" y="13744999"/>
                  </a:lnTo>
                  <a:lnTo>
                    <a:pt x="19110544" y="13725937"/>
                  </a:lnTo>
                  <a:lnTo>
                    <a:pt x="19134368" y="13716407"/>
                  </a:lnTo>
                  <a:lnTo>
                    <a:pt x="19139136" y="13721173"/>
                  </a:lnTo>
                  <a:lnTo>
                    <a:pt x="19162960" y="13740233"/>
                  </a:lnTo>
                  <a:lnTo>
                    <a:pt x="19172492" y="13740233"/>
                  </a:lnTo>
                  <a:lnTo>
                    <a:pt x="19177256" y="13740233"/>
                  </a:lnTo>
                  <a:lnTo>
                    <a:pt x="19196316" y="13730703"/>
                  </a:lnTo>
                  <a:lnTo>
                    <a:pt x="19205848" y="13706877"/>
                  </a:lnTo>
                  <a:lnTo>
                    <a:pt x="19191552" y="13692581"/>
                  </a:lnTo>
                  <a:lnTo>
                    <a:pt x="19201080" y="13673521"/>
                  </a:lnTo>
                  <a:lnTo>
                    <a:pt x="19220140" y="13668757"/>
                  </a:lnTo>
                  <a:lnTo>
                    <a:pt x="19220140" y="13654461"/>
                  </a:lnTo>
                  <a:lnTo>
                    <a:pt x="19215376" y="13654461"/>
                  </a:lnTo>
                  <a:lnTo>
                    <a:pt x="19220140" y="13630635"/>
                  </a:lnTo>
                  <a:lnTo>
                    <a:pt x="19224908" y="13611575"/>
                  </a:lnTo>
                  <a:lnTo>
                    <a:pt x="19220140" y="13592515"/>
                  </a:lnTo>
                  <a:lnTo>
                    <a:pt x="19186784" y="13544863"/>
                  </a:lnTo>
                  <a:lnTo>
                    <a:pt x="19167724" y="13506741"/>
                  </a:lnTo>
                  <a:lnTo>
                    <a:pt x="19201080" y="13506741"/>
                  </a:lnTo>
                  <a:lnTo>
                    <a:pt x="19210612" y="13501977"/>
                  </a:lnTo>
                  <a:lnTo>
                    <a:pt x="19215376" y="13487681"/>
                  </a:lnTo>
                  <a:close/>
                  <a:moveTo>
                    <a:pt x="23089424" y="13354257"/>
                  </a:moveTo>
                  <a:lnTo>
                    <a:pt x="23098956" y="13354257"/>
                  </a:lnTo>
                  <a:lnTo>
                    <a:pt x="23108484" y="13368552"/>
                  </a:lnTo>
                  <a:lnTo>
                    <a:pt x="23127548" y="13378083"/>
                  </a:lnTo>
                  <a:lnTo>
                    <a:pt x="23156136" y="13397143"/>
                  </a:lnTo>
                  <a:lnTo>
                    <a:pt x="23179964" y="13430499"/>
                  </a:lnTo>
                  <a:lnTo>
                    <a:pt x="23189492" y="13444793"/>
                  </a:lnTo>
                  <a:lnTo>
                    <a:pt x="23122780" y="13397143"/>
                  </a:lnTo>
                  <a:lnTo>
                    <a:pt x="23094192" y="13368552"/>
                  </a:lnTo>
                  <a:close/>
                  <a:moveTo>
                    <a:pt x="18357652" y="13282780"/>
                  </a:moveTo>
                  <a:lnTo>
                    <a:pt x="18362420" y="13287545"/>
                  </a:lnTo>
                  <a:lnTo>
                    <a:pt x="18338592" y="13335196"/>
                  </a:lnTo>
                  <a:lnTo>
                    <a:pt x="18329064" y="13335196"/>
                  </a:lnTo>
                  <a:lnTo>
                    <a:pt x="18319532" y="13325666"/>
                  </a:lnTo>
                  <a:lnTo>
                    <a:pt x="18295708" y="13330431"/>
                  </a:lnTo>
                  <a:lnTo>
                    <a:pt x="18286176" y="13325666"/>
                  </a:lnTo>
                  <a:lnTo>
                    <a:pt x="18300472" y="13311371"/>
                  </a:lnTo>
                  <a:lnTo>
                    <a:pt x="18333828" y="13287545"/>
                  </a:lnTo>
                  <a:lnTo>
                    <a:pt x="18343360" y="13287545"/>
                  </a:lnTo>
                  <a:close/>
                  <a:moveTo>
                    <a:pt x="18424364" y="13258955"/>
                  </a:moveTo>
                  <a:lnTo>
                    <a:pt x="18476780" y="13282781"/>
                  </a:lnTo>
                  <a:lnTo>
                    <a:pt x="18476780" y="13287546"/>
                  </a:lnTo>
                  <a:lnTo>
                    <a:pt x="18495844" y="13297076"/>
                  </a:lnTo>
                  <a:lnTo>
                    <a:pt x="18514904" y="13297076"/>
                  </a:lnTo>
                  <a:lnTo>
                    <a:pt x="18519668" y="13306606"/>
                  </a:lnTo>
                  <a:lnTo>
                    <a:pt x="18505372" y="13316137"/>
                  </a:lnTo>
                  <a:lnTo>
                    <a:pt x="18491076" y="13339962"/>
                  </a:lnTo>
                  <a:lnTo>
                    <a:pt x="18486312" y="13363788"/>
                  </a:lnTo>
                  <a:lnTo>
                    <a:pt x="18481548" y="13373318"/>
                  </a:lnTo>
                  <a:lnTo>
                    <a:pt x="18467252" y="13382849"/>
                  </a:lnTo>
                  <a:lnTo>
                    <a:pt x="18457720" y="13397143"/>
                  </a:lnTo>
                  <a:lnTo>
                    <a:pt x="18443424" y="13406673"/>
                  </a:lnTo>
                  <a:lnTo>
                    <a:pt x="18433896" y="13406673"/>
                  </a:lnTo>
                  <a:lnTo>
                    <a:pt x="18414836" y="13359023"/>
                  </a:lnTo>
                  <a:lnTo>
                    <a:pt x="18405304" y="13349492"/>
                  </a:lnTo>
                  <a:lnTo>
                    <a:pt x="18376716" y="13368553"/>
                  </a:lnTo>
                  <a:lnTo>
                    <a:pt x="18367184" y="13373318"/>
                  </a:lnTo>
                  <a:lnTo>
                    <a:pt x="18376716" y="13344727"/>
                  </a:lnTo>
                  <a:lnTo>
                    <a:pt x="18391008" y="13316137"/>
                  </a:lnTo>
                  <a:lnTo>
                    <a:pt x="18400540" y="13311371"/>
                  </a:lnTo>
                  <a:lnTo>
                    <a:pt x="18419600" y="13268485"/>
                  </a:lnTo>
                  <a:close/>
                  <a:moveTo>
                    <a:pt x="200136" y="13235129"/>
                  </a:moveTo>
                  <a:lnTo>
                    <a:pt x="209666" y="13239894"/>
                  </a:lnTo>
                  <a:lnTo>
                    <a:pt x="195370" y="13263720"/>
                  </a:lnTo>
                  <a:lnTo>
                    <a:pt x="152484" y="13320901"/>
                  </a:lnTo>
                  <a:lnTo>
                    <a:pt x="166780" y="13325667"/>
                  </a:lnTo>
                  <a:lnTo>
                    <a:pt x="181074" y="13325667"/>
                  </a:lnTo>
                  <a:lnTo>
                    <a:pt x="200136" y="13339962"/>
                  </a:lnTo>
                  <a:lnTo>
                    <a:pt x="214430" y="13339962"/>
                  </a:lnTo>
                  <a:lnTo>
                    <a:pt x="247786" y="13330432"/>
                  </a:lnTo>
                  <a:lnTo>
                    <a:pt x="252552" y="13282780"/>
                  </a:lnTo>
                  <a:lnTo>
                    <a:pt x="252552" y="13239894"/>
                  </a:lnTo>
                  <a:lnTo>
                    <a:pt x="262082" y="13239894"/>
                  </a:lnTo>
                  <a:lnTo>
                    <a:pt x="276378" y="13239894"/>
                  </a:lnTo>
                  <a:lnTo>
                    <a:pt x="285908" y="13249424"/>
                  </a:lnTo>
                  <a:lnTo>
                    <a:pt x="304968" y="13258955"/>
                  </a:lnTo>
                  <a:lnTo>
                    <a:pt x="324028" y="13268485"/>
                  </a:lnTo>
                  <a:lnTo>
                    <a:pt x="352620" y="13287545"/>
                  </a:lnTo>
                  <a:lnTo>
                    <a:pt x="385976" y="13297076"/>
                  </a:lnTo>
                  <a:lnTo>
                    <a:pt x="395506" y="13297076"/>
                  </a:lnTo>
                  <a:lnTo>
                    <a:pt x="424096" y="13297076"/>
                  </a:lnTo>
                  <a:lnTo>
                    <a:pt x="462216" y="13297076"/>
                  </a:lnTo>
                  <a:lnTo>
                    <a:pt x="471748" y="13320901"/>
                  </a:lnTo>
                  <a:lnTo>
                    <a:pt x="486042" y="13335197"/>
                  </a:lnTo>
                  <a:lnTo>
                    <a:pt x="500338" y="13349492"/>
                  </a:lnTo>
                  <a:lnTo>
                    <a:pt x="500338" y="13359022"/>
                  </a:lnTo>
                  <a:lnTo>
                    <a:pt x="481278" y="13411439"/>
                  </a:lnTo>
                  <a:lnTo>
                    <a:pt x="481278" y="13430499"/>
                  </a:lnTo>
                  <a:lnTo>
                    <a:pt x="476512" y="13449559"/>
                  </a:lnTo>
                  <a:lnTo>
                    <a:pt x="486042" y="13473385"/>
                  </a:lnTo>
                  <a:lnTo>
                    <a:pt x="490808" y="13487681"/>
                  </a:lnTo>
                  <a:lnTo>
                    <a:pt x="486042" y="13487681"/>
                  </a:lnTo>
                  <a:lnTo>
                    <a:pt x="400270" y="13487681"/>
                  </a:lnTo>
                  <a:lnTo>
                    <a:pt x="314498" y="13482915"/>
                  </a:lnTo>
                  <a:lnTo>
                    <a:pt x="238256" y="13478151"/>
                  </a:lnTo>
                  <a:lnTo>
                    <a:pt x="162014" y="13473385"/>
                  </a:lnTo>
                  <a:lnTo>
                    <a:pt x="90538" y="13468621"/>
                  </a:lnTo>
                  <a:lnTo>
                    <a:pt x="47652" y="13468621"/>
                  </a:lnTo>
                  <a:lnTo>
                    <a:pt x="4766" y="13463855"/>
                  </a:lnTo>
                  <a:lnTo>
                    <a:pt x="0" y="13459091"/>
                  </a:lnTo>
                  <a:lnTo>
                    <a:pt x="23826" y="13435265"/>
                  </a:lnTo>
                  <a:lnTo>
                    <a:pt x="38120" y="13411439"/>
                  </a:lnTo>
                  <a:lnTo>
                    <a:pt x="52416" y="13382849"/>
                  </a:lnTo>
                  <a:lnTo>
                    <a:pt x="52416" y="13359022"/>
                  </a:lnTo>
                  <a:lnTo>
                    <a:pt x="57182" y="13335197"/>
                  </a:lnTo>
                  <a:lnTo>
                    <a:pt x="76242" y="13325667"/>
                  </a:lnTo>
                  <a:lnTo>
                    <a:pt x="123894" y="13325667"/>
                  </a:lnTo>
                  <a:lnTo>
                    <a:pt x="142954" y="13316136"/>
                  </a:lnTo>
                  <a:lnTo>
                    <a:pt x="166780" y="13287545"/>
                  </a:lnTo>
                  <a:lnTo>
                    <a:pt x="190604" y="13249424"/>
                  </a:lnTo>
                  <a:close/>
                  <a:moveTo>
                    <a:pt x="22851168" y="13216069"/>
                  </a:moveTo>
                  <a:lnTo>
                    <a:pt x="22894056" y="13225599"/>
                  </a:lnTo>
                  <a:lnTo>
                    <a:pt x="22903584" y="13230364"/>
                  </a:lnTo>
                  <a:lnTo>
                    <a:pt x="22898820" y="13249425"/>
                  </a:lnTo>
                  <a:lnTo>
                    <a:pt x="22898820" y="13268485"/>
                  </a:lnTo>
                  <a:lnTo>
                    <a:pt x="22922644" y="13311372"/>
                  </a:lnTo>
                  <a:lnTo>
                    <a:pt x="22936940" y="13325667"/>
                  </a:lnTo>
                  <a:lnTo>
                    <a:pt x="22951236" y="13339962"/>
                  </a:lnTo>
                  <a:lnTo>
                    <a:pt x="22965532" y="13359023"/>
                  </a:lnTo>
                  <a:lnTo>
                    <a:pt x="22960768" y="13397145"/>
                  </a:lnTo>
                  <a:lnTo>
                    <a:pt x="22941708" y="13378083"/>
                  </a:lnTo>
                  <a:lnTo>
                    <a:pt x="22932176" y="13359023"/>
                  </a:lnTo>
                  <a:lnTo>
                    <a:pt x="22922644" y="13359023"/>
                  </a:lnTo>
                  <a:lnTo>
                    <a:pt x="22913116" y="13349493"/>
                  </a:lnTo>
                  <a:lnTo>
                    <a:pt x="22898820" y="13330432"/>
                  </a:lnTo>
                  <a:lnTo>
                    <a:pt x="22879760" y="13306607"/>
                  </a:lnTo>
                  <a:lnTo>
                    <a:pt x="22874996" y="13292311"/>
                  </a:lnTo>
                  <a:lnTo>
                    <a:pt x="22870228" y="13278016"/>
                  </a:lnTo>
                  <a:lnTo>
                    <a:pt x="22860700" y="13263720"/>
                  </a:lnTo>
                  <a:lnTo>
                    <a:pt x="22822576" y="13235130"/>
                  </a:lnTo>
                  <a:lnTo>
                    <a:pt x="22836872" y="13230364"/>
                  </a:lnTo>
                  <a:close/>
                  <a:moveTo>
                    <a:pt x="20468604" y="12115324"/>
                  </a:moveTo>
                  <a:lnTo>
                    <a:pt x="20473368" y="12129619"/>
                  </a:lnTo>
                  <a:lnTo>
                    <a:pt x="20478136" y="12139149"/>
                  </a:lnTo>
                  <a:lnTo>
                    <a:pt x="20454308" y="12158210"/>
                  </a:lnTo>
                  <a:lnTo>
                    <a:pt x="20444780" y="12162975"/>
                  </a:lnTo>
                  <a:lnTo>
                    <a:pt x="20435248" y="12153445"/>
                  </a:lnTo>
                  <a:lnTo>
                    <a:pt x="20435248" y="12148680"/>
                  </a:lnTo>
                  <a:lnTo>
                    <a:pt x="20454308" y="12134384"/>
                  </a:lnTo>
                  <a:close/>
                  <a:moveTo>
                    <a:pt x="22631972" y="12096264"/>
                  </a:moveTo>
                  <a:lnTo>
                    <a:pt x="22641504" y="12096264"/>
                  </a:lnTo>
                  <a:lnTo>
                    <a:pt x="22646268" y="12129620"/>
                  </a:lnTo>
                  <a:lnTo>
                    <a:pt x="22651032" y="12172506"/>
                  </a:lnTo>
                  <a:lnTo>
                    <a:pt x="22646268" y="12201097"/>
                  </a:lnTo>
                  <a:lnTo>
                    <a:pt x="22593852" y="12215392"/>
                  </a:lnTo>
                  <a:lnTo>
                    <a:pt x="22541436" y="12243983"/>
                  </a:lnTo>
                  <a:lnTo>
                    <a:pt x="22493784" y="12286869"/>
                  </a:lnTo>
                  <a:lnTo>
                    <a:pt x="22465192" y="12310695"/>
                  </a:lnTo>
                  <a:lnTo>
                    <a:pt x="22460428" y="12301165"/>
                  </a:lnTo>
                  <a:lnTo>
                    <a:pt x="22460428" y="12291634"/>
                  </a:lnTo>
                  <a:lnTo>
                    <a:pt x="22484252" y="12272574"/>
                  </a:lnTo>
                  <a:lnTo>
                    <a:pt x="22508080" y="12224923"/>
                  </a:lnTo>
                  <a:lnTo>
                    <a:pt x="22517608" y="12186802"/>
                  </a:lnTo>
                  <a:lnTo>
                    <a:pt x="22512844" y="12172506"/>
                  </a:lnTo>
                  <a:lnTo>
                    <a:pt x="22512844" y="12162976"/>
                  </a:lnTo>
                  <a:lnTo>
                    <a:pt x="22579556" y="12134385"/>
                  </a:lnTo>
                  <a:close/>
                  <a:moveTo>
                    <a:pt x="2515988" y="10090146"/>
                  </a:moveTo>
                  <a:lnTo>
                    <a:pt x="2530284" y="10094911"/>
                  </a:lnTo>
                  <a:lnTo>
                    <a:pt x="2535048" y="10109206"/>
                  </a:lnTo>
                  <a:lnTo>
                    <a:pt x="2535048" y="10133032"/>
                  </a:lnTo>
                  <a:lnTo>
                    <a:pt x="2530284" y="10147327"/>
                  </a:lnTo>
                  <a:lnTo>
                    <a:pt x="2535048" y="10161623"/>
                  </a:lnTo>
                  <a:lnTo>
                    <a:pt x="2525516" y="10171153"/>
                  </a:lnTo>
                  <a:lnTo>
                    <a:pt x="2511224" y="10137797"/>
                  </a:lnTo>
                  <a:lnTo>
                    <a:pt x="2501692" y="10137797"/>
                  </a:lnTo>
                  <a:lnTo>
                    <a:pt x="2492164" y="10128267"/>
                  </a:lnTo>
                  <a:lnTo>
                    <a:pt x="2487396" y="10104441"/>
                  </a:lnTo>
                  <a:lnTo>
                    <a:pt x="2492164" y="10099676"/>
                  </a:lnTo>
                  <a:lnTo>
                    <a:pt x="2496928" y="10104441"/>
                  </a:lnTo>
                  <a:close/>
                  <a:moveTo>
                    <a:pt x="7790984" y="9489740"/>
                  </a:moveTo>
                  <a:lnTo>
                    <a:pt x="7810044" y="9499270"/>
                  </a:lnTo>
                  <a:lnTo>
                    <a:pt x="7838636" y="9499270"/>
                  </a:lnTo>
                  <a:lnTo>
                    <a:pt x="7857696" y="9508801"/>
                  </a:lnTo>
                  <a:lnTo>
                    <a:pt x="7881520" y="9513566"/>
                  </a:lnTo>
                  <a:lnTo>
                    <a:pt x="7876756" y="9542156"/>
                  </a:lnTo>
                  <a:lnTo>
                    <a:pt x="7876756" y="9551687"/>
                  </a:lnTo>
                  <a:lnTo>
                    <a:pt x="7886288" y="9565982"/>
                  </a:lnTo>
                  <a:lnTo>
                    <a:pt x="7876756" y="9585043"/>
                  </a:lnTo>
                  <a:lnTo>
                    <a:pt x="7871992" y="9589808"/>
                  </a:lnTo>
                  <a:lnTo>
                    <a:pt x="7848164" y="9594573"/>
                  </a:lnTo>
                  <a:lnTo>
                    <a:pt x="7814808" y="9565982"/>
                  </a:lnTo>
                  <a:lnTo>
                    <a:pt x="7786216" y="9504035"/>
                  </a:lnTo>
                  <a:close/>
                  <a:moveTo>
                    <a:pt x="3583376" y="9475445"/>
                  </a:moveTo>
                  <a:lnTo>
                    <a:pt x="3592904" y="9480210"/>
                  </a:lnTo>
                  <a:lnTo>
                    <a:pt x="3602436" y="9499271"/>
                  </a:lnTo>
                  <a:lnTo>
                    <a:pt x="3607200" y="9513566"/>
                  </a:lnTo>
                  <a:lnTo>
                    <a:pt x="3602436" y="9518331"/>
                  </a:lnTo>
                  <a:lnTo>
                    <a:pt x="3569080" y="9499271"/>
                  </a:lnTo>
                  <a:lnTo>
                    <a:pt x="3569080" y="9484975"/>
                  </a:lnTo>
                  <a:lnTo>
                    <a:pt x="3569080" y="9480210"/>
                  </a:lnTo>
                  <a:close/>
                  <a:moveTo>
                    <a:pt x="4584052" y="8331815"/>
                  </a:moveTo>
                  <a:lnTo>
                    <a:pt x="4626940" y="8331815"/>
                  </a:lnTo>
                  <a:lnTo>
                    <a:pt x="4746068" y="8422352"/>
                  </a:lnTo>
                  <a:lnTo>
                    <a:pt x="4774656" y="8446178"/>
                  </a:lnTo>
                  <a:lnTo>
                    <a:pt x="4788952" y="8479534"/>
                  </a:lnTo>
                  <a:lnTo>
                    <a:pt x="4788952" y="8517655"/>
                  </a:lnTo>
                  <a:lnTo>
                    <a:pt x="4779424" y="8536715"/>
                  </a:lnTo>
                  <a:lnTo>
                    <a:pt x="4769892" y="8541480"/>
                  </a:lnTo>
                  <a:lnTo>
                    <a:pt x="4769892" y="8517655"/>
                  </a:lnTo>
                  <a:lnTo>
                    <a:pt x="4760364" y="8503360"/>
                  </a:lnTo>
                  <a:lnTo>
                    <a:pt x="4731772" y="8536715"/>
                  </a:lnTo>
                  <a:lnTo>
                    <a:pt x="4722240" y="8570071"/>
                  </a:lnTo>
                  <a:lnTo>
                    <a:pt x="4688884" y="8617722"/>
                  </a:lnTo>
                  <a:lnTo>
                    <a:pt x="4617408" y="8655844"/>
                  </a:lnTo>
                  <a:lnTo>
                    <a:pt x="4574524" y="8670139"/>
                  </a:lnTo>
                  <a:lnTo>
                    <a:pt x="4536400" y="8674904"/>
                  </a:lnTo>
                  <a:lnTo>
                    <a:pt x="4503044" y="8641548"/>
                  </a:lnTo>
                  <a:lnTo>
                    <a:pt x="4483984" y="8584367"/>
                  </a:lnTo>
                  <a:lnTo>
                    <a:pt x="4479220" y="8565306"/>
                  </a:lnTo>
                  <a:lnTo>
                    <a:pt x="4474456" y="8541480"/>
                  </a:lnTo>
                  <a:lnTo>
                    <a:pt x="4479220" y="8517655"/>
                  </a:lnTo>
                  <a:lnTo>
                    <a:pt x="4479220" y="8479534"/>
                  </a:lnTo>
                  <a:lnTo>
                    <a:pt x="4483984" y="8441413"/>
                  </a:lnTo>
                  <a:lnTo>
                    <a:pt x="4498280" y="8408057"/>
                  </a:lnTo>
                  <a:lnTo>
                    <a:pt x="4531636" y="8365171"/>
                  </a:lnTo>
                  <a:lnTo>
                    <a:pt x="4564992" y="8341345"/>
                  </a:lnTo>
                  <a:close/>
                  <a:moveTo>
                    <a:pt x="7433600" y="8303224"/>
                  </a:moveTo>
                  <a:lnTo>
                    <a:pt x="7452660" y="8307989"/>
                  </a:lnTo>
                  <a:lnTo>
                    <a:pt x="7457424" y="8327050"/>
                  </a:lnTo>
                  <a:lnTo>
                    <a:pt x="7443128" y="8365171"/>
                  </a:lnTo>
                  <a:lnTo>
                    <a:pt x="7414540" y="8360406"/>
                  </a:lnTo>
                  <a:lnTo>
                    <a:pt x="7409772" y="8350876"/>
                  </a:lnTo>
                  <a:lnTo>
                    <a:pt x="7405008" y="8346110"/>
                  </a:lnTo>
                  <a:close/>
                  <a:moveTo>
                    <a:pt x="22160224" y="8274633"/>
                  </a:moveTo>
                  <a:lnTo>
                    <a:pt x="22164988" y="8279398"/>
                  </a:lnTo>
                  <a:lnTo>
                    <a:pt x="22179284" y="8298459"/>
                  </a:lnTo>
                  <a:lnTo>
                    <a:pt x="22174520" y="8336580"/>
                  </a:lnTo>
                  <a:lnTo>
                    <a:pt x="22164988" y="8365170"/>
                  </a:lnTo>
                  <a:lnTo>
                    <a:pt x="22141164" y="8374701"/>
                  </a:lnTo>
                  <a:lnTo>
                    <a:pt x="22136400" y="8398526"/>
                  </a:lnTo>
                  <a:lnTo>
                    <a:pt x="22141164" y="8431882"/>
                  </a:lnTo>
                  <a:lnTo>
                    <a:pt x="22141164" y="8474768"/>
                  </a:lnTo>
                  <a:lnTo>
                    <a:pt x="22141164" y="8512890"/>
                  </a:lnTo>
                  <a:lnTo>
                    <a:pt x="22160224" y="8551011"/>
                  </a:lnTo>
                  <a:lnTo>
                    <a:pt x="22160224" y="8570071"/>
                  </a:lnTo>
                  <a:lnTo>
                    <a:pt x="22160224" y="8589132"/>
                  </a:lnTo>
                  <a:lnTo>
                    <a:pt x="22155460" y="8603427"/>
                  </a:lnTo>
                  <a:lnTo>
                    <a:pt x="22145928" y="8603427"/>
                  </a:lnTo>
                  <a:lnTo>
                    <a:pt x="22150696" y="8574836"/>
                  </a:lnTo>
                  <a:lnTo>
                    <a:pt x="22150696" y="8560541"/>
                  </a:lnTo>
                  <a:lnTo>
                    <a:pt x="22136400" y="8541480"/>
                  </a:lnTo>
                  <a:lnTo>
                    <a:pt x="22107808" y="8522420"/>
                  </a:lnTo>
                  <a:lnTo>
                    <a:pt x="22103044" y="8512890"/>
                  </a:lnTo>
                  <a:lnTo>
                    <a:pt x="22098280" y="8474768"/>
                  </a:lnTo>
                  <a:lnTo>
                    <a:pt x="22107808" y="8412822"/>
                  </a:lnTo>
                  <a:lnTo>
                    <a:pt x="22093512" y="8379466"/>
                  </a:lnTo>
                  <a:lnTo>
                    <a:pt x="22098280" y="8350875"/>
                  </a:lnTo>
                  <a:lnTo>
                    <a:pt x="22131632" y="8317519"/>
                  </a:lnTo>
                  <a:lnTo>
                    <a:pt x="22145928" y="8293694"/>
                  </a:lnTo>
                  <a:close/>
                  <a:moveTo>
                    <a:pt x="23203788" y="8107854"/>
                  </a:moveTo>
                  <a:lnTo>
                    <a:pt x="23232380" y="8107854"/>
                  </a:lnTo>
                  <a:lnTo>
                    <a:pt x="23389628" y="8165035"/>
                  </a:lnTo>
                  <a:lnTo>
                    <a:pt x="23394392" y="8179331"/>
                  </a:lnTo>
                  <a:lnTo>
                    <a:pt x="23399160" y="8188861"/>
                  </a:lnTo>
                  <a:lnTo>
                    <a:pt x="23394392" y="8212687"/>
                  </a:lnTo>
                  <a:lnTo>
                    <a:pt x="23384864" y="8217452"/>
                  </a:lnTo>
                  <a:lnTo>
                    <a:pt x="23375332" y="8231747"/>
                  </a:lnTo>
                  <a:lnTo>
                    <a:pt x="23370568" y="8279398"/>
                  </a:lnTo>
                  <a:lnTo>
                    <a:pt x="23370568" y="8293694"/>
                  </a:lnTo>
                  <a:lnTo>
                    <a:pt x="23361036" y="8303224"/>
                  </a:lnTo>
                  <a:lnTo>
                    <a:pt x="23318152" y="8307989"/>
                  </a:lnTo>
                  <a:lnTo>
                    <a:pt x="23227612" y="8265103"/>
                  </a:lnTo>
                  <a:lnTo>
                    <a:pt x="23199024" y="8241277"/>
                  </a:lnTo>
                  <a:lnTo>
                    <a:pt x="23175196" y="8212687"/>
                  </a:lnTo>
                  <a:lnTo>
                    <a:pt x="23146608" y="8193626"/>
                  </a:lnTo>
                  <a:lnTo>
                    <a:pt x="23141840" y="8188861"/>
                  </a:lnTo>
                  <a:lnTo>
                    <a:pt x="23146608" y="8169801"/>
                  </a:lnTo>
                  <a:lnTo>
                    <a:pt x="23151372" y="8155505"/>
                  </a:lnTo>
                  <a:lnTo>
                    <a:pt x="23184728" y="8122149"/>
                  </a:lnTo>
                  <a:close/>
                  <a:moveTo>
                    <a:pt x="6151780" y="7898188"/>
                  </a:moveTo>
                  <a:lnTo>
                    <a:pt x="6156544" y="7898188"/>
                  </a:lnTo>
                  <a:lnTo>
                    <a:pt x="6166076" y="7912483"/>
                  </a:lnTo>
                  <a:lnTo>
                    <a:pt x="6199432" y="7945839"/>
                  </a:lnTo>
                  <a:lnTo>
                    <a:pt x="6218492" y="7969665"/>
                  </a:lnTo>
                  <a:lnTo>
                    <a:pt x="6232788" y="7998256"/>
                  </a:lnTo>
                  <a:lnTo>
                    <a:pt x="6251848" y="8022081"/>
                  </a:lnTo>
                  <a:lnTo>
                    <a:pt x="6299496" y="8064968"/>
                  </a:lnTo>
                  <a:lnTo>
                    <a:pt x="6332852" y="8103089"/>
                  </a:lnTo>
                  <a:lnTo>
                    <a:pt x="6370976" y="8131680"/>
                  </a:lnTo>
                  <a:lnTo>
                    <a:pt x="6380504" y="8141210"/>
                  </a:lnTo>
                  <a:lnTo>
                    <a:pt x="6385272" y="8165035"/>
                  </a:lnTo>
                  <a:lnTo>
                    <a:pt x="6380504" y="8207922"/>
                  </a:lnTo>
                  <a:lnTo>
                    <a:pt x="6375740" y="8236512"/>
                  </a:lnTo>
                  <a:lnTo>
                    <a:pt x="6361444" y="8241278"/>
                  </a:lnTo>
                  <a:lnTo>
                    <a:pt x="6342384" y="8255573"/>
                  </a:lnTo>
                  <a:lnTo>
                    <a:pt x="6313792" y="8241278"/>
                  </a:lnTo>
                  <a:lnTo>
                    <a:pt x="6294732" y="8250808"/>
                  </a:lnTo>
                  <a:lnTo>
                    <a:pt x="6280436" y="8250808"/>
                  </a:lnTo>
                  <a:lnTo>
                    <a:pt x="6266140" y="8246043"/>
                  </a:lnTo>
                  <a:lnTo>
                    <a:pt x="6251848" y="8241278"/>
                  </a:lnTo>
                  <a:lnTo>
                    <a:pt x="6242316" y="8231747"/>
                  </a:lnTo>
                  <a:lnTo>
                    <a:pt x="6242316" y="8207922"/>
                  </a:lnTo>
                  <a:lnTo>
                    <a:pt x="6228020" y="8174566"/>
                  </a:lnTo>
                  <a:lnTo>
                    <a:pt x="6208960" y="8160270"/>
                  </a:lnTo>
                  <a:lnTo>
                    <a:pt x="6194664" y="8160270"/>
                  </a:lnTo>
                  <a:lnTo>
                    <a:pt x="6175604" y="8150740"/>
                  </a:lnTo>
                  <a:lnTo>
                    <a:pt x="6166076" y="8155505"/>
                  </a:lnTo>
                  <a:lnTo>
                    <a:pt x="6151780" y="8165035"/>
                  </a:lnTo>
                  <a:lnTo>
                    <a:pt x="6142248" y="8160270"/>
                  </a:lnTo>
                  <a:lnTo>
                    <a:pt x="6104128" y="8088793"/>
                  </a:lnTo>
                  <a:lnTo>
                    <a:pt x="6094596" y="8074498"/>
                  </a:lnTo>
                  <a:lnTo>
                    <a:pt x="6089832" y="8055437"/>
                  </a:lnTo>
                  <a:lnTo>
                    <a:pt x="6085068" y="8041142"/>
                  </a:lnTo>
                  <a:lnTo>
                    <a:pt x="6070772" y="7988726"/>
                  </a:lnTo>
                  <a:lnTo>
                    <a:pt x="6075536" y="7964900"/>
                  </a:lnTo>
                  <a:lnTo>
                    <a:pt x="6089832" y="7950604"/>
                  </a:lnTo>
                  <a:lnTo>
                    <a:pt x="6099364" y="7945839"/>
                  </a:lnTo>
                  <a:lnTo>
                    <a:pt x="6118424" y="7912483"/>
                  </a:lnTo>
                  <a:close/>
                  <a:moveTo>
                    <a:pt x="7314472" y="7755234"/>
                  </a:moveTo>
                  <a:lnTo>
                    <a:pt x="7319236" y="7755234"/>
                  </a:lnTo>
                  <a:lnTo>
                    <a:pt x="7314472" y="7788590"/>
                  </a:lnTo>
                  <a:lnTo>
                    <a:pt x="7333532" y="7860067"/>
                  </a:lnTo>
                  <a:lnTo>
                    <a:pt x="7333532" y="7879127"/>
                  </a:lnTo>
                  <a:lnTo>
                    <a:pt x="7324000" y="7874362"/>
                  </a:lnTo>
                  <a:lnTo>
                    <a:pt x="7314472" y="7850536"/>
                  </a:lnTo>
                  <a:lnTo>
                    <a:pt x="7309704" y="7826711"/>
                  </a:lnTo>
                  <a:lnTo>
                    <a:pt x="7304940" y="7774294"/>
                  </a:lnTo>
                  <a:lnTo>
                    <a:pt x="7309704" y="7759999"/>
                  </a:lnTo>
                  <a:close/>
                  <a:moveTo>
                    <a:pt x="21993448" y="7678992"/>
                  </a:moveTo>
                  <a:lnTo>
                    <a:pt x="22012508" y="7683757"/>
                  </a:lnTo>
                  <a:lnTo>
                    <a:pt x="22026800" y="7702818"/>
                  </a:lnTo>
                  <a:lnTo>
                    <a:pt x="22036332" y="7731409"/>
                  </a:lnTo>
                  <a:lnTo>
                    <a:pt x="22026800" y="7736174"/>
                  </a:lnTo>
                  <a:lnTo>
                    <a:pt x="22002976" y="7731409"/>
                  </a:lnTo>
                  <a:lnTo>
                    <a:pt x="21993448" y="7717113"/>
                  </a:lnTo>
                  <a:lnTo>
                    <a:pt x="21993448" y="7683757"/>
                  </a:lnTo>
                  <a:close/>
                  <a:moveTo>
                    <a:pt x="5174928" y="7450266"/>
                  </a:moveTo>
                  <a:lnTo>
                    <a:pt x="5179692" y="7450266"/>
                  </a:lnTo>
                  <a:lnTo>
                    <a:pt x="5198752" y="7469327"/>
                  </a:lnTo>
                  <a:lnTo>
                    <a:pt x="5213048" y="7502682"/>
                  </a:lnTo>
                  <a:lnTo>
                    <a:pt x="5227344" y="7531273"/>
                  </a:lnTo>
                  <a:lnTo>
                    <a:pt x="5236876" y="7526508"/>
                  </a:lnTo>
                  <a:lnTo>
                    <a:pt x="5246404" y="7540804"/>
                  </a:lnTo>
                  <a:lnTo>
                    <a:pt x="5246404" y="7569394"/>
                  </a:lnTo>
                  <a:lnTo>
                    <a:pt x="5227344" y="7612281"/>
                  </a:lnTo>
                  <a:lnTo>
                    <a:pt x="5222580" y="7631341"/>
                  </a:lnTo>
                  <a:lnTo>
                    <a:pt x="5232108" y="7645637"/>
                  </a:lnTo>
                  <a:lnTo>
                    <a:pt x="5232108" y="7655167"/>
                  </a:lnTo>
                  <a:lnTo>
                    <a:pt x="5217816" y="7659932"/>
                  </a:lnTo>
                  <a:lnTo>
                    <a:pt x="5213048" y="7640871"/>
                  </a:lnTo>
                  <a:lnTo>
                    <a:pt x="5208284" y="7617046"/>
                  </a:lnTo>
                  <a:lnTo>
                    <a:pt x="5189224" y="7602750"/>
                  </a:lnTo>
                  <a:lnTo>
                    <a:pt x="5179692" y="7588455"/>
                  </a:lnTo>
                  <a:lnTo>
                    <a:pt x="5174928" y="7555099"/>
                  </a:lnTo>
                  <a:lnTo>
                    <a:pt x="5141572" y="7521743"/>
                  </a:lnTo>
                  <a:lnTo>
                    <a:pt x="5127276" y="7531273"/>
                  </a:lnTo>
                  <a:lnTo>
                    <a:pt x="5103452" y="7512213"/>
                  </a:lnTo>
                  <a:lnTo>
                    <a:pt x="5098688" y="7507448"/>
                  </a:lnTo>
                  <a:lnTo>
                    <a:pt x="5093920" y="7488387"/>
                  </a:lnTo>
                  <a:lnTo>
                    <a:pt x="5103452" y="7474092"/>
                  </a:lnTo>
                  <a:lnTo>
                    <a:pt x="5136808" y="7459796"/>
                  </a:lnTo>
                  <a:lnTo>
                    <a:pt x="5155868" y="7459796"/>
                  </a:lnTo>
                  <a:lnTo>
                    <a:pt x="5170164" y="7474092"/>
                  </a:lnTo>
                  <a:lnTo>
                    <a:pt x="5170164" y="7455031"/>
                  </a:lnTo>
                  <a:close/>
                  <a:moveTo>
                    <a:pt x="18376712" y="7359729"/>
                  </a:moveTo>
                  <a:lnTo>
                    <a:pt x="18457720" y="7359729"/>
                  </a:lnTo>
                  <a:lnTo>
                    <a:pt x="18467252" y="7359729"/>
                  </a:lnTo>
                  <a:lnTo>
                    <a:pt x="18476780" y="7378789"/>
                  </a:lnTo>
                  <a:lnTo>
                    <a:pt x="18481548" y="7397850"/>
                  </a:lnTo>
                  <a:lnTo>
                    <a:pt x="18443424" y="7440736"/>
                  </a:lnTo>
                  <a:lnTo>
                    <a:pt x="18429132" y="7435971"/>
                  </a:lnTo>
                  <a:lnTo>
                    <a:pt x="18414836" y="7412145"/>
                  </a:lnTo>
                  <a:lnTo>
                    <a:pt x="18405304" y="7412145"/>
                  </a:lnTo>
                  <a:lnTo>
                    <a:pt x="18395776" y="7412145"/>
                  </a:lnTo>
                  <a:lnTo>
                    <a:pt x="18386244" y="7421676"/>
                  </a:lnTo>
                  <a:lnTo>
                    <a:pt x="18371948" y="7421676"/>
                  </a:lnTo>
                  <a:lnTo>
                    <a:pt x="18343360" y="7402615"/>
                  </a:lnTo>
                  <a:lnTo>
                    <a:pt x="18343360" y="7388320"/>
                  </a:lnTo>
                  <a:lnTo>
                    <a:pt x="18343360" y="7378789"/>
                  </a:lnTo>
                  <a:lnTo>
                    <a:pt x="18352888" y="7374024"/>
                  </a:lnTo>
                  <a:lnTo>
                    <a:pt x="18357652" y="7374024"/>
                  </a:lnTo>
                  <a:close/>
                  <a:moveTo>
                    <a:pt x="25186080" y="7354964"/>
                  </a:moveTo>
                  <a:lnTo>
                    <a:pt x="25205140" y="7354964"/>
                  </a:lnTo>
                  <a:lnTo>
                    <a:pt x="25224200" y="7364494"/>
                  </a:lnTo>
                  <a:lnTo>
                    <a:pt x="25290912" y="7383555"/>
                  </a:lnTo>
                  <a:lnTo>
                    <a:pt x="25305208" y="7388320"/>
                  </a:lnTo>
                  <a:lnTo>
                    <a:pt x="25329036" y="7412146"/>
                  </a:lnTo>
                  <a:lnTo>
                    <a:pt x="25338564" y="7416911"/>
                  </a:lnTo>
                  <a:lnTo>
                    <a:pt x="25352860" y="7431206"/>
                  </a:lnTo>
                  <a:lnTo>
                    <a:pt x="25367156" y="7455032"/>
                  </a:lnTo>
                  <a:lnTo>
                    <a:pt x="25390980" y="7478857"/>
                  </a:lnTo>
                  <a:lnTo>
                    <a:pt x="25424336" y="7507448"/>
                  </a:lnTo>
                  <a:lnTo>
                    <a:pt x="25433868" y="7516978"/>
                  </a:lnTo>
                  <a:lnTo>
                    <a:pt x="25438632" y="7540804"/>
                  </a:lnTo>
                  <a:lnTo>
                    <a:pt x="25433868" y="7564630"/>
                  </a:lnTo>
                  <a:lnTo>
                    <a:pt x="25390980" y="7612281"/>
                  </a:lnTo>
                  <a:lnTo>
                    <a:pt x="25352860" y="7626576"/>
                  </a:lnTo>
                  <a:lnTo>
                    <a:pt x="25276616" y="7636107"/>
                  </a:lnTo>
                  <a:lnTo>
                    <a:pt x="25181316" y="7674228"/>
                  </a:lnTo>
                  <a:lnTo>
                    <a:pt x="25138428" y="7683758"/>
                  </a:lnTo>
                  <a:lnTo>
                    <a:pt x="25124132" y="7683758"/>
                  </a:lnTo>
                  <a:lnTo>
                    <a:pt x="25090780" y="7659932"/>
                  </a:lnTo>
                  <a:lnTo>
                    <a:pt x="25047892" y="7650402"/>
                  </a:lnTo>
                  <a:lnTo>
                    <a:pt x="25047892" y="7650401"/>
                  </a:lnTo>
                  <a:lnTo>
                    <a:pt x="25028832" y="7655166"/>
                  </a:lnTo>
                  <a:lnTo>
                    <a:pt x="24995476" y="7693287"/>
                  </a:lnTo>
                  <a:lnTo>
                    <a:pt x="24914468" y="7702817"/>
                  </a:lnTo>
                  <a:lnTo>
                    <a:pt x="24871584" y="7726643"/>
                  </a:lnTo>
                  <a:lnTo>
                    <a:pt x="24862052" y="7731408"/>
                  </a:lnTo>
                  <a:lnTo>
                    <a:pt x="24838228" y="7645636"/>
                  </a:lnTo>
                  <a:lnTo>
                    <a:pt x="24833460" y="7621810"/>
                  </a:lnTo>
                  <a:lnTo>
                    <a:pt x="24842992" y="7593219"/>
                  </a:lnTo>
                  <a:lnTo>
                    <a:pt x="24866816" y="7559864"/>
                  </a:lnTo>
                  <a:lnTo>
                    <a:pt x="24876348" y="7531273"/>
                  </a:lnTo>
                  <a:lnTo>
                    <a:pt x="24928764" y="7488387"/>
                  </a:lnTo>
                  <a:lnTo>
                    <a:pt x="24976416" y="7426440"/>
                  </a:lnTo>
                  <a:lnTo>
                    <a:pt x="25005004" y="7416910"/>
                  </a:lnTo>
                  <a:lnTo>
                    <a:pt x="25028832" y="7388319"/>
                  </a:lnTo>
                  <a:lnTo>
                    <a:pt x="25047892" y="7383554"/>
                  </a:lnTo>
                  <a:lnTo>
                    <a:pt x="25047892" y="7383555"/>
                  </a:lnTo>
                  <a:lnTo>
                    <a:pt x="25071716" y="7378790"/>
                  </a:lnTo>
                  <a:lnTo>
                    <a:pt x="25095544" y="7364494"/>
                  </a:lnTo>
                  <a:lnTo>
                    <a:pt x="25119368" y="7359729"/>
                  </a:lnTo>
                  <a:lnTo>
                    <a:pt x="25143196" y="7369259"/>
                  </a:lnTo>
                  <a:lnTo>
                    <a:pt x="25167020" y="7364494"/>
                  </a:lnTo>
                  <a:close/>
                  <a:moveTo>
                    <a:pt x="9053740" y="6828416"/>
                  </a:moveTo>
                  <a:lnTo>
                    <a:pt x="9082332" y="6828416"/>
                  </a:lnTo>
                  <a:lnTo>
                    <a:pt x="9163340" y="6871302"/>
                  </a:lnTo>
                  <a:lnTo>
                    <a:pt x="9172868" y="6895128"/>
                  </a:lnTo>
                  <a:lnTo>
                    <a:pt x="9177636" y="6909423"/>
                  </a:lnTo>
                  <a:lnTo>
                    <a:pt x="9144280" y="6942779"/>
                  </a:lnTo>
                  <a:lnTo>
                    <a:pt x="9120452" y="6952309"/>
                  </a:lnTo>
                  <a:lnTo>
                    <a:pt x="9087096" y="6999961"/>
                  </a:lnTo>
                  <a:lnTo>
                    <a:pt x="9063272" y="7004726"/>
                  </a:lnTo>
                  <a:lnTo>
                    <a:pt x="8987032" y="7009491"/>
                  </a:lnTo>
                  <a:lnTo>
                    <a:pt x="8948908" y="7004726"/>
                  </a:lnTo>
                  <a:lnTo>
                    <a:pt x="8944144" y="6990430"/>
                  </a:lnTo>
                  <a:lnTo>
                    <a:pt x="8948908" y="6966605"/>
                  </a:lnTo>
                  <a:lnTo>
                    <a:pt x="8987032" y="6928484"/>
                  </a:lnTo>
                  <a:lnTo>
                    <a:pt x="9006092" y="6904658"/>
                  </a:lnTo>
                  <a:lnTo>
                    <a:pt x="9020384" y="6866537"/>
                  </a:lnTo>
                  <a:close/>
                  <a:moveTo>
                    <a:pt x="9301528" y="6585395"/>
                  </a:moveTo>
                  <a:lnTo>
                    <a:pt x="9330120" y="6613986"/>
                  </a:lnTo>
                  <a:lnTo>
                    <a:pt x="9339648" y="6642576"/>
                  </a:lnTo>
                  <a:lnTo>
                    <a:pt x="9358712" y="6675932"/>
                  </a:lnTo>
                  <a:lnTo>
                    <a:pt x="9358712" y="6756939"/>
                  </a:lnTo>
                  <a:lnTo>
                    <a:pt x="9353944" y="6780765"/>
                  </a:lnTo>
                  <a:lnTo>
                    <a:pt x="9344416" y="6790295"/>
                  </a:lnTo>
                  <a:lnTo>
                    <a:pt x="9258644" y="6766469"/>
                  </a:lnTo>
                  <a:lnTo>
                    <a:pt x="9225288" y="6737879"/>
                  </a:lnTo>
                  <a:lnTo>
                    <a:pt x="9220520" y="6714053"/>
                  </a:lnTo>
                  <a:lnTo>
                    <a:pt x="9220520" y="6690228"/>
                  </a:lnTo>
                  <a:close/>
                  <a:moveTo>
                    <a:pt x="8558168" y="6566334"/>
                  </a:moveTo>
                  <a:lnTo>
                    <a:pt x="8586760" y="6571099"/>
                  </a:lnTo>
                  <a:lnTo>
                    <a:pt x="8605820" y="6575864"/>
                  </a:lnTo>
                  <a:lnTo>
                    <a:pt x="8643940" y="6604455"/>
                  </a:lnTo>
                  <a:lnTo>
                    <a:pt x="8610584" y="6618750"/>
                  </a:lnTo>
                  <a:lnTo>
                    <a:pt x="8596288" y="6652106"/>
                  </a:lnTo>
                  <a:lnTo>
                    <a:pt x="8596288" y="6671167"/>
                  </a:lnTo>
                  <a:lnTo>
                    <a:pt x="8601056" y="6685462"/>
                  </a:lnTo>
                  <a:lnTo>
                    <a:pt x="8596288" y="6704523"/>
                  </a:lnTo>
                  <a:lnTo>
                    <a:pt x="8596288" y="6709288"/>
                  </a:lnTo>
                  <a:lnTo>
                    <a:pt x="8586760" y="6699758"/>
                  </a:lnTo>
                  <a:lnTo>
                    <a:pt x="8562932" y="6685462"/>
                  </a:lnTo>
                  <a:lnTo>
                    <a:pt x="8524812" y="6647341"/>
                  </a:lnTo>
                  <a:lnTo>
                    <a:pt x="8510516" y="6623516"/>
                  </a:lnTo>
                  <a:lnTo>
                    <a:pt x="8515284" y="6594925"/>
                  </a:lnTo>
                  <a:lnTo>
                    <a:pt x="8524812" y="6575864"/>
                  </a:lnTo>
                  <a:close/>
                  <a:moveTo>
                    <a:pt x="15670120" y="6542509"/>
                  </a:moveTo>
                  <a:lnTo>
                    <a:pt x="15689184" y="6552039"/>
                  </a:lnTo>
                  <a:lnTo>
                    <a:pt x="15713008" y="6575865"/>
                  </a:lnTo>
                  <a:lnTo>
                    <a:pt x="15717772" y="6585395"/>
                  </a:lnTo>
                  <a:lnTo>
                    <a:pt x="15679652" y="6609221"/>
                  </a:lnTo>
                  <a:lnTo>
                    <a:pt x="15646296" y="6609221"/>
                  </a:lnTo>
                  <a:lnTo>
                    <a:pt x="15622472" y="6566335"/>
                  </a:lnTo>
                  <a:lnTo>
                    <a:pt x="15641532" y="6552039"/>
                  </a:lnTo>
                  <a:close/>
                  <a:moveTo>
                    <a:pt x="5494192" y="6423381"/>
                  </a:moveTo>
                  <a:lnTo>
                    <a:pt x="5518016" y="6428146"/>
                  </a:lnTo>
                  <a:lnTo>
                    <a:pt x="5546608" y="6442442"/>
                  </a:lnTo>
                  <a:lnTo>
                    <a:pt x="5575200" y="6471032"/>
                  </a:lnTo>
                  <a:lnTo>
                    <a:pt x="5651440" y="6490093"/>
                  </a:lnTo>
                  <a:lnTo>
                    <a:pt x="5703856" y="6499623"/>
                  </a:lnTo>
                  <a:lnTo>
                    <a:pt x="5737212" y="6513918"/>
                  </a:lnTo>
                  <a:lnTo>
                    <a:pt x="5751508" y="6528214"/>
                  </a:lnTo>
                  <a:lnTo>
                    <a:pt x="5746744" y="6561570"/>
                  </a:lnTo>
                  <a:lnTo>
                    <a:pt x="5737212" y="6575865"/>
                  </a:lnTo>
                  <a:lnTo>
                    <a:pt x="5713388" y="6618751"/>
                  </a:lnTo>
                  <a:lnTo>
                    <a:pt x="5708624" y="6642577"/>
                  </a:lnTo>
                  <a:lnTo>
                    <a:pt x="5713388" y="6685463"/>
                  </a:lnTo>
                  <a:lnTo>
                    <a:pt x="5708624" y="6714054"/>
                  </a:lnTo>
                  <a:lnTo>
                    <a:pt x="5703856" y="6737879"/>
                  </a:lnTo>
                  <a:lnTo>
                    <a:pt x="5694328" y="6747410"/>
                  </a:lnTo>
                  <a:lnTo>
                    <a:pt x="5656208" y="6747410"/>
                  </a:lnTo>
                  <a:lnTo>
                    <a:pt x="5641912" y="6761705"/>
                  </a:lnTo>
                  <a:lnTo>
                    <a:pt x="5637144" y="6780766"/>
                  </a:lnTo>
                  <a:lnTo>
                    <a:pt x="5637144" y="6809356"/>
                  </a:lnTo>
                  <a:lnTo>
                    <a:pt x="5622852" y="6847477"/>
                  </a:lnTo>
                  <a:lnTo>
                    <a:pt x="5594260" y="6861773"/>
                  </a:lnTo>
                  <a:lnTo>
                    <a:pt x="5589496" y="6871303"/>
                  </a:lnTo>
                  <a:lnTo>
                    <a:pt x="5594260" y="6895129"/>
                  </a:lnTo>
                  <a:lnTo>
                    <a:pt x="5584728" y="6918954"/>
                  </a:lnTo>
                  <a:lnTo>
                    <a:pt x="5584728" y="6947545"/>
                  </a:lnTo>
                  <a:lnTo>
                    <a:pt x="5589496" y="6961840"/>
                  </a:lnTo>
                  <a:lnTo>
                    <a:pt x="5589496" y="6995196"/>
                  </a:lnTo>
                  <a:lnTo>
                    <a:pt x="5608556" y="7042848"/>
                  </a:lnTo>
                  <a:lnTo>
                    <a:pt x="5603792" y="7061908"/>
                  </a:lnTo>
                  <a:lnTo>
                    <a:pt x="5589496" y="7100029"/>
                  </a:lnTo>
                  <a:lnTo>
                    <a:pt x="5584728" y="7145298"/>
                  </a:lnTo>
                  <a:lnTo>
                    <a:pt x="5575200" y="7183419"/>
                  </a:lnTo>
                  <a:lnTo>
                    <a:pt x="5599024" y="7216775"/>
                  </a:lnTo>
                  <a:lnTo>
                    <a:pt x="5613320" y="7259661"/>
                  </a:lnTo>
                  <a:lnTo>
                    <a:pt x="5622852" y="7307312"/>
                  </a:lnTo>
                  <a:lnTo>
                    <a:pt x="5656208" y="7397850"/>
                  </a:lnTo>
                  <a:lnTo>
                    <a:pt x="5689564" y="7478857"/>
                  </a:lnTo>
                  <a:lnTo>
                    <a:pt x="5756276" y="7593220"/>
                  </a:lnTo>
                  <a:lnTo>
                    <a:pt x="5822984" y="7678992"/>
                  </a:lnTo>
                  <a:lnTo>
                    <a:pt x="5846812" y="7702818"/>
                  </a:lnTo>
                  <a:lnTo>
                    <a:pt x="5913524" y="7745704"/>
                  </a:lnTo>
                  <a:lnTo>
                    <a:pt x="5927820" y="7755234"/>
                  </a:lnTo>
                  <a:lnTo>
                    <a:pt x="5937348" y="7774295"/>
                  </a:lnTo>
                  <a:lnTo>
                    <a:pt x="5908760" y="7807651"/>
                  </a:lnTo>
                  <a:lnTo>
                    <a:pt x="5880168" y="7817181"/>
                  </a:lnTo>
                  <a:lnTo>
                    <a:pt x="5880168" y="7831476"/>
                  </a:lnTo>
                  <a:lnTo>
                    <a:pt x="5861108" y="7841007"/>
                  </a:lnTo>
                  <a:lnTo>
                    <a:pt x="5784864" y="7812416"/>
                  </a:lnTo>
                  <a:lnTo>
                    <a:pt x="5780100" y="7807651"/>
                  </a:lnTo>
                  <a:lnTo>
                    <a:pt x="5770568" y="7788590"/>
                  </a:lnTo>
                  <a:lnTo>
                    <a:pt x="5761040" y="7774295"/>
                  </a:lnTo>
                  <a:lnTo>
                    <a:pt x="5741980" y="7769530"/>
                  </a:lnTo>
                  <a:lnTo>
                    <a:pt x="5722920" y="7779060"/>
                  </a:lnTo>
                  <a:lnTo>
                    <a:pt x="5737212" y="7798121"/>
                  </a:lnTo>
                  <a:lnTo>
                    <a:pt x="5746744" y="7802886"/>
                  </a:lnTo>
                  <a:lnTo>
                    <a:pt x="5770568" y="7836242"/>
                  </a:lnTo>
                  <a:lnTo>
                    <a:pt x="5761040" y="7850537"/>
                  </a:lnTo>
                  <a:lnTo>
                    <a:pt x="5751508" y="7850537"/>
                  </a:lnTo>
                  <a:lnTo>
                    <a:pt x="5703856" y="7807651"/>
                  </a:lnTo>
                  <a:lnTo>
                    <a:pt x="5699092" y="7812416"/>
                  </a:lnTo>
                  <a:lnTo>
                    <a:pt x="5699092" y="7826711"/>
                  </a:lnTo>
                  <a:lnTo>
                    <a:pt x="5675268" y="7812416"/>
                  </a:lnTo>
                  <a:lnTo>
                    <a:pt x="5670500" y="7821946"/>
                  </a:lnTo>
                  <a:lnTo>
                    <a:pt x="5651440" y="7826711"/>
                  </a:lnTo>
                  <a:lnTo>
                    <a:pt x="5637144" y="7817181"/>
                  </a:lnTo>
                  <a:lnTo>
                    <a:pt x="5637144" y="7798121"/>
                  </a:lnTo>
                  <a:lnTo>
                    <a:pt x="5632380" y="7793356"/>
                  </a:lnTo>
                  <a:lnTo>
                    <a:pt x="5565668" y="7802886"/>
                  </a:lnTo>
                  <a:lnTo>
                    <a:pt x="5532312" y="7802886"/>
                  </a:lnTo>
                  <a:lnTo>
                    <a:pt x="5503724" y="7798121"/>
                  </a:lnTo>
                  <a:lnTo>
                    <a:pt x="5470368" y="7769530"/>
                  </a:lnTo>
                  <a:lnTo>
                    <a:pt x="5465600" y="7779060"/>
                  </a:lnTo>
                  <a:lnTo>
                    <a:pt x="5465600" y="7798121"/>
                  </a:lnTo>
                  <a:lnTo>
                    <a:pt x="5451304" y="7788590"/>
                  </a:lnTo>
                  <a:lnTo>
                    <a:pt x="5422716" y="7764765"/>
                  </a:lnTo>
                  <a:lnTo>
                    <a:pt x="5403656" y="7755234"/>
                  </a:lnTo>
                  <a:lnTo>
                    <a:pt x="5327412" y="7731409"/>
                  </a:lnTo>
                  <a:lnTo>
                    <a:pt x="5274996" y="7707583"/>
                  </a:lnTo>
                  <a:lnTo>
                    <a:pt x="5289292" y="7693288"/>
                  </a:lnTo>
                  <a:lnTo>
                    <a:pt x="5308352" y="7683758"/>
                  </a:lnTo>
                  <a:lnTo>
                    <a:pt x="5308352" y="7669462"/>
                  </a:lnTo>
                  <a:lnTo>
                    <a:pt x="5308352" y="7645636"/>
                  </a:lnTo>
                  <a:lnTo>
                    <a:pt x="5308352" y="7621811"/>
                  </a:lnTo>
                  <a:lnTo>
                    <a:pt x="5317884" y="7602750"/>
                  </a:lnTo>
                  <a:lnTo>
                    <a:pt x="5346472" y="7612281"/>
                  </a:lnTo>
                  <a:lnTo>
                    <a:pt x="5346472" y="7583690"/>
                  </a:lnTo>
                  <a:lnTo>
                    <a:pt x="5360768" y="7578925"/>
                  </a:lnTo>
                  <a:lnTo>
                    <a:pt x="5384596" y="7593220"/>
                  </a:lnTo>
                  <a:lnTo>
                    <a:pt x="5394124" y="7583690"/>
                  </a:lnTo>
                  <a:lnTo>
                    <a:pt x="5351240" y="7550334"/>
                  </a:lnTo>
                  <a:lnTo>
                    <a:pt x="5308352" y="7502683"/>
                  </a:lnTo>
                  <a:lnTo>
                    <a:pt x="5313116" y="7483622"/>
                  </a:lnTo>
                  <a:lnTo>
                    <a:pt x="5294056" y="7478857"/>
                  </a:lnTo>
                  <a:lnTo>
                    <a:pt x="5279760" y="7478857"/>
                  </a:lnTo>
                  <a:lnTo>
                    <a:pt x="5265464" y="7450266"/>
                  </a:lnTo>
                  <a:lnTo>
                    <a:pt x="5265464" y="7412145"/>
                  </a:lnTo>
                  <a:lnTo>
                    <a:pt x="5279760" y="7388320"/>
                  </a:lnTo>
                  <a:lnTo>
                    <a:pt x="5270232" y="7378789"/>
                  </a:lnTo>
                  <a:lnTo>
                    <a:pt x="5198756" y="7402615"/>
                  </a:lnTo>
                  <a:lnTo>
                    <a:pt x="5165400" y="7397850"/>
                  </a:lnTo>
                  <a:lnTo>
                    <a:pt x="5122512" y="7383554"/>
                  </a:lnTo>
                  <a:lnTo>
                    <a:pt x="5084392" y="7407380"/>
                  </a:lnTo>
                  <a:lnTo>
                    <a:pt x="5051036" y="7412145"/>
                  </a:lnTo>
                  <a:lnTo>
                    <a:pt x="5027208" y="7407380"/>
                  </a:lnTo>
                  <a:lnTo>
                    <a:pt x="5008148" y="7388320"/>
                  </a:lnTo>
                  <a:lnTo>
                    <a:pt x="4993852" y="7369259"/>
                  </a:lnTo>
                  <a:lnTo>
                    <a:pt x="4979560" y="7331138"/>
                  </a:lnTo>
                  <a:lnTo>
                    <a:pt x="4970028" y="7264426"/>
                  </a:lnTo>
                  <a:lnTo>
                    <a:pt x="4970028" y="7240601"/>
                  </a:lnTo>
                  <a:lnTo>
                    <a:pt x="4970028" y="7183419"/>
                  </a:lnTo>
                  <a:lnTo>
                    <a:pt x="4979560" y="7164358"/>
                  </a:lnTo>
                  <a:lnTo>
                    <a:pt x="4993852" y="7116707"/>
                  </a:lnTo>
                  <a:lnTo>
                    <a:pt x="5003384" y="7104794"/>
                  </a:lnTo>
                  <a:lnTo>
                    <a:pt x="5027208" y="7080969"/>
                  </a:lnTo>
                  <a:lnTo>
                    <a:pt x="5041504" y="7076204"/>
                  </a:lnTo>
                  <a:lnTo>
                    <a:pt x="5070096" y="7085734"/>
                  </a:lnTo>
                  <a:lnTo>
                    <a:pt x="5098688" y="7090499"/>
                  </a:lnTo>
                  <a:lnTo>
                    <a:pt x="5108216" y="7076204"/>
                  </a:lnTo>
                  <a:lnTo>
                    <a:pt x="5122512" y="7057143"/>
                  </a:lnTo>
                  <a:lnTo>
                    <a:pt x="5132044" y="7028552"/>
                  </a:lnTo>
                  <a:lnTo>
                    <a:pt x="5151104" y="7009492"/>
                  </a:lnTo>
                  <a:lnTo>
                    <a:pt x="5155868" y="6999962"/>
                  </a:lnTo>
                  <a:lnTo>
                    <a:pt x="5160632" y="6980901"/>
                  </a:lnTo>
                  <a:lnTo>
                    <a:pt x="5170164" y="6957075"/>
                  </a:lnTo>
                  <a:lnTo>
                    <a:pt x="5170164" y="6933250"/>
                  </a:lnTo>
                  <a:lnTo>
                    <a:pt x="5174928" y="6909424"/>
                  </a:lnTo>
                  <a:lnTo>
                    <a:pt x="5193988" y="6871303"/>
                  </a:lnTo>
                  <a:lnTo>
                    <a:pt x="5189224" y="6852243"/>
                  </a:lnTo>
                  <a:lnTo>
                    <a:pt x="5189224" y="6837947"/>
                  </a:lnTo>
                  <a:lnTo>
                    <a:pt x="5203520" y="6809356"/>
                  </a:lnTo>
                  <a:lnTo>
                    <a:pt x="5165400" y="6804591"/>
                  </a:lnTo>
                  <a:lnTo>
                    <a:pt x="5151104" y="6790296"/>
                  </a:lnTo>
                  <a:lnTo>
                    <a:pt x="5141572" y="6776000"/>
                  </a:lnTo>
                  <a:lnTo>
                    <a:pt x="5141572" y="6756940"/>
                  </a:lnTo>
                  <a:lnTo>
                    <a:pt x="5151104" y="6747410"/>
                  </a:lnTo>
                  <a:lnTo>
                    <a:pt x="5184460" y="6699758"/>
                  </a:lnTo>
                  <a:lnTo>
                    <a:pt x="5203520" y="6690228"/>
                  </a:lnTo>
                  <a:lnTo>
                    <a:pt x="5217816" y="6680698"/>
                  </a:lnTo>
                  <a:lnTo>
                    <a:pt x="5236876" y="6680698"/>
                  </a:lnTo>
                  <a:lnTo>
                    <a:pt x="5255936" y="6685463"/>
                  </a:lnTo>
                  <a:lnTo>
                    <a:pt x="5270232" y="6680698"/>
                  </a:lnTo>
                  <a:lnTo>
                    <a:pt x="5251172" y="6647342"/>
                  </a:lnTo>
                  <a:lnTo>
                    <a:pt x="5251172" y="6628282"/>
                  </a:lnTo>
                  <a:lnTo>
                    <a:pt x="5246404" y="6580630"/>
                  </a:lnTo>
                  <a:lnTo>
                    <a:pt x="5246404" y="6556805"/>
                  </a:lnTo>
                  <a:lnTo>
                    <a:pt x="5255936" y="6537744"/>
                  </a:lnTo>
                  <a:lnTo>
                    <a:pt x="5270232" y="6513918"/>
                  </a:lnTo>
                  <a:lnTo>
                    <a:pt x="5294056" y="6504388"/>
                  </a:lnTo>
                  <a:lnTo>
                    <a:pt x="5313116" y="6494858"/>
                  </a:lnTo>
                  <a:lnTo>
                    <a:pt x="5332176" y="6475797"/>
                  </a:lnTo>
                  <a:lnTo>
                    <a:pt x="5351240" y="6475797"/>
                  </a:lnTo>
                  <a:lnTo>
                    <a:pt x="5384596" y="6485328"/>
                  </a:lnTo>
                  <a:lnTo>
                    <a:pt x="5403656" y="6485328"/>
                  </a:lnTo>
                  <a:lnTo>
                    <a:pt x="5422716" y="6475797"/>
                  </a:lnTo>
                  <a:lnTo>
                    <a:pt x="5475132" y="6437676"/>
                  </a:lnTo>
                  <a:close/>
                  <a:moveTo>
                    <a:pt x="8014944" y="6356669"/>
                  </a:moveTo>
                  <a:lnTo>
                    <a:pt x="8029240" y="6361434"/>
                  </a:lnTo>
                  <a:lnTo>
                    <a:pt x="8048300" y="6375730"/>
                  </a:lnTo>
                  <a:lnTo>
                    <a:pt x="8062596" y="6394790"/>
                  </a:lnTo>
                  <a:lnTo>
                    <a:pt x="8081656" y="6432911"/>
                  </a:lnTo>
                  <a:lnTo>
                    <a:pt x="8095952" y="6451972"/>
                  </a:lnTo>
                  <a:lnTo>
                    <a:pt x="8119776" y="6480562"/>
                  </a:lnTo>
                  <a:lnTo>
                    <a:pt x="8124544" y="6513918"/>
                  </a:lnTo>
                  <a:lnTo>
                    <a:pt x="8124544" y="6542509"/>
                  </a:lnTo>
                  <a:lnTo>
                    <a:pt x="8081656" y="6547274"/>
                  </a:lnTo>
                  <a:lnTo>
                    <a:pt x="8010180" y="6571100"/>
                  </a:lnTo>
                  <a:lnTo>
                    <a:pt x="7976824" y="6585395"/>
                  </a:lnTo>
                  <a:lnTo>
                    <a:pt x="7929172" y="6609221"/>
                  </a:lnTo>
                  <a:lnTo>
                    <a:pt x="7914876" y="6609221"/>
                  </a:lnTo>
                  <a:lnTo>
                    <a:pt x="7886284" y="6604456"/>
                  </a:lnTo>
                  <a:lnTo>
                    <a:pt x="7876756" y="6613986"/>
                  </a:lnTo>
                  <a:lnTo>
                    <a:pt x="7857696" y="6590160"/>
                  </a:lnTo>
                  <a:lnTo>
                    <a:pt x="7857696" y="6566335"/>
                  </a:lnTo>
                  <a:lnTo>
                    <a:pt x="7867224" y="6542509"/>
                  </a:lnTo>
                  <a:lnTo>
                    <a:pt x="7871992" y="6513918"/>
                  </a:lnTo>
                  <a:lnTo>
                    <a:pt x="7867224" y="6442441"/>
                  </a:lnTo>
                  <a:lnTo>
                    <a:pt x="7891052" y="6394790"/>
                  </a:lnTo>
                  <a:lnTo>
                    <a:pt x="7924408" y="6375730"/>
                  </a:lnTo>
                  <a:close/>
                  <a:moveTo>
                    <a:pt x="8829780" y="6332843"/>
                  </a:moveTo>
                  <a:lnTo>
                    <a:pt x="8844076" y="6332843"/>
                  </a:lnTo>
                  <a:lnTo>
                    <a:pt x="8925084" y="6394790"/>
                  </a:lnTo>
                  <a:lnTo>
                    <a:pt x="8910788" y="6399555"/>
                  </a:lnTo>
                  <a:lnTo>
                    <a:pt x="8844076" y="6375729"/>
                  </a:lnTo>
                  <a:lnTo>
                    <a:pt x="8820252" y="6351904"/>
                  </a:lnTo>
                  <a:close/>
                  <a:moveTo>
                    <a:pt x="8796424" y="6323313"/>
                  </a:moveTo>
                  <a:lnTo>
                    <a:pt x="8810720" y="6332843"/>
                  </a:lnTo>
                  <a:lnTo>
                    <a:pt x="8815488" y="6337608"/>
                  </a:lnTo>
                  <a:lnTo>
                    <a:pt x="8791660" y="6375729"/>
                  </a:lnTo>
                  <a:lnTo>
                    <a:pt x="8777364" y="6385260"/>
                  </a:lnTo>
                  <a:lnTo>
                    <a:pt x="8729712" y="6385260"/>
                  </a:lnTo>
                  <a:lnTo>
                    <a:pt x="8705888" y="6399555"/>
                  </a:lnTo>
                  <a:lnTo>
                    <a:pt x="8710652" y="6375729"/>
                  </a:lnTo>
                  <a:lnTo>
                    <a:pt x="8739244" y="6342374"/>
                  </a:lnTo>
                  <a:close/>
                  <a:moveTo>
                    <a:pt x="19101012" y="6132708"/>
                  </a:moveTo>
                  <a:lnTo>
                    <a:pt x="19143900" y="6142238"/>
                  </a:lnTo>
                  <a:lnTo>
                    <a:pt x="19182020" y="6170829"/>
                  </a:lnTo>
                  <a:lnTo>
                    <a:pt x="19215376" y="6194655"/>
                  </a:lnTo>
                  <a:lnTo>
                    <a:pt x="19324976" y="6328078"/>
                  </a:lnTo>
                  <a:lnTo>
                    <a:pt x="19334504" y="6351904"/>
                  </a:lnTo>
                  <a:lnTo>
                    <a:pt x="19344036" y="6385260"/>
                  </a:lnTo>
                  <a:lnTo>
                    <a:pt x="19348800" y="6504388"/>
                  </a:lnTo>
                  <a:lnTo>
                    <a:pt x="19339268" y="6509153"/>
                  </a:lnTo>
                  <a:lnTo>
                    <a:pt x="19301148" y="6518683"/>
                  </a:lnTo>
                  <a:lnTo>
                    <a:pt x="19243968" y="6504388"/>
                  </a:lnTo>
                  <a:lnTo>
                    <a:pt x="19205848" y="6499622"/>
                  </a:lnTo>
                  <a:lnTo>
                    <a:pt x="19167724" y="6499622"/>
                  </a:lnTo>
                  <a:lnTo>
                    <a:pt x="19134368" y="6485327"/>
                  </a:lnTo>
                  <a:lnTo>
                    <a:pt x="19048596" y="6466267"/>
                  </a:lnTo>
                  <a:lnTo>
                    <a:pt x="18986652" y="6423381"/>
                  </a:lnTo>
                  <a:lnTo>
                    <a:pt x="18919940" y="6394790"/>
                  </a:lnTo>
                  <a:lnTo>
                    <a:pt x="18905644" y="6390025"/>
                  </a:lnTo>
                  <a:lnTo>
                    <a:pt x="18862756" y="6399555"/>
                  </a:lnTo>
                  <a:lnTo>
                    <a:pt x="18805576" y="6437676"/>
                  </a:lnTo>
                  <a:lnTo>
                    <a:pt x="18791280" y="6442441"/>
                  </a:lnTo>
                  <a:lnTo>
                    <a:pt x="18767456" y="6442441"/>
                  </a:lnTo>
                  <a:lnTo>
                    <a:pt x="18753160" y="6404320"/>
                  </a:lnTo>
                  <a:lnTo>
                    <a:pt x="18786516" y="6394790"/>
                  </a:lnTo>
                  <a:lnTo>
                    <a:pt x="18824636" y="6385260"/>
                  </a:lnTo>
                  <a:lnTo>
                    <a:pt x="18862756" y="6375729"/>
                  </a:lnTo>
                  <a:lnTo>
                    <a:pt x="18891348" y="6328078"/>
                  </a:lnTo>
                  <a:lnTo>
                    <a:pt x="18910408" y="6294722"/>
                  </a:lnTo>
                  <a:lnTo>
                    <a:pt x="18939000" y="6208950"/>
                  </a:lnTo>
                  <a:lnTo>
                    <a:pt x="18953296" y="6180359"/>
                  </a:lnTo>
                  <a:lnTo>
                    <a:pt x="18972356" y="6161299"/>
                  </a:lnTo>
                  <a:lnTo>
                    <a:pt x="18986652" y="6156534"/>
                  </a:lnTo>
                  <a:lnTo>
                    <a:pt x="19005712" y="6156534"/>
                  </a:lnTo>
                  <a:lnTo>
                    <a:pt x="19062892" y="6137473"/>
                  </a:lnTo>
                  <a:close/>
                  <a:moveTo>
                    <a:pt x="16370596" y="6118412"/>
                  </a:moveTo>
                  <a:lnTo>
                    <a:pt x="16384892" y="6123177"/>
                  </a:lnTo>
                  <a:lnTo>
                    <a:pt x="16399184" y="6142237"/>
                  </a:lnTo>
                  <a:lnTo>
                    <a:pt x="16403952" y="6147003"/>
                  </a:lnTo>
                  <a:lnTo>
                    <a:pt x="16384892" y="6170828"/>
                  </a:lnTo>
                  <a:lnTo>
                    <a:pt x="16375360" y="6170828"/>
                  </a:lnTo>
                  <a:lnTo>
                    <a:pt x="16361064" y="6156533"/>
                  </a:lnTo>
                  <a:lnTo>
                    <a:pt x="16356300" y="6137472"/>
                  </a:lnTo>
                  <a:lnTo>
                    <a:pt x="16356300" y="6123177"/>
                  </a:lnTo>
                  <a:close/>
                  <a:moveTo>
                    <a:pt x="9925760" y="5999284"/>
                  </a:moveTo>
                  <a:lnTo>
                    <a:pt x="9982940" y="6013579"/>
                  </a:lnTo>
                  <a:lnTo>
                    <a:pt x="9997236" y="6032640"/>
                  </a:lnTo>
                  <a:lnTo>
                    <a:pt x="9987708" y="6042170"/>
                  </a:lnTo>
                  <a:lnTo>
                    <a:pt x="9978176" y="6056466"/>
                  </a:lnTo>
                  <a:lnTo>
                    <a:pt x="9968648" y="6056466"/>
                  </a:lnTo>
                  <a:lnTo>
                    <a:pt x="9963880" y="6061231"/>
                  </a:lnTo>
                  <a:lnTo>
                    <a:pt x="9925760" y="6042170"/>
                  </a:lnTo>
                  <a:lnTo>
                    <a:pt x="9873344" y="6032640"/>
                  </a:lnTo>
                  <a:lnTo>
                    <a:pt x="9882876" y="6013579"/>
                  </a:lnTo>
                  <a:close/>
                  <a:moveTo>
                    <a:pt x="9825692" y="5994519"/>
                  </a:moveTo>
                  <a:lnTo>
                    <a:pt x="9839988" y="5999284"/>
                  </a:lnTo>
                  <a:lnTo>
                    <a:pt x="9849520" y="6023110"/>
                  </a:lnTo>
                  <a:lnTo>
                    <a:pt x="9854284" y="6032640"/>
                  </a:lnTo>
                  <a:lnTo>
                    <a:pt x="9839988" y="6051701"/>
                  </a:lnTo>
                  <a:lnTo>
                    <a:pt x="9820928" y="6042171"/>
                  </a:lnTo>
                  <a:lnTo>
                    <a:pt x="9801868" y="6027875"/>
                  </a:lnTo>
                  <a:lnTo>
                    <a:pt x="9797104" y="6008814"/>
                  </a:lnTo>
                  <a:lnTo>
                    <a:pt x="9801868" y="5999284"/>
                  </a:lnTo>
                  <a:close/>
                  <a:moveTo>
                    <a:pt x="18081276" y="5942103"/>
                  </a:moveTo>
                  <a:lnTo>
                    <a:pt x="18119396" y="5961164"/>
                  </a:lnTo>
                  <a:lnTo>
                    <a:pt x="18181344" y="6032641"/>
                  </a:lnTo>
                  <a:lnTo>
                    <a:pt x="18214700" y="6094587"/>
                  </a:lnTo>
                  <a:lnTo>
                    <a:pt x="18205168" y="6132708"/>
                  </a:lnTo>
                  <a:lnTo>
                    <a:pt x="18195640" y="6151769"/>
                  </a:lnTo>
                  <a:lnTo>
                    <a:pt x="18186108" y="6123178"/>
                  </a:lnTo>
                  <a:lnTo>
                    <a:pt x="18133692" y="6051701"/>
                  </a:lnTo>
                  <a:lnTo>
                    <a:pt x="18119396" y="6018345"/>
                  </a:lnTo>
                  <a:lnTo>
                    <a:pt x="18090808" y="5984989"/>
                  </a:lnTo>
                  <a:lnTo>
                    <a:pt x="18081276" y="5970694"/>
                  </a:lnTo>
                  <a:close/>
                  <a:moveTo>
                    <a:pt x="18934236" y="5927807"/>
                  </a:moveTo>
                  <a:lnTo>
                    <a:pt x="18948528" y="5932572"/>
                  </a:lnTo>
                  <a:lnTo>
                    <a:pt x="18962824" y="5946867"/>
                  </a:lnTo>
                  <a:lnTo>
                    <a:pt x="18967588" y="5965928"/>
                  </a:lnTo>
                  <a:lnTo>
                    <a:pt x="18972356" y="5989754"/>
                  </a:lnTo>
                  <a:lnTo>
                    <a:pt x="18962824" y="6056465"/>
                  </a:lnTo>
                  <a:lnTo>
                    <a:pt x="18958060" y="6085056"/>
                  </a:lnTo>
                  <a:lnTo>
                    <a:pt x="18881816" y="6132707"/>
                  </a:lnTo>
                  <a:lnTo>
                    <a:pt x="18862756" y="6127942"/>
                  </a:lnTo>
                  <a:lnTo>
                    <a:pt x="18829400" y="6080291"/>
                  </a:lnTo>
                  <a:lnTo>
                    <a:pt x="18815104" y="5980223"/>
                  </a:lnTo>
                  <a:lnTo>
                    <a:pt x="18829400" y="5951633"/>
                  </a:lnTo>
                  <a:lnTo>
                    <a:pt x="18848460" y="5937337"/>
                  </a:lnTo>
                  <a:lnTo>
                    <a:pt x="18862756" y="5932572"/>
                  </a:lnTo>
                  <a:close/>
                  <a:moveTo>
                    <a:pt x="10164016" y="5789619"/>
                  </a:moveTo>
                  <a:lnTo>
                    <a:pt x="10192608" y="5789619"/>
                  </a:lnTo>
                  <a:lnTo>
                    <a:pt x="10173548" y="5822975"/>
                  </a:lnTo>
                  <a:lnTo>
                    <a:pt x="10168780" y="5856331"/>
                  </a:lnTo>
                  <a:lnTo>
                    <a:pt x="10121132" y="5837270"/>
                  </a:lnTo>
                  <a:lnTo>
                    <a:pt x="10116364" y="5822975"/>
                  </a:lnTo>
                  <a:lnTo>
                    <a:pt x="10140192" y="5803914"/>
                  </a:lnTo>
                  <a:close/>
                  <a:moveTo>
                    <a:pt x="14440720" y="5770558"/>
                  </a:moveTo>
                  <a:lnTo>
                    <a:pt x="14574144" y="5808679"/>
                  </a:lnTo>
                  <a:lnTo>
                    <a:pt x="14626560" y="5832505"/>
                  </a:lnTo>
                  <a:lnTo>
                    <a:pt x="14645620" y="5856330"/>
                  </a:lnTo>
                  <a:lnTo>
                    <a:pt x="14640856" y="5884921"/>
                  </a:lnTo>
                  <a:lnTo>
                    <a:pt x="14631324" y="5903982"/>
                  </a:lnTo>
                  <a:lnTo>
                    <a:pt x="14621796" y="5927807"/>
                  </a:lnTo>
                  <a:lnTo>
                    <a:pt x="14612264" y="5946868"/>
                  </a:lnTo>
                  <a:lnTo>
                    <a:pt x="14578908" y="5970693"/>
                  </a:lnTo>
                  <a:lnTo>
                    <a:pt x="14555084" y="6027875"/>
                  </a:lnTo>
                  <a:lnTo>
                    <a:pt x="14550316" y="6032640"/>
                  </a:lnTo>
                  <a:lnTo>
                    <a:pt x="14459780" y="6004049"/>
                  </a:lnTo>
                  <a:lnTo>
                    <a:pt x="14445484" y="5989754"/>
                  </a:lnTo>
                  <a:lnTo>
                    <a:pt x="14412128" y="5961163"/>
                  </a:lnTo>
                  <a:lnTo>
                    <a:pt x="14369244" y="5927807"/>
                  </a:lnTo>
                  <a:lnTo>
                    <a:pt x="14350184" y="5884921"/>
                  </a:lnTo>
                  <a:lnTo>
                    <a:pt x="14359712" y="5875391"/>
                  </a:lnTo>
                  <a:lnTo>
                    <a:pt x="14369244" y="5870626"/>
                  </a:lnTo>
                  <a:lnTo>
                    <a:pt x="14407364" y="5875391"/>
                  </a:lnTo>
                  <a:lnTo>
                    <a:pt x="14421660" y="5861095"/>
                  </a:lnTo>
                  <a:lnTo>
                    <a:pt x="14426424" y="5822974"/>
                  </a:lnTo>
                  <a:lnTo>
                    <a:pt x="14426424" y="5799149"/>
                  </a:lnTo>
                  <a:lnTo>
                    <a:pt x="14426424" y="5780088"/>
                  </a:lnTo>
                  <a:close/>
                  <a:moveTo>
                    <a:pt x="10464220" y="5503711"/>
                  </a:moveTo>
                  <a:lnTo>
                    <a:pt x="10468984" y="5513241"/>
                  </a:lnTo>
                  <a:lnTo>
                    <a:pt x="10483280" y="5522772"/>
                  </a:lnTo>
                  <a:lnTo>
                    <a:pt x="10526168" y="5503711"/>
                  </a:lnTo>
                  <a:lnTo>
                    <a:pt x="10530932" y="5513241"/>
                  </a:lnTo>
                  <a:lnTo>
                    <a:pt x="10545228" y="5537067"/>
                  </a:lnTo>
                  <a:lnTo>
                    <a:pt x="10526168" y="5584718"/>
                  </a:lnTo>
                  <a:lnTo>
                    <a:pt x="10511872" y="5603779"/>
                  </a:lnTo>
                  <a:lnTo>
                    <a:pt x="10478516" y="5589484"/>
                  </a:lnTo>
                  <a:lnTo>
                    <a:pt x="10430864" y="5589484"/>
                  </a:lnTo>
                  <a:lnTo>
                    <a:pt x="10411804" y="5565658"/>
                  </a:lnTo>
                  <a:lnTo>
                    <a:pt x="10421332" y="5537067"/>
                  </a:lnTo>
                  <a:lnTo>
                    <a:pt x="10449924" y="5522772"/>
                  </a:lnTo>
                  <a:close/>
                  <a:moveTo>
                    <a:pt x="9749452" y="5184448"/>
                  </a:moveTo>
                  <a:lnTo>
                    <a:pt x="9768512" y="5184448"/>
                  </a:lnTo>
                  <a:lnTo>
                    <a:pt x="9773276" y="5241629"/>
                  </a:lnTo>
                  <a:lnTo>
                    <a:pt x="9778040" y="5265455"/>
                  </a:lnTo>
                  <a:lnTo>
                    <a:pt x="9778040" y="5284515"/>
                  </a:lnTo>
                  <a:lnTo>
                    <a:pt x="9773276" y="5294046"/>
                  </a:lnTo>
                  <a:lnTo>
                    <a:pt x="9754216" y="5294046"/>
                  </a:lnTo>
                  <a:lnTo>
                    <a:pt x="9739920" y="5351227"/>
                  </a:lnTo>
                  <a:lnTo>
                    <a:pt x="9730388" y="5341697"/>
                  </a:lnTo>
                  <a:lnTo>
                    <a:pt x="9720860" y="5308341"/>
                  </a:lnTo>
                  <a:lnTo>
                    <a:pt x="9697032" y="5327401"/>
                  </a:lnTo>
                  <a:lnTo>
                    <a:pt x="9692268" y="5322636"/>
                  </a:lnTo>
                  <a:lnTo>
                    <a:pt x="9677972" y="5298811"/>
                  </a:lnTo>
                  <a:lnTo>
                    <a:pt x="9673208" y="5294046"/>
                  </a:lnTo>
                  <a:lnTo>
                    <a:pt x="9668444" y="5274985"/>
                  </a:lnTo>
                  <a:lnTo>
                    <a:pt x="9697032" y="5222569"/>
                  </a:lnTo>
                  <a:lnTo>
                    <a:pt x="9720860" y="5251160"/>
                  </a:lnTo>
                  <a:lnTo>
                    <a:pt x="9730388" y="5251160"/>
                  </a:lnTo>
                  <a:lnTo>
                    <a:pt x="9730388" y="5217804"/>
                  </a:lnTo>
                  <a:lnTo>
                    <a:pt x="9730388" y="5193978"/>
                  </a:lnTo>
                  <a:close/>
                  <a:moveTo>
                    <a:pt x="19820548" y="5141561"/>
                  </a:moveTo>
                  <a:lnTo>
                    <a:pt x="19853904" y="5189212"/>
                  </a:lnTo>
                  <a:lnTo>
                    <a:pt x="19853904" y="5236864"/>
                  </a:lnTo>
                  <a:lnTo>
                    <a:pt x="19863432" y="5274984"/>
                  </a:lnTo>
                  <a:lnTo>
                    <a:pt x="19901556" y="5279750"/>
                  </a:lnTo>
                  <a:lnTo>
                    <a:pt x="19963500" y="5232098"/>
                  </a:lnTo>
                  <a:lnTo>
                    <a:pt x="19973032" y="5232098"/>
                  </a:lnTo>
                  <a:lnTo>
                    <a:pt x="20115984" y="5246394"/>
                  </a:lnTo>
                  <a:lnTo>
                    <a:pt x="20130280" y="5265454"/>
                  </a:lnTo>
                  <a:lnTo>
                    <a:pt x="20130280" y="5294045"/>
                  </a:lnTo>
                  <a:lnTo>
                    <a:pt x="20125516" y="5313106"/>
                  </a:lnTo>
                  <a:lnTo>
                    <a:pt x="20125516" y="5336931"/>
                  </a:lnTo>
                  <a:lnTo>
                    <a:pt x="20144576" y="5355992"/>
                  </a:lnTo>
                  <a:lnTo>
                    <a:pt x="20192228" y="5360757"/>
                  </a:lnTo>
                  <a:lnTo>
                    <a:pt x="20220816" y="5341696"/>
                  </a:lnTo>
                  <a:lnTo>
                    <a:pt x="20306592" y="5351226"/>
                  </a:lnTo>
                  <a:lnTo>
                    <a:pt x="20378068" y="5365522"/>
                  </a:lnTo>
                  <a:lnTo>
                    <a:pt x="20406656" y="5398878"/>
                  </a:lnTo>
                  <a:lnTo>
                    <a:pt x="20430484" y="5417938"/>
                  </a:lnTo>
                  <a:lnTo>
                    <a:pt x="20444780" y="5441764"/>
                  </a:lnTo>
                  <a:lnTo>
                    <a:pt x="20459076" y="5427468"/>
                  </a:lnTo>
                  <a:lnTo>
                    <a:pt x="20468604" y="5403643"/>
                  </a:lnTo>
                  <a:lnTo>
                    <a:pt x="20482900" y="5403643"/>
                  </a:lnTo>
                  <a:lnTo>
                    <a:pt x="20492432" y="5403643"/>
                  </a:lnTo>
                  <a:lnTo>
                    <a:pt x="20463840" y="5532301"/>
                  </a:lnTo>
                  <a:lnTo>
                    <a:pt x="20454308" y="5551362"/>
                  </a:lnTo>
                  <a:lnTo>
                    <a:pt x="20416188" y="5579952"/>
                  </a:lnTo>
                  <a:lnTo>
                    <a:pt x="20335180" y="5622839"/>
                  </a:lnTo>
                  <a:lnTo>
                    <a:pt x="20301824" y="5637134"/>
                  </a:lnTo>
                  <a:lnTo>
                    <a:pt x="20216052" y="5637134"/>
                  </a:lnTo>
                  <a:lnTo>
                    <a:pt x="20096924" y="5618074"/>
                  </a:lnTo>
                  <a:lnTo>
                    <a:pt x="20063568" y="5603778"/>
                  </a:lnTo>
                  <a:lnTo>
                    <a:pt x="20044508" y="5584718"/>
                  </a:lnTo>
                  <a:lnTo>
                    <a:pt x="20011152" y="5541832"/>
                  </a:lnTo>
                  <a:lnTo>
                    <a:pt x="19992092" y="5522771"/>
                  </a:lnTo>
                  <a:lnTo>
                    <a:pt x="19934912" y="5508476"/>
                  </a:lnTo>
                  <a:lnTo>
                    <a:pt x="19915848" y="5498945"/>
                  </a:lnTo>
                  <a:lnTo>
                    <a:pt x="19882496" y="5460824"/>
                  </a:lnTo>
                  <a:lnTo>
                    <a:pt x="19849140" y="5432234"/>
                  </a:lnTo>
                  <a:lnTo>
                    <a:pt x="19763368" y="5379817"/>
                  </a:lnTo>
                  <a:lnTo>
                    <a:pt x="19768132" y="5322636"/>
                  </a:lnTo>
                  <a:lnTo>
                    <a:pt x="19777660" y="5260689"/>
                  </a:lnTo>
                  <a:lnTo>
                    <a:pt x="19791956" y="5203508"/>
                  </a:lnTo>
                  <a:lnTo>
                    <a:pt x="19806252" y="5155856"/>
                  </a:lnTo>
                  <a:close/>
                  <a:moveTo>
                    <a:pt x="18128928" y="4974790"/>
                  </a:moveTo>
                  <a:lnTo>
                    <a:pt x="18143224" y="5003373"/>
                  </a:lnTo>
                  <a:lnTo>
                    <a:pt x="18152752" y="5051024"/>
                  </a:lnTo>
                  <a:lnTo>
                    <a:pt x="18162284" y="5070085"/>
                  </a:lnTo>
                  <a:lnTo>
                    <a:pt x="18195640" y="5112971"/>
                  </a:lnTo>
                  <a:lnTo>
                    <a:pt x="18200404" y="5127266"/>
                  </a:lnTo>
                  <a:lnTo>
                    <a:pt x="18171812" y="5179683"/>
                  </a:lnTo>
                  <a:lnTo>
                    <a:pt x="18171812" y="5203508"/>
                  </a:lnTo>
                  <a:lnTo>
                    <a:pt x="18181344" y="5232099"/>
                  </a:lnTo>
                  <a:lnTo>
                    <a:pt x="18167048" y="5251160"/>
                  </a:lnTo>
                  <a:lnTo>
                    <a:pt x="18138456" y="5265455"/>
                  </a:lnTo>
                  <a:lnTo>
                    <a:pt x="18090808" y="5260690"/>
                  </a:lnTo>
                  <a:lnTo>
                    <a:pt x="18095572" y="5217804"/>
                  </a:lnTo>
                  <a:lnTo>
                    <a:pt x="18100336" y="5198743"/>
                  </a:lnTo>
                  <a:lnTo>
                    <a:pt x="18114632" y="5146327"/>
                  </a:lnTo>
                  <a:lnTo>
                    <a:pt x="18109868" y="5108206"/>
                  </a:lnTo>
                  <a:lnTo>
                    <a:pt x="18109868" y="5060554"/>
                  </a:lnTo>
                  <a:lnTo>
                    <a:pt x="18114632" y="5027198"/>
                  </a:lnTo>
                  <a:close/>
                  <a:moveTo>
                    <a:pt x="20802164" y="4750828"/>
                  </a:moveTo>
                  <a:lnTo>
                    <a:pt x="20806928" y="4755594"/>
                  </a:lnTo>
                  <a:lnTo>
                    <a:pt x="20811696" y="4769887"/>
                  </a:lnTo>
                  <a:lnTo>
                    <a:pt x="20811696" y="4798480"/>
                  </a:lnTo>
                  <a:lnTo>
                    <a:pt x="20797400" y="4822305"/>
                  </a:lnTo>
                  <a:lnTo>
                    <a:pt x="20764044" y="4784184"/>
                  </a:lnTo>
                  <a:lnTo>
                    <a:pt x="20778340" y="4760359"/>
                  </a:lnTo>
                  <a:close/>
                  <a:moveTo>
                    <a:pt x="18614972" y="4746063"/>
                  </a:moveTo>
                  <a:lnTo>
                    <a:pt x="18634032" y="4750828"/>
                  </a:lnTo>
                  <a:lnTo>
                    <a:pt x="18648328" y="4774654"/>
                  </a:lnTo>
                  <a:lnTo>
                    <a:pt x="18662624" y="4808010"/>
                  </a:lnTo>
                  <a:lnTo>
                    <a:pt x="18676916" y="4822305"/>
                  </a:lnTo>
                  <a:lnTo>
                    <a:pt x="18729332" y="4869956"/>
                  </a:lnTo>
                  <a:lnTo>
                    <a:pt x="18762688" y="4908077"/>
                  </a:lnTo>
                  <a:lnTo>
                    <a:pt x="18810340" y="4984319"/>
                  </a:lnTo>
                  <a:lnTo>
                    <a:pt x="18824636" y="4998608"/>
                  </a:lnTo>
                  <a:lnTo>
                    <a:pt x="18843696" y="4989085"/>
                  </a:lnTo>
                  <a:lnTo>
                    <a:pt x="18862756" y="5008138"/>
                  </a:lnTo>
                  <a:lnTo>
                    <a:pt x="18877052" y="5074850"/>
                  </a:lnTo>
                  <a:lnTo>
                    <a:pt x="18886584" y="5089145"/>
                  </a:lnTo>
                  <a:lnTo>
                    <a:pt x="18896112" y="5103440"/>
                  </a:lnTo>
                  <a:lnTo>
                    <a:pt x="18905644" y="5108205"/>
                  </a:lnTo>
                  <a:lnTo>
                    <a:pt x="18929468" y="5112971"/>
                  </a:lnTo>
                  <a:lnTo>
                    <a:pt x="18939000" y="5098675"/>
                  </a:lnTo>
                  <a:lnTo>
                    <a:pt x="18948528" y="5065319"/>
                  </a:lnTo>
                  <a:lnTo>
                    <a:pt x="18948528" y="5036729"/>
                  </a:lnTo>
                  <a:lnTo>
                    <a:pt x="18943764" y="5003373"/>
                  </a:lnTo>
                  <a:lnTo>
                    <a:pt x="18943764" y="4960494"/>
                  </a:lnTo>
                  <a:lnTo>
                    <a:pt x="18948528" y="4922373"/>
                  </a:lnTo>
                  <a:lnTo>
                    <a:pt x="18953296" y="4898548"/>
                  </a:lnTo>
                  <a:lnTo>
                    <a:pt x="18962824" y="4884252"/>
                  </a:lnTo>
                  <a:lnTo>
                    <a:pt x="19005712" y="4836600"/>
                  </a:lnTo>
                  <a:lnTo>
                    <a:pt x="19034300" y="4788949"/>
                  </a:lnTo>
                  <a:lnTo>
                    <a:pt x="19072424" y="4808010"/>
                  </a:lnTo>
                  <a:lnTo>
                    <a:pt x="19115308" y="4846132"/>
                  </a:lnTo>
                  <a:lnTo>
                    <a:pt x="19186784" y="4936668"/>
                  </a:lnTo>
                  <a:lnTo>
                    <a:pt x="19220140" y="4965259"/>
                  </a:lnTo>
                  <a:lnTo>
                    <a:pt x="19258264" y="4989085"/>
                  </a:lnTo>
                  <a:lnTo>
                    <a:pt x="19296384" y="4993842"/>
                  </a:lnTo>
                  <a:lnTo>
                    <a:pt x="19320208" y="4989085"/>
                  </a:lnTo>
                  <a:lnTo>
                    <a:pt x="19358332" y="4965259"/>
                  </a:lnTo>
                  <a:lnTo>
                    <a:pt x="19377392" y="4965259"/>
                  </a:lnTo>
                  <a:lnTo>
                    <a:pt x="19620412" y="5141561"/>
                  </a:lnTo>
                  <a:lnTo>
                    <a:pt x="19629944" y="5151092"/>
                  </a:lnTo>
                  <a:lnTo>
                    <a:pt x="19639472" y="5174917"/>
                  </a:lnTo>
                  <a:lnTo>
                    <a:pt x="19587056" y="5198743"/>
                  </a:lnTo>
                  <a:lnTo>
                    <a:pt x="19548936" y="5246394"/>
                  </a:lnTo>
                  <a:lnTo>
                    <a:pt x="19539404" y="5274985"/>
                  </a:lnTo>
                  <a:lnTo>
                    <a:pt x="19553700" y="5303576"/>
                  </a:lnTo>
                  <a:lnTo>
                    <a:pt x="19563232" y="5336931"/>
                  </a:lnTo>
                  <a:lnTo>
                    <a:pt x="19491756" y="5436999"/>
                  </a:lnTo>
                  <a:lnTo>
                    <a:pt x="19458400" y="5465590"/>
                  </a:lnTo>
                  <a:lnTo>
                    <a:pt x="19429808" y="5475120"/>
                  </a:lnTo>
                  <a:lnTo>
                    <a:pt x="19367860" y="5451294"/>
                  </a:lnTo>
                  <a:lnTo>
                    <a:pt x="19329740" y="5451294"/>
                  </a:lnTo>
                  <a:lnTo>
                    <a:pt x="19296384" y="5432234"/>
                  </a:lnTo>
                  <a:lnTo>
                    <a:pt x="19258264" y="5370287"/>
                  </a:lnTo>
                  <a:lnTo>
                    <a:pt x="19239204" y="5336931"/>
                  </a:lnTo>
                  <a:lnTo>
                    <a:pt x="19229672" y="5294045"/>
                  </a:lnTo>
                  <a:lnTo>
                    <a:pt x="19220140" y="5227334"/>
                  </a:lnTo>
                  <a:lnTo>
                    <a:pt x="19229672" y="5165387"/>
                  </a:lnTo>
                  <a:lnTo>
                    <a:pt x="19248732" y="5146326"/>
                  </a:lnTo>
                  <a:lnTo>
                    <a:pt x="19267792" y="5108205"/>
                  </a:lnTo>
                  <a:lnTo>
                    <a:pt x="19267792" y="5093910"/>
                  </a:lnTo>
                  <a:lnTo>
                    <a:pt x="19258264" y="5060554"/>
                  </a:lnTo>
                  <a:lnTo>
                    <a:pt x="19201080" y="5055789"/>
                  </a:lnTo>
                  <a:lnTo>
                    <a:pt x="19162960" y="5074850"/>
                  </a:lnTo>
                  <a:lnTo>
                    <a:pt x="19124840" y="5093910"/>
                  </a:lnTo>
                  <a:lnTo>
                    <a:pt x="19139136" y="5217803"/>
                  </a:lnTo>
                  <a:lnTo>
                    <a:pt x="19143900" y="5260689"/>
                  </a:lnTo>
                  <a:lnTo>
                    <a:pt x="19153432" y="5289280"/>
                  </a:lnTo>
                  <a:lnTo>
                    <a:pt x="19210612" y="5417939"/>
                  </a:lnTo>
                  <a:lnTo>
                    <a:pt x="19220140" y="5436999"/>
                  </a:lnTo>
                  <a:lnTo>
                    <a:pt x="19258264" y="5460825"/>
                  </a:lnTo>
                  <a:lnTo>
                    <a:pt x="19291620" y="5518006"/>
                  </a:lnTo>
                  <a:lnTo>
                    <a:pt x="19234436" y="5579953"/>
                  </a:lnTo>
                  <a:lnTo>
                    <a:pt x="19210612" y="5599013"/>
                  </a:lnTo>
                  <a:lnTo>
                    <a:pt x="19186784" y="5608544"/>
                  </a:lnTo>
                  <a:lnTo>
                    <a:pt x="19172492" y="5603778"/>
                  </a:lnTo>
                  <a:lnTo>
                    <a:pt x="19158196" y="5589483"/>
                  </a:lnTo>
                  <a:lnTo>
                    <a:pt x="19143900" y="5560892"/>
                  </a:lnTo>
                  <a:lnTo>
                    <a:pt x="19129604" y="5532302"/>
                  </a:lnTo>
                  <a:lnTo>
                    <a:pt x="19110544" y="5503711"/>
                  </a:lnTo>
                  <a:lnTo>
                    <a:pt x="19072424" y="5513241"/>
                  </a:lnTo>
                  <a:lnTo>
                    <a:pt x="19039068" y="5532302"/>
                  </a:lnTo>
                  <a:lnTo>
                    <a:pt x="19005712" y="5546597"/>
                  </a:lnTo>
                  <a:lnTo>
                    <a:pt x="18905644" y="5570422"/>
                  </a:lnTo>
                  <a:lnTo>
                    <a:pt x="18872288" y="5589483"/>
                  </a:lnTo>
                  <a:lnTo>
                    <a:pt x="18843696" y="5594248"/>
                  </a:lnTo>
                  <a:lnTo>
                    <a:pt x="18800812" y="5565657"/>
                  </a:lnTo>
                  <a:lnTo>
                    <a:pt x="18762688" y="5522771"/>
                  </a:lnTo>
                  <a:lnTo>
                    <a:pt x="18753160" y="5522771"/>
                  </a:lnTo>
                  <a:lnTo>
                    <a:pt x="18738864" y="5532302"/>
                  </a:lnTo>
                  <a:lnTo>
                    <a:pt x="18729332" y="5556127"/>
                  </a:lnTo>
                  <a:lnTo>
                    <a:pt x="18724568" y="5599013"/>
                  </a:lnTo>
                  <a:lnTo>
                    <a:pt x="18710272" y="5651430"/>
                  </a:lnTo>
                  <a:lnTo>
                    <a:pt x="18695976" y="5689551"/>
                  </a:lnTo>
                  <a:lnTo>
                    <a:pt x="18676916" y="5703846"/>
                  </a:lnTo>
                  <a:lnTo>
                    <a:pt x="18662624" y="5703846"/>
                  </a:lnTo>
                  <a:lnTo>
                    <a:pt x="18643560" y="5694316"/>
                  </a:lnTo>
                  <a:lnTo>
                    <a:pt x="18624500" y="5680020"/>
                  </a:lnTo>
                  <a:lnTo>
                    <a:pt x="18500608" y="5622839"/>
                  </a:lnTo>
                  <a:lnTo>
                    <a:pt x="18491076" y="5603778"/>
                  </a:lnTo>
                  <a:lnTo>
                    <a:pt x="18476784" y="5579953"/>
                  </a:lnTo>
                  <a:lnTo>
                    <a:pt x="18438660" y="5494180"/>
                  </a:lnTo>
                  <a:lnTo>
                    <a:pt x="18419600" y="5475120"/>
                  </a:lnTo>
                  <a:lnTo>
                    <a:pt x="18400540" y="5465590"/>
                  </a:lnTo>
                  <a:lnTo>
                    <a:pt x="18367184" y="5427469"/>
                  </a:lnTo>
                  <a:lnTo>
                    <a:pt x="18333828" y="5355992"/>
                  </a:lnTo>
                  <a:lnTo>
                    <a:pt x="18329064" y="5336931"/>
                  </a:lnTo>
                  <a:lnTo>
                    <a:pt x="18324296" y="5303576"/>
                  </a:lnTo>
                  <a:lnTo>
                    <a:pt x="18329064" y="5279750"/>
                  </a:lnTo>
                  <a:lnTo>
                    <a:pt x="18357652" y="5289280"/>
                  </a:lnTo>
                  <a:lnTo>
                    <a:pt x="18376716" y="5289280"/>
                  </a:lnTo>
                  <a:lnTo>
                    <a:pt x="18367184" y="5160622"/>
                  </a:lnTo>
                  <a:lnTo>
                    <a:pt x="18376716" y="5036729"/>
                  </a:lnTo>
                  <a:lnTo>
                    <a:pt x="18391008" y="5017668"/>
                  </a:lnTo>
                  <a:lnTo>
                    <a:pt x="18443428" y="5031963"/>
                  </a:lnTo>
                  <a:lnTo>
                    <a:pt x="18424364" y="4989085"/>
                  </a:lnTo>
                  <a:lnTo>
                    <a:pt x="18410072" y="4936668"/>
                  </a:lnTo>
                  <a:lnTo>
                    <a:pt x="18419600" y="4903311"/>
                  </a:lnTo>
                  <a:lnTo>
                    <a:pt x="18429132" y="4884252"/>
                  </a:lnTo>
                  <a:lnTo>
                    <a:pt x="18452956" y="4865191"/>
                  </a:lnTo>
                  <a:lnTo>
                    <a:pt x="18486312" y="4860426"/>
                  </a:lnTo>
                  <a:lnTo>
                    <a:pt x="18495844" y="4846132"/>
                  </a:lnTo>
                  <a:lnTo>
                    <a:pt x="18505372" y="4822305"/>
                  </a:lnTo>
                  <a:lnTo>
                    <a:pt x="18519668" y="4803244"/>
                  </a:lnTo>
                  <a:lnTo>
                    <a:pt x="18557788" y="4793714"/>
                  </a:lnTo>
                  <a:close/>
                  <a:moveTo>
                    <a:pt x="11974764" y="4679357"/>
                  </a:moveTo>
                  <a:lnTo>
                    <a:pt x="12012884" y="4693650"/>
                  </a:lnTo>
                  <a:lnTo>
                    <a:pt x="12027180" y="4703180"/>
                  </a:lnTo>
                  <a:lnTo>
                    <a:pt x="12022416" y="4731771"/>
                  </a:lnTo>
                  <a:lnTo>
                    <a:pt x="12008120" y="4722242"/>
                  </a:lnTo>
                  <a:lnTo>
                    <a:pt x="11984296" y="4736537"/>
                  </a:lnTo>
                  <a:lnTo>
                    <a:pt x="11984296" y="4760362"/>
                  </a:lnTo>
                  <a:lnTo>
                    <a:pt x="11979528" y="4798482"/>
                  </a:lnTo>
                  <a:lnTo>
                    <a:pt x="11946176" y="4774657"/>
                  </a:lnTo>
                  <a:lnTo>
                    <a:pt x="11908052" y="4774657"/>
                  </a:lnTo>
                  <a:lnTo>
                    <a:pt x="11879464" y="4750831"/>
                  </a:lnTo>
                  <a:lnTo>
                    <a:pt x="11822280" y="4736537"/>
                  </a:lnTo>
                  <a:lnTo>
                    <a:pt x="11827048" y="4707945"/>
                  </a:lnTo>
                  <a:lnTo>
                    <a:pt x="11836576" y="4688886"/>
                  </a:lnTo>
                  <a:lnTo>
                    <a:pt x="11865168" y="4712712"/>
                  </a:lnTo>
                  <a:lnTo>
                    <a:pt x="11898524" y="4684120"/>
                  </a:lnTo>
                  <a:lnTo>
                    <a:pt x="11955704" y="4698416"/>
                  </a:lnTo>
                  <a:close/>
                  <a:moveTo>
                    <a:pt x="12065304" y="4645999"/>
                  </a:moveTo>
                  <a:lnTo>
                    <a:pt x="12084364" y="4650765"/>
                  </a:lnTo>
                  <a:lnTo>
                    <a:pt x="12093892" y="4669825"/>
                  </a:lnTo>
                  <a:lnTo>
                    <a:pt x="12093892" y="4679357"/>
                  </a:lnTo>
                  <a:lnTo>
                    <a:pt x="12084364" y="4722242"/>
                  </a:lnTo>
                  <a:lnTo>
                    <a:pt x="12065304" y="4746067"/>
                  </a:lnTo>
                  <a:lnTo>
                    <a:pt x="12055772" y="4755598"/>
                  </a:lnTo>
                  <a:lnTo>
                    <a:pt x="12046240" y="4750831"/>
                  </a:lnTo>
                  <a:lnTo>
                    <a:pt x="12046240" y="4741301"/>
                  </a:lnTo>
                  <a:lnTo>
                    <a:pt x="12046240" y="4707945"/>
                  </a:lnTo>
                  <a:lnTo>
                    <a:pt x="12060536" y="4665059"/>
                  </a:lnTo>
                  <a:lnTo>
                    <a:pt x="12060536" y="4650765"/>
                  </a:lnTo>
                  <a:close/>
                  <a:moveTo>
                    <a:pt x="14488368" y="4450625"/>
                  </a:moveTo>
                  <a:lnTo>
                    <a:pt x="14502664" y="4464920"/>
                  </a:lnTo>
                  <a:lnTo>
                    <a:pt x="14526492" y="4512572"/>
                  </a:lnTo>
                  <a:lnTo>
                    <a:pt x="14531256" y="4541162"/>
                  </a:lnTo>
                  <a:lnTo>
                    <a:pt x="14521724" y="4550693"/>
                  </a:lnTo>
                  <a:lnTo>
                    <a:pt x="14516960" y="4560223"/>
                  </a:lnTo>
                  <a:lnTo>
                    <a:pt x="14516960" y="4579283"/>
                  </a:lnTo>
                  <a:lnTo>
                    <a:pt x="14512196" y="4579283"/>
                  </a:lnTo>
                  <a:lnTo>
                    <a:pt x="14488368" y="4560223"/>
                  </a:lnTo>
                  <a:lnTo>
                    <a:pt x="14474076" y="4522102"/>
                  </a:lnTo>
                  <a:lnTo>
                    <a:pt x="14450248" y="4512572"/>
                  </a:lnTo>
                  <a:lnTo>
                    <a:pt x="14426424" y="4479216"/>
                  </a:lnTo>
                  <a:lnTo>
                    <a:pt x="14421656" y="4464920"/>
                  </a:lnTo>
                  <a:lnTo>
                    <a:pt x="14431188" y="4460155"/>
                  </a:lnTo>
                  <a:lnTo>
                    <a:pt x="14469308" y="4469686"/>
                  </a:lnTo>
                  <a:close/>
                  <a:moveTo>
                    <a:pt x="12146308" y="4407743"/>
                  </a:moveTo>
                  <a:lnTo>
                    <a:pt x="12179664" y="4479219"/>
                  </a:lnTo>
                  <a:lnTo>
                    <a:pt x="12170136" y="4488750"/>
                  </a:lnTo>
                  <a:lnTo>
                    <a:pt x="12155840" y="4488750"/>
                  </a:lnTo>
                  <a:lnTo>
                    <a:pt x="12141544" y="4460159"/>
                  </a:lnTo>
                  <a:lnTo>
                    <a:pt x="12136780" y="4422038"/>
                  </a:lnTo>
                  <a:close/>
                  <a:moveTo>
                    <a:pt x="20268468" y="4355323"/>
                  </a:moveTo>
                  <a:lnTo>
                    <a:pt x="20249408" y="4379148"/>
                  </a:lnTo>
                  <a:lnTo>
                    <a:pt x="20239880" y="4426798"/>
                  </a:lnTo>
                  <a:lnTo>
                    <a:pt x="20230348" y="4441095"/>
                  </a:lnTo>
                  <a:lnTo>
                    <a:pt x="20111220" y="4445860"/>
                  </a:lnTo>
                  <a:lnTo>
                    <a:pt x="20120752" y="4426798"/>
                  </a:lnTo>
                  <a:lnTo>
                    <a:pt x="20163636" y="4379148"/>
                  </a:lnTo>
                  <a:close/>
                  <a:moveTo>
                    <a:pt x="7505076" y="4198078"/>
                  </a:moveTo>
                  <a:lnTo>
                    <a:pt x="7562256" y="4212372"/>
                  </a:lnTo>
                  <a:lnTo>
                    <a:pt x="7633732" y="4250493"/>
                  </a:lnTo>
                  <a:lnTo>
                    <a:pt x="7667088" y="4298143"/>
                  </a:lnTo>
                  <a:lnTo>
                    <a:pt x="7695680" y="4350561"/>
                  </a:lnTo>
                  <a:lnTo>
                    <a:pt x="7700444" y="4369621"/>
                  </a:lnTo>
                  <a:lnTo>
                    <a:pt x="7705208" y="4407742"/>
                  </a:lnTo>
                  <a:lnTo>
                    <a:pt x="7695680" y="4441098"/>
                  </a:lnTo>
                  <a:lnTo>
                    <a:pt x="7690916" y="4474455"/>
                  </a:lnTo>
                  <a:lnTo>
                    <a:pt x="7695680" y="4498280"/>
                  </a:lnTo>
                  <a:lnTo>
                    <a:pt x="7643264" y="4579288"/>
                  </a:lnTo>
                  <a:lnTo>
                    <a:pt x="7590848" y="4669825"/>
                  </a:lnTo>
                  <a:lnTo>
                    <a:pt x="7581316" y="4688886"/>
                  </a:lnTo>
                  <a:lnTo>
                    <a:pt x="7519368" y="4722242"/>
                  </a:lnTo>
                  <a:lnTo>
                    <a:pt x="7457424" y="4769892"/>
                  </a:lnTo>
                  <a:lnTo>
                    <a:pt x="7419304" y="4808013"/>
                  </a:lnTo>
                  <a:lnTo>
                    <a:pt x="7385948" y="4831839"/>
                  </a:lnTo>
                  <a:lnTo>
                    <a:pt x="7347824" y="4846135"/>
                  </a:lnTo>
                  <a:lnTo>
                    <a:pt x="7290644" y="4889022"/>
                  </a:lnTo>
                  <a:lnTo>
                    <a:pt x="7185812" y="4936672"/>
                  </a:lnTo>
                  <a:lnTo>
                    <a:pt x="7119100" y="4979557"/>
                  </a:lnTo>
                  <a:lnTo>
                    <a:pt x="7047624" y="5012903"/>
                  </a:lnTo>
                  <a:lnTo>
                    <a:pt x="6971380" y="5055789"/>
                  </a:lnTo>
                  <a:lnTo>
                    <a:pt x="6899904" y="5084380"/>
                  </a:lnTo>
                  <a:lnTo>
                    <a:pt x="6880844" y="5089145"/>
                  </a:lnTo>
                  <a:lnTo>
                    <a:pt x="6828428" y="5127266"/>
                  </a:lnTo>
                  <a:lnTo>
                    <a:pt x="6785540" y="5146326"/>
                  </a:lnTo>
                  <a:lnTo>
                    <a:pt x="6633056" y="5236864"/>
                  </a:lnTo>
                  <a:lnTo>
                    <a:pt x="6561580" y="5303576"/>
                  </a:lnTo>
                  <a:lnTo>
                    <a:pt x="6537752" y="5308341"/>
                  </a:lnTo>
                  <a:lnTo>
                    <a:pt x="6518692" y="5308341"/>
                  </a:lnTo>
                  <a:lnTo>
                    <a:pt x="6504400" y="5327401"/>
                  </a:lnTo>
                  <a:lnTo>
                    <a:pt x="6485336" y="5365522"/>
                  </a:lnTo>
                  <a:lnTo>
                    <a:pt x="6451980" y="5398878"/>
                  </a:lnTo>
                  <a:lnTo>
                    <a:pt x="6437688" y="5432234"/>
                  </a:lnTo>
                  <a:lnTo>
                    <a:pt x="6418624" y="5460825"/>
                  </a:lnTo>
                  <a:lnTo>
                    <a:pt x="6409096" y="5465590"/>
                  </a:lnTo>
                  <a:lnTo>
                    <a:pt x="6390036" y="5465590"/>
                  </a:lnTo>
                  <a:lnTo>
                    <a:pt x="6380504" y="5465590"/>
                  </a:lnTo>
                  <a:lnTo>
                    <a:pt x="6351916" y="5494181"/>
                  </a:lnTo>
                  <a:lnTo>
                    <a:pt x="6347148" y="5518006"/>
                  </a:lnTo>
                  <a:lnTo>
                    <a:pt x="6380504" y="5532302"/>
                  </a:lnTo>
                  <a:lnTo>
                    <a:pt x="6385272" y="5556127"/>
                  </a:lnTo>
                  <a:lnTo>
                    <a:pt x="6375740" y="5575188"/>
                  </a:lnTo>
                  <a:lnTo>
                    <a:pt x="6356680" y="5599014"/>
                  </a:lnTo>
                  <a:lnTo>
                    <a:pt x="6342384" y="5622839"/>
                  </a:lnTo>
                  <a:lnTo>
                    <a:pt x="6318560" y="5646665"/>
                  </a:lnTo>
                  <a:lnTo>
                    <a:pt x="6304264" y="5651430"/>
                  </a:lnTo>
                  <a:lnTo>
                    <a:pt x="6266140" y="5651430"/>
                  </a:lnTo>
                  <a:lnTo>
                    <a:pt x="6266140" y="5680021"/>
                  </a:lnTo>
                  <a:lnTo>
                    <a:pt x="6270908" y="5699081"/>
                  </a:lnTo>
                  <a:lnTo>
                    <a:pt x="6270908" y="5718142"/>
                  </a:lnTo>
                  <a:lnTo>
                    <a:pt x="6256612" y="5732437"/>
                  </a:lnTo>
                  <a:lnTo>
                    <a:pt x="6247080" y="5732437"/>
                  </a:lnTo>
                  <a:lnTo>
                    <a:pt x="6189900" y="5684786"/>
                  </a:lnTo>
                  <a:lnTo>
                    <a:pt x="6180368" y="5699081"/>
                  </a:lnTo>
                  <a:lnTo>
                    <a:pt x="6175604" y="5732437"/>
                  </a:lnTo>
                  <a:lnTo>
                    <a:pt x="6175604" y="5765793"/>
                  </a:lnTo>
                  <a:lnTo>
                    <a:pt x="6166076" y="5794384"/>
                  </a:lnTo>
                  <a:lnTo>
                    <a:pt x="6156544" y="5803914"/>
                  </a:lnTo>
                  <a:lnTo>
                    <a:pt x="6142248" y="5818209"/>
                  </a:lnTo>
                  <a:lnTo>
                    <a:pt x="6080300" y="5799149"/>
                  </a:lnTo>
                  <a:lnTo>
                    <a:pt x="6075536" y="5818209"/>
                  </a:lnTo>
                  <a:lnTo>
                    <a:pt x="6085068" y="5842035"/>
                  </a:lnTo>
                  <a:lnTo>
                    <a:pt x="6094596" y="5899216"/>
                  </a:lnTo>
                  <a:lnTo>
                    <a:pt x="6099364" y="5918277"/>
                  </a:lnTo>
                  <a:lnTo>
                    <a:pt x="6089832" y="5956398"/>
                  </a:lnTo>
                  <a:lnTo>
                    <a:pt x="6066008" y="6013580"/>
                  </a:lnTo>
                  <a:lnTo>
                    <a:pt x="5961172" y="6075526"/>
                  </a:lnTo>
                  <a:lnTo>
                    <a:pt x="5961172" y="6099352"/>
                  </a:lnTo>
                  <a:lnTo>
                    <a:pt x="5970704" y="6142238"/>
                  </a:lnTo>
                  <a:lnTo>
                    <a:pt x="5975468" y="6170829"/>
                  </a:lnTo>
                  <a:lnTo>
                    <a:pt x="5970704" y="6194654"/>
                  </a:lnTo>
                  <a:lnTo>
                    <a:pt x="5956408" y="6213715"/>
                  </a:lnTo>
                  <a:lnTo>
                    <a:pt x="5942112" y="6213715"/>
                  </a:lnTo>
                  <a:lnTo>
                    <a:pt x="5932584" y="6213715"/>
                  </a:lnTo>
                  <a:lnTo>
                    <a:pt x="5908756" y="6185124"/>
                  </a:lnTo>
                  <a:lnTo>
                    <a:pt x="5889696" y="6175594"/>
                  </a:lnTo>
                  <a:lnTo>
                    <a:pt x="5884932" y="6189889"/>
                  </a:lnTo>
                  <a:lnTo>
                    <a:pt x="5913524" y="6228010"/>
                  </a:lnTo>
                  <a:lnTo>
                    <a:pt x="5923052" y="6275662"/>
                  </a:lnTo>
                  <a:lnTo>
                    <a:pt x="5913524" y="6304252"/>
                  </a:lnTo>
                  <a:lnTo>
                    <a:pt x="5861108" y="6361434"/>
                  </a:lnTo>
                  <a:lnTo>
                    <a:pt x="5832516" y="6437676"/>
                  </a:lnTo>
                  <a:lnTo>
                    <a:pt x="5780100" y="6471032"/>
                  </a:lnTo>
                  <a:lnTo>
                    <a:pt x="5751508" y="6475797"/>
                  </a:lnTo>
                  <a:lnTo>
                    <a:pt x="5718152" y="6466267"/>
                  </a:lnTo>
                  <a:lnTo>
                    <a:pt x="5689560" y="6447206"/>
                  </a:lnTo>
                  <a:lnTo>
                    <a:pt x="5613320" y="6442441"/>
                  </a:lnTo>
                  <a:lnTo>
                    <a:pt x="5570432" y="6423380"/>
                  </a:lnTo>
                  <a:lnTo>
                    <a:pt x="5527548" y="6390025"/>
                  </a:lnTo>
                  <a:lnTo>
                    <a:pt x="5489428" y="6390025"/>
                  </a:lnTo>
                  <a:lnTo>
                    <a:pt x="5460836" y="6409085"/>
                  </a:lnTo>
                  <a:lnTo>
                    <a:pt x="5417948" y="6447206"/>
                  </a:lnTo>
                  <a:lnTo>
                    <a:pt x="5389360" y="6375729"/>
                  </a:lnTo>
                  <a:lnTo>
                    <a:pt x="5403652" y="6342374"/>
                  </a:lnTo>
                  <a:lnTo>
                    <a:pt x="5346472" y="6256601"/>
                  </a:lnTo>
                  <a:lnTo>
                    <a:pt x="5332176" y="6218480"/>
                  </a:lnTo>
                  <a:lnTo>
                    <a:pt x="5346472" y="6199420"/>
                  </a:lnTo>
                  <a:lnTo>
                    <a:pt x="5365532" y="6185124"/>
                  </a:lnTo>
                  <a:lnTo>
                    <a:pt x="5398888" y="6147003"/>
                  </a:lnTo>
                  <a:lnTo>
                    <a:pt x="5432244" y="6123178"/>
                  </a:lnTo>
                  <a:lnTo>
                    <a:pt x="5465600" y="6113647"/>
                  </a:lnTo>
                  <a:lnTo>
                    <a:pt x="5470364" y="6108882"/>
                  </a:lnTo>
                  <a:lnTo>
                    <a:pt x="5484660" y="6065996"/>
                  </a:lnTo>
                  <a:lnTo>
                    <a:pt x="5498956" y="6032640"/>
                  </a:lnTo>
                  <a:lnTo>
                    <a:pt x="5513252" y="6013580"/>
                  </a:lnTo>
                  <a:lnTo>
                    <a:pt x="5532312" y="5980224"/>
                  </a:lnTo>
                  <a:lnTo>
                    <a:pt x="5579964" y="5842035"/>
                  </a:lnTo>
                  <a:lnTo>
                    <a:pt x="5594260" y="5832505"/>
                  </a:lnTo>
                  <a:lnTo>
                    <a:pt x="5694328" y="5808679"/>
                  </a:lnTo>
                  <a:lnTo>
                    <a:pt x="5703856" y="5799149"/>
                  </a:lnTo>
                  <a:lnTo>
                    <a:pt x="5675268" y="5770558"/>
                  </a:lnTo>
                  <a:lnTo>
                    <a:pt x="5641912" y="5775323"/>
                  </a:lnTo>
                  <a:lnTo>
                    <a:pt x="5627616" y="5765793"/>
                  </a:lnTo>
                  <a:lnTo>
                    <a:pt x="5622848" y="5746732"/>
                  </a:lnTo>
                  <a:lnTo>
                    <a:pt x="5618084" y="5722907"/>
                  </a:lnTo>
                  <a:lnTo>
                    <a:pt x="5627616" y="5703846"/>
                  </a:lnTo>
                  <a:lnTo>
                    <a:pt x="5670500" y="5622839"/>
                  </a:lnTo>
                  <a:lnTo>
                    <a:pt x="5718152" y="5560892"/>
                  </a:lnTo>
                  <a:lnTo>
                    <a:pt x="5761040" y="5527537"/>
                  </a:lnTo>
                  <a:lnTo>
                    <a:pt x="5751508" y="5518006"/>
                  </a:lnTo>
                  <a:lnTo>
                    <a:pt x="5737212" y="5494181"/>
                  </a:lnTo>
                  <a:lnTo>
                    <a:pt x="5684796" y="5498946"/>
                  </a:lnTo>
                  <a:lnTo>
                    <a:pt x="5660972" y="5465590"/>
                  </a:lnTo>
                  <a:lnTo>
                    <a:pt x="5656204" y="5446529"/>
                  </a:lnTo>
                  <a:lnTo>
                    <a:pt x="5651440" y="5422704"/>
                  </a:lnTo>
                  <a:lnTo>
                    <a:pt x="5670500" y="5398878"/>
                  </a:lnTo>
                  <a:lnTo>
                    <a:pt x="5689560" y="5384583"/>
                  </a:lnTo>
                  <a:lnTo>
                    <a:pt x="5708624" y="5384583"/>
                  </a:lnTo>
                  <a:lnTo>
                    <a:pt x="5727684" y="5398878"/>
                  </a:lnTo>
                  <a:lnTo>
                    <a:pt x="5741976" y="5417939"/>
                  </a:lnTo>
                  <a:lnTo>
                    <a:pt x="5761040" y="5441764"/>
                  </a:lnTo>
                  <a:lnTo>
                    <a:pt x="5770568" y="5441764"/>
                  </a:lnTo>
                  <a:lnTo>
                    <a:pt x="5818220" y="5351227"/>
                  </a:lnTo>
                  <a:lnTo>
                    <a:pt x="5813456" y="5332166"/>
                  </a:lnTo>
                  <a:lnTo>
                    <a:pt x="5808688" y="5298810"/>
                  </a:lnTo>
                  <a:lnTo>
                    <a:pt x="5813456" y="5284515"/>
                  </a:lnTo>
                  <a:lnTo>
                    <a:pt x="5837280" y="5270220"/>
                  </a:lnTo>
                  <a:lnTo>
                    <a:pt x="5851576" y="5265455"/>
                  </a:lnTo>
                  <a:lnTo>
                    <a:pt x="5884932" y="5270220"/>
                  </a:lnTo>
                  <a:lnTo>
                    <a:pt x="5932584" y="5294045"/>
                  </a:lnTo>
                  <a:lnTo>
                    <a:pt x="5937348" y="5284515"/>
                  </a:lnTo>
                  <a:lnTo>
                    <a:pt x="5951644" y="5222568"/>
                  </a:lnTo>
                  <a:lnTo>
                    <a:pt x="5961172" y="5189213"/>
                  </a:lnTo>
                  <a:lnTo>
                    <a:pt x="6008824" y="5136796"/>
                  </a:lnTo>
                  <a:lnTo>
                    <a:pt x="6008824" y="5117736"/>
                  </a:lnTo>
                  <a:lnTo>
                    <a:pt x="6004060" y="5089145"/>
                  </a:lnTo>
                  <a:lnTo>
                    <a:pt x="6061240" y="5055789"/>
                  </a:lnTo>
                  <a:lnTo>
                    <a:pt x="6099364" y="5017668"/>
                  </a:lnTo>
                  <a:lnTo>
                    <a:pt x="6132720" y="4970027"/>
                  </a:lnTo>
                  <a:lnTo>
                    <a:pt x="6151780" y="4960497"/>
                  </a:lnTo>
                  <a:lnTo>
                    <a:pt x="6170840" y="4955732"/>
                  </a:lnTo>
                  <a:lnTo>
                    <a:pt x="6204196" y="4936672"/>
                  </a:lnTo>
                  <a:lnTo>
                    <a:pt x="6275672" y="4912846"/>
                  </a:lnTo>
                  <a:lnTo>
                    <a:pt x="6313792" y="4889022"/>
                  </a:lnTo>
                  <a:lnTo>
                    <a:pt x="6328088" y="4831839"/>
                  </a:lnTo>
                  <a:lnTo>
                    <a:pt x="6351916" y="4812778"/>
                  </a:lnTo>
                  <a:lnTo>
                    <a:pt x="6404332" y="4808013"/>
                  </a:lnTo>
                  <a:lnTo>
                    <a:pt x="6423392" y="4808013"/>
                  </a:lnTo>
                  <a:lnTo>
                    <a:pt x="6432920" y="4831839"/>
                  </a:lnTo>
                  <a:lnTo>
                    <a:pt x="6456748" y="4831839"/>
                  </a:lnTo>
                  <a:lnTo>
                    <a:pt x="6461512" y="4817544"/>
                  </a:lnTo>
                  <a:lnTo>
                    <a:pt x="6471044" y="4798482"/>
                  </a:lnTo>
                  <a:lnTo>
                    <a:pt x="6471044" y="4765125"/>
                  </a:lnTo>
                  <a:lnTo>
                    <a:pt x="6471044" y="4722242"/>
                  </a:lnTo>
                  <a:lnTo>
                    <a:pt x="6490104" y="4698416"/>
                  </a:lnTo>
                  <a:lnTo>
                    <a:pt x="6494868" y="4693650"/>
                  </a:lnTo>
                  <a:lnTo>
                    <a:pt x="6552048" y="4679357"/>
                  </a:lnTo>
                  <a:lnTo>
                    <a:pt x="6585404" y="4684120"/>
                  </a:lnTo>
                  <a:lnTo>
                    <a:pt x="6656884" y="4717477"/>
                  </a:lnTo>
                  <a:lnTo>
                    <a:pt x="6695004" y="4727007"/>
                  </a:lnTo>
                  <a:lnTo>
                    <a:pt x="6742656" y="4717477"/>
                  </a:lnTo>
                  <a:lnTo>
                    <a:pt x="6771244" y="4722242"/>
                  </a:lnTo>
                  <a:lnTo>
                    <a:pt x="6857016" y="4674589"/>
                  </a:lnTo>
                  <a:lnTo>
                    <a:pt x="7004736" y="4626938"/>
                  </a:lnTo>
                  <a:lnTo>
                    <a:pt x="7042856" y="4598347"/>
                  </a:lnTo>
                  <a:lnTo>
                    <a:pt x="7080980" y="4560227"/>
                  </a:lnTo>
                  <a:lnTo>
                    <a:pt x="7100040" y="4550697"/>
                  </a:lnTo>
                  <a:lnTo>
                    <a:pt x="7119100" y="4550697"/>
                  </a:lnTo>
                  <a:lnTo>
                    <a:pt x="7138160" y="4536401"/>
                  </a:lnTo>
                  <a:lnTo>
                    <a:pt x="7171516" y="4503046"/>
                  </a:lnTo>
                  <a:lnTo>
                    <a:pt x="7190576" y="4493516"/>
                  </a:lnTo>
                  <a:lnTo>
                    <a:pt x="7204872" y="4493516"/>
                  </a:lnTo>
                  <a:lnTo>
                    <a:pt x="7223932" y="4469689"/>
                  </a:lnTo>
                  <a:lnTo>
                    <a:pt x="7238228" y="4422037"/>
                  </a:lnTo>
                  <a:lnTo>
                    <a:pt x="7257288" y="4383918"/>
                  </a:lnTo>
                  <a:lnTo>
                    <a:pt x="7300176" y="4331500"/>
                  </a:lnTo>
                  <a:lnTo>
                    <a:pt x="7376416" y="4260023"/>
                  </a:lnTo>
                  <a:lnTo>
                    <a:pt x="7443128" y="4231433"/>
                  </a:lnTo>
                  <a:lnTo>
                    <a:pt x="7486016" y="4202842"/>
                  </a:lnTo>
                  <a:close/>
                  <a:moveTo>
                    <a:pt x="12012884" y="4064654"/>
                  </a:moveTo>
                  <a:lnTo>
                    <a:pt x="12017652" y="4098009"/>
                  </a:lnTo>
                  <a:lnTo>
                    <a:pt x="12017652" y="4117070"/>
                  </a:lnTo>
                  <a:lnTo>
                    <a:pt x="11998592" y="4159956"/>
                  </a:lnTo>
                  <a:lnTo>
                    <a:pt x="11974764" y="4188547"/>
                  </a:lnTo>
                  <a:lnTo>
                    <a:pt x="11970000" y="4202842"/>
                  </a:lnTo>
                  <a:lnTo>
                    <a:pt x="11965236" y="4212372"/>
                  </a:lnTo>
                  <a:lnTo>
                    <a:pt x="11946176" y="4202842"/>
                  </a:lnTo>
                  <a:lnTo>
                    <a:pt x="11908052" y="4226668"/>
                  </a:lnTo>
                  <a:lnTo>
                    <a:pt x="11893756" y="4212372"/>
                  </a:lnTo>
                  <a:lnTo>
                    <a:pt x="11879464" y="4193312"/>
                  </a:lnTo>
                  <a:lnTo>
                    <a:pt x="11831812" y="4198078"/>
                  </a:lnTo>
                  <a:lnTo>
                    <a:pt x="11817516" y="4193312"/>
                  </a:lnTo>
                  <a:lnTo>
                    <a:pt x="11841340" y="4169486"/>
                  </a:lnTo>
                  <a:lnTo>
                    <a:pt x="11908052" y="4140896"/>
                  </a:lnTo>
                  <a:close/>
                  <a:moveTo>
                    <a:pt x="10935968" y="3988411"/>
                  </a:moveTo>
                  <a:lnTo>
                    <a:pt x="10945496" y="4012238"/>
                  </a:lnTo>
                  <a:lnTo>
                    <a:pt x="10940732" y="4026533"/>
                  </a:lnTo>
                  <a:lnTo>
                    <a:pt x="10916908" y="4074184"/>
                  </a:lnTo>
                  <a:lnTo>
                    <a:pt x="10883552" y="4078948"/>
                  </a:lnTo>
                  <a:lnTo>
                    <a:pt x="10864492" y="4059888"/>
                  </a:lnTo>
                  <a:lnTo>
                    <a:pt x="10859724" y="4050358"/>
                  </a:lnTo>
                  <a:lnTo>
                    <a:pt x="10869256" y="4017002"/>
                  </a:lnTo>
                  <a:lnTo>
                    <a:pt x="10883552" y="3993177"/>
                  </a:lnTo>
                  <a:close/>
                  <a:moveTo>
                    <a:pt x="13702124" y="3964585"/>
                  </a:moveTo>
                  <a:lnTo>
                    <a:pt x="13721184" y="3964585"/>
                  </a:lnTo>
                  <a:lnTo>
                    <a:pt x="13740244" y="3974116"/>
                  </a:lnTo>
                  <a:lnTo>
                    <a:pt x="13745012" y="3983646"/>
                  </a:lnTo>
                  <a:lnTo>
                    <a:pt x="13749776" y="3997941"/>
                  </a:lnTo>
                  <a:lnTo>
                    <a:pt x="13754540" y="4017002"/>
                  </a:lnTo>
                  <a:lnTo>
                    <a:pt x="13711656" y="4036064"/>
                  </a:lnTo>
                  <a:lnTo>
                    <a:pt x="13692596" y="4036064"/>
                  </a:lnTo>
                  <a:lnTo>
                    <a:pt x="13687828" y="4002707"/>
                  </a:lnTo>
                  <a:close/>
                  <a:moveTo>
                    <a:pt x="13182724" y="3683444"/>
                  </a:moveTo>
                  <a:lnTo>
                    <a:pt x="13206552" y="3683444"/>
                  </a:lnTo>
                  <a:lnTo>
                    <a:pt x="13306616" y="3740626"/>
                  </a:lnTo>
                  <a:lnTo>
                    <a:pt x="13330444" y="3783511"/>
                  </a:lnTo>
                  <a:lnTo>
                    <a:pt x="13382860" y="3816868"/>
                  </a:lnTo>
                  <a:lnTo>
                    <a:pt x="13444808" y="3835929"/>
                  </a:lnTo>
                  <a:lnTo>
                    <a:pt x="13473396" y="3859754"/>
                  </a:lnTo>
                  <a:lnTo>
                    <a:pt x="13487692" y="3893108"/>
                  </a:lnTo>
                  <a:lnTo>
                    <a:pt x="13501988" y="3931230"/>
                  </a:lnTo>
                  <a:lnTo>
                    <a:pt x="13449572" y="3959821"/>
                  </a:lnTo>
                  <a:lnTo>
                    <a:pt x="13392392" y="4040828"/>
                  </a:lnTo>
                  <a:lnTo>
                    <a:pt x="13320912" y="4083715"/>
                  </a:lnTo>
                  <a:lnTo>
                    <a:pt x="13230376" y="4112305"/>
                  </a:lnTo>
                  <a:lnTo>
                    <a:pt x="13211316" y="4136131"/>
                  </a:lnTo>
                  <a:lnTo>
                    <a:pt x="13382860" y="4140896"/>
                  </a:lnTo>
                  <a:lnTo>
                    <a:pt x="13435276" y="4136131"/>
                  </a:lnTo>
                  <a:lnTo>
                    <a:pt x="13444808" y="4207608"/>
                  </a:lnTo>
                  <a:lnTo>
                    <a:pt x="13463868" y="4207608"/>
                  </a:lnTo>
                  <a:lnTo>
                    <a:pt x="13511520" y="4174251"/>
                  </a:lnTo>
                  <a:lnTo>
                    <a:pt x="13544872" y="4174251"/>
                  </a:lnTo>
                  <a:lnTo>
                    <a:pt x="13602056" y="4198078"/>
                  </a:lnTo>
                  <a:lnTo>
                    <a:pt x="13611584" y="4183781"/>
                  </a:lnTo>
                  <a:lnTo>
                    <a:pt x="13635412" y="4183781"/>
                  </a:lnTo>
                  <a:lnTo>
                    <a:pt x="13692592" y="4212373"/>
                  </a:lnTo>
                  <a:lnTo>
                    <a:pt x="13711656" y="4260024"/>
                  </a:lnTo>
                  <a:lnTo>
                    <a:pt x="13678296" y="4331501"/>
                  </a:lnTo>
                  <a:lnTo>
                    <a:pt x="13635412" y="4393448"/>
                  </a:lnTo>
                  <a:lnTo>
                    <a:pt x="13587760" y="4498281"/>
                  </a:lnTo>
                  <a:lnTo>
                    <a:pt x="13578232" y="4488750"/>
                  </a:lnTo>
                  <a:lnTo>
                    <a:pt x="13549640" y="4488750"/>
                  </a:lnTo>
                  <a:lnTo>
                    <a:pt x="13554404" y="4541168"/>
                  </a:lnTo>
                  <a:lnTo>
                    <a:pt x="13597292" y="4536402"/>
                  </a:lnTo>
                  <a:lnTo>
                    <a:pt x="13621116" y="4560228"/>
                  </a:lnTo>
                  <a:lnTo>
                    <a:pt x="13668768" y="4531638"/>
                  </a:lnTo>
                  <a:lnTo>
                    <a:pt x="13745008" y="4541168"/>
                  </a:lnTo>
                  <a:lnTo>
                    <a:pt x="13759304" y="4531638"/>
                  </a:lnTo>
                  <a:lnTo>
                    <a:pt x="13787896" y="4503047"/>
                  </a:lnTo>
                  <a:lnTo>
                    <a:pt x="13797424" y="4441098"/>
                  </a:lnTo>
                  <a:lnTo>
                    <a:pt x="13806956" y="4398213"/>
                  </a:lnTo>
                  <a:lnTo>
                    <a:pt x="13830784" y="4388683"/>
                  </a:lnTo>
                  <a:lnTo>
                    <a:pt x="13859372" y="4398213"/>
                  </a:lnTo>
                  <a:lnTo>
                    <a:pt x="13902260" y="4398213"/>
                  </a:lnTo>
                  <a:lnTo>
                    <a:pt x="14016624" y="4379151"/>
                  </a:lnTo>
                  <a:lnTo>
                    <a:pt x="14111924" y="4402978"/>
                  </a:lnTo>
                  <a:lnTo>
                    <a:pt x="14188168" y="4374388"/>
                  </a:lnTo>
                  <a:lnTo>
                    <a:pt x="14288232" y="4398213"/>
                  </a:lnTo>
                  <a:lnTo>
                    <a:pt x="14331120" y="4422037"/>
                  </a:lnTo>
                  <a:lnTo>
                    <a:pt x="14364476" y="4464926"/>
                  </a:lnTo>
                  <a:lnTo>
                    <a:pt x="14393068" y="4479219"/>
                  </a:lnTo>
                  <a:lnTo>
                    <a:pt x="14416892" y="4512577"/>
                  </a:lnTo>
                  <a:lnTo>
                    <a:pt x="14440720" y="4560228"/>
                  </a:lnTo>
                  <a:lnTo>
                    <a:pt x="14431188" y="4598349"/>
                  </a:lnTo>
                  <a:lnTo>
                    <a:pt x="14416892" y="4626939"/>
                  </a:lnTo>
                  <a:lnTo>
                    <a:pt x="14450248" y="4598349"/>
                  </a:lnTo>
                  <a:lnTo>
                    <a:pt x="14474072" y="4593584"/>
                  </a:lnTo>
                  <a:lnTo>
                    <a:pt x="14493136" y="4607878"/>
                  </a:lnTo>
                  <a:lnTo>
                    <a:pt x="14526492" y="4626939"/>
                  </a:lnTo>
                  <a:lnTo>
                    <a:pt x="14536020" y="4731773"/>
                  </a:lnTo>
                  <a:lnTo>
                    <a:pt x="14545552" y="4755598"/>
                  </a:lnTo>
                  <a:lnTo>
                    <a:pt x="14550316" y="4793719"/>
                  </a:lnTo>
                  <a:lnTo>
                    <a:pt x="14540784" y="4827076"/>
                  </a:lnTo>
                  <a:lnTo>
                    <a:pt x="14531256" y="4841371"/>
                  </a:lnTo>
                  <a:lnTo>
                    <a:pt x="14555080" y="4836605"/>
                  </a:lnTo>
                  <a:lnTo>
                    <a:pt x="14593200" y="4803249"/>
                  </a:lnTo>
                  <a:lnTo>
                    <a:pt x="14597968" y="4788950"/>
                  </a:lnTo>
                  <a:lnTo>
                    <a:pt x="14607496" y="4760362"/>
                  </a:lnTo>
                  <a:lnTo>
                    <a:pt x="14593200" y="4736537"/>
                  </a:lnTo>
                  <a:lnTo>
                    <a:pt x="14583672" y="4722242"/>
                  </a:lnTo>
                  <a:lnTo>
                    <a:pt x="14597968" y="4707945"/>
                  </a:lnTo>
                  <a:lnTo>
                    <a:pt x="14626560" y="4712712"/>
                  </a:lnTo>
                  <a:lnTo>
                    <a:pt x="14640856" y="4760362"/>
                  </a:lnTo>
                  <a:lnTo>
                    <a:pt x="14650384" y="4803249"/>
                  </a:lnTo>
                  <a:lnTo>
                    <a:pt x="14674208" y="4946203"/>
                  </a:lnTo>
                  <a:lnTo>
                    <a:pt x="14717096" y="4927142"/>
                  </a:lnTo>
                  <a:lnTo>
                    <a:pt x="14721860" y="4970028"/>
                  </a:lnTo>
                  <a:lnTo>
                    <a:pt x="14702800" y="5065320"/>
                  </a:lnTo>
                  <a:lnTo>
                    <a:pt x="14678976" y="5136797"/>
                  </a:lnTo>
                  <a:lnTo>
                    <a:pt x="14674208" y="5151092"/>
                  </a:lnTo>
                  <a:lnTo>
                    <a:pt x="14659912" y="5151092"/>
                  </a:lnTo>
                  <a:lnTo>
                    <a:pt x="14664680" y="5117736"/>
                  </a:lnTo>
                  <a:lnTo>
                    <a:pt x="14655148" y="5093911"/>
                  </a:lnTo>
                  <a:lnTo>
                    <a:pt x="14645620" y="5084380"/>
                  </a:lnTo>
                  <a:lnTo>
                    <a:pt x="14602732" y="5070085"/>
                  </a:lnTo>
                  <a:lnTo>
                    <a:pt x="14526492" y="4984322"/>
                  </a:lnTo>
                  <a:lnTo>
                    <a:pt x="14507432" y="4974794"/>
                  </a:lnTo>
                  <a:lnTo>
                    <a:pt x="14502664" y="4974794"/>
                  </a:lnTo>
                  <a:lnTo>
                    <a:pt x="14497900" y="4984322"/>
                  </a:lnTo>
                  <a:lnTo>
                    <a:pt x="14540784" y="5046259"/>
                  </a:lnTo>
                  <a:lnTo>
                    <a:pt x="14578908" y="5146327"/>
                  </a:lnTo>
                  <a:lnTo>
                    <a:pt x="14607496" y="5117736"/>
                  </a:lnTo>
                  <a:lnTo>
                    <a:pt x="14621792" y="5122501"/>
                  </a:lnTo>
                  <a:lnTo>
                    <a:pt x="14640856" y="5170153"/>
                  </a:lnTo>
                  <a:lnTo>
                    <a:pt x="14669444" y="5193978"/>
                  </a:lnTo>
                  <a:lnTo>
                    <a:pt x="14698036" y="5222569"/>
                  </a:lnTo>
                  <a:lnTo>
                    <a:pt x="14678976" y="5322637"/>
                  </a:lnTo>
                  <a:lnTo>
                    <a:pt x="14574144" y="5489416"/>
                  </a:lnTo>
                  <a:lnTo>
                    <a:pt x="14459780" y="5589484"/>
                  </a:lnTo>
                  <a:lnTo>
                    <a:pt x="14407360" y="5656196"/>
                  </a:lnTo>
                  <a:lnTo>
                    <a:pt x="14316824" y="5703847"/>
                  </a:lnTo>
                  <a:lnTo>
                    <a:pt x="14254880" y="5770559"/>
                  </a:lnTo>
                  <a:lnTo>
                    <a:pt x="14173872" y="5818210"/>
                  </a:lnTo>
                  <a:lnTo>
                    <a:pt x="14150048" y="5865861"/>
                  </a:lnTo>
                  <a:lnTo>
                    <a:pt x="14088100" y="5899217"/>
                  </a:lnTo>
                  <a:lnTo>
                    <a:pt x="14092864" y="5918278"/>
                  </a:lnTo>
                  <a:lnTo>
                    <a:pt x="14102392" y="5937338"/>
                  </a:lnTo>
                  <a:lnTo>
                    <a:pt x="14092864" y="5965929"/>
                  </a:lnTo>
                  <a:lnTo>
                    <a:pt x="14088100" y="5989754"/>
                  </a:lnTo>
                  <a:lnTo>
                    <a:pt x="14040448" y="6032640"/>
                  </a:lnTo>
                  <a:lnTo>
                    <a:pt x="13968972" y="6065996"/>
                  </a:lnTo>
                  <a:lnTo>
                    <a:pt x="13835548" y="6256602"/>
                  </a:lnTo>
                  <a:lnTo>
                    <a:pt x="13764072" y="6294722"/>
                  </a:lnTo>
                  <a:lnTo>
                    <a:pt x="13687828" y="6299488"/>
                  </a:lnTo>
                  <a:lnTo>
                    <a:pt x="13673532" y="6313783"/>
                  </a:lnTo>
                  <a:lnTo>
                    <a:pt x="13616352" y="6432911"/>
                  </a:lnTo>
                  <a:lnTo>
                    <a:pt x="13597292" y="6456737"/>
                  </a:lnTo>
                  <a:lnTo>
                    <a:pt x="13521048" y="6471032"/>
                  </a:lnTo>
                  <a:lnTo>
                    <a:pt x="13440040" y="6656872"/>
                  </a:lnTo>
                  <a:lnTo>
                    <a:pt x="13397156" y="6718819"/>
                  </a:lnTo>
                  <a:lnTo>
                    <a:pt x="13354268" y="6752175"/>
                  </a:lnTo>
                  <a:lnTo>
                    <a:pt x="13397156" y="6747410"/>
                  </a:lnTo>
                  <a:lnTo>
                    <a:pt x="13444808" y="6723584"/>
                  </a:lnTo>
                  <a:lnTo>
                    <a:pt x="13501988" y="6661638"/>
                  </a:lnTo>
                  <a:lnTo>
                    <a:pt x="13516284" y="6633046"/>
                  </a:lnTo>
                  <a:lnTo>
                    <a:pt x="13521048" y="6604456"/>
                  </a:lnTo>
                  <a:lnTo>
                    <a:pt x="13540108" y="6575865"/>
                  </a:lnTo>
                  <a:lnTo>
                    <a:pt x="13563936" y="6561570"/>
                  </a:lnTo>
                  <a:lnTo>
                    <a:pt x="13664004" y="6537744"/>
                  </a:lnTo>
                  <a:lnTo>
                    <a:pt x="13702124" y="6547274"/>
                  </a:lnTo>
                  <a:lnTo>
                    <a:pt x="13764072" y="6542509"/>
                  </a:lnTo>
                  <a:lnTo>
                    <a:pt x="13802192" y="6509153"/>
                  </a:lnTo>
                  <a:lnTo>
                    <a:pt x="13826016" y="6494858"/>
                  </a:lnTo>
                  <a:lnTo>
                    <a:pt x="13849844" y="6490093"/>
                  </a:lnTo>
                  <a:lnTo>
                    <a:pt x="13859372" y="6466267"/>
                  </a:lnTo>
                  <a:lnTo>
                    <a:pt x="13892728" y="6461502"/>
                  </a:lnTo>
                  <a:lnTo>
                    <a:pt x="13973736" y="6432911"/>
                  </a:lnTo>
                  <a:lnTo>
                    <a:pt x="13983264" y="6418616"/>
                  </a:lnTo>
                  <a:lnTo>
                    <a:pt x="14011856" y="6370965"/>
                  </a:lnTo>
                  <a:lnTo>
                    <a:pt x="14059508" y="6390025"/>
                  </a:lnTo>
                  <a:lnTo>
                    <a:pt x="14092864" y="6380495"/>
                  </a:lnTo>
                  <a:lnTo>
                    <a:pt x="14183400" y="6294722"/>
                  </a:lnTo>
                  <a:lnTo>
                    <a:pt x="14235816" y="6261367"/>
                  </a:lnTo>
                  <a:lnTo>
                    <a:pt x="14250112" y="6237541"/>
                  </a:lnTo>
                  <a:lnTo>
                    <a:pt x="14240584" y="6218480"/>
                  </a:lnTo>
                  <a:lnTo>
                    <a:pt x="14226288" y="6208950"/>
                  </a:lnTo>
                  <a:lnTo>
                    <a:pt x="14173872" y="6237541"/>
                  </a:lnTo>
                  <a:lnTo>
                    <a:pt x="14130984" y="6247071"/>
                  </a:lnTo>
                  <a:lnTo>
                    <a:pt x="14078568" y="6242306"/>
                  </a:lnTo>
                  <a:lnTo>
                    <a:pt x="14069040" y="6228011"/>
                  </a:lnTo>
                  <a:lnTo>
                    <a:pt x="14064272" y="6199420"/>
                  </a:lnTo>
                  <a:lnTo>
                    <a:pt x="14078568" y="6151769"/>
                  </a:lnTo>
                  <a:lnTo>
                    <a:pt x="14092864" y="6123178"/>
                  </a:lnTo>
                  <a:lnTo>
                    <a:pt x="14126220" y="6089822"/>
                  </a:lnTo>
                  <a:lnTo>
                    <a:pt x="14154812" y="6075527"/>
                  </a:lnTo>
                  <a:lnTo>
                    <a:pt x="14259644" y="6113648"/>
                  </a:lnTo>
                  <a:lnTo>
                    <a:pt x="14278704" y="6118413"/>
                  </a:lnTo>
                  <a:lnTo>
                    <a:pt x="14293000" y="6056466"/>
                  </a:lnTo>
                  <a:lnTo>
                    <a:pt x="14326356" y="6056466"/>
                  </a:lnTo>
                  <a:lnTo>
                    <a:pt x="14359712" y="6070762"/>
                  </a:lnTo>
                  <a:lnTo>
                    <a:pt x="14345416" y="6080292"/>
                  </a:lnTo>
                  <a:lnTo>
                    <a:pt x="14307296" y="6104118"/>
                  </a:lnTo>
                  <a:lnTo>
                    <a:pt x="14316824" y="6151769"/>
                  </a:lnTo>
                  <a:lnTo>
                    <a:pt x="14335888" y="6180360"/>
                  </a:lnTo>
                  <a:lnTo>
                    <a:pt x="14397832" y="6228011"/>
                  </a:lnTo>
                  <a:lnTo>
                    <a:pt x="14450248" y="6247071"/>
                  </a:lnTo>
                  <a:lnTo>
                    <a:pt x="14488368" y="6247071"/>
                  </a:lnTo>
                  <a:lnTo>
                    <a:pt x="14550316" y="6228011"/>
                  </a:lnTo>
                  <a:lnTo>
                    <a:pt x="14559848" y="6213716"/>
                  </a:lnTo>
                  <a:lnTo>
                    <a:pt x="14574144" y="6175594"/>
                  </a:lnTo>
                  <a:lnTo>
                    <a:pt x="14559848" y="6104118"/>
                  </a:lnTo>
                  <a:lnTo>
                    <a:pt x="14574144" y="6118413"/>
                  </a:lnTo>
                  <a:lnTo>
                    <a:pt x="14588436" y="6132708"/>
                  </a:lnTo>
                  <a:lnTo>
                    <a:pt x="14612264" y="6175594"/>
                  </a:lnTo>
                  <a:lnTo>
                    <a:pt x="14636088" y="6251836"/>
                  </a:lnTo>
                  <a:lnTo>
                    <a:pt x="14650384" y="6280427"/>
                  </a:lnTo>
                  <a:lnTo>
                    <a:pt x="14640856" y="6318548"/>
                  </a:lnTo>
                  <a:lnTo>
                    <a:pt x="14607496" y="6385260"/>
                  </a:lnTo>
                  <a:lnTo>
                    <a:pt x="14626560" y="6423381"/>
                  </a:lnTo>
                  <a:lnTo>
                    <a:pt x="14659912" y="6447207"/>
                  </a:lnTo>
                  <a:lnTo>
                    <a:pt x="14659912" y="6556804"/>
                  </a:lnTo>
                  <a:lnTo>
                    <a:pt x="14659912" y="6609221"/>
                  </a:lnTo>
                  <a:lnTo>
                    <a:pt x="14640856" y="6666402"/>
                  </a:lnTo>
                  <a:lnTo>
                    <a:pt x="14621792" y="6690228"/>
                  </a:lnTo>
                  <a:lnTo>
                    <a:pt x="14602732" y="6723584"/>
                  </a:lnTo>
                  <a:lnTo>
                    <a:pt x="14607496" y="6756940"/>
                  </a:lnTo>
                  <a:lnTo>
                    <a:pt x="14612264" y="6776000"/>
                  </a:lnTo>
                  <a:lnTo>
                    <a:pt x="14631324" y="6814122"/>
                  </a:lnTo>
                  <a:lnTo>
                    <a:pt x="14688504" y="6828417"/>
                  </a:lnTo>
                  <a:lnTo>
                    <a:pt x="14693272" y="6818886"/>
                  </a:lnTo>
                  <a:lnTo>
                    <a:pt x="14683740" y="6804591"/>
                  </a:lnTo>
                  <a:lnTo>
                    <a:pt x="14645620" y="6790296"/>
                  </a:lnTo>
                  <a:lnTo>
                    <a:pt x="14631324" y="6771235"/>
                  </a:lnTo>
                  <a:lnTo>
                    <a:pt x="14617028" y="6737880"/>
                  </a:lnTo>
                  <a:lnTo>
                    <a:pt x="14631324" y="6699758"/>
                  </a:lnTo>
                  <a:lnTo>
                    <a:pt x="14650384" y="6671168"/>
                  </a:lnTo>
                  <a:lnTo>
                    <a:pt x="14669444" y="6604456"/>
                  </a:lnTo>
                  <a:lnTo>
                    <a:pt x="14674208" y="6556804"/>
                  </a:lnTo>
                  <a:lnTo>
                    <a:pt x="14669444" y="6509153"/>
                  </a:lnTo>
                  <a:lnTo>
                    <a:pt x="14683740" y="6490093"/>
                  </a:lnTo>
                  <a:lnTo>
                    <a:pt x="14702800" y="6461502"/>
                  </a:lnTo>
                  <a:lnTo>
                    <a:pt x="14712332" y="6456737"/>
                  </a:lnTo>
                  <a:lnTo>
                    <a:pt x="14721860" y="6447207"/>
                  </a:lnTo>
                  <a:lnTo>
                    <a:pt x="14707564" y="6437676"/>
                  </a:lnTo>
                  <a:lnTo>
                    <a:pt x="14693272" y="6432911"/>
                  </a:lnTo>
                  <a:lnTo>
                    <a:pt x="14669444" y="6399556"/>
                  </a:lnTo>
                  <a:lnTo>
                    <a:pt x="14664680" y="6361434"/>
                  </a:lnTo>
                  <a:lnTo>
                    <a:pt x="14717096" y="6347139"/>
                  </a:lnTo>
                  <a:lnTo>
                    <a:pt x="14750452" y="6318548"/>
                  </a:lnTo>
                  <a:lnTo>
                    <a:pt x="14869580" y="6304253"/>
                  </a:lnTo>
                  <a:lnTo>
                    <a:pt x="14950588" y="6251836"/>
                  </a:lnTo>
                  <a:lnTo>
                    <a:pt x="15131664" y="6266132"/>
                  </a:lnTo>
                  <a:lnTo>
                    <a:pt x="15255556" y="6309018"/>
                  </a:lnTo>
                  <a:lnTo>
                    <a:pt x="15436632" y="6313783"/>
                  </a:lnTo>
                  <a:lnTo>
                    <a:pt x="15498576" y="6342374"/>
                  </a:lnTo>
                  <a:lnTo>
                    <a:pt x="15508108" y="6351904"/>
                  </a:lnTo>
                  <a:lnTo>
                    <a:pt x="15512872" y="6375730"/>
                  </a:lnTo>
                  <a:lnTo>
                    <a:pt x="15484280" y="6385260"/>
                  </a:lnTo>
                  <a:lnTo>
                    <a:pt x="15436632" y="6385260"/>
                  </a:lnTo>
                  <a:lnTo>
                    <a:pt x="15422336" y="6437676"/>
                  </a:lnTo>
                  <a:lnTo>
                    <a:pt x="15431864" y="6504388"/>
                  </a:lnTo>
                  <a:lnTo>
                    <a:pt x="15512872" y="6571100"/>
                  </a:lnTo>
                  <a:lnTo>
                    <a:pt x="15589112" y="6599691"/>
                  </a:lnTo>
                  <a:lnTo>
                    <a:pt x="15636764" y="6647342"/>
                  </a:lnTo>
                  <a:lnTo>
                    <a:pt x="15665356" y="6652107"/>
                  </a:lnTo>
                  <a:lnTo>
                    <a:pt x="15770188" y="6647342"/>
                  </a:lnTo>
                  <a:lnTo>
                    <a:pt x="15832136" y="6671168"/>
                  </a:lnTo>
                  <a:lnTo>
                    <a:pt x="15889316" y="6652107"/>
                  </a:lnTo>
                  <a:lnTo>
                    <a:pt x="15951264" y="6652107"/>
                  </a:lnTo>
                  <a:lnTo>
                    <a:pt x="15970324" y="6656872"/>
                  </a:lnTo>
                  <a:lnTo>
                    <a:pt x="15994152" y="6690228"/>
                  </a:lnTo>
                  <a:lnTo>
                    <a:pt x="16032272" y="6699758"/>
                  </a:lnTo>
                  <a:lnTo>
                    <a:pt x="16075156" y="6699758"/>
                  </a:lnTo>
                  <a:lnTo>
                    <a:pt x="16098984" y="6694993"/>
                  </a:lnTo>
                  <a:lnTo>
                    <a:pt x="16108512" y="6685463"/>
                  </a:lnTo>
                  <a:lnTo>
                    <a:pt x="16103748" y="6671168"/>
                  </a:lnTo>
                  <a:lnTo>
                    <a:pt x="16065628" y="6652107"/>
                  </a:lnTo>
                  <a:lnTo>
                    <a:pt x="16070392" y="6628282"/>
                  </a:lnTo>
                  <a:lnTo>
                    <a:pt x="16084688" y="6618751"/>
                  </a:lnTo>
                  <a:lnTo>
                    <a:pt x="16146632" y="6652107"/>
                  </a:lnTo>
                  <a:lnTo>
                    <a:pt x="16170460" y="6656872"/>
                  </a:lnTo>
                  <a:lnTo>
                    <a:pt x="16194284" y="6633046"/>
                  </a:lnTo>
                  <a:lnTo>
                    <a:pt x="16208580" y="6590160"/>
                  </a:lnTo>
                  <a:lnTo>
                    <a:pt x="16218112" y="6556804"/>
                  </a:lnTo>
                  <a:lnTo>
                    <a:pt x="16227640" y="6542509"/>
                  </a:lnTo>
                  <a:lnTo>
                    <a:pt x="16237172" y="6537744"/>
                  </a:lnTo>
                  <a:lnTo>
                    <a:pt x="16241936" y="6532979"/>
                  </a:lnTo>
                  <a:lnTo>
                    <a:pt x="16222876" y="6494858"/>
                  </a:lnTo>
                  <a:lnTo>
                    <a:pt x="16203816" y="6447207"/>
                  </a:lnTo>
                  <a:lnTo>
                    <a:pt x="16199048" y="6418616"/>
                  </a:lnTo>
                  <a:lnTo>
                    <a:pt x="16194284" y="6404320"/>
                  </a:lnTo>
                  <a:lnTo>
                    <a:pt x="16194284" y="6347139"/>
                  </a:lnTo>
                  <a:lnTo>
                    <a:pt x="16208580" y="6289958"/>
                  </a:lnTo>
                  <a:lnTo>
                    <a:pt x="16222876" y="6270897"/>
                  </a:lnTo>
                  <a:lnTo>
                    <a:pt x="16270528" y="6294722"/>
                  </a:lnTo>
                  <a:lnTo>
                    <a:pt x="16289588" y="6261367"/>
                  </a:lnTo>
                  <a:lnTo>
                    <a:pt x="16303884" y="6247071"/>
                  </a:lnTo>
                  <a:lnTo>
                    <a:pt x="16361064" y="6223246"/>
                  </a:lnTo>
                  <a:lnTo>
                    <a:pt x="16384888" y="6223246"/>
                  </a:lnTo>
                  <a:lnTo>
                    <a:pt x="16427776" y="6247071"/>
                  </a:lnTo>
                  <a:lnTo>
                    <a:pt x="16556436" y="6351904"/>
                  </a:lnTo>
                  <a:lnTo>
                    <a:pt x="16551672" y="6394790"/>
                  </a:lnTo>
                  <a:lnTo>
                    <a:pt x="16580260" y="6380495"/>
                  </a:lnTo>
                  <a:lnTo>
                    <a:pt x="16594556" y="6366200"/>
                  </a:lnTo>
                  <a:lnTo>
                    <a:pt x="16632676" y="6356669"/>
                  </a:lnTo>
                  <a:lnTo>
                    <a:pt x="16651736" y="6337609"/>
                  </a:lnTo>
                  <a:lnTo>
                    <a:pt x="16661268" y="6342374"/>
                  </a:lnTo>
                  <a:lnTo>
                    <a:pt x="16666032" y="6361434"/>
                  </a:lnTo>
                  <a:lnTo>
                    <a:pt x="16661268" y="6385260"/>
                  </a:lnTo>
                  <a:lnTo>
                    <a:pt x="16656504" y="6409086"/>
                  </a:lnTo>
                  <a:lnTo>
                    <a:pt x="16661268" y="6423381"/>
                  </a:lnTo>
                  <a:lnTo>
                    <a:pt x="16666032" y="6423381"/>
                  </a:lnTo>
                  <a:lnTo>
                    <a:pt x="16699388" y="6456737"/>
                  </a:lnTo>
                  <a:lnTo>
                    <a:pt x="16747040" y="6399556"/>
                  </a:lnTo>
                  <a:lnTo>
                    <a:pt x="16766100" y="6347139"/>
                  </a:lnTo>
                  <a:lnTo>
                    <a:pt x="16775632" y="6337609"/>
                  </a:lnTo>
                  <a:lnTo>
                    <a:pt x="16885228" y="6375730"/>
                  </a:lnTo>
                  <a:lnTo>
                    <a:pt x="16918584" y="6394790"/>
                  </a:lnTo>
                  <a:lnTo>
                    <a:pt x="16928116" y="6404320"/>
                  </a:lnTo>
                  <a:lnTo>
                    <a:pt x="16932880" y="6423381"/>
                  </a:lnTo>
                  <a:lnTo>
                    <a:pt x="16947176" y="6447207"/>
                  </a:lnTo>
                  <a:lnTo>
                    <a:pt x="16971000" y="6456737"/>
                  </a:lnTo>
                  <a:lnTo>
                    <a:pt x="16966236" y="6471032"/>
                  </a:lnTo>
                  <a:lnTo>
                    <a:pt x="16966236" y="6490093"/>
                  </a:lnTo>
                  <a:lnTo>
                    <a:pt x="17018652" y="6494858"/>
                  </a:lnTo>
                  <a:lnTo>
                    <a:pt x="17042480" y="6509153"/>
                  </a:lnTo>
                  <a:lnTo>
                    <a:pt x="17066304" y="6532979"/>
                  </a:lnTo>
                  <a:lnTo>
                    <a:pt x="17061536" y="6561570"/>
                  </a:lnTo>
                  <a:lnTo>
                    <a:pt x="17071068" y="6575865"/>
                  </a:lnTo>
                  <a:lnTo>
                    <a:pt x="17094896" y="6575865"/>
                  </a:lnTo>
                  <a:lnTo>
                    <a:pt x="17099660" y="6575865"/>
                  </a:lnTo>
                  <a:lnTo>
                    <a:pt x="17090128" y="6609221"/>
                  </a:lnTo>
                  <a:lnTo>
                    <a:pt x="17061536" y="6652107"/>
                  </a:lnTo>
                  <a:lnTo>
                    <a:pt x="17042480" y="6666402"/>
                  </a:lnTo>
                  <a:lnTo>
                    <a:pt x="17018652" y="6690228"/>
                  </a:lnTo>
                  <a:lnTo>
                    <a:pt x="17032948" y="6694993"/>
                  </a:lnTo>
                  <a:lnTo>
                    <a:pt x="17085364" y="6704524"/>
                  </a:lnTo>
                  <a:lnTo>
                    <a:pt x="17118720" y="6752175"/>
                  </a:lnTo>
                  <a:lnTo>
                    <a:pt x="17123484" y="6790296"/>
                  </a:lnTo>
                  <a:lnTo>
                    <a:pt x="17099660" y="6804591"/>
                  </a:lnTo>
                  <a:lnTo>
                    <a:pt x="17056772" y="6852242"/>
                  </a:lnTo>
                  <a:lnTo>
                    <a:pt x="17023416" y="6871303"/>
                  </a:lnTo>
                  <a:lnTo>
                    <a:pt x="17004356" y="6876068"/>
                  </a:lnTo>
                  <a:lnTo>
                    <a:pt x="16990064" y="6880833"/>
                  </a:lnTo>
                  <a:lnTo>
                    <a:pt x="17013888" y="6899894"/>
                  </a:lnTo>
                  <a:lnTo>
                    <a:pt x="17099660" y="6904659"/>
                  </a:lnTo>
                  <a:lnTo>
                    <a:pt x="17128248" y="6928484"/>
                  </a:lnTo>
                  <a:lnTo>
                    <a:pt x="17147312" y="6995196"/>
                  </a:lnTo>
                  <a:lnTo>
                    <a:pt x="17147312" y="7071438"/>
                  </a:lnTo>
                  <a:lnTo>
                    <a:pt x="17128248" y="7109559"/>
                  </a:lnTo>
                  <a:lnTo>
                    <a:pt x="17071068" y="7114324"/>
                  </a:lnTo>
                  <a:lnTo>
                    <a:pt x="16999592" y="7028552"/>
                  </a:lnTo>
                  <a:lnTo>
                    <a:pt x="16956704" y="6995196"/>
                  </a:lnTo>
                  <a:lnTo>
                    <a:pt x="16894760" y="6933250"/>
                  </a:lnTo>
                  <a:lnTo>
                    <a:pt x="16885228" y="6942780"/>
                  </a:lnTo>
                  <a:lnTo>
                    <a:pt x="16904288" y="6999962"/>
                  </a:lnTo>
                  <a:lnTo>
                    <a:pt x="16932880" y="7028552"/>
                  </a:lnTo>
                  <a:lnTo>
                    <a:pt x="16980532" y="7109559"/>
                  </a:lnTo>
                  <a:lnTo>
                    <a:pt x="17071068" y="7273956"/>
                  </a:lnTo>
                  <a:lnTo>
                    <a:pt x="17090128" y="7259661"/>
                  </a:lnTo>
                  <a:lnTo>
                    <a:pt x="17099660" y="7240600"/>
                  </a:lnTo>
                  <a:lnTo>
                    <a:pt x="17109192" y="7212010"/>
                  </a:lnTo>
                  <a:lnTo>
                    <a:pt x="17099660" y="7173888"/>
                  </a:lnTo>
                  <a:lnTo>
                    <a:pt x="17113956" y="7192949"/>
                  </a:lnTo>
                  <a:lnTo>
                    <a:pt x="17128248" y="7226305"/>
                  </a:lnTo>
                  <a:lnTo>
                    <a:pt x="17152076" y="7283486"/>
                  </a:lnTo>
                  <a:lnTo>
                    <a:pt x="17118720" y="7278721"/>
                  </a:lnTo>
                  <a:lnTo>
                    <a:pt x="17075832" y="7297782"/>
                  </a:lnTo>
                  <a:lnTo>
                    <a:pt x="17056772" y="7321608"/>
                  </a:lnTo>
                  <a:lnTo>
                    <a:pt x="17071068" y="7350198"/>
                  </a:lnTo>
                  <a:lnTo>
                    <a:pt x="17104424" y="7354963"/>
                  </a:lnTo>
                  <a:lnTo>
                    <a:pt x="17118720" y="7397850"/>
                  </a:lnTo>
                  <a:lnTo>
                    <a:pt x="17142544" y="7450266"/>
                  </a:lnTo>
                  <a:lnTo>
                    <a:pt x="17199728" y="7588454"/>
                  </a:lnTo>
                  <a:lnTo>
                    <a:pt x="17242612" y="7612280"/>
                  </a:lnTo>
                  <a:lnTo>
                    <a:pt x="17280736" y="7669462"/>
                  </a:lnTo>
                  <a:lnTo>
                    <a:pt x="17323620" y="7698052"/>
                  </a:lnTo>
                  <a:lnTo>
                    <a:pt x="17342680" y="7698052"/>
                  </a:lnTo>
                  <a:lnTo>
                    <a:pt x="17356976" y="7664696"/>
                  </a:lnTo>
                  <a:lnTo>
                    <a:pt x="17371272" y="7674227"/>
                  </a:lnTo>
                  <a:lnTo>
                    <a:pt x="17380800" y="7740939"/>
                  </a:lnTo>
                  <a:lnTo>
                    <a:pt x="17399864" y="7764764"/>
                  </a:lnTo>
                  <a:lnTo>
                    <a:pt x="17418924" y="7769530"/>
                  </a:lnTo>
                  <a:lnTo>
                    <a:pt x="17437984" y="7755234"/>
                  </a:lnTo>
                  <a:lnTo>
                    <a:pt x="17461808" y="7726643"/>
                  </a:lnTo>
                  <a:lnTo>
                    <a:pt x="17480872" y="7693288"/>
                  </a:lnTo>
                  <a:lnTo>
                    <a:pt x="17514224" y="7597985"/>
                  </a:lnTo>
                  <a:lnTo>
                    <a:pt x="17538052" y="7545568"/>
                  </a:lnTo>
                  <a:lnTo>
                    <a:pt x="17557112" y="7526508"/>
                  </a:lnTo>
                  <a:lnTo>
                    <a:pt x="17552348" y="7502682"/>
                  </a:lnTo>
                  <a:lnTo>
                    <a:pt x="17552348" y="7474092"/>
                  </a:lnTo>
                  <a:lnTo>
                    <a:pt x="17566640" y="7407380"/>
                  </a:lnTo>
                  <a:lnTo>
                    <a:pt x="17585704" y="7331138"/>
                  </a:lnTo>
                  <a:lnTo>
                    <a:pt x="17604764" y="7288252"/>
                  </a:lnTo>
                  <a:lnTo>
                    <a:pt x="17638120" y="7202479"/>
                  </a:lnTo>
                  <a:lnTo>
                    <a:pt x="17652416" y="7188184"/>
                  </a:lnTo>
                  <a:lnTo>
                    <a:pt x="17661944" y="7216775"/>
                  </a:lnTo>
                  <a:lnTo>
                    <a:pt x="17671476" y="7254896"/>
                  </a:lnTo>
                  <a:lnTo>
                    <a:pt x="17676240" y="7269191"/>
                  </a:lnTo>
                  <a:lnTo>
                    <a:pt x="17681004" y="7273956"/>
                  </a:lnTo>
                  <a:lnTo>
                    <a:pt x="17728656" y="7350198"/>
                  </a:lnTo>
                  <a:lnTo>
                    <a:pt x="17776308" y="7407380"/>
                  </a:lnTo>
                  <a:lnTo>
                    <a:pt x="17814428" y="7435970"/>
                  </a:lnTo>
                  <a:lnTo>
                    <a:pt x="17881140" y="7459796"/>
                  </a:lnTo>
                  <a:lnTo>
                    <a:pt x="17971680" y="7455031"/>
                  </a:lnTo>
                  <a:lnTo>
                    <a:pt x="17990736" y="7421675"/>
                  </a:lnTo>
                  <a:lnTo>
                    <a:pt x="18024096" y="7393084"/>
                  </a:lnTo>
                  <a:lnTo>
                    <a:pt x="18076512" y="7378789"/>
                  </a:lnTo>
                  <a:lnTo>
                    <a:pt x="18105104" y="7345433"/>
                  </a:lnTo>
                  <a:lnTo>
                    <a:pt x="18157520" y="7335903"/>
                  </a:lnTo>
                  <a:lnTo>
                    <a:pt x="18190872" y="7340668"/>
                  </a:lnTo>
                  <a:lnTo>
                    <a:pt x="18238524" y="7369259"/>
                  </a:lnTo>
                  <a:lnTo>
                    <a:pt x="18352888" y="7445501"/>
                  </a:lnTo>
                  <a:lnTo>
                    <a:pt x="18381480" y="7469326"/>
                  </a:lnTo>
                  <a:lnTo>
                    <a:pt x="18395776" y="7497917"/>
                  </a:lnTo>
                  <a:lnTo>
                    <a:pt x="18433896" y="7545568"/>
                  </a:lnTo>
                  <a:lnTo>
                    <a:pt x="18457720" y="7564629"/>
                  </a:lnTo>
                  <a:lnTo>
                    <a:pt x="18476784" y="7578924"/>
                  </a:lnTo>
                  <a:lnTo>
                    <a:pt x="18486312" y="7574159"/>
                  </a:lnTo>
                  <a:lnTo>
                    <a:pt x="18486312" y="7564629"/>
                  </a:lnTo>
                  <a:lnTo>
                    <a:pt x="18472016" y="7550334"/>
                  </a:lnTo>
                  <a:lnTo>
                    <a:pt x="18462488" y="7536038"/>
                  </a:lnTo>
                  <a:lnTo>
                    <a:pt x="18491076" y="7516978"/>
                  </a:lnTo>
                  <a:lnTo>
                    <a:pt x="18495840" y="7507448"/>
                  </a:lnTo>
                  <a:lnTo>
                    <a:pt x="18500608" y="7497917"/>
                  </a:lnTo>
                  <a:lnTo>
                    <a:pt x="18538728" y="7488387"/>
                  </a:lnTo>
                  <a:lnTo>
                    <a:pt x="18505372" y="7469326"/>
                  </a:lnTo>
                  <a:lnTo>
                    <a:pt x="18491076" y="7469326"/>
                  </a:lnTo>
                  <a:lnTo>
                    <a:pt x="18476784" y="7459796"/>
                  </a:lnTo>
                  <a:lnTo>
                    <a:pt x="18476784" y="7435970"/>
                  </a:lnTo>
                  <a:lnTo>
                    <a:pt x="18486312" y="7421675"/>
                  </a:lnTo>
                  <a:lnTo>
                    <a:pt x="18495840" y="7388319"/>
                  </a:lnTo>
                  <a:lnTo>
                    <a:pt x="18505372" y="7369259"/>
                  </a:lnTo>
                  <a:lnTo>
                    <a:pt x="18524432" y="7354963"/>
                  </a:lnTo>
                  <a:lnTo>
                    <a:pt x="18538728" y="7350198"/>
                  </a:lnTo>
                  <a:lnTo>
                    <a:pt x="18572084" y="7369259"/>
                  </a:lnTo>
                  <a:lnTo>
                    <a:pt x="18591144" y="7335903"/>
                  </a:lnTo>
                  <a:lnTo>
                    <a:pt x="18610204" y="7335903"/>
                  </a:lnTo>
                  <a:lnTo>
                    <a:pt x="18643560" y="7374024"/>
                  </a:lnTo>
                  <a:lnTo>
                    <a:pt x="18676916" y="7431206"/>
                  </a:lnTo>
                  <a:lnTo>
                    <a:pt x="18695976" y="7431206"/>
                  </a:lnTo>
                  <a:lnTo>
                    <a:pt x="18743628" y="7407380"/>
                  </a:lnTo>
                  <a:lnTo>
                    <a:pt x="18800808" y="7407380"/>
                  </a:lnTo>
                  <a:lnTo>
                    <a:pt x="18791280" y="7374024"/>
                  </a:lnTo>
                  <a:lnTo>
                    <a:pt x="18753160" y="7302547"/>
                  </a:lnTo>
                  <a:lnTo>
                    <a:pt x="18757924" y="7212010"/>
                  </a:lnTo>
                  <a:lnTo>
                    <a:pt x="18729336" y="7188184"/>
                  </a:lnTo>
                  <a:lnTo>
                    <a:pt x="18700744" y="7178654"/>
                  </a:lnTo>
                  <a:lnTo>
                    <a:pt x="18743628" y="7154828"/>
                  </a:lnTo>
                  <a:lnTo>
                    <a:pt x="18776984" y="7080968"/>
                  </a:lnTo>
                  <a:lnTo>
                    <a:pt x="18805576" y="7071438"/>
                  </a:lnTo>
                  <a:lnTo>
                    <a:pt x="18829400" y="7057143"/>
                  </a:lnTo>
                  <a:lnTo>
                    <a:pt x="18819872" y="7047613"/>
                  </a:lnTo>
                  <a:lnTo>
                    <a:pt x="18743628" y="7038082"/>
                  </a:lnTo>
                  <a:lnTo>
                    <a:pt x="18724568" y="7047613"/>
                  </a:lnTo>
                  <a:lnTo>
                    <a:pt x="18710272" y="7071438"/>
                  </a:lnTo>
                  <a:lnTo>
                    <a:pt x="18672152" y="7071438"/>
                  </a:lnTo>
                  <a:lnTo>
                    <a:pt x="18667384" y="7019022"/>
                  </a:lnTo>
                  <a:lnTo>
                    <a:pt x="18667384" y="6985666"/>
                  </a:lnTo>
                  <a:lnTo>
                    <a:pt x="18719800" y="6914189"/>
                  </a:lnTo>
                  <a:lnTo>
                    <a:pt x="18738864" y="6899894"/>
                  </a:lnTo>
                  <a:lnTo>
                    <a:pt x="18872288" y="6899894"/>
                  </a:lnTo>
                  <a:lnTo>
                    <a:pt x="18910408" y="6890364"/>
                  </a:lnTo>
                  <a:lnTo>
                    <a:pt x="18967592" y="6852242"/>
                  </a:lnTo>
                  <a:lnTo>
                    <a:pt x="18953296" y="6828417"/>
                  </a:lnTo>
                  <a:lnTo>
                    <a:pt x="18953296" y="6785531"/>
                  </a:lnTo>
                  <a:lnTo>
                    <a:pt x="18900880" y="6718819"/>
                  </a:lnTo>
                  <a:lnTo>
                    <a:pt x="18905640" y="6704524"/>
                  </a:lnTo>
                  <a:lnTo>
                    <a:pt x="18910408" y="6694993"/>
                  </a:lnTo>
                  <a:lnTo>
                    <a:pt x="18929468" y="6694993"/>
                  </a:lnTo>
                  <a:lnTo>
                    <a:pt x="19005712" y="6709289"/>
                  </a:lnTo>
                  <a:lnTo>
                    <a:pt x="19039064" y="6747410"/>
                  </a:lnTo>
                  <a:lnTo>
                    <a:pt x="19124840" y="6785531"/>
                  </a:lnTo>
                  <a:lnTo>
                    <a:pt x="19348800" y="6795061"/>
                  </a:lnTo>
                  <a:lnTo>
                    <a:pt x="19377392" y="6809356"/>
                  </a:lnTo>
                  <a:lnTo>
                    <a:pt x="19472692" y="6823652"/>
                  </a:lnTo>
                  <a:lnTo>
                    <a:pt x="19515580" y="6842712"/>
                  </a:lnTo>
                  <a:lnTo>
                    <a:pt x="19610880" y="6861773"/>
                  </a:lnTo>
                  <a:lnTo>
                    <a:pt x="19658532" y="6876068"/>
                  </a:lnTo>
                  <a:lnTo>
                    <a:pt x="19691888" y="6899894"/>
                  </a:lnTo>
                  <a:lnTo>
                    <a:pt x="19749072" y="6914189"/>
                  </a:lnTo>
                  <a:lnTo>
                    <a:pt x="19777664" y="6928484"/>
                  </a:lnTo>
                  <a:lnTo>
                    <a:pt x="19772896" y="6976136"/>
                  </a:lnTo>
                  <a:lnTo>
                    <a:pt x="19653768" y="6971371"/>
                  </a:lnTo>
                  <a:lnTo>
                    <a:pt x="19615648" y="6952310"/>
                  </a:lnTo>
                  <a:lnTo>
                    <a:pt x="19567996" y="6952310"/>
                  </a:lnTo>
                  <a:lnTo>
                    <a:pt x="19548936" y="6961840"/>
                  </a:lnTo>
                  <a:lnTo>
                    <a:pt x="19515580" y="6999962"/>
                  </a:lnTo>
                  <a:lnTo>
                    <a:pt x="19482224" y="7019022"/>
                  </a:lnTo>
                  <a:lnTo>
                    <a:pt x="19453632" y="7023787"/>
                  </a:lnTo>
                  <a:lnTo>
                    <a:pt x="19472692" y="7057143"/>
                  </a:lnTo>
                  <a:lnTo>
                    <a:pt x="19501284" y="7066673"/>
                  </a:lnTo>
                  <a:lnTo>
                    <a:pt x="19587056" y="7023787"/>
                  </a:lnTo>
                  <a:lnTo>
                    <a:pt x="19830080" y="6999962"/>
                  </a:lnTo>
                  <a:lnTo>
                    <a:pt x="19868200" y="7004726"/>
                  </a:lnTo>
                  <a:lnTo>
                    <a:pt x="19863432" y="7033317"/>
                  </a:lnTo>
                  <a:lnTo>
                    <a:pt x="19830080" y="7090499"/>
                  </a:lnTo>
                  <a:lnTo>
                    <a:pt x="19801488" y="7135768"/>
                  </a:lnTo>
                  <a:lnTo>
                    <a:pt x="19753836" y="7178654"/>
                  </a:lnTo>
                  <a:lnTo>
                    <a:pt x="19739540" y="7178654"/>
                  </a:lnTo>
                  <a:lnTo>
                    <a:pt x="19772896" y="7085734"/>
                  </a:lnTo>
                  <a:lnTo>
                    <a:pt x="19758600" y="7080968"/>
                  </a:lnTo>
                  <a:lnTo>
                    <a:pt x="19744304" y="7080968"/>
                  </a:lnTo>
                  <a:lnTo>
                    <a:pt x="19706184" y="7042848"/>
                  </a:lnTo>
                  <a:lnTo>
                    <a:pt x="19701420" y="7038082"/>
                  </a:lnTo>
                  <a:lnTo>
                    <a:pt x="19691888" y="7047613"/>
                  </a:lnTo>
                  <a:lnTo>
                    <a:pt x="19691888" y="7066673"/>
                  </a:lnTo>
                  <a:lnTo>
                    <a:pt x="19687124" y="7116707"/>
                  </a:lnTo>
                  <a:lnTo>
                    <a:pt x="19701420" y="7140533"/>
                  </a:lnTo>
                  <a:lnTo>
                    <a:pt x="19701420" y="7183419"/>
                  </a:lnTo>
                  <a:lnTo>
                    <a:pt x="19644240" y="7207244"/>
                  </a:lnTo>
                  <a:lnTo>
                    <a:pt x="19625176" y="7207244"/>
                  </a:lnTo>
                  <a:lnTo>
                    <a:pt x="19601352" y="7188184"/>
                  </a:lnTo>
                  <a:lnTo>
                    <a:pt x="19591824" y="7188184"/>
                  </a:lnTo>
                  <a:lnTo>
                    <a:pt x="19587056" y="7202479"/>
                  </a:lnTo>
                  <a:lnTo>
                    <a:pt x="19591824" y="7226305"/>
                  </a:lnTo>
                  <a:lnTo>
                    <a:pt x="19591824" y="7235835"/>
                  </a:lnTo>
                  <a:lnTo>
                    <a:pt x="19587056" y="7254896"/>
                  </a:lnTo>
                  <a:lnTo>
                    <a:pt x="19582288" y="7273956"/>
                  </a:lnTo>
                  <a:lnTo>
                    <a:pt x="19591824" y="7297782"/>
                  </a:lnTo>
                  <a:lnTo>
                    <a:pt x="19610880" y="7307312"/>
                  </a:lnTo>
                  <a:lnTo>
                    <a:pt x="19706184" y="7278721"/>
                  </a:lnTo>
                  <a:lnTo>
                    <a:pt x="19749072" y="7250130"/>
                  </a:lnTo>
                  <a:lnTo>
                    <a:pt x="19796720" y="7192949"/>
                  </a:lnTo>
                  <a:lnTo>
                    <a:pt x="19877728" y="7052378"/>
                  </a:lnTo>
                  <a:lnTo>
                    <a:pt x="19915848" y="7004726"/>
                  </a:lnTo>
                  <a:lnTo>
                    <a:pt x="19934912" y="6985666"/>
                  </a:lnTo>
                  <a:lnTo>
                    <a:pt x="19963504" y="6980901"/>
                  </a:lnTo>
                  <a:lnTo>
                    <a:pt x="20111220" y="6995196"/>
                  </a:lnTo>
                  <a:lnTo>
                    <a:pt x="20201760" y="7028552"/>
                  </a:lnTo>
                  <a:lnTo>
                    <a:pt x="20287528" y="7071438"/>
                  </a:lnTo>
                  <a:lnTo>
                    <a:pt x="20325648" y="7109559"/>
                  </a:lnTo>
                  <a:lnTo>
                    <a:pt x="20359008" y="7154828"/>
                  </a:lnTo>
                  <a:lnTo>
                    <a:pt x="20363772" y="7178654"/>
                  </a:lnTo>
                  <a:lnTo>
                    <a:pt x="20363772" y="7202479"/>
                  </a:lnTo>
                  <a:lnTo>
                    <a:pt x="20344712" y="7231070"/>
                  </a:lnTo>
                  <a:lnTo>
                    <a:pt x="20249408" y="7240600"/>
                  </a:lnTo>
                  <a:lnTo>
                    <a:pt x="20216052" y="7254896"/>
                  </a:lnTo>
                  <a:lnTo>
                    <a:pt x="20201760" y="7273956"/>
                  </a:lnTo>
                  <a:lnTo>
                    <a:pt x="20201760" y="7278721"/>
                  </a:lnTo>
                  <a:lnTo>
                    <a:pt x="20196992" y="7297782"/>
                  </a:lnTo>
                  <a:lnTo>
                    <a:pt x="20201760" y="7307312"/>
                  </a:lnTo>
                  <a:lnTo>
                    <a:pt x="20244644" y="7307312"/>
                  </a:lnTo>
                  <a:lnTo>
                    <a:pt x="20282764" y="7321608"/>
                  </a:lnTo>
                  <a:lnTo>
                    <a:pt x="20339944" y="7350198"/>
                  </a:lnTo>
                  <a:lnTo>
                    <a:pt x="20349476" y="7359728"/>
                  </a:lnTo>
                  <a:lnTo>
                    <a:pt x="20368536" y="7393084"/>
                  </a:lnTo>
                  <a:lnTo>
                    <a:pt x="20373304" y="7397850"/>
                  </a:lnTo>
                  <a:lnTo>
                    <a:pt x="20454312" y="7393084"/>
                  </a:lnTo>
                  <a:lnTo>
                    <a:pt x="20463840" y="7402615"/>
                  </a:lnTo>
                  <a:lnTo>
                    <a:pt x="20468604" y="7426440"/>
                  </a:lnTo>
                  <a:lnTo>
                    <a:pt x="20444776" y="7459796"/>
                  </a:lnTo>
                  <a:lnTo>
                    <a:pt x="20420952" y="7478857"/>
                  </a:lnTo>
                  <a:lnTo>
                    <a:pt x="20378068" y="7536038"/>
                  </a:lnTo>
                  <a:lnTo>
                    <a:pt x="20401892" y="7516978"/>
                  </a:lnTo>
                  <a:lnTo>
                    <a:pt x="20492432" y="7469326"/>
                  </a:lnTo>
                  <a:lnTo>
                    <a:pt x="20516256" y="7459796"/>
                  </a:lnTo>
                  <a:lnTo>
                    <a:pt x="20540080" y="7464561"/>
                  </a:lnTo>
                  <a:lnTo>
                    <a:pt x="20611560" y="7507448"/>
                  </a:lnTo>
                  <a:lnTo>
                    <a:pt x="20640152" y="7540803"/>
                  </a:lnTo>
                  <a:lnTo>
                    <a:pt x="20687800" y="7631341"/>
                  </a:lnTo>
                  <a:lnTo>
                    <a:pt x="20673504" y="7645636"/>
                  </a:lnTo>
                  <a:lnTo>
                    <a:pt x="20640152" y="7655166"/>
                  </a:lnTo>
                  <a:lnTo>
                    <a:pt x="20754512" y="7721878"/>
                  </a:lnTo>
                  <a:lnTo>
                    <a:pt x="20802164" y="7721878"/>
                  </a:lnTo>
                  <a:lnTo>
                    <a:pt x="20902232" y="7702818"/>
                  </a:lnTo>
                  <a:lnTo>
                    <a:pt x="20954648" y="7702818"/>
                  </a:lnTo>
                  <a:lnTo>
                    <a:pt x="21054716" y="7655166"/>
                  </a:lnTo>
                  <a:lnTo>
                    <a:pt x="21150016" y="7626576"/>
                  </a:lnTo>
                  <a:lnTo>
                    <a:pt x="21235792" y="7626576"/>
                  </a:lnTo>
                  <a:lnTo>
                    <a:pt x="21283440" y="7597985"/>
                  </a:lnTo>
                  <a:lnTo>
                    <a:pt x="21407336" y="7597985"/>
                  </a:lnTo>
                  <a:lnTo>
                    <a:pt x="21526464" y="7607515"/>
                  </a:lnTo>
                  <a:lnTo>
                    <a:pt x="21617000" y="7626576"/>
                  </a:lnTo>
                  <a:lnTo>
                    <a:pt x="21721832" y="7674227"/>
                  </a:lnTo>
                  <a:lnTo>
                    <a:pt x="21821900" y="7745704"/>
                  </a:lnTo>
                  <a:lnTo>
                    <a:pt x="21883848" y="7812416"/>
                  </a:lnTo>
                  <a:lnTo>
                    <a:pt x="21893376" y="7831476"/>
                  </a:lnTo>
                  <a:lnTo>
                    <a:pt x="21912440" y="7879128"/>
                  </a:lnTo>
                  <a:lnTo>
                    <a:pt x="21917204" y="7917248"/>
                  </a:lnTo>
                  <a:lnTo>
                    <a:pt x="21926736" y="7969664"/>
                  </a:lnTo>
                  <a:lnTo>
                    <a:pt x="21921968" y="8012551"/>
                  </a:lnTo>
                  <a:lnTo>
                    <a:pt x="21907672" y="8041142"/>
                  </a:lnTo>
                  <a:lnTo>
                    <a:pt x="21898144" y="8074498"/>
                  </a:lnTo>
                  <a:lnTo>
                    <a:pt x="21898144" y="8117384"/>
                  </a:lnTo>
                  <a:lnTo>
                    <a:pt x="21883848" y="8169800"/>
                  </a:lnTo>
                  <a:lnTo>
                    <a:pt x="21898144" y="8212686"/>
                  </a:lnTo>
                  <a:lnTo>
                    <a:pt x="21941028" y="8236512"/>
                  </a:lnTo>
                  <a:lnTo>
                    <a:pt x="22041096" y="8269868"/>
                  </a:lnTo>
                  <a:lnTo>
                    <a:pt x="22069688" y="8288928"/>
                  </a:lnTo>
                  <a:lnTo>
                    <a:pt x="22069688" y="8355640"/>
                  </a:lnTo>
                  <a:lnTo>
                    <a:pt x="22079216" y="8412822"/>
                  </a:lnTo>
                  <a:lnTo>
                    <a:pt x="22088748" y="8517654"/>
                  </a:lnTo>
                  <a:lnTo>
                    <a:pt x="22103044" y="8541480"/>
                  </a:lnTo>
                  <a:lnTo>
                    <a:pt x="22131632" y="8565306"/>
                  </a:lnTo>
                  <a:lnTo>
                    <a:pt x="22136400" y="8598662"/>
                  </a:lnTo>
                  <a:lnTo>
                    <a:pt x="22103044" y="8708260"/>
                  </a:lnTo>
                  <a:lnTo>
                    <a:pt x="22079216" y="8727320"/>
                  </a:lnTo>
                  <a:lnTo>
                    <a:pt x="22060160" y="8755910"/>
                  </a:lnTo>
                  <a:lnTo>
                    <a:pt x="22098280" y="8746380"/>
                  </a:lnTo>
                  <a:lnTo>
                    <a:pt x="22117336" y="8708260"/>
                  </a:lnTo>
                  <a:lnTo>
                    <a:pt x="22136400" y="8636782"/>
                  </a:lnTo>
                  <a:lnTo>
                    <a:pt x="22160224" y="8622487"/>
                  </a:lnTo>
                  <a:lnTo>
                    <a:pt x="22169756" y="8598662"/>
                  </a:lnTo>
                  <a:lnTo>
                    <a:pt x="22169756" y="8531950"/>
                  </a:lnTo>
                  <a:lnTo>
                    <a:pt x="22155460" y="8470003"/>
                  </a:lnTo>
                  <a:lnTo>
                    <a:pt x="22155460" y="8427117"/>
                  </a:lnTo>
                  <a:lnTo>
                    <a:pt x="22164992" y="8393761"/>
                  </a:lnTo>
                  <a:lnTo>
                    <a:pt x="22226936" y="8317519"/>
                  </a:lnTo>
                  <a:lnTo>
                    <a:pt x="22265056" y="8288928"/>
                  </a:lnTo>
                  <a:lnTo>
                    <a:pt x="22293648" y="8269868"/>
                  </a:lnTo>
                  <a:lnTo>
                    <a:pt x="22384184" y="8255572"/>
                  </a:lnTo>
                  <a:lnTo>
                    <a:pt x="22427072" y="8241277"/>
                  </a:lnTo>
                  <a:lnTo>
                    <a:pt x="22469960" y="8250807"/>
                  </a:lnTo>
                  <a:lnTo>
                    <a:pt x="22503312" y="8246042"/>
                  </a:lnTo>
                  <a:lnTo>
                    <a:pt x="22541436" y="8231746"/>
                  </a:lnTo>
                  <a:lnTo>
                    <a:pt x="22574792" y="8241277"/>
                  </a:lnTo>
                  <a:lnTo>
                    <a:pt x="22631972" y="8288928"/>
                  </a:lnTo>
                  <a:lnTo>
                    <a:pt x="22827344" y="8303224"/>
                  </a:lnTo>
                  <a:lnTo>
                    <a:pt x="22860696" y="8317519"/>
                  </a:lnTo>
                  <a:lnTo>
                    <a:pt x="22989356" y="8336580"/>
                  </a:lnTo>
                  <a:lnTo>
                    <a:pt x="22998888" y="8336580"/>
                  </a:lnTo>
                  <a:lnTo>
                    <a:pt x="23027480" y="8312754"/>
                  </a:lnTo>
                  <a:lnTo>
                    <a:pt x="23118016" y="8231746"/>
                  </a:lnTo>
                  <a:lnTo>
                    <a:pt x="23151372" y="8236512"/>
                  </a:lnTo>
                  <a:lnTo>
                    <a:pt x="23165664" y="8250807"/>
                  </a:lnTo>
                  <a:lnTo>
                    <a:pt x="23179960" y="8284163"/>
                  </a:lnTo>
                  <a:lnTo>
                    <a:pt x="23199024" y="8303224"/>
                  </a:lnTo>
                  <a:lnTo>
                    <a:pt x="23208552" y="8360405"/>
                  </a:lnTo>
                  <a:lnTo>
                    <a:pt x="23222848" y="8441412"/>
                  </a:lnTo>
                  <a:lnTo>
                    <a:pt x="23241908" y="8455708"/>
                  </a:lnTo>
                  <a:lnTo>
                    <a:pt x="23265736" y="8460473"/>
                  </a:lnTo>
                  <a:lnTo>
                    <a:pt x="23322916" y="8489064"/>
                  </a:lnTo>
                  <a:lnTo>
                    <a:pt x="23380096" y="8522420"/>
                  </a:lnTo>
                  <a:lnTo>
                    <a:pt x="23394392" y="8593896"/>
                  </a:lnTo>
                  <a:lnTo>
                    <a:pt x="23427748" y="8651078"/>
                  </a:lnTo>
                  <a:lnTo>
                    <a:pt x="23499224" y="8646313"/>
                  </a:lnTo>
                  <a:lnTo>
                    <a:pt x="23570704" y="8632018"/>
                  </a:lnTo>
                  <a:lnTo>
                    <a:pt x="23642180" y="8541480"/>
                  </a:lnTo>
                  <a:lnTo>
                    <a:pt x="23642180" y="8498594"/>
                  </a:lnTo>
                  <a:lnTo>
                    <a:pt x="23623120" y="8441412"/>
                  </a:lnTo>
                  <a:lnTo>
                    <a:pt x="23599296" y="8388996"/>
                  </a:lnTo>
                  <a:lnTo>
                    <a:pt x="23575468" y="8303224"/>
                  </a:lnTo>
                  <a:lnTo>
                    <a:pt x="23513520" y="8279398"/>
                  </a:lnTo>
                  <a:lnTo>
                    <a:pt x="23518288" y="8255572"/>
                  </a:lnTo>
                  <a:lnTo>
                    <a:pt x="23542112" y="8226982"/>
                  </a:lnTo>
                  <a:lnTo>
                    <a:pt x="23565936" y="8179330"/>
                  </a:lnTo>
                  <a:lnTo>
                    <a:pt x="23570704" y="8141210"/>
                  </a:lnTo>
                  <a:lnTo>
                    <a:pt x="23561172" y="8064968"/>
                  </a:lnTo>
                  <a:lnTo>
                    <a:pt x="23623120" y="8069732"/>
                  </a:lnTo>
                  <a:lnTo>
                    <a:pt x="23680300" y="8079262"/>
                  </a:lnTo>
                  <a:lnTo>
                    <a:pt x="23794664" y="8112618"/>
                  </a:lnTo>
                  <a:lnTo>
                    <a:pt x="23885200" y="8126914"/>
                  </a:lnTo>
                  <a:lnTo>
                    <a:pt x="23932852" y="8150740"/>
                  </a:lnTo>
                  <a:lnTo>
                    <a:pt x="23966208" y="8174565"/>
                  </a:lnTo>
                  <a:lnTo>
                    <a:pt x="23999564" y="8193626"/>
                  </a:lnTo>
                  <a:lnTo>
                    <a:pt x="24009096" y="8145974"/>
                  </a:lnTo>
                  <a:lnTo>
                    <a:pt x="24023392" y="8136444"/>
                  </a:lnTo>
                  <a:lnTo>
                    <a:pt x="24071040" y="8160270"/>
                  </a:lnTo>
                  <a:lnTo>
                    <a:pt x="24104396" y="8169800"/>
                  </a:lnTo>
                  <a:lnTo>
                    <a:pt x="24161576" y="8165035"/>
                  </a:lnTo>
                  <a:lnTo>
                    <a:pt x="24233056" y="8179330"/>
                  </a:lnTo>
                  <a:lnTo>
                    <a:pt x="24314064" y="8174565"/>
                  </a:lnTo>
                  <a:lnTo>
                    <a:pt x="24385540" y="8155504"/>
                  </a:lnTo>
                  <a:lnTo>
                    <a:pt x="24414128" y="8160270"/>
                  </a:lnTo>
                  <a:lnTo>
                    <a:pt x="24442720" y="8174565"/>
                  </a:lnTo>
                  <a:lnTo>
                    <a:pt x="24490372" y="8217452"/>
                  </a:lnTo>
                  <a:lnTo>
                    <a:pt x="24566616" y="8274633"/>
                  </a:lnTo>
                  <a:lnTo>
                    <a:pt x="24642856" y="8288928"/>
                  </a:lnTo>
                  <a:lnTo>
                    <a:pt x="24728628" y="8341344"/>
                  </a:lnTo>
                  <a:lnTo>
                    <a:pt x="24804872" y="8360405"/>
                  </a:lnTo>
                  <a:lnTo>
                    <a:pt x="24866816" y="8388996"/>
                  </a:lnTo>
                  <a:lnTo>
                    <a:pt x="24876348" y="8398526"/>
                  </a:lnTo>
                  <a:lnTo>
                    <a:pt x="24881112" y="8417586"/>
                  </a:lnTo>
                  <a:lnTo>
                    <a:pt x="24885880" y="8427117"/>
                  </a:lnTo>
                  <a:lnTo>
                    <a:pt x="24933528" y="8446178"/>
                  </a:lnTo>
                  <a:lnTo>
                    <a:pt x="25028832" y="8551010"/>
                  </a:lnTo>
                  <a:lnTo>
                    <a:pt x="25047892" y="8565306"/>
                  </a:lnTo>
                  <a:lnTo>
                    <a:pt x="25081248" y="8584366"/>
                  </a:lnTo>
                  <a:lnTo>
                    <a:pt x="25109840" y="8598662"/>
                  </a:lnTo>
                  <a:lnTo>
                    <a:pt x="25124136" y="8593896"/>
                  </a:lnTo>
                  <a:lnTo>
                    <a:pt x="25128900" y="8598662"/>
                  </a:lnTo>
                  <a:lnTo>
                    <a:pt x="25147960" y="8622487"/>
                  </a:lnTo>
                  <a:lnTo>
                    <a:pt x="25162256" y="8636782"/>
                  </a:lnTo>
                  <a:lnTo>
                    <a:pt x="25224200" y="8665374"/>
                  </a:lnTo>
                  <a:lnTo>
                    <a:pt x="25252792" y="8698729"/>
                  </a:lnTo>
                  <a:lnTo>
                    <a:pt x="25276616" y="8736850"/>
                  </a:lnTo>
                  <a:lnTo>
                    <a:pt x="25267088" y="8732085"/>
                  </a:lnTo>
                  <a:lnTo>
                    <a:pt x="25243264" y="8703494"/>
                  </a:lnTo>
                  <a:lnTo>
                    <a:pt x="25248028" y="8736850"/>
                  </a:lnTo>
                  <a:lnTo>
                    <a:pt x="25252792" y="8755910"/>
                  </a:lnTo>
                  <a:lnTo>
                    <a:pt x="25286148" y="8774971"/>
                  </a:lnTo>
                  <a:lnTo>
                    <a:pt x="25324272" y="8789266"/>
                  </a:lnTo>
                  <a:lnTo>
                    <a:pt x="25348096" y="8808327"/>
                  </a:lnTo>
                  <a:lnTo>
                    <a:pt x="25352860" y="8822622"/>
                  </a:lnTo>
                  <a:lnTo>
                    <a:pt x="25357624" y="8851213"/>
                  </a:lnTo>
                  <a:lnTo>
                    <a:pt x="25352860" y="8875039"/>
                  </a:lnTo>
                  <a:lnTo>
                    <a:pt x="25371920" y="8865508"/>
                  </a:lnTo>
                  <a:lnTo>
                    <a:pt x="25390984" y="8841683"/>
                  </a:lnTo>
                  <a:lnTo>
                    <a:pt x="25381448" y="8827388"/>
                  </a:lnTo>
                  <a:lnTo>
                    <a:pt x="25314740" y="8765441"/>
                  </a:lnTo>
                  <a:lnTo>
                    <a:pt x="25305208" y="8746380"/>
                  </a:lnTo>
                  <a:lnTo>
                    <a:pt x="25324272" y="8755910"/>
                  </a:lnTo>
                  <a:lnTo>
                    <a:pt x="25410040" y="8832152"/>
                  </a:lnTo>
                  <a:lnTo>
                    <a:pt x="25433868" y="8860744"/>
                  </a:lnTo>
                  <a:lnTo>
                    <a:pt x="25424336" y="8865508"/>
                  </a:lnTo>
                  <a:lnTo>
                    <a:pt x="25419572" y="8884569"/>
                  </a:lnTo>
                  <a:lnTo>
                    <a:pt x="25424336" y="8889334"/>
                  </a:lnTo>
                  <a:lnTo>
                    <a:pt x="25433868" y="8884569"/>
                  </a:lnTo>
                  <a:lnTo>
                    <a:pt x="25452928" y="8884569"/>
                  </a:lnTo>
                  <a:lnTo>
                    <a:pt x="25471988" y="8894100"/>
                  </a:lnTo>
                  <a:lnTo>
                    <a:pt x="25491048" y="8913160"/>
                  </a:lnTo>
                  <a:lnTo>
                    <a:pt x="25533936" y="8936986"/>
                  </a:lnTo>
                  <a:lnTo>
                    <a:pt x="25776956" y="9118060"/>
                  </a:lnTo>
                  <a:lnTo>
                    <a:pt x="25781720" y="9151416"/>
                  </a:lnTo>
                  <a:lnTo>
                    <a:pt x="25786488" y="9165712"/>
                  </a:lnTo>
                  <a:lnTo>
                    <a:pt x="25791252" y="9184772"/>
                  </a:lnTo>
                  <a:lnTo>
                    <a:pt x="25791252" y="9213363"/>
                  </a:lnTo>
                  <a:lnTo>
                    <a:pt x="25772192" y="9251484"/>
                  </a:lnTo>
                  <a:lnTo>
                    <a:pt x="25805548" y="9246719"/>
                  </a:lnTo>
                  <a:lnTo>
                    <a:pt x="25810312" y="9241954"/>
                  </a:lnTo>
                  <a:lnTo>
                    <a:pt x="25819840" y="9227658"/>
                  </a:lnTo>
                  <a:lnTo>
                    <a:pt x="25829372" y="9218128"/>
                  </a:lnTo>
                  <a:lnTo>
                    <a:pt x="25843668" y="9227658"/>
                  </a:lnTo>
                  <a:lnTo>
                    <a:pt x="25853200" y="9251484"/>
                  </a:lnTo>
                  <a:lnTo>
                    <a:pt x="25848432" y="9284840"/>
                  </a:lnTo>
                  <a:lnTo>
                    <a:pt x="25838904" y="9313430"/>
                  </a:lnTo>
                  <a:lnTo>
                    <a:pt x="25838904" y="9356316"/>
                  </a:lnTo>
                  <a:lnTo>
                    <a:pt x="25848432" y="9394438"/>
                  </a:lnTo>
                  <a:lnTo>
                    <a:pt x="25857964" y="9408733"/>
                  </a:lnTo>
                  <a:lnTo>
                    <a:pt x="25862728" y="9427794"/>
                  </a:lnTo>
                  <a:lnTo>
                    <a:pt x="25867496" y="9480210"/>
                  </a:lnTo>
                  <a:lnTo>
                    <a:pt x="25848432" y="9504036"/>
                  </a:lnTo>
                  <a:lnTo>
                    <a:pt x="25843668" y="9542156"/>
                  </a:lnTo>
                  <a:lnTo>
                    <a:pt x="25853200" y="9546922"/>
                  </a:lnTo>
                  <a:lnTo>
                    <a:pt x="25881792" y="9551687"/>
                  </a:lnTo>
                  <a:lnTo>
                    <a:pt x="25891320" y="9556452"/>
                  </a:lnTo>
                  <a:lnTo>
                    <a:pt x="25905616" y="9575512"/>
                  </a:lnTo>
                  <a:lnTo>
                    <a:pt x="25910380" y="9594573"/>
                  </a:lnTo>
                  <a:lnTo>
                    <a:pt x="25915144" y="9618398"/>
                  </a:lnTo>
                  <a:lnTo>
                    <a:pt x="25919912" y="9642224"/>
                  </a:lnTo>
                  <a:lnTo>
                    <a:pt x="25924676" y="9651754"/>
                  </a:lnTo>
                  <a:lnTo>
                    <a:pt x="25929440" y="9651754"/>
                  </a:lnTo>
                  <a:lnTo>
                    <a:pt x="25943736" y="9618398"/>
                  </a:lnTo>
                  <a:lnTo>
                    <a:pt x="25953264" y="9608868"/>
                  </a:lnTo>
                  <a:lnTo>
                    <a:pt x="25972328" y="9604104"/>
                  </a:lnTo>
                  <a:lnTo>
                    <a:pt x="25981856" y="9637459"/>
                  </a:lnTo>
                  <a:lnTo>
                    <a:pt x="25977092" y="9694640"/>
                  </a:lnTo>
                  <a:lnTo>
                    <a:pt x="25981856" y="9694640"/>
                  </a:lnTo>
                  <a:lnTo>
                    <a:pt x="25986624" y="9689876"/>
                  </a:lnTo>
                  <a:lnTo>
                    <a:pt x="25991388" y="9675580"/>
                  </a:lnTo>
                  <a:lnTo>
                    <a:pt x="26000920" y="9666050"/>
                  </a:lnTo>
                  <a:lnTo>
                    <a:pt x="26010448" y="9642224"/>
                  </a:lnTo>
                  <a:lnTo>
                    <a:pt x="26019976" y="9618398"/>
                  </a:lnTo>
                  <a:lnTo>
                    <a:pt x="26010448" y="9594573"/>
                  </a:lnTo>
                  <a:lnTo>
                    <a:pt x="25996152" y="9585043"/>
                  </a:lnTo>
                  <a:lnTo>
                    <a:pt x="25967560" y="9575512"/>
                  </a:lnTo>
                  <a:lnTo>
                    <a:pt x="25958032" y="9561217"/>
                  </a:lnTo>
                  <a:lnTo>
                    <a:pt x="25948504" y="9537392"/>
                  </a:lnTo>
                  <a:lnTo>
                    <a:pt x="25962796" y="9532626"/>
                  </a:lnTo>
                  <a:lnTo>
                    <a:pt x="25977092" y="9518331"/>
                  </a:lnTo>
                  <a:lnTo>
                    <a:pt x="25986624" y="9480210"/>
                  </a:lnTo>
                  <a:lnTo>
                    <a:pt x="25981856" y="9461150"/>
                  </a:lnTo>
                  <a:lnTo>
                    <a:pt x="25981856" y="9442089"/>
                  </a:lnTo>
                  <a:lnTo>
                    <a:pt x="25972328" y="9413498"/>
                  </a:lnTo>
                  <a:lnTo>
                    <a:pt x="25962796" y="9399203"/>
                  </a:lnTo>
                  <a:lnTo>
                    <a:pt x="25943736" y="9394438"/>
                  </a:lnTo>
                  <a:lnTo>
                    <a:pt x="25934208" y="9375377"/>
                  </a:lnTo>
                  <a:lnTo>
                    <a:pt x="25919912" y="9380142"/>
                  </a:lnTo>
                  <a:lnTo>
                    <a:pt x="25905616" y="9375377"/>
                  </a:lnTo>
                  <a:lnTo>
                    <a:pt x="25900848" y="9365847"/>
                  </a:lnTo>
                  <a:lnTo>
                    <a:pt x="25900848" y="9356316"/>
                  </a:lnTo>
                  <a:lnTo>
                    <a:pt x="25915144" y="9351552"/>
                  </a:lnTo>
                  <a:lnTo>
                    <a:pt x="26005680" y="9351552"/>
                  </a:lnTo>
                  <a:lnTo>
                    <a:pt x="26034272" y="9337256"/>
                  </a:lnTo>
                  <a:lnTo>
                    <a:pt x="26048568" y="9342022"/>
                  </a:lnTo>
                  <a:lnTo>
                    <a:pt x="26062864" y="9351552"/>
                  </a:lnTo>
                  <a:lnTo>
                    <a:pt x="26120048" y="9365847"/>
                  </a:lnTo>
                  <a:lnTo>
                    <a:pt x="26115280" y="9370612"/>
                  </a:lnTo>
                  <a:lnTo>
                    <a:pt x="26105752" y="9380142"/>
                  </a:lnTo>
                  <a:lnTo>
                    <a:pt x="26091456" y="9413498"/>
                  </a:lnTo>
                  <a:lnTo>
                    <a:pt x="26086688" y="9427794"/>
                  </a:lnTo>
                  <a:lnTo>
                    <a:pt x="26086688" y="9451619"/>
                  </a:lnTo>
                  <a:lnTo>
                    <a:pt x="26100984" y="9456384"/>
                  </a:lnTo>
                  <a:lnTo>
                    <a:pt x="26115280" y="9446854"/>
                  </a:lnTo>
                  <a:lnTo>
                    <a:pt x="26110516" y="9427794"/>
                  </a:lnTo>
                  <a:lnTo>
                    <a:pt x="26105752" y="9403968"/>
                  </a:lnTo>
                  <a:lnTo>
                    <a:pt x="26110516" y="9394438"/>
                  </a:lnTo>
                  <a:lnTo>
                    <a:pt x="26120048" y="9394438"/>
                  </a:lnTo>
                  <a:lnTo>
                    <a:pt x="26134344" y="9408733"/>
                  </a:lnTo>
                  <a:lnTo>
                    <a:pt x="26148636" y="9418264"/>
                  </a:lnTo>
                  <a:lnTo>
                    <a:pt x="26196288" y="9423028"/>
                  </a:lnTo>
                  <a:lnTo>
                    <a:pt x="26210584" y="9423028"/>
                  </a:lnTo>
                  <a:lnTo>
                    <a:pt x="26215348" y="9413498"/>
                  </a:lnTo>
                  <a:lnTo>
                    <a:pt x="26205816" y="9403968"/>
                  </a:lnTo>
                  <a:lnTo>
                    <a:pt x="26143872" y="9380142"/>
                  </a:lnTo>
                  <a:lnTo>
                    <a:pt x="26139104" y="9365847"/>
                  </a:lnTo>
                  <a:lnTo>
                    <a:pt x="26201052" y="9384908"/>
                  </a:lnTo>
                  <a:lnTo>
                    <a:pt x="26229644" y="9394438"/>
                  </a:lnTo>
                  <a:lnTo>
                    <a:pt x="26253472" y="9408733"/>
                  </a:lnTo>
                  <a:lnTo>
                    <a:pt x="26291592" y="9403968"/>
                  </a:lnTo>
                  <a:lnTo>
                    <a:pt x="26329712" y="9423028"/>
                  </a:lnTo>
                  <a:lnTo>
                    <a:pt x="26363068" y="9465914"/>
                  </a:lnTo>
                  <a:lnTo>
                    <a:pt x="26396424" y="9523096"/>
                  </a:lnTo>
                  <a:lnTo>
                    <a:pt x="26429780" y="9556452"/>
                  </a:lnTo>
                  <a:lnTo>
                    <a:pt x="26467900" y="9580278"/>
                  </a:lnTo>
                  <a:lnTo>
                    <a:pt x="26525080" y="9646990"/>
                  </a:lnTo>
                  <a:lnTo>
                    <a:pt x="26529848" y="9651754"/>
                  </a:lnTo>
                  <a:lnTo>
                    <a:pt x="26534612" y="9661285"/>
                  </a:lnTo>
                  <a:lnTo>
                    <a:pt x="26525080" y="9670815"/>
                  </a:lnTo>
                  <a:lnTo>
                    <a:pt x="26515552" y="9689876"/>
                  </a:lnTo>
                  <a:lnTo>
                    <a:pt x="26534612" y="9675580"/>
                  </a:lnTo>
                  <a:lnTo>
                    <a:pt x="26553672" y="9670815"/>
                  </a:lnTo>
                  <a:lnTo>
                    <a:pt x="26563200" y="9670815"/>
                  </a:lnTo>
                  <a:lnTo>
                    <a:pt x="26572732" y="9680346"/>
                  </a:lnTo>
                  <a:lnTo>
                    <a:pt x="26577496" y="9694640"/>
                  </a:lnTo>
                  <a:lnTo>
                    <a:pt x="26582264" y="9708936"/>
                  </a:lnTo>
                  <a:lnTo>
                    <a:pt x="26572732" y="9718466"/>
                  </a:lnTo>
                  <a:lnTo>
                    <a:pt x="26629912" y="9723232"/>
                  </a:lnTo>
                  <a:lnTo>
                    <a:pt x="26644208" y="9727996"/>
                  </a:lnTo>
                  <a:lnTo>
                    <a:pt x="26653740" y="9761352"/>
                  </a:lnTo>
                  <a:lnTo>
                    <a:pt x="26634680" y="9785178"/>
                  </a:lnTo>
                  <a:lnTo>
                    <a:pt x="26629912" y="9780413"/>
                  </a:lnTo>
                  <a:lnTo>
                    <a:pt x="26620384" y="9775648"/>
                  </a:lnTo>
                  <a:lnTo>
                    <a:pt x="26610856" y="9770883"/>
                  </a:lnTo>
                  <a:lnTo>
                    <a:pt x="26587028" y="9780413"/>
                  </a:lnTo>
                  <a:lnTo>
                    <a:pt x="26548908" y="9813769"/>
                  </a:lnTo>
                  <a:lnTo>
                    <a:pt x="26525080" y="9837594"/>
                  </a:lnTo>
                  <a:lnTo>
                    <a:pt x="26520316" y="9851890"/>
                  </a:lnTo>
                  <a:lnTo>
                    <a:pt x="26525080" y="9894776"/>
                  </a:lnTo>
                  <a:lnTo>
                    <a:pt x="26525080" y="9913836"/>
                  </a:lnTo>
                  <a:lnTo>
                    <a:pt x="26506024" y="9928132"/>
                  </a:lnTo>
                  <a:lnTo>
                    <a:pt x="26472664" y="9923367"/>
                  </a:lnTo>
                  <a:lnTo>
                    <a:pt x="26453604" y="9913836"/>
                  </a:lnTo>
                  <a:lnTo>
                    <a:pt x="26434544" y="9899541"/>
                  </a:lnTo>
                  <a:lnTo>
                    <a:pt x="26420248" y="9885246"/>
                  </a:lnTo>
                  <a:lnTo>
                    <a:pt x="26396424" y="9861420"/>
                  </a:lnTo>
                  <a:lnTo>
                    <a:pt x="26386892" y="9856655"/>
                  </a:lnTo>
                  <a:lnTo>
                    <a:pt x="26382128" y="9861420"/>
                  </a:lnTo>
                  <a:lnTo>
                    <a:pt x="26391656" y="9880480"/>
                  </a:lnTo>
                  <a:lnTo>
                    <a:pt x="26405952" y="9899541"/>
                  </a:lnTo>
                  <a:lnTo>
                    <a:pt x="26434544" y="9928132"/>
                  </a:lnTo>
                  <a:lnTo>
                    <a:pt x="26444072" y="9956722"/>
                  </a:lnTo>
                  <a:lnTo>
                    <a:pt x="26439312" y="9971018"/>
                  </a:lnTo>
                  <a:lnTo>
                    <a:pt x="26429780" y="9975783"/>
                  </a:lnTo>
                  <a:lnTo>
                    <a:pt x="26420248" y="9975783"/>
                  </a:lnTo>
                  <a:lnTo>
                    <a:pt x="26396424" y="9966253"/>
                  </a:lnTo>
                  <a:lnTo>
                    <a:pt x="26382128" y="9961488"/>
                  </a:lnTo>
                  <a:lnTo>
                    <a:pt x="26329712" y="9971018"/>
                  </a:lnTo>
                  <a:lnTo>
                    <a:pt x="26310648" y="9975783"/>
                  </a:lnTo>
                  <a:lnTo>
                    <a:pt x="26305888" y="9971018"/>
                  </a:lnTo>
                  <a:lnTo>
                    <a:pt x="26305888" y="9961488"/>
                  </a:lnTo>
                  <a:lnTo>
                    <a:pt x="26277296" y="9951958"/>
                  </a:lnTo>
                  <a:lnTo>
                    <a:pt x="26263000" y="9947192"/>
                  </a:lnTo>
                  <a:lnTo>
                    <a:pt x="26253472" y="9942428"/>
                  </a:lnTo>
                  <a:lnTo>
                    <a:pt x="26248704" y="9932897"/>
                  </a:lnTo>
                  <a:lnTo>
                    <a:pt x="26229644" y="9909072"/>
                  </a:lnTo>
                  <a:lnTo>
                    <a:pt x="26201052" y="9904306"/>
                  </a:lnTo>
                  <a:lnTo>
                    <a:pt x="26186760" y="9904306"/>
                  </a:lnTo>
                  <a:lnTo>
                    <a:pt x="26177228" y="9904306"/>
                  </a:lnTo>
                  <a:lnTo>
                    <a:pt x="26210584" y="9932897"/>
                  </a:lnTo>
                  <a:lnTo>
                    <a:pt x="26243940" y="9975783"/>
                  </a:lnTo>
                  <a:lnTo>
                    <a:pt x="26239176" y="9985314"/>
                  </a:lnTo>
                  <a:lnTo>
                    <a:pt x="26234408" y="9994844"/>
                  </a:lnTo>
                  <a:lnTo>
                    <a:pt x="26248704" y="9994844"/>
                  </a:lnTo>
                  <a:lnTo>
                    <a:pt x="26263000" y="9990078"/>
                  </a:lnTo>
                  <a:lnTo>
                    <a:pt x="26263000" y="10004374"/>
                  </a:lnTo>
                  <a:lnTo>
                    <a:pt x="26258232" y="10047260"/>
                  </a:lnTo>
                  <a:lnTo>
                    <a:pt x="26248704" y="10061556"/>
                  </a:lnTo>
                  <a:lnTo>
                    <a:pt x="26196288" y="10071086"/>
                  </a:lnTo>
                  <a:lnTo>
                    <a:pt x="26210584" y="10075851"/>
                  </a:lnTo>
                  <a:lnTo>
                    <a:pt x="26224880" y="10080616"/>
                  </a:lnTo>
                  <a:lnTo>
                    <a:pt x="26239176" y="10075851"/>
                  </a:lnTo>
                  <a:lnTo>
                    <a:pt x="26253472" y="10085381"/>
                  </a:lnTo>
                  <a:lnTo>
                    <a:pt x="26263000" y="10113972"/>
                  </a:lnTo>
                  <a:lnTo>
                    <a:pt x="26263000" y="10142562"/>
                  </a:lnTo>
                  <a:lnTo>
                    <a:pt x="26253472" y="10161623"/>
                  </a:lnTo>
                  <a:lnTo>
                    <a:pt x="26234408" y="10175918"/>
                  </a:lnTo>
                  <a:lnTo>
                    <a:pt x="26205816" y="10194979"/>
                  </a:lnTo>
                  <a:lnTo>
                    <a:pt x="26172464" y="10204510"/>
                  </a:lnTo>
                  <a:lnTo>
                    <a:pt x="26158168" y="10204510"/>
                  </a:lnTo>
                  <a:lnTo>
                    <a:pt x="26143872" y="10209274"/>
                  </a:lnTo>
                  <a:lnTo>
                    <a:pt x="26129576" y="10218804"/>
                  </a:lnTo>
                  <a:lnTo>
                    <a:pt x="26129576" y="10228335"/>
                  </a:lnTo>
                  <a:lnTo>
                    <a:pt x="26143872" y="10223570"/>
                  </a:lnTo>
                  <a:lnTo>
                    <a:pt x="26158168" y="10228335"/>
                  </a:lnTo>
                  <a:lnTo>
                    <a:pt x="26172464" y="10237865"/>
                  </a:lnTo>
                  <a:lnTo>
                    <a:pt x="26172464" y="10247396"/>
                  </a:lnTo>
                  <a:lnTo>
                    <a:pt x="26158168" y="10261691"/>
                  </a:lnTo>
                  <a:lnTo>
                    <a:pt x="26153400" y="10271221"/>
                  </a:lnTo>
                  <a:lnTo>
                    <a:pt x="26158168" y="10285516"/>
                  </a:lnTo>
                  <a:lnTo>
                    <a:pt x="26158168" y="10299812"/>
                  </a:lnTo>
                  <a:lnTo>
                    <a:pt x="26162932" y="10304577"/>
                  </a:lnTo>
                  <a:lnTo>
                    <a:pt x="26181992" y="10309342"/>
                  </a:lnTo>
                  <a:lnTo>
                    <a:pt x="26201052" y="10318872"/>
                  </a:lnTo>
                  <a:lnTo>
                    <a:pt x="26220112" y="10328402"/>
                  </a:lnTo>
                  <a:lnTo>
                    <a:pt x="26229644" y="10337933"/>
                  </a:lnTo>
                  <a:lnTo>
                    <a:pt x="26239176" y="10352228"/>
                  </a:lnTo>
                  <a:lnTo>
                    <a:pt x="26239176" y="10371289"/>
                  </a:lnTo>
                  <a:lnTo>
                    <a:pt x="26234408" y="10376054"/>
                  </a:lnTo>
                  <a:lnTo>
                    <a:pt x="26191520" y="10376054"/>
                  </a:lnTo>
                  <a:lnTo>
                    <a:pt x="26181992" y="10376054"/>
                  </a:lnTo>
                  <a:lnTo>
                    <a:pt x="26181992" y="10361758"/>
                  </a:lnTo>
                  <a:lnTo>
                    <a:pt x="26177228" y="10347463"/>
                  </a:lnTo>
                  <a:lnTo>
                    <a:pt x="26158168" y="10333168"/>
                  </a:lnTo>
                  <a:lnTo>
                    <a:pt x="26148636" y="10342698"/>
                  </a:lnTo>
                  <a:lnTo>
                    <a:pt x="26153400" y="10390350"/>
                  </a:lnTo>
                  <a:lnTo>
                    <a:pt x="26148636" y="10409410"/>
                  </a:lnTo>
                  <a:lnTo>
                    <a:pt x="26139104" y="10418940"/>
                  </a:lnTo>
                  <a:lnTo>
                    <a:pt x="26120048" y="10423705"/>
                  </a:lnTo>
                  <a:lnTo>
                    <a:pt x="26100984" y="10418940"/>
                  </a:lnTo>
                  <a:lnTo>
                    <a:pt x="26081924" y="10399880"/>
                  </a:lnTo>
                  <a:lnTo>
                    <a:pt x="26081924" y="10376054"/>
                  </a:lnTo>
                  <a:lnTo>
                    <a:pt x="26091456" y="10366524"/>
                  </a:lnTo>
                  <a:lnTo>
                    <a:pt x="26091456" y="10347463"/>
                  </a:lnTo>
                  <a:lnTo>
                    <a:pt x="26091456" y="10328402"/>
                  </a:lnTo>
                  <a:lnTo>
                    <a:pt x="26081924" y="10352228"/>
                  </a:lnTo>
                  <a:lnTo>
                    <a:pt x="26067632" y="10371289"/>
                  </a:lnTo>
                  <a:lnTo>
                    <a:pt x="26048568" y="10395114"/>
                  </a:lnTo>
                  <a:lnTo>
                    <a:pt x="26039040" y="10395114"/>
                  </a:lnTo>
                  <a:lnTo>
                    <a:pt x="26029508" y="10395114"/>
                  </a:lnTo>
                  <a:lnTo>
                    <a:pt x="26000920" y="10376054"/>
                  </a:lnTo>
                  <a:lnTo>
                    <a:pt x="25986624" y="10361758"/>
                  </a:lnTo>
                  <a:lnTo>
                    <a:pt x="25953264" y="10318872"/>
                  </a:lnTo>
                  <a:lnTo>
                    <a:pt x="25934208" y="10295046"/>
                  </a:lnTo>
                  <a:lnTo>
                    <a:pt x="25896084" y="10266456"/>
                  </a:lnTo>
                  <a:lnTo>
                    <a:pt x="25857964" y="10242630"/>
                  </a:lnTo>
                  <a:lnTo>
                    <a:pt x="25824608" y="10228335"/>
                  </a:lnTo>
                  <a:lnTo>
                    <a:pt x="25805548" y="10233100"/>
                  </a:lnTo>
                  <a:lnTo>
                    <a:pt x="25791252" y="10237865"/>
                  </a:lnTo>
                  <a:lnTo>
                    <a:pt x="25767424" y="10233100"/>
                  </a:lnTo>
                  <a:lnTo>
                    <a:pt x="25762664" y="10228335"/>
                  </a:lnTo>
                  <a:lnTo>
                    <a:pt x="25753128" y="10218804"/>
                  </a:lnTo>
                  <a:lnTo>
                    <a:pt x="25748368" y="10209274"/>
                  </a:lnTo>
                  <a:lnTo>
                    <a:pt x="25719776" y="10180684"/>
                  </a:lnTo>
                  <a:lnTo>
                    <a:pt x="25695952" y="10156858"/>
                  </a:lnTo>
                  <a:lnTo>
                    <a:pt x="25695952" y="10142562"/>
                  </a:lnTo>
                  <a:lnTo>
                    <a:pt x="25700712" y="10123502"/>
                  </a:lnTo>
                  <a:lnTo>
                    <a:pt x="25695952" y="10075851"/>
                  </a:lnTo>
                  <a:lnTo>
                    <a:pt x="25686420" y="10032964"/>
                  </a:lnTo>
                  <a:lnTo>
                    <a:pt x="25657828" y="9985314"/>
                  </a:lnTo>
                  <a:lnTo>
                    <a:pt x="25586352" y="9956722"/>
                  </a:lnTo>
                  <a:lnTo>
                    <a:pt x="25529168" y="9937662"/>
                  </a:lnTo>
                  <a:lnTo>
                    <a:pt x="25510112" y="9932897"/>
                  </a:lnTo>
                  <a:lnTo>
                    <a:pt x="25491048" y="9937662"/>
                  </a:lnTo>
                  <a:lnTo>
                    <a:pt x="25438632" y="9975783"/>
                  </a:lnTo>
                  <a:lnTo>
                    <a:pt x="25410040" y="9980548"/>
                  </a:lnTo>
                  <a:lnTo>
                    <a:pt x="25314740" y="9980548"/>
                  </a:lnTo>
                  <a:lnTo>
                    <a:pt x="25295680" y="9975783"/>
                  </a:lnTo>
                  <a:lnTo>
                    <a:pt x="25281384" y="9961488"/>
                  </a:lnTo>
                  <a:lnTo>
                    <a:pt x="25281384" y="9937662"/>
                  </a:lnTo>
                  <a:lnTo>
                    <a:pt x="25281384" y="9899541"/>
                  </a:lnTo>
                  <a:lnTo>
                    <a:pt x="25281384" y="9885246"/>
                  </a:lnTo>
                  <a:lnTo>
                    <a:pt x="25281384" y="9880480"/>
                  </a:lnTo>
                  <a:lnTo>
                    <a:pt x="25271856" y="9880480"/>
                  </a:lnTo>
                  <a:lnTo>
                    <a:pt x="25257560" y="9861420"/>
                  </a:lnTo>
                  <a:lnTo>
                    <a:pt x="25238496" y="9837594"/>
                  </a:lnTo>
                  <a:lnTo>
                    <a:pt x="25224200" y="9809004"/>
                  </a:lnTo>
                  <a:lnTo>
                    <a:pt x="25214672" y="9770883"/>
                  </a:lnTo>
                  <a:lnTo>
                    <a:pt x="25228968" y="9770883"/>
                  </a:lnTo>
                  <a:lnTo>
                    <a:pt x="25243264" y="9780413"/>
                  </a:lnTo>
                  <a:lnTo>
                    <a:pt x="25248028" y="9770883"/>
                  </a:lnTo>
                  <a:lnTo>
                    <a:pt x="25252792" y="9737527"/>
                  </a:lnTo>
                  <a:lnTo>
                    <a:pt x="25267088" y="9723232"/>
                  </a:lnTo>
                  <a:lnTo>
                    <a:pt x="25267088" y="9708936"/>
                  </a:lnTo>
                  <a:lnTo>
                    <a:pt x="25276616" y="9661285"/>
                  </a:lnTo>
                  <a:lnTo>
                    <a:pt x="25281384" y="9627929"/>
                  </a:lnTo>
                  <a:lnTo>
                    <a:pt x="25267088" y="9646990"/>
                  </a:lnTo>
                  <a:lnTo>
                    <a:pt x="25243264" y="9694640"/>
                  </a:lnTo>
                  <a:lnTo>
                    <a:pt x="25233732" y="9708936"/>
                  </a:lnTo>
                  <a:lnTo>
                    <a:pt x="25224200" y="9713701"/>
                  </a:lnTo>
                  <a:lnTo>
                    <a:pt x="25219436" y="9713701"/>
                  </a:lnTo>
                  <a:lnTo>
                    <a:pt x="25200376" y="9704171"/>
                  </a:lnTo>
                  <a:lnTo>
                    <a:pt x="25186080" y="9694640"/>
                  </a:lnTo>
                  <a:lnTo>
                    <a:pt x="25186080" y="9651754"/>
                  </a:lnTo>
                  <a:lnTo>
                    <a:pt x="25181316" y="9642224"/>
                  </a:lnTo>
                  <a:lnTo>
                    <a:pt x="25176552" y="9646990"/>
                  </a:lnTo>
                  <a:lnTo>
                    <a:pt x="25176552" y="9666050"/>
                  </a:lnTo>
                  <a:lnTo>
                    <a:pt x="25157488" y="9666050"/>
                  </a:lnTo>
                  <a:lnTo>
                    <a:pt x="25152724" y="9675580"/>
                  </a:lnTo>
                  <a:lnTo>
                    <a:pt x="25157488" y="9699406"/>
                  </a:lnTo>
                  <a:lnTo>
                    <a:pt x="25152724" y="9723232"/>
                  </a:lnTo>
                  <a:lnTo>
                    <a:pt x="25138432" y="9732762"/>
                  </a:lnTo>
                  <a:lnTo>
                    <a:pt x="25109840" y="9737527"/>
                  </a:lnTo>
                  <a:lnTo>
                    <a:pt x="25100308" y="9713701"/>
                  </a:lnTo>
                  <a:lnTo>
                    <a:pt x="25090776" y="9742292"/>
                  </a:lnTo>
                  <a:lnTo>
                    <a:pt x="25081248" y="9780413"/>
                  </a:lnTo>
                  <a:lnTo>
                    <a:pt x="25081248" y="9823299"/>
                  </a:lnTo>
                  <a:lnTo>
                    <a:pt x="25090776" y="9861420"/>
                  </a:lnTo>
                  <a:lnTo>
                    <a:pt x="25105072" y="9875716"/>
                  </a:lnTo>
                  <a:lnTo>
                    <a:pt x="25133664" y="9904306"/>
                  </a:lnTo>
                  <a:lnTo>
                    <a:pt x="25147960" y="9923367"/>
                  </a:lnTo>
                  <a:lnTo>
                    <a:pt x="25152724" y="9947192"/>
                  </a:lnTo>
                  <a:lnTo>
                    <a:pt x="25147960" y="9971018"/>
                  </a:lnTo>
                  <a:lnTo>
                    <a:pt x="25133664" y="9994844"/>
                  </a:lnTo>
                  <a:lnTo>
                    <a:pt x="25124136" y="10018670"/>
                  </a:lnTo>
                  <a:lnTo>
                    <a:pt x="25105072" y="10071086"/>
                  </a:lnTo>
                  <a:lnTo>
                    <a:pt x="25095544" y="10090146"/>
                  </a:lnTo>
                  <a:lnTo>
                    <a:pt x="25047892" y="10137798"/>
                  </a:lnTo>
                  <a:lnTo>
                    <a:pt x="25024064" y="10147328"/>
                  </a:lnTo>
                  <a:lnTo>
                    <a:pt x="24995476" y="10190214"/>
                  </a:lnTo>
                  <a:lnTo>
                    <a:pt x="24962120" y="10228335"/>
                  </a:lnTo>
                  <a:lnTo>
                    <a:pt x="24914468" y="10242630"/>
                  </a:lnTo>
                  <a:lnTo>
                    <a:pt x="24847756" y="10295046"/>
                  </a:lnTo>
                  <a:lnTo>
                    <a:pt x="24819168" y="10309342"/>
                  </a:lnTo>
                  <a:lnTo>
                    <a:pt x="24781044" y="10280752"/>
                  </a:lnTo>
                  <a:lnTo>
                    <a:pt x="24695272" y="10266456"/>
                  </a:lnTo>
                  <a:lnTo>
                    <a:pt x="24671448" y="10242630"/>
                  </a:lnTo>
                  <a:lnTo>
                    <a:pt x="24633328" y="10185449"/>
                  </a:lnTo>
                  <a:lnTo>
                    <a:pt x="24619032" y="10180684"/>
                  </a:lnTo>
                  <a:lnTo>
                    <a:pt x="24609500" y="10156858"/>
                  </a:lnTo>
                  <a:lnTo>
                    <a:pt x="24561848" y="10133032"/>
                  </a:lnTo>
                  <a:lnTo>
                    <a:pt x="24523728" y="10147328"/>
                  </a:lnTo>
                  <a:lnTo>
                    <a:pt x="24490372" y="10133032"/>
                  </a:lnTo>
                  <a:lnTo>
                    <a:pt x="24476076" y="10142562"/>
                  </a:lnTo>
                  <a:lnTo>
                    <a:pt x="24495136" y="10152093"/>
                  </a:lnTo>
                  <a:lnTo>
                    <a:pt x="24523728" y="10161623"/>
                  </a:lnTo>
                  <a:lnTo>
                    <a:pt x="24571380" y="10156858"/>
                  </a:lnTo>
                  <a:lnTo>
                    <a:pt x="24585672" y="10161623"/>
                  </a:lnTo>
                  <a:lnTo>
                    <a:pt x="24599968" y="10180684"/>
                  </a:lnTo>
                  <a:lnTo>
                    <a:pt x="24614264" y="10214040"/>
                  </a:lnTo>
                  <a:lnTo>
                    <a:pt x="24604736" y="10233100"/>
                  </a:lnTo>
                  <a:lnTo>
                    <a:pt x="24590440" y="10242630"/>
                  </a:lnTo>
                  <a:lnTo>
                    <a:pt x="24552320" y="10218804"/>
                  </a:lnTo>
                  <a:lnTo>
                    <a:pt x="24509432" y="10218804"/>
                  </a:lnTo>
                  <a:lnTo>
                    <a:pt x="24490372" y="10214040"/>
                  </a:lnTo>
                  <a:lnTo>
                    <a:pt x="24433192" y="10175918"/>
                  </a:lnTo>
                  <a:lnTo>
                    <a:pt x="24390304" y="10218804"/>
                  </a:lnTo>
                  <a:lnTo>
                    <a:pt x="24328360" y="10242630"/>
                  </a:lnTo>
                  <a:lnTo>
                    <a:pt x="24285472" y="10242630"/>
                  </a:lnTo>
                  <a:lnTo>
                    <a:pt x="24199700" y="10275986"/>
                  </a:lnTo>
                  <a:lnTo>
                    <a:pt x="24218760" y="10280752"/>
                  </a:lnTo>
                  <a:lnTo>
                    <a:pt x="24280704" y="10256926"/>
                  </a:lnTo>
                  <a:lnTo>
                    <a:pt x="24318828" y="10256926"/>
                  </a:lnTo>
                  <a:lnTo>
                    <a:pt x="24376008" y="10242630"/>
                  </a:lnTo>
                  <a:lnTo>
                    <a:pt x="24399832" y="10228335"/>
                  </a:lnTo>
                  <a:lnTo>
                    <a:pt x="24414128" y="10209274"/>
                  </a:lnTo>
                  <a:lnTo>
                    <a:pt x="24433192" y="10194979"/>
                  </a:lnTo>
                  <a:lnTo>
                    <a:pt x="24452252" y="10204510"/>
                  </a:lnTo>
                  <a:lnTo>
                    <a:pt x="24461784" y="10218804"/>
                  </a:lnTo>
                  <a:lnTo>
                    <a:pt x="24471312" y="10242630"/>
                  </a:lnTo>
                  <a:lnTo>
                    <a:pt x="24480840" y="10271221"/>
                  </a:lnTo>
                  <a:lnTo>
                    <a:pt x="24466544" y="10285516"/>
                  </a:lnTo>
                  <a:lnTo>
                    <a:pt x="24457016" y="10295046"/>
                  </a:lnTo>
                  <a:lnTo>
                    <a:pt x="24447488" y="10314107"/>
                  </a:lnTo>
                  <a:lnTo>
                    <a:pt x="24504668" y="10280752"/>
                  </a:lnTo>
                  <a:lnTo>
                    <a:pt x="24538024" y="10299812"/>
                  </a:lnTo>
                  <a:lnTo>
                    <a:pt x="24557084" y="10295046"/>
                  </a:lnTo>
                  <a:lnTo>
                    <a:pt x="24585672" y="10266456"/>
                  </a:lnTo>
                  <a:lnTo>
                    <a:pt x="24642856" y="10247396"/>
                  </a:lnTo>
                  <a:lnTo>
                    <a:pt x="24647624" y="10247396"/>
                  </a:lnTo>
                  <a:lnTo>
                    <a:pt x="24652384" y="10256926"/>
                  </a:lnTo>
                  <a:lnTo>
                    <a:pt x="24642856" y="10318872"/>
                  </a:lnTo>
                  <a:lnTo>
                    <a:pt x="24647624" y="10366524"/>
                  </a:lnTo>
                  <a:lnTo>
                    <a:pt x="24685744" y="10414175"/>
                  </a:lnTo>
                  <a:lnTo>
                    <a:pt x="24728628" y="10442766"/>
                  </a:lnTo>
                  <a:lnTo>
                    <a:pt x="24742924" y="10447531"/>
                  </a:lnTo>
                  <a:lnTo>
                    <a:pt x="24757220" y="10442766"/>
                  </a:lnTo>
                  <a:lnTo>
                    <a:pt x="24761984" y="10414175"/>
                  </a:lnTo>
                  <a:lnTo>
                    <a:pt x="24771512" y="10395114"/>
                  </a:lnTo>
                  <a:lnTo>
                    <a:pt x="24785808" y="10409410"/>
                  </a:lnTo>
                  <a:lnTo>
                    <a:pt x="24795340" y="10433236"/>
                  </a:lnTo>
                  <a:lnTo>
                    <a:pt x="24809636" y="10480886"/>
                  </a:lnTo>
                  <a:lnTo>
                    <a:pt x="24809636" y="10490417"/>
                  </a:lnTo>
                  <a:lnTo>
                    <a:pt x="24804872" y="10519008"/>
                  </a:lnTo>
                  <a:lnTo>
                    <a:pt x="24819168" y="10533303"/>
                  </a:lnTo>
                  <a:lnTo>
                    <a:pt x="24838224" y="10538068"/>
                  </a:lnTo>
                  <a:lnTo>
                    <a:pt x="24842992" y="10580954"/>
                  </a:lnTo>
                  <a:lnTo>
                    <a:pt x="24852520" y="10642901"/>
                  </a:lnTo>
                  <a:lnTo>
                    <a:pt x="24842992" y="10647666"/>
                  </a:lnTo>
                  <a:lnTo>
                    <a:pt x="24833464" y="10647666"/>
                  </a:lnTo>
                  <a:lnTo>
                    <a:pt x="24804872" y="10661962"/>
                  </a:lnTo>
                  <a:lnTo>
                    <a:pt x="24809636" y="10676257"/>
                  </a:lnTo>
                  <a:lnTo>
                    <a:pt x="24838224" y="10681022"/>
                  </a:lnTo>
                  <a:lnTo>
                    <a:pt x="24847756" y="10695318"/>
                  </a:lnTo>
                  <a:lnTo>
                    <a:pt x="24842992" y="10723908"/>
                  </a:lnTo>
                  <a:lnTo>
                    <a:pt x="24842992" y="10733438"/>
                  </a:lnTo>
                  <a:lnTo>
                    <a:pt x="24852520" y="10738204"/>
                  </a:lnTo>
                  <a:lnTo>
                    <a:pt x="24857288" y="10719143"/>
                  </a:lnTo>
                  <a:lnTo>
                    <a:pt x="24857288" y="10695318"/>
                  </a:lnTo>
                  <a:lnTo>
                    <a:pt x="24862052" y="10685787"/>
                  </a:lnTo>
                  <a:lnTo>
                    <a:pt x="24881112" y="10738204"/>
                  </a:lnTo>
                  <a:lnTo>
                    <a:pt x="24881112" y="10757264"/>
                  </a:lnTo>
                  <a:lnTo>
                    <a:pt x="24895408" y="10776324"/>
                  </a:lnTo>
                  <a:lnTo>
                    <a:pt x="24943060" y="10809680"/>
                  </a:lnTo>
                  <a:lnTo>
                    <a:pt x="24952592" y="10823976"/>
                  </a:lnTo>
                  <a:lnTo>
                    <a:pt x="24957352" y="10847802"/>
                  </a:lnTo>
                  <a:lnTo>
                    <a:pt x="24943060" y="10852566"/>
                  </a:lnTo>
                  <a:lnTo>
                    <a:pt x="24933528" y="10871627"/>
                  </a:lnTo>
                  <a:lnTo>
                    <a:pt x="24938296" y="10895452"/>
                  </a:lnTo>
                  <a:lnTo>
                    <a:pt x="24952592" y="10914513"/>
                  </a:lnTo>
                  <a:lnTo>
                    <a:pt x="24971648" y="10919278"/>
                  </a:lnTo>
                  <a:lnTo>
                    <a:pt x="24981180" y="10952634"/>
                  </a:lnTo>
                  <a:lnTo>
                    <a:pt x="24981180" y="10981225"/>
                  </a:lnTo>
                  <a:lnTo>
                    <a:pt x="24966884" y="11005050"/>
                  </a:lnTo>
                  <a:lnTo>
                    <a:pt x="24938296" y="11043172"/>
                  </a:lnTo>
                  <a:lnTo>
                    <a:pt x="24919232" y="11057467"/>
                  </a:lnTo>
                  <a:lnTo>
                    <a:pt x="24914468" y="11081292"/>
                  </a:lnTo>
                  <a:lnTo>
                    <a:pt x="24909704" y="11105118"/>
                  </a:lnTo>
                  <a:lnTo>
                    <a:pt x="24900176" y="11105118"/>
                  </a:lnTo>
                  <a:lnTo>
                    <a:pt x="24885880" y="11095588"/>
                  </a:lnTo>
                  <a:lnTo>
                    <a:pt x="24738160" y="11028876"/>
                  </a:lnTo>
                  <a:lnTo>
                    <a:pt x="24685744" y="11019346"/>
                  </a:lnTo>
                  <a:lnTo>
                    <a:pt x="24633328" y="11014581"/>
                  </a:lnTo>
                  <a:lnTo>
                    <a:pt x="24623796" y="11009816"/>
                  </a:lnTo>
                  <a:lnTo>
                    <a:pt x="24623796" y="10995520"/>
                  </a:lnTo>
                  <a:lnTo>
                    <a:pt x="24628560" y="10981225"/>
                  </a:lnTo>
                  <a:lnTo>
                    <a:pt x="24638092" y="10966930"/>
                  </a:lnTo>
                  <a:lnTo>
                    <a:pt x="24633328" y="10947869"/>
                  </a:lnTo>
                  <a:lnTo>
                    <a:pt x="24628560" y="10947869"/>
                  </a:lnTo>
                  <a:lnTo>
                    <a:pt x="24619032" y="10962164"/>
                  </a:lnTo>
                  <a:lnTo>
                    <a:pt x="24609500" y="10962164"/>
                  </a:lnTo>
                  <a:lnTo>
                    <a:pt x="24595204" y="10947869"/>
                  </a:lnTo>
                  <a:lnTo>
                    <a:pt x="24585672" y="10952634"/>
                  </a:lnTo>
                  <a:lnTo>
                    <a:pt x="24580912" y="10971695"/>
                  </a:lnTo>
                  <a:lnTo>
                    <a:pt x="24576144" y="10981225"/>
                  </a:lnTo>
                  <a:lnTo>
                    <a:pt x="24576144" y="10990756"/>
                  </a:lnTo>
                  <a:lnTo>
                    <a:pt x="24580912" y="11000286"/>
                  </a:lnTo>
                  <a:lnTo>
                    <a:pt x="24609500" y="11014581"/>
                  </a:lnTo>
                  <a:lnTo>
                    <a:pt x="24604736" y="11024111"/>
                  </a:lnTo>
                  <a:lnTo>
                    <a:pt x="24566616" y="11033642"/>
                  </a:lnTo>
                  <a:lnTo>
                    <a:pt x="24533256" y="11043172"/>
                  </a:lnTo>
                  <a:lnTo>
                    <a:pt x="24490372" y="11076528"/>
                  </a:lnTo>
                  <a:lnTo>
                    <a:pt x="24476076" y="11095588"/>
                  </a:lnTo>
                  <a:lnTo>
                    <a:pt x="24361712" y="11152770"/>
                  </a:lnTo>
                  <a:lnTo>
                    <a:pt x="24337888" y="11171830"/>
                  </a:lnTo>
                  <a:lnTo>
                    <a:pt x="24323592" y="11171830"/>
                  </a:lnTo>
                  <a:lnTo>
                    <a:pt x="24309296" y="11181360"/>
                  </a:lnTo>
                  <a:lnTo>
                    <a:pt x="24299768" y="11200421"/>
                  </a:lnTo>
                  <a:lnTo>
                    <a:pt x="24237820" y="11233776"/>
                  </a:lnTo>
                  <a:lnTo>
                    <a:pt x="24223528" y="11229012"/>
                  </a:lnTo>
                  <a:lnTo>
                    <a:pt x="24209232" y="11257602"/>
                  </a:lnTo>
                  <a:lnTo>
                    <a:pt x="24190168" y="11271898"/>
                  </a:lnTo>
                  <a:lnTo>
                    <a:pt x="24156816" y="11271898"/>
                  </a:lnTo>
                  <a:lnTo>
                    <a:pt x="24132988" y="11281428"/>
                  </a:lnTo>
                  <a:lnTo>
                    <a:pt x="24085336" y="11319549"/>
                  </a:lnTo>
                  <a:lnTo>
                    <a:pt x="24051980" y="11305254"/>
                  </a:lnTo>
                  <a:lnTo>
                    <a:pt x="24013860" y="11357670"/>
                  </a:lnTo>
                  <a:lnTo>
                    <a:pt x="23975736" y="11410086"/>
                  </a:lnTo>
                  <a:lnTo>
                    <a:pt x="23966208" y="11410086"/>
                  </a:lnTo>
                  <a:lnTo>
                    <a:pt x="23932852" y="11386261"/>
                  </a:lnTo>
                  <a:lnTo>
                    <a:pt x="23923320" y="11400556"/>
                  </a:lnTo>
                  <a:lnTo>
                    <a:pt x="23928088" y="11419616"/>
                  </a:lnTo>
                  <a:lnTo>
                    <a:pt x="23942384" y="11438677"/>
                  </a:lnTo>
                  <a:lnTo>
                    <a:pt x="23932852" y="11443442"/>
                  </a:lnTo>
                  <a:lnTo>
                    <a:pt x="23923320" y="11438677"/>
                  </a:lnTo>
                  <a:lnTo>
                    <a:pt x="23913792" y="11438677"/>
                  </a:lnTo>
                  <a:lnTo>
                    <a:pt x="23909024" y="11443442"/>
                  </a:lnTo>
                  <a:lnTo>
                    <a:pt x="23909024" y="11457738"/>
                  </a:lnTo>
                  <a:lnTo>
                    <a:pt x="23889968" y="11476798"/>
                  </a:lnTo>
                  <a:lnTo>
                    <a:pt x="23875672" y="11481564"/>
                  </a:lnTo>
                  <a:lnTo>
                    <a:pt x="23861376" y="11486328"/>
                  </a:lnTo>
                  <a:lnTo>
                    <a:pt x="23856608" y="11500624"/>
                  </a:lnTo>
                  <a:lnTo>
                    <a:pt x="23861376" y="11519684"/>
                  </a:lnTo>
                  <a:lnTo>
                    <a:pt x="23832784" y="11538745"/>
                  </a:lnTo>
                  <a:lnTo>
                    <a:pt x="23808960" y="11567336"/>
                  </a:lnTo>
                  <a:lnTo>
                    <a:pt x="23799428" y="11572101"/>
                  </a:lnTo>
                  <a:lnTo>
                    <a:pt x="23785136" y="11581631"/>
                  </a:lnTo>
                  <a:lnTo>
                    <a:pt x="23770840" y="11591162"/>
                  </a:lnTo>
                  <a:lnTo>
                    <a:pt x="23756544" y="11591162"/>
                  </a:lnTo>
                  <a:lnTo>
                    <a:pt x="23718424" y="11629282"/>
                  </a:lnTo>
                  <a:lnTo>
                    <a:pt x="23637416" y="11691229"/>
                  </a:lnTo>
                  <a:lnTo>
                    <a:pt x="23613588" y="11700759"/>
                  </a:lnTo>
                  <a:lnTo>
                    <a:pt x="23580232" y="11719820"/>
                  </a:lnTo>
                  <a:lnTo>
                    <a:pt x="23580232" y="11734115"/>
                  </a:lnTo>
                  <a:lnTo>
                    <a:pt x="23580232" y="11748410"/>
                  </a:lnTo>
                  <a:lnTo>
                    <a:pt x="23565936" y="11777001"/>
                  </a:lnTo>
                  <a:lnTo>
                    <a:pt x="23551640" y="11843713"/>
                  </a:lnTo>
                  <a:lnTo>
                    <a:pt x="23546876" y="11853244"/>
                  </a:lnTo>
                  <a:lnTo>
                    <a:pt x="23542112" y="11867538"/>
                  </a:lnTo>
                  <a:lnTo>
                    <a:pt x="23508756" y="11862774"/>
                  </a:lnTo>
                  <a:lnTo>
                    <a:pt x="23484928" y="11834183"/>
                  </a:lnTo>
                  <a:lnTo>
                    <a:pt x="23475400" y="11824652"/>
                  </a:lnTo>
                  <a:lnTo>
                    <a:pt x="23470632" y="11810357"/>
                  </a:lnTo>
                  <a:lnTo>
                    <a:pt x="23470632" y="11791296"/>
                  </a:lnTo>
                  <a:lnTo>
                    <a:pt x="23465872" y="11777001"/>
                  </a:lnTo>
                  <a:lnTo>
                    <a:pt x="23456340" y="11772236"/>
                  </a:lnTo>
                  <a:lnTo>
                    <a:pt x="23427748" y="11719820"/>
                  </a:lnTo>
                  <a:lnTo>
                    <a:pt x="23375332" y="11681698"/>
                  </a:lnTo>
                  <a:lnTo>
                    <a:pt x="23365800" y="11672168"/>
                  </a:lnTo>
                  <a:lnTo>
                    <a:pt x="23299088" y="11681698"/>
                  </a:lnTo>
                  <a:lnTo>
                    <a:pt x="23280032" y="11681698"/>
                  </a:lnTo>
                  <a:lnTo>
                    <a:pt x="23246672" y="11672168"/>
                  </a:lnTo>
                  <a:lnTo>
                    <a:pt x="23194256" y="11676934"/>
                  </a:lnTo>
                  <a:lnTo>
                    <a:pt x="23132312" y="11695994"/>
                  </a:lnTo>
                  <a:lnTo>
                    <a:pt x="23118016" y="11710290"/>
                  </a:lnTo>
                  <a:lnTo>
                    <a:pt x="23051304" y="11729350"/>
                  </a:lnTo>
                  <a:lnTo>
                    <a:pt x="23013184" y="11762706"/>
                  </a:lnTo>
                  <a:lnTo>
                    <a:pt x="22932176" y="11872304"/>
                  </a:lnTo>
                  <a:lnTo>
                    <a:pt x="22913112" y="11896130"/>
                  </a:lnTo>
                  <a:lnTo>
                    <a:pt x="22903584" y="11900894"/>
                  </a:lnTo>
                  <a:lnTo>
                    <a:pt x="22889288" y="11905660"/>
                  </a:lnTo>
                  <a:lnTo>
                    <a:pt x="22884524" y="11881834"/>
                  </a:lnTo>
                  <a:lnTo>
                    <a:pt x="22884524" y="11862774"/>
                  </a:lnTo>
                  <a:lnTo>
                    <a:pt x="22889288" y="11829418"/>
                  </a:lnTo>
                  <a:lnTo>
                    <a:pt x="22898820" y="11800827"/>
                  </a:lnTo>
                  <a:lnTo>
                    <a:pt x="22908352" y="11748410"/>
                  </a:lnTo>
                  <a:lnTo>
                    <a:pt x="22908352" y="11729350"/>
                  </a:lnTo>
                  <a:lnTo>
                    <a:pt x="22917880" y="11705524"/>
                  </a:lnTo>
                  <a:lnTo>
                    <a:pt x="22889288" y="11705524"/>
                  </a:lnTo>
                  <a:lnTo>
                    <a:pt x="22851168" y="11743646"/>
                  </a:lnTo>
                  <a:lnTo>
                    <a:pt x="22798752" y="11781766"/>
                  </a:lnTo>
                  <a:lnTo>
                    <a:pt x="22770160" y="11791296"/>
                  </a:lnTo>
                  <a:lnTo>
                    <a:pt x="22751100" y="11815122"/>
                  </a:lnTo>
                  <a:lnTo>
                    <a:pt x="22736808" y="11819888"/>
                  </a:lnTo>
                  <a:lnTo>
                    <a:pt x="22717744" y="11829418"/>
                  </a:lnTo>
                  <a:lnTo>
                    <a:pt x="22717744" y="11872304"/>
                  </a:lnTo>
                  <a:lnTo>
                    <a:pt x="22708216" y="11900894"/>
                  </a:lnTo>
                  <a:lnTo>
                    <a:pt x="22698684" y="11905660"/>
                  </a:lnTo>
                  <a:lnTo>
                    <a:pt x="22684388" y="11905660"/>
                  </a:lnTo>
                  <a:lnTo>
                    <a:pt x="22670096" y="11896130"/>
                  </a:lnTo>
                  <a:lnTo>
                    <a:pt x="22655800" y="11858008"/>
                  </a:lnTo>
                  <a:lnTo>
                    <a:pt x="22631972" y="11838948"/>
                  </a:lnTo>
                  <a:lnTo>
                    <a:pt x="22617680" y="11834183"/>
                  </a:lnTo>
                  <a:lnTo>
                    <a:pt x="22608144" y="11838948"/>
                  </a:lnTo>
                  <a:lnTo>
                    <a:pt x="22589088" y="11867538"/>
                  </a:lnTo>
                  <a:lnTo>
                    <a:pt x="22565260" y="11891364"/>
                  </a:lnTo>
                  <a:lnTo>
                    <a:pt x="22570024" y="11862774"/>
                  </a:lnTo>
                  <a:lnTo>
                    <a:pt x="22550968" y="11853244"/>
                  </a:lnTo>
                  <a:lnTo>
                    <a:pt x="22536672" y="11848478"/>
                  </a:lnTo>
                  <a:lnTo>
                    <a:pt x="22517608" y="11843713"/>
                  </a:lnTo>
                  <a:lnTo>
                    <a:pt x="22508080" y="11848478"/>
                  </a:lnTo>
                  <a:lnTo>
                    <a:pt x="22503312" y="11862774"/>
                  </a:lnTo>
                  <a:lnTo>
                    <a:pt x="22484256" y="11881834"/>
                  </a:lnTo>
                  <a:lnTo>
                    <a:pt x="22469960" y="11891364"/>
                  </a:lnTo>
                  <a:lnTo>
                    <a:pt x="22455664" y="11910425"/>
                  </a:lnTo>
                  <a:lnTo>
                    <a:pt x="22450896" y="11924720"/>
                  </a:lnTo>
                  <a:lnTo>
                    <a:pt x="22441368" y="11948546"/>
                  </a:lnTo>
                  <a:lnTo>
                    <a:pt x="22436600" y="12005728"/>
                  </a:lnTo>
                  <a:lnTo>
                    <a:pt x="22436600" y="12072439"/>
                  </a:lnTo>
                  <a:lnTo>
                    <a:pt x="22408012" y="12124855"/>
                  </a:lnTo>
                  <a:lnTo>
                    <a:pt x="22393716" y="12120090"/>
                  </a:lnTo>
                  <a:lnTo>
                    <a:pt x="22388952" y="12124855"/>
                  </a:lnTo>
                  <a:lnTo>
                    <a:pt x="22384184" y="12129621"/>
                  </a:lnTo>
                  <a:lnTo>
                    <a:pt x="22393716" y="12158211"/>
                  </a:lnTo>
                  <a:lnTo>
                    <a:pt x="22388952" y="12167742"/>
                  </a:lnTo>
                  <a:lnTo>
                    <a:pt x="22384184" y="12177272"/>
                  </a:lnTo>
                  <a:lnTo>
                    <a:pt x="22369888" y="12182037"/>
                  </a:lnTo>
                  <a:lnTo>
                    <a:pt x="22336536" y="12224923"/>
                  </a:lnTo>
                  <a:lnTo>
                    <a:pt x="22307944" y="12253514"/>
                  </a:lnTo>
                  <a:lnTo>
                    <a:pt x="22260292" y="12329756"/>
                  </a:lnTo>
                  <a:lnTo>
                    <a:pt x="22246000" y="12382172"/>
                  </a:lnTo>
                  <a:lnTo>
                    <a:pt x="22231704" y="12439354"/>
                  </a:lnTo>
                  <a:lnTo>
                    <a:pt x="22236464" y="12467945"/>
                  </a:lnTo>
                  <a:lnTo>
                    <a:pt x="22246000" y="12487005"/>
                  </a:lnTo>
                  <a:lnTo>
                    <a:pt x="22250760" y="12501301"/>
                  </a:lnTo>
                  <a:lnTo>
                    <a:pt x="22269824" y="12515596"/>
                  </a:lnTo>
                  <a:lnTo>
                    <a:pt x="22303176" y="12529891"/>
                  </a:lnTo>
                  <a:lnTo>
                    <a:pt x="22298416" y="12539422"/>
                  </a:lnTo>
                  <a:lnTo>
                    <a:pt x="22298416" y="12548952"/>
                  </a:lnTo>
                  <a:lnTo>
                    <a:pt x="22307944" y="12534656"/>
                  </a:lnTo>
                  <a:lnTo>
                    <a:pt x="22317472" y="12491770"/>
                  </a:lnTo>
                  <a:lnTo>
                    <a:pt x="22341300" y="12477475"/>
                  </a:lnTo>
                  <a:lnTo>
                    <a:pt x="22350832" y="12482240"/>
                  </a:lnTo>
                  <a:lnTo>
                    <a:pt x="22417544" y="12510831"/>
                  </a:lnTo>
                  <a:lnTo>
                    <a:pt x="22427072" y="12525126"/>
                  </a:lnTo>
                  <a:lnTo>
                    <a:pt x="22427072" y="12558482"/>
                  </a:lnTo>
                  <a:lnTo>
                    <a:pt x="22422304" y="12572777"/>
                  </a:lnTo>
                  <a:lnTo>
                    <a:pt x="22408012" y="12591838"/>
                  </a:lnTo>
                  <a:lnTo>
                    <a:pt x="22388952" y="12615664"/>
                  </a:lnTo>
                  <a:lnTo>
                    <a:pt x="22360360" y="12653785"/>
                  </a:lnTo>
                  <a:lnTo>
                    <a:pt x="22355596" y="12672845"/>
                  </a:lnTo>
                  <a:lnTo>
                    <a:pt x="22355596" y="12687140"/>
                  </a:lnTo>
                  <a:lnTo>
                    <a:pt x="22365128" y="12725262"/>
                  </a:lnTo>
                  <a:lnTo>
                    <a:pt x="22365128" y="12749087"/>
                  </a:lnTo>
                  <a:lnTo>
                    <a:pt x="22360360" y="12791973"/>
                  </a:lnTo>
                  <a:lnTo>
                    <a:pt x="22365128" y="12811034"/>
                  </a:lnTo>
                  <a:lnTo>
                    <a:pt x="22369888" y="12825329"/>
                  </a:lnTo>
                  <a:lnTo>
                    <a:pt x="22379420" y="12834859"/>
                  </a:lnTo>
                  <a:lnTo>
                    <a:pt x="22403248" y="12830094"/>
                  </a:lnTo>
                  <a:lnTo>
                    <a:pt x="22417544" y="12834859"/>
                  </a:lnTo>
                  <a:lnTo>
                    <a:pt x="22431840" y="12844390"/>
                  </a:lnTo>
                  <a:lnTo>
                    <a:pt x="22431840" y="12877746"/>
                  </a:lnTo>
                  <a:lnTo>
                    <a:pt x="22441368" y="12911101"/>
                  </a:lnTo>
                  <a:lnTo>
                    <a:pt x="22446132" y="12973048"/>
                  </a:lnTo>
                  <a:lnTo>
                    <a:pt x="22436600" y="12987343"/>
                  </a:lnTo>
                  <a:lnTo>
                    <a:pt x="22422304" y="13001639"/>
                  </a:lnTo>
                  <a:lnTo>
                    <a:pt x="22403248" y="13025465"/>
                  </a:lnTo>
                  <a:lnTo>
                    <a:pt x="22388952" y="13030230"/>
                  </a:lnTo>
                  <a:lnTo>
                    <a:pt x="22369888" y="13020699"/>
                  </a:lnTo>
                  <a:lnTo>
                    <a:pt x="22336536" y="12973048"/>
                  </a:lnTo>
                  <a:lnTo>
                    <a:pt x="22350832" y="12944457"/>
                  </a:lnTo>
                  <a:lnTo>
                    <a:pt x="22374656" y="12925397"/>
                  </a:lnTo>
                  <a:lnTo>
                    <a:pt x="22388952" y="12911101"/>
                  </a:lnTo>
                  <a:lnTo>
                    <a:pt x="22398480" y="12892041"/>
                  </a:lnTo>
                  <a:lnTo>
                    <a:pt x="22384184" y="12896806"/>
                  </a:lnTo>
                  <a:lnTo>
                    <a:pt x="22374656" y="12906336"/>
                  </a:lnTo>
                  <a:lnTo>
                    <a:pt x="22341300" y="12901571"/>
                  </a:lnTo>
                  <a:lnTo>
                    <a:pt x="22327004" y="12911101"/>
                  </a:lnTo>
                  <a:lnTo>
                    <a:pt x="22312708" y="12925397"/>
                  </a:lnTo>
                  <a:lnTo>
                    <a:pt x="22322240" y="12963518"/>
                  </a:lnTo>
                  <a:lnTo>
                    <a:pt x="22307944" y="12973048"/>
                  </a:lnTo>
                  <a:lnTo>
                    <a:pt x="22288884" y="12987343"/>
                  </a:lnTo>
                  <a:lnTo>
                    <a:pt x="22260292" y="13001639"/>
                  </a:lnTo>
                  <a:lnTo>
                    <a:pt x="22250760" y="13011169"/>
                  </a:lnTo>
                  <a:lnTo>
                    <a:pt x="22226936" y="13082646"/>
                  </a:lnTo>
                  <a:lnTo>
                    <a:pt x="22203112" y="13135062"/>
                  </a:lnTo>
                  <a:lnTo>
                    <a:pt x="22193580" y="13177949"/>
                  </a:lnTo>
                  <a:lnTo>
                    <a:pt x="22193580" y="13216070"/>
                  </a:lnTo>
                  <a:lnTo>
                    <a:pt x="22203112" y="13258956"/>
                  </a:lnTo>
                  <a:lnTo>
                    <a:pt x="22207876" y="13278016"/>
                  </a:lnTo>
                  <a:lnTo>
                    <a:pt x="22236464" y="13316137"/>
                  </a:lnTo>
                  <a:lnTo>
                    <a:pt x="22250760" y="13344728"/>
                  </a:lnTo>
                  <a:lnTo>
                    <a:pt x="22255528" y="13382849"/>
                  </a:lnTo>
                  <a:lnTo>
                    <a:pt x="22231704" y="13397145"/>
                  </a:lnTo>
                  <a:lnTo>
                    <a:pt x="22193580" y="13440029"/>
                  </a:lnTo>
                  <a:lnTo>
                    <a:pt x="22179288" y="13444797"/>
                  </a:lnTo>
                  <a:lnTo>
                    <a:pt x="22126868" y="13444797"/>
                  </a:lnTo>
                  <a:lnTo>
                    <a:pt x="22103044" y="13420969"/>
                  </a:lnTo>
                  <a:lnTo>
                    <a:pt x="22069688" y="13425733"/>
                  </a:lnTo>
                  <a:lnTo>
                    <a:pt x="22045864" y="13440029"/>
                  </a:lnTo>
                  <a:lnTo>
                    <a:pt x="22007740" y="13468621"/>
                  </a:lnTo>
                  <a:lnTo>
                    <a:pt x="21969620" y="13506741"/>
                  </a:lnTo>
                  <a:lnTo>
                    <a:pt x="21936264" y="13530569"/>
                  </a:lnTo>
                  <a:lnTo>
                    <a:pt x="21926736" y="13549629"/>
                  </a:lnTo>
                  <a:lnTo>
                    <a:pt x="21912440" y="13578217"/>
                  </a:lnTo>
                  <a:lnTo>
                    <a:pt x="21898144" y="13640165"/>
                  </a:lnTo>
                  <a:lnTo>
                    <a:pt x="21902908" y="13668757"/>
                  </a:lnTo>
                  <a:lnTo>
                    <a:pt x="21912440" y="13683053"/>
                  </a:lnTo>
                  <a:lnTo>
                    <a:pt x="21917204" y="13702113"/>
                  </a:lnTo>
                  <a:lnTo>
                    <a:pt x="21907672" y="13730701"/>
                  </a:lnTo>
                  <a:lnTo>
                    <a:pt x="21907672" y="13744997"/>
                  </a:lnTo>
                  <a:lnTo>
                    <a:pt x="21926736" y="13773589"/>
                  </a:lnTo>
                  <a:lnTo>
                    <a:pt x="21926736" y="13811709"/>
                  </a:lnTo>
                  <a:lnTo>
                    <a:pt x="21917204" y="13811709"/>
                  </a:lnTo>
                  <a:lnTo>
                    <a:pt x="21888612" y="13787885"/>
                  </a:lnTo>
                  <a:lnTo>
                    <a:pt x="21860024" y="13783121"/>
                  </a:lnTo>
                  <a:lnTo>
                    <a:pt x="21788544" y="13816477"/>
                  </a:lnTo>
                  <a:lnTo>
                    <a:pt x="21759952" y="13830769"/>
                  </a:lnTo>
                  <a:lnTo>
                    <a:pt x="21726600" y="13868893"/>
                  </a:lnTo>
                  <a:lnTo>
                    <a:pt x="21717068" y="13864125"/>
                  </a:lnTo>
                  <a:lnTo>
                    <a:pt x="21712304" y="13840301"/>
                  </a:lnTo>
                  <a:lnTo>
                    <a:pt x="21702772" y="13830769"/>
                  </a:lnTo>
                  <a:lnTo>
                    <a:pt x="21683712" y="13835537"/>
                  </a:lnTo>
                  <a:lnTo>
                    <a:pt x="21678944" y="13854597"/>
                  </a:lnTo>
                  <a:lnTo>
                    <a:pt x="21698008" y="13864125"/>
                  </a:lnTo>
                  <a:lnTo>
                    <a:pt x="21707536" y="13878421"/>
                  </a:lnTo>
                  <a:lnTo>
                    <a:pt x="21698008" y="13926073"/>
                  </a:lnTo>
                  <a:lnTo>
                    <a:pt x="21688480" y="13940369"/>
                  </a:lnTo>
                  <a:lnTo>
                    <a:pt x="21688480" y="13983253"/>
                  </a:lnTo>
                  <a:lnTo>
                    <a:pt x="21688480" y="14002317"/>
                  </a:lnTo>
                  <a:lnTo>
                    <a:pt x="21683712" y="14026141"/>
                  </a:lnTo>
                  <a:lnTo>
                    <a:pt x="21664652" y="14078557"/>
                  </a:lnTo>
                  <a:lnTo>
                    <a:pt x="21626528" y="14150033"/>
                  </a:lnTo>
                  <a:lnTo>
                    <a:pt x="21583644" y="14202449"/>
                  </a:lnTo>
                  <a:lnTo>
                    <a:pt x="21555056" y="14221509"/>
                  </a:lnTo>
                  <a:lnTo>
                    <a:pt x="21540760" y="14235805"/>
                  </a:lnTo>
                  <a:lnTo>
                    <a:pt x="21531228" y="14250101"/>
                  </a:lnTo>
                  <a:lnTo>
                    <a:pt x="21488344" y="14297753"/>
                  </a:lnTo>
                  <a:lnTo>
                    <a:pt x="21431160" y="14350169"/>
                  </a:lnTo>
                  <a:lnTo>
                    <a:pt x="21416864" y="14359701"/>
                  </a:lnTo>
                  <a:lnTo>
                    <a:pt x="21412100" y="14340641"/>
                  </a:lnTo>
                  <a:lnTo>
                    <a:pt x="21412100" y="14321577"/>
                  </a:lnTo>
                  <a:lnTo>
                    <a:pt x="21407336" y="14297753"/>
                  </a:lnTo>
                  <a:lnTo>
                    <a:pt x="21383512" y="14273929"/>
                  </a:lnTo>
                  <a:lnTo>
                    <a:pt x="21383512" y="14259633"/>
                  </a:lnTo>
                  <a:lnTo>
                    <a:pt x="21378744" y="14235805"/>
                  </a:lnTo>
                  <a:lnTo>
                    <a:pt x="21373976" y="14126209"/>
                  </a:lnTo>
                  <a:lnTo>
                    <a:pt x="21359684" y="14007081"/>
                  </a:lnTo>
                  <a:lnTo>
                    <a:pt x="21354920" y="13973725"/>
                  </a:lnTo>
                  <a:lnTo>
                    <a:pt x="21335856" y="13940369"/>
                  </a:lnTo>
                  <a:lnTo>
                    <a:pt x="21326328" y="13911777"/>
                  </a:lnTo>
                  <a:lnTo>
                    <a:pt x="21316800" y="13878421"/>
                  </a:lnTo>
                  <a:lnTo>
                    <a:pt x="21316800" y="13845065"/>
                  </a:lnTo>
                  <a:lnTo>
                    <a:pt x="21292972" y="13649697"/>
                  </a:lnTo>
                  <a:lnTo>
                    <a:pt x="21283440" y="13602045"/>
                  </a:lnTo>
                  <a:lnTo>
                    <a:pt x="21254848" y="13444797"/>
                  </a:lnTo>
                  <a:lnTo>
                    <a:pt x="21240556" y="13349493"/>
                  </a:lnTo>
                  <a:lnTo>
                    <a:pt x="21231024" y="13258956"/>
                  </a:lnTo>
                  <a:lnTo>
                    <a:pt x="21231024" y="13220835"/>
                  </a:lnTo>
                  <a:lnTo>
                    <a:pt x="21245320" y="13096941"/>
                  </a:lnTo>
                  <a:lnTo>
                    <a:pt x="21254848" y="13015934"/>
                  </a:lnTo>
                  <a:lnTo>
                    <a:pt x="21297736" y="12844390"/>
                  </a:lnTo>
                  <a:lnTo>
                    <a:pt x="21302504" y="12825329"/>
                  </a:lnTo>
                  <a:lnTo>
                    <a:pt x="21312032" y="12815799"/>
                  </a:lnTo>
                  <a:lnTo>
                    <a:pt x="21383512" y="12749087"/>
                  </a:lnTo>
                  <a:lnTo>
                    <a:pt x="21412100" y="12710966"/>
                  </a:lnTo>
                  <a:lnTo>
                    <a:pt x="21431160" y="12672845"/>
                  </a:lnTo>
                  <a:lnTo>
                    <a:pt x="21450220" y="12620429"/>
                  </a:lnTo>
                  <a:lnTo>
                    <a:pt x="21450220" y="12591838"/>
                  </a:lnTo>
                  <a:lnTo>
                    <a:pt x="21450220" y="12577543"/>
                  </a:lnTo>
                  <a:lnTo>
                    <a:pt x="21440688" y="12558482"/>
                  </a:lnTo>
                  <a:lnTo>
                    <a:pt x="21421632" y="12539422"/>
                  </a:lnTo>
                  <a:lnTo>
                    <a:pt x="21431160" y="12529891"/>
                  </a:lnTo>
                  <a:lnTo>
                    <a:pt x="21435928" y="12520361"/>
                  </a:lnTo>
                  <a:lnTo>
                    <a:pt x="21454984" y="12515596"/>
                  </a:lnTo>
                  <a:lnTo>
                    <a:pt x="21488344" y="12529891"/>
                  </a:lnTo>
                  <a:lnTo>
                    <a:pt x="21526464" y="12525126"/>
                  </a:lnTo>
                  <a:lnTo>
                    <a:pt x="21559816" y="12458414"/>
                  </a:lnTo>
                  <a:lnTo>
                    <a:pt x="21607472" y="12467945"/>
                  </a:lnTo>
                  <a:lnTo>
                    <a:pt x="21645592" y="12458414"/>
                  </a:lnTo>
                  <a:lnTo>
                    <a:pt x="21655120" y="12463180"/>
                  </a:lnTo>
                  <a:lnTo>
                    <a:pt x="21664652" y="12439354"/>
                  </a:lnTo>
                  <a:lnTo>
                    <a:pt x="21683712" y="12415528"/>
                  </a:lnTo>
                  <a:lnTo>
                    <a:pt x="21721832" y="12382172"/>
                  </a:lnTo>
                  <a:lnTo>
                    <a:pt x="21774248" y="12339286"/>
                  </a:lnTo>
                  <a:lnTo>
                    <a:pt x="21802840" y="12310695"/>
                  </a:lnTo>
                  <a:lnTo>
                    <a:pt x="21817136" y="12282105"/>
                  </a:lnTo>
                  <a:lnTo>
                    <a:pt x="21840960" y="12258279"/>
                  </a:lnTo>
                  <a:lnTo>
                    <a:pt x="21860024" y="12224923"/>
                  </a:lnTo>
                  <a:lnTo>
                    <a:pt x="21902908" y="12124855"/>
                  </a:lnTo>
                  <a:lnTo>
                    <a:pt x="21979152" y="12043848"/>
                  </a:lnTo>
                  <a:lnTo>
                    <a:pt x="22012504" y="11996197"/>
                  </a:lnTo>
                  <a:lnTo>
                    <a:pt x="22036332" y="11981902"/>
                  </a:lnTo>
                  <a:lnTo>
                    <a:pt x="22060160" y="11972372"/>
                  </a:lnTo>
                  <a:lnTo>
                    <a:pt x="22117336" y="11905660"/>
                  </a:lnTo>
                  <a:lnTo>
                    <a:pt x="22150696" y="11848478"/>
                  </a:lnTo>
                  <a:lnTo>
                    <a:pt x="22198344" y="11810357"/>
                  </a:lnTo>
                  <a:lnTo>
                    <a:pt x="22212640" y="11786532"/>
                  </a:lnTo>
                  <a:lnTo>
                    <a:pt x="22236464" y="11724585"/>
                  </a:lnTo>
                  <a:lnTo>
                    <a:pt x="22246000" y="11710290"/>
                  </a:lnTo>
                  <a:lnTo>
                    <a:pt x="22279352" y="11691229"/>
                  </a:lnTo>
                  <a:lnTo>
                    <a:pt x="22350832" y="11648343"/>
                  </a:lnTo>
                  <a:lnTo>
                    <a:pt x="22388952" y="11610222"/>
                  </a:lnTo>
                  <a:lnTo>
                    <a:pt x="22446132" y="11605456"/>
                  </a:lnTo>
                  <a:lnTo>
                    <a:pt x="22465192" y="11591162"/>
                  </a:lnTo>
                  <a:lnTo>
                    <a:pt x="22484256" y="11581631"/>
                  </a:lnTo>
                  <a:lnTo>
                    <a:pt x="22503312" y="11567336"/>
                  </a:lnTo>
                  <a:lnTo>
                    <a:pt x="22479488" y="11533980"/>
                  </a:lnTo>
                  <a:lnTo>
                    <a:pt x="22484256" y="11514919"/>
                  </a:lnTo>
                  <a:lnTo>
                    <a:pt x="22489016" y="11505389"/>
                  </a:lnTo>
                  <a:lnTo>
                    <a:pt x="22531904" y="11462503"/>
                  </a:lnTo>
                  <a:lnTo>
                    <a:pt x="22550968" y="11429147"/>
                  </a:lnTo>
                  <a:lnTo>
                    <a:pt x="22546200" y="11414852"/>
                  </a:lnTo>
                  <a:lnTo>
                    <a:pt x="22546200" y="11405322"/>
                  </a:lnTo>
                  <a:lnTo>
                    <a:pt x="22517608" y="11391026"/>
                  </a:lnTo>
                  <a:lnTo>
                    <a:pt x="22522376" y="11357670"/>
                  </a:lnTo>
                  <a:lnTo>
                    <a:pt x="22531904" y="11333844"/>
                  </a:lnTo>
                  <a:lnTo>
                    <a:pt x="22550968" y="11310019"/>
                  </a:lnTo>
                  <a:lnTo>
                    <a:pt x="22560496" y="11252838"/>
                  </a:lnTo>
                  <a:lnTo>
                    <a:pt x="22560496" y="11195656"/>
                  </a:lnTo>
                  <a:lnTo>
                    <a:pt x="22584320" y="11114648"/>
                  </a:lnTo>
                  <a:lnTo>
                    <a:pt x="22593852" y="11095588"/>
                  </a:lnTo>
                  <a:lnTo>
                    <a:pt x="22641504" y="11057467"/>
                  </a:lnTo>
                  <a:lnTo>
                    <a:pt x="22655800" y="11052702"/>
                  </a:lnTo>
                  <a:lnTo>
                    <a:pt x="22689152" y="11066998"/>
                  </a:lnTo>
                  <a:lnTo>
                    <a:pt x="22727272" y="11076528"/>
                  </a:lnTo>
                  <a:lnTo>
                    <a:pt x="22736808" y="11086058"/>
                  </a:lnTo>
                  <a:lnTo>
                    <a:pt x="22741568" y="11076528"/>
                  </a:lnTo>
                  <a:lnTo>
                    <a:pt x="22741568" y="11062232"/>
                  </a:lnTo>
                  <a:lnTo>
                    <a:pt x="22751100" y="11057467"/>
                  </a:lnTo>
                  <a:lnTo>
                    <a:pt x="22770160" y="11062232"/>
                  </a:lnTo>
                  <a:lnTo>
                    <a:pt x="22765396" y="11047937"/>
                  </a:lnTo>
                  <a:lnTo>
                    <a:pt x="22712980" y="11038406"/>
                  </a:lnTo>
                  <a:lnTo>
                    <a:pt x="22674856" y="11019346"/>
                  </a:lnTo>
                  <a:lnTo>
                    <a:pt x="22636736" y="10985990"/>
                  </a:lnTo>
                  <a:lnTo>
                    <a:pt x="22612912" y="10976460"/>
                  </a:lnTo>
                  <a:lnTo>
                    <a:pt x="22589088" y="10976460"/>
                  </a:lnTo>
                  <a:lnTo>
                    <a:pt x="22446132" y="11028876"/>
                  </a:lnTo>
                  <a:lnTo>
                    <a:pt x="22436600" y="11043172"/>
                  </a:lnTo>
                  <a:lnTo>
                    <a:pt x="22431840" y="11062232"/>
                  </a:lnTo>
                  <a:lnTo>
                    <a:pt x="22441368" y="11086058"/>
                  </a:lnTo>
                  <a:lnTo>
                    <a:pt x="22431840" y="11100353"/>
                  </a:lnTo>
                  <a:lnTo>
                    <a:pt x="22427072" y="11109884"/>
                  </a:lnTo>
                  <a:lnTo>
                    <a:pt x="22417544" y="11124179"/>
                  </a:lnTo>
                  <a:lnTo>
                    <a:pt x="22412776" y="11162300"/>
                  </a:lnTo>
                  <a:lnTo>
                    <a:pt x="22412776" y="11195656"/>
                  </a:lnTo>
                  <a:lnTo>
                    <a:pt x="22398480" y="11248072"/>
                  </a:lnTo>
                  <a:lnTo>
                    <a:pt x="22393716" y="11281428"/>
                  </a:lnTo>
                  <a:lnTo>
                    <a:pt x="22427072" y="11300488"/>
                  </a:lnTo>
                  <a:lnTo>
                    <a:pt x="22431840" y="11310019"/>
                  </a:lnTo>
                  <a:lnTo>
                    <a:pt x="22422304" y="11329080"/>
                  </a:lnTo>
                  <a:lnTo>
                    <a:pt x="22412776" y="11343374"/>
                  </a:lnTo>
                  <a:lnTo>
                    <a:pt x="22408012" y="11352905"/>
                  </a:lnTo>
                  <a:lnTo>
                    <a:pt x="22403248" y="11362435"/>
                  </a:lnTo>
                  <a:lnTo>
                    <a:pt x="22393716" y="11362435"/>
                  </a:lnTo>
                  <a:lnTo>
                    <a:pt x="22379420" y="11348140"/>
                  </a:lnTo>
                  <a:lnTo>
                    <a:pt x="22369888" y="11310019"/>
                  </a:lnTo>
                  <a:lnTo>
                    <a:pt x="22355596" y="11310019"/>
                  </a:lnTo>
                  <a:lnTo>
                    <a:pt x="22350832" y="11314784"/>
                  </a:lnTo>
                  <a:lnTo>
                    <a:pt x="22346064" y="11329080"/>
                  </a:lnTo>
                  <a:lnTo>
                    <a:pt x="22331768" y="11329080"/>
                  </a:lnTo>
                  <a:lnTo>
                    <a:pt x="22317472" y="11324314"/>
                  </a:lnTo>
                  <a:lnTo>
                    <a:pt x="22298416" y="11324314"/>
                  </a:lnTo>
                  <a:lnTo>
                    <a:pt x="22265056" y="11362435"/>
                  </a:lnTo>
                  <a:lnTo>
                    <a:pt x="22088748" y="11553040"/>
                  </a:lnTo>
                  <a:lnTo>
                    <a:pt x="22069688" y="11576866"/>
                  </a:lnTo>
                  <a:lnTo>
                    <a:pt x="22045864" y="11619752"/>
                  </a:lnTo>
                  <a:lnTo>
                    <a:pt x="21998208" y="11624517"/>
                  </a:lnTo>
                  <a:lnTo>
                    <a:pt x="21983916" y="11634048"/>
                  </a:lnTo>
                  <a:lnTo>
                    <a:pt x="21969620" y="11648343"/>
                  </a:lnTo>
                  <a:lnTo>
                    <a:pt x="21950560" y="11657873"/>
                  </a:lnTo>
                  <a:lnTo>
                    <a:pt x="21950560" y="11638812"/>
                  </a:lnTo>
                  <a:lnTo>
                    <a:pt x="21955324" y="11624517"/>
                  </a:lnTo>
                  <a:lnTo>
                    <a:pt x="21960088" y="11595926"/>
                  </a:lnTo>
                  <a:lnTo>
                    <a:pt x="21983916" y="11533980"/>
                  </a:lnTo>
                  <a:lnTo>
                    <a:pt x="21969620" y="11524450"/>
                  </a:lnTo>
                  <a:lnTo>
                    <a:pt x="21955324" y="11524450"/>
                  </a:lnTo>
                  <a:lnTo>
                    <a:pt x="21926736" y="11538745"/>
                  </a:lnTo>
                  <a:lnTo>
                    <a:pt x="21907672" y="11557806"/>
                  </a:lnTo>
                  <a:lnTo>
                    <a:pt x="21893376" y="11553040"/>
                  </a:lnTo>
                  <a:lnTo>
                    <a:pt x="21898144" y="11533980"/>
                  </a:lnTo>
                  <a:lnTo>
                    <a:pt x="21917204" y="11500624"/>
                  </a:lnTo>
                  <a:lnTo>
                    <a:pt x="21912440" y="11462503"/>
                  </a:lnTo>
                  <a:lnTo>
                    <a:pt x="21907672" y="11448208"/>
                  </a:lnTo>
                  <a:lnTo>
                    <a:pt x="21912440" y="11433912"/>
                  </a:lnTo>
                  <a:lnTo>
                    <a:pt x="21950560" y="11367200"/>
                  </a:lnTo>
                  <a:lnTo>
                    <a:pt x="21964856" y="11329080"/>
                  </a:lnTo>
                  <a:lnTo>
                    <a:pt x="21974384" y="11281428"/>
                  </a:lnTo>
                  <a:lnTo>
                    <a:pt x="21974384" y="11267132"/>
                  </a:lnTo>
                  <a:lnTo>
                    <a:pt x="21974384" y="11248072"/>
                  </a:lnTo>
                  <a:lnTo>
                    <a:pt x="21960088" y="11243307"/>
                  </a:lnTo>
                  <a:lnTo>
                    <a:pt x="21955324" y="11243307"/>
                  </a:lnTo>
                  <a:lnTo>
                    <a:pt x="21879080" y="11290958"/>
                  </a:lnTo>
                  <a:lnTo>
                    <a:pt x="21855256" y="11305254"/>
                  </a:lnTo>
                  <a:lnTo>
                    <a:pt x="21845728" y="11286193"/>
                  </a:lnTo>
                  <a:lnTo>
                    <a:pt x="21836196" y="11276663"/>
                  </a:lnTo>
                  <a:lnTo>
                    <a:pt x="21817136" y="11243307"/>
                  </a:lnTo>
                  <a:lnTo>
                    <a:pt x="21798076" y="11238542"/>
                  </a:lnTo>
                  <a:lnTo>
                    <a:pt x="21779016" y="11238542"/>
                  </a:lnTo>
                  <a:lnTo>
                    <a:pt x="21740896" y="11262368"/>
                  </a:lnTo>
                  <a:lnTo>
                    <a:pt x="21698008" y="11276663"/>
                  </a:lnTo>
                  <a:lnTo>
                    <a:pt x="21664652" y="11271898"/>
                  </a:lnTo>
                  <a:lnTo>
                    <a:pt x="21636060" y="11290958"/>
                  </a:lnTo>
                  <a:lnTo>
                    <a:pt x="21621768" y="11295724"/>
                  </a:lnTo>
                  <a:lnTo>
                    <a:pt x="21583644" y="11281428"/>
                  </a:lnTo>
                  <a:lnTo>
                    <a:pt x="21531228" y="11281428"/>
                  </a:lnTo>
                  <a:lnTo>
                    <a:pt x="21512168" y="11295724"/>
                  </a:lnTo>
                  <a:lnTo>
                    <a:pt x="21469280" y="11319549"/>
                  </a:lnTo>
                  <a:lnTo>
                    <a:pt x="21440688" y="11357670"/>
                  </a:lnTo>
                  <a:lnTo>
                    <a:pt x="21421632" y="11367200"/>
                  </a:lnTo>
                  <a:lnTo>
                    <a:pt x="21407336" y="11386261"/>
                  </a:lnTo>
                  <a:lnTo>
                    <a:pt x="21397804" y="11452972"/>
                  </a:lnTo>
                  <a:lnTo>
                    <a:pt x="21373976" y="11472033"/>
                  </a:lnTo>
                  <a:lnTo>
                    <a:pt x="21354920" y="11491094"/>
                  </a:lnTo>
                  <a:lnTo>
                    <a:pt x="21307268" y="11543510"/>
                  </a:lnTo>
                  <a:lnTo>
                    <a:pt x="21278676" y="11610222"/>
                  </a:lnTo>
                  <a:lnTo>
                    <a:pt x="21254848" y="11643578"/>
                  </a:lnTo>
                  <a:lnTo>
                    <a:pt x="21211964" y="11686464"/>
                  </a:lnTo>
                  <a:lnTo>
                    <a:pt x="21140488" y="11738880"/>
                  </a:lnTo>
                  <a:lnTo>
                    <a:pt x="21078540" y="11829418"/>
                  </a:lnTo>
                  <a:lnTo>
                    <a:pt x="21054716" y="11896130"/>
                  </a:lnTo>
                  <a:lnTo>
                    <a:pt x="21049952" y="11896130"/>
                  </a:lnTo>
                  <a:lnTo>
                    <a:pt x="21035656" y="11910425"/>
                  </a:lnTo>
                  <a:lnTo>
                    <a:pt x="21030888" y="11943780"/>
                  </a:lnTo>
                  <a:lnTo>
                    <a:pt x="21030888" y="11962841"/>
                  </a:lnTo>
                  <a:lnTo>
                    <a:pt x="21021360" y="11981902"/>
                  </a:lnTo>
                  <a:lnTo>
                    <a:pt x="21011832" y="12005728"/>
                  </a:lnTo>
                  <a:lnTo>
                    <a:pt x="21021360" y="12020022"/>
                  </a:lnTo>
                  <a:lnTo>
                    <a:pt x="21030888" y="12020022"/>
                  </a:lnTo>
                  <a:lnTo>
                    <a:pt x="21045184" y="12020022"/>
                  </a:lnTo>
                  <a:lnTo>
                    <a:pt x="21078540" y="12000962"/>
                  </a:lnTo>
                  <a:lnTo>
                    <a:pt x="21140488" y="12029553"/>
                  </a:lnTo>
                  <a:lnTo>
                    <a:pt x="21169080" y="12053378"/>
                  </a:lnTo>
                  <a:lnTo>
                    <a:pt x="21169080" y="12081969"/>
                  </a:lnTo>
                  <a:lnTo>
                    <a:pt x="21169080" y="12105795"/>
                  </a:lnTo>
                  <a:lnTo>
                    <a:pt x="21145252" y="12105795"/>
                  </a:lnTo>
                  <a:lnTo>
                    <a:pt x="21116664" y="12110560"/>
                  </a:lnTo>
                  <a:lnTo>
                    <a:pt x="21097600" y="12124855"/>
                  </a:lnTo>
                  <a:lnTo>
                    <a:pt x="21059480" y="12101030"/>
                  </a:lnTo>
                  <a:lnTo>
                    <a:pt x="21045184" y="12110560"/>
                  </a:lnTo>
                  <a:lnTo>
                    <a:pt x="21026124" y="12134386"/>
                  </a:lnTo>
                  <a:lnTo>
                    <a:pt x="20988004" y="12143916"/>
                  </a:lnTo>
                  <a:lnTo>
                    <a:pt x="20968944" y="12129621"/>
                  </a:lnTo>
                  <a:lnTo>
                    <a:pt x="20940352" y="12096265"/>
                  </a:lnTo>
                  <a:lnTo>
                    <a:pt x="20887936" y="12101030"/>
                  </a:lnTo>
                  <a:lnTo>
                    <a:pt x="20873640" y="12139151"/>
                  </a:lnTo>
                  <a:lnTo>
                    <a:pt x="20864112" y="12139151"/>
                  </a:lnTo>
                  <a:lnTo>
                    <a:pt x="20845048" y="12139151"/>
                  </a:lnTo>
                  <a:lnTo>
                    <a:pt x="20811696" y="12182037"/>
                  </a:lnTo>
                  <a:lnTo>
                    <a:pt x="20802164" y="12186802"/>
                  </a:lnTo>
                  <a:lnTo>
                    <a:pt x="20764040" y="12177272"/>
                  </a:lnTo>
                  <a:lnTo>
                    <a:pt x="20740216" y="12158211"/>
                  </a:lnTo>
                  <a:lnTo>
                    <a:pt x="20725920" y="12153446"/>
                  </a:lnTo>
                  <a:lnTo>
                    <a:pt x="20702096" y="12167742"/>
                  </a:lnTo>
                  <a:lnTo>
                    <a:pt x="20687800" y="12191567"/>
                  </a:lnTo>
                  <a:lnTo>
                    <a:pt x="20630616" y="12205863"/>
                  </a:lnTo>
                  <a:lnTo>
                    <a:pt x="20568672" y="12201098"/>
                  </a:lnTo>
                  <a:lnTo>
                    <a:pt x="20540080" y="12139151"/>
                  </a:lnTo>
                  <a:lnTo>
                    <a:pt x="20597264" y="12115325"/>
                  </a:lnTo>
                  <a:lnTo>
                    <a:pt x="20635384" y="12120090"/>
                  </a:lnTo>
                  <a:lnTo>
                    <a:pt x="20673504" y="12115325"/>
                  </a:lnTo>
                  <a:lnTo>
                    <a:pt x="20716392" y="12096265"/>
                  </a:lnTo>
                  <a:lnTo>
                    <a:pt x="20702096" y="12081969"/>
                  </a:lnTo>
                  <a:lnTo>
                    <a:pt x="20692568" y="12077204"/>
                  </a:lnTo>
                  <a:lnTo>
                    <a:pt x="20663976" y="12077204"/>
                  </a:lnTo>
                  <a:lnTo>
                    <a:pt x="20644912" y="12067674"/>
                  </a:lnTo>
                  <a:lnTo>
                    <a:pt x="20592496" y="12005728"/>
                  </a:lnTo>
                  <a:lnTo>
                    <a:pt x="20573440" y="11991432"/>
                  </a:lnTo>
                  <a:lnTo>
                    <a:pt x="20544848" y="11986667"/>
                  </a:lnTo>
                  <a:lnTo>
                    <a:pt x="20525784" y="11986667"/>
                  </a:lnTo>
                  <a:lnTo>
                    <a:pt x="20516256" y="11991432"/>
                  </a:lnTo>
                  <a:lnTo>
                    <a:pt x="20506728" y="12005728"/>
                  </a:lnTo>
                  <a:lnTo>
                    <a:pt x="20497196" y="12020022"/>
                  </a:lnTo>
                  <a:lnTo>
                    <a:pt x="20492432" y="12024788"/>
                  </a:lnTo>
                  <a:lnTo>
                    <a:pt x="20478136" y="12024788"/>
                  </a:lnTo>
                  <a:lnTo>
                    <a:pt x="20459072" y="12010492"/>
                  </a:lnTo>
                  <a:lnTo>
                    <a:pt x="20440016" y="12015258"/>
                  </a:lnTo>
                  <a:lnTo>
                    <a:pt x="20449544" y="12005728"/>
                  </a:lnTo>
                  <a:lnTo>
                    <a:pt x="20468604" y="11996197"/>
                  </a:lnTo>
                  <a:lnTo>
                    <a:pt x="20435248" y="11986667"/>
                  </a:lnTo>
                  <a:lnTo>
                    <a:pt x="20411424" y="11967606"/>
                  </a:lnTo>
                  <a:lnTo>
                    <a:pt x="20392360" y="11967606"/>
                  </a:lnTo>
                  <a:lnTo>
                    <a:pt x="20306592" y="11929486"/>
                  </a:lnTo>
                  <a:lnTo>
                    <a:pt x="20273232" y="11934250"/>
                  </a:lnTo>
                  <a:lnTo>
                    <a:pt x="20254176" y="11943780"/>
                  </a:lnTo>
                  <a:lnTo>
                    <a:pt x="20216052" y="11972372"/>
                  </a:lnTo>
                  <a:lnTo>
                    <a:pt x="20225584" y="11996197"/>
                  </a:lnTo>
                  <a:lnTo>
                    <a:pt x="20235112" y="12005728"/>
                  </a:lnTo>
                  <a:lnTo>
                    <a:pt x="20239880" y="12015258"/>
                  </a:lnTo>
                  <a:lnTo>
                    <a:pt x="20225584" y="12020022"/>
                  </a:lnTo>
                  <a:lnTo>
                    <a:pt x="20196992" y="12020022"/>
                  </a:lnTo>
                  <a:lnTo>
                    <a:pt x="20173168" y="12000962"/>
                  </a:lnTo>
                  <a:lnTo>
                    <a:pt x="20158872" y="12029553"/>
                  </a:lnTo>
                  <a:lnTo>
                    <a:pt x="20168400" y="12053378"/>
                  </a:lnTo>
                  <a:lnTo>
                    <a:pt x="20187464" y="12043848"/>
                  </a:lnTo>
                  <a:lnTo>
                    <a:pt x="20201760" y="12053378"/>
                  </a:lnTo>
                  <a:lnTo>
                    <a:pt x="20192228" y="12077204"/>
                  </a:lnTo>
                  <a:lnTo>
                    <a:pt x="20163636" y="12086734"/>
                  </a:lnTo>
                  <a:lnTo>
                    <a:pt x="20125516" y="12086734"/>
                  </a:lnTo>
                  <a:lnTo>
                    <a:pt x="20092160" y="12039083"/>
                  </a:lnTo>
                  <a:lnTo>
                    <a:pt x="20030212" y="12048614"/>
                  </a:lnTo>
                  <a:lnTo>
                    <a:pt x="20001624" y="12077204"/>
                  </a:lnTo>
                  <a:lnTo>
                    <a:pt x="19973032" y="12081969"/>
                  </a:lnTo>
                  <a:lnTo>
                    <a:pt x="19901552" y="12053378"/>
                  </a:lnTo>
                  <a:lnTo>
                    <a:pt x="19863432" y="12053378"/>
                  </a:lnTo>
                  <a:lnTo>
                    <a:pt x="19820548" y="12024788"/>
                  </a:lnTo>
                  <a:lnTo>
                    <a:pt x="19806252" y="12034318"/>
                  </a:lnTo>
                  <a:lnTo>
                    <a:pt x="19782424" y="12096265"/>
                  </a:lnTo>
                  <a:lnTo>
                    <a:pt x="19744304" y="12115325"/>
                  </a:lnTo>
                  <a:lnTo>
                    <a:pt x="19725244" y="12105795"/>
                  </a:lnTo>
                  <a:lnTo>
                    <a:pt x="19710952" y="12062909"/>
                  </a:lnTo>
                  <a:lnTo>
                    <a:pt x="19701420" y="12053378"/>
                  </a:lnTo>
                  <a:lnTo>
                    <a:pt x="19668064" y="12039083"/>
                  </a:lnTo>
                  <a:lnTo>
                    <a:pt x="19501284" y="12048614"/>
                  </a:lnTo>
                  <a:lnTo>
                    <a:pt x="19444104" y="12039083"/>
                  </a:lnTo>
                  <a:lnTo>
                    <a:pt x="19405984" y="12039083"/>
                  </a:lnTo>
                  <a:lnTo>
                    <a:pt x="19353564" y="12062909"/>
                  </a:lnTo>
                  <a:lnTo>
                    <a:pt x="19301148" y="12053378"/>
                  </a:lnTo>
                  <a:lnTo>
                    <a:pt x="19205848" y="12091500"/>
                  </a:lnTo>
                  <a:lnTo>
                    <a:pt x="19162960" y="12120090"/>
                  </a:lnTo>
                  <a:lnTo>
                    <a:pt x="19115308" y="12167742"/>
                  </a:lnTo>
                  <a:lnTo>
                    <a:pt x="19077188" y="12243984"/>
                  </a:lnTo>
                  <a:lnTo>
                    <a:pt x="19053360" y="12272574"/>
                  </a:lnTo>
                  <a:lnTo>
                    <a:pt x="19010476" y="12305930"/>
                  </a:lnTo>
                  <a:lnTo>
                    <a:pt x="18953296" y="12339286"/>
                  </a:lnTo>
                  <a:lnTo>
                    <a:pt x="18924704" y="12372642"/>
                  </a:lnTo>
                  <a:lnTo>
                    <a:pt x="18905640" y="12401233"/>
                  </a:lnTo>
                  <a:lnTo>
                    <a:pt x="18877052" y="12506066"/>
                  </a:lnTo>
                  <a:lnTo>
                    <a:pt x="18872288" y="12520361"/>
                  </a:lnTo>
                  <a:lnTo>
                    <a:pt x="18800808" y="12558482"/>
                  </a:lnTo>
                  <a:lnTo>
                    <a:pt x="18781752" y="12596603"/>
                  </a:lnTo>
                  <a:lnTo>
                    <a:pt x="18772220" y="12606133"/>
                  </a:lnTo>
                  <a:lnTo>
                    <a:pt x="18743628" y="12625194"/>
                  </a:lnTo>
                  <a:lnTo>
                    <a:pt x="18724568" y="12653785"/>
                  </a:lnTo>
                  <a:lnTo>
                    <a:pt x="18715040" y="12658550"/>
                  </a:lnTo>
                  <a:lnTo>
                    <a:pt x="18672152" y="12677610"/>
                  </a:lnTo>
                  <a:lnTo>
                    <a:pt x="18638796" y="12730027"/>
                  </a:lnTo>
                  <a:lnTo>
                    <a:pt x="18591144" y="12763383"/>
                  </a:lnTo>
                  <a:lnTo>
                    <a:pt x="18524432" y="12858685"/>
                  </a:lnTo>
                  <a:lnTo>
                    <a:pt x="18514904" y="12872980"/>
                  </a:lnTo>
                  <a:lnTo>
                    <a:pt x="18510136" y="12896806"/>
                  </a:lnTo>
                  <a:lnTo>
                    <a:pt x="18500608" y="12915867"/>
                  </a:lnTo>
                  <a:lnTo>
                    <a:pt x="18438660" y="13001639"/>
                  </a:lnTo>
                  <a:lnTo>
                    <a:pt x="18419600" y="13006404"/>
                  </a:lnTo>
                  <a:lnTo>
                    <a:pt x="18391008" y="13044525"/>
                  </a:lnTo>
                  <a:lnTo>
                    <a:pt x="18362416" y="13068351"/>
                  </a:lnTo>
                  <a:lnTo>
                    <a:pt x="18333828" y="13096941"/>
                  </a:lnTo>
                  <a:lnTo>
                    <a:pt x="18300472" y="13125532"/>
                  </a:lnTo>
                  <a:lnTo>
                    <a:pt x="18248056" y="13154123"/>
                  </a:lnTo>
                  <a:lnTo>
                    <a:pt x="18228992" y="13173183"/>
                  </a:lnTo>
                  <a:lnTo>
                    <a:pt x="18205168" y="13216070"/>
                  </a:lnTo>
                  <a:lnTo>
                    <a:pt x="18138456" y="13268486"/>
                  </a:lnTo>
                  <a:lnTo>
                    <a:pt x="18105104" y="13282781"/>
                  </a:lnTo>
                  <a:lnTo>
                    <a:pt x="18062216" y="13330433"/>
                  </a:lnTo>
                  <a:lnTo>
                    <a:pt x="18057448" y="13339963"/>
                  </a:lnTo>
                  <a:lnTo>
                    <a:pt x="18052684" y="13359023"/>
                  </a:lnTo>
                  <a:lnTo>
                    <a:pt x="18062216" y="13387613"/>
                  </a:lnTo>
                  <a:lnTo>
                    <a:pt x="18071744" y="13392377"/>
                  </a:lnTo>
                  <a:lnTo>
                    <a:pt x="18086040" y="13397145"/>
                  </a:lnTo>
                  <a:lnTo>
                    <a:pt x="18152752" y="13425733"/>
                  </a:lnTo>
                  <a:lnTo>
                    <a:pt x="18214700" y="13416205"/>
                  </a:lnTo>
                  <a:lnTo>
                    <a:pt x="18267116" y="13420969"/>
                  </a:lnTo>
                  <a:lnTo>
                    <a:pt x="18286176" y="13416205"/>
                  </a:lnTo>
                  <a:lnTo>
                    <a:pt x="18300472" y="13416205"/>
                  </a:lnTo>
                  <a:lnTo>
                    <a:pt x="18305236" y="13430501"/>
                  </a:lnTo>
                  <a:lnTo>
                    <a:pt x="18305236" y="13463857"/>
                  </a:lnTo>
                  <a:lnTo>
                    <a:pt x="18295704" y="13487681"/>
                  </a:lnTo>
                  <a:lnTo>
                    <a:pt x="18290944" y="13568689"/>
                  </a:lnTo>
                  <a:lnTo>
                    <a:pt x="18281412" y="13602045"/>
                  </a:lnTo>
                  <a:lnTo>
                    <a:pt x="18290944" y="13635401"/>
                  </a:lnTo>
                  <a:lnTo>
                    <a:pt x="18300472" y="13640165"/>
                  </a:lnTo>
                  <a:lnTo>
                    <a:pt x="18314768" y="13625869"/>
                  </a:lnTo>
                  <a:lnTo>
                    <a:pt x="18333828" y="13621105"/>
                  </a:lnTo>
                  <a:lnTo>
                    <a:pt x="18357656" y="13630637"/>
                  </a:lnTo>
                  <a:lnTo>
                    <a:pt x="18371948" y="13578217"/>
                  </a:lnTo>
                  <a:lnTo>
                    <a:pt x="18357656" y="13568689"/>
                  </a:lnTo>
                  <a:lnTo>
                    <a:pt x="18348120" y="13549629"/>
                  </a:lnTo>
                  <a:lnTo>
                    <a:pt x="18352888" y="13535333"/>
                  </a:lnTo>
                  <a:lnTo>
                    <a:pt x="18391008" y="13506741"/>
                  </a:lnTo>
                  <a:lnTo>
                    <a:pt x="18414832" y="13506741"/>
                  </a:lnTo>
                  <a:lnTo>
                    <a:pt x="18438660" y="13506741"/>
                  </a:lnTo>
                  <a:lnTo>
                    <a:pt x="18414832" y="13540097"/>
                  </a:lnTo>
                  <a:lnTo>
                    <a:pt x="18400540" y="13549629"/>
                  </a:lnTo>
                  <a:lnTo>
                    <a:pt x="18395776" y="13549629"/>
                  </a:lnTo>
                  <a:lnTo>
                    <a:pt x="18386244" y="13554393"/>
                  </a:lnTo>
                  <a:lnTo>
                    <a:pt x="18405304" y="13573453"/>
                  </a:lnTo>
                  <a:lnTo>
                    <a:pt x="18429128" y="13592513"/>
                  </a:lnTo>
                  <a:lnTo>
                    <a:pt x="18462488" y="13597281"/>
                  </a:lnTo>
                  <a:lnTo>
                    <a:pt x="18452956" y="13606809"/>
                  </a:lnTo>
                  <a:lnTo>
                    <a:pt x="18433896" y="13616341"/>
                  </a:lnTo>
                  <a:lnTo>
                    <a:pt x="18414832" y="13659225"/>
                  </a:lnTo>
                  <a:lnTo>
                    <a:pt x="18381480" y="13678285"/>
                  </a:lnTo>
                  <a:lnTo>
                    <a:pt x="18367184" y="13692581"/>
                  </a:lnTo>
                  <a:lnTo>
                    <a:pt x="18371948" y="13702113"/>
                  </a:lnTo>
                  <a:lnTo>
                    <a:pt x="18381480" y="13706877"/>
                  </a:lnTo>
                  <a:lnTo>
                    <a:pt x="18448192" y="13697345"/>
                  </a:lnTo>
                  <a:lnTo>
                    <a:pt x="18481544" y="13687817"/>
                  </a:lnTo>
                  <a:lnTo>
                    <a:pt x="18529200" y="13654461"/>
                  </a:lnTo>
                  <a:lnTo>
                    <a:pt x="18548256" y="13606809"/>
                  </a:lnTo>
                  <a:lnTo>
                    <a:pt x="18567320" y="13592513"/>
                  </a:lnTo>
                  <a:lnTo>
                    <a:pt x="18572084" y="13592513"/>
                  </a:lnTo>
                  <a:lnTo>
                    <a:pt x="18576848" y="13597281"/>
                  </a:lnTo>
                  <a:lnTo>
                    <a:pt x="18576848" y="13630637"/>
                  </a:lnTo>
                  <a:lnTo>
                    <a:pt x="18553024" y="13668757"/>
                  </a:lnTo>
                  <a:lnTo>
                    <a:pt x="18533960" y="13692581"/>
                  </a:lnTo>
                  <a:lnTo>
                    <a:pt x="18529200" y="13706877"/>
                  </a:lnTo>
                  <a:lnTo>
                    <a:pt x="18538728" y="13706877"/>
                  </a:lnTo>
                  <a:lnTo>
                    <a:pt x="18557788" y="13706877"/>
                  </a:lnTo>
                  <a:lnTo>
                    <a:pt x="18567320" y="13697345"/>
                  </a:lnTo>
                  <a:lnTo>
                    <a:pt x="18591144" y="13649697"/>
                  </a:lnTo>
                  <a:lnTo>
                    <a:pt x="18600672" y="13616341"/>
                  </a:lnTo>
                  <a:lnTo>
                    <a:pt x="18600672" y="13573453"/>
                  </a:lnTo>
                  <a:lnTo>
                    <a:pt x="18600672" y="13544861"/>
                  </a:lnTo>
                  <a:lnTo>
                    <a:pt x="18600672" y="13521037"/>
                  </a:lnTo>
                  <a:lnTo>
                    <a:pt x="18591144" y="13501977"/>
                  </a:lnTo>
                  <a:lnTo>
                    <a:pt x="18595912" y="13497213"/>
                  </a:lnTo>
                  <a:lnTo>
                    <a:pt x="18662624" y="13525801"/>
                  </a:lnTo>
                  <a:lnTo>
                    <a:pt x="18695976" y="13530569"/>
                  </a:lnTo>
                  <a:lnTo>
                    <a:pt x="18757924" y="13511505"/>
                  </a:lnTo>
                  <a:lnTo>
                    <a:pt x="18767456" y="13516273"/>
                  </a:lnTo>
                  <a:lnTo>
                    <a:pt x="18776984" y="13530569"/>
                  </a:lnTo>
                  <a:lnTo>
                    <a:pt x="18829400" y="13568689"/>
                  </a:lnTo>
                  <a:lnTo>
                    <a:pt x="18838928" y="13582985"/>
                  </a:lnTo>
                  <a:lnTo>
                    <a:pt x="18853224" y="13630637"/>
                  </a:lnTo>
                  <a:lnTo>
                    <a:pt x="18910408" y="13687817"/>
                  </a:lnTo>
                  <a:lnTo>
                    <a:pt x="18958060" y="13716409"/>
                  </a:lnTo>
                  <a:lnTo>
                    <a:pt x="18958060" y="13725937"/>
                  </a:lnTo>
                  <a:lnTo>
                    <a:pt x="18991416" y="13759293"/>
                  </a:lnTo>
                  <a:lnTo>
                    <a:pt x="19015240" y="13768825"/>
                  </a:lnTo>
                  <a:lnTo>
                    <a:pt x="19020008" y="13797413"/>
                  </a:lnTo>
                  <a:lnTo>
                    <a:pt x="19010476" y="13821241"/>
                  </a:lnTo>
                  <a:lnTo>
                    <a:pt x="18986648" y="13840301"/>
                  </a:lnTo>
                  <a:lnTo>
                    <a:pt x="18939000" y="13821241"/>
                  </a:lnTo>
                  <a:lnTo>
                    <a:pt x="18934232" y="13821241"/>
                  </a:lnTo>
                  <a:lnTo>
                    <a:pt x="18939000" y="13835537"/>
                  </a:lnTo>
                  <a:lnTo>
                    <a:pt x="18972352" y="13873657"/>
                  </a:lnTo>
                  <a:lnTo>
                    <a:pt x="18996180" y="13887953"/>
                  </a:lnTo>
                  <a:lnTo>
                    <a:pt x="19000944" y="13935605"/>
                  </a:lnTo>
                  <a:lnTo>
                    <a:pt x="18996180" y="13959429"/>
                  </a:lnTo>
                  <a:lnTo>
                    <a:pt x="18977120" y="13992785"/>
                  </a:lnTo>
                  <a:lnTo>
                    <a:pt x="18981884" y="14007081"/>
                  </a:lnTo>
                  <a:lnTo>
                    <a:pt x="19010476" y="14035669"/>
                  </a:lnTo>
                  <a:lnTo>
                    <a:pt x="19020008" y="14040437"/>
                  </a:lnTo>
                  <a:lnTo>
                    <a:pt x="19034304" y="14054733"/>
                  </a:lnTo>
                  <a:lnTo>
                    <a:pt x="19015240" y="14088089"/>
                  </a:lnTo>
                  <a:lnTo>
                    <a:pt x="19015240" y="14121445"/>
                  </a:lnTo>
                  <a:lnTo>
                    <a:pt x="18996180" y="14135737"/>
                  </a:lnTo>
                  <a:lnTo>
                    <a:pt x="18977120" y="14169093"/>
                  </a:lnTo>
                  <a:lnTo>
                    <a:pt x="18948528" y="14197685"/>
                  </a:lnTo>
                  <a:lnTo>
                    <a:pt x="18929468" y="14250101"/>
                  </a:lnTo>
                  <a:lnTo>
                    <a:pt x="18910408" y="14292989"/>
                  </a:lnTo>
                  <a:lnTo>
                    <a:pt x="18905640" y="14340641"/>
                  </a:lnTo>
                  <a:lnTo>
                    <a:pt x="18900880" y="14354933"/>
                  </a:lnTo>
                  <a:lnTo>
                    <a:pt x="18881816" y="14402585"/>
                  </a:lnTo>
                  <a:lnTo>
                    <a:pt x="18877052" y="14464533"/>
                  </a:lnTo>
                  <a:lnTo>
                    <a:pt x="18886584" y="14564601"/>
                  </a:lnTo>
                  <a:lnTo>
                    <a:pt x="18886584" y="14574129"/>
                  </a:lnTo>
                  <a:lnTo>
                    <a:pt x="18900880" y="14578897"/>
                  </a:lnTo>
                  <a:lnTo>
                    <a:pt x="18896112" y="14583661"/>
                  </a:lnTo>
                  <a:lnTo>
                    <a:pt x="18891348" y="14588425"/>
                  </a:lnTo>
                  <a:lnTo>
                    <a:pt x="18872288" y="14621781"/>
                  </a:lnTo>
                  <a:lnTo>
                    <a:pt x="18872288" y="14640841"/>
                  </a:lnTo>
                  <a:lnTo>
                    <a:pt x="18881816" y="14655137"/>
                  </a:lnTo>
                  <a:lnTo>
                    <a:pt x="18881816" y="14698025"/>
                  </a:lnTo>
                  <a:lnTo>
                    <a:pt x="18867520" y="14759969"/>
                  </a:lnTo>
                  <a:lnTo>
                    <a:pt x="18862756" y="14769501"/>
                  </a:lnTo>
                  <a:lnTo>
                    <a:pt x="18857992" y="14788561"/>
                  </a:lnTo>
                  <a:lnTo>
                    <a:pt x="18853224" y="14802857"/>
                  </a:lnTo>
                  <a:lnTo>
                    <a:pt x="18853224" y="14812385"/>
                  </a:lnTo>
                  <a:lnTo>
                    <a:pt x="18848464" y="14826681"/>
                  </a:lnTo>
                  <a:lnTo>
                    <a:pt x="18853224" y="14840977"/>
                  </a:lnTo>
                  <a:lnTo>
                    <a:pt x="18857992" y="14845741"/>
                  </a:lnTo>
                  <a:lnTo>
                    <a:pt x="18834168" y="14893393"/>
                  </a:lnTo>
                  <a:lnTo>
                    <a:pt x="18829400" y="14950577"/>
                  </a:lnTo>
                  <a:lnTo>
                    <a:pt x="18819872" y="14974401"/>
                  </a:lnTo>
                  <a:lnTo>
                    <a:pt x="18800808" y="14998225"/>
                  </a:lnTo>
                  <a:lnTo>
                    <a:pt x="18762688" y="15031581"/>
                  </a:lnTo>
                  <a:lnTo>
                    <a:pt x="18748392" y="15055409"/>
                  </a:lnTo>
                  <a:lnTo>
                    <a:pt x="18724568" y="15079233"/>
                  </a:lnTo>
                  <a:lnTo>
                    <a:pt x="18705508" y="15103061"/>
                  </a:lnTo>
                  <a:lnTo>
                    <a:pt x="18672152" y="15160241"/>
                  </a:lnTo>
                  <a:lnTo>
                    <a:pt x="18643560" y="15217421"/>
                  </a:lnTo>
                  <a:lnTo>
                    <a:pt x="18581616" y="15293665"/>
                  </a:lnTo>
                  <a:lnTo>
                    <a:pt x="18572084" y="15312725"/>
                  </a:lnTo>
                  <a:lnTo>
                    <a:pt x="18567320" y="15331785"/>
                  </a:lnTo>
                  <a:lnTo>
                    <a:pt x="18548256" y="15365141"/>
                  </a:lnTo>
                  <a:lnTo>
                    <a:pt x="18538728" y="15408029"/>
                  </a:lnTo>
                  <a:lnTo>
                    <a:pt x="18519668" y="15427089"/>
                  </a:lnTo>
                  <a:lnTo>
                    <a:pt x="18505372" y="15474741"/>
                  </a:lnTo>
                  <a:lnTo>
                    <a:pt x="18452956" y="15550981"/>
                  </a:lnTo>
                  <a:lnTo>
                    <a:pt x="18438660" y="15574805"/>
                  </a:lnTo>
                  <a:lnTo>
                    <a:pt x="18400540" y="15612929"/>
                  </a:lnTo>
                  <a:lnTo>
                    <a:pt x="18357656" y="15670109"/>
                  </a:lnTo>
                  <a:lnTo>
                    <a:pt x="18300472" y="15717761"/>
                  </a:lnTo>
                  <a:lnTo>
                    <a:pt x="18290944" y="15736821"/>
                  </a:lnTo>
                  <a:lnTo>
                    <a:pt x="18271880" y="15760645"/>
                  </a:lnTo>
                  <a:lnTo>
                    <a:pt x="18248056" y="15794001"/>
                  </a:lnTo>
                  <a:lnTo>
                    <a:pt x="18214700" y="15827357"/>
                  </a:lnTo>
                  <a:lnTo>
                    <a:pt x="18209936" y="15851185"/>
                  </a:lnTo>
                  <a:lnTo>
                    <a:pt x="18200404" y="15870245"/>
                  </a:lnTo>
                  <a:lnTo>
                    <a:pt x="18176576" y="15879777"/>
                  </a:lnTo>
                  <a:lnTo>
                    <a:pt x="18157520" y="15894069"/>
                  </a:lnTo>
                  <a:lnTo>
                    <a:pt x="18105104" y="15979841"/>
                  </a:lnTo>
                  <a:lnTo>
                    <a:pt x="18095572" y="15998905"/>
                  </a:lnTo>
                  <a:lnTo>
                    <a:pt x="18095572" y="16013197"/>
                  </a:lnTo>
                  <a:lnTo>
                    <a:pt x="18062216" y="16041789"/>
                  </a:lnTo>
                  <a:lnTo>
                    <a:pt x="18038392" y="16075145"/>
                  </a:lnTo>
                  <a:lnTo>
                    <a:pt x="18005032" y="16098969"/>
                  </a:lnTo>
                  <a:lnTo>
                    <a:pt x="17971680" y="16127561"/>
                  </a:lnTo>
                  <a:lnTo>
                    <a:pt x="17885904" y="16179977"/>
                  </a:lnTo>
                  <a:lnTo>
                    <a:pt x="17866844" y="16199037"/>
                  </a:lnTo>
                  <a:lnTo>
                    <a:pt x="17819192" y="16227629"/>
                  </a:lnTo>
                  <a:lnTo>
                    <a:pt x="17800132" y="16227629"/>
                  </a:lnTo>
                  <a:lnTo>
                    <a:pt x="17757248" y="16241925"/>
                  </a:lnTo>
                  <a:lnTo>
                    <a:pt x="17733420" y="16256221"/>
                  </a:lnTo>
                  <a:lnTo>
                    <a:pt x="17714360" y="16251453"/>
                  </a:lnTo>
                  <a:lnTo>
                    <a:pt x="17709596" y="16232393"/>
                  </a:lnTo>
                  <a:lnTo>
                    <a:pt x="17695300" y="16232393"/>
                  </a:lnTo>
                  <a:lnTo>
                    <a:pt x="17685768" y="16232393"/>
                  </a:lnTo>
                  <a:lnTo>
                    <a:pt x="17661944" y="16218101"/>
                  </a:lnTo>
                  <a:lnTo>
                    <a:pt x="17642884" y="16218101"/>
                  </a:lnTo>
                  <a:lnTo>
                    <a:pt x="17628588" y="16208569"/>
                  </a:lnTo>
                  <a:lnTo>
                    <a:pt x="17600000" y="16213333"/>
                  </a:lnTo>
                  <a:lnTo>
                    <a:pt x="17604764" y="16137093"/>
                  </a:lnTo>
                  <a:lnTo>
                    <a:pt x="17600000" y="16122797"/>
                  </a:lnTo>
                  <a:lnTo>
                    <a:pt x="17585704" y="16137093"/>
                  </a:lnTo>
                  <a:lnTo>
                    <a:pt x="17557112" y="16165681"/>
                  </a:lnTo>
                  <a:lnTo>
                    <a:pt x="17542816" y="16170449"/>
                  </a:lnTo>
                  <a:lnTo>
                    <a:pt x="17528520" y="16170449"/>
                  </a:lnTo>
                  <a:lnTo>
                    <a:pt x="17533288" y="16151389"/>
                  </a:lnTo>
                  <a:lnTo>
                    <a:pt x="17552348" y="16132325"/>
                  </a:lnTo>
                  <a:lnTo>
                    <a:pt x="17547580" y="16127561"/>
                  </a:lnTo>
                  <a:lnTo>
                    <a:pt x="17542816" y="16127561"/>
                  </a:lnTo>
                  <a:lnTo>
                    <a:pt x="17518992" y="16137093"/>
                  </a:lnTo>
                  <a:lnTo>
                    <a:pt x="17509460" y="16146621"/>
                  </a:lnTo>
                  <a:lnTo>
                    <a:pt x="17476104" y="16189509"/>
                  </a:lnTo>
                  <a:lnTo>
                    <a:pt x="17457044" y="16227629"/>
                  </a:lnTo>
                  <a:lnTo>
                    <a:pt x="17442748" y="16237161"/>
                  </a:lnTo>
                  <a:lnTo>
                    <a:pt x="17433216" y="16256221"/>
                  </a:lnTo>
                  <a:lnTo>
                    <a:pt x="17418924" y="16270517"/>
                  </a:lnTo>
                  <a:lnTo>
                    <a:pt x="17399864" y="16265749"/>
                  </a:lnTo>
                  <a:lnTo>
                    <a:pt x="17385568" y="16270517"/>
                  </a:lnTo>
                  <a:lnTo>
                    <a:pt x="17356976" y="16260985"/>
                  </a:lnTo>
                  <a:lnTo>
                    <a:pt x="17347448" y="16260985"/>
                  </a:lnTo>
                  <a:lnTo>
                    <a:pt x="17371272" y="16289577"/>
                  </a:lnTo>
                  <a:lnTo>
                    <a:pt x="17352212" y="16332461"/>
                  </a:lnTo>
                  <a:lnTo>
                    <a:pt x="17347448" y="16337229"/>
                  </a:lnTo>
                  <a:lnTo>
                    <a:pt x="17342680" y="16332461"/>
                  </a:lnTo>
                  <a:lnTo>
                    <a:pt x="17342680" y="16322933"/>
                  </a:lnTo>
                  <a:lnTo>
                    <a:pt x="17337916" y="16313401"/>
                  </a:lnTo>
                  <a:lnTo>
                    <a:pt x="17323620" y="16303873"/>
                  </a:lnTo>
                  <a:lnTo>
                    <a:pt x="17323620" y="16289577"/>
                  </a:lnTo>
                  <a:lnTo>
                    <a:pt x="17328384" y="16280045"/>
                  </a:lnTo>
                  <a:lnTo>
                    <a:pt x="17328384" y="16270517"/>
                  </a:lnTo>
                  <a:lnTo>
                    <a:pt x="17318856" y="16260985"/>
                  </a:lnTo>
                  <a:lnTo>
                    <a:pt x="17309324" y="16256221"/>
                  </a:lnTo>
                  <a:lnTo>
                    <a:pt x="17304560" y="16256221"/>
                  </a:lnTo>
                  <a:lnTo>
                    <a:pt x="17304560" y="16246689"/>
                  </a:lnTo>
                  <a:lnTo>
                    <a:pt x="17309324" y="16241925"/>
                  </a:lnTo>
                  <a:lnTo>
                    <a:pt x="17314088" y="16237161"/>
                  </a:lnTo>
                  <a:lnTo>
                    <a:pt x="17328384" y="16232393"/>
                  </a:lnTo>
                  <a:lnTo>
                    <a:pt x="17352212" y="16222865"/>
                  </a:lnTo>
                  <a:lnTo>
                    <a:pt x="17366508" y="16222865"/>
                  </a:lnTo>
                  <a:lnTo>
                    <a:pt x="17376036" y="16218101"/>
                  </a:lnTo>
                  <a:lnTo>
                    <a:pt x="17385568" y="16222865"/>
                  </a:lnTo>
                  <a:lnTo>
                    <a:pt x="17395096" y="16213333"/>
                  </a:lnTo>
                  <a:lnTo>
                    <a:pt x="17404628" y="16213333"/>
                  </a:lnTo>
                  <a:lnTo>
                    <a:pt x="17409392" y="16199037"/>
                  </a:lnTo>
                  <a:lnTo>
                    <a:pt x="17409392" y="16179977"/>
                  </a:lnTo>
                  <a:lnTo>
                    <a:pt x="17414160" y="16175213"/>
                  </a:lnTo>
                  <a:lnTo>
                    <a:pt x="17414160" y="16170449"/>
                  </a:lnTo>
                  <a:lnTo>
                    <a:pt x="17423688" y="16160917"/>
                  </a:lnTo>
                  <a:lnTo>
                    <a:pt x="17428452" y="16137093"/>
                  </a:lnTo>
                  <a:lnTo>
                    <a:pt x="17433216" y="16118033"/>
                  </a:lnTo>
                  <a:lnTo>
                    <a:pt x="17433216" y="16108501"/>
                  </a:lnTo>
                  <a:lnTo>
                    <a:pt x="17437984" y="16098969"/>
                  </a:lnTo>
                  <a:lnTo>
                    <a:pt x="17433216" y="16089441"/>
                  </a:lnTo>
                  <a:lnTo>
                    <a:pt x="17428452" y="16084677"/>
                  </a:lnTo>
                  <a:lnTo>
                    <a:pt x="17423688" y="16079909"/>
                  </a:lnTo>
                  <a:lnTo>
                    <a:pt x="17423688" y="16070381"/>
                  </a:lnTo>
                  <a:lnTo>
                    <a:pt x="17423688" y="16051321"/>
                  </a:lnTo>
                  <a:lnTo>
                    <a:pt x="17423688" y="16037025"/>
                  </a:lnTo>
                  <a:lnTo>
                    <a:pt x="17428452" y="15975077"/>
                  </a:lnTo>
                  <a:lnTo>
                    <a:pt x="17433216" y="15960781"/>
                  </a:lnTo>
                  <a:lnTo>
                    <a:pt x="17414160" y="15870245"/>
                  </a:lnTo>
                  <a:lnTo>
                    <a:pt x="17409392" y="15846421"/>
                  </a:lnTo>
                  <a:lnTo>
                    <a:pt x="17404628" y="15832125"/>
                  </a:lnTo>
                  <a:lnTo>
                    <a:pt x="17395096" y="15808297"/>
                  </a:lnTo>
                  <a:lnTo>
                    <a:pt x="17390332" y="15798769"/>
                  </a:lnTo>
                  <a:lnTo>
                    <a:pt x="17390332" y="15789237"/>
                  </a:lnTo>
                  <a:lnTo>
                    <a:pt x="17399864" y="15779709"/>
                  </a:lnTo>
                  <a:lnTo>
                    <a:pt x="17409392" y="15774941"/>
                  </a:lnTo>
                  <a:lnTo>
                    <a:pt x="17433216" y="15774941"/>
                  </a:lnTo>
                  <a:lnTo>
                    <a:pt x="17437984" y="15770177"/>
                  </a:lnTo>
                  <a:lnTo>
                    <a:pt x="17466576" y="15760645"/>
                  </a:lnTo>
                  <a:lnTo>
                    <a:pt x="17471340" y="15751117"/>
                  </a:lnTo>
                  <a:lnTo>
                    <a:pt x="17485636" y="15736821"/>
                  </a:lnTo>
                  <a:lnTo>
                    <a:pt x="17490400" y="15727293"/>
                  </a:lnTo>
                  <a:lnTo>
                    <a:pt x="17495164" y="15708229"/>
                  </a:lnTo>
                  <a:lnTo>
                    <a:pt x="17509460" y="15703465"/>
                  </a:lnTo>
                  <a:lnTo>
                    <a:pt x="17518992" y="15689169"/>
                  </a:lnTo>
                  <a:lnTo>
                    <a:pt x="17528520" y="15684405"/>
                  </a:lnTo>
                  <a:lnTo>
                    <a:pt x="17538052" y="15693937"/>
                  </a:lnTo>
                  <a:lnTo>
                    <a:pt x="17547580" y="15703465"/>
                  </a:lnTo>
                  <a:lnTo>
                    <a:pt x="17557112" y="15703465"/>
                  </a:lnTo>
                  <a:lnTo>
                    <a:pt x="17552348" y="15708229"/>
                  </a:lnTo>
                  <a:lnTo>
                    <a:pt x="17552348" y="15727293"/>
                  </a:lnTo>
                  <a:lnTo>
                    <a:pt x="17552348" y="15741585"/>
                  </a:lnTo>
                  <a:lnTo>
                    <a:pt x="17566640" y="15760645"/>
                  </a:lnTo>
                  <a:lnTo>
                    <a:pt x="17566640" y="15789237"/>
                  </a:lnTo>
                  <a:lnTo>
                    <a:pt x="17561876" y="15813065"/>
                  </a:lnTo>
                  <a:lnTo>
                    <a:pt x="17576172" y="15827357"/>
                  </a:lnTo>
                  <a:lnTo>
                    <a:pt x="17590468" y="15836889"/>
                  </a:lnTo>
                  <a:lnTo>
                    <a:pt x="17590468" y="15841653"/>
                  </a:lnTo>
                  <a:lnTo>
                    <a:pt x="17595232" y="15851185"/>
                  </a:lnTo>
                  <a:lnTo>
                    <a:pt x="17609528" y="15860713"/>
                  </a:lnTo>
                  <a:lnTo>
                    <a:pt x="17623824" y="15841653"/>
                  </a:lnTo>
                  <a:lnTo>
                    <a:pt x="17647648" y="15817829"/>
                  </a:lnTo>
                  <a:lnTo>
                    <a:pt x="17666712" y="15770177"/>
                  </a:lnTo>
                  <a:lnTo>
                    <a:pt x="17676240" y="15746353"/>
                  </a:lnTo>
                  <a:lnTo>
                    <a:pt x="17676240" y="15741585"/>
                  </a:lnTo>
                  <a:lnTo>
                    <a:pt x="17681004" y="15741585"/>
                  </a:lnTo>
                  <a:lnTo>
                    <a:pt x="17690536" y="15746353"/>
                  </a:lnTo>
                  <a:lnTo>
                    <a:pt x="17695300" y="15751117"/>
                  </a:lnTo>
                  <a:lnTo>
                    <a:pt x="17709596" y="15741585"/>
                  </a:lnTo>
                  <a:lnTo>
                    <a:pt x="17723892" y="15727293"/>
                  </a:lnTo>
                  <a:lnTo>
                    <a:pt x="17723892" y="15708229"/>
                  </a:lnTo>
                  <a:lnTo>
                    <a:pt x="17723892" y="15684405"/>
                  </a:lnTo>
                  <a:lnTo>
                    <a:pt x="17738188" y="15646285"/>
                  </a:lnTo>
                  <a:lnTo>
                    <a:pt x="17747716" y="15636753"/>
                  </a:lnTo>
                  <a:lnTo>
                    <a:pt x="17757248" y="15631989"/>
                  </a:lnTo>
                  <a:lnTo>
                    <a:pt x="17762012" y="15627225"/>
                  </a:lnTo>
                  <a:lnTo>
                    <a:pt x="17776308" y="15622457"/>
                  </a:lnTo>
                  <a:lnTo>
                    <a:pt x="17781072" y="15612929"/>
                  </a:lnTo>
                  <a:lnTo>
                    <a:pt x="17776308" y="15598633"/>
                  </a:lnTo>
                  <a:lnTo>
                    <a:pt x="17781072" y="15589101"/>
                  </a:lnTo>
                  <a:lnTo>
                    <a:pt x="17785840" y="15574805"/>
                  </a:lnTo>
                  <a:lnTo>
                    <a:pt x="17785840" y="15560513"/>
                  </a:lnTo>
                  <a:lnTo>
                    <a:pt x="17795368" y="15555745"/>
                  </a:lnTo>
                  <a:lnTo>
                    <a:pt x="17804896" y="15550981"/>
                  </a:lnTo>
                  <a:lnTo>
                    <a:pt x="17809664" y="15541453"/>
                  </a:lnTo>
                  <a:lnTo>
                    <a:pt x="17814428" y="15531921"/>
                  </a:lnTo>
                  <a:lnTo>
                    <a:pt x="17819192" y="15517625"/>
                  </a:lnTo>
                  <a:lnTo>
                    <a:pt x="17814428" y="15503329"/>
                  </a:lnTo>
                  <a:lnTo>
                    <a:pt x="17823960" y="15489033"/>
                  </a:lnTo>
                  <a:lnTo>
                    <a:pt x="17838256" y="15484269"/>
                  </a:lnTo>
                  <a:lnTo>
                    <a:pt x="17843020" y="15474741"/>
                  </a:lnTo>
                  <a:lnTo>
                    <a:pt x="17843020" y="15465209"/>
                  </a:lnTo>
                  <a:lnTo>
                    <a:pt x="17843020" y="15455677"/>
                  </a:lnTo>
                  <a:lnTo>
                    <a:pt x="17847784" y="15450913"/>
                  </a:lnTo>
                  <a:lnTo>
                    <a:pt x="17847784" y="15436617"/>
                  </a:lnTo>
                  <a:lnTo>
                    <a:pt x="17843020" y="15422321"/>
                  </a:lnTo>
                  <a:lnTo>
                    <a:pt x="17857316" y="15393733"/>
                  </a:lnTo>
                  <a:lnTo>
                    <a:pt x="17866844" y="15369905"/>
                  </a:lnTo>
                  <a:lnTo>
                    <a:pt x="17871608" y="15336549"/>
                  </a:lnTo>
                  <a:lnTo>
                    <a:pt x="17871608" y="15331785"/>
                  </a:lnTo>
                  <a:lnTo>
                    <a:pt x="17876376" y="15317489"/>
                  </a:lnTo>
                  <a:lnTo>
                    <a:pt x="17876376" y="15312725"/>
                  </a:lnTo>
                  <a:lnTo>
                    <a:pt x="17885904" y="15288901"/>
                  </a:lnTo>
                  <a:lnTo>
                    <a:pt x="17895436" y="15274605"/>
                  </a:lnTo>
                  <a:lnTo>
                    <a:pt x="17895436" y="15260309"/>
                  </a:lnTo>
                  <a:lnTo>
                    <a:pt x="17890672" y="15246013"/>
                  </a:lnTo>
                  <a:lnTo>
                    <a:pt x="17890672" y="15236481"/>
                  </a:lnTo>
                  <a:lnTo>
                    <a:pt x="17900200" y="15226953"/>
                  </a:lnTo>
                  <a:lnTo>
                    <a:pt x="17904968" y="15217421"/>
                  </a:lnTo>
                  <a:lnTo>
                    <a:pt x="17909732" y="15212657"/>
                  </a:lnTo>
                  <a:lnTo>
                    <a:pt x="17919260" y="15207893"/>
                  </a:lnTo>
                  <a:lnTo>
                    <a:pt x="17924028" y="15203129"/>
                  </a:lnTo>
                  <a:lnTo>
                    <a:pt x="17938320" y="15203129"/>
                  </a:lnTo>
                  <a:lnTo>
                    <a:pt x="17957384" y="15184065"/>
                  </a:lnTo>
                  <a:lnTo>
                    <a:pt x="17971680" y="15160241"/>
                  </a:lnTo>
                  <a:lnTo>
                    <a:pt x="17976444" y="15145945"/>
                  </a:lnTo>
                  <a:lnTo>
                    <a:pt x="17981208" y="15141181"/>
                  </a:lnTo>
                  <a:lnTo>
                    <a:pt x="17971680" y="15122121"/>
                  </a:lnTo>
                  <a:lnTo>
                    <a:pt x="17966912" y="15103061"/>
                  </a:lnTo>
                  <a:lnTo>
                    <a:pt x="17957384" y="15079233"/>
                  </a:lnTo>
                  <a:lnTo>
                    <a:pt x="17952616" y="15069705"/>
                  </a:lnTo>
                  <a:lnTo>
                    <a:pt x="17957384" y="15055409"/>
                  </a:lnTo>
                  <a:lnTo>
                    <a:pt x="17966912" y="15045877"/>
                  </a:lnTo>
                  <a:lnTo>
                    <a:pt x="17966912" y="15041113"/>
                  </a:lnTo>
                  <a:lnTo>
                    <a:pt x="17971680" y="15026817"/>
                  </a:lnTo>
                  <a:lnTo>
                    <a:pt x="17966912" y="15017289"/>
                  </a:lnTo>
                  <a:lnTo>
                    <a:pt x="17952616" y="14998225"/>
                  </a:lnTo>
                  <a:lnTo>
                    <a:pt x="17933556" y="14993461"/>
                  </a:lnTo>
                  <a:lnTo>
                    <a:pt x="17914496" y="14988697"/>
                  </a:lnTo>
                  <a:lnTo>
                    <a:pt x="17909732" y="14988697"/>
                  </a:lnTo>
                  <a:lnTo>
                    <a:pt x="17895436" y="14988697"/>
                  </a:lnTo>
                  <a:lnTo>
                    <a:pt x="17838256" y="15012521"/>
                  </a:lnTo>
                  <a:lnTo>
                    <a:pt x="17814428" y="15026817"/>
                  </a:lnTo>
                  <a:lnTo>
                    <a:pt x="17795368" y="15045877"/>
                  </a:lnTo>
                  <a:lnTo>
                    <a:pt x="17781072" y="15050641"/>
                  </a:lnTo>
                  <a:lnTo>
                    <a:pt x="17752480" y="15050641"/>
                  </a:lnTo>
                  <a:lnTo>
                    <a:pt x="17728656" y="15050641"/>
                  </a:lnTo>
                  <a:lnTo>
                    <a:pt x="17709596" y="15060173"/>
                  </a:lnTo>
                  <a:lnTo>
                    <a:pt x="17690536" y="15079233"/>
                  </a:lnTo>
                  <a:lnTo>
                    <a:pt x="17671476" y="15088765"/>
                  </a:lnTo>
                  <a:lnTo>
                    <a:pt x="17661944" y="15088765"/>
                  </a:lnTo>
                  <a:lnTo>
                    <a:pt x="17652416" y="15098293"/>
                  </a:lnTo>
                  <a:lnTo>
                    <a:pt x="17638120" y="15126885"/>
                  </a:lnTo>
                  <a:lnTo>
                    <a:pt x="17623824" y="15141181"/>
                  </a:lnTo>
                  <a:lnTo>
                    <a:pt x="17609528" y="15136417"/>
                  </a:lnTo>
                  <a:lnTo>
                    <a:pt x="17576172" y="15141181"/>
                  </a:lnTo>
                  <a:lnTo>
                    <a:pt x="17518992" y="15150709"/>
                  </a:lnTo>
                  <a:lnTo>
                    <a:pt x="17480872" y="15150709"/>
                  </a:lnTo>
                  <a:lnTo>
                    <a:pt x="17466576" y="15141181"/>
                  </a:lnTo>
                  <a:lnTo>
                    <a:pt x="17447512" y="15136417"/>
                  </a:lnTo>
                  <a:lnTo>
                    <a:pt x="17414160" y="15145945"/>
                  </a:lnTo>
                  <a:lnTo>
                    <a:pt x="17395096" y="15145945"/>
                  </a:lnTo>
                  <a:lnTo>
                    <a:pt x="17390332" y="15141181"/>
                  </a:lnTo>
                  <a:lnTo>
                    <a:pt x="17385568" y="15131649"/>
                  </a:lnTo>
                  <a:lnTo>
                    <a:pt x="17380800" y="15112589"/>
                  </a:lnTo>
                  <a:lnTo>
                    <a:pt x="17371272" y="15088765"/>
                  </a:lnTo>
                  <a:lnTo>
                    <a:pt x="17352212" y="15069705"/>
                  </a:lnTo>
                  <a:lnTo>
                    <a:pt x="17352212" y="15045877"/>
                  </a:lnTo>
                  <a:lnTo>
                    <a:pt x="17361740" y="15017289"/>
                  </a:lnTo>
                  <a:lnTo>
                    <a:pt x="17366508" y="14993461"/>
                  </a:lnTo>
                  <a:lnTo>
                    <a:pt x="17356976" y="14983933"/>
                  </a:lnTo>
                  <a:lnTo>
                    <a:pt x="17356976" y="14974401"/>
                  </a:lnTo>
                  <a:lnTo>
                    <a:pt x="17342680" y="14960105"/>
                  </a:lnTo>
                  <a:lnTo>
                    <a:pt x="17333152" y="14941045"/>
                  </a:lnTo>
                  <a:lnTo>
                    <a:pt x="17323620" y="14931513"/>
                  </a:lnTo>
                  <a:lnTo>
                    <a:pt x="17328384" y="14912453"/>
                  </a:lnTo>
                  <a:lnTo>
                    <a:pt x="17337916" y="14893393"/>
                  </a:lnTo>
                  <a:lnTo>
                    <a:pt x="17323620" y="14869569"/>
                  </a:lnTo>
                  <a:lnTo>
                    <a:pt x="17295032" y="14869569"/>
                  </a:lnTo>
                  <a:lnTo>
                    <a:pt x="17271204" y="14864805"/>
                  </a:lnTo>
                  <a:lnTo>
                    <a:pt x="17242612" y="14845741"/>
                  </a:lnTo>
                  <a:lnTo>
                    <a:pt x="17204492" y="14793325"/>
                  </a:lnTo>
                  <a:lnTo>
                    <a:pt x="17185432" y="14774265"/>
                  </a:lnTo>
                  <a:lnTo>
                    <a:pt x="17175904" y="14769501"/>
                  </a:lnTo>
                  <a:lnTo>
                    <a:pt x="17166372" y="14759969"/>
                  </a:lnTo>
                  <a:lnTo>
                    <a:pt x="17161608" y="14745673"/>
                  </a:lnTo>
                  <a:lnTo>
                    <a:pt x="17142544" y="14745673"/>
                  </a:lnTo>
                  <a:lnTo>
                    <a:pt x="17137780" y="14750441"/>
                  </a:lnTo>
                  <a:lnTo>
                    <a:pt x="17133016" y="14755205"/>
                  </a:lnTo>
                  <a:lnTo>
                    <a:pt x="17123484" y="14750441"/>
                  </a:lnTo>
                  <a:lnTo>
                    <a:pt x="17109192" y="14745673"/>
                  </a:lnTo>
                  <a:lnTo>
                    <a:pt x="17099660" y="14750441"/>
                  </a:lnTo>
                  <a:lnTo>
                    <a:pt x="17094896" y="14750441"/>
                  </a:lnTo>
                  <a:lnTo>
                    <a:pt x="17085364" y="14736145"/>
                  </a:lnTo>
                  <a:lnTo>
                    <a:pt x="17071068" y="14731381"/>
                  </a:lnTo>
                  <a:lnTo>
                    <a:pt x="17056772" y="14726613"/>
                  </a:lnTo>
                  <a:lnTo>
                    <a:pt x="17047244" y="14721849"/>
                  </a:lnTo>
                  <a:lnTo>
                    <a:pt x="17052008" y="14707553"/>
                  </a:lnTo>
                  <a:lnTo>
                    <a:pt x="17047244" y="14702789"/>
                  </a:lnTo>
                  <a:lnTo>
                    <a:pt x="17037712" y="14693257"/>
                  </a:lnTo>
                  <a:lnTo>
                    <a:pt x="17009120" y="14698025"/>
                  </a:lnTo>
                  <a:lnTo>
                    <a:pt x="16961472" y="14707553"/>
                  </a:lnTo>
                  <a:lnTo>
                    <a:pt x="16928116" y="14702789"/>
                  </a:lnTo>
                  <a:lnTo>
                    <a:pt x="16899524" y="14688493"/>
                  </a:lnTo>
                  <a:lnTo>
                    <a:pt x="16880464" y="14678965"/>
                  </a:lnTo>
                  <a:lnTo>
                    <a:pt x="16875696" y="14669433"/>
                  </a:lnTo>
                  <a:lnTo>
                    <a:pt x="16870932" y="14655137"/>
                  </a:lnTo>
                  <a:lnTo>
                    <a:pt x="16856640" y="14645609"/>
                  </a:lnTo>
                  <a:lnTo>
                    <a:pt x="16847108" y="14631313"/>
                  </a:lnTo>
                  <a:lnTo>
                    <a:pt x="16847108" y="14602721"/>
                  </a:lnTo>
                  <a:lnTo>
                    <a:pt x="16851872" y="14578897"/>
                  </a:lnTo>
                  <a:lnTo>
                    <a:pt x="16861404" y="14545541"/>
                  </a:lnTo>
                  <a:lnTo>
                    <a:pt x="16832812" y="14526481"/>
                  </a:lnTo>
                  <a:lnTo>
                    <a:pt x="16823280" y="14512185"/>
                  </a:lnTo>
                  <a:lnTo>
                    <a:pt x="16823280" y="14502653"/>
                  </a:lnTo>
                  <a:lnTo>
                    <a:pt x="16823280" y="14493125"/>
                  </a:lnTo>
                  <a:lnTo>
                    <a:pt x="16818516" y="14488357"/>
                  </a:lnTo>
                  <a:lnTo>
                    <a:pt x="16818516" y="14478829"/>
                  </a:lnTo>
                  <a:lnTo>
                    <a:pt x="16823280" y="14464533"/>
                  </a:lnTo>
                  <a:lnTo>
                    <a:pt x="16823280" y="14445473"/>
                  </a:lnTo>
                  <a:lnTo>
                    <a:pt x="16818516" y="14426413"/>
                  </a:lnTo>
                  <a:lnTo>
                    <a:pt x="16799456" y="14393057"/>
                  </a:lnTo>
                  <a:lnTo>
                    <a:pt x="16775632" y="14354933"/>
                  </a:lnTo>
                  <a:lnTo>
                    <a:pt x="16756568" y="14326345"/>
                  </a:lnTo>
                  <a:lnTo>
                    <a:pt x="16756568" y="14312049"/>
                  </a:lnTo>
                  <a:lnTo>
                    <a:pt x="16751804" y="14297753"/>
                  </a:lnTo>
                  <a:lnTo>
                    <a:pt x="16747040" y="14288221"/>
                  </a:lnTo>
                  <a:lnTo>
                    <a:pt x="16747040" y="14273929"/>
                  </a:lnTo>
                  <a:lnTo>
                    <a:pt x="16747040" y="14259633"/>
                  </a:lnTo>
                  <a:lnTo>
                    <a:pt x="16742276" y="14240573"/>
                  </a:lnTo>
                  <a:lnTo>
                    <a:pt x="16742276" y="14226277"/>
                  </a:lnTo>
                  <a:lnTo>
                    <a:pt x="16737512" y="14216745"/>
                  </a:lnTo>
                  <a:lnTo>
                    <a:pt x="16723216" y="14211981"/>
                  </a:lnTo>
                  <a:lnTo>
                    <a:pt x="16723216" y="14202449"/>
                  </a:lnTo>
                  <a:lnTo>
                    <a:pt x="16723216" y="14178625"/>
                  </a:lnTo>
                  <a:lnTo>
                    <a:pt x="16718448" y="14159565"/>
                  </a:lnTo>
                  <a:lnTo>
                    <a:pt x="16694624" y="14121445"/>
                  </a:lnTo>
                  <a:lnTo>
                    <a:pt x="16689860" y="14092853"/>
                  </a:lnTo>
                  <a:lnTo>
                    <a:pt x="16685092" y="14069025"/>
                  </a:lnTo>
                  <a:lnTo>
                    <a:pt x="16675564" y="14059497"/>
                  </a:lnTo>
                  <a:lnTo>
                    <a:pt x="16675564" y="14045201"/>
                  </a:lnTo>
                  <a:lnTo>
                    <a:pt x="16675564" y="14030905"/>
                  </a:lnTo>
                  <a:lnTo>
                    <a:pt x="16670800" y="14026141"/>
                  </a:lnTo>
                  <a:lnTo>
                    <a:pt x="16666032" y="14016609"/>
                  </a:lnTo>
                  <a:lnTo>
                    <a:pt x="16666032" y="14011845"/>
                  </a:lnTo>
                  <a:lnTo>
                    <a:pt x="16661268" y="14002317"/>
                  </a:lnTo>
                  <a:lnTo>
                    <a:pt x="16651736" y="13988021"/>
                  </a:lnTo>
                  <a:lnTo>
                    <a:pt x="16646972" y="13978489"/>
                  </a:lnTo>
                  <a:lnTo>
                    <a:pt x="16642208" y="13968961"/>
                  </a:lnTo>
                  <a:lnTo>
                    <a:pt x="16637440" y="13964193"/>
                  </a:lnTo>
                  <a:lnTo>
                    <a:pt x="16623148" y="13954665"/>
                  </a:lnTo>
                  <a:lnTo>
                    <a:pt x="16618384" y="13945133"/>
                  </a:lnTo>
                  <a:lnTo>
                    <a:pt x="16618384" y="13935605"/>
                  </a:lnTo>
                  <a:lnTo>
                    <a:pt x="16623148" y="13930837"/>
                  </a:lnTo>
                  <a:lnTo>
                    <a:pt x="16623148" y="13926073"/>
                  </a:lnTo>
                  <a:lnTo>
                    <a:pt x="16623148" y="13911777"/>
                  </a:lnTo>
                  <a:lnTo>
                    <a:pt x="16613616" y="13907013"/>
                  </a:lnTo>
                  <a:lnTo>
                    <a:pt x="16604088" y="13897481"/>
                  </a:lnTo>
                  <a:lnTo>
                    <a:pt x="16594556" y="13878421"/>
                  </a:lnTo>
                  <a:lnTo>
                    <a:pt x="16580260" y="13873657"/>
                  </a:lnTo>
                  <a:lnTo>
                    <a:pt x="16570728" y="13873657"/>
                  </a:lnTo>
                  <a:lnTo>
                    <a:pt x="16565964" y="13864125"/>
                  </a:lnTo>
                  <a:lnTo>
                    <a:pt x="16565964" y="13854597"/>
                  </a:lnTo>
                  <a:lnTo>
                    <a:pt x="16565964" y="13845065"/>
                  </a:lnTo>
                  <a:lnTo>
                    <a:pt x="16561200" y="13835537"/>
                  </a:lnTo>
                  <a:lnTo>
                    <a:pt x="16551672" y="13830769"/>
                  </a:lnTo>
                  <a:lnTo>
                    <a:pt x="16542140" y="13830769"/>
                  </a:lnTo>
                  <a:lnTo>
                    <a:pt x="16523080" y="13826005"/>
                  </a:lnTo>
                  <a:lnTo>
                    <a:pt x="16494488" y="13802181"/>
                  </a:lnTo>
                  <a:lnTo>
                    <a:pt x="16470664" y="13792649"/>
                  </a:lnTo>
                  <a:lnTo>
                    <a:pt x="16451600" y="13792649"/>
                  </a:lnTo>
                  <a:lnTo>
                    <a:pt x="16442072" y="13802181"/>
                  </a:lnTo>
                  <a:lnTo>
                    <a:pt x="16437308" y="13811709"/>
                  </a:lnTo>
                  <a:lnTo>
                    <a:pt x="16427776" y="13811709"/>
                  </a:lnTo>
                  <a:lnTo>
                    <a:pt x="16403952" y="13792649"/>
                  </a:lnTo>
                  <a:lnTo>
                    <a:pt x="16375360" y="13787885"/>
                  </a:lnTo>
                  <a:lnTo>
                    <a:pt x="16361064" y="13773589"/>
                  </a:lnTo>
                  <a:lnTo>
                    <a:pt x="16346768" y="13754529"/>
                  </a:lnTo>
                  <a:lnTo>
                    <a:pt x="16337240" y="13749765"/>
                  </a:lnTo>
                  <a:lnTo>
                    <a:pt x="16327708" y="13749765"/>
                  </a:lnTo>
                  <a:lnTo>
                    <a:pt x="16299120" y="13740233"/>
                  </a:lnTo>
                  <a:lnTo>
                    <a:pt x="16260996" y="13711641"/>
                  </a:lnTo>
                  <a:lnTo>
                    <a:pt x="16241936" y="13702113"/>
                  </a:lnTo>
                  <a:lnTo>
                    <a:pt x="16232408" y="13706877"/>
                  </a:lnTo>
                  <a:lnTo>
                    <a:pt x="16227640" y="13706877"/>
                  </a:lnTo>
                  <a:lnTo>
                    <a:pt x="16222876" y="13706877"/>
                  </a:lnTo>
                  <a:lnTo>
                    <a:pt x="16213344" y="13706877"/>
                  </a:lnTo>
                  <a:lnTo>
                    <a:pt x="16194284" y="13702113"/>
                  </a:lnTo>
                  <a:lnTo>
                    <a:pt x="16170460" y="13702113"/>
                  </a:lnTo>
                  <a:lnTo>
                    <a:pt x="16137104" y="13716409"/>
                  </a:lnTo>
                  <a:lnTo>
                    <a:pt x="16103748" y="13721173"/>
                  </a:lnTo>
                  <a:lnTo>
                    <a:pt x="16070392" y="13725937"/>
                  </a:lnTo>
                  <a:lnTo>
                    <a:pt x="16046568" y="13725937"/>
                  </a:lnTo>
                  <a:lnTo>
                    <a:pt x="16041800" y="13716409"/>
                  </a:lnTo>
                  <a:lnTo>
                    <a:pt x="16003680" y="13725937"/>
                  </a:lnTo>
                  <a:lnTo>
                    <a:pt x="15951264" y="13744997"/>
                  </a:lnTo>
                  <a:lnTo>
                    <a:pt x="15894080" y="13764057"/>
                  </a:lnTo>
                  <a:lnTo>
                    <a:pt x="15832136" y="13773589"/>
                  </a:lnTo>
                  <a:lnTo>
                    <a:pt x="15789248" y="13802181"/>
                  </a:lnTo>
                  <a:lnTo>
                    <a:pt x="15741600" y="13854597"/>
                  </a:lnTo>
                  <a:lnTo>
                    <a:pt x="15713008" y="13887953"/>
                  </a:lnTo>
                  <a:lnTo>
                    <a:pt x="15693948" y="13902249"/>
                  </a:lnTo>
                  <a:lnTo>
                    <a:pt x="15684416" y="13916541"/>
                  </a:lnTo>
                  <a:lnTo>
                    <a:pt x="15689184" y="13940369"/>
                  </a:lnTo>
                  <a:lnTo>
                    <a:pt x="15703476" y="13949897"/>
                  </a:lnTo>
                  <a:lnTo>
                    <a:pt x="15732068" y="13940369"/>
                  </a:lnTo>
                  <a:lnTo>
                    <a:pt x="15760660" y="13945133"/>
                  </a:lnTo>
                  <a:lnTo>
                    <a:pt x="15779720" y="13959429"/>
                  </a:lnTo>
                  <a:lnTo>
                    <a:pt x="15784484" y="13973725"/>
                  </a:lnTo>
                  <a:lnTo>
                    <a:pt x="15779720" y="14002317"/>
                  </a:lnTo>
                  <a:lnTo>
                    <a:pt x="15779720" y="14026141"/>
                  </a:lnTo>
                  <a:lnTo>
                    <a:pt x="15794016" y="14049965"/>
                  </a:lnTo>
                  <a:lnTo>
                    <a:pt x="15794016" y="14078557"/>
                  </a:lnTo>
                  <a:lnTo>
                    <a:pt x="15784484" y="14107149"/>
                  </a:lnTo>
                  <a:lnTo>
                    <a:pt x="15755896" y="14140505"/>
                  </a:lnTo>
                  <a:lnTo>
                    <a:pt x="15713008" y="14173861"/>
                  </a:lnTo>
                  <a:lnTo>
                    <a:pt x="15689184" y="14202449"/>
                  </a:lnTo>
                  <a:lnTo>
                    <a:pt x="15670120" y="14245337"/>
                  </a:lnTo>
                  <a:lnTo>
                    <a:pt x="15646296" y="14288221"/>
                  </a:lnTo>
                  <a:lnTo>
                    <a:pt x="15636764" y="14307285"/>
                  </a:lnTo>
                  <a:lnTo>
                    <a:pt x="15636764" y="14326345"/>
                  </a:lnTo>
                  <a:lnTo>
                    <a:pt x="15627236" y="14345405"/>
                  </a:lnTo>
                  <a:lnTo>
                    <a:pt x="15612940" y="14364465"/>
                  </a:lnTo>
                  <a:lnTo>
                    <a:pt x="15598644" y="14388289"/>
                  </a:lnTo>
                  <a:lnTo>
                    <a:pt x="15598644" y="14407349"/>
                  </a:lnTo>
                  <a:lnTo>
                    <a:pt x="15589112" y="14426413"/>
                  </a:lnTo>
                  <a:lnTo>
                    <a:pt x="15574820" y="14445473"/>
                  </a:lnTo>
                  <a:lnTo>
                    <a:pt x="15565288" y="14459769"/>
                  </a:lnTo>
                  <a:lnTo>
                    <a:pt x="15560524" y="14478829"/>
                  </a:lnTo>
                  <a:lnTo>
                    <a:pt x="15555760" y="14493125"/>
                  </a:lnTo>
                  <a:lnTo>
                    <a:pt x="15546228" y="14497889"/>
                  </a:lnTo>
                  <a:lnTo>
                    <a:pt x="15550992" y="14507417"/>
                  </a:lnTo>
                  <a:lnTo>
                    <a:pt x="15570056" y="14512185"/>
                  </a:lnTo>
                  <a:lnTo>
                    <a:pt x="15574820" y="14531245"/>
                  </a:lnTo>
                  <a:lnTo>
                    <a:pt x="15570056" y="14559833"/>
                  </a:lnTo>
                  <a:lnTo>
                    <a:pt x="15560524" y="14583661"/>
                  </a:lnTo>
                  <a:lnTo>
                    <a:pt x="15541464" y="14593189"/>
                  </a:lnTo>
                  <a:lnTo>
                    <a:pt x="15517636" y="14602721"/>
                  </a:lnTo>
                  <a:lnTo>
                    <a:pt x="15484280" y="14607485"/>
                  </a:lnTo>
                  <a:lnTo>
                    <a:pt x="15436632" y="14636077"/>
                  </a:lnTo>
                  <a:lnTo>
                    <a:pt x="15393744" y="14674197"/>
                  </a:lnTo>
                  <a:lnTo>
                    <a:pt x="15346092" y="14717085"/>
                  </a:lnTo>
                  <a:lnTo>
                    <a:pt x="15336560" y="14717085"/>
                  </a:lnTo>
                  <a:lnTo>
                    <a:pt x="15317504" y="14712317"/>
                  </a:lnTo>
                  <a:lnTo>
                    <a:pt x="15284144" y="14693257"/>
                  </a:lnTo>
                  <a:lnTo>
                    <a:pt x="15246024" y="14688493"/>
                  </a:lnTo>
                  <a:lnTo>
                    <a:pt x="15212668" y="14674197"/>
                  </a:lnTo>
                  <a:lnTo>
                    <a:pt x="15188844" y="14664669"/>
                  </a:lnTo>
                  <a:lnTo>
                    <a:pt x="15160252" y="14640841"/>
                  </a:lnTo>
                  <a:lnTo>
                    <a:pt x="15150720" y="14626545"/>
                  </a:lnTo>
                  <a:lnTo>
                    <a:pt x="15136428" y="14617017"/>
                  </a:lnTo>
                  <a:lnTo>
                    <a:pt x="15107836" y="14602721"/>
                  </a:lnTo>
                  <a:lnTo>
                    <a:pt x="15084012" y="14597957"/>
                  </a:lnTo>
                  <a:lnTo>
                    <a:pt x="15074480" y="14597957"/>
                  </a:lnTo>
                  <a:lnTo>
                    <a:pt x="15041124" y="14612253"/>
                  </a:lnTo>
                  <a:lnTo>
                    <a:pt x="15022064" y="14621781"/>
                  </a:lnTo>
                  <a:lnTo>
                    <a:pt x="15007768" y="14626545"/>
                  </a:lnTo>
                  <a:lnTo>
                    <a:pt x="14988708" y="14626545"/>
                  </a:lnTo>
                  <a:lnTo>
                    <a:pt x="14964880" y="14621781"/>
                  </a:lnTo>
                  <a:lnTo>
                    <a:pt x="14955352" y="14621781"/>
                  </a:lnTo>
                  <a:lnTo>
                    <a:pt x="14941056" y="14612253"/>
                  </a:lnTo>
                  <a:lnTo>
                    <a:pt x="14912464" y="14583661"/>
                  </a:lnTo>
                  <a:lnTo>
                    <a:pt x="14898172" y="14564601"/>
                  </a:lnTo>
                  <a:lnTo>
                    <a:pt x="14879112" y="14555069"/>
                  </a:lnTo>
                  <a:lnTo>
                    <a:pt x="14855284" y="14540773"/>
                  </a:lnTo>
                  <a:lnTo>
                    <a:pt x="14845752" y="14540773"/>
                  </a:lnTo>
                  <a:lnTo>
                    <a:pt x="14826696" y="14540773"/>
                  </a:lnTo>
                  <a:lnTo>
                    <a:pt x="14798104" y="14536009"/>
                  </a:lnTo>
                  <a:lnTo>
                    <a:pt x="14783808" y="14531245"/>
                  </a:lnTo>
                  <a:lnTo>
                    <a:pt x="14774276" y="14536009"/>
                  </a:lnTo>
                  <a:lnTo>
                    <a:pt x="14750452" y="14550305"/>
                  </a:lnTo>
                  <a:lnTo>
                    <a:pt x="14721860" y="14574129"/>
                  </a:lnTo>
                  <a:lnTo>
                    <a:pt x="14698036" y="14583661"/>
                  </a:lnTo>
                  <a:lnTo>
                    <a:pt x="14674208" y="14597957"/>
                  </a:lnTo>
                  <a:lnTo>
                    <a:pt x="14636088" y="14631313"/>
                  </a:lnTo>
                  <a:lnTo>
                    <a:pt x="14607496" y="14645609"/>
                  </a:lnTo>
                  <a:lnTo>
                    <a:pt x="14597968" y="14674197"/>
                  </a:lnTo>
                  <a:lnTo>
                    <a:pt x="14593200" y="14693257"/>
                  </a:lnTo>
                  <a:lnTo>
                    <a:pt x="14569376" y="14702789"/>
                  </a:lnTo>
                  <a:lnTo>
                    <a:pt x="14555080" y="14712317"/>
                  </a:lnTo>
                  <a:lnTo>
                    <a:pt x="14536020" y="14717085"/>
                  </a:lnTo>
                  <a:lnTo>
                    <a:pt x="14502664" y="14712317"/>
                  </a:lnTo>
                  <a:lnTo>
                    <a:pt x="14488368" y="14717085"/>
                  </a:lnTo>
                  <a:lnTo>
                    <a:pt x="14440720" y="14736145"/>
                  </a:lnTo>
                  <a:lnTo>
                    <a:pt x="14416892" y="14740909"/>
                  </a:lnTo>
                  <a:lnTo>
                    <a:pt x="14402596" y="14740909"/>
                  </a:lnTo>
                  <a:lnTo>
                    <a:pt x="14388304" y="14745673"/>
                  </a:lnTo>
                  <a:lnTo>
                    <a:pt x="14359712" y="14750441"/>
                  </a:lnTo>
                  <a:lnTo>
                    <a:pt x="14350180" y="14750441"/>
                  </a:lnTo>
                  <a:lnTo>
                    <a:pt x="14340652" y="14755205"/>
                  </a:lnTo>
                  <a:lnTo>
                    <a:pt x="14326356" y="14755205"/>
                  </a:lnTo>
                  <a:lnTo>
                    <a:pt x="14302528" y="14764737"/>
                  </a:lnTo>
                  <a:lnTo>
                    <a:pt x="14245348" y="14798093"/>
                  </a:lnTo>
                  <a:lnTo>
                    <a:pt x="14226288" y="14802857"/>
                  </a:lnTo>
                  <a:lnTo>
                    <a:pt x="14211992" y="14807621"/>
                  </a:lnTo>
                  <a:lnTo>
                    <a:pt x="14197696" y="14793325"/>
                  </a:lnTo>
                  <a:lnTo>
                    <a:pt x="14183400" y="14788561"/>
                  </a:lnTo>
                  <a:lnTo>
                    <a:pt x="14164340" y="14788561"/>
                  </a:lnTo>
                  <a:lnTo>
                    <a:pt x="14145280" y="14798093"/>
                  </a:lnTo>
                  <a:lnTo>
                    <a:pt x="14111924" y="14788561"/>
                  </a:lnTo>
                  <a:lnTo>
                    <a:pt x="14073804" y="14783797"/>
                  </a:lnTo>
                  <a:lnTo>
                    <a:pt x="14040448" y="14774265"/>
                  </a:lnTo>
                  <a:lnTo>
                    <a:pt x="14030916" y="14769501"/>
                  </a:lnTo>
                  <a:lnTo>
                    <a:pt x="13997560" y="14759969"/>
                  </a:lnTo>
                  <a:lnTo>
                    <a:pt x="13916552" y="14759969"/>
                  </a:lnTo>
                  <a:lnTo>
                    <a:pt x="13897496" y="14759969"/>
                  </a:lnTo>
                  <a:lnTo>
                    <a:pt x="13883200" y="14755205"/>
                  </a:lnTo>
                  <a:lnTo>
                    <a:pt x="13864136" y="14745673"/>
                  </a:lnTo>
                  <a:lnTo>
                    <a:pt x="13835548" y="14712317"/>
                  </a:lnTo>
                  <a:lnTo>
                    <a:pt x="13816488" y="14702789"/>
                  </a:lnTo>
                  <a:lnTo>
                    <a:pt x="13806956" y="14698025"/>
                  </a:lnTo>
                  <a:lnTo>
                    <a:pt x="13802192" y="14683729"/>
                  </a:lnTo>
                  <a:lnTo>
                    <a:pt x="13797424" y="14683729"/>
                  </a:lnTo>
                  <a:lnTo>
                    <a:pt x="13792660" y="14674197"/>
                  </a:lnTo>
                  <a:lnTo>
                    <a:pt x="13792660" y="14659901"/>
                  </a:lnTo>
                  <a:lnTo>
                    <a:pt x="13792660" y="14636077"/>
                  </a:lnTo>
                  <a:lnTo>
                    <a:pt x="13792660" y="14617017"/>
                  </a:lnTo>
                  <a:lnTo>
                    <a:pt x="13787896" y="14612253"/>
                  </a:lnTo>
                  <a:lnTo>
                    <a:pt x="13768836" y="14607485"/>
                  </a:lnTo>
                  <a:lnTo>
                    <a:pt x="13745008" y="14602721"/>
                  </a:lnTo>
                  <a:lnTo>
                    <a:pt x="13702124" y="14602721"/>
                  </a:lnTo>
                  <a:lnTo>
                    <a:pt x="13683064" y="14602721"/>
                  </a:lnTo>
                  <a:lnTo>
                    <a:pt x="13668768" y="14588425"/>
                  </a:lnTo>
                  <a:lnTo>
                    <a:pt x="13654472" y="14578897"/>
                  </a:lnTo>
                  <a:lnTo>
                    <a:pt x="13635412" y="14550305"/>
                  </a:lnTo>
                  <a:lnTo>
                    <a:pt x="13625880" y="14536009"/>
                  </a:lnTo>
                  <a:lnTo>
                    <a:pt x="13602056" y="14521713"/>
                  </a:lnTo>
                  <a:lnTo>
                    <a:pt x="13578232" y="14516949"/>
                  </a:lnTo>
                  <a:lnTo>
                    <a:pt x="13549640" y="14521713"/>
                  </a:lnTo>
                  <a:lnTo>
                    <a:pt x="13525816" y="14521713"/>
                  </a:lnTo>
                  <a:lnTo>
                    <a:pt x="13501988" y="14516949"/>
                  </a:lnTo>
                  <a:lnTo>
                    <a:pt x="13487692" y="14507417"/>
                  </a:lnTo>
                  <a:lnTo>
                    <a:pt x="13468632" y="14497889"/>
                  </a:lnTo>
                  <a:lnTo>
                    <a:pt x="13444808" y="14497889"/>
                  </a:lnTo>
                  <a:lnTo>
                    <a:pt x="13420980" y="14493125"/>
                  </a:lnTo>
                  <a:lnTo>
                    <a:pt x="13392392" y="14483593"/>
                  </a:lnTo>
                  <a:lnTo>
                    <a:pt x="13378096" y="14483593"/>
                  </a:lnTo>
                  <a:lnTo>
                    <a:pt x="13363800" y="14493125"/>
                  </a:lnTo>
                  <a:lnTo>
                    <a:pt x="13349504" y="14502653"/>
                  </a:lnTo>
                  <a:lnTo>
                    <a:pt x="13330444" y="14507417"/>
                  </a:lnTo>
                  <a:lnTo>
                    <a:pt x="13287560" y="14516949"/>
                  </a:lnTo>
                  <a:lnTo>
                    <a:pt x="13273264" y="14521713"/>
                  </a:lnTo>
                  <a:lnTo>
                    <a:pt x="13249436" y="14521713"/>
                  </a:lnTo>
                  <a:lnTo>
                    <a:pt x="13235140" y="14531245"/>
                  </a:lnTo>
                  <a:lnTo>
                    <a:pt x="13220848" y="14545541"/>
                  </a:lnTo>
                  <a:lnTo>
                    <a:pt x="13206552" y="14555069"/>
                  </a:lnTo>
                  <a:lnTo>
                    <a:pt x="13192256" y="14559833"/>
                  </a:lnTo>
                  <a:lnTo>
                    <a:pt x="13173192" y="14559833"/>
                  </a:lnTo>
                  <a:lnTo>
                    <a:pt x="13154136" y="14555069"/>
                  </a:lnTo>
                  <a:lnTo>
                    <a:pt x="13149368" y="14555069"/>
                  </a:lnTo>
                  <a:lnTo>
                    <a:pt x="13135072" y="14559833"/>
                  </a:lnTo>
                  <a:lnTo>
                    <a:pt x="13120776" y="14564601"/>
                  </a:lnTo>
                  <a:lnTo>
                    <a:pt x="13096952" y="14559833"/>
                  </a:lnTo>
                  <a:lnTo>
                    <a:pt x="13087424" y="14555069"/>
                  </a:lnTo>
                  <a:lnTo>
                    <a:pt x="13068360" y="14550305"/>
                  </a:lnTo>
                  <a:lnTo>
                    <a:pt x="13058832" y="14536009"/>
                  </a:lnTo>
                  <a:lnTo>
                    <a:pt x="13049300" y="14526481"/>
                  </a:lnTo>
                  <a:lnTo>
                    <a:pt x="13030240" y="14526481"/>
                  </a:lnTo>
                  <a:lnTo>
                    <a:pt x="13001648" y="14516949"/>
                  </a:lnTo>
                  <a:lnTo>
                    <a:pt x="12987352" y="14507417"/>
                  </a:lnTo>
                  <a:lnTo>
                    <a:pt x="12973060" y="14502653"/>
                  </a:lnTo>
                  <a:lnTo>
                    <a:pt x="12949232" y="14483593"/>
                  </a:lnTo>
                  <a:lnTo>
                    <a:pt x="12939704" y="14469297"/>
                  </a:lnTo>
                  <a:lnTo>
                    <a:pt x="12930172" y="14469297"/>
                  </a:lnTo>
                  <a:lnTo>
                    <a:pt x="12915880" y="14464533"/>
                  </a:lnTo>
                  <a:lnTo>
                    <a:pt x="12911112" y="14455001"/>
                  </a:lnTo>
                  <a:lnTo>
                    <a:pt x="12911112" y="14440705"/>
                  </a:lnTo>
                  <a:lnTo>
                    <a:pt x="12911112" y="14435941"/>
                  </a:lnTo>
                  <a:lnTo>
                    <a:pt x="12915880" y="14421645"/>
                  </a:lnTo>
                  <a:lnTo>
                    <a:pt x="12911112" y="14412117"/>
                  </a:lnTo>
                  <a:lnTo>
                    <a:pt x="12901584" y="14402585"/>
                  </a:lnTo>
                  <a:lnTo>
                    <a:pt x="12896816" y="14393057"/>
                  </a:lnTo>
                  <a:lnTo>
                    <a:pt x="12901584" y="14378761"/>
                  </a:lnTo>
                  <a:lnTo>
                    <a:pt x="12896816" y="14359701"/>
                  </a:lnTo>
                  <a:lnTo>
                    <a:pt x="12896816" y="14340641"/>
                  </a:lnTo>
                  <a:lnTo>
                    <a:pt x="12887288" y="14326345"/>
                  </a:lnTo>
                  <a:lnTo>
                    <a:pt x="12887288" y="14297753"/>
                  </a:lnTo>
                  <a:lnTo>
                    <a:pt x="12892052" y="14288221"/>
                  </a:lnTo>
                  <a:lnTo>
                    <a:pt x="12892052" y="14273929"/>
                  </a:lnTo>
                  <a:lnTo>
                    <a:pt x="12882520" y="14264397"/>
                  </a:lnTo>
                  <a:lnTo>
                    <a:pt x="12863460" y="14259633"/>
                  </a:lnTo>
                  <a:lnTo>
                    <a:pt x="12839636" y="14250101"/>
                  </a:lnTo>
                  <a:lnTo>
                    <a:pt x="12796748" y="14235805"/>
                  </a:lnTo>
                  <a:lnTo>
                    <a:pt x="12782456" y="14235805"/>
                  </a:lnTo>
                  <a:lnTo>
                    <a:pt x="12768160" y="14240573"/>
                  </a:lnTo>
                  <a:lnTo>
                    <a:pt x="12758628" y="14235805"/>
                  </a:lnTo>
                  <a:lnTo>
                    <a:pt x="12744332" y="14226277"/>
                  </a:lnTo>
                  <a:lnTo>
                    <a:pt x="12720508" y="14216745"/>
                  </a:lnTo>
                  <a:lnTo>
                    <a:pt x="12696680" y="14202449"/>
                  </a:lnTo>
                  <a:lnTo>
                    <a:pt x="12663328" y="14188153"/>
                  </a:lnTo>
                  <a:lnTo>
                    <a:pt x="12639500" y="14173861"/>
                  </a:lnTo>
                  <a:lnTo>
                    <a:pt x="12625204" y="14169093"/>
                  </a:lnTo>
                  <a:lnTo>
                    <a:pt x="12587084" y="14169093"/>
                  </a:lnTo>
                  <a:lnTo>
                    <a:pt x="12558492" y="14169093"/>
                  </a:lnTo>
                  <a:lnTo>
                    <a:pt x="12539432" y="14164329"/>
                  </a:lnTo>
                  <a:lnTo>
                    <a:pt x="12520372" y="14145269"/>
                  </a:lnTo>
                  <a:lnTo>
                    <a:pt x="12510840" y="14135737"/>
                  </a:lnTo>
                  <a:lnTo>
                    <a:pt x="12491780" y="14130973"/>
                  </a:lnTo>
                  <a:lnTo>
                    <a:pt x="12482252" y="14126209"/>
                  </a:lnTo>
                  <a:lnTo>
                    <a:pt x="12463192" y="14121445"/>
                  </a:lnTo>
                  <a:lnTo>
                    <a:pt x="12425068" y="14102381"/>
                  </a:lnTo>
                  <a:lnTo>
                    <a:pt x="12410776" y="14092853"/>
                  </a:lnTo>
                  <a:lnTo>
                    <a:pt x="12401244" y="14092853"/>
                  </a:lnTo>
                  <a:lnTo>
                    <a:pt x="12391712" y="14078557"/>
                  </a:lnTo>
                  <a:lnTo>
                    <a:pt x="12382184" y="14073793"/>
                  </a:lnTo>
                  <a:lnTo>
                    <a:pt x="12372652" y="14083321"/>
                  </a:lnTo>
                  <a:lnTo>
                    <a:pt x="12367888" y="14111913"/>
                  </a:lnTo>
                  <a:lnTo>
                    <a:pt x="12358360" y="14126209"/>
                  </a:lnTo>
                  <a:lnTo>
                    <a:pt x="12339296" y="14154801"/>
                  </a:lnTo>
                  <a:lnTo>
                    <a:pt x="12296412" y="14173861"/>
                  </a:lnTo>
                  <a:lnTo>
                    <a:pt x="12286880" y="14183389"/>
                  </a:lnTo>
                  <a:lnTo>
                    <a:pt x="12277352" y="14207217"/>
                  </a:lnTo>
                  <a:lnTo>
                    <a:pt x="12277352" y="14226277"/>
                  </a:lnTo>
                  <a:lnTo>
                    <a:pt x="12267820" y="14231041"/>
                  </a:lnTo>
                  <a:lnTo>
                    <a:pt x="12260672" y="14231041"/>
                  </a:lnTo>
                  <a:lnTo>
                    <a:pt x="12251144" y="14240573"/>
                  </a:lnTo>
                  <a:lnTo>
                    <a:pt x="12241612" y="14259633"/>
                  </a:lnTo>
                  <a:lnTo>
                    <a:pt x="12236848" y="14264397"/>
                  </a:lnTo>
                  <a:lnTo>
                    <a:pt x="12232080" y="14283457"/>
                  </a:lnTo>
                  <a:lnTo>
                    <a:pt x="12232080" y="14288221"/>
                  </a:lnTo>
                  <a:lnTo>
                    <a:pt x="12232080" y="14297753"/>
                  </a:lnTo>
                  <a:lnTo>
                    <a:pt x="12227316" y="14312049"/>
                  </a:lnTo>
                  <a:lnTo>
                    <a:pt x="12217784" y="14340641"/>
                  </a:lnTo>
                  <a:lnTo>
                    <a:pt x="12217784" y="14354933"/>
                  </a:lnTo>
                  <a:lnTo>
                    <a:pt x="12222552" y="14364465"/>
                  </a:lnTo>
                  <a:lnTo>
                    <a:pt x="12232080" y="14378761"/>
                  </a:lnTo>
                  <a:lnTo>
                    <a:pt x="12236848" y="14388289"/>
                  </a:lnTo>
                  <a:lnTo>
                    <a:pt x="12236848" y="14397821"/>
                  </a:lnTo>
                  <a:lnTo>
                    <a:pt x="12236848" y="14412117"/>
                  </a:lnTo>
                  <a:lnTo>
                    <a:pt x="12241612" y="14426413"/>
                  </a:lnTo>
                  <a:lnTo>
                    <a:pt x="12246376" y="14440705"/>
                  </a:lnTo>
                  <a:lnTo>
                    <a:pt x="12255908" y="14450237"/>
                  </a:lnTo>
                  <a:lnTo>
                    <a:pt x="12265440" y="14459769"/>
                  </a:lnTo>
                  <a:lnTo>
                    <a:pt x="12277352" y="14459769"/>
                  </a:lnTo>
                  <a:lnTo>
                    <a:pt x="12286880" y="14469297"/>
                  </a:lnTo>
                  <a:lnTo>
                    <a:pt x="12286880" y="14478829"/>
                  </a:lnTo>
                  <a:lnTo>
                    <a:pt x="12282116" y="14493125"/>
                  </a:lnTo>
                  <a:lnTo>
                    <a:pt x="12277352" y="14526481"/>
                  </a:lnTo>
                  <a:lnTo>
                    <a:pt x="12272584" y="14545541"/>
                  </a:lnTo>
                  <a:lnTo>
                    <a:pt x="12267820" y="14555069"/>
                  </a:lnTo>
                  <a:lnTo>
                    <a:pt x="12260672" y="14574129"/>
                  </a:lnTo>
                  <a:lnTo>
                    <a:pt x="12260672" y="14578897"/>
                  </a:lnTo>
                  <a:lnTo>
                    <a:pt x="12241612" y="14593189"/>
                  </a:lnTo>
                  <a:lnTo>
                    <a:pt x="12232080" y="14597957"/>
                  </a:lnTo>
                  <a:lnTo>
                    <a:pt x="12222552" y="14612253"/>
                  </a:lnTo>
                  <a:lnTo>
                    <a:pt x="12208256" y="14612253"/>
                  </a:lnTo>
                  <a:lnTo>
                    <a:pt x="12198728" y="14612253"/>
                  </a:lnTo>
                  <a:lnTo>
                    <a:pt x="12189196" y="14612253"/>
                  </a:lnTo>
                  <a:lnTo>
                    <a:pt x="12179664" y="14621781"/>
                  </a:lnTo>
                  <a:lnTo>
                    <a:pt x="12170136" y="14636077"/>
                  </a:lnTo>
                  <a:lnTo>
                    <a:pt x="12151076" y="14655137"/>
                  </a:lnTo>
                  <a:lnTo>
                    <a:pt x="12141544" y="14659901"/>
                  </a:lnTo>
                  <a:lnTo>
                    <a:pt x="12117720" y="14664669"/>
                  </a:lnTo>
                  <a:lnTo>
                    <a:pt x="12108188" y="14655137"/>
                  </a:lnTo>
                  <a:lnTo>
                    <a:pt x="12103424" y="14645609"/>
                  </a:lnTo>
                  <a:lnTo>
                    <a:pt x="12093892" y="14640841"/>
                  </a:lnTo>
                  <a:lnTo>
                    <a:pt x="12084364" y="14626545"/>
                  </a:lnTo>
                  <a:lnTo>
                    <a:pt x="12041476" y="14621781"/>
                  </a:lnTo>
                  <a:lnTo>
                    <a:pt x="12031944" y="14621781"/>
                  </a:lnTo>
                  <a:lnTo>
                    <a:pt x="12022416" y="14626545"/>
                  </a:lnTo>
                  <a:lnTo>
                    <a:pt x="12017652" y="14626545"/>
                  </a:lnTo>
                  <a:lnTo>
                    <a:pt x="12008120" y="14617017"/>
                  </a:lnTo>
                  <a:lnTo>
                    <a:pt x="12003356" y="14621781"/>
                  </a:lnTo>
                  <a:lnTo>
                    <a:pt x="11989060" y="14621781"/>
                  </a:lnTo>
                  <a:lnTo>
                    <a:pt x="11979528" y="14621781"/>
                  </a:lnTo>
                  <a:lnTo>
                    <a:pt x="11965236" y="14607485"/>
                  </a:lnTo>
                  <a:lnTo>
                    <a:pt x="11946176" y="14602721"/>
                  </a:lnTo>
                  <a:lnTo>
                    <a:pt x="11941408" y="14597957"/>
                  </a:lnTo>
                  <a:lnTo>
                    <a:pt x="11931880" y="14597957"/>
                  </a:lnTo>
                  <a:lnTo>
                    <a:pt x="11927112" y="14607485"/>
                  </a:lnTo>
                  <a:lnTo>
                    <a:pt x="11922348" y="14607485"/>
                  </a:lnTo>
                  <a:lnTo>
                    <a:pt x="11917584" y="14602721"/>
                  </a:lnTo>
                  <a:lnTo>
                    <a:pt x="11908052" y="14593189"/>
                  </a:lnTo>
                  <a:lnTo>
                    <a:pt x="11898524" y="14593189"/>
                  </a:lnTo>
                  <a:lnTo>
                    <a:pt x="11884228" y="14607485"/>
                  </a:lnTo>
                  <a:lnTo>
                    <a:pt x="11865168" y="14612253"/>
                  </a:lnTo>
                  <a:lnTo>
                    <a:pt x="11855636" y="14621781"/>
                  </a:lnTo>
                  <a:lnTo>
                    <a:pt x="11841340" y="14617017"/>
                  </a:lnTo>
                  <a:lnTo>
                    <a:pt x="11836576" y="14612253"/>
                  </a:lnTo>
                  <a:lnTo>
                    <a:pt x="11827048" y="14612253"/>
                  </a:lnTo>
                  <a:lnTo>
                    <a:pt x="11798456" y="14612253"/>
                  </a:lnTo>
                  <a:lnTo>
                    <a:pt x="11793688" y="14612253"/>
                  </a:lnTo>
                  <a:lnTo>
                    <a:pt x="11779396" y="14607485"/>
                  </a:lnTo>
                  <a:lnTo>
                    <a:pt x="11774632" y="14597957"/>
                  </a:lnTo>
                  <a:lnTo>
                    <a:pt x="11765100" y="14588425"/>
                  </a:lnTo>
                  <a:lnTo>
                    <a:pt x="11746040" y="14588425"/>
                  </a:lnTo>
                  <a:lnTo>
                    <a:pt x="11731744" y="14588425"/>
                  </a:lnTo>
                  <a:lnTo>
                    <a:pt x="11722212" y="14593189"/>
                  </a:lnTo>
                  <a:lnTo>
                    <a:pt x="11712684" y="14593189"/>
                  </a:lnTo>
                  <a:lnTo>
                    <a:pt x="11707920" y="14578897"/>
                  </a:lnTo>
                  <a:lnTo>
                    <a:pt x="11693624" y="14564601"/>
                  </a:lnTo>
                  <a:lnTo>
                    <a:pt x="11688856" y="14559833"/>
                  </a:lnTo>
                  <a:lnTo>
                    <a:pt x="11679328" y="14555069"/>
                  </a:lnTo>
                  <a:lnTo>
                    <a:pt x="11674560" y="14545541"/>
                  </a:lnTo>
                  <a:lnTo>
                    <a:pt x="11674560" y="14526481"/>
                  </a:lnTo>
                  <a:lnTo>
                    <a:pt x="11669796" y="14497889"/>
                  </a:lnTo>
                  <a:lnTo>
                    <a:pt x="11665032" y="14474061"/>
                  </a:lnTo>
                  <a:lnTo>
                    <a:pt x="11655500" y="14464533"/>
                  </a:lnTo>
                  <a:lnTo>
                    <a:pt x="11631676" y="14459769"/>
                  </a:lnTo>
                  <a:lnTo>
                    <a:pt x="11617380" y="14459769"/>
                  </a:lnTo>
                  <a:lnTo>
                    <a:pt x="11588792" y="14455001"/>
                  </a:lnTo>
                  <a:lnTo>
                    <a:pt x="11564964" y="14455001"/>
                  </a:lnTo>
                  <a:lnTo>
                    <a:pt x="11560200" y="14455001"/>
                  </a:lnTo>
                  <a:lnTo>
                    <a:pt x="11541136" y="14450237"/>
                  </a:lnTo>
                  <a:lnTo>
                    <a:pt x="11522080" y="14450237"/>
                  </a:lnTo>
                  <a:lnTo>
                    <a:pt x="11503016" y="14445473"/>
                  </a:lnTo>
                  <a:lnTo>
                    <a:pt x="11498252" y="14450237"/>
                  </a:lnTo>
                  <a:lnTo>
                    <a:pt x="11479192" y="14450237"/>
                  </a:lnTo>
                  <a:lnTo>
                    <a:pt x="11464896" y="14440705"/>
                  </a:lnTo>
                  <a:lnTo>
                    <a:pt x="11455368" y="14421645"/>
                  </a:lnTo>
                  <a:lnTo>
                    <a:pt x="11455368" y="14416881"/>
                  </a:lnTo>
                  <a:lnTo>
                    <a:pt x="11455368" y="14407349"/>
                  </a:lnTo>
                  <a:lnTo>
                    <a:pt x="11441072" y="14402585"/>
                  </a:lnTo>
                  <a:lnTo>
                    <a:pt x="11426776" y="14407349"/>
                  </a:lnTo>
                  <a:lnTo>
                    <a:pt x="11422008" y="14426413"/>
                  </a:lnTo>
                  <a:lnTo>
                    <a:pt x="11412480" y="14431177"/>
                  </a:lnTo>
                  <a:lnTo>
                    <a:pt x="11402952" y="14431177"/>
                  </a:lnTo>
                  <a:lnTo>
                    <a:pt x="11398184" y="14421645"/>
                  </a:lnTo>
                  <a:lnTo>
                    <a:pt x="11383888" y="14412117"/>
                  </a:lnTo>
                  <a:lnTo>
                    <a:pt x="11374360" y="14402585"/>
                  </a:lnTo>
                  <a:lnTo>
                    <a:pt x="11360064" y="14388289"/>
                  </a:lnTo>
                  <a:lnTo>
                    <a:pt x="11350532" y="14388289"/>
                  </a:lnTo>
                  <a:lnTo>
                    <a:pt x="11350532" y="14397821"/>
                  </a:lnTo>
                  <a:lnTo>
                    <a:pt x="11345768" y="14407349"/>
                  </a:lnTo>
                  <a:lnTo>
                    <a:pt x="11336240" y="14426413"/>
                  </a:lnTo>
                  <a:lnTo>
                    <a:pt x="11321944" y="14431177"/>
                  </a:lnTo>
                  <a:lnTo>
                    <a:pt x="11298116" y="14426413"/>
                  </a:lnTo>
                  <a:lnTo>
                    <a:pt x="11274292" y="14431177"/>
                  </a:lnTo>
                  <a:lnTo>
                    <a:pt x="11259996" y="14435941"/>
                  </a:lnTo>
                  <a:lnTo>
                    <a:pt x="11250464" y="14445473"/>
                  </a:lnTo>
                  <a:lnTo>
                    <a:pt x="11240936" y="14459769"/>
                  </a:lnTo>
                  <a:lnTo>
                    <a:pt x="11231404" y="14459769"/>
                  </a:lnTo>
                  <a:lnTo>
                    <a:pt x="11221876" y="14469297"/>
                  </a:lnTo>
                  <a:lnTo>
                    <a:pt x="11217112" y="14483593"/>
                  </a:lnTo>
                  <a:lnTo>
                    <a:pt x="11202816" y="14483593"/>
                  </a:lnTo>
                  <a:lnTo>
                    <a:pt x="11198048" y="14483593"/>
                  </a:lnTo>
                  <a:lnTo>
                    <a:pt x="11183752" y="14488357"/>
                  </a:lnTo>
                  <a:lnTo>
                    <a:pt x="11159928" y="14493125"/>
                  </a:lnTo>
                  <a:lnTo>
                    <a:pt x="11155164" y="14497889"/>
                  </a:lnTo>
                  <a:lnTo>
                    <a:pt x="11136104" y="14512185"/>
                  </a:lnTo>
                  <a:lnTo>
                    <a:pt x="11126572" y="14521713"/>
                  </a:lnTo>
                  <a:lnTo>
                    <a:pt x="11112276" y="14521713"/>
                  </a:lnTo>
                  <a:lnTo>
                    <a:pt x="11102748" y="14536009"/>
                  </a:lnTo>
                  <a:lnTo>
                    <a:pt x="11097980" y="14545541"/>
                  </a:lnTo>
                  <a:lnTo>
                    <a:pt x="11074156" y="14545541"/>
                  </a:lnTo>
                  <a:lnTo>
                    <a:pt x="11050328" y="14559833"/>
                  </a:lnTo>
                  <a:lnTo>
                    <a:pt x="11040800" y="14559833"/>
                  </a:lnTo>
                  <a:lnTo>
                    <a:pt x="11026504" y="14569365"/>
                  </a:lnTo>
                  <a:lnTo>
                    <a:pt x="11012208" y="14574129"/>
                  </a:lnTo>
                  <a:lnTo>
                    <a:pt x="11002680" y="14574129"/>
                  </a:lnTo>
                  <a:lnTo>
                    <a:pt x="10993148" y="14583661"/>
                  </a:lnTo>
                  <a:lnTo>
                    <a:pt x="10988384" y="14602721"/>
                  </a:lnTo>
                  <a:lnTo>
                    <a:pt x="10974088" y="14612253"/>
                  </a:lnTo>
                  <a:lnTo>
                    <a:pt x="10955028" y="14612253"/>
                  </a:lnTo>
                  <a:lnTo>
                    <a:pt x="10935968" y="14621781"/>
                  </a:lnTo>
                  <a:lnTo>
                    <a:pt x="10935968" y="14640841"/>
                  </a:lnTo>
                  <a:lnTo>
                    <a:pt x="10940732" y="14659901"/>
                  </a:lnTo>
                  <a:lnTo>
                    <a:pt x="10940732" y="14669433"/>
                  </a:lnTo>
                  <a:lnTo>
                    <a:pt x="10926436" y="14669433"/>
                  </a:lnTo>
                  <a:lnTo>
                    <a:pt x="10912140" y="14678965"/>
                  </a:lnTo>
                  <a:lnTo>
                    <a:pt x="10897848" y="14693257"/>
                  </a:lnTo>
                  <a:lnTo>
                    <a:pt x="10883552" y="14693257"/>
                  </a:lnTo>
                  <a:lnTo>
                    <a:pt x="10874020" y="14688493"/>
                  </a:lnTo>
                  <a:lnTo>
                    <a:pt x="10869256" y="14698025"/>
                  </a:lnTo>
                  <a:lnTo>
                    <a:pt x="10864488" y="14712317"/>
                  </a:lnTo>
                  <a:lnTo>
                    <a:pt x="10854960" y="14717085"/>
                  </a:lnTo>
                  <a:lnTo>
                    <a:pt x="10840664" y="14726613"/>
                  </a:lnTo>
                  <a:lnTo>
                    <a:pt x="10831136" y="14721849"/>
                  </a:lnTo>
                  <a:lnTo>
                    <a:pt x="10831136" y="14717085"/>
                  </a:lnTo>
                  <a:lnTo>
                    <a:pt x="10821604" y="14707553"/>
                  </a:lnTo>
                  <a:lnTo>
                    <a:pt x="10816840" y="14712317"/>
                  </a:lnTo>
                  <a:lnTo>
                    <a:pt x="10816840" y="14721849"/>
                  </a:lnTo>
                  <a:lnTo>
                    <a:pt x="10812072" y="14731381"/>
                  </a:lnTo>
                  <a:lnTo>
                    <a:pt x="10797776" y="14731381"/>
                  </a:lnTo>
                  <a:lnTo>
                    <a:pt x="10788248" y="14726613"/>
                  </a:lnTo>
                  <a:lnTo>
                    <a:pt x="10778720" y="14721849"/>
                  </a:lnTo>
                  <a:lnTo>
                    <a:pt x="10764424" y="14721849"/>
                  </a:lnTo>
                  <a:lnTo>
                    <a:pt x="10750128" y="14726613"/>
                  </a:lnTo>
                  <a:lnTo>
                    <a:pt x="10740596" y="14721849"/>
                  </a:lnTo>
                  <a:lnTo>
                    <a:pt x="10735832" y="14726613"/>
                  </a:lnTo>
                  <a:lnTo>
                    <a:pt x="10712008" y="14731381"/>
                  </a:lnTo>
                  <a:lnTo>
                    <a:pt x="10702476" y="14745673"/>
                  </a:lnTo>
                  <a:lnTo>
                    <a:pt x="10702476" y="14769501"/>
                  </a:lnTo>
                  <a:lnTo>
                    <a:pt x="10697712" y="14779029"/>
                  </a:lnTo>
                  <a:lnTo>
                    <a:pt x="10688180" y="14788561"/>
                  </a:lnTo>
                  <a:lnTo>
                    <a:pt x="10678648" y="14793325"/>
                  </a:lnTo>
                  <a:lnTo>
                    <a:pt x="10669120" y="14798093"/>
                  </a:lnTo>
                  <a:lnTo>
                    <a:pt x="10654824" y="14802857"/>
                  </a:lnTo>
                  <a:lnTo>
                    <a:pt x="10650060" y="14802857"/>
                  </a:lnTo>
                  <a:lnTo>
                    <a:pt x="10645296" y="14798093"/>
                  </a:lnTo>
                  <a:lnTo>
                    <a:pt x="10631000" y="14802857"/>
                  </a:lnTo>
                  <a:lnTo>
                    <a:pt x="10616704" y="14807621"/>
                  </a:lnTo>
                  <a:lnTo>
                    <a:pt x="10607172" y="14807621"/>
                  </a:lnTo>
                  <a:lnTo>
                    <a:pt x="10597644" y="14817153"/>
                  </a:lnTo>
                  <a:lnTo>
                    <a:pt x="10588112" y="14821917"/>
                  </a:lnTo>
                  <a:lnTo>
                    <a:pt x="10573816" y="14817153"/>
                  </a:lnTo>
                  <a:lnTo>
                    <a:pt x="10573816" y="14802857"/>
                  </a:lnTo>
                  <a:lnTo>
                    <a:pt x="10559520" y="14788561"/>
                  </a:lnTo>
                  <a:lnTo>
                    <a:pt x="10549992" y="14783797"/>
                  </a:lnTo>
                  <a:lnTo>
                    <a:pt x="10535696" y="14779029"/>
                  </a:lnTo>
                  <a:lnTo>
                    <a:pt x="10526168" y="14769501"/>
                  </a:lnTo>
                  <a:lnTo>
                    <a:pt x="10516636" y="14764737"/>
                  </a:lnTo>
                  <a:lnTo>
                    <a:pt x="10497576" y="14721849"/>
                  </a:lnTo>
                  <a:lnTo>
                    <a:pt x="10478516" y="14707553"/>
                  </a:lnTo>
                  <a:lnTo>
                    <a:pt x="10468984" y="14702789"/>
                  </a:lnTo>
                  <a:lnTo>
                    <a:pt x="10464220" y="14693257"/>
                  </a:lnTo>
                  <a:lnTo>
                    <a:pt x="10473752" y="14678965"/>
                  </a:lnTo>
                  <a:lnTo>
                    <a:pt x="10483280" y="14674197"/>
                  </a:lnTo>
                  <a:lnTo>
                    <a:pt x="10483280" y="14659901"/>
                  </a:lnTo>
                  <a:lnTo>
                    <a:pt x="10473752" y="14650373"/>
                  </a:lnTo>
                  <a:lnTo>
                    <a:pt x="10464220" y="14655137"/>
                  </a:lnTo>
                  <a:lnTo>
                    <a:pt x="10449924" y="14669433"/>
                  </a:lnTo>
                  <a:lnTo>
                    <a:pt x="10435628" y="14688493"/>
                  </a:lnTo>
                  <a:lnTo>
                    <a:pt x="10416568" y="14698025"/>
                  </a:lnTo>
                  <a:lnTo>
                    <a:pt x="10407040" y="14707553"/>
                  </a:lnTo>
                  <a:lnTo>
                    <a:pt x="10397508" y="14717085"/>
                  </a:lnTo>
                  <a:lnTo>
                    <a:pt x="10383212" y="14717085"/>
                  </a:lnTo>
                  <a:lnTo>
                    <a:pt x="10373680" y="14717085"/>
                  </a:lnTo>
                  <a:lnTo>
                    <a:pt x="10364152" y="14717085"/>
                  </a:lnTo>
                  <a:lnTo>
                    <a:pt x="10359388" y="14707553"/>
                  </a:lnTo>
                  <a:lnTo>
                    <a:pt x="10349856" y="14707553"/>
                  </a:lnTo>
                  <a:lnTo>
                    <a:pt x="10292676" y="14693257"/>
                  </a:lnTo>
                  <a:lnTo>
                    <a:pt x="10268848" y="14688493"/>
                  </a:lnTo>
                  <a:lnTo>
                    <a:pt x="10259320" y="14693257"/>
                  </a:lnTo>
                  <a:lnTo>
                    <a:pt x="10249788" y="14693257"/>
                  </a:lnTo>
                  <a:lnTo>
                    <a:pt x="10245024" y="14678965"/>
                  </a:lnTo>
                  <a:lnTo>
                    <a:pt x="10235492" y="14659901"/>
                  </a:lnTo>
                  <a:lnTo>
                    <a:pt x="10225964" y="14640841"/>
                  </a:lnTo>
                  <a:lnTo>
                    <a:pt x="10211668" y="14626545"/>
                  </a:lnTo>
                  <a:lnTo>
                    <a:pt x="10206904" y="14612253"/>
                  </a:lnTo>
                  <a:lnTo>
                    <a:pt x="10211668" y="14597957"/>
                  </a:lnTo>
                  <a:lnTo>
                    <a:pt x="10211668" y="14583661"/>
                  </a:lnTo>
                  <a:lnTo>
                    <a:pt x="10202136" y="14578897"/>
                  </a:lnTo>
                  <a:lnTo>
                    <a:pt x="10187840" y="14574129"/>
                  </a:lnTo>
                  <a:lnTo>
                    <a:pt x="10149720" y="14550305"/>
                  </a:lnTo>
                  <a:lnTo>
                    <a:pt x="10135424" y="14545541"/>
                  </a:lnTo>
                  <a:lnTo>
                    <a:pt x="10121128" y="14540773"/>
                  </a:lnTo>
                  <a:lnTo>
                    <a:pt x="10106836" y="14540773"/>
                  </a:lnTo>
                  <a:lnTo>
                    <a:pt x="10097304" y="14526481"/>
                  </a:lnTo>
                  <a:lnTo>
                    <a:pt x="10087776" y="14493125"/>
                  </a:lnTo>
                  <a:lnTo>
                    <a:pt x="10083008" y="14469297"/>
                  </a:lnTo>
                  <a:lnTo>
                    <a:pt x="10073480" y="14450237"/>
                  </a:lnTo>
                  <a:lnTo>
                    <a:pt x="10059184" y="14431177"/>
                  </a:lnTo>
                  <a:lnTo>
                    <a:pt x="10049652" y="14407349"/>
                  </a:lnTo>
                  <a:lnTo>
                    <a:pt x="10035360" y="14397821"/>
                  </a:lnTo>
                  <a:lnTo>
                    <a:pt x="10011532" y="14378761"/>
                  </a:lnTo>
                  <a:lnTo>
                    <a:pt x="9992472" y="14369229"/>
                  </a:lnTo>
                  <a:lnTo>
                    <a:pt x="9954352" y="14354933"/>
                  </a:lnTo>
                  <a:lnTo>
                    <a:pt x="9944820" y="14354933"/>
                  </a:lnTo>
                  <a:lnTo>
                    <a:pt x="9925760" y="14354933"/>
                  </a:lnTo>
                  <a:lnTo>
                    <a:pt x="9916232" y="14364465"/>
                  </a:lnTo>
                  <a:lnTo>
                    <a:pt x="9901936" y="14378761"/>
                  </a:lnTo>
                  <a:lnTo>
                    <a:pt x="9887640" y="14378761"/>
                  </a:lnTo>
                  <a:lnTo>
                    <a:pt x="9863812" y="14378761"/>
                  </a:lnTo>
                  <a:lnTo>
                    <a:pt x="9854284" y="14383525"/>
                  </a:lnTo>
                  <a:lnTo>
                    <a:pt x="9854284" y="14397821"/>
                  </a:lnTo>
                  <a:lnTo>
                    <a:pt x="9839988" y="14412117"/>
                  </a:lnTo>
                  <a:lnTo>
                    <a:pt x="9820928" y="14421645"/>
                  </a:lnTo>
                  <a:lnTo>
                    <a:pt x="9797104" y="14416881"/>
                  </a:lnTo>
                  <a:lnTo>
                    <a:pt x="9778040" y="14421645"/>
                  </a:lnTo>
                  <a:lnTo>
                    <a:pt x="9758980" y="14426413"/>
                  </a:lnTo>
                  <a:lnTo>
                    <a:pt x="9735156" y="14412117"/>
                  </a:lnTo>
                  <a:lnTo>
                    <a:pt x="9706564" y="14412117"/>
                  </a:lnTo>
                  <a:lnTo>
                    <a:pt x="9687504" y="14416881"/>
                  </a:lnTo>
                  <a:lnTo>
                    <a:pt x="9658912" y="14416881"/>
                  </a:lnTo>
                  <a:lnTo>
                    <a:pt x="9654148" y="14412117"/>
                  </a:lnTo>
                  <a:lnTo>
                    <a:pt x="9658912" y="14397821"/>
                  </a:lnTo>
                  <a:lnTo>
                    <a:pt x="9654148" y="14383525"/>
                  </a:lnTo>
                  <a:lnTo>
                    <a:pt x="9654148" y="14373993"/>
                  </a:lnTo>
                  <a:lnTo>
                    <a:pt x="9649384" y="14364465"/>
                  </a:lnTo>
                  <a:lnTo>
                    <a:pt x="9639852" y="14359701"/>
                  </a:lnTo>
                  <a:lnTo>
                    <a:pt x="9606496" y="14364465"/>
                  </a:lnTo>
                  <a:lnTo>
                    <a:pt x="9596968" y="14359701"/>
                  </a:lnTo>
                  <a:lnTo>
                    <a:pt x="9601732" y="14350169"/>
                  </a:lnTo>
                  <a:lnTo>
                    <a:pt x="9606496" y="14335873"/>
                  </a:lnTo>
                  <a:lnTo>
                    <a:pt x="9611264" y="14316813"/>
                  </a:lnTo>
                  <a:lnTo>
                    <a:pt x="9606496" y="14307285"/>
                  </a:lnTo>
                  <a:lnTo>
                    <a:pt x="9592200" y="14307285"/>
                  </a:lnTo>
                  <a:lnTo>
                    <a:pt x="9582672" y="14307285"/>
                  </a:lnTo>
                  <a:lnTo>
                    <a:pt x="9577904" y="14292989"/>
                  </a:lnTo>
                  <a:lnTo>
                    <a:pt x="9568376" y="14283457"/>
                  </a:lnTo>
                  <a:lnTo>
                    <a:pt x="9558844" y="14283457"/>
                  </a:lnTo>
                  <a:lnTo>
                    <a:pt x="9544552" y="14278693"/>
                  </a:lnTo>
                  <a:lnTo>
                    <a:pt x="9535020" y="14283457"/>
                  </a:lnTo>
                  <a:lnTo>
                    <a:pt x="9525488" y="14297753"/>
                  </a:lnTo>
                  <a:lnTo>
                    <a:pt x="9515960" y="14297753"/>
                  </a:lnTo>
                  <a:lnTo>
                    <a:pt x="9506428" y="14302517"/>
                  </a:lnTo>
                  <a:lnTo>
                    <a:pt x="9501664" y="14307285"/>
                  </a:lnTo>
                  <a:lnTo>
                    <a:pt x="9496900" y="14316813"/>
                  </a:lnTo>
                  <a:lnTo>
                    <a:pt x="9501664" y="14331109"/>
                  </a:lnTo>
                  <a:lnTo>
                    <a:pt x="9501664" y="14354933"/>
                  </a:lnTo>
                  <a:lnTo>
                    <a:pt x="9496900" y="14364465"/>
                  </a:lnTo>
                  <a:lnTo>
                    <a:pt x="9487368" y="14373993"/>
                  </a:lnTo>
                  <a:lnTo>
                    <a:pt x="9473072" y="14373993"/>
                  </a:lnTo>
                  <a:lnTo>
                    <a:pt x="9468308" y="14373993"/>
                  </a:lnTo>
                  <a:lnTo>
                    <a:pt x="9454012" y="14388289"/>
                  </a:lnTo>
                  <a:lnTo>
                    <a:pt x="9444480" y="14393057"/>
                  </a:lnTo>
                  <a:lnTo>
                    <a:pt x="9444480" y="14402585"/>
                  </a:lnTo>
                  <a:lnTo>
                    <a:pt x="9439716" y="14412117"/>
                  </a:lnTo>
                  <a:lnTo>
                    <a:pt x="9430188" y="14407349"/>
                  </a:lnTo>
                  <a:lnTo>
                    <a:pt x="9411128" y="14364465"/>
                  </a:lnTo>
                  <a:lnTo>
                    <a:pt x="9387300" y="14312049"/>
                  </a:lnTo>
                  <a:lnTo>
                    <a:pt x="9363476" y="14259633"/>
                  </a:lnTo>
                  <a:lnTo>
                    <a:pt x="9349180" y="14231041"/>
                  </a:lnTo>
                  <a:lnTo>
                    <a:pt x="9296764" y="14135737"/>
                  </a:lnTo>
                  <a:lnTo>
                    <a:pt x="9272936" y="14088089"/>
                  </a:lnTo>
                  <a:lnTo>
                    <a:pt x="9230052" y="14011845"/>
                  </a:lnTo>
                  <a:lnTo>
                    <a:pt x="9191932" y="13940369"/>
                  </a:lnTo>
                  <a:lnTo>
                    <a:pt x="9149044" y="13864125"/>
                  </a:lnTo>
                  <a:lnTo>
                    <a:pt x="9125220" y="13821241"/>
                  </a:lnTo>
                  <a:lnTo>
                    <a:pt x="9096628" y="13773589"/>
                  </a:lnTo>
                  <a:lnTo>
                    <a:pt x="9087096" y="13764057"/>
                  </a:lnTo>
                  <a:lnTo>
                    <a:pt x="9072804" y="13744997"/>
                  </a:lnTo>
                  <a:lnTo>
                    <a:pt x="9034680" y="13716409"/>
                  </a:lnTo>
                  <a:lnTo>
                    <a:pt x="8982264" y="13668757"/>
                  </a:lnTo>
                  <a:lnTo>
                    <a:pt x="8934612" y="13630637"/>
                  </a:lnTo>
                  <a:lnTo>
                    <a:pt x="8896492" y="13597281"/>
                  </a:lnTo>
                  <a:lnTo>
                    <a:pt x="8886964" y="13582985"/>
                  </a:lnTo>
                  <a:lnTo>
                    <a:pt x="8882196" y="13578217"/>
                  </a:lnTo>
                  <a:lnTo>
                    <a:pt x="8877432" y="13568689"/>
                  </a:lnTo>
                  <a:lnTo>
                    <a:pt x="8872668" y="13554393"/>
                  </a:lnTo>
                  <a:lnTo>
                    <a:pt x="8872668" y="13540097"/>
                  </a:lnTo>
                  <a:lnTo>
                    <a:pt x="8910788" y="13544861"/>
                  </a:lnTo>
                  <a:lnTo>
                    <a:pt x="8915552" y="13535333"/>
                  </a:lnTo>
                  <a:lnTo>
                    <a:pt x="8929848" y="13497213"/>
                  </a:lnTo>
                  <a:lnTo>
                    <a:pt x="8939380" y="13463857"/>
                  </a:lnTo>
                  <a:lnTo>
                    <a:pt x="8925084" y="13463857"/>
                  </a:lnTo>
                  <a:lnTo>
                    <a:pt x="8901256" y="13478153"/>
                  </a:lnTo>
                  <a:lnTo>
                    <a:pt x="8891728" y="13487681"/>
                  </a:lnTo>
                  <a:lnTo>
                    <a:pt x="8886964" y="13492445"/>
                  </a:lnTo>
                  <a:lnTo>
                    <a:pt x="8848840" y="13497213"/>
                  </a:lnTo>
                  <a:lnTo>
                    <a:pt x="8829780" y="13516273"/>
                  </a:lnTo>
                  <a:lnTo>
                    <a:pt x="8786896" y="13540097"/>
                  </a:lnTo>
                  <a:lnTo>
                    <a:pt x="8758304" y="13554393"/>
                  </a:lnTo>
                  <a:lnTo>
                    <a:pt x="8753540" y="13554393"/>
                  </a:lnTo>
                  <a:lnTo>
                    <a:pt x="8720184" y="13559157"/>
                  </a:lnTo>
                  <a:lnTo>
                    <a:pt x="8710652" y="13563925"/>
                  </a:lnTo>
                  <a:lnTo>
                    <a:pt x="8710652" y="13578217"/>
                  </a:lnTo>
                  <a:lnTo>
                    <a:pt x="8710652" y="13592513"/>
                  </a:lnTo>
                  <a:lnTo>
                    <a:pt x="8686828" y="13611573"/>
                  </a:lnTo>
                  <a:lnTo>
                    <a:pt x="8658236" y="13630637"/>
                  </a:lnTo>
                  <a:lnTo>
                    <a:pt x="8648704" y="13630637"/>
                  </a:lnTo>
                  <a:lnTo>
                    <a:pt x="8634412" y="13625869"/>
                  </a:lnTo>
                  <a:lnTo>
                    <a:pt x="8624880" y="13630637"/>
                  </a:lnTo>
                  <a:lnTo>
                    <a:pt x="8601056" y="13649697"/>
                  </a:lnTo>
                  <a:lnTo>
                    <a:pt x="8562932" y="13678285"/>
                  </a:lnTo>
                  <a:lnTo>
                    <a:pt x="8562932" y="13687817"/>
                  </a:lnTo>
                  <a:lnTo>
                    <a:pt x="8562932" y="13702113"/>
                  </a:lnTo>
                  <a:lnTo>
                    <a:pt x="8558168" y="13711641"/>
                  </a:lnTo>
                  <a:lnTo>
                    <a:pt x="8548640" y="13716409"/>
                  </a:lnTo>
                  <a:lnTo>
                    <a:pt x="8539108" y="13706877"/>
                  </a:lnTo>
                  <a:lnTo>
                    <a:pt x="8529576" y="13692581"/>
                  </a:lnTo>
                  <a:lnTo>
                    <a:pt x="8505752" y="13687817"/>
                  </a:lnTo>
                  <a:lnTo>
                    <a:pt x="8472396" y="13683053"/>
                  </a:lnTo>
                  <a:lnTo>
                    <a:pt x="8453336" y="13687817"/>
                  </a:lnTo>
                  <a:lnTo>
                    <a:pt x="8439040" y="13692581"/>
                  </a:lnTo>
                  <a:lnTo>
                    <a:pt x="8410448" y="13721173"/>
                  </a:lnTo>
                  <a:lnTo>
                    <a:pt x="8400920" y="13730701"/>
                  </a:lnTo>
                  <a:lnTo>
                    <a:pt x="8396152" y="13725937"/>
                  </a:lnTo>
                  <a:lnTo>
                    <a:pt x="8396152" y="13711641"/>
                  </a:lnTo>
                  <a:lnTo>
                    <a:pt x="8391388" y="13702113"/>
                  </a:lnTo>
                  <a:lnTo>
                    <a:pt x="8381860" y="13687817"/>
                  </a:lnTo>
                  <a:lnTo>
                    <a:pt x="8386624" y="13659225"/>
                  </a:lnTo>
                  <a:lnTo>
                    <a:pt x="8400920" y="13630637"/>
                  </a:lnTo>
                  <a:lnTo>
                    <a:pt x="8424744" y="13616341"/>
                  </a:lnTo>
                  <a:lnTo>
                    <a:pt x="8443804" y="13602045"/>
                  </a:lnTo>
                  <a:lnTo>
                    <a:pt x="8448572" y="13582985"/>
                  </a:lnTo>
                  <a:lnTo>
                    <a:pt x="8448572" y="13573453"/>
                  </a:lnTo>
                  <a:lnTo>
                    <a:pt x="8443804" y="13568689"/>
                  </a:lnTo>
                  <a:lnTo>
                    <a:pt x="8434276" y="13563925"/>
                  </a:lnTo>
                  <a:lnTo>
                    <a:pt x="8429512" y="13568689"/>
                  </a:lnTo>
                  <a:lnTo>
                    <a:pt x="8415216" y="13582985"/>
                  </a:lnTo>
                  <a:lnTo>
                    <a:pt x="8396152" y="13592513"/>
                  </a:lnTo>
                  <a:lnTo>
                    <a:pt x="8381860" y="13592513"/>
                  </a:lnTo>
                  <a:lnTo>
                    <a:pt x="8372328" y="13592513"/>
                  </a:lnTo>
                  <a:lnTo>
                    <a:pt x="8358032" y="13587749"/>
                  </a:lnTo>
                  <a:lnTo>
                    <a:pt x="8324676" y="13554393"/>
                  </a:lnTo>
                  <a:lnTo>
                    <a:pt x="8296088" y="13549629"/>
                  </a:lnTo>
                  <a:lnTo>
                    <a:pt x="8281792" y="13549629"/>
                  </a:lnTo>
                  <a:lnTo>
                    <a:pt x="8272260" y="13549629"/>
                  </a:lnTo>
                  <a:lnTo>
                    <a:pt x="8272260" y="13559157"/>
                  </a:lnTo>
                  <a:lnTo>
                    <a:pt x="8272260" y="13568689"/>
                  </a:lnTo>
                  <a:lnTo>
                    <a:pt x="8277024" y="13578217"/>
                  </a:lnTo>
                  <a:lnTo>
                    <a:pt x="8272260" y="13582985"/>
                  </a:lnTo>
                  <a:lnTo>
                    <a:pt x="8262732" y="13587749"/>
                  </a:lnTo>
                  <a:lnTo>
                    <a:pt x="8253200" y="13597281"/>
                  </a:lnTo>
                  <a:lnTo>
                    <a:pt x="8243672" y="13592513"/>
                  </a:lnTo>
                  <a:lnTo>
                    <a:pt x="8243672" y="13568689"/>
                  </a:lnTo>
                  <a:lnTo>
                    <a:pt x="8243672" y="13549629"/>
                  </a:lnTo>
                  <a:lnTo>
                    <a:pt x="8234140" y="13535333"/>
                  </a:lnTo>
                  <a:lnTo>
                    <a:pt x="8224608" y="13511505"/>
                  </a:lnTo>
                  <a:lnTo>
                    <a:pt x="8210312" y="13497213"/>
                  </a:lnTo>
                  <a:lnTo>
                    <a:pt x="8200784" y="13501977"/>
                  </a:lnTo>
                  <a:lnTo>
                    <a:pt x="8191252" y="13521037"/>
                  </a:lnTo>
                  <a:lnTo>
                    <a:pt x="8181724" y="13530569"/>
                  </a:lnTo>
                  <a:lnTo>
                    <a:pt x="8162664" y="13525801"/>
                  </a:lnTo>
                  <a:lnTo>
                    <a:pt x="8129308" y="13535333"/>
                  </a:lnTo>
                  <a:lnTo>
                    <a:pt x="8076892" y="13540097"/>
                  </a:lnTo>
                  <a:lnTo>
                    <a:pt x="8038768" y="13525801"/>
                  </a:lnTo>
                  <a:lnTo>
                    <a:pt x="8034004" y="13511505"/>
                  </a:lnTo>
                  <a:lnTo>
                    <a:pt x="8048300" y="13487681"/>
                  </a:lnTo>
                  <a:lnTo>
                    <a:pt x="8053064" y="13459089"/>
                  </a:lnTo>
                  <a:lnTo>
                    <a:pt x="8053064" y="13440029"/>
                  </a:lnTo>
                  <a:lnTo>
                    <a:pt x="8053064" y="13420969"/>
                  </a:lnTo>
                  <a:lnTo>
                    <a:pt x="8043536" y="13392377"/>
                  </a:lnTo>
                  <a:lnTo>
                    <a:pt x="8024472" y="13325668"/>
                  </a:lnTo>
                  <a:lnTo>
                    <a:pt x="8010180" y="13278016"/>
                  </a:lnTo>
                  <a:lnTo>
                    <a:pt x="7991120" y="13244660"/>
                  </a:lnTo>
                  <a:lnTo>
                    <a:pt x="7986352" y="13230365"/>
                  </a:lnTo>
                  <a:lnTo>
                    <a:pt x="7948232" y="13235130"/>
                  </a:lnTo>
                  <a:lnTo>
                    <a:pt x="7933936" y="13244660"/>
                  </a:lnTo>
                  <a:lnTo>
                    <a:pt x="7929172" y="13254191"/>
                  </a:lnTo>
                  <a:lnTo>
                    <a:pt x="7914876" y="13263721"/>
                  </a:lnTo>
                  <a:lnTo>
                    <a:pt x="7895816" y="13268486"/>
                  </a:lnTo>
                  <a:lnTo>
                    <a:pt x="7881520" y="13263721"/>
                  </a:lnTo>
                  <a:lnTo>
                    <a:pt x="7867224" y="13258956"/>
                  </a:lnTo>
                  <a:lnTo>
                    <a:pt x="7848164" y="13244660"/>
                  </a:lnTo>
                  <a:lnTo>
                    <a:pt x="7829104" y="13230365"/>
                  </a:lnTo>
                  <a:lnTo>
                    <a:pt x="7790984" y="13216070"/>
                  </a:lnTo>
                  <a:lnTo>
                    <a:pt x="7752864" y="13211304"/>
                  </a:lnTo>
                  <a:lnTo>
                    <a:pt x="7709976" y="13206539"/>
                  </a:lnTo>
                  <a:lnTo>
                    <a:pt x="7690916" y="13216070"/>
                  </a:lnTo>
                  <a:lnTo>
                    <a:pt x="7667088" y="13230365"/>
                  </a:lnTo>
                  <a:lnTo>
                    <a:pt x="7638500" y="13258956"/>
                  </a:lnTo>
                  <a:lnTo>
                    <a:pt x="7624204" y="13258956"/>
                  </a:lnTo>
                  <a:lnTo>
                    <a:pt x="7605144" y="13263721"/>
                  </a:lnTo>
                  <a:lnTo>
                    <a:pt x="7590848" y="13268486"/>
                  </a:lnTo>
                  <a:lnTo>
                    <a:pt x="7590848" y="13282781"/>
                  </a:lnTo>
                  <a:lnTo>
                    <a:pt x="7595612" y="13301842"/>
                  </a:lnTo>
                  <a:lnTo>
                    <a:pt x="7590848" y="13311372"/>
                  </a:lnTo>
                  <a:lnTo>
                    <a:pt x="7581316" y="13320902"/>
                  </a:lnTo>
                  <a:lnTo>
                    <a:pt x="7567024" y="13325668"/>
                  </a:lnTo>
                  <a:lnTo>
                    <a:pt x="7547960" y="13325668"/>
                  </a:lnTo>
                  <a:lnTo>
                    <a:pt x="7528900" y="13330433"/>
                  </a:lnTo>
                  <a:lnTo>
                    <a:pt x="7509840" y="13349493"/>
                  </a:lnTo>
                  <a:lnTo>
                    <a:pt x="7476484" y="13354258"/>
                  </a:lnTo>
                  <a:lnTo>
                    <a:pt x="7443128" y="13359023"/>
                  </a:lnTo>
                  <a:lnTo>
                    <a:pt x="7414536" y="13373319"/>
                  </a:lnTo>
                  <a:lnTo>
                    <a:pt x="7362120" y="13382849"/>
                  </a:lnTo>
                  <a:lnTo>
                    <a:pt x="7333532" y="13392377"/>
                  </a:lnTo>
                  <a:lnTo>
                    <a:pt x="7281116" y="13401909"/>
                  </a:lnTo>
                  <a:lnTo>
                    <a:pt x="7238228" y="13406673"/>
                  </a:lnTo>
                  <a:lnTo>
                    <a:pt x="7233464" y="13397145"/>
                  </a:lnTo>
                  <a:lnTo>
                    <a:pt x="7200108" y="13416205"/>
                  </a:lnTo>
                  <a:lnTo>
                    <a:pt x="7161984" y="13416205"/>
                  </a:lnTo>
                  <a:lnTo>
                    <a:pt x="7157220" y="13425733"/>
                  </a:lnTo>
                  <a:lnTo>
                    <a:pt x="7147692" y="13430501"/>
                  </a:lnTo>
                  <a:lnTo>
                    <a:pt x="7138160" y="13435265"/>
                  </a:lnTo>
                  <a:lnTo>
                    <a:pt x="7123864" y="13444797"/>
                  </a:lnTo>
                  <a:lnTo>
                    <a:pt x="7119100" y="13463857"/>
                  </a:lnTo>
                  <a:lnTo>
                    <a:pt x="7114336" y="13487681"/>
                  </a:lnTo>
                  <a:lnTo>
                    <a:pt x="7104804" y="13492445"/>
                  </a:lnTo>
                  <a:lnTo>
                    <a:pt x="7090508" y="13482917"/>
                  </a:lnTo>
                  <a:lnTo>
                    <a:pt x="7076216" y="13478153"/>
                  </a:lnTo>
                  <a:lnTo>
                    <a:pt x="7057152" y="13482917"/>
                  </a:lnTo>
                  <a:lnTo>
                    <a:pt x="7033328" y="13487681"/>
                  </a:lnTo>
                  <a:lnTo>
                    <a:pt x="7014268" y="13487681"/>
                  </a:lnTo>
                  <a:lnTo>
                    <a:pt x="7004736" y="13478153"/>
                  </a:lnTo>
                  <a:lnTo>
                    <a:pt x="6961852" y="13492445"/>
                  </a:lnTo>
                  <a:lnTo>
                    <a:pt x="6942792" y="13501977"/>
                  </a:lnTo>
                  <a:lnTo>
                    <a:pt x="6938024" y="13506741"/>
                  </a:lnTo>
                  <a:lnTo>
                    <a:pt x="6933260" y="13511505"/>
                  </a:lnTo>
                  <a:lnTo>
                    <a:pt x="6909436" y="13521037"/>
                  </a:lnTo>
                  <a:lnTo>
                    <a:pt x="6890376" y="13516273"/>
                  </a:lnTo>
                  <a:lnTo>
                    <a:pt x="6885608" y="13516273"/>
                  </a:lnTo>
                  <a:lnTo>
                    <a:pt x="6866548" y="13525801"/>
                  </a:lnTo>
                  <a:lnTo>
                    <a:pt x="6842724" y="13535333"/>
                  </a:lnTo>
                  <a:lnTo>
                    <a:pt x="6823664" y="13535333"/>
                  </a:lnTo>
                  <a:lnTo>
                    <a:pt x="6804600" y="13535333"/>
                  </a:lnTo>
                  <a:lnTo>
                    <a:pt x="6795072" y="13544861"/>
                  </a:lnTo>
                  <a:lnTo>
                    <a:pt x="6790304" y="13554393"/>
                  </a:lnTo>
                  <a:lnTo>
                    <a:pt x="6718828" y="13563925"/>
                  </a:lnTo>
                  <a:lnTo>
                    <a:pt x="6714064" y="13573453"/>
                  </a:lnTo>
                  <a:lnTo>
                    <a:pt x="6699768" y="13578217"/>
                  </a:lnTo>
                  <a:lnTo>
                    <a:pt x="6628292" y="13582985"/>
                  </a:lnTo>
                  <a:lnTo>
                    <a:pt x="6618760" y="13587749"/>
                  </a:lnTo>
                  <a:lnTo>
                    <a:pt x="6618760" y="13597281"/>
                  </a:lnTo>
                  <a:lnTo>
                    <a:pt x="6609232" y="13597281"/>
                  </a:lnTo>
                  <a:lnTo>
                    <a:pt x="6556816" y="13582985"/>
                  </a:lnTo>
                  <a:lnTo>
                    <a:pt x="6518696" y="13568689"/>
                  </a:lnTo>
                  <a:lnTo>
                    <a:pt x="6499632" y="13578217"/>
                  </a:lnTo>
                  <a:lnTo>
                    <a:pt x="6485336" y="13592513"/>
                  </a:lnTo>
                  <a:lnTo>
                    <a:pt x="6480572" y="13616341"/>
                  </a:lnTo>
                  <a:lnTo>
                    <a:pt x="6480572" y="13649697"/>
                  </a:lnTo>
                  <a:lnTo>
                    <a:pt x="6475808" y="13659225"/>
                  </a:lnTo>
                  <a:lnTo>
                    <a:pt x="6461512" y="13673521"/>
                  </a:lnTo>
                  <a:lnTo>
                    <a:pt x="6461512" y="13683053"/>
                  </a:lnTo>
                  <a:lnTo>
                    <a:pt x="6480572" y="13692581"/>
                  </a:lnTo>
                  <a:lnTo>
                    <a:pt x="6504400" y="13702113"/>
                  </a:lnTo>
                  <a:lnTo>
                    <a:pt x="6518696" y="13697345"/>
                  </a:lnTo>
                  <a:lnTo>
                    <a:pt x="6528224" y="13692581"/>
                  </a:lnTo>
                  <a:lnTo>
                    <a:pt x="6537756" y="13692581"/>
                  </a:lnTo>
                  <a:lnTo>
                    <a:pt x="6547284" y="13702113"/>
                  </a:lnTo>
                  <a:lnTo>
                    <a:pt x="6547284" y="13706877"/>
                  </a:lnTo>
                  <a:lnTo>
                    <a:pt x="6547284" y="13716409"/>
                  </a:lnTo>
                  <a:lnTo>
                    <a:pt x="6542520" y="13716409"/>
                  </a:lnTo>
                  <a:lnTo>
                    <a:pt x="6528224" y="13725937"/>
                  </a:lnTo>
                  <a:lnTo>
                    <a:pt x="6513928" y="13725937"/>
                  </a:lnTo>
                  <a:lnTo>
                    <a:pt x="6499632" y="13730701"/>
                  </a:lnTo>
                  <a:lnTo>
                    <a:pt x="6494868" y="13740233"/>
                  </a:lnTo>
                  <a:lnTo>
                    <a:pt x="6490104" y="13759293"/>
                  </a:lnTo>
                  <a:lnTo>
                    <a:pt x="6494868" y="13768825"/>
                  </a:lnTo>
                  <a:lnTo>
                    <a:pt x="6513928" y="13773589"/>
                  </a:lnTo>
                  <a:lnTo>
                    <a:pt x="6532988" y="13783121"/>
                  </a:lnTo>
                  <a:lnTo>
                    <a:pt x="6552048" y="13787885"/>
                  </a:lnTo>
                  <a:lnTo>
                    <a:pt x="6566344" y="13787885"/>
                  </a:lnTo>
                  <a:lnTo>
                    <a:pt x="6585408" y="13802181"/>
                  </a:lnTo>
                  <a:lnTo>
                    <a:pt x="6623528" y="13816477"/>
                  </a:lnTo>
                  <a:lnTo>
                    <a:pt x="6633056" y="13830769"/>
                  </a:lnTo>
                  <a:lnTo>
                    <a:pt x="6633056" y="13845065"/>
                  </a:lnTo>
                  <a:lnTo>
                    <a:pt x="6623528" y="13854597"/>
                  </a:lnTo>
                  <a:lnTo>
                    <a:pt x="6613996" y="13859361"/>
                  </a:lnTo>
                  <a:lnTo>
                    <a:pt x="6604468" y="13854597"/>
                  </a:lnTo>
                  <a:lnTo>
                    <a:pt x="6575876" y="13854597"/>
                  </a:lnTo>
                  <a:lnTo>
                    <a:pt x="6547284" y="13849829"/>
                  </a:lnTo>
                  <a:lnTo>
                    <a:pt x="6528224" y="13845065"/>
                  </a:lnTo>
                  <a:lnTo>
                    <a:pt x="6494868" y="13849829"/>
                  </a:lnTo>
                  <a:lnTo>
                    <a:pt x="6471044" y="13854597"/>
                  </a:lnTo>
                  <a:lnTo>
                    <a:pt x="6466276" y="13864125"/>
                  </a:lnTo>
                  <a:lnTo>
                    <a:pt x="6456748" y="13883185"/>
                  </a:lnTo>
                  <a:lnTo>
                    <a:pt x="6447216" y="13892717"/>
                  </a:lnTo>
                  <a:lnTo>
                    <a:pt x="6432920" y="13911777"/>
                  </a:lnTo>
                  <a:lnTo>
                    <a:pt x="6428156" y="13930837"/>
                  </a:lnTo>
                  <a:lnTo>
                    <a:pt x="6437688" y="13954665"/>
                  </a:lnTo>
                  <a:lnTo>
                    <a:pt x="6461512" y="14002317"/>
                  </a:lnTo>
                  <a:lnTo>
                    <a:pt x="6461512" y="14016609"/>
                  </a:lnTo>
                  <a:lnTo>
                    <a:pt x="6456748" y="14030905"/>
                  </a:lnTo>
                  <a:lnTo>
                    <a:pt x="6437688" y="14040437"/>
                  </a:lnTo>
                  <a:lnTo>
                    <a:pt x="6413860" y="14064261"/>
                  </a:lnTo>
                  <a:lnTo>
                    <a:pt x="6385272" y="14064261"/>
                  </a:lnTo>
                  <a:lnTo>
                    <a:pt x="6375740" y="14069025"/>
                  </a:lnTo>
                  <a:lnTo>
                    <a:pt x="6342384" y="14097617"/>
                  </a:lnTo>
                  <a:lnTo>
                    <a:pt x="6318560" y="14107149"/>
                  </a:lnTo>
                  <a:lnTo>
                    <a:pt x="6313792" y="14121445"/>
                  </a:lnTo>
                  <a:lnTo>
                    <a:pt x="6318560" y="14130973"/>
                  </a:lnTo>
                  <a:lnTo>
                    <a:pt x="6351916" y="14145269"/>
                  </a:lnTo>
                  <a:lnTo>
                    <a:pt x="6366208" y="14159565"/>
                  </a:lnTo>
                  <a:lnTo>
                    <a:pt x="6370976" y="14178625"/>
                  </a:lnTo>
                  <a:lnTo>
                    <a:pt x="6380504" y="14192921"/>
                  </a:lnTo>
                  <a:lnTo>
                    <a:pt x="6404332" y="14197685"/>
                  </a:lnTo>
                  <a:lnTo>
                    <a:pt x="6461512" y="14216745"/>
                  </a:lnTo>
                  <a:lnTo>
                    <a:pt x="6461512" y="14221509"/>
                  </a:lnTo>
                  <a:lnTo>
                    <a:pt x="6466276" y="14231041"/>
                  </a:lnTo>
                  <a:lnTo>
                    <a:pt x="6518696" y="14240573"/>
                  </a:lnTo>
                  <a:lnTo>
                    <a:pt x="6528224" y="14250101"/>
                  </a:lnTo>
                  <a:lnTo>
                    <a:pt x="6552048" y="14273929"/>
                  </a:lnTo>
                  <a:lnTo>
                    <a:pt x="6556816" y="14297753"/>
                  </a:lnTo>
                  <a:lnTo>
                    <a:pt x="6542520" y="14316813"/>
                  </a:lnTo>
                  <a:lnTo>
                    <a:pt x="6537756" y="14354933"/>
                  </a:lnTo>
                  <a:lnTo>
                    <a:pt x="6523460" y="14388289"/>
                  </a:lnTo>
                  <a:lnTo>
                    <a:pt x="6499632" y="14407349"/>
                  </a:lnTo>
                  <a:lnTo>
                    <a:pt x="6456748" y="14426413"/>
                  </a:lnTo>
                  <a:lnTo>
                    <a:pt x="6409096" y="14435941"/>
                  </a:lnTo>
                  <a:lnTo>
                    <a:pt x="6385272" y="14435941"/>
                  </a:lnTo>
                  <a:lnTo>
                    <a:pt x="6375740" y="14431177"/>
                  </a:lnTo>
                  <a:lnTo>
                    <a:pt x="6351916" y="14426413"/>
                  </a:lnTo>
                  <a:lnTo>
                    <a:pt x="6337620" y="14412117"/>
                  </a:lnTo>
                  <a:lnTo>
                    <a:pt x="6323324" y="14393057"/>
                  </a:lnTo>
                  <a:lnTo>
                    <a:pt x="6318560" y="14388289"/>
                  </a:lnTo>
                  <a:lnTo>
                    <a:pt x="6309028" y="14393057"/>
                  </a:lnTo>
                  <a:lnTo>
                    <a:pt x="6299496" y="14402585"/>
                  </a:lnTo>
                  <a:lnTo>
                    <a:pt x="6289968" y="14431177"/>
                  </a:lnTo>
                  <a:lnTo>
                    <a:pt x="6280436" y="14455001"/>
                  </a:lnTo>
                  <a:lnTo>
                    <a:pt x="6270908" y="14464533"/>
                  </a:lnTo>
                  <a:lnTo>
                    <a:pt x="6232788" y="14478829"/>
                  </a:lnTo>
                  <a:lnTo>
                    <a:pt x="6228020" y="14474061"/>
                  </a:lnTo>
                  <a:lnTo>
                    <a:pt x="6232788" y="14455001"/>
                  </a:lnTo>
                  <a:lnTo>
                    <a:pt x="6228020" y="14450237"/>
                  </a:lnTo>
                  <a:lnTo>
                    <a:pt x="6223256" y="14445473"/>
                  </a:lnTo>
                  <a:lnTo>
                    <a:pt x="6180368" y="14440705"/>
                  </a:lnTo>
                  <a:lnTo>
                    <a:pt x="6161308" y="14435941"/>
                  </a:lnTo>
                  <a:lnTo>
                    <a:pt x="6147016" y="14431177"/>
                  </a:lnTo>
                  <a:lnTo>
                    <a:pt x="6132720" y="14431177"/>
                  </a:lnTo>
                  <a:lnTo>
                    <a:pt x="6123188" y="14416881"/>
                  </a:lnTo>
                  <a:lnTo>
                    <a:pt x="6099364" y="14388289"/>
                  </a:lnTo>
                  <a:lnTo>
                    <a:pt x="6080304" y="14359701"/>
                  </a:lnTo>
                  <a:lnTo>
                    <a:pt x="6051712" y="14335873"/>
                  </a:lnTo>
                  <a:lnTo>
                    <a:pt x="6023120" y="14331109"/>
                  </a:lnTo>
                  <a:lnTo>
                    <a:pt x="6023120" y="14335873"/>
                  </a:lnTo>
                  <a:lnTo>
                    <a:pt x="6004060" y="14335873"/>
                  </a:lnTo>
                  <a:lnTo>
                    <a:pt x="5970704" y="14331109"/>
                  </a:lnTo>
                  <a:lnTo>
                    <a:pt x="5956408" y="14340641"/>
                  </a:lnTo>
                  <a:lnTo>
                    <a:pt x="5951644" y="14359701"/>
                  </a:lnTo>
                  <a:lnTo>
                    <a:pt x="5942112" y="14373993"/>
                  </a:lnTo>
                  <a:lnTo>
                    <a:pt x="5927816" y="14378761"/>
                  </a:lnTo>
                  <a:lnTo>
                    <a:pt x="5908756" y="14378761"/>
                  </a:lnTo>
                  <a:lnTo>
                    <a:pt x="5889696" y="14364465"/>
                  </a:lnTo>
                  <a:lnTo>
                    <a:pt x="5865872" y="14345405"/>
                  </a:lnTo>
                  <a:lnTo>
                    <a:pt x="5842048" y="14335873"/>
                  </a:lnTo>
                  <a:lnTo>
                    <a:pt x="5818220" y="14340641"/>
                  </a:lnTo>
                  <a:lnTo>
                    <a:pt x="5803924" y="14345405"/>
                  </a:lnTo>
                  <a:lnTo>
                    <a:pt x="5780100" y="14359701"/>
                  </a:lnTo>
                  <a:lnTo>
                    <a:pt x="5770568" y="14350169"/>
                  </a:lnTo>
                  <a:lnTo>
                    <a:pt x="5761040" y="14350169"/>
                  </a:lnTo>
                  <a:lnTo>
                    <a:pt x="5732448" y="14369229"/>
                  </a:lnTo>
                  <a:lnTo>
                    <a:pt x="5703856" y="14393057"/>
                  </a:lnTo>
                  <a:lnTo>
                    <a:pt x="5699092" y="14407349"/>
                  </a:lnTo>
                  <a:lnTo>
                    <a:pt x="5689560" y="14421645"/>
                  </a:lnTo>
                  <a:lnTo>
                    <a:pt x="5670500" y="14440705"/>
                  </a:lnTo>
                  <a:lnTo>
                    <a:pt x="5651440" y="14450237"/>
                  </a:lnTo>
                  <a:lnTo>
                    <a:pt x="5632380" y="14455001"/>
                  </a:lnTo>
                  <a:lnTo>
                    <a:pt x="5613320" y="14450237"/>
                  </a:lnTo>
                  <a:lnTo>
                    <a:pt x="5584728" y="14435941"/>
                  </a:lnTo>
                  <a:lnTo>
                    <a:pt x="5556136" y="14416881"/>
                  </a:lnTo>
                  <a:lnTo>
                    <a:pt x="5527548" y="14383525"/>
                  </a:lnTo>
                  <a:lnTo>
                    <a:pt x="5508488" y="14369229"/>
                  </a:lnTo>
                  <a:lnTo>
                    <a:pt x="5484660" y="14354933"/>
                  </a:lnTo>
                  <a:lnTo>
                    <a:pt x="5470368" y="14350169"/>
                  </a:lnTo>
                  <a:lnTo>
                    <a:pt x="5460836" y="14354933"/>
                  </a:lnTo>
                  <a:lnTo>
                    <a:pt x="5456072" y="14364465"/>
                  </a:lnTo>
                  <a:lnTo>
                    <a:pt x="5460836" y="14373993"/>
                  </a:lnTo>
                  <a:lnTo>
                    <a:pt x="5465600" y="14383525"/>
                  </a:lnTo>
                  <a:lnTo>
                    <a:pt x="5470368" y="14407349"/>
                  </a:lnTo>
                  <a:lnTo>
                    <a:pt x="5470368" y="14435941"/>
                  </a:lnTo>
                  <a:lnTo>
                    <a:pt x="5470368" y="14455001"/>
                  </a:lnTo>
                  <a:lnTo>
                    <a:pt x="5465600" y="14464533"/>
                  </a:lnTo>
                  <a:lnTo>
                    <a:pt x="5456072" y="14469297"/>
                  </a:lnTo>
                  <a:lnTo>
                    <a:pt x="5451304" y="14464533"/>
                  </a:lnTo>
                  <a:lnTo>
                    <a:pt x="5446540" y="14455001"/>
                  </a:lnTo>
                  <a:lnTo>
                    <a:pt x="5441776" y="14435941"/>
                  </a:lnTo>
                  <a:lnTo>
                    <a:pt x="5437008" y="14407349"/>
                  </a:lnTo>
                  <a:lnTo>
                    <a:pt x="5417948" y="14373993"/>
                  </a:lnTo>
                  <a:lnTo>
                    <a:pt x="5398888" y="14354933"/>
                  </a:lnTo>
                  <a:lnTo>
                    <a:pt x="5394124" y="14340641"/>
                  </a:lnTo>
                  <a:lnTo>
                    <a:pt x="5375064" y="14326345"/>
                  </a:lnTo>
                  <a:lnTo>
                    <a:pt x="5365532" y="14312049"/>
                  </a:lnTo>
                  <a:lnTo>
                    <a:pt x="5336944" y="14297753"/>
                  </a:lnTo>
                  <a:lnTo>
                    <a:pt x="5322648" y="14288221"/>
                  </a:lnTo>
                  <a:lnTo>
                    <a:pt x="5298820" y="14254865"/>
                  </a:lnTo>
                  <a:lnTo>
                    <a:pt x="5284528" y="14240573"/>
                  </a:lnTo>
                  <a:lnTo>
                    <a:pt x="5265464" y="14231041"/>
                  </a:lnTo>
                  <a:lnTo>
                    <a:pt x="5251168" y="14231041"/>
                  </a:lnTo>
                  <a:lnTo>
                    <a:pt x="5222580" y="14235805"/>
                  </a:lnTo>
                  <a:lnTo>
                    <a:pt x="5198752" y="14235805"/>
                  </a:lnTo>
                  <a:lnTo>
                    <a:pt x="5184460" y="14231041"/>
                  </a:lnTo>
                  <a:lnTo>
                    <a:pt x="5174928" y="14226277"/>
                  </a:lnTo>
                  <a:lnTo>
                    <a:pt x="5170164" y="14226277"/>
                  </a:lnTo>
                  <a:lnTo>
                    <a:pt x="5155868" y="14235805"/>
                  </a:lnTo>
                  <a:lnTo>
                    <a:pt x="5155868" y="14231041"/>
                  </a:lnTo>
                  <a:lnTo>
                    <a:pt x="5146336" y="14231041"/>
                  </a:lnTo>
                  <a:lnTo>
                    <a:pt x="5136808" y="14226277"/>
                  </a:lnTo>
                  <a:lnTo>
                    <a:pt x="5122512" y="14202449"/>
                  </a:lnTo>
                  <a:lnTo>
                    <a:pt x="5108216" y="14183389"/>
                  </a:lnTo>
                  <a:lnTo>
                    <a:pt x="5093920" y="14173861"/>
                  </a:lnTo>
                  <a:lnTo>
                    <a:pt x="5060564" y="14183389"/>
                  </a:lnTo>
                  <a:lnTo>
                    <a:pt x="5022444" y="14216745"/>
                  </a:lnTo>
                  <a:lnTo>
                    <a:pt x="4998620" y="14231041"/>
                  </a:lnTo>
                  <a:lnTo>
                    <a:pt x="4974792" y="14231041"/>
                  </a:lnTo>
                  <a:lnTo>
                    <a:pt x="4965264" y="14235805"/>
                  </a:lnTo>
                  <a:lnTo>
                    <a:pt x="4955732" y="14235805"/>
                  </a:lnTo>
                  <a:lnTo>
                    <a:pt x="4950968" y="14226277"/>
                  </a:lnTo>
                  <a:lnTo>
                    <a:pt x="4946200" y="14216745"/>
                  </a:lnTo>
                  <a:lnTo>
                    <a:pt x="4946200" y="14202449"/>
                  </a:lnTo>
                  <a:lnTo>
                    <a:pt x="4927140" y="14192921"/>
                  </a:lnTo>
                  <a:lnTo>
                    <a:pt x="4903316" y="14183389"/>
                  </a:lnTo>
                  <a:lnTo>
                    <a:pt x="4884256" y="14173861"/>
                  </a:lnTo>
                  <a:lnTo>
                    <a:pt x="4869960" y="14169093"/>
                  </a:lnTo>
                  <a:lnTo>
                    <a:pt x="4865196" y="14183389"/>
                  </a:lnTo>
                  <a:lnTo>
                    <a:pt x="4846136" y="14207217"/>
                  </a:lnTo>
                  <a:lnTo>
                    <a:pt x="4827072" y="14226277"/>
                  </a:lnTo>
                  <a:lnTo>
                    <a:pt x="4803248" y="14259633"/>
                  </a:lnTo>
                  <a:lnTo>
                    <a:pt x="4793716" y="14273929"/>
                  </a:lnTo>
                  <a:lnTo>
                    <a:pt x="4784188" y="14278693"/>
                  </a:lnTo>
                  <a:lnTo>
                    <a:pt x="4760360" y="14288221"/>
                  </a:lnTo>
                  <a:lnTo>
                    <a:pt x="4736536" y="14302517"/>
                  </a:lnTo>
                  <a:lnTo>
                    <a:pt x="4717476" y="14321577"/>
                  </a:lnTo>
                  <a:lnTo>
                    <a:pt x="4693652" y="14326345"/>
                  </a:lnTo>
                  <a:lnTo>
                    <a:pt x="4665060" y="14331109"/>
                  </a:lnTo>
                  <a:lnTo>
                    <a:pt x="4655528" y="14345405"/>
                  </a:lnTo>
                  <a:lnTo>
                    <a:pt x="4650764" y="14369229"/>
                  </a:lnTo>
                  <a:lnTo>
                    <a:pt x="4641232" y="14388289"/>
                  </a:lnTo>
                  <a:lnTo>
                    <a:pt x="4598348" y="14421645"/>
                  </a:lnTo>
                  <a:lnTo>
                    <a:pt x="4574520" y="14440705"/>
                  </a:lnTo>
                  <a:lnTo>
                    <a:pt x="4560228" y="14450237"/>
                  </a:lnTo>
                  <a:lnTo>
                    <a:pt x="4545932" y="14450237"/>
                  </a:lnTo>
                  <a:lnTo>
                    <a:pt x="4536400" y="14445473"/>
                  </a:lnTo>
                  <a:lnTo>
                    <a:pt x="4531636" y="14450237"/>
                  </a:lnTo>
                  <a:lnTo>
                    <a:pt x="4536400" y="14464533"/>
                  </a:lnTo>
                  <a:lnTo>
                    <a:pt x="4541168" y="14512185"/>
                  </a:lnTo>
                  <a:lnTo>
                    <a:pt x="4550696" y="14545541"/>
                  </a:lnTo>
                  <a:lnTo>
                    <a:pt x="4555460" y="14559833"/>
                  </a:lnTo>
                  <a:lnTo>
                    <a:pt x="4560228" y="14574129"/>
                  </a:lnTo>
                  <a:lnTo>
                    <a:pt x="4564992" y="14593189"/>
                  </a:lnTo>
                  <a:lnTo>
                    <a:pt x="4560228" y="14607485"/>
                  </a:lnTo>
                  <a:lnTo>
                    <a:pt x="4550696" y="14617017"/>
                  </a:lnTo>
                  <a:lnTo>
                    <a:pt x="4526872" y="14631313"/>
                  </a:lnTo>
                  <a:lnTo>
                    <a:pt x="4503044" y="14640841"/>
                  </a:lnTo>
                  <a:lnTo>
                    <a:pt x="4483984" y="14631313"/>
                  </a:lnTo>
                  <a:lnTo>
                    <a:pt x="4469688" y="14617017"/>
                  </a:lnTo>
                  <a:lnTo>
                    <a:pt x="4460160" y="14607485"/>
                  </a:lnTo>
                  <a:lnTo>
                    <a:pt x="4441100" y="14574129"/>
                  </a:lnTo>
                  <a:lnTo>
                    <a:pt x="4407744" y="14531245"/>
                  </a:lnTo>
                  <a:lnTo>
                    <a:pt x="4388680" y="14507417"/>
                  </a:lnTo>
                  <a:lnTo>
                    <a:pt x="4369620" y="14497889"/>
                  </a:lnTo>
                  <a:lnTo>
                    <a:pt x="4355328" y="14497889"/>
                  </a:lnTo>
                  <a:lnTo>
                    <a:pt x="4345796" y="14512185"/>
                  </a:lnTo>
                  <a:lnTo>
                    <a:pt x="4336264" y="14521713"/>
                  </a:lnTo>
                  <a:lnTo>
                    <a:pt x="4326736" y="14531245"/>
                  </a:lnTo>
                  <a:lnTo>
                    <a:pt x="4321972" y="14545541"/>
                  </a:lnTo>
                  <a:lnTo>
                    <a:pt x="4321972" y="14564601"/>
                  </a:lnTo>
                  <a:lnTo>
                    <a:pt x="4321972" y="14583661"/>
                  </a:lnTo>
                  <a:lnTo>
                    <a:pt x="4317204" y="14597957"/>
                  </a:lnTo>
                  <a:lnTo>
                    <a:pt x="4298144" y="14612253"/>
                  </a:lnTo>
                  <a:lnTo>
                    <a:pt x="4274320" y="14636077"/>
                  </a:lnTo>
                  <a:lnTo>
                    <a:pt x="4260024" y="14674197"/>
                  </a:lnTo>
                  <a:lnTo>
                    <a:pt x="4250492" y="14717085"/>
                  </a:lnTo>
                  <a:lnTo>
                    <a:pt x="4245728" y="14750441"/>
                  </a:lnTo>
                  <a:lnTo>
                    <a:pt x="4255260" y="14764737"/>
                  </a:lnTo>
                  <a:lnTo>
                    <a:pt x="4269552" y="14779029"/>
                  </a:lnTo>
                  <a:lnTo>
                    <a:pt x="4279084" y="14793325"/>
                  </a:lnTo>
                  <a:lnTo>
                    <a:pt x="4283848" y="14802857"/>
                  </a:lnTo>
                  <a:lnTo>
                    <a:pt x="4279084" y="14817153"/>
                  </a:lnTo>
                  <a:lnTo>
                    <a:pt x="4269552" y="14831449"/>
                  </a:lnTo>
                  <a:lnTo>
                    <a:pt x="4255260" y="14845741"/>
                  </a:lnTo>
                  <a:lnTo>
                    <a:pt x="4231432" y="14883865"/>
                  </a:lnTo>
                  <a:lnTo>
                    <a:pt x="4217136" y="14941045"/>
                  </a:lnTo>
                  <a:lnTo>
                    <a:pt x="4221904" y="14979165"/>
                  </a:lnTo>
                  <a:lnTo>
                    <a:pt x="4255260" y="14998225"/>
                  </a:lnTo>
                  <a:lnTo>
                    <a:pt x="4279084" y="15007757"/>
                  </a:lnTo>
                  <a:lnTo>
                    <a:pt x="4288616" y="15022053"/>
                  </a:lnTo>
                  <a:lnTo>
                    <a:pt x="4298144" y="15045877"/>
                  </a:lnTo>
                  <a:lnTo>
                    <a:pt x="4293380" y="15069705"/>
                  </a:lnTo>
                  <a:lnTo>
                    <a:pt x="4293380" y="15088765"/>
                  </a:lnTo>
                  <a:lnTo>
                    <a:pt x="4298144" y="15103061"/>
                  </a:lnTo>
                  <a:lnTo>
                    <a:pt x="4307676" y="15122121"/>
                  </a:lnTo>
                  <a:lnTo>
                    <a:pt x="4321972" y="15136417"/>
                  </a:lnTo>
                  <a:lnTo>
                    <a:pt x="4336264" y="15126885"/>
                  </a:lnTo>
                  <a:lnTo>
                    <a:pt x="4350560" y="15122121"/>
                  </a:lnTo>
                  <a:lnTo>
                    <a:pt x="4369620" y="15122121"/>
                  </a:lnTo>
                  <a:lnTo>
                    <a:pt x="4422040" y="15131649"/>
                  </a:lnTo>
                  <a:lnTo>
                    <a:pt x="4450628" y="15136417"/>
                  </a:lnTo>
                  <a:lnTo>
                    <a:pt x="4460160" y="15141181"/>
                  </a:lnTo>
                  <a:lnTo>
                    <a:pt x="4474456" y="15169773"/>
                  </a:lnTo>
                  <a:lnTo>
                    <a:pt x="4498280" y="15203129"/>
                  </a:lnTo>
                  <a:lnTo>
                    <a:pt x="4522104" y="15231717"/>
                  </a:lnTo>
                  <a:lnTo>
                    <a:pt x="4526872" y="15246013"/>
                  </a:lnTo>
                  <a:lnTo>
                    <a:pt x="4545932" y="15284133"/>
                  </a:lnTo>
                  <a:lnTo>
                    <a:pt x="4564992" y="15317489"/>
                  </a:lnTo>
                  <a:lnTo>
                    <a:pt x="4584052" y="15355613"/>
                  </a:lnTo>
                  <a:lnTo>
                    <a:pt x="4584052" y="15369905"/>
                  </a:lnTo>
                  <a:lnTo>
                    <a:pt x="4569756" y="15374673"/>
                  </a:lnTo>
                  <a:lnTo>
                    <a:pt x="4555460" y="15369905"/>
                  </a:lnTo>
                  <a:lnTo>
                    <a:pt x="4541168" y="15365141"/>
                  </a:lnTo>
                  <a:lnTo>
                    <a:pt x="4536400" y="15360377"/>
                  </a:lnTo>
                  <a:lnTo>
                    <a:pt x="4526872" y="15360377"/>
                  </a:lnTo>
                  <a:lnTo>
                    <a:pt x="4522104" y="15360377"/>
                  </a:lnTo>
                  <a:lnTo>
                    <a:pt x="4512576" y="15365141"/>
                  </a:lnTo>
                  <a:lnTo>
                    <a:pt x="4512576" y="15374673"/>
                  </a:lnTo>
                  <a:lnTo>
                    <a:pt x="4512576" y="15384201"/>
                  </a:lnTo>
                  <a:lnTo>
                    <a:pt x="4517340" y="15393733"/>
                  </a:lnTo>
                  <a:lnTo>
                    <a:pt x="4526872" y="15403261"/>
                  </a:lnTo>
                  <a:lnTo>
                    <a:pt x="4555460" y="15417557"/>
                  </a:lnTo>
                  <a:lnTo>
                    <a:pt x="4584052" y="15431853"/>
                  </a:lnTo>
                  <a:lnTo>
                    <a:pt x="4617408" y="15455677"/>
                  </a:lnTo>
                  <a:lnTo>
                    <a:pt x="4626940" y="15455677"/>
                  </a:lnTo>
                  <a:lnTo>
                    <a:pt x="4626940" y="15465209"/>
                  </a:lnTo>
                  <a:lnTo>
                    <a:pt x="4607876" y="15469973"/>
                  </a:lnTo>
                  <a:lnTo>
                    <a:pt x="4607876" y="15479505"/>
                  </a:lnTo>
                  <a:lnTo>
                    <a:pt x="4603112" y="15489033"/>
                  </a:lnTo>
                  <a:lnTo>
                    <a:pt x="4560228" y="15508097"/>
                  </a:lnTo>
                  <a:lnTo>
                    <a:pt x="4550696" y="15508097"/>
                  </a:lnTo>
                  <a:lnTo>
                    <a:pt x="4541168" y="15512861"/>
                  </a:lnTo>
                  <a:lnTo>
                    <a:pt x="4541168" y="15527157"/>
                  </a:lnTo>
                  <a:lnTo>
                    <a:pt x="4541168" y="15536685"/>
                  </a:lnTo>
                  <a:lnTo>
                    <a:pt x="4550696" y="15550981"/>
                  </a:lnTo>
                  <a:lnTo>
                    <a:pt x="4545932" y="15555745"/>
                  </a:lnTo>
                  <a:lnTo>
                    <a:pt x="4541168" y="15555745"/>
                  </a:lnTo>
                  <a:lnTo>
                    <a:pt x="4531636" y="15555745"/>
                  </a:lnTo>
                  <a:lnTo>
                    <a:pt x="4526872" y="15546217"/>
                  </a:lnTo>
                  <a:lnTo>
                    <a:pt x="4517340" y="15546217"/>
                  </a:lnTo>
                  <a:lnTo>
                    <a:pt x="4507812" y="15546217"/>
                  </a:lnTo>
                  <a:lnTo>
                    <a:pt x="4474456" y="15584337"/>
                  </a:lnTo>
                  <a:lnTo>
                    <a:pt x="4460160" y="15593869"/>
                  </a:lnTo>
                  <a:lnTo>
                    <a:pt x="4441100" y="15593869"/>
                  </a:lnTo>
                  <a:lnTo>
                    <a:pt x="4407744" y="15608161"/>
                  </a:lnTo>
                  <a:lnTo>
                    <a:pt x="4398212" y="15608161"/>
                  </a:lnTo>
                  <a:lnTo>
                    <a:pt x="4388680" y="15603397"/>
                  </a:lnTo>
                  <a:lnTo>
                    <a:pt x="4379152" y="15608161"/>
                  </a:lnTo>
                  <a:lnTo>
                    <a:pt x="4374388" y="15627225"/>
                  </a:lnTo>
                  <a:lnTo>
                    <a:pt x="4364856" y="15612929"/>
                  </a:lnTo>
                  <a:lnTo>
                    <a:pt x="4355328" y="15608161"/>
                  </a:lnTo>
                  <a:lnTo>
                    <a:pt x="4350560" y="15603397"/>
                  </a:lnTo>
                  <a:lnTo>
                    <a:pt x="4360092" y="15622457"/>
                  </a:lnTo>
                  <a:lnTo>
                    <a:pt x="4360092" y="15636753"/>
                  </a:lnTo>
                  <a:lnTo>
                    <a:pt x="4355328" y="15646285"/>
                  </a:lnTo>
                  <a:lnTo>
                    <a:pt x="4355328" y="15655813"/>
                  </a:lnTo>
                  <a:lnTo>
                    <a:pt x="4350560" y="15660581"/>
                  </a:lnTo>
                  <a:lnTo>
                    <a:pt x="4341032" y="15660581"/>
                  </a:lnTo>
                  <a:lnTo>
                    <a:pt x="4336264" y="15689169"/>
                  </a:lnTo>
                  <a:lnTo>
                    <a:pt x="4331500" y="15708229"/>
                  </a:lnTo>
                  <a:lnTo>
                    <a:pt x="4321972" y="15722525"/>
                  </a:lnTo>
                  <a:lnTo>
                    <a:pt x="4312440" y="15751117"/>
                  </a:lnTo>
                  <a:lnTo>
                    <a:pt x="4302908" y="15760645"/>
                  </a:lnTo>
                  <a:lnTo>
                    <a:pt x="4293380" y="15774941"/>
                  </a:lnTo>
                  <a:lnTo>
                    <a:pt x="4288616" y="15794001"/>
                  </a:lnTo>
                  <a:lnTo>
                    <a:pt x="4283848" y="15789237"/>
                  </a:lnTo>
                  <a:lnTo>
                    <a:pt x="4279084" y="15784473"/>
                  </a:lnTo>
                  <a:lnTo>
                    <a:pt x="4274320" y="15794001"/>
                  </a:lnTo>
                  <a:lnTo>
                    <a:pt x="4269552" y="15803533"/>
                  </a:lnTo>
                  <a:lnTo>
                    <a:pt x="4250492" y="15817829"/>
                  </a:lnTo>
                  <a:lnTo>
                    <a:pt x="4240964" y="15832125"/>
                  </a:lnTo>
                  <a:lnTo>
                    <a:pt x="4231432" y="15851185"/>
                  </a:lnTo>
                  <a:lnTo>
                    <a:pt x="4231432" y="15865481"/>
                  </a:lnTo>
                  <a:lnTo>
                    <a:pt x="4231432" y="15875009"/>
                  </a:lnTo>
                  <a:lnTo>
                    <a:pt x="4240964" y="15884541"/>
                  </a:lnTo>
                  <a:lnTo>
                    <a:pt x="4264788" y="15889305"/>
                  </a:lnTo>
                  <a:lnTo>
                    <a:pt x="4279084" y="15898837"/>
                  </a:lnTo>
                  <a:lnTo>
                    <a:pt x="4298144" y="15917897"/>
                  </a:lnTo>
                  <a:lnTo>
                    <a:pt x="4312440" y="15932193"/>
                  </a:lnTo>
                  <a:lnTo>
                    <a:pt x="4326736" y="15951253"/>
                  </a:lnTo>
                  <a:lnTo>
                    <a:pt x="4331500" y="15975077"/>
                  </a:lnTo>
                  <a:lnTo>
                    <a:pt x="4345796" y="16022729"/>
                  </a:lnTo>
                  <a:lnTo>
                    <a:pt x="4350560" y="16070381"/>
                  </a:lnTo>
                  <a:lnTo>
                    <a:pt x="4364856" y="16013197"/>
                  </a:lnTo>
                  <a:lnTo>
                    <a:pt x="4379152" y="15998905"/>
                  </a:lnTo>
                  <a:lnTo>
                    <a:pt x="4374388" y="16017965"/>
                  </a:lnTo>
                  <a:lnTo>
                    <a:pt x="4364856" y="16041789"/>
                  </a:lnTo>
                  <a:lnTo>
                    <a:pt x="4355328" y="16079909"/>
                  </a:lnTo>
                  <a:lnTo>
                    <a:pt x="4355328" y="16108501"/>
                  </a:lnTo>
                  <a:lnTo>
                    <a:pt x="4355328" y="16132325"/>
                  </a:lnTo>
                  <a:lnTo>
                    <a:pt x="4355328" y="16141857"/>
                  </a:lnTo>
                  <a:lnTo>
                    <a:pt x="4350560" y="16184745"/>
                  </a:lnTo>
                  <a:lnTo>
                    <a:pt x="4355328" y="16189509"/>
                  </a:lnTo>
                  <a:lnTo>
                    <a:pt x="4360092" y="16199037"/>
                  </a:lnTo>
                  <a:lnTo>
                    <a:pt x="4374388" y="16208569"/>
                  </a:lnTo>
                  <a:lnTo>
                    <a:pt x="4388680" y="16232393"/>
                  </a:lnTo>
                  <a:lnTo>
                    <a:pt x="4388680" y="16256221"/>
                  </a:lnTo>
                  <a:lnTo>
                    <a:pt x="4398212" y="16265749"/>
                  </a:lnTo>
                  <a:lnTo>
                    <a:pt x="4407744" y="16270517"/>
                  </a:lnTo>
                  <a:lnTo>
                    <a:pt x="4445864" y="16327697"/>
                  </a:lnTo>
                  <a:lnTo>
                    <a:pt x="4469688" y="16365817"/>
                  </a:lnTo>
                  <a:lnTo>
                    <a:pt x="4479220" y="16384877"/>
                  </a:lnTo>
                  <a:lnTo>
                    <a:pt x="4493516" y="16413469"/>
                  </a:lnTo>
                  <a:lnTo>
                    <a:pt x="4498280" y="16418233"/>
                  </a:lnTo>
                  <a:lnTo>
                    <a:pt x="4507812" y="16423001"/>
                  </a:lnTo>
                  <a:lnTo>
                    <a:pt x="4522104" y="16432529"/>
                  </a:lnTo>
                  <a:lnTo>
                    <a:pt x="4512576" y="16446825"/>
                  </a:lnTo>
                  <a:lnTo>
                    <a:pt x="4503044" y="16470649"/>
                  </a:lnTo>
                  <a:lnTo>
                    <a:pt x="4493516" y="16484945"/>
                  </a:lnTo>
                  <a:lnTo>
                    <a:pt x="4479220" y="16499241"/>
                  </a:lnTo>
                  <a:lnTo>
                    <a:pt x="4455392" y="16508773"/>
                  </a:lnTo>
                  <a:lnTo>
                    <a:pt x="4441100" y="16513537"/>
                  </a:lnTo>
                  <a:lnTo>
                    <a:pt x="4426804" y="16542129"/>
                  </a:lnTo>
                  <a:lnTo>
                    <a:pt x="4412508" y="16565953"/>
                  </a:lnTo>
                  <a:lnTo>
                    <a:pt x="4402976" y="16570717"/>
                  </a:lnTo>
                  <a:lnTo>
                    <a:pt x="4369620" y="16565953"/>
                  </a:lnTo>
                  <a:lnTo>
                    <a:pt x="4360092" y="16561189"/>
                  </a:lnTo>
                  <a:lnTo>
                    <a:pt x="4326736" y="16551657"/>
                  </a:lnTo>
                  <a:lnTo>
                    <a:pt x="4317204" y="16546893"/>
                  </a:lnTo>
                  <a:lnTo>
                    <a:pt x="4307676" y="16513537"/>
                  </a:lnTo>
                  <a:lnTo>
                    <a:pt x="4298144" y="16504005"/>
                  </a:lnTo>
                  <a:lnTo>
                    <a:pt x="4288616" y="16494477"/>
                  </a:lnTo>
                  <a:lnTo>
                    <a:pt x="4279084" y="16489713"/>
                  </a:lnTo>
                  <a:lnTo>
                    <a:pt x="4274320" y="16480181"/>
                  </a:lnTo>
                  <a:lnTo>
                    <a:pt x="4264788" y="16470649"/>
                  </a:lnTo>
                  <a:lnTo>
                    <a:pt x="4250492" y="16456357"/>
                  </a:lnTo>
                  <a:lnTo>
                    <a:pt x="4236200" y="16442061"/>
                  </a:lnTo>
                  <a:lnTo>
                    <a:pt x="4231432" y="16437293"/>
                  </a:lnTo>
                  <a:lnTo>
                    <a:pt x="4217136" y="16442061"/>
                  </a:lnTo>
                  <a:lnTo>
                    <a:pt x="4212372" y="16442061"/>
                  </a:lnTo>
                  <a:lnTo>
                    <a:pt x="4207608" y="16442061"/>
                  </a:lnTo>
                  <a:lnTo>
                    <a:pt x="4207608" y="16427765"/>
                  </a:lnTo>
                  <a:lnTo>
                    <a:pt x="4188548" y="16423001"/>
                  </a:lnTo>
                  <a:lnTo>
                    <a:pt x="4183780" y="16423001"/>
                  </a:lnTo>
                  <a:lnTo>
                    <a:pt x="4164720" y="16408705"/>
                  </a:lnTo>
                  <a:lnTo>
                    <a:pt x="4155192" y="16403941"/>
                  </a:lnTo>
                  <a:lnTo>
                    <a:pt x="4145660" y="16403941"/>
                  </a:lnTo>
                  <a:lnTo>
                    <a:pt x="4126600" y="16399173"/>
                  </a:lnTo>
                  <a:lnTo>
                    <a:pt x="4112304" y="16394409"/>
                  </a:lnTo>
                  <a:lnTo>
                    <a:pt x="4107540" y="16389645"/>
                  </a:lnTo>
                  <a:lnTo>
                    <a:pt x="4098008" y="16380113"/>
                  </a:lnTo>
                  <a:lnTo>
                    <a:pt x="4078948" y="16370585"/>
                  </a:lnTo>
                  <a:lnTo>
                    <a:pt x="4064652" y="16356289"/>
                  </a:lnTo>
                  <a:lnTo>
                    <a:pt x="4064652" y="16351521"/>
                  </a:lnTo>
                  <a:lnTo>
                    <a:pt x="4074184" y="16327697"/>
                  </a:lnTo>
                  <a:lnTo>
                    <a:pt x="4078948" y="16303873"/>
                  </a:lnTo>
                  <a:lnTo>
                    <a:pt x="4074184" y="16299105"/>
                  </a:lnTo>
                  <a:lnTo>
                    <a:pt x="4064652" y="16294341"/>
                  </a:lnTo>
                  <a:lnTo>
                    <a:pt x="4055124" y="16289577"/>
                  </a:lnTo>
                  <a:lnTo>
                    <a:pt x="4017000" y="16289577"/>
                  </a:lnTo>
                  <a:lnTo>
                    <a:pt x="3997940" y="16265749"/>
                  </a:lnTo>
                  <a:lnTo>
                    <a:pt x="3988412" y="16260985"/>
                  </a:lnTo>
                  <a:lnTo>
                    <a:pt x="3974116" y="16256221"/>
                  </a:lnTo>
                  <a:lnTo>
                    <a:pt x="3955056" y="16246689"/>
                  </a:lnTo>
                  <a:lnTo>
                    <a:pt x="3945524" y="16241925"/>
                  </a:lnTo>
                  <a:lnTo>
                    <a:pt x="3940760" y="16246689"/>
                  </a:lnTo>
                  <a:lnTo>
                    <a:pt x="3931228" y="16270517"/>
                  </a:lnTo>
                  <a:lnTo>
                    <a:pt x="3916936" y="16251453"/>
                  </a:lnTo>
                  <a:lnTo>
                    <a:pt x="3907404" y="16246689"/>
                  </a:lnTo>
                  <a:lnTo>
                    <a:pt x="3897872" y="16241925"/>
                  </a:lnTo>
                  <a:lnTo>
                    <a:pt x="3888344" y="16241925"/>
                  </a:lnTo>
                  <a:lnTo>
                    <a:pt x="3859752" y="16251453"/>
                  </a:lnTo>
                  <a:lnTo>
                    <a:pt x="3840692" y="16265749"/>
                  </a:lnTo>
                  <a:lnTo>
                    <a:pt x="3826396" y="16270517"/>
                  </a:lnTo>
                  <a:lnTo>
                    <a:pt x="3807336" y="16275281"/>
                  </a:lnTo>
                  <a:lnTo>
                    <a:pt x="3802572" y="16280045"/>
                  </a:lnTo>
                  <a:lnTo>
                    <a:pt x="3783512" y="16280045"/>
                  </a:lnTo>
                  <a:lnTo>
                    <a:pt x="3769216" y="16275281"/>
                  </a:lnTo>
                  <a:lnTo>
                    <a:pt x="3769216" y="16270517"/>
                  </a:lnTo>
                  <a:lnTo>
                    <a:pt x="3769216" y="16260985"/>
                  </a:lnTo>
                  <a:lnTo>
                    <a:pt x="3778744" y="16251453"/>
                  </a:lnTo>
                  <a:lnTo>
                    <a:pt x="3778744" y="16246689"/>
                  </a:lnTo>
                  <a:lnTo>
                    <a:pt x="3773980" y="16246689"/>
                  </a:lnTo>
                  <a:lnTo>
                    <a:pt x="3750156" y="16232393"/>
                  </a:lnTo>
                  <a:lnTo>
                    <a:pt x="3740624" y="16222865"/>
                  </a:lnTo>
                  <a:lnTo>
                    <a:pt x="3707268" y="16213333"/>
                  </a:lnTo>
                  <a:lnTo>
                    <a:pt x="3664384" y="16194273"/>
                  </a:lnTo>
                  <a:lnTo>
                    <a:pt x="3650088" y="16179977"/>
                  </a:lnTo>
                  <a:lnTo>
                    <a:pt x="3650088" y="16170449"/>
                  </a:lnTo>
                  <a:lnTo>
                    <a:pt x="3635792" y="16160917"/>
                  </a:lnTo>
                  <a:lnTo>
                    <a:pt x="3616732" y="16156153"/>
                  </a:lnTo>
                  <a:lnTo>
                    <a:pt x="3597672" y="16156153"/>
                  </a:lnTo>
                  <a:lnTo>
                    <a:pt x="3583376" y="16156153"/>
                  </a:lnTo>
                  <a:lnTo>
                    <a:pt x="3564316" y="16141857"/>
                  </a:lnTo>
                  <a:lnTo>
                    <a:pt x="3540488" y="16141857"/>
                  </a:lnTo>
                  <a:lnTo>
                    <a:pt x="3516664" y="16146621"/>
                  </a:lnTo>
                  <a:lnTo>
                    <a:pt x="3502368" y="16151389"/>
                  </a:lnTo>
                  <a:lnTo>
                    <a:pt x="3430892" y="16141857"/>
                  </a:lnTo>
                  <a:lnTo>
                    <a:pt x="3411832" y="16132325"/>
                  </a:lnTo>
                  <a:lnTo>
                    <a:pt x="3397536" y="16118033"/>
                  </a:lnTo>
                  <a:lnTo>
                    <a:pt x="3354648" y="16108501"/>
                  </a:lnTo>
                  <a:lnTo>
                    <a:pt x="3330824" y="16098969"/>
                  </a:lnTo>
                  <a:lnTo>
                    <a:pt x="3307000" y="16084677"/>
                  </a:lnTo>
                  <a:lnTo>
                    <a:pt x="3283172" y="16075145"/>
                  </a:lnTo>
                  <a:lnTo>
                    <a:pt x="3264112" y="16079909"/>
                  </a:lnTo>
                  <a:lnTo>
                    <a:pt x="3235520" y="16075145"/>
                  </a:lnTo>
                  <a:lnTo>
                    <a:pt x="3206932" y="16065617"/>
                  </a:lnTo>
                  <a:lnTo>
                    <a:pt x="3197400" y="16070381"/>
                  </a:lnTo>
                  <a:lnTo>
                    <a:pt x="3187868" y="16084677"/>
                  </a:lnTo>
                  <a:lnTo>
                    <a:pt x="3178340" y="16098969"/>
                  </a:lnTo>
                  <a:lnTo>
                    <a:pt x="3164044" y="16089441"/>
                  </a:lnTo>
                  <a:lnTo>
                    <a:pt x="3106864" y="16032261"/>
                  </a:lnTo>
                  <a:lnTo>
                    <a:pt x="3078272" y="15998905"/>
                  </a:lnTo>
                  <a:lnTo>
                    <a:pt x="2982968" y="15913129"/>
                  </a:lnTo>
                  <a:lnTo>
                    <a:pt x="2968672" y="15903601"/>
                  </a:lnTo>
                  <a:lnTo>
                    <a:pt x="2921024" y="15894069"/>
                  </a:lnTo>
                  <a:lnTo>
                    <a:pt x="2901964" y="15884541"/>
                  </a:lnTo>
                  <a:lnTo>
                    <a:pt x="2849544" y="15822593"/>
                  </a:lnTo>
                  <a:lnTo>
                    <a:pt x="2825720" y="15832125"/>
                  </a:lnTo>
                  <a:lnTo>
                    <a:pt x="2806660" y="15827357"/>
                  </a:lnTo>
                  <a:lnTo>
                    <a:pt x="2792364" y="15822593"/>
                  </a:lnTo>
                  <a:lnTo>
                    <a:pt x="2778068" y="15813065"/>
                  </a:lnTo>
                  <a:lnTo>
                    <a:pt x="2768540" y="15803533"/>
                  </a:lnTo>
                  <a:lnTo>
                    <a:pt x="2759008" y="15774941"/>
                  </a:lnTo>
                  <a:lnTo>
                    <a:pt x="2749480" y="15760645"/>
                  </a:lnTo>
                  <a:lnTo>
                    <a:pt x="2706592" y="15741585"/>
                  </a:lnTo>
                  <a:lnTo>
                    <a:pt x="2658940" y="15727293"/>
                  </a:lnTo>
                  <a:lnTo>
                    <a:pt x="2658940" y="15722525"/>
                  </a:lnTo>
                  <a:lnTo>
                    <a:pt x="2654176" y="15712997"/>
                  </a:lnTo>
                  <a:lnTo>
                    <a:pt x="2697060" y="15698701"/>
                  </a:lnTo>
                  <a:lnTo>
                    <a:pt x="2706592" y="15689169"/>
                  </a:lnTo>
                  <a:lnTo>
                    <a:pt x="2687532" y="15679641"/>
                  </a:lnTo>
                  <a:lnTo>
                    <a:pt x="2678000" y="15679641"/>
                  </a:lnTo>
                  <a:lnTo>
                    <a:pt x="2673236" y="15674873"/>
                  </a:lnTo>
                  <a:lnTo>
                    <a:pt x="2682768" y="15665345"/>
                  </a:lnTo>
                  <a:lnTo>
                    <a:pt x="2692296" y="15660581"/>
                  </a:lnTo>
                  <a:lnTo>
                    <a:pt x="2711356" y="15670109"/>
                  </a:lnTo>
                  <a:lnTo>
                    <a:pt x="2730416" y="15689169"/>
                  </a:lnTo>
                  <a:lnTo>
                    <a:pt x="2749480" y="15693937"/>
                  </a:lnTo>
                  <a:lnTo>
                    <a:pt x="2759008" y="15689169"/>
                  </a:lnTo>
                  <a:lnTo>
                    <a:pt x="2816192" y="15670109"/>
                  </a:lnTo>
                  <a:lnTo>
                    <a:pt x="2820956" y="15660581"/>
                  </a:lnTo>
                  <a:lnTo>
                    <a:pt x="2820956" y="15646285"/>
                  </a:lnTo>
                  <a:lnTo>
                    <a:pt x="2816192" y="15646285"/>
                  </a:lnTo>
                  <a:lnTo>
                    <a:pt x="2811424" y="15646285"/>
                  </a:lnTo>
                  <a:lnTo>
                    <a:pt x="2811424" y="15631989"/>
                  </a:lnTo>
                  <a:lnTo>
                    <a:pt x="2820956" y="15608161"/>
                  </a:lnTo>
                  <a:lnTo>
                    <a:pt x="2844780" y="15579573"/>
                  </a:lnTo>
                  <a:lnTo>
                    <a:pt x="2859076" y="15531921"/>
                  </a:lnTo>
                  <a:lnTo>
                    <a:pt x="2873372" y="15522389"/>
                  </a:lnTo>
                  <a:lnTo>
                    <a:pt x="2882900" y="15527157"/>
                  </a:lnTo>
                  <a:lnTo>
                    <a:pt x="2882900" y="15541453"/>
                  </a:lnTo>
                  <a:lnTo>
                    <a:pt x="2882900" y="15546217"/>
                  </a:lnTo>
                  <a:lnTo>
                    <a:pt x="2892432" y="15531921"/>
                  </a:lnTo>
                  <a:lnTo>
                    <a:pt x="2901964" y="15512861"/>
                  </a:lnTo>
                  <a:lnTo>
                    <a:pt x="2921024" y="15512861"/>
                  </a:lnTo>
                  <a:lnTo>
                    <a:pt x="2935320" y="15512861"/>
                  </a:lnTo>
                  <a:lnTo>
                    <a:pt x="2949612" y="15512861"/>
                  </a:lnTo>
                  <a:lnTo>
                    <a:pt x="2921024" y="15479505"/>
                  </a:lnTo>
                  <a:lnTo>
                    <a:pt x="2882900" y="15441385"/>
                  </a:lnTo>
                  <a:lnTo>
                    <a:pt x="2868608" y="15446149"/>
                  </a:lnTo>
                  <a:lnTo>
                    <a:pt x="2859076" y="15441385"/>
                  </a:lnTo>
                  <a:lnTo>
                    <a:pt x="2840016" y="15412793"/>
                  </a:lnTo>
                  <a:lnTo>
                    <a:pt x="2835252" y="15388969"/>
                  </a:lnTo>
                  <a:lnTo>
                    <a:pt x="2849544" y="15388969"/>
                  </a:lnTo>
                  <a:lnTo>
                    <a:pt x="2868608" y="15393733"/>
                  </a:lnTo>
                  <a:lnTo>
                    <a:pt x="2897196" y="15374673"/>
                  </a:lnTo>
                  <a:lnTo>
                    <a:pt x="2906728" y="15374673"/>
                  </a:lnTo>
                  <a:lnTo>
                    <a:pt x="2925788" y="15379437"/>
                  </a:lnTo>
                  <a:lnTo>
                    <a:pt x="2949612" y="15384201"/>
                  </a:lnTo>
                  <a:lnTo>
                    <a:pt x="2949612" y="15365141"/>
                  </a:lnTo>
                  <a:lnTo>
                    <a:pt x="2940084" y="15350845"/>
                  </a:lnTo>
                  <a:lnTo>
                    <a:pt x="2968672" y="15336549"/>
                  </a:lnTo>
                  <a:lnTo>
                    <a:pt x="2997264" y="15327021"/>
                  </a:lnTo>
                  <a:lnTo>
                    <a:pt x="3049680" y="15298429"/>
                  </a:lnTo>
                  <a:lnTo>
                    <a:pt x="3068740" y="15293665"/>
                  </a:lnTo>
                  <a:lnTo>
                    <a:pt x="3073508" y="15288901"/>
                  </a:lnTo>
                  <a:lnTo>
                    <a:pt x="3073508" y="15279369"/>
                  </a:lnTo>
                  <a:lnTo>
                    <a:pt x="3063976" y="15260309"/>
                  </a:lnTo>
                  <a:lnTo>
                    <a:pt x="3059212" y="15246013"/>
                  </a:lnTo>
                  <a:lnTo>
                    <a:pt x="3030620" y="15241249"/>
                  </a:lnTo>
                  <a:lnTo>
                    <a:pt x="3016324" y="15265073"/>
                  </a:lnTo>
                  <a:lnTo>
                    <a:pt x="2978204" y="15274605"/>
                  </a:lnTo>
                  <a:lnTo>
                    <a:pt x="2959144" y="15269837"/>
                  </a:lnTo>
                  <a:lnTo>
                    <a:pt x="2973440" y="15255545"/>
                  </a:lnTo>
                  <a:lnTo>
                    <a:pt x="2987736" y="15250777"/>
                  </a:lnTo>
                  <a:lnTo>
                    <a:pt x="2992500" y="15246013"/>
                  </a:lnTo>
                  <a:lnTo>
                    <a:pt x="2963908" y="15250777"/>
                  </a:lnTo>
                  <a:lnTo>
                    <a:pt x="2944848" y="15265073"/>
                  </a:lnTo>
                  <a:lnTo>
                    <a:pt x="2906728" y="15284133"/>
                  </a:lnTo>
                  <a:lnTo>
                    <a:pt x="2901964" y="15274605"/>
                  </a:lnTo>
                  <a:lnTo>
                    <a:pt x="2901964" y="15265073"/>
                  </a:lnTo>
                  <a:lnTo>
                    <a:pt x="2906728" y="15255545"/>
                  </a:lnTo>
                  <a:lnTo>
                    <a:pt x="2911492" y="15250777"/>
                  </a:lnTo>
                  <a:lnTo>
                    <a:pt x="2916256" y="15246013"/>
                  </a:lnTo>
                  <a:lnTo>
                    <a:pt x="2916256" y="15241249"/>
                  </a:lnTo>
                  <a:lnTo>
                    <a:pt x="2906728" y="15241249"/>
                  </a:lnTo>
                  <a:lnTo>
                    <a:pt x="2901964" y="15236481"/>
                  </a:lnTo>
                  <a:lnTo>
                    <a:pt x="2901964" y="15231717"/>
                  </a:lnTo>
                  <a:lnTo>
                    <a:pt x="2906728" y="15226953"/>
                  </a:lnTo>
                  <a:lnTo>
                    <a:pt x="2911492" y="15222189"/>
                  </a:lnTo>
                  <a:lnTo>
                    <a:pt x="2911492" y="15212657"/>
                  </a:lnTo>
                  <a:lnTo>
                    <a:pt x="2911492" y="15193597"/>
                  </a:lnTo>
                  <a:lnTo>
                    <a:pt x="2916256" y="15179301"/>
                  </a:lnTo>
                  <a:lnTo>
                    <a:pt x="2930552" y="15165005"/>
                  </a:lnTo>
                  <a:lnTo>
                    <a:pt x="2949612" y="15160241"/>
                  </a:lnTo>
                  <a:lnTo>
                    <a:pt x="2973440" y="15150709"/>
                  </a:lnTo>
                  <a:lnTo>
                    <a:pt x="2982968" y="15141181"/>
                  </a:lnTo>
                  <a:lnTo>
                    <a:pt x="3002028" y="15112589"/>
                  </a:lnTo>
                  <a:lnTo>
                    <a:pt x="3011560" y="15107825"/>
                  </a:lnTo>
                  <a:lnTo>
                    <a:pt x="3035384" y="15107825"/>
                  </a:lnTo>
                  <a:lnTo>
                    <a:pt x="3054448" y="15112589"/>
                  </a:lnTo>
                  <a:lnTo>
                    <a:pt x="3087804" y="15112589"/>
                  </a:lnTo>
                  <a:lnTo>
                    <a:pt x="3130688" y="15112589"/>
                  </a:lnTo>
                  <a:lnTo>
                    <a:pt x="3140220" y="15112589"/>
                  </a:lnTo>
                  <a:lnTo>
                    <a:pt x="3149748" y="15103061"/>
                  </a:lnTo>
                  <a:lnTo>
                    <a:pt x="3149748" y="15083997"/>
                  </a:lnTo>
                  <a:lnTo>
                    <a:pt x="3154512" y="15064937"/>
                  </a:lnTo>
                  <a:lnTo>
                    <a:pt x="3164044" y="15036349"/>
                  </a:lnTo>
                  <a:lnTo>
                    <a:pt x="3178340" y="15017289"/>
                  </a:lnTo>
                  <a:lnTo>
                    <a:pt x="3178340" y="15012521"/>
                  </a:lnTo>
                  <a:lnTo>
                    <a:pt x="3173576" y="15007757"/>
                  </a:lnTo>
                  <a:lnTo>
                    <a:pt x="3164044" y="15007757"/>
                  </a:lnTo>
                  <a:lnTo>
                    <a:pt x="3159280" y="15002993"/>
                  </a:lnTo>
                  <a:lnTo>
                    <a:pt x="3159280" y="14998225"/>
                  </a:lnTo>
                  <a:lnTo>
                    <a:pt x="3168808" y="14988697"/>
                  </a:lnTo>
                  <a:lnTo>
                    <a:pt x="3164044" y="14979165"/>
                  </a:lnTo>
                  <a:lnTo>
                    <a:pt x="3159280" y="14960105"/>
                  </a:lnTo>
                  <a:lnTo>
                    <a:pt x="3159280" y="14945809"/>
                  </a:lnTo>
                  <a:lnTo>
                    <a:pt x="3149748" y="14941045"/>
                  </a:lnTo>
                  <a:lnTo>
                    <a:pt x="3125924" y="14936281"/>
                  </a:lnTo>
                  <a:lnTo>
                    <a:pt x="3130688" y="14917221"/>
                  </a:lnTo>
                  <a:lnTo>
                    <a:pt x="3140220" y="14902925"/>
                  </a:lnTo>
                  <a:lnTo>
                    <a:pt x="3144984" y="14888629"/>
                  </a:lnTo>
                  <a:lnTo>
                    <a:pt x="3149748" y="14883865"/>
                  </a:lnTo>
                  <a:lnTo>
                    <a:pt x="3168808" y="14888629"/>
                  </a:lnTo>
                  <a:lnTo>
                    <a:pt x="3183104" y="14883865"/>
                  </a:lnTo>
                  <a:lnTo>
                    <a:pt x="3183104" y="14874333"/>
                  </a:lnTo>
                  <a:lnTo>
                    <a:pt x="3164044" y="14869569"/>
                  </a:lnTo>
                  <a:lnTo>
                    <a:pt x="3144984" y="14860037"/>
                  </a:lnTo>
                  <a:lnTo>
                    <a:pt x="3140220" y="14850509"/>
                  </a:lnTo>
                  <a:lnTo>
                    <a:pt x="3135452" y="14836213"/>
                  </a:lnTo>
                  <a:lnTo>
                    <a:pt x="3144984" y="14831449"/>
                  </a:lnTo>
                  <a:lnTo>
                    <a:pt x="3168808" y="14821917"/>
                  </a:lnTo>
                  <a:lnTo>
                    <a:pt x="3178340" y="14807621"/>
                  </a:lnTo>
                  <a:lnTo>
                    <a:pt x="3192636" y="14793325"/>
                  </a:lnTo>
                  <a:lnTo>
                    <a:pt x="3202164" y="14779029"/>
                  </a:lnTo>
                  <a:lnTo>
                    <a:pt x="3202164" y="14764737"/>
                  </a:lnTo>
                  <a:lnTo>
                    <a:pt x="3202164" y="14750441"/>
                  </a:lnTo>
                  <a:lnTo>
                    <a:pt x="3192636" y="14736145"/>
                  </a:lnTo>
                  <a:lnTo>
                    <a:pt x="3192636" y="14721849"/>
                  </a:lnTo>
                  <a:lnTo>
                    <a:pt x="3197400" y="14707553"/>
                  </a:lnTo>
                  <a:lnTo>
                    <a:pt x="3197400" y="14702789"/>
                  </a:lnTo>
                  <a:lnTo>
                    <a:pt x="3187868" y="14698025"/>
                  </a:lnTo>
                  <a:lnTo>
                    <a:pt x="3178340" y="14698025"/>
                  </a:lnTo>
                  <a:lnTo>
                    <a:pt x="3164044" y="14702789"/>
                  </a:lnTo>
                  <a:lnTo>
                    <a:pt x="3149748" y="14702789"/>
                  </a:lnTo>
                  <a:lnTo>
                    <a:pt x="3125924" y="14683729"/>
                  </a:lnTo>
                  <a:lnTo>
                    <a:pt x="3102096" y="14664669"/>
                  </a:lnTo>
                  <a:lnTo>
                    <a:pt x="3083036" y="14664669"/>
                  </a:lnTo>
                  <a:lnTo>
                    <a:pt x="3073508" y="14659901"/>
                  </a:lnTo>
                  <a:lnTo>
                    <a:pt x="3063976" y="14650373"/>
                  </a:lnTo>
                  <a:lnTo>
                    <a:pt x="3059212" y="14640841"/>
                  </a:lnTo>
                  <a:lnTo>
                    <a:pt x="3054448" y="14631313"/>
                  </a:lnTo>
                  <a:lnTo>
                    <a:pt x="3044916" y="14636077"/>
                  </a:lnTo>
                  <a:lnTo>
                    <a:pt x="3030620" y="14640841"/>
                  </a:lnTo>
                  <a:lnTo>
                    <a:pt x="3016324" y="14640841"/>
                  </a:lnTo>
                  <a:lnTo>
                    <a:pt x="2992500" y="14626545"/>
                  </a:lnTo>
                  <a:lnTo>
                    <a:pt x="2973440" y="14612253"/>
                  </a:lnTo>
                  <a:lnTo>
                    <a:pt x="2959144" y="14607485"/>
                  </a:lnTo>
                  <a:lnTo>
                    <a:pt x="2940084" y="14607485"/>
                  </a:lnTo>
                  <a:lnTo>
                    <a:pt x="2911492" y="14588425"/>
                  </a:lnTo>
                  <a:lnTo>
                    <a:pt x="2901964" y="14588425"/>
                  </a:lnTo>
                  <a:lnTo>
                    <a:pt x="2897196" y="14593189"/>
                  </a:lnTo>
                  <a:lnTo>
                    <a:pt x="2897196" y="14607485"/>
                  </a:lnTo>
                  <a:lnTo>
                    <a:pt x="2897196" y="14612253"/>
                  </a:lnTo>
                  <a:lnTo>
                    <a:pt x="2887668" y="14617017"/>
                  </a:lnTo>
                  <a:lnTo>
                    <a:pt x="2878136" y="14617017"/>
                  </a:lnTo>
                  <a:lnTo>
                    <a:pt x="2863840" y="14607485"/>
                  </a:lnTo>
                  <a:lnTo>
                    <a:pt x="2825720" y="14574129"/>
                  </a:lnTo>
                  <a:lnTo>
                    <a:pt x="2811424" y="14545541"/>
                  </a:lnTo>
                  <a:lnTo>
                    <a:pt x="2806660" y="14526481"/>
                  </a:lnTo>
                  <a:lnTo>
                    <a:pt x="2792364" y="14516949"/>
                  </a:lnTo>
                  <a:lnTo>
                    <a:pt x="2782832" y="14497889"/>
                  </a:lnTo>
                  <a:lnTo>
                    <a:pt x="2768540" y="14497889"/>
                  </a:lnTo>
                  <a:lnTo>
                    <a:pt x="2754244" y="14502653"/>
                  </a:lnTo>
                  <a:lnTo>
                    <a:pt x="2739948" y="14512185"/>
                  </a:lnTo>
                  <a:lnTo>
                    <a:pt x="2735184" y="14512185"/>
                  </a:lnTo>
                  <a:lnTo>
                    <a:pt x="2711356" y="14516949"/>
                  </a:lnTo>
                  <a:lnTo>
                    <a:pt x="2678000" y="14526481"/>
                  </a:lnTo>
                  <a:lnTo>
                    <a:pt x="2668472" y="14540773"/>
                  </a:lnTo>
                  <a:lnTo>
                    <a:pt x="2654176" y="14545541"/>
                  </a:lnTo>
                  <a:lnTo>
                    <a:pt x="2644644" y="14540773"/>
                  </a:lnTo>
                  <a:lnTo>
                    <a:pt x="2635116" y="14531245"/>
                  </a:lnTo>
                  <a:lnTo>
                    <a:pt x="2616056" y="14526481"/>
                  </a:lnTo>
                  <a:lnTo>
                    <a:pt x="2606524" y="14531245"/>
                  </a:lnTo>
                  <a:lnTo>
                    <a:pt x="2596996" y="14521713"/>
                  </a:lnTo>
                  <a:lnTo>
                    <a:pt x="2587464" y="14507417"/>
                  </a:lnTo>
                  <a:lnTo>
                    <a:pt x="2577932" y="14497889"/>
                  </a:lnTo>
                  <a:lnTo>
                    <a:pt x="2558872" y="14497889"/>
                  </a:lnTo>
                  <a:lnTo>
                    <a:pt x="2544576" y="14493125"/>
                  </a:lnTo>
                  <a:lnTo>
                    <a:pt x="2525516" y="14497889"/>
                  </a:lnTo>
                  <a:lnTo>
                    <a:pt x="2506456" y="14512185"/>
                  </a:lnTo>
                  <a:lnTo>
                    <a:pt x="2496928" y="14507417"/>
                  </a:lnTo>
                  <a:lnTo>
                    <a:pt x="2487396" y="14493125"/>
                  </a:lnTo>
                  <a:lnTo>
                    <a:pt x="2477864" y="14483593"/>
                  </a:lnTo>
                  <a:lnTo>
                    <a:pt x="2468336" y="14469297"/>
                  </a:lnTo>
                  <a:lnTo>
                    <a:pt x="2463572" y="14450237"/>
                  </a:lnTo>
                  <a:lnTo>
                    <a:pt x="2468336" y="14440705"/>
                  </a:lnTo>
                  <a:lnTo>
                    <a:pt x="2473100" y="14431177"/>
                  </a:lnTo>
                  <a:lnTo>
                    <a:pt x="2473100" y="14421645"/>
                  </a:lnTo>
                  <a:lnTo>
                    <a:pt x="2468336" y="14412117"/>
                  </a:lnTo>
                  <a:lnTo>
                    <a:pt x="2463572" y="14402585"/>
                  </a:lnTo>
                  <a:lnTo>
                    <a:pt x="2458804" y="14378761"/>
                  </a:lnTo>
                  <a:lnTo>
                    <a:pt x="2454040" y="14364465"/>
                  </a:lnTo>
                  <a:lnTo>
                    <a:pt x="2449276" y="14354933"/>
                  </a:lnTo>
                  <a:lnTo>
                    <a:pt x="2454040" y="14350169"/>
                  </a:lnTo>
                  <a:lnTo>
                    <a:pt x="2454040" y="14340641"/>
                  </a:lnTo>
                  <a:lnTo>
                    <a:pt x="2444512" y="14340641"/>
                  </a:lnTo>
                  <a:lnTo>
                    <a:pt x="2434980" y="14340641"/>
                  </a:lnTo>
                  <a:lnTo>
                    <a:pt x="2430216" y="14335873"/>
                  </a:lnTo>
                  <a:lnTo>
                    <a:pt x="2420684" y="14321577"/>
                  </a:lnTo>
                  <a:lnTo>
                    <a:pt x="2415920" y="14307285"/>
                  </a:lnTo>
                  <a:lnTo>
                    <a:pt x="2411156" y="14302517"/>
                  </a:lnTo>
                  <a:lnTo>
                    <a:pt x="2401624" y="14302517"/>
                  </a:lnTo>
                  <a:lnTo>
                    <a:pt x="2382564" y="14307285"/>
                  </a:lnTo>
                  <a:lnTo>
                    <a:pt x="2368268" y="14312049"/>
                  </a:lnTo>
                  <a:lnTo>
                    <a:pt x="2358736" y="14312049"/>
                  </a:lnTo>
                  <a:lnTo>
                    <a:pt x="2344444" y="14302517"/>
                  </a:lnTo>
                  <a:lnTo>
                    <a:pt x="2325380" y="14292989"/>
                  </a:lnTo>
                  <a:lnTo>
                    <a:pt x="2282496" y="14292989"/>
                  </a:lnTo>
                  <a:lnTo>
                    <a:pt x="2282496" y="14288221"/>
                  </a:lnTo>
                  <a:lnTo>
                    <a:pt x="2282496" y="14283457"/>
                  </a:lnTo>
                  <a:lnTo>
                    <a:pt x="2292024" y="14273929"/>
                  </a:lnTo>
                  <a:lnTo>
                    <a:pt x="2292024" y="14269161"/>
                  </a:lnTo>
                  <a:lnTo>
                    <a:pt x="2282496" y="14264397"/>
                  </a:lnTo>
                  <a:lnTo>
                    <a:pt x="2277732" y="14250101"/>
                  </a:lnTo>
                  <a:lnTo>
                    <a:pt x="2277732" y="14231041"/>
                  </a:lnTo>
                  <a:lnTo>
                    <a:pt x="2277732" y="14216745"/>
                  </a:lnTo>
                  <a:lnTo>
                    <a:pt x="2268200" y="14202449"/>
                  </a:lnTo>
                  <a:lnTo>
                    <a:pt x="2263436" y="14192921"/>
                  </a:lnTo>
                  <a:lnTo>
                    <a:pt x="2263436" y="14183389"/>
                  </a:lnTo>
                  <a:lnTo>
                    <a:pt x="2282496" y="14178625"/>
                  </a:lnTo>
                  <a:lnTo>
                    <a:pt x="2306320" y="14173861"/>
                  </a:lnTo>
                  <a:lnTo>
                    <a:pt x="2311088" y="14169093"/>
                  </a:lnTo>
                  <a:lnTo>
                    <a:pt x="2311088" y="14159565"/>
                  </a:lnTo>
                  <a:lnTo>
                    <a:pt x="2263436" y="14107149"/>
                  </a:lnTo>
                  <a:lnTo>
                    <a:pt x="2249140" y="14064261"/>
                  </a:lnTo>
                  <a:lnTo>
                    <a:pt x="2234844" y="14040437"/>
                  </a:lnTo>
                  <a:lnTo>
                    <a:pt x="2220548" y="14021377"/>
                  </a:lnTo>
                  <a:lnTo>
                    <a:pt x="2206252" y="14011845"/>
                  </a:lnTo>
                  <a:lnTo>
                    <a:pt x="2187192" y="14016609"/>
                  </a:lnTo>
                  <a:lnTo>
                    <a:pt x="2163368" y="14016609"/>
                  </a:lnTo>
                  <a:lnTo>
                    <a:pt x="2134776" y="14011845"/>
                  </a:lnTo>
                  <a:lnTo>
                    <a:pt x="2115716" y="14016609"/>
                  </a:lnTo>
                  <a:lnTo>
                    <a:pt x="2072832" y="14035669"/>
                  </a:lnTo>
                  <a:lnTo>
                    <a:pt x="2058536" y="14035669"/>
                  </a:lnTo>
                  <a:lnTo>
                    <a:pt x="2034708" y="14030905"/>
                  </a:lnTo>
                  <a:lnTo>
                    <a:pt x="2015648" y="14021377"/>
                  </a:lnTo>
                  <a:lnTo>
                    <a:pt x="2001352" y="14026141"/>
                  </a:lnTo>
                  <a:lnTo>
                    <a:pt x="1996588" y="14026141"/>
                  </a:lnTo>
                  <a:lnTo>
                    <a:pt x="1991824" y="14030905"/>
                  </a:lnTo>
                  <a:lnTo>
                    <a:pt x="1977528" y="14073793"/>
                  </a:lnTo>
                  <a:lnTo>
                    <a:pt x="1967996" y="14083321"/>
                  </a:lnTo>
                  <a:lnTo>
                    <a:pt x="1953700" y="14088089"/>
                  </a:lnTo>
                  <a:lnTo>
                    <a:pt x="1939408" y="14088089"/>
                  </a:lnTo>
                  <a:lnTo>
                    <a:pt x="1929876" y="14088089"/>
                  </a:lnTo>
                  <a:lnTo>
                    <a:pt x="1915580" y="14083321"/>
                  </a:lnTo>
                  <a:lnTo>
                    <a:pt x="1901284" y="14078557"/>
                  </a:lnTo>
                  <a:lnTo>
                    <a:pt x="1896520" y="14078557"/>
                  </a:lnTo>
                  <a:lnTo>
                    <a:pt x="1896520" y="14069025"/>
                  </a:lnTo>
                  <a:lnTo>
                    <a:pt x="1886992" y="14045201"/>
                  </a:lnTo>
                  <a:lnTo>
                    <a:pt x="1882224" y="14035669"/>
                  </a:lnTo>
                  <a:lnTo>
                    <a:pt x="1872696" y="14030905"/>
                  </a:lnTo>
                  <a:lnTo>
                    <a:pt x="1867928" y="14021377"/>
                  </a:lnTo>
                  <a:lnTo>
                    <a:pt x="1867928" y="13992785"/>
                  </a:lnTo>
                  <a:lnTo>
                    <a:pt x="1867928" y="13964193"/>
                  </a:lnTo>
                  <a:lnTo>
                    <a:pt x="1872696" y="13964193"/>
                  </a:lnTo>
                  <a:lnTo>
                    <a:pt x="1858400" y="13940369"/>
                  </a:lnTo>
                  <a:lnTo>
                    <a:pt x="1858400" y="13921309"/>
                  </a:lnTo>
                  <a:lnTo>
                    <a:pt x="1867928" y="13916541"/>
                  </a:lnTo>
                  <a:lnTo>
                    <a:pt x="1867928" y="13907013"/>
                  </a:lnTo>
                  <a:lnTo>
                    <a:pt x="1863164" y="13897481"/>
                  </a:lnTo>
                  <a:lnTo>
                    <a:pt x="1848870" y="13883185"/>
                  </a:lnTo>
                  <a:lnTo>
                    <a:pt x="1834574" y="13864125"/>
                  </a:lnTo>
                  <a:lnTo>
                    <a:pt x="1825044" y="13849829"/>
                  </a:lnTo>
                  <a:lnTo>
                    <a:pt x="1820278" y="13840301"/>
                  </a:lnTo>
                  <a:lnTo>
                    <a:pt x="1825044" y="13830769"/>
                  </a:lnTo>
                  <a:lnTo>
                    <a:pt x="1834574" y="13811709"/>
                  </a:lnTo>
                  <a:lnTo>
                    <a:pt x="1839338" y="13797413"/>
                  </a:lnTo>
                  <a:lnTo>
                    <a:pt x="1844104" y="13792649"/>
                  </a:lnTo>
                  <a:lnTo>
                    <a:pt x="1867928" y="13792649"/>
                  </a:lnTo>
                  <a:lnTo>
                    <a:pt x="1882224" y="13792649"/>
                  </a:lnTo>
                  <a:lnTo>
                    <a:pt x="1896520" y="13797413"/>
                  </a:lnTo>
                  <a:lnTo>
                    <a:pt x="1901284" y="13806945"/>
                  </a:lnTo>
                  <a:lnTo>
                    <a:pt x="1910816" y="13816477"/>
                  </a:lnTo>
                  <a:lnTo>
                    <a:pt x="1944172" y="13821241"/>
                  </a:lnTo>
                  <a:lnTo>
                    <a:pt x="1958468" y="13821241"/>
                  </a:lnTo>
                  <a:lnTo>
                    <a:pt x="1972764" y="13811709"/>
                  </a:lnTo>
                  <a:lnTo>
                    <a:pt x="2001352" y="13792649"/>
                  </a:lnTo>
                  <a:lnTo>
                    <a:pt x="2006120" y="13773589"/>
                  </a:lnTo>
                  <a:lnTo>
                    <a:pt x="2025180" y="13764057"/>
                  </a:lnTo>
                  <a:lnTo>
                    <a:pt x="2034708" y="13759293"/>
                  </a:lnTo>
                  <a:lnTo>
                    <a:pt x="2044240" y="13759293"/>
                  </a:lnTo>
                  <a:lnTo>
                    <a:pt x="2044240" y="13749765"/>
                  </a:lnTo>
                  <a:lnTo>
                    <a:pt x="2044240" y="13735469"/>
                  </a:lnTo>
                  <a:lnTo>
                    <a:pt x="2039476" y="13730701"/>
                  </a:lnTo>
                  <a:lnTo>
                    <a:pt x="2006120" y="13702113"/>
                  </a:lnTo>
                  <a:lnTo>
                    <a:pt x="2001352" y="13692581"/>
                  </a:lnTo>
                  <a:lnTo>
                    <a:pt x="2001352" y="13683053"/>
                  </a:lnTo>
                  <a:lnTo>
                    <a:pt x="2006120" y="13673521"/>
                  </a:lnTo>
                  <a:lnTo>
                    <a:pt x="2006120" y="13663993"/>
                  </a:lnTo>
                  <a:lnTo>
                    <a:pt x="1967996" y="13640165"/>
                  </a:lnTo>
                  <a:lnTo>
                    <a:pt x="1934640" y="13635401"/>
                  </a:lnTo>
                  <a:lnTo>
                    <a:pt x="1906052" y="13640165"/>
                  </a:lnTo>
                  <a:lnTo>
                    <a:pt x="1896520" y="13635401"/>
                  </a:lnTo>
                  <a:lnTo>
                    <a:pt x="1901284" y="13621105"/>
                  </a:lnTo>
                  <a:lnTo>
                    <a:pt x="1906052" y="13602045"/>
                  </a:lnTo>
                  <a:lnTo>
                    <a:pt x="1910816" y="13582985"/>
                  </a:lnTo>
                  <a:lnTo>
                    <a:pt x="1906052" y="13573453"/>
                  </a:lnTo>
                  <a:lnTo>
                    <a:pt x="1901284" y="13568689"/>
                  </a:lnTo>
                  <a:lnTo>
                    <a:pt x="1877460" y="13554393"/>
                  </a:lnTo>
                  <a:lnTo>
                    <a:pt x="1839338" y="13530569"/>
                  </a:lnTo>
                  <a:lnTo>
                    <a:pt x="1825044" y="13506741"/>
                  </a:lnTo>
                  <a:lnTo>
                    <a:pt x="1815514" y="13478153"/>
                  </a:lnTo>
                  <a:lnTo>
                    <a:pt x="1805982" y="13463857"/>
                  </a:lnTo>
                  <a:lnTo>
                    <a:pt x="1791688" y="13449561"/>
                  </a:lnTo>
                  <a:lnTo>
                    <a:pt x="1791688" y="13444797"/>
                  </a:lnTo>
                  <a:lnTo>
                    <a:pt x="1801218" y="13420969"/>
                  </a:lnTo>
                  <a:lnTo>
                    <a:pt x="1801218" y="13416205"/>
                  </a:lnTo>
                  <a:lnTo>
                    <a:pt x="1796452" y="13411441"/>
                  </a:lnTo>
                  <a:lnTo>
                    <a:pt x="1777392" y="13397145"/>
                  </a:lnTo>
                  <a:lnTo>
                    <a:pt x="1748802" y="13373319"/>
                  </a:lnTo>
                  <a:lnTo>
                    <a:pt x="1744036" y="13368554"/>
                  </a:lnTo>
                  <a:lnTo>
                    <a:pt x="1748802" y="13354258"/>
                  </a:lnTo>
                  <a:lnTo>
                    <a:pt x="1753566" y="13335198"/>
                  </a:lnTo>
                  <a:lnTo>
                    <a:pt x="1758332" y="13330433"/>
                  </a:lnTo>
                  <a:lnTo>
                    <a:pt x="1772628" y="13301842"/>
                  </a:lnTo>
                  <a:lnTo>
                    <a:pt x="1772628" y="13287546"/>
                  </a:lnTo>
                  <a:lnTo>
                    <a:pt x="1772628" y="13278016"/>
                  </a:lnTo>
                  <a:lnTo>
                    <a:pt x="1758332" y="13254191"/>
                  </a:lnTo>
                  <a:lnTo>
                    <a:pt x="1748802" y="13239895"/>
                  </a:lnTo>
                  <a:lnTo>
                    <a:pt x="1748802" y="13230365"/>
                  </a:lnTo>
                  <a:lnTo>
                    <a:pt x="1748802" y="13225600"/>
                  </a:lnTo>
                  <a:lnTo>
                    <a:pt x="1758332" y="13216070"/>
                  </a:lnTo>
                  <a:lnTo>
                    <a:pt x="1763096" y="13206539"/>
                  </a:lnTo>
                  <a:lnTo>
                    <a:pt x="1763096" y="13168418"/>
                  </a:lnTo>
                  <a:lnTo>
                    <a:pt x="1763096" y="13158888"/>
                  </a:lnTo>
                  <a:lnTo>
                    <a:pt x="1758332" y="13149358"/>
                  </a:lnTo>
                  <a:lnTo>
                    <a:pt x="1753566" y="13149358"/>
                  </a:lnTo>
                  <a:lnTo>
                    <a:pt x="1748802" y="13149358"/>
                  </a:lnTo>
                  <a:lnTo>
                    <a:pt x="1734506" y="13144593"/>
                  </a:lnTo>
                  <a:lnTo>
                    <a:pt x="1724976" y="13135062"/>
                  </a:lnTo>
                  <a:lnTo>
                    <a:pt x="1720210" y="13130297"/>
                  </a:lnTo>
                  <a:lnTo>
                    <a:pt x="1715446" y="13120767"/>
                  </a:lnTo>
                  <a:lnTo>
                    <a:pt x="1696384" y="13101707"/>
                  </a:lnTo>
                  <a:lnTo>
                    <a:pt x="1691620" y="13096941"/>
                  </a:lnTo>
                  <a:lnTo>
                    <a:pt x="1658264" y="13082646"/>
                  </a:lnTo>
                  <a:lnTo>
                    <a:pt x="1629674" y="13082646"/>
                  </a:lnTo>
                  <a:lnTo>
                    <a:pt x="1610612" y="13082646"/>
                  </a:lnTo>
                  <a:lnTo>
                    <a:pt x="1605848" y="13082646"/>
                  </a:lnTo>
                  <a:lnTo>
                    <a:pt x="1596318" y="13096941"/>
                  </a:lnTo>
                  <a:lnTo>
                    <a:pt x="1582022" y="13101707"/>
                  </a:lnTo>
                  <a:lnTo>
                    <a:pt x="1572492" y="13101707"/>
                  </a:lnTo>
                  <a:lnTo>
                    <a:pt x="1562962" y="13106472"/>
                  </a:lnTo>
                  <a:lnTo>
                    <a:pt x="1539136" y="13125532"/>
                  </a:lnTo>
                  <a:lnTo>
                    <a:pt x="1529606" y="13116002"/>
                  </a:lnTo>
                  <a:lnTo>
                    <a:pt x="1520076" y="13096941"/>
                  </a:lnTo>
                  <a:lnTo>
                    <a:pt x="1524840" y="13082646"/>
                  </a:lnTo>
                  <a:lnTo>
                    <a:pt x="1529606" y="13073116"/>
                  </a:lnTo>
                  <a:lnTo>
                    <a:pt x="1529606" y="13063586"/>
                  </a:lnTo>
                  <a:lnTo>
                    <a:pt x="1524840" y="13054055"/>
                  </a:lnTo>
                  <a:lnTo>
                    <a:pt x="1510546" y="13049290"/>
                  </a:lnTo>
                  <a:lnTo>
                    <a:pt x="1477190" y="13030230"/>
                  </a:lnTo>
                  <a:lnTo>
                    <a:pt x="1472424" y="13030230"/>
                  </a:lnTo>
                  <a:lnTo>
                    <a:pt x="1458128" y="13039760"/>
                  </a:lnTo>
                  <a:lnTo>
                    <a:pt x="1434302" y="13054055"/>
                  </a:lnTo>
                  <a:lnTo>
                    <a:pt x="1424772" y="13049290"/>
                  </a:lnTo>
                  <a:lnTo>
                    <a:pt x="1415242" y="13039760"/>
                  </a:lnTo>
                  <a:lnTo>
                    <a:pt x="1410478" y="13020699"/>
                  </a:lnTo>
                  <a:lnTo>
                    <a:pt x="1396182" y="13011169"/>
                  </a:lnTo>
                  <a:lnTo>
                    <a:pt x="1372356" y="13011169"/>
                  </a:lnTo>
                  <a:lnTo>
                    <a:pt x="1372356" y="13015934"/>
                  </a:lnTo>
                  <a:lnTo>
                    <a:pt x="1358060" y="13025465"/>
                  </a:lnTo>
                  <a:lnTo>
                    <a:pt x="1353296" y="13020699"/>
                  </a:lnTo>
                  <a:lnTo>
                    <a:pt x="1334236" y="12996874"/>
                  </a:lnTo>
                  <a:lnTo>
                    <a:pt x="1339000" y="12982578"/>
                  </a:lnTo>
                  <a:lnTo>
                    <a:pt x="1339000" y="12963518"/>
                  </a:lnTo>
                  <a:lnTo>
                    <a:pt x="1339000" y="12949222"/>
                  </a:lnTo>
                  <a:lnTo>
                    <a:pt x="1334236" y="12930162"/>
                  </a:lnTo>
                  <a:lnTo>
                    <a:pt x="1329470" y="12892041"/>
                  </a:lnTo>
                  <a:lnTo>
                    <a:pt x="1324706" y="12882511"/>
                  </a:lnTo>
                  <a:lnTo>
                    <a:pt x="1310410" y="12868215"/>
                  </a:lnTo>
                  <a:lnTo>
                    <a:pt x="1305644" y="12853920"/>
                  </a:lnTo>
                  <a:lnTo>
                    <a:pt x="1300880" y="12839625"/>
                  </a:lnTo>
                  <a:lnTo>
                    <a:pt x="1291350" y="12830094"/>
                  </a:lnTo>
                  <a:lnTo>
                    <a:pt x="1291350" y="12806269"/>
                  </a:lnTo>
                  <a:lnTo>
                    <a:pt x="1286584" y="12796738"/>
                  </a:lnTo>
                  <a:lnTo>
                    <a:pt x="1277054" y="12791973"/>
                  </a:lnTo>
                  <a:lnTo>
                    <a:pt x="1257994" y="12801504"/>
                  </a:lnTo>
                  <a:lnTo>
                    <a:pt x="1253228" y="12796738"/>
                  </a:lnTo>
                  <a:lnTo>
                    <a:pt x="1262758" y="12763383"/>
                  </a:lnTo>
                  <a:lnTo>
                    <a:pt x="1267524" y="12739557"/>
                  </a:lnTo>
                  <a:lnTo>
                    <a:pt x="1272288" y="12715731"/>
                  </a:lnTo>
                  <a:lnTo>
                    <a:pt x="1281818" y="12706201"/>
                  </a:lnTo>
                  <a:lnTo>
                    <a:pt x="1281818" y="12696671"/>
                  </a:lnTo>
                  <a:lnTo>
                    <a:pt x="1286584" y="12682375"/>
                  </a:lnTo>
                  <a:lnTo>
                    <a:pt x="1281818" y="12672845"/>
                  </a:lnTo>
                  <a:lnTo>
                    <a:pt x="1277054" y="12663315"/>
                  </a:lnTo>
                  <a:lnTo>
                    <a:pt x="1257994" y="12649019"/>
                  </a:lnTo>
                  <a:lnTo>
                    <a:pt x="1238932" y="12629959"/>
                  </a:lnTo>
                  <a:lnTo>
                    <a:pt x="1234168" y="12610898"/>
                  </a:lnTo>
                  <a:lnTo>
                    <a:pt x="1224638" y="12601368"/>
                  </a:lnTo>
                  <a:lnTo>
                    <a:pt x="1210342" y="12601368"/>
                  </a:lnTo>
                  <a:lnTo>
                    <a:pt x="1210342" y="12596603"/>
                  </a:lnTo>
                  <a:lnTo>
                    <a:pt x="1210342" y="12577543"/>
                  </a:lnTo>
                  <a:lnTo>
                    <a:pt x="1215108" y="12563247"/>
                  </a:lnTo>
                  <a:lnTo>
                    <a:pt x="1229402" y="12544187"/>
                  </a:lnTo>
                  <a:lnTo>
                    <a:pt x="1234168" y="12534656"/>
                  </a:lnTo>
                  <a:lnTo>
                    <a:pt x="1238932" y="12525126"/>
                  </a:lnTo>
                  <a:lnTo>
                    <a:pt x="1272288" y="12510831"/>
                  </a:lnTo>
                  <a:lnTo>
                    <a:pt x="1277054" y="12506066"/>
                  </a:lnTo>
                  <a:lnTo>
                    <a:pt x="1277054" y="12501301"/>
                  </a:lnTo>
                  <a:lnTo>
                    <a:pt x="1272288" y="12496535"/>
                  </a:lnTo>
                  <a:lnTo>
                    <a:pt x="1267524" y="12491770"/>
                  </a:lnTo>
                  <a:lnTo>
                    <a:pt x="1257994" y="12482240"/>
                  </a:lnTo>
                  <a:lnTo>
                    <a:pt x="1253228" y="12458414"/>
                  </a:lnTo>
                  <a:lnTo>
                    <a:pt x="1257994" y="12458414"/>
                  </a:lnTo>
                  <a:lnTo>
                    <a:pt x="1277054" y="12467945"/>
                  </a:lnTo>
                  <a:lnTo>
                    <a:pt x="1291350" y="12482240"/>
                  </a:lnTo>
                  <a:lnTo>
                    <a:pt x="1291350" y="12487005"/>
                  </a:lnTo>
                  <a:lnTo>
                    <a:pt x="1296114" y="12496535"/>
                  </a:lnTo>
                  <a:lnTo>
                    <a:pt x="1310410" y="12501301"/>
                  </a:lnTo>
                  <a:lnTo>
                    <a:pt x="1324706" y="12506066"/>
                  </a:lnTo>
                  <a:lnTo>
                    <a:pt x="1334236" y="12491770"/>
                  </a:lnTo>
                  <a:lnTo>
                    <a:pt x="1334236" y="12472710"/>
                  </a:lnTo>
                  <a:lnTo>
                    <a:pt x="1324706" y="12453649"/>
                  </a:lnTo>
                  <a:lnTo>
                    <a:pt x="1305644" y="12425059"/>
                  </a:lnTo>
                  <a:lnTo>
                    <a:pt x="1286584" y="12415528"/>
                  </a:lnTo>
                  <a:lnTo>
                    <a:pt x="1262758" y="12415528"/>
                  </a:lnTo>
                  <a:lnTo>
                    <a:pt x="1243698" y="12410763"/>
                  </a:lnTo>
                  <a:lnTo>
                    <a:pt x="1243698" y="12401233"/>
                  </a:lnTo>
                  <a:lnTo>
                    <a:pt x="1238932" y="12386937"/>
                  </a:lnTo>
                  <a:lnTo>
                    <a:pt x="1243698" y="12372642"/>
                  </a:lnTo>
                  <a:lnTo>
                    <a:pt x="1272288" y="12339286"/>
                  </a:lnTo>
                  <a:lnTo>
                    <a:pt x="1277054" y="12334521"/>
                  </a:lnTo>
                  <a:lnTo>
                    <a:pt x="1281818" y="12320226"/>
                  </a:lnTo>
                  <a:lnTo>
                    <a:pt x="1281818" y="12296400"/>
                  </a:lnTo>
                  <a:lnTo>
                    <a:pt x="1272288" y="12191567"/>
                  </a:lnTo>
                  <a:lnTo>
                    <a:pt x="1257994" y="12172507"/>
                  </a:lnTo>
                  <a:lnTo>
                    <a:pt x="1272288" y="12148681"/>
                  </a:lnTo>
                  <a:lnTo>
                    <a:pt x="1286584" y="12105795"/>
                  </a:lnTo>
                  <a:lnTo>
                    <a:pt x="1296114" y="12081969"/>
                  </a:lnTo>
                  <a:lnTo>
                    <a:pt x="1300880" y="12072439"/>
                  </a:lnTo>
                  <a:lnTo>
                    <a:pt x="1310410" y="12072439"/>
                  </a:lnTo>
                  <a:lnTo>
                    <a:pt x="1315174" y="12067674"/>
                  </a:lnTo>
                  <a:lnTo>
                    <a:pt x="1319940" y="12062909"/>
                  </a:lnTo>
                  <a:lnTo>
                    <a:pt x="1329470" y="12058144"/>
                  </a:lnTo>
                  <a:lnTo>
                    <a:pt x="1334236" y="12053378"/>
                  </a:lnTo>
                  <a:lnTo>
                    <a:pt x="1329470" y="12043848"/>
                  </a:lnTo>
                  <a:lnTo>
                    <a:pt x="1319940" y="12024788"/>
                  </a:lnTo>
                  <a:lnTo>
                    <a:pt x="1310410" y="12020022"/>
                  </a:lnTo>
                  <a:lnTo>
                    <a:pt x="1319940" y="11996197"/>
                  </a:lnTo>
                  <a:lnTo>
                    <a:pt x="1315174" y="11967606"/>
                  </a:lnTo>
                  <a:lnTo>
                    <a:pt x="1310410" y="11943780"/>
                  </a:lnTo>
                  <a:lnTo>
                    <a:pt x="1319940" y="11924720"/>
                  </a:lnTo>
                  <a:lnTo>
                    <a:pt x="1329470" y="11924720"/>
                  </a:lnTo>
                  <a:lnTo>
                    <a:pt x="1343766" y="11943780"/>
                  </a:lnTo>
                  <a:lnTo>
                    <a:pt x="1362826" y="11953311"/>
                  </a:lnTo>
                  <a:lnTo>
                    <a:pt x="1377122" y="11939016"/>
                  </a:lnTo>
                  <a:lnTo>
                    <a:pt x="1381886" y="11915190"/>
                  </a:lnTo>
                  <a:lnTo>
                    <a:pt x="1391416" y="11905660"/>
                  </a:lnTo>
                  <a:lnTo>
                    <a:pt x="1405712" y="11915190"/>
                  </a:lnTo>
                  <a:lnTo>
                    <a:pt x="1424772" y="11919955"/>
                  </a:lnTo>
                  <a:lnTo>
                    <a:pt x="1443834" y="11915190"/>
                  </a:lnTo>
                  <a:lnTo>
                    <a:pt x="1458128" y="11910425"/>
                  </a:lnTo>
                  <a:lnTo>
                    <a:pt x="1462894" y="11900894"/>
                  </a:lnTo>
                  <a:lnTo>
                    <a:pt x="1467658" y="11886599"/>
                  </a:lnTo>
                  <a:lnTo>
                    <a:pt x="1477190" y="11872304"/>
                  </a:lnTo>
                  <a:lnTo>
                    <a:pt x="1486720" y="11858008"/>
                  </a:lnTo>
                  <a:lnTo>
                    <a:pt x="1572492" y="11872304"/>
                  </a:lnTo>
                  <a:lnTo>
                    <a:pt x="1639204" y="11896130"/>
                  </a:lnTo>
                  <a:lnTo>
                    <a:pt x="1648734" y="11886599"/>
                  </a:lnTo>
                  <a:lnTo>
                    <a:pt x="1648734" y="11872304"/>
                  </a:lnTo>
                  <a:lnTo>
                    <a:pt x="1629674" y="11858008"/>
                  </a:lnTo>
                  <a:lnTo>
                    <a:pt x="1620142" y="11848478"/>
                  </a:lnTo>
                  <a:lnTo>
                    <a:pt x="1601082" y="11819888"/>
                  </a:lnTo>
                  <a:lnTo>
                    <a:pt x="1577256" y="11796062"/>
                  </a:lnTo>
                  <a:lnTo>
                    <a:pt x="1553432" y="11796062"/>
                  </a:lnTo>
                  <a:lnTo>
                    <a:pt x="1524840" y="11800827"/>
                  </a:lnTo>
                  <a:lnTo>
                    <a:pt x="1477190" y="11796062"/>
                  </a:lnTo>
                  <a:lnTo>
                    <a:pt x="1434302" y="11753176"/>
                  </a:lnTo>
                  <a:lnTo>
                    <a:pt x="1410478" y="11738880"/>
                  </a:lnTo>
                  <a:lnTo>
                    <a:pt x="1391416" y="11705524"/>
                  </a:lnTo>
                  <a:lnTo>
                    <a:pt x="1386652" y="11686464"/>
                  </a:lnTo>
                  <a:lnTo>
                    <a:pt x="1405712" y="11700759"/>
                  </a:lnTo>
                  <a:lnTo>
                    <a:pt x="1410478" y="11686464"/>
                  </a:lnTo>
                  <a:lnTo>
                    <a:pt x="1410478" y="11662638"/>
                  </a:lnTo>
                  <a:lnTo>
                    <a:pt x="1400948" y="11653108"/>
                  </a:lnTo>
                  <a:lnTo>
                    <a:pt x="1391416" y="11643578"/>
                  </a:lnTo>
                  <a:lnTo>
                    <a:pt x="1339000" y="11676934"/>
                  </a:lnTo>
                  <a:lnTo>
                    <a:pt x="1277054" y="11691229"/>
                  </a:lnTo>
                  <a:lnTo>
                    <a:pt x="1334236" y="11619752"/>
                  </a:lnTo>
                  <a:lnTo>
                    <a:pt x="1372356" y="11572101"/>
                  </a:lnTo>
                  <a:lnTo>
                    <a:pt x="1381886" y="11567336"/>
                  </a:lnTo>
                  <a:lnTo>
                    <a:pt x="1396182" y="11553040"/>
                  </a:lnTo>
                  <a:lnTo>
                    <a:pt x="1415242" y="11538745"/>
                  </a:lnTo>
                  <a:lnTo>
                    <a:pt x="1424772" y="11519684"/>
                  </a:lnTo>
                  <a:lnTo>
                    <a:pt x="1462894" y="11486328"/>
                  </a:lnTo>
                  <a:lnTo>
                    <a:pt x="1505780" y="11448208"/>
                  </a:lnTo>
                  <a:lnTo>
                    <a:pt x="1543900" y="11395791"/>
                  </a:lnTo>
                  <a:lnTo>
                    <a:pt x="1558196" y="11381496"/>
                  </a:lnTo>
                  <a:lnTo>
                    <a:pt x="1572492" y="11362435"/>
                  </a:lnTo>
                  <a:lnTo>
                    <a:pt x="1610612" y="11310019"/>
                  </a:lnTo>
                  <a:lnTo>
                    <a:pt x="1624908" y="11290958"/>
                  </a:lnTo>
                  <a:lnTo>
                    <a:pt x="1667794" y="11224246"/>
                  </a:lnTo>
                  <a:lnTo>
                    <a:pt x="1696384" y="11190890"/>
                  </a:lnTo>
                  <a:lnTo>
                    <a:pt x="1710680" y="11171830"/>
                  </a:lnTo>
                  <a:lnTo>
                    <a:pt x="1767862" y="11105118"/>
                  </a:lnTo>
                  <a:lnTo>
                    <a:pt x="1805982" y="11052702"/>
                  </a:lnTo>
                  <a:lnTo>
                    <a:pt x="1825044" y="11024111"/>
                  </a:lnTo>
                  <a:lnTo>
                    <a:pt x="1839338" y="10981225"/>
                  </a:lnTo>
                  <a:lnTo>
                    <a:pt x="1848870" y="10952634"/>
                  </a:lnTo>
                  <a:lnTo>
                    <a:pt x="1863164" y="10914513"/>
                  </a:lnTo>
                  <a:lnTo>
                    <a:pt x="1863164" y="10900218"/>
                  </a:lnTo>
                  <a:lnTo>
                    <a:pt x="1858400" y="10890688"/>
                  </a:lnTo>
                  <a:lnTo>
                    <a:pt x="1848870" y="10871627"/>
                  </a:lnTo>
                  <a:lnTo>
                    <a:pt x="1829808" y="10852566"/>
                  </a:lnTo>
                  <a:lnTo>
                    <a:pt x="1815514" y="10823976"/>
                  </a:lnTo>
                  <a:lnTo>
                    <a:pt x="1805982" y="10804916"/>
                  </a:lnTo>
                  <a:lnTo>
                    <a:pt x="1772628" y="10771560"/>
                  </a:lnTo>
                  <a:lnTo>
                    <a:pt x="1724976" y="10728674"/>
                  </a:lnTo>
                  <a:lnTo>
                    <a:pt x="1686854" y="10700082"/>
                  </a:lnTo>
                  <a:lnTo>
                    <a:pt x="1629674" y="10633370"/>
                  </a:lnTo>
                  <a:lnTo>
                    <a:pt x="1620142" y="10619076"/>
                  </a:lnTo>
                  <a:lnTo>
                    <a:pt x="1620142" y="10614310"/>
                  </a:lnTo>
                  <a:lnTo>
                    <a:pt x="1653498" y="10595250"/>
                  </a:lnTo>
                  <a:lnTo>
                    <a:pt x="1686854" y="10542834"/>
                  </a:lnTo>
                  <a:lnTo>
                    <a:pt x="1701150" y="10519008"/>
                  </a:lnTo>
                  <a:lnTo>
                    <a:pt x="1705916" y="10495182"/>
                  </a:lnTo>
                  <a:lnTo>
                    <a:pt x="1705916" y="10476122"/>
                  </a:lnTo>
                  <a:lnTo>
                    <a:pt x="1701150" y="10452296"/>
                  </a:lnTo>
                  <a:lnTo>
                    <a:pt x="1696384" y="10438000"/>
                  </a:lnTo>
                  <a:lnTo>
                    <a:pt x="1682090" y="10423705"/>
                  </a:lnTo>
                  <a:lnTo>
                    <a:pt x="1639204" y="10395114"/>
                  </a:lnTo>
                  <a:lnTo>
                    <a:pt x="1629674" y="10366524"/>
                  </a:lnTo>
                  <a:lnTo>
                    <a:pt x="1620142" y="10337933"/>
                  </a:lnTo>
                  <a:lnTo>
                    <a:pt x="1620142" y="10323638"/>
                  </a:lnTo>
                  <a:lnTo>
                    <a:pt x="1639204" y="10290282"/>
                  </a:lnTo>
                  <a:lnTo>
                    <a:pt x="1643968" y="10275986"/>
                  </a:lnTo>
                  <a:lnTo>
                    <a:pt x="1639204" y="10261691"/>
                  </a:lnTo>
                  <a:lnTo>
                    <a:pt x="1634438" y="10247396"/>
                  </a:lnTo>
                  <a:lnTo>
                    <a:pt x="1586788" y="10233100"/>
                  </a:lnTo>
                  <a:lnTo>
                    <a:pt x="1577256" y="10218804"/>
                  </a:lnTo>
                  <a:lnTo>
                    <a:pt x="1567726" y="10194979"/>
                  </a:lnTo>
                  <a:lnTo>
                    <a:pt x="1562962" y="10171154"/>
                  </a:lnTo>
                  <a:lnTo>
                    <a:pt x="1558196" y="10161623"/>
                  </a:lnTo>
                  <a:lnTo>
                    <a:pt x="1562962" y="10147328"/>
                  </a:lnTo>
                  <a:lnTo>
                    <a:pt x="1577256" y="10133032"/>
                  </a:lnTo>
                  <a:lnTo>
                    <a:pt x="1591552" y="10123502"/>
                  </a:lnTo>
                  <a:lnTo>
                    <a:pt x="1596318" y="10109207"/>
                  </a:lnTo>
                  <a:lnTo>
                    <a:pt x="1596318" y="10094912"/>
                  </a:lnTo>
                  <a:lnTo>
                    <a:pt x="1591552" y="10085381"/>
                  </a:lnTo>
                  <a:lnTo>
                    <a:pt x="1562962" y="10080616"/>
                  </a:lnTo>
                  <a:lnTo>
                    <a:pt x="1562962" y="10075851"/>
                  </a:lnTo>
                  <a:lnTo>
                    <a:pt x="1562962" y="10071086"/>
                  </a:lnTo>
                  <a:lnTo>
                    <a:pt x="1562962" y="10061556"/>
                  </a:lnTo>
                  <a:lnTo>
                    <a:pt x="1577256" y="10037730"/>
                  </a:lnTo>
                  <a:lnTo>
                    <a:pt x="1577256" y="9985314"/>
                  </a:lnTo>
                  <a:lnTo>
                    <a:pt x="1591552" y="9947192"/>
                  </a:lnTo>
                  <a:lnTo>
                    <a:pt x="1577256" y="9928132"/>
                  </a:lnTo>
                  <a:lnTo>
                    <a:pt x="1577256" y="9923367"/>
                  </a:lnTo>
                  <a:lnTo>
                    <a:pt x="1605848" y="9913836"/>
                  </a:lnTo>
                  <a:lnTo>
                    <a:pt x="1624908" y="9909072"/>
                  </a:lnTo>
                  <a:lnTo>
                    <a:pt x="1634438" y="9904306"/>
                  </a:lnTo>
                  <a:lnTo>
                    <a:pt x="1639204" y="9890011"/>
                  </a:lnTo>
                  <a:lnTo>
                    <a:pt x="1634438" y="9866186"/>
                  </a:lnTo>
                  <a:lnTo>
                    <a:pt x="1610612" y="9775648"/>
                  </a:lnTo>
                  <a:lnTo>
                    <a:pt x="1605848" y="9751822"/>
                  </a:lnTo>
                  <a:lnTo>
                    <a:pt x="1591552" y="9718466"/>
                  </a:lnTo>
                  <a:lnTo>
                    <a:pt x="1577256" y="9694640"/>
                  </a:lnTo>
                  <a:lnTo>
                    <a:pt x="1572492" y="9680346"/>
                  </a:lnTo>
                  <a:lnTo>
                    <a:pt x="1558196" y="9646990"/>
                  </a:lnTo>
                  <a:lnTo>
                    <a:pt x="1548666" y="9613634"/>
                  </a:lnTo>
                  <a:lnTo>
                    <a:pt x="1539136" y="9580278"/>
                  </a:lnTo>
                  <a:lnTo>
                    <a:pt x="1524840" y="9546922"/>
                  </a:lnTo>
                  <a:lnTo>
                    <a:pt x="1510546" y="9513566"/>
                  </a:lnTo>
                  <a:lnTo>
                    <a:pt x="1481954" y="9451619"/>
                  </a:lnTo>
                  <a:lnTo>
                    <a:pt x="1477190" y="9437324"/>
                  </a:lnTo>
                  <a:lnTo>
                    <a:pt x="1477190" y="9423028"/>
                  </a:lnTo>
                  <a:lnTo>
                    <a:pt x="1477190" y="9403968"/>
                  </a:lnTo>
                  <a:lnTo>
                    <a:pt x="1505780" y="9356316"/>
                  </a:lnTo>
                  <a:lnTo>
                    <a:pt x="1524840" y="9313430"/>
                  </a:lnTo>
                  <a:lnTo>
                    <a:pt x="1553432" y="9261014"/>
                  </a:lnTo>
                  <a:lnTo>
                    <a:pt x="1582022" y="9222893"/>
                  </a:lnTo>
                  <a:lnTo>
                    <a:pt x="1610612" y="9170477"/>
                  </a:lnTo>
                  <a:lnTo>
                    <a:pt x="1620142" y="9122826"/>
                  </a:lnTo>
                  <a:lnTo>
                    <a:pt x="1620142" y="9113295"/>
                  </a:lnTo>
                  <a:lnTo>
                    <a:pt x="1596318" y="9089470"/>
                  </a:lnTo>
                  <a:lnTo>
                    <a:pt x="1548666" y="9013228"/>
                  </a:lnTo>
                  <a:lnTo>
                    <a:pt x="1520076" y="8960811"/>
                  </a:lnTo>
                  <a:lnTo>
                    <a:pt x="1477190" y="8936986"/>
                  </a:lnTo>
                  <a:lnTo>
                    <a:pt x="1415242" y="8903630"/>
                  </a:lnTo>
                  <a:lnTo>
                    <a:pt x="1396182" y="8836918"/>
                  </a:lnTo>
                  <a:lnTo>
                    <a:pt x="1381886" y="8779736"/>
                  </a:lnTo>
                  <a:lnTo>
                    <a:pt x="1381886" y="8760676"/>
                  </a:lnTo>
                  <a:lnTo>
                    <a:pt x="1429538" y="8655843"/>
                  </a:lnTo>
                  <a:lnTo>
                    <a:pt x="1429538" y="8641548"/>
                  </a:lnTo>
                  <a:lnTo>
                    <a:pt x="1429538" y="8627252"/>
                  </a:lnTo>
                  <a:lnTo>
                    <a:pt x="1424772" y="8622487"/>
                  </a:lnTo>
                  <a:lnTo>
                    <a:pt x="1420008" y="8617722"/>
                  </a:lnTo>
                  <a:lnTo>
                    <a:pt x="1381886" y="8612957"/>
                  </a:lnTo>
                  <a:lnTo>
                    <a:pt x="1372356" y="8598662"/>
                  </a:lnTo>
                  <a:lnTo>
                    <a:pt x="1396182" y="8589132"/>
                  </a:lnTo>
                  <a:lnTo>
                    <a:pt x="1420008" y="8574836"/>
                  </a:lnTo>
                  <a:lnTo>
                    <a:pt x="1448598" y="8555776"/>
                  </a:lnTo>
                  <a:lnTo>
                    <a:pt x="1458128" y="8551010"/>
                  </a:lnTo>
                  <a:lnTo>
                    <a:pt x="1486720" y="8536715"/>
                  </a:lnTo>
                  <a:lnTo>
                    <a:pt x="1491484" y="8527184"/>
                  </a:lnTo>
                  <a:lnTo>
                    <a:pt x="1496250" y="8517654"/>
                  </a:lnTo>
                  <a:lnTo>
                    <a:pt x="1520076" y="8441412"/>
                  </a:lnTo>
                  <a:lnTo>
                    <a:pt x="1524840" y="8427117"/>
                  </a:lnTo>
                  <a:lnTo>
                    <a:pt x="1596318" y="8398526"/>
                  </a:lnTo>
                  <a:lnTo>
                    <a:pt x="1620142" y="8384231"/>
                  </a:lnTo>
                  <a:lnTo>
                    <a:pt x="1634438" y="8369936"/>
                  </a:lnTo>
                  <a:lnTo>
                    <a:pt x="1643968" y="8355640"/>
                  </a:lnTo>
                  <a:lnTo>
                    <a:pt x="1648734" y="8336580"/>
                  </a:lnTo>
                  <a:lnTo>
                    <a:pt x="1653498" y="8317519"/>
                  </a:lnTo>
                  <a:lnTo>
                    <a:pt x="1653498" y="8303224"/>
                  </a:lnTo>
                  <a:lnTo>
                    <a:pt x="1648734" y="8279398"/>
                  </a:lnTo>
                  <a:lnTo>
                    <a:pt x="1658264" y="8279398"/>
                  </a:lnTo>
                  <a:lnTo>
                    <a:pt x="1682090" y="8303224"/>
                  </a:lnTo>
                  <a:lnTo>
                    <a:pt x="1720210" y="8322284"/>
                  </a:lnTo>
                  <a:lnTo>
                    <a:pt x="1744036" y="8327050"/>
                  </a:lnTo>
                  <a:lnTo>
                    <a:pt x="1758332" y="8322284"/>
                  </a:lnTo>
                  <a:lnTo>
                    <a:pt x="1763096" y="8312754"/>
                  </a:lnTo>
                  <a:lnTo>
                    <a:pt x="1767862" y="8288928"/>
                  </a:lnTo>
                  <a:lnTo>
                    <a:pt x="1767862" y="8269868"/>
                  </a:lnTo>
                  <a:lnTo>
                    <a:pt x="1758332" y="8212686"/>
                  </a:lnTo>
                  <a:lnTo>
                    <a:pt x="1786922" y="8217452"/>
                  </a:lnTo>
                  <a:lnTo>
                    <a:pt x="1848870" y="8255572"/>
                  </a:lnTo>
                  <a:lnTo>
                    <a:pt x="1863164" y="8250807"/>
                  </a:lnTo>
                  <a:lnTo>
                    <a:pt x="1882224" y="8241277"/>
                  </a:lnTo>
                  <a:lnTo>
                    <a:pt x="1901284" y="8198391"/>
                  </a:lnTo>
                  <a:lnTo>
                    <a:pt x="1915580" y="8188860"/>
                  </a:lnTo>
                  <a:lnTo>
                    <a:pt x="1934640" y="8198391"/>
                  </a:lnTo>
                  <a:lnTo>
                    <a:pt x="1939408" y="8188860"/>
                  </a:lnTo>
                  <a:lnTo>
                    <a:pt x="1929876" y="8150740"/>
                  </a:lnTo>
                  <a:lnTo>
                    <a:pt x="1929876" y="8131679"/>
                  </a:lnTo>
                  <a:lnTo>
                    <a:pt x="1996588" y="8174565"/>
                  </a:lnTo>
                  <a:lnTo>
                    <a:pt x="2020412" y="8198391"/>
                  </a:lnTo>
                  <a:lnTo>
                    <a:pt x="2082360" y="8226982"/>
                  </a:lnTo>
                  <a:lnTo>
                    <a:pt x="2091892" y="8236512"/>
                  </a:lnTo>
                  <a:lnTo>
                    <a:pt x="2091892" y="8260338"/>
                  </a:lnTo>
                  <a:lnTo>
                    <a:pt x="2087124" y="8279398"/>
                  </a:lnTo>
                  <a:lnTo>
                    <a:pt x="2077596" y="8293694"/>
                  </a:lnTo>
                  <a:lnTo>
                    <a:pt x="2053768" y="8288928"/>
                  </a:lnTo>
                  <a:lnTo>
                    <a:pt x="1963232" y="8260338"/>
                  </a:lnTo>
                  <a:lnTo>
                    <a:pt x="1948936" y="8279398"/>
                  </a:lnTo>
                  <a:lnTo>
                    <a:pt x="1958468" y="8293694"/>
                  </a:lnTo>
                  <a:lnTo>
                    <a:pt x="1987056" y="8312754"/>
                  </a:lnTo>
                  <a:lnTo>
                    <a:pt x="1991824" y="8346110"/>
                  </a:lnTo>
                  <a:lnTo>
                    <a:pt x="2034708" y="8341344"/>
                  </a:lnTo>
                  <a:lnTo>
                    <a:pt x="2072832" y="8355640"/>
                  </a:lnTo>
                  <a:lnTo>
                    <a:pt x="2091892" y="8350875"/>
                  </a:lnTo>
                  <a:lnTo>
                    <a:pt x="2091892" y="8360405"/>
                  </a:lnTo>
                  <a:lnTo>
                    <a:pt x="2082360" y="8388996"/>
                  </a:lnTo>
                  <a:lnTo>
                    <a:pt x="2087124" y="8398526"/>
                  </a:lnTo>
                  <a:lnTo>
                    <a:pt x="2130012" y="8369936"/>
                  </a:lnTo>
                  <a:lnTo>
                    <a:pt x="2149072" y="8365170"/>
                  </a:lnTo>
                  <a:lnTo>
                    <a:pt x="2163368" y="8369936"/>
                  </a:lnTo>
                  <a:lnTo>
                    <a:pt x="2163368" y="8393761"/>
                  </a:lnTo>
                  <a:lnTo>
                    <a:pt x="2153836" y="8422352"/>
                  </a:lnTo>
                  <a:lnTo>
                    <a:pt x="2153836" y="8441412"/>
                  </a:lnTo>
                  <a:lnTo>
                    <a:pt x="2139540" y="8493828"/>
                  </a:lnTo>
                  <a:lnTo>
                    <a:pt x="2120480" y="8508124"/>
                  </a:lnTo>
                  <a:lnTo>
                    <a:pt x="2110952" y="8527184"/>
                  </a:lnTo>
                  <a:lnTo>
                    <a:pt x="2144308" y="8517654"/>
                  </a:lnTo>
                  <a:lnTo>
                    <a:pt x="2158604" y="8503359"/>
                  </a:lnTo>
                  <a:lnTo>
                    <a:pt x="2187192" y="8431882"/>
                  </a:lnTo>
                  <a:lnTo>
                    <a:pt x="2196724" y="8422352"/>
                  </a:lnTo>
                  <a:lnTo>
                    <a:pt x="2282496" y="8422352"/>
                  </a:lnTo>
                  <a:lnTo>
                    <a:pt x="2301556" y="8427117"/>
                  </a:lnTo>
                  <a:lnTo>
                    <a:pt x="2382564" y="8460473"/>
                  </a:lnTo>
                  <a:lnTo>
                    <a:pt x="2406388" y="8460473"/>
                  </a:lnTo>
                  <a:lnTo>
                    <a:pt x="2430216" y="8460473"/>
                  </a:lnTo>
                  <a:lnTo>
                    <a:pt x="2439744" y="8441412"/>
                  </a:lnTo>
                  <a:lnTo>
                    <a:pt x="2449276" y="8436647"/>
                  </a:lnTo>
                  <a:lnTo>
                    <a:pt x="2535048" y="8474768"/>
                  </a:lnTo>
                  <a:lnTo>
                    <a:pt x="2654176" y="8555776"/>
                  </a:lnTo>
                  <a:lnTo>
                    <a:pt x="2830484" y="8693964"/>
                  </a:lnTo>
                  <a:lnTo>
                    <a:pt x="2925788" y="8813092"/>
                  </a:lnTo>
                  <a:lnTo>
                    <a:pt x="2940084" y="8836918"/>
                  </a:lnTo>
                  <a:lnTo>
                    <a:pt x="2973440" y="8851213"/>
                  </a:lnTo>
                  <a:lnTo>
                    <a:pt x="2982968" y="8841683"/>
                  </a:lnTo>
                  <a:lnTo>
                    <a:pt x="3002028" y="8846448"/>
                  </a:lnTo>
                  <a:lnTo>
                    <a:pt x="3116392" y="8956046"/>
                  </a:lnTo>
                  <a:lnTo>
                    <a:pt x="3154512" y="8960811"/>
                  </a:lnTo>
                  <a:lnTo>
                    <a:pt x="3149748" y="8936986"/>
                  </a:lnTo>
                  <a:lnTo>
                    <a:pt x="3144984" y="8917925"/>
                  </a:lnTo>
                  <a:lnTo>
                    <a:pt x="3154512" y="8922690"/>
                  </a:lnTo>
                  <a:lnTo>
                    <a:pt x="3168808" y="8936986"/>
                  </a:lnTo>
                  <a:lnTo>
                    <a:pt x="3187868" y="8979872"/>
                  </a:lnTo>
                  <a:lnTo>
                    <a:pt x="3216460" y="9008462"/>
                  </a:lnTo>
                  <a:lnTo>
                    <a:pt x="3245052" y="9056114"/>
                  </a:lnTo>
                  <a:lnTo>
                    <a:pt x="3264112" y="9070409"/>
                  </a:lnTo>
                  <a:lnTo>
                    <a:pt x="3287936" y="9079940"/>
                  </a:lnTo>
                  <a:lnTo>
                    <a:pt x="3302232" y="9089470"/>
                  </a:lnTo>
                  <a:lnTo>
                    <a:pt x="3335588" y="9103765"/>
                  </a:lnTo>
                  <a:lnTo>
                    <a:pt x="3349884" y="9213363"/>
                  </a:lnTo>
                  <a:lnTo>
                    <a:pt x="3359416" y="9237188"/>
                  </a:lnTo>
                  <a:lnTo>
                    <a:pt x="3359416" y="9284840"/>
                  </a:lnTo>
                  <a:lnTo>
                    <a:pt x="3383240" y="9303900"/>
                  </a:lnTo>
                  <a:lnTo>
                    <a:pt x="3397536" y="9308666"/>
                  </a:lnTo>
                  <a:lnTo>
                    <a:pt x="3397536" y="9346786"/>
                  </a:lnTo>
                  <a:lnTo>
                    <a:pt x="3383240" y="9427794"/>
                  </a:lnTo>
                  <a:lnTo>
                    <a:pt x="3368944" y="9461150"/>
                  </a:lnTo>
                  <a:lnTo>
                    <a:pt x="3264112" y="9613634"/>
                  </a:lnTo>
                  <a:lnTo>
                    <a:pt x="3202164" y="9670815"/>
                  </a:lnTo>
                  <a:lnTo>
                    <a:pt x="3073508" y="9732762"/>
                  </a:lnTo>
                  <a:lnTo>
                    <a:pt x="2973440" y="9756588"/>
                  </a:lnTo>
                  <a:lnTo>
                    <a:pt x="2935320" y="9761352"/>
                  </a:lnTo>
                  <a:lnTo>
                    <a:pt x="2854312" y="9747057"/>
                  </a:lnTo>
                  <a:lnTo>
                    <a:pt x="2811424" y="9737527"/>
                  </a:lnTo>
                  <a:lnTo>
                    <a:pt x="2763772" y="9699406"/>
                  </a:lnTo>
                  <a:lnTo>
                    <a:pt x="2711356" y="9680346"/>
                  </a:lnTo>
                  <a:lnTo>
                    <a:pt x="2678000" y="9670815"/>
                  </a:lnTo>
                  <a:lnTo>
                    <a:pt x="2616056" y="9666050"/>
                  </a:lnTo>
                  <a:lnTo>
                    <a:pt x="2482632" y="9632694"/>
                  </a:lnTo>
                  <a:lnTo>
                    <a:pt x="2458804" y="9618398"/>
                  </a:lnTo>
                  <a:lnTo>
                    <a:pt x="2377800" y="9546922"/>
                  </a:lnTo>
                  <a:lnTo>
                    <a:pt x="2339676" y="9565982"/>
                  </a:lnTo>
                  <a:lnTo>
                    <a:pt x="2320616" y="9570748"/>
                  </a:lnTo>
                  <a:lnTo>
                    <a:pt x="2311088" y="9546922"/>
                  </a:lnTo>
                  <a:lnTo>
                    <a:pt x="2315852" y="9542156"/>
                  </a:lnTo>
                  <a:lnTo>
                    <a:pt x="2315852" y="9532626"/>
                  </a:lnTo>
                  <a:lnTo>
                    <a:pt x="2268200" y="9508801"/>
                  </a:lnTo>
                  <a:lnTo>
                    <a:pt x="2230080" y="9508801"/>
                  </a:lnTo>
                  <a:lnTo>
                    <a:pt x="2211020" y="9494506"/>
                  </a:lnTo>
                  <a:lnTo>
                    <a:pt x="2182428" y="9480210"/>
                  </a:lnTo>
                  <a:lnTo>
                    <a:pt x="2172896" y="9484975"/>
                  </a:lnTo>
                  <a:lnTo>
                    <a:pt x="2163368" y="9484975"/>
                  </a:lnTo>
                  <a:lnTo>
                    <a:pt x="2115716" y="9456384"/>
                  </a:lnTo>
                  <a:lnTo>
                    <a:pt x="2091892" y="9427794"/>
                  </a:lnTo>
                  <a:lnTo>
                    <a:pt x="2068064" y="9384908"/>
                  </a:lnTo>
                  <a:lnTo>
                    <a:pt x="2072832" y="9370612"/>
                  </a:lnTo>
                  <a:lnTo>
                    <a:pt x="2077596" y="9356316"/>
                  </a:lnTo>
                  <a:lnTo>
                    <a:pt x="1996588" y="9332491"/>
                  </a:lnTo>
                  <a:lnTo>
                    <a:pt x="1920344" y="9327726"/>
                  </a:lnTo>
                  <a:lnTo>
                    <a:pt x="1929876" y="9342022"/>
                  </a:lnTo>
                  <a:lnTo>
                    <a:pt x="1967996" y="9346786"/>
                  </a:lnTo>
                  <a:lnTo>
                    <a:pt x="1987056" y="9365847"/>
                  </a:lnTo>
                  <a:lnTo>
                    <a:pt x="2010884" y="9389672"/>
                  </a:lnTo>
                  <a:lnTo>
                    <a:pt x="2006120" y="9427794"/>
                  </a:lnTo>
                  <a:lnTo>
                    <a:pt x="2039476" y="9461150"/>
                  </a:lnTo>
                  <a:lnTo>
                    <a:pt x="2068064" y="9494506"/>
                  </a:lnTo>
                  <a:lnTo>
                    <a:pt x="2068064" y="9504036"/>
                  </a:lnTo>
                  <a:lnTo>
                    <a:pt x="2077596" y="9508801"/>
                  </a:lnTo>
                  <a:lnTo>
                    <a:pt x="2120480" y="9518331"/>
                  </a:lnTo>
                  <a:lnTo>
                    <a:pt x="2125248" y="9551687"/>
                  </a:lnTo>
                  <a:lnTo>
                    <a:pt x="2120480" y="9561217"/>
                  </a:lnTo>
                  <a:lnTo>
                    <a:pt x="2125248" y="9580278"/>
                  </a:lnTo>
                  <a:lnTo>
                    <a:pt x="2153836" y="9599338"/>
                  </a:lnTo>
                  <a:lnTo>
                    <a:pt x="2172896" y="9604104"/>
                  </a:lnTo>
                  <a:lnTo>
                    <a:pt x="2191960" y="9613634"/>
                  </a:lnTo>
                  <a:lnTo>
                    <a:pt x="2182428" y="9637459"/>
                  </a:lnTo>
                  <a:lnTo>
                    <a:pt x="2163368" y="9651754"/>
                  </a:lnTo>
                  <a:lnTo>
                    <a:pt x="2149072" y="9656520"/>
                  </a:lnTo>
                  <a:lnTo>
                    <a:pt x="2153836" y="9661285"/>
                  </a:lnTo>
                  <a:lnTo>
                    <a:pt x="2177664" y="9661285"/>
                  </a:lnTo>
                  <a:lnTo>
                    <a:pt x="2263436" y="9699406"/>
                  </a:lnTo>
                  <a:lnTo>
                    <a:pt x="2311088" y="9737527"/>
                  </a:lnTo>
                  <a:lnTo>
                    <a:pt x="2353972" y="9804238"/>
                  </a:lnTo>
                  <a:lnTo>
                    <a:pt x="2368268" y="9837594"/>
                  </a:lnTo>
                  <a:lnTo>
                    <a:pt x="2373032" y="9856655"/>
                  </a:lnTo>
                  <a:lnTo>
                    <a:pt x="2368268" y="9875716"/>
                  </a:lnTo>
                  <a:lnTo>
                    <a:pt x="2363504" y="9894776"/>
                  </a:lnTo>
                  <a:lnTo>
                    <a:pt x="2358736" y="9913836"/>
                  </a:lnTo>
                  <a:lnTo>
                    <a:pt x="2344444" y="9971018"/>
                  </a:lnTo>
                  <a:lnTo>
                    <a:pt x="2330148" y="9990078"/>
                  </a:lnTo>
                  <a:lnTo>
                    <a:pt x="2311088" y="10013904"/>
                  </a:lnTo>
                  <a:lnTo>
                    <a:pt x="2330148" y="10056790"/>
                  </a:lnTo>
                  <a:lnTo>
                    <a:pt x="2353972" y="10099676"/>
                  </a:lnTo>
                  <a:lnTo>
                    <a:pt x="2373032" y="10166388"/>
                  </a:lnTo>
                  <a:lnTo>
                    <a:pt x="2377800" y="10194979"/>
                  </a:lnTo>
                  <a:lnTo>
                    <a:pt x="2377800" y="10233100"/>
                  </a:lnTo>
                  <a:lnTo>
                    <a:pt x="2396860" y="10252160"/>
                  </a:lnTo>
                  <a:lnTo>
                    <a:pt x="2387328" y="10256926"/>
                  </a:lnTo>
                  <a:lnTo>
                    <a:pt x="2382564" y="10271221"/>
                  </a:lnTo>
                  <a:lnTo>
                    <a:pt x="2382564" y="10323638"/>
                  </a:lnTo>
                  <a:lnTo>
                    <a:pt x="2406388" y="10366524"/>
                  </a:lnTo>
                  <a:lnTo>
                    <a:pt x="2449276" y="10395114"/>
                  </a:lnTo>
                  <a:lnTo>
                    <a:pt x="2468336" y="10399880"/>
                  </a:lnTo>
                  <a:lnTo>
                    <a:pt x="2506456" y="10390350"/>
                  </a:lnTo>
                  <a:lnTo>
                    <a:pt x="2530284" y="10404644"/>
                  </a:lnTo>
                  <a:lnTo>
                    <a:pt x="2582700" y="10457061"/>
                  </a:lnTo>
                  <a:lnTo>
                    <a:pt x="2606524" y="10514242"/>
                  </a:lnTo>
                  <a:lnTo>
                    <a:pt x="2616056" y="10523773"/>
                  </a:lnTo>
                  <a:lnTo>
                    <a:pt x="2668472" y="10542834"/>
                  </a:lnTo>
                  <a:lnTo>
                    <a:pt x="2711356" y="10557128"/>
                  </a:lnTo>
                  <a:lnTo>
                    <a:pt x="2773304" y="10590484"/>
                  </a:lnTo>
                  <a:lnTo>
                    <a:pt x="2782832" y="10590484"/>
                  </a:lnTo>
                  <a:lnTo>
                    <a:pt x="2816192" y="10561894"/>
                  </a:lnTo>
                  <a:lnTo>
                    <a:pt x="2868608" y="10542834"/>
                  </a:lnTo>
                  <a:lnTo>
                    <a:pt x="2882900" y="10514242"/>
                  </a:lnTo>
                  <a:lnTo>
                    <a:pt x="2882900" y="10490417"/>
                  </a:lnTo>
                  <a:lnTo>
                    <a:pt x="2868608" y="10452296"/>
                  </a:lnTo>
                  <a:lnTo>
                    <a:pt x="2863840" y="10409410"/>
                  </a:lnTo>
                  <a:lnTo>
                    <a:pt x="2844780" y="10395114"/>
                  </a:lnTo>
                  <a:lnTo>
                    <a:pt x="2830484" y="10380819"/>
                  </a:lnTo>
                  <a:lnTo>
                    <a:pt x="2782832" y="10390350"/>
                  </a:lnTo>
                  <a:lnTo>
                    <a:pt x="2759008" y="10390350"/>
                  </a:lnTo>
                  <a:lnTo>
                    <a:pt x="2744712" y="10376054"/>
                  </a:lnTo>
                  <a:lnTo>
                    <a:pt x="2720888" y="10347463"/>
                  </a:lnTo>
                  <a:lnTo>
                    <a:pt x="2678000" y="10275986"/>
                  </a:lnTo>
                  <a:lnTo>
                    <a:pt x="2654176" y="10252160"/>
                  </a:lnTo>
                  <a:lnTo>
                    <a:pt x="2649412" y="10237865"/>
                  </a:lnTo>
                  <a:lnTo>
                    <a:pt x="2639880" y="10218804"/>
                  </a:lnTo>
                  <a:lnTo>
                    <a:pt x="2644644" y="10185449"/>
                  </a:lnTo>
                  <a:lnTo>
                    <a:pt x="2663704" y="10185449"/>
                  </a:lnTo>
                  <a:lnTo>
                    <a:pt x="2682768" y="10166388"/>
                  </a:lnTo>
                  <a:lnTo>
                    <a:pt x="2697060" y="10099676"/>
                  </a:lnTo>
                  <a:lnTo>
                    <a:pt x="2725652" y="10090146"/>
                  </a:lnTo>
                  <a:lnTo>
                    <a:pt x="2739948" y="10090146"/>
                  </a:lnTo>
                  <a:lnTo>
                    <a:pt x="2797128" y="10123502"/>
                  </a:lnTo>
                  <a:lnTo>
                    <a:pt x="2873372" y="10204510"/>
                  </a:lnTo>
                  <a:lnTo>
                    <a:pt x="2887668" y="10214040"/>
                  </a:lnTo>
                  <a:lnTo>
                    <a:pt x="2906728" y="10214040"/>
                  </a:lnTo>
                  <a:lnTo>
                    <a:pt x="2935320" y="10214040"/>
                  </a:lnTo>
                  <a:lnTo>
                    <a:pt x="2940084" y="10223570"/>
                  </a:lnTo>
                  <a:lnTo>
                    <a:pt x="2954380" y="10237865"/>
                  </a:lnTo>
                  <a:lnTo>
                    <a:pt x="2968672" y="10242630"/>
                  </a:lnTo>
                  <a:lnTo>
                    <a:pt x="3035384" y="10266456"/>
                  </a:lnTo>
                  <a:lnTo>
                    <a:pt x="3116392" y="10318872"/>
                  </a:lnTo>
                  <a:lnTo>
                    <a:pt x="3144984" y="10318872"/>
                  </a:lnTo>
                  <a:lnTo>
                    <a:pt x="3159280" y="10290282"/>
                  </a:lnTo>
                  <a:lnTo>
                    <a:pt x="3159280" y="10275986"/>
                  </a:lnTo>
                  <a:lnTo>
                    <a:pt x="3192636" y="10247396"/>
                  </a:lnTo>
                  <a:lnTo>
                    <a:pt x="3216460" y="10242630"/>
                  </a:lnTo>
                  <a:lnTo>
                    <a:pt x="3249816" y="10252160"/>
                  </a:lnTo>
                  <a:lnTo>
                    <a:pt x="3254580" y="10242630"/>
                  </a:lnTo>
                  <a:lnTo>
                    <a:pt x="3240288" y="10199744"/>
                  </a:lnTo>
                  <a:lnTo>
                    <a:pt x="3225992" y="10161623"/>
                  </a:lnTo>
                  <a:lnTo>
                    <a:pt x="3206932" y="10137798"/>
                  </a:lnTo>
                  <a:lnTo>
                    <a:pt x="3168808" y="10066320"/>
                  </a:lnTo>
                  <a:lnTo>
                    <a:pt x="3154512" y="10032964"/>
                  </a:lnTo>
                  <a:lnTo>
                    <a:pt x="3144984" y="9994844"/>
                  </a:lnTo>
                  <a:lnTo>
                    <a:pt x="3149748" y="9961488"/>
                  </a:lnTo>
                  <a:lnTo>
                    <a:pt x="3154512" y="9937662"/>
                  </a:lnTo>
                  <a:lnTo>
                    <a:pt x="3235520" y="9880480"/>
                  </a:lnTo>
                  <a:lnTo>
                    <a:pt x="3264112" y="9842360"/>
                  </a:lnTo>
                  <a:lnTo>
                    <a:pt x="3292704" y="9799474"/>
                  </a:lnTo>
                  <a:lnTo>
                    <a:pt x="3307000" y="9789944"/>
                  </a:lnTo>
                  <a:lnTo>
                    <a:pt x="3349884" y="9775648"/>
                  </a:lnTo>
                  <a:lnTo>
                    <a:pt x="3416596" y="9737527"/>
                  </a:lnTo>
                  <a:lnTo>
                    <a:pt x="3464248" y="9685110"/>
                  </a:lnTo>
                  <a:lnTo>
                    <a:pt x="3507132" y="9604104"/>
                  </a:lnTo>
                  <a:lnTo>
                    <a:pt x="3530960" y="9585043"/>
                  </a:lnTo>
                  <a:lnTo>
                    <a:pt x="3545256" y="9585043"/>
                  </a:lnTo>
                  <a:lnTo>
                    <a:pt x="3569080" y="9599338"/>
                  </a:lnTo>
                  <a:lnTo>
                    <a:pt x="3588140" y="9623164"/>
                  </a:lnTo>
                  <a:lnTo>
                    <a:pt x="3621496" y="9627929"/>
                  </a:lnTo>
                  <a:lnTo>
                    <a:pt x="3654852" y="9623164"/>
                  </a:lnTo>
                  <a:lnTo>
                    <a:pt x="3688208" y="9623164"/>
                  </a:lnTo>
                  <a:lnTo>
                    <a:pt x="3740624" y="9661285"/>
                  </a:lnTo>
                  <a:lnTo>
                    <a:pt x="3745388" y="9670815"/>
                  </a:lnTo>
                  <a:lnTo>
                    <a:pt x="3754920" y="9689876"/>
                  </a:lnTo>
                  <a:lnTo>
                    <a:pt x="3740624" y="9718466"/>
                  </a:lnTo>
                  <a:lnTo>
                    <a:pt x="3735860" y="9737527"/>
                  </a:lnTo>
                  <a:lnTo>
                    <a:pt x="3750156" y="9727996"/>
                  </a:lnTo>
                  <a:lnTo>
                    <a:pt x="3769216" y="9723232"/>
                  </a:lnTo>
                  <a:lnTo>
                    <a:pt x="3783512" y="9732762"/>
                  </a:lnTo>
                  <a:lnTo>
                    <a:pt x="3797808" y="9747057"/>
                  </a:lnTo>
                  <a:lnTo>
                    <a:pt x="3812100" y="9766118"/>
                  </a:lnTo>
                  <a:lnTo>
                    <a:pt x="3826396" y="9780413"/>
                  </a:lnTo>
                  <a:lnTo>
                    <a:pt x="3831160" y="9761352"/>
                  </a:lnTo>
                  <a:lnTo>
                    <a:pt x="3831160" y="9742292"/>
                  </a:lnTo>
                  <a:lnTo>
                    <a:pt x="3821632" y="9694640"/>
                  </a:lnTo>
                  <a:lnTo>
                    <a:pt x="3845456" y="9627929"/>
                  </a:lnTo>
                  <a:lnTo>
                    <a:pt x="3859752" y="9599338"/>
                  </a:lnTo>
                  <a:lnTo>
                    <a:pt x="3883580" y="9523096"/>
                  </a:lnTo>
                  <a:lnTo>
                    <a:pt x="3878812" y="9475445"/>
                  </a:lnTo>
                  <a:lnTo>
                    <a:pt x="3874048" y="9418264"/>
                  </a:lnTo>
                  <a:lnTo>
                    <a:pt x="3869284" y="9389672"/>
                  </a:lnTo>
                  <a:lnTo>
                    <a:pt x="3854988" y="9351552"/>
                  </a:lnTo>
                  <a:lnTo>
                    <a:pt x="3821632" y="9327726"/>
                  </a:lnTo>
                  <a:lnTo>
                    <a:pt x="3788276" y="9318196"/>
                  </a:lnTo>
                  <a:lnTo>
                    <a:pt x="3773980" y="9289605"/>
                  </a:lnTo>
                  <a:lnTo>
                    <a:pt x="3778744" y="9261014"/>
                  </a:lnTo>
                  <a:lnTo>
                    <a:pt x="3788276" y="9218128"/>
                  </a:lnTo>
                  <a:lnTo>
                    <a:pt x="3816868" y="9122826"/>
                  </a:lnTo>
                  <a:lnTo>
                    <a:pt x="3845456" y="8984637"/>
                  </a:lnTo>
                  <a:lnTo>
                    <a:pt x="3845456" y="8956046"/>
                  </a:lnTo>
                  <a:lnTo>
                    <a:pt x="3840692" y="8936986"/>
                  </a:lnTo>
                  <a:lnTo>
                    <a:pt x="3845456" y="8922690"/>
                  </a:lnTo>
                  <a:lnTo>
                    <a:pt x="3840692" y="8879804"/>
                  </a:lnTo>
                  <a:lnTo>
                    <a:pt x="3835928" y="8846448"/>
                  </a:lnTo>
                  <a:lnTo>
                    <a:pt x="3716800" y="8727320"/>
                  </a:lnTo>
                  <a:lnTo>
                    <a:pt x="3707268" y="8717790"/>
                  </a:lnTo>
                  <a:lnTo>
                    <a:pt x="3702504" y="8698729"/>
                  </a:lnTo>
                  <a:lnTo>
                    <a:pt x="3716800" y="8698729"/>
                  </a:lnTo>
                  <a:lnTo>
                    <a:pt x="3726328" y="8698729"/>
                  </a:lnTo>
                  <a:lnTo>
                    <a:pt x="3816868" y="8751146"/>
                  </a:lnTo>
                  <a:lnTo>
                    <a:pt x="3835928" y="8755910"/>
                  </a:lnTo>
                  <a:lnTo>
                    <a:pt x="3978880" y="8741616"/>
                  </a:lnTo>
                  <a:lnTo>
                    <a:pt x="4045592" y="8755910"/>
                  </a:lnTo>
                  <a:lnTo>
                    <a:pt x="4102776" y="8784502"/>
                  </a:lnTo>
                  <a:lnTo>
                    <a:pt x="4145660" y="8860744"/>
                  </a:lnTo>
                  <a:lnTo>
                    <a:pt x="4188548" y="8936986"/>
                  </a:lnTo>
                  <a:lnTo>
                    <a:pt x="4226668" y="8998932"/>
                  </a:lnTo>
                  <a:lnTo>
                    <a:pt x="4231432" y="9046584"/>
                  </a:lnTo>
                  <a:lnTo>
                    <a:pt x="4188548" y="9056114"/>
                  </a:lnTo>
                  <a:lnTo>
                    <a:pt x="4150424" y="9060879"/>
                  </a:lnTo>
                  <a:lnTo>
                    <a:pt x="4045592" y="9084704"/>
                  </a:lnTo>
                  <a:lnTo>
                    <a:pt x="4021768" y="9113295"/>
                  </a:lnTo>
                  <a:lnTo>
                    <a:pt x="3955056" y="9199068"/>
                  </a:lnTo>
                  <a:lnTo>
                    <a:pt x="3950292" y="9227658"/>
                  </a:lnTo>
                  <a:lnTo>
                    <a:pt x="3955056" y="9251484"/>
                  </a:lnTo>
                  <a:lnTo>
                    <a:pt x="3988412" y="9280074"/>
                  </a:lnTo>
                  <a:lnTo>
                    <a:pt x="4055124" y="9318196"/>
                  </a:lnTo>
                  <a:lnTo>
                    <a:pt x="4083712" y="9399203"/>
                  </a:lnTo>
                  <a:lnTo>
                    <a:pt x="4102776" y="9437324"/>
                  </a:lnTo>
                  <a:lnTo>
                    <a:pt x="4117068" y="9451619"/>
                  </a:lnTo>
                  <a:lnTo>
                    <a:pt x="4136132" y="9456384"/>
                  </a:lnTo>
                  <a:lnTo>
                    <a:pt x="4169488" y="9456384"/>
                  </a:lnTo>
                  <a:lnTo>
                    <a:pt x="4193312" y="9465914"/>
                  </a:lnTo>
                  <a:lnTo>
                    <a:pt x="4198076" y="9470680"/>
                  </a:lnTo>
                  <a:lnTo>
                    <a:pt x="4207608" y="9465914"/>
                  </a:lnTo>
                  <a:lnTo>
                    <a:pt x="4231432" y="9461150"/>
                  </a:lnTo>
                  <a:lnTo>
                    <a:pt x="4355328" y="9423028"/>
                  </a:lnTo>
                  <a:lnTo>
                    <a:pt x="4379152" y="9403968"/>
                  </a:lnTo>
                  <a:lnTo>
                    <a:pt x="4388680" y="9375377"/>
                  </a:lnTo>
                  <a:lnTo>
                    <a:pt x="4398212" y="9284840"/>
                  </a:lnTo>
                  <a:lnTo>
                    <a:pt x="4407744" y="9251484"/>
                  </a:lnTo>
                  <a:lnTo>
                    <a:pt x="4417272" y="9208598"/>
                  </a:lnTo>
                  <a:lnTo>
                    <a:pt x="4417272" y="9184772"/>
                  </a:lnTo>
                  <a:lnTo>
                    <a:pt x="4412508" y="9156182"/>
                  </a:lnTo>
                  <a:lnTo>
                    <a:pt x="4474456" y="9127590"/>
                  </a:lnTo>
                  <a:lnTo>
                    <a:pt x="4536400" y="9113295"/>
                  </a:lnTo>
                  <a:lnTo>
                    <a:pt x="4564992" y="9118060"/>
                  </a:lnTo>
                  <a:lnTo>
                    <a:pt x="4569756" y="9094234"/>
                  </a:lnTo>
                  <a:lnTo>
                    <a:pt x="4550696" y="9056114"/>
                  </a:lnTo>
                  <a:lnTo>
                    <a:pt x="4541168" y="9037053"/>
                  </a:lnTo>
                  <a:lnTo>
                    <a:pt x="4550696" y="9027523"/>
                  </a:lnTo>
                  <a:lnTo>
                    <a:pt x="4564992" y="9037053"/>
                  </a:lnTo>
                  <a:lnTo>
                    <a:pt x="4584052" y="9046584"/>
                  </a:lnTo>
                  <a:lnTo>
                    <a:pt x="4612644" y="9037053"/>
                  </a:lnTo>
                  <a:lnTo>
                    <a:pt x="4736536" y="8956046"/>
                  </a:lnTo>
                  <a:lnTo>
                    <a:pt x="4784188" y="8913160"/>
                  </a:lnTo>
                  <a:lnTo>
                    <a:pt x="4812780" y="8894100"/>
                  </a:lnTo>
                  <a:lnTo>
                    <a:pt x="4855664" y="8851213"/>
                  </a:lnTo>
                  <a:lnTo>
                    <a:pt x="4874724" y="8836918"/>
                  </a:lnTo>
                  <a:lnTo>
                    <a:pt x="4912848" y="8832152"/>
                  </a:lnTo>
                  <a:lnTo>
                    <a:pt x="4955732" y="8817858"/>
                  </a:lnTo>
                  <a:lnTo>
                    <a:pt x="4998620" y="8784502"/>
                  </a:lnTo>
                  <a:lnTo>
                    <a:pt x="5055800" y="8755910"/>
                  </a:lnTo>
                  <a:lnTo>
                    <a:pt x="5065328" y="8755910"/>
                  </a:lnTo>
                  <a:lnTo>
                    <a:pt x="5079624" y="8760676"/>
                  </a:lnTo>
                  <a:lnTo>
                    <a:pt x="5103452" y="8789266"/>
                  </a:lnTo>
                  <a:lnTo>
                    <a:pt x="5093920" y="8808327"/>
                  </a:lnTo>
                  <a:lnTo>
                    <a:pt x="5089156" y="8827388"/>
                  </a:lnTo>
                  <a:lnTo>
                    <a:pt x="5098688" y="8836918"/>
                  </a:lnTo>
                  <a:lnTo>
                    <a:pt x="5108216" y="8841683"/>
                  </a:lnTo>
                  <a:lnTo>
                    <a:pt x="5117748" y="8836918"/>
                  </a:lnTo>
                  <a:lnTo>
                    <a:pt x="5132040" y="8822622"/>
                  </a:lnTo>
                  <a:lnTo>
                    <a:pt x="5165396" y="8803562"/>
                  </a:lnTo>
                  <a:lnTo>
                    <a:pt x="5170164" y="8779736"/>
                  </a:lnTo>
                  <a:lnTo>
                    <a:pt x="5160632" y="8770206"/>
                  </a:lnTo>
                  <a:lnTo>
                    <a:pt x="5141572" y="8736850"/>
                  </a:lnTo>
                  <a:lnTo>
                    <a:pt x="5127276" y="8727320"/>
                  </a:lnTo>
                  <a:lnTo>
                    <a:pt x="5112980" y="8727320"/>
                  </a:lnTo>
                  <a:lnTo>
                    <a:pt x="5165396" y="8674904"/>
                  </a:lnTo>
                  <a:lnTo>
                    <a:pt x="5279760" y="8598662"/>
                  </a:lnTo>
                  <a:lnTo>
                    <a:pt x="5341708" y="8560540"/>
                  </a:lnTo>
                  <a:lnTo>
                    <a:pt x="5398888" y="8555776"/>
                  </a:lnTo>
                  <a:lnTo>
                    <a:pt x="5446540" y="8560540"/>
                  </a:lnTo>
                  <a:lnTo>
                    <a:pt x="5427480" y="8574836"/>
                  </a:lnTo>
                  <a:lnTo>
                    <a:pt x="5351236" y="8589132"/>
                  </a:lnTo>
                  <a:lnTo>
                    <a:pt x="5336944" y="8598662"/>
                  </a:lnTo>
                  <a:lnTo>
                    <a:pt x="5336944" y="8608192"/>
                  </a:lnTo>
                  <a:lnTo>
                    <a:pt x="5360768" y="8612957"/>
                  </a:lnTo>
                  <a:lnTo>
                    <a:pt x="5365532" y="8627252"/>
                  </a:lnTo>
                  <a:lnTo>
                    <a:pt x="5360768" y="8641548"/>
                  </a:lnTo>
                  <a:lnTo>
                    <a:pt x="5351236" y="8646313"/>
                  </a:lnTo>
                  <a:lnTo>
                    <a:pt x="5346472" y="8684434"/>
                  </a:lnTo>
                  <a:lnTo>
                    <a:pt x="5332176" y="8717790"/>
                  </a:lnTo>
                  <a:lnTo>
                    <a:pt x="5356004" y="8760676"/>
                  </a:lnTo>
                  <a:lnTo>
                    <a:pt x="5360768" y="8803562"/>
                  </a:lnTo>
                  <a:lnTo>
                    <a:pt x="5346472" y="8822622"/>
                  </a:lnTo>
                  <a:lnTo>
                    <a:pt x="5322648" y="8817858"/>
                  </a:lnTo>
                  <a:lnTo>
                    <a:pt x="5303588" y="8832152"/>
                  </a:lnTo>
                  <a:lnTo>
                    <a:pt x="5270232" y="8841683"/>
                  </a:lnTo>
                  <a:lnTo>
                    <a:pt x="5260700" y="8855978"/>
                  </a:lnTo>
                  <a:lnTo>
                    <a:pt x="5255936" y="8875039"/>
                  </a:lnTo>
                  <a:lnTo>
                    <a:pt x="5279760" y="8879804"/>
                  </a:lnTo>
                  <a:lnTo>
                    <a:pt x="5294056" y="8875039"/>
                  </a:lnTo>
                  <a:lnTo>
                    <a:pt x="5356004" y="8889334"/>
                  </a:lnTo>
                  <a:lnTo>
                    <a:pt x="5365532" y="8889334"/>
                  </a:lnTo>
                  <a:lnTo>
                    <a:pt x="5384592" y="8875039"/>
                  </a:lnTo>
                  <a:lnTo>
                    <a:pt x="5408420" y="8875039"/>
                  </a:lnTo>
                  <a:lnTo>
                    <a:pt x="5432244" y="8870274"/>
                  </a:lnTo>
                  <a:lnTo>
                    <a:pt x="5446540" y="8860744"/>
                  </a:lnTo>
                  <a:lnTo>
                    <a:pt x="5460836" y="8870274"/>
                  </a:lnTo>
                  <a:lnTo>
                    <a:pt x="5484660" y="8908395"/>
                  </a:lnTo>
                  <a:lnTo>
                    <a:pt x="5503720" y="8898864"/>
                  </a:lnTo>
                  <a:lnTo>
                    <a:pt x="5513252" y="8827388"/>
                  </a:lnTo>
                  <a:lnTo>
                    <a:pt x="5551372" y="8784502"/>
                  </a:lnTo>
                  <a:lnTo>
                    <a:pt x="5594260" y="8746380"/>
                  </a:lnTo>
                  <a:lnTo>
                    <a:pt x="5632380" y="8741616"/>
                  </a:lnTo>
                  <a:lnTo>
                    <a:pt x="5670500" y="8713024"/>
                  </a:lnTo>
                  <a:lnTo>
                    <a:pt x="5689560" y="8708260"/>
                  </a:lnTo>
                  <a:lnTo>
                    <a:pt x="5727684" y="8722555"/>
                  </a:lnTo>
                  <a:lnTo>
                    <a:pt x="5780100" y="8722555"/>
                  </a:lnTo>
                  <a:lnTo>
                    <a:pt x="5822984" y="8746380"/>
                  </a:lnTo>
                  <a:lnTo>
                    <a:pt x="5861108" y="8751146"/>
                  </a:lnTo>
                  <a:lnTo>
                    <a:pt x="5908756" y="8713024"/>
                  </a:lnTo>
                  <a:lnTo>
                    <a:pt x="6023120" y="8608192"/>
                  </a:lnTo>
                  <a:lnTo>
                    <a:pt x="6032652" y="8632018"/>
                  </a:lnTo>
                  <a:lnTo>
                    <a:pt x="6051712" y="8593896"/>
                  </a:lnTo>
                  <a:lnTo>
                    <a:pt x="6137484" y="8555776"/>
                  </a:lnTo>
                  <a:lnTo>
                    <a:pt x="6161308" y="8555776"/>
                  </a:lnTo>
                  <a:lnTo>
                    <a:pt x="6161308" y="8570070"/>
                  </a:lnTo>
                  <a:lnTo>
                    <a:pt x="6170840" y="8603426"/>
                  </a:lnTo>
                  <a:lnTo>
                    <a:pt x="6185136" y="8622487"/>
                  </a:lnTo>
                  <a:lnTo>
                    <a:pt x="6208960" y="8670138"/>
                  </a:lnTo>
                  <a:lnTo>
                    <a:pt x="6199432" y="8684434"/>
                  </a:lnTo>
                  <a:lnTo>
                    <a:pt x="6185136" y="8693964"/>
                  </a:lnTo>
                  <a:lnTo>
                    <a:pt x="6170840" y="8722555"/>
                  </a:lnTo>
                  <a:lnTo>
                    <a:pt x="6166076" y="8798797"/>
                  </a:lnTo>
                  <a:lnTo>
                    <a:pt x="6199432" y="8817858"/>
                  </a:lnTo>
                  <a:lnTo>
                    <a:pt x="6247080" y="8836918"/>
                  </a:lnTo>
                  <a:lnTo>
                    <a:pt x="6266144" y="8836918"/>
                  </a:lnTo>
                  <a:lnTo>
                    <a:pt x="6280436" y="8827388"/>
                  </a:lnTo>
                  <a:lnTo>
                    <a:pt x="6285204" y="8817858"/>
                  </a:lnTo>
                  <a:lnTo>
                    <a:pt x="6289968" y="8808327"/>
                  </a:lnTo>
                  <a:lnTo>
                    <a:pt x="6299496" y="8770206"/>
                  </a:lnTo>
                  <a:lnTo>
                    <a:pt x="6285204" y="8727320"/>
                  </a:lnTo>
                  <a:lnTo>
                    <a:pt x="6289968" y="8684434"/>
                  </a:lnTo>
                  <a:lnTo>
                    <a:pt x="6332856" y="8689199"/>
                  </a:lnTo>
                  <a:lnTo>
                    <a:pt x="6385272" y="8674904"/>
                  </a:lnTo>
                  <a:lnTo>
                    <a:pt x="6409096" y="8651078"/>
                  </a:lnTo>
                  <a:lnTo>
                    <a:pt x="6437688" y="8603426"/>
                  </a:lnTo>
                  <a:lnTo>
                    <a:pt x="6451984" y="8565306"/>
                  </a:lnTo>
                  <a:lnTo>
                    <a:pt x="6442452" y="8493828"/>
                  </a:lnTo>
                  <a:lnTo>
                    <a:pt x="6409096" y="8512889"/>
                  </a:lnTo>
                  <a:lnTo>
                    <a:pt x="6361444" y="8355640"/>
                  </a:lnTo>
                  <a:lnTo>
                    <a:pt x="6332856" y="8298458"/>
                  </a:lnTo>
                  <a:lnTo>
                    <a:pt x="6351916" y="8269868"/>
                  </a:lnTo>
                  <a:lnTo>
                    <a:pt x="6394800" y="8250807"/>
                  </a:lnTo>
                  <a:lnTo>
                    <a:pt x="6432920" y="8193626"/>
                  </a:lnTo>
                  <a:lnTo>
                    <a:pt x="6451984" y="8184096"/>
                  </a:lnTo>
                  <a:lnTo>
                    <a:pt x="6466276" y="8179330"/>
                  </a:lnTo>
                  <a:lnTo>
                    <a:pt x="6585408" y="8222216"/>
                  </a:lnTo>
                  <a:lnTo>
                    <a:pt x="6718828" y="8231746"/>
                  </a:lnTo>
                  <a:lnTo>
                    <a:pt x="6833192" y="8260338"/>
                  </a:lnTo>
                  <a:lnTo>
                    <a:pt x="6961852" y="8322284"/>
                  </a:lnTo>
                  <a:lnTo>
                    <a:pt x="7023796" y="8365170"/>
                  </a:lnTo>
                  <a:lnTo>
                    <a:pt x="7076216" y="8417586"/>
                  </a:lnTo>
                  <a:lnTo>
                    <a:pt x="7071448" y="8450942"/>
                  </a:lnTo>
                  <a:lnTo>
                    <a:pt x="7095276" y="8441412"/>
                  </a:lnTo>
                  <a:lnTo>
                    <a:pt x="7138160" y="8470003"/>
                  </a:lnTo>
                  <a:lnTo>
                    <a:pt x="7171516" y="8484298"/>
                  </a:lnTo>
                  <a:lnTo>
                    <a:pt x="7204872" y="8503359"/>
                  </a:lnTo>
                  <a:lnTo>
                    <a:pt x="7214404" y="8527184"/>
                  </a:lnTo>
                  <a:lnTo>
                    <a:pt x="7257288" y="8541480"/>
                  </a:lnTo>
                  <a:lnTo>
                    <a:pt x="7300176" y="8574836"/>
                  </a:lnTo>
                  <a:lnTo>
                    <a:pt x="7309704" y="8579601"/>
                  </a:lnTo>
                  <a:lnTo>
                    <a:pt x="7362120" y="8603426"/>
                  </a:lnTo>
                  <a:lnTo>
                    <a:pt x="7400244" y="8612957"/>
                  </a:lnTo>
                  <a:lnTo>
                    <a:pt x="7424068" y="8665374"/>
                  </a:lnTo>
                  <a:lnTo>
                    <a:pt x="7500312" y="8741616"/>
                  </a:lnTo>
                  <a:lnTo>
                    <a:pt x="7514604" y="8770206"/>
                  </a:lnTo>
                  <a:lnTo>
                    <a:pt x="7581316" y="8817858"/>
                  </a:lnTo>
                  <a:lnTo>
                    <a:pt x="7614672" y="8851213"/>
                  </a:lnTo>
                  <a:lnTo>
                    <a:pt x="7638500" y="8836918"/>
                  </a:lnTo>
                  <a:lnTo>
                    <a:pt x="7686152" y="8746380"/>
                  </a:lnTo>
                  <a:lnTo>
                    <a:pt x="7719504" y="8636782"/>
                  </a:lnTo>
                  <a:lnTo>
                    <a:pt x="7733800" y="8579601"/>
                  </a:lnTo>
                  <a:lnTo>
                    <a:pt x="7700444" y="8579601"/>
                  </a:lnTo>
                  <a:lnTo>
                    <a:pt x="7676620" y="8593896"/>
                  </a:lnTo>
                  <a:lnTo>
                    <a:pt x="7662324" y="8589132"/>
                  </a:lnTo>
                  <a:lnTo>
                    <a:pt x="7643264" y="8574836"/>
                  </a:lnTo>
                  <a:lnTo>
                    <a:pt x="7614672" y="8527184"/>
                  </a:lnTo>
                  <a:lnTo>
                    <a:pt x="7576552" y="8455708"/>
                  </a:lnTo>
                  <a:lnTo>
                    <a:pt x="7567024" y="8374700"/>
                  </a:lnTo>
                  <a:lnTo>
                    <a:pt x="7557492" y="8346110"/>
                  </a:lnTo>
                  <a:lnTo>
                    <a:pt x="7524136" y="8327050"/>
                  </a:lnTo>
                  <a:lnTo>
                    <a:pt x="7500312" y="8303224"/>
                  </a:lnTo>
                  <a:lnTo>
                    <a:pt x="7409772" y="8250807"/>
                  </a:lnTo>
                  <a:lnTo>
                    <a:pt x="7395476" y="8269868"/>
                  </a:lnTo>
                  <a:lnTo>
                    <a:pt x="7390712" y="8293694"/>
                  </a:lnTo>
                  <a:lnTo>
                    <a:pt x="7385948" y="8312754"/>
                  </a:lnTo>
                  <a:lnTo>
                    <a:pt x="7376416" y="8288928"/>
                  </a:lnTo>
                  <a:lnTo>
                    <a:pt x="7371652" y="8265102"/>
                  </a:lnTo>
                  <a:lnTo>
                    <a:pt x="7371652" y="8231746"/>
                  </a:lnTo>
                  <a:lnTo>
                    <a:pt x="7376416" y="8184096"/>
                  </a:lnTo>
                  <a:lnTo>
                    <a:pt x="7390712" y="8107854"/>
                  </a:lnTo>
                  <a:lnTo>
                    <a:pt x="7414536" y="8112618"/>
                  </a:lnTo>
                  <a:lnTo>
                    <a:pt x="7424068" y="8098323"/>
                  </a:lnTo>
                  <a:lnTo>
                    <a:pt x="7438364" y="8064968"/>
                  </a:lnTo>
                  <a:lnTo>
                    <a:pt x="7433600" y="8036376"/>
                  </a:lnTo>
                  <a:lnTo>
                    <a:pt x="7424068" y="8012551"/>
                  </a:lnTo>
                  <a:lnTo>
                    <a:pt x="7424068" y="7979195"/>
                  </a:lnTo>
                  <a:lnTo>
                    <a:pt x="7438364" y="7883892"/>
                  </a:lnTo>
                  <a:lnTo>
                    <a:pt x="7447896" y="7769530"/>
                  </a:lnTo>
                  <a:lnTo>
                    <a:pt x="7433600" y="7740939"/>
                  </a:lnTo>
                  <a:lnTo>
                    <a:pt x="7424068" y="7721878"/>
                  </a:lnTo>
                  <a:lnTo>
                    <a:pt x="7371652" y="7740939"/>
                  </a:lnTo>
                  <a:lnTo>
                    <a:pt x="7352592" y="7731408"/>
                  </a:lnTo>
                  <a:lnTo>
                    <a:pt x="7352592" y="7707583"/>
                  </a:lnTo>
                  <a:lnTo>
                    <a:pt x="7347824" y="7693288"/>
                  </a:lnTo>
                  <a:lnTo>
                    <a:pt x="7362120" y="7664696"/>
                  </a:lnTo>
                  <a:lnTo>
                    <a:pt x="7376416" y="7612280"/>
                  </a:lnTo>
                  <a:lnTo>
                    <a:pt x="7352592" y="7626576"/>
                  </a:lnTo>
                  <a:lnTo>
                    <a:pt x="7343060" y="7607515"/>
                  </a:lnTo>
                  <a:lnTo>
                    <a:pt x="7366888" y="7578924"/>
                  </a:lnTo>
                  <a:lnTo>
                    <a:pt x="7385948" y="7507448"/>
                  </a:lnTo>
                  <a:lnTo>
                    <a:pt x="7443128" y="7474092"/>
                  </a:lnTo>
                  <a:lnTo>
                    <a:pt x="7486016" y="7445501"/>
                  </a:lnTo>
                  <a:lnTo>
                    <a:pt x="7552728" y="7378789"/>
                  </a:lnTo>
                  <a:lnTo>
                    <a:pt x="7600376" y="7312077"/>
                  </a:lnTo>
                  <a:lnTo>
                    <a:pt x="7628968" y="7226305"/>
                  </a:lnTo>
                  <a:lnTo>
                    <a:pt x="7652796" y="7145298"/>
                  </a:lnTo>
                  <a:lnTo>
                    <a:pt x="7686152" y="6957075"/>
                  </a:lnTo>
                  <a:lnTo>
                    <a:pt x="7719504" y="6809356"/>
                  </a:lnTo>
                  <a:lnTo>
                    <a:pt x="7776688" y="6656872"/>
                  </a:lnTo>
                  <a:lnTo>
                    <a:pt x="7810044" y="6647342"/>
                  </a:lnTo>
                  <a:lnTo>
                    <a:pt x="7819576" y="6647342"/>
                  </a:lnTo>
                  <a:lnTo>
                    <a:pt x="7824340" y="6656872"/>
                  </a:lnTo>
                  <a:lnTo>
                    <a:pt x="7814808" y="6671168"/>
                  </a:lnTo>
                  <a:lnTo>
                    <a:pt x="7814808" y="6690228"/>
                  </a:lnTo>
                  <a:lnTo>
                    <a:pt x="7829104" y="6694993"/>
                  </a:lnTo>
                  <a:lnTo>
                    <a:pt x="7852928" y="6699758"/>
                  </a:lnTo>
                  <a:lnTo>
                    <a:pt x="7895816" y="6690228"/>
                  </a:lnTo>
                  <a:lnTo>
                    <a:pt x="7972056" y="6694993"/>
                  </a:lnTo>
                  <a:lnTo>
                    <a:pt x="8105480" y="6680698"/>
                  </a:lnTo>
                  <a:lnTo>
                    <a:pt x="8124544" y="6685463"/>
                  </a:lnTo>
                  <a:lnTo>
                    <a:pt x="8172192" y="6733114"/>
                  </a:lnTo>
                  <a:lnTo>
                    <a:pt x="8196020" y="6728349"/>
                  </a:lnTo>
                  <a:lnTo>
                    <a:pt x="8253200" y="6747410"/>
                  </a:lnTo>
                  <a:lnTo>
                    <a:pt x="8281792" y="6771235"/>
                  </a:lnTo>
                  <a:lnTo>
                    <a:pt x="8310384" y="6799826"/>
                  </a:lnTo>
                  <a:lnTo>
                    <a:pt x="8305616" y="6909424"/>
                  </a:lnTo>
                  <a:lnTo>
                    <a:pt x="8300852" y="6980901"/>
                  </a:lnTo>
                  <a:lnTo>
                    <a:pt x="8281792" y="7114324"/>
                  </a:lnTo>
                  <a:lnTo>
                    <a:pt x="8272260" y="7145298"/>
                  </a:lnTo>
                  <a:lnTo>
                    <a:pt x="8238904" y="7240600"/>
                  </a:lnTo>
                  <a:lnTo>
                    <a:pt x="8224608" y="7307312"/>
                  </a:lnTo>
                  <a:lnTo>
                    <a:pt x="8200784" y="7350198"/>
                  </a:lnTo>
                  <a:lnTo>
                    <a:pt x="8167428" y="7378789"/>
                  </a:lnTo>
                  <a:lnTo>
                    <a:pt x="8162664" y="7397850"/>
                  </a:lnTo>
                  <a:lnTo>
                    <a:pt x="8162664" y="7421675"/>
                  </a:lnTo>
                  <a:lnTo>
                    <a:pt x="8196020" y="7497917"/>
                  </a:lnTo>
                  <a:lnTo>
                    <a:pt x="8272260" y="7574159"/>
                  </a:lnTo>
                  <a:lnTo>
                    <a:pt x="8291320" y="7664696"/>
                  </a:lnTo>
                  <a:lnTo>
                    <a:pt x="8296088" y="7731408"/>
                  </a:lnTo>
                  <a:lnTo>
                    <a:pt x="8291320" y="7902953"/>
                  </a:lnTo>
                  <a:lnTo>
                    <a:pt x="8286556" y="7926778"/>
                  </a:lnTo>
                  <a:lnTo>
                    <a:pt x="8267496" y="7955370"/>
                  </a:lnTo>
                  <a:lnTo>
                    <a:pt x="8257964" y="7983960"/>
                  </a:lnTo>
                  <a:lnTo>
                    <a:pt x="8262732" y="8031612"/>
                  </a:lnTo>
                  <a:lnTo>
                    <a:pt x="8277024" y="8207921"/>
                  </a:lnTo>
                  <a:lnTo>
                    <a:pt x="8277024" y="8346110"/>
                  </a:lnTo>
                  <a:lnTo>
                    <a:pt x="8267496" y="8393761"/>
                  </a:lnTo>
                  <a:lnTo>
                    <a:pt x="8262732" y="8489064"/>
                  </a:lnTo>
                  <a:lnTo>
                    <a:pt x="8262732" y="8522420"/>
                  </a:lnTo>
                  <a:lnTo>
                    <a:pt x="8272260" y="8570070"/>
                  </a:lnTo>
                  <a:lnTo>
                    <a:pt x="8286556" y="8612957"/>
                  </a:lnTo>
                  <a:lnTo>
                    <a:pt x="8310384" y="8641548"/>
                  </a:lnTo>
                  <a:lnTo>
                    <a:pt x="8367564" y="8684434"/>
                  </a:lnTo>
                  <a:lnTo>
                    <a:pt x="8424744" y="8741616"/>
                  </a:lnTo>
                  <a:lnTo>
                    <a:pt x="8429512" y="8760676"/>
                  </a:lnTo>
                  <a:lnTo>
                    <a:pt x="8429512" y="8779736"/>
                  </a:lnTo>
                  <a:lnTo>
                    <a:pt x="8410448" y="8803562"/>
                  </a:lnTo>
                  <a:lnTo>
                    <a:pt x="8381860" y="8860744"/>
                  </a:lnTo>
                  <a:lnTo>
                    <a:pt x="8358032" y="8908395"/>
                  </a:lnTo>
                  <a:lnTo>
                    <a:pt x="8358032" y="8946516"/>
                  </a:lnTo>
                  <a:lnTo>
                    <a:pt x="8367564" y="8994167"/>
                  </a:lnTo>
                  <a:lnTo>
                    <a:pt x="8362800" y="9041818"/>
                  </a:lnTo>
                  <a:lnTo>
                    <a:pt x="8348504" y="9079940"/>
                  </a:lnTo>
                  <a:lnTo>
                    <a:pt x="8329444" y="9113295"/>
                  </a:lnTo>
                  <a:lnTo>
                    <a:pt x="8277024" y="9156182"/>
                  </a:lnTo>
                  <a:lnTo>
                    <a:pt x="8157896" y="9389672"/>
                  </a:lnTo>
                  <a:lnTo>
                    <a:pt x="8129308" y="9418264"/>
                  </a:lnTo>
                  <a:lnTo>
                    <a:pt x="8081656" y="9408733"/>
                  </a:lnTo>
                  <a:lnTo>
                    <a:pt x="8095952" y="9442089"/>
                  </a:lnTo>
                  <a:lnTo>
                    <a:pt x="8110248" y="9489740"/>
                  </a:lnTo>
                  <a:lnTo>
                    <a:pt x="8110248" y="9518331"/>
                  </a:lnTo>
                  <a:lnTo>
                    <a:pt x="8081656" y="9518331"/>
                  </a:lnTo>
                  <a:lnTo>
                    <a:pt x="8034004" y="9551687"/>
                  </a:lnTo>
                  <a:lnTo>
                    <a:pt x="8014944" y="9570748"/>
                  </a:lnTo>
                  <a:lnTo>
                    <a:pt x="7981588" y="9585043"/>
                  </a:lnTo>
                  <a:lnTo>
                    <a:pt x="7957764" y="9570748"/>
                  </a:lnTo>
                  <a:lnTo>
                    <a:pt x="7929172" y="9551687"/>
                  </a:lnTo>
                  <a:lnTo>
                    <a:pt x="7933936" y="9532626"/>
                  </a:lnTo>
                  <a:lnTo>
                    <a:pt x="7938704" y="9523096"/>
                  </a:lnTo>
                  <a:lnTo>
                    <a:pt x="7957764" y="9513566"/>
                  </a:lnTo>
                  <a:lnTo>
                    <a:pt x="7976824" y="9494506"/>
                  </a:lnTo>
                  <a:lnTo>
                    <a:pt x="7967292" y="9489740"/>
                  </a:lnTo>
                  <a:lnTo>
                    <a:pt x="7962528" y="9489740"/>
                  </a:lnTo>
                  <a:lnTo>
                    <a:pt x="7938704" y="9513566"/>
                  </a:lnTo>
                  <a:lnTo>
                    <a:pt x="7914876" y="9518331"/>
                  </a:lnTo>
                  <a:lnTo>
                    <a:pt x="7886284" y="9489740"/>
                  </a:lnTo>
                  <a:lnTo>
                    <a:pt x="7862460" y="9461150"/>
                  </a:lnTo>
                  <a:lnTo>
                    <a:pt x="7852928" y="9456384"/>
                  </a:lnTo>
                  <a:lnTo>
                    <a:pt x="7829104" y="9465914"/>
                  </a:lnTo>
                  <a:lnTo>
                    <a:pt x="7748096" y="9461150"/>
                  </a:lnTo>
                  <a:lnTo>
                    <a:pt x="7724272" y="9465914"/>
                  </a:lnTo>
                  <a:lnTo>
                    <a:pt x="7714740" y="9480210"/>
                  </a:lnTo>
                  <a:lnTo>
                    <a:pt x="7719504" y="9484975"/>
                  </a:lnTo>
                  <a:lnTo>
                    <a:pt x="7729036" y="9504036"/>
                  </a:lnTo>
                  <a:lnTo>
                    <a:pt x="7733800" y="9537392"/>
                  </a:lnTo>
                  <a:lnTo>
                    <a:pt x="7743332" y="9561217"/>
                  </a:lnTo>
                  <a:lnTo>
                    <a:pt x="7776688" y="9585043"/>
                  </a:lnTo>
                  <a:lnTo>
                    <a:pt x="7824340" y="9599338"/>
                  </a:lnTo>
                  <a:lnTo>
                    <a:pt x="7867224" y="9627929"/>
                  </a:lnTo>
                  <a:lnTo>
                    <a:pt x="7924408" y="9651754"/>
                  </a:lnTo>
                  <a:lnTo>
                    <a:pt x="8048300" y="9642224"/>
                  </a:lnTo>
                  <a:lnTo>
                    <a:pt x="8081656" y="9646990"/>
                  </a:lnTo>
                  <a:lnTo>
                    <a:pt x="8115012" y="9656520"/>
                  </a:lnTo>
                  <a:lnTo>
                    <a:pt x="8167428" y="9689876"/>
                  </a:lnTo>
                  <a:lnTo>
                    <a:pt x="8191252" y="9685110"/>
                  </a:lnTo>
                  <a:lnTo>
                    <a:pt x="8234140" y="9656520"/>
                  </a:lnTo>
                  <a:lnTo>
                    <a:pt x="8243672" y="9589808"/>
                  </a:lnTo>
                  <a:lnTo>
                    <a:pt x="8248436" y="9565982"/>
                  </a:lnTo>
                  <a:lnTo>
                    <a:pt x="8391388" y="9470680"/>
                  </a:lnTo>
                  <a:lnTo>
                    <a:pt x="8419980" y="9446854"/>
                  </a:lnTo>
                  <a:lnTo>
                    <a:pt x="8462864" y="9394438"/>
                  </a:lnTo>
                  <a:lnTo>
                    <a:pt x="8477160" y="9361082"/>
                  </a:lnTo>
                  <a:lnTo>
                    <a:pt x="8491456" y="9261014"/>
                  </a:lnTo>
                  <a:lnTo>
                    <a:pt x="8505752" y="9227658"/>
                  </a:lnTo>
                  <a:lnTo>
                    <a:pt x="8601056" y="9113295"/>
                  </a:lnTo>
                  <a:lnTo>
                    <a:pt x="8615352" y="9079940"/>
                  </a:lnTo>
                  <a:lnTo>
                    <a:pt x="8615352" y="9027523"/>
                  </a:lnTo>
                  <a:lnTo>
                    <a:pt x="8615352" y="8989402"/>
                  </a:lnTo>
                  <a:lnTo>
                    <a:pt x="8610584" y="8956046"/>
                  </a:lnTo>
                  <a:lnTo>
                    <a:pt x="8591524" y="8894100"/>
                  </a:lnTo>
                  <a:lnTo>
                    <a:pt x="8572464" y="8855978"/>
                  </a:lnTo>
                  <a:lnTo>
                    <a:pt x="8553404" y="8808327"/>
                  </a:lnTo>
                  <a:lnTo>
                    <a:pt x="8567700" y="8708260"/>
                  </a:lnTo>
                  <a:lnTo>
                    <a:pt x="8586760" y="8665374"/>
                  </a:lnTo>
                  <a:lnTo>
                    <a:pt x="8672532" y="8617722"/>
                  </a:lnTo>
                  <a:lnTo>
                    <a:pt x="8744008" y="8603426"/>
                  </a:lnTo>
                  <a:lnTo>
                    <a:pt x="8825016" y="8570070"/>
                  </a:lnTo>
                  <a:lnTo>
                    <a:pt x="8858372" y="8560540"/>
                  </a:lnTo>
                  <a:lnTo>
                    <a:pt x="8877432" y="8570070"/>
                  </a:lnTo>
                  <a:lnTo>
                    <a:pt x="8901256" y="8603426"/>
                  </a:lnTo>
                  <a:lnTo>
                    <a:pt x="8920320" y="8655843"/>
                  </a:lnTo>
                  <a:lnTo>
                    <a:pt x="8982264" y="8732085"/>
                  </a:lnTo>
                  <a:lnTo>
                    <a:pt x="9001324" y="8789266"/>
                  </a:lnTo>
                  <a:lnTo>
                    <a:pt x="9006092" y="8851213"/>
                  </a:lnTo>
                  <a:lnTo>
                    <a:pt x="9001324" y="9008462"/>
                  </a:lnTo>
                  <a:lnTo>
                    <a:pt x="8991796" y="9075174"/>
                  </a:lnTo>
                  <a:lnTo>
                    <a:pt x="9015620" y="9094234"/>
                  </a:lnTo>
                  <a:lnTo>
                    <a:pt x="9025152" y="9108530"/>
                  </a:lnTo>
                  <a:lnTo>
                    <a:pt x="9053744" y="9132356"/>
                  </a:lnTo>
                  <a:lnTo>
                    <a:pt x="9068036" y="9156182"/>
                  </a:lnTo>
                  <a:lnTo>
                    <a:pt x="9082332" y="9160946"/>
                  </a:lnTo>
                  <a:lnTo>
                    <a:pt x="9115688" y="9165712"/>
                  </a:lnTo>
                  <a:lnTo>
                    <a:pt x="9210992" y="9160946"/>
                  </a:lnTo>
                  <a:lnTo>
                    <a:pt x="9263408" y="9156182"/>
                  </a:lnTo>
                  <a:lnTo>
                    <a:pt x="9258644" y="9146651"/>
                  </a:lnTo>
                  <a:lnTo>
                    <a:pt x="9249112" y="9137121"/>
                  </a:lnTo>
                  <a:lnTo>
                    <a:pt x="9206224" y="9132356"/>
                  </a:lnTo>
                  <a:lnTo>
                    <a:pt x="9144280" y="9118060"/>
                  </a:lnTo>
                  <a:lnTo>
                    <a:pt x="9053744" y="9089470"/>
                  </a:lnTo>
                  <a:lnTo>
                    <a:pt x="9044212" y="9022758"/>
                  </a:lnTo>
                  <a:lnTo>
                    <a:pt x="9048976" y="8979872"/>
                  </a:lnTo>
                  <a:lnTo>
                    <a:pt x="9068036" y="8903630"/>
                  </a:lnTo>
                  <a:lnTo>
                    <a:pt x="9082332" y="8894100"/>
                  </a:lnTo>
                  <a:lnTo>
                    <a:pt x="9096628" y="8884569"/>
                  </a:lnTo>
                  <a:lnTo>
                    <a:pt x="9120452" y="8875039"/>
                  </a:lnTo>
                  <a:lnTo>
                    <a:pt x="9115688" y="8827388"/>
                  </a:lnTo>
                  <a:lnTo>
                    <a:pt x="9106160" y="8779736"/>
                  </a:lnTo>
                  <a:lnTo>
                    <a:pt x="9087096" y="8717790"/>
                  </a:lnTo>
                  <a:lnTo>
                    <a:pt x="9063272" y="8603426"/>
                  </a:lnTo>
                  <a:lnTo>
                    <a:pt x="9034680" y="8598662"/>
                  </a:lnTo>
                  <a:lnTo>
                    <a:pt x="9015620" y="8574836"/>
                  </a:lnTo>
                  <a:lnTo>
                    <a:pt x="8906024" y="8508124"/>
                  </a:lnTo>
                  <a:lnTo>
                    <a:pt x="8805956" y="8455708"/>
                  </a:lnTo>
                  <a:lnTo>
                    <a:pt x="8739244" y="8446178"/>
                  </a:lnTo>
                  <a:lnTo>
                    <a:pt x="8715416" y="8455708"/>
                  </a:lnTo>
                  <a:lnTo>
                    <a:pt x="8658236" y="8508124"/>
                  </a:lnTo>
                  <a:lnTo>
                    <a:pt x="8620116" y="8517654"/>
                  </a:lnTo>
                  <a:lnTo>
                    <a:pt x="8553404" y="8493828"/>
                  </a:lnTo>
                  <a:lnTo>
                    <a:pt x="8491456" y="8508124"/>
                  </a:lnTo>
                  <a:lnTo>
                    <a:pt x="8467632" y="8493828"/>
                  </a:lnTo>
                  <a:lnTo>
                    <a:pt x="8458100" y="8470003"/>
                  </a:lnTo>
                  <a:lnTo>
                    <a:pt x="8477160" y="8374700"/>
                  </a:lnTo>
                  <a:lnTo>
                    <a:pt x="8467632" y="8336580"/>
                  </a:lnTo>
                  <a:lnTo>
                    <a:pt x="8443804" y="8284163"/>
                  </a:lnTo>
                  <a:lnTo>
                    <a:pt x="8424744" y="8246042"/>
                  </a:lnTo>
                  <a:lnTo>
                    <a:pt x="8429512" y="8203156"/>
                  </a:lnTo>
                  <a:lnTo>
                    <a:pt x="8467632" y="8031612"/>
                  </a:lnTo>
                  <a:lnTo>
                    <a:pt x="8486692" y="7988726"/>
                  </a:lnTo>
                  <a:lnTo>
                    <a:pt x="8529576" y="7907718"/>
                  </a:lnTo>
                  <a:lnTo>
                    <a:pt x="8548640" y="7845772"/>
                  </a:lnTo>
                  <a:lnTo>
                    <a:pt x="8543872" y="7807650"/>
                  </a:lnTo>
                  <a:lnTo>
                    <a:pt x="8453336" y="7612280"/>
                  </a:lnTo>
                  <a:lnTo>
                    <a:pt x="8429512" y="7540803"/>
                  </a:lnTo>
                  <a:lnTo>
                    <a:pt x="8419980" y="7516978"/>
                  </a:lnTo>
                  <a:lnTo>
                    <a:pt x="8396152" y="7488387"/>
                  </a:lnTo>
                  <a:lnTo>
                    <a:pt x="8362800" y="7459796"/>
                  </a:lnTo>
                  <a:lnTo>
                    <a:pt x="8353268" y="7431206"/>
                  </a:lnTo>
                  <a:lnTo>
                    <a:pt x="8443804" y="7231070"/>
                  </a:lnTo>
                  <a:lnTo>
                    <a:pt x="8486692" y="7197714"/>
                  </a:lnTo>
                  <a:lnTo>
                    <a:pt x="8543872" y="7173888"/>
                  </a:lnTo>
                  <a:lnTo>
                    <a:pt x="8572464" y="7154828"/>
                  </a:lnTo>
                  <a:lnTo>
                    <a:pt x="8620116" y="7114324"/>
                  </a:lnTo>
                  <a:lnTo>
                    <a:pt x="8648704" y="7080968"/>
                  </a:lnTo>
                  <a:lnTo>
                    <a:pt x="8658236" y="7052378"/>
                  </a:lnTo>
                  <a:lnTo>
                    <a:pt x="8663000" y="7019022"/>
                  </a:lnTo>
                  <a:lnTo>
                    <a:pt x="8667768" y="6938015"/>
                  </a:lnTo>
                  <a:lnTo>
                    <a:pt x="8658236" y="6871303"/>
                  </a:lnTo>
                  <a:lnTo>
                    <a:pt x="8653472" y="6837947"/>
                  </a:lnTo>
                  <a:lnTo>
                    <a:pt x="8634412" y="6790296"/>
                  </a:lnTo>
                  <a:lnTo>
                    <a:pt x="8615352" y="6733114"/>
                  </a:lnTo>
                  <a:lnTo>
                    <a:pt x="8629644" y="6723584"/>
                  </a:lnTo>
                  <a:lnTo>
                    <a:pt x="8639176" y="6714054"/>
                  </a:lnTo>
                  <a:lnTo>
                    <a:pt x="8672532" y="6714054"/>
                  </a:lnTo>
                  <a:lnTo>
                    <a:pt x="8710652" y="6742644"/>
                  </a:lnTo>
                  <a:lnTo>
                    <a:pt x="8724948" y="6799826"/>
                  </a:lnTo>
                  <a:lnTo>
                    <a:pt x="8744008" y="6857008"/>
                  </a:lnTo>
                  <a:lnTo>
                    <a:pt x="8744008" y="6890364"/>
                  </a:lnTo>
                  <a:lnTo>
                    <a:pt x="8744008" y="6918954"/>
                  </a:lnTo>
                  <a:lnTo>
                    <a:pt x="8753540" y="6961840"/>
                  </a:lnTo>
                  <a:lnTo>
                    <a:pt x="8758304" y="6976136"/>
                  </a:lnTo>
                  <a:lnTo>
                    <a:pt x="8767832" y="7004726"/>
                  </a:lnTo>
                  <a:lnTo>
                    <a:pt x="8758304" y="7023787"/>
                  </a:lnTo>
                  <a:lnTo>
                    <a:pt x="8753540" y="7038082"/>
                  </a:lnTo>
                  <a:lnTo>
                    <a:pt x="8734480" y="7066673"/>
                  </a:lnTo>
                  <a:lnTo>
                    <a:pt x="8710652" y="7159593"/>
                  </a:lnTo>
                  <a:lnTo>
                    <a:pt x="8691592" y="7173888"/>
                  </a:lnTo>
                  <a:lnTo>
                    <a:pt x="8691592" y="7245366"/>
                  </a:lnTo>
                  <a:lnTo>
                    <a:pt x="8729712" y="7326372"/>
                  </a:lnTo>
                  <a:lnTo>
                    <a:pt x="8724948" y="7383554"/>
                  </a:lnTo>
                  <a:lnTo>
                    <a:pt x="8715416" y="7402615"/>
                  </a:lnTo>
                  <a:lnTo>
                    <a:pt x="8696356" y="7435970"/>
                  </a:lnTo>
                  <a:lnTo>
                    <a:pt x="8696356" y="7459796"/>
                  </a:lnTo>
                  <a:lnTo>
                    <a:pt x="8701124" y="7478857"/>
                  </a:lnTo>
                  <a:lnTo>
                    <a:pt x="8767832" y="7516978"/>
                  </a:lnTo>
                  <a:lnTo>
                    <a:pt x="8825016" y="7540803"/>
                  </a:lnTo>
                  <a:lnTo>
                    <a:pt x="8925084" y="7545568"/>
                  </a:lnTo>
                  <a:lnTo>
                    <a:pt x="8953672" y="7583690"/>
                  </a:lnTo>
                  <a:lnTo>
                    <a:pt x="8963204" y="7555099"/>
                  </a:lnTo>
                  <a:lnTo>
                    <a:pt x="9053744" y="7564629"/>
                  </a:lnTo>
                  <a:lnTo>
                    <a:pt x="9129984" y="7650401"/>
                  </a:lnTo>
                  <a:lnTo>
                    <a:pt x="9168104" y="7678992"/>
                  </a:lnTo>
                  <a:lnTo>
                    <a:pt x="9201460" y="7688522"/>
                  </a:lnTo>
                  <a:lnTo>
                    <a:pt x="9268172" y="7678992"/>
                  </a:lnTo>
                  <a:lnTo>
                    <a:pt x="9277704" y="7669462"/>
                  </a:lnTo>
                  <a:lnTo>
                    <a:pt x="9287232" y="7645636"/>
                  </a:lnTo>
                  <a:lnTo>
                    <a:pt x="9258644" y="7645636"/>
                  </a:lnTo>
                  <a:lnTo>
                    <a:pt x="9244348" y="7655166"/>
                  </a:lnTo>
                  <a:lnTo>
                    <a:pt x="9234816" y="7655166"/>
                  </a:lnTo>
                  <a:lnTo>
                    <a:pt x="9210992" y="7645636"/>
                  </a:lnTo>
                  <a:lnTo>
                    <a:pt x="9196696" y="7631341"/>
                  </a:lnTo>
                  <a:lnTo>
                    <a:pt x="9177636" y="7602750"/>
                  </a:lnTo>
                  <a:lnTo>
                    <a:pt x="9153808" y="7516978"/>
                  </a:lnTo>
                  <a:lnTo>
                    <a:pt x="9106160" y="7488387"/>
                  </a:lnTo>
                  <a:lnTo>
                    <a:pt x="9072804" y="7497917"/>
                  </a:lnTo>
                  <a:lnTo>
                    <a:pt x="9039448" y="7493152"/>
                  </a:lnTo>
                  <a:lnTo>
                    <a:pt x="8982264" y="7445501"/>
                  </a:lnTo>
                  <a:lnTo>
                    <a:pt x="8944144" y="7426440"/>
                  </a:lnTo>
                  <a:lnTo>
                    <a:pt x="8872668" y="7374024"/>
                  </a:lnTo>
                  <a:lnTo>
                    <a:pt x="8853608" y="7354963"/>
                  </a:lnTo>
                  <a:lnTo>
                    <a:pt x="8839312" y="7312077"/>
                  </a:lnTo>
                  <a:lnTo>
                    <a:pt x="8825016" y="7240600"/>
                  </a:lnTo>
                  <a:lnTo>
                    <a:pt x="8810720" y="7197714"/>
                  </a:lnTo>
                  <a:lnTo>
                    <a:pt x="8825016" y="7188184"/>
                  </a:lnTo>
                  <a:lnTo>
                    <a:pt x="8872668" y="7150063"/>
                  </a:lnTo>
                  <a:lnTo>
                    <a:pt x="8944144" y="7135768"/>
                  </a:lnTo>
                  <a:lnTo>
                    <a:pt x="8972736" y="7150063"/>
                  </a:lnTo>
                  <a:lnTo>
                    <a:pt x="9048976" y="7231070"/>
                  </a:lnTo>
                  <a:lnTo>
                    <a:pt x="9082332" y="7235835"/>
                  </a:lnTo>
                  <a:lnTo>
                    <a:pt x="9149044" y="7197714"/>
                  </a:lnTo>
                  <a:lnTo>
                    <a:pt x="9153808" y="7178654"/>
                  </a:lnTo>
                  <a:lnTo>
                    <a:pt x="9139512" y="7131002"/>
                  </a:lnTo>
                  <a:lnTo>
                    <a:pt x="9120452" y="7109559"/>
                  </a:lnTo>
                  <a:lnTo>
                    <a:pt x="9087096" y="7095264"/>
                  </a:lnTo>
                  <a:lnTo>
                    <a:pt x="9039448" y="7116707"/>
                  </a:lnTo>
                  <a:lnTo>
                    <a:pt x="9025152" y="7100029"/>
                  </a:lnTo>
                  <a:lnTo>
                    <a:pt x="9029916" y="7076204"/>
                  </a:lnTo>
                  <a:lnTo>
                    <a:pt x="9039448" y="7057143"/>
                  </a:lnTo>
                  <a:lnTo>
                    <a:pt x="9063272" y="7052378"/>
                  </a:lnTo>
                  <a:lnTo>
                    <a:pt x="9077568" y="7038082"/>
                  </a:lnTo>
                  <a:lnTo>
                    <a:pt x="9115688" y="6985666"/>
                  </a:lnTo>
                  <a:lnTo>
                    <a:pt x="9153808" y="6961840"/>
                  </a:lnTo>
                  <a:lnTo>
                    <a:pt x="9196696" y="6952310"/>
                  </a:lnTo>
                  <a:lnTo>
                    <a:pt x="9339648" y="6961840"/>
                  </a:lnTo>
                  <a:lnTo>
                    <a:pt x="9425420" y="7042848"/>
                  </a:lnTo>
                  <a:lnTo>
                    <a:pt x="9506428" y="7076204"/>
                  </a:lnTo>
                  <a:lnTo>
                    <a:pt x="9539784" y="7104794"/>
                  </a:lnTo>
                  <a:lnTo>
                    <a:pt x="9549316" y="7109559"/>
                  </a:lnTo>
                  <a:lnTo>
                    <a:pt x="9558844" y="7126237"/>
                  </a:lnTo>
                  <a:lnTo>
                    <a:pt x="9563612" y="7169124"/>
                  </a:lnTo>
                  <a:lnTo>
                    <a:pt x="9668444" y="7278721"/>
                  </a:lnTo>
                  <a:lnTo>
                    <a:pt x="9692268" y="7293017"/>
                  </a:lnTo>
                  <a:lnTo>
                    <a:pt x="9754216" y="7297782"/>
                  </a:lnTo>
                  <a:lnTo>
                    <a:pt x="9830456" y="7273956"/>
                  </a:lnTo>
                  <a:lnTo>
                    <a:pt x="9863812" y="7269191"/>
                  </a:lnTo>
                  <a:lnTo>
                    <a:pt x="9897168" y="7278721"/>
                  </a:lnTo>
                  <a:lnTo>
                    <a:pt x="9916232" y="7293017"/>
                  </a:lnTo>
                  <a:lnTo>
                    <a:pt x="9935288" y="7316842"/>
                  </a:lnTo>
                  <a:lnTo>
                    <a:pt x="9925760" y="7350198"/>
                  </a:lnTo>
                  <a:lnTo>
                    <a:pt x="9916232" y="7369259"/>
                  </a:lnTo>
                  <a:lnTo>
                    <a:pt x="9897168" y="7426440"/>
                  </a:lnTo>
                  <a:lnTo>
                    <a:pt x="9887640" y="7440736"/>
                  </a:lnTo>
                  <a:lnTo>
                    <a:pt x="9820928" y="7502682"/>
                  </a:lnTo>
                  <a:lnTo>
                    <a:pt x="9792336" y="7516978"/>
                  </a:lnTo>
                  <a:lnTo>
                    <a:pt x="9787572" y="7597985"/>
                  </a:lnTo>
                  <a:lnTo>
                    <a:pt x="9782808" y="7617045"/>
                  </a:lnTo>
                  <a:lnTo>
                    <a:pt x="9782808" y="7645636"/>
                  </a:lnTo>
                  <a:lnTo>
                    <a:pt x="9792336" y="7702818"/>
                  </a:lnTo>
                  <a:lnTo>
                    <a:pt x="9797104" y="7736174"/>
                  </a:lnTo>
                  <a:lnTo>
                    <a:pt x="9787572" y="7783825"/>
                  </a:lnTo>
                  <a:lnTo>
                    <a:pt x="9768512" y="7836241"/>
                  </a:lnTo>
                  <a:lnTo>
                    <a:pt x="9773276" y="7874362"/>
                  </a:lnTo>
                  <a:lnTo>
                    <a:pt x="9778040" y="7931544"/>
                  </a:lnTo>
                  <a:lnTo>
                    <a:pt x="9782808" y="7912483"/>
                  </a:lnTo>
                  <a:lnTo>
                    <a:pt x="9782808" y="7888658"/>
                  </a:lnTo>
                  <a:lnTo>
                    <a:pt x="9782808" y="7860067"/>
                  </a:lnTo>
                  <a:lnTo>
                    <a:pt x="9816160" y="7793355"/>
                  </a:lnTo>
                  <a:lnTo>
                    <a:pt x="9835224" y="7698052"/>
                  </a:lnTo>
                  <a:lnTo>
                    <a:pt x="9859048" y="7674227"/>
                  </a:lnTo>
                  <a:lnTo>
                    <a:pt x="9878108" y="7664696"/>
                  </a:lnTo>
                  <a:lnTo>
                    <a:pt x="9901936" y="7693288"/>
                  </a:lnTo>
                  <a:lnTo>
                    <a:pt x="9906700" y="7731408"/>
                  </a:lnTo>
                  <a:lnTo>
                    <a:pt x="9911464" y="7788590"/>
                  </a:lnTo>
                  <a:lnTo>
                    <a:pt x="9906700" y="7845772"/>
                  </a:lnTo>
                  <a:lnTo>
                    <a:pt x="9887640" y="7926778"/>
                  </a:lnTo>
                  <a:lnTo>
                    <a:pt x="9859048" y="7979195"/>
                  </a:lnTo>
                  <a:lnTo>
                    <a:pt x="9849520" y="8012551"/>
                  </a:lnTo>
                  <a:lnTo>
                    <a:pt x="9863812" y="8041142"/>
                  </a:lnTo>
                  <a:lnTo>
                    <a:pt x="9878108" y="8064968"/>
                  </a:lnTo>
                  <a:lnTo>
                    <a:pt x="9892404" y="8074498"/>
                  </a:lnTo>
                  <a:lnTo>
                    <a:pt x="9911464" y="8069732"/>
                  </a:lnTo>
                  <a:lnTo>
                    <a:pt x="9916232" y="8060202"/>
                  </a:lnTo>
                  <a:lnTo>
                    <a:pt x="9920996" y="8041142"/>
                  </a:lnTo>
                  <a:lnTo>
                    <a:pt x="9916232" y="8012551"/>
                  </a:lnTo>
                  <a:lnTo>
                    <a:pt x="9911464" y="7983960"/>
                  </a:lnTo>
                  <a:lnTo>
                    <a:pt x="9944820" y="7964900"/>
                  </a:lnTo>
                  <a:lnTo>
                    <a:pt x="9978176" y="7955370"/>
                  </a:lnTo>
                  <a:lnTo>
                    <a:pt x="10002000" y="7922014"/>
                  </a:lnTo>
                  <a:lnTo>
                    <a:pt x="10011532" y="7898188"/>
                  </a:lnTo>
                  <a:lnTo>
                    <a:pt x="10016296" y="7860067"/>
                  </a:lnTo>
                  <a:lnTo>
                    <a:pt x="10002000" y="7802885"/>
                  </a:lnTo>
                  <a:lnTo>
                    <a:pt x="9992472" y="7755234"/>
                  </a:lnTo>
                  <a:lnTo>
                    <a:pt x="9954352" y="7650401"/>
                  </a:lnTo>
                  <a:lnTo>
                    <a:pt x="9925760" y="7593220"/>
                  </a:lnTo>
                  <a:lnTo>
                    <a:pt x="9940056" y="7512212"/>
                  </a:lnTo>
                  <a:lnTo>
                    <a:pt x="9973412" y="7416910"/>
                  </a:lnTo>
                  <a:lnTo>
                    <a:pt x="9982944" y="7393084"/>
                  </a:lnTo>
                  <a:lnTo>
                    <a:pt x="9987708" y="7378789"/>
                  </a:lnTo>
                  <a:lnTo>
                    <a:pt x="9987708" y="7354963"/>
                  </a:lnTo>
                  <a:lnTo>
                    <a:pt x="9987708" y="7326372"/>
                  </a:lnTo>
                  <a:lnTo>
                    <a:pt x="9982944" y="7312077"/>
                  </a:lnTo>
                  <a:lnTo>
                    <a:pt x="9954352" y="7240600"/>
                  </a:lnTo>
                  <a:lnTo>
                    <a:pt x="9930524" y="7216775"/>
                  </a:lnTo>
                  <a:lnTo>
                    <a:pt x="9863812" y="7202479"/>
                  </a:lnTo>
                  <a:lnTo>
                    <a:pt x="9844752" y="7188184"/>
                  </a:lnTo>
                  <a:lnTo>
                    <a:pt x="9792336" y="7116707"/>
                  </a:lnTo>
                  <a:lnTo>
                    <a:pt x="9787572" y="7100029"/>
                  </a:lnTo>
                  <a:lnTo>
                    <a:pt x="9778040" y="7047613"/>
                  </a:lnTo>
                  <a:lnTo>
                    <a:pt x="9773276" y="7033317"/>
                  </a:lnTo>
                  <a:lnTo>
                    <a:pt x="9758980" y="7019022"/>
                  </a:lnTo>
                  <a:lnTo>
                    <a:pt x="9711328" y="6990431"/>
                  </a:lnTo>
                  <a:lnTo>
                    <a:pt x="9677972" y="6976136"/>
                  </a:lnTo>
                  <a:lnTo>
                    <a:pt x="9630320" y="6971371"/>
                  </a:lnTo>
                  <a:lnTo>
                    <a:pt x="9601732" y="6957075"/>
                  </a:lnTo>
                  <a:lnTo>
                    <a:pt x="9558844" y="6904659"/>
                  </a:lnTo>
                  <a:lnTo>
                    <a:pt x="9554080" y="6890364"/>
                  </a:lnTo>
                  <a:lnTo>
                    <a:pt x="9544552" y="6823652"/>
                  </a:lnTo>
                  <a:lnTo>
                    <a:pt x="9535020" y="6785531"/>
                  </a:lnTo>
                  <a:lnTo>
                    <a:pt x="9535020" y="6761705"/>
                  </a:lnTo>
                  <a:lnTo>
                    <a:pt x="9554080" y="6709289"/>
                  </a:lnTo>
                  <a:lnTo>
                    <a:pt x="9563612" y="6661638"/>
                  </a:lnTo>
                  <a:lnTo>
                    <a:pt x="9549316" y="6623516"/>
                  </a:lnTo>
                  <a:lnTo>
                    <a:pt x="9530256" y="6609221"/>
                  </a:lnTo>
                  <a:lnTo>
                    <a:pt x="9511192" y="6590160"/>
                  </a:lnTo>
                  <a:lnTo>
                    <a:pt x="9501664" y="6552040"/>
                  </a:lnTo>
                  <a:lnTo>
                    <a:pt x="9496900" y="6509153"/>
                  </a:lnTo>
                  <a:lnTo>
                    <a:pt x="9496900" y="6480562"/>
                  </a:lnTo>
                  <a:lnTo>
                    <a:pt x="9492132" y="6442442"/>
                  </a:lnTo>
                  <a:lnTo>
                    <a:pt x="9501664" y="6413851"/>
                  </a:lnTo>
                  <a:lnTo>
                    <a:pt x="9525488" y="6380495"/>
                  </a:lnTo>
                  <a:lnTo>
                    <a:pt x="9520724" y="6356669"/>
                  </a:lnTo>
                  <a:lnTo>
                    <a:pt x="9520724" y="6328078"/>
                  </a:lnTo>
                  <a:lnTo>
                    <a:pt x="9663680" y="6285192"/>
                  </a:lnTo>
                  <a:lnTo>
                    <a:pt x="9716096" y="6275662"/>
                  </a:lnTo>
                  <a:lnTo>
                    <a:pt x="9987708" y="6270897"/>
                  </a:lnTo>
                  <a:lnTo>
                    <a:pt x="10006768" y="6261367"/>
                  </a:lnTo>
                  <a:lnTo>
                    <a:pt x="10121128" y="6242306"/>
                  </a:lnTo>
                  <a:lnTo>
                    <a:pt x="10173548" y="6218480"/>
                  </a:lnTo>
                  <a:lnTo>
                    <a:pt x="10225964" y="6242306"/>
                  </a:lnTo>
                  <a:lnTo>
                    <a:pt x="10245024" y="6242306"/>
                  </a:lnTo>
                  <a:lnTo>
                    <a:pt x="10283144" y="6232776"/>
                  </a:lnTo>
                  <a:lnTo>
                    <a:pt x="10306968" y="6185125"/>
                  </a:lnTo>
                  <a:lnTo>
                    <a:pt x="10364152" y="6166064"/>
                  </a:lnTo>
                  <a:lnTo>
                    <a:pt x="10459456" y="6147004"/>
                  </a:lnTo>
                  <a:lnTo>
                    <a:pt x="10507104" y="6147004"/>
                  </a:lnTo>
                  <a:lnTo>
                    <a:pt x="10516636" y="6161299"/>
                  </a:lnTo>
                  <a:lnTo>
                    <a:pt x="10530932" y="6185125"/>
                  </a:lnTo>
                  <a:lnTo>
                    <a:pt x="10478516" y="6242306"/>
                  </a:lnTo>
                  <a:lnTo>
                    <a:pt x="10426096" y="6299488"/>
                  </a:lnTo>
                  <a:lnTo>
                    <a:pt x="10383212" y="6323313"/>
                  </a:lnTo>
                  <a:lnTo>
                    <a:pt x="10340328" y="6366200"/>
                  </a:lnTo>
                  <a:lnTo>
                    <a:pt x="10335560" y="6385260"/>
                  </a:lnTo>
                  <a:lnTo>
                    <a:pt x="10335560" y="6399556"/>
                  </a:lnTo>
                  <a:lnTo>
                    <a:pt x="10340328" y="6432911"/>
                  </a:lnTo>
                  <a:lnTo>
                    <a:pt x="10340328" y="6456737"/>
                  </a:lnTo>
                  <a:lnTo>
                    <a:pt x="10383212" y="6490093"/>
                  </a:lnTo>
                  <a:lnTo>
                    <a:pt x="10416568" y="6528214"/>
                  </a:lnTo>
                  <a:lnTo>
                    <a:pt x="10449924" y="6561570"/>
                  </a:lnTo>
                  <a:lnTo>
                    <a:pt x="10473752" y="6575865"/>
                  </a:lnTo>
                  <a:lnTo>
                    <a:pt x="10478516" y="6566335"/>
                  </a:lnTo>
                  <a:lnTo>
                    <a:pt x="10387976" y="6471032"/>
                  </a:lnTo>
                  <a:lnTo>
                    <a:pt x="10364152" y="6447207"/>
                  </a:lnTo>
                  <a:lnTo>
                    <a:pt x="10354624" y="6423381"/>
                  </a:lnTo>
                  <a:lnTo>
                    <a:pt x="10359388" y="6390025"/>
                  </a:lnTo>
                  <a:lnTo>
                    <a:pt x="10368916" y="6370965"/>
                  </a:lnTo>
                  <a:lnTo>
                    <a:pt x="10383212" y="6351904"/>
                  </a:lnTo>
                  <a:lnTo>
                    <a:pt x="10392744" y="6347139"/>
                  </a:lnTo>
                  <a:lnTo>
                    <a:pt x="10426096" y="6328078"/>
                  </a:lnTo>
                  <a:lnTo>
                    <a:pt x="10545228" y="6299488"/>
                  </a:lnTo>
                  <a:lnTo>
                    <a:pt x="10569052" y="6251836"/>
                  </a:lnTo>
                  <a:lnTo>
                    <a:pt x="10583348" y="6223246"/>
                  </a:lnTo>
                  <a:lnTo>
                    <a:pt x="10611936" y="6189890"/>
                  </a:lnTo>
                  <a:lnTo>
                    <a:pt x="10602408" y="6180360"/>
                  </a:lnTo>
                  <a:lnTo>
                    <a:pt x="10578584" y="6170829"/>
                  </a:lnTo>
                  <a:lnTo>
                    <a:pt x="10559520" y="6151769"/>
                  </a:lnTo>
                  <a:lnTo>
                    <a:pt x="10478516" y="5975459"/>
                  </a:lnTo>
                  <a:lnTo>
                    <a:pt x="10459456" y="5946868"/>
                  </a:lnTo>
                  <a:lnTo>
                    <a:pt x="10397508" y="5927808"/>
                  </a:lnTo>
                  <a:lnTo>
                    <a:pt x="10368916" y="5903982"/>
                  </a:lnTo>
                  <a:lnTo>
                    <a:pt x="10397508" y="5842036"/>
                  </a:lnTo>
                  <a:lnTo>
                    <a:pt x="10430864" y="5827740"/>
                  </a:lnTo>
                  <a:lnTo>
                    <a:pt x="10454688" y="5827740"/>
                  </a:lnTo>
                  <a:lnTo>
                    <a:pt x="10473752" y="5846801"/>
                  </a:lnTo>
                  <a:lnTo>
                    <a:pt x="10507104" y="5899217"/>
                  </a:lnTo>
                  <a:lnTo>
                    <a:pt x="10559520" y="5875392"/>
                  </a:lnTo>
                  <a:lnTo>
                    <a:pt x="10540464" y="5851566"/>
                  </a:lnTo>
                  <a:lnTo>
                    <a:pt x="10507104" y="5827740"/>
                  </a:lnTo>
                  <a:lnTo>
                    <a:pt x="10478516" y="5784854"/>
                  </a:lnTo>
                  <a:lnTo>
                    <a:pt x="10435628" y="5746733"/>
                  </a:lnTo>
                  <a:lnTo>
                    <a:pt x="10387976" y="5722907"/>
                  </a:lnTo>
                  <a:lnTo>
                    <a:pt x="10335560" y="5713377"/>
                  </a:lnTo>
                  <a:lnTo>
                    <a:pt x="10349856" y="5656196"/>
                  </a:lnTo>
                  <a:lnTo>
                    <a:pt x="10378448" y="5660961"/>
                  </a:lnTo>
                  <a:lnTo>
                    <a:pt x="10387976" y="5646665"/>
                  </a:lnTo>
                  <a:lnTo>
                    <a:pt x="10402272" y="5608544"/>
                  </a:lnTo>
                  <a:lnTo>
                    <a:pt x="10468984" y="5689552"/>
                  </a:lnTo>
                  <a:lnTo>
                    <a:pt x="10502340" y="5670491"/>
                  </a:lnTo>
                  <a:lnTo>
                    <a:pt x="10530932" y="5632370"/>
                  </a:lnTo>
                  <a:lnTo>
                    <a:pt x="10592880" y="5537067"/>
                  </a:lnTo>
                  <a:lnTo>
                    <a:pt x="10597644" y="5494181"/>
                  </a:lnTo>
                  <a:lnTo>
                    <a:pt x="10569052" y="5470356"/>
                  </a:lnTo>
                  <a:lnTo>
                    <a:pt x="10545228" y="5456060"/>
                  </a:lnTo>
                  <a:lnTo>
                    <a:pt x="10516636" y="5460825"/>
                  </a:lnTo>
                  <a:lnTo>
                    <a:pt x="10511872" y="5432235"/>
                  </a:lnTo>
                  <a:lnTo>
                    <a:pt x="10526168" y="5398879"/>
                  </a:lnTo>
                  <a:lnTo>
                    <a:pt x="10549992" y="5384583"/>
                  </a:lnTo>
                  <a:lnTo>
                    <a:pt x="10631000" y="5422704"/>
                  </a:lnTo>
                  <a:lnTo>
                    <a:pt x="10759656" y="5322637"/>
                  </a:lnTo>
                  <a:lnTo>
                    <a:pt x="10797776" y="5274985"/>
                  </a:lnTo>
                  <a:lnTo>
                    <a:pt x="10883552" y="5213039"/>
                  </a:lnTo>
                  <a:lnTo>
                    <a:pt x="10931200" y="5217804"/>
                  </a:lnTo>
                  <a:lnTo>
                    <a:pt x="11021740" y="5136797"/>
                  </a:lnTo>
                  <a:lnTo>
                    <a:pt x="11150400" y="5098676"/>
                  </a:lnTo>
                  <a:lnTo>
                    <a:pt x="11226640" y="5098676"/>
                  </a:lnTo>
                  <a:lnTo>
                    <a:pt x="11283820" y="5051024"/>
                  </a:lnTo>
                  <a:lnTo>
                    <a:pt x="11369592" y="5036729"/>
                  </a:lnTo>
                  <a:lnTo>
                    <a:pt x="11398184" y="5017669"/>
                  </a:lnTo>
                  <a:lnTo>
                    <a:pt x="11545904" y="4970028"/>
                  </a:lnTo>
                  <a:lnTo>
                    <a:pt x="11631676" y="4931907"/>
                  </a:lnTo>
                  <a:lnTo>
                    <a:pt x="11641208" y="4903317"/>
                  </a:lnTo>
                  <a:lnTo>
                    <a:pt x="11569728" y="4927142"/>
                  </a:lnTo>
                  <a:lnTo>
                    <a:pt x="11550668" y="4903317"/>
                  </a:lnTo>
                  <a:lnTo>
                    <a:pt x="11536372" y="4917613"/>
                  </a:lnTo>
                  <a:lnTo>
                    <a:pt x="11526844" y="4941437"/>
                  </a:lnTo>
                  <a:lnTo>
                    <a:pt x="11488720" y="4903317"/>
                  </a:lnTo>
                  <a:lnTo>
                    <a:pt x="11479192" y="4912847"/>
                  </a:lnTo>
                  <a:lnTo>
                    <a:pt x="11474428" y="4931907"/>
                  </a:lnTo>
                  <a:lnTo>
                    <a:pt x="11460132" y="4936672"/>
                  </a:lnTo>
                  <a:lnTo>
                    <a:pt x="11445836" y="4931907"/>
                  </a:lnTo>
                  <a:lnTo>
                    <a:pt x="11441072" y="4889022"/>
                  </a:lnTo>
                  <a:lnTo>
                    <a:pt x="11455368" y="4827076"/>
                  </a:lnTo>
                  <a:lnTo>
                    <a:pt x="11479192" y="4860432"/>
                  </a:lnTo>
                  <a:lnTo>
                    <a:pt x="11503016" y="4812779"/>
                  </a:lnTo>
                  <a:lnTo>
                    <a:pt x="11517312" y="4812779"/>
                  </a:lnTo>
                  <a:lnTo>
                    <a:pt x="11564964" y="4841371"/>
                  </a:lnTo>
                  <a:lnTo>
                    <a:pt x="11593556" y="4812779"/>
                  </a:lnTo>
                  <a:lnTo>
                    <a:pt x="11636440" y="4793719"/>
                  </a:lnTo>
                  <a:lnTo>
                    <a:pt x="11679328" y="4808015"/>
                  </a:lnTo>
                  <a:lnTo>
                    <a:pt x="11698388" y="4808015"/>
                  </a:lnTo>
                  <a:lnTo>
                    <a:pt x="11707920" y="4779425"/>
                  </a:lnTo>
                  <a:lnTo>
                    <a:pt x="11779396" y="4803249"/>
                  </a:lnTo>
                  <a:lnTo>
                    <a:pt x="11831812" y="4784188"/>
                  </a:lnTo>
                  <a:lnTo>
                    <a:pt x="11865168" y="4788950"/>
                  </a:lnTo>
                  <a:lnTo>
                    <a:pt x="11917584" y="4803249"/>
                  </a:lnTo>
                  <a:lnTo>
                    <a:pt x="11941408" y="4822310"/>
                  </a:lnTo>
                  <a:lnTo>
                    <a:pt x="11927112" y="4869961"/>
                  </a:lnTo>
                  <a:lnTo>
                    <a:pt x="11874696" y="4946203"/>
                  </a:lnTo>
                  <a:lnTo>
                    <a:pt x="11888992" y="4955732"/>
                  </a:lnTo>
                  <a:lnTo>
                    <a:pt x="11922348" y="4922378"/>
                  </a:lnTo>
                  <a:lnTo>
                    <a:pt x="12012888" y="4874726"/>
                  </a:lnTo>
                  <a:lnTo>
                    <a:pt x="12022416" y="4884257"/>
                  </a:lnTo>
                  <a:lnTo>
                    <a:pt x="12012888" y="4927142"/>
                  </a:lnTo>
                  <a:lnTo>
                    <a:pt x="12008120" y="4946203"/>
                  </a:lnTo>
                  <a:lnTo>
                    <a:pt x="12070068" y="4922378"/>
                  </a:lnTo>
                  <a:lnTo>
                    <a:pt x="12117720" y="4865194"/>
                  </a:lnTo>
                  <a:lnTo>
                    <a:pt x="12141544" y="4855665"/>
                  </a:lnTo>
                  <a:lnTo>
                    <a:pt x="12165368" y="4889022"/>
                  </a:lnTo>
                  <a:lnTo>
                    <a:pt x="12189196" y="4855665"/>
                  </a:lnTo>
                  <a:lnTo>
                    <a:pt x="12193960" y="4827076"/>
                  </a:lnTo>
                  <a:lnTo>
                    <a:pt x="12232080" y="4817545"/>
                  </a:lnTo>
                  <a:lnTo>
                    <a:pt x="12246376" y="4788950"/>
                  </a:lnTo>
                  <a:lnTo>
                    <a:pt x="12272584" y="4769894"/>
                  </a:lnTo>
                  <a:lnTo>
                    <a:pt x="12296412" y="4760362"/>
                  </a:lnTo>
                  <a:lnTo>
                    <a:pt x="12344064" y="4717477"/>
                  </a:lnTo>
                  <a:lnTo>
                    <a:pt x="12363124" y="4731773"/>
                  </a:lnTo>
                  <a:lnTo>
                    <a:pt x="12396480" y="4741303"/>
                  </a:lnTo>
                  <a:lnTo>
                    <a:pt x="12425068" y="4760362"/>
                  </a:lnTo>
                  <a:lnTo>
                    <a:pt x="12487016" y="4808015"/>
                  </a:lnTo>
                  <a:lnTo>
                    <a:pt x="12491780" y="4822310"/>
                  </a:lnTo>
                  <a:lnTo>
                    <a:pt x="12501312" y="4827076"/>
                  </a:lnTo>
                  <a:lnTo>
                    <a:pt x="12515608" y="4855665"/>
                  </a:lnTo>
                  <a:lnTo>
                    <a:pt x="12506076" y="4903317"/>
                  </a:lnTo>
                  <a:lnTo>
                    <a:pt x="12491780" y="4970028"/>
                  </a:lnTo>
                  <a:lnTo>
                    <a:pt x="12467956" y="5003373"/>
                  </a:lnTo>
                  <a:lnTo>
                    <a:pt x="12482252" y="5003373"/>
                  </a:lnTo>
                  <a:lnTo>
                    <a:pt x="12491780" y="4998608"/>
                  </a:lnTo>
                  <a:lnTo>
                    <a:pt x="12510840" y="4950968"/>
                  </a:lnTo>
                  <a:lnTo>
                    <a:pt x="12529904" y="4922378"/>
                  </a:lnTo>
                  <a:lnTo>
                    <a:pt x="12525136" y="4788950"/>
                  </a:lnTo>
                  <a:lnTo>
                    <a:pt x="12491780" y="4717477"/>
                  </a:lnTo>
                  <a:lnTo>
                    <a:pt x="12467956" y="4698417"/>
                  </a:lnTo>
                  <a:lnTo>
                    <a:pt x="12410776" y="4622175"/>
                  </a:lnTo>
                  <a:lnTo>
                    <a:pt x="12391712" y="4593584"/>
                  </a:lnTo>
                  <a:lnTo>
                    <a:pt x="12367888" y="4560228"/>
                  </a:lnTo>
                  <a:lnTo>
                    <a:pt x="12377416" y="4541168"/>
                  </a:lnTo>
                  <a:lnTo>
                    <a:pt x="12487016" y="4564993"/>
                  </a:lnTo>
                  <a:lnTo>
                    <a:pt x="12544200" y="4555462"/>
                  </a:lnTo>
                  <a:lnTo>
                    <a:pt x="12601380" y="4560228"/>
                  </a:lnTo>
                  <a:lnTo>
                    <a:pt x="12687152" y="4531638"/>
                  </a:lnTo>
                  <a:lnTo>
                    <a:pt x="12720508" y="4564993"/>
                  </a:lnTo>
                  <a:lnTo>
                    <a:pt x="12758628" y="4560228"/>
                  </a:lnTo>
                  <a:lnTo>
                    <a:pt x="12801516" y="4588816"/>
                  </a:lnTo>
                  <a:lnTo>
                    <a:pt x="12815808" y="4555462"/>
                  </a:lnTo>
                  <a:lnTo>
                    <a:pt x="12744332" y="4522107"/>
                  </a:lnTo>
                  <a:lnTo>
                    <a:pt x="12710976" y="4526871"/>
                  </a:lnTo>
                  <a:lnTo>
                    <a:pt x="12696680" y="4507811"/>
                  </a:lnTo>
                  <a:lnTo>
                    <a:pt x="12710976" y="4469690"/>
                  </a:lnTo>
                  <a:lnTo>
                    <a:pt x="12725272" y="4407743"/>
                  </a:lnTo>
                  <a:lnTo>
                    <a:pt x="12710976" y="4355328"/>
                  </a:lnTo>
                  <a:lnTo>
                    <a:pt x="12696680" y="4331501"/>
                  </a:lnTo>
                  <a:lnTo>
                    <a:pt x="12696680" y="4274320"/>
                  </a:lnTo>
                  <a:lnTo>
                    <a:pt x="12706212" y="4212373"/>
                  </a:lnTo>
                  <a:lnTo>
                    <a:pt x="12739568" y="4188547"/>
                  </a:lnTo>
                  <a:lnTo>
                    <a:pt x="12753864" y="4136131"/>
                  </a:lnTo>
                  <a:lnTo>
                    <a:pt x="12791984" y="4069419"/>
                  </a:lnTo>
                  <a:lnTo>
                    <a:pt x="12958764" y="3845458"/>
                  </a:lnTo>
                  <a:lnTo>
                    <a:pt x="13039772" y="3759686"/>
                  </a:lnTo>
                  <a:lnTo>
                    <a:pt x="13073128" y="3750156"/>
                  </a:lnTo>
                  <a:lnTo>
                    <a:pt x="13111248" y="3754921"/>
                  </a:lnTo>
                  <a:close/>
                  <a:moveTo>
                    <a:pt x="13725948" y="3340351"/>
                  </a:moveTo>
                  <a:lnTo>
                    <a:pt x="13735480" y="3345115"/>
                  </a:lnTo>
                  <a:lnTo>
                    <a:pt x="13754540" y="3388002"/>
                  </a:lnTo>
                  <a:lnTo>
                    <a:pt x="13740244" y="3421357"/>
                  </a:lnTo>
                  <a:lnTo>
                    <a:pt x="13721184" y="3440417"/>
                  </a:lnTo>
                  <a:lnTo>
                    <a:pt x="13702124" y="3411828"/>
                  </a:lnTo>
                  <a:lnTo>
                    <a:pt x="13644944" y="3411828"/>
                  </a:lnTo>
                  <a:lnTo>
                    <a:pt x="13554404" y="3378471"/>
                  </a:lnTo>
                  <a:lnTo>
                    <a:pt x="13582996" y="3359411"/>
                  </a:lnTo>
                  <a:close/>
                  <a:moveTo>
                    <a:pt x="13563936" y="3225991"/>
                  </a:moveTo>
                  <a:lnTo>
                    <a:pt x="13592528" y="3230756"/>
                  </a:lnTo>
                  <a:lnTo>
                    <a:pt x="13597292" y="3245050"/>
                  </a:lnTo>
                  <a:lnTo>
                    <a:pt x="13602056" y="3259348"/>
                  </a:lnTo>
                  <a:lnTo>
                    <a:pt x="13602056" y="3283172"/>
                  </a:lnTo>
                  <a:lnTo>
                    <a:pt x="13597292" y="3283172"/>
                  </a:lnTo>
                  <a:lnTo>
                    <a:pt x="13568700" y="3287937"/>
                  </a:lnTo>
                  <a:lnTo>
                    <a:pt x="13563936" y="3297468"/>
                  </a:lnTo>
                  <a:lnTo>
                    <a:pt x="13535344" y="3330825"/>
                  </a:lnTo>
                  <a:lnTo>
                    <a:pt x="13511520" y="3335588"/>
                  </a:lnTo>
                  <a:lnTo>
                    <a:pt x="13492460" y="3316528"/>
                  </a:lnTo>
                  <a:lnTo>
                    <a:pt x="13501988" y="3283172"/>
                  </a:lnTo>
                  <a:lnTo>
                    <a:pt x="13544876" y="3278407"/>
                  </a:lnTo>
                  <a:close/>
                  <a:moveTo>
                    <a:pt x="12930172" y="2339679"/>
                  </a:moveTo>
                  <a:lnTo>
                    <a:pt x="12987356" y="2373034"/>
                  </a:lnTo>
                  <a:lnTo>
                    <a:pt x="13030240" y="2425449"/>
                  </a:lnTo>
                  <a:lnTo>
                    <a:pt x="13035008" y="2454038"/>
                  </a:lnTo>
                  <a:lnTo>
                    <a:pt x="13030240" y="2468337"/>
                  </a:lnTo>
                  <a:lnTo>
                    <a:pt x="13011180" y="2477867"/>
                  </a:lnTo>
                  <a:lnTo>
                    <a:pt x="13001652" y="2492161"/>
                  </a:lnTo>
                  <a:lnTo>
                    <a:pt x="12987356" y="2554109"/>
                  </a:lnTo>
                  <a:lnTo>
                    <a:pt x="12982592" y="2616058"/>
                  </a:lnTo>
                  <a:lnTo>
                    <a:pt x="12934940" y="2801896"/>
                  </a:lnTo>
                  <a:lnTo>
                    <a:pt x="12930172" y="2835252"/>
                  </a:lnTo>
                  <a:lnTo>
                    <a:pt x="12958764" y="2806660"/>
                  </a:lnTo>
                  <a:lnTo>
                    <a:pt x="12982592" y="2739947"/>
                  </a:lnTo>
                  <a:lnTo>
                    <a:pt x="12996884" y="2687531"/>
                  </a:lnTo>
                  <a:lnTo>
                    <a:pt x="13015948" y="2654176"/>
                  </a:lnTo>
                  <a:lnTo>
                    <a:pt x="13035008" y="2654176"/>
                  </a:lnTo>
                  <a:lnTo>
                    <a:pt x="13054068" y="2644647"/>
                  </a:lnTo>
                  <a:lnTo>
                    <a:pt x="13087424" y="2596995"/>
                  </a:lnTo>
                  <a:lnTo>
                    <a:pt x="13125544" y="2577935"/>
                  </a:lnTo>
                  <a:lnTo>
                    <a:pt x="13149368" y="2577935"/>
                  </a:lnTo>
                  <a:lnTo>
                    <a:pt x="13168432" y="2601757"/>
                  </a:lnTo>
                  <a:lnTo>
                    <a:pt x="13177960" y="2649410"/>
                  </a:lnTo>
                  <a:lnTo>
                    <a:pt x="13192256" y="2692298"/>
                  </a:lnTo>
                  <a:lnTo>
                    <a:pt x="13239908" y="2720888"/>
                  </a:lnTo>
                  <a:lnTo>
                    <a:pt x="13249436" y="2730419"/>
                  </a:lnTo>
                  <a:lnTo>
                    <a:pt x="13254204" y="2763775"/>
                  </a:lnTo>
                  <a:lnTo>
                    <a:pt x="13249436" y="2797130"/>
                  </a:lnTo>
                  <a:lnTo>
                    <a:pt x="13278028" y="2835252"/>
                  </a:lnTo>
                  <a:lnTo>
                    <a:pt x="13316148" y="2820956"/>
                  </a:lnTo>
                  <a:lnTo>
                    <a:pt x="13335208" y="2825722"/>
                  </a:lnTo>
                  <a:lnTo>
                    <a:pt x="13359036" y="2849544"/>
                  </a:lnTo>
                  <a:lnTo>
                    <a:pt x="13368564" y="2878139"/>
                  </a:lnTo>
                  <a:lnTo>
                    <a:pt x="13373332" y="2916257"/>
                  </a:lnTo>
                  <a:lnTo>
                    <a:pt x="13382860" y="2968674"/>
                  </a:lnTo>
                  <a:lnTo>
                    <a:pt x="13387624" y="3025857"/>
                  </a:lnTo>
                  <a:lnTo>
                    <a:pt x="13382860" y="3102098"/>
                  </a:lnTo>
                  <a:lnTo>
                    <a:pt x="13306620" y="3216460"/>
                  </a:lnTo>
                  <a:lnTo>
                    <a:pt x="13292324" y="3225991"/>
                  </a:lnTo>
                  <a:lnTo>
                    <a:pt x="13258968" y="3216460"/>
                  </a:lnTo>
                  <a:lnTo>
                    <a:pt x="13225612" y="3230756"/>
                  </a:lnTo>
                  <a:lnTo>
                    <a:pt x="13135076" y="3287939"/>
                  </a:lnTo>
                  <a:lnTo>
                    <a:pt x="13020712" y="3292704"/>
                  </a:lnTo>
                  <a:lnTo>
                    <a:pt x="12992120" y="3345118"/>
                  </a:lnTo>
                  <a:lnTo>
                    <a:pt x="12977824" y="3340355"/>
                  </a:lnTo>
                  <a:lnTo>
                    <a:pt x="12973060" y="3330825"/>
                  </a:lnTo>
                  <a:lnTo>
                    <a:pt x="12963528" y="3316530"/>
                  </a:lnTo>
                  <a:lnTo>
                    <a:pt x="12892052" y="3330825"/>
                  </a:lnTo>
                  <a:lnTo>
                    <a:pt x="12815812" y="3340355"/>
                  </a:lnTo>
                  <a:lnTo>
                    <a:pt x="12739568" y="3340355"/>
                  </a:lnTo>
                  <a:lnTo>
                    <a:pt x="12715744" y="3378477"/>
                  </a:lnTo>
                  <a:lnTo>
                    <a:pt x="12639500" y="3449953"/>
                  </a:lnTo>
                  <a:lnTo>
                    <a:pt x="12568024" y="3502368"/>
                  </a:lnTo>
                  <a:lnTo>
                    <a:pt x="12529904" y="3516664"/>
                  </a:lnTo>
                  <a:lnTo>
                    <a:pt x="12472720" y="3502368"/>
                  </a:lnTo>
                  <a:lnTo>
                    <a:pt x="12458428" y="3483308"/>
                  </a:lnTo>
                  <a:lnTo>
                    <a:pt x="12444132" y="3454718"/>
                  </a:lnTo>
                  <a:lnTo>
                    <a:pt x="12467956" y="3421361"/>
                  </a:lnTo>
                  <a:lnTo>
                    <a:pt x="12482252" y="3349886"/>
                  </a:lnTo>
                  <a:lnTo>
                    <a:pt x="12501312" y="3306997"/>
                  </a:lnTo>
                  <a:lnTo>
                    <a:pt x="12558496" y="3225991"/>
                  </a:lnTo>
                  <a:lnTo>
                    <a:pt x="12563260" y="3192635"/>
                  </a:lnTo>
                  <a:lnTo>
                    <a:pt x="12572788" y="3125921"/>
                  </a:lnTo>
                  <a:lnTo>
                    <a:pt x="12577556" y="3097333"/>
                  </a:lnTo>
                  <a:lnTo>
                    <a:pt x="12587084" y="3073507"/>
                  </a:lnTo>
                  <a:lnTo>
                    <a:pt x="12591848" y="3044916"/>
                  </a:lnTo>
                  <a:lnTo>
                    <a:pt x="12596616" y="2997263"/>
                  </a:lnTo>
                  <a:lnTo>
                    <a:pt x="12596616" y="2959145"/>
                  </a:lnTo>
                  <a:lnTo>
                    <a:pt x="12620440" y="2901965"/>
                  </a:lnTo>
                  <a:lnTo>
                    <a:pt x="12634736" y="2873373"/>
                  </a:lnTo>
                  <a:lnTo>
                    <a:pt x="12649032" y="2863843"/>
                  </a:lnTo>
                  <a:lnTo>
                    <a:pt x="12691916" y="2878139"/>
                  </a:lnTo>
                  <a:lnTo>
                    <a:pt x="12701448" y="2873373"/>
                  </a:lnTo>
                  <a:lnTo>
                    <a:pt x="12691916" y="2854313"/>
                  </a:lnTo>
                  <a:lnTo>
                    <a:pt x="12687152" y="2782835"/>
                  </a:lnTo>
                  <a:lnTo>
                    <a:pt x="12687152" y="2759009"/>
                  </a:lnTo>
                  <a:lnTo>
                    <a:pt x="12696684" y="2716122"/>
                  </a:lnTo>
                  <a:lnTo>
                    <a:pt x="12706212" y="2697062"/>
                  </a:lnTo>
                  <a:lnTo>
                    <a:pt x="12715744" y="2682768"/>
                  </a:lnTo>
                  <a:lnTo>
                    <a:pt x="12720508" y="2620820"/>
                  </a:lnTo>
                  <a:lnTo>
                    <a:pt x="12715744" y="2601757"/>
                  </a:lnTo>
                  <a:lnTo>
                    <a:pt x="12734804" y="2573167"/>
                  </a:lnTo>
                  <a:lnTo>
                    <a:pt x="12739568" y="2530283"/>
                  </a:lnTo>
                  <a:lnTo>
                    <a:pt x="12758628" y="2506457"/>
                  </a:lnTo>
                  <a:lnTo>
                    <a:pt x="12796752" y="2492161"/>
                  </a:lnTo>
                  <a:lnTo>
                    <a:pt x="12796752" y="2439746"/>
                  </a:lnTo>
                  <a:lnTo>
                    <a:pt x="12801516" y="2411155"/>
                  </a:lnTo>
                  <a:lnTo>
                    <a:pt x="12811044" y="2401623"/>
                  </a:lnTo>
                  <a:lnTo>
                    <a:pt x="12830108" y="2392093"/>
                  </a:lnTo>
                  <a:lnTo>
                    <a:pt x="12839636" y="2392093"/>
                  </a:lnTo>
                  <a:lnTo>
                    <a:pt x="12853932" y="2444508"/>
                  </a:lnTo>
                  <a:lnTo>
                    <a:pt x="12868228" y="2482631"/>
                  </a:lnTo>
                  <a:lnTo>
                    <a:pt x="12887288" y="2492161"/>
                  </a:lnTo>
                  <a:lnTo>
                    <a:pt x="12906348" y="2487398"/>
                  </a:lnTo>
                  <a:lnTo>
                    <a:pt x="12892052" y="2439746"/>
                  </a:lnTo>
                  <a:lnTo>
                    <a:pt x="12892052" y="2392093"/>
                  </a:lnTo>
                  <a:lnTo>
                    <a:pt x="12901584" y="2353973"/>
                  </a:lnTo>
                  <a:lnTo>
                    <a:pt x="12911112" y="2344441"/>
                  </a:lnTo>
                  <a:close/>
                  <a:moveTo>
                    <a:pt x="8829780" y="2139541"/>
                  </a:moveTo>
                  <a:lnTo>
                    <a:pt x="8844076" y="2153838"/>
                  </a:lnTo>
                  <a:lnTo>
                    <a:pt x="8863136" y="2182428"/>
                  </a:lnTo>
                  <a:lnTo>
                    <a:pt x="8882196" y="2158603"/>
                  </a:lnTo>
                  <a:lnTo>
                    <a:pt x="9020384" y="2234845"/>
                  </a:lnTo>
                  <a:lnTo>
                    <a:pt x="9048976" y="2263436"/>
                  </a:lnTo>
                  <a:lnTo>
                    <a:pt x="9053740" y="2282496"/>
                  </a:lnTo>
                  <a:lnTo>
                    <a:pt x="8934612" y="2292026"/>
                  </a:lnTo>
                  <a:lnTo>
                    <a:pt x="8910788" y="2287262"/>
                  </a:lnTo>
                  <a:lnTo>
                    <a:pt x="8906024" y="2244377"/>
                  </a:lnTo>
                  <a:lnTo>
                    <a:pt x="8877432" y="2244377"/>
                  </a:lnTo>
                  <a:lnTo>
                    <a:pt x="8829780" y="2215784"/>
                  </a:lnTo>
                  <a:lnTo>
                    <a:pt x="8820252" y="2172898"/>
                  </a:lnTo>
                  <a:lnTo>
                    <a:pt x="8815484" y="2158603"/>
                  </a:lnTo>
                  <a:close/>
                  <a:moveTo>
                    <a:pt x="12563260" y="2106187"/>
                  </a:moveTo>
                  <a:lnTo>
                    <a:pt x="12572788" y="2125246"/>
                  </a:lnTo>
                  <a:lnTo>
                    <a:pt x="12601380" y="2134776"/>
                  </a:lnTo>
                  <a:lnTo>
                    <a:pt x="12572788" y="2182427"/>
                  </a:lnTo>
                  <a:lnTo>
                    <a:pt x="12539432" y="2196723"/>
                  </a:lnTo>
                  <a:lnTo>
                    <a:pt x="12544200" y="2134776"/>
                  </a:lnTo>
                  <a:lnTo>
                    <a:pt x="12544200" y="2115717"/>
                  </a:lnTo>
                  <a:close/>
                  <a:moveTo>
                    <a:pt x="11264760" y="1796456"/>
                  </a:moveTo>
                  <a:lnTo>
                    <a:pt x="11331472" y="1801217"/>
                  </a:lnTo>
                  <a:lnTo>
                    <a:pt x="11398184" y="1844102"/>
                  </a:lnTo>
                  <a:lnTo>
                    <a:pt x="11536372" y="1896517"/>
                  </a:lnTo>
                  <a:lnTo>
                    <a:pt x="11588788" y="1929873"/>
                  </a:lnTo>
                  <a:lnTo>
                    <a:pt x="11555432" y="2006118"/>
                  </a:lnTo>
                  <a:lnTo>
                    <a:pt x="11522076" y="2034709"/>
                  </a:lnTo>
                  <a:lnTo>
                    <a:pt x="11488720" y="2077595"/>
                  </a:lnTo>
                  <a:lnTo>
                    <a:pt x="11450600" y="2106187"/>
                  </a:lnTo>
                  <a:lnTo>
                    <a:pt x="11412480" y="2120482"/>
                  </a:lnTo>
                  <a:lnTo>
                    <a:pt x="11374360" y="2130011"/>
                  </a:lnTo>
                  <a:lnTo>
                    <a:pt x="11331472" y="2120482"/>
                  </a:lnTo>
                  <a:lnTo>
                    <a:pt x="11255232" y="2029942"/>
                  </a:lnTo>
                  <a:lnTo>
                    <a:pt x="11207580" y="1991822"/>
                  </a:lnTo>
                  <a:lnTo>
                    <a:pt x="11169460" y="1929873"/>
                  </a:lnTo>
                  <a:lnTo>
                    <a:pt x="11159928" y="1858400"/>
                  </a:lnTo>
                  <a:lnTo>
                    <a:pt x="11183752" y="1815515"/>
                  </a:lnTo>
                  <a:lnTo>
                    <a:pt x="11217108" y="1801217"/>
                  </a:lnTo>
                  <a:close/>
                  <a:moveTo>
                    <a:pt x="4893784" y="1758331"/>
                  </a:moveTo>
                  <a:lnTo>
                    <a:pt x="4941436" y="1801217"/>
                  </a:lnTo>
                  <a:lnTo>
                    <a:pt x="4941436" y="1834573"/>
                  </a:lnTo>
                  <a:lnTo>
                    <a:pt x="4941436" y="1853632"/>
                  </a:lnTo>
                  <a:lnTo>
                    <a:pt x="4950968" y="1867929"/>
                  </a:lnTo>
                  <a:lnTo>
                    <a:pt x="4965264" y="1891755"/>
                  </a:lnTo>
                  <a:lnTo>
                    <a:pt x="4970028" y="1906047"/>
                  </a:lnTo>
                  <a:lnTo>
                    <a:pt x="4970028" y="1915577"/>
                  </a:lnTo>
                  <a:lnTo>
                    <a:pt x="4912848" y="1906047"/>
                  </a:lnTo>
                  <a:lnTo>
                    <a:pt x="4817544" y="1910814"/>
                  </a:lnTo>
                  <a:lnTo>
                    <a:pt x="4760360" y="1858400"/>
                  </a:lnTo>
                  <a:lnTo>
                    <a:pt x="4817544" y="1810746"/>
                  </a:lnTo>
                  <a:lnTo>
                    <a:pt x="4850900" y="1801217"/>
                  </a:lnTo>
                  <a:close/>
                  <a:moveTo>
                    <a:pt x="6237552" y="1734510"/>
                  </a:moveTo>
                  <a:lnTo>
                    <a:pt x="6275672" y="1767866"/>
                  </a:lnTo>
                  <a:lnTo>
                    <a:pt x="6294732" y="1848870"/>
                  </a:lnTo>
                  <a:lnTo>
                    <a:pt x="6261376" y="1882226"/>
                  </a:lnTo>
                  <a:lnTo>
                    <a:pt x="6204196" y="1910814"/>
                  </a:lnTo>
                  <a:lnTo>
                    <a:pt x="6185136" y="1901284"/>
                  </a:lnTo>
                  <a:lnTo>
                    <a:pt x="6175604" y="1891755"/>
                  </a:lnTo>
                  <a:lnTo>
                    <a:pt x="6166076" y="1877458"/>
                  </a:lnTo>
                  <a:lnTo>
                    <a:pt x="6137484" y="1858400"/>
                  </a:lnTo>
                  <a:lnTo>
                    <a:pt x="6142248" y="1805985"/>
                  </a:lnTo>
                  <a:lnTo>
                    <a:pt x="6151780" y="1796456"/>
                  </a:lnTo>
                  <a:close/>
                  <a:moveTo>
                    <a:pt x="12179664" y="1691620"/>
                  </a:moveTo>
                  <a:lnTo>
                    <a:pt x="12193960" y="1701150"/>
                  </a:lnTo>
                  <a:lnTo>
                    <a:pt x="12227316" y="1758335"/>
                  </a:lnTo>
                  <a:lnTo>
                    <a:pt x="12246376" y="1820282"/>
                  </a:lnTo>
                  <a:lnTo>
                    <a:pt x="12227316" y="1839341"/>
                  </a:lnTo>
                  <a:lnTo>
                    <a:pt x="12213020" y="1882226"/>
                  </a:lnTo>
                  <a:lnTo>
                    <a:pt x="12208256" y="1934642"/>
                  </a:lnTo>
                  <a:lnTo>
                    <a:pt x="12184432" y="1977527"/>
                  </a:lnTo>
                  <a:lnTo>
                    <a:pt x="12179664" y="2044238"/>
                  </a:lnTo>
                  <a:lnTo>
                    <a:pt x="12189196" y="2053768"/>
                  </a:lnTo>
                  <a:lnTo>
                    <a:pt x="12198724" y="2039475"/>
                  </a:lnTo>
                  <a:lnTo>
                    <a:pt x="12222552" y="1972763"/>
                  </a:lnTo>
                  <a:lnTo>
                    <a:pt x="12251144" y="1929873"/>
                  </a:lnTo>
                  <a:lnTo>
                    <a:pt x="12282116" y="1953701"/>
                  </a:lnTo>
                  <a:lnTo>
                    <a:pt x="12296412" y="1948936"/>
                  </a:lnTo>
                  <a:lnTo>
                    <a:pt x="12320236" y="1886987"/>
                  </a:lnTo>
                  <a:lnTo>
                    <a:pt x="12315472" y="1834573"/>
                  </a:lnTo>
                  <a:lnTo>
                    <a:pt x="12325000" y="1805985"/>
                  </a:lnTo>
                  <a:lnTo>
                    <a:pt x="12334532" y="1796456"/>
                  </a:lnTo>
                  <a:lnTo>
                    <a:pt x="12377416" y="1801222"/>
                  </a:lnTo>
                  <a:lnTo>
                    <a:pt x="12444128" y="1829812"/>
                  </a:lnTo>
                  <a:lnTo>
                    <a:pt x="12453660" y="1853632"/>
                  </a:lnTo>
                  <a:lnTo>
                    <a:pt x="12472720" y="1867929"/>
                  </a:lnTo>
                  <a:lnTo>
                    <a:pt x="12482252" y="1896518"/>
                  </a:lnTo>
                  <a:lnTo>
                    <a:pt x="12510840" y="1915578"/>
                  </a:lnTo>
                  <a:lnTo>
                    <a:pt x="12525136" y="1934642"/>
                  </a:lnTo>
                  <a:lnTo>
                    <a:pt x="12544196" y="1977527"/>
                  </a:lnTo>
                  <a:lnTo>
                    <a:pt x="12563256" y="2039475"/>
                  </a:lnTo>
                  <a:lnTo>
                    <a:pt x="12539432" y="2077595"/>
                  </a:lnTo>
                  <a:lnTo>
                    <a:pt x="12529904" y="2134776"/>
                  </a:lnTo>
                  <a:lnTo>
                    <a:pt x="12525136" y="2149073"/>
                  </a:lnTo>
                  <a:lnTo>
                    <a:pt x="12520372" y="2172897"/>
                  </a:lnTo>
                  <a:lnTo>
                    <a:pt x="12515608" y="2225314"/>
                  </a:lnTo>
                  <a:lnTo>
                    <a:pt x="12515608" y="2268200"/>
                  </a:lnTo>
                  <a:lnTo>
                    <a:pt x="12510840" y="2287262"/>
                  </a:lnTo>
                  <a:lnTo>
                    <a:pt x="12506076" y="2311087"/>
                  </a:lnTo>
                  <a:lnTo>
                    <a:pt x="12510840" y="2382564"/>
                  </a:lnTo>
                  <a:lnTo>
                    <a:pt x="12501312" y="2430217"/>
                  </a:lnTo>
                  <a:lnTo>
                    <a:pt x="12482252" y="2473100"/>
                  </a:lnTo>
                  <a:lnTo>
                    <a:pt x="12458424" y="2473100"/>
                  </a:lnTo>
                  <a:lnTo>
                    <a:pt x="12425068" y="2444508"/>
                  </a:lnTo>
                  <a:lnTo>
                    <a:pt x="12415540" y="2449276"/>
                  </a:lnTo>
                  <a:lnTo>
                    <a:pt x="12406008" y="2458806"/>
                  </a:lnTo>
                  <a:lnTo>
                    <a:pt x="12448896" y="2511222"/>
                  </a:lnTo>
                  <a:lnTo>
                    <a:pt x="12477484" y="2592227"/>
                  </a:lnTo>
                  <a:lnTo>
                    <a:pt x="12515608" y="2611288"/>
                  </a:lnTo>
                  <a:lnTo>
                    <a:pt x="12525136" y="2620820"/>
                  </a:lnTo>
                  <a:lnTo>
                    <a:pt x="12539432" y="2697062"/>
                  </a:lnTo>
                  <a:lnTo>
                    <a:pt x="12544196" y="2730419"/>
                  </a:lnTo>
                  <a:lnTo>
                    <a:pt x="12482252" y="2820956"/>
                  </a:lnTo>
                  <a:lnTo>
                    <a:pt x="12467956" y="2835252"/>
                  </a:lnTo>
                  <a:lnTo>
                    <a:pt x="12367888" y="2849544"/>
                  </a:lnTo>
                  <a:lnTo>
                    <a:pt x="12305940" y="2873373"/>
                  </a:lnTo>
                  <a:lnTo>
                    <a:pt x="12286880" y="2868607"/>
                  </a:lnTo>
                  <a:lnTo>
                    <a:pt x="12251144" y="2844781"/>
                  </a:lnTo>
                  <a:lnTo>
                    <a:pt x="12227316" y="2854313"/>
                  </a:lnTo>
                  <a:lnTo>
                    <a:pt x="12193960" y="2840014"/>
                  </a:lnTo>
                  <a:lnTo>
                    <a:pt x="12174900" y="2840014"/>
                  </a:lnTo>
                  <a:lnTo>
                    <a:pt x="12127248" y="2806659"/>
                  </a:lnTo>
                  <a:lnTo>
                    <a:pt x="12074832" y="2754245"/>
                  </a:lnTo>
                  <a:lnTo>
                    <a:pt x="12065304" y="2730419"/>
                  </a:lnTo>
                  <a:lnTo>
                    <a:pt x="12055772" y="2711357"/>
                  </a:lnTo>
                  <a:lnTo>
                    <a:pt x="11998592" y="2697062"/>
                  </a:lnTo>
                  <a:lnTo>
                    <a:pt x="11984296" y="2687531"/>
                  </a:lnTo>
                  <a:lnTo>
                    <a:pt x="11898524" y="2701827"/>
                  </a:lnTo>
                  <a:lnTo>
                    <a:pt x="11884228" y="2692298"/>
                  </a:lnTo>
                  <a:lnTo>
                    <a:pt x="11855636" y="2620820"/>
                  </a:lnTo>
                  <a:lnTo>
                    <a:pt x="11841340" y="2620820"/>
                  </a:lnTo>
                  <a:lnTo>
                    <a:pt x="11793688" y="2658941"/>
                  </a:lnTo>
                  <a:lnTo>
                    <a:pt x="11779396" y="2658941"/>
                  </a:lnTo>
                  <a:lnTo>
                    <a:pt x="11741272" y="2630349"/>
                  </a:lnTo>
                  <a:lnTo>
                    <a:pt x="11722212" y="2596995"/>
                  </a:lnTo>
                  <a:lnTo>
                    <a:pt x="11717448" y="2582696"/>
                  </a:lnTo>
                  <a:lnTo>
                    <a:pt x="11712684" y="2539813"/>
                  </a:lnTo>
                  <a:lnTo>
                    <a:pt x="11693620" y="2520753"/>
                  </a:lnTo>
                  <a:lnTo>
                    <a:pt x="11669796" y="2444508"/>
                  </a:lnTo>
                  <a:lnTo>
                    <a:pt x="11650736" y="2363503"/>
                  </a:lnTo>
                  <a:lnTo>
                    <a:pt x="11579260" y="2325381"/>
                  </a:lnTo>
                  <a:lnTo>
                    <a:pt x="11536372" y="2315851"/>
                  </a:lnTo>
                  <a:lnTo>
                    <a:pt x="11503016" y="2315851"/>
                  </a:lnTo>
                  <a:lnTo>
                    <a:pt x="11474424" y="2287262"/>
                  </a:lnTo>
                  <a:lnTo>
                    <a:pt x="11526844" y="2168133"/>
                  </a:lnTo>
                  <a:lnTo>
                    <a:pt x="11593556" y="2106187"/>
                  </a:lnTo>
                  <a:lnTo>
                    <a:pt x="11626912" y="2058535"/>
                  </a:lnTo>
                  <a:lnTo>
                    <a:pt x="11660268" y="1996587"/>
                  </a:lnTo>
                  <a:lnTo>
                    <a:pt x="11674560" y="1896518"/>
                  </a:lnTo>
                  <a:lnTo>
                    <a:pt x="11731744" y="1834573"/>
                  </a:lnTo>
                  <a:lnTo>
                    <a:pt x="11746040" y="1810752"/>
                  </a:lnTo>
                  <a:lnTo>
                    <a:pt x="11765100" y="1763098"/>
                  </a:lnTo>
                  <a:lnTo>
                    <a:pt x="11774628" y="1753569"/>
                  </a:lnTo>
                  <a:lnTo>
                    <a:pt x="11817516" y="1815515"/>
                  </a:lnTo>
                  <a:lnTo>
                    <a:pt x="11827044" y="1805985"/>
                  </a:lnTo>
                  <a:lnTo>
                    <a:pt x="11836576" y="1777396"/>
                  </a:lnTo>
                  <a:lnTo>
                    <a:pt x="11850872" y="1748802"/>
                  </a:lnTo>
                  <a:lnTo>
                    <a:pt x="11908052" y="1744039"/>
                  </a:lnTo>
                  <a:lnTo>
                    <a:pt x="11955704" y="1753569"/>
                  </a:lnTo>
                  <a:lnTo>
                    <a:pt x="11974764" y="1744039"/>
                  </a:lnTo>
                  <a:lnTo>
                    <a:pt x="11993824" y="1748802"/>
                  </a:lnTo>
                  <a:lnTo>
                    <a:pt x="12103424" y="1705918"/>
                  </a:lnTo>
                  <a:close/>
                  <a:moveTo>
                    <a:pt x="4727008" y="1634439"/>
                  </a:moveTo>
                  <a:lnTo>
                    <a:pt x="4784188" y="1643968"/>
                  </a:lnTo>
                  <a:lnTo>
                    <a:pt x="4793720" y="1677324"/>
                  </a:lnTo>
                  <a:lnTo>
                    <a:pt x="4793720" y="1686855"/>
                  </a:lnTo>
                  <a:lnTo>
                    <a:pt x="4755596" y="1744039"/>
                  </a:lnTo>
                  <a:lnTo>
                    <a:pt x="4755596" y="1777396"/>
                  </a:lnTo>
                  <a:lnTo>
                    <a:pt x="4741300" y="1786926"/>
                  </a:lnTo>
                  <a:lnTo>
                    <a:pt x="4679356" y="1720211"/>
                  </a:lnTo>
                  <a:lnTo>
                    <a:pt x="4674592" y="1701150"/>
                  </a:lnTo>
                  <a:close/>
                  <a:moveTo>
                    <a:pt x="5565668" y="1543900"/>
                  </a:moveTo>
                  <a:lnTo>
                    <a:pt x="5579964" y="1553431"/>
                  </a:lnTo>
                  <a:lnTo>
                    <a:pt x="5594260" y="1567729"/>
                  </a:lnTo>
                  <a:lnTo>
                    <a:pt x="5603792" y="1591553"/>
                  </a:lnTo>
                  <a:lnTo>
                    <a:pt x="5556140" y="1639205"/>
                  </a:lnTo>
                  <a:lnTo>
                    <a:pt x="5532312" y="1634440"/>
                  </a:lnTo>
                  <a:lnTo>
                    <a:pt x="5522784" y="1610616"/>
                  </a:lnTo>
                  <a:lnTo>
                    <a:pt x="5541844" y="1572492"/>
                  </a:lnTo>
                  <a:close/>
                  <a:moveTo>
                    <a:pt x="5832516" y="1505780"/>
                  </a:moveTo>
                  <a:lnTo>
                    <a:pt x="5851576" y="1520078"/>
                  </a:lnTo>
                  <a:lnTo>
                    <a:pt x="5856344" y="1553431"/>
                  </a:lnTo>
                  <a:lnTo>
                    <a:pt x="5856344" y="1667794"/>
                  </a:lnTo>
                  <a:lnTo>
                    <a:pt x="5851576" y="1715449"/>
                  </a:lnTo>
                  <a:lnTo>
                    <a:pt x="5851576" y="1758332"/>
                  </a:lnTo>
                  <a:lnTo>
                    <a:pt x="5837280" y="1777396"/>
                  </a:lnTo>
                  <a:lnTo>
                    <a:pt x="5713388" y="1772628"/>
                  </a:lnTo>
                  <a:lnTo>
                    <a:pt x="5656208" y="1763098"/>
                  </a:lnTo>
                  <a:lnTo>
                    <a:pt x="5641912" y="1748802"/>
                  </a:lnTo>
                  <a:lnTo>
                    <a:pt x="5675268" y="1696388"/>
                  </a:lnTo>
                  <a:lnTo>
                    <a:pt x="5684796" y="1658264"/>
                  </a:lnTo>
                  <a:lnTo>
                    <a:pt x="5680032" y="1548668"/>
                  </a:lnTo>
                  <a:lnTo>
                    <a:pt x="5684796" y="1529608"/>
                  </a:lnTo>
                  <a:lnTo>
                    <a:pt x="5784864" y="1539138"/>
                  </a:lnTo>
                  <a:lnTo>
                    <a:pt x="5794396" y="1510546"/>
                  </a:lnTo>
                  <a:close/>
                  <a:moveTo>
                    <a:pt x="5241640" y="1462895"/>
                  </a:moveTo>
                  <a:lnTo>
                    <a:pt x="5265464" y="1472425"/>
                  </a:lnTo>
                  <a:lnTo>
                    <a:pt x="5270232" y="1505780"/>
                  </a:lnTo>
                  <a:lnTo>
                    <a:pt x="5289292" y="1548669"/>
                  </a:lnTo>
                  <a:lnTo>
                    <a:pt x="5346472" y="1601083"/>
                  </a:lnTo>
                  <a:lnTo>
                    <a:pt x="5336944" y="1634439"/>
                  </a:lnTo>
                  <a:lnTo>
                    <a:pt x="5317884" y="1639205"/>
                  </a:lnTo>
                  <a:lnTo>
                    <a:pt x="5294056" y="1677327"/>
                  </a:lnTo>
                  <a:lnTo>
                    <a:pt x="5193988" y="1686858"/>
                  </a:lnTo>
                  <a:lnTo>
                    <a:pt x="5155868" y="1682091"/>
                  </a:lnTo>
                  <a:lnTo>
                    <a:pt x="5151104" y="1667794"/>
                  </a:lnTo>
                  <a:lnTo>
                    <a:pt x="5141572" y="1658264"/>
                  </a:lnTo>
                  <a:lnTo>
                    <a:pt x="5112980" y="1648735"/>
                  </a:lnTo>
                  <a:lnTo>
                    <a:pt x="5093920" y="1601083"/>
                  </a:lnTo>
                  <a:lnTo>
                    <a:pt x="5098688" y="1591553"/>
                  </a:lnTo>
                  <a:lnTo>
                    <a:pt x="5146336" y="1572492"/>
                  </a:lnTo>
                  <a:lnTo>
                    <a:pt x="5165396" y="1553431"/>
                  </a:lnTo>
                  <a:lnTo>
                    <a:pt x="5170164" y="1524841"/>
                  </a:lnTo>
                  <a:lnTo>
                    <a:pt x="5193988" y="1472425"/>
                  </a:lnTo>
                  <a:close/>
                  <a:moveTo>
                    <a:pt x="5851576" y="1386651"/>
                  </a:moveTo>
                  <a:lnTo>
                    <a:pt x="5918288" y="1405714"/>
                  </a:lnTo>
                  <a:lnTo>
                    <a:pt x="6070772" y="1415245"/>
                  </a:lnTo>
                  <a:lnTo>
                    <a:pt x="6147012" y="1462895"/>
                  </a:lnTo>
                  <a:lnTo>
                    <a:pt x="6170840" y="1486720"/>
                  </a:lnTo>
                  <a:lnTo>
                    <a:pt x="6189900" y="1529608"/>
                  </a:lnTo>
                  <a:lnTo>
                    <a:pt x="6056476" y="1553431"/>
                  </a:lnTo>
                  <a:lnTo>
                    <a:pt x="6037416" y="1572492"/>
                  </a:lnTo>
                  <a:lnTo>
                    <a:pt x="6042180" y="1615379"/>
                  </a:lnTo>
                  <a:lnTo>
                    <a:pt x="6037416" y="1658264"/>
                  </a:lnTo>
                  <a:lnTo>
                    <a:pt x="6018356" y="1663032"/>
                  </a:lnTo>
                  <a:lnTo>
                    <a:pt x="5989764" y="1729742"/>
                  </a:lnTo>
                  <a:lnTo>
                    <a:pt x="5965940" y="1748802"/>
                  </a:lnTo>
                  <a:lnTo>
                    <a:pt x="5899228" y="1715449"/>
                  </a:lnTo>
                  <a:lnTo>
                    <a:pt x="5889696" y="1701152"/>
                  </a:lnTo>
                  <a:lnTo>
                    <a:pt x="5884932" y="1667796"/>
                  </a:lnTo>
                  <a:lnTo>
                    <a:pt x="5870636" y="1543901"/>
                  </a:lnTo>
                  <a:lnTo>
                    <a:pt x="5870636" y="1505780"/>
                  </a:lnTo>
                  <a:lnTo>
                    <a:pt x="5870636" y="1481955"/>
                  </a:lnTo>
                  <a:lnTo>
                    <a:pt x="5851576" y="1434304"/>
                  </a:lnTo>
                  <a:lnTo>
                    <a:pt x="5842048" y="1410478"/>
                  </a:lnTo>
                  <a:close/>
                  <a:moveTo>
                    <a:pt x="5351240" y="1281820"/>
                  </a:moveTo>
                  <a:lnTo>
                    <a:pt x="5398888" y="1310410"/>
                  </a:lnTo>
                  <a:lnTo>
                    <a:pt x="5403656" y="1324706"/>
                  </a:lnTo>
                  <a:lnTo>
                    <a:pt x="5437012" y="1343768"/>
                  </a:lnTo>
                  <a:lnTo>
                    <a:pt x="5437012" y="1381889"/>
                  </a:lnTo>
                  <a:lnTo>
                    <a:pt x="5437012" y="1405714"/>
                  </a:lnTo>
                  <a:lnTo>
                    <a:pt x="5413184" y="1458130"/>
                  </a:lnTo>
                  <a:lnTo>
                    <a:pt x="5341708" y="1405714"/>
                  </a:lnTo>
                  <a:lnTo>
                    <a:pt x="5346472" y="1377121"/>
                  </a:lnTo>
                  <a:lnTo>
                    <a:pt x="5356004" y="1367592"/>
                  </a:lnTo>
                  <a:lnTo>
                    <a:pt x="5356004" y="1343768"/>
                  </a:lnTo>
                  <a:lnTo>
                    <a:pt x="5346472" y="1324706"/>
                  </a:lnTo>
                  <a:close/>
                  <a:moveTo>
                    <a:pt x="4345796" y="1038799"/>
                  </a:moveTo>
                  <a:lnTo>
                    <a:pt x="4417272" y="1081683"/>
                  </a:lnTo>
                  <a:lnTo>
                    <a:pt x="4469692" y="1072153"/>
                  </a:lnTo>
                  <a:lnTo>
                    <a:pt x="4488752" y="1076919"/>
                  </a:lnTo>
                  <a:lnTo>
                    <a:pt x="4503044" y="1086448"/>
                  </a:lnTo>
                  <a:lnTo>
                    <a:pt x="4517340" y="1115041"/>
                  </a:lnTo>
                  <a:lnTo>
                    <a:pt x="4541168" y="1172222"/>
                  </a:lnTo>
                  <a:lnTo>
                    <a:pt x="4541168" y="1253229"/>
                  </a:lnTo>
                  <a:lnTo>
                    <a:pt x="4531636" y="1257993"/>
                  </a:lnTo>
                  <a:lnTo>
                    <a:pt x="4441100" y="1219872"/>
                  </a:lnTo>
                  <a:lnTo>
                    <a:pt x="4398212" y="1134100"/>
                  </a:lnTo>
                  <a:lnTo>
                    <a:pt x="4388684" y="1129334"/>
                  </a:lnTo>
                  <a:lnTo>
                    <a:pt x="4369624" y="1148396"/>
                  </a:lnTo>
                  <a:lnTo>
                    <a:pt x="4355328" y="1200812"/>
                  </a:lnTo>
                  <a:lnTo>
                    <a:pt x="4341032" y="1215108"/>
                  </a:lnTo>
                  <a:lnTo>
                    <a:pt x="4326736" y="1281820"/>
                  </a:lnTo>
                  <a:lnTo>
                    <a:pt x="4307676" y="1272289"/>
                  </a:lnTo>
                  <a:lnTo>
                    <a:pt x="4298144" y="1277054"/>
                  </a:lnTo>
                  <a:lnTo>
                    <a:pt x="4279084" y="1324706"/>
                  </a:lnTo>
                  <a:lnTo>
                    <a:pt x="4226668" y="1324706"/>
                  </a:lnTo>
                  <a:lnTo>
                    <a:pt x="4217140" y="1343768"/>
                  </a:lnTo>
                  <a:lnTo>
                    <a:pt x="4202844" y="1405710"/>
                  </a:lnTo>
                  <a:lnTo>
                    <a:pt x="4179016" y="1424774"/>
                  </a:lnTo>
                  <a:lnTo>
                    <a:pt x="4140896" y="1434304"/>
                  </a:lnTo>
                  <a:lnTo>
                    <a:pt x="4131364" y="1396181"/>
                  </a:lnTo>
                  <a:lnTo>
                    <a:pt x="4126600" y="1343768"/>
                  </a:lnTo>
                  <a:lnTo>
                    <a:pt x="4117072" y="1315175"/>
                  </a:lnTo>
                  <a:lnTo>
                    <a:pt x="4064656" y="1348531"/>
                  </a:lnTo>
                  <a:lnTo>
                    <a:pt x="4026532" y="1324706"/>
                  </a:lnTo>
                  <a:lnTo>
                    <a:pt x="3988412" y="1286584"/>
                  </a:lnTo>
                  <a:lnTo>
                    <a:pt x="3950292" y="1277054"/>
                  </a:lnTo>
                  <a:lnTo>
                    <a:pt x="3983648" y="1238932"/>
                  </a:lnTo>
                  <a:lnTo>
                    <a:pt x="4174252" y="1157926"/>
                  </a:lnTo>
                  <a:lnTo>
                    <a:pt x="4245728" y="1138866"/>
                  </a:lnTo>
                  <a:lnTo>
                    <a:pt x="4279084" y="1081683"/>
                  </a:lnTo>
                  <a:lnTo>
                    <a:pt x="4331500" y="1043563"/>
                  </a:lnTo>
                  <a:close/>
                  <a:moveTo>
                    <a:pt x="6556816" y="1000677"/>
                  </a:moveTo>
                  <a:lnTo>
                    <a:pt x="6594936" y="1010206"/>
                  </a:lnTo>
                  <a:lnTo>
                    <a:pt x="6637824" y="1029270"/>
                  </a:lnTo>
                  <a:lnTo>
                    <a:pt x="6647352" y="1057857"/>
                  </a:lnTo>
                  <a:lnTo>
                    <a:pt x="6656884" y="1100744"/>
                  </a:lnTo>
                  <a:lnTo>
                    <a:pt x="6652116" y="1162690"/>
                  </a:lnTo>
                  <a:lnTo>
                    <a:pt x="6637824" y="1205578"/>
                  </a:lnTo>
                  <a:lnTo>
                    <a:pt x="6633056" y="1272289"/>
                  </a:lnTo>
                  <a:lnTo>
                    <a:pt x="6585408" y="1286584"/>
                  </a:lnTo>
                  <a:lnTo>
                    <a:pt x="6571112" y="1300881"/>
                  </a:lnTo>
                  <a:lnTo>
                    <a:pt x="6556816" y="1348531"/>
                  </a:lnTo>
                  <a:lnTo>
                    <a:pt x="6509164" y="1377121"/>
                  </a:lnTo>
                  <a:lnTo>
                    <a:pt x="6471044" y="1458129"/>
                  </a:lnTo>
                  <a:lnTo>
                    <a:pt x="6418628" y="1443833"/>
                  </a:lnTo>
                  <a:lnTo>
                    <a:pt x="6351916" y="1386651"/>
                  </a:lnTo>
                  <a:lnTo>
                    <a:pt x="6289968" y="1434304"/>
                  </a:lnTo>
                  <a:lnTo>
                    <a:pt x="6251848" y="1448599"/>
                  </a:lnTo>
                  <a:lnTo>
                    <a:pt x="6204196" y="1377121"/>
                  </a:lnTo>
                  <a:lnTo>
                    <a:pt x="6199432" y="1362828"/>
                  </a:lnTo>
                  <a:lnTo>
                    <a:pt x="6194664" y="1315175"/>
                  </a:lnTo>
                  <a:lnTo>
                    <a:pt x="6199432" y="1267524"/>
                  </a:lnTo>
                  <a:lnTo>
                    <a:pt x="6213728" y="1176989"/>
                  </a:lnTo>
                  <a:lnTo>
                    <a:pt x="6228020" y="1124571"/>
                  </a:lnTo>
                  <a:lnTo>
                    <a:pt x="6237552" y="1110274"/>
                  </a:lnTo>
                  <a:lnTo>
                    <a:pt x="6242316" y="1076919"/>
                  </a:lnTo>
                  <a:lnTo>
                    <a:pt x="6261376" y="1057857"/>
                  </a:lnTo>
                  <a:lnTo>
                    <a:pt x="6323324" y="1043563"/>
                  </a:lnTo>
                  <a:lnTo>
                    <a:pt x="6342384" y="1057857"/>
                  </a:lnTo>
                  <a:lnTo>
                    <a:pt x="6351916" y="1091213"/>
                  </a:lnTo>
                  <a:lnTo>
                    <a:pt x="6385272" y="1091213"/>
                  </a:lnTo>
                  <a:lnTo>
                    <a:pt x="6437688" y="1067390"/>
                  </a:lnTo>
                  <a:lnTo>
                    <a:pt x="6513928" y="1034033"/>
                  </a:lnTo>
                  <a:close/>
                  <a:moveTo>
                    <a:pt x="4788952" y="967321"/>
                  </a:moveTo>
                  <a:lnTo>
                    <a:pt x="4812780" y="986381"/>
                  </a:lnTo>
                  <a:lnTo>
                    <a:pt x="4869960" y="981617"/>
                  </a:lnTo>
                  <a:lnTo>
                    <a:pt x="4889020" y="1005442"/>
                  </a:lnTo>
                  <a:lnTo>
                    <a:pt x="4974792" y="1148396"/>
                  </a:lnTo>
                  <a:lnTo>
                    <a:pt x="4993852" y="1153161"/>
                  </a:lnTo>
                  <a:lnTo>
                    <a:pt x="5012912" y="1200810"/>
                  </a:lnTo>
                  <a:lnTo>
                    <a:pt x="4922376" y="1281819"/>
                  </a:lnTo>
                  <a:lnTo>
                    <a:pt x="4893784" y="1343766"/>
                  </a:lnTo>
                  <a:lnTo>
                    <a:pt x="4788952" y="1358061"/>
                  </a:lnTo>
                  <a:lnTo>
                    <a:pt x="4722240" y="1386651"/>
                  </a:lnTo>
                  <a:lnTo>
                    <a:pt x="4707944" y="1410477"/>
                  </a:lnTo>
                  <a:lnTo>
                    <a:pt x="4712712" y="1453363"/>
                  </a:lnTo>
                  <a:lnTo>
                    <a:pt x="4679356" y="1496249"/>
                  </a:lnTo>
                  <a:lnTo>
                    <a:pt x="4574524" y="1505780"/>
                  </a:lnTo>
                  <a:lnTo>
                    <a:pt x="4560228" y="1520075"/>
                  </a:lnTo>
                  <a:lnTo>
                    <a:pt x="4541168" y="1567728"/>
                  </a:lnTo>
                  <a:lnTo>
                    <a:pt x="4541168" y="1577258"/>
                  </a:lnTo>
                  <a:lnTo>
                    <a:pt x="4579288" y="1591552"/>
                  </a:lnTo>
                  <a:lnTo>
                    <a:pt x="4584052" y="1601081"/>
                  </a:lnTo>
                  <a:lnTo>
                    <a:pt x="4588816" y="1624909"/>
                  </a:lnTo>
                  <a:lnTo>
                    <a:pt x="4593584" y="1653498"/>
                  </a:lnTo>
                  <a:lnTo>
                    <a:pt x="4584052" y="1696386"/>
                  </a:lnTo>
                  <a:lnTo>
                    <a:pt x="4574524" y="1701150"/>
                  </a:lnTo>
                  <a:lnTo>
                    <a:pt x="4560228" y="1696386"/>
                  </a:lnTo>
                  <a:lnTo>
                    <a:pt x="4526872" y="1667794"/>
                  </a:lnTo>
                  <a:lnTo>
                    <a:pt x="4522104" y="1677324"/>
                  </a:lnTo>
                  <a:lnTo>
                    <a:pt x="4517340" y="1701150"/>
                  </a:lnTo>
                  <a:lnTo>
                    <a:pt x="4507812" y="1744039"/>
                  </a:lnTo>
                  <a:lnTo>
                    <a:pt x="4493516" y="1758331"/>
                  </a:lnTo>
                  <a:lnTo>
                    <a:pt x="4460160" y="1724977"/>
                  </a:lnTo>
                  <a:lnTo>
                    <a:pt x="4450628" y="1734508"/>
                  </a:lnTo>
                  <a:lnTo>
                    <a:pt x="4436332" y="1753569"/>
                  </a:lnTo>
                  <a:lnTo>
                    <a:pt x="4422040" y="1763098"/>
                  </a:lnTo>
                  <a:lnTo>
                    <a:pt x="4393448" y="1767861"/>
                  </a:lnTo>
                  <a:lnTo>
                    <a:pt x="4374388" y="1744039"/>
                  </a:lnTo>
                  <a:lnTo>
                    <a:pt x="4388684" y="1705916"/>
                  </a:lnTo>
                  <a:lnTo>
                    <a:pt x="4431568" y="1648735"/>
                  </a:lnTo>
                  <a:lnTo>
                    <a:pt x="4417272" y="1624909"/>
                  </a:lnTo>
                  <a:lnTo>
                    <a:pt x="4379152" y="1620145"/>
                  </a:lnTo>
                  <a:lnTo>
                    <a:pt x="4345796" y="1634438"/>
                  </a:lnTo>
                  <a:lnTo>
                    <a:pt x="4331500" y="1672560"/>
                  </a:lnTo>
                  <a:lnTo>
                    <a:pt x="4317204" y="1682091"/>
                  </a:lnTo>
                  <a:lnTo>
                    <a:pt x="4274320" y="1677324"/>
                  </a:lnTo>
                  <a:lnTo>
                    <a:pt x="4255260" y="1624909"/>
                  </a:lnTo>
                  <a:lnTo>
                    <a:pt x="4236200" y="1610612"/>
                  </a:lnTo>
                  <a:lnTo>
                    <a:pt x="4221904" y="1567728"/>
                  </a:lnTo>
                  <a:lnTo>
                    <a:pt x="4341032" y="1434304"/>
                  </a:lnTo>
                  <a:lnTo>
                    <a:pt x="4379152" y="1381888"/>
                  </a:lnTo>
                  <a:lnTo>
                    <a:pt x="4417272" y="1353297"/>
                  </a:lnTo>
                  <a:lnTo>
                    <a:pt x="4464924" y="1338999"/>
                  </a:lnTo>
                  <a:lnTo>
                    <a:pt x="4479220" y="1324705"/>
                  </a:lnTo>
                  <a:lnTo>
                    <a:pt x="4498280" y="1315175"/>
                  </a:lnTo>
                  <a:lnTo>
                    <a:pt x="4507812" y="1324705"/>
                  </a:lnTo>
                  <a:lnTo>
                    <a:pt x="4531636" y="1372358"/>
                  </a:lnTo>
                  <a:lnTo>
                    <a:pt x="4603112" y="1367592"/>
                  </a:lnTo>
                  <a:lnTo>
                    <a:pt x="4617408" y="1324705"/>
                  </a:lnTo>
                  <a:lnTo>
                    <a:pt x="4622172" y="1234168"/>
                  </a:lnTo>
                  <a:lnTo>
                    <a:pt x="4612644" y="1176989"/>
                  </a:lnTo>
                  <a:lnTo>
                    <a:pt x="4626940" y="1072153"/>
                  </a:lnTo>
                  <a:lnTo>
                    <a:pt x="4669824" y="1029270"/>
                  </a:lnTo>
                  <a:lnTo>
                    <a:pt x="4765128" y="972085"/>
                  </a:lnTo>
                  <a:close/>
                  <a:moveTo>
                    <a:pt x="9401596" y="919670"/>
                  </a:moveTo>
                  <a:lnTo>
                    <a:pt x="9477840" y="943496"/>
                  </a:lnTo>
                  <a:lnTo>
                    <a:pt x="9496900" y="967321"/>
                  </a:lnTo>
                  <a:lnTo>
                    <a:pt x="9492132" y="1014974"/>
                  </a:lnTo>
                  <a:lnTo>
                    <a:pt x="9487368" y="1029270"/>
                  </a:lnTo>
                  <a:lnTo>
                    <a:pt x="9434952" y="1048328"/>
                  </a:lnTo>
                  <a:lnTo>
                    <a:pt x="9292000" y="1081683"/>
                  </a:lnTo>
                  <a:lnTo>
                    <a:pt x="9277704" y="1057857"/>
                  </a:lnTo>
                  <a:lnTo>
                    <a:pt x="9272936" y="1048328"/>
                  </a:lnTo>
                  <a:lnTo>
                    <a:pt x="9292000" y="972085"/>
                  </a:lnTo>
                  <a:lnTo>
                    <a:pt x="9311060" y="933966"/>
                  </a:lnTo>
                  <a:close/>
                  <a:moveTo>
                    <a:pt x="6537756" y="791013"/>
                  </a:moveTo>
                  <a:lnTo>
                    <a:pt x="6552048" y="843428"/>
                  </a:lnTo>
                  <a:lnTo>
                    <a:pt x="6537756" y="886314"/>
                  </a:lnTo>
                  <a:lnTo>
                    <a:pt x="6485340" y="943497"/>
                  </a:lnTo>
                  <a:lnTo>
                    <a:pt x="6437688" y="967321"/>
                  </a:lnTo>
                  <a:lnTo>
                    <a:pt x="6356680" y="938731"/>
                  </a:lnTo>
                  <a:lnTo>
                    <a:pt x="6318560" y="910140"/>
                  </a:lnTo>
                  <a:lnTo>
                    <a:pt x="6318560" y="895845"/>
                  </a:lnTo>
                  <a:lnTo>
                    <a:pt x="6332856" y="881549"/>
                  </a:lnTo>
                  <a:lnTo>
                    <a:pt x="6399568" y="810072"/>
                  </a:lnTo>
                  <a:close/>
                  <a:moveTo>
                    <a:pt x="5470368" y="781482"/>
                  </a:moveTo>
                  <a:lnTo>
                    <a:pt x="5484660" y="781482"/>
                  </a:lnTo>
                  <a:lnTo>
                    <a:pt x="5599024" y="876782"/>
                  </a:lnTo>
                  <a:lnTo>
                    <a:pt x="5708624" y="867253"/>
                  </a:lnTo>
                  <a:lnTo>
                    <a:pt x="5756272" y="895845"/>
                  </a:lnTo>
                  <a:lnTo>
                    <a:pt x="5822984" y="981617"/>
                  </a:lnTo>
                  <a:lnTo>
                    <a:pt x="5927820" y="1072153"/>
                  </a:lnTo>
                  <a:lnTo>
                    <a:pt x="5946880" y="1100744"/>
                  </a:lnTo>
                  <a:lnTo>
                    <a:pt x="5927820" y="1138866"/>
                  </a:lnTo>
                  <a:lnTo>
                    <a:pt x="5808692" y="1224638"/>
                  </a:lnTo>
                  <a:lnTo>
                    <a:pt x="5732448" y="1253229"/>
                  </a:lnTo>
                  <a:lnTo>
                    <a:pt x="5665736" y="1257993"/>
                  </a:lnTo>
                  <a:lnTo>
                    <a:pt x="5637144" y="1253229"/>
                  </a:lnTo>
                  <a:lnTo>
                    <a:pt x="5613320" y="1186517"/>
                  </a:lnTo>
                  <a:lnTo>
                    <a:pt x="5546608" y="1138866"/>
                  </a:lnTo>
                  <a:lnTo>
                    <a:pt x="5475132" y="1153161"/>
                  </a:lnTo>
                  <a:lnTo>
                    <a:pt x="5470368" y="1129334"/>
                  </a:lnTo>
                  <a:lnTo>
                    <a:pt x="5451304" y="1110274"/>
                  </a:lnTo>
                  <a:lnTo>
                    <a:pt x="5427480" y="1105510"/>
                  </a:lnTo>
                  <a:lnTo>
                    <a:pt x="5379828" y="1081683"/>
                  </a:lnTo>
                  <a:lnTo>
                    <a:pt x="5379828" y="1024504"/>
                  </a:lnTo>
                  <a:lnTo>
                    <a:pt x="5408420" y="995910"/>
                  </a:lnTo>
                  <a:lnTo>
                    <a:pt x="5427480" y="991147"/>
                  </a:lnTo>
                  <a:lnTo>
                    <a:pt x="5437012" y="910139"/>
                  </a:lnTo>
                  <a:close/>
                  <a:moveTo>
                    <a:pt x="6004060" y="776717"/>
                  </a:moveTo>
                  <a:lnTo>
                    <a:pt x="6013592" y="781482"/>
                  </a:lnTo>
                  <a:lnTo>
                    <a:pt x="6023120" y="800541"/>
                  </a:lnTo>
                  <a:lnTo>
                    <a:pt x="6075536" y="833897"/>
                  </a:lnTo>
                  <a:lnTo>
                    <a:pt x="6094596" y="852958"/>
                  </a:lnTo>
                  <a:lnTo>
                    <a:pt x="6113660" y="905375"/>
                  </a:lnTo>
                  <a:lnTo>
                    <a:pt x="6123188" y="962556"/>
                  </a:lnTo>
                  <a:lnTo>
                    <a:pt x="6137484" y="995910"/>
                  </a:lnTo>
                  <a:lnTo>
                    <a:pt x="6142248" y="1062624"/>
                  </a:lnTo>
                  <a:lnTo>
                    <a:pt x="6127952" y="1115040"/>
                  </a:lnTo>
                  <a:lnTo>
                    <a:pt x="6094596" y="1124571"/>
                  </a:lnTo>
                  <a:lnTo>
                    <a:pt x="6042180" y="1129334"/>
                  </a:lnTo>
                  <a:lnTo>
                    <a:pt x="5985000" y="1100744"/>
                  </a:lnTo>
                  <a:lnTo>
                    <a:pt x="5956408" y="1005442"/>
                  </a:lnTo>
                  <a:lnTo>
                    <a:pt x="5903992" y="981616"/>
                  </a:lnTo>
                  <a:lnTo>
                    <a:pt x="5870636" y="876782"/>
                  </a:lnTo>
                  <a:lnTo>
                    <a:pt x="5903992" y="848191"/>
                  </a:lnTo>
                  <a:lnTo>
                    <a:pt x="5942112" y="862488"/>
                  </a:lnTo>
                  <a:close/>
                  <a:moveTo>
                    <a:pt x="4836604" y="724301"/>
                  </a:moveTo>
                  <a:lnTo>
                    <a:pt x="4855664" y="724301"/>
                  </a:lnTo>
                  <a:lnTo>
                    <a:pt x="4884256" y="743360"/>
                  </a:lnTo>
                  <a:lnTo>
                    <a:pt x="4893784" y="786247"/>
                  </a:lnTo>
                  <a:lnTo>
                    <a:pt x="4869960" y="824368"/>
                  </a:lnTo>
                  <a:lnTo>
                    <a:pt x="4865196" y="848191"/>
                  </a:lnTo>
                  <a:lnTo>
                    <a:pt x="4841368" y="852958"/>
                  </a:lnTo>
                  <a:lnTo>
                    <a:pt x="4827072" y="848191"/>
                  </a:lnTo>
                  <a:lnTo>
                    <a:pt x="4812780" y="810071"/>
                  </a:lnTo>
                  <a:lnTo>
                    <a:pt x="4803248" y="791012"/>
                  </a:lnTo>
                  <a:lnTo>
                    <a:pt x="4803248" y="771952"/>
                  </a:lnTo>
                  <a:lnTo>
                    <a:pt x="4817544" y="767187"/>
                  </a:lnTo>
                  <a:lnTo>
                    <a:pt x="4827072" y="752892"/>
                  </a:lnTo>
                  <a:lnTo>
                    <a:pt x="4827072" y="738596"/>
                  </a:lnTo>
                  <a:close/>
                  <a:moveTo>
                    <a:pt x="7023796" y="695710"/>
                  </a:moveTo>
                  <a:lnTo>
                    <a:pt x="7057152" y="695710"/>
                  </a:lnTo>
                  <a:lnTo>
                    <a:pt x="7095276" y="724301"/>
                  </a:lnTo>
                  <a:lnTo>
                    <a:pt x="7114336" y="752891"/>
                  </a:lnTo>
                  <a:lnTo>
                    <a:pt x="7138160" y="800541"/>
                  </a:lnTo>
                  <a:lnTo>
                    <a:pt x="7147692" y="838662"/>
                  </a:lnTo>
                  <a:lnTo>
                    <a:pt x="7142924" y="886314"/>
                  </a:lnTo>
                  <a:lnTo>
                    <a:pt x="7147692" y="929200"/>
                  </a:lnTo>
                  <a:lnTo>
                    <a:pt x="7157220" y="962556"/>
                  </a:lnTo>
                  <a:lnTo>
                    <a:pt x="7090508" y="1076919"/>
                  </a:lnTo>
                  <a:lnTo>
                    <a:pt x="7019032" y="1138864"/>
                  </a:lnTo>
                  <a:lnTo>
                    <a:pt x="6833192" y="1191281"/>
                  </a:lnTo>
                  <a:lnTo>
                    <a:pt x="6804600" y="1191281"/>
                  </a:lnTo>
                  <a:lnTo>
                    <a:pt x="6776012" y="1176989"/>
                  </a:lnTo>
                  <a:lnTo>
                    <a:pt x="6737888" y="1129334"/>
                  </a:lnTo>
                  <a:lnTo>
                    <a:pt x="6699768" y="1072153"/>
                  </a:lnTo>
                  <a:lnTo>
                    <a:pt x="6714064" y="1043563"/>
                  </a:lnTo>
                  <a:lnTo>
                    <a:pt x="6747420" y="1000677"/>
                  </a:lnTo>
                  <a:lnTo>
                    <a:pt x="6795072" y="929200"/>
                  </a:lnTo>
                  <a:lnTo>
                    <a:pt x="6871312" y="914906"/>
                  </a:lnTo>
                  <a:lnTo>
                    <a:pt x="6909436" y="914906"/>
                  </a:lnTo>
                  <a:lnTo>
                    <a:pt x="6947556" y="895845"/>
                  </a:lnTo>
                  <a:lnTo>
                    <a:pt x="6957084" y="862488"/>
                  </a:lnTo>
                  <a:lnTo>
                    <a:pt x="6966616" y="791012"/>
                  </a:lnTo>
                  <a:lnTo>
                    <a:pt x="6971380" y="748126"/>
                  </a:lnTo>
                  <a:lnTo>
                    <a:pt x="6980912" y="719536"/>
                  </a:lnTo>
                  <a:close/>
                  <a:moveTo>
                    <a:pt x="11002680" y="681415"/>
                  </a:moveTo>
                  <a:lnTo>
                    <a:pt x="11169460" y="695710"/>
                  </a:lnTo>
                  <a:lnTo>
                    <a:pt x="11226640" y="710005"/>
                  </a:lnTo>
                  <a:lnTo>
                    <a:pt x="11236168" y="752892"/>
                  </a:lnTo>
                  <a:lnTo>
                    <a:pt x="11183752" y="833897"/>
                  </a:lnTo>
                  <a:lnTo>
                    <a:pt x="10988384" y="781482"/>
                  </a:lnTo>
                  <a:lnTo>
                    <a:pt x="10978852" y="748127"/>
                  </a:lnTo>
                  <a:lnTo>
                    <a:pt x="10978852" y="724301"/>
                  </a:lnTo>
                  <a:close/>
                  <a:moveTo>
                    <a:pt x="11898524" y="609937"/>
                  </a:moveTo>
                  <a:lnTo>
                    <a:pt x="11917584" y="633763"/>
                  </a:lnTo>
                  <a:lnTo>
                    <a:pt x="11927112" y="681415"/>
                  </a:lnTo>
                  <a:lnTo>
                    <a:pt x="11941408" y="700474"/>
                  </a:lnTo>
                  <a:lnTo>
                    <a:pt x="11960468" y="710005"/>
                  </a:lnTo>
                  <a:lnTo>
                    <a:pt x="12003356" y="795777"/>
                  </a:lnTo>
                  <a:lnTo>
                    <a:pt x="12012884" y="819602"/>
                  </a:lnTo>
                  <a:lnTo>
                    <a:pt x="12017652" y="867253"/>
                  </a:lnTo>
                  <a:lnTo>
                    <a:pt x="12041476" y="900610"/>
                  </a:lnTo>
                  <a:lnTo>
                    <a:pt x="12046240" y="938731"/>
                  </a:lnTo>
                  <a:lnTo>
                    <a:pt x="12151076" y="1053095"/>
                  </a:lnTo>
                  <a:lnTo>
                    <a:pt x="12198724" y="1067390"/>
                  </a:lnTo>
                  <a:lnTo>
                    <a:pt x="12217784" y="1095981"/>
                  </a:lnTo>
                  <a:lnTo>
                    <a:pt x="12222552" y="1129335"/>
                  </a:lnTo>
                  <a:lnTo>
                    <a:pt x="12222552" y="1191281"/>
                  </a:lnTo>
                  <a:lnTo>
                    <a:pt x="12203492" y="1191281"/>
                  </a:lnTo>
                  <a:lnTo>
                    <a:pt x="12189196" y="1210342"/>
                  </a:lnTo>
                  <a:lnTo>
                    <a:pt x="12122484" y="1234170"/>
                  </a:lnTo>
                  <a:lnTo>
                    <a:pt x="12103424" y="1272290"/>
                  </a:lnTo>
                  <a:lnTo>
                    <a:pt x="12089128" y="1348531"/>
                  </a:lnTo>
                  <a:lnTo>
                    <a:pt x="12098656" y="1362828"/>
                  </a:lnTo>
                  <a:lnTo>
                    <a:pt x="12103424" y="1386651"/>
                  </a:lnTo>
                  <a:lnTo>
                    <a:pt x="12127248" y="1510546"/>
                  </a:lnTo>
                  <a:lnTo>
                    <a:pt x="12132012" y="1529608"/>
                  </a:lnTo>
                  <a:lnTo>
                    <a:pt x="12151076" y="1548669"/>
                  </a:lnTo>
                  <a:lnTo>
                    <a:pt x="12132012" y="1596319"/>
                  </a:lnTo>
                  <a:lnTo>
                    <a:pt x="12112952" y="1624909"/>
                  </a:lnTo>
                  <a:lnTo>
                    <a:pt x="11908052" y="1682091"/>
                  </a:lnTo>
                  <a:lnTo>
                    <a:pt x="11769864" y="1705918"/>
                  </a:lnTo>
                  <a:lnTo>
                    <a:pt x="11722212" y="1734510"/>
                  </a:lnTo>
                  <a:lnTo>
                    <a:pt x="11707916" y="1729742"/>
                  </a:lnTo>
                  <a:lnTo>
                    <a:pt x="11669796" y="1772628"/>
                  </a:lnTo>
                  <a:lnTo>
                    <a:pt x="11598320" y="1834573"/>
                  </a:lnTo>
                  <a:lnTo>
                    <a:pt x="11564964" y="1834573"/>
                  </a:lnTo>
                  <a:lnTo>
                    <a:pt x="11460132" y="1753569"/>
                  </a:lnTo>
                  <a:lnTo>
                    <a:pt x="11336236" y="1682091"/>
                  </a:lnTo>
                  <a:lnTo>
                    <a:pt x="11321944" y="1639205"/>
                  </a:lnTo>
                  <a:lnTo>
                    <a:pt x="11288588" y="1615379"/>
                  </a:lnTo>
                  <a:lnTo>
                    <a:pt x="11250464" y="1596319"/>
                  </a:lnTo>
                  <a:lnTo>
                    <a:pt x="11231404" y="1515310"/>
                  </a:lnTo>
                  <a:lnTo>
                    <a:pt x="11255232" y="1458130"/>
                  </a:lnTo>
                  <a:lnTo>
                    <a:pt x="11288588" y="1405714"/>
                  </a:lnTo>
                  <a:lnTo>
                    <a:pt x="11345768" y="1381889"/>
                  </a:lnTo>
                  <a:lnTo>
                    <a:pt x="11398184" y="1348531"/>
                  </a:lnTo>
                  <a:lnTo>
                    <a:pt x="11436304" y="1267525"/>
                  </a:lnTo>
                  <a:lnTo>
                    <a:pt x="11460132" y="1186517"/>
                  </a:lnTo>
                  <a:lnTo>
                    <a:pt x="11503016" y="1100744"/>
                  </a:lnTo>
                  <a:lnTo>
                    <a:pt x="11426776" y="1124571"/>
                  </a:lnTo>
                  <a:lnTo>
                    <a:pt x="11398184" y="1110274"/>
                  </a:lnTo>
                  <a:lnTo>
                    <a:pt x="11402948" y="1081683"/>
                  </a:lnTo>
                  <a:lnTo>
                    <a:pt x="11417244" y="1024504"/>
                  </a:lnTo>
                  <a:lnTo>
                    <a:pt x="11426776" y="1000679"/>
                  </a:lnTo>
                  <a:lnTo>
                    <a:pt x="11450600" y="967321"/>
                  </a:lnTo>
                  <a:lnTo>
                    <a:pt x="11474428" y="905375"/>
                  </a:lnTo>
                  <a:lnTo>
                    <a:pt x="11517312" y="862488"/>
                  </a:lnTo>
                  <a:lnTo>
                    <a:pt x="11541140" y="857722"/>
                  </a:lnTo>
                  <a:lnTo>
                    <a:pt x="11560200" y="857722"/>
                  </a:lnTo>
                  <a:lnTo>
                    <a:pt x="11603084" y="838662"/>
                  </a:lnTo>
                  <a:lnTo>
                    <a:pt x="11641204" y="805308"/>
                  </a:lnTo>
                  <a:lnTo>
                    <a:pt x="11679328" y="786247"/>
                  </a:lnTo>
                  <a:lnTo>
                    <a:pt x="11712684" y="781482"/>
                  </a:lnTo>
                  <a:lnTo>
                    <a:pt x="11750804" y="757656"/>
                  </a:lnTo>
                  <a:lnTo>
                    <a:pt x="11784160" y="705240"/>
                  </a:lnTo>
                  <a:lnTo>
                    <a:pt x="11798456" y="619468"/>
                  </a:lnTo>
                  <a:close/>
                  <a:moveTo>
                    <a:pt x="6161308" y="490809"/>
                  </a:moveTo>
                  <a:lnTo>
                    <a:pt x="6194664" y="524165"/>
                  </a:lnTo>
                  <a:lnTo>
                    <a:pt x="6208960" y="567051"/>
                  </a:lnTo>
                  <a:lnTo>
                    <a:pt x="6199432" y="586112"/>
                  </a:lnTo>
                  <a:lnTo>
                    <a:pt x="6166076" y="600407"/>
                  </a:lnTo>
                  <a:lnTo>
                    <a:pt x="6108892" y="576582"/>
                  </a:lnTo>
                  <a:lnTo>
                    <a:pt x="6089832" y="552757"/>
                  </a:lnTo>
                  <a:lnTo>
                    <a:pt x="6094600" y="528930"/>
                  </a:lnTo>
                  <a:lnTo>
                    <a:pt x="6132720" y="495575"/>
                  </a:lnTo>
                  <a:close/>
                  <a:moveTo>
                    <a:pt x="5951644" y="314499"/>
                  </a:moveTo>
                  <a:lnTo>
                    <a:pt x="5965940" y="333559"/>
                  </a:lnTo>
                  <a:lnTo>
                    <a:pt x="5975472" y="376446"/>
                  </a:lnTo>
                  <a:lnTo>
                    <a:pt x="5999296" y="400271"/>
                  </a:lnTo>
                  <a:lnTo>
                    <a:pt x="6066008" y="419332"/>
                  </a:lnTo>
                  <a:lnTo>
                    <a:pt x="6085068" y="466983"/>
                  </a:lnTo>
                  <a:lnTo>
                    <a:pt x="6051712" y="500339"/>
                  </a:lnTo>
                  <a:lnTo>
                    <a:pt x="5975472" y="519400"/>
                  </a:lnTo>
                  <a:lnTo>
                    <a:pt x="5980236" y="586112"/>
                  </a:lnTo>
                  <a:lnTo>
                    <a:pt x="5999296" y="638528"/>
                  </a:lnTo>
                  <a:lnTo>
                    <a:pt x="5980236" y="695710"/>
                  </a:lnTo>
                  <a:lnTo>
                    <a:pt x="5961176" y="724300"/>
                  </a:lnTo>
                  <a:lnTo>
                    <a:pt x="5908760" y="757656"/>
                  </a:lnTo>
                  <a:lnTo>
                    <a:pt x="5865872" y="714770"/>
                  </a:lnTo>
                  <a:lnTo>
                    <a:pt x="5813456" y="652823"/>
                  </a:lnTo>
                  <a:lnTo>
                    <a:pt x="5789632" y="695710"/>
                  </a:lnTo>
                  <a:lnTo>
                    <a:pt x="5761040" y="719536"/>
                  </a:lnTo>
                  <a:lnTo>
                    <a:pt x="5741980" y="714770"/>
                  </a:lnTo>
                  <a:lnTo>
                    <a:pt x="5713388" y="667118"/>
                  </a:lnTo>
                  <a:lnTo>
                    <a:pt x="5637148" y="705240"/>
                  </a:lnTo>
                  <a:lnTo>
                    <a:pt x="5618084" y="667118"/>
                  </a:lnTo>
                  <a:lnTo>
                    <a:pt x="5599024" y="581347"/>
                  </a:lnTo>
                  <a:lnTo>
                    <a:pt x="5646676" y="562286"/>
                  </a:lnTo>
                  <a:lnTo>
                    <a:pt x="5708624" y="586112"/>
                  </a:lnTo>
                  <a:lnTo>
                    <a:pt x="5746744" y="500339"/>
                  </a:lnTo>
                  <a:lnTo>
                    <a:pt x="5794396" y="462219"/>
                  </a:lnTo>
                  <a:lnTo>
                    <a:pt x="5837280" y="371681"/>
                  </a:lnTo>
                  <a:lnTo>
                    <a:pt x="5851576" y="338325"/>
                  </a:lnTo>
                  <a:lnTo>
                    <a:pt x="5894464" y="343089"/>
                  </a:lnTo>
                  <a:lnTo>
                    <a:pt x="5908760" y="338325"/>
                  </a:lnTo>
                  <a:close/>
                  <a:moveTo>
                    <a:pt x="6742656" y="147719"/>
                  </a:moveTo>
                  <a:lnTo>
                    <a:pt x="6885608" y="181076"/>
                  </a:lnTo>
                  <a:lnTo>
                    <a:pt x="6895140" y="209667"/>
                  </a:lnTo>
                  <a:lnTo>
                    <a:pt x="6899904" y="223962"/>
                  </a:lnTo>
                  <a:lnTo>
                    <a:pt x="6876080" y="266848"/>
                  </a:lnTo>
                  <a:lnTo>
                    <a:pt x="6857016" y="281144"/>
                  </a:lnTo>
                  <a:lnTo>
                    <a:pt x="6756952" y="266848"/>
                  </a:lnTo>
                  <a:lnTo>
                    <a:pt x="6709300" y="238258"/>
                  </a:lnTo>
                  <a:lnTo>
                    <a:pt x="6704532" y="223962"/>
                  </a:lnTo>
                  <a:lnTo>
                    <a:pt x="6699768" y="214432"/>
                  </a:lnTo>
                  <a:lnTo>
                    <a:pt x="6637824" y="190606"/>
                  </a:lnTo>
                  <a:lnTo>
                    <a:pt x="6666412" y="162016"/>
                  </a:lnTo>
                  <a:close/>
                  <a:moveTo>
                    <a:pt x="6194664" y="0"/>
                  </a:moveTo>
                  <a:lnTo>
                    <a:pt x="6213728" y="33356"/>
                  </a:lnTo>
                  <a:lnTo>
                    <a:pt x="6208960" y="81008"/>
                  </a:lnTo>
                  <a:lnTo>
                    <a:pt x="6208960" y="104834"/>
                  </a:lnTo>
                  <a:lnTo>
                    <a:pt x="6042180" y="152486"/>
                  </a:lnTo>
                  <a:lnTo>
                    <a:pt x="5989764" y="171546"/>
                  </a:lnTo>
                  <a:lnTo>
                    <a:pt x="5985000" y="157250"/>
                  </a:lnTo>
                  <a:lnTo>
                    <a:pt x="5980236" y="142955"/>
                  </a:lnTo>
                  <a:lnTo>
                    <a:pt x="5985000" y="114364"/>
                  </a:lnTo>
                  <a:lnTo>
                    <a:pt x="5994532" y="61948"/>
                  </a:lnTo>
                  <a:lnTo>
                    <a:pt x="6018356" y="28592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" name="Freeform 3727">
              <a:extLst>
                <a:ext uri="{FF2B5EF4-FFF2-40B4-BE49-F238E27FC236}">
                  <a16:creationId xmlns:a16="http://schemas.microsoft.com/office/drawing/2014/main" id="{E9343BDB-08CB-4110-A9DC-60B2C7014B81}"/>
                </a:ext>
              </a:extLst>
            </p:cNvPr>
            <p:cNvSpPr/>
            <p:nvPr/>
          </p:nvSpPr>
          <p:spPr bwMode="auto">
            <a:xfrm>
              <a:off x="3527749" y="5087956"/>
              <a:ext cx="4625" cy="5396"/>
            </a:xfrm>
            <a:custGeom>
              <a:avLst/>
              <a:gdLst>
                <a:gd name="T0" fmla="*/ 12 w 12"/>
                <a:gd name="T1" fmla="*/ 12 h 14"/>
                <a:gd name="T2" fmla="*/ 10 w 12"/>
                <a:gd name="T3" fmla="*/ 10 h 14"/>
                <a:gd name="T4" fmla="*/ 6 w 12"/>
                <a:gd name="T5" fmla="*/ 4 h 14"/>
                <a:gd name="T6" fmla="*/ 2 w 12"/>
                <a:gd name="T7" fmla="*/ 0 h 14"/>
                <a:gd name="T8" fmla="*/ 2 w 12"/>
                <a:gd name="T9" fmla="*/ 2 h 14"/>
                <a:gd name="T10" fmla="*/ 0 w 12"/>
                <a:gd name="T11" fmla="*/ 6 h 14"/>
                <a:gd name="T12" fmla="*/ 4 w 12"/>
                <a:gd name="T13" fmla="*/ 8 h 14"/>
                <a:gd name="T14" fmla="*/ 8 w 12"/>
                <a:gd name="T15" fmla="*/ 12 h 14"/>
                <a:gd name="T16" fmla="*/ 12 w 12"/>
                <a:gd name="T17" fmla="*/ 14 h 14"/>
                <a:gd name="T18" fmla="*/ 12 w 12"/>
                <a:gd name="T19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4">
                  <a:moveTo>
                    <a:pt x="12" y="12"/>
                  </a:moveTo>
                  <a:lnTo>
                    <a:pt x="10" y="10"/>
                  </a:lnTo>
                  <a:lnTo>
                    <a:pt x="6" y="4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4" y="8"/>
                  </a:lnTo>
                  <a:lnTo>
                    <a:pt x="8" y="12"/>
                  </a:lnTo>
                  <a:lnTo>
                    <a:pt x="12" y="14"/>
                  </a:lnTo>
                  <a:lnTo>
                    <a:pt x="12" y="1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6" name="Line 3728">
              <a:extLst>
                <a:ext uri="{FF2B5EF4-FFF2-40B4-BE49-F238E27FC236}">
                  <a16:creationId xmlns:a16="http://schemas.microsoft.com/office/drawing/2014/main" id="{5CDD0054-7869-452B-B347-B5090C42BCB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32375" y="5092581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7" name="Line 3730">
              <a:extLst>
                <a:ext uri="{FF2B5EF4-FFF2-40B4-BE49-F238E27FC236}">
                  <a16:creationId xmlns:a16="http://schemas.microsoft.com/office/drawing/2014/main" id="{48C5616D-7F42-4778-AD59-A45B193D539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32375" y="5092581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8" name="Freeform 3731">
              <a:extLst>
                <a:ext uri="{FF2B5EF4-FFF2-40B4-BE49-F238E27FC236}">
                  <a16:creationId xmlns:a16="http://schemas.microsoft.com/office/drawing/2014/main" id="{E91DEBD8-9318-4020-9195-2E9B0D07129C}"/>
                </a:ext>
              </a:extLst>
            </p:cNvPr>
            <p:cNvSpPr/>
            <p:nvPr/>
          </p:nvSpPr>
          <p:spPr bwMode="auto">
            <a:xfrm>
              <a:off x="6827102" y="4355623"/>
              <a:ext cx="363854" cy="276745"/>
            </a:xfrm>
            <a:custGeom>
              <a:avLst/>
              <a:gdLst>
                <a:gd name="T0" fmla="*/ 914 w 944"/>
                <a:gd name="T1" fmla="*/ 88 h 718"/>
                <a:gd name="T2" fmla="*/ 868 w 944"/>
                <a:gd name="T3" fmla="*/ 102 h 718"/>
                <a:gd name="T4" fmla="*/ 862 w 944"/>
                <a:gd name="T5" fmla="*/ 84 h 718"/>
                <a:gd name="T6" fmla="*/ 798 w 944"/>
                <a:gd name="T7" fmla="*/ 118 h 718"/>
                <a:gd name="T8" fmla="*/ 728 w 944"/>
                <a:gd name="T9" fmla="*/ 142 h 718"/>
                <a:gd name="T10" fmla="*/ 724 w 944"/>
                <a:gd name="T11" fmla="*/ 54 h 718"/>
                <a:gd name="T12" fmla="*/ 706 w 944"/>
                <a:gd name="T13" fmla="*/ 44 h 718"/>
                <a:gd name="T14" fmla="*/ 664 w 944"/>
                <a:gd name="T15" fmla="*/ 10 h 718"/>
                <a:gd name="T16" fmla="*/ 640 w 944"/>
                <a:gd name="T17" fmla="*/ 58 h 718"/>
                <a:gd name="T18" fmla="*/ 612 w 944"/>
                <a:gd name="T19" fmla="*/ 70 h 718"/>
                <a:gd name="T20" fmla="*/ 580 w 944"/>
                <a:gd name="T21" fmla="*/ 108 h 718"/>
                <a:gd name="T22" fmla="*/ 550 w 944"/>
                <a:gd name="T23" fmla="*/ 94 h 718"/>
                <a:gd name="T24" fmla="*/ 534 w 944"/>
                <a:gd name="T25" fmla="*/ 102 h 718"/>
                <a:gd name="T26" fmla="*/ 496 w 944"/>
                <a:gd name="T27" fmla="*/ 124 h 718"/>
                <a:gd name="T28" fmla="*/ 466 w 944"/>
                <a:gd name="T29" fmla="*/ 102 h 718"/>
                <a:gd name="T30" fmla="*/ 416 w 944"/>
                <a:gd name="T31" fmla="*/ 90 h 718"/>
                <a:gd name="T32" fmla="*/ 344 w 944"/>
                <a:gd name="T33" fmla="*/ 74 h 718"/>
                <a:gd name="T34" fmla="*/ 292 w 944"/>
                <a:gd name="T35" fmla="*/ 104 h 718"/>
                <a:gd name="T36" fmla="*/ 264 w 944"/>
                <a:gd name="T37" fmla="*/ 174 h 718"/>
                <a:gd name="T38" fmla="*/ 226 w 944"/>
                <a:gd name="T39" fmla="*/ 200 h 718"/>
                <a:gd name="T40" fmla="*/ 172 w 944"/>
                <a:gd name="T41" fmla="*/ 216 h 718"/>
                <a:gd name="T42" fmla="*/ 162 w 944"/>
                <a:gd name="T43" fmla="*/ 250 h 718"/>
                <a:gd name="T44" fmla="*/ 124 w 944"/>
                <a:gd name="T45" fmla="*/ 264 h 718"/>
                <a:gd name="T46" fmla="*/ 94 w 944"/>
                <a:gd name="T47" fmla="*/ 246 h 718"/>
                <a:gd name="T48" fmla="*/ 56 w 944"/>
                <a:gd name="T49" fmla="*/ 232 h 718"/>
                <a:gd name="T50" fmla="*/ 46 w 944"/>
                <a:gd name="T51" fmla="*/ 258 h 718"/>
                <a:gd name="T52" fmla="*/ 40 w 944"/>
                <a:gd name="T53" fmla="*/ 282 h 718"/>
                <a:gd name="T54" fmla="*/ 28 w 944"/>
                <a:gd name="T55" fmla="*/ 312 h 718"/>
                <a:gd name="T56" fmla="*/ 20 w 944"/>
                <a:gd name="T57" fmla="*/ 328 h 718"/>
                <a:gd name="T58" fmla="*/ 0 w 944"/>
                <a:gd name="T59" fmla="*/ 390 h 718"/>
                <a:gd name="T60" fmla="*/ 18 w 944"/>
                <a:gd name="T61" fmla="*/ 412 h 718"/>
                <a:gd name="T62" fmla="*/ 22 w 944"/>
                <a:gd name="T63" fmla="*/ 498 h 718"/>
                <a:gd name="T64" fmla="*/ 24 w 944"/>
                <a:gd name="T65" fmla="*/ 558 h 718"/>
                <a:gd name="T66" fmla="*/ 84 w 944"/>
                <a:gd name="T67" fmla="*/ 608 h 718"/>
                <a:gd name="T68" fmla="*/ 98 w 944"/>
                <a:gd name="T69" fmla="*/ 706 h 718"/>
                <a:gd name="T70" fmla="*/ 240 w 944"/>
                <a:gd name="T71" fmla="*/ 712 h 718"/>
                <a:gd name="T72" fmla="*/ 302 w 944"/>
                <a:gd name="T73" fmla="*/ 704 h 718"/>
                <a:gd name="T74" fmla="*/ 380 w 944"/>
                <a:gd name="T75" fmla="*/ 678 h 718"/>
                <a:gd name="T76" fmla="*/ 380 w 944"/>
                <a:gd name="T77" fmla="*/ 626 h 718"/>
                <a:gd name="T78" fmla="*/ 408 w 944"/>
                <a:gd name="T79" fmla="*/ 580 h 718"/>
                <a:gd name="T80" fmla="*/ 466 w 944"/>
                <a:gd name="T81" fmla="*/ 574 h 718"/>
                <a:gd name="T82" fmla="*/ 468 w 944"/>
                <a:gd name="T83" fmla="*/ 554 h 718"/>
                <a:gd name="T84" fmla="*/ 520 w 944"/>
                <a:gd name="T85" fmla="*/ 538 h 718"/>
                <a:gd name="T86" fmla="*/ 556 w 944"/>
                <a:gd name="T87" fmla="*/ 544 h 718"/>
                <a:gd name="T88" fmla="*/ 582 w 944"/>
                <a:gd name="T89" fmla="*/ 472 h 718"/>
                <a:gd name="T90" fmla="*/ 618 w 944"/>
                <a:gd name="T91" fmla="*/ 432 h 718"/>
                <a:gd name="T92" fmla="*/ 614 w 944"/>
                <a:gd name="T93" fmla="*/ 370 h 718"/>
                <a:gd name="T94" fmla="*/ 678 w 944"/>
                <a:gd name="T95" fmla="*/ 364 h 718"/>
                <a:gd name="T96" fmla="*/ 688 w 944"/>
                <a:gd name="T97" fmla="*/ 324 h 718"/>
                <a:gd name="T98" fmla="*/ 712 w 944"/>
                <a:gd name="T99" fmla="*/ 290 h 718"/>
                <a:gd name="T100" fmla="*/ 726 w 944"/>
                <a:gd name="T101" fmla="*/ 262 h 718"/>
                <a:gd name="T102" fmla="*/ 722 w 944"/>
                <a:gd name="T103" fmla="*/ 234 h 718"/>
                <a:gd name="T104" fmla="*/ 704 w 944"/>
                <a:gd name="T105" fmla="*/ 192 h 718"/>
                <a:gd name="T106" fmla="*/ 742 w 944"/>
                <a:gd name="T107" fmla="*/ 162 h 718"/>
                <a:gd name="T108" fmla="*/ 790 w 944"/>
                <a:gd name="T109" fmla="*/ 136 h 718"/>
                <a:gd name="T110" fmla="*/ 870 w 944"/>
                <a:gd name="T111" fmla="*/ 130 h 718"/>
                <a:gd name="T112" fmla="*/ 920 w 944"/>
                <a:gd name="T113" fmla="*/ 118 h 718"/>
                <a:gd name="T114" fmla="*/ 934 w 944"/>
                <a:gd name="T115" fmla="*/ 96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44" h="718">
                  <a:moveTo>
                    <a:pt x="944" y="102"/>
                  </a:moveTo>
                  <a:lnTo>
                    <a:pt x="942" y="100"/>
                  </a:lnTo>
                  <a:lnTo>
                    <a:pt x="940" y="96"/>
                  </a:lnTo>
                  <a:lnTo>
                    <a:pt x="934" y="92"/>
                  </a:lnTo>
                  <a:lnTo>
                    <a:pt x="928" y="88"/>
                  </a:lnTo>
                  <a:lnTo>
                    <a:pt x="920" y="88"/>
                  </a:lnTo>
                  <a:lnTo>
                    <a:pt x="914" y="88"/>
                  </a:lnTo>
                  <a:lnTo>
                    <a:pt x="908" y="86"/>
                  </a:lnTo>
                  <a:lnTo>
                    <a:pt x="902" y="86"/>
                  </a:lnTo>
                  <a:lnTo>
                    <a:pt x="898" y="90"/>
                  </a:lnTo>
                  <a:lnTo>
                    <a:pt x="896" y="94"/>
                  </a:lnTo>
                  <a:lnTo>
                    <a:pt x="890" y="94"/>
                  </a:lnTo>
                  <a:lnTo>
                    <a:pt x="882" y="96"/>
                  </a:lnTo>
                  <a:lnTo>
                    <a:pt x="868" y="102"/>
                  </a:lnTo>
                  <a:lnTo>
                    <a:pt x="862" y="100"/>
                  </a:lnTo>
                  <a:lnTo>
                    <a:pt x="860" y="98"/>
                  </a:lnTo>
                  <a:lnTo>
                    <a:pt x="862" y="96"/>
                  </a:lnTo>
                  <a:lnTo>
                    <a:pt x="866" y="94"/>
                  </a:lnTo>
                  <a:lnTo>
                    <a:pt x="868" y="90"/>
                  </a:lnTo>
                  <a:lnTo>
                    <a:pt x="868" y="86"/>
                  </a:lnTo>
                  <a:lnTo>
                    <a:pt x="862" y="84"/>
                  </a:lnTo>
                  <a:lnTo>
                    <a:pt x="860" y="84"/>
                  </a:lnTo>
                  <a:lnTo>
                    <a:pt x="852" y="82"/>
                  </a:lnTo>
                  <a:lnTo>
                    <a:pt x="844" y="82"/>
                  </a:lnTo>
                  <a:lnTo>
                    <a:pt x="834" y="86"/>
                  </a:lnTo>
                  <a:lnTo>
                    <a:pt x="812" y="98"/>
                  </a:lnTo>
                  <a:lnTo>
                    <a:pt x="804" y="106"/>
                  </a:lnTo>
                  <a:lnTo>
                    <a:pt x="798" y="118"/>
                  </a:lnTo>
                  <a:lnTo>
                    <a:pt x="778" y="122"/>
                  </a:lnTo>
                  <a:lnTo>
                    <a:pt x="764" y="128"/>
                  </a:lnTo>
                  <a:lnTo>
                    <a:pt x="750" y="140"/>
                  </a:lnTo>
                  <a:lnTo>
                    <a:pt x="742" y="146"/>
                  </a:lnTo>
                  <a:lnTo>
                    <a:pt x="736" y="146"/>
                  </a:lnTo>
                  <a:lnTo>
                    <a:pt x="732" y="146"/>
                  </a:lnTo>
                  <a:lnTo>
                    <a:pt x="728" y="142"/>
                  </a:lnTo>
                  <a:lnTo>
                    <a:pt x="724" y="134"/>
                  </a:lnTo>
                  <a:lnTo>
                    <a:pt x="720" y="120"/>
                  </a:lnTo>
                  <a:lnTo>
                    <a:pt x="716" y="110"/>
                  </a:lnTo>
                  <a:lnTo>
                    <a:pt x="718" y="98"/>
                  </a:lnTo>
                  <a:lnTo>
                    <a:pt x="720" y="84"/>
                  </a:lnTo>
                  <a:lnTo>
                    <a:pt x="722" y="70"/>
                  </a:lnTo>
                  <a:lnTo>
                    <a:pt x="724" y="54"/>
                  </a:lnTo>
                  <a:lnTo>
                    <a:pt x="726" y="50"/>
                  </a:lnTo>
                  <a:lnTo>
                    <a:pt x="726" y="46"/>
                  </a:lnTo>
                  <a:lnTo>
                    <a:pt x="724" y="44"/>
                  </a:lnTo>
                  <a:lnTo>
                    <a:pt x="720" y="44"/>
                  </a:lnTo>
                  <a:lnTo>
                    <a:pt x="714" y="46"/>
                  </a:lnTo>
                  <a:lnTo>
                    <a:pt x="710" y="46"/>
                  </a:lnTo>
                  <a:lnTo>
                    <a:pt x="706" y="44"/>
                  </a:lnTo>
                  <a:lnTo>
                    <a:pt x="708" y="36"/>
                  </a:lnTo>
                  <a:lnTo>
                    <a:pt x="710" y="24"/>
                  </a:lnTo>
                  <a:lnTo>
                    <a:pt x="706" y="12"/>
                  </a:lnTo>
                  <a:lnTo>
                    <a:pt x="692" y="2"/>
                  </a:lnTo>
                  <a:lnTo>
                    <a:pt x="680" y="0"/>
                  </a:lnTo>
                  <a:lnTo>
                    <a:pt x="672" y="2"/>
                  </a:lnTo>
                  <a:lnTo>
                    <a:pt x="664" y="10"/>
                  </a:lnTo>
                  <a:lnTo>
                    <a:pt x="658" y="22"/>
                  </a:lnTo>
                  <a:lnTo>
                    <a:pt x="650" y="32"/>
                  </a:lnTo>
                  <a:lnTo>
                    <a:pt x="644" y="38"/>
                  </a:lnTo>
                  <a:lnTo>
                    <a:pt x="638" y="42"/>
                  </a:lnTo>
                  <a:lnTo>
                    <a:pt x="638" y="44"/>
                  </a:lnTo>
                  <a:lnTo>
                    <a:pt x="636" y="48"/>
                  </a:lnTo>
                  <a:lnTo>
                    <a:pt x="640" y="58"/>
                  </a:lnTo>
                  <a:lnTo>
                    <a:pt x="640" y="66"/>
                  </a:lnTo>
                  <a:lnTo>
                    <a:pt x="636" y="72"/>
                  </a:lnTo>
                  <a:lnTo>
                    <a:pt x="630" y="76"/>
                  </a:lnTo>
                  <a:lnTo>
                    <a:pt x="626" y="76"/>
                  </a:lnTo>
                  <a:lnTo>
                    <a:pt x="622" y="74"/>
                  </a:lnTo>
                  <a:lnTo>
                    <a:pt x="620" y="70"/>
                  </a:lnTo>
                  <a:lnTo>
                    <a:pt x="612" y="70"/>
                  </a:lnTo>
                  <a:lnTo>
                    <a:pt x="598" y="72"/>
                  </a:lnTo>
                  <a:lnTo>
                    <a:pt x="590" y="74"/>
                  </a:lnTo>
                  <a:lnTo>
                    <a:pt x="586" y="80"/>
                  </a:lnTo>
                  <a:lnTo>
                    <a:pt x="584" y="88"/>
                  </a:lnTo>
                  <a:lnTo>
                    <a:pt x="586" y="96"/>
                  </a:lnTo>
                  <a:lnTo>
                    <a:pt x="584" y="104"/>
                  </a:lnTo>
                  <a:lnTo>
                    <a:pt x="580" y="108"/>
                  </a:lnTo>
                  <a:lnTo>
                    <a:pt x="578" y="110"/>
                  </a:lnTo>
                  <a:lnTo>
                    <a:pt x="574" y="112"/>
                  </a:lnTo>
                  <a:lnTo>
                    <a:pt x="570" y="108"/>
                  </a:lnTo>
                  <a:lnTo>
                    <a:pt x="560" y="98"/>
                  </a:lnTo>
                  <a:lnTo>
                    <a:pt x="554" y="94"/>
                  </a:lnTo>
                  <a:lnTo>
                    <a:pt x="552" y="92"/>
                  </a:lnTo>
                  <a:lnTo>
                    <a:pt x="550" y="94"/>
                  </a:lnTo>
                  <a:lnTo>
                    <a:pt x="548" y="94"/>
                  </a:lnTo>
                  <a:lnTo>
                    <a:pt x="548" y="96"/>
                  </a:lnTo>
                  <a:lnTo>
                    <a:pt x="546" y="98"/>
                  </a:lnTo>
                  <a:lnTo>
                    <a:pt x="544" y="100"/>
                  </a:lnTo>
                  <a:lnTo>
                    <a:pt x="540" y="98"/>
                  </a:lnTo>
                  <a:lnTo>
                    <a:pt x="536" y="100"/>
                  </a:lnTo>
                  <a:lnTo>
                    <a:pt x="534" y="102"/>
                  </a:lnTo>
                  <a:lnTo>
                    <a:pt x="528" y="106"/>
                  </a:lnTo>
                  <a:lnTo>
                    <a:pt x="518" y="110"/>
                  </a:lnTo>
                  <a:lnTo>
                    <a:pt x="512" y="112"/>
                  </a:lnTo>
                  <a:lnTo>
                    <a:pt x="510" y="118"/>
                  </a:lnTo>
                  <a:lnTo>
                    <a:pt x="510" y="120"/>
                  </a:lnTo>
                  <a:lnTo>
                    <a:pt x="506" y="118"/>
                  </a:lnTo>
                  <a:lnTo>
                    <a:pt x="496" y="124"/>
                  </a:lnTo>
                  <a:lnTo>
                    <a:pt x="490" y="122"/>
                  </a:lnTo>
                  <a:lnTo>
                    <a:pt x="482" y="116"/>
                  </a:lnTo>
                  <a:lnTo>
                    <a:pt x="476" y="108"/>
                  </a:lnTo>
                  <a:lnTo>
                    <a:pt x="476" y="106"/>
                  </a:lnTo>
                  <a:lnTo>
                    <a:pt x="476" y="104"/>
                  </a:lnTo>
                  <a:lnTo>
                    <a:pt x="472" y="102"/>
                  </a:lnTo>
                  <a:lnTo>
                    <a:pt x="466" y="102"/>
                  </a:lnTo>
                  <a:lnTo>
                    <a:pt x="462" y="100"/>
                  </a:lnTo>
                  <a:lnTo>
                    <a:pt x="460" y="98"/>
                  </a:lnTo>
                  <a:lnTo>
                    <a:pt x="456" y="100"/>
                  </a:lnTo>
                  <a:lnTo>
                    <a:pt x="448" y="104"/>
                  </a:lnTo>
                  <a:lnTo>
                    <a:pt x="440" y="100"/>
                  </a:lnTo>
                  <a:lnTo>
                    <a:pt x="432" y="92"/>
                  </a:lnTo>
                  <a:lnTo>
                    <a:pt x="416" y="90"/>
                  </a:lnTo>
                  <a:lnTo>
                    <a:pt x="396" y="92"/>
                  </a:lnTo>
                  <a:lnTo>
                    <a:pt x="392" y="92"/>
                  </a:lnTo>
                  <a:lnTo>
                    <a:pt x="384" y="90"/>
                  </a:lnTo>
                  <a:lnTo>
                    <a:pt x="368" y="86"/>
                  </a:lnTo>
                  <a:lnTo>
                    <a:pt x="354" y="78"/>
                  </a:lnTo>
                  <a:lnTo>
                    <a:pt x="346" y="74"/>
                  </a:lnTo>
                  <a:lnTo>
                    <a:pt x="344" y="74"/>
                  </a:lnTo>
                  <a:lnTo>
                    <a:pt x="340" y="78"/>
                  </a:lnTo>
                  <a:lnTo>
                    <a:pt x="338" y="82"/>
                  </a:lnTo>
                  <a:lnTo>
                    <a:pt x="336" y="90"/>
                  </a:lnTo>
                  <a:lnTo>
                    <a:pt x="332" y="100"/>
                  </a:lnTo>
                  <a:lnTo>
                    <a:pt x="316" y="100"/>
                  </a:lnTo>
                  <a:lnTo>
                    <a:pt x="302" y="100"/>
                  </a:lnTo>
                  <a:lnTo>
                    <a:pt x="292" y="104"/>
                  </a:lnTo>
                  <a:lnTo>
                    <a:pt x="284" y="110"/>
                  </a:lnTo>
                  <a:lnTo>
                    <a:pt x="280" y="116"/>
                  </a:lnTo>
                  <a:lnTo>
                    <a:pt x="280" y="124"/>
                  </a:lnTo>
                  <a:lnTo>
                    <a:pt x="274" y="140"/>
                  </a:lnTo>
                  <a:lnTo>
                    <a:pt x="270" y="156"/>
                  </a:lnTo>
                  <a:lnTo>
                    <a:pt x="266" y="168"/>
                  </a:lnTo>
                  <a:lnTo>
                    <a:pt x="264" y="174"/>
                  </a:lnTo>
                  <a:lnTo>
                    <a:pt x="254" y="184"/>
                  </a:lnTo>
                  <a:lnTo>
                    <a:pt x="242" y="190"/>
                  </a:lnTo>
                  <a:lnTo>
                    <a:pt x="236" y="192"/>
                  </a:lnTo>
                  <a:lnTo>
                    <a:pt x="234" y="196"/>
                  </a:lnTo>
                  <a:lnTo>
                    <a:pt x="232" y="200"/>
                  </a:lnTo>
                  <a:lnTo>
                    <a:pt x="230" y="200"/>
                  </a:lnTo>
                  <a:lnTo>
                    <a:pt x="226" y="200"/>
                  </a:lnTo>
                  <a:lnTo>
                    <a:pt x="220" y="200"/>
                  </a:lnTo>
                  <a:lnTo>
                    <a:pt x="210" y="204"/>
                  </a:lnTo>
                  <a:lnTo>
                    <a:pt x="198" y="208"/>
                  </a:lnTo>
                  <a:lnTo>
                    <a:pt x="184" y="214"/>
                  </a:lnTo>
                  <a:lnTo>
                    <a:pt x="176" y="214"/>
                  </a:lnTo>
                  <a:lnTo>
                    <a:pt x="172" y="214"/>
                  </a:lnTo>
                  <a:lnTo>
                    <a:pt x="172" y="216"/>
                  </a:lnTo>
                  <a:lnTo>
                    <a:pt x="172" y="220"/>
                  </a:lnTo>
                  <a:lnTo>
                    <a:pt x="174" y="224"/>
                  </a:lnTo>
                  <a:lnTo>
                    <a:pt x="176" y="228"/>
                  </a:lnTo>
                  <a:lnTo>
                    <a:pt x="172" y="232"/>
                  </a:lnTo>
                  <a:lnTo>
                    <a:pt x="170" y="236"/>
                  </a:lnTo>
                  <a:lnTo>
                    <a:pt x="168" y="246"/>
                  </a:lnTo>
                  <a:lnTo>
                    <a:pt x="162" y="250"/>
                  </a:lnTo>
                  <a:lnTo>
                    <a:pt x="154" y="254"/>
                  </a:lnTo>
                  <a:lnTo>
                    <a:pt x="146" y="260"/>
                  </a:lnTo>
                  <a:lnTo>
                    <a:pt x="144" y="262"/>
                  </a:lnTo>
                  <a:lnTo>
                    <a:pt x="138" y="264"/>
                  </a:lnTo>
                  <a:lnTo>
                    <a:pt x="134" y="264"/>
                  </a:lnTo>
                  <a:lnTo>
                    <a:pt x="130" y="262"/>
                  </a:lnTo>
                  <a:lnTo>
                    <a:pt x="124" y="264"/>
                  </a:lnTo>
                  <a:lnTo>
                    <a:pt x="118" y="268"/>
                  </a:lnTo>
                  <a:lnTo>
                    <a:pt x="116" y="268"/>
                  </a:lnTo>
                  <a:lnTo>
                    <a:pt x="116" y="262"/>
                  </a:lnTo>
                  <a:lnTo>
                    <a:pt x="112" y="260"/>
                  </a:lnTo>
                  <a:lnTo>
                    <a:pt x="104" y="252"/>
                  </a:lnTo>
                  <a:lnTo>
                    <a:pt x="98" y="246"/>
                  </a:lnTo>
                  <a:lnTo>
                    <a:pt x="94" y="246"/>
                  </a:lnTo>
                  <a:lnTo>
                    <a:pt x="88" y="248"/>
                  </a:lnTo>
                  <a:lnTo>
                    <a:pt x="80" y="248"/>
                  </a:lnTo>
                  <a:lnTo>
                    <a:pt x="74" y="248"/>
                  </a:lnTo>
                  <a:lnTo>
                    <a:pt x="68" y="246"/>
                  </a:lnTo>
                  <a:lnTo>
                    <a:pt x="60" y="238"/>
                  </a:lnTo>
                  <a:lnTo>
                    <a:pt x="58" y="234"/>
                  </a:lnTo>
                  <a:lnTo>
                    <a:pt x="56" y="232"/>
                  </a:lnTo>
                  <a:lnTo>
                    <a:pt x="50" y="232"/>
                  </a:lnTo>
                  <a:lnTo>
                    <a:pt x="52" y="238"/>
                  </a:lnTo>
                  <a:lnTo>
                    <a:pt x="52" y="242"/>
                  </a:lnTo>
                  <a:lnTo>
                    <a:pt x="50" y="244"/>
                  </a:lnTo>
                  <a:lnTo>
                    <a:pt x="48" y="248"/>
                  </a:lnTo>
                  <a:lnTo>
                    <a:pt x="46" y="254"/>
                  </a:lnTo>
                  <a:lnTo>
                    <a:pt x="46" y="258"/>
                  </a:lnTo>
                  <a:lnTo>
                    <a:pt x="42" y="260"/>
                  </a:lnTo>
                  <a:lnTo>
                    <a:pt x="40" y="260"/>
                  </a:lnTo>
                  <a:lnTo>
                    <a:pt x="40" y="266"/>
                  </a:lnTo>
                  <a:lnTo>
                    <a:pt x="42" y="270"/>
                  </a:lnTo>
                  <a:lnTo>
                    <a:pt x="42" y="274"/>
                  </a:lnTo>
                  <a:lnTo>
                    <a:pt x="42" y="278"/>
                  </a:lnTo>
                  <a:lnTo>
                    <a:pt x="40" y="282"/>
                  </a:lnTo>
                  <a:lnTo>
                    <a:pt x="38" y="288"/>
                  </a:lnTo>
                  <a:lnTo>
                    <a:pt x="38" y="294"/>
                  </a:lnTo>
                  <a:lnTo>
                    <a:pt x="36" y="298"/>
                  </a:lnTo>
                  <a:lnTo>
                    <a:pt x="32" y="302"/>
                  </a:lnTo>
                  <a:lnTo>
                    <a:pt x="30" y="306"/>
                  </a:lnTo>
                  <a:lnTo>
                    <a:pt x="30" y="310"/>
                  </a:lnTo>
                  <a:lnTo>
                    <a:pt x="28" y="312"/>
                  </a:lnTo>
                  <a:lnTo>
                    <a:pt x="22" y="316"/>
                  </a:lnTo>
                  <a:lnTo>
                    <a:pt x="20" y="318"/>
                  </a:lnTo>
                  <a:lnTo>
                    <a:pt x="16" y="318"/>
                  </a:lnTo>
                  <a:lnTo>
                    <a:pt x="16" y="320"/>
                  </a:lnTo>
                  <a:lnTo>
                    <a:pt x="16" y="322"/>
                  </a:lnTo>
                  <a:lnTo>
                    <a:pt x="18" y="324"/>
                  </a:lnTo>
                  <a:lnTo>
                    <a:pt x="20" y="328"/>
                  </a:lnTo>
                  <a:lnTo>
                    <a:pt x="26" y="336"/>
                  </a:lnTo>
                  <a:lnTo>
                    <a:pt x="10" y="338"/>
                  </a:lnTo>
                  <a:lnTo>
                    <a:pt x="6" y="344"/>
                  </a:lnTo>
                  <a:lnTo>
                    <a:pt x="0" y="354"/>
                  </a:lnTo>
                  <a:lnTo>
                    <a:pt x="2" y="374"/>
                  </a:lnTo>
                  <a:lnTo>
                    <a:pt x="0" y="384"/>
                  </a:lnTo>
                  <a:lnTo>
                    <a:pt x="0" y="390"/>
                  </a:lnTo>
                  <a:lnTo>
                    <a:pt x="6" y="394"/>
                  </a:lnTo>
                  <a:lnTo>
                    <a:pt x="10" y="396"/>
                  </a:lnTo>
                  <a:lnTo>
                    <a:pt x="20" y="396"/>
                  </a:lnTo>
                  <a:lnTo>
                    <a:pt x="26" y="398"/>
                  </a:lnTo>
                  <a:lnTo>
                    <a:pt x="28" y="400"/>
                  </a:lnTo>
                  <a:lnTo>
                    <a:pt x="24" y="404"/>
                  </a:lnTo>
                  <a:lnTo>
                    <a:pt x="18" y="412"/>
                  </a:lnTo>
                  <a:lnTo>
                    <a:pt x="14" y="416"/>
                  </a:lnTo>
                  <a:lnTo>
                    <a:pt x="4" y="430"/>
                  </a:lnTo>
                  <a:lnTo>
                    <a:pt x="4" y="436"/>
                  </a:lnTo>
                  <a:lnTo>
                    <a:pt x="6" y="440"/>
                  </a:lnTo>
                  <a:lnTo>
                    <a:pt x="10" y="456"/>
                  </a:lnTo>
                  <a:lnTo>
                    <a:pt x="14" y="472"/>
                  </a:lnTo>
                  <a:lnTo>
                    <a:pt x="22" y="498"/>
                  </a:lnTo>
                  <a:lnTo>
                    <a:pt x="22" y="506"/>
                  </a:lnTo>
                  <a:lnTo>
                    <a:pt x="20" y="520"/>
                  </a:lnTo>
                  <a:lnTo>
                    <a:pt x="20" y="528"/>
                  </a:lnTo>
                  <a:lnTo>
                    <a:pt x="20" y="538"/>
                  </a:lnTo>
                  <a:lnTo>
                    <a:pt x="20" y="544"/>
                  </a:lnTo>
                  <a:lnTo>
                    <a:pt x="22" y="558"/>
                  </a:lnTo>
                  <a:lnTo>
                    <a:pt x="24" y="558"/>
                  </a:lnTo>
                  <a:lnTo>
                    <a:pt x="40" y="560"/>
                  </a:lnTo>
                  <a:lnTo>
                    <a:pt x="56" y="562"/>
                  </a:lnTo>
                  <a:lnTo>
                    <a:pt x="76" y="566"/>
                  </a:lnTo>
                  <a:lnTo>
                    <a:pt x="82" y="574"/>
                  </a:lnTo>
                  <a:lnTo>
                    <a:pt x="86" y="590"/>
                  </a:lnTo>
                  <a:lnTo>
                    <a:pt x="86" y="602"/>
                  </a:lnTo>
                  <a:lnTo>
                    <a:pt x="84" y="608"/>
                  </a:lnTo>
                  <a:lnTo>
                    <a:pt x="70" y="626"/>
                  </a:lnTo>
                  <a:lnTo>
                    <a:pt x="54" y="644"/>
                  </a:lnTo>
                  <a:lnTo>
                    <a:pt x="40" y="662"/>
                  </a:lnTo>
                  <a:lnTo>
                    <a:pt x="22" y="682"/>
                  </a:lnTo>
                  <a:lnTo>
                    <a:pt x="48" y="690"/>
                  </a:lnTo>
                  <a:lnTo>
                    <a:pt x="68" y="696"/>
                  </a:lnTo>
                  <a:lnTo>
                    <a:pt x="98" y="706"/>
                  </a:lnTo>
                  <a:lnTo>
                    <a:pt x="124" y="714"/>
                  </a:lnTo>
                  <a:lnTo>
                    <a:pt x="130" y="716"/>
                  </a:lnTo>
                  <a:lnTo>
                    <a:pt x="202" y="710"/>
                  </a:lnTo>
                  <a:lnTo>
                    <a:pt x="228" y="714"/>
                  </a:lnTo>
                  <a:lnTo>
                    <a:pt x="236" y="718"/>
                  </a:lnTo>
                  <a:lnTo>
                    <a:pt x="238" y="716"/>
                  </a:lnTo>
                  <a:lnTo>
                    <a:pt x="240" y="712"/>
                  </a:lnTo>
                  <a:lnTo>
                    <a:pt x="248" y="708"/>
                  </a:lnTo>
                  <a:lnTo>
                    <a:pt x="256" y="706"/>
                  </a:lnTo>
                  <a:lnTo>
                    <a:pt x="264" y="704"/>
                  </a:lnTo>
                  <a:lnTo>
                    <a:pt x="276" y="704"/>
                  </a:lnTo>
                  <a:lnTo>
                    <a:pt x="284" y="704"/>
                  </a:lnTo>
                  <a:lnTo>
                    <a:pt x="290" y="704"/>
                  </a:lnTo>
                  <a:lnTo>
                    <a:pt x="302" y="704"/>
                  </a:lnTo>
                  <a:lnTo>
                    <a:pt x="308" y="704"/>
                  </a:lnTo>
                  <a:lnTo>
                    <a:pt x="326" y="698"/>
                  </a:lnTo>
                  <a:lnTo>
                    <a:pt x="338" y="694"/>
                  </a:lnTo>
                  <a:lnTo>
                    <a:pt x="358" y="688"/>
                  </a:lnTo>
                  <a:lnTo>
                    <a:pt x="372" y="684"/>
                  </a:lnTo>
                  <a:lnTo>
                    <a:pt x="376" y="682"/>
                  </a:lnTo>
                  <a:lnTo>
                    <a:pt x="380" y="678"/>
                  </a:lnTo>
                  <a:lnTo>
                    <a:pt x="382" y="674"/>
                  </a:lnTo>
                  <a:lnTo>
                    <a:pt x="378" y="668"/>
                  </a:lnTo>
                  <a:lnTo>
                    <a:pt x="376" y="662"/>
                  </a:lnTo>
                  <a:lnTo>
                    <a:pt x="380" y="656"/>
                  </a:lnTo>
                  <a:lnTo>
                    <a:pt x="382" y="646"/>
                  </a:lnTo>
                  <a:lnTo>
                    <a:pt x="380" y="634"/>
                  </a:lnTo>
                  <a:lnTo>
                    <a:pt x="380" y="626"/>
                  </a:lnTo>
                  <a:lnTo>
                    <a:pt x="384" y="610"/>
                  </a:lnTo>
                  <a:lnTo>
                    <a:pt x="386" y="602"/>
                  </a:lnTo>
                  <a:lnTo>
                    <a:pt x="394" y="598"/>
                  </a:lnTo>
                  <a:lnTo>
                    <a:pt x="398" y="596"/>
                  </a:lnTo>
                  <a:lnTo>
                    <a:pt x="400" y="594"/>
                  </a:lnTo>
                  <a:lnTo>
                    <a:pt x="402" y="592"/>
                  </a:lnTo>
                  <a:lnTo>
                    <a:pt x="408" y="580"/>
                  </a:lnTo>
                  <a:lnTo>
                    <a:pt x="416" y="576"/>
                  </a:lnTo>
                  <a:lnTo>
                    <a:pt x="422" y="572"/>
                  </a:lnTo>
                  <a:lnTo>
                    <a:pt x="428" y="572"/>
                  </a:lnTo>
                  <a:lnTo>
                    <a:pt x="434" y="576"/>
                  </a:lnTo>
                  <a:lnTo>
                    <a:pt x="446" y="578"/>
                  </a:lnTo>
                  <a:lnTo>
                    <a:pt x="456" y="578"/>
                  </a:lnTo>
                  <a:lnTo>
                    <a:pt x="466" y="574"/>
                  </a:lnTo>
                  <a:lnTo>
                    <a:pt x="470" y="572"/>
                  </a:lnTo>
                  <a:lnTo>
                    <a:pt x="474" y="568"/>
                  </a:lnTo>
                  <a:lnTo>
                    <a:pt x="474" y="566"/>
                  </a:lnTo>
                  <a:lnTo>
                    <a:pt x="468" y="564"/>
                  </a:lnTo>
                  <a:lnTo>
                    <a:pt x="466" y="560"/>
                  </a:lnTo>
                  <a:lnTo>
                    <a:pt x="464" y="556"/>
                  </a:lnTo>
                  <a:lnTo>
                    <a:pt x="468" y="554"/>
                  </a:lnTo>
                  <a:lnTo>
                    <a:pt x="474" y="554"/>
                  </a:lnTo>
                  <a:lnTo>
                    <a:pt x="494" y="544"/>
                  </a:lnTo>
                  <a:lnTo>
                    <a:pt x="500" y="536"/>
                  </a:lnTo>
                  <a:lnTo>
                    <a:pt x="502" y="534"/>
                  </a:lnTo>
                  <a:lnTo>
                    <a:pt x="506" y="532"/>
                  </a:lnTo>
                  <a:lnTo>
                    <a:pt x="514" y="536"/>
                  </a:lnTo>
                  <a:lnTo>
                    <a:pt x="520" y="538"/>
                  </a:lnTo>
                  <a:lnTo>
                    <a:pt x="526" y="534"/>
                  </a:lnTo>
                  <a:lnTo>
                    <a:pt x="532" y="534"/>
                  </a:lnTo>
                  <a:lnTo>
                    <a:pt x="536" y="536"/>
                  </a:lnTo>
                  <a:lnTo>
                    <a:pt x="538" y="540"/>
                  </a:lnTo>
                  <a:lnTo>
                    <a:pt x="544" y="546"/>
                  </a:lnTo>
                  <a:lnTo>
                    <a:pt x="548" y="546"/>
                  </a:lnTo>
                  <a:lnTo>
                    <a:pt x="556" y="544"/>
                  </a:lnTo>
                  <a:lnTo>
                    <a:pt x="564" y="538"/>
                  </a:lnTo>
                  <a:lnTo>
                    <a:pt x="570" y="530"/>
                  </a:lnTo>
                  <a:lnTo>
                    <a:pt x="576" y="524"/>
                  </a:lnTo>
                  <a:lnTo>
                    <a:pt x="574" y="498"/>
                  </a:lnTo>
                  <a:lnTo>
                    <a:pt x="574" y="484"/>
                  </a:lnTo>
                  <a:lnTo>
                    <a:pt x="576" y="478"/>
                  </a:lnTo>
                  <a:lnTo>
                    <a:pt x="582" y="472"/>
                  </a:lnTo>
                  <a:lnTo>
                    <a:pt x="584" y="466"/>
                  </a:lnTo>
                  <a:lnTo>
                    <a:pt x="584" y="460"/>
                  </a:lnTo>
                  <a:lnTo>
                    <a:pt x="588" y="454"/>
                  </a:lnTo>
                  <a:lnTo>
                    <a:pt x="590" y="438"/>
                  </a:lnTo>
                  <a:lnTo>
                    <a:pt x="594" y="436"/>
                  </a:lnTo>
                  <a:lnTo>
                    <a:pt x="604" y="434"/>
                  </a:lnTo>
                  <a:lnTo>
                    <a:pt x="618" y="432"/>
                  </a:lnTo>
                  <a:lnTo>
                    <a:pt x="630" y="424"/>
                  </a:lnTo>
                  <a:lnTo>
                    <a:pt x="640" y="418"/>
                  </a:lnTo>
                  <a:lnTo>
                    <a:pt x="642" y="412"/>
                  </a:lnTo>
                  <a:lnTo>
                    <a:pt x="638" y="404"/>
                  </a:lnTo>
                  <a:lnTo>
                    <a:pt x="632" y="392"/>
                  </a:lnTo>
                  <a:lnTo>
                    <a:pt x="626" y="384"/>
                  </a:lnTo>
                  <a:lnTo>
                    <a:pt x="614" y="370"/>
                  </a:lnTo>
                  <a:lnTo>
                    <a:pt x="616" y="362"/>
                  </a:lnTo>
                  <a:lnTo>
                    <a:pt x="622" y="358"/>
                  </a:lnTo>
                  <a:lnTo>
                    <a:pt x="640" y="364"/>
                  </a:lnTo>
                  <a:lnTo>
                    <a:pt x="644" y="364"/>
                  </a:lnTo>
                  <a:lnTo>
                    <a:pt x="650" y="366"/>
                  </a:lnTo>
                  <a:lnTo>
                    <a:pt x="666" y="366"/>
                  </a:lnTo>
                  <a:lnTo>
                    <a:pt x="678" y="364"/>
                  </a:lnTo>
                  <a:lnTo>
                    <a:pt x="692" y="358"/>
                  </a:lnTo>
                  <a:lnTo>
                    <a:pt x="694" y="352"/>
                  </a:lnTo>
                  <a:lnTo>
                    <a:pt x="694" y="346"/>
                  </a:lnTo>
                  <a:lnTo>
                    <a:pt x="694" y="340"/>
                  </a:lnTo>
                  <a:lnTo>
                    <a:pt x="696" y="332"/>
                  </a:lnTo>
                  <a:lnTo>
                    <a:pt x="690" y="328"/>
                  </a:lnTo>
                  <a:lnTo>
                    <a:pt x="688" y="324"/>
                  </a:lnTo>
                  <a:lnTo>
                    <a:pt x="686" y="320"/>
                  </a:lnTo>
                  <a:lnTo>
                    <a:pt x="690" y="318"/>
                  </a:lnTo>
                  <a:lnTo>
                    <a:pt x="692" y="314"/>
                  </a:lnTo>
                  <a:lnTo>
                    <a:pt x="696" y="308"/>
                  </a:lnTo>
                  <a:lnTo>
                    <a:pt x="704" y="300"/>
                  </a:lnTo>
                  <a:lnTo>
                    <a:pt x="708" y="292"/>
                  </a:lnTo>
                  <a:lnTo>
                    <a:pt x="712" y="290"/>
                  </a:lnTo>
                  <a:lnTo>
                    <a:pt x="718" y="284"/>
                  </a:lnTo>
                  <a:lnTo>
                    <a:pt x="722" y="278"/>
                  </a:lnTo>
                  <a:lnTo>
                    <a:pt x="724" y="274"/>
                  </a:lnTo>
                  <a:lnTo>
                    <a:pt x="728" y="270"/>
                  </a:lnTo>
                  <a:lnTo>
                    <a:pt x="730" y="268"/>
                  </a:lnTo>
                  <a:lnTo>
                    <a:pt x="728" y="266"/>
                  </a:lnTo>
                  <a:lnTo>
                    <a:pt x="726" y="262"/>
                  </a:lnTo>
                  <a:lnTo>
                    <a:pt x="724" y="260"/>
                  </a:lnTo>
                  <a:lnTo>
                    <a:pt x="724" y="256"/>
                  </a:lnTo>
                  <a:lnTo>
                    <a:pt x="726" y="252"/>
                  </a:lnTo>
                  <a:lnTo>
                    <a:pt x="728" y="250"/>
                  </a:lnTo>
                  <a:lnTo>
                    <a:pt x="728" y="246"/>
                  </a:lnTo>
                  <a:lnTo>
                    <a:pt x="726" y="238"/>
                  </a:lnTo>
                  <a:lnTo>
                    <a:pt x="722" y="234"/>
                  </a:lnTo>
                  <a:lnTo>
                    <a:pt x="720" y="224"/>
                  </a:lnTo>
                  <a:lnTo>
                    <a:pt x="716" y="216"/>
                  </a:lnTo>
                  <a:lnTo>
                    <a:pt x="714" y="212"/>
                  </a:lnTo>
                  <a:lnTo>
                    <a:pt x="712" y="206"/>
                  </a:lnTo>
                  <a:lnTo>
                    <a:pt x="704" y="202"/>
                  </a:lnTo>
                  <a:lnTo>
                    <a:pt x="700" y="198"/>
                  </a:lnTo>
                  <a:lnTo>
                    <a:pt x="704" y="192"/>
                  </a:lnTo>
                  <a:lnTo>
                    <a:pt x="710" y="188"/>
                  </a:lnTo>
                  <a:lnTo>
                    <a:pt x="720" y="178"/>
                  </a:lnTo>
                  <a:lnTo>
                    <a:pt x="724" y="172"/>
                  </a:lnTo>
                  <a:lnTo>
                    <a:pt x="730" y="166"/>
                  </a:lnTo>
                  <a:lnTo>
                    <a:pt x="736" y="168"/>
                  </a:lnTo>
                  <a:lnTo>
                    <a:pt x="740" y="166"/>
                  </a:lnTo>
                  <a:lnTo>
                    <a:pt x="742" y="162"/>
                  </a:lnTo>
                  <a:lnTo>
                    <a:pt x="748" y="158"/>
                  </a:lnTo>
                  <a:lnTo>
                    <a:pt x="760" y="150"/>
                  </a:lnTo>
                  <a:lnTo>
                    <a:pt x="764" y="144"/>
                  </a:lnTo>
                  <a:lnTo>
                    <a:pt x="770" y="142"/>
                  </a:lnTo>
                  <a:lnTo>
                    <a:pt x="776" y="142"/>
                  </a:lnTo>
                  <a:lnTo>
                    <a:pt x="782" y="140"/>
                  </a:lnTo>
                  <a:lnTo>
                    <a:pt x="790" y="136"/>
                  </a:lnTo>
                  <a:lnTo>
                    <a:pt x="796" y="134"/>
                  </a:lnTo>
                  <a:lnTo>
                    <a:pt x="804" y="134"/>
                  </a:lnTo>
                  <a:lnTo>
                    <a:pt x="820" y="132"/>
                  </a:lnTo>
                  <a:lnTo>
                    <a:pt x="828" y="132"/>
                  </a:lnTo>
                  <a:lnTo>
                    <a:pt x="846" y="130"/>
                  </a:lnTo>
                  <a:lnTo>
                    <a:pt x="868" y="130"/>
                  </a:lnTo>
                  <a:lnTo>
                    <a:pt x="870" y="130"/>
                  </a:lnTo>
                  <a:lnTo>
                    <a:pt x="880" y="132"/>
                  </a:lnTo>
                  <a:lnTo>
                    <a:pt x="886" y="134"/>
                  </a:lnTo>
                  <a:lnTo>
                    <a:pt x="888" y="134"/>
                  </a:lnTo>
                  <a:lnTo>
                    <a:pt x="898" y="128"/>
                  </a:lnTo>
                  <a:lnTo>
                    <a:pt x="914" y="122"/>
                  </a:lnTo>
                  <a:lnTo>
                    <a:pt x="920" y="118"/>
                  </a:lnTo>
                  <a:lnTo>
                    <a:pt x="920" y="118"/>
                  </a:lnTo>
                  <a:lnTo>
                    <a:pt x="918" y="116"/>
                  </a:lnTo>
                  <a:lnTo>
                    <a:pt x="910" y="110"/>
                  </a:lnTo>
                  <a:lnTo>
                    <a:pt x="910" y="108"/>
                  </a:lnTo>
                  <a:lnTo>
                    <a:pt x="922" y="100"/>
                  </a:lnTo>
                  <a:lnTo>
                    <a:pt x="930" y="98"/>
                  </a:lnTo>
                  <a:lnTo>
                    <a:pt x="934" y="96"/>
                  </a:lnTo>
                  <a:lnTo>
                    <a:pt x="934" y="96"/>
                  </a:lnTo>
                  <a:lnTo>
                    <a:pt x="936" y="100"/>
                  </a:lnTo>
                  <a:lnTo>
                    <a:pt x="940" y="102"/>
                  </a:lnTo>
                  <a:lnTo>
                    <a:pt x="944" y="10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9" name="Line 3732">
              <a:extLst>
                <a:ext uri="{FF2B5EF4-FFF2-40B4-BE49-F238E27FC236}">
                  <a16:creationId xmlns:a16="http://schemas.microsoft.com/office/drawing/2014/main" id="{CF8CD8D3-6B94-4035-B27C-73C474EC5CF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190956" y="4394938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0" name="Line 3734">
              <a:extLst>
                <a:ext uri="{FF2B5EF4-FFF2-40B4-BE49-F238E27FC236}">
                  <a16:creationId xmlns:a16="http://schemas.microsoft.com/office/drawing/2014/main" id="{C1681831-59FF-49C1-A726-0B20539A1C2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190956" y="4394938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1" name="Freeform 3735">
              <a:extLst>
                <a:ext uri="{FF2B5EF4-FFF2-40B4-BE49-F238E27FC236}">
                  <a16:creationId xmlns:a16="http://schemas.microsoft.com/office/drawing/2014/main" id="{E2C5FFF7-766E-481A-8BC5-39442D5A89B1}"/>
                </a:ext>
              </a:extLst>
            </p:cNvPr>
            <p:cNvSpPr/>
            <p:nvPr/>
          </p:nvSpPr>
          <p:spPr bwMode="auto">
            <a:xfrm>
              <a:off x="5595241" y="5557420"/>
              <a:ext cx="310663" cy="314903"/>
            </a:xfrm>
            <a:custGeom>
              <a:avLst/>
              <a:gdLst>
                <a:gd name="T0" fmla="*/ 124 w 806"/>
                <a:gd name="T1" fmla="*/ 2 h 817"/>
                <a:gd name="T2" fmla="*/ 84 w 806"/>
                <a:gd name="T3" fmla="*/ 4 h 817"/>
                <a:gd name="T4" fmla="*/ 36 w 806"/>
                <a:gd name="T5" fmla="*/ 18 h 817"/>
                <a:gd name="T6" fmla="*/ 74 w 806"/>
                <a:gd name="T7" fmla="*/ 92 h 817"/>
                <a:gd name="T8" fmla="*/ 108 w 806"/>
                <a:gd name="T9" fmla="*/ 184 h 817"/>
                <a:gd name="T10" fmla="*/ 88 w 806"/>
                <a:gd name="T11" fmla="*/ 202 h 817"/>
                <a:gd name="T12" fmla="*/ 92 w 806"/>
                <a:gd name="T13" fmla="*/ 234 h 817"/>
                <a:gd name="T14" fmla="*/ 114 w 806"/>
                <a:gd name="T15" fmla="*/ 292 h 817"/>
                <a:gd name="T16" fmla="*/ 136 w 806"/>
                <a:gd name="T17" fmla="*/ 338 h 817"/>
                <a:gd name="T18" fmla="*/ 122 w 806"/>
                <a:gd name="T19" fmla="*/ 428 h 817"/>
                <a:gd name="T20" fmla="*/ 52 w 806"/>
                <a:gd name="T21" fmla="*/ 505 h 817"/>
                <a:gd name="T22" fmla="*/ 18 w 806"/>
                <a:gd name="T23" fmla="*/ 645 h 817"/>
                <a:gd name="T24" fmla="*/ 2 w 806"/>
                <a:gd name="T25" fmla="*/ 673 h 817"/>
                <a:gd name="T26" fmla="*/ 0 w 806"/>
                <a:gd name="T27" fmla="*/ 763 h 817"/>
                <a:gd name="T28" fmla="*/ 38 w 806"/>
                <a:gd name="T29" fmla="*/ 761 h 817"/>
                <a:gd name="T30" fmla="*/ 74 w 806"/>
                <a:gd name="T31" fmla="*/ 751 h 817"/>
                <a:gd name="T32" fmla="*/ 108 w 806"/>
                <a:gd name="T33" fmla="*/ 747 h 817"/>
                <a:gd name="T34" fmla="*/ 142 w 806"/>
                <a:gd name="T35" fmla="*/ 771 h 817"/>
                <a:gd name="T36" fmla="*/ 176 w 806"/>
                <a:gd name="T37" fmla="*/ 773 h 817"/>
                <a:gd name="T38" fmla="*/ 438 w 806"/>
                <a:gd name="T39" fmla="*/ 775 h 817"/>
                <a:gd name="T40" fmla="*/ 464 w 806"/>
                <a:gd name="T41" fmla="*/ 799 h 817"/>
                <a:gd name="T42" fmla="*/ 518 w 806"/>
                <a:gd name="T43" fmla="*/ 807 h 817"/>
                <a:gd name="T44" fmla="*/ 582 w 806"/>
                <a:gd name="T45" fmla="*/ 815 h 817"/>
                <a:gd name="T46" fmla="*/ 632 w 806"/>
                <a:gd name="T47" fmla="*/ 815 h 817"/>
                <a:gd name="T48" fmla="*/ 714 w 806"/>
                <a:gd name="T49" fmla="*/ 801 h 817"/>
                <a:gd name="T50" fmla="*/ 720 w 806"/>
                <a:gd name="T51" fmla="*/ 751 h 817"/>
                <a:gd name="T52" fmla="*/ 682 w 806"/>
                <a:gd name="T53" fmla="*/ 719 h 817"/>
                <a:gd name="T54" fmla="*/ 796 w 806"/>
                <a:gd name="T55" fmla="*/ 475 h 817"/>
                <a:gd name="T56" fmla="*/ 798 w 806"/>
                <a:gd name="T57" fmla="*/ 452 h 817"/>
                <a:gd name="T58" fmla="*/ 800 w 806"/>
                <a:gd name="T59" fmla="*/ 408 h 817"/>
                <a:gd name="T60" fmla="*/ 804 w 806"/>
                <a:gd name="T61" fmla="*/ 376 h 817"/>
                <a:gd name="T62" fmla="*/ 804 w 806"/>
                <a:gd name="T63" fmla="*/ 354 h 817"/>
                <a:gd name="T64" fmla="*/ 798 w 806"/>
                <a:gd name="T65" fmla="*/ 342 h 817"/>
                <a:gd name="T66" fmla="*/ 764 w 806"/>
                <a:gd name="T67" fmla="*/ 340 h 817"/>
                <a:gd name="T68" fmla="*/ 710 w 806"/>
                <a:gd name="T69" fmla="*/ 346 h 817"/>
                <a:gd name="T70" fmla="*/ 690 w 806"/>
                <a:gd name="T71" fmla="*/ 352 h 817"/>
                <a:gd name="T72" fmla="*/ 690 w 806"/>
                <a:gd name="T73" fmla="*/ 328 h 817"/>
                <a:gd name="T74" fmla="*/ 690 w 806"/>
                <a:gd name="T75" fmla="*/ 292 h 817"/>
                <a:gd name="T76" fmla="*/ 660 w 806"/>
                <a:gd name="T77" fmla="*/ 240 h 817"/>
                <a:gd name="T78" fmla="*/ 660 w 806"/>
                <a:gd name="T79" fmla="*/ 150 h 817"/>
                <a:gd name="T80" fmla="*/ 658 w 806"/>
                <a:gd name="T81" fmla="*/ 98 h 817"/>
                <a:gd name="T82" fmla="*/ 580 w 806"/>
                <a:gd name="T83" fmla="*/ 94 h 817"/>
                <a:gd name="T84" fmla="*/ 580 w 806"/>
                <a:gd name="T85" fmla="*/ 72 h 817"/>
                <a:gd name="T86" fmla="*/ 518 w 806"/>
                <a:gd name="T87" fmla="*/ 80 h 817"/>
                <a:gd name="T88" fmla="*/ 504 w 806"/>
                <a:gd name="T89" fmla="*/ 114 h 817"/>
                <a:gd name="T90" fmla="*/ 472 w 806"/>
                <a:gd name="T91" fmla="*/ 142 h 817"/>
                <a:gd name="T92" fmla="*/ 432 w 806"/>
                <a:gd name="T93" fmla="*/ 142 h 817"/>
                <a:gd name="T94" fmla="*/ 396 w 806"/>
                <a:gd name="T95" fmla="*/ 148 h 817"/>
                <a:gd name="T96" fmla="*/ 360 w 806"/>
                <a:gd name="T97" fmla="*/ 118 h 817"/>
                <a:gd name="T98" fmla="*/ 342 w 806"/>
                <a:gd name="T99" fmla="*/ 86 h 817"/>
                <a:gd name="T100" fmla="*/ 326 w 806"/>
                <a:gd name="T101" fmla="*/ 42 h 817"/>
                <a:gd name="T102" fmla="*/ 318 w 806"/>
                <a:gd name="T103" fmla="*/ 14 h 817"/>
                <a:gd name="T104" fmla="*/ 282 w 806"/>
                <a:gd name="T105" fmla="*/ 2 h 817"/>
                <a:gd name="T106" fmla="*/ 192 w 806"/>
                <a:gd name="T107" fmla="*/ 4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05" h="817">
                  <a:moveTo>
                    <a:pt x="160" y="2"/>
                  </a:moveTo>
                  <a:lnTo>
                    <a:pt x="156" y="2"/>
                  </a:lnTo>
                  <a:lnTo>
                    <a:pt x="146" y="2"/>
                  </a:lnTo>
                  <a:lnTo>
                    <a:pt x="132" y="0"/>
                  </a:lnTo>
                  <a:lnTo>
                    <a:pt x="124" y="2"/>
                  </a:lnTo>
                  <a:lnTo>
                    <a:pt x="106" y="2"/>
                  </a:lnTo>
                  <a:lnTo>
                    <a:pt x="102" y="2"/>
                  </a:lnTo>
                  <a:lnTo>
                    <a:pt x="94" y="0"/>
                  </a:lnTo>
                  <a:lnTo>
                    <a:pt x="86" y="2"/>
                  </a:lnTo>
                  <a:lnTo>
                    <a:pt x="84" y="4"/>
                  </a:lnTo>
                  <a:lnTo>
                    <a:pt x="68" y="10"/>
                  </a:lnTo>
                  <a:lnTo>
                    <a:pt x="52" y="14"/>
                  </a:lnTo>
                  <a:lnTo>
                    <a:pt x="42" y="16"/>
                  </a:lnTo>
                  <a:lnTo>
                    <a:pt x="36" y="16"/>
                  </a:lnTo>
                  <a:lnTo>
                    <a:pt x="36" y="18"/>
                  </a:lnTo>
                  <a:lnTo>
                    <a:pt x="38" y="22"/>
                  </a:lnTo>
                  <a:lnTo>
                    <a:pt x="44" y="34"/>
                  </a:lnTo>
                  <a:lnTo>
                    <a:pt x="50" y="50"/>
                  </a:lnTo>
                  <a:lnTo>
                    <a:pt x="70" y="74"/>
                  </a:lnTo>
                  <a:lnTo>
                    <a:pt x="74" y="92"/>
                  </a:lnTo>
                  <a:lnTo>
                    <a:pt x="88" y="128"/>
                  </a:lnTo>
                  <a:lnTo>
                    <a:pt x="108" y="168"/>
                  </a:lnTo>
                  <a:lnTo>
                    <a:pt x="106" y="174"/>
                  </a:lnTo>
                  <a:lnTo>
                    <a:pt x="106" y="180"/>
                  </a:lnTo>
                  <a:lnTo>
                    <a:pt x="108" y="184"/>
                  </a:lnTo>
                  <a:lnTo>
                    <a:pt x="106" y="188"/>
                  </a:lnTo>
                  <a:lnTo>
                    <a:pt x="86" y="210"/>
                  </a:lnTo>
                  <a:lnTo>
                    <a:pt x="86" y="208"/>
                  </a:lnTo>
                  <a:lnTo>
                    <a:pt x="88" y="204"/>
                  </a:lnTo>
                  <a:lnTo>
                    <a:pt x="88" y="202"/>
                  </a:lnTo>
                  <a:lnTo>
                    <a:pt x="86" y="204"/>
                  </a:lnTo>
                  <a:lnTo>
                    <a:pt x="82" y="208"/>
                  </a:lnTo>
                  <a:lnTo>
                    <a:pt x="82" y="212"/>
                  </a:lnTo>
                  <a:lnTo>
                    <a:pt x="88" y="224"/>
                  </a:lnTo>
                  <a:lnTo>
                    <a:pt x="92" y="234"/>
                  </a:lnTo>
                  <a:lnTo>
                    <a:pt x="96" y="246"/>
                  </a:lnTo>
                  <a:lnTo>
                    <a:pt x="96" y="256"/>
                  </a:lnTo>
                  <a:lnTo>
                    <a:pt x="102" y="264"/>
                  </a:lnTo>
                  <a:lnTo>
                    <a:pt x="104" y="276"/>
                  </a:lnTo>
                  <a:lnTo>
                    <a:pt x="114" y="292"/>
                  </a:lnTo>
                  <a:lnTo>
                    <a:pt x="118" y="304"/>
                  </a:lnTo>
                  <a:lnTo>
                    <a:pt x="124" y="310"/>
                  </a:lnTo>
                  <a:lnTo>
                    <a:pt x="130" y="318"/>
                  </a:lnTo>
                  <a:lnTo>
                    <a:pt x="130" y="326"/>
                  </a:lnTo>
                  <a:lnTo>
                    <a:pt x="136" y="338"/>
                  </a:lnTo>
                  <a:lnTo>
                    <a:pt x="138" y="346"/>
                  </a:lnTo>
                  <a:lnTo>
                    <a:pt x="134" y="374"/>
                  </a:lnTo>
                  <a:lnTo>
                    <a:pt x="134" y="396"/>
                  </a:lnTo>
                  <a:lnTo>
                    <a:pt x="128" y="418"/>
                  </a:lnTo>
                  <a:lnTo>
                    <a:pt x="122" y="428"/>
                  </a:lnTo>
                  <a:lnTo>
                    <a:pt x="110" y="444"/>
                  </a:lnTo>
                  <a:lnTo>
                    <a:pt x="92" y="452"/>
                  </a:lnTo>
                  <a:lnTo>
                    <a:pt x="82" y="462"/>
                  </a:lnTo>
                  <a:lnTo>
                    <a:pt x="76" y="477"/>
                  </a:lnTo>
                  <a:lnTo>
                    <a:pt x="52" y="505"/>
                  </a:lnTo>
                  <a:lnTo>
                    <a:pt x="50" y="527"/>
                  </a:lnTo>
                  <a:lnTo>
                    <a:pt x="42" y="545"/>
                  </a:lnTo>
                  <a:lnTo>
                    <a:pt x="36" y="585"/>
                  </a:lnTo>
                  <a:lnTo>
                    <a:pt x="22" y="627"/>
                  </a:lnTo>
                  <a:lnTo>
                    <a:pt x="18" y="645"/>
                  </a:lnTo>
                  <a:lnTo>
                    <a:pt x="14" y="653"/>
                  </a:lnTo>
                  <a:lnTo>
                    <a:pt x="10" y="659"/>
                  </a:lnTo>
                  <a:lnTo>
                    <a:pt x="8" y="663"/>
                  </a:lnTo>
                  <a:lnTo>
                    <a:pt x="0" y="667"/>
                  </a:lnTo>
                  <a:lnTo>
                    <a:pt x="2" y="673"/>
                  </a:lnTo>
                  <a:lnTo>
                    <a:pt x="4" y="677"/>
                  </a:lnTo>
                  <a:lnTo>
                    <a:pt x="4" y="713"/>
                  </a:lnTo>
                  <a:lnTo>
                    <a:pt x="4" y="727"/>
                  </a:lnTo>
                  <a:lnTo>
                    <a:pt x="2" y="737"/>
                  </a:lnTo>
                  <a:lnTo>
                    <a:pt x="0" y="763"/>
                  </a:lnTo>
                  <a:lnTo>
                    <a:pt x="10" y="763"/>
                  </a:lnTo>
                  <a:lnTo>
                    <a:pt x="18" y="759"/>
                  </a:lnTo>
                  <a:lnTo>
                    <a:pt x="24" y="759"/>
                  </a:lnTo>
                  <a:lnTo>
                    <a:pt x="30" y="761"/>
                  </a:lnTo>
                  <a:lnTo>
                    <a:pt x="38" y="761"/>
                  </a:lnTo>
                  <a:lnTo>
                    <a:pt x="40" y="761"/>
                  </a:lnTo>
                  <a:lnTo>
                    <a:pt x="52" y="761"/>
                  </a:lnTo>
                  <a:lnTo>
                    <a:pt x="60" y="757"/>
                  </a:lnTo>
                  <a:lnTo>
                    <a:pt x="68" y="755"/>
                  </a:lnTo>
                  <a:lnTo>
                    <a:pt x="74" y="751"/>
                  </a:lnTo>
                  <a:lnTo>
                    <a:pt x="80" y="747"/>
                  </a:lnTo>
                  <a:lnTo>
                    <a:pt x="90" y="745"/>
                  </a:lnTo>
                  <a:lnTo>
                    <a:pt x="94" y="745"/>
                  </a:lnTo>
                  <a:lnTo>
                    <a:pt x="100" y="745"/>
                  </a:lnTo>
                  <a:lnTo>
                    <a:pt x="108" y="747"/>
                  </a:lnTo>
                  <a:lnTo>
                    <a:pt x="114" y="749"/>
                  </a:lnTo>
                  <a:lnTo>
                    <a:pt x="120" y="757"/>
                  </a:lnTo>
                  <a:lnTo>
                    <a:pt x="128" y="763"/>
                  </a:lnTo>
                  <a:lnTo>
                    <a:pt x="134" y="767"/>
                  </a:lnTo>
                  <a:lnTo>
                    <a:pt x="142" y="771"/>
                  </a:lnTo>
                  <a:lnTo>
                    <a:pt x="144" y="773"/>
                  </a:lnTo>
                  <a:lnTo>
                    <a:pt x="148" y="775"/>
                  </a:lnTo>
                  <a:lnTo>
                    <a:pt x="150" y="775"/>
                  </a:lnTo>
                  <a:lnTo>
                    <a:pt x="162" y="775"/>
                  </a:lnTo>
                  <a:lnTo>
                    <a:pt x="176" y="773"/>
                  </a:lnTo>
                  <a:lnTo>
                    <a:pt x="364" y="773"/>
                  </a:lnTo>
                  <a:lnTo>
                    <a:pt x="390" y="773"/>
                  </a:lnTo>
                  <a:lnTo>
                    <a:pt x="418" y="773"/>
                  </a:lnTo>
                  <a:lnTo>
                    <a:pt x="436" y="775"/>
                  </a:lnTo>
                  <a:lnTo>
                    <a:pt x="438" y="775"/>
                  </a:lnTo>
                  <a:lnTo>
                    <a:pt x="440" y="775"/>
                  </a:lnTo>
                  <a:lnTo>
                    <a:pt x="442" y="777"/>
                  </a:lnTo>
                  <a:lnTo>
                    <a:pt x="448" y="785"/>
                  </a:lnTo>
                  <a:lnTo>
                    <a:pt x="458" y="795"/>
                  </a:lnTo>
                  <a:lnTo>
                    <a:pt x="464" y="799"/>
                  </a:lnTo>
                  <a:lnTo>
                    <a:pt x="472" y="801"/>
                  </a:lnTo>
                  <a:lnTo>
                    <a:pt x="480" y="803"/>
                  </a:lnTo>
                  <a:lnTo>
                    <a:pt x="488" y="803"/>
                  </a:lnTo>
                  <a:lnTo>
                    <a:pt x="500" y="803"/>
                  </a:lnTo>
                  <a:lnTo>
                    <a:pt x="518" y="807"/>
                  </a:lnTo>
                  <a:lnTo>
                    <a:pt x="536" y="807"/>
                  </a:lnTo>
                  <a:lnTo>
                    <a:pt x="554" y="807"/>
                  </a:lnTo>
                  <a:lnTo>
                    <a:pt x="568" y="807"/>
                  </a:lnTo>
                  <a:lnTo>
                    <a:pt x="574" y="813"/>
                  </a:lnTo>
                  <a:lnTo>
                    <a:pt x="582" y="815"/>
                  </a:lnTo>
                  <a:lnTo>
                    <a:pt x="590" y="817"/>
                  </a:lnTo>
                  <a:lnTo>
                    <a:pt x="600" y="815"/>
                  </a:lnTo>
                  <a:lnTo>
                    <a:pt x="614" y="813"/>
                  </a:lnTo>
                  <a:lnTo>
                    <a:pt x="626" y="813"/>
                  </a:lnTo>
                  <a:lnTo>
                    <a:pt x="632" y="815"/>
                  </a:lnTo>
                  <a:lnTo>
                    <a:pt x="634" y="815"/>
                  </a:lnTo>
                  <a:lnTo>
                    <a:pt x="654" y="811"/>
                  </a:lnTo>
                  <a:lnTo>
                    <a:pt x="670" y="809"/>
                  </a:lnTo>
                  <a:lnTo>
                    <a:pt x="694" y="805"/>
                  </a:lnTo>
                  <a:lnTo>
                    <a:pt x="714" y="801"/>
                  </a:lnTo>
                  <a:lnTo>
                    <a:pt x="742" y="795"/>
                  </a:lnTo>
                  <a:lnTo>
                    <a:pt x="762" y="791"/>
                  </a:lnTo>
                  <a:lnTo>
                    <a:pt x="750" y="779"/>
                  </a:lnTo>
                  <a:lnTo>
                    <a:pt x="734" y="767"/>
                  </a:lnTo>
                  <a:lnTo>
                    <a:pt x="720" y="751"/>
                  </a:lnTo>
                  <a:lnTo>
                    <a:pt x="708" y="741"/>
                  </a:lnTo>
                  <a:lnTo>
                    <a:pt x="702" y="735"/>
                  </a:lnTo>
                  <a:lnTo>
                    <a:pt x="692" y="725"/>
                  </a:lnTo>
                  <a:lnTo>
                    <a:pt x="686" y="721"/>
                  </a:lnTo>
                  <a:lnTo>
                    <a:pt x="682" y="719"/>
                  </a:lnTo>
                  <a:lnTo>
                    <a:pt x="674" y="697"/>
                  </a:lnTo>
                  <a:lnTo>
                    <a:pt x="672" y="675"/>
                  </a:lnTo>
                  <a:lnTo>
                    <a:pt x="672" y="475"/>
                  </a:lnTo>
                  <a:lnTo>
                    <a:pt x="794" y="475"/>
                  </a:lnTo>
                  <a:lnTo>
                    <a:pt x="796" y="475"/>
                  </a:lnTo>
                  <a:lnTo>
                    <a:pt x="800" y="475"/>
                  </a:lnTo>
                  <a:lnTo>
                    <a:pt x="802" y="474"/>
                  </a:lnTo>
                  <a:lnTo>
                    <a:pt x="796" y="462"/>
                  </a:lnTo>
                  <a:lnTo>
                    <a:pt x="796" y="458"/>
                  </a:lnTo>
                  <a:lnTo>
                    <a:pt x="798" y="452"/>
                  </a:lnTo>
                  <a:lnTo>
                    <a:pt x="800" y="446"/>
                  </a:lnTo>
                  <a:lnTo>
                    <a:pt x="804" y="438"/>
                  </a:lnTo>
                  <a:lnTo>
                    <a:pt x="804" y="432"/>
                  </a:lnTo>
                  <a:lnTo>
                    <a:pt x="800" y="416"/>
                  </a:lnTo>
                  <a:lnTo>
                    <a:pt x="800" y="408"/>
                  </a:lnTo>
                  <a:lnTo>
                    <a:pt x="802" y="400"/>
                  </a:lnTo>
                  <a:lnTo>
                    <a:pt x="802" y="390"/>
                  </a:lnTo>
                  <a:lnTo>
                    <a:pt x="802" y="384"/>
                  </a:lnTo>
                  <a:lnTo>
                    <a:pt x="802" y="382"/>
                  </a:lnTo>
                  <a:lnTo>
                    <a:pt x="804" y="376"/>
                  </a:lnTo>
                  <a:lnTo>
                    <a:pt x="806" y="372"/>
                  </a:lnTo>
                  <a:lnTo>
                    <a:pt x="806" y="370"/>
                  </a:lnTo>
                  <a:lnTo>
                    <a:pt x="806" y="368"/>
                  </a:lnTo>
                  <a:lnTo>
                    <a:pt x="806" y="364"/>
                  </a:lnTo>
                  <a:lnTo>
                    <a:pt x="804" y="354"/>
                  </a:lnTo>
                  <a:lnTo>
                    <a:pt x="802" y="342"/>
                  </a:lnTo>
                  <a:lnTo>
                    <a:pt x="802" y="334"/>
                  </a:lnTo>
                  <a:lnTo>
                    <a:pt x="798" y="334"/>
                  </a:lnTo>
                  <a:lnTo>
                    <a:pt x="798" y="338"/>
                  </a:lnTo>
                  <a:lnTo>
                    <a:pt x="798" y="342"/>
                  </a:lnTo>
                  <a:lnTo>
                    <a:pt x="792" y="344"/>
                  </a:lnTo>
                  <a:lnTo>
                    <a:pt x="784" y="342"/>
                  </a:lnTo>
                  <a:lnTo>
                    <a:pt x="774" y="340"/>
                  </a:lnTo>
                  <a:lnTo>
                    <a:pt x="768" y="340"/>
                  </a:lnTo>
                  <a:lnTo>
                    <a:pt x="764" y="340"/>
                  </a:lnTo>
                  <a:lnTo>
                    <a:pt x="748" y="348"/>
                  </a:lnTo>
                  <a:lnTo>
                    <a:pt x="742" y="348"/>
                  </a:lnTo>
                  <a:lnTo>
                    <a:pt x="726" y="348"/>
                  </a:lnTo>
                  <a:lnTo>
                    <a:pt x="716" y="346"/>
                  </a:lnTo>
                  <a:lnTo>
                    <a:pt x="710" y="346"/>
                  </a:lnTo>
                  <a:lnTo>
                    <a:pt x="704" y="348"/>
                  </a:lnTo>
                  <a:lnTo>
                    <a:pt x="698" y="352"/>
                  </a:lnTo>
                  <a:lnTo>
                    <a:pt x="692" y="356"/>
                  </a:lnTo>
                  <a:lnTo>
                    <a:pt x="690" y="356"/>
                  </a:lnTo>
                  <a:lnTo>
                    <a:pt x="690" y="352"/>
                  </a:lnTo>
                  <a:lnTo>
                    <a:pt x="688" y="350"/>
                  </a:lnTo>
                  <a:lnTo>
                    <a:pt x="686" y="342"/>
                  </a:lnTo>
                  <a:lnTo>
                    <a:pt x="684" y="334"/>
                  </a:lnTo>
                  <a:lnTo>
                    <a:pt x="686" y="330"/>
                  </a:lnTo>
                  <a:lnTo>
                    <a:pt x="690" y="328"/>
                  </a:lnTo>
                  <a:lnTo>
                    <a:pt x="692" y="322"/>
                  </a:lnTo>
                  <a:lnTo>
                    <a:pt x="690" y="312"/>
                  </a:lnTo>
                  <a:lnTo>
                    <a:pt x="690" y="306"/>
                  </a:lnTo>
                  <a:lnTo>
                    <a:pt x="692" y="302"/>
                  </a:lnTo>
                  <a:lnTo>
                    <a:pt x="690" y="292"/>
                  </a:lnTo>
                  <a:lnTo>
                    <a:pt x="686" y="278"/>
                  </a:lnTo>
                  <a:lnTo>
                    <a:pt x="678" y="266"/>
                  </a:lnTo>
                  <a:lnTo>
                    <a:pt x="668" y="258"/>
                  </a:lnTo>
                  <a:lnTo>
                    <a:pt x="662" y="248"/>
                  </a:lnTo>
                  <a:lnTo>
                    <a:pt x="660" y="240"/>
                  </a:lnTo>
                  <a:lnTo>
                    <a:pt x="662" y="220"/>
                  </a:lnTo>
                  <a:lnTo>
                    <a:pt x="664" y="202"/>
                  </a:lnTo>
                  <a:lnTo>
                    <a:pt x="666" y="188"/>
                  </a:lnTo>
                  <a:lnTo>
                    <a:pt x="666" y="166"/>
                  </a:lnTo>
                  <a:lnTo>
                    <a:pt x="660" y="150"/>
                  </a:lnTo>
                  <a:lnTo>
                    <a:pt x="658" y="134"/>
                  </a:lnTo>
                  <a:lnTo>
                    <a:pt x="662" y="116"/>
                  </a:lnTo>
                  <a:lnTo>
                    <a:pt x="662" y="104"/>
                  </a:lnTo>
                  <a:lnTo>
                    <a:pt x="660" y="98"/>
                  </a:lnTo>
                  <a:lnTo>
                    <a:pt x="658" y="98"/>
                  </a:lnTo>
                  <a:lnTo>
                    <a:pt x="656" y="96"/>
                  </a:lnTo>
                  <a:lnTo>
                    <a:pt x="640" y="96"/>
                  </a:lnTo>
                  <a:lnTo>
                    <a:pt x="620" y="96"/>
                  </a:lnTo>
                  <a:lnTo>
                    <a:pt x="600" y="96"/>
                  </a:lnTo>
                  <a:lnTo>
                    <a:pt x="580" y="94"/>
                  </a:lnTo>
                  <a:lnTo>
                    <a:pt x="578" y="92"/>
                  </a:lnTo>
                  <a:lnTo>
                    <a:pt x="576" y="88"/>
                  </a:lnTo>
                  <a:lnTo>
                    <a:pt x="576" y="84"/>
                  </a:lnTo>
                  <a:lnTo>
                    <a:pt x="580" y="72"/>
                  </a:lnTo>
                  <a:lnTo>
                    <a:pt x="580" y="72"/>
                  </a:lnTo>
                  <a:lnTo>
                    <a:pt x="572" y="72"/>
                  </a:lnTo>
                  <a:lnTo>
                    <a:pt x="554" y="72"/>
                  </a:lnTo>
                  <a:lnTo>
                    <a:pt x="542" y="74"/>
                  </a:lnTo>
                  <a:lnTo>
                    <a:pt x="534" y="76"/>
                  </a:lnTo>
                  <a:lnTo>
                    <a:pt x="518" y="80"/>
                  </a:lnTo>
                  <a:lnTo>
                    <a:pt x="510" y="86"/>
                  </a:lnTo>
                  <a:lnTo>
                    <a:pt x="508" y="96"/>
                  </a:lnTo>
                  <a:lnTo>
                    <a:pt x="508" y="102"/>
                  </a:lnTo>
                  <a:lnTo>
                    <a:pt x="508" y="108"/>
                  </a:lnTo>
                  <a:lnTo>
                    <a:pt x="504" y="114"/>
                  </a:lnTo>
                  <a:lnTo>
                    <a:pt x="500" y="120"/>
                  </a:lnTo>
                  <a:lnTo>
                    <a:pt x="500" y="124"/>
                  </a:lnTo>
                  <a:lnTo>
                    <a:pt x="498" y="140"/>
                  </a:lnTo>
                  <a:lnTo>
                    <a:pt x="486" y="142"/>
                  </a:lnTo>
                  <a:lnTo>
                    <a:pt x="472" y="142"/>
                  </a:lnTo>
                  <a:lnTo>
                    <a:pt x="470" y="142"/>
                  </a:lnTo>
                  <a:lnTo>
                    <a:pt x="452" y="138"/>
                  </a:lnTo>
                  <a:lnTo>
                    <a:pt x="446" y="138"/>
                  </a:lnTo>
                  <a:lnTo>
                    <a:pt x="442" y="140"/>
                  </a:lnTo>
                  <a:lnTo>
                    <a:pt x="432" y="142"/>
                  </a:lnTo>
                  <a:lnTo>
                    <a:pt x="422" y="144"/>
                  </a:lnTo>
                  <a:lnTo>
                    <a:pt x="414" y="150"/>
                  </a:lnTo>
                  <a:lnTo>
                    <a:pt x="410" y="150"/>
                  </a:lnTo>
                  <a:lnTo>
                    <a:pt x="404" y="148"/>
                  </a:lnTo>
                  <a:lnTo>
                    <a:pt x="396" y="148"/>
                  </a:lnTo>
                  <a:lnTo>
                    <a:pt x="386" y="148"/>
                  </a:lnTo>
                  <a:lnTo>
                    <a:pt x="382" y="150"/>
                  </a:lnTo>
                  <a:lnTo>
                    <a:pt x="380" y="148"/>
                  </a:lnTo>
                  <a:lnTo>
                    <a:pt x="372" y="134"/>
                  </a:lnTo>
                  <a:lnTo>
                    <a:pt x="360" y="118"/>
                  </a:lnTo>
                  <a:lnTo>
                    <a:pt x="354" y="106"/>
                  </a:lnTo>
                  <a:lnTo>
                    <a:pt x="352" y="104"/>
                  </a:lnTo>
                  <a:lnTo>
                    <a:pt x="348" y="100"/>
                  </a:lnTo>
                  <a:lnTo>
                    <a:pt x="344" y="94"/>
                  </a:lnTo>
                  <a:lnTo>
                    <a:pt x="342" y="86"/>
                  </a:lnTo>
                  <a:lnTo>
                    <a:pt x="342" y="80"/>
                  </a:lnTo>
                  <a:lnTo>
                    <a:pt x="340" y="72"/>
                  </a:lnTo>
                  <a:lnTo>
                    <a:pt x="332" y="62"/>
                  </a:lnTo>
                  <a:lnTo>
                    <a:pt x="328" y="52"/>
                  </a:lnTo>
                  <a:lnTo>
                    <a:pt x="326" y="42"/>
                  </a:lnTo>
                  <a:lnTo>
                    <a:pt x="324" y="34"/>
                  </a:lnTo>
                  <a:lnTo>
                    <a:pt x="326" y="26"/>
                  </a:lnTo>
                  <a:lnTo>
                    <a:pt x="324" y="22"/>
                  </a:lnTo>
                  <a:lnTo>
                    <a:pt x="320" y="18"/>
                  </a:lnTo>
                  <a:lnTo>
                    <a:pt x="318" y="14"/>
                  </a:lnTo>
                  <a:lnTo>
                    <a:pt x="318" y="12"/>
                  </a:lnTo>
                  <a:lnTo>
                    <a:pt x="314" y="8"/>
                  </a:lnTo>
                  <a:lnTo>
                    <a:pt x="308" y="4"/>
                  </a:lnTo>
                  <a:lnTo>
                    <a:pt x="300" y="2"/>
                  </a:lnTo>
                  <a:lnTo>
                    <a:pt x="282" y="2"/>
                  </a:lnTo>
                  <a:lnTo>
                    <a:pt x="262" y="2"/>
                  </a:lnTo>
                  <a:lnTo>
                    <a:pt x="242" y="2"/>
                  </a:lnTo>
                  <a:lnTo>
                    <a:pt x="220" y="2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74" y="4"/>
                  </a:lnTo>
                  <a:lnTo>
                    <a:pt x="160" y="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2" name="Freeform 3736">
              <a:extLst>
                <a:ext uri="{FF2B5EF4-FFF2-40B4-BE49-F238E27FC236}">
                  <a16:creationId xmlns:a16="http://schemas.microsoft.com/office/drawing/2014/main" id="{5DBBCF32-3BD6-4501-94ED-ED4E748DB3F7}"/>
                </a:ext>
              </a:extLst>
            </p:cNvPr>
            <p:cNvSpPr/>
            <p:nvPr/>
          </p:nvSpPr>
          <p:spPr bwMode="auto">
            <a:xfrm>
              <a:off x="5602179" y="5521960"/>
              <a:ext cx="26210" cy="33148"/>
            </a:xfrm>
            <a:custGeom>
              <a:avLst/>
              <a:gdLst>
                <a:gd name="T0" fmla="*/ 16 w 68"/>
                <a:gd name="T1" fmla="*/ 86 h 86"/>
                <a:gd name="T2" fmla="*/ 24 w 68"/>
                <a:gd name="T3" fmla="*/ 84 h 86"/>
                <a:gd name="T4" fmla="*/ 30 w 68"/>
                <a:gd name="T5" fmla="*/ 84 h 86"/>
                <a:gd name="T6" fmla="*/ 32 w 68"/>
                <a:gd name="T7" fmla="*/ 82 h 86"/>
                <a:gd name="T8" fmla="*/ 32 w 68"/>
                <a:gd name="T9" fmla="*/ 64 h 86"/>
                <a:gd name="T10" fmla="*/ 34 w 68"/>
                <a:gd name="T11" fmla="*/ 46 h 86"/>
                <a:gd name="T12" fmla="*/ 30 w 68"/>
                <a:gd name="T13" fmla="*/ 44 h 86"/>
                <a:gd name="T14" fmla="*/ 28 w 68"/>
                <a:gd name="T15" fmla="*/ 42 h 86"/>
                <a:gd name="T16" fmla="*/ 28 w 68"/>
                <a:gd name="T17" fmla="*/ 42 h 86"/>
                <a:gd name="T18" fmla="*/ 32 w 68"/>
                <a:gd name="T19" fmla="*/ 40 h 86"/>
                <a:gd name="T20" fmla="*/ 36 w 68"/>
                <a:gd name="T21" fmla="*/ 36 h 86"/>
                <a:gd name="T22" fmla="*/ 38 w 68"/>
                <a:gd name="T23" fmla="*/ 36 h 86"/>
                <a:gd name="T24" fmla="*/ 42 w 68"/>
                <a:gd name="T25" fmla="*/ 30 h 86"/>
                <a:gd name="T26" fmla="*/ 54 w 68"/>
                <a:gd name="T27" fmla="*/ 20 h 86"/>
                <a:gd name="T28" fmla="*/ 60 w 68"/>
                <a:gd name="T29" fmla="*/ 16 h 86"/>
                <a:gd name="T30" fmla="*/ 68 w 68"/>
                <a:gd name="T31" fmla="*/ 14 h 86"/>
                <a:gd name="T32" fmla="*/ 68 w 68"/>
                <a:gd name="T33" fmla="*/ 12 h 86"/>
                <a:gd name="T34" fmla="*/ 68 w 68"/>
                <a:gd name="T35" fmla="*/ 12 h 86"/>
                <a:gd name="T36" fmla="*/ 62 w 68"/>
                <a:gd name="T37" fmla="*/ 8 h 86"/>
                <a:gd name="T38" fmla="*/ 56 w 68"/>
                <a:gd name="T39" fmla="*/ 0 h 86"/>
                <a:gd name="T40" fmla="*/ 54 w 68"/>
                <a:gd name="T41" fmla="*/ 0 h 86"/>
                <a:gd name="T42" fmla="*/ 52 w 68"/>
                <a:gd name="T43" fmla="*/ 0 h 86"/>
                <a:gd name="T44" fmla="*/ 46 w 68"/>
                <a:gd name="T45" fmla="*/ 2 h 86"/>
                <a:gd name="T46" fmla="*/ 40 w 68"/>
                <a:gd name="T47" fmla="*/ 6 h 86"/>
                <a:gd name="T48" fmla="*/ 32 w 68"/>
                <a:gd name="T49" fmla="*/ 10 h 86"/>
                <a:gd name="T50" fmla="*/ 24 w 68"/>
                <a:gd name="T51" fmla="*/ 12 h 86"/>
                <a:gd name="T52" fmla="*/ 24 w 68"/>
                <a:gd name="T53" fmla="*/ 14 h 86"/>
                <a:gd name="T54" fmla="*/ 22 w 68"/>
                <a:gd name="T55" fmla="*/ 18 h 86"/>
                <a:gd name="T56" fmla="*/ 18 w 68"/>
                <a:gd name="T57" fmla="*/ 22 h 86"/>
                <a:gd name="T58" fmla="*/ 12 w 68"/>
                <a:gd name="T59" fmla="*/ 22 h 86"/>
                <a:gd name="T60" fmla="*/ 10 w 68"/>
                <a:gd name="T61" fmla="*/ 26 h 86"/>
                <a:gd name="T62" fmla="*/ 4 w 68"/>
                <a:gd name="T63" fmla="*/ 34 h 86"/>
                <a:gd name="T64" fmla="*/ 0 w 68"/>
                <a:gd name="T65" fmla="*/ 38 h 86"/>
                <a:gd name="T66" fmla="*/ 2 w 68"/>
                <a:gd name="T67" fmla="*/ 40 h 86"/>
                <a:gd name="T68" fmla="*/ 6 w 68"/>
                <a:gd name="T69" fmla="*/ 50 h 86"/>
                <a:gd name="T70" fmla="*/ 10 w 68"/>
                <a:gd name="T71" fmla="*/ 58 h 86"/>
                <a:gd name="T72" fmla="*/ 12 w 68"/>
                <a:gd name="T73" fmla="*/ 68 h 86"/>
                <a:gd name="T74" fmla="*/ 10 w 68"/>
                <a:gd name="T75" fmla="*/ 72 h 86"/>
                <a:gd name="T76" fmla="*/ 8 w 68"/>
                <a:gd name="T77" fmla="*/ 78 h 86"/>
                <a:gd name="T78" fmla="*/ 12 w 68"/>
                <a:gd name="T79" fmla="*/ 86 h 86"/>
                <a:gd name="T80" fmla="*/ 12 w 68"/>
                <a:gd name="T81" fmla="*/ 86 h 86"/>
                <a:gd name="T82" fmla="*/ 16 w 68"/>
                <a:gd name="T83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8" h="86">
                  <a:moveTo>
                    <a:pt x="16" y="86"/>
                  </a:moveTo>
                  <a:lnTo>
                    <a:pt x="24" y="84"/>
                  </a:lnTo>
                  <a:lnTo>
                    <a:pt x="30" y="84"/>
                  </a:lnTo>
                  <a:lnTo>
                    <a:pt x="32" y="82"/>
                  </a:lnTo>
                  <a:lnTo>
                    <a:pt x="32" y="64"/>
                  </a:lnTo>
                  <a:lnTo>
                    <a:pt x="34" y="46"/>
                  </a:lnTo>
                  <a:lnTo>
                    <a:pt x="30" y="44"/>
                  </a:lnTo>
                  <a:lnTo>
                    <a:pt x="28" y="42"/>
                  </a:lnTo>
                  <a:lnTo>
                    <a:pt x="28" y="42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38" y="36"/>
                  </a:lnTo>
                  <a:lnTo>
                    <a:pt x="42" y="30"/>
                  </a:lnTo>
                  <a:lnTo>
                    <a:pt x="54" y="20"/>
                  </a:lnTo>
                  <a:lnTo>
                    <a:pt x="60" y="16"/>
                  </a:lnTo>
                  <a:lnTo>
                    <a:pt x="68" y="14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2" y="8"/>
                  </a:lnTo>
                  <a:lnTo>
                    <a:pt x="56" y="0"/>
                  </a:lnTo>
                  <a:lnTo>
                    <a:pt x="54" y="0"/>
                  </a:lnTo>
                  <a:lnTo>
                    <a:pt x="52" y="0"/>
                  </a:lnTo>
                  <a:lnTo>
                    <a:pt x="46" y="2"/>
                  </a:lnTo>
                  <a:lnTo>
                    <a:pt x="40" y="6"/>
                  </a:lnTo>
                  <a:lnTo>
                    <a:pt x="32" y="10"/>
                  </a:lnTo>
                  <a:lnTo>
                    <a:pt x="24" y="12"/>
                  </a:lnTo>
                  <a:lnTo>
                    <a:pt x="24" y="14"/>
                  </a:lnTo>
                  <a:lnTo>
                    <a:pt x="22" y="18"/>
                  </a:lnTo>
                  <a:lnTo>
                    <a:pt x="18" y="22"/>
                  </a:lnTo>
                  <a:lnTo>
                    <a:pt x="12" y="22"/>
                  </a:lnTo>
                  <a:lnTo>
                    <a:pt x="10" y="26"/>
                  </a:lnTo>
                  <a:lnTo>
                    <a:pt x="4" y="34"/>
                  </a:lnTo>
                  <a:lnTo>
                    <a:pt x="0" y="38"/>
                  </a:lnTo>
                  <a:lnTo>
                    <a:pt x="2" y="40"/>
                  </a:lnTo>
                  <a:lnTo>
                    <a:pt x="6" y="50"/>
                  </a:lnTo>
                  <a:lnTo>
                    <a:pt x="10" y="58"/>
                  </a:lnTo>
                  <a:lnTo>
                    <a:pt x="12" y="68"/>
                  </a:lnTo>
                  <a:lnTo>
                    <a:pt x="10" y="72"/>
                  </a:lnTo>
                  <a:lnTo>
                    <a:pt x="8" y="78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16" y="8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3" name="Line 3737">
              <a:extLst>
                <a:ext uri="{FF2B5EF4-FFF2-40B4-BE49-F238E27FC236}">
                  <a16:creationId xmlns:a16="http://schemas.microsoft.com/office/drawing/2014/main" id="{E71E75D1-4EBB-4332-B16A-91FEA56A4C9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608346" y="5555107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4" name="Line 3740">
              <a:extLst>
                <a:ext uri="{FF2B5EF4-FFF2-40B4-BE49-F238E27FC236}">
                  <a16:creationId xmlns:a16="http://schemas.microsoft.com/office/drawing/2014/main" id="{7F4DCAFB-6EE5-491C-98D9-FC2B7AF0801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608346" y="5555107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" name="Freeform 3741">
              <a:extLst>
                <a:ext uri="{FF2B5EF4-FFF2-40B4-BE49-F238E27FC236}">
                  <a16:creationId xmlns:a16="http://schemas.microsoft.com/office/drawing/2014/main" id="{EEF1D8EC-C1D7-4333-AF0E-EB0C5058D013}"/>
                </a:ext>
              </a:extLst>
            </p:cNvPr>
            <p:cNvSpPr/>
            <p:nvPr/>
          </p:nvSpPr>
          <p:spPr bwMode="auto">
            <a:xfrm>
              <a:off x="3702738" y="4939948"/>
              <a:ext cx="4625" cy="2313"/>
            </a:xfrm>
            <a:custGeom>
              <a:avLst/>
              <a:gdLst>
                <a:gd name="T0" fmla="*/ 10 w 12"/>
                <a:gd name="T1" fmla="*/ 4 h 6"/>
                <a:gd name="T2" fmla="*/ 12 w 12"/>
                <a:gd name="T3" fmla="*/ 0 h 6"/>
                <a:gd name="T4" fmla="*/ 8 w 12"/>
                <a:gd name="T5" fmla="*/ 0 h 6"/>
                <a:gd name="T6" fmla="*/ 0 w 12"/>
                <a:gd name="T7" fmla="*/ 4 h 6"/>
                <a:gd name="T8" fmla="*/ 0 w 12"/>
                <a:gd name="T9" fmla="*/ 6 h 6"/>
                <a:gd name="T10" fmla="*/ 10 w 12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">
                  <a:moveTo>
                    <a:pt x="10" y="4"/>
                  </a:moveTo>
                  <a:lnTo>
                    <a:pt x="12" y="0"/>
                  </a:lnTo>
                  <a:lnTo>
                    <a:pt x="8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10" y="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Line 3742">
              <a:extLst>
                <a:ext uri="{FF2B5EF4-FFF2-40B4-BE49-F238E27FC236}">
                  <a16:creationId xmlns:a16="http://schemas.microsoft.com/office/drawing/2014/main" id="{519AC94A-44E7-4327-97EC-69AF6B38D4A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06593" y="4941489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" name="Line 3744">
              <a:extLst>
                <a:ext uri="{FF2B5EF4-FFF2-40B4-BE49-F238E27FC236}">
                  <a16:creationId xmlns:a16="http://schemas.microsoft.com/office/drawing/2014/main" id="{B950D345-324B-4212-A7A8-376A2CB2FE6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06593" y="4941489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" name="Freeform 3745">
              <a:extLst>
                <a:ext uri="{FF2B5EF4-FFF2-40B4-BE49-F238E27FC236}">
                  <a16:creationId xmlns:a16="http://schemas.microsoft.com/office/drawing/2014/main" id="{784324DE-875B-48B6-B35F-172575A31B85}"/>
                </a:ext>
              </a:extLst>
            </p:cNvPr>
            <p:cNvSpPr/>
            <p:nvPr/>
          </p:nvSpPr>
          <p:spPr bwMode="auto">
            <a:xfrm>
              <a:off x="5786418" y="4216094"/>
              <a:ext cx="43169" cy="100214"/>
            </a:xfrm>
            <a:custGeom>
              <a:avLst/>
              <a:gdLst>
                <a:gd name="T0" fmla="*/ 48 w 112"/>
                <a:gd name="T1" fmla="*/ 8 h 260"/>
                <a:gd name="T2" fmla="*/ 36 w 112"/>
                <a:gd name="T3" fmla="*/ 14 h 260"/>
                <a:gd name="T4" fmla="*/ 30 w 112"/>
                <a:gd name="T5" fmla="*/ 14 h 260"/>
                <a:gd name="T6" fmla="*/ 28 w 112"/>
                <a:gd name="T7" fmla="*/ 4 h 260"/>
                <a:gd name="T8" fmla="*/ 26 w 112"/>
                <a:gd name="T9" fmla="*/ 0 h 260"/>
                <a:gd name="T10" fmla="*/ 18 w 112"/>
                <a:gd name="T11" fmla="*/ 6 h 260"/>
                <a:gd name="T12" fmla="*/ 10 w 112"/>
                <a:gd name="T13" fmla="*/ 20 h 260"/>
                <a:gd name="T14" fmla="*/ 4 w 112"/>
                <a:gd name="T15" fmla="*/ 32 h 260"/>
                <a:gd name="T16" fmla="*/ 6 w 112"/>
                <a:gd name="T17" fmla="*/ 38 h 260"/>
                <a:gd name="T18" fmla="*/ 12 w 112"/>
                <a:gd name="T19" fmla="*/ 48 h 260"/>
                <a:gd name="T20" fmla="*/ 6 w 112"/>
                <a:gd name="T21" fmla="*/ 50 h 260"/>
                <a:gd name="T22" fmla="*/ 4 w 112"/>
                <a:gd name="T23" fmla="*/ 52 h 260"/>
                <a:gd name="T24" fmla="*/ 4 w 112"/>
                <a:gd name="T25" fmla="*/ 58 h 260"/>
                <a:gd name="T26" fmla="*/ 2 w 112"/>
                <a:gd name="T27" fmla="*/ 68 h 260"/>
                <a:gd name="T28" fmla="*/ 18 w 112"/>
                <a:gd name="T29" fmla="*/ 76 h 260"/>
                <a:gd name="T30" fmla="*/ 16 w 112"/>
                <a:gd name="T31" fmla="*/ 92 h 260"/>
                <a:gd name="T32" fmla="*/ 8 w 112"/>
                <a:gd name="T33" fmla="*/ 108 h 260"/>
                <a:gd name="T34" fmla="*/ 12 w 112"/>
                <a:gd name="T35" fmla="*/ 124 h 260"/>
                <a:gd name="T36" fmla="*/ 10 w 112"/>
                <a:gd name="T37" fmla="*/ 150 h 260"/>
                <a:gd name="T38" fmla="*/ 2 w 112"/>
                <a:gd name="T39" fmla="*/ 174 h 260"/>
                <a:gd name="T40" fmla="*/ 8 w 112"/>
                <a:gd name="T41" fmla="*/ 190 h 260"/>
                <a:gd name="T42" fmla="*/ 8 w 112"/>
                <a:gd name="T43" fmla="*/ 198 h 260"/>
                <a:gd name="T44" fmla="*/ 4 w 112"/>
                <a:gd name="T45" fmla="*/ 196 h 260"/>
                <a:gd name="T46" fmla="*/ 4 w 112"/>
                <a:gd name="T47" fmla="*/ 202 h 260"/>
                <a:gd name="T48" fmla="*/ 12 w 112"/>
                <a:gd name="T49" fmla="*/ 212 h 260"/>
                <a:gd name="T50" fmla="*/ 42 w 112"/>
                <a:gd name="T51" fmla="*/ 242 h 260"/>
                <a:gd name="T52" fmla="*/ 46 w 112"/>
                <a:gd name="T53" fmla="*/ 256 h 260"/>
                <a:gd name="T54" fmla="*/ 50 w 112"/>
                <a:gd name="T55" fmla="*/ 256 h 260"/>
                <a:gd name="T56" fmla="*/ 58 w 112"/>
                <a:gd name="T57" fmla="*/ 260 h 260"/>
                <a:gd name="T58" fmla="*/ 64 w 112"/>
                <a:gd name="T59" fmla="*/ 256 h 260"/>
                <a:gd name="T60" fmla="*/ 64 w 112"/>
                <a:gd name="T61" fmla="*/ 250 h 260"/>
                <a:gd name="T62" fmla="*/ 68 w 112"/>
                <a:gd name="T63" fmla="*/ 248 h 260"/>
                <a:gd name="T64" fmla="*/ 70 w 112"/>
                <a:gd name="T65" fmla="*/ 244 h 260"/>
                <a:gd name="T66" fmla="*/ 66 w 112"/>
                <a:gd name="T67" fmla="*/ 236 h 260"/>
                <a:gd name="T68" fmla="*/ 68 w 112"/>
                <a:gd name="T69" fmla="*/ 232 h 260"/>
                <a:gd name="T70" fmla="*/ 72 w 112"/>
                <a:gd name="T71" fmla="*/ 226 h 260"/>
                <a:gd name="T72" fmla="*/ 80 w 112"/>
                <a:gd name="T73" fmla="*/ 226 h 260"/>
                <a:gd name="T74" fmla="*/ 88 w 112"/>
                <a:gd name="T75" fmla="*/ 220 h 260"/>
                <a:gd name="T76" fmla="*/ 90 w 112"/>
                <a:gd name="T77" fmla="*/ 210 h 260"/>
                <a:gd name="T78" fmla="*/ 94 w 112"/>
                <a:gd name="T79" fmla="*/ 202 h 260"/>
                <a:gd name="T80" fmla="*/ 98 w 112"/>
                <a:gd name="T81" fmla="*/ 192 h 260"/>
                <a:gd name="T82" fmla="*/ 108 w 112"/>
                <a:gd name="T83" fmla="*/ 188 h 260"/>
                <a:gd name="T84" fmla="*/ 112 w 112"/>
                <a:gd name="T85" fmla="*/ 178 h 260"/>
                <a:gd name="T86" fmla="*/ 110 w 112"/>
                <a:gd name="T87" fmla="*/ 170 h 260"/>
                <a:gd name="T88" fmla="*/ 108 w 112"/>
                <a:gd name="T89" fmla="*/ 158 h 260"/>
                <a:gd name="T90" fmla="*/ 106 w 112"/>
                <a:gd name="T91" fmla="*/ 154 h 260"/>
                <a:gd name="T92" fmla="*/ 94 w 112"/>
                <a:gd name="T93" fmla="*/ 152 h 260"/>
                <a:gd name="T94" fmla="*/ 88 w 112"/>
                <a:gd name="T95" fmla="*/ 140 h 260"/>
                <a:gd name="T96" fmla="*/ 82 w 112"/>
                <a:gd name="T97" fmla="*/ 134 h 260"/>
                <a:gd name="T98" fmla="*/ 78 w 112"/>
                <a:gd name="T99" fmla="*/ 116 h 260"/>
                <a:gd name="T100" fmla="*/ 74 w 112"/>
                <a:gd name="T101" fmla="*/ 100 h 260"/>
                <a:gd name="T102" fmla="*/ 80 w 112"/>
                <a:gd name="T103" fmla="*/ 94 h 260"/>
                <a:gd name="T104" fmla="*/ 78 w 112"/>
                <a:gd name="T105" fmla="*/ 84 h 260"/>
                <a:gd name="T106" fmla="*/ 82 w 112"/>
                <a:gd name="T107" fmla="*/ 68 h 260"/>
                <a:gd name="T108" fmla="*/ 82 w 112"/>
                <a:gd name="T109" fmla="*/ 56 h 260"/>
                <a:gd name="T110" fmla="*/ 78 w 112"/>
                <a:gd name="T111" fmla="*/ 38 h 260"/>
                <a:gd name="T112" fmla="*/ 68 w 112"/>
                <a:gd name="T113" fmla="*/ 30 h 260"/>
                <a:gd name="T114" fmla="*/ 58 w 112"/>
                <a:gd name="T115" fmla="*/ 20 h 260"/>
                <a:gd name="T116" fmla="*/ 50 w 112"/>
                <a:gd name="T117" fmla="*/ 8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2" h="260">
                  <a:moveTo>
                    <a:pt x="50" y="8"/>
                  </a:moveTo>
                  <a:lnTo>
                    <a:pt x="48" y="8"/>
                  </a:lnTo>
                  <a:lnTo>
                    <a:pt x="42" y="12"/>
                  </a:lnTo>
                  <a:lnTo>
                    <a:pt x="36" y="14"/>
                  </a:lnTo>
                  <a:lnTo>
                    <a:pt x="32" y="14"/>
                  </a:lnTo>
                  <a:lnTo>
                    <a:pt x="30" y="14"/>
                  </a:lnTo>
                  <a:lnTo>
                    <a:pt x="28" y="10"/>
                  </a:lnTo>
                  <a:lnTo>
                    <a:pt x="28" y="4"/>
                  </a:lnTo>
                  <a:lnTo>
                    <a:pt x="28" y="2"/>
                  </a:lnTo>
                  <a:lnTo>
                    <a:pt x="26" y="0"/>
                  </a:lnTo>
                  <a:lnTo>
                    <a:pt x="22" y="2"/>
                  </a:lnTo>
                  <a:lnTo>
                    <a:pt x="18" y="6"/>
                  </a:lnTo>
                  <a:lnTo>
                    <a:pt x="16" y="14"/>
                  </a:lnTo>
                  <a:lnTo>
                    <a:pt x="10" y="20"/>
                  </a:lnTo>
                  <a:lnTo>
                    <a:pt x="6" y="2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6" y="38"/>
                  </a:lnTo>
                  <a:lnTo>
                    <a:pt x="10" y="44"/>
                  </a:lnTo>
                  <a:lnTo>
                    <a:pt x="12" y="48"/>
                  </a:lnTo>
                  <a:lnTo>
                    <a:pt x="10" y="50"/>
                  </a:lnTo>
                  <a:lnTo>
                    <a:pt x="6" y="50"/>
                  </a:lnTo>
                  <a:lnTo>
                    <a:pt x="2" y="48"/>
                  </a:lnTo>
                  <a:lnTo>
                    <a:pt x="4" y="52"/>
                  </a:lnTo>
                  <a:lnTo>
                    <a:pt x="2" y="54"/>
                  </a:lnTo>
                  <a:lnTo>
                    <a:pt x="4" y="58"/>
                  </a:lnTo>
                  <a:lnTo>
                    <a:pt x="2" y="64"/>
                  </a:lnTo>
                  <a:lnTo>
                    <a:pt x="2" y="68"/>
                  </a:lnTo>
                  <a:lnTo>
                    <a:pt x="10" y="70"/>
                  </a:lnTo>
                  <a:lnTo>
                    <a:pt x="18" y="76"/>
                  </a:lnTo>
                  <a:lnTo>
                    <a:pt x="18" y="88"/>
                  </a:lnTo>
                  <a:lnTo>
                    <a:pt x="16" y="92"/>
                  </a:lnTo>
                  <a:lnTo>
                    <a:pt x="12" y="96"/>
                  </a:lnTo>
                  <a:lnTo>
                    <a:pt x="8" y="108"/>
                  </a:lnTo>
                  <a:lnTo>
                    <a:pt x="10" y="116"/>
                  </a:lnTo>
                  <a:lnTo>
                    <a:pt x="12" y="124"/>
                  </a:lnTo>
                  <a:lnTo>
                    <a:pt x="10" y="136"/>
                  </a:lnTo>
                  <a:lnTo>
                    <a:pt x="10" y="150"/>
                  </a:lnTo>
                  <a:lnTo>
                    <a:pt x="4" y="162"/>
                  </a:lnTo>
                  <a:lnTo>
                    <a:pt x="2" y="174"/>
                  </a:lnTo>
                  <a:lnTo>
                    <a:pt x="2" y="178"/>
                  </a:lnTo>
                  <a:lnTo>
                    <a:pt x="8" y="190"/>
                  </a:lnTo>
                  <a:lnTo>
                    <a:pt x="10" y="196"/>
                  </a:lnTo>
                  <a:lnTo>
                    <a:pt x="8" y="198"/>
                  </a:lnTo>
                  <a:lnTo>
                    <a:pt x="6" y="196"/>
                  </a:lnTo>
                  <a:lnTo>
                    <a:pt x="4" y="196"/>
                  </a:lnTo>
                  <a:lnTo>
                    <a:pt x="0" y="196"/>
                  </a:lnTo>
                  <a:lnTo>
                    <a:pt x="4" y="202"/>
                  </a:lnTo>
                  <a:lnTo>
                    <a:pt x="6" y="206"/>
                  </a:lnTo>
                  <a:lnTo>
                    <a:pt x="12" y="212"/>
                  </a:lnTo>
                  <a:lnTo>
                    <a:pt x="36" y="228"/>
                  </a:lnTo>
                  <a:lnTo>
                    <a:pt x="42" y="242"/>
                  </a:lnTo>
                  <a:lnTo>
                    <a:pt x="46" y="248"/>
                  </a:lnTo>
                  <a:lnTo>
                    <a:pt x="46" y="256"/>
                  </a:lnTo>
                  <a:lnTo>
                    <a:pt x="46" y="256"/>
                  </a:lnTo>
                  <a:lnTo>
                    <a:pt x="50" y="256"/>
                  </a:lnTo>
                  <a:lnTo>
                    <a:pt x="54" y="260"/>
                  </a:lnTo>
                  <a:lnTo>
                    <a:pt x="58" y="260"/>
                  </a:lnTo>
                  <a:lnTo>
                    <a:pt x="62" y="258"/>
                  </a:lnTo>
                  <a:lnTo>
                    <a:pt x="64" y="256"/>
                  </a:lnTo>
                  <a:lnTo>
                    <a:pt x="64" y="254"/>
                  </a:lnTo>
                  <a:lnTo>
                    <a:pt x="64" y="250"/>
                  </a:lnTo>
                  <a:lnTo>
                    <a:pt x="66" y="248"/>
                  </a:lnTo>
                  <a:lnTo>
                    <a:pt x="68" y="248"/>
                  </a:lnTo>
                  <a:lnTo>
                    <a:pt x="70" y="248"/>
                  </a:lnTo>
                  <a:lnTo>
                    <a:pt x="70" y="244"/>
                  </a:lnTo>
                  <a:lnTo>
                    <a:pt x="68" y="240"/>
                  </a:lnTo>
                  <a:lnTo>
                    <a:pt x="66" y="236"/>
                  </a:lnTo>
                  <a:lnTo>
                    <a:pt x="66" y="232"/>
                  </a:lnTo>
                  <a:lnTo>
                    <a:pt x="68" y="232"/>
                  </a:lnTo>
                  <a:lnTo>
                    <a:pt x="70" y="230"/>
                  </a:lnTo>
                  <a:lnTo>
                    <a:pt x="72" y="226"/>
                  </a:lnTo>
                  <a:lnTo>
                    <a:pt x="76" y="226"/>
                  </a:lnTo>
                  <a:lnTo>
                    <a:pt x="80" y="226"/>
                  </a:lnTo>
                  <a:lnTo>
                    <a:pt x="84" y="224"/>
                  </a:lnTo>
                  <a:lnTo>
                    <a:pt x="88" y="220"/>
                  </a:lnTo>
                  <a:lnTo>
                    <a:pt x="88" y="218"/>
                  </a:lnTo>
                  <a:lnTo>
                    <a:pt x="90" y="210"/>
                  </a:lnTo>
                  <a:lnTo>
                    <a:pt x="92" y="206"/>
                  </a:lnTo>
                  <a:lnTo>
                    <a:pt x="94" y="202"/>
                  </a:lnTo>
                  <a:lnTo>
                    <a:pt x="96" y="198"/>
                  </a:lnTo>
                  <a:lnTo>
                    <a:pt x="98" y="192"/>
                  </a:lnTo>
                  <a:lnTo>
                    <a:pt x="104" y="190"/>
                  </a:lnTo>
                  <a:lnTo>
                    <a:pt x="108" y="188"/>
                  </a:lnTo>
                  <a:lnTo>
                    <a:pt x="112" y="182"/>
                  </a:lnTo>
                  <a:lnTo>
                    <a:pt x="112" y="178"/>
                  </a:lnTo>
                  <a:lnTo>
                    <a:pt x="112" y="174"/>
                  </a:lnTo>
                  <a:lnTo>
                    <a:pt x="110" y="170"/>
                  </a:lnTo>
                  <a:lnTo>
                    <a:pt x="108" y="164"/>
                  </a:lnTo>
                  <a:lnTo>
                    <a:pt x="108" y="158"/>
                  </a:lnTo>
                  <a:lnTo>
                    <a:pt x="108" y="156"/>
                  </a:lnTo>
                  <a:lnTo>
                    <a:pt x="106" y="154"/>
                  </a:lnTo>
                  <a:lnTo>
                    <a:pt x="102" y="152"/>
                  </a:lnTo>
                  <a:lnTo>
                    <a:pt x="94" y="152"/>
                  </a:lnTo>
                  <a:lnTo>
                    <a:pt x="92" y="150"/>
                  </a:lnTo>
                  <a:lnTo>
                    <a:pt x="88" y="140"/>
                  </a:lnTo>
                  <a:lnTo>
                    <a:pt x="86" y="138"/>
                  </a:lnTo>
                  <a:lnTo>
                    <a:pt x="82" y="134"/>
                  </a:lnTo>
                  <a:lnTo>
                    <a:pt x="78" y="120"/>
                  </a:lnTo>
                  <a:lnTo>
                    <a:pt x="78" y="116"/>
                  </a:lnTo>
                  <a:lnTo>
                    <a:pt x="78" y="110"/>
                  </a:lnTo>
                  <a:lnTo>
                    <a:pt x="74" y="100"/>
                  </a:lnTo>
                  <a:lnTo>
                    <a:pt x="76" y="96"/>
                  </a:lnTo>
                  <a:lnTo>
                    <a:pt x="80" y="94"/>
                  </a:lnTo>
                  <a:lnTo>
                    <a:pt x="80" y="90"/>
                  </a:lnTo>
                  <a:lnTo>
                    <a:pt x="78" y="84"/>
                  </a:lnTo>
                  <a:lnTo>
                    <a:pt x="82" y="70"/>
                  </a:lnTo>
                  <a:lnTo>
                    <a:pt x="82" y="68"/>
                  </a:lnTo>
                  <a:lnTo>
                    <a:pt x="84" y="64"/>
                  </a:lnTo>
                  <a:lnTo>
                    <a:pt x="82" y="56"/>
                  </a:lnTo>
                  <a:lnTo>
                    <a:pt x="80" y="42"/>
                  </a:lnTo>
                  <a:lnTo>
                    <a:pt x="78" y="38"/>
                  </a:lnTo>
                  <a:lnTo>
                    <a:pt x="72" y="32"/>
                  </a:lnTo>
                  <a:lnTo>
                    <a:pt x="68" y="30"/>
                  </a:lnTo>
                  <a:lnTo>
                    <a:pt x="62" y="28"/>
                  </a:lnTo>
                  <a:lnTo>
                    <a:pt x="58" y="20"/>
                  </a:lnTo>
                  <a:lnTo>
                    <a:pt x="52" y="10"/>
                  </a:lnTo>
                  <a:lnTo>
                    <a:pt x="50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" name="Freeform 17">
              <a:extLst>
                <a:ext uri="{FF2B5EF4-FFF2-40B4-BE49-F238E27FC236}">
                  <a16:creationId xmlns:a16="http://schemas.microsoft.com/office/drawing/2014/main" id="{249C34AD-562C-4664-BDB5-6FFDFD725040}"/>
                </a:ext>
              </a:extLst>
            </p:cNvPr>
            <p:cNvSpPr/>
            <p:nvPr/>
          </p:nvSpPr>
          <p:spPr bwMode="auto">
            <a:xfrm>
              <a:off x="6601235" y="4727186"/>
              <a:ext cx="121798" cy="95589"/>
            </a:xfrm>
            <a:custGeom>
              <a:avLst/>
              <a:gdLst>
                <a:gd name="connsiteX0" fmla="*/ 357384 w 752888"/>
                <a:gd name="connsiteY0" fmla="*/ 309732 h 590876"/>
                <a:gd name="connsiteX1" fmla="*/ 366916 w 752888"/>
                <a:gd name="connsiteY1" fmla="*/ 319264 h 590876"/>
                <a:gd name="connsiteX2" fmla="*/ 371680 w 752888"/>
                <a:gd name="connsiteY2" fmla="*/ 324028 h 590876"/>
                <a:gd name="connsiteX3" fmla="*/ 371680 w 752888"/>
                <a:gd name="connsiteY3" fmla="*/ 328792 h 590876"/>
                <a:gd name="connsiteX4" fmla="*/ 352620 w 752888"/>
                <a:gd name="connsiteY4" fmla="*/ 328792 h 590876"/>
                <a:gd name="connsiteX5" fmla="*/ 347856 w 752888"/>
                <a:gd name="connsiteY5" fmla="*/ 333560 h 590876"/>
                <a:gd name="connsiteX6" fmla="*/ 338324 w 752888"/>
                <a:gd name="connsiteY6" fmla="*/ 328792 h 590876"/>
                <a:gd name="connsiteX7" fmla="*/ 324028 w 752888"/>
                <a:gd name="connsiteY7" fmla="*/ 324028 h 590876"/>
                <a:gd name="connsiteX8" fmla="*/ 333560 w 752888"/>
                <a:gd name="connsiteY8" fmla="*/ 319264 h 590876"/>
                <a:gd name="connsiteX9" fmla="*/ 166780 w 752888"/>
                <a:gd name="connsiteY9" fmla="*/ 290672 h 590876"/>
                <a:gd name="connsiteX10" fmla="*/ 171544 w 752888"/>
                <a:gd name="connsiteY10" fmla="*/ 300204 h 590876"/>
                <a:gd name="connsiteX11" fmla="*/ 166780 w 752888"/>
                <a:gd name="connsiteY11" fmla="*/ 304968 h 590876"/>
                <a:gd name="connsiteX12" fmla="*/ 162016 w 752888"/>
                <a:gd name="connsiteY12" fmla="*/ 304968 h 590876"/>
                <a:gd name="connsiteX13" fmla="*/ 162016 w 752888"/>
                <a:gd name="connsiteY13" fmla="*/ 295436 h 590876"/>
                <a:gd name="connsiteX14" fmla="*/ 290672 w 752888"/>
                <a:gd name="connsiteY14" fmla="*/ 285908 h 590876"/>
                <a:gd name="connsiteX15" fmla="*/ 295440 w 752888"/>
                <a:gd name="connsiteY15" fmla="*/ 290672 h 590876"/>
                <a:gd name="connsiteX16" fmla="*/ 290672 w 752888"/>
                <a:gd name="connsiteY16" fmla="*/ 304968 h 590876"/>
                <a:gd name="connsiteX17" fmla="*/ 285908 w 752888"/>
                <a:gd name="connsiteY17" fmla="*/ 304968 h 590876"/>
                <a:gd name="connsiteX18" fmla="*/ 276376 w 752888"/>
                <a:gd name="connsiteY18" fmla="*/ 309732 h 590876"/>
                <a:gd name="connsiteX19" fmla="*/ 266848 w 752888"/>
                <a:gd name="connsiteY19" fmla="*/ 309732 h 590876"/>
                <a:gd name="connsiteX20" fmla="*/ 257316 w 752888"/>
                <a:gd name="connsiteY20" fmla="*/ 304968 h 590876"/>
                <a:gd name="connsiteX21" fmla="*/ 276376 w 752888"/>
                <a:gd name="connsiteY21" fmla="*/ 295436 h 590876"/>
                <a:gd name="connsiteX22" fmla="*/ 281144 w 752888"/>
                <a:gd name="connsiteY22" fmla="*/ 290672 h 590876"/>
                <a:gd name="connsiteX23" fmla="*/ 438392 w 752888"/>
                <a:gd name="connsiteY23" fmla="*/ 266848 h 590876"/>
                <a:gd name="connsiteX24" fmla="*/ 443156 w 752888"/>
                <a:gd name="connsiteY24" fmla="*/ 266848 h 590876"/>
                <a:gd name="connsiteX25" fmla="*/ 447924 w 752888"/>
                <a:gd name="connsiteY25" fmla="*/ 276376 h 590876"/>
                <a:gd name="connsiteX26" fmla="*/ 452688 w 752888"/>
                <a:gd name="connsiteY26" fmla="*/ 281140 h 590876"/>
                <a:gd name="connsiteX27" fmla="*/ 447924 w 752888"/>
                <a:gd name="connsiteY27" fmla="*/ 281140 h 590876"/>
                <a:gd name="connsiteX28" fmla="*/ 438392 w 752888"/>
                <a:gd name="connsiteY28" fmla="*/ 281140 h 590876"/>
                <a:gd name="connsiteX29" fmla="*/ 433628 w 752888"/>
                <a:gd name="connsiteY29" fmla="*/ 276376 h 590876"/>
                <a:gd name="connsiteX30" fmla="*/ 705240 w 752888"/>
                <a:gd name="connsiteY30" fmla="*/ 0 h 590876"/>
                <a:gd name="connsiteX31" fmla="*/ 710004 w 752888"/>
                <a:gd name="connsiteY31" fmla="*/ 0 h 590876"/>
                <a:gd name="connsiteX32" fmla="*/ 719536 w 752888"/>
                <a:gd name="connsiteY32" fmla="*/ 0 h 590876"/>
                <a:gd name="connsiteX33" fmla="*/ 719536 w 752888"/>
                <a:gd name="connsiteY33" fmla="*/ 19060 h 590876"/>
                <a:gd name="connsiteX34" fmla="*/ 719536 w 752888"/>
                <a:gd name="connsiteY34" fmla="*/ 38122 h 590876"/>
                <a:gd name="connsiteX35" fmla="*/ 719536 w 752888"/>
                <a:gd name="connsiteY35" fmla="*/ 52416 h 590876"/>
                <a:gd name="connsiteX36" fmla="*/ 714768 w 752888"/>
                <a:gd name="connsiteY36" fmla="*/ 61946 h 590876"/>
                <a:gd name="connsiteX37" fmla="*/ 724300 w 752888"/>
                <a:gd name="connsiteY37" fmla="*/ 71476 h 590876"/>
                <a:gd name="connsiteX38" fmla="*/ 733828 w 752888"/>
                <a:gd name="connsiteY38" fmla="*/ 76242 h 590876"/>
                <a:gd name="connsiteX39" fmla="*/ 738596 w 752888"/>
                <a:gd name="connsiteY39" fmla="*/ 76242 h 590876"/>
                <a:gd name="connsiteX40" fmla="*/ 738596 w 752888"/>
                <a:gd name="connsiteY40" fmla="*/ 71476 h 590876"/>
                <a:gd name="connsiteX41" fmla="*/ 752888 w 752888"/>
                <a:gd name="connsiteY41" fmla="*/ 85772 h 590876"/>
                <a:gd name="connsiteX42" fmla="*/ 752888 w 752888"/>
                <a:gd name="connsiteY42" fmla="*/ 181074 h 590876"/>
                <a:gd name="connsiteX43" fmla="*/ 752888 w 752888"/>
                <a:gd name="connsiteY43" fmla="*/ 185840 h 590876"/>
                <a:gd name="connsiteX44" fmla="*/ 748124 w 752888"/>
                <a:gd name="connsiteY44" fmla="*/ 190606 h 590876"/>
                <a:gd name="connsiteX45" fmla="*/ 743360 w 752888"/>
                <a:gd name="connsiteY45" fmla="*/ 195370 h 590876"/>
                <a:gd name="connsiteX46" fmla="*/ 733828 w 752888"/>
                <a:gd name="connsiteY46" fmla="*/ 204900 h 590876"/>
                <a:gd name="connsiteX47" fmla="*/ 724300 w 752888"/>
                <a:gd name="connsiteY47" fmla="*/ 214430 h 590876"/>
                <a:gd name="connsiteX48" fmla="*/ 719536 w 752888"/>
                <a:gd name="connsiteY48" fmla="*/ 219196 h 590876"/>
                <a:gd name="connsiteX49" fmla="*/ 710004 w 752888"/>
                <a:gd name="connsiteY49" fmla="*/ 228726 h 590876"/>
                <a:gd name="connsiteX50" fmla="*/ 705240 w 752888"/>
                <a:gd name="connsiteY50" fmla="*/ 228726 h 590876"/>
                <a:gd name="connsiteX51" fmla="*/ 695708 w 752888"/>
                <a:gd name="connsiteY51" fmla="*/ 219196 h 590876"/>
                <a:gd name="connsiteX52" fmla="*/ 690944 w 752888"/>
                <a:gd name="connsiteY52" fmla="*/ 209666 h 590876"/>
                <a:gd name="connsiteX53" fmla="*/ 690944 w 752888"/>
                <a:gd name="connsiteY53" fmla="*/ 204900 h 590876"/>
                <a:gd name="connsiteX54" fmla="*/ 695708 w 752888"/>
                <a:gd name="connsiteY54" fmla="*/ 204900 h 590876"/>
                <a:gd name="connsiteX55" fmla="*/ 695708 w 752888"/>
                <a:gd name="connsiteY55" fmla="*/ 200136 h 590876"/>
                <a:gd name="connsiteX56" fmla="*/ 695708 w 752888"/>
                <a:gd name="connsiteY56" fmla="*/ 190606 h 590876"/>
                <a:gd name="connsiteX57" fmla="*/ 686180 w 752888"/>
                <a:gd name="connsiteY57" fmla="*/ 190606 h 590876"/>
                <a:gd name="connsiteX58" fmla="*/ 681412 w 752888"/>
                <a:gd name="connsiteY58" fmla="*/ 190606 h 590876"/>
                <a:gd name="connsiteX59" fmla="*/ 671884 w 752888"/>
                <a:gd name="connsiteY59" fmla="*/ 190606 h 590876"/>
                <a:gd name="connsiteX60" fmla="*/ 667116 w 752888"/>
                <a:gd name="connsiteY60" fmla="*/ 200136 h 590876"/>
                <a:gd name="connsiteX61" fmla="*/ 662352 w 752888"/>
                <a:gd name="connsiteY61" fmla="*/ 204900 h 590876"/>
                <a:gd name="connsiteX62" fmla="*/ 662352 w 752888"/>
                <a:gd name="connsiteY62" fmla="*/ 219196 h 590876"/>
                <a:gd name="connsiteX63" fmla="*/ 662352 w 752888"/>
                <a:gd name="connsiteY63" fmla="*/ 238256 h 590876"/>
                <a:gd name="connsiteX64" fmla="*/ 662352 w 752888"/>
                <a:gd name="connsiteY64" fmla="*/ 247786 h 590876"/>
                <a:gd name="connsiteX65" fmla="*/ 657588 w 752888"/>
                <a:gd name="connsiteY65" fmla="*/ 257316 h 590876"/>
                <a:gd name="connsiteX66" fmla="*/ 657588 w 752888"/>
                <a:gd name="connsiteY66" fmla="*/ 271612 h 590876"/>
                <a:gd name="connsiteX67" fmla="*/ 662352 w 752888"/>
                <a:gd name="connsiteY67" fmla="*/ 281142 h 590876"/>
                <a:gd name="connsiteX68" fmla="*/ 662352 w 752888"/>
                <a:gd name="connsiteY68" fmla="*/ 290672 h 590876"/>
                <a:gd name="connsiteX69" fmla="*/ 662352 w 752888"/>
                <a:gd name="connsiteY69" fmla="*/ 295438 h 590876"/>
                <a:gd name="connsiteX70" fmla="*/ 657588 w 752888"/>
                <a:gd name="connsiteY70" fmla="*/ 314498 h 590876"/>
                <a:gd name="connsiteX71" fmla="*/ 662352 w 752888"/>
                <a:gd name="connsiteY71" fmla="*/ 314498 h 590876"/>
                <a:gd name="connsiteX72" fmla="*/ 681412 w 752888"/>
                <a:gd name="connsiteY72" fmla="*/ 319264 h 590876"/>
                <a:gd name="connsiteX73" fmla="*/ 690944 w 752888"/>
                <a:gd name="connsiteY73" fmla="*/ 328794 h 590876"/>
                <a:gd name="connsiteX74" fmla="*/ 690944 w 752888"/>
                <a:gd name="connsiteY74" fmla="*/ 338324 h 590876"/>
                <a:gd name="connsiteX75" fmla="*/ 690944 w 752888"/>
                <a:gd name="connsiteY75" fmla="*/ 343090 h 590876"/>
                <a:gd name="connsiteX76" fmla="*/ 676648 w 752888"/>
                <a:gd name="connsiteY76" fmla="*/ 347854 h 590876"/>
                <a:gd name="connsiteX77" fmla="*/ 657588 w 752888"/>
                <a:gd name="connsiteY77" fmla="*/ 352620 h 590876"/>
                <a:gd name="connsiteX78" fmla="*/ 648056 w 752888"/>
                <a:gd name="connsiteY78" fmla="*/ 352620 h 590876"/>
                <a:gd name="connsiteX79" fmla="*/ 624232 w 752888"/>
                <a:gd name="connsiteY79" fmla="*/ 357384 h 590876"/>
                <a:gd name="connsiteX80" fmla="*/ 609936 w 752888"/>
                <a:gd name="connsiteY80" fmla="*/ 366914 h 590876"/>
                <a:gd name="connsiteX81" fmla="*/ 614700 w 752888"/>
                <a:gd name="connsiteY81" fmla="*/ 371680 h 590876"/>
                <a:gd name="connsiteX82" fmla="*/ 619468 w 752888"/>
                <a:gd name="connsiteY82" fmla="*/ 376446 h 590876"/>
                <a:gd name="connsiteX83" fmla="*/ 619468 w 752888"/>
                <a:gd name="connsiteY83" fmla="*/ 385976 h 590876"/>
                <a:gd name="connsiteX84" fmla="*/ 619468 w 752888"/>
                <a:gd name="connsiteY84" fmla="*/ 400270 h 590876"/>
                <a:gd name="connsiteX85" fmla="*/ 609936 w 752888"/>
                <a:gd name="connsiteY85" fmla="*/ 419332 h 590876"/>
                <a:gd name="connsiteX86" fmla="*/ 605172 w 752888"/>
                <a:gd name="connsiteY86" fmla="*/ 438392 h 590876"/>
                <a:gd name="connsiteX87" fmla="*/ 590876 w 752888"/>
                <a:gd name="connsiteY87" fmla="*/ 462218 h 590876"/>
                <a:gd name="connsiteX88" fmla="*/ 581344 w 752888"/>
                <a:gd name="connsiteY88" fmla="*/ 490808 h 590876"/>
                <a:gd name="connsiteX89" fmla="*/ 567052 w 752888"/>
                <a:gd name="connsiteY89" fmla="*/ 519400 h 590876"/>
                <a:gd name="connsiteX90" fmla="*/ 567052 w 752888"/>
                <a:gd name="connsiteY90" fmla="*/ 538460 h 590876"/>
                <a:gd name="connsiteX91" fmla="*/ 567052 w 752888"/>
                <a:gd name="connsiteY91" fmla="*/ 552754 h 590876"/>
                <a:gd name="connsiteX92" fmla="*/ 567052 w 752888"/>
                <a:gd name="connsiteY92" fmla="*/ 576580 h 590876"/>
                <a:gd name="connsiteX93" fmla="*/ 557520 w 752888"/>
                <a:gd name="connsiteY93" fmla="*/ 590876 h 590876"/>
                <a:gd name="connsiteX94" fmla="*/ 552756 w 752888"/>
                <a:gd name="connsiteY94" fmla="*/ 590876 h 590876"/>
                <a:gd name="connsiteX95" fmla="*/ 543224 w 752888"/>
                <a:gd name="connsiteY95" fmla="*/ 586110 h 590876"/>
                <a:gd name="connsiteX96" fmla="*/ 538460 w 752888"/>
                <a:gd name="connsiteY96" fmla="*/ 586110 h 590876"/>
                <a:gd name="connsiteX97" fmla="*/ 524164 w 752888"/>
                <a:gd name="connsiteY97" fmla="*/ 586110 h 590876"/>
                <a:gd name="connsiteX98" fmla="*/ 505104 w 752888"/>
                <a:gd name="connsiteY98" fmla="*/ 581346 h 590876"/>
                <a:gd name="connsiteX99" fmla="*/ 481276 w 752888"/>
                <a:gd name="connsiteY99" fmla="*/ 581346 h 590876"/>
                <a:gd name="connsiteX100" fmla="*/ 457452 w 752888"/>
                <a:gd name="connsiteY100" fmla="*/ 576580 h 590876"/>
                <a:gd name="connsiteX101" fmla="*/ 424096 w 752888"/>
                <a:gd name="connsiteY101" fmla="*/ 571816 h 590876"/>
                <a:gd name="connsiteX102" fmla="*/ 390740 w 752888"/>
                <a:gd name="connsiteY102" fmla="*/ 567050 h 590876"/>
                <a:gd name="connsiteX103" fmla="*/ 357384 w 752888"/>
                <a:gd name="connsiteY103" fmla="*/ 562286 h 590876"/>
                <a:gd name="connsiteX104" fmla="*/ 319264 w 752888"/>
                <a:gd name="connsiteY104" fmla="*/ 557520 h 590876"/>
                <a:gd name="connsiteX105" fmla="*/ 285908 w 752888"/>
                <a:gd name="connsiteY105" fmla="*/ 552754 h 590876"/>
                <a:gd name="connsiteX106" fmla="*/ 257316 w 752888"/>
                <a:gd name="connsiteY106" fmla="*/ 547990 h 590876"/>
                <a:gd name="connsiteX107" fmla="*/ 228728 w 752888"/>
                <a:gd name="connsiteY107" fmla="*/ 547990 h 590876"/>
                <a:gd name="connsiteX108" fmla="*/ 204900 w 752888"/>
                <a:gd name="connsiteY108" fmla="*/ 543224 h 590876"/>
                <a:gd name="connsiteX109" fmla="*/ 185840 w 752888"/>
                <a:gd name="connsiteY109" fmla="*/ 543224 h 590876"/>
                <a:gd name="connsiteX110" fmla="*/ 171544 w 752888"/>
                <a:gd name="connsiteY110" fmla="*/ 538460 h 590876"/>
                <a:gd name="connsiteX111" fmla="*/ 166780 w 752888"/>
                <a:gd name="connsiteY111" fmla="*/ 538460 h 590876"/>
                <a:gd name="connsiteX112" fmla="*/ 157248 w 752888"/>
                <a:gd name="connsiteY112" fmla="*/ 538460 h 590876"/>
                <a:gd name="connsiteX113" fmla="*/ 147720 w 752888"/>
                <a:gd name="connsiteY113" fmla="*/ 528930 h 590876"/>
                <a:gd name="connsiteX114" fmla="*/ 138188 w 752888"/>
                <a:gd name="connsiteY114" fmla="*/ 514634 h 590876"/>
                <a:gd name="connsiteX115" fmla="*/ 133424 w 752888"/>
                <a:gd name="connsiteY115" fmla="*/ 505104 h 590876"/>
                <a:gd name="connsiteX116" fmla="*/ 114364 w 752888"/>
                <a:gd name="connsiteY116" fmla="*/ 481278 h 590876"/>
                <a:gd name="connsiteX117" fmla="*/ 104832 w 752888"/>
                <a:gd name="connsiteY117" fmla="*/ 471748 h 590876"/>
                <a:gd name="connsiteX118" fmla="*/ 95304 w 752888"/>
                <a:gd name="connsiteY118" fmla="*/ 462218 h 590876"/>
                <a:gd name="connsiteX119" fmla="*/ 90536 w 752888"/>
                <a:gd name="connsiteY119" fmla="*/ 447922 h 590876"/>
                <a:gd name="connsiteX120" fmla="*/ 61948 w 752888"/>
                <a:gd name="connsiteY120" fmla="*/ 414566 h 590876"/>
                <a:gd name="connsiteX121" fmla="*/ 52416 w 752888"/>
                <a:gd name="connsiteY121" fmla="*/ 405036 h 590876"/>
                <a:gd name="connsiteX122" fmla="*/ 47652 w 752888"/>
                <a:gd name="connsiteY122" fmla="*/ 395506 h 590876"/>
                <a:gd name="connsiteX123" fmla="*/ 38120 w 752888"/>
                <a:gd name="connsiteY123" fmla="*/ 381210 h 590876"/>
                <a:gd name="connsiteX124" fmla="*/ 19060 w 752888"/>
                <a:gd name="connsiteY124" fmla="*/ 362150 h 590876"/>
                <a:gd name="connsiteX125" fmla="*/ 9532 w 752888"/>
                <a:gd name="connsiteY125" fmla="*/ 347854 h 590876"/>
                <a:gd name="connsiteX126" fmla="*/ 4764 w 752888"/>
                <a:gd name="connsiteY126" fmla="*/ 343090 h 590876"/>
                <a:gd name="connsiteX127" fmla="*/ 4764 w 752888"/>
                <a:gd name="connsiteY127" fmla="*/ 333560 h 590876"/>
                <a:gd name="connsiteX128" fmla="*/ 0 w 752888"/>
                <a:gd name="connsiteY128" fmla="*/ 309734 h 590876"/>
                <a:gd name="connsiteX129" fmla="*/ 0 w 752888"/>
                <a:gd name="connsiteY129" fmla="*/ 304968 h 590876"/>
                <a:gd name="connsiteX130" fmla="*/ 9532 w 752888"/>
                <a:gd name="connsiteY130" fmla="*/ 295438 h 590876"/>
                <a:gd name="connsiteX131" fmla="*/ 9532 w 752888"/>
                <a:gd name="connsiteY131" fmla="*/ 304968 h 590876"/>
                <a:gd name="connsiteX132" fmla="*/ 19060 w 752888"/>
                <a:gd name="connsiteY132" fmla="*/ 314498 h 590876"/>
                <a:gd name="connsiteX133" fmla="*/ 28592 w 752888"/>
                <a:gd name="connsiteY133" fmla="*/ 309734 h 590876"/>
                <a:gd name="connsiteX134" fmla="*/ 33356 w 752888"/>
                <a:gd name="connsiteY134" fmla="*/ 309734 h 590876"/>
                <a:gd name="connsiteX135" fmla="*/ 38120 w 752888"/>
                <a:gd name="connsiteY135" fmla="*/ 343090 h 590876"/>
                <a:gd name="connsiteX136" fmla="*/ 42888 w 752888"/>
                <a:gd name="connsiteY136" fmla="*/ 352620 h 590876"/>
                <a:gd name="connsiteX137" fmla="*/ 57180 w 752888"/>
                <a:gd name="connsiteY137" fmla="*/ 357384 h 590876"/>
                <a:gd name="connsiteX138" fmla="*/ 85772 w 752888"/>
                <a:gd name="connsiteY138" fmla="*/ 357384 h 590876"/>
                <a:gd name="connsiteX139" fmla="*/ 109596 w 752888"/>
                <a:gd name="connsiteY139" fmla="*/ 357384 h 590876"/>
                <a:gd name="connsiteX140" fmla="*/ 147720 w 752888"/>
                <a:gd name="connsiteY140" fmla="*/ 333560 h 590876"/>
                <a:gd name="connsiteX141" fmla="*/ 171544 w 752888"/>
                <a:gd name="connsiteY141" fmla="*/ 328794 h 590876"/>
                <a:gd name="connsiteX142" fmla="*/ 228728 w 752888"/>
                <a:gd name="connsiteY142" fmla="*/ 328794 h 590876"/>
                <a:gd name="connsiteX143" fmla="*/ 276376 w 752888"/>
                <a:gd name="connsiteY143" fmla="*/ 338324 h 590876"/>
                <a:gd name="connsiteX144" fmla="*/ 352620 w 752888"/>
                <a:gd name="connsiteY144" fmla="*/ 343090 h 590876"/>
                <a:gd name="connsiteX145" fmla="*/ 366916 w 752888"/>
                <a:gd name="connsiteY145" fmla="*/ 343090 h 590876"/>
                <a:gd name="connsiteX146" fmla="*/ 405036 w 752888"/>
                <a:gd name="connsiteY146" fmla="*/ 324028 h 590876"/>
                <a:gd name="connsiteX147" fmla="*/ 428860 w 752888"/>
                <a:gd name="connsiteY147" fmla="*/ 309734 h 590876"/>
                <a:gd name="connsiteX148" fmla="*/ 443156 w 752888"/>
                <a:gd name="connsiteY148" fmla="*/ 309734 h 590876"/>
                <a:gd name="connsiteX149" fmla="*/ 452688 w 752888"/>
                <a:gd name="connsiteY149" fmla="*/ 295438 h 590876"/>
                <a:gd name="connsiteX150" fmla="*/ 457452 w 752888"/>
                <a:gd name="connsiteY150" fmla="*/ 276378 h 590876"/>
                <a:gd name="connsiteX151" fmla="*/ 466984 w 752888"/>
                <a:gd name="connsiteY151" fmla="*/ 262082 h 590876"/>
                <a:gd name="connsiteX152" fmla="*/ 471748 w 752888"/>
                <a:gd name="connsiteY152" fmla="*/ 257316 h 590876"/>
                <a:gd name="connsiteX153" fmla="*/ 481276 w 752888"/>
                <a:gd name="connsiteY153" fmla="*/ 247786 h 590876"/>
                <a:gd name="connsiteX154" fmla="*/ 486044 w 752888"/>
                <a:gd name="connsiteY154" fmla="*/ 233492 h 590876"/>
                <a:gd name="connsiteX155" fmla="*/ 500340 w 752888"/>
                <a:gd name="connsiteY155" fmla="*/ 214430 h 590876"/>
                <a:gd name="connsiteX156" fmla="*/ 552756 w 752888"/>
                <a:gd name="connsiteY156" fmla="*/ 176310 h 590876"/>
                <a:gd name="connsiteX157" fmla="*/ 586112 w 752888"/>
                <a:gd name="connsiteY157" fmla="*/ 142954 h 590876"/>
                <a:gd name="connsiteX158" fmla="*/ 586112 w 752888"/>
                <a:gd name="connsiteY158" fmla="*/ 133424 h 590876"/>
                <a:gd name="connsiteX159" fmla="*/ 605172 w 752888"/>
                <a:gd name="connsiteY159" fmla="*/ 114364 h 590876"/>
                <a:gd name="connsiteX160" fmla="*/ 619468 w 752888"/>
                <a:gd name="connsiteY160" fmla="*/ 95302 h 590876"/>
                <a:gd name="connsiteX161" fmla="*/ 686180 w 752888"/>
                <a:gd name="connsiteY161" fmla="*/ 47652 h 590876"/>
                <a:gd name="connsiteX162" fmla="*/ 695708 w 752888"/>
                <a:gd name="connsiteY162" fmla="*/ 23826 h 590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</a:cxnLst>
              <a:rect l="l" t="t" r="r" b="b"/>
              <a:pathLst>
                <a:path w="752888" h="590876">
                  <a:moveTo>
                    <a:pt x="357384" y="309732"/>
                  </a:moveTo>
                  <a:lnTo>
                    <a:pt x="366916" y="319264"/>
                  </a:lnTo>
                  <a:lnTo>
                    <a:pt x="371680" y="324028"/>
                  </a:lnTo>
                  <a:lnTo>
                    <a:pt x="371680" y="328792"/>
                  </a:lnTo>
                  <a:lnTo>
                    <a:pt x="352620" y="328792"/>
                  </a:lnTo>
                  <a:lnTo>
                    <a:pt x="347856" y="333560"/>
                  </a:lnTo>
                  <a:lnTo>
                    <a:pt x="338324" y="328792"/>
                  </a:lnTo>
                  <a:lnTo>
                    <a:pt x="324028" y="324028"/>
                  </a:lnTo>
                  <a:lnTo>
                    <a:pt x="333560" y="319264"/>
                  </a:lnTo>
                  <a:close/>
                  <a:moveTo>
                    <a:pt x="166780" y="290672"/>
                  </a:moveTo>
                  <a:lnTo>
                    <a:pt x="171544" y="300204"/>
                  </a:lnTo>
                  <a:lnTo>
                    <a:pt x="166780" y="304968"/>
                  </a:lnTo>
                  <a:lnTo>
                    <a:pt x="162016" y="304968"/>
                  </a:lnTo>
                  <a:lnTo>
                    <a:pt x="162016" y="295436"/>
                  </a:lnTo>
                  <a:close/>
                  <a:moveTo>
                    <a:pt x="290672" y="285908"/>
                  </a:moveTo>
                  <a:lnTo>
                    <a:pt x="295440" y="290672"/>
                  </a:lnTo>
                  <a:lnTo>
                    <a:pt x="290672" y="304968"/>
                  </a:lnTo>
                  <a:lnTo>
                    <a:pt x="285908" y="304968"/>
                  </a:lnTo>
                  <a:lnTo>
                    <a:pt x="276376" y="309732"/>
                  </a:lnTo>
                  <a:lnTo>
                    <a:pt x="266848" y="309732"/>
                  </a:lnTo>
                  <a:lnTo>
                    <a:pt x="257316" y="304968"/>
                  </a:lnTo>
                  <a:lnTo>
                    <a:pt x="276376" y="295436"/>
                  </a:lnTo>
                  <a:lnTo>
                    <a:pt x="281144" y="290672"/>
                  </a:lnTo>
                  <a:close/>
                  <a:moveTo>
                    <a:pt x="438392" y="266848"/>
                  </a:moveTo>
                  <a:lnTo>
                    <a:pt x="443156" y="266848"/>
                  </a:lnTo>
                  <a:lnTo>
                    <a:pt x="447924" y="276376"/>
                  </a:lnTo>
                  <a:lnTo>
                    <a:pt x="452688" y="281140"/>
                  </a:lnTo>
                  <a:lnTo>
                    <a:pt x="447924" y="281140"/>
                  </a:lnTo>
                  <a:lnTo>
                    <a:pt x="438392" y="281140"/>
                  </a:lnTo>
                  <a:lnTo>
                    <a:pt x="433628" y="276376"/>
                  </a:lnTo>
                  <a:close/>
                  <a:moveTo>
                    <a:pt x="705240" y="0"/>
                  </a:moveTo>
                  <a:lnTo>
                    <a:pt x="710004" y="0"/>
                  </a:lnTo>
                  <a:lnTo>
                    <a:pt x="719536" y="0"/>
                  </a:lnTo>
                  <a:lnTo>
                    <a:pt x="719536" y="19060"/>
                  </a:lnTo>
                  <a:lnTo>
                    <a:pt x="719536" y="38122"/>
                  </a:lnTo>
                  <a:lnTo>
                    <a:pt x="719536" y="52416"/>
                  </a:lnTo>
                  <a:lnTo>
                    <a:pt x="714768" y="61946"/>
                  </a:lnTo>
                  <a:lnTo>
                    <a:pt x="724300" y="71476"/>
                  </a:lnTo>
                  <a:lnTo>
                    <a:pt x="733828" y="76242"/>
                  </a:lnTo>
                  <a:lnTo>
                    <a:pt x="738596" y="76242"/>
                  </a:lnTo>
                  <a:lnTo>
                    <a:pt x="738596" y="71476"/>
                  </a:lnTo>
                  <a:lnTo>
                    <a:pt x="752888" y="85772"/>
                  </a:lnTo>
                  <a:lnTo>
                    <a:pt x="752888" y="181074"/>
                  </a:lnTo>
                  <a:lnTo>
                    <a:pt x="752888" y="185840"/>
                  </a:lnTo>
                  <a:lnTo>
                    <a:pt x="748124" y="190606"/>
                  </a:lnTo>
                  <a:lnTo>
                    <a:pt x="743360" y="195370"/>
                  </a:lnTo>
                  <a:lnTo>
                    <a:pt x="733828" y="204900"/>
                  </a:lnTo>
                  <a:lnTo>
                    <a:pt x="724300" y="214430"/>
                  </a:lnTo>
                  <a:lnTo>
                    <a:pt x="719536" y="219196"/>
                  </a:lnTo>
                  <a:lnTo>
                    <a:pt x="710004" y="228726"/>
                  </a:lnTo>
                  <a:lnTo>
                    <a:pt x="705240" y="228726"/>
                  </a:lnTo>
                  <a:lnTo>
                    <a:pt x="695708" y="219196"/>
                  </a:lnTo>
                  <a:lnTo>
                    <a:pt x="690944" y="209666"/>
                  </a:lnTo>
                  <a:lnTo>
                    <a:pt x="690944" y="204900"/>
                  </a:lnTo>
                  <a:lnTo>
                    <a:pt x="695708" y="204900"/>
                  </a:lnTo>
                  <a:lnTo>
                    <a:pt x="695708" y="200136"/>
                  </a:lnTo>
                  <a:lnTo>
                    <a:pt x="695708" y="190606"/>
                  </a:lnTo>
                  <a:lnTo>
                    <a:pt x="686180" y="190606"/>
                  </a:lnTo>
                  <a:lnTo>
                    <a:pt x="681412" y="190606"/>
                  </a:lnTo>
                  <a:lnTo>
                    <a:pt x="671884" y="190606"/>
                  </a:lnTo>
                  <a:lnTo>
                    <a:pt x="667116" y="200136"/>
                  </a:lnTo>
                  <a:lnTo>
                    <a:pt x="662352" y="204900"/>
                  </a:lnTo>
                  <a:lnTo>
                    <a:pt x="662352" y="219196"/>
                  </a:lnTo>
                  <a:lnTo>
                    <a:pt x="662352" y="238256"/>
                  </a:lnTo>
                  <a:lnTo>
                    <a:pt x="662352" y="247786"/>
                  </a:lnTo>
                  <a:lnTo>
                    <a:pt x="657588" y="257316"/>
                  </a:lnTo>
                  <a:lnTo>
                    <a:pt x="657588" y="271612"/>
                  </a:lnTo>
                  <a:lnTo>
                    <a:pt x="662352" y="281142"/>
                  </a:lnTo>
                  <a:lnTo>
                    <a:pt x="662352" y="290672"/>
                  </a:lnTo>
                  <a:lnTo>
                    <a:pt x="662352" y="295438"/>
                  </a:lnTo>
                  <a:lnTo>
                    <a:pt x="657588" y="314498"/>
                  </a:lnTo>
                  <a:lnTo>
                    <a:pt x="662352" y="314498"/>
                  </a:lnTo>
                  <a:lnTo>
                    <a:pt x="681412" y="319264"/>
                  </a:lnTo>
                  <a:lnTo>
                    <a:pt x="690944" y="328794"/>
                  </a:lnTo>
                  <a:lnTo>
                    <a:pt x="690944" y="338324"/>
                  </a:lnTo>
                  <a:lnTo>
                    <a:pt x="690944" y="343090"/>
                  </a:lnTo>
                  <a:lnTo>
                    <a:pt x="676648" y="347854"/>
                  </a:lnTo>
                  <a:lnTo>
                    <a:pt x="657588" y="352620"/>
                  </a:lnTo>
                  <a:lnTo>
                    <a:pt x="648056" y="352620"/>
                  </a:lnTo>
                  <a:lnTo>
                    <a:pt x="624232" y="357384"/>
                  </a:lnTo>
                  <a:lnTo>
                    <a:pt x="609936" y="366914"/>
                  </a:lnTo>
                  <a:lnTo>
                    <a:pt x="614700" y="371680"/>
                  </a:lnTo>
                  <a:lnTo>
                    <a:pt x="619468" y="376446"/>
                  </a:lnTo>
                  <a:lnTo>
                    <a:pt x="619468" y="385976"/>
                  </a:lnTo>
                  <a:lnTo>
                    <a:pt x="619468" y="400270"/>
                  </a:lnTo>
                  <a:lnTo>
                    <a:pt x="609936" y="419332"/>
                  </a:lnTo>
                  <a:lnTo>
                    <a:pt x="605172" y="438392"/>
                  </a:lnTo>
                  <a:lnTo>
                    <a:pt x="590876" y="462218"/>
                  </a:lnTo>
                  <a:lnTo>
                    <a:pt x="581344" y="490808"/>
                  </a:lnTo>
                  <a:lnTo>
                    <a:pt x="567052" y="519400"/>
                  </a:lnTo>
                  <a:lnTo>
                    <a:pt x="567052" y="538460"/>
                  </a:lnTo>
                  <a:lnTo>
                    <a:pt x="567052" y="552754"/>
                  </a:lnTo>
                  <a:lnTo>
                    <a:pt x="567052" y="576580"/>
                  </a:lnTo>
                  <a:lnTo>
                    <a:pt x="557520" y="590876"/>
                  </a:lnTo>
                  <a:lnTo>
                    <a:pt x="552756" y="590876"/>
                  </a:lnTo>
                  <a:lnTo>
                    <a:pt x="543224" y="586110"/>
                  </a:lnTo>
                  <a:lnTo>
                    <a:pt x="538460" y="586110"/>
                  </a:lnTo>
                  <a:lnTo>
                    <a:pt x="524164" y="586110"/>
                  </a:lnTo>
                  <a:lnTo>
                    <a:pt x="505104" y="581346"/>
                  </a:lnTo>
                  <a:lnTo>
                    <a:pt x="481276" y="581346"/>
                  </a:lnTo>
                  <a:lnTo>
                    <a:pt x="457452" y="576580"/>
                  </a:lnTo>
                  <a:lnTo>
                    <a:pt x="424096" y="571816"/>
                  </a:lnTo>
                  <a:lnTo>
                    <a:pt x="390740" y="567050"/>
                  </a:lnTo>
                  <a:lnTo>
                    <a:pt x="357384" y="562286"/>
                  </a:lnTo>
                  <a:lnTo>
                    <a:pt x="319264" y="557520"/>
                  </a:lnTo>
                  <a:lnTo>
                    <a:pt x="285908" y="552754"/>
                  </a:lnTo>
                  <a:lnTo>
                    <a:pt x="257316" y="547990"/>
                  </a:lnTo>
                  <a:lnTo>
                    <a:pt x="228728" y="547990"/>
                  </a:lnTo>
                  <a:lnTo>
                    <a:pt x="204900" y="543224"/>
                  </a:lnTo>
                  <a:lnTo>
                    <a:pt x="185840" y="543224"/>
                  </a:lnTo>
                  <a:lnTo>
                    <a:pt x="171544" y="538460"/>
                  </a:lnTo>
                  <a:lnTo>
                    <a:pt x="166780" y="538460"/>
                  </a:lnTo>
                  <a:lnTo>
                    <a:pt x="157248" y="538460"/>
                  </a:lnTo>
                  <a:lnTo>
                    <a:pt x="147720" y="528930"/>
                  </a:lnTo>
                  <a:lnTo>
                    <a:pt x="138188" y="514634"/>
                  </a:lnTo>
                  <a:lnTo>
                    <a:pt x="133424" y="505104"/>
                  </a:lnTo>
                  <a:lnTo>
                    <a:pt x="114364" y="481278"/>
                  </a:lnTo>
                  <a:lnTo>
                    <a:pt x="104832" y="471748"/>
                  </a:lnTo>
                  <a:lnTo>
                    <a:pt x="95304" y="462218"/>
                  </a:lnTo>
                  <a:lnTo>
                    <a:pt x="90536" y="447922"/>
                  </a:lnTo>
                  <a:lnTo>
                    <a:pt x="61948" y="414566"/>
                  </a:lnTo>
                  <a:lnTo>
                    <a:pt x="52416" y="405036"/>
                  </a:lnTo>
                  <a:lnTo>
                    <a:pt x="47652" y="395506"/>
                  </a:lnTo>
                  <a:lnTo>
                    <a:pt x="38120" y="381210"/>
                  </a:lnTo>
                  <a:lnTo>
                    <a:pt x="19060" y="362150"/>
                  </a:lnTo>
                  <a:lnTo>
                    <a:pt x="9532" y="347854"/>
                  </a:lnTo>
                  <a:lnTo>
                    <a:pt x="4764" y="343090"/>
                  </a:lnTo>
                  <a:lnTo>
                    <a:pt x="4764" y="333560"/>
                  </a:lnTo>
                  <a:lnTo>
                    <a:pt x="0" y="309734"/>
                  </a:lnTo>
                  <a:lnTo>
                    <a:pt x="0" y="304968"/>
                  </a:lnTo>
                  <a:lnTo>
                    <a:pt x="9532" y="295438"/>
                  </a:lnTo>
                  <a:lnTo>
                    <a:pt x="9532" y="304968"/>
                  </a:lnTo>
                  <a:lnTo>
                    <a:pt x="19060" y="314498"/>
                  </a:lnTo>
                  <a:lnTo>
                    <a:pt x="28592" y="309734"/>
                  </a:lnTo>
                  <a:lnTo>
                    <a:pt x="33356" y="309734"/>
                  </a:lnTo>
                  <a:lnTo>
                    <a:pt x="38120" y="343090"/>
                  </a:lnTo>
                  <a:lnTo>
                    <a:pt x="42888" y="352620"/>
                  </a:lnTo>
                  <a:lnTo>
                    <a:pt x="57180" y="357384"/>
                  </a:lnTo>
                  <a:lnTo>
                    <a:pt x="85772" y="357384"/>
                  </a:lnTo>
                  <a:lnTo>
                    <a:pt x="109596" y="357384"/>
                  </a:lnTo>
                  <a:lnTo>
                    <a:pt x="147720" y="333560"/>
                  </a:lnTo>
                  <a:lnTo>
                    <a:pt x="171544" y="328794"/>
                  </a:lnTo>
                  <a:lnTo>
                    <a:pt x="228728" y="328794"/>
                  </a:lnTo>
                  <a:lnTo>
                    <a:pt x="276376" y="338324"/>
                  </a:lnTo>
                  <a:lnTo>
                    <a:pt x="352620" y="343090"/>
                  </a:lnTo>
                  <a:lnTo>
                    <a:pt x="366916" y="343090"/>
                  </a:lnTo>
                  <a:lnTo>
                    <a:pt x="405036" y="324028"/>
                  </a:lnTo>
                  <a:lnTo>
                    <a:pt x="428860" y="309734"/>
                  </a:lnTo>
                  <a:lnTo>
                    <a:pt x="443156" y="309734"/>
                  </a:lnTo>
                  <a:lnTo>
                    <a:pt x="452688" y="295438"/>
                  </a:lnTo>
                  <a:lnTo>
                    <a:pt x="457452" y="276378"/>
                  </a:lnTo>
                  <a:lnTo>
                    <a:pt x="466984" y="262082"/>
                  </a:lnTo>
                  <a:lnTo>
                    <a:pt x="471748" y="257316"/>
                  </a:lnTo>
                  <a:lnTo>
                    <a:pt x="481276" y="247786"/>
                  </a:lnTo>
                  <a:lnTo>
                    <a:pt x="486044" y="233492"/>
                  </a:lnTo>
                  <a:lnTo>
                    <a:pt x="500340" y="214430"/>
                  </a:lnTo>
                  <a:lnTo>
                    <a:pt x="552756" y="176310"/>
                  </a:lnTo>
                  <a:lnTo>
                    <a:pt x="586112" y="142954"/>
                  </a:lnTo>
                  <a:lnTo>
                    <a:pt x="586112" y="133424"/>
                  </a:lnTo>
                  <a:lnTo>
                    <a:pt x="605172" y="114364"/>
                  </a:lnTo>
                  <a:lnTo>
                    <a:pt x="619468" y="95302"/>
                  </a:lnTo>
                  <a:lnTo>
                    <a:pt x="686180" y="47652"/>
                  </a:lnTo>
                  <a:lnTo>
                    <a:pt x="695708" y="2382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" name="Freeform 18">
              <a:extLst>
                <a:ext uri="{FF2B5EF4-FFF2-40B4-BE49-F238E27FC236}">
                  <a16:creationId xmlns:a16="http://schemas.microsoft.com/office/drawing/2014/main" id="{FCDF0EFD-576F-4211-813F-0DE0C01CBD39}"/>
                </a:ext>
              </a:extLst>
            </p:cNvPr>
            <p:cNvSpPr/>
            <p:nvPr/>
          </p:nvSpPr>
          <p:spPr bwMode="auto">
            <a:xfrm>
              <a:off x="3439099" y="5974079"/>
              <a:ext cx="503382" cy="1107750"/>
            </a:xfrm>
            <a:custGeom>
              <a:avLst/>
              <a:gdLst>
                <a:gd name="connsiteX0" fmla="*/ 1410476 w 3111628"/>
                <a:gd name="connsiteY0" fmla="*/ 6761716 h 6847488"/>
                <a:gd name="connsiteX1" fmla="*/ 1429536 w 3111628"/>
                <a:gd name="connsiteY1" fmla="*/ 6766480 h 6847488"/>
                <a:gd name="connsiteX2" fmla="*/ 1462892 w 3111628"/>
                <a:gd name="connsiteY2" fmla="*/ 6761716 h 6847488"/>
                <a:gd name="connsiteX3" fmla="*/ 1481952 w 3111628"/>
                <a:gd name="connsiteY3" fmla="*/ 6761716 h 6847488"/>
                <a:gd name="connsiteX4" fmla="*/ 1486720 w 3111628"/>
                <a:gd name="connsiteY4" fmla="*/ 6766480 h 6847488"/>
                <a:gd name="connsiteX5" fmla="*/ 1491484 w 3111628"/>
                <a:gd name="connsiteY5" fmla="*/ 6766480 h 6847488"/>
                <a:gd name="connsiteX6" fmla="*/ 1515308 w 3111628"/>
                <a:gd name="connsiteY6" fmla="*/ 6761716 h 6847488"/>
                <a:gd name="connsiteX7" fmla="*/ 1524840 w 3111628"/>
                <a:gd name="connsiteY7" fmla="*/ 6761716 h 6847488"/>
                <a:gd name="connsiteX8" fmla="*/ 1524840 w 3111628"/>
                <a:gd name="connsiteY8" fmla="*/ 6776012 h 6847488"/>
                <a:gd name="connsiteX9" fmla="*/ 1501016 w 3111628"/>
                <a:gd name="connsiteY9" fmla="*/ 6785540 h 6847488"/>
                <a:gd name="connsiteX10" fmla="*/ 1491484 w 3111628"/>
                <a:gd name="connsiteY10" fmla="*/ 6780776 h 6847488"/>
                <a:gd name="connsiteX11" fmla="*/ 1448596 w 3111628"/>
                <a:gd name="connsiteY11" fmla="*/ 6780776 h 6847488"/>
                <a:gd name="connsiteX12" fmla="*/ 1424772 w 3111628"/>
                <a:gd name="connsiteY12" fmla="*/ 6795072 h 6847488"/>
                <a:gd name="connsiteX13" fmla="*/ 1420008 w 3111628"/>
                <a:gd name="connsiteY13" fmla="*/ 6795072 h 6847488"/>
                <a:gd name="connsiteX14" fmla="*/ 1396180 w 3111628"/>
                <a:gd name="connsiteY14" fmla="*/ 6809368 h 6847488"/>
                <a:gd name="connsiteX15" fmla="*/ 1381888 w 3111628"/>
                <a:gd name="connsiteY15" fmla="*/ 6799836 h 6847488"/>
                <a:gd name="connsiteX16" fmla="*/ 1377120 w 3111628"/>
                <a:gd name="connsiteY16" fmla="*/ 6790308 h 6847488"/>
                <a:gd name="connsiteX17" fmla="*/ 1391416 w 3111628"/>
                <a:gd name="connsiteY17" fmla="*/ 6776012 h 6847488"/>
                <a:gd name="connsiteX18" fmla="*/ 1400948 w 3111628"/>
                <a:gd name="connsiteY18" fmla="*/ 6776012 h 6847488"/>
                <a:gd name="connsiteX19" fmla="*/ 1405712 w 3111628"/>
                <a:gd name="connsiteY19" fmla="*/ 6771248 h 6847488"/>
                <a:gd name="connsiteX20" fmla="*/ 771952 w 3111628"/>
                <a:gd name="connsiteY20" fmla="*/ 6218492 h 6847488"/>
                <a:gd name="connsiteX21" fmla="*/ 781480 w 3111628"/>
                <a:gd name="connsiteY21" fmla="*/ 6228024 h 6847488"/>
                <a:gd name="connsiteX22" fmla="*/ 819600 w 3111628"/>
                <a:gd name="connsiteY22" fmla="*/ 6280440 h 6847488"/>
                <a:gd name="connsiteX23" fmla="*/ 829132 w 3111628"/>
                <a:gd name="connsiteY23" fmla="*/ 6304264 h 6847488"/>
                <a:gd name="connsiteX24" fmla="*/ 833896 w 3111628"/>
                <a:gd name="connsiteY24" fmla="*/ 6328088 h 6847488"/>
                <a:gd name="connsiteX25" fmla="*/ 819600 w 3111628"/>
                <a:gd name="connsiteY25" fmla="*/ 6313796 h 6847488"/>
                <a:gd name="connsiteX26" fmla="*/ 805304 w 3111628"/>
                <a:gd name="connsiteY26" fmla="*/ 6318560 h 6847488"/>
                <a:gd name="connsiteX27" fmla="*/ 795776 w 3111628"/>
                <a:gd name="connsiteY27" fmla="*/ 6337620 h 6847488"/>
                <a:gd name="connsiteX28" fmla="*/ 791012 w 3111628"/>
                <a:gd name="connsiteY28" fmla="*/ 6351916 h 6847488"/>
                <a:gd name="connsiteX29" fmla="*/ 791012 w 3111628"/>
                <a:gd name="connsiteY29" fmla="*/ 6361444 h 6847488"/>
                <a:gd name="connsiteX30" fmla="*/ 795776 w 3111628"/>
                <a:gd name="connsiteY30" fmla="*/ 6375740 h 6847488"/>
                <a:gd name="connsiteX31" fmla="*/ 810072 w 3111628"/>
                <a:gd name="connsiteY31" fmla="*/ 6385272 h 6847488"/>
                <a:gd name="connsiteX32" fmla="*/ 848192 w 3111628"/>
                <a:gd name="connsiteY32" fmla="*/ 6385272 h 6847488"/>
                <a:gd name="connsiteX33" fmla="*/ 848192 w 3111628"/>
                <a:gd name="connsiteY33" fmla="*/ 6390036 h 6847488"/>
                <a:gd name="connsiteX34" fmla="*/ 872016 w 3111628"/>
                <a:gd name="connsiteY34" fmla="*/ 6451984 h 6847488"/>
                <a:gd name="connsiteX35" fmla="*/ 881548 w 3111628"/>
                <a:gd name="connsiteY35" fmla="*/ 6466280 h 6847488"/>
                <a:gd name="connsiteX36" fmla="*/ 895844 w 3111628"/>
                <a:gd name="connsiteY36" fmla="*/ 6480576 h 6847488"/>
                <a:gd name="connsiteX37" fmla="*/ 924436 w 3111628"/>
                <a:gd name="connsiteY37" fmla="*/ 6513928 h 6847488"/>
                <a:gd name="connsiteX38" fmla="*/ 948260 w 3111628"/>
                <a:gd name="connsiteY38" fmla="*/ 6547284 h 6847488"/>
                <a:gd name="connsiteX39" fmla="*/ 981616 w 3111628"/>
                <a:gd name="connsiteY39" fmla="*/ 6580640 h 6847488"/>
                <a:gd name="connsiteX40" fmla="*/ 1019736 w 3111628"/>
                <a:gd name="connsiteY40" fmla="*/ 6609232 h 6847488"/>
                <a:gd name="connsiteX41" fmla="*/ 1048328 w 3111628"/>
                <a:gd name="connsiteY41" fmla="*/ 6628292 h 6847488"/>
                <a:gd name="connsiteX42" fmla="*/ 1081684 w 3111628"/>
                <a:gd name="connsiteY42" fmla="*/ 6652120 h 6847488"/>
                <a:gd name="connsiteX43" fmla="*/ 1110276 w 3111628"/>
                <a:gd name="connsiteY43" fmla="*/ 6685476 h 6847488"/>
                <a:gd name="connsiteX44" fmla="*/ 1148396 w 3111628"/>
                <a:gd name="connsiteY44" fmla="*/ 6709300 h 6847488"/>
                <a:gd name="connsiteX45" fmla="*/ 1186516 w 3111628"/>
                <a:gd name="connsiteY45" fmla="*/ 6728360 h 6847488"/>
                <a:gd name="connsiteX46" fmla="*/ 1224636 w 3111628"/>
                <a:gd name="connsiteY46" fmla="*/ 6742656 h 6847488"/>
                <a:gd name="connsiteX47" fmla="*/ 1281820 w 3111628"/>
                <a:gd name="connsiteY47" fmla="*/ 6737892 h 6847488"/>
                <a:gd name="connsiteX48" fmla="*/ 1300880 w 3111628"/>
                <a:gd name="connsiteY48" fmla="*/ 6737892 h 6847488"/>
                <a:gd name="connsiteX49" fmla="*/ 1315176 w 3111628"/>
                <a:gd name="connsiteY49" fmla="*/ 6752188 h 6847488"/>
                <a:gd name="connsiteX50" fmla="*/ 1300880 w 3111628"/>
                <a:gd name="connsiteY50" fmla="*/ 6780776 h 6847488"/>
                <a:gd name="connsiteX51" fmla="*/ 1286584 w 3111628"/>
                <a:gd name="connsiteY51" fmla="*/ 6804604 h 6847488"/>
                <a:gd name="connsiteX52" fmla="*/ 1267524 w 3111628"/>
                <a:gd name="connsiteY52" fmla="*/ 6814132 h 6847488"/>
                <a:gd name="connsiteX53" fmla="*/ 1248464 w 3111628"/>
                <a:gd name="connsiteY53" fmla="*/ 6818900 h 6847488"/>
                <a:gd name="connsiteX54" fmla="*/ 1229404 w 3111628"/>
                <a:gd name="connsiteY54" fmla="*/ 6818900 h 6847488"/>
                <a:gd name="connsiteX55" fmla="*/ 1210344 w 3111628"/>
                <a:gd name="connsiteY55" fmla="*/ 6814132 h 6847488"/>
                <a:gd name="connsiteX56" fmla="*/ 1191280 w 3111628"/>
                <a:gd name="connsiteY56" fmla="*/ 6814132 h 6847488"/>
                <a:gd name="connsiteX57" fmla="*/ 1176988 w 3111628"/>
                <a:gd name="connsiteY57" fmla="*/ 6828428 h 6847488"/>
                <a:gd name="connsiteX58" fmla="*/ 1157924 w 3111628"/>
                <a:gd name="connsiteY58" fmla="*/ 6833192 h 6847488"/>
                <a:gd name="connsiteX59" fmla="*/ 1138864 w 3111628"/>
                <a:gd name="connsiteY59" fmla="*/ 6833192 h 6847488"/>
                <a:gd name="connsiteX60" fmla="*/ 1124568 w 3111628"/>
                <a:gd name="connsiteY60" fmla="*/ 6842724 h 6847488"/>
                <a:gd name="connsiteX61" fmla="*/ 1105508 w 3111628"/>
                <a:gd name="connsiteY61" fmla="*/ 6847488 h 6847488"/>
                <a:gd name="connsiteX62" fmla="*/ 1086448 w 3111628"/>
                <a:gd name="connsiteY62" fmla="*/ 6842724 h 6847488"/>
                <a:gd name="connsiteX63" fmla="*/ 1038796 w 3111628"/>
                <a:gd name="connsiteY63" fmla="*/ 6818900 h 6847488"/>
                <a:gd name="connsiteX64" fmla="*/ 1010208 w 3111628"/>
                <a:gd name="connsiteY64" fmla="*/ 6809368 h 6847488"/>
                <a:gd name="connsiteX65" fmla="*/ 905372 w 3111628"/>
                <a:gd name="connsiteY65" fmla="*/ 6804604 h 6847488"/>
                <a:gd name="connsiteX66" fmla="*/ 872016 w 3111628"/>
                <a:gd name="connsiteY66" fmla="*/ 6795072 h 6847488"/>
                <a:gd name="connsiteX67" fmla="*/ 838660 w 3111628"/>
                <a:gd name="connsiteY67" fmla="*/ 6790308 h 6847488"/>
                <a:gd name="connsiteX68" fmla="*/ 819600 w 3111628"/>
                <a:gd name="connsiteY68" fmla="*/ 6790308 h 6847488"/>
                <a:gd name="connsiteX69" fmla="*/ 795776 w 3111628"/>
                <a:gd name="connsiteY69" fmla="*/ 6795072 h 6847488"/>
                <a:gd name="connsiteX70" fmla="*/ 776716 w 3111628"/>
                <a:gd name="connsiteY70" fmla="*/ 6790308 h 6847488"/>
                <a:gd name="connsiteX71" fmla="*/ 771952 w 3111628"/>
                <a:gd name="connsiteY71" fmla="*/ 6799836 h 6847488"/>
                <a:gd name="connsiteX72" fmla="*/ 771952 w 3111628"/>
                <a:gd name="connsiteY72" fmla="*/ 6737892 h 6847488"/>
                <a:gd name="connsiteX73" fmla="*/ 771952 w 3111628"/>
                <a:gd name="connsiteY73" fmla="*/ 6656884 h 6847488"/>
                <a:gd name="connsiteX74" fmla="*/ 771952 w 3111628"/>
                <a:gd name="connsiteY74" fmla="*/ 6585408 h 6847488"/>
                <a:gd name="connsiteX75" fmla="*/ 771952 w 3111628"/>
                <a:gd name="connsiteY75" fmla="*/ 6513928 h 6847488"/>
                <a:gd name="connsiteX76" fmla="*/ 771952 w 3111628"/>
                <a:gd name="connsiteY76" fmla="*/ 6370976 h 6847488"/>
                <a:gd name="connsiteX77" fmla="*/ 771952 w 3111628"/>
                <a:gd name="connsiteY77" fmla="*/ 6294736 h 6847488"/>
                <a:gd name="connsiteX78" fmla="*/ 1796452 w 3111628"/>
                <a:gd name="connsiteY78" fmla="*/ 3149752 h 6847488"/>
                <a:gd name="connsiteX79" fmla="*/ 1815514 w 3111628"/>
                <a:gd name="connsiteY79" fmla="*/ 3154516 h 6847488"/>
                <a:gd name="connsiteX80" fmla="*/ 1825044 w 3111628"/>
                <a:gd name="connsiteY80" fmla="*/ 3159280 h 6847488"/>
                <a:gd name="connsiteX81" fmla="*/ 1829808 w 3111628"/>
                <a:gd name="connsiteY81" fmla="*/ 3168812 h 6847488"/>
                <a:gd name="connsiteX82" fmla="*/ 1829808 w 3111628"/>
                <a:gd name="connsiteY82" fmla="*/ 3183104 h 6847488"/>
                <a:gd name="connsiteX83" fmla="*/ 1825044 w 3111628"/>
                <a:gd name="connsiteY83" fmla="*/ 3178340 h 6847488"/>
                <a:gd name="connsiteX84" fmla="*/ 1801218 w 3111628"/>
                <a:gd name="connsiteY84" fmla="*/ 3168812 h 6847488"/>
                <a:gd name="connsiteX85" fmla="*/ 1796452 w 3111628"/>
                <a:gd name="connsiteY85" fmla="*/ 3154516 h 6847488"/>
                <a:gd name="connsiteX86" fmla="*/ 1148396 w 3111628"/>
                <a:gd name="connsiteY86" fmla="*/ 0 h 6847488"/>
                <a:gd name="connsiteX87" fmla="*/ 1157924 w 3111628"/>
                <a:gd name="connsiteY87" fmla="*/ 0 h 6847488"/>
                <a:gd name="connsiteX88" fmla="*/ 1167456 w 3111628"/>
                <a:gd name="connsiteY88" fmla="*/ 4764 h 6847488"/>
                <a:gd name="connsiteX89" fmla="*/ 1176984 w 3111628"/>
                <a:gd name="connsiteY89" fmla="*/ 14296 h 6847488"/>
                <a:gd name="connsiteX90" fmla="*/ 1205576 w 3111628"/>
                <a:gd name="connsiteY90" fmla="*/ 38120 h 6847488"/>
                <a:gd name="connsiteX91" fmla="*/ 1219872 w 3111628"/>
                <a:gd name="connsiteY91" fmla="*/ 47652 h 6847488"/>
                <a:gd name="connsiteX92" fmla="*/ 1234168 w 3111628"/>
                <a:gd name="connsiteY92" fmla="*/ 52416 h 6847488"/>
                <a:gd name="connsiteX93" fmla="*/ 1257992 w 3111628"/>
                <a:gd name="connsiteY93" fmla="*/ 47652 h 6847488"/>
                <a:gd name="connsiteX94" fmla="*/ 1267524 w 3111628"/>
                <a:gd name="connsiteY94" fmla="*/ 47652 h 6847488"/>
                <a:gd name="connsiteX95" fmla="*/ 1334236 w 3111628"/>
                <a:gd name="connsiteY95" fmla="*/ 47652 h 6847488"/>
                <a:gd name="connsiteX96" fmla="*/ 1343764 w 3111628"/>
                <a:gd name="connsiteY96" fmla="*/ 52416 h 6847488"/>
                <a:gd name="connsiteX97" fmla="*/ 1367592 w 3111628"/>
                <a:gd name="connsiteY97" fmla="*/ 57180 h 6847488"/>
                <a:gd name="connsiteX98" fmla="*/ 1377120 w 3111628"/>
                <a:gd name="connsiteY98" fmla="*/ 61948 h 6847488"/>
                <a:gd name="connsiteX99" fmla="*/ 1386652 w 3111628"/>
                <a:gd name="connsiteY99" fmla="*/ 61948 h 6847488"/>
                <a:gd name="connsiteX100" fmla="*/ 1400948 w 3111628"/>
                <a:gd name="connsiteY100" fmla="*/ 71476 h 6847488"/>
                <a:gd name="connsiteX101" fmla="*/ 1415240 w 3111628"/>
                <a:gd name="connsiteY101" fmla="*/ 95304 h 6847488"/>
                <a:gd name="connsiteX102" fmla="*/ 1424772 w 3111628"/>
                <a:gd name="connsiteY102" fmla="*/ 114364 h 6847488"/>
                <a:gd name="connsiteX103" fmla="*/ 1429536 w 3111628"/>
                <a:gd name="connsiteY103" fmla="*/ 133424 h 6847488"/>
                <a:gd name="connsiteX104" fmla="*/ 1439068 w 3111628"/>
                <a:gd name="connsiteY104" fmla="*/ 162016 h 6847488"/>
                <a:gd name="connsiteX105" fmla="*/ 1443832 w 3111628"/>
                <a:gd name="connsiteY105" fmla="*/ 171544 h 6847488"/>
                <a:gd name="connsiteX106" fmla="*/ 1448596 w 3111628"/>
                <a:gd name="connsiteY106" fmla="*/ 166780 h 6847488"/>
                <a:gd name="connsiteX107" fmla="*/ 1453364 w 3111628"/>
                <a:gd name="connsiteY107" fmla="*/ 133424 h 6847488"/>
                <a:gd name="connsiteX108" fmla="*/ 1462892 w 3111628"/>
                <a:gd name="connsiteY108" fmla="*/ 114364 h 6847488"/>
                <a:gd name="connsiteX109" fmla="*/ 1477188 w 3111628"/>
                <a:gd name="connsiteY109" fmla="*/ 95304 h 6847488"/>
                <a:gd name="connsiteX110" fmla="*/ 1501016 w 3111628"/>
                <a:gd name="connsiteY110" fmla="*/ 42888 h 6847488"/>
                <a:gd name="connsiteX111" fmla="*/ 1510544 w 3111628"/>
                <a:gd name="connsiteY111" fmla="*/ 38120 h 6847488"/>
                <a:gd name="connsiteX112" fmla="*/ 1520076 w 3111628"/>
                <a:gd name="connsiteY112" fmla="*/ 33356 h 6847488"/>
                <a:gd name="connsiteX113" fmla="*/ 1524840 w 3111628"/>
                <a:gd name="connsiteY113" fmla="*/ 33356 h 6847488"/>
                <a:gd name="connsiteX114" fmla="*/ 1534368 w 3111628"/>
                <a:gd name="connsiteY114" fmla="*/ 38120 h 6847488"/>
                <a:gd name="connsiteX115" fmla="*/ 1539136 w 3111628"/>
                <a:gd name="connsiteY115" fmla="*/ 38120 h 6847488"/>
                <a:gd name="connsiteX116" fmla="*/ 1548664 w 3111628"/>
                <a:gd name="connsiteY116" fmla="*/ 33356 h 6847488"/>
                <a:gd name="connsiteX117" fmla="*/ 1610612 w 3111628"/>
                <a:gd name="connsiteY117" fmla="*/ 33356 h 6847488"/>
                <a:gd name="connsiteX118" fmla="*/ 1677324 w 3111628"/>
                <a:gd name="connsiteY118" fmla="*/ 33356 h 6847488"/>
                <a:gd name="connsiteX119" fmla="*/ 1682088 w 3111628"/>
                <a:gd name="connsiteY119" fmla="*/ 42888 h 6847488"/>
                <a:gd name="connsiteX120" fmla="*/ 1691620 w 3111628"/>
                <a:gd name="connsiteY120" fmla="*/ 57180 h 6847488"/>
                <a:gd name="connsiteX121" fmla="*/ 1705916 w 3111628"/>
                <a:gd name="connsiteY121" fmla="*/ 71476 h 6847488"/>
                <a:gd name="connsiteX122" fmla="*/ 1710680 w 3111628"/>
                <a:gd name="connsiteY122" fmla="*/ 76244 h 6847488"/>
                <a:gd name="connsiteX123" fmla="*/ 1710680 w 3111628"/>
                <a:gd name="connsiteY123" fmla="*/ 81008 h 6847488"/>
                <a:gd name="connsiteX124" fmla="*/ 1724976 w 3111628"/>
                <a:gd name="connsiteY124" fmla="*/ 90536 h 6847488"/>
                <a:gd name="connsiteX125" fmla="*/ 1753564 w 3111628"/>
                <a:gd name="connsiteY125" fmla="*/ 104832 h 6847488"/>
                <a:gd name="connsiteX126" fmla="*/ 1777392 w 3111628"/>
                <a:gd name="connsiteY126" fmla="*/ 133424 h 6847488"/>
                <a:gd name="connsiteX127" fmla="*/ 1801216 w 3111628"/>
                <a:gd name="connsiteY127" fmla="*/ 181076 h 6847488"/>
                <a:gd name="connsiteX128" fmla="*/ 1820276 w 3111628"/>
                <a:gd name="connsiteY128" fmla="*/ 209664 h 6847488"/>
                <a:gd name="connsiteX129" fmla="*/ 1839340 w 3111628"/>
                <a:gd name="connsiteY129" fmla="*/ 233492 h 6847488"/>
                <a:gd name="connsiteX130" fmla="*/ 1858400 w 3111628"/>
                <a:gd name="connsiteY130" fmla="*/ 247788 h 6847488"/>
                <a:gd name="connsiteX131" fmla="*/ 1877460 w 3111628"/>
                <a:gd name="connsiteY131" fmla="*/ 257316 h 6847488"/>
                <a:gd name="connsiteX132" fmla="*/ 1886988 w 3111628"/>
                <a:gd name="connsiteY132" fmla="*/ 262084 h 6847488"/>
                <a:gd name="connsiteX133" fmla="*/ 1886988 w 3111628"/>
                <a:gd name="connsiteY133" fmla="*/ 266848 h 6847488"/>
                <a:gd name="connsiteX134" fmla="*/ 1901284 w 3111628"/>
                <a:gd name="connsiteY134" fmla="*/ 281144 h 6847488"/>
                <a:gd name="connsiteX135" fmla="*/ 1934640 w 3111628"/>
                <a:gd name="connsiteY135" fmla="*/ 295436 h 6847488"/>
                <a:gd name="connsiteX136" fmla="*/ 1953700 w 3111628"/>
                <a:gd name="connsiteY136" fmla="*/ 314500 h 6847488"/>
                <a:gd name="connsiteX137" fmla="*/ 1963232 w 3111628"/>
                <a:gd name="connsiteY137" fmla="*/ 328792 h 6847488"/>
                <a:gd name="connsiteX138" fmla="*/ 1991824 w 3111628"/>
                <a:gd name="connsiteY138" fmla="*/ 347856 h 6847488"/>
                <a:gd name="connsiteX139" fmla="*/ 2044240 w 3111628"/>
                <a:gd name="connsiteY139" fmla="*/ 366916 h 6847488"/>
                <a:gd name="connsiteX140" fmla="*/ 2082360 w 3111628"/>
                <a:gd name="connsiteY140" fmla="*/ 371680 h 6847488"/>
                <a:gd name="connsiteX141" fmla="*/ 2106184 w 3111628"/>
                <a:gd name="connsiteY141" fmla="*/ 371680 h 6847488"/>
                <a:gd name="connsiteX142" fmla="*/ 2139540 w 3111628"/>
                <a:gd name="connsiteY142" fmla="*/ 385976 h 6847488"/>
                <a:gd name="connsiteX143" fmla="*/ 2182428 w 3111628"/>
                <a:gd name="connsiteY143" fmla="*/ 419332 h 6847488"/>
                <a:gd name="connsiteX144" fmla="*/ 2211020 w 3111628"/>
                <a:gd name="connsiteY144" fmla="*/ 438392 h 6847488"/>
                <a:gd name="connsiteX145" fmla="*/ 2220548 w 3111628"/>
                <a:gd name="connsiteY145" fmla="*/ 447920 h 6847488"/>
                <a:gd name="connsiteX146" fmla="*/ 2249140 w 3111628"/>
                <a:gd name="connsiteY146" fmla="*/ 466984 h 6847488"/>
                <a:gd name="connsiteX147" fmla="*/ 2320616 w 3111628"/>
                <a:gd name="connsiteY147" fmla="*/ 505104 h 6847488"/>
                <a:gd name="connsiteX148" fmla="*/ 2353972 w 3111628"/>
                <a:gd name="connsiteY148" fmla="*/ 514632 h 6847488"/>
                <a:gd name="connsiteX149" fmla="*/ 2368268 w 3111628"/>
                <a:gd name="connsiteY149" fmla="*/ 524164 h 6847488"/>
                <a:gd name="connsiteX150" fmla="*/ 2377796 w 3111628"/>
                <a:gd name="connsiteY150" fmla="*/ 538460 h 6847488"/>
                <a:gd name="connsiteX151" fmla="*/ 2387328 w 3111628"/>
                <a:gd name="connsiteY151" fmla="*/ 538460 h 6847488"/>
                <a:gd name="connsiteX152" fmla="*/ 2396860 w 3111628"/>
                <a:gd name="connsiteY152" fmla="*/ 533696 h 6847488"/>
                <a:gd name="connsiteX153" fmla="*/ 2411152 w 3111628"/>
                <a:gd name="connsiteY153" fmla="*/ 538460 h 6847488"/>
                <a:gd name="connsiteX154" fmla="*/ 2439744 w 3111628"/>
                <a:gd name="connsiteY154" fmla="*/ 552756 h 6847488"/>
                <a:gd name="connsiteX155" fmla="*/ 2463568 w 3111628"/>
                <a:gd name="connsiteY155" fmla="*/ 567052 h 6847488"/>
                <a:gd name="connsiteX156" fmla="*/ 2492160 w 3111628"/>
                <a:gd name="connsiteY156" fmla="*/ 600408 h 6847488"/>
                <a:gd name="connsiteX157" fmla="*/ 2496924 w 3111628"/>
                <a:gd name="connsiteY157" fmla="*/ 614700 h 6847488"/>
                <a:gd name="connsiteX158" fmla="*/ 2501692 w 3111628"/>
                <a:gd name="connsiteY158" fmla="*/ 624232 h 6847488"/>
                <a:gd name="connsiteX159" fmla="*/ 2501692 w 3111628"/>
                <a:gd name="connsiteY159" fmla="*/ 633760 h 6847488"/>
                <a:gd name="connsiteX160" fmla="*/ 2492160 w 3111628"/>
                <a:gd name="connsiteY160" fmla="*/ 648056 h 6847488"/>
                <a:gd name="connsiteX161" fmla="*/ 2477864 w 3111628"/>
                <a:gd name="connsiteY161" fmla="*/ 657588 h 6847488"/>
                <a:gd name="connsiteX162" fmla="*/ 2473100 w 3111628"/>
                <a:gd name="connsiteY162" fmla="*/ 662352 h 6847488"/>
                <a:gd name="connsiteX163" fmla="*/ 2473100 w 3111628"/>
                <a:gd name="connsiteY163" fmla="*/ 667116 h 6847488"/>
                <a:gd name="connsiteX164" fmla="*/ 2468336 w 3111628"/>
                <a:gd name="connsiteY164" fmla="*/ 681412 h 6847488"/>
                <a:gd name="connsiteX165" fmla="*/ 2454040 w 3111628"/>
                <a:gd name="connsiteY165" fmla="*/ 700472 h 6847488"/>
                <a:gd name="connsiteX166" fmla="*/ 2454040 w 3111628"/>
                <a:gd name="connsiteY166" fmla="*/ 710004 h 6847488"/>
                <a:gd name="connsiteX167" fmla="*/ 2449276 w 3111628"/>
                <a:gd name="connsiteY167" fmla="*/ 719536 h 6847488"/>
                <a:gd name="connsiteX168" fmla="*/ 2444508 w 3111628"/>
                <a:gd name="connsiteY168" fmla="*/ 724300 h 6847488"/>
                <a:gd name="connsiteX169" fmla="*/ 2420684 w 3111628"/>
                <a:gd name="connsiteY169" fmla="*/ 738596 h 6847488"/>
                <a:gd name="connsiteX170" fmla="*/ 2415920 w 3111628"/>
                <a:gd name="connsiteY170" fmla="*/ 748124 h 6847488"/>
                <a:gd name="connsiteX171" fmla="*/ 2415920 w 3111628"/>
                <a:gd name="connsiteY171" fmla="*/ 757656 h 6847488"/>
                <a:gd name="connsiteX172" fmla="*/ 2411152 w 3111628"/>
                <a:gd name="connsiteY172" fmla="*/ 762420 h 6847488"/>
                <a:gd name="connsiteX173" fmla="*/ 2406388 w 3111628"/>
                <a:gd name="connsiteY173" fmla="*/ 771952 h 6847488"/>
                <a:gd name="connsiteX174" fmla="*/ 2401624 w 3111628"/>
                <a:gd name="connsiteY174" fmla="*/ 781480 h 6847488"/>
                <a:gd name="connsiteX175" fmla="*/ 2401624 w 3111628"/>
                <a:gd name="connsiteY175" fmla="*/ 800540 h 6847488"/>
                <a:gd name="connsiteX176" fmla="*/ 2406388 w 3111628"/>
                <a:gd name="connsiteY176" fmla="*/ 819600 h 6847488"/>
                <a:gd name="connsiteX177" fmla="*/ 2406388 w 3111628"/>
                <a:gd name="connsiteY177" fmla="*/ 824368 h 6847488"/>
                <a:gd name="connsiteX178" fmla="*/ 2401624 w 3111628"/>
                <a:gd name="connsiteY178" fmla="*/ 829132 h 6847488"/>
                <a:gd name="connsiteX179" fmla="*/ 2396860 w 3111628"/>
                <a:gd name="connsiteY179" fmla="*/ 833896 h 6847488"/>
                <a:gd name="connsiteX180" fmla="*/ 2396860 w 3111628"/>
                <a:gd name="connsiteY180" fmla="*/ 843428 h 6847488"/>
                <a:gd name="connsiteX181" fmla="*/ 2392092 w 3111628"/>
                <a:gd name="connsiteY181" fmla="*/ 852956 h 6847488"/>
                <a:gd name="connsiteX182" fmla="*/ 2382564 w 3111628"/>
                <a:gd name="connsiteY182" fmla="*/ 857724 h 6847488"/>
                <a:gd name="connsiteX183" fmla="*/ 2382564 w 3111628"/>
                <a:gd name="connsiteY183" fmla="*/ 862488 h 6847488"/>
                <a:gd name="connsiteX184" fmla="*/ 2382564 w 3111628"/>
                <a:gd name="connsiteY184" fmla="*/ 867252 h 6847488"/>
                <a:gd name="connsiteX185" fmla="*/ 2377796 w 3111628"/>
                <a:gd name="connsiteY185" fmla="*/ 872020 h 6847488"/>
                <a:gd name="connsiteX186" fmla="*/ 2368268 w 3111628"/>
                <a:gd name="connsiteY186" fmla="*/ 876784 h 6847488"/>
                <a:gd name="connsiteX187" fmla="*/ 2358736 w 3111628"/>
                <a:gd name="connsiteY187" fmla="*/ 886312 h 6847488"/>
                <a:gd name="connsiteX188" fmla="*/ 2353972 w 3111628"/>
                <a:gd name="connsiteY188" fmla="*/ 895844 h 6847488"/>
                <a:gd name="connsiteX189" fmla="*/ 2349208 w 3111628"/>
                <a:gd name="connsiteY189" fmla="*/ 905376 h 6847488"/>
                <a:gd name="connsiteX190" fmla="*/ 2339676 w 3111628"/>
                <a:gd name="connsiteY190" fmla="*/ 914904 h 6847488"/>
                <a:gd name="connsiteX191" fmla="*/ 2334912 w 3111628"/>
                <a:gd name="connsiteY191" fmla="*/ 924436 h 6847488"/>
                <a:gd name="connsiteX192" fmla="*/ 2339676 w 3111628"/>
                <a:gd name="connsiteY192" fmla="*/ 943496 h 6847488"/>
                <a:gd name="connsiteX193" fmla="*/ 2406388 w 3111628"/>
                <a:gd name="connsiteY193" fmla="*/ 938732 h 6847488"/>
                <a:gd name="connsiteX194" fmla="*/ 2463568 w 3111628"/>
                <a:gd name="connsiteY194" fmla="*/ 948260 h 6847488"/>
                <a:gd name="connsiteX195" fmla="*/ 2530280 w 3111628"/>
                <a:gd name="connsiteY195" fmla="*/ 967320 h 6847488"/>
                <a:gd name="connsiteX196" fmla="*/ 2573168 w 3111628"/>
                <a:gd name="connsiteY196" fmla="*/ 972084 h 6847488"/>
                <a:gd name="connsiteX197" fmla="*/ 2592228 w 3111628"/>
                <a:gd name="connsiteY197" fmla="*/ 967320 h 6847488"/>
                <a:gd name="connsiteX198" fmla="*/ 2611288 w 3111628"/>
                <a:gd name="connsiteY198" fmla="*/ 967320 h 6847488"/>
                <a:gd name="connsiteX199" fmla="*/ 2620820 w 3111628"/>
                <a:gd name="connsiteY199" fmla="*/ 976852 h 6847488"/>
                <a:gd name="connsiteX200" fmla="*/ 2635116 w 3111628"/>
                <a:gd name="connsiteY200" fmla="*/ 976852 h 6847488"/>
                <a:gd name="connsiteX201" fmla="*/ 2654176 w 3111628"/>
                <a:gd name="connsiteY201" fmla="*/ 972084 h 6847488"/>
                <a:gd name="connsiteX202" fmla="*/ 2668472 w 3111628"/>
                <a:gd name="connsiteY202" fmla="*/ 976852 h 6847488"/>
                <a:gd name="connsiteX203" fmla="*/ 2678000 w 3111628"/>
                <a:gd name="connsiteY203" fmla="*/ 986380 h 6847488"/>
                <a:gd name="connsiteX204" fmla="*/ 2687532 w 3111628"/>
                <a:gd name="connsiteY204" fmla="*/ 986380 h 6847488"/>
                <a:gd name="connsiteX205" fmla="*/ 2697060 w 3111628"/>
                <a:gd name="connsiteY205" fmla="*/ 967320 h 6847488"/>
                <a:gd name="connsiteX206" fmla="*/ 2711356 w 3111628"/>
                <a:gd name="connsiteY206" fmla="*/ 957792 h 6847488"/>
                <a:gd name="connsiteX207" fmla="*/ 2720888 w 3111628"/>
                <a:gd name="connsiteY207" fmla="*/ 948260 h 6847488"/>
                <a:gd name="connsiteX208" fmla="*/ 2735184 w 3111628"/>
                <a:gd name="connsiteY208" fmla="*/ 943496 h 6847488"/>
                <a:gd name="connsiteX209" fmla="*/ 2754244 w 3111628"/>
                <a:gd name="connsiteY209" fmla="*/ 948260 h 6847488"/>
                <a:gd name="connsiteX210" fmla="*/ 2768536 w 3111628"/>
                <a:gd name="connsiteY210" fmla="*/ 953024 h 6847488"/>
                <a:gd name="connsiteX211" fmla="*/ 2778068 w 3111628"/>
                <a:gd name="connsiteY211" fmla="*/ 962556 h 6847488"/>
                <a:gd name="connsiteX212" fmla="*/ 2792364 w 3111628"/>
                <a:gd name="connsiteY212" fmla="*/ 962556 h 6847488"/>
                <a:gd name="connsiteX213" fmla="*/ 2801892 w 3111628"/>
                <a:gd name="connsiteY213" fmla="*/ 953024 h 6847488"/>
                <a:gd name="connsiteX214" fmla="*/ 2811424 w 3111628"/>
                <a:gd name="connsiteY214" fmla="*/ 943496 h 6847488"/>
                <a:gd name="connsiteX215" fmla="*/ 2811424 w 3111628"/>
                <a:gd name="connsiteY215" fmla="*/ 929200 h 6847488"/>
                <a:gd name="connsiteX216" fmla="*/ 2816188 w 3111628"/>
                <a:gd name="connsiteY216" fmla="*/ 919668 h 6847488"/>
                <a:gd name="connsiteX217" fmla="*/ 2825720 w 3111628"/>
                <a:gd name="connsiteY217" fmla="*/ 910140 h 6847488"/>
                <a:gd name="connsiteX218" fmla="*/ 2830484 w 3111628"/>
                <a:gd name="connsiteY218" fmla="*/ 900608 h 6847488"/>
                <a:gd name="connsiteX219" fmla="*/ 2835248 w 3111628"/>
                <a:gd name="connsiteY219" fmla="*/ 891080 h 6847488"/>
                <a:gd name="connsiteX220" fmla="*/ 2849544 w 3111628"/>
                <a:gd name="connsiteY220" fmla="*/ 886312 h 6847488"/>
                <a:gd name="connsiteX221" fmla="*/ 2868604 w 3111628"/>
                <a:gd name="connsiteY221" fmla="*/ 881548 h 6847488"/>
                <a:gd name="connsiteX222" fmla="*/ 2882900 w 3111628"/>
                <a:gd name="connsiteY222" fmla="*/ 876784 h 6847488"/>
                <a:gd name="connsiteX223" fmla="*/ 2882900 w 3111628"/>
                <a:gd name="connsiteY223" fmla="*/ 872020 h 6847488"/>
                <a:gd name="connsiteX224" fmla="*/ 2887668 w 3111628"/>
                <a:gd name="connsiteY224" fmla="*/ 862488 h 6847488"/>
                <a:gd name="connsiteX225" fmla="*/ 2901960 w 3111628"/>
                <a:gd name="connsiteY225" fmla="*/ 857724 h 6847488"/>
                <a:gd name="connsiteX226" fmla="*/ 2906728 w 3111628"/>
                <a:gd name="connsiteY226" fmla="*/ 848192 h 6847488"/>
                <a:gd name="connsiteX227" fmla="*/ 2911492 w 3111628"/>
                <a:gd name="connsiteY227" fmla="*/ 838664 h 6847488"/>
                <a:gd name="connsiteX228" fmla="*/ 2921024 w 3111628"/>
                <a:gd name="connsiteY228" fmla="*/ 833896 h 6847488"/>
                <a:gd name="connsiteX229" fmla="*/ 2930552 w 3111628"/>
                <a:gd name="connsiteY229" fmla="*/ 829132 h 6847488"/>
                <a:gd name="connsiteX230" fmla="*/ 2940084 w 3111628"/>
                <a:gd name="connsiteY230" fmla="*/ 810072 h 6847488"/>
                <a:gd name="connsiteX231" fmla="*/ 2954376 w 3111628"/>
                <a:gd name="connsiteY231" fmla="*/ 771952 h 6847488"/>
                <a:gd name="connsiteX232" fmla="*/ 2959144 w 3111628"/>
                <a:gd name="connsiteY232" fmla="*/ 719536 h 6847488"/>
                <a:gd name="connsiteX233" fmla="*/ 2963908 w 3111628"/>
                <a:gd name="connsiteY233" fmla="*/ 643292 h 6847488"/>
                <a:gd name="connsiteX234" fmla="*/ 2973440 w 3111628"/>
                <a:gd name="connsiteY234" fmla="*/ 643292 h 6847488"/>
                <a:gd name="connsiteX235" fmla="*/ 2982968 w 3111628"/>
                <a:gd name="connsiteY235" fmla="*/ 648056 h 6847488"/>
                <a:gd name="connsiteX236" fmla="*/ 2987732 w 3111628"/>
                <a:gd name="connsiteY236" fmla="*/ 652824 h 6847488"/>
                <a:gd name="connsiteX237" fmla="*/ 2997264 w 3111628"/>
                <a:gd name="connsiteY237" fmla="*/ 643292 h 6847488"/>
                <a:gd name="connsiteX238" fmla="*/ 3006796 w 3111628"/>
                <a:gd name="connsiteY238" fmla="*/ 643292 h 6847488"/>
                <a:gd name="connsiteX239" fmla="*/ 3021088 w 3111628"/>
                <a:gd name="connsiteY239" fmla="*/ 643292 h 6847488"/>
                <a:gd name="connsiteX240" fmla="*/ 3025856 w 3111628"/>
                <a:gd name="connsiteY240" fmla="*/ 633760 h 6847488"/>
                <a:gd name="connsiteX241" fmla="*/ 3035384 w 3111628"/>
                <a:gd name="connsiteY241" fmla="*/ 633760 h 6847488"/>
                <a:gd name="connsiteX242" fmla="*/ 3040152 w 3111628"/>
                <a:gd name="connsiteY242" fmla="*/ 638528 h 6847488"/>
                <a:gd name="connsiteX243" fmla="*/ 3044916 w 3111628"/>
                <a:gd name="connsiteY243" fmla="*/ 643292 h 6847488"/>
                <a:gd name="connsiteX244" fmla="*/ 3059212 w 3111628"/>
                <a:gd name="connsiteY244" fmla="*/ 643292 h 6847488"/>
                <a:gd name="connsiteX245" fmla="*/ 3063976 w 3111628"/>
                <a:gd name="connsiteY245" fmla="*/ 657588 h 6847488"/>
                <a:gd name="connsiteX246" fmla="*/ 3078272 w 3111628"/>
                <a:gd name="connsiteY246" fmla="*/ 657588 h 6847488"/>
                <a:gd name="connsiteX247" fmla="*/ 3078272 w 3111628"/>
                <a:gd name="connsiteY247" fmla="*/ 671884 h 6847488"/>
                <a:gd name="connsiteX248" fmla="*/ 3087800 w 3111628"/>
                <a:gd name="connsiteY248" fmla="*/ 710004 h 6847488"/>
                <a:gd name="connsiteX249" fmla="*/ 3097332 w 3111628"/>
                <a:gd name="connsiteY249" fmla="*/ 729064 h 6847488"/>
                <a:gd name="connsiteX250" fmla="*/ 3111628 w 3111628"/>
                <a:gd name="connsiteY250" fmla="*/ 757656 h 6847488"/>
                <a:gd name="connsiteX251" fmla="*/ 3111628 w 3111628"/>
                <a:gd name="connsiteY251" fmla="*/ 767184 h 6847488"/>
                <a:gd name="connsiteX252" fmla="*/ 3102096 w 3111628"/>
                <a:gd name="connsiteY252" fmla="*/ 776716 h 6847488"/>
                <a:gd name="connsiteX253" fmla="*/ 3102096 w 3111628"/>
                <a:gd name="connsiteY253" fmla="*/ 795776 h 6847488"/>
                <a:gd name="connsiteX254" fmla="*/ 3097332 w 3111628"/>
                <a:gd name="connsiteY254" fmla="*/ 833896 h 6847488"/>
                <a:gd name="connsiteX255" fmla="*/ 3097332 w 3111628"/>
                <a:gd name="connsiteY255" fmla="*/ 848192 h 6847488"/>
                <a:gd name="connsiteX256" fmla="*/ 3102096 w 3111628"/>
                <a:gd name="connsiteY256" fmla="*/ 857724 h 6847488"/>
                <a:gd name="connsiteX257" fmla="*/ 3102096 w 3111628"/>
                <a:gd name="connsiteY257" fmla="*/ 872020 h 6847488"/>
                <a:gd name="connsiteX258" fmla="*/ 3097332 w 3111628"/>
                <a:gd name="connsiteY258" fmla="*/ 886312 h 6847488"/>
                <a:gd name="connsiteX259" fmla="*/ 3083036 w 3111628"/>
                <a:gd name="connsiteY259" fmla="*/ 910140 h 6847488"/>
                <a:gd name="connsiteX260" fmla="*/ 3073508 w 3111628"/>
                <a:gd name="connsiteY260" fmla="*/ 919668 h 6847488"/>
                <a:gd name="connsiteX261" fmla="*/ 3068740 w 3111628"/>
                <a:gd name="connsiteY261" fmla="*/ 919668 h 6847488"/>
                <a:gd name="connsiteX262" fmla="*/ 3054444 w 3111628"/>
                <a:gd name="connsiteY262" fmla="*/ 933964 h 6847488"/>
                <a:gd name="connsiteX263" fmla="*/ 3040152 w 3111628"/>
                <a:gd name="connsiteY263" fmla="*/ 938732 h 6847488"/>
                <a:gd name="connsiteX264" fmla="*/ 3035384 w 3111628"/>
                <a:gd name="connsiteY264" fmla="*/ 933964 h 6847488"/>
                <a:gd name="connsiteX265" fmla="*/ 3025856 w 3111628"/>
                <a:gd name="connsiteY265" fmla="*/ 943496 h 6847488"/>
                <a:gd name="connsiteX266" fmla="*/ 3021088 w 3111628"/>
                <a:gd name="connsiteY266" fmla="*/ 957792 h 6847488"/>
                <a:gd name="connsiteX267" fmla="*/ 3006796 w 3111628"/>
                <a:gd name="connsiteY267" fmla="*/ 967320 h 6847488"/>
                <a:gd name="connsiteX268" fmla="*/ 2987732 w 3111628"/>
                <a:gd name="connsiteY268" fmla="*/ 967320 h 6847488"/>
                <a:gd name="connsiteX269" fmla="*/ 2982968 w 3111628"/>
                <a:gd name="connsiteY269" fmla="*/ 972084 h 6847488"/>
                <a:gd name="connsiteX270" fmla="*/ 2973440 w 3111628"/>
                <a:gd name="connsiteY270" fmla="*/ 972084 h 6847488"/>
                <a:gd name="connsiteX271" fmla="*/ 2963908 w 3111628"/>
                <a:gd name="connsiteY271" fmla="*/ 976852 h 6847488"/>
                <a:gd name="connsiteX272" fmla="*/ 2954376 w 3111628"/>
                <a:gd name="connsiteY272" fmla="*/ 981616 h 6847488"/>
                <a:gd name="connsiteX273" fmla="*/ 2944848 w 3111628"/>
                <a:gd name="connsiteY273" fmla="*/ 986380 h 6847488"/>
                <a:gd name="connsiteX274" fmla="*/ 2940084 w 3111628"/>
                <a:gd name="connsiteY274" fmla="*/ 986380 h 6847488"/>
                <a:gd name="connsiteX275" fmla="*/ 2930552 w 3111628"/>
                <a:gd name="connsiteY275" fmla="*/ 986380 h 6847488"/>
                <a:gd name="connsiteX276" fmla="*/ 2921024 w 3111628"/>
                <a:gd name="connsiteY276" fmla="*/ 995912 h 6847488"/>
                <a:gd name="connsiteX277" fmla="*/ 2916256 w 3111628"/>
                <a:gd name="connsiteY277" fmla="*/ 1005440 h 6847488"/>
                <a:gd name="connsiteX278" fmla="*/ 2916256 w 3111628"/>
                <a:gd name="connsiteY278" fmla="*/ 1014972 h 6847488"/>
                <a:gd name="connsiteX279" fmla="*/ 2911492 w 3111628"/>
                <a:gd name="connsiteY279" fmla="*/ 1024504 h 6847488"/>
                <a:gd name="connsiteX280" fmla="*/ 2897196 w 3111628"/>
                <a:gd name="connsiteY280" fmla="*/ 1024504 h 6847488"/>
                <a:gd name="connsiteX281" fmla="*/ 2892432 w 3111628"/>
                <a:gd name="connsiteY281" fmla="*/ 1029268 h 6847488"/>
                <a:gd name="connsiteX282" fmla="*/ 2892432 w 3111628"/>
                <a:gd name="connsiteY282" fmla="*/ 1038796 h 6847488"/>
                <a:gd name="connsiteX283" fmla="*/ 2887668 w 3111628"/>
                <a:gd name="connsiteY283" fmla="*/ 1043564 h 6847488"/>
                <a:gd name="connsiteX284" fmla="*/ 2863840 w 3111628"/>
                <a:gd name="connsiteY284" fmla="*/ 1048328 h 6847488"/>
                <a:gd name="connsiteX285" fmla="*/ 2849544 w 3111628"/>
                <a:gd name="connsiteY285" fmla="*/ 1057860 h 6847488"/>
                <a:gd name="connsiteX286" fmla="*/ 2840016 w 3111628"/>
                <a:gd name="connsiteY286" fmla="*/ 1072152 h 6847488"/>
                <a:gd name="connsiteX287" fmla="*/ 2830484 w 3111628"/>
                <a:gd name="connsiteY287" fmla="*/ 1081684 h 6847488"/>
                <a:gd name="connsiteX288" fmla="*/ 2811424 w 3111628"/>
                <a:gd name="connsiteY288" fmla="*/ 1086448 h 6847488"/>
                <a:gd name="connsiteX289" fmla="*/ 2787600 w 3111628"/>
                <a:gd name="connsiteY289" fmla="*/ 1100744 h 6847488"/>
                <a:gd name="connsiteX290" fmla="*/ 2787600 w 3111628"/>
                <a:gd name="connsiteY290" fmla="*/ 1110276 h 6847488"/>
                <a:gd name="connsiteX291" fmla="*/ 2797128 w 3111628"/>
                <a:gd name="connsiteY291" fmla="*/ 1119804 h 6847488"/>
                <a:gd name="connsiteX292" fmla="*/ 2797128 w 3111628"/>
                <a:gd name="connsiteY292" fmla="*/ 1129336 h 6847488"/>
                <a:gd name="connsiteX293" fmla="*/ 2797128 w 3111628"/>
                <a:gd name="connsiteY293" fmla="*/ 1134100 h 6847488"/>
                <a:gd name="connsiteX294" fmla="*/ 2787600 w 3111628"/>
                <a:gd name="connsiteY294" fmla="*/ 1134100 h 6847488"/>
                <a:gd name="connsiteX295" fmla="*/ 2778068 w 3111628"/>
                <a:gd name="connsiteY295" fmla="*/ 1129336 h 6847488"/>
                <a:gd name="connsiteX296" fmla="*/ 2768536 w 3111628"/>
                <a:gd name="connsiteY296" fmla="*/ 1129336 h 6847488"/>
                <a:gd name="connsiteX297" fmla="*/ 2763772 w 3111628"/>
                <a:gd name="connsiteY297" fmla="*/ 1134100 h 6847488"/>
                <a:gd name="connsiteX298" fmla="*/ 2763772 w 3111628"/>
                <a:gd name="connsiteY298" fmla="*/ 1138864 h 6847488"/>
                <a:gd name="connsiteX299" fmla="*/ 2763772 w 3111628"/>
                <a:gd name="connsiteY299" fmla="*/ 1143632 h 6847488"/>
                <a:gd name="connsiteX300" fmla="*/ 2759008 w 3111628"/>
                <a:gd name="connsiteY300" fmla="*/ 1153160 h 6847488"/>
                <a:gd name="connsiteX301" fmla="*/ 2749476 w 3111628"/>
                <a:gd name="connsiteY301" fmla="*/ 1153160 h 6847488"/>
                <a:gd name="connsiteX302" fmla="*/ 2744712 w 3111628"/>
                <a:gd name="connsiteY302" fmla="*/ 1157924 h 6847488"/>
                <a:gd name="connsiteX303" fmla="*/ 2739948 w 3111628"/>
                <a:gd name="connsiteY303" fmla="*/ 1172220 h 6847488"/>
                <a:gd name="connsiteX304" fmla="*/ 2730416 w 3111628"/>
                <a:gd name="connsiteY304" fmla="*/ 1181752 h 6847488"/>
                <a:gd name="connsiteX305" fmla="*/ 2711356 w 3111628"/>
                <a:gd name="connsiteY305" fmla="*/ 1196048 h 6847488"/>
                <a:gd name="connsiteX306" fmla="*/ 2697060 w 3111628"/>
                <a:gd name="connsiteY306" fmla="*/ 1219872 h 6847488"/>
                <a:gd name="connsiteX307" fmla="*/ 2687532 w 3111628"/>
                <a:gd name="connsiteY307" fmla="*/ 1243700 h 6847488"/>
                <a:gd name="connsiteX308" fmla="*/ 2673236 w 3111628"/>
                <a:gd name="connsiteY308" fmla="*/ 1262760 h 6847488"/>
                <a:gd name="connsiteX309" fmla="*/ 2658940 w 3111628"/>
                <a:gd name="connsiteY309" fmla="*/ 1267524 h 6847488"/>
                <a:gd name="connsiteX310" fmla="*/ 2649408 w 3111628"/>
                <a:gd name="connsiteY310" fmla="*/ 1281820 h 6847488"/>
                <a:gd name="connsiteX311" fmla="*/ 2639880 w 3111628"/>
                <a:gd name="connsiteY311" fmla="*/ 1296116 h 6847488"/>
                <a:gd name="connsiteX312" fmla="*/ 2625584 w 3111628"/>
                <a:gd name="connsiteY312" fmla="*/ 1319940 h 6847488"/>
                <a:gd name="connsiteX313" fmla="*/ 2601760 w 3111628"/>
                <a:gd name="connsiteY313" fmla="*/ 1353296 h 6847488"/>
                <a:gd name="connsiteX314" fmla="*/ 2577932 w 3111628"/>
                <a:gd name="connsiteY314" fmla="*/ 1372356 h 6847488"/>
                <a:gd name="connsiteX315" fmla="*/ 2554108 w 3111628"/>
                <a:gd name="connsiteY315" fmla="*/ 1386652 h 6847488"/>
                <a:gd name="connsiteX316" fmla="*/ 2544576 w 3111628"/>
                <a:gd name="connsiteY316" fmla="*/ 1400948 h 6847488"/>
                <a:gd name="connsiteX317" fmla="*/ 2539812 w 3111628"/>
                <a:gd name="connsiteY317" fmla="*/ 1415244 h 6847488"/>
                <a:gd name="connsiteX318" fmla="*/ 2525516 w 3111628"/>
                <a:gd name="connsiteY318" fmla="*/ 1429540 h 6847488"/>
                <a:gd name="connsiteX319" fmla="*/ 2501692 w 3111628"/>
                <a:gd name="connsiteY319" fmla="*/ 1448600 h 6847488"/>
                <a:gd name="connsiteX320" fmla="*/ 2496924 w 3111628"/>
                <a:gd name="connsiteY320" fmla="*/ 1458128 h 6847488"/>
                <a:gd name="connsiteX321" fmla="*/ 2492160 w 3111628"/>
                <a:gd name="connsiteY321" fmla="*/ 1467660 h 6847488"/>
                <a:gd name="connsiteX322" fmla="*/ 2487396 w 3111628"/>
                <a:gd name="connsiteY322" fmla="*/ 1477188 h 6847488"/>
                <a:gd name="connsiteX323" fmla="*/ 2477864 w 3111628"/>
                <a:gd name="connsiteY323" fmla="*/ 1491484 h 6847488"/>
                <a:gd name="connsiteX324" fmla="*/ 2458804 w 3111628"/>
                <a:gd name="connsiteY324" fmla="*/ 1515312 h 6847488"/>
                <a:gd name="connsiteX325" fmla="*/ 2454040 w 3111628"/>
                <a:gd name="connsiteY325" fmla="*/ 1529604 h 6847488"/>
                <a:gd name="connsiteX326" fmla="*/ 2463568 w 3111628"/>
                <a:gd name="connsiteY326" fmla="*/ 1553432 h 6847488"/>
                <a:gd name="connsiteX327" fmla="*/ 2463568 w 3111628"/>
                <a:gd name="connsiteY327" fmla="*/ 1582024 h 6847488"/>
                <a:gd name="connsiteX328" fmla="*/ 2458804 w 3111628"/>
                <a:gd name="connsiteY328" fmla="*/ 1591552 h 6847488"/>
                <a:gd name="connsiteX329" fmla="*/ 2454040 w 3111628"/>
                <a:gd name="connsiteY329" fmla="*/ 1596316 h 6847488"/>
                <a:gd name="connsiteX330" fmla="*/ 2449276 w 3111628"/>
                <a:gd name="connsiteY330" fmla="*/ 1601084 h 6847488"/>
                <a:gd name="connsiteX331" fmla="*/ 2454040 w 3111628"/>
                <a:gd name="connsiteY331" fmla="*/ 1610612 h 6847488"/>
                <a:gd name="connsiteX332" fmla="*/ 2454040 w 3111628"/>
                <a:gd name="connsiteY332" fmla="*/ 1624908 h 6847488"/>
                <a:gd name="connsiteX333" fmla="*/ 2449276 w 3111628"/>
                <a:gd name="connsiteY333" fmla="*/ 1639204 h 6847488"/>
                <a:gd name="connsiteX334" fmla="*/ 2444508 w 3111628"/>
                <a:gd name="connsiteY334" fmla="*/ 1658264 h 6847488"/>
                <a:gd name="connsiteX335" fmla="*/ 2430212 w 3111628"/>
                <a:gd name="connsiteY335" fmla="*/ 1682088 h 6847488"/>
                <a:gd name="connsiteX336" fmla="*/ 2425448 w 3111628"/>
                <a:gd name="connsiteY336" fmla="*/ 1696384 h 6847488"/>
                <a:gd name="connsiteX337" fmla="*/ 2434980 w 3111628"/>
                <a:gd name="connsiteY337" fmla="*/ 1701152 h 6847488"/>
                <a:gd name="connsiteX338" fmla="*/ 2434980 w 3111628"/>
                <a:gd name="connsiteY338" fmla="*/ 1710680 h 6847488"/>
                <a:gd name="connsiteX339" fmla="*/ 2434980 w 3111628"/>
                <a:gd name="connsiteY339" fmla="*/ 1720212 h 6847488"/>
                <a:gd name="connsiteX340" fmla="*/ 2434980 w 3111628"/>
                <a:gd name="connsiteY340" fmla="*/ 1729740 h 6847488"/>
                <a:gd name="connsiteX341" fmla="*/ 2430212 w 3111628"/>
                <a:gd name="connsiteY341" fmla="*/ 1744036 h 6847488"/>
                <a:gd name="connsiteX342" fmla="*/ 2420684 w 3111628"/>
                <a:gd name="connsiteY342" fmla="*/ 1758332 h 6847488"/>
                <a:gd name="connsiteX343" fmla="*/ 2406388 w 3111628"/>
                <a:gd name="connsiteY343" fmla="*/ 1763096 h 6847488"/>
                <a:gd name="connsiteX344" fmla="*/ 2406388 w 3111628"/>
                <a:gd name="connsiteY344" fmla="*/ 1772628 h 6847488"/>
                <a:gd name="connsiteX345" fmla="*/ 2411152 w 3111628"/>
                <a:gd name="connsiteY345" fmla="*/ 1786924 h 6847488"/>
                <a:gd name="connsiteX346" fmla="*/ 2411152 w 3111628"/>
                <a:gd name="connsiteY346" fmla="*/ 1796452 h 6847488"/>
                <a:gd name="connsiteX347" fmla="*/ 2406388 w 3111628"/>
                <a:gd name="connsiteY347" fmla="*/ 1810748 h 6847488"/>
                <a:gd name="connsiteX348" fmla="*/ 2411152 w 3111628"/>
                <a:gd name="connsiteY348" fmla="*/ 1825044 h 6847488"/>
                <a:gd name="connsiteX349" fmla="*/ 2415920 w 3111628"/>
                <a:gd name="connsiteY349" fmla="*/ 1834576 h 6847488"/>
                <a:gd name="connsiteX350" fmla="*/ 2415920 w 3111628"/>
                <a:gd name="connsiteY350" fmla="*/ 1848868 h 6847488"/>
                <a:gd name="connsiteX351" fmla="*/ 2401624 w 3111628"/>
                <a:gd name="connsiteY351" fmla="*/ 1877460 h 6847488"/>
                <a:gd name="connsiteX352" fmla="*/ 2401624 w 3111628"/>
                <a:gd name="connsiteY352" fmla="*/ 1891756 h 6847488"/>
                <a:gd name="connsiteX353" fmla="*/ 2406388 w 3111628"/>
                <a:gd name="connsiteY353" fmla="*/ 1967996 h 6847488"/>
                <a:gd name="connsiteX354" fmla="*/ 2401624 w 3111628"/>
                <a:gd name="connsiteY354" fmla="*/ 1977528 h 6847488"/>
                <a:gd name="connsiteX355" fmla="*/ 2396860 w 3111628"/>
                <a:gd name="connsiteY355" fmla="*/ 1987060 h 6847488"/>
                <a:gd name="connsiteX356" fmla="*/ 2387328 w 3111628"/>
                <a:gd name="connsiteY356" fmla="*/ 1991824 h 6847488"/>
                <a:gd name="connsiteX357" fmla="*/ 2377796 w 3111628"/>
                <a:gd name="connsiteY357" fmla="*/ 1987060 h 6847488"/>
                <a:gd name="connsiteX358" fmla="*/ 2368268 w 3111628"/>
                <a:gd name="connsiteY358" fmla="*/ 1996588 h 6847488"/>
                <a:gd name="connsiteX359" fmla="*/ 2363504 w 3111628"/>
                <a:gd name="connsiteY359" fmla="*/ 2025180 h 6847488"/>
                <a:gd name="connsiteX360" fmla="*/ 2349208 w 3111628"/>
                <a:gd name="connsiteY360" fmla="*/ 2096656 h 6847488"/>
                <a:gd name="connsiteX361" fmla="*/ 2353972 w 3111628"/>
                <a:gd name="connsiteY361" fmla="*/ 2115716 h 6847488"/>
                <a:gd name="connsiteX362" fmla="*/ 2363504 w 3111628"/>
                <a:gd name="connsiteY362" fmla="*/ 2144308 h 6847488"/>
                <a:gd name="connsiteX363" fmla="*/ 2368268 w 3111628"/>
                <a:gd name="connsiteY363" fmla="*/ 2158604 h 6847488"/>
                <a:gd name="connsiteX364" fmla="*/ 2373032 w 3111628"/>
                <a:gd name="connsiteY364" fmla="*/ 2172900 h 6847488"/>
                <a:gd name="connsiteX365" fmla="*/ 2373032 w 3111628"/>
                <a:gd name="connsiteY365" fmla="*/ 2196724 h 6847488"/>
                <a:gd name="connsiteX366" fmla="*/ 2368268 w 3111628"/>
                <a:gd name="connsiteY366" fmla="*/ 2211020 h 6847488"/>
                <a:gd name="connsiteX367" fmla="*/ 2358736 w 3111628"/>
                <a:gd name="connsiteY367" fmla="*/ 2211020 h 6847488"/>
                <a:gd name="connsiteX368" fmla="*/ 2353972 w 3111628"/>
                <a:gd name="connsiteY368" fmla="*/ 2215784 h 6847488"/>
                <a:gd name="connsiteX369" fmla="*/ 2363504 w 3111628"/>
                <a:gd name="connsiteY369" fmla="*/ 2249140 h 6847488"/>
                <a:gd name="connsiteX370" fmla="*/ 2368268 w 3111628"/>
                <a:gd name="connsiteY370" fmla="*/ 2263436 h 6847488"/>
                <a:gd name="connsiteX371" fmla="*/ 2392092 w 3111628"/>
                <a:gd name="connsiteY371" fmla="*/ 2292028 h 6847488"/>
                <a:gd name="connsiteX372" fmla="*/ 2473100 w 3111628"/>
                <a:gd name="connsiteY372" fmla="*/ 2330148 h 6847488"/>
                <a:gd name="connsiteX373" fmla="*/ 2506456 w 3111628"/>
                <a:gd name="connsiteY373" fmla="*/ 2353972 h 6847488"/>
                <a:gd name="connsiteX374" fmla="*/ 2544576 w 3111628"/>
                <a:gd name="connsiteY374" fmla="*/ 2387328 h 6847488"/>
                <a:gd name="connsiteX375" fmla="*/ 2563636 w 3111628"/>
                <a:gd name="connsiteY375" fmla="*/ 2420684 h 6847488"/>
                <a:gd name="connsiteX376" fmla="*/ 2568404 w 3111628"/>
                <a:gd name="connsiteY376" fmla="*/ 2449276 h 6847488"/>
                <a:gd name="connsiteX377" fmla="*/ 2535048 w 3111628"/>
                <a:gd name="connsiteY377" fmla="*/ 2487396 h 6847488"/>
                <a:gd name="connsiteX378" fmla="*/ 2530280 w 3111628"/>
                <a:gd name="connsiteY378" fmla="*/ 2525516 h 6847488"/>
                <a:gd name="connsiteX379" fmla="*/ 2539812 w 3111628"/>
                <a:gd name="connsiteY379" fmla="*/ 2549344 h 6847488"/>
                <a:gd name="connsiteX380" fmla="*/ 2549344 w 3111628"/>
                <a:gd name="connsiteY380" fmla="*/ 2568404 h 6847488"/>
                <a:gd name="connsiteX381" fmla="*/ 2577932 w 3111628"/>
                <a:gd name="connsiteY381" fmla="*/ 2601760 h 6847488"/>
                <a:gd name="connsiteX382" fmla="*/ 2601760 w 3111628"/>
                <a:gd name="connsiteY382" fmla="*/ 2611288 h 6847488"/>
                <a:gd name="connsiteX383" fmla="*/ 2630348 w 3111628"/>
                <a:gd name="connsiteY383" fmla="*/ 2611288 h 6847488"/>
                <a:gd name="connsiteX384" fmla="*/ 2635116 w 3111628"/>
                <a:gd name="connsiteY384" fmla="*/ 2616056 h 6847488"/>
                <a:gd name="connsiteX385" fmla="*/ 2639880 w 3111628"/>
                <a:gd name="connsiteY385" fmla="*/ 2625584 h 6847488"/>
                <a:gd name="connsiteX386" fmla="*/ 2644644 w 3111628"/>
                <a:gd name="connsiteY386" fmla="*/ 2682768 h 6847488"/>
                <a:gd name="connsiteX387" fmla="*/ 2639880 w 3111628"/>
                <a:gd name="connsiteY387" fmla="*/ 2706592 h 6847488"/>
                <a:gd name="connsiteX388" fmla="*/ 2635116 w 3111628"/>
                <a:gd name="connsiteY388" fmla="*/ 2730420 h 6847488"/>
                <a:gd name="connsiteX389" fmla="*/ 2577932 w 3111628"/>
                <a:gd name="connsiteY389" fmla="*/ 2825720 h 6847488"/>
                <a:gd name="connsiteX390" fmla="*/ 2530280 w 3111628"/>
                <a:gd name="connsiteY390" fmla="*/ 2882904 h 6847488"/>
                <a:gd name="connsiteX391" fmla="*/ 2511220 w 3111628"/>
                <a:gd name="connsiteY391" fmla="*/ 2916256 h 6847488"/>
                <a:gd name="connsiteX392" fmla="*/ 2506456 w 3111628"/>
                <a:gd name="connsiteY392" fmla="*/ 2949612 h 6847488"/>
                <a:gd name="connsiteX393" fmla="*/ 2492160 w 3111628"/>
                <a:gd name="connsiteY393" fmla="*/ 2968676 h 6847488"/>
                <a:gd name="connsiteX394" fmla="*/ 2406388 w 3111628"/>
                <a:gd name="connsiteY394" fmla="*/ 3021092 h 6847488"/>
                <a:gd name="connsiteX395" fmla="*/ 2277728 w 3111628"/>
                <a:gd name="connsiteY395" fmla="*/ 3068744 h 6847488"/>
                <a:gd name="connsiteX396" fmla="*/ 2172896 w 3111628"/>
                <a:gd name="connsiteY396" fmla="*/ 3092568 h 6847488"/>
                <a:gd name="connsiteX397" fmla="*/ 2149072 w 3111628"/>
                <a:gd name="connsiteY397" fmla="*/ 3102100 h 6847488"/>
                <a:gd name="connsiteX398" fmla="*/ 1982292 w 3111628"/>
                <a:gd name="connsiteY398" fmla="*/ 3125924 h 6847488"/>
                <a:gd name="connsiteX399" fmla="*/ 1948936 w 3111628"/>
                <a:gd name="connsiteY399" fmla="*/ 3130688 h 6847488"/>
                <a:gd name="connsiteX400" fmla="*/ 1906048 w 3111628"/>
                <a:gd name="connsiteY400" fmla="*/ 3130688 h 6847488"/>
                <a:gd name="connsiteX401" fmla="*/ 1872696 w 3111628"/>
                <a:gd name="connsiteY401" fmla="*/ 3130688 h 6847488"/>
                <a:gd name="connsiteX402" fmla="*/ 1834572 w 3111628"/>
                <a:gd name="connsiteY402" fmla="*/ 3125924 h 6847488"/>
                <a:gd name="connsiteX403" fmla="*/ 1801216 w 3111628"/>
                <a:gd name="connsiteY403" fmla="*/ 3116396 h 6847488"/>
                <a:gd name="connsiteX404" fmla="*/ 1782156 w 3111628"/>
                <a:gd name="connsiteY404" fmla="*/ 3097332 h 6847488"/>
                <a:gd name="connsiteX405" fmla="*/ 1758332 w 3111628"/>
                <a:gd name="connsiteY405" fmla="*/ 3092568 h 6847488"/>
                <a:gd name="connsiteX406" fmla="*/ 1748800 w 3111628"/>
                <a:gd name="connsiteY406" fmla="*/ 3102100 h 6847488"/>
                <a:gd name="connsiteX407" fmla="*/ 1763096 w 3111628"/>
                <a:gd name="connsiteY407" fmla="*/ 3130688 h 6847488"/>
                <a:gd name="connsiteX408" fmla="*/ 1758332 w 3111628"/>
                <a:gd name="connsiteY408" fmla="*/ 3164044 h 6847488"/>
                <a:gd name="connsiteX409" fmla="*/ 1763096 w 3111628"/>
                <a:gd name="connsiteY409" fmla="*/ 3183104 h 6847488"/>
                <a:gd name="connsiteX410" fmla="*/ 1777392 w 3111628"/>
                <a:gd name="connsiteY410" fmla="*/ 3187872 h 6847488"/>
                <a:gd name="connsiteX411" fmla="*/ 1791688 w 3111628"/>
                <a:gd name="connsiteY411" fmla="*/ 3197400 h 6847488"/>
                <a:gd name="connsiteX412" fmla="*/ 1801216 w 3111628"/>
                <a:gd name="connsiteY412" fmla="*/ 3206932 h 6847488"/>
                <a:gd name="connsiteX413" fmla="*/ 1782156 w 3111628"/>
                <a:gd name="connsiteY413" fmla="*/ 3211696 h 6847488"/>
                <a:gd name="connsiteX414" fmla="*/ 1786920 w 3111628"/>
                <a:gd name="connsiteY414" fmla="*/ 3221228 h 6847488"/>
                <a:gd name="connsiteX415" fmla="*/ 1796452 w 3111628"/>
                <a:gd name="connsiteY415" fmla="*/ 3225992 h 6847488"/>
                <a:gd name="connsiteX416" fmla="*/ 1796452 w 3111628"/>
                <a:gd name="connsiteY416" fmla="*/ 3249816 h 6847488"/>
                <a:gd name="connsiteX417" fmla="*/ 1786920 w 3111628"/>
                <a:gd name="connsiteY417" fmla="*/ 3302236 h 6847488"/>
                <a:gd name="connsiteX418" fmla="*/ 1767860 w 3111628"/>
                <a:gd name="connsiteY418" fmla="*/ 3311764 h 6847488"/>
                <a:gd name="connsiteX419" fmla="*/ 1763096 w 3111628"/>
                <a:gd name="connsiteY419" fmla="*/ 3316528 h 6847488"/>
                <a:gd name="connsiteX420" fmla="*/ 1758332 w 3111628"/>
                <a:gd name="connsiteY420" fmla="*/ 3326060 h 6847488"/>
                <a:gd name="connsiteX421" fmla="*/ 1748800 w 3111628"/>
                <a:gd name="connsiteY421" fmla="*/ 3378476 h 6847488"/>
                <a:gd name="connsiteX422" fmla="*/ 1744036 w 3111628"/>
                <a:gd name="connsiteY422" fmla="*/ 3407068 h 6847488"/>
                <a:gd name="connsiteX423" fmla="*/ 1748800 w 3111628"/>
                <a:gd name="connsiteY423" fmla="*/ 3430892 h 6847488"/>
                <a:gd name="connsiteX424" fmla="*/ 1772628 w 3111628"/>
                <a:gd name="connsiteY424" fmla="*/ 3473780 h 6847488"/>
                <a:gd name="connsiteX425" fmla="*/ 1763096 w 3111628"/>
                <a:gd name="connsiteY425" fmla="*/ 3502368 h 6847488"/>
                <a:gd name="connsiteX426" fmla="*/ 1748800 w 3111628"/>
                <a:gd name="connsiteY426" fmla="*/ 3516664 h 6847488"/>
                <a:gd name="connsiteX427" fmla="*/ 1686856 w 3111628"/>
                <a:gd name="connsiteY427" fmla="*/ 3550020 h 6847488"/>
                <a:gd name="connsiteX428" fmla="*/ 1658264 w 3111628"/>
                <a:gd name="connsiteY428" fmla="*/ 3564316 h 6847488"/>
                <a:gd name="connsiteX429" fmla="*/ 1620144 w 3111628"/>
                <a:gd name="connsiteY429" fmla="*/ 3573848 h 6847488"/>
                <a:gd name="connsiteX430" fmla="*/ 1558196 w 3111628"/>
                <a:gd name="connsiteY430" fmla="*/ 3573848 h 6847488"/>
                <a:gd name="connsiteX431" fmla="*/ 1534368 w 3111628"/>
                <a:gd name="connsiteY431" fmla="*/ 3573848 h 6847488"/>
                <a:gd name="connsiteX432" fmla="*/ 1477188 w 3111628"/>
                <a:gd name="connsiteY432" fmla="*/ 3540492 h 6847488"/>
                <a:gd name="connsiteX433" fmla="*/ 1439068 w 3111628"/>
                <a:gd name="connsiteY433" fmla="*/ 3526196 h 6847488"/>
                <a:gd name="connsiteX434" fmla="*/ 1400948 w 3111628"/>
                <a:gd name="connsiteY434" fmla="*/ 3511900 h 6847488"/>
                <a:gd name="connsiteX435" fmla="*/ 1362824 w 3111628"/>
                <a:gd name="connsiteY435" fmla="*/ 3502368 h 6847488"/>
                <a:gd name="connsiteX436" fmla="*/ 1367592 w 3111628"/>
                <a:gd name="connsiteY436" fmla="*/ 3497604 h 6847488"/>
                <a:gd name="connsiteX437" fmla="*/ 1372356 w 3111628"/>
                <a:gd name="connsiteY437" fmla="*/ 3492840 h 6847488"/>
                <a:gd name="connsiteX438" fmla="*/ 1362824 w 3111628"/>
                <a:gd name="connsiteY438" fmla="*/ 3488076 h 6847488"/>
                <a:gd name="connsiteX439" fmla="*/ 1353296 w 3111628"/>
                <a:gd name="connsiteY439" fmla="*/ 3483308 h 6847488"/>
                <a:gd name="connsiteX440" fmla="*/ 1329468 w 3111628"/>
                <a:gd name="connsiteY440" fmla="*/ 3502368 h 6847488"/>
                <a:gd name="connsiteX441" fmla="*/ 1319940 w 3111628"/>
                <a:gd name="connsiteY441" fmla="*/ 3516664 h 6847488"/>
                <a:gd name="connsiteX442" fmla="*/ 1315176 w 3111628"/>
                <a:gd name="connsiteY442" fmla="*/ 3530960 h 6847488"/>
                <a:gd name="connsiteX443" fmla="*/ 1315176 w 3111628"/>
                <a:gd name="connsiteY443" fmla="*/ 3564316 h 6847488"/>
                <a:gd name="connsiteX444" fmla="*/ 1319940 w 3111628"/>
                <a:gd name="connsiteY444" fmla="*/ 3592908 h 6847488"/>
                <a:gd name="connsiteX445" fmla="*/ 1339000 w 3111628"/>
                <a:gd name="connsiteY445" fmla="*/ 3659620 h 6847488"/>
                <a:gd name="connsiteX446" fmla="*/ 1339000 w 3111628"/>
                <a:gd name="connsiteY446" fmla="*/ 3697740 h 6847488"/>
                <a:gd name="connsiteX447" fmla="*/ 1334236 w 3111628"/>
                <a:gd name="connsiteY447" fmla="*/ 3745392 h 6847488"/>
                <a:gd name="connsiteX448" fmla="*/ 1343764 w 3111628"/>
                <a:gd name="connsiteY448" fmla="*/ 3769216 h 6847488"/>
                <a:gd name="connsiteX449" fmla="*/ 1358060 w 3111628"/>
                <a:gd name="connsiteY449" fmla="*/ 3783512 h 6847488"/>
                <a:gd name="connsiteX450" fmla="*/ 1386652 w 3111628"/>
                <a:gd name="connsiteY450" fmla="*/ 3797808 h 6847488"/>
                <a:gd name="connsiteX451" fmla="*/ 1400948 w 3111628"/>
                <a:gd name="connsiteY451" fmla="*/ 3807336 h 6847488"/>
                <a:gd name="connsiteX452" fmla="*/ 1415240 w 3111628"/>
                <a:gd name="connsiteY452" fmla="*/ 3802572 h 6847488"/>
                <a:gd name="connsiteX453" fmla="*/ 1415240 w 3111628"/>
                <a:gd name="connsiteY453" fmla="*/ 3807336 h 6847488"/>
                <a:gd name="connsiteX454" fmla="*/ 1415240 w 3111628"/>
                <a:gd name="connsiteY454" fmla="*/ 3812104 h 6847488"/>
                <a:gd name="connsiteX455" fmla="*/ 1405712 w 3111628"/>
                <a:gd name="connsiteY455" fmla="*/ 3826400 h 6847488"/>
                <a:gd name="connsiteX456" fmla="*/ 1410476 w 3111628"/>
                <a:gd name="connsiteY456" fmla="*/ 3835928 h 6847488"/>
                <a:gd name="connsiteX457" fmla="*/ 1429536 w 3111628"/>
                <a:gd name="connsiteY457" fmla="*/ 3840692 h 6847488"/>
                <a:gd name="connsiteX458" fmla="*/ 1458128 w 3111628"/>
                <a:gd name="connsiteY458" fmla="*/ 3840692 h 6847488"/>
                <a:gd name="connsiteX459" fmla="*/ 1481952 w 3111628"/>
                <a:gd name="connsiteY459" fmla="*/ 3831164 h 6847488"/>
                <a:gd name="connsiteX460" fmla="*/ 1486720 w 3111628"/>
                <a:gd name="connsiteY460" fmla="*/ 3826400 h 6847488"/>
                <a:gd name="connsiteX461" fmla="*/ 1486720 w 3111628"/>
                <a:gd name="connsiteY461" fmla="*/ 3807336 h 6847488"/>
                <a:gd name="connsiteX462" fmla="*/ 1458128 w 3111628"/>
                <a:gd name="connsiteY462" fmla="*/ 3802572 h 6847488"/>
                <a:gd name="connsiteX463" fmla="*/ 1462892 w 3111628"/>
                <a:gd name="connsiteY463" fmla="*/ 3797808 h 6847488"/>
                <a:gd name="connsiteX464" fmla="*/ 1481952 w 3111628"/>
                <a:gd name="connsiteY464" fmla="*/ 3788276 h 6847488"/>
                <a:gd name="connsiteX465" fmla="*/ 1515308 w 3111628"/>
                <a:gd name="connsiteY465" fmla="*/ 3773980 h 6847488"/>
                <a:gd name="connsiteX466" fmla="*/ 1529604 w 3111628"/>
                <a:gd name="connsiteY466" fmla="*/ 3773980 h 6847488"/>
                <a:gd name="connsiteX467" fmla="*/ 1539136 w 3111628"/>
                <a:gd name="connsiteY467" fmla="*/ 3783512 h 6847488"/>
                <a:gd name="connsiteX468" fmla="*/ 1548664 w 3111628"/>
                <a:gd name="connsiteY468" fmla="*/ 3788276 h 6847488"/>
                <a:gd name="connsiteX469" fmla="*/ 1553432 w 3111628"/>
                <a:gd name="connsiteY469" fmla="*/ 3807336 h 6847488"/>
                <a:gd name="connsiteX470" fmla="*/ 1558196 w 3111628"/>
                <a:gd name="connsiteY470" fmla="*/ 3835928 h 6847488"/>
                <a:gd name="connsiteX471" fmla="*/ 1558196 w 3111628"/>
                <a:gd name="connsiteY471" fmla="*/ 3869284 h 6847488"/>
                <a:gd name="connsiteX472" fmla="*/ 1558196 w 3111628"/>
                <a:gd name="connsiteY472" fmla="*/ 3897876 h 6847488"/>
                <a:gd name="connsiteX473" fmla="*/ 1553432 w 3111628"/>
                <a:gd name="connsiteY473" fmla="*/ 3907404 h 6847488"/>
                <a:gd name="connsiteX474" fmla="*/ 1543900 w 3111628"/>
                <a:gd name="connsiteY474" fmla="*/ 3921700 h 6847488"/>
                <a:gd name="connsiteX475" fmla="*/ 1491484 w 3111628"/>
                <a:gd name="connsiteY475" fmla="*/ 3935996 h 6847488"/>
                <a:gd name="connsiteX476" fmla="*/ 1477188 w 3111628"/>
                <a:gd name="connsiteY476" fmla="*/ 3931232 h 6847488"/>
                <a:gd name="connsiteX477" fmla="*/ 1462892 w 3111628"/>
                <a:gd name="connsiteY477" fmla="*/ 3907404 h 6847488"/>
                <a:gd name="connsiteX478" fmla="*/ 1458128 w 3111628"/>
                <a:gd name="connsiteY478" fmla="*/ 3888344 h 6847488"/>
                <a:gd name="connsiteX479" fmla="*/ 1448596 w 3111628"/>
                <a:gd name="connsiteY479" fmla="*/ 3869284 h 6847488"/>
                <a:gd name="connsiteX480" fmla="*/ 1420008 w 3111628"/>
                <a:gd name="connsiteY480" fmla="*/ 3859752 h 6847488"/>
                <a:gd name="connsiteX481" fmla="*/ 1396180 w 3111628"/>
                <a:gd name="connsiteY481" fmla="*/ 3864520 h 6847488"/>
                <a:gd name="connsiteX482" fmla="*/ 1372356 w 3111628"/>
                <a:gd name="connsiteY482" fmla="*/ 3883580 h 6847488"/>
                <a:gd name="connsiteX483" fmla="*/ 1343764 w 3111628"/>
                <a:gd name="connsiteY483" fmla="*/ 3888344 h 6847488"/>
                <a:gd name="connsiteX484" fmla="*/ 1339000 w 3111628"/>
                <a:gd name="connsiteY484" fmla="*/ 3912172 h 6847488"/>
                <a:gd name="connsiteX485" fmla="*/ 1400948 w 3111628"/>
                <a:gd name="connsiteY485" fmla="*/ 3940760 h 6847488"/>
                <a:gd name="connsiteX486" fmla="*/ 1429536 w 3111628"/>
                <a:gd name="connsiteY486" fmla="*/ 3950292 h 6847488"/>
                <a:gd name="connsiteX487" fmla="*/ 1439068 w 3111628"/>
                <a:gd name="connsiteY487" fmla="*/ 3950292 h 6847488"/>
                <a:gd name="connsiteX488" fmla="*/ 1448596 w 3111628"/>
                <a:gd name="connsiteY488" fmla="*/ 3955056 h 6847488"/>
                <a:gd name="connsiteX489" fmla="*/ 1439068 w 3111628"/>
                <a:gd name="connsiteY489" fmla="*/ 3969352 h 6847488"/>
                <a:gd name="connsiteX490" fmla="*/ 1429536 w 3111628"/>
                <a:gd name="connsiteY490" fmla="*/ 3974116 h 6847488"/>
                <a:gd name="connsiteX491" fmla="*/ 1386652 w 3111628"/>
                <a:gd name="connsiteY491" fmla="*/ 3988412 h 6847488"/>
                <a:gd name="connsiteX492" fmla="*/ 1367592 w 3111628"/>
                <a:gd name="connsiteY492" fmla="*/ 4002708 h 6847488"/>
                <a:gd name="connsiteX493" fmla="*/ 1343764 w 3111628"/>
                <a:gd name="connsiteY493" fmla="*/ 4026532 h 6847488"/>
                <a:gd name="connsiteX494" fmla="*/ 1310408 w 3111628"/>
                <a:gd name="connsiteY494" fmla="*/ 4074184 h 6847488"/>
                <a:gd name="connsiteX495" fmla="*/ 1300880 w 3111628"/>
                <a:gd name="connsiteY495" fmla="*/ 4083716 h 6847488"/>
                <a:gd name="connsiteX496" fmla="*/ 1296112 w 3111628"/>
                <a:gd name="connsiteY496" fmla="*/ 4098012 h 6847488"/>
                <a:gd name="connsiteX497" fmla="*/ 1296112 w 3111628"/>
                <a:gd name="connsiteY497" fmla="*/ 4131368 h 6847488"/>
                <a:gd name="connsiteX498" fmla="*/ 1305644 w 3111628"/>
                <a:gd name="connsiteY498" fmla="*/ 4188548 h 6847488"/>
                <a:gd name="connsiteX499" fmla="*/ 1291348 w 3111628"/>
                <a:gd name="connsiteY499" fmla="*/ 4212372 h 6847488"/>
                <a:gd name="connsiteX500" fmla="*/ 1300880 w 3111628"/>
                <a:gd name="connsiteY500" fmla="*/ 4236200 h 6847488"/>
                <a:gd name="connsiteX501" fmla="*/ 1296112 w 3111628"/>
                <a:gd name="connsiteY501" fmla="*/ 4255260 h 6847488"/>
                <a:gd name="connsiteX502" fmla="*/ 1286584 w 3111628"/>
                <a:gd name="connsiteY502" fmla="*/ 4279084 h 6847488"/>
                <a:gd name="connsiteX503" fmla="*/ 1238932 w 3111628"/>
                <a:gd name="connsiteY503" fmla="*/ 4321972 h 6847488"/>
                <a:gd name="connsiteX504" fmla="*/ 1229400 w 3111628"/>
                <a:gd name="connsiteY504" fmla="*/ 4350560 h 6847488"/>
                <a:gd name="connsiteX505" fmla="*/ 1248464 w 3111628"/>
                <a:gd name="connsiteY505" fmla="*/ 4369624 h 6847488"/>
                <a:gd name="connsiteX506" fmla="*/ 1248464 w 3111628"/>
                <a:gd name="connsiteY506" fmla="*/ 4383920 h 6847488"/>
                <a:gd name="connsiteX507" fmla="*/ 1243696 w 3111628"/>
                <a:gd name="connsiteY507" fmla="*/ 4398212 h 6847488"/>
                <a:gd name="connsiteX508" fmla="*/ 1224636 w 3111628"/>
                <a:gd name="connsiteY508" fmla="*/ 4398212 h 6847488"/>
                <a:gd name="connsiteX509" fmla="*/ 1153160 w 3111628"/>
                <a:gd name="connsiteY509" fmla="*/ 4388684 h 6847488"/>
                <a:gd name="connsiteX510" fmla="*/ 1129336 w 3111628"/>
                <a:gd name="connsiteY510" fmla="*/ 4402980 h 6847488"/>
                <a:gd name="connsiteX511" fmla="*/ 1105508 w 3111628"/>
                <a:gd name="connsiteY511" fmla="*/ 4422040 h 6847488"/>
                <a:gd name="connsiteX512" fmla="*/ 1100744 w 3111628"/>
                <a:gd name="connsiteY512" fmla="*/ 4431568 h 6847488"/>
                <a:gd name="connsiteX513" fmla="*/ 1091212 w 3111628"/>
                <a:gd name="connsiteY513" fmla="*/ 4436336 h 6847488"/>
                <a:gd name="connsiteX514" fmla="*/ 1048328 w 3111628"/>
                <a:gd name="connsiteY514" fmla="*/ 4445864 h 6847488"/>
                <a:gd name="connsiteX515" fmla="*/ 1038796 w 3111628"/>
                <a:gd name="connsiteY515" fmla="*/ 4455396 h 6847488"/>
                <a:gd name="connsiteX516" fmla="*/ 986380 w 3111628"/>
                <a:gd name="connsiteY516" fmla="*/ 4522108 h 6847488"/>
                <a:gd name="connsiteX517" fmla="*/ 967320 w 3111628"/>
                <a:gd name="connsiteY517" fmla="*/ 4569760 h 6847488"/>
                <a:gd name="connsiteX518" fmla="*/ 943496 w 3111628"/>
                <a:gd name="connsiteY518" fmla="*/ 4612644 h 6847488"/>
                <a:gd name="connsiteX519" fmla="*/ 933964 w 3111628"/>
                <a:gd name="connsiteY519" fmla="*/ 4631704 h 6847488"/>
                <a:gd name="connsiteX520" fmla="*/ 933964 w 3111628"/>
                <a:gd name="connsiteY520" fmla="*/ 4655532 h 6847488"/>
                <a:gd name="connsiteX521" fmla="*/ 938728 w 3111628"/>
                <a:gd name="connsiteY521" fmla="*/ 4679356 h 6847488"/>
                <a:gd name="connsiteX522" fmla="*/ 938728 w 3111628"/>
                <a:gd name="connsiteY522" fmla="*/ 4698416 h 6847488"/>
                <a:gd name="connsiteX523" fmla="*/ 948260 w 3111628"/>
                <a:gd name="connsiteY523" fmla="*/ 4717476 h 6847488"/>
                <a:gd name="connsiteX524" fmla="*/ 967320 w 3111628"/>
                <a:gd name="connsiteY524" fmla="*/ 4741304 h 6847488"/>
                <a:gd name="connsiteX525" fmla="*/ 1062624 w 3111628"/>
                <a:gd name="connsiteY525" fmla="*/ 4846136 h 6847488"/>
                <a:gd name="connsiteX526" fmla="*/ 1081684 w 3111628"/>
                <a:gd name="connsiteY526" fmla="*/ 4855664 h 6847488"/>
                <a:gd name="connsiteX527" fmla="*/ 1186516 w 3111628"/>
                <a:gd name="connsiteY527" fmla="*/ 4865196 h 6847488"/>
                <a:gd name="connsiteX528" fmla="*/ 1205576 w 3111628"/>
                <a:gd name="connsiteY528" fmla="*/ 4884256 h 6847488"/>
                <a:gd name="connsiteX529" fmla="*/ 1219872 w 3111628"/>
                <a:gd name="connsiteY529" fmla="*/ 4903316 h 6847488"/>
                <a:gd name="connsiteX530" fmla="*/ 1224636 w 3111628"/>
                <a:gd name="connsiteY530" fmla="*/ 4927144 h 6847488"/>
                <a:gd name="connsiteX531" fmla="*/ 1219872 w 3111628"/>
                <a:gd name="connsiteY531" fmla="*/ 4974792 h 6847488"/>
                <a:gd name="connsiteX532" fmla="*/ 1215108 w 3111628"/>
                <a:gd name="connsiteY532" fmla="*/ 4993856 h 6847488"/>
                <a:gd name="connsiteX533" fmla="*/ 1200812 w 3111628"/>
                <a:gd name="connsiteY533" fmla="*/ 5008148 h 6847488"/>
                <a:gd name="connsiteX534" fmla="*/ 1176984 w 3111628"/>
                <a:gd name="connsiteY534" fmla="*/ 5027208 h 6847488"/>
                <a:gd name="connsiteX535" fmla="*/ 1148396 w 3111628"/>
                <a:gd name="connsiteY535" fmla="*/ 5036740 h 6847488"/>
                <a:gd name="connsiteX536" fmla="*/ 1157924 w 3111628"/>
                <a:gd name="connsiteY536" fmla="*/ 5046272 h 6847488"/>
                <a:gd name="connsiteX537" fmla="*/ 1167456 w 3111628"/>
                <a:gd name="connsiteY537" fmla="*/ 5041504 h 6847488"/>
                <a:gd name="connsiteX538" fmla="*/ 1196044 w 3111628"/>
                <a:gd name="connsiteY538" fmla="*/ 5036740 h 6847488"/>
                <a:gd name="connsiteX539" fmla="*/ 1205576 w 3111628"/>
                <a:gd name="connsiteY539" fmla="*/ 5041504 h 6847488"/>
                <a:gd name="connsiteX540" fmla="*/ 1215108 w 3111628"/>
                <a:gd name="connsiteY540" fmla="*/ 5065332 h 6847488"/>
                <a:gd name="connsiteX541" fmla="*/ 1200812 w 3111628"/>
                <a:gd name="connsiteY541" fmla="*/ 5070096 h 6847488"/>
                <a:gd name="connsiteX542" fmla="*/ 1191280 w 3111628"/>
                <a:gd name="connsiteY542" fmla="*/ 5079628 h 6847488"/>
                <a:gd name="connsiteX543" fmla="*/ 1181752 w 3111628"/>
                <a:gd name="connsiteY543" fmla="*/ 5098688 h 6847488"/>
                <a:gd name="connsiteX544" fmla="*/ 1124568 w 3111628"/>
                <a:gd name="connsiteY544" fmla="*/ 5155868 h 6847488"/>
                <a:gd name="connsiteX545" fmla="*/ 1091212 w 3111628"/>
                <a:gd name="connsiteY545" fmla="*/ 5174928 h 6847488"/>
                <a:gd name="connsiteX546" fmla="*/ 1062624 w 3111628"/>
                <a:gd name="connsiteY546" fmla="*/ 5198756 h 6847488"/>
                <a:gd name="connsiteX547" fmla="*/ 1024500 w 3111628"/>
                <a:gd name="connsiteY547" fmla="*/ 5222580 h 6847488"/>
                <a:gd name="connsiteX548" fmla="*/ 1010204 w 3111628"/>
                <a:gd name="connsiteY548" fmla="*/ 5236876 h 6847488"/>
                <a:gd name="connsiteX549" fmla="*/ 986380 w 3111628"/>
                <a:gd name="connsiteY549" fmla="*/ 5270232 h 6847488"/>
                <a:gd name="connsiteX550" fmla="*/ 957788 w 3111628"/>
                <a:gd name="connsiteY550" fmla="*/ 5303588 h 6847488"/>
                <a:gd name="connsiteX551" fmla="*/ 919668 w 3111628"/>
                <a:gd name="connsiteY551" fmla="*/ 5370300 h 6847488"/>
                <a:gd name="connsiteX552" fmla="*/ 919668 w 3111628"/>
                <a:gd name="connsiteY552" fmla="*/ 5384596 h 6847488"/>
                <a:gd name="connsiteX553" fmla="*/ 924432 w 3111628"/>
                <a:gd name="connsiteY553" fmla="*/ 5394124 h 6847488"/>
                <a:gd name="connsiteX554" fmla="*/ 905372 w 3111628"/>
                <a:gd name="connsiteY554" fmla="*/ 5518020 h 6847488"/>
                <a:gd name="connsiteX555" fmla="*/ 900608 w 3111628"/>
                <a:gd name="connsiteY555" fmla="*/ 5532312 h 6847488"/>
                <a:gd name="connsiteX556" fmla="*/ 886312 w 3111628"/>
                <a:gd name="connsiteY556" fmla="*/ 5551376 h 6847488"/>
                <a:gd name="connsiteX557" fmla="*/ 848192 w 3111628"/>
                <a:gd name="connsiteY557" fmla="*/ 5575200 h 6847488"/>
                <a:gd name="connsiteX558" fmla="*/ 833896 w 3111628"/>
                <a:gd name="connsiteY558" fmla="*/ 5579964 h 6847488"/>
                <a:gd name="connsiteX559" fmla="*/ 810072 w 3111628"/>
                <a:gd name="connsiteY559" fmla="*/ 5565668 h 6847488"/>
                <a:gd name="connsiteX560" fmla="*/ 795776 w 3111628"/>
                <a:gd name="connsiteY560" fmla="*/ 5546608 h 6847488"/>
                <a:gd name="connsiteX561" fmla="*/ 786244 w 3111628"/>
                <a:gd name="connsiteY561" fmla="*/ 5522784 h 6847488"/>
                <a:gd name="connsiteX562" fmla="*/ 767184 w 3111628"/>
                <a:gd name="connsiteY562" fmla="*/ 5494192 h 6847488"/>
                <a:gd name="connsiteX563" fmla="*/ 767184 w 3111628"/>
                <a:gd name="connsiteY563" fmla="*/ 5503724 h 6847488"/>
                <a:gd name="connsiteX564" fmla="*/ 771948 w 3111628"/>
                <a:gd name="connsiteY564" fmla="*/ 5518020 h 6847488"/>
                <a:gd name="connsiteX565" fmla="*/ 767184 w 3111628"/>
                <a:gd name="connsiteY565" fmla="*/ 5537080 h 6847488"/>
                <a:gd name="connsiteX566" fmla="*/ 729064 w 3111628"/>
                <a:gd name="connsiteY566" fmla="*/ 5546608 h 6847488"/>
                <a:gd name="connsiteX567" fmla="*/ 719532 w 3111628"/>
                <a:gd name="connsiteY567" fmla="*/ 5556140 h 6847488"/>
                <a:gd name="connsiteX568" fmla="*/ 752888 w 3111628"/>
                <a:gd name="connsiteY568" fmla="*/ 5551376 h 6847488"/>
                <a:gd name="connsiteX569" fmla="*/ 776716 w 3111628"/>
                <a:gd name="connsiteY569" fmla="*/ 5556140 h 6847488"/>
                <a:gd name="connsiteX570" fmla="*/ 791012 w 3111628"/>
                <a:gd name="connsiteY570" fmla="*/ 5560904 h 6847488"/>
                <a:gd name="connsiteX571" fmla="*/ 800540 w 3111628"/>
                <a:gd name="connsiteY571" fmla="*/ 5575200 h 6847488"/>
                <a:gd name="connsiteX572" fmla="*/ 805304 w 3111628"/>
                <a:gd name="connsiteY572" fmla="*/ 5589496 h 6847488"/>
                <a:gd name="connsiteX573" fmla="*/ 800540 w 3111628"/>
                <a:gd name="connsiteY573" fmla="*/ 5599024 h 6847488"/>
                <a:gd name="connsiteX574" fmla="*/ 781480 w 3111628"/>
                <a:gd name="connsiteY574" fmla="*/ 5608556 h 6847488"/>
                <a:gd name="connsiteX575" fmla="*/ 757656 w 3111628"/>
                <a:gd name="connsiteY575" fmla="*/ 5622852 h 6847488"/>
                <a:gd name="connsiteX576" fmla="*/ 724300 w 3111628"/>
                <a:gd name="connsiteY576" fmla="*/ 5646676 h 6847488"/>
                <a:gd name="connsiteX577" fmla="*/ 710004 w 3111628"/>
                <a:gd name="connsiteY577" fmla="*/ 5675268 h 6847488"/>
                <a:gd name="connsiteX578" fmla="*/ 700472 w 3111628"/>
                <a:gd name="connsiteY578" fmla="*/ 5694328 h 6847488"/>
                <a:gd name="connsiteX579" fmla="*/ 695708 w 3111628"/>
                <a:gd name="connsiteY579" fmla="*/ 5737216 h 6847488"/>
                <a:gd name="connsiteX580" fmla="*/ 690944 w 3111628"/>
                <a:gd name="connsiteY580" fmla="*/ 5765804 h 6847488"/>
                <a:gd name="connsiteX581" fmla="*/ 681412 w 3111628"/>
                <a:gd name="connsiteY581" fmla="*/ 5784864 h 6847488"/>
                <a:gd name="connsiteX582" fmla="*/ 662352 w 3111628"/>
                <a:gd name="connsiteY582" fmla="*/ 5803928 h 6847488"/>
                <a:gd name="connsiteX583" fmla="*/ 662352 w 3111628"/>
                <a:gd name="connsiteY583" fmla="*/ 5808692 h 6847488"/>
                <a:gd name="connsiteX584" fmla="*/ 676648 w 3111628"/>
                <a:gd name="connsiteY584" fmla="*/ 5799160 h 6847488"/>
                <a:gd name="connsiteX585" fmla="*/ 686176 w 3111628"/>
                <a:gd name="connsiteY585" fmla="*/ 5799160 h 6847488"/>
                <a:gd name="connsiteX586" fmla="*/ 695708 w 3111628"/>
                <a:gd name="connsiteY586" fmla="*/ 5822988 h 6847488"/>
                <a:gd name="connsiteX587" fmla="*/ 705236 w 3111628"/>
                <a:gd name="connsiteY587" fmla="*/ 5875404 h 6847488"/>
                <a:gd name="connsiteX588" fmla="*/ 710004 w 3111628"/>
                <a:gd name="connsiteY588" fmla="*/ 5908760 h 6847488"/>
                <a:gd name="connsiteX589" fmla="*/ 710004 w 3111628"/>
                <a:gd name="connsiteY589" fmla="*/ 5923056 h 6847488"/>
                <a:gd name="connsiteX590" fmla="*/ 705236 w 3111628"/>
                <a:gd name="connsiteY590" fmla="*/ 5937348 h 6847488"/>
                <a:gd name="connsiteX591" fmla="*/ 681412 w 3111628"/>
                <a:gd name="connsiteY591" fmla="*/ 5937348 h 6847488"/>
                <a:gd name="connsiteX592" fmla="*/ 657588 w 3111628"/>
                <a:gd name="connsiteY592" fmla="*/ 5937348 h 6847488"/>
                <a:gd name="connsiteX593" fmla="*/ 643292 w 3111628"/>
                <a:gd name="connsiteY593" fmla="*/ 5946880 h 6847488"/>
                <a:gd name="connsiteX594" fmla="*/ 652820 w 3111628"/>
                <a:gd name="connsiteY594" fmla="*/ 5951644 h 6847488"/>
                <a:gd name="connsiteX595" fmla="*/ 667116 w 3111628"/>
                <a:gd name="connsiteY595" fmla="*/ 5946880 h 6847488"/>
                <a:gd name="connsiteX596" fmla="*/ 686176 w 3111628"/>
                <a:gd name="connsiteY596" fmla="*/ 5965940 h 6847488"/>
                <a:gd name="connsiteX597" fmla="*/ 710004 w 3111628"/>
                <a:gd name="connsiteY597" fmla="*/ 5956408 h 6847488"/>
                <a:gd name="connsiteX598" fmla="*/ 719532 w 3111628"/>
                <a:gd name="connsiteY598" fmla="*/ 5965940 h 6847488"/>
                <a:gd name="connsiteX599" fmla="*/ 729064 w 3111628"/>
                <a:gd name="connsiteY599" fmla="*/ 5975472 h 6847488"/>
                <a:gd name="connsiteX600" fmla="*/ 767184 w 3111628"/>
                <a:gd name="connsiteY600" fmla="*/ 6051712 h 6847488"/>
                <a:gd name="connsiteX601" fmla="*/ 795776 w 3111628"/>
                <a:gd name="connsiteY601" fmla="*/ 6099364 h 6847488"/>
                <a:gd name="connsiteX602" fmla="*/ 810072 w 3111628"/>
                <a:gd name="connsiteY602" fmla="*/ 6127956 h 6847488"/>
                <a:gd name="connsiteX603" fmla="*/ 800540 w 3111628"/>
                <a:gd name="connsiteY603" fmla="*/ 6142248 h 6847488"/>
                <a:gd name="connsiteX604" fmla="*/ 800540 w 3111628"/>
                <a:gd name="connsiteY604" fmla="*/ 6123188 h 6847488"/>
                <a:gd name="connsiteX605" fmla="*/ 781480 w 3111628"/>
                <a:gd name="connsiteY605" fmla="*/ 6118424 h 6847488"/>
                <a:gd name="connsiteX606" fmla="*/ 762420 w 3111628"/>
                <a:gd name="connsiteY606" fmla="*/ 6113660 h 6847488"/>
                <a:gd name="connsiteX607" fmla="*/ 729064 w 3111628"/>
                <a:gd name="connsiteY607" fmla="*/ 6104128 h 6847488"/>
                <a:gd name="connsiteX608" fmla="*/ 681412 w 3111628"/>
                <a:gd name="connsiteY608" fmla="*/ 6085068 h 6847488"/>
                <a:gd name="connsiteX609" fmla="*/ 638528 w 3111628"/>
                <a:gd name="connsiteY609" fmla="*/ 6085068 h 6847488"/>
                <a:gd name="connsiteX610" fmla="*/ 605172 w 3111628"/>
                <a:gd name="connsiteY610" fmla="*/ 6070772 h 6847488"/>
                <a:gd name="connsiteX611" fmla="*/ 567048 w 3111628"/>
                <a:gd name="connsiteY611" fmla="*/ 6051712 h 6847488"/>
                <a:gd name="connsiteX612" fmla="*/ 486040 w 3111628"/>
                <a:gd name="connsiteY612" fmla="*/ 6051712 h 6847488"/>
                <a:gd name="connsiteX613" fmla="*/ 414564 w 3111628"/>
                <a:gd name="connsiteY613" fmla="*/ 6046948 h 6847488"/>
                <a:gd name="connsiteX614" fmla="*/ 338324 w 3111628"/>
                <a:gd name="connsiteY614" fmla="*/ 6046948 h 6847488"/>
                <a:gd name="connsiteX615" fmla="*/ 290672 w 3111628"/>
                <a:gd name="connsiteY615" fmla="*/ 6046948 h 6847488"/>
                <a:gd name="connsiteX616" fmla="*/ 262080 w 3111628"/>
                <a:gd name="connsiteY616" fmla="*/ 6046948 h 6847488"/>
                <a:gd name="connsiteX617" fmla="*/ 252552 w 3111628"/>
                <a:gd name="connsiteY617" fmla="*/ 6042184 h 6847488"/>
                <a:gd name="connsiteX618" fmla="*/ 257316 w 3111628"/>
                <a:gd name="connsiteY618" fmla="*/ 6018356 h 6847488"/>
                <a:gd name="connsiteX619" fmla="*/ 243020 w 3111628"/>
                <a:gd name="connsiteY619" fmla="*/ 6004060 h 6847488"/>
                <a:gd name="connsiteX620" fmla="*/ 223960 w 3111628"/>
                <a:gd name="connsiteY620" fmla="*/ 5985000 h 6847488"/>
                <a:gd name="connsiteX621" fmla="*/ 204900 w 3111628"/>
                <a:gd name="connsiteY621" fmla="*/ 5970704 h 6847488"/>
                <a:gd name="connsiteX622" fmla="*/ 195368 w 3111628"/>
                <a:gd name="connsiteY622" fmla="*/ 5956408 h 6847488"/>
                <a:gd name="connsiteX623" fmla="*/ 185840 w 3111628"/>
                <a:gd name="connsiteY623" fmla="*/ 5932584 h 6847488"/>
                <a:gd name="connsiteX624" fmla="*/ 190604 w 3111628"/>
                <a:gd name="connsiteY624" fmla="*/ 5918288 h 6847488"/>
                <a:gd name="connsiteX625" fmla="*/ 200136 w 3111628"/>
                <a:gd name="connsiteY625" fmla="*/ 5875404 h 6847488"/>
                <a:gd name="connsiteX626" fmla="*/ 200136 w 3111628"/>
                <a:gd name="connsiteY626" fmla="*/ 5856344 h 6847488"/>
                <a:gd name="connsiteX627" fmla="*/ 190604 w 3111628"/>
                <a:gd name="connsiteY627" fmla="*/ 5842048 h 6847488"/>
                <a:gd name="connsiteX628" fmla="*/ 190604 w 3111628"/>
                <a:gd name="connsiteY628" fmla="*/ 5822988 h 6847488"/>
                <a:gd name="connsiteX629" fmla="*/ 190604 w 3111628"/>
                <a:gd name="connsiteY629" fmla="*/ 5813456 h 6847488"/>
                <a:gd name="connsiteX630" fmla="*/ 200136 w 3111628"/>
                <a:gd name="connsiteY630" fmla="*/ 5808692 h 6847488"/>
                <a:gd name="connsiteX631" fmla="*/ 204900 w 3111628"/>
                <a:gd name="connsiteY631" fmla="*/ 5775336 h 6847488"/>
                <a:gd name="connsiteX632" fmla="*/ 200136 w 3111628"/>
                <a:gd name="connsiteY632" fmla="*/ 5746744 h 6847488"/>
                <a:gd name="connsiteX633" fmla="*/ 195368 w 3111628"/>
                <a:gd name="connsiteY633" fmla="*/ 5718152 h 6847488"/>
                <a:gd name="connsiteX634" fmla="*/ 185840 w 3111628"/>
                <a:gd name="connsiteY634" fmla="*/ 5708624 h 6847488"/>
                <a:gd name="connsiteX635" fmla="*/ 176308 w 3111628"/>
                <a:gd name="connsiteY635" fmla="*/ 5703860 h 6847488"/>
                <a:gd name="connsiteX636" fmla="*/ 166780 w 3111628"/>
                <a:gd name="connsiteY636" fmla="*/ 5699092 h 6847488"/>
                <a:gd name="connsiteX637" fmla="*/ 152484 w 3111628"/>
                <a:gd name="connsiteY637" fmla="*/ 5713388 h 6847488"/>
                <a:gd name="connsiteX638" fmla="*/ 123892 w 3111628"/>
                <a:gd name="connsiteY638" fmla="*/ 5708624 h 6847488"/>
                <a:gd name="connsiteX639" fmla="*/ 114364 w 3111628"/>
                <a:gd name="connsiteY639" fmla="*/ 5713388 h 6847488"/>
                <a:gd name="connsiteX640" fmla="*/ 100068 w 3111628"/>
                <a:gd name="connsiteY640" fmla="*/ 5722920 h 6847488"/>
                <a:gd name="connsiteX641" fmla="*/ 81008 w 3111628"/>
                <a:gd name="connsiteY641" fmla="*/ 5737216 h 6847488"/>
                <a:gd name="connsiteX642" fmla="*/ 66712 w 3111628"/>
                <a:gd name="connsiteY642" fmla="*/ 5732448 h 6847488"/>
                <a:gd name="connsiteX643" fmla="*/ 66712 w 3111628"/>
                <a:gd name="connsiteY643" fmla="*/ 5718152 h 6847488"/>
                <a:gd name="connsiteX644" fmla="*/ 57180 w 3111628"/>
                <a:gd name="connsiteY644" fmla="*/ 5703860 h 6847488"/>
                <a:gd name="connsiteX645" fmla="*/ 52416 w 3111628"/>
                <a:gd name="connsiteY645" fmla="*/ 5689564 h 6847488"/>
                <a:gd name="connsiteX646" fmla="*/ 47652 w 3111628"/>
                <a:gd name="connsiteY646" fmla="*/ 5670504 h 6847488"/>
                <a:gd name="connsiteX647" fmla="*/ 42884 w 3111628"/>
                <a:gd name="connsiteY647" fmla="*/ 5641912 h 6847488"/>
                <a:gd name="connsiteX648" fmla="*/ 33356 w 3111628"/>
                <a:gd name="connsiteY648" fmla="*/ 5608556 h 6847488"/>
                <a:gd name="connsiteX649" fmla="*/ 14296 w 3111628"/>
                <a:gd name="connsiteY649" fmla="*/ 5584728 h 6847488"/>
                <a:gd name="connsiteX650" fmla="*/ 14296 w 3111628"/>
                <a:gd name="connsiteY650" fmla="*/ 5560904 h 6847488"/>
                <a:gd name="connsiteX651" fmla="*/ 9528 w 3111628"/>
                <a:gd name="connsiteY651" fmla="*/ 5532312 h 6847488"/>
                <a:gd name="connsiteX652" fmla="*/ 19060 w 3111628"/>
                <a:gd name="connsiteY652" fmla="*/ 5503724 h 6847488"/>
                <a:gd name="connsiteX653" fmla="*/ 14296 w 3111628"/>
                <a:gd name="connsiteY653" fmla="*/ 5479896 h 6847488"/>
                <a:gd name="connsiteX654" fmla="*/ 0 w 3111628"/>
                <a:gd name="connsiteY654" fmla="*/ 5451308 h 6847488"/>
                <a:gd name="connsiteX655" fmla="*/ 4764 w 3111628"/>
                <a:gd name="connsiteY655" fmla="*/ 5422716 h 6847488"/>
                <a:gd name="connsiteX656" fmla="*/ 14296 w 3111628"/>
                <a:gd name="connsiteY656" fmla="*/ 5408420 h 6847488"/>
                <a:gd name="connsiteX657" fmla="*/ 19060 w 3111628"/>
                <a:gd name="connsiteY657" fmla="*/ 5389360 h 6847488"/>
                <a:gd name="connsiteX658" fmla="*/ 71476 w 3111628"/>
                <a:gd name="connsiteY658" fmla="*/ 5384596 h 6847488"/>
                <a:gd name="connsiteX659" fmla="*/ 66712 w 3111628"/>
                <a:gd name="connsiteY659" fmla="*/ 5356004 h 6847488"/>
                <a:gd name="connsiteX660" fmla="*/ 76240 w 3111628"/>
                <a:gd name="connsiteY660" fmla="*/ 5336944 h 6847488"/>
                <a:gd name="connsiteX661" fmla="*/ 85772 w 3111628"/>
                <a:gd name="connsiteY661" fmla="*/ 5317884 h 6847488"/>
                <a:gd name="connsiteX662" fmla="*/ 95300 w 3111628"/>
                <a:gd name="connsiteY662" fmla="*/ 5308352 h 6847488"/>
                <a:gd name="connsiteX663" fmla="*/ 114364 w 3111628"/>
                <a:gd name="connsiteY663" fmla="*/ 5298824 h 6847488"/>
                <a:gd name="connsiteX664" fmla="*/ 133424 w 3111628"/>
                <a:gd name="connsiteY664" fmla="*/ 5289292 h 6847488"/>
                <a:gd name="connsiteX665" fmla="*/ 147716 w 3111628"/>
                <a:gd name="connsiteY665" fmla="*/ 5274996 h 6847488"/>
                <a:gd name="connsiteX666" fmla="*/ 152484 w 3111628"/>
                <a:gd name="connsiteY666" fmla="*/ 5265468 h 6847488"/>
                <a:gd name="connsiteX667" fmla="*/ 157248 w 3111628"/>
                <a:gd name="connsiteY667" fmla="*/ 5246408 h 6847488"/>
                <a:gd name="connsiteX668" fmla="*/ 157248 w 3111628"/>
                <a:gd name="connsiteY668" fmla="*/ 5232112 h 6847488"/>
                <a:gd name="connsiteX669" fmla="*/ 152484 w 3111628"/>
                <a:gd name="connsiteY669" fmla="*/ 5198756 h 6847488"/>
                <a:gd name="connsiteX670" fmla="*/ 157248 w 3111628"/>
                <a:gd name="connsiteY670" fmla="*/ 5189224 h 6847488"/>
                <a:gd name="connsiteX671" fmla="*/ 171544 w 3111628"/>
                <a:gd name="connsiteY671" fmla="*/ 5174928 h 6847488"/>
                <a:gd name="connsiteX672" fmla="*/ 190604 w 3111628"/>
                <a:gd name="connsiteY672" fmla="*/ 5160632 h 6847488"/>
                <a:gd name="connsiteX673" fmla="*/ 200136 w 3111628"/>
                <a:gd name="connsiteY673" fmla="*/ 5132044 h 6847488"/>
                <a:gd name="connsiteX674" fmla="*/ 195368 w 3111628"/>
                <a:gd name="connsiteY674" fmla="*/ 5103452 h 6847488"/>
                <a:gd name="connsiteX675" fmla="*/ 185840 w 3111628"/>
                <a:gd name="connsiteY675" fmla="*/ 5079628 h 6847488"/>
                <a:gd name="connsiteX676" fmla="*/ 166780 w 3111628"/>
                <a:gd name="connsiteY676" fmla="*/ 5070096 h 6847488"/>
                <a:gd name="connsiteX677" fmla="*/ 166780 w 3111628"/>
                <a:gd name="connsiteY677" fmla="*/ 5046272 h 6847488"/>
                <a:gd name="connsiteX678" fmla="*/ 171544 w 3111628"/>
                <a:gd name="connsiteY678" fmla="*/ 5027208 h 6847488"/>
                <a:gd name="connsiteX679" fmla="*/ 181072 w 3111628"/>
                <a:gd name="connsiteY679" fmla="*/ 5003384 h 6847488"/>
                <a:gd name="connsiteX680" fmla="*/ 195368 w 3111628"/>
                <a:gd name="connsiteY680" fmla="*/ 4979560 h 6847488"/>
                <a:gd name="connsiteX681" fmla="*/ 195368 w 3111628"/>
                <a:gd name="connsiteY681" fmla="*/ 4960500 h 6847488"/>
                <a:gd name="connsiteX682" fmla="*/ 204900 w 3111628"/>
                <a:gd name="connsiteY682" fmla="*/ 4946204 h 6847488"/>
                <a:gd name="connsiteX683" fmla="*/ 233492 w 3111628"/>
                <a:gd name="connsiteY683" fmla="*/ 4922376 h 6847488"/>
                <a:gd name="connsiteX684" fmla="*/ 243020 w 3111628"/>
                <a:gd name="connsiteY684" fmla="*/ 4903316 h 6847488"/>
                <a:gd name="connsiteX685" fmla="*/ 252552 w 3111628"/>
                <a:gd name="connsiteY685" fmla="*/ 4893788 h 6847488"/>
                <a:gd name="connsiteX686" fmla="*/ 262080 w 3111628"/>
                <a:gd name="connsiteY686" fmla="*/ 4893788 h 6847488"/>
                <a:gd name="connsiteX687" fmla="*/ 262080 w 3111628"/>
                <a:gd name="connsiteY687" fmla="*/ 4879492 h 6847488"/>
                <a:gd name="connsiteX688" fmla="*/ 257316 w 3111628"/>
                <a:gd name="connsiteY688" fmla="*/ 4865196 h 6847488"/>
                <a:gd name="connsiteX689" fmla="*/ 252552 w 3111628"/>
                <a:gd name="connsiteY689" fmla="*/ 4850900 h 6847488"/>
                <a:gd name="connsiteX690" fmla="*/ 252552 w 3111628"/>
                <a:gd name="connsiteY690" fmla="*/ 4831840 h 6847488"/>
                <a:gd name="connsiteX691" fmla="*/ 257316 w 3111628"/>
                <a:gd name="connsiteY691" fmla="*/ 4808016 h 6847488"/>
                <a:gd name="connsiteX692" fmla="*/ 271612 w 3111628"/>
                <a:gd name="connsiteY692" fmla="*/ 4798484 h 6847488"/>
                <a:gd name="connsiteX693" fmla="*/ 290672 w 3111628"/>
                <a:gd name="connsiteY693" fmla="*/ 4779424 h 6847488"/>
                <a:gd name="connsiteX694" fmla="*/ 295436 w 3111628"/>
                <a:gd name="connsiteY694" fmla="*/ 4765128 h 6847488"/>
                <a:gd name="connsiteX695" fmla="*/ 295436 w 3111628"/>
                <a:gd name="connsiteY695" fmla="*/ 4750832 h 6847488"/>
                <a:gd name="connsiteX696" fmla="*/ 290672 w 3111628"/>
                <a:gd name="connsiteY696" fmla="*/ 4717476 h 6847488"/>
                <a:gd name="connsiteX697" fmla="*/ 285908 w 3111628"/>
                <a:gd name="connsiteY697" fmla="*/ 4688888 h 6847488"/>
                <a:gd name="connsiteX698" fmla="*/ 281140 w 3111628"/>
                <a:gd name="connsiteY698" fmla="*/ 4679356 h 6847488"/>
                <a:gd name="connsiteX699" fmla="*/ 271612 w 3111628"/>
                <a:gd name="connsiteY699" fmla="*/ 4665060 h 6847488"/>
                <a:gd name="connsiteX700" fmla="*/ 266848 w 3111628"/>
                <a:gd name="connsiteY700" fmla="*/ 4655532 h 6847488"/>
                <a:gd name="connsiteX701" fmla="*/ 276376 w 3111628"/>
                <a:gd name="connsiteY701" fmla="*/ 4641236 h 6847488"/>
                <a:gd name="connsiteX702" fmla="*/ 295436 w 3111628"/>
                <a:gd name="connsiteY702" fmla="*/ 4626940 h 6847488"/>
                <a:gd name="connsiteX703" fmla="*/ 304968 w 3111628"/>
                <a:gd name="connsiteY703" fmla="*/ 4607880 h 6847488"/>
                <a:gd name="connsiteX704" fmla="*/ 300204 w 3111628"/>
                <a:gd name="connsiteY704" fmla="*/ 4593584 h 6847488"/>
                <a:gd name="connsiteX705" fmla="*/ 285908 w 3111628"/>
                <a:gd name="connsiteY705" fmla="*/ 4584052 h 6847488"/>
                <a:gd name="connsiteX706" fmla="*/ 281140 w 3111628"/>
                <a:gd name="connsiteY706" fmla="*/ 4555464 h 6847488"/>
                <a:gd name="connsiteX707" fmla="*/ 285908 w 3111628"/>
                <a:gd name="connsiteY707" fmla="*/ 4522108 h 6847488"/>
                <a:gd name="connsiteX708" fmla="*/ 295436 w 3111628"/>
                <a:gd name="connsiteY708" fmla="*/ 4512576 h 6847488"/>
                <a:gd name="connsiteX709" fmla="*/ 324028 w 3111628"/>
                <a:gd name="connsiteY709" fmla="*/ 4507812 h 6847488"/>
                <a:gd name="connsiteX710" fmla="*/ 328792 w 3111628"/>
                <a:gd name="connsiteY710" fmla="*/ 4493516 h 6847488"/>
                <a:gd name="connsiteX711" fmla="*/ 347852 w 3111628"/>
                <a:gd name="connsiteY711" fmla="*/ 4469692 h 6847488"/>
                <a:gd name="connsiteX712" fmla="*/ 347852 w 3111628"/>
                <a:gd name="connsiteY712" fmla="*/ 4445864 h 6847488"/>
                <a:gd name="connsiteX713" fmla="*/ 333556 w 3111628"/>
                <a:gd name="connsiteY713" fmla="*/ 4431568 h 6847488"/>
                <a:gd name="connsiteX714" fmla="*/ 319264 w 3111628"/>
                <a:gd name="connsiteY714" fmla="*/ 4412508 h 6847488"/>
                <a:gd name="connsiteX715" fmla="*/ 309732 w 3111628"/>
                <a:gd name="connsiteY715" fmla="*/ 4393448 h 6847488"/>
                <a:gd name="connsiteX716" fmla="*/ 276376 w 3111628"/>
                <a:gd name="connsiteY716" fmla="*/ 4379152 h 6847488"/>
                <a:gd name="connsiteX717" fmla="*/ 243020 w 3111628"/>
                <a:gd name="connsiteY717" fmla="*/ 4374388 h 6847488"/>
                <a:gd name="connsiteX718" fmla="*/ 238256 w 3111628"/>
                <a:gd name="connsiteY718" fmla="*/ 4355328 h 6847488"/>
                <a:gd name="connsiteX719" fmla="*/ 238256 w 3111628"/>
                <a:gd name="connsiteY719" fmla="*/ 4345796 h 6847488"/>
                <a:gd name="connsiteX720" fmla="*/ 252552 w 3111628"/>
                <a:gd name="connsiteY720" fmla="*/ 4350560 h 6847488"/>
                <a:gd name="connsiteX721" fmla="*/ 281140 w 3111628"/>
                <a:gd name="connsiteY721" fmla="*/ 4345796 h 6847488"/>
                <a:gd name="connsiteX722" fmla="*/ 300204 w 3111628"/>
                <a:gd name="connsiteY722" fmla="*/ 4345796 h 6847488"/>
                <a:gd name="connsiteX723" fmla="*/ 314496 w 3111628"/>
                <a:gd name="connsiteY723" fmla="*/ 4345796 h 6847488"/>
                <a:gd name="connsiteX724" fmla="*/ 333556 w 3111628"/>
                <a:gd name="connsiteY724" fmla="*/ 4341032 h 6847488"/>
                <a:gd name="connsiteX725" fmla="*/ 347852 w 3111628"/>
                <a:gd name="connsiteY725" fmla="*/ 4350560 h 6847488"/>
                <a:gd name="connsiteX726" fmla="*/ 362148 w 3111628"/>
                <a:gd name="connsiteY726" fmla="*/ 4345796 h 6847488"/>
                <a:gd name="connsiteX727" fmla="*/ 366912 w 3111628"/>
                <a:gd name="connsiteY727" fmla="*/ 4317208 h 6847488"/>
                <a:gd name="connsiteX728" fmla="*/ 381208 w 3111628"/>
                <a:gd name="connsiteY728" fmla="*/ 4298144 h 6847488"/>
                <a:gd name="connsiteX729" fmla="*/ 381208 w 3111628"/>
                <a:gd name="connsiteY729" fmla="*/ 4283852 h 6847488"/>
                <a:gd name="connsiteX730" fmla="*/ 371680 w 3111628"/>
                <a:gd name="connsiteY730" fmla="*/ 4274320 h 6847488"/>
                <a:gd name="connsiteX731" fmla="*/ 352620 w 3111628"/>
                <a:gd name="connsiteY731" fmla="*/ 4269556 h 6847488"/>
                <a:gd name="connsiteX732" fmla="*/ 276376 w 3111628"/>
                <a:gd name="connsiteY732" fmla="*/ 4260024 h 6847488"/>
                <a:gd name="connsiteX733" fmla="*/ 271612 w 3111628"/>
                <a:gd name="connsiteY733" fmla="*/ 4250496 h 6847488"/>
                <a:gd name="connsiteX734" fmla="*/ 276376 w 3111628"/>
                <a:gd name="connsiteY734" fmla="*/ 4231432 h 6847488"/>
                <a:gd name="connsiteX735" fmla="*/ 276376 w 3111628"/>
                <a:gd name="connsiteY735" fmla="*/ 4207608 h 6847488"/>
                <a:gd name="connsiteX736" fmla="*/ 276376 w 3111628"/>
                <a:gd name="connsiteY736" fmla="*/ 4198080 h 6847488"/>
                <a:gd name="connsiteX737" fmla="*/ 285908 w 3111628"/>
                <a:gd name="connsiteY737" fmla="*/ 4193312 h 6847488"/>
                <a:gd name="connsiteX738" fmla="*/ 290672 w 3111628"/>
                <a:gd name="connsiteY738" fmla="*/ 4174252 h 6847488"/>
                <a:gd name="connsiteX739" fmla="*/ 300204 w 3111628"/>
                <a:gd name="connsiteY739" fmla="*/ 4159956 h 6847488"/>
                <a:gd name="connsiteX740" fmla="*/ 290672 w 3111628"/>
                <a:gd name="connsiteY740" fmla="*/ 4145660 h 6847488"/>
                <a:gd name="connsiteX741" fmla="*/ 281140 w 3111628"/>
                <a:gd name="connsiteY741" fmla="*/ 4121836 h 6847488"/>
                <a:gd name="connsiteX742" fmla="*/ 290672 w 3111628"/>
                <a:gd name="connsiteY742" fmla="*/ 4112304 h 6847488"/>
                <a:gd name="connsiteX743" fmla="*/ 290672 w 3111628"/>
                <a:gd name="connsiteY743" fmla="*/ 4102776 h 6847488"/>
                <a:gd name="connsiteX744" fmla="*/ 285908 w 3111628"/>
                <a:gd name="connsiteY744" fmla="*/ 4088480 h 6847488"/>
                <a:gd name="connsiteX745" fmla="*/ 276376 w 3111628"/>
                <a:gd name="connsiteY745" fmla="*/ 4074184 h 6847488"/>
                <a:gd name="connsiteX746" fmla="*/ 262080 w 3111628"/>
                <a:gd name="connsiteY746" fmla="*/ 4055124 h 6847488"/>
                <a:gd name="connsiteX747" fmla="*/ 262080 w 3111628"/>
                <a:gd name="connsiteY747" fmla="*/ 4036064 h 6847488"/>
                <a:gd name="connsiteX748" fmla="*/ 276376 w 3111628"/>
                <a:gd name="connsiteY748" fmla="*/ 4031300 h 6847488"/>
                <a:gd name="connsiteX749" fmla="*/ 285908 w 3111628"/>
                <a:gd name="connsiteY749" fmla="*/ 4026532 h 6847488"/>
                <a:gd name="connsiteX750" fmla="*/ 285908 w 3111628"/>
                <a:gd name="connsiteY750" fmla="*/ 4012240 h 6847488"/>
                <a:gd name="connsiteX751" fmla="*/ 281140 w 3111628"/>
                <a:gd name="connsiteY751" fmla="*/ 3997944 h 6847488"/>
                <a:gd name="connsiteX752" fmla="*/ 262080 w 3111628"/>
                <a:gd name="connsiteY752" fmla="*/ 3993176 h 6847488"/>
                <a:gd name="connsiteX753" fmla="*/ 238256 w 3111628"/>
                <a:gd name="connsiteY753" fmla="*/ 3983648 h 6847488"/>
                <a:gd name="connsiteX754" fmla="*/ 233492 w 3111628"/>
                <a:gd name="connsiteY754" fmla="*/ 3974116 h 6847488"/>
                <a:gd name="connsiteX755" fmla="*/ 223960 w 3111628"/>
                <a:gd name="connsiteY755" fmla="*/ 3959820 h 6847488"/>
                <a:gd name="connsiteX756" fmla="*/ 228724 w 3111628"/>
                <a:gd name="connsiteY756" fmla="*/ 3912172 h 6847488"/>
                <a:gd name="connsiteX757" fmla="*/ 228724 w 3111628"/>
                <a:gd name="connsiteY757" fmla="*/ 3888344 h 6847488"/>
                <a:gd name="connsiteX758" fmla="*/ 223960 w 3111628"/>
                <a:gd name="connsiteY758" fmla="*/ 3874048 h 6847488"/>
                <a:gd name="connsiteX759" fmla="*/ 228724 w 3111628"/>
                <a:gd name="connsiteY759" fmla="*/ 3859752 h 6847488"/>
                <a:gd name="connsiteX760" fmla="*/ 238256 w 3111628"/>
                <a:gd name="connsiteY760" fmla="*/ 3850224 h 6847488"/>
                <a:gd name="connsiteX761" fmla="*/ 233492 w 3111628"/>
                <a:gd name="connsiteY761" fmla="*/ 3826400 h 6847488"/>
                <a:gd name="connsiteX762" fmla="*/ 228724 w 3111628"/>
                <a:gd name="connsiteY762" fmla="*/ 3812104 h 6847488"/>
                <a:gd name="connsiteX763" fmla="*/ 228724 w 3111628"/>
                <a:gd name="connsiteY763" fmla="*/ 3802572 h 6847488"/>
                <a:gd name="connsiteX764" fmla="*/ 238256 w 3111628"/>
                <a:gd name="connsiteY764" fmla="*/ 3793044 h 6847488"/>
                <a:gd name="connsiteX765" fmla="*/ 243020 w 3111628"/>
                <a:gd name="connsiteY765" fmla="*/ 3778748 h 6847488"/>
                <a:gd name="connsiteX766" fmla="*/ 247784 w 3111628"/>
                <a:gd name="connsiteY766" fmla="*/ 3778748 h 6847488"/>
                <a:gd name="connsiteX767" fmla="*/ 257316 w 3111628"/>
                <a:gd name="connsiteY767" fmla="*/ 3783512 h 6847488"/>
                <a:gd name="connsiteX768" fmla="*/ 271612 w 3111628"/>
                <a:gd name="connsiteY768" fmla="*/ 3778748 h 6847488"/>
                <a:gd name="connsiteX769" fmla="*/ 285908 w 3111628"/>
                <a:gd name="connsiteY769" fmla="*/ 3769216 h 6847488"/>
                <a:gd name="connsiteX770" fmla="*/ 285908 w 3111628"/>
                <a:gd name="connsiteY770" fmla="*/ 3759688 h 6847488"/>
                <a:gd name="connsiteX771" fmla="*/ 285908 w 3111628"/>
                <a:gd name="connsiteY771" fmla="*/ 3740624 h 6847488"/>
                <a:gd name="connsiteX772" fmla="*/ 271612 w 3111628"/>
                <a:gd name="connsiteY772" fmla="*/ 3702504 h 6847488"/>
                <a:gd name="connsiteX773" fmla="*/ 262080 w 3111628"/>
                <a:gd name="connsiteY773" fmla="*/ 3678680 h 6847488"/>
                <a:gd name="connsiteX774" fmla="*/ 262080 w 3111628"/>
                <a:gd name="connsiteY774" fmla="*/ 3669148 h 6847488"/>
                <a:gd name="connsiteX775" fmla="*/ 266848 w 3111628"/>
                <a:gd name="connsiteY775" fmla="*/ 3659620 h 6847488"/>
                <a:gd name="connsiteX776" fmla="*/ 266848 w 3111628"/>
                <a:gd name="connsiteY776" fmla="*/ 3621496 h 6847488"/>
                <a:gd name="connsiteX777" fmla="*/ 266848 w 3111628"/>
                <a:gd name="connsiteY777" fmla="*/ 3602436 h 6847488"/>
                <a:gd name="connsiteX778" fmla="*/ 266848 w 3111628"/>
                <a:gd name="connsiteY778" fmla="*/ 3540492 h 6847488"/>
                <a:gd name="connsiteX779" fmla="*/ 266848 w 3111628"/>
                <a:gd name="connsiteY779" fmla="*/ 3521432 h 6847488"/>
                <a:gd name="connsiteX780" fmla="*/ 257316 w 3111628"/>
                <a:gd name="connsiteY780" fmla="*/ 3497604 h 6847488"/>
                <a:gd name="connsiteX781" fmla="*/ 257316 w 3111628"/>
                <a:gd name="connsiteY781" fmla="*/ 3478544 h 6847488"/>
                <a:gd name="connsiteX782" fmla="*/ 266848 w 3111628"/>
                <a:gd name="connsiteY782" fmla="*/ 3464248 h 6847488"/>
                <a:gd name="connsiteX783" fmla="*/ 271612 w 3111628"/>
                <a:gd name="connsiteY783" fmla="*/ 3445188 h 6847488"/>
                <a:gd name="connsiteX784" fmla="*/ 276376 w 3111628"/>
                <a:gd name="connsiteY784" fmla="*/ 3426128 h 6847488"/>
                <a:gd name="connsiteX785" fmla="*/ 285908 w 3111628"/>
                <a:gd name="connsiteY785" fmla="*/ 3416596 h 6847488"/>
                <a:gd name="connsiteX786" fmla="*/ 290672 w 3111628"/>
                <a:gd name="connsiteY786" fmla="*/ 3411832 h 6847488"/>
                <a:gd name="connsiteX787" fmla="*/ 295436 w 3111628"/>
                <a:gd name="connsiteY787" fmla="*/ 3402300 h 6847488"/>
                <a:gd name="connsiteX788" fmla="*/ 290672 w 3111628"/>
                <a:gd name="connsiteY788" fmla="*/ 3397536 h 6847488"/>
                <a:gd name="connsiteX789" fmla="*/ 281140 w 3111628"/>
                <a:gd name="connsiteY789" fmla="*/ 3388008 h 6847488"/>
                <a:gd name="connsiteX790" fmla="*/ 276376 w 3111628"/>
                <a:gd name="connsiteY790" fmla="*/ 3373712 h 6847488"/>
                <a:gd name="connsiteX791" fmla="*/ 281140 w 3111628"/>
                <a:gd name="connsiteY791" fmla="*/ 3359416 h 6847488"/>
                <a:gd name="connsiteX792" fmla="*/ 285908 w 3111628"/>
                <a:gd name="connsiteY792" fmla="*/ 3354652 h 6847488"/>
                <a:gd name="connsiteX793" fmla="*/ 295436 w 3111628"/>
                <a:gd name="connsiteY793" fmla="*/ 3354652 h 6847488"/>
                <a:gd name="connsiteX794" fmla="*/ 300204 w 3111628"/>
                <a:gd name="connsiteY794" fmla="*/ 3340356 h 6847488"/>
                <a:gd name="connsiteX795" fmla="*/ 304968 w 3111628"/>
                <a:gd name="connsiteY795" fmla="*/ 3321296 h 6847488"/>
                <a:gd name="connsiteX796" fmla="*/ 304968 w 3111628"/>
                <a:gd name="connsiteY796" fmla="*/ 3311764 h 6847488"/>
                <a:gd name="connsiteX797" fmla="*/ 300204 w 3111628"/>
                <a:gd name="connsiteY797" fmla="*/ 3302236 h 6847488"/>
                <a:gd name="connsiteX798" fmla="*/ 295436 w 3111628"/>
                <a:gd name="connsiteY798" fmla="*/ 3278408 h 6847488"/>
                <a:gd name="connsiteX799" fmla="*/ 290672 w 3111628"/>
                <a:gd name="connsiteY799" fmla="*/ 3264112 h 6847488"/>
                <a:gd name="connsiteX800" fmla="*/ 295436 w 3111628"/>
                <a:gd name="connsiteY800" fmla="*/ 3254584 h 6847488"/>
                <a:gd name="connsiteX801" fmla="*/ 300204 w 3111628"/>
                <a:gd name="connsiteY801" fmla="*/ 3254584 h 6847488"/>
                <a:gd name="connsiteX802" fmla="*/ 314496 w 3111628"/>
                <a:gd name="connsiteY802" fmla="*/ 3259348 h 6847488"/>
                <a:gd name="connsiteX803" fmla="*/ 319264 w 3111628"/>
                <a:gd name="connsiteY803" fmla="*/ 3254584 h 6847488"/>
                <a:gd name="connsiteX804" fmla="*/ 319264 w 3111628"/>
                <a:gd name="connsiteY804" fmla="*/ 3245052 h 6847488"/>
                <a:gd name="connsiteX805" fmla="*/ 324028 w 3111628"/>
                <a:gd name="connsiteY805" fmla="*/ 3240288 h 6847488"/>
                <a:gd name="connsiteX806" fmla="*/ 324028 w 3111628"/>
                <a:gd name="connsiteY806" fmla="*/ 3230756 h 6847488"/>
                <a:gd name="connsiteX807" fmla="*/ 328792 w 3111628"/>
                <a:gd name="connsiteY807" fmla="*/ 3216464 h 6847488"/>
                <a:gd name="connsiteX808" fmla="*/ 338324 w 3111628"/>
                <a:gd name="connsiteY808" fmla="*/ 3192636 h 6847488"/>
                <a:gd name="connsiteX809" fmla="*/ 338324 w 3111628"/>
                <a:gd name="connsiteY809" fmla="*/ 3173576 h 6847488"/>
                <a:gd name="connsiteX810" fmla="*/ 338324 w 3111628"/>
                <a:gd name="connsiteY810" fmla="*/ 3130688 h 6847488"/>
                <a:gd name="connsiteX811" fmla="*/ 343088 w 3111628"/>
                <a:gd name="connsiteY811" fmla="*/ 3121160 h 6847488"/>
                <a:gd name="connsiteX812" fmla="*/ 347852 w 3111628"/>
                <a:gd name="connsiteY812" fmla="*/ 3111628 h 6847488"/>
                <a:gd name="connsiteX813" fmla="*/ 357384 w 3111628"/>
                <a:gd name="connsiteY813" fmla="*/ 3102100 h 6847488"/>
                <a:gd name="connsiteX814" fmla="*/ 371680 w 3111628"/>
                <a:gd name="connsiteY814" fmla="*/ 3097332 h 6847488"/>
                <a:gd name="connsiteX815" fmla="*/ 390740 w 3111628"/>
                <a:gd name="connsiteY815" fmla="*/ 3083040 h 6847488"/>
                <a:gd name="connsiteX816" fmla="*/ 409800 w 3111628"/>
                <a:gd name="connsiteY816" fmla="*/ 3083040 h 6847488"/>
                <a:gd name="connsiteX817" fmla="*/ 419332 w 3111628"/>
                <a:gd name="connsiteY817" fmla="*/ 3068744 h 6847488"/>
                <a:gd name="connsiteX818" fmla="*/ 424096 w 3111628"/>
                <a:gd name="connsiteY818" fmla="*/ 3054448 h 6847488"/>
                <a:gd name="connsiteX819" fmla="*/ 428860 w 3111628"/>
                <a:gd name="connsiteY819" fmla="*/ 3040152 h 6847488"/>
                <a:gd name="connsiteX820" fmla="*/ 419332 w 3111628"/>
                <a:gd name="connsiteY820" fmla="*/ 3030624 h 6847488"/>
                <a:gd name="connsiteX821" fmla="*/ 409800 w 3111628"/>
                <a:gd name="connsiteY821" fmla="*/ 3021092 h 6847488"/>
                <a:gd name="connsiteX822" fmla="*/ 405036 w 3111628"/>
                <a:gd name="connsiteY822" fmla="*/ 2997264 h 6847488"/>
                <a:gd name="connsiteX823" fmla="*/ 400268 w 3111628"/>
                <a:gd name="connsiteY823" fmla="*/ 2973440 h 6847488"/>
                <a:gd name="connsiteX824" fmla="*/ 400268 w 3111628"/>
                <a:gd name="connsiteY824" fmla="*/ 2940084 h 6847488"/>
                <a:gd name="connsiteX825" fmla="*/ 390740 w 3111628"/>
                <a:gd name="connsiteY825" fmla="*/ 2916256 h 6847488"/>
                <a:gd name="connsiteX826" fmla="*/ 376444 w 3111628"/>
                <a:gd name="connsiteY826" fmla="*/ 2887668 h 6847488"/>
                <a:gd name="connsiteX827" fmla="*/ 376444 w 3111628"/>
                <a:gd name="connsiteY827" fmla="*/ 2859076 h 6847488"/>
                <a:gd name="connsiteX828" fmla="*/ 376444 w 3111628"/>
                <a:gd name="connsiteY828" fmla="*/ 2844780 h 6847488"/>
                <a:gd name="connsiteX829" fmla="*/ 381208 w 3111628"/>
                <a:gd name="connsiteY829" fmla="*/ 2825720 h 6847488"/>
                <a:gd name="connsiteX830" fmla="*/ 376444 w 3111628"/>
                <a:gd name="connsiteY830" fmla="*/ 2816192 h 6847488"/>
                <a:gd name="connsiteX831" fmla="*/ 371680 w 3111628"/>
                <a:gd name="connsiteY831" fmla="*/ 2797128 h 6847488"/>
                <a:gd name="connsiteX832" fmla="*/ 376444 w 3111628"/>
                <a:gd name="connsiteY832" fmla="*/ 2782836 h 6847488"/>
                <a:gd name="connsiteX833" fmla="*/ 385976 w 3111628"/>
                <a:gd name="connsiteY833" fmla="*/ 2759008 h 6847488"/>
                <a:gd name="connsiteX834" fmla="*/ 385976 w 3111628"/>
                <a:gd name="connsiteY834" fmla="*/ 2749480 h 6847488"/>
                <a:gd name="connsiteX835" fmla="*/ 381208 w 3111628"/>
                <a:gd name="connsiteY835" fmla="*/ 2720888 h 6847488"/>
                <a:gd name="connsiteX836" fmla="*/ 376444 w 3111628"/>
                <a:gd name="connsiteY836" fmla="*/ 2706592 h 6847488"/>
                <a:gd name="connsiteX837" fmla="*/ 381208 w 3111628"/>
                <a:gd name="connsiteY837" fmla="*/ 2692296 h 6847488"/>
                <a:gd name="connsiteX838" fmla="*/ 385976 w 3111628"/>
                <a:gd name="connsiteY838" fmla="*/ 2673236 h 6847488"/>
                <a:gd name="connsiteX839" fmla="*/ 395504 w 3111628"/>
                <a:gd name="connsiteY839" fmla="*/ 2668472 h 6847488"/>
                <a:gd name="connsiteX840" fmla="*/ 390740 w 3111628"/>
                <a:gd name="connsiteY840" fmla="*/ 2654176 h 6847488"/>
                <a:gd name="connsiteX841" fmla="*/ 395504 w 3111628"/>
                <a:gd name="connsiteY841" fmla="*/ 2644644 h 6847488"/>
                <a:gd name="connsiteX842" fmla="*/ 405036 w 3111628"/>
                <a:gd name="connsiteY842" fmla="*/ 2635116 h 6847488"/>
                <a:gd name="connsiteX843" fmla="*/ 419332 w 3111628"/>
                <a:gd name="connsiteY843" fmla="*/ 2625584 h 6847488"/>
                <a:gd name="connsiteX844" fmla="*/ 428860 w 3111628"/>
                <a:gd name="connsiteY844" fmla="*/ 2620820 h 6847488"/>
                <a:gd name="connsiteX845" fmla="*/ 438392 w 3111628"/>
                <a:gd name="connsiteY845" fmla="*/ 2620820 h 6847488"/>
                <a:gd name="connsiteX846" fmla="*/ 443156 w 3111628"/>
                <a:gd name="connsiteY846" fmla="*/ 2620820 h 6847488"/>
                <a:gd name="connsiteX847" fmla="*/ 443156 w 3111628"/>
                <a:gd name="connsiteY847" fmla="*/ 2606524 h 6847488"/>
                <a:gd name="connsiteX848" fmla="*/ 447920 w 3111628"/>
                <a:gd name="connsiteY848" fmla="*/ 2596996 h 6847488"/>
                <a:gd name="connsiteX849" fmla="*/ 462216 w 3111628"/>
                <a:gd name="connsiteY849" fmla="*/ 2582700 h 6847488"/>
                <a:gd name="connsiteX850" fmla="*/ 471748 w 3111628"/>
                <a:gd name="connsiteY850" fmla="*/ 2568404 h 6847488"/>
                <a:gd name="connsiteX851" fmla="*/ 490808 w 3111628"/>
                <a:gd name="connsiteY851" fmla="*/ 2568404 h 6847488"/>
                <a:gd name="connsiteX852" fmla="*/ 495572 w 3111628"/>
                <a:gd name="connsiteY852" fmla="*/ 2554108 h 6847488"/>
                <a:gd name="connsiteX853" fmla="*/ 495572 w 3111628"/>
                <a:gd name="connsiteY853" fmla="*/ 2535048 h 6847488"/>
                <a:gd name="connsiteX854" fmla="*/ 495572 w 3111628"/>
                <a:gd name="connsiteY854" fmla="*/ 2520752 h 6847488"/>
                <a:gd name="connsiteX855" fmla="*/ 500336 w 3111628"/>
                <a:gd name="connsiteY855" fmla="*/ 2496928 h 6847488"/>
                <a:gd name="connsiteX856" fmla="*/ 495572 w 3111628"/>
                <a:gd name="connsiteY856" fmla="*/ 2468336 h 6847488"/>
                <a:gd name="connsiteX857" fmla="*/ 495572 w 3111628"/>
                <a:gd name="connsiteY857" fmla="*/ 2449276 h 6847488"/>
                <a:gd name="connsiteX858" fmla="*/ 490808 w 3111628"/>
                <a:gd name="connsiteY858" fmla="*/ 2439744 h 6847488"/>
                <a:gd name="connsiteX859" fmla="*/ 490808 w 3111628"/>
                <a:gd name="connsiteY859" fmla="*/ 2420684 h 6847488"/>
                <a:gd name="connsiteX860" fmla="*/ 486040 w 3111628"/>
                <a:gd name="connsiteY860" fmla="*/ 2411156 h 6847488"/>
                <a:gd name="connsiteX861" fmla="*/ 476512 w 3111628"/>
                <a:gd name="connsiteY861" fmla="*/ 2411156 h 6847488"/>
                <a:gd name="connsiteX862" fmla="*/ 471748 w 3111628"/>
                <a:gd name="connsiteY862" fmla="*/ 2396860 h 6847488"/>
                <a:gd name="connsiteX863" fmla="*/ 476512 w 3111628"/>
                <a:gd name="connsiteY863" fmla="*/ 2392092 h 6847488"/>
                <a:gd name="connsiteX864" fmla="*/ 486040 w 3111628"/>
                <a:gd name="connsiteY864" fmla="*/ 2387328 h 6847488"/>
                <a:gd name="connsiteX865" fmla="*/ 500336 w 3111628"/>
                <a:gd name="connsiteY865" fmla="*/ 2377800 h 6847488"/>
                <a:gd name="connsiteX866" fmla="*/ 509868 w 3111628"/>
                <a:gd name="connsiteY866" fmla="*/ 2334912 h 6847488"/>
                <a:gd name="connsiteX867" fmla="*/ 509868 w 3111628"/>
                <a:gd name="connsiteY867" fmla="*/ 2325384 h 6847488"/>
                <a:gd name="connsiteX868" fmla="*/ 514632 w 3111628"/>
                <a:gd name="connsiteY868" fmla="*/ 2306320 h 6847488"/>
                <a:gd name="connsiteX869" fmla="*/ 514632 w 3111628"/>
                <a:gd name="connsiteY869" fmla="*/ 2301556 h 6847488"/>
                <a:gd name="connsiteX870" fmla="*/ 519396 w 3111628"/>
                <a:gd name="connsiteY870" fmla="*/ 2287260 h 6847488"/>
                <a:gd name="connsiteX871" fmla="*/ 528928 w 3111628"/>
                <a:gd name="connsiteY871" fmla="*/ 2272964 h 6847488"/>
                <a:gd name="connsiteX872" fmla="*/ 538460 w 3111628"/>
                <a:gd name="connsiteY872" fmla="*/ 2253904 h 6847488"/>
                <a:gd name="connsiteX873" fmla="*/ 543224 w 3111628"/>
                <a:gd name="connsiteY873" fmla="*/ 2244376 h 6847488"/>
                <a:gd name="connsiteX874" fmla="*/ 552752 w 3111628"/>
                <a:gd name="connsiteY874" fmla="*/ 2225316 h 6847488"/>
                <a:gd name="connsiteX875" fmla="*/ 552752 w 3111628"/>
                <a:gd name="connsiteY875" fmla="*/ 2215784 h 6847488"/>
                <a:gd name="connsiteX876" fmla="*/ 557520 w 3111628"/>
                <a:gd name="connsiteY876" fmla="*/ 2211020 h 6847488"/>
                <a:gd name="connsiteX877" fmla="*/ 567048 w 3111628"/>
                <a:gd name="connsiteY877" fmla="*/ 2211020 h 6847488"/>
                <a:gd name="connsiteX878" fmla="*/ 576580 w 3111628"/>
                <a:gd name="connsiteY878" fmla="*/ 2211020 h 6847488"/>
                <a:gd name="connsiteX879" fmla="*/ 581344 w 3111628"/>
                <a:gd name="connsiteY879" fmla="*/ 2201488 h 6847488"/>
                <a:gd name="connsiteX880" fmla="*/ 581344 w 3111628"/>
                <a:gd name="connsiteY880" fmla="*/ 2196724 h 6847488"/>
                <a:gd name="connsiteX881" fmla="*/ 581344 w 3111628"/>
                <a:gd name="connsiteY881" fmla="*/ 2177664 h 6847488"/>
                <a:gd name="connsiteX882" fmla="*/ 576580 w 3111628"/>
                <a:gd name="connsiteY882" fmla="*/ 2149072 h 6847488"/>
                <a:gd name="connsiteX883" fmla="*/ 576580 w 3111628"/>
                <a:gd name="connsiteY883" fmla="*/ 2110952 h 6847488"/>
                <a:gd name="connsiteX884" fmla="*/ 576580 w 3111628"/>
                <a:gd name="connsiteY884" fmla="*/ 2087124 h 6847488"/>
                <a:gd name="connsiteX885" fmla="*/ 586108 w 3111628"/>
                <a:gd name="connsiteY885" fmla="*/ 2063300 h 6847488"/>
                <a:gd name="connsiteX886" fmla="*/ 590876 w 3111628"/>
                <a:gd name="connsiteY886" fmla="*/ 2049004 h 6847488"/>
                <a:gd name="connsiteX887" fmla="*/ 590876 w 3111628"/>
                <a:gd name="connsiteY887" fmla="*/ 2039476 h 6847488"/>
                <a:gd name="connsiteX888" fmla="*/ 590876 w 3111628"/>
                <a:gd name="connsiteY888" fmla="*/ 2025180 h 6847488"/>
                <a:gd name="connsiteX889" fmla="*/ 576580 w 3111628"/>
                <a:gd name="connsiteY889" fmla="*/ 2020416 h 6847488"/>
                <a:gd name="connsiteX890" fmla="*/ 567048 w 3111628"/>
                <a:gd name="connsiteY890" fmla="*/ 2025180 h 6847488"/>
                <a:gd name="connsiteX891" fmla="*/ 557520 w 3111628"/>
                <a:gd name="connsiteY891" fmla="*/ 2025180 h 6847488"/>
                <a:gd name="connsiteX892" fmla="*/ 547988 w 3111628"/>
                <a:gd name="connsiteY892" fmla="*/ 2010884 h 6847488"/>
                <a:gd name="connsiteX893" fmla="*/ 543224 w 3111628"/>
                <a:gd name="connsiteY893" fmla="*/ 1996588 h 6847488"/>
                <a:gd name="connsiteX894" fmla="*/ 547988 w 3111628"/>
                <a:gd name="connsiteY894" fmla="*/ 1977528 h 6847488"/>
                <a:gd name="connsiteX895" fmla="*/ 552752 w 3111628"/>
                <a:gd name="connsiteY895" fmla="*/ 1967996 h 6847488"/>
                <a:gd name="connsiteX896" fmla="*/ 557520 w 3111628"/>
                <a:gd name="connsiteY896" fmla="*/ 1953704 h 6847488"/>
                <a:gd name="connsiteX897" fmla="*/ 552752 w 3111628"/>
                <a:gd name="connsiteY897" fmla="*/ 1948936 h 6847488"/>
                <a:gd name="connsiteX898" fmla="*/ 543224 w 3111628"/>
                <a:gd name="connsiteY898" fmla="*/ 1939408 h 6847488"/>
                <a:gd name="connsiteX899" fmla="*/ 533692 w 3111628"/>
                <a:gd name="connsiteY899" fmla="*/ 1906052 h 6847488"/>
                <a:gd name="connsiteX900" fmla="*/ 533692 w 3111628"/>
                <a:gd name="connsiteY900" fmla="*/ 1877460 h 6847488"/>
                <a:gd name="connsiteX901" fmla="*/ 524164 w 3111628"/>
                <a:gd name="connsiteY901" fmla="*/ 1867928 h 6847488"/>
                <a:gd name="connsiteX902" fmla="*/ 519396 w 3111628"/>
                <a:gd name="connsiteY902" fmla="*/ 1844104 h 6847488"/>
                <a:gd name="connsiteX903" fmla="*/ 509868 w 3111628"/>
                <a:gd name="connsiteY903" fmla="*/ 1839340 h 6847488"/>
                <a:gd name="connsiteX904" fmla="*/ 505104 w 3111628"/>
                <a:gd name="connsiteY904" fmla="*/ 1820280 h 6847488"/>
                <a:gd name="connsiteX905" fmla="*/ 505104 w 3111628"/>
                <a:gd name="connsiteY905" fmla="*/ 1805984 h 6847488"/>
                <a:gd name="connsiteX906" fmla="*/ 505104 w 3111628"/>
                <a:gd name="connsiteY906" fmla="*/ 1796452 h 6847488"/>
                <a:gd name="connsiteX907" fmla="*/ 514632 w 3111628"/>
                <a:gd name="connsiteY907" fmla="*/ 1796452 h 6847488"/>
                <a:gd name="connsiteX908" fmla="*/ 519396 w 3111628"/>
                <a:gd name="connsiteY908" fmla="*/ 1782156 h 6847488"/>
                <a:gd name="connsiteX909" fmla="*/ 514632 w 3111628"/>
                <a:gd name="connsiteY909" fmla="*/ 1772628 h 6847488"/>
                <a:gd name="connsiteX910" fmla="*/ 509868 w 3111628"/>
                <a:gd name="connsiteY910" fmla="*/ 1767864 h 6847488"/>
                <a:gd name="connsiteX911" fmla="*/ 500336 w 3111628"/>
                <a:gd name="connsiteY911" fmla="*/ 1767864 h 6847488"/>
                <a:gd name="connsiteX912" fmla="*/ 490808 w 3111628"/>
                <a:gd name="connsiteY912" fmla="*/ 1758332 h 6847488"/>
                <a:gd name="connsiteX913" fmla="*/ 476512 w 3111628"/>
                <a:gd name="connsiteY913" fmla="*/ 1724976 h 6847488"/>
                <a:gd name="connsiteX914" fmla="*/ 466980 w 3111628"/>
                <a:gd name="connsiteY914" fmla="*/ 1710680 h 6847488"/>
                <a:gd name="connsiteX915" fmla="*/ 471748 w 3111628"/>
                <a:gd name="connsiteY915" fmla="*/ 1682088 h 6847488"/>
                <a:gd name="connsiteX916" fmla="*/ 471748 w 3111628"/>
                <a:gd name="connsiteY916" fmla="*/ 1663028 h 6847488"/>
                <a:gd name="connsiteX917" fmla="*/ 476512 w 3111628"/>
                <a:gd name="connsiteY917" fmla="*/ 1643968 h 6847488"/>
                <a:gd name="connsiteX918" fmla="*/ 481276 w 3111628"/>
                <a:gd name="connsiteY918" fmla="*/ 1634440 h 6847488"/>
                <a:gd name="connsiteX919" fmla="*/ 486040 w 3111628"/>
                <a:gd name="connsiteY919" fmla="*/ 1624908 h 6847488"/>
                <a:gd name="connsiteX920" fmla="*/ 495572 w 3111628"/>
                <a:gd name="connsiteY920" fmla="*/ 1629672 h 6847488"/>
                <a:gd name="connsiteX921" fmla="*/ 500336 w 3111628"/>
                <a:gd name="connsiteY921" fmla="*/ 1629672 h 6847488"/>
                <a:gd name="connsiteX922" fmla="*/ 505104 w 3111628"/>
                <a:gd name="connsiteY922" fmla="*/ 1615380 h 6847488"/>
                <a:gd name="connsiteX923" fmla="*/ 509868 w 3111628"/>
                <a:gd name="connsiteY923" fmla="*/ 1610612 h 6847488"/>
                <a:gd name="connsiteX924" fmla="*/ 509868 w 3111628"/>
                <a:gd name="connsiteY924" fmla="*/ 1605848 h 6847488"/>
                <a:gd name="connsiteX925" fmla="*/ 509868 w 3111628"/>
                <a:gd name="connsiteY925" fmla="*/ 1596316 h 6847488"/>
                <a:gd name="connsiteX926" fmla="*/ 505104 w 3111628"/>
                <a:gd name="connsiteY926" fmla="*/ 1586788 h 6847488"/>
                <a:gd name="connsiteX927" fmla="*/ 509868 w 3111628"/>
                <a:gd name="connsiteY927" fmla="*/ 1577256 h 6847488"/>
                <a:gd name="connsiteX928" fmla="*/ 519396 w 3111628"/>
                <a:gd name="connsiteY928" fmla="*/ 1548668 h 6847488"/>
                <a:gd name="connsiteX929" fmla="*/ 528928 w 3111628"/>
                <a:gd name="connsiteY929" fmla="*/ 1515312 h 6847488"/>
                <a:gd name="connsiteX930" fmla="*/ 533692 w 3111628"/>
                <a:gd name="connsiteY930" fmla="*/ 1505780 h 6847488"/>
                <a:gd name="connsiteX931" fmla="*/ 533692 w 3111628"/>
                <a:gd name="connsiteY931" fmla="*/ 1491484 h 6847488"/>
                <a:gd name="connsiteX932" fmla="*/ 538460 w 3111628"/>
                <a:gd name="connsiteY932" fmla="*/ 1491484 h 6847488"/>
                <a:gd name="connsiteX933" fmla="*/ 543224 w 3111628"/>
                <a:gd name="connsiteY933" fmla="*/ 1496252 h 6847488"/>
                <a:gd name="connsiteX934" fmla="*/ 567048 w 3111628"/>
                <a:gd name="connsiteY934" fmla="*/ 1486720 h 6847488"/>
                <a:gd name="connsiteX935" fmla="*/ 576580 w 3111628"/>
                <a:gd name="connsiteY935" fmla="*/ 1477188 h 6847488"/>
                <a:gd name="connsiteX936" fmla="*/ 576580 w 3111628"/>
                <a:gd name="connsiteY936" fmla="*/ 1462896 h 6847488"/>
                <a:gd name="connsiteX937" fmla="*/ 586108 w 3111628"/>
                <a:gd name="connsiteY937" fmla="*/ 1458128 h 6847488"/>
                <a:gd name="connsiteX938" fmla="*/ 581344 w 3111628"/>
                <a:gd name="connsiteY938" fmla="*/ 1443832 h 6847488"/>
                <a:gd name="connsiteX939" fmla="*/ 571816 w 3111628"/>
                <a:gd name="connsiteY939" fmla="*/ 1443832 h 6847488"/>
                <a:gd name="connsiteX940" fmla="*/ 567048 w 3111628"/>
                <a:gd name="connsiteY940" fmla="*/ 1439068 h 6847488"/>
                <a:gd name="connsiteX941" fmla="*/ 567048 w 3111628"/>
                <a:gd name="connsiteY941" fmla="*/ 1429540 h 6847488"/>
                <a:gd name="connsiteX942" fmla="*/ 571816 w 3111628"/>
                <a:gd name="connsiteY942" fmla="*/ 1400948 h 6847488"/>
                <a:gd name="connsiteX943" fmla="*/ 571816 w 3111628"/>
                <a:gd name="connsiteY943" fmla="*/ 1381888 h 6847488"/>
                <a:gd name="connsiteX944" fmla="*/ 562284 w 3111628"/>
                <a:gd name="connsiteY944" fmla="*/ 1343764 h 6847488"/>
                <a:gd name="connsiteX945" fmla="*/ 557520 w 3111628"/>
                <a:gd name="connsiteY945" fmla="*/ 1300880 h 6847488"/>
                <a:gd name="connsiteX946" fmla="*/ 562284 w 3111628"/>
                <a:gd name="connsiteY946" fmla="*/ 1291348 h 6847488"/>
                <a:gd name="connsiteX947" fmla="*/ 576580 w 3111628"/>
                <a:gd name="connsiteY947" fmla="*/ 1272288 h 6847488"/>
                <a:gd name="connsiteX948" fmla="*/ 586108 w 3111628"/>
                <a:gd name="connsiteY948" fmla="*/ 1262760 h 6847488"/>
                <a:gd name="connsiteX949" fmla="*/ 590876 w 3111628"/>
                <a:gd name="connsiteY949" fmla="*/ 1253228 h 6847488"/>
                <a:gd name="connsiteX950" fmla="*/ 600404 w 3111628"/>
                <a:gd name="connsiteY950" fmla="*/ 1205576 h 6847488"/>
                <a:gd name="connsiteX951" fmla="*/ 600404 w 3111628"/>
                <a:gd name="connsiteY951" fmla="*/ 1181752 h 6847488"/>
                <a:gd name="connsiteX952" fmla="*/ 609936 w 3111628"/>
                <a:gd name="connsiteY952" fmla="*/ 1167456 h 6847488"/>
                <a:gd name="connsiteX953" fmla="*/ 614700 w 3111628"/>
                <a:gd name="connsiteY953" fmla="*/ 1138864 h 6847488"/>
                <a:gd name="connsiteX954" fmla="*/ 633760 w 3111628"/>
                <a:gd name="connsiteY954" fmla="*/ 1119804 h 6847488"/>
                <a:gd name="connsiteX955" fmla="*/ 638528 w 3111628"/>
                <a:gd name="connsiteY955" fmla="*/ 1100744 h 6847488"/>
                <a:gd name="connsiteX956" fmla="*/ 648056 w 3111628"/>
                <a:gd name="connsiteY956" fmla="*/ 1100744 h 6847488"/>
                <a:gd name="connsiteX957" fmla="*/ 652820 w 3111628"/>
                <a:gd name="connsiteY957" fmla="*/ 1095980 h 6847488"/>
                <a:gd name="connsiteX958" fmla="*/ 662352 w 3111628"/>
                <a:gd name="connsiteY958" fmla="*/ 1081684 h 6847488"/>
                <a:gd name="connsiteX959" fmla="*/ 676648 w 3111628"/>
                <a:gd name="connsiteY959" fmla="*/ 1062624 h 6847488"/>
                <a:gd name="connsiteX960" fmla="*/ 690944 w 3111628"/>
                <a:gd name="connsiteY960" fmla="*/ 1053092 h 6847488"/>
                <a:gd name="connsiteX961" fmla="*/ 690944 w 3111628"/>
                <a:gd name="connsiteY961" fmla="*/ 1038796 h 6847488"/>
                <a:gd name="connsiteX962" fmla="*/ 695708 w 3111628"/>
                <a:gd name="connsiteY962" fmla="*/ 1019736 h 6847488"/>
                <a:gd name="connsiteX963" fmla="*/ 710004 w 3111628"/>
                <a:gd name="connsiteY963" fmla="*/ 991148 h 6847488"/>
                <a:gd name="connsiteX964" fmla="*/ 714768 w 3111628"/>
                <a:gd name="connsiteY964" fmla="*/ 972084 h 6847488"/>
                <a:gd name="connsiteX965" fmla="*/ 724300 w 3111628"/>
                <a:gd name="connsiteY965" fmla="*/ 962556 h 6847488"/>
                <a:gd name="connsiteX966" fmla="*/ 733828 w 3111628"/>
                <a:gd name="connsiteY966" fmla="*/ 933964 h 6847488"/>
                <a:gd name="connsiteX967" fmla="*/ 738592 w 3111628"/>
                <a:gd name="connsiteY967" fmla="*/ 919668 h 6847488"/>
                <a:gd name="connsiteX968" fmla="*/ 752888 w 3111628"/>
                <a:gd name="connsiteY968" fmla="*/ 910140 h 6847488"/>
                <a:gd name="connsiteX969" fmla="*/ 762420 w 3111628"/>
                <a:gd name="connsiteY969" fmla="*/ 910140 h 6847488"/>
                <a:gd name="connsiteX970" fmla="*/ 771948 w 3111628"/>
                <a:gd name="connsiteY970" fmla="*/ 914904 h 6847488"/>
                <a:gd name="connsiteX971" fmla="*/ 781480 w 3111628"/>
                <a:gd name="connsiteY971" fmla="*/ 914904 h 6847488"/>
                <a:gd name="connsiteX972" fmla="*/ 791012 w 3111628"/>
                <a:gd name="connsiteY972" fmla="*/ 905376 h 6847488"/>
                <a:gd name="connsiteX973" fmla="*/ 810072 w 3111628"/>
                <a:gd name="connsiteY973" fmla="*/ 900608 h 6847488"/>
                <a:gd name="connsiteX974" fmla="*/ 819600 w 3111628"/>
                <a:gd name="connsiteY974" fmla="*/ 895844 h 6847488"/>
                <a:gd name="connsiteX975" fmla="*/ 824368 w 3111628"/>
                <a:gd name="connsiteY975" fmla="*/ 886312 h 6847488"/>
                <a:gd name="connsiteX976" fmla="*/ 824368 w 3111628"/>
                <a:gd name="connsiteY976" fmla="*/ 867252 h 6847488"/>
                <a:gd name="connsiteX977" fmla="*/ 814836 w 3111628"/>
                <a:gd name="connsiteY977" fmla="*/ 857724 h 6847488"/>
                <a:gd name="connsiteX978" fmla="*/ 795776 w 3111628"/>
                <a:gd name="connsiteY978" fmla="*/ 833896 h 6847488"/>
                <a:gd name="connsiteX979" fmla="*/ 781480 w 3111628"/>
                <a:gd name="connsiteY979" fmla="*/ 805308 h 6847488"/>
                <a:gd name="connsiteX980" fmla="*/ 781480 w 3111628"/>
                <a:gd name="connsiteY980" fmla="*/ 800540 h 6847488"/>
                <a:gd name="connsiteX981" fmla="*/ 781480 w 3111628"/>
                <a:gd name="connsiteY981" fmla="*/ 791012 h 6847488"/>
                <a:gd name="connsiteX982" fmla="*/ 781480 w 3111628"/>
                <a:gd name="connsiteY982" fmla="*/ 776716 h 6847488"/>
                <a:gd name="connsiteX983" fmla="*/ 791012 w 3111628"/>
                <a:gd name="connsiteY983" fmla="*/ 762420 h 6847488"/>
                <a:gd name="connsiteX984" fmla="*/ 810072 w 3111628"/>
                <a:gd name="connsiteY984" fmla="*/ 743360 h 6847488"/>
                <a:gd name="connsiteX985" fmla="*/ 805304 w 3111628"/>
                <a:gd name="connsiteY985" fmla="*/ 729064 h 6847488"/>
                <a:gd name="connsiteX986" fmla="*/ 791012 w 3111628"/>
                <a:gd name="connsiteY986" fmla="*/ 671884 h 6847488"/>
                <a:gd name="connsiteX987" fmla="*/ 786244 w 3111628"/>
                <a:gd name="connsiteY987" fmla="*/ 657588 h 6847488"/>
                <a:gd name="connsiteX988" fmla="*/ 776716 w 3111628"/>
                <a:gd name="connsiteY988" fmla="*/ 628996 h 6847488"/>
                <a:gd name="connsiteX989" fmla="*/ 781480 w 3111628"/>
                <a:gd name="connsiteY989" fmla="*/ 614700 h 6847488"/>
                <a:gd name="connsiteX990" fmla="*/ 786244 w 3111628"/>
                <a:gd name="connsiteY990" fmla="*/ 586112 h 6847488"/>
                <a:gd name="connsiteX991" fmla="*/ 795776 w 3111628"/>
                <a:gd name="connsiteY991" fmla="*/ 571816 h 6847488"/>
                <a:gd name="connsiteX992" fmla="*/ 805304 w 3111628"/>
                <a:gd name="connsiteY992" fmla="*/ 567052 h 6847488"/>
                <a:gd name="connsiteX993" fmla="*/ 810072 w 3111628"/>
                <a:gd name="connsiteY993" fmla="*/ 567052 h 6847488"/>
                <a:gd name="connsiteX994" fmla="*/ 814836 w 3111628"/>
                <a:gd name="connsiteY994" fmla="*/ 557520 h 6847488"/>
                <a:gd name="connsiteX995" fmla="*/ 805304 w 3111628"/>
                <a:gd name="connsiteY995" fmla="*/ 552756 h 6847488"/>
                <a:gd name="connsiteX996" fmla="*/ 800540 w 3111628"/>
                <a:gd name="connsiteY996" fmla="*/ 543224 h 6847488"/>
                <a:gd name="connsiteX997" fmla="*/ 800540 w 3111628"/>
                <a:gd name="connsiteY997" fmla="*/ 528928 h 6847488"/>
                <a:gd name="connsiteX998" fmla="*/ 791012 w 3111628"/>
                <a:gd name="connsiteY998" fmla="*/ 524164 h 6847488"/>
                <a:gd name="connsiteX999" fmla="*/ 786244 w 3111628"/>
                <a:gd name="connsiteY999" fmla="*/ 514632 h 6847488"/>
                <a:gd name="connsiteX1000" fmla="*/ 786244 w 3111628"/>
                <a:gd name="connsiteY1000" fmla="*/ 500340 h 6847488"/>
                <a:gd name="connsiteX1001" fmla="*/ 791012 w 3111628"/>
                <a:gd name="connsiteY1001" fmla="*/ 481276 h 6847488"/>
                <a:gd name="connsiteX1002" fmla="*/ 800540 w 3111628"/>
                <a:gd name="connsiteY1002" fmla="*/ 471748 h 6847488"/>
                <a:gd name="connsiteX1003" fmla="*/ 805304 w 3111628"/>
                <a:gd name="connsiteY1003" fmla="*/ 466984 h 6847488"/>
                <a:gd name="connsiteX1004" fmla="*/ 814836 w 3111628"/>
                <a:gd name="connsiteY1004" fmla="*/ 457452 h 6847488"/>
                <a:gd name="connsiteX1005" fmla="*/ 824368 w 3111628"/>
                <a:gd name="connsiteY1005" fmla="*/ 452688 h 6847488"/>
                <a:gd name="connsiteX1006" fmla="*/ 833896 w 3111628"/>
                <a:gd name="connsiteY1006" fmla="*/ 438392 h 6847488"/>
                <a:gd name="connsiteX1007" fmla="*/ 891076 w 3111628"/>
                <a:gd name="connsiteY1007" fmla="*/ 414568 h 6847488"/>
                <a:gd name="connsiteX1008" fmla="*/ 938728 w 3111628"/>
                <a:gd name="connsiteY1008" fmla="*/ 390740 h 6847488"/>
                <a:gd name="connsiteX1009" fmla="*/ 972084 w 3111628"/>
                <a:gd name="connsiteY1009" fmla="*/ 376444 h 6847488"/>
                <a:gd name="connsiteX1010" fmla="*/ 976852 w 3111628"/>
                <a:gd name="connsiteY1010" fmla="*/ 366916 h 6847488"/>
                <a:gd name="connsiteX1011" fmla="*/ 976852 w 3111628"/>
                <a:gd name="connsiteY1011" fmla="*/ 362148 h 6847488"/>
                <a:gd name="connsiteX1012" fmla="*/ 995912 w 3111628"/>
                <a:gd name="connsiteY1012" fmla="*/ 309732 h 6847488"/>
                <a:gd name="connsiteX1013" fmla="*/ 1014972 w 3111628"/>
                <a:gd name="connsiteY1013" fmla="*/ 243020 h 6847488"/>
                <a:gd name="connsiteX1014" fmla="*/ 1029268 w 3111628"/>
                <a:gd name="connsiteY1014" fmla="*/ 200136 h 6847488"/>
                <a:gd name="connsiteX1015" fmla="*/ 995912 w 3111628"/>
                <a:gd name="connsiteY1015" fmla="*/ 171544 h 6847488"/>
                <a:gd name="connsiteX1016" fmla="*/ 1005440 w 3111628"/>
                <a:gd name="connsiteY1016" fmla="*/ 162016 h 6847488"/>
                <a:gd name="connsiteX1017" fmla="*/ 1019736 w 3111628"/>
                <a:gd name="connsiteY1017" fmla="*/ 142952 h 6847488"/>
                <a:gd name="connsiteX1018" fmla="*/ 1024500 w 3111628"/>
                <a:gd name="connsiteY1018" fmla="*/ 123892 h 6847488"/>
                <a:gd name="connsiteX1019" fmla="*/ 1029268 w 3111628"/>
                <a:gd name="connsiteY1019" fmla="*/ 119128 h 6847488"/>
                <a:gd name="connsiteX1020" fmla="*/ 1057856 w 3111628"/>
                <a:gd name="connsiteY1020" fmla="*/ 100068 h 6847488"/>
                <a:gd name="connsiteX1021" fmla="*/ 1067388 w 3111628"/>
                <a:gd name="connsiteY1021" fmla="*/ 90536 h 6847488"/>
                <a:gd name="connsiteX1022" fmla="*/ 1067388 w 3111628"/>
                <a:gd name="connsiteY1022" fmla="*/ 76244 h 6847488"/>
                <a:gd name="connsiteX1023" fmla="*/ 1072152 w 3111628"/>
                <a:gd name="connsiteY1023" fmla="*/ 71476 h 6847488"/>
                <a:gd name="connsiteX1024" fmla="*/ 1086448 w 3111628"/>
                <a:gd name="connsiteY1024" fmla="*/ 66712 h 6847488"/>
                <a:gd name="connsiteX1025" fmla="*/ 1105508 w 3111628"/>
                <a:gd name="connsiteY1025" fmla="*/ 57180 h 6847488"/>
                <a:gd name="connsiteX1026" fmla="*/ 1129336 w 3111628"/>
                <a:gd name="connsiteY1026" fmla="*/ 52416 h 6847488"/>
                <a:gd name="connsiteX1027" fmla="*/ 1134100 w 3111628"/>
                <a:gd name="connsiteY1027" fmla="*/ 42888 h 6847488"/>
                <a:gd name="connsiteX1028" fmla="*/ 1138864 w 3111628"/>
                <a:gd name="connsiteY1028" fmla="*/ 23824 h 6847488"/>
                <a:gd name="connsiteX1029" fmla="*/ 1148396 w 3111628"/>
                <a:gd name="connsiteY1029" fmla="*/ 4764 h 6847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</a:cxnLst>
              <a:rect l="l" t="t" r="r" b="b"/>
              <a:pathLst>
                <a:path w="3111628" h="6847488">
                  <a:moveTo>
                    <a:pt x="1410476" y="6761716"/>
                  </a:moveTo>
                  <a:lnTo>
                    <a:pt x="1429536" y="6766480"/>
                  </a:lnTo>
                  <a:lnTo>
                    <a:pt x="1462892" y="6761716"/>
                  </a:lnTo>
                  <a:lnTo>
                    <a:pt x="1481952" y="6761716"/>
                  </a:lnTo>
                  <a:lnTo>
                    <a:pt x="1486720" y="6766480"/>
                  </a:lnTo>
                  <a:lnTo>
                    <a:pt x="1491484" y="6766480"/>
                  </a:lnTo>
                  <a:lnTo>
                    <a:pt x="1515308" y="6761716"/>
                  </a:lnTo>
                  <a:lnTo>
                    <a:pt x="1524840" y="6761716"/>
                  </a:lnTo>
                  <a:lnTo>
                    <a:pt x="1524840" y="6776012"/>
                  </a:lnTo>
                  <a:lnTo>
                    <a:pt x="1501016" y="6785540"/>
                  </a:lnTo>
                  <a:lnTo>
                    <a:pt x="1491484" y="6780776"/>
                  </a:lnTo>
                  <a:lnTo>
                    <a:pt x="1448596" y="6780776"/>
                  </a:lnTo>
                  <a:lnTo>
                    <a:pt x="1424772" y="6795072"/>
                  </a:lnTo>
                  <a:lnTo>
                    <a:pt x="1420008" y="6795072"/>
                  </a:lnTo>
                  <a:lnTo>
                    <a:pt x="1396180" y="6809368"/>
                  </a:lnTo>
                  <a:lnTo>
                    <a:pt x="1381888" y="6799836"/>
                  </a:lnTo>
                  <a:lnTo>
                    <a:pt x="1377120" y="6790308"/>
                  </a:lnTo>
                  <a:lnTo>
                    <a:pt x="1391416" y="6776012"/>
                  </a:lnTo>
                  <a:lnTo>
                    <a:pt x="1400948" y="6776012"/>
                  </a:lnTo>
                  <a:lnTo>
                    <a:pt x="1405712" y="6771248"/>
                  </a:lnTo>
                  <a:close/>
                  <a:moveTo>
                    <a:pt x="771952" y="6218492"/>
                  </a:moveTo>
                  <a:lnTo>
                    <a:pt x="781480" y="6228024"/>
                  </a:lnTo>
                  <a:lnTo>
                    <a:pt x="819600" y="6280440"/>
                  </a:lnTo>
                  <a:lnTo>
                    <a:pt x="829132" y="6304264"/>
                  </a:lnTo>
                  <a:lnTo>
                    <a:pt x="833896" y="6328088"/>
                  </a:lnTo>
                  <a:lnTo>
                    <a:pt x="819600" y="6313796"/>
                  </a:lnTo>
                  <a:lnTo>
                    <a:pt x="805304" y="6318560"/>
                  </a:lnTo>
                  <a:lnTo>
                    <a:pt x="795776" y="6337620"/>
                  </a:lnTo>
                  <a:lnTo>
                    <a:pt x="791012" y="6351916"/>
                  </a:lnTo>
                  <a:lnTo>
                    <a:pt x="791012" y="6361444"/>
                  </a:lnTo>
                  <a:lnTo>
                    <a:pt x="795776" y="6375740"/>
                  </a:lnTo>
                  <a:lnTo>
                    <a:pt x="810072" y="6385272"/>
                  </a:lnTo>
                  <a:lnTo>
                    <a:pt x="848192" y="6385272"/>
                  </a:lnTo>
                  <a:lnTo>
                    <a:pt x="848192" y="6390036"/>
                  </a:lnTo>
                  <a:lnTo>
                    <a:pt x="872016" y="6451984"/>
                  </a:lnTo>
                  <a:lnTo>
                    <a:pt x="881548" y="6466280"/>
                  </a:lnTo>
                  <a:lnTo>
                    <a:pt x="895844" y="6480576"/>
                  </a:lnTo>
                  <a:lnTo>
                    <a:pt x="924436" y="6513928"/>
                  </a:lnTo>
                  <a:lnTo>
                    <a:pt x="948260" y="6547284"/>
                  </a:lnTo>
                  <a:lnTo>
                    <a:pt x="981616" y="6580640"/>
                  </a:lnTo>
                  <a:lnTo>
                    <a:pt x="1019736" y="6609232"/>
                  </a:lnTo>
                  <a:lnTo>
                    <a:pt x="1048328" y="6628292"/>
                  </a:lnTo>
                  <a:lnTo>
                    <a:pt x="1081684" y="6652120"/>
                  </a:lnTo>
                  <a:lnTo>
                    <a:pt x="1110276" y="6685476"/>
                  </a:lnTo>
                  <a:lnTo>
                    <a:pt x="1148396" y="6709300"/>
                  </a:lnTo>
                  <a:lnTo>
                    <a:pt x="1186516" y="6728360"/>
                  </a:lnTo>
                  <a:lnTo>
                    <a:pt x="1224636" y="6742656"/>
                  </a:lnTo>
                  <a:lnTo>
                    <a:pt x="1281820" y="6737892"/>
                  </a:lnTo>
                  <a:lnTo>
                    <a:pt x="1300880" y="6737892"/>
                  </a:lnTo>
                  <a:lnTo>
                    <a:pt x="1315176" y="6752188"/>
                  </a:lnTo>
                  <a:lnTo>
                    <a:pt x="1300880" y="6780776"/>
                  </a:lnTo>
                  <a:lnTo>
                    <a:pt x="1286584" y="6804604"/>
                  </a:lnTo>
                  <a:lnTo>
                    <a:pt x="1267524" y="6814132"/>
                  </a:lnTo>
                  <a:lnTo>
                    <a:pt x="1248464" y="6818900"/>
                  </a:lnTo>
                  <a:lnTo>
                    <a:pt x="1229404" y="6818900"/>
                  </a:lnTo>
                  <a:lnTo>
                    <a:pt x="1210344" y="6814132"/>
                  </a:lnTo>
                  <a:lnTo>
                    <a:pt x="1191280" y="6814132"/>
                  </a:lnTo>
                  <a:lnTo>
                    <a:pt x="1176988" y="6828428"/>
                  </a:lnTo>
                  <a:lnTo>
                    <a:pt x="1157924" y="6833192"/>
                  </a:lnTo>
                  <a:lnTo>
                    <a:pt x="1138864" y="6833192"/>
                  </a:lnTo>
                  <a:lnTo>
                    <a:pt x="1124568" y="6842724"/>
                  </a:lnTo>
                  <a:lnTo>
                    <a:pt x="1105508" y="6847488"/>
                  </a:lnTo>
                  <a:lnTo>
                    <a:pt x="1086448" y="6842724"/>
                  </a:lnTo>
                  <a:lnTo>
                    <a:pt x="1038796" y="6818900"/>
                  </a:lnTo>
                  <a:lnTo>
                    <a:pt x="1010208" y="6809368"/>
                  </a:lnTo>
                  <a:lnTo>
                    <a:pt x="905372" y="6804604"/>
                  </a:lnTo>
                  <a:lnTo>
                    <a:pt x="872016" y="6795072"/>
                  </a:lnTo>
                  <a:lnTo>
                    <a:pt x="838660" y="6790308"/>
                  </a:lnTo>
                  <a:lnTo>
                    <a:pt x="819600" y="6790308"/>
                  </a:lnTo>
                  <a:lnTo>
                    <a:pt x="795776" y="6795072"/>
                  </a:lnTo>
                  <a:lnTo>
                    <a:pt x="776716" y="6790308"/>
                  </a:lnTo>
                  <a:lnTo>
                    <a:pt x="771952" y="6799836"/>
                  </a:lnTo>
                  <a:lnTo>
                    <a:pt x="771952" y="6737892"/>
                  </a:lnTo>
                  <a:lnTo>
                    <a:pt x="771952" y="6656884"/>
                  </a:lnTo>
                  <a:lnTo>
                    <a:pt x="771952" y="6585408"/>
                  </a:lnTo>
                  <a:lnTo>
                    <a:pt x="771952" y="6513928"/>
                  </a:lnTo>
                  <a:lnTo>
                    <a:pt x="771952" y="6370976"/>
                  </a:lnTo>
                  <a:lnTo>
                    <a:pt x="771952" y="6294736"/>
                  </a:lnTo>
                  <a:close/>
                  <a:moveTo>
                    <a:pt x="1796452" y="3149752"/>
                  </a:moveTo>
                  <a:lnTo>
                    <a:pt x="1815514" y="3154516"/>
                  </a:lnTo>
                  <a:lnTo>
                    <a:pt x="1825044" y="3159280"/>
                  </a:lnTo>
                  <a:lnTo>
                    <a:pt x="1829808" y="3168812"/>
                  </a:lnTo>
                  <a:lnTo>
                    <a:pt x="1829808" y="3183104"/>
                  </a:lnTo>
                  <a:lnTo>
                    <a:pt x="1825044" y="3178340"/>
                  </a:lnTo>
                  <a:lnTo>
                    <a:pt x="1801218" y="3168812"/>
                  </a:lnTo>
                  <a:lnTo>
                    <a:pt x="1796452" y="3154516"/>
                  </a:lnTo>
                  <a:close/>
                  <a:moveTo>
                    <a:pt x="1148396" y="0"/>
                  </a:moveTo>
                  <a:lnTo>
                    <a:pt x="1157924" y="0"/>
                  </a:lnTo>
                  <a:lnTo>
                    <a:pt x="1167456" y="4764"/>
                  </a:lnTo>
                  <a:lnTo>
                    <a:pt x="1176984" y="14296"/>
                  </a:lnTo>
                  <a:lnTo>
                    <a:pt x="1205576" y="38120"/>
                  </a:lnTo>
                  <a:lnTo>
                    <a:pt x="1219872" y="47652"/>
                  </a:lnTo>
                  <a:lnTo>
                    <a:pt x="1234168" y="52416"/>
                  </a:lnTo>
                  <a:lnTo>
                    <a:pt x="1257992" y="47652"/>
                  </a:lnTo>
                  <a:lnTo>
                    <a:pt x="1267524" y="47652"/>
                  </a:lnTo>
                  <a:lnTo>
                    <a:pt x="1334236" y="47652"/>
                  </a:lnTo>
                  <a:lnTo>
                    <a:pt x="1343764" y="52416"/>
                  </a:lnTo>
                  <a:lnTo>
                    <a:pt x="1367592" y="57180"/>
                  </a:lnTo>
                  <a:lnTo>
                    <a:pt x="1377120" y="61948"/>
                  </a:lnTo>
                  <a:lnTo>
                    <a:pt x="1386652" y="61948"/>
                  </a:lnTo>
                  <a:lnTo>
                    <a:pt x="1400948" y="71476"/>
                  </a:lnTo>
                  <a:lnTo>
                    <a:pt x="1415240" y="95304"/>
                  </a:lnTo>
                  <a:lnTo>
                    <a:pt x="1424772" y="114364"/>
                  </a:lnTo>
                  <a:lnTo>
                    <a:pt x="1429536" y="133424"/>
                  </a:lnTo>
                  <a:lnTo>
                    <a:pt x="1439068" y="162016"/>
                  </a:lnTo>
                  <a:lnTo>
                    <a:pt x="1443832" y="171544"/>
                  </a:lnTo>
                  <a:lnTo>
                    <a:pt x="1448596" y="166780"/>
                  </a:lnTo>
                  <a:lnTo>
                    <a:pt x="1453364" y="133424"/>
                  </a:lnTo>
                  <a:lnTo>
                    <a:pt x="1462892" y="114364"/>
                  </a:lnTo>
                  <a:lnTo>
                    <a:pt x="1477188" y="95304"/>
                  </a:lnTo>
                  <a:lnTo>
                    <a:pt x="1501016" y="42888"/>
                  </a:lnTo>
                  <a:lnTo>
                    <a:pt x="1510544" y="38120"/>
                  </a:lnTo>
                  <a:lnTo>
                    <a:pt x="1520076" y="33356"/>
                  </a:lnTo>
                  <a:lnTo>
                    <a:pt x="1524840" y="33356"/>
                  </a:lnTo>
                  <a:lnTo>
                    <a:pt x="1534368" y="38120"/>
                  </a:lnTo>
                  <a:lnTo>
                    <a:pt x="1539136" y="38120"/>
                  </a:lnTo>
                  <a:lnTo>
                    <a:pt x="1548664" y="33356"/>
                  </a:lnTo>
                  <a:lnTo>
                    <a:pt x="1610612" y="33356"/>
                  </a:lnTo>
                  <a:lnTo>
                    <a:pt x="1677324" y="33356"/>
                  </a:lnTo>
                  <a:lnTo>
                    <a:pt x="1682088" y="42888"/>
                  </a:lnTo>
                  <a:lnTo>
                    <a:pt x="1691620" y="57180"/>
                  </a:lnTo>
                  <a:lnTo>
                    <a:pt x="1705916" y="71476"/>
                  </a:lnTo>
                  <a:lnTo>
                    <a:pt x="1710680" y="76244"/>
                  </a:lnTo>
                  <a:lnTo>
                    <a:pt x="1710680" y="81008"/>
                  </a:lnTo>
                  <a:lnTo>
                    <a:pt x="1724976" y="90536"/>
                  </a:lnTo>
                  <a:lnTo>
                    <a:pt x="1753564" y="104832"/>
                  </a:lnTo>
                  <a:lnTo>
                    <a:pt x="1777392" y="133424"/>
                  </a:lnTo>
                  <a:lnTo>
                    <a:pt x="1801216" y="181076"/>
                  </a:lnTo>
                  <a:lnTo>
                    <a:pt x="1820276" y="209664"/>
                  </a:lnTo>
                  <a:lnTo>
                    <a:pt x="1839340" y="233492"/>
                  </a:lnTo>
                  <a:lnTo>
                    <a:pt x="1858400" y="247788"/>
                  </a:lnTo>
                  <a:lnTo>
                    <a:pt x="1877460" y="257316"/>
                  </a:lnTo>
                  <a:lnTo>
                    <a:pt x="1886988" y="262084"/>
                  </a:lnTo>
                  <a:lnTo>
                    <a:pt x="1886988" y="266848"/>
                  </a:lnTo>
                  <a:lnTo>
                    <a:pt x="1901284" y="281144"/>
                  </a:lnTo>
                  <a:lnTo>
                    <a:pt x="1934640" y="295436"/>
                  </a:lnTo>
                  <a:lnTo>
                    <a:pt x="1953700" y="314500"/>
                  </a:lnTo>
                  <a:lnTo>
                    <a:pt x="1963232" y="328792"/>
                  </a:lnTo>
                  <a:lnTo>
                    <a:pt x="1991824" y="347856"/>
                  </a:lnTo>
                  <a:lnTo>
                    <a:pt x="2044240" y="366916"/>
                  </a:lnTo>
                  <a:lnTo>
                    <a:pt x="2082360" y="371680"/>
                  </a:lnTo>
                  <a:lnTo>
                    <a:pt x="2106184" y="371680"/>
                  </a:lnTo>
                  <a:lnTo>
                    <a:pt x="2139540" y="385976"/>
                  </a:lnTo>
                  <a:lnTo>
                    <a:pt x="2182428" y="419332"/>
                  </a:lnTo>
                  <a:lnTo>
                    <a:pt x="2211020" y="438392"/>
                  </a:lnTo>
                  <a:lnTo>
                    <a:pt x="2220548" y="447920"/>
                  </a:lnTo>
                  <a:lnTo>
                    <a:pt x="2249140" y="466984"/>
                  </a:lnTo>
                  <a:lnTo>
                    <a:pt x="2320616" y="505104"/>
                  </a:lnTo>
                  <a:lnTo>
                    <a:pt x="2353972" y="514632"/>
                  </a:lnTo>
                  <a:lnTo>
                    <a:pt x="2368268" y="524164"/>
                  </a:lnTo>
                  <a:lnTo>
                    <a:pt x="2377796" y="538460"/>
                  </a:lnTo>
                  <a:lnTo>
                    <a:pt x="2387328" y="538460"/>
                  </a:lnTo>
                  <a:lnTo>
                    <a:pt x="2396860" y="533696"/>
                  </a:lnTo>
                  <a:lnTo>
                    <a:pt x="2411152" y="538460"/>
                  </a:lnTo>
                  <a:lnTo>
                    <a:pt x="2439744" y="552756"/>
                  </a:lnTo>
                  <a:lnTo>
                    <a:pt x="2463568" y="567052"/>
                  </a:lnTo>
                  <a:lnTo>
                    <a:pt x="2492160" y="600408"/>
                  </a:lnTo>
                  <a:lnTo>
                    <a:pt x="2496924" y="614700"/>
                  </a:lnTo>
                  <a:lnTo>
                    <a:pt x="2501692" y="624232"/>
                  </a:lnTo>
                  <a:lnTo>
                    <a:pt x="2501692" y="633760"/>
                  </a:lnTo>
                  <a:lnTo>
                    <a:pt x="2492160" y="648056"/>
                  </a:lnTo>
                  <a:lnTo>
                    <a:pt x="2477864" y="657588"/>
                  </a:lnTo>
                  <a:lnTo>
                    <a:pt x="2473100" y="662352"/>
                  </a:lnTo>
                  <a:lnTo>
                    <a:pt x="2473100" y="667116"/>
                  </a:lnTo>
                  <a:lnTo>
                    <a:pt x="2468336" y="681412"/>
                  </a:lnTo>
                  <a:lnTo>
                    <a:pt x="2454040" y="700472"/>
                  </a:lnTo>
                  <a:lnTo>
                    <a:pt x="2454040" y="710004"/>
                  </a:lnTo>
                  <a:lnTo>
                    <a:pt x="2449276" y="719536"/>
                  </a:lnTo>
                  <a:lnTo>
                    <a:pt x="2444508" y="724300"/>
                  </a:lnTo>
                  <a:lnTo>
                    <a:pt x="2420684" y="738596"/>
                  </a:lnTo>
                  <a:lnTo>
                    <a:pt x="2415920" y="748124"/>
                  </a:lnTo>
                  <a:lnTo>
                    <a:pt x="2415920" y="757656"/>
                  </a:lnTo>
                  <a:lnTo>
                    <a:pt x="2411152" y="762420"/>
                  </a:lnTo>
                  <a:lnTo>
                    <a:pt x="2406388" y="771952"/>
                  </a:lnTo>
                  <a:lnTo>
                    <a:pt x="2401624" y="781480"/>
                  </a:lnTo>
                  <a:lnTo>
                    <a:pt x="2401624" y="800540"/>
                  </a:lnTo>
                  <a:lnTo>
                    <a:pt x="2406388" y="819600"/>
                  </a:lnTo>
                  <a:lnTo>
                    <a:pt x="2406388" y="824368"/>
                  </a:lnTo>
                  <a:lnTo>
                    <a:pt x="2401624" y="829132"/>
                  </a:lnTo>
                  <a:lnTo>
                    <a:pt x="2396860" y="833896"/>
                  </a:lnTo>
                  <a:lnTo>
                    <a:pt x="2396860" y="843428"/>
                  </a:lnTo>
                  <a:lnTo>
                    <a:pt x="2392092" y="852956"/>
                  </a:lnTo>
                  <a:lnTo>
                    <a:pt x="2382564" y="857724"/>
                  </a:lnTo>
                  <a:lnTo>
                    <a:pt x="2382564" y="862488"/>
                  </a:lnTo>
                  <a:lnTo>
                    <a:pt x="2382564" y="867252"/>
                  </a:lnTo>
                  <a:lnTo>
                    <a:pt x="2377796" y="872020"/>
                  </a:lnTo>
                  <a:lnTo>
                    <a:pt x="2368268" y="876784"/>
                  </a:lnTo>
                  <a:lnTo>
                    <a:pt x="2358736" y="886312"/>
                  </a:lnTo>
                  <a:lnTo>
                    <a:pt x="2353972" y="895844"/>
                  </a:lnTo>
                  <a:lnTo>
                    <a:pt x="2349208" y="905376"/>
                  </a:lnTo>
                  <a:lnTo>
                    <a:pt x="2339676" y="914904"/>
                  </a:lnTo>
                  <a:lnTo>
                    <a:pt x="2334912" y="924436"/>
                  </a:lnTo>
                  <a:lnTo>
                    <a:pt x="2339676" y="943496"/>
                  </a:lnTo>
                  <a:lnTo>
                    <a:pt x="2406388" y="938732"/>
                  </a:lnTo>
                  <a:lnTo>
                    <a:pt x="2463568" y="948260"/>
                  </a:lnTo>
                  <a:lnTo>
                    <a:pt x="2530280" y="967320"/>
                  </a:lnTo>
                  <a:lnTo>
                    <a:pt x="2573168" y="972084"/>
                  </a:lnTo>
                  <a:lnTo>
                    <a:pt x="2592228" y="967320"/>
                  </a:lnTo>
                  <a:lnTo>
                    <a:pt x="2611288" y="967320"/>
                  </a:lnTo>
                  <a:lnTo>
                    <a:pt x="2620820" y="976852"/>
                  </a:lnTo>
                  <a:lnTo>
                    <a:pt x="2635116" y="976852"/>
                  </a:lnTo>
                  <a:lnTo>
                    <a:pt x="2654176" y="972084"/>
                  </a:lnTo>
                  <a:lnTo>
                    <a:pt x="2668472" y="976852"/>
                  </a:lnTo>
                  <a:lnTo>
                    <a:pt x="2678000" y="986380"/>
                  </a:lnTo>
                  <a:lnTo>
                    <a:pt x="2687532" y="986380"/>
                  </a:lnTo>
                  <a:lnTo>
                    <a:pt x="2697060" y="967320"/>
                  </a:lnTo>
                  <a:lnTo>
                    <a:pt x="2711356" y="957792"/>
                  </a:lnTo>
                  <a:lnTo>
                    <a:pt x="2720888" y="948260"/>
                  </a:lnTo>
                  <a:lnTo>
                    <a:pt x="2735184" y="943496"/>
                  </a:lnTo>
                  <a:lnTo>
                    <a:pt x="2754244" y="948260"/>
                  </a:lnTo>
                  <a:lnTo>
                    <a:pt x="2768536" y="953024"/>
                  </a:lnTo>
                  <a:lnTo>
                    <a:pt x="2778068" y="962556"/>
                  </a:lnTo>
                  <a:lnTo>
                    <a:pt x="2792364" y="962556"/>
                  </a:lnTo>
                  <a:lnTo>
                    <a:pt x="2801892" y="953024"/>
                  </a:lnTo>
                  <a:lnTo>
                    <a:pt x="2811424" y="943496"/>
                  </a:lnTo>
                  <a:lnTo>
                    <a:pt x="2811424" y="929200"/>
                  </a:lnTo>
                  <a:lnTo>
                    <a:pt x="2816188" y="919668"/>
                  </a:lnTo>
                  <a:lnTo>
                    <a:pt x="2825720" y="910140"/>
                  </a:lnTo>
                  <a:lnTo>
                    <a:pt x="2830484" y="900608"/>
                  </a:lnTo>
                  <a:lnTo>
                    <a:pt x="2835248" y="891080"/>
                  </a:lnTo>
                  <a:lnTo>
                    <a:pt x="2849544" y="886312"/>
                  </a:lnTo>
                  <a:lnTo>
                    <a:pt x="2868604" y="881548"/>
                  </a:lnTo>
                  <a:lnTo>
                    <a:pt x="2882900" y="876784"/>
                  </a:lnTo>
                  <a:lnTo>
                    <a:pt x="2882900" y="872020"/>
                  </a:lnTo>
                  <a:lnTo>
                    <a:pt x="2887668" y="862488"/>
                  </a:lnTo>
                  <a:lnTo>
                    <a:pt x="2901960" y="857724"/>
                  </a:lnTo>
                  <a:lnTo>
                    <a:pt x="2906728" y="848192"/>
                  </a:lnTo>
                  <a:lnTo>
                    <a:pt x="2911492" y="838664"/>
                  </a:lnTo>
                  <a:lnTo>
                    <a:pt x="2921024" y="833896"/>
                  </a:lnTo>
                  <a:lnTo>
                    <a:pt x="2930552" y="829132"/>
                  </a:lnTo>
                  <a:lnTo>
                    <a:pt x="2940084" y="810072"/>
                  </a:lnTo>
                  <a:lnTo>
                    <a:pt x="2954376" y="771952"/>
                  </a:lnTo>
                  <a:lnTo>
                    <a:pt x="2959144" y="719536"/>
                  </a:lnTo>
                  <a:lnTo>
                    <a:pt x="2963908" y="643292"/>
                  </a:lnTo>
                  <a:lnTo>
                    <a:pt x="2973440" y="643292"/>
                  </a:lnTo>
                  <a:lnTo>
                    <a:pt x="2982968" y="648056"/>
                  </a:lnTo>
                  <a:lnTo>
                    <a:pt x="2987732" y="652824"/>
                  </a:lnTo>
                  <a:lnTo>
                    <a:pt x="2997264" y="643292"/>
                  </a:lnTo>
                  <a:lnTo>
                    <a:pt x="3006796" y="643292"/>
                  </a:lnTo>
                  <a:lnTo>
                    <a:pt x="3021088" y="643292"/>
                  </a:lnTo>
                  <a:lnTo>
                    <a:pt x="3025856" y="633760"/>
                  </a:lnTo>
                  <a:lnTo>
                    <a:pt x="3035384" y="633760"/>
                  </a:lnTo>
                  <a:lnTo>
                    <a:pt x="3040152" y="638528"/>
                  </a:lnTo>
                  <a:lnTo>
                    <a:pt x="3044916" y="643292"/>
                  </a:lnTo>
                  <a:lnTo>
                    <a:pt x="3059212" y="643292"/>
                  </a:lnTo>
                  <a:lnTo>
                    <a:pt x="3063976" y="657588"/>
                  </a:lnTo>
                  <a:lnTo>
                    <a:pt x="3078272" y="657588"/>
                  </a:lnTo>
                  <a:lnTo>
                    <a:pt x="3078272" y="671884"/>
                  </a:lnTo>
                  <a:lnTo>
                    <a:pt x="3087800" y="710004"/>
                  </a:lnTo>
                  <a:lnTo>
                    <a:pt x="3097332" y="729064"/>
                  </a:lnTo>
                  <a:lnTo>
                    <a:pt x="3111628" y="757656"/>
                  </a:lnTo>
                  <a:lnTo>
                    <a:pt x="3111628" y="767184"/>
                  </a:lnTo>
                  <a:lnTo>
                    <a:pt x="3102096" y="776716"/>
                  </a:lnTo>
                  <a:lnTo>
                    <a:pt x="3102096" y="795776"/>
                  </a:lnTo>
                  <a:lnTo>
                    <a:pt x="3097332" y="833896"/>
                  </a:lnTo>
                  <a:lnTo>
                    <a:pt x="3097332" y="848192"/>
                  </a:lnTo>
                  <a:lnTo>
                    <a:pt x="3102096" y="857724"/>
                  </a:lnTo>
                  <a:lnTo>
                    <a:pt x="3102096" y="872020"/>
                  </a:lnTo>
                  <a:lnTo>
                    <a:pt x="3097332" y="886312"/>
                  </a:lnTo>
                  <a:lnTo>
                    <a:pt x="3083036" y="910140"/>
                  </a:lnTo>
                  <a:lnTo>
                    <a:pt x="3073508" y="919668"/>
                  </a:lnTo>
                  <a:lnTo>
                    <a:pt x="3068740" y="919668"/>
                  </a:lnTo>
                  <a:lnTo>
                    <a:pt x="3054444" y="933964"/>
                  </a:lnTo>
                  <a:lnTo>
                    <a:pt x="3040152" y="938732"/>
                  </a:lnTo>
                  <a:lnTo>
                    <a:pt x="3035384" y="933964"/>
                  </a:lnTo>
                  <a:lnTo>
                    <a:pt x="3025856" y="943496"/>
                  </a:lnTo>
                  <a:lnTo>
                    <a:pt x="3021088" y="957792"/>
                  </a:lnTo>
                  <a:lnTo>
                    <a:pt x="3006796" y="967320"/>
                  </a:lnTo>
                  <a:lnTo>
                    <a:pt x="2987732" y="967320"/>
                  </a:lnTo>
                  <a:lnTo>
                    <a:pt x="2982968" y="972084"/>
                  </a:lnTo>
                  <a:lnTo>
                    <a:pt x="2973440" y="972084"/>
                  </a:lnTo>
                  <a:lnTo>
                    <a:pt x="2963908" y="976852"/>
                  </a:lnTo>
                  <a:lnTo>
                    <a:pt x="2954376" y="981616"/>
                  </a:lnTo>
                  <a:lnTo>
                    <a:pt x="2944848" y="986380"/>
                  </a:lnTo>
                  <a:lnTo>
                    <a:pt x="2940084" y="986380"/>
                  </a:lnTo>
                  <a:lnTo>
                    <a:pt x="2930552" y="986380"/>
                  </a:lnTo>
                  <a:lnTo>
                    <a:pt x="2921024" y="995912"/>
                  </a:lnTo>
                  <a:lnTo>
                    <a:pt x="2916256" y="1005440"/>
                  </a:lnTo>
                  <a:lnTo>
                    <a:pt x="2916256" y="1014972"/>
                  </a:lnTo>
                  <a:lnTo>
                    <a:pt x="2911492" y="1024504"/>
                  </a:lnTo>
                  <a:lnTo>
                    <a:pt x="2897196" y="1024504"/>
                  </a:lnTo>
                  <a:lnTo>
                    <a:pt x="2892432" y="1029268"/>
                  </a:lnTo>
                  <a:lnTo>
                    <a:pt x="2892432" y="1038796"/>
                  </a:lnTo>
                  <a:lnTo>
                    <a:pt x="2887668" y="1043564"/>
                  </a:lnTo>
                  <a:lnTo>
                    <a:pt x="2863840" y="1048328"/>
                  </a:lnTo>
                  <a:lnTo>
                    <a:pt x="2849544" y="1057860"/>
                  </a:lnTo>
                  <a:lnTo>
                    <a:pt x="2840016" y="1072152"/>
                  </a:lnTo>
                  <a:lnTo>
                    <a:pt x="2830484" y="1081684"/>
                  </a:lnTo>
                  <a:lnTo>
                    <a:pt x="2811424" y="1086448"/>
                  </a:lnTo>
                  <a:lnTo>
                    <a:pt x="2787600" y="1100744"/>
                  </a:lnTo>
                  <a:lnTo>
                    <a:pt x="2787600" y="1110276"/>
                  </a:lnTo>
                  <a:lnTo>
                    <a:pt x="2797128" y="1119804"/>
                  </a:lnTo>
                  <a:lnTo>
                    <a:pt x="2797128" y="1129336"/>
                  </a:lnTo>
                  <a:lnTo>
                    <a:pt x="2797128" y="1134100"/>
                  </a:lnTo>
                  <a:lnTo>
                    <a:pt x="2787600" y="1134100"/>
                  </a:lnTo>
                  <a:lnTo>
                    <a:pt x="2778068" y="1129336"/>
                  </a:lnTo>
                  <a:lnTo>
                    <a:pt x="2768536" y="1129336"/>
                  </a:lnTo>
                  <a:lnTo>
                    <a:pt x="2763772" y="1134100"/>
                  </a:lnTo>
                  <a:lnTo>
                    <a:pt x="2763772" y="1138864"/>
                  </a:lnTo>
                  <a:lnTo>
                    <a:pt x="2763772" y="1143632"/>
                  </a:lnTo>
                  <a:lnTo>
                    <a:pt x="2759008" y="1153160"/>
                  </a:lnTo>
                  <a:lnTo>
                    <a:pt x="2749476" y="1153160"/>
                  </a:lnTo>
                  <a:lnTo>
                    <a:pt x="2744712" y="1157924"/>
                  </a:lnTo>
                  <a:lnTo>
                    <a:pt x="2739948" y="1172220"/>
                  </a:lnTo>
                  <a:lnTo>
                    <a:pt x="2730416" y="1181752"/>
                  </a:lnTo>
                  <a:lnTo>
                    <a:pt x="2711356" y="1196048"/>
                  </a:lnTo>
                  <a:lnTo>
                    <a:pt x="2697060" y="1219872"/>
                  </a:lnTo>
                  <a:lnTo>
                    <a:pt x="2687532" y="1243700"/>
                  </a:lnTo>
                  <a:lnTo>
                    <a:pt x="2673236" y="1262760"/>
                  </a:lnTo>
                  <a:lnTo>
                    <a:pt x="2658940" y="1267524"/>
                  </a:lnTo>
                  <a:lnTo>
                    <a:pt x="2649408" y="1281820"/>
                  </a:lnTo>
                  <a:lnTo>
                    <a:pt x="2639880" y="1296116"/>
                  </a:lnTo>
                  <a:lnTo>
                    <a:pt x="2625584" y="1319940"/>
                  </a:lnTo>
                  <a:lnTo>
                    <a:pt x="2601760" y="1353296"/>
                  </a:lnTo>
                  <a:lnTo>
                    <a:pt x="2577932" y="1372356"/>
                  </a:lnTo>
                  <a:lnTo>
                    <a:pt x="2554108" y="1386652"/>
                  </a:lnTo>
                  <a:lnTo>
                    <a:pt x="2544576" y="1400948"/>
                  </a:lnTo>
                  <a:lnTo>
                    <a:pt x="2539812" y="1415244"/>
                  </a:lnTo>
                  <a:lnTo>
                    <a:pt x="2525516" y="1429540"/>
                  </a:lnTo>
                  <a:lnTo>
                    <a:pt x="2501692" y="1448600"/>
                  </a:lnTo>
                  <a:lnTo>
                    <a:pt x="2496924" y="1458128"/>
                  </a:lnTo>
                  <a:lnTo>
                    <a:pt x="2492160" y="1467660"/>
                  </a:lnTo>
                  <a:lnTo>
                    <a:pt x="2487396" y="1477188"/>
                  </a:lnTo>
                  <a:lnTo>
                    <a:pt x="2477864" y="1491484"/>
                  </a:lnTo>
                  <a:lnTo>
                    <a:pt x="2458804" y="1515312"/>
                  </a:lnTo>
                  <a:lnTo>
                    <a:pt x="2454040" y="1529604"/>
                  </a:lnTo>
                  <a:lnTo>
                    <a:pt x="2463568" y="1553432"/>
                  </a:lnTo>
                  <a:lnTo>
                    <a:pt x="2463568" y="1582024"/>
                  </a:lnTo>
                  <a:lnTo>
                    <a:pt x="2458804" y="1591552"/>
                  </a:lnTo>
                  <a:lnTo>
                    <a:pt x="2454040" y="1596316"/>
                  </a:lnTo>
                  <a:lnTo>
                    <a:pt x="2449276" y="1601084"/>
                  </a:lnTo>
                  <a:lnTo>
                    <a:pt x="2454040" y="1610612"/>
                  </a:lnTo>
                  <a:lnTo>
                    <a:pt x="2454040" y="1624908"/>
                  </a:lnTo>
                  <a:lnTo>
                    <a:pt x="2449276" y="1639204"/>
                  </a:lnTo>
                  <a:lnTo>
                    <a:pt x="2444508" y="1658264"/>
                  </a:lnTo>
                  <a:lnTo>
                    <a:pt x="2430212" y="1682088"/>
                  </a:lnTo>
                  <a:lnTo>
                    <a:pt x="2425448" y="1696384"/>
                  </a:lnTo>
                  <a:lnTo>
                    <a:pt x="2434980" y="1701152"/>
                  </a:lnTo>
                  <a:lnTo>
                    <a:pt x="2434980" y="1710680"/>
                  </a:lnTo>
                  <a:lnTo>
                    <a:pt x="2434980" y="1720212"/>
                  </a:lnTo>
                  <a:lnTo>
                    <a:pt x="2434980" y="1729740"/>
                  </a:lnTo>
                  <a:lnTo>
                    <a:pt x="2430212" y="1744036"/>
                  </a:lnTo>
                  <a:lnTo>
                    <a:pt x="2420684" y="1758332"/>
                  </a:lnTo>
                  <a:lnTo>
                    <a:pt x="2406388" y="1763096"/>
                  </a:lnTo>
                  <a:lnTo>
                    <a:pt x="2406388" y="1772628"/>
                  </a:lnTo>
                  <a:lnTo>
                    <a:pt x="2411152" y="1786924"/>
                  </a:lnTo>
                  <a:lnTo>
                    <a:pt x="2411152" y="1796452"/>
                  </a:lnTo>
                  <a:lnTo>
                    <a:pt x="2406388" y="1810748"/>
                  </a:lnTo>
                  <a:lnTo>
                    <a:pt x="2411152" y="1825044"/>
                  </a:lnTo>
                  <a:lnTo>
                    <a:pt x="2415920" y="1834576"/>
                  </a:lnTo>
                  <a:lnTo>
                    <a:pt x="2415920" y="1848868"/>
                  </a:lnTo>
                  <a:lnTo>
                    <a:pt x="2401624" y="1877460"/>
                  </a:lnTo>
                  <a:lnTo>
                    <a:pt x="2401624" y="1891756"/>
                  </a:lnTo>
                  <a:lnTo>
                    <a:pt x="2406388" y="1967996"/>
                  </a:lnTo>
                  <a:lnTo>
                    <a:pt x="2401624" y="1977528"/>
                  </a:lnTo>
                  <a:lnTo>
                    <a:pt x="2396860" y="1987060"/>
                  </a:lnTo>
                  <a:lnTo>
                    <a:pt x="2387328" y="1991824"/>
                  </a:lnTo>
                  <a:lnTo>
                    <a:pt x="2377796" y="1987060"/>
                  </a:lnTo>
                  <a:lnTo>
                    <a:pt x="2368268" y="1996588"/>
                  </a:lnTo>
                  <a:lnTo>
                    <a:pt x="2363504" y="2025180"/>
                  </a:lnTo>
                  <a:lnTo>
                    <a:pt x="2349208" y="2096656"/>
                  </a:lnTo>
                  <a:lnTo>
                    <a:pt x="2353972" y="2115716"/>
                  </a:lnTo>
                  <a:lnTo>
                    <a:pt x="2363504" y="2144308"/>
                  </a:lnTo>
                  <a:lnTo>
                    <a:pt x="2368268" y="2158604"/>
                  </a:lnTo>
                  <a:lnTo>
                    <a:pt x="2373032" y="2172900"/>
                  </a:lnTo>
                  <a:lnTo>
                    <a:pt x="2373032" y="2196724"/>
                  </a:lnTo>
                  <a:lnTo>
                    <a:pt x="2368268" y="2211020"/>
                  </a:lnTo>
                  <a:lnTo>
                    <a:pt x="2358736" y="2211020"/>
                  </a:lnTo>
                  <a:lnTo>
                    <a:pt x="2353972" y="2215784"/>
                  </a:lnTo>
                  <a:lnTo>
                    <a:pt x="2363504" y="2249140"/>
                  </a:lnTo>
                  <a:lnTo>
                    <a:pt x="2368268" y="2263436"/>
                  </a:lnTo>
                  <a:lnTo>
                    <a:pt x="2392092" y="2292028"/>
                  </a:lnTo>
                  <a:lnTo>
                    <a:pt x="2473100" y="2330148"/>
                  </a:lnTo>
                  <a:lnTo>
                    <a:pt x="2506456" y="2353972"/>
                  </a:lnTo>
                  <a:lnTo>
                    <a:pt x="2544576" y="2387328"/>
                  </a:lnTo>
                  <a:lnTo>
                    <a:pt x="2563636" y="2420684"/>
                  </a:lnTo>
                  <a:lnTo>
                    <a:pt x="2568404" y="2449276"/>
                  </a:lnTo>
                  <a:lnTo>
                    <a:pt x="2535048" y="2487396"/>
                  </a:lnTo>
                  <a:lnTo>
                    <a:pt x="2530280" y="2525516"/>
                  </a:lnTo>
                  <a:lnTo>
                    <a:pt x="2539812" y="2549344"/>
                  </a:lnTo>
                  <a:lnTo>
                    <a:pt x="2549344" y="2568404"/>
                  </a:lnTo>
                  <a:lnTo>
                    <a:pt x="2577932" y="2601760"/>
                  </a:lnTo>
                  <a:lnTo>
                    <a:pt x="2601760" y="2611288"/>
                  </a:lnTo>
                  <a:lnTo>
                    <a:pt x="2630348" y="2611288"/>
                  </a:lnTo>
                  <a:lnTo>
                    <a:pt x="2635116" y="2616056"/>
                  </a:lnTo>
                  <a:lnTo>
                    <a:pt x="2639880" y="2625584"/>
                  </a:lnTo>
                  <a:lnTo>
                    <a:pt x="2644644" y="2682768"/>
                  </a:lnTo>
                  <a:lnTo>
                    <a:pt x="2639880" y="2706592"/>
                  </a:lnTo>
                  <a:lnTo>
                    <a:pt x="2635116" y="2730420"/>
                  </a:lnTo>
                  <a:lnTo>
                    <a:pt x="2577932" y="2825720"/>
                  </a:lnTo>
                  <a:lnTo>
                    <a:pt x="2530280" y="2882904"/>
                  </a:lnTo>
                  <a:lnTo>
                    <a:pt x="2511220" y="2916256"/>
                  </a:lnTo>
                  <a:lnTo>
                    <a:pt x="2506456" y="2949612"/>
                  </a:lnTo>
                  <a:lnTo>
                    <a:pt x="2492160" y="2968676"/>
                  </a:lnTo>
                  <a:lnTo>
                    <a:pt x="2406388" y="3021092"/>
                  </a:lnTo>
                  <a:lnTo>
                    <a:pt x="2277728" y="3068744"/>
                  </a:lnTo>
                  <a:lnTo>
                    <a:pt x="2172896" y="3092568"/>
                  </a:lnTo>
                  <a:lnTo>
                    <a:pt x="2149072" y="3102100"/>
                  </a:lnTo>
                  <a:lnTo>
                    <a:pt x="1982292" y="3125924"/>
                  </a:lnTo>
                  <a:lnTo>
                    <a:pt x="1948936" y="3130688"/>
                  </a:lnTo>
                  <a:lnTo>
                    <a:pt x="1906048" y="3130688"/>
                  </a:lnTo>
                  <a:lnTo>
                    <a:pt x="1872696" y="3130688"/>
                  </a:lnTo>
                  <a:lnTo>
                    <a:pt x="1834572" y="3125924"/>
                  </a:lnTo>
                  <a:lnTo>
                    <a:pt x="1801216" y="3116396"/>
                  </a:lnTo>
                  <a:lnTo>
                    <a:pt x="1782156" y="3097332"/>
                  </a:lnTo>
                  <a:lnTo>
                    <a:pt x="1758332" y="3092568"/>
                  </a:lnTo>
                  <a:lnTo>
                    <a:pt x="1748800" y="3102100"/>
                  </a:lnTo>
                  <a:lnTo>
                    <a:pt x="1763096" y="3130688"/>
                  </a:lnTo>
                  <a:lnTo>
                    <a:pt x="1758332" y="3164044"/>
                  </a:lnTo>
                  <a:lnTo>
                    <a:pt x="1763096" y="3183104"/>
                  </a:lnTo>
                  <a:lnTo>
                    <a:pt x="1777392" y="3187872"/>
                  </a:lnTo>
                  <a:lnTo>
                    <a:pt x="1791688" y="3197400"/>
                  </a:lnTo>
                  <a:lnTo>
                    <a:pt x="1801216" y="3206932"/>
                  </a:lnTo>
                  <a:lnTo>
                    <a:pt x="1782156" y="3211696"/>
                  </a:lnTo>
                  <a:lnTo>
                    <a:pt x="1786920" y="3221228"/>
                  </a:lnTo>
                  <a:lnTo>
                    <a:pt x="1796452" y="3225992"/>
                  </a:lnTo>
                  <a:lnTo>
                    <a:pt x="1796452" y="3249816"/>
                  </a:lnTo>
                  <a:lnTo>
                    <a:pt x="1786920" y="3302236"/>
                  </a:lnTo>
                  <a:lnTo>
                    <a:pt x="1767860" y="3311764"/>
                  </a:lnTo>
                  <a:lnTo>
                    <a:pt x="1763096" y="3316528"/>
                  </a:lnTo>
                  <a:lnTo>
                    <a:pt x="1758332" y="3326060"/>
                  </a:lnTo>
                  <a:lnTo>
                    <a:pt x="1748800" y="3378476"/>
                  </a:lnTo>
                  <a:lnTo>
                    <a:pt x="1744036" y="3407068"/>
                  </a:lnTo>
                  <a:lnTo>
                    <a:pt x="1748800" y="3430892"/>
                  </a:lnTo>
                  <a:lnTo>
                    <a:pt x="1772628" y="3473780"/>
                  </a:lnTo>
                  <a:lnTo>
                    <a:pt x="1763096" y="3502368"/>
                  </a:lnTo>
                  <a:lnTo>
                    <a:pt x="1748800" y="3516664"/>
                  </a:lnTo>
                  <a:lnTo>
                    <a:pt x="1686856" y="3550020"/>
                  </a:lnTo>
                  <a:lnTo>
                    <a:pt x="1658264" y="3564316"/>
                  </a:lnTo>
                  <a:lnTo>
                    <a:pt x="1620144" y="3573848"/>
                  </a:lnTo>
                  <a:lnTo>
                    <a:pt x="1558196" y="3573848"/>
                  </a:lnTo>
                  <a:lnTo>
                    <a:pt x="1534368" y="3573848"/>
                  </a:lnTo>
                  <a:lnTo>
                    <a:pt x="1477188" y="3540492"/>
                  </a:lnTo>
                  <a:lnTo>
                    <a:pt x="1439068" y="3526196"/>
                  </a:lnTo>
                  <a:lnTo>
                    <a:pt x="1400948" y="3511900"/>
                  </a:lnTo>
                  <a:lnTo>
                    <a:pt x="1362824" y="3502368"/>
                  </a:lnTo>
                  <a:lnTo>
                    <a:pt x="1367592" y="3497604"/>
                  </a:lnTo>
                  <a:lnTo>
                    <a:pt x="1372356" y="3492840"/>
                  </a:lnTo>
                  <a:lnTo>
                    <a:pt x="1362824" y="3488076"/>
                  </a:lnTo>
                  <a:lnTo>
                    <a:pt x="1353296" y="3483308"/>
                  </a:lnTo>
                  <a:lnTo>
                    <a:pt x="1329468" y="3502368"/>
                  </a:lnTo>
                  <a:lnTo>
                    <a:pt x="1319940" y="3516664"/>
                  </a:lnTo>
                  <a:lnTo>
                    <a:pt x="1315176" y="3530960"/>
                  </a:lnTo>
                  <a:lnTo>
                    <a:pt x="1315176" y="3564316"/>
                  </a:lnTo>
                  <a:lnTo>
                    <a:pt x="1319940" y="3592908"/>
                  </a:lnTo>
                  <a:lnTo>
                    <a:pt x="1339000" y="3659620"/>
                  </a:lnTo>
                  <a:lnTo>
                    <a:pt x="1339000" y="3697740"/>
                  </a:lnTo>
                  <a:lnTo>
                    <a:pt x="1334236" y="3745392"/>
                  </a:lnTo>
                  <a:lnTo>
                    <a:pt x="1343764" y="3769216"/>
                  </a:lnTo>
                  <a:lnTo>
                    <a:pt x="1358060" y="3783512"/>
                  </a:lnTo>
                  <a:lnTo>
                    <a:pt x="1386652" y="3797808"/>
                  </a:lnTo>
                  <a:lnTo>
                    <a:pt x="1400948" y="3807336"/>
                  </a:lnTo>
                  <a:lnTo>
                    <a:pt x="1415240" y="3802572"/>
                  </a:lnTo>
                  <a:lnTo>
                    <a:pt x="1415240" y="3807336"/>
                  </a:lnTo>
                  <a:lnTo>
                    <a:pt x="1415240" y="3812104"/>
                  </a:lnTo>
                  <a:lnTo>
                    <a:pt x="1405712" y="3826400"/>
                  </a:lnTo>
                  <a:lnTo>
                    <a:pt x="1410476" y="3835928"/>
                  </a:lnTo>
                  <a:lnTo>
                    <a:pt x="1429536" y="3840692"/>
                  </a:lnTo>
                  <a:lnTo>
                    <a:pt x="1458128" y="3840692"/>
                  </a:lnTo>
                  <a:lnTo>
                    <a:pt x="1481952" y="3831164"/>
                  </a:lnTo>
                  <a:lnTo>
                    <a:pt x="1486720" y="3826400"/>
                  </a:lnTo>
                  <a:lnTo>
                    <a:pt x="1486720" y="3807336"/>
                  </a:lnTo>
                  <a:lnTo>
                    <a:pt x="1458128" y="3802572"/>
                  </a:lnTo>
                  <a:lnTo>
                    <a:pt x="1462892" y="3797808"/>
                  </a:lnTo>
                  <a:lnTo>
                    <a:pt x="1481952" y="3788276"/>
                  </a:lnTo>
                  <a:lnTo>
                    <a:pt x="1515308" y="3773980"/>
                  </a:lnTo>
                  <a:lnTo>
                    <a:pt x="1529604" y="3773980"/>
                  </a:lnTo>
                  <a:lnTo>
                    <a:pt x="1539136" y="3783512"/>
                  </a:lnTo>
                  <a:lnTo>
                    <a:pt x="1548664" y="3788276"/>
                  </a:lnTo>
                  <a:lnTo>
                    <a:pt x="1553432" y="3807336"/>
                  </a:lnTo>
                  <a:lnTo>
                    <a:pt x="1558196" y="3835928"/>
                  </a:lnTo>
                  <a:lnTo>
                    <a:pt x="1558196" y="3869284"/>
                  </a:lnTo>
                  <a:lnTo>
                    <a:pt x="1558196" y="3897876"/>
                  </a:lnTo>
                  <a:lnTo>
                    <a:pt x="1553432" y="3907404"/>
                  </a:lnTo>
                  <a:lnTo>
                    <a:pt x="1543900" y="3921700"/>
                  </a:lnTo>
                  <a:lnTo>
                    <a:pt x="1491484" y="3935996"/>
                  </a:lnTo>
                  <a:lnTo>
                    <a:pt x="1477188" y="3931232"/>
                  </a:lnTo>
                  <a:lnTo>
                    <a:pt x="1462892" y="3907404"/>
                  </a:lnTo>
                  <a:lnTo>
                    <a:pt x="1458128" y="3888344"/>
                  </a:lnTo>
                  <a:lnTo>
                    <a:pt x="1448596" y="3869284"/>
                  </a:lnTo>
                  <a:lnTo>
                    <a:pt x="1420008" y="3859752"/>
                  </a:lnTo>
                  <a:lnTo>
                    <a:pt x="1396180" y="3864520"/>
                  </a:lnTo>
                  <a:lnTo>
                    <a:pt x="1372356" y="3883580"/>
                  </a:lnTo>
                  <a:lnTo>
                    <a:pt x="1343764" y="3888344"/>
                  </a:lnTo>
                  <a:lnTo>
                    <a:pt x="1339000" y="3912172"/>
                  </a:lnTo>
                  <a:lnTo>
                    <a:pt x="1400948" y="3940760"/>
                  </a:lnTo>
                  <a:lnTo>
                    <a:pt x="1429536" y="3950292"/>
                  </a:lnTo>
                  <a:lnTo>
                    <a:pt x="1439068" y="3950292"/>
                  </a:lnTo>
                  <a:lnTo>
                    <a:pt x="1448596" y="3955056"/>
                  </a:lnTo>
                  <a:lnTo>
                    <a:pt x="1439068" y="3969352"/>
                  </a:lnTo>
                  <a:lnTo>
                    <a:pt x="1429536" y="3974116"/>
                  </a:lnTo>
                  <a:lnTo>
                    <a:pt x="1386652" y="3988412"/>
                  </a:lnTo>
                  <a:lnTo>
                    <a:pt x="1367592" y="4002708"/>
                  </a:lnTo>
                  <a:lnTo>
                    <a:pt x="1343764" y="4026532"/>
                  </a:lnTo>
                  <a:lnTo>
                    <a:pt x="1310408" y="4074184"/>
                  </a:lnTo>
                  <a:lnTo>
                    <a:pt x="1300880" y="4083716"/>
                  </a:lnTo>
                  <a:lnTo>
                    <a:pt x="1296112" y="4098012"/>
                  </a:lnTo>
                  <a:lnTo>
                    <a:pt x="1296112" y="4131368"/>
                  </a:lnTo>
                  <a:lnTo>
                    <a:pt x="1305644" y="4188548"/>
                  </a:lnTo>
                  <a:lnTo>
                    <a:pt x="1291348" y="4212372"/>
                  </a:lnTo>
                  <a:lnTo>
                    <a:pt x="1300880" y="4236200"/>
                  </a:lnTo>
                  <a:lnTo>
                    <a:pt x="1296112" y="4255260"/>
                  </a:lnTo>
                  <a:lnTo>
                    <a:pt x="1286584" y="4279084"/>
                  </a:lnTo>
                  <a:lnTo>
                    <a:pt x="1238932" y="4321972"/>
                  </a:lnTo>
                  <a:lnTo>
                    <a:pt x="1229400" y="4350560"/>
                  </a:lnTo>
                  <a:lnTo>
                    <a:pt x="1248464" y="4369624"/>
                  </a:lnTo>
                  <a:lnTo>
                    <a:pt x="1248464" y="4383920"/>
                  </a:lnTo>
                  <a:lnTo>
                    <a:pt x="1243696" y="4398212"/>
                  </a:lnTo>
                  <a:lnTo>
                    <a:pt x="1224636" y="4398212"/>
                  </a:lnTo>
                  <a:lnTo>
                    <a:pt x="1153160" y="4388684"/>
                  </a:lnTo>
                  <a:lnTo>
                    <a:pt x="1129336" y="4402980"/>
                  </a:lnTo>
                  <a:lnTo>
                    <a:pt x="1105508" y="4422040"/>
                  </a:lnTo>
                  <a:lnTo>
                    <a:pt x="1100744" y="4431568"/>
                  </a:lnTo>
                  <a:lnTo>
                    <a:pt x="1091212" y="4436336"/>
                  </a:lnTo>
                  <a:lnTo>
                    <a:pt x="1048328" y="4445864"/>
                  </a:lnTo>
                  <a:lnTo>
                    <a:pt x="1038796" y="4455396"/>
                  </a:lnTo>
                  <a:lnTo>
                    <a:pt x="986380" y="4522108"/>
                  </a:lnTo>
                  <a:lnTo>
                    <a:pt x="967320" y="4569760"/>
                  </a:lnTo>
                  <a:lnTo>
                    <a:pt x="943496" y="4612644"/>
                  </a:lnTo>
                  <a:lnTo>
                    <a:pt x="933964" y="4631704"/>
                  </a:lnTo>
                  <a:lnTo>
                    <a:pt x="933964" y="4655532"/>
                  </a:lnTo>
                  <a:lnTo>
                    <a:pt x="938728" y="4679356"/>
                  </a:lnTo>
                  <a:lnTo>
                    <a:pt x="938728" y="4698416"/>
                  </a:lnTo>
                  <a:lnTo>
                    <a:pt x="948260" y="4717476"/>
                  </a:lnTo>
                  <a:lnTo>
                    <a:pt x="967320" y="4741304"/>
                  </a:lnTo>
                  <a:lnTo>
                    <a:pt x="1062624" y="4846136"/>
                  </a:lnTo>
                  <a:lnTo>
                    <a:pt x="1081684" y="4855664"/>
                  </a:lnTo>
                  <a:lnTo>
                    <a:pt x="1186516" y="4865196"/>
                  </a:lnTo>
                  <a:lnTo>
                    <a:pt x="1205576" y="4884256"/>
                  </a:lnTo>
                  <a:lnTo>
                    <a:pt x="1219872" y="4903316"/>
                  </a:lnTo>
                  <a:lnTo>
                    <a:pt x="1224636" y="4927144"/>
                  </a:lnTo>
                  <a:lnTo>
                    <a:pt x="1219872" y="4974792"/>
                  </a:lnTo>
                  <a:lnTo>
                    <a:pt x="1215108" y="4993856"/>
                  </a:lnTo>
                  <a:lnTo>
                    <a:pt x="1200812" y="5008148"/>
                  </a:lnTo>
                  <a:lnTo>
                    <a:pt x="1176984" y="5027208"/>
                  </a:lnTo>
                  <a:lnTo>
                    <a:pt x="1148396" y="5036740"/>
                  </a:lnTo>
                  <a:lnTo>
                    <a:pt x="1157924" y="5046272"/>
                  </a:lnTo>
                  <a:lnTo>
                    <a:pt x="1167456" y="5041504"/>
                  </a:lnTo>
                  <a:lnTo>
                    <a:pt x="1196044" y="5036740"/>
                  </a:lnTo>
                  <a:lnTo>
                    <a:pt x="1205576" y="5041504"/>
                  </a:lnTo>
                  <a:lnTo>
                    <a:pt x="1215108" y="5065332"/>
                  </a:lnTo>
                  <a:lnTo>
                    <a:pt x="1200812" y="5070096"/>
                  </a:lnTo>
                  <a:lnTo>
                    <a:pt x="1191280" y="5079628"/>
                  </a:lnTo>
                  <a:lnTo>
                    <a:pt x="1181752" y="5098688"/>
                  </a:lnTo>
                  <a:lnTo>
                    <a:pt x="1124568" y="5155868"/>
                  </a:lnTo>
                  <a:lnTo>
                    <a:pt x="1091212" y="5174928"/>
                  </a:lnTo>
                  <a:lnTo>
                    <a:pt x="1062624" y="5198756"/>
                  </a:lnTo>
                  <a:lnTo>
                    <a:pt x="1024500" y="5222580"/>
                  </a:lnTo>
                  <a:lnTo>
                    <a:pt x="1010204" y="5236876"/>
                  </a:lnTo>
                  <a:lnTo>
                    <a:pt x="986380" y="5270232"/>
                  </a:lnTo>
                  <a:lnTo>
                    <a:pt x="957788" y="5303588"/>
                  </a:lnTo>
                  <a:lnTo>
                    <a:pt x="919668" y="5370300"/>
                  </a:lnTo>
                  <a:lnTo>
                    <a:pt x="919668" y="5384596"/>
                  </a:lnTo>
                  <a:lnTo>
                    <a:pt x="924432" y="5394124"/>
                  </a:lnTo>
                  <a:lnTo>
                    <a:pt x="905372" y="5518020"/>
                  </a:lnTo>
                  <a:lnTo>
                    <a:pt x="900608" y="5532312"/>
                  </a:lnTo>
                  <a:lnTo>
                    <a:pt x="886312" y="5551376"/>
                  </a:lnTo>
                  <a:lnTo>
                    <a:pt x="848192" y="5575200"/>
                  </a:lnTo>
                  <a:lnTo>
                    <a:pt x="833896" y="5579964"/>
                  </a:lnTo>
                  <a:lnTo>
                    <a:pt x="810072" y="5565668"/>
                  </a:lnTo>
                  <a:lnTo>
                    <a:pt x="795776" y="5546608"/>
                  </a:lnTo>
                  <a:lnTo>
                    <a:pt x="786244" y="5522784"/>
                  </a:lnTo>
                  <a:lnTo>
                    <a:pt x="767184" y="5494192"/>
                  </a:lnTo>
                  <a:lnTo>
                    <a:pt x="767184" y="5503724"/>
                  </a:lnTo>
                  <a:lnTo>
                    <a:pt x="771948" y="5518020"/>
                  </a:lnTo>
                  <a:lnTo>
                    <a:pt x="767184" y="5537080"/>
                  </a:lnTo>
                  <a:lnTo>
                    <a:pt x="729064" y="5546608"/>
                  </a:lnTo>
                  <a:lnTo>
                    <a:pt x="719532" y="5556140"/>
                  </a:lnTo>
                  <a:lnTo>
                    <a:pt x="752888" y="5551376"/>
                  </a:lnTo>
                  <a:lnTo>
                    <a:pt x="776716" y="5556140"/>
                  </a:lnTo>
                  <a:lnTo>
                    <a:pt x="791012" y="5560904"/>
                  </a:lnTo>
                  <a:lnTo>
                    <a:pt x="800540" y="5575200"/>
                  </a:lnTo>
                  <a:lnTo>
                    <a:pt x="805304" y="5589496"/>
                  </a:lnTo>
                  <a:lnTo>
                    <a:pt x="800540" y="5599024"/>
                  </a:lnTo>
                  <a:lnTo>
                    <a:pt x="781480" y="5608556"/>
                  </a:lnTo>
                  <a:lnTo>
                    <a:pt x="757656" y="5622852"/>
                  </a:lnTo>
                  <a:lnTo>
                    <a:pt x="724300" y="5646676"/>
                  </a:lnTo>
                  <a:lnTo>
                    <a:pt x="710004" y="5675268"/>
                  </a:lnTo>
                  <a:lnTo>
                    <a:pt x="700472" y="5694328"/>
                  </a:lnTo>
                  <a:lnTo>
                    <a:pt x="695708" y="5737216"/>
                  </a:lnTo>
                  <a:lnTo>
                    <a:pt x="690944" y="5765804"/>
                  </a:lnTo>
                  <a:lnTo>
                    <a:pt x="681412" y="5784864"/>
                  </a:lnTo>
                  <a:lnTo>
                    <a:pt x="662352" y="5803928"/>
                  </a:lnTo>
                  <a:lnTo>
                    <a:pt x="662352" y="5808692"/>
                  </a:lnTo>
                  <a:lnTo>
                    <a:pt x="676648" y="5799160"/>
                  </a:lnTo>
                  <a:lnTo>
                    <a:pt x="686176" y="5799160"/>
                  </a:lnTo>
                  <a:lnTo>
                    <a:pt x="695708" y="5822988"/>
                  </a:lnTo>
                  <a:lnTo>
                    <a:pt x="705236" y="5875404"/>
                  </a:lnTo>
                  <a:lnTo>
                    <a:pt x="710004" y="5908760"/>
                  </a:lnTo>
                  <a:lnTo>
                    <a:pt x="710004" y="5923056"/>
                  </a:lnTo>
                  <a:lnTo>
                    <a:pt x="705236" y="5937348"/>
                  </a:lnTo>
                  <a:lnTo>
                    <a:pt x="681412" y="5937348"/>
                  </a:lnTo>
                  <a:lnTo>
                    <a:pt x="657588" y="5937348"/>
                  </a:lnTo>
                  <a:lnTo>
                    <a:pt x="643292" y="5946880"/>
                  </a:lnTo>
                  <a:lnTo>
                    <a:pt x="652820" y="5951644"/>
                  </a:lnTo>
                  <a:lnTo>
                    <a:pt x="667116" y="5946880"/>
                  </a:lnTo>
                  <a:lnTo>
                    <a:pt x="686176" y="5965940"/>
                  </a:lnTo>
                  <a:lnTo>
                    <a:pt x="710004" y="5956408"/>
                  </a:lnTo>
                  <a:lnTo>
                    <a:pt x="719532" y="5965940"/>
                  </a:lnTo>
                  <a:lnTo>
                    <a:pt x="729064" y="5975472"/>
                  </a:lnTo>
                  <a:lnTo>
                    <a:pt x="767184" y="6051712"/>
                  </a:lnTo>
                  <a:lnTo>
                    <a:pt x="795776" y="6099364"/>
                  </a:lnTo>
                  <a:lnTo>
                    <a:pt x="810072" y="6127956"/>
                  </a:lnTo>
                  <a:lnTo>
                    <a:pt x="800540" y="6142248"/>
                  </a:lnTo>
                  <a:lnTo>
                    <a:pt x="800540" y="6123188"/>
                  </a:lnTo>
                  <a:lnTo>
                    <a:pt x="781480" y="6118424"/>
                  </a:lnTo>
                  <a:lnTo>
                    <a:pt x="762420" y="6113660"/>
                  </a:lnTo>
                  <a:lnTo>
                    <a:pt x="729064" y="6104128"/>
                  </a:lnTo>
                  <a:lnTo>
                    <a:pt x="681412" y="6085068"/>
                  </a:lnTo>
                  <a:lnTo>
                    <a:pt x="638528" y="6085068"/>
                  </a:lnTo>
                  <a:lnTo>
                    <a:pt x="605172" y="6070772"/>
                  </a:lnTo>
                  <a:lnTo>
                    <a:pt x="567048" y="6051712"/>
                  </a:lnTo>
                  <a:lnTo>
                    <a:pt x="486040" y="6051712"/>
                  </a:lnTo>
                  <a:lnTo>
                    <a:pt x="414564" y="6046948"/>
                  </a:lnTo>
                  <a:lnTo>
                    <a:pt x="338324" y="6046948"/>
                  </a:lnTo>
                  <a:lnTo>
                    <a:pt x="290672" y="6046948"/>
                  </a:lnTo>
                  <a:lnTo>
                    <a:pt x="262080" y="6046948"/>
                  </a:lnTo>
                  <a:lnTo>
                    <a:pt x="252552" y="6042184"/>
                  </a:lnTo>
                  <a:lnTo>
                    <a:pt x="257316" y="6018356"/>
                  </a:lnTo>
                  <a:lnTo>
                    <a:pt x="243020" y="6004060"/>
                  </a:lnTo>
                  <a:lnTo>
                    <a:pt x="223960" y="5985000"/>
                  </a:lnTo>
                  <a:lnTo>
                    <a:pt x="204900" y="5970704"/>
                  </a:lnTo>
                  <a:lnTo>
                    <a:pt x="195368" y="5956408"/>
                  </a:lnTo>
                  <a:lnTo>
                    <a:pt x="185840" y="5932584"/>
                  </a:lnTo>
                  <a:lnTo>
                    <a:pt x="190604" y="5918288"/>
                  </a:lnTo>
                  <a:lnTo>
                    <a:pt x="200136" y="5875404"/>
                  </a:lnTo>
                  <a:lnTo>
                    <a:pt x="200136" y="5856344"/>
                  </a:lnTo>
                  <a:lnTo>
                    <a:pt x="190604" y="5842048"/>
                  </a:lnTo>
                  <a:lnTo>
                    <a:pt x="190604" y="5822988"/>
                  </a:lnTo>
                  <a:lnTo>
                    <a:pt x="190604" y="5813456"/>
                  </a:lnTo>
                  <a:lnTo>
                    <a:pt x="200136" y="5808692"/>
                  </a:lnTo>
                  <a:lnTo>
                    <a:pt x="204900" y="5775336"/>
                  </a:lnTo>
                  <a:lnTo>
                    <a:pt x="200136" y="5746744"/>
                  </a:lnTo>
                  <a:lnTo>
                    <a:pt x="195368" y="5718152"/>
                  </a:lnTo>
                  <a:lnTo>
                    <a:pt x="185840" y="5708624"/>
                  </a:lnTo>
                  <a:lnTo>
                    <a:pt x="176308" y="5703860"/>
                  </a:lnTo>
                  <a:lnTo>
                    <a:pt x="166780" y="5699092"/>
                  </a:lnTo>
                  <a:lnTo>
                    <a:pt x="152484" y="5713388"/>
                  </a:lnTo>
                  <a:lnTo>
                    <a:pt x="123892" y="5708624"/>
                  </a:lnTo>
                  <a:lnTo>
                    <a:pt x="114364" y="5713388"/>
                  </a:lnTo>
                  <a:lnTo>
                    <a:pt x="100068" y="5722920"/>
                  </a:lnTo>
                  <a:lnTo>
                    <a:pt x="81008" y="5737216"/>
                  </a:lnTo>
                  <a:lnTo>
                    <a:pt x="66712" y="5732448"/>
                  </a:lnTo>
                  <a:lnTo>
                    <a:pt x="66712" y="5718152"/>
                  </a:lnTo>
                  <a:lnTo>
                    <a:pt x="57180" y="5703860"/>
                  </a:lnTo>
                  <a:lnTo>
                    <a:pt x="52416" y="5689564"/>
                  </a:lnTo>
                  <a:lnTo>
                    <a:pt x="47652" y="5670504"/>
                  </a:lnTo>
                  <a:lnTo>
                    <a:pt x="42884" y="5641912"/>
                  </a:lnTo>
                  <a:lnTo>
                    <a:pt x="33356" y="5608556"/>
                  </a:lnTo>
                  <a:lnTo>
                    <a:pt x="14296" y="5584728"/>
                  </a:lnTo>
                  <a:lnTo>
                    <a:pt x="14296" y="5560904"/>
                  </a:lnTo>
                  <a:lnTo>
                    <a:pt x="9528" y="5532312"/>
                  </a:lnTo>
                  <a:lnTo>
                    <a:pt x="19060" y="5503724"/>
                  </a:lnTo>
                  <a:lnTo>
                    <a:pt x="14296" y="5479896"/>
                  </a:lnTo>
                  <a:lnTo>
                    <a:pt x="0" y="5451308"/>
                  </a:lnTo>
                  <a:lnTo>
                    <a:pt x="4764" y="5422716"/>
                  </a:lnTo>
                  <a:lnTo>
                    <a:pt x="14296" y="5408420"/>
                  </a:lnTo>
                  <a:lnTo>
                    <a:pt x="19060" y="5389360"/>
                  </a:lnTo>
                  <a:lnTo>
                    <a:pt x="71476" y="5384596"/>
                  </a:lnTo>
                  <a:lnTo>
                    <a:pt x="66712" y="5356004"/>
                  </a:lnTo>
                  <a:lnTo>
                    <a:pt x="76240" y="5336944"/>
                  </a:lnTo>
                  <a:lnTo>
                    <a:pt x="85772" y="5317884"/>
                  </a:lnTo>
                  <a:lnTo>
                    <a:pt x="95300" y="5308352"/>
                  </a:lnTo>
                  <a:lnTo>
                    <a:pt x="114364" y="5298824"/>
                  </a:lnTo>
                  <a:lnTo>
                    <a:pt x="133424" y="5289292"/>
                  </a:lnTo>
                  <a:lnTo>
                    <a:pt x="147716" y="5274996"/>
                  </a:lnTo>
                  <a:lnTo>
                    <a:pt x="152484" y="5265468"/>
                  </a:lnTo>
                  <a:lnTo>
                    <a:pt x="157248" y="5246408"/>
                  </a:lnTo>
                  <a:lnTo>
                    <a:pt x="157248" y="5232112"/>
                  </a:lnTo>
                  <a:lnTo>
                    <a:pt x="152484" y="5198756"/>
                  </a:lnTo>
                  <a:lnTo>
                    <a:pt x="157248" y="5189224"/>
                  </a:lnTo>
                  <a:lnTo>
                    <a:pt x="171544" y="5174928"/>
                  </a:lnTo>
                  <a:lnTo>
                    <a:pt x="190604" y="5160632"/>
                  </a:lnTo>
                  <a:lnTo>
                    <a:pt x="200136" y="5132044"/>
                  </a:lnTo>
                  <a:lnTo>
                    <a:pt x="195368" y="5103452"/>
                  </a:lnTo>
                  <a:lnTo>
                    <a:pt x="185840" y="5079628"/>
                  </a:lnTo>
                  <a:lnTo>
                    <a:pt x="166780" y="5070096"/>
                  </a:lnTo>
                  <a:lnTo>
                    <a:pt x="166780" y="5046272"/>
                  </a:lnTo>
                  <a:lnTo>
                    <a:pt x="171544" y="5027208"/>
                  </a:lnTo>
                  <a:lnTo>
                    <a:pt x="181072" y="5003384"/>
                  </a:lnTo>
                  <a:lnTo>
                    <a:pt x="195368" y="4979560"/>
                  </a:lnTo>
                  <a:lnTo>
                    <a:pt x="195368" y="4960500"/>
                  </a:lnTo>
                  <a:lnTo>
                    <a:pt x="204900" y="4946204"/>
                  </a:lnTo>
                  <a:lnTo>
                    <a:pt x="233492" y="4922376"/>
                  </a:lnTo>
                  <a:lnTo>
                    <a:pt x="243020" y="4903316"/>
                  </a:lnTo>
                  <a:lnTo>
                    <a:pt x="252552" y="4893788"/>
                  </a:lnTo>
                  <a:lnTo>
                    <a:pt x="262080" y="4893788"/>
                  </a:lnTo>
                  <a:lnTo>
                    <a:pt x="262080" y="4879492"/>
                  </a:lnTo>
                  <a:lnTo>
                    <a:pt x="257316" y="4865196"/>
                  </a:lnTo>
                  <a:lnTo>
                    <a:pt x="252552" y="4850900"/>
                  </a:lnTo>
                  <a:lnTo>
                    <a:pt x="252552" y="4831840"/>
                  </a:lnTo>
                  <a:lnTo>
                    <a:pt x="257316" y="4808016"/>
                  </a:lnTo>
                  <a:lnTo>
                    <a:pt x="271612" y="4798484"/>
                  </a:lnTo>
                  <a:lnTo>
                    <a:pt x="290672" y="4779424"/>
                  </a:lnTo>
                  <a:lnTo>
                    <a:pt x="295436" y="4765128"/>
                  </a:lnTo>
                  <a:lnTo>
                    <a:pt x="295436" y="4750832"/>
                  </a:lnTo>
                  <a:lnTo>
                    <a:pt x="290672" y="4717476"/>
                  </a:lnTo>
                  <a:lnTo>
                    <a:pt x="285908" y="4688888"/>
                  </a:lnTo>
                  <a:lnTo>
                    <a:pt x="281140" y="4679356"/>
                  </a:lnTo>
                  <a:lnTo>
                    <a:pt x="271612" y="4665060"/>
                  </a:lnTo>
                  <a:lnTo>
                    <a:pt x="266848" y="4655532"/>
                  </a:lnTo>
                  <a:lnTo>
                    <a:pt x="276376" y="4641236"/>
                  </a:lnTo>
                  <a:lnTo>
                    <a:pt x="295436" y="4626940"/>
                  </a:lnTo>
                  <a:lnTo>
                    <a:pt x="304968" y="4607880"/>
                  </a:lnTo>
                  <a:lnTo>
                    <a:pt x="300204" y="4593584"/>
                  </a:lnTo>
                  <a:lnTo>
                    <a:pt x="285908" y="4584052"/>
                  </a:lnTo>
                  <a:lnTo>
                    <a:pt x="281140" y="4555464"/>
                  </a:lnTo>
                  <a:lnTo>
                    <a:pt x="285908" y="4522108"/>
                  </a:lnTo>
                  <a:lnTo>
                    <a:pt x="295436" y="4512576"/>
                  </a:lnTo>
                  <a:lnTo>
                    <a:pt x="324028" y="4507812"/>
                  </a:lnTo>
                  <a:lnTo>
                    <a:pt x="328792" y="4493516"/>
                  </a:lnTo>
                  <a:lnTo>
                    <a:pt x="347852" y="4469692"/>
                  </a:lnTo>
                  <a:lnTo>
                    <a:pt x="347852" y="4445864"/>
                  </a:lnTo>
                  <a:lnTo>
                    <a:pt x="333556" y="4431568"/>
                  </a:lnTo>
                  <a:lnTo>
                    <a:pt x="319264" y="4412508"/>
                  </a:lnTo>
                  <a:lnTo>
                    <a:pt x="309732" y="4393448"/>
                  </a:lnTo>
                  <a:lnTo>
                    <a:pt x="276376" y="4379152"/>
                  </a:lnTo>
                  <a:lnTo>
                    <a:pt x="243020" y="4374388"/>
                  </a:lnTo>
                  <a:lnTo>
                    <a:pt x="238256" y="4355328"/>
                  </a:lnTo>
                  <a:lnTo>
                    <a:pt x="238256" y="4345796"/>
                  </a:lnTo>
                  <a:lnTo>
                    <a:pt x="252552" y="4350560"/>
                  </a:lnTo>
                  <a:lnTo>
                    <a:pt x="281140" y="4345796"/>
                  </a:lnTo>
                  <a:lnTo>
                    <a:pt x="300204" y="4345796"/>
                  </a:lnTo>
                  <a:lnTo>
                    <a:pt x="314496" y="4345796"/>
                  </a:lnTo>
                  <a:lnTo>
                    <a:pt x="333556" y="4341032"/>
                  </a:lnTo>
                  <a:lnTo>
                    <a:pt x="347852" y="4350560"/>
                  </a:lnTo>
                  <a:lnTo>
                    <a:pt x="362148" y="4345796"/>
                  </a:lnTo>
                  <a:lnTo>
                    <a:pt x="366912" y="4317208"/>
                  </a:lnTo>
                  <a:lnTo>
                    <a:pt x="381208" y="4298144"/>
                  </a:lnTo>
                  <a:lnTo>
                    <a:pt x="381208" y="4283852"/>
                  </a:lnTo>
                  <a:lnTo>
                    <a:pt x="371680" y="4274320"/>
                  </a:lnTo>
                  <a:lnTo>
                    <a:pt x="352620" y="4269556"/>
                  </a:lnTo>
                  <a:lnTo>
                    <a:pt x="276376" y="4260024"/>
                  </a:lnTo>
                  <a:lnTo>
                    <a:pt x="271612" y="4250496"/>
                  </a:lnTo>
                  <a:lnTo>
                    <a:pt x="276376" y="4231432"/>
                  </a:lnTo>
                  <a:lnTo>
                    <a:pt x="276376" y="4207608"/>
                  </a:lnTo>
                  <a:lnTo>
                    <a:pt x="276376" y="4198080"/>
                  </a:lnTo>
                  <a:lnTo>
                    <a:pt x="285908" y="4193312"/>
                  </a:lnTo>
                  <a:lnTo>
                    <a:pt x="290672" y="4174252"/>
                  </a:lnTo>
                  <a:lnTo>
                    <a:pt x="300204" y="4159956"/>
                  </a:lnTo>
                  <a:lnTo>
                    <a:pt x="290672" y="4145660"/>
                  </a:lnTo>
                  <a:lnTo>
                    <a:pt x="281140" y="4121836"/>
                  </a:lnTo>
                  <a:lnTo>
                    <a:pt x="290672" y="4112304"/>
                  </a:lnTo>
                  <a:lnTo>
                    <a:pt x="290672" y="4102776"/>
                  </a:lnTo>
                  <a:lnTo>
                    <a:pt x="285908" y="4088480"/>
                  </a:lnTo>
                  <a:lnTo>
                    <a:pt x="276376" y="4074184"/>
                  </a:lnTo>
                  <a:lnTo>
                    <a:pt x="262080" y="4055124"/>
                  </a:lnTo>
                  <a:lnTo>
                    <a:pt x="262080" y="4036064"/>
                  </a:lnTo>
                  <a:lnTo>
                    <a:pt x="276376" y="4031300"/>
                  </a:lnTo>
                  <a:lnTo>
                    <a:pt x="285908" y="4026532"/>
                  </a:lnTo>
                  <a:lnTo>
                    <a:pt x="285908" y="4012240"/>
                  </a:lnTo>
                  <a:lnTo>
                    <a:pt x="281140" y="3997944"/>
                  </a:lnTo>
                  <a:lnTo>
                    <a:pt x="262080" y="3993176"/>
                  </a:lnTo>
                  <a:lnTo>
                    <a:pt x="238256" y="3983648"/>
                  </a:lnTo>
                  <a:lnTo>
                    <a:pt x="233492" y="3974116"/>
                  </a:lnTo>
                  <a:lnTo>
                    <a:pt x="223960" y="3959820"/>
                  </a:lnTo>
                  <a:lnTo>
                    <a:pt x="228724" y="3912172"/>
                  </a:lnTo>
                  <a:lnTo>
                    <a:pt x="228724" y="3888344"/>
                  </a:lnTo>
                  <a:lnTo>
                    <a:pt x="223960" y="3874048"/>
                  </a:lnTo>
                  <a:lnTo>
                    <a:pt x="228724" y="3859752"/>
                  </a:lnTo>
                  <a:lnTo>
                    <a:pt x="238256" y="3850224"/>
                  </a:lnTo>
                  <a:lnTo>
                    <a:pt x="233492" y="3826400"/>
                  </a:lnTo>
                  <a:lnTo>
                    <a:pt x="228724" y="3812104"/>
                  </a:lnTo>
                  <a:lnTo>
                    <a:pt x="228724" y="3802572"/>
                  </a:lnTo>
                  <a:lnTo>
                    <a:pt x="238256" y="3793044"/>
                  </a:lnTo>
                  <a:lnTo>
                    <a:pt x="243020" y="3778748"/>
                  </a:lnTo>
                  <a:lnTo>
                    <a:pt x="247784" y="3778748"/>
                  </a:lnTo>
                  <a:lnTo>
                    <a:pt x="257316" y="3783512"/>
                  </a:lnTo>
                  <a:lnTo>
                    <a:pt x="271612" y="3778748"/>
                  </a:lnTo>
                  <a:lnTo>
                    <a:pt x="285908" y="3769216"/>
                  </a:lnTo>
                  <a:lnTo>
                    <a:pt x="285908" y="3759688"/>
                  </a:lnTo>
                  <a:lnTo>
                    <a:pt x="285908" y="3740624"/>
                  </a:lnTo>
                  <a:lnTo>
                    <a:pt x="271612" y="3702504"/>
                  </a:lnTo>
                  <a:lnTo>
                    <a:pt x="262080" y="3678680"/>
                  </a:lnTo>
                  <a:lnTo>
                    <a:pt x="262080" y="3669148"/>
                  </a:lnTo>
                  <a:lnTo>
                    <a:pt x="266848" y="3659620"/>
                  </a:lnTo>
                  <a:lnTo>
                    <a:pt x="266848" y="3621496"/>
                  </a:lnTo>
                  <a:lnTo>
                    <a:pt x="266848" y="3602436"/>
                  </a:lnTo>
                  <a:lnTo>
                    <a:pt x="266848" y="3540492"/>
                  </a:lnTo>
                  <a:lnTo>
                    <a:pt x="266848" y="3521432"/>
                  </a:lnTo>
                  <a:lnTo>
                    <a:pt x="257316" y="3497604"/>
                  </a:lnTo>
                  <a:lnTo>
                    <a:pt x="257316" y="3478544"/>
                  </a:lnTo>
                  <a:lnTo>
                    <a:pt x="266848" y="3464248"/>
                  </a:lnTo>
                  <a:lnTo>
                    <a:pt x="271612" y="3445188"/>
                  </a:lnTo>
                  <a:lnTo>
                    <a:pt x="276376" y="3426128"/>
                  </a:lnTo>
                  <a:lnTo>
                    <a:pt x="285908" y="3416596"/>
                  </a:lnTo>
                  <a:lnTo>
                    <a:pt x="290672" y="3411832"/>
                  </a:lnTo>
                  <a:lnTo>
                    <a:pt x="295436" y="3402300"/>
                  </a:lnTo>
                  <a:lnTo>
                    <a:pt x="290672" y="3397536"/>
                  </a:lnTo>
                  <a:lnTo>
                    <a:pt x="281140" y="3388008"/>
                  </a:lnTo>
                  <a:lnTo>
                    <a:pt x="276376" y="3373712"/>
                  </a:lnTo>
                  <a:lnTo>
                    <a:pt x="281140" y="3359416"/>
                  </a:lnTo>
                  <a:lnTo>
                    <a:pt x="285908" y="3354652"/>
                  </a:lnTo>
                  <a:lnTo>
                    <a:pt x="295436" y="3354652"/>
                  </a:lnTo>
                  <a:lnTo>
                    <a:pt x="300204" y="3340356"/>
                  </a:lnTo>
                  <a:lnTo>
                    <a:pt x="304968" y="3321296"/>
                  </a:lnTo>
                  <a:lnTo>
                    <a:pt x="304968" y="3311764"/>
                  </a:lnTo>
                  <a:lnTo>
                    <a:pt x="300204" y="3302236"/>
                  </a:lnTo>
                  <a:lnTo>
                    <a:pt x="295436" y="3278408"/>
                  </a:lnTo>
                  <a:lnTo>
                    <a:pt x="290672" y="3264112"/>
                  </a:lnTo>
                  <a:lnTo>
                    <a:pt x="295436" y="3254584"/>
                  </a:lnTo>
                  <a:lnTo>
                    <a:pt x="300204" y="3254584"/>
                  </a:lnTo>
                  <a:lnTo>
                    <a:pt x="314496" y="3259348"/>
                  </a:lnTo>
                  <a:lnTo>
                    <a:pt x="319264" y="3254584"/>
                  </a:lnTo>
                  <a:lnTo>
                    <a:pt x="319264" y="3245052"/>
                  </a:lnTo>
                  <a:lnTo>
                    <a:pt x="324028" y="3240288"/>
                  </a:lnTo>
                  <a:lnTo>
                    <a:pt x="324028" y="3230756"/>
                  </a:lnTo>
                  <a:lnTo>
                    <a:pt x="328792" y="3216464"/>
                  </a:lnTo>
                  <a:lnTo>
                    <a:pt x="338324" y="3192636"/>
                  </a:lnTo>
                  <a:lnTo>
                    <a:pt x="338324" y="3173576"/>
                  </a:lnTo>
                  <a:lnTo>
                    <a:pt x="338324" y="3130688"/>
                  </a:lnTo>
                  <a:lnTo>
                    <a:pt x="343088" y="3121160"/>
                  </a:lnTo>
                  <a:lnTo>
                    <a:pt x="347852" y="3111628"/>
                  </a:lnTo>
                  <a:lnTo>
                    <a:pt x="357384" y="3102100"/>
                  </a:lnTo>
                  <a:lnTo>
                    <a:pt x="371680" y="3097332"/>
                  </a:lnTo>
                  <a:lnTo>
                    <a:pt x="390740" y="3083040"/>
                  </a:lnTo>
                  <a:lnTo>
                    <a:pt x="409800" y="3083040"/>
                  </a:lnTo>
                  <a:lnTo>
                    <a:pt x="419332" y="3068744"/>
                  </a:lnTo>
                  <a:lnTo>
                    <a:pt x="424096" y="3054448"/>
                  </a:lnTo>
                  <a:lnTo>
                    <a:pt x="428860" y="3040152"/>
                  </a:lnTo>
                  <a:lnTo>
                    <a:pt x="419332" y="3030624"/>
                  </a:lnTo>
                  <a:lnTo>
                    <a:pt x="409800" y="3021092"/>
                  </a:lnTo>
                  <a:lnTo>
                    <a:pt x="405036" y="2997264"/>
                  </a:lnTo>
                  <a:lnTo>
                    <a:pt x="400268" y="2973440"/>
                  </a:lnTo>
                  <a:lnTo>
                    <a:pt x="400268" y="2940084"/>
                  </a:lnTo>
                  <a:lnTo>
                    <a:pt x="390740" y="2916256"/>
                  </a:lnTo>
                  <a:lnTo>
                    <a:pt x="376444" y="2887668"/>
                  </a:lnTo>
                  <a:lnTo>
                    <a:pt x="376444" y="2859076"/>
                  </a:lnTo>
                  <a:lnTo>
                    <a:pt x="376444" y="2844780"/>
                  </a:lnTo>
                  <a:lnTo>
                    <a:pt x="381208" y="2825720"/>
                  </a:lnTo>
                  <a:lnTo>
                    <a:pt x="376444" y="2816192"/>
                  </a:lnTo>
                  <a:lnTo>
                    <a:pt x="371680" y="2797128"/>
                  </a:lnTo>
                  <a:lnTo>
                    <a:pt x="376444" y="2782836"/>
                  </a:lnTo>
                  <a:lnTo>
                    <a:pt x="385976" y="2759008"/>
                  </a:lnTo>
                  <a:lnTo>
                    <a:pt x="385976" y="2749480"/>
                  </a:lnTo>
                  <a:lnTo>
                    <a:pt x="381208" y="2720888"/>
                  </a:lnTo>
                  <a:lnTo>
                    <a:pt x="376444" y="2706592"/>
                  </a:lnTo>
                  <a:lnTo>
                    <a:pt x="381208" y="2692296"/>
                  </a:lnTo>
                  <a:lnTo>
                    <a:pt x="385976" y="2673236"/>
                  </a:lnTo>
                  <a:lnTo>
                    <a:pt x="395504" y="2668472"/>
                  </a:lnTo>
                  <a:lnTo>
                    <a:pt x="390740" y="2654176"/>
                  </a:lnTo>
                  <a:lnTo>
                    <a:pt x="395504" y="2644644"/>
                  </a:lnTo>
                  <a:lnTo>
                    <a:pt x="405036" y="2635116"/>
                  </a:lnTo>
                  <a:lnTo>
                    <a:pt x="419332" y="2625584"/>
                  </a:lnTo>
                  <a:lnTo>
                    <a:pt x="428860" y="2620820"/>
                  </a:lnTo>
                  <a:lnTo>
                    <a:pt x="438392" y="2620820"/>
                  </a:lnTo>
                  <a:lnTo>
                    <a:pt x="443156" y="2620820"/>
                  </a:lnTo>
                  <a:lnTo>
                    <a:pt x="443156" y="2606524"/>
                  </a:lnTo>
                  <a:lnTo>
                    <a:pt x="447920" y="2596996"/>
                  </a:lnTo>
                  <a:lnTo>
                    <a:pt x="462216" y="2582700"/>
                  </a:lnTo>
                  <a:lnTo>
                    <a:pt x="471748" y="2568404"/>
                  </a:lnTo>
                  <a:lnTo>
                    <a:pt x="490808" y="2568404"/>
                  </a:lnTo>
                  <a:lnTo>
                    <a:pt x="495572" y="2554108"/>
                  </a:lnTo>
                  <a:lnTo>
                    <a:pt x="495572" y="2535048"/>
                  </a:lnTo>
                  <a:lnTo>
                    <a:pt x="495572" y="2520752"/>
                  </a:lnTo>
                  <a:lnTo>
                    <a:pt x="500336" y="2496928"/>
                  </a:lnTo>
                  <a:lnTo>
                    <a:pt x="495572" y="2468336"/>
                  </a:lnTo>
                  <a:lnTo>
                    <a:pt x="495572" y="2449276"/>
                  </a:lnTo>
                  <a:lnTo>
                    <a:pt x="490808" y="2439744"/>
                  </a:lnTo>
                  <a:lnTo>
                    <a:pt x="490808" y="2420684"/>
                  </a:lnTo>
                  <a:lnTo>
                    <a:pt x="486040" y="2411156"/>
                  </a:lnTo>
                  <a:lnTo>
                    <a:pt x="476512" y="2411156"/>
                  </a:lnTo>
                  <a:lnTo>
                    <a:pt x="471748" y="2396860"/>
                  </a:lnTo>
                  <a:lnTo>
                    <a:pt x="476512" y="2392092"/>
                  </a:lnTo>
                  <a:lnTo>
                    <a:pt x="486040" y="2387328"/>
                  </a:lnTo>
                  <a:lnTo>
                    <a:pt x="500336" y="2377800"/>
                  </a:lnTo>
                  <a:lnTo>
                    <a:pt x="509868" y="2334912"/>
                  </a:lnTo>
                  <a:lnTo>
                    <a:pt x="509868" y="2325384"/>
                  </a:lnTo>
                  <a:lnTo>
                    <a:pt x="514632" y="2306320"/>
                  </a:lnTo>
                  <a:lnTo>
                    <a:pt x="514632" y="2301556"/>
                  </a:lnTo>
                  <a:lnTo>
                    <a:pt x="519396" y="2287260"/>
                  </a:lnTo>
                  <a:lnTo>
                    <a:pt x="528928" y="2272964"/>
                  </a:lnTo>
                  <a:lnTo>
                    <a:pt x="538460" y="2253904"/>
                  </a:lnTo>
                  <a:lnTo>
                    <a:pt x="543224" y="2244376"/>
                  </a:lnTo>
                  <a:lnTo>
                    <a:pt x="552752" y="2225316"/>
                  </a:lnTo>
                  <a:lnTo>
                    <a:pt x="552752" y="2215784"/>
                  </a:lnTo>
                  <a:lnTo>
                    <a:pt x="557520" y="2211020"/>
                  </a:lnTo>
                  <a:lnTo>
                    <a:pt x="567048" y="2211020"/>
                  </a:lnTo>
                  <a:lnTo>
                    <a:pt x="576580" y="2211020"/>
                  </a:lnTo>
                  <a:lnTo>
                    <a:pt x="581344" y="2201488"/>
                  </a:lnTo>
                  <a:lnTo>
                    <a:pt x="581344" y="2196724"/>
                  </a:lnTo>
                  <a:lnTo>
                    <a:pt x="581344" y="2177664"/>
                  </a:lnTo>
                  <a:lnTo>
                    <a:pt x="576580" y="2149072"/>
                  </a:lnTo>
                  <a:lnTo>
                    <a:pt x="576580" y="2110952"/>
                  </a:lnTo>
                  <a:lnTo>
                    <a:pt x="576580" y="2087124"/>
                  </a:lnTo>
                  <a:lnTo>
                    <a:pt x="586108" y="2063300"/>
                  </a:lnTo>
                  <a:lnTo>
                    <a:pt x="590876" y="2049004"/>
                  </a:lnTo>
                  <a:lnTo>
                    <a:pt x="590876" y="2039476"/>
                  </a:lnTo>
                  <a:lnTo>
                    <a:pt x="590876" y="2025180"/>
                  </a:lnTo>
                  <a:lnTo>
                    <a:pt x="576580" y="2020416"/>
                  </a:lnTo>
                  <a:lnTo>
                    <a:pt x="567048" y="2025180"/>
                  </a:lnTo>
                  <a:lnTo>
                    <a:pt x="557520" y="2025180"/>
                  </a:lnTo>
                  <a:lnTo>
                    <a:pt x="547988" y="2010884"/>
                  </a:lnTo>
                  <a:lnTo>
                    <a:pt x="543224" y="1996588"/>
                  </a:lnTo>
                  <a:lnTo>
                    <a:pt x="547988" y="1977528"/>
                  </a:lnTo>
                  <a:lnTo>
                    <a:pt x="552752" y="1967996"/>
                  </a:lnTo>
                  <a:lnTo>
                    <a:pt x="557520" y="1953704"/>
                  </a:lnTo>
                  <a:lnTo>
                    <a:pt x="552752" y="1948936"/>
                  </a:lnTo>
                  <a:lnTo>
                    <a:pt x="543224" y="1939408"/>
                  </a:lnTo>
                  <a:lnTo>
                    <a:pt x="533692" y="1906052"/>
                  </a:lnTo>
                  <a:lnTo>
                    <a:pt x="533692" y="1877460"/>
                  </a:lnTo>
                  <a:lnTo>
                    <a:pt x="524164" y="1867928"/>
                  </a:lnTo>
                  <a:lnTo>
                    <a:pt x="519396" y="1844104"/>
                  </a:lnTo>
                  <a:lnTo>
                    <a:pt x="509868" y="1839340"/>
                  </a:lnTo>
                  <a:lnTo>
                    <a:pt x="505104" y="1820280"/>
                  </a:lnTo>
                  <a:lnTo>
                    <a:pt x="505104" y="1805984"/>
                  </a:lnTo>
                  <a:lnTo>
                    <a:pt x="505104" y="1796452"/>
                  </a:lnTo>
                  <a:lnTo>
                    <a:pt x="514632" y="1796452"/>
                  </a:lnTo>
                  <a:lnTo>
                    <a:pt x="519396" y="1782156"/>
                  </a:lnTo>
                  <a:lnTo>
                    <a:pt x="514632" y="1772628"/>
                  </a:lnTo>
                  <a:lnTo>
                    <a:pt x="509868" y="1767864"/>
                  </a:lnTo>
                  <a:lnTo>
                    <a:pt x="500336" y="1767864"/>
                  </a:lnTo>
                  <a:lnTo>
                    <a:pt x="490808" y="1758332"/>
                  </a:lnTo>
                  <a:lnTo>
                    <a:pt x="476512" y="1724976"/>
                  </a:lnTo>
                  <a:lnTo>
                    <a:pt x="466980" y="1710680"/>
                  </a:lnTo>
                  <a:lnTo>
                    <a:pt x="471748" y="1682088"/>
                  </a:lnTo>
                  <a:lnTo>
                    <a:pt x="471748" y="1663028"/>
                  </a:lnTo>
                  <a:lnTo>
                    <a:pt x="476512" y="1643968"/>
                  </a:lnTo>
                  <a:lnTo>
                    <a:pt x="481276" y="1634440"/>
                  </a:lnTo>
                  <a:lnTo>
                    <a:pt x="486040" y="1624908"/>
                  </a:lnTo>
                  <a:lnTo>
                    <a:pt x="495572" y="1629672"/>
                  </a:lnTo>
                  <a:lnTo>
                    <a:pt x="500336" y="1629672"/>
                  </a:lnTo>
                  <a:lnTo>
                    <a:pt x="505104" y="1615380"/>
                  </a:lnTo>
                  <a:lnTo>
                    <a:pt x="509868" y="1610612"/>
                  </a:lnTo>
                  <a:lnTo>
                    <a:pt x="509868" y="1605848"/>
                  </a:lnTo>
                  <a:lnTo>
                    <a:pt x="509868" y="1596316"/>
                  </a:lnTo>
                  <a:lnTo>
                    <a:pt x="505104" y="1586788"/>
                  </a:lnTo>
                  <a:lnTo>
                    <a:pt x="509868" y="1577256"/>
                  </a:lnTo>
                  <a:lnTo>
                    <a:pt x="519396" y="1548668"/>
                  </a:lnTo>
                  <a:lnTo>
                    <a:pt x="528928" y="1515312"/>
                  </a:lnTo>
                  <a:lnTo>
                    <a:pt x="533692" y="1505780"/>
                  </a:lnTo>
                  <a:lnTo>
                    <a:pt x="533692" y="1491484"/>
                  </a:lnTo>
                  <a:lnTo>
                    <a:pt x="538460" y="1491484"/>
                  </a:lnTo>
                  <a:lnTo>
                    <a:pt x="543224" y="1496252"/>
                  </a:lnTo>
                  <a:lnTo>
                    <a:pt x="567048" y="1486720"/>
                  </a:lnTo>
                  <a:lnTo>
                    <a:pt x="576580" y="1477188"/>
                  </a:lnTo>
                  <a:lnTo>
                    <a:pt x="576580" y="1462896"/>
                  </a:lnTo>
                  <a:lnTo>
                    <a:pt x="586108" y="1458128"/>
                  </a:lnTo>
                  <a:lnTo>
                    <a:pt x="581344" y="1443832"/>
                  </a:lnTo>
                  <a:lnTo>
                    <a:pt x="571816" y="1443832"/>
                  </a:lnTo>
                  <a:lnTo>
                    <a:pt x="567048" y="1439068"/>
                  </a:lnTo>
                  <a:lnTo>
                    <a:pt x="567048" y="1429540"/>
                  </a:lnTo>
                  <a:lnTo>
                    <a:pt x="571816" y="1400948"/>
                  </a:lnTo>
                  <a:lnTo>
                    <a:pt x="571816" y="1381888"/>
                  </a:lnTo>
                  <a:lnTo>
                    <a:pt x="562284" y="1343764"/>
                  </a:lnTo>
                  <a:lnTo>
                    <a:pt x="557520" y="1300880"/>
                  </a:lnTo>
                  <a:lnTo>
                    <a:pt x="562284" y="1291348"/>
                  </a:lnTo>
                  <a:lnTo>
                    <a:pt x="576580" y="1272288"/>
                  </a:lnTo>
                  <a:lnTo>
                    <a:pt x="586108" y="1262760"/>
                  </a:lnTo>
                  <a:lnTo>
                    <a:pt x="590876" y="1253228"/>
                  </a:lnTo>
                  <a:lnTo>
                    <a:pt x="600404" y="1205576"/>
                  </a:lnTo>
                  <a:lnTo>
                    <a:pt x="600404" y="1181752"/>
                  </a:lnTo>
                  <a:lnTo>
                    <a:pt x="609936" y="1167456"/>
                  </a:lnTo>
                  <a:lnTo>
                    <a:pt x="614700" y="1138864"/>
                  </a:lnTo>
                  <a:lnTo>
                    <a:pt x="633760" y="1119804"/>
                  </a:lnTo>
                  <a:lnTo>
                    <a:pt x="638528" y="1100744"/>
                  </a:lnTo>
                  <a:lnTo>
                    <a:pt x="648056" y="1100744"/>
                  </a:lnTo>
                  <a:lnTo>
                    <a:pt x="652820" y="1095980"/>
                  </a:lnTo>
                  <a:lnTo>
                    <a:pt x="662352" y="1081684"/>
                  </a:lnTo>
                  <a:lnTo>
                    <a:pt x="676648" y="1062624"/>
                  </a:lnTo>
                  <a:lnTo>
                    <a:pt x="690944" y="1053092"/>
                  </a:lnTo>
                  <a:lnTo>
                    <a:pt x="690944" y="1038796"/>
                  </a:lnTo>
                  <a:lnTo>
                    <a:pt x="695708" y="1019736"/>
                  </a:lnTo>
                  <a:lnTo>
                    <a:pt x="710004" y="991148"/>
                  </a:lnTo>
                  <a:lnTo>
                    <a:pt x="714768" y="972084"/>
                  </a:lnTo>
                  <a:lnTo>
                    <a:pt x="724300" y="962556"/>
                  </a:lnTo>
                  <a:lnTo>
                    <a:pt x="733828" y="933964"/>
                  </a:lnTo>
                  <a:lnTo>
                    <a:pt x="738592" y="919668"/>
                  </a:lnTo>
                  <a:lnTo>
                    <a:pt x="752888" y="910140"/>
                  </a:lnTo>
                  <a:lnTo>
                    <a:pt x="762420" y="910140"/>
                  </a:lnTo>
                  <a:lnTo>
                    <a:pt x="771948" y="914904"/>
                  </a:lnTo>
                  <a:lnTo>
                    <a:pt x="781480" y="914904"/>
                  </a:lnTo>
                  <a:lnTo>
                    <a:pt x="791012" y="905376"/>
                  </a:lnTo>
                  <a:lnTo>
                    <a:pt x="810072" y="900608"/>
                  </a:lnTo>
                  <a:lnTo>
                    <a:pt x="819600" y="895844"/>
                  </a:lnTo>
                  <a:lnTo>
                    <a:pt x="824368" y="886312"/>
                  </a:lnTo>
                  <a:lnTo>
                    <a:pt x="824368" y="867252"/>
                  </a:lnTo>
                  <a:lnTo>
                    <a:pt x="814836" y="857724"/>
                  </a:lnTo>
                  <a:lnTo>
                    <a:pt x="795776" y="833896"/>
                  </a:lnTo>
                  <a:lnTo>
                    <a:pt x="781480" y="805308"/>
                  </a:lnTo>
                  <a:lnTo>
                    <a:pt x="781480" y="800540"/>
                  </a:lnTo>
                  <a:lnTo>
                    <a:pt x="781480" y="791012"/>
                  </a:lnTo>
                  <a:lnTo>
                    <a:pt x="781480" y="776716"/>
                  </a:lnTo>
                  <a:lnTo>
                    <a:pt x="791012" y="762420"/>
                  </a:lnTo>
                  <a:lnTo>
                    <a:pt x="810072" y="743360"/>
                  </a:lnTo>
                  <a:lnTo>
                    <a:pt x="805304" y="729064"/>
                  </a:lnTo>
                  <a:lnTo>
                    <a:pt x="791012" y="671884"/>
                  </a:lnTo>
                  <a:lnTo>
                    <a:pt x="786244" y="657588"/>
                  </a:lnTo>
                  <a:lnTo>
                    <a:pt x="776716" y="628996"/>
                  </a:lnTo>
                  <a:lnTo>
                    <a:pt x="781480" y="614700"/>
                  </a:lnTo>
                  <a:lnTo>
                    <a:pt x="786244" y="586112"/>
                  </a:lnTo>
                  <a:lnTo>
                    <a:pt x="795776" y="571816"/>
                  </a:lnTo>
                  <a:lnTo>
                    <a:pt x="805304" y="567052"/>
                  </a:lnTo>
                  <a:lnTo>
                    <a:pt x="810072" y="567052"/>
                  </a:lnTo>
                  <a:lnTo>
                    <a:pt x="814836" y="557520"/>
                  </a:lnTo>
                  <a:lnTo>
                    <a:pt x="805304" y="552756"/>
                  </a:lnTo>
                  <a:lnTo>
                    <a:pt x="800540" y="543224"/>
                  </a:lnTo>
                  <a:lnTo>
                    <a:pt x="800540" y="528928"/>
                  </a:lnTo>
                  <a:lnTo>
                    <a:pt x="791012" y="524164"/>
                  </a:lnTo>
                  <a:lnTo>
                    <a:pt x="786244" y="514632"/>
                  </a:lnTo>
                  <a:lnTo>
                    <a:pt x="786244" y="500340"/>
                  </a:lnTo>
                  <a:lnTo>
                    <a:pt x="791012" y="481276"/>
                  </a:lnTo>
                  <a:lnTo>
                    <a:pt x="800540" y="471748"/>
                  </a:lnTo>
                  <a:lnTo>
                    <a:pt x="805304" y="466984"/>
                  </a:lnTo>
                  <a:lnTo>
                    <a:pt x="814836" y="457452"/>
                  </a:lnTo>
                  <a:lnTo>
                    <a:pt x="824368" y="452688"/>
                  </a:lnTo>
                  <a:lnTo>
                    <a:pt x="833896" y="438392"/>
                  </a:lnTo>
                  <a:lnTo>
                    <a:pt x="891076" y="414568"/>
                  </a:lnTo>
                  <a:lnTo>
                    <a:pt x="938728" y="390740"/>
                  </a:lnTo>
                  <a:lnTo>
                    <a:pt x="972084" y="376444"/>
                  </a:lnTo>
                  <a:lnTo>
                    <a:pt x="976852" y="366916"/>
                  </a:lnTo>
                  <a:lnTo>
                    <a:pt x="976852" y="362148"/>
                  </a:lnTo>
                  <a:lnTo>
                    <a:pt x="995912" y="309732"/>
                  </a:lnTo>
                  <a:lnTo>
                    <a:pt x="1014972" y="243020"/>
                  </a:lnTo>
                  <a:lnTo>
                    <a:pt x="1029268" y="200136"/>
                  </a:lnTo>
                  <a:lnTo>
                    <a:pt x="995912" y="171544"/>
                  </a:lnTo>
                  <a:lnTo>
                    <a:pt x="1005440" y="162016"/>
                  </a:lnTo>
                  <a:lnTo>
                    <a:pt x="1019736" y="142952"/>
                  </a:lnTo>
                  <a:lnTo>
                    <a:pt x="1024500" y="123892"/>
                  </a:lnTo>
                  <a:lnTo>
                    <a:pt x="1029268" y="119128"/>
                  </a:lnTo>
                  <a:lnTo>
                    <a:pt x="1057856" y="100068"/>
                  </a:lnTo>
                  <a:lnTo>
                    <a:pt x="1067388" y="90536"/>
                  </a:lnTo>
                  <a:lnTo>
                    <a:pt x="1067388" y="76244"/>
                  </a:lnTo>
                  <a:lnTo>
                    <a:pt x="1072152" y="71476"/>
                  </a:lnTo>
                  <a:lnTo>
                    <a:pt x="1086448" y="66712"/>
                  </a:lnTo>
                  <a:lnTo>
                    <a:pt x="1105508" y="57180"/>
                  </a:lnTo>
                  <a:lnTo>
                    <a:pt x="1129336" y="52416"/>
                  </a:lnTo>
                  <a:lnTo>
                    <a:pt x="1134100" y="42888"/>
                  </a:lnTo>
                  <a:lnTo>
                    <a:pt x="1138864" y="23824"/>
                  </a:lnTo>
                  <a:lnTo>
                    <a:pt x="1148396" y="476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" name="Freeform 3786">
              <a:extLst>
                <a:ext uri="{FF2B5EF4-FFF2-40B4-BE49-F238E27FC236}">
                  <a16:creationId xmlns:a16="http://schemas.microsoft.com/office/drawing/2014/main" id="{176658DC-73B2-4596-9C08-5D218F19A2CB}"/>
                </a:ext>
              </a:extLst>
            </p:cNvPr>
            <p:cNvSpPr/>
            <p:nvPr/>
          </p:nvSpPr>
          <p:spPr bwMode="auto">
            <a:xfrm>
              <a:off x="6396182" y="4262347"/>
              <a:ext cx="79400" cy="79400"/>
            </a:xfrm>
            <a:custGeom>
              <a:avLst/>
              <a:gdLst>
                <a:gd name="T0" fmla="*/ 102 w 206"/>
                <a:gd name="T1" fmla="*/ 0 h 206"/>
                <a:gd name="T2" fmla="*/ 90 w 206"/>
                <a:gd name="T3" fmla="*/ 4 h 206"/>
                <a:gd name="T4" fmla="*/ 74 w 206"/>
                <a:gd name="T5" fmla="*/ 6 h 206"/>
                <a:gd name="T6" fmla="*/ 46 w 206"/>
                <a:gd name="T7" fmla="*/ 8 h 206"/>
                <a:gd name="T8" fmla="*/ 24 w 206"/>
                <a:gd name="T9" fmla="*/ 14 h 206"/>
                <a:gd name="T10" fmla="*/ 0 w 206"/>
                <a:gd name="T11" fmla="*/ 16 h 206"/>
                <a:gd name="T12" fmla="*/ 10 w 206"/>
                <a:gd name="T13" fmla="*/ 28 h 206"/>
                <a:gd name="T14" fmla="*/ 18 w 206"/>
                <a:gd name="T15" fmla="*/ 48 h 206"/>
                <a:gd name="T16" fmla="*/ 8 w 206"/>
                <a:gd name="T17" fmla="*/ 70 h 206"/>
                <a:gd name="T18" fmla="*/ 10 w 206"/>
                <a:gd name="T19" fmla="*/ 80 h 206"/>
                <a:gd name="T20" fmla="*/ 16 w 206"/>
                <a:gd name="T21" fmla="*/ 98 h 206"/>
                <a:gd name="T22" fmla="*/ 32 w 206"/>
                <a:gd name="T23" fmla="*/ 108 h 206"/>
                <a:gd name="T24" fmla="*/ 56 w 206"/>
                <a:gd name="T25" fmla="*/ 108 h 206"/>
                <a:gd name="T26" fmla="*/ 84 w 206"/>
                <a:gd name="T27" fmla="*/ 132 h 206"/>
                <a:gd name="T28" fmla="*/ 104 w 206"/>
                <a:gd name="T29" fmla="*/ 130 h 206"/>
                <a:gd name="T30" fmla="*/ 112 w 206"/>
                <a:gd name="T31" fmla="*/ 140 h 206"/>
                <a:gd name="T32" fmla="*/ 118 w 206"/>
                <a:gd name="T33" fmla="*/ 146 h 206"/>
                <a:gd name="T34" fmla="*/ 132 w 206"/>
                <a:gd name="T35" fmla="*/ 154 h 206"/>
                <a:gd name="T36" fmla="*/ 152 w 206"/>
                <a:gd name="T37" fmla="*/ 148 h 206"/>
                <a:gd name="T38" fmla="*/ 154 w 206"/>
                <a:gd name="T39" fmla="*/ 160 h 206"/>
                <a:gd name="T40" fmla="*/ 162 w 206"/>
                <a:gd name="T41" fmla="*/ 172 h 206"/>
                <a:gd name="T42" fmla="*/ 170 w 206"/>
                <a:gd name="T43" fmla="*/ 194 h 206"/>
                <a:gd name="T44" fmla="*/ 178 w 206"/>
                <a:gd name="T45" fmla="*/ 206 h 206"/>
                <a:gd name="T46" fmla="*/ 200 w 206"/>
                <a:gd name="T47" fmla="*/ 190 h 206"/>
                <a:gd name="T48" fmla="*/ 194 w 206"/>
                <a:gd name="T49" fmla="*/ 180 h 206"/>
                <a:gd name="T50" fmla="*/ 204 w 206"/>
                <a:gd name="T51" fmla="*/ 178 h 206"/>
                <a:gd name="T52" fmla="*/ 196 w 206"/>
                <a:gd name="T53" fmla="*/ 166 h 206"/>
                <a:gd name="T54" fmla="*/ 192 w 206"/>
                <a:gd name="T55" fmla="*/ 160 h 206"/>
                <a:gd name="T56" fmla="*/ 200 w 206"/>
                <a:gd name="T57" fmla="*/ 152 h 206"/>
                <a:gd name="T58" fmla="*/ 180 w 206"/>
                <a:gd name="T59" fmla="*/ 146 h 206"/>
                <a:gd name="T60" fmla="*/ 164 w 206"/>
                <a:gd name="T61" fmla="*/ 130 h 206"/>
                <a:gd name="T62" fmla="*/ 146 w 206"/>
                <a:gd name="T63" fmla="*/ 114 h 206"/>
                <a:gd name="T64" fmla="*/ 142 w 206"/>
                <a:gd name="T65" fmla="*/ 110 h 206"/>
                <a:gd name="T66" fmla="*/ 160 w 206"/>
                <a:gd name="T67" fmla="*/ 108 h 206"/>
                <a:gd name="T68" fmla="*/ 166 w 206"/>
                <a:gd name="T69" fmla="*/ 96 h 206"/>
                <a:gd name="T70" fmla="*/ 140 w 206"/>
                <a:gd name="T71" fmla="*/ 76 h 206"/>
                <a:gd name="T72" fmla="*/ 126 w 206"/>
                <a:gd name="T73" fmla="*/ 54 h 206"/>
                <a:gd name="T74" fmla="*/ 140 w 206"/>
                <a:gd name="T75" fmla="*/ 40 h 206"/>
                <a:gd name="T76" fmla="*/ 132 w 206"/>
                <a:gd name="T77" fmla="*/ 30 h 206"/>
                <a:gd name="T78" fmla="*/ 120 w 206"/>
                <a:gd name="T79" fmla="*/ 24 h 206"/>
                <a:gd name="T80" fmla="*/ 106 w 206"/>
                <a:gd name="T81" fmla="*/ 16 h 206"/>
                <a:gd name="T82" fmla="*/ 114 w 206"/>
                <a:gd name="T83" fmla="*/ 12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6" h="206">
                  <a:moveTo>
                    <a:pt x="108" y="8"/>
                  </a:moveTo>
                  <a:lnTo>
                    <a:pt x="104" y="4"/>
                  </a:lnTo>
                  <a:lnTo>
                    <a:pt x="102" y="0"/>
                  </a:lnTo>
                  <a:lnTo>
                    <a:pt x="100" y="0"/>
                  </a:lnTo>
                  <a:lnTo>
                    <a:pt x="90" y="2"/>
                  </a:lnTo>
                  <a:lnTo>
                    <a:pt x="90" y="4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74" y="6"/>
                  </a:lnTo>
                  <a:lnTo>
                    <a:pt x="68" y="8"/>
                  </a:lnTo>
                  <a:lnTo>
                    <a:pt x="52" y="6"/>
                  </a:lnTo>
                  <a:lnTo>
                    <a:pt x="46" y="8"/>
                  </a:lnTo>
                  <a:lnTo>
                    <a:pt x="42" y="8"/>
                  </a:lnTo>
                  <a:lnTo>
                    <a:pt x="30" y="10"/>
                  </a:lnTo>
                  <a:lnTo>
                    <a:pt x="24" y="14"/>
                  </a:lnTo>
                  <a:lnTo>
                    <a:pt x="14" y="14"/>
                  </a:lnTo>
                  <a:lnTo>
                    <a:pt x="4" y="14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0" y="28"/>
                  </a:lnTo>
                  <a:lnTo>
                    <a:pt x="12" y="30"/>
                  </a:lnTo>
                  <a:lnTo>
                    <a:pt x="16" y="42"/>
                  </a:lnTo>
                  <a:lnTo>
                    <a:pt x="18" y="48"/>
                  </a:lnTo>
                  <a:lnTo>
                    <a:pt x="18" y="56"/>
                  </a:lnTo>
                  <a:lnTo>
                    <a:pt x="14" y="62"/>
                  </a:lnTo>
                  <a:lnTo>
                    <a:pt x="8" y="70"/>
                  </a:lnTo>
                  <a:lnTo>
                    <a:pt x="10" y="72"/>
                  </a:lnTo>
                  <a:lnTo>
                    <a:pt x="12" y="78"/>
                  </a:lnTo>
                  <a:lnTo>
                    <a:pt x="10" y="80"/>
                  </a:lnTo>
                  <a:lnTo>
                    <a:pt x="16" y="90"/>
                  </a:lnTo>
                  <a:lnTo>
                    <a:pt x="18" y="96"/>
                  </a:lnTo>
                  <a:lnTo>
                    <a:pt x="16" y="98"/>
                  </a:lnTo>
                  <a:lnTo>
                    <a:pt x="14" y="100"/>
                  </a:lnTo>
                  <a:lnTo>
                    <a:pt x="24" y="104"/>
                  </a:lnTo>
                  <a:lnTo>
                    <a:pt x="32" y="108"/>
                  </a:lnTo>
                  <a:lnTo>
                    <a:pt x="36" y="110"/>
                  </a:lnTo>
                  <a:lnTo>
                    <a:pt x="48" y="108"/>
                  </a:lnTo>
                  <a:lnTo>
                    <a:pt x="56" y="108"/>
                  </a:lnTo>
                  <a:lnTo>
                    <a:pt x="62" y="112"/>
                  </a:lnTo>
                  <a:lnTo>
                    <a:pt x="74" y="120"/>
                  </a:lnTo>
                  <a:lnTo>
                    <a:pt x="84" y="132"/>
                  </a:lnTo>
                  <a:lnTo>
                    <a:pt x="88" y="136"/>
                  </a:lnTo>
                  <a:lnTo>
                    <a:pt x="94" y="136"/>
                  </a:lnTo>
                  <a:lnTo>
                    <a:pt x="104" y="130"/>
                  </a:lnTo>
                  <a:lnTo>
                    <a:pt x="108" y="132"/>
                  </a:lnTo>
                  <a:lnTo>
                    <a:pt x="110" y="136"/>
                  </a:lnTo>
                  <a:lnTo>
                    <a:pt x="112" y="140"/>
                  </a:lnTo>
                  <a:lnTo>
                    <a:pt x="112" y="146"/>
                  </a:lnTo>
                  <a:lnTo>
                    <a:pt x="114" y="148"/>
                  </a:lnTo>
                  <a:lnTo>
                    <a:pt x="118" y="146"/>
                  </a:lnTo>
                  <a:lnTo>
                    <a:pt x="122" y="148"/>
                  </a:lnTo>
                  <a:lnTo>
                    <a:pt x="126" y="152"/>
                  </a:lnTo>
                  <a:lnTo>
                    <a:pt x="132" y="154"/>
                  </a:lnTo>
                  <a:lnTo>
                    <a:pt x="142" y="150"/>
                  </a:lnTo>
                  <a:lnTo>
                    <a:pt x="148" y="148"/>
                  </a:lnTo>
                  <a:lnTo>
                    <a:pt x="152" y="148"/>
                  </a:lnTo>
                  <a:lnTo>
                    <a:pt x="154" y="150"/>
                  </a:lnTo>
                  <a:lnTo>
                    <a:pt x="154" y="154"/>
                  </a:lnTo>
                  <a:lnTo>
                    <a:pt x="154" y="160"/>
                  </a:lnTo>
                  <a:lnTo>
                    <a:pt x="152" y="164"/>
                  </a:lnTo>
                  <a:lnTo>
                    <a:pt x="154" y="166"/>
                  </a:lnTo>
                  <a:lnTo>
                    <a:pt x="162" y="172"/>
                  </a:lnTo>
                  <a:lnTo>
                    <a:pt x="166" y="176"/>
                  </a:lnTo>
                  <a:lnTo>
                    <a:pt x="164" y="180"/>
                  </a:lnTo>
                  <a:lnTo>
                    <a:pt x="170" y="194"/>
                  </a:lnTo>
                  <a:lnTo>
                    <a:pt x="172" y="200"/>
                  </a:lnTo>
                  <a:lnTo>
                    <a:pt x="176" y="206"/>
                  </a:lnTo>
                  <a:lnTo>
                    <a:pt x="178" y="206"/>
                  </a:lnTo>
                  <a:lnTo>
                    <a:pt x="188" y="204"/>
                  </a:lnTo>
                  <a:lnTo>
                    <a:pt x="200" y="204"/>
                  </a:lnTo>
                  <a:lnTo>
                    <a:pt x="200" y="190"/>
                  </a:lnTo>
                  <a:lnTo>
                    <a:pt x="198" y="186"/>
                  </a:lnTo>
                  <a:lnTo>
                    <a:pt x="194" y="182"/>
                  </a:lnTo>
                  <a:lnTo>
                    <a:pt x="194" y="180"/>
                  </a:lnTo>
                  <a:lnTo>
                    <a:pt x="196" y="178"/>
                  </a:lnTo>
                  <a:lnTo>
                    <a:pt x="198" y="180"/>
                  </a:lnTo>
                  <a:lnTo>
                    <a:pt x="204" y="178"/>
                  </a:lnTo>
                  <a:lnTo>
                    <a:pt x="206" y="178"/>
                  </a:lnTo>
                  <a:lnTo>
                    <a:pt x="200" y="170"/>
                  </a:lnTo>
                  <a:lnTo>
                    <a:pt x="196" y="166"/>
                  </a:lnTo>
                  <a:lnTo>
                    <a:pt x="192" y="164"/>
                  </a:lnTo>
                  <a:lnTo>
                    <a:pt x="192" y="162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200" y="156"/>
                  </a:lnTo>
                  <a:lnTo>
                    <a:pt x="200" y="152"/>
                  </a:lnTo>
                  <a:lnTo>
                    <a:pt x="200" y="148"/>
                  </a:lnTo>
                  <a:lnTo>
                    <a:pt x="188" y="144"/>
                  </a:lnTo>
                  <a:lnTo>
                    <a:pt x="180" y="146"/>
                  </a:lnTo>
                  <a:lnTo>
                    <a:pt x="174" y="140"/>
                  </a:lnTo>
                  <a:lnTo>
                    <a:pt x="170" y="136"/>
                  </a:lnTo>
                  <a:lnTo>
                    <a:pt x="164" y="130"/>
                  </a:lnTo>
                  <a:lnTo>
                    <a:pt x="158" y="128"/>
                  </a:lnTo>
                  <a:lnTo>
                    <a:pt x="154" y="122"/>
                  </a:lnTo>
                  <a:lnTo>
                    <a:pt x="146" y="114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42" y="110"/>
                  </a:lnTo>
                  <a:lnTo>
                    <a:pt x="144" y="110"/>
                  </a:lnTo>
                  <a:lnTo>
                    <a:pt x="158" y="110"/>
                  </a:lnTo>
                  <a:lnTo>
                    <a:pt x="160" y="108"/>
                  </a:lnTo>
                  <a:lnTo>
                    <a:pt x="162" y="106"/>
                  </a:lnTo>
                  <a:lnTo>
                    <a:pt x="164" y="102"/>
                  </a:lnTo>
                  <a:lnTo>
                    <a:pt x="166" y="96"/>
                  </a:lnTo>
                  <a:lnTo>
                    <a:pt x="166" y="90"/>
                  </a:lnTo>
                  <a:lnTo>
                    <a:pt x="150" y="82"/>
                  </a:lnTo>
                  <a:lnTo>
                    <a:pt x="140" y="76"/>
                  </a:lnTo>
                  <a:lnTo>
                    <a:pt x="132" y="66"/>
                  </a:lnTo>
                  <a:lnTo>
                    <a:pt x="126" y="56"/>
                  </a:lnTo>
                  <a:lnTo>
                    <a:pt x="126" y="54"/>
                  </a:lnTo>
                  <a:lnTo>
                    <a:pt x="128" y="50"/>
                  </a:lnTo>
                  <a:lnTo>
                    <a:pt x="140" y="42"/>
                  </a:lnTo>
                  <a:lnTo>
                    <a:pt x="140" y="40"/>
                  </a:lnTo>
                  <a:lnTo>
                    <a:pt x="140" y="38"/>
                  </a:lnTo>
                  <a:lnTo>
                    <a:pt x="136" y="34"/>
                  </a:lnTo>
                  <a:lnTo>
                    <a:pt x="132" y="30"/>
                  </a:lnTo>
                  <a:lnTo>
                    <a:pt x="130" y="26"/>
                  </a:lnTo>
                  <a:lnTo>
                    <a:pt x="126" y="24"/>
                  </a:lnTo>
                  <a:lnTo>
                    <a:pt x="120" y="24"/>
                  </a:lnTo>
                  <a:lnTo>
                    <a:pt x="110" y="18"/>
                  </a:lnTo>
                  <a:lnTo>
                    <a:pt x="106" y="18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14" y="14"/>
                  </a:lnTo>
                  <a:lnTo>
                    <a:pt x="114" y="12"/>
                  </a:lnTo>
                  <a:lnTo>
                    <a:pt x="112" y="10"/>
                  </a:lnTo>
                  <a:lnTo>
                    <a:pt x="108" y="8"/>
                  </a:lnTo>
                </a:path>
              </a:pathLst>
            </a:custGeom>
            <a:solidFill>
              <a:schemeClr val="bg1"/>
            </a:solidFill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" name="Freeform 3797">
              <a:extLst>
                <a:ext uri="{FF2B5EF4-FFF2-40B4-BE49-F238E27FC236}">
                  <a16:creationId xmlns:a16="http://schemas.microsoft.com/office/drawing/2014/main" id="{2C5DD0C9-5FD7-46B7-87EB-5C69F1CE30E8}"/>
                </a:ext>
              </a:extLst>
            </p:cNvPr>
            <p:cNvSpPr/>
            <p:nvPr/>
          </p:nvSpPr>
          <p:spPr bwMode="auto">
            <a:xfrm>
              <a:off x="7046031" y="6828981"/>
              <a:ext cx="6167" cy="6938"/>
            </a:xfrm>
            <a:custGeom>
              <a:avLst/>
              <a:gdLst>
                <a:gd name="T0" fmla="*/ 8 w 16"/>
                <a:gd name="T1" fmla="*/ 18 h 18"/>
                <a:gd name="T2" fmla="*/ 10 w 16"/>
                <a:gd name="T3" fmla="*/ 16 h 18"/>
                <a:gd name="T4" fmla="*/ 16 w 16"/>
                <a:gd name="T5" fmla="*/ 6 h 18"/>
                <a:gd name="T6" fmla="*/ 14 w 16"/>
                <a:gd name="T7" fmla="*/ 0 h 18"/>
                <a:gd name="T8" fmla="*/ 6 w 16"/>
                <a:gd name="T9" fmla="*/ 0 h 18"/>
                <a:gd name="T10" fmla="*/ 0 w 16"/>
                <a:gd name="T11" fmla="*/ 0 h 18"/>
                <a:gd name="T12" fmla="*/ 0 w 16"/>
                <a:gd name="T13" fmla="*/ 4 h 18"/>
                <a:gd name="T14" fmla="*/ 0 w 16"/>
                <a:gd name="T15" fmla="*/ 8 h 18"/>
                <a:gd name="T16" fmla="*/ 2 w 16"/>
                <a:gd name="T17" fmla="*/ 12 h 18"/>
                <a:gd name="T18" fmla="*/ 2 w 16"/>
                <a:gd name="T19" fmla="*/ 16 h 18"/>
                <a:gd name="T20" fmla="*/ 4 w 16"/>
                <a:gd name="T21" fmla="*/ 18 h 18"/>
                <a:gd name="T22" fmla="*/ 8 w 16"/>
                <a:gd name="T2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18">
                  <a:moveTo>
                    <a:pt x="8" y="18"/>
                  </a:moveTo>
                  <a:lnTo>
                    <a:pt x="10" y="16"/>
                  </a:lnTo>
                  <a:lnTo>
                    <a:pt x="16" y="6"/>
                  </a:lnTo>
                  <a:lnTo>
                    <a:pt x="14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6"/>
                  </a:lnTo>
                  <a:lnTo>
                    <a:pt x="4" y="18"/>
                  </a:lnTo>
                  <a:lnTo>
                    <a:pt x="8" y="1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" name="Freeform 3798">
              <a:extLst>
                <a:ext uri="{FF2B5EF4-FFF2-40B4-BE49-F238E27FC236}">
                  <a16:creationId xmlns:a16="http://schemas.microsoft.com/office/drawing/2014/main" id="{CFDF9F89-BEC5-444D-B736-6DBC33B68181}"/>
                </a:ext>
              </a:extLst>
            </p:cNvPr>
            <p:cNvSpPr/>
            <p:nvPr/>
          </p:nvSpPr>
          <p:spPr bwMode="auto">
            <a:xfrm>
              <a:off x="7036009" y="6820501"/>
              <a:ext cx="45482" cy="40857"/>
            </a:xfrm>
            <a:custGeom>
              <a:avLst/>
              <a:gdLst>
                <a:gd name="T0" fmla="*/ 18 w 118"/>
                <a:gd name="T1" fmla="*/ 42 h 106"/>
                <a:gd name="T2" fmla="*/ 22 w 118"/>
                <a:gd name="T3" fmla="*/ 28 h 106"/>
                <a:gd name="T4" fmla="*/ 24 w 118"/>
                <a:gd name="T5" fmla="*/ 20 h 106"/>
                <a:gd name="T6" fmla="*/ 20 w 118"/>
                <a:gd name="T7" fmla="*/ 10 h 106"/>
                <a:gd name="T8" fmla="*/ 20 w 118"/>
                <a:gd name="T9" fmla="*/ 2 h 106"/>
                <a:gd name="T10" fmla="*/ 16 w 118"/>
                <a:gd name="T11" fmla="*/ 0 h 106"/>
                <a:gd name="T12" fmla="*/ 8 w 118"/>
                <a:gd name="T13" fmla="*/ 12 h 106"/>
                <a:gd name="T14" fmla="*/ 4 w 118"/>
                <a:gd name="T15" fmla="*/ 26 h 106"/>
                <a:gd name="T16" fmla="*/ 0 w 118"/>
                <a:gd name="T17" fmla="*/ 40 h 106"/>
                <a:gd name="T18" fmla="*/ 4 w 118"/>
                <a:gd name="T19" fmla="*/ 48 h 106"/>
                <a:gd name="T20" fmla="*/ 8 w 118"/>
                <a:gd name="T21" fmla="*/ 50 h 106"/>
                <a:gd name="T22" fmla="*/ 2 w 118"/>
                <a:gd name="T23" fmla="*/ 56 h 106"/>
                <a:gd name="T24" fmla="*/ 4 w 118"/>
                <a:gd name="T25" fmla="*/ 70 h 106"/>
                <a:gd name="T26" fmla="*/ 8 w 118"/>
                <a:gd name="T27" fmla="*/ 78 h 106"/>
                <a:gd name="T28" fmla="*/ 4 w 118"/>
                <a:gd name="T29" fmla="*/ 90 h 106"/>
                <a:gd name="T30" fmla="*/ 2 w 118"/>
                <a:gd name="T31" fmla="*/ 100 h 106"/>
                <a:gd name="T32" fmla="*/ 8 w 118"/>
                <a:gd name="T33" fmla="*/ 106 h 106"/>
                <a:gd name="T34" fmla="*/ 22 w 118"/>
                <a:gd name="T35" fmla="*/ 100 h 106"/>
                <a:gd name="T36" fmla="*/ 34 w 118"/>
                <a:gd name="T37" fmla="*/ 88 h 106"/>
                <a:gd name="T38" fmla="*/ 46 w 118"/>
                <a:gd name="T39" fmla="*/ 96 h 106"/>
                <a:gd name="T40" fmla="*/ 60 w 118"/>
                <a:gd name="T41" fmla="*/ 98 h 106"/>
                <a:gd name="T42" fmla="*/ 68 w 118"/>
                <a:gd name="T43" fmla="*/ 96 h 106"/>
                <a:gd name="T44" fmla="*/ 76 w 118"/>
                <a:gd name="T45" fmla="*/ 104 h 106"/>
                <a:gd name="T46" fmla="*/ 90 w 118"/>
                <a:gd name="T47" fmla="*/ 104 h 106"/>
                <a:gd name="T48" fmla="*/ 96 w 118"/>
                <a:gd name="T49" fmla="*/ 96 h 106"/>
                <a:gd name="T50" fmla="*/ 102 w 118"/>
                <a:gd name="T51" fmla="*/ 92 h 106"/>
                <a:gd name="T52" fmla="*/ 92 w 118"/>
                <a:gd name="T53" fmla="*/ 86 h 106"/>
                <a:gd name="T54" fmla="*/ 86 w 118"/>
                <a:gd name="T55" fmla="*/ 94 h 106"/>
                <a:gd name="T56" fmla="*/ 72 w 118"/>
                <a:gd name="T57" fmla="*/ 88 h 106"/>
                <a:gd name="T58" fmla="*/ 64 w 118"/>
                <a:gd name="T59" fmla="*/ 78 h 106"/>
                <a:gd name="T60" fmla="*/ 70 w 118"/>
                <a:gd name="T61" fmla="*/ 78 h 106"/>
                <a:gd name="T62" fmla="*/ 74 w 118"/>
                <a:gd name="T63" fmla="*/ 72 h 106"/>
                <a:gd name="T64" fmla="*/ 80 w 118"/>
                <a:gd name="T65" fmla="*/ 68 h 106"/>
                <a:gd name="T66" fmla="*/ 96 w 118"/>
                <a:gd name="T67" fmla="*/ 72 h 106"/>
                <a:gd name="T68" fmla="*/ 104 w 118"/>
                <a:gd name="T69" fmla="*/ 78 h 106"/>
                <a:gd name="T70" fmla="*/ 108 w 118"/>
                <a:gd name="T71" fmla="*/ 76 h 106"/>
                <a:gd name="T72" fmla="*/ 112 w 118"/>
                <a:gd name="T73" fmla="*/ 66 h 106"/>
                <a:gd name="T74" fmla="*/ 118 w 118"/>
                <a:gd name="T75" fmla="*/ 54 h 106"/>
                <a:gd name="T76" fmla="*/ 112 w 118"/>
                <a:gd name="T77" fmla="*/ 42 h 106"/>
                <a:gd name="T78" fmla="*/ 102 w 118"/>
                <a:gd name="T79" fmla="*/ 40 h 106"/>
                <a:gd name="T80" fmla="*/ 94 w 118"/>
                <a:gd name="T81" fmla="*/ 48 h 106"/>
                <a:gd name="T82" fmla="*/ 80 w 118"/>
                <a:gd name="T83" fmla="*/ 50 h 106"/>
                <a:gd name="T84" fmla="*/ 66 w 118"/>
                <a:gd name="T85" fmla="*/ 58 h 106"/>
                <a:gd name="T86" fmla="*/ 56 w 118"/>
                <a:gd name="T87" fmla="*/ 60 h 106"/>
                <a:gd name="T88" fmla="*/ 42 w 118"/>
                <a:gd name="T89" fmla="*/ 52 h 106"/>
                <a:gd name="T90" fmla="*/ 54 w 118"/>
                <a:gd name="T91" fmla="*/ 46 h 106"/>
                <a:gd name="T92" fmla="*/ 54 w 118"/>
                <a:gd name="T93" fmla="*/ 42 h 106"/>
                <a:gd name="T94" fmla="*/ 50 w 118"/>
                <a:gd name="T95" fmla="*/ 32 h 106"/>
                <a:gd name="T96" fmla="*/ 32 w 118"/>
                <a:gd name="T97" fmla="*/ 4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8" h="105">
                  <a:moveTo>
                    <a:pt x="28" y="44"/>
                  </a:moveTo>
                  <a:lnTo>
                    <a:pt x="18" y="42"/>
                  </a:lnTo>
                  <a:lnTo>
                    <a:pt x="18" y="36"/>
                  </a:lnTo>
                  <a:lnTo>
                    <a:pt x="22" y="28"/>
                  </a:lnTo>
                  <a:lnTo>
                    <a:pt x="22" y="24"/>
                  </a:lnTo>
                  <a:lnTo>
                    <a:pt x="24" y="20"/>
                  </a:lnTo>
                  <a:lnTo>
                    <a:pt x="24" y="10"/>
                  </a:lnTo>
                  <a:lnTo>
                    <a:pt x="20" y="10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2" y="4"/>
                  </a:lnTo>
                  <a:lnTo>
                    <a:pt x="8" y="12"/>
                  </a:lnTo>
                  <a:lnTo>
                    <a:pt x="4" y="18"/>
                  </a:lnTo>
                  <a:lnTo>
                    <a:pt x="4" y="26"/>
                  </a:lnTo>
                  <a:lnTo>
                    <a:pt x="2" y="34"/>
                  </a:lnTo>
                  <a:lnTo>
                    <a:pt x="0" y="40"/>
                  </a:lnTo>
                  <a:lnTo>
                    <a:pt x="2" y="44"/>
                  </a:lnTo>
                  <a:lnTo>
                    <a:pt x="4" y="48"/>
                  </a:lnTo>
                  <a:lnTo>
                    <a:pt x="6" y="48"/>
                  </a:lnTo>
                  <a:lnTo>
                    <a:pt x="8" y="50"/>
                  </a:lnTo>
                  <a:lnTo>
                    <a:pt x="4" y="54"/>
                  </a:lnTo>
                  <a:lnTo>
                    <a:pt x="2" y="56"/>
                  </a:lnTo>
                  <a:lnTo>
                    <a:pt x="6" y="62"/>
                  </a:lnTo>
                  <a:lnTo>
                    <a:pt x="4" y="70"/>
                  </a:lnTo>
                  <a:lnTo>
                    <a:pt x="6" y="74"/>
                  </a:lnTo>
                  <a:lnTo>
                    <a:pt x="8" y="78"/>
                  </a:lnTo>
                  <a:lnTo>
                    <a:pt x="6" y="84"/>
                  </a:lnTo>
                  <a:lnTo>
                    <a:pt x="4" y="90"/>
                  </a:lnTo>
                  <a:lnTo>
                    <a:pt x="2" y="94"/>
                  </a:lnTo>
                  <a:lnTo>
                    <a:pt x="2" y="100"/>
                  </a:lnTo>
                  <a:lnTo>
                    <a:pt x="4" y="104"/>
                  </a:lnTo>
                  <a:lnTo>
                    <a:pt x="8" y="106"/>
                  </a:lnTo>
                  <a:lnTo>
                    <a:pt x="16" y="104"/>
                  </a:lnTo>
                  <a:lnTo>
                    <a:pt x="22" y="100"/>
                  </a:lnTo>
                  <a:lnTo>
                    <a:pt x="26" y="88"/>
                  </a:lnTo>
                  <a:lnTo>
                    <a:pt x="34" y="88"/>
                  </a:lnTo>
                  <a:lnTo>
                    <a:pt x="38" y="90"/>
                  </a:lnTo>
                  <a:lnTo>
                    <a:pt x="46" y="96"/>
                  </a:lnTo>
                  <a:lnTo>
                    <a:pt x="56" y="100"/>
                  </a:lnTo>
                  <a:lnTo>
                    <a:pt x="60" y="98"/>
                  </a:lnTo>
                  <a:lnTo>
                    <a:pt x="64" y="94"/>
                  </a:lnTo>
                  <a:lnTo>
                    <a:pt x="68" y="96"/>
                  </a:lnTo>
                  <a:lnTo>
                    <a:pt x="70" y="98"/>
                  </a:lnTo>
                  <a:lnTo>
                    <a:pt x="76" y="104"/>
                  </a:lnTo>
                  <a:lnTo>
                    <a:pt x="86" y="106"/>
                  </a:lnTo>
                  <a:lnTo>
                    <a:pt x="90" y="104"/>
                  </a:lnTo>
                  <a:lnTo>
                    <a:pt x="94" y="100"/>
                  </a:lnTo>
                  <a:lnTo>
                    <a:pt x="96" y="96"/>
                  </a:lnTo>
                  <a:lnTo>
                    <a:pt x="98" y="94"/>
                  </a:lnTo>
                  <a:lnTo>
                    <a:pt x="102" y="92"/>
                  </a:lnTo>
                  <a:lnTo>
                    <a:pt x="98" y="88"/>
                  </a:lnTo>
                  <a:lnTo>
                    <a:pt x="92" y="86"/>
                  </a:lnTo>
                  <a:lnTo>
                    <a:pt x="86" y="86"/>
                  </a:lnTo>
                  <a:lnTo>
                    <a:pt x="86" y="94"/>
                  </a:lnTo>
                  <a:lnTo>
                    <a:pt x="80" y="92"/>
                  </a:lnTo>
                  <a:lnTo>
                    <a:pt x="72" y="88"/>
                  </a:lnTo>
                  <a:lnTo>
                    <a:pt x="66" y="84"/>
                  </a:lnTo>
                  <a:lnTo>
                    <a:pt x="64" y="78"/>
                  </a:lnTo>
                  <a:lnTo>
                    <a:pt x="66" y="78"/>
                  </a:lnTo>
                  <a:lnTo>
                    <a:pt x="70" y="78"/>
                  </a:lnTo>
                  <a:lnTo>
                    <a:pt x="72" y="76"/>
                  </a:lnTo>
                  <a:lnTo>
                    <a:pt x="74" y="72"/>
                  </a:lnTo>
                  <a:lnTo>
                    <a:pt x="76" y="68"/>
                  </a:lnTo>
                  <a:lnTo>
                    <a:pt x="80" y="68"/>
                  </a:lnTo>
                  <a:lnTo>
                    <a:pt x="92" y="68"/>
                  </a:lnTo>
                  <a:lnTo>
                    <a:pt x="96" y="72"/>
                  </a:lnTo>
                  <a:lnTo>
                    <a:pt x="100" y="76"/>
                  </a:lnTo>
                  <a:lnTo>
                    <a:pt x="104" y="78"/>
                  </a:lnTo>
                  <a:lnTo>
                    <a:pt x="106" y="78"/>
                  </a:lnTo>
                  <a:lnTo>
                    <a:pt x="108" y="76"/>
                  </a:lnTo>
                  <a:lnTo>
                    <a:pt x="106" y="70"/>
                  </a:lnTo>
                  <a:lnTo>
                    <a:pt x="112" y="66"/>
                  </a:lnTo>
                  <a:lnTo>
                    <a:pt x="116" y="60"/>
                  </a:lnTo>
                  <a:lnTo>
                    <a:pt x="118" y="54"/>
                  </a:lnTo>
                  <a:lnTo>
                    <a:pt x="116" y="48"/>
                  </a:lnTo>
                  <a:lnTo>
                    <a:pt x="112" y="42"/>
                  </a:lnTo>
                  <a:lnTo>
                    <a:pt x="108" y="40"/>
                  </a:lnTo>
                  <a:lnTo>
                    <a:pt x="102" y="40"/>
                  </a:lnTo>
                  <a:lnTo>
                    <a:pt x="100" y="42"/>
                  </a:lnTo>
                  <a:lnTo>
                    <a:pt x="94" y="48"/>
                  </a:lnTo>
                  <a:lnTo>
                    <a:pt x="86" y="48"/>
                  </a:lnTo>
                  <a:lnTo>
                    <a:pt x="80" y="50"/>
                  </a:lnTo>
                  <a:lnTo>
                    <a:pt x="72" y="56"/>
                  </a:lnTo>
                  <a:lnTo>
                    <a:pt x="66" y="58"/>
                  </a:lnTo>
                  <a:lnTo>
                    <a:pt x="60" y="60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42" y="52"/>
                  </a:lnTo>
                  <a:lnTo>
                    <a:pt x="44" y="46"/>
                  </a:lnTo>
                  <a:lnTo>
                    <a:pt x="54" y="46"/>
                  </a:lnTo>
                  <a:lnTo>
                    <a:pt x="58" y="46"/>
                  </a:lnTo>
                  <a:lnTo>
                    <a:pt x="54" y="42"/>
                  </a:lnTo>
                  <a:lnTo>
                    <a:pt x="54" y="30"/>
                  </a:lnTo>
                  <a:lnTo>
                    <a:pt x="50" y="32"/>
                  </a:lnTo>
                  <a:lnTo>
                    <a:pt x="36" y="44"/>
                  </a:lnTo>
                  <a:lnTo>
                    <a:pt x="32" y="46"/>
                  </a:lnTo>
                  <a:lnTo>
                    <a:pt x="28" y="4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" name="Freeform 3799">
              <a:extLst>
                <a:ext uri="{FF2B5EF4-FFF2-40B4-BE49-F238E27FC236}">
                  <a16:creationId xmlns:a16="http://schemas.microsoft.com/office/drawing/2014/main" id="{0DF45EA6-28E5-4A10-B489-4B3B65D8B0F6}"/>
                </a:ext>
              </a:extLst>
            </p:cNvPr>
            <p:cNvSpPr/>
            <p:nvPr/>
          </p:nvSpPr>
          <p:spPr bwMode="auto">
            <a:xfrm>
              <a:off x="6603548" y="6733392"/>
              <a:ext cx="4625" cy="4625"/>
            </a:xfrm>
            <a:custGeom>
              <a:avLst/>
              <a:gdLst>
                <a:gd name="T0" fmla="*/ 12 w 12"/>
                <a:gd name="T1" fmla="*/ 10 h 12"/>
                <a:gd name="T2" fmla="*/ 12 w 12"/>
                <a:gd name="T3" fmla="*/ 6 h 12"/>
                <a:gd name="T4" fmla="*/ 8 w 12"/>
                <a:gd name="T5" fmla="*/ 2 h 12"/>
                <a:gd name="T6" fmla="*/ 6 w 12"/>
                <a:gd name="T7" fmla="*/ 0 h 12"/>
                <a:gd name="T8" fmla="*/ 0 w 12"/>
                <a:gd name="T9" fmla="*/ 4 h 12"/>
                <a:gd name="T10" fmla="*/ 4 w 12"/>
                <a:gd name="T11" fmla="*/ 10 h 12"/>
                <a:gd name="T12" fmla="*/ 8 w 12"/>
                <a:gd name="T13" fmla="*/ 12 h 12"/>
                <a:gd name="T14" fmla="*/ 12 w 12"/>
                <a:gd name="T15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2">
                  <a:moveTo>
                    <a:pt x="12" y="10"/>
                  </a:moveTo>
                  <a:lnTo>
                    <a:pt x="12" y="6"/>
                  </a:lnTo>
                  <a:lnTo>
                    <a:pt x="8" y="2"/>
                  </a:lnTo>
                  <a:lnTo>
                    <a:pt x="6" y="0"/>
                  </a:lnTo>
                  <a:lnTo>
                    <a:pt x="0" y="4"/>
                  </a:lnTo>
                  <a:lnTo>
                    <a:pt x="4" y="10"/>
                  </a:lnTo>
                  <a:lnTo>
                    <a:pt x="8" y="12"/>
                  </a:lnTo>
                  <a:lnTo>
                    <a:pt x="12" y="1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" name="Line 3800">
              <a:extLst>
                <a:ext uri="{FF2B5EF4-FFF2-40B4-BE49-F238E27FC236}">
                  <a16:creationId xmlns:a16="http://schemas.microsoft.com/office/drawing/2014/main" id="{723B1A17-2673-4400-BB28-0E94624123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608173" y="6737247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" name="Freeform 3801">
              <a:extLst>
                <a:ext uri="{FF2B5EF4-FFF2-40B4-BE49-F238E27FC236}">
                  <a16:creationId xmlns:a16="http://schemas.microsoft.com/office/drawing/2014/main" id="{3C1B6A15-6C8A-490B-96F4-FF9187270C43}"/>
                </a:ext>
              </a:extLst>
            </p:cNvPr>
            <p:cNvSpPr/>
            <p:nvPr/>
          </p:nvSpPr>
          <p:spPr bwMode="auto">
            <a:xfrm>
              <a:off x="7046031" y="6828981"/>
              <a:ext cx="6167" cy="6938"/>
            </a:xfrm>
            <a:custGeom>
              <a:avLst/>
              <a:gdLst>
                <a:gd name="T0" fmla="*/ 8 w 16"/>
                <a:gd name="T1" fmla="*/ 18 h 18"/>
                <a:gd name="T2" fmla="*/ 10 w 16"/>
                <a:gd name="T3" fmla="*/ 16 h 18"/>
                <a:gd name="T4" fmla="*/ 16 w 16"/>
                <a:gd name="T5" fmla="*/ 6 h 18"/>
                <a:gd name="T6" fmla="*/ 14 w 16"/>
                <a:gd name="T7" fmla="*/ 0 h 18"/>
                <a:gd name="T8" fmla="*/ 6 w 16"/>
                <a:gd name="T9" fmla="*/ 0 h 18"/>
                <a:gd name="T10" fmla="*/ 0 w 16"/>
                <a:gd name="T11" fmla="*/ 0 h 18"/>
                <a:gd name="T12" fmla="*/ 0 w 16"/>
                <a:gd name="T13" fmla="*/ 4 h 18"/>
                <a:gd name="T14" fmla="*/ 0 w 16"/>
                <a:gd name="T15" fmla="*/ 8 h 18"/>
                <a:gd name="T16" fmla="*/ 2 w 16"/>
                <a:gd name="T17" fmla="*/ 12 h 18"/>
                <a:gd name="T18" fmla="*/ 2 w 16"/>
                <a:gd name="T19" fmla="*/ 16 h 18"/>
                <a:gd name="T20" fmla="*/ 4 w 16"/>
                <a:gd name="T21" fmla="*/ 18 h 18"/>
                <a:gd name="T22" fmla="*/ 8 w 16"/>
                <a:gd name="T2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" h="18">
                  <a:moveTo>
                    <a:pt x="8" y="18"/>
                  </a:moveTo>
                  <a:lnTo>
                    <a:pt x="10" y="16"/>
                  </a:lnTo>
                  <a:lnTo>
                    <a:pt x="16" y="6"/>
                  </a:lnTo>
                  <a:lnTo>
                    <a:pt x="14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16"/>
                  </a:lnTo>
                  <a:lnTo>
                    <a:pt x="4" y="18"/>
                  </a:lnTo>
                  <a:lnTo>
                    <a:pt x="8" y="1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" name="Line 3804">
              <a:extLst>
                <a:ext uri="{FF2B5EF4-FFF2-40B4-BE49-F238E27FC236}">
                  <a16:creationId xmlns:a16="http://schemas.microsoft.com/office/drawing/2014/main" id="{F5ECFF24-F4F6-4705-B040-BB90F81A69D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608173" y="6737247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" name="Freeform 3805">
              <a:extLst>
                <a:ext uri="{FF2B5EF4-FFF2-40B4-BE49-F238E27FC236}">
                  <a16:creationId xmlns:a16="http://schemas.microsoft.com/office/drawing/2014/main" id="{425E1EBC-50DB-4477-96BC-4B5369964E97}"/>
                </a:ext>
              </a:extLst>
            </p:cNvPr>
            <p:cNvSpPr/>
            <p:nvPr/>
          </p:nvSpPr>
          <p:spPr bwMode="auto">
            <a:xfrm>
              <a:off x="3734344" y="4969241"/>
              <a:ext cx="5396" cy="4625"/>
            </a:xfrm>
            <a:custGeom>
              <a:avLst/>
              <a:gdLst>
                <a:gd name="T0" fmla="*/ 12 w 14"/>
                <a:gd name="T1" fmla="*/ 8 h 12"/>
                <a:gd name="T2" fmla="*/ 14 w 14"/>
                <a:gd name="T3" fmla="*/ 8 h 12"/>
                <a:gd name="T4" fmla="*/ 14 w 14"/>
                <a:gd name="T5" fmla="*/ 6 h 12"/>
                <a:gd name="T6" fmla="*/ 14 w 14"/>
                <a:gd name="T7" fmla="*/ 4 h 12"/>
                <a:gd name="T8" fmla="*/ 12 w 14"/>
                <a:gd name="T9" fmla="*/ 4 h 12"/>
                <a:gd name="T10" fmla="*/ 10 w 14"/>
                <a:gd name="T11" fmla="*/ 2 h 12"/>
                <a:gd name="T12" fmla="*/ 6 w 14"/>
                <a:gd name="T13" fmla="*/ 0 h 12"/>
                <a:gd name="T14" fmla="*/ 0 w 14"/>
                <a:gd name="T15" fmla="*/ 4 h 12"/>
                <a:gd name="T16" fmla="*/ 2 w 14"/>
                <a:gd name="T17" fmla="*/ 6 h 12"/>
                <a:gd name="T18" fmla="*/ 2 w 14"/>
                <a:gd name="T19" fmla="*/ 10 h 12"/>
                <a:gd name="T20" fmla="*/ 10 w 14"/>
                <a:gd name="T21" fmla="*/ 12 h 12"/>
                <a:gd name="T22" fmla="*/ 12 w 14"/>
                <a:gd name="T2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12">
                  <a:moveTo>
                    <a:pt x="12" y="8"/>
                  </a:moveTo>
                  <a:lnTo>
                    <a:pt x="14" y="8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6" y="0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10"/>
                  </a:lnTo>
                  <a:lnTo>
                    <a:pt x="10" y="12"/>
                  </a:lnTo>
                  <a:lnTo>
                    <a:pt x="12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" name="Freeform 3806">
              <a:extLst>
                <a:ext uri="{FF2B5EF4-FFF2-40B4-BE49-F238E27FC236}">
                  <a16:creationId xmlns:a16="http://schemas.microsoft.com/office/drawing/2014/main" id="{BC3EB545-40FB-4546-B7A5-133B8EEF07F2}"/>
                </a:ext>
              </a:extLst>
            </p:cNvPr>
            <p:cNvSpPr/>
            <p:nvPr/>
          </p:nvSpPr>
          <p:spPr bwMode="auto">
            <a:xfrm>
              <a:off x="3735115" y="4954594"/>
              <a:ext cx="3084" cy="4625"/>
            </a:xfrm>
            <a:custGeom>
              <a:avLst/>
              <a:gdLst>
                <a:gd name="T0" fmla="*/ 8 w 8"/>
                <a:gd name="T1" fmla="*/ 10 h 12"/>
                <a:gd name="T2" fmla="*/ 8 w 8"/>
                <a:gd name="T3" fmla="*/ 4 h 12"/>
                <a:gd name="T4" fmla="*/ 6 w 8"/>
                <a:gd name="T5" fmla="*/ 2 h 12"/>
                <a:gd name="T6" fmla="*/ 4 w 8"/>
                <a:gd name="T7" fmla="*/ 2 h 12"/>
                <a:gd name="T8" fmla="*/ 2 w 8"/>
                <a:gd name="T9" fmla="*/ 0 h 12"/>
                <a:gd name="T10" fmla="*/ 0 w 8"/>
                <a:gd name="T11" fmla="*/ 0 h 12"/>
                <a:gd name="T12" fmla="*/ 0 w 8"/>
                <a:gd name="T13" fmla="*/ 2 h 12"/>
                <a:gd name="T14" fmla="*/ 2 w 8"/>
                <a:gd name="T15" fmla="*/ 8 h 12"/>
                <a:gd name="T16" fmla="*/ 8 w 8"/>
                <a:gd name="T17" fmla="*/ 12 h 12"/>
                <a:gd name="T18" fmla="*/ 8 w 8"/>
                <a:gd name="T19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2">
                  <a:moveTo>
                    <a:pt x="8" y="10"/>
                  </a:moveTo>
                  <a:lnTo>
                    <a:pt x="8" y="4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8"/>
                  </a:lnTo>
                  <a:lnTo>
                    <a:pt x="8" y="12"/>
                  </a:lnTo>
                  <a:lnTo>
                    <a:pt x="8" y="1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" name="Line 3807">
              <a:extLst>
                <a:ext uri="{FF2B5EF4-FFF2-40B4-BE49-F238E27FC236}">
                  <a16:creationId xmlns:a16="http://schemas.microsoft.com/office/drawing/2014/main" id="{8B5F4D66-9B7E-4C7F-B598-CFE8BEEE62E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38199" y="4958449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" name="Line 3810">
              <a:extLst>
                <a:ext uri="{FF2B5EF4-FFF2-40B4-BE49-F238E27FC236}">
                  <a16:creationId xmlns:a16="http://schemas.microsoft.com/office/drawing/2014/main" id="{549CDEF5-7AF0-4B82-B096-42B57714D0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38199" y="4958449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2" name="Freeform 3811">
              <a:extLst>
                <a:ext uri="{FF2B5EF4-FFF2-40B4-BE49-F238E27FC236}">
                  <a16:creationId xmlns:a16="http://schemas.microsoft.com/office/drawing/2014/main" id="{9DFC4831-DFEC-4CFA-B9A2-8435687F5630}"/>
                </a:ext>
              </a:extLst>
            </p:cNvPr>
            <p:cNvSpPr/>
            <p:nvPr/>
          </p:nvSpPr>
          <p:spPr bwMode="auto">
            <a:xfrm>
              <a:off x="9311252" y="7057161"/>
              <a:ext cx="3084" cy="12334"/>
            </a:xfrm>
            <a:custGeom>
              <a:avLst/>
              <a:gdLst>
                <a:gd name="T0" fmla="*/ 4 w 8"/>
                <a:gd name="T1" fmla="*/ 28 h 32"/>
                <a:gd name="T2" fmla="*/ 8 w 8"/>
                <a:gd name="T3" fmla="*/ 12 h 32"/>
                <a:gd name="T4" fmla="*/ 8 w 8"/>
                <a:gd name="T5" fmla="*/ 0 h 32"/>
                <a:gd name="T6" fmla="*/ 6 w 8"/>
                <a:gd name="T7" fmla="*/ 4 h 32"/>
                <a:gd name="T8" fmla="*/ 0 w 8"/>
                <a:gd name="T9" fmla="*/ 26 h 32"/>
                <a:gd name="T10" fmla="*/ 2 w 8"/>
                <a:gd name="T11" fmla="*/ 32 h 32"/>
                <a:gd name="T12" fmla="*/ 4 w 8"/>
                <a:gd name="T13" fmla="*/ 2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2">
                  <a:moveTo>
                    <a:pt x="4" y="28"/>
                  </a:moveTo>
                  <a:lnTo>
                    <a:pt x="8" y="12"/>
                  </a:lnTo>
                  <a:lnTo>
                    <a:pt x="8" y="0"/>
                  </a:lnTo>
                  <a:lnTo>
                    <a:pt x="6" y="4"/>
                  </a:lnTo>
                  <a:lnTo>
                    <a:pt x="0" y="26"/>
                  </a:lnTo>
                  <a:lnTo>
                    <a:pt x="2" y="32"/>
                  </a:lnTo>
                  <a:lnTo>
                    <a:pt x="4" y="2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3" name="Freeform 31">
              <a:extLst>
                <a:ext uri="{FF2B5EF4-FFF2-40B4-BE49-F238E27FC236}">
                  <a16:creationId xmlns:a16="http://schemas.microsoft.com/office/drawing/2014/main" id="{9117C03F-801D-41DE-AF61-8D8C93289A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51082" y="5664572"/>
              <a:ext cx="1028350" cy="971690"/>
            </a:xfrm>
            <a:custGeom>
              <a:avLst/>
              <a:gdLst>
                <a:gd name="connsiteX0" fmla="*/ 5370300 w 6356680"/>
                <a:gd name="connsiteY0" fmla="*/ 5934966 h 6006442"/>
                <a:gd name="connsiteX1" fmla="*/ 5375064 w 6356680"/>
                <a:gd name="connsiteY1" fmla="*/ 5934966 h 6006442"/>
                <a:gd name="connsiteX2" fmla="*/ 5379832 w 6356680"/>
                <a:gd name="connsiteY2" fmla="*/ 5949262 h 6006442"/>
                <a:gd name="connsiteX3" fmla="*/ 5379832 w 6356680"/>
                <a:gd name="connsiteY3" fmla="*/ 5958794 h 6006442"/>
                <a:gd name="connsiteX4" fmla="*/ 5375064 w 6356680"/>
                <a:gd name="connsiteY4" fmla="*/ 5982618 h 6006442"/>
                <a:gd name="connsiteX5" fmla="*/ 5360768 w 6356680"/>
                <a:gd name="connsiteY5" fmla="*/ 5977854 h 6006442"/>
                <a:gd name="connsiteX6" fmla="*/ 5351240 w 6356680"/>
                <a:gd name="connsiteY6" fmla="*/ 5982618 h 6006442"/>
                <a:gd name="connsiteX7" fmla="*/ 5341708 w 6356680"/>
                <a:gd name="connsiteY7" fmla="*/ 5968322 h 6006442"/>
                <a:gd name="connsiteX8" fmla="*/ 5341708 w 6356680"/>
                <a:gd name="connsiteY8" fmla="*/ 5963558 h 6006442"/>
                <a:gd name="connsiteX9" fmla="*/ 5351240 w 6356680"/>
                <a:gd name="connsiteY9" fmla="*/ 5968322 h 6006442"/>
                <a:gd name="connsiteX10" fmla="*/ 5356004 w 6356680"/>
                <a:gd name="connsiteY10" fmla="*/ 5963558 h 6006442"/>
                <a:gd name="connsiteX11" fmla="*/ 5356004 w 6356680"/>
                <a:gd name="connsiteY11" fmla="*/ 5954026 h 6006442"/>
                <a:gd name="connsiteX12" fmla="*/ 5360768 w 6356680"/>
                <a:gd name="connsiteY12" fmla="*/ 5954026 h 6006442"/>
                <a:gd name="connsiteX13" fmla="*/ 5360768 w 6356680"/>
                <a:gd name="connsiteY13" fmla="*/ 5944498 h 6006442"/>
                <a:gd name="connsiteX14" fmla="*/ 5379832 w 6356680"/>
                <a:gd name="connsiteY14" fmla="*/ 5892078 h 6006442"/>
                <a:gd name="connsiteX15" fmla="*/ 5389360 w 6356680"/>
                <a:gd name="connsiteY15" fmla="*/ 5901610 h 6006442"/>
                <a:gd name="connsiteX16" fmla="*/ 5394128 w 6356680"/>
                <a:gd name="connsiteY16" fmla="*/ 5925438 h 6006442"/>
                <a:gd name="connsiteX17" fmla="*/ 5384596 w 6356680"/>
                <a:gd name="connsiteY17" fmla="*/ 5925438 h 6006442"/>
                <a:gd name="connsiteX18" fmla="*/ 5379832 w 6356680"/>
                <a:gd name="connsiteY18" fmla="*/ 5925438 h 6006442"/>
                <a:gd name="connsiteX19" fmla="*/ 5379832 w 6356680"/>
                <a:gd name="connsiteY19" fmla="*/ 5915906 h 6006442"/>
                <a:gd name="connsiteX20" fmla="*/ 5370300 w 6356680"/>
                <a:gd name="connsiteY20" fmla="*/ 5911142 h 6006442"/>
                <a:gd name="connsiteX21" fmla="*/ 5375064 w 6356680"/>
                <a:gd name="connsiteY21" fmla="*/ 5906374 h 6006442"/>
                <a:gd name="connsiteX22" fmla="*/ 5375064 w 6356680"/>
                <a:gd name="connsiteY22" fmla="*/ 5901610 h 6006442"/>
                <a:gd name="connsiteX23" fmla="*/ 5494192 w 6356680"/>
                <a:gd name="connsiteY23" fmla="*/ 5787246 h 6006442"/>
                <a:gd name="connsiteX24" fmla="*/ 5503724 w 6356680"/>
                <a:gd name="connsiteY24" fmla="*/ 5792014 h 6006442"/>
                <a:gd name="connsiteX25" fmla="*/ 5508488 w 6356680"/>
                <a:gd name="connsiteY25" fmla="*/ 5801542 h 6006442"/>
                <a:gd name="connsiteX26" fmla="*/ 5498960 w 6356680"/>
                <a:gd name="connsiteY26" fmla="*/ 5806310 h 6006442"/>
                <a:gd name="connsiteX27" fmla="*/ 5498960 w 6356680"/>
                <a:gd name="connsiteY27" fmla="*/ 5815838 h 6006442"/>
                <a:gd name="connsiteX28" fmla="*/ 5489428 w 6356680"/>
                <a:gd name="connsiteY28" fmla="*/ 5815838 h 6006442"/>
                <a:gd name="connsiteX29" fmla="*/ 5484664 w 6356680"/>
                <a:gd name="connsiteY29" fmla="*/ 5815838 h 6006442"/>
                <a:gd name="connsiteX30" fmla="*/ 5484664 w 6356680"/>
                <a:gd name="connsiteY30" fmla="*/ 5801542 h 6006442"/>
                <a:gd name="connsiteX31" fmla="*/ 5484664 w 6356680"/>
                <a:gd name="connsiteY31" fmla="*/ 5796778 h 6006442"/>
                <a:gd name="connsiteX32" fmla="*/ 4970028 w 6356680"/>
                <a:gd name="connsiteY32" fmla="*/ 5386978 h 6006442"/>
                <a:gd name="connsiteX33" fmla="*/ 4984324 w 6356680"/>
                <a:gd name="connsiteY33" fmla="*/ 5396506 h 6006442"/>
                <a:gd name="connsiteX34" fmla="*/ 5017680 w 6356680"/>
                <a:gd name="connsiteY34" fmla="*/ 5410802 h 6006442"/>
                <a:gd name="connsiteX35" fmla="*/ 5036740 w 6356680"/>
                <a:gd name="connsiteY35" fmla="*/ 5410802 h 6006442"/>
                <a:gd name="connsiteX36" fmla="*/ 5046272 w 6356680"/>
                <a:gd name="connsiteY36" fmla="*/ 5406038 h 6006442"/>
                <a:gd name="connsiteX37" fmla="*/ 5055800 w 6356680"/>
                <a:gd name="connsiteY37" fmla="*/ 5406038 h 6006442"/>
                <a:gd name="connsiteX38" fmla="*/ 5065332 w 6356680"/>
                <a:gd name="connsiteY38" fmla="*/ 5420334 h 6006442"/>
                <a:gd name="connsiteX39" fmla="*/ 5079628 w 6356680"/>
                <a:gd name="connsiteY39" fmla="*/ 5425098 h 6006442"/>
                <a:gd name="connsiteX40" fmla="*/ 5089156 w 6356680"/>
                <a:gd name="connsiteY40" fmla="*/ 5425098 h 6006442"/>
                <a:gd name="connsiteX41" fmla="*/ 5093924 w 6356680"/>
                <a:gd name="connsiteY41" fmla="*/ 5425098 h 6006442"/>
                <a:gd name="connsiteX42" fmla="*/ 5103452 w 6356680"/>
                <a:gd name="connsiteY42" fmla="*/ 5434630 h 6006442"/>
                <a:gd name="connsiteX43" fmla="*/ 5117748 w 6356680"/>
                <a:gd name="connsiteY43" fmla="*/ 5439394 h 6006442"/>
                <a:gd name="connsiteX44" fmla="*/ 5127280 w 6356680"/>
                <a:gd name="connsiteY44" fmla="*/ 5448922 h 6006442"/>
                <a:gd name="connsiteX45" fmla="*/ 5132044 w 6356680"/>
                <a:gd name="connsiteY45" fmla="*/ 5453690 h 6006442"/>
                <a:gd name="connsiteX46" fmla="*/ 5141572 w 6356680"/>
                <a:gd name="connsiteY46" fmla="*/ 5458454 h 6006442"/>
                <a:gd name="connsiteX47" fmla="*/ 5184460 w 6356680"/>
                <a:gd name="connsiteY47" fmla="*/ 5477514 h 6006442"/>
                <a:gd name="connsiteX48" fmla="*/ 5217816 w 6356680"/>
                <a:gd name="connsiteY48" fmla="*/ 5487046 h 6006442"/>
                <a:gd name="connsiteX49" fmla="*/ 5260700 w 6356680"/>
                <a:gd name="connsiteY49" fmla="*/ 5482278 h 6006442"/>
                <a:gd name="connsiteX50" fmla="*/ 5270232 w 6356680"/>
                <a:gd name="connsiteY50" fmla="*/ 5477514 h 6006442"/>
                <a:gd name="connsiteX51" fmla="*/ 5279764 w 6356680"/>
                <a:gd name="connsiteY51" fmla="*/ 5472750 h 6006442"/>
                <a:gd name="connsiteX52" fmla="*/ 5289292 w 6356680"/>
                <a:gd name="connsiteY52" fmla="*/ 5477514 h 6006442"/>
                <a:gd name="connsiteX53" fmla="*/ 5298824 w 6356680"/>
                <a:gd name="connsiteY53" fmla="*/ 5487046 h 6006442"/>
                <a:gd name="connsiteX54" fmla="*/ 5298824 w 6356680"/>
                <a:gd name="connsiteY54" fmla="*/ 5477514 h 6006442"/>
                <a:gd name="connsiteX55" fmla="*/ 5303588 w 6356680"/>
                <a:gd name="connsiteY55" fmla="*/ 5467986 h 6006442"/>
                <a:gd name="connsiteX56" fmla="*/ 5313120 w 6356680"/>
                <a:gd name="connsiteY56" fmla="*/ 5458454 h 6006442"/>
                <a:gd name="connsiteX57" fmla="*/ 5322648 w 6356680"/>
                <a:gd name="connsiteY57" fmla="*/ 5453690 h 6006442"/>
                <a:gd name="connsiteX58" fmla="*/ 5341708 w 6356680"/>
                <a:gd name="connsiteY58" fmla="*/ 5453690 h 6006442"/>
                <a:gd name="connsiteX59" fmla="*/ 5360768 w 6356680"/>
                <a:gd name="connsiteY59" fmla="*/ 5448922 h 6006442"/>
                <a:gd name="connsiteX60" fmla="*/ 5365536 w 6356680"/>
                <a:gd name="connsiteY60" fmla="*/ 5444158 h 6006442"/>
                <a:gd name="connsiteX61" fmla="*/ 5375064 w 6356680"/>
                <a:gd name="connsiteY61" fmla="*/ 5444158 h 6006442"/>
                <a:gd name="connsiteX62" fmla="*/ 5384596 w 6356680"/>
                <a:gd name="connsiteY62" fmla="*/ 5453690 h 6006442"/>
                <a:gd name="connsiteX63" fmla="*/ 5394124 w 6356680"/>
                <a:gd name="connsiteY63" fmla="*/ 5453690 h 6006442"/>
                <a:gd name="connsiteX64" fmla="*/ 5403656 w 6356680"/>
                <a:gd name="connsiteY64" fmla="*/ 5448922 h 6006442"/>
                <a:gd name="connsiteX65" fmla="*/ 5413184 w 6356680"/>
                <a:gd name="connsiteY65" fmla="*/ 5429862 h 6006442"/>
                <a:gd name="connsiteX66" fmla="*/ 5422716 w 6356680"/>
                <a:gd name="connsiteY66" fmla="*/ 5425098 h 6006442"/>
                <a:gd name="connsiteX67" fmla="*/ 5451308 w 6356680"/>
                <a:gd name="connsiteY67" fmla="*/ 5429862 h 6006442"/>
                <a:gd name="connsiteX68" fmla="*/ 5460836 w 6356680"/>
                <a:gd name="connsiteY68" fmla="*/ 5429862 h 6006442"/>
                <a:gd name="connsiteX69" fmla="*/ 5475132 w 6356680"/>
                <a:gd name="connsiteY69" fmla="*/ 5410802 h 6006442"/>
                <a:gd name="connsiteX70" fmla="*/ 5484664 w 6356680"/>
                <a:gd name="connsiteY70" fmla="*/ 5410802 h 6006442"/>
                <a:gd name="connsiteX71" fmla="*/ 5513252 w 6356680"/>
                <a:gd name="connsiteY71" fmla="*/ 5425098 h 6006442"/>
                <a:gd name="connsiteX72" fmla="*/ 5527548 w 6356680"/>
                <a:gd name="connsiteY72" fmla="*/ 5444158 h 6006442"/>
                <a:gd name="connsiteX73" fmla="*/ 5527548 w 6356680"/>
                <a:gd name="connsiteY73" fmla="*/ 5477514 h 6006442"/>
                <a:gd name="connsiteX74" fmla="*/ 5527548 w 6356680"/>
                <a:gd name="connsiteY74" fmla="*/ 5491810 h 6006442"/>
                <a:gd name="connsiteX75" fmla="*/ 5527548 w 6356680"/>
                <a:gd name="connsiteY75" fmla="*/ 5501338 h 6006442"/>
                <a:gd name="connsiteX76" fmla="*/ 5527548 w 6356680"/>
                <a:gd name="connsiteY76" fmla="*/ 5525166 h 6006442"/>
                <a:gd name="connsiteX77" fmla="*/ 5527548 w 6356680"/>
                <a:gd name="connsiteY77" fmla="*/ 5548990 h 6006442"/>
                <a:gd name="connsiteX78" fmla="*/ 5527548 w 6356680"/>
                <a:gd name="connsiteY78" fmla="*/ 5568050 h 6006442"/>
                <a:gd name="connsiteX79" fmla="*/ 5527548 w 6356680"/>
                <a:gd name="connsiteY79" fmla="*/ 5587114 h 6006442"/>
                <a:gd name="connsiteX80" fmla="*/ 5527548 w 6356680"/>
                <a:gd name="connsiteY80" fmla="*/ 5625234 h 6006442"/>
                <a:gd name="connsiteX81" fmla="*/ 5532312 w 6356680"/>
                <a:gd name="connsiteY81" fmla="*/ 5649058 h 6006442"/>
                <a:gd name="connsiteX82" fmla="*/ 5527548 w 6356680"/>
                <a:gd name="connsiteY82" fmla="*/ 5663354 h 6006442"/>
                <a:gd name="connsiteX83" fmla="*/ 5527548 w 6356680"/>
                <a:gd name="connsiteY83" fmla="*/ 5672886 h 6006442"/>
                <a:gd name="connsiteX84" fmla="*/ 5532312 w 6356680"/>
                <a:gd name="connsiteY84" fmla="*/ 5677650 h 6006442"/>
                <a:gd name="connsiteX85" fmla="*/ 5532312 w 6356680"/>
                <a:gd name="connsiteY85" fmla="*/ 5687178 h 6006442"/>
                <a:gd name="connsiteX86" fmla="*/ 5532312 w 6356680"/>
                <a:gd name="connsiteY86" fmla="*/ 5696710 h 6006442"/>
                <a:gd name="connsiteX87" fmla="*/ 5532312 w 6356680"/>
                <a:gd name="connsiteY87" fmla="*/ 5706242 h 6006442"/>
                <a:gd name="connsiteX88" fmla="*/ 5532312 w 6356680"/>
                <a:gd name="connsiteY88" fmla="*/ 5720534 h 6006442"/>
                <a:gd name="connsiteX89" fmla="*/ 5527548 w 6356680"/>
                <a:gd name="connsiteY89" fmla="*/ 5715770 h 6006442"/>
                <a:gd name="connsiteX90" fmla="*/ 5522784 w 6356680"/>
                <a:gd name="connsiteY90" fmla="*/ 5711006 h 6006442"/>
                <a:gd name="connsiteX91" fmla="*/ 5527548 w 6356680"/>
                <a:gd name="connsiteY91" fmla="*/ 5701474 h 6006442"/>
                <a:gd name="connsiteX92" fmla="*/ 5522784 w 6356680"/>
                <a:gd name="connsiteY92" fmla="*/ 5691946 h 6006442"/>
                <a:gd name="connsiteX93" fmla="*/ 5522784 w 6356680"/>
                <a:gd name="connsiteY93" fmla="*/ 5682414 h 6006442"/>
                <a:gd name="connsiteX94" fmla="*/ 5508488 w 6356680"/>
                <a:gd name="connsiteY94" fmla="*/ 5677650 h 6006442"/>
                <a:gd name="connsiteX95" fmla="*/ 5513252 w 6356680"/>
                <a:gd name="connsiteY95" fmla="*/ 5672886 h 6006442"/>
                <a:gd name="connsiteX96" fmla="*/ 5518020 w 6356680"/>
                <a:gd name="connsiteY96" fmla="*/ 5668118 h 6006442"/>
                <a:gd name="connsiteX97" fmla="*/ 5513252 w 6356680"/>
                <a:gd name="connsiteY97" fmla="*/ 5658590 h 6006442"/>
                <a:gd name="connsiteX98" fmla="*/ 5508488 w 6356680"/>
                <a:gd name="connsiteY98" fmla="*/ 5663354 h 6006442"/>
                <a:gd name="connsiteX99" fmla="*/ 5503724 w 6356680"/>
                <a:gd name="connsiteY99" fmla="*/ 5677650 h 6006442"/>
                <a:gd name="connsiteX100" fmla="*/ 5503724 w 6356680"/>
                <a:gd name="connsiteY100" fmla="*/ 5682414 h 6006442"/>
                <a:gd name="connsiteX101" fmla="*/ 5503724 w 6356680"/>
                <a:gd name="connsiteY101" fmla="*/ 5687178 h 6006442"/>
                <a:gd name="connsiteX102" fmla="*/ 5489428 w 6356680"/>
                <a:gd name="connsiteY102" fmla="*/ 5701474 h 6006442"/>
                <a:gd name="connsiteX103" fmla="*/ 5484664 w 6356680"/>
                <a:gd name="connsiteY103" fmla="*/ 5715770 h 6006442"/>
                <a:gd name="connsiteX104" fmla="*/ 5479896 w 6356680"/>
                <a:gd name="connsiteY104" fmla="*/ 5734830 h 6006442"/>
                <a:gd name="connsiteX105" fmla="*/ 5484664 w 6356680"/>
                <a:gd name="connsiteY105" fmla="*/ 5753890 h 6006442"/>
                <a:gd name="connsiteX106" fmla="*/ 5475132 w 6356680"/>
                <a:gd name="connsiteY106" fmla="*/ 5768186 h 6006442"/>
                <a:gd name="connsiteX107" fmla="*/ 5470368 w 6356680"/>
                <a:gd name="connsiteY107" fmla="*/ 5782482 h 6006442"/>
                <a:gd name="connsiteX108" fmla="*/ 5465604 w 6356680"/>
                <a:gd name="connsiteY108" fmla="*/ 5801542 h 6006442"/>
                <a:gd name="connsiteX109" fmla="*/ 5465604 w 6356680"/>
                <a:gd name="connsiteY109" fmla="*/ 5834898 h 6006442"/>
                <a:gd name="connsiteX110" fmla="*/ 5475132 w 6356680"/>
                <a:gd name="connsiteY110" fmla="*/ 5868254 h 6006442"/>
                <a:gd name="connsiteX111" fmla="*/ 5479896 w 6356680"/>
                <a:gd name="connsiteY111" fmla="*/ 5906374 h 6006442"/>
                <a:gd name="connsiteX112" fmla="*/ 5470368 w 6356680"/>
                <a:gd name="connsiteY112" fmla="*/ 5915906 h 6006442"/>
                <a:gd name="connsiteX113" fmla="*/ 5456072 w 6356680"/>
                <a:gd name="connsiteY113" fmla="*/ 5915906 h 6006442"/>
                <a:gd name="connsiteX114" fmla="*/ 5446540 w 6356680"/>
                <a:gd name="connsiteY114" fmla="*/ 5920670 h 6006442"/>
                <a:gd name="connsiteX115" fmla="*/ 5432248 w 6356680"/>
                <a:gd name="connsiteY115" fmla="*/ 5901610 h 6006442"/>
                <a:gd name="connsiteX116" fmla="*/ 5427480 w 6356680"/>
                <a:gd name="connsiteY116" fmla="*/ 5877786 h 6006442"/>
                <a:gd name="connsiteX117" fmla="*/ 5432248 w 6356680"/>
                <a:gd name="connsiteY117" fmla="*/ 5868254 h 6006442"/>
                <a:gd name="connsiteX118" fmla="*/ 5446540 w 6356680"/>
                <a:gd name="connsiteY118" fmla="*/ 5877786 h 6006442"/>
                <a:gd name="connsiteX119" fmla="*/ 5451308 w 6356680"/>
                <a:gd name="connsiteY119" fmla="*/ 5868254 h 6006442"/>
                <a:gd name="connsiteX120" fmla="*/ 5451308 w 6356680"/>
                <a:gd name="connsiteY120" fmla="*/ 5863490 h 6006442"/>
                <a:gd name="connsiteX121" fmla="*/ 5451308 w 6356680"/>
                <a:gd name="connsiteY121" fmla="*/ 5858726 h 6006442"/>
                <a:gd name="connsiteX122" fmla="*/ 5432248 w 6356680"/>
                <a:gd name="connsiteY122" fmla="*/ 5849194 h 6006442"/>
                <a:gd name="connsiteX123" fmla="*/ 5413184 w 6356680"/>
                <a:gd name="connsiteY123" fmla="*/ 5844430 h 6006442"/>
                <a:gd name="connsiteX124" fmla="*/ 5408420 w 6356680"/>
                <a:gd name="connsiteY124" fmla="*/ 5849194 h 6006442"/>
                <a:gd name="connsiteX125" fmla="*/ 5408420 w 6356680"/>
                <a:gd name="connsiteY125" fmla="*/ 5868254 h 6006442"/>
                <a:gd name="connsiteX126" fmla="*/ 5408420 w 6356680"/>
                <a:gd name="connsiteY126" fmla="*/ 5873018 h 6006442"/>
                <a:gd name="connsiteX127" fmla="*/ 5394124 w 6356680"/>
                <a:gd name="connsiteY127" fmla="*/ 5882550 h 6006442"/>
                <a:gd name="connsiteX128" fmla="*/ 5389360 w 6356680"/>
                <a:gd name="connsiteY128" fmla="*/ 5853958 h 6006442"/>
                <a:gd name="connsiteX129" fmla="*/ 5370300 w 6356680"/>
                <a:gd name="connsiteY129" fmla="*/ 5830134 h 6006442"/>
                <a:gd name="connsiteX130" fmla="*/ 5370300 w 6356680"/>
                <a:gd name="connsiteY130" fmla="*/ 5839662 h 6006442"/>
                <a:gd name="connsiteX131" fmla="*/ 5379832 w 6356680"/>
                <a:gd name="connsiteY131" fmla="*/ 5858726 h 6006442"/>
                <a:gd name="connsiteX132" fmla="*/ 5379832 w 6356680"/>
                <a:gd name="connsiteY132" fmla="*/ 5868254 h 6006442"/>
                <a:gd name="connsiteX133" fmla="*/ 5375064 w 6356680"/>
                <a:gd name="connsiteY133" fmla="*/ 5877786 h 6006442"/>
                <a:gd name="connsiteX134" fmla="*/ 5370300 w 6356680"/>
                <a:gd name="connsiteY134" fmla="*/ 5882550 h 6006442"/>
                <a:gd name="connsiteX135" fmla="*/ 5365536 w 6356680"/>
                <a:gd name="connsiteY135" fmla="*/ 5892082 h 6006442"/>
                <a:gd name="connsiteX136" fmla="*/ 5365536 w 6356680"/>
                <a:gd name="connsiteY136" fmla="*/ 5901610 h 6006442"/>
                <a:gd name="connsiteX137" fmla="*/ 5365536 w 6356680"/>
                <a:gd name="connsiteY137" fmla="*/ 5920670 h 6006442"/>
                <a:gd name="connsiteX138" fmla="*/ 5351240 w 6356680"/>
                <a:gd name="connsiteY138" fmla="*/ 5930202 h 6006442"/>
                <a:gd name="connsiteX139" fmla="*/ 5322648 w 6356680"/>
                <a:gd name="connsiteY139" fmla="*/ 5906374 h 6006442"/>
                <a:gd name="connsiteX140" fmla="*/ 5322648 w 6356680"/>
                <a:gd name="connsiteY140" fmla="*/ 5915906 h 6006442"/>
                <a:gd name="connsiteX141" fmla="*/ 5322648 w 6356680"/>
                <a:gd name="connsiteY141" fmla="*/ 5920670 h 6006442"/>
                <a:gd name="connsiteX142" fmla="*/ 5336944 w 6356680"/>
                <a:gd name="connsiteY142" fmla="*/ 5934966 h 6006442"/>
                <a:gd name="connsiteX143" fmla="*/ 5332180 w 6356680"/>
                <a:gd name="connsiteY143" fmla="*/ 5944498 h 6006442"/>
                <a:gd name="connsiteX144" fmla="*/ 5327412 w 6356680"/>
                <a:gd name="connsiteY144" fmla="*/ 5954026 h 6006442"/>
                <a:gd name="connsiteX145" fmla="*/ 5317884 w 6356680"/>
                <a:gd name="connsiteY145" fmla="*/ 5982618 h 6006442"/>
                <a:gd name="connsiteX146" fmla="*/ 5303588 w 6356680"/>
                <a:gd name="connsiteY146" fmla="*/ 6006442 h 6006442"/>
                <a:gd name="connsiteX147" fmla="*/ 5298824 w 6356680"/>
                <a:gd name="connsiteY147" fmla="*/ 6006442 h 6006442"/>
                <a:gd name="connsiteX148" fmla="*/ 5279764 w 6356680"/>
                <a:gd name="connsiteY148" fmla="*/ 6001678 h 6006442"/>
                <a:gd name="connsiteX149" fmla="*/ 5255936 w 6356680"/>
                <a:gd name="connsiteY149" fmla="*/ 5982618 h 6006442"/>
                <a:gd name="connsiteX150" fmla="*/ 5232112 w 6356680"/>
                <a:gd name="connsiteY150" fmla="*/ 5987382 h 6006442"/>
                <a:gd name="connsiteX151" fmla="*/ 5198756 w 6356680"/>
                <a:gd name="connsiteY151" fmla="*/ 5982618 h 6006442"/>
                <a:gd name="connsiteX152" fmla="*/ 5174928 w 6356680"/>
                <a:gd name="connsiteY152" fmla="*/ 5992146 h 6006442"/>
                <a:gd name="connsiteX153" fmla="*/ 5170164 w 6356680"/>
                <a:gd name="connsiteY153" fmla="*/ 5968322 h 6006442"/>
                <a:gd name="connsiteX154" fmla="*/ 5165400 w 6356680"/>
                <a:gd name="connsiteY154" fmla="*/ 5963558 h 6006442"/>
                <a:gd name="connsiteX155" fmla="*/ 5170164 w 6356680"/>
                <a:gd name="connsiteY155" fmla="*/ 5954026 h 6006442"/>
                <a:gd name="connsiteX156" fmla="*/ 5184460 w 6356680"/>
                <a:gd name="connsiteY156" fmla="*/ 5949262 h 6006442"/>
                <a:gd name="connsiteX157" fmla="*/ 5203520 w 6356680"/>
                <a:gd name="connsiteY157" fmla="*/ 5949262 h 6006442"/>
                <a:gd name="connsiteX158" fmla="*/ 5198756 w 6356680"/>
                <a:gd name="connsiteY158" fmla="*/ 5944498 h 6006442"/>
                <a:gd name="connsiteX159" fmla="*/ 5193992 w 6356680"/>
                <a:gd name="connsiteY159" fmla="*/ 5939730 h 6006442"/>
                <a:gd name="connsiteX160" fmla="*/ 5189224 w 6356680"/>
                <a:gd name="connsiteY160" fmla="*/ 5939730 h 6006442"/>
                <a:gd name="connsiteX161" fmla="*/ 5165400 w 6356680"/>
                <a:gd name="connsiteY161" fmla="*/ 5934966 h 6006442"/>
                <a:gd name="connsiteX162" fmla="*/ 5151104 w 6356680"/>
                <a:gd name="connsiteY162" fmla="*/ 5939730 h 6006442"/>
                <a:gd name="connsiteX163" fmla="*/ 5136808 w 6356680"/>
                <a:gd name="connsiteY163" fmla="*/ 5925434 h 6006442"/>
                <a:gd name="connsiteX164" fmla="*/ 5117748 w 6356680"/>
                <a:gd name="connsiteY164" fmla="*/ 5892082 h 6006442"/>
                <a:gd name="connsiteX165" fmla="*/ 5108216 w 6356680"/>
                <a:gd name="connsiteY165" fmla="*/ 5873018 h 6006442"/>
                <a:gd name="connsiteX166" fmla="*/ 5103452 w 6356680"/>
                <a:gd name="connsiteY166" fmla="*/ 5868254 h 6006442"/>
                <a:gd name="connsiteX167" fmla="*/ 5093924 w 6356680"/>
                <a:gd name="connsiteY167" fmla="*/ 5863490 h 6006442"/>
                <a:gd name="connsiteX168" fmla="*/ 5089156 w 6356680"/>
                <a:gd name="connsiteY168" fmla="*/ 5858726 h 6006442"/>
                <a:gd name="connsiteX169" fmla="*/ 5055800 w 6356680"/>
                <a:gd name="connsiteY169" fmla="*/ 5777718 h 6006442"/>
                <a:gd name="connsiteX170" fmla="*/ 5051036 w 6356680"/>
                <a:gd name="connsiteY170" fmla="*/ 5758658 h 6006442"/>
                <a:gd name="connsiteX171" fmla="*/ 5041508 w 6356680"/>
                <a:gd name="connsiteY171" fmla="*/ 5711006 h 6006442"/>
                <a:gd name="connsiteX172" fmla="*/ 5070096 w 6356680"/>
                <a:gd name="connsiteY172" fmla="*/ 5734830 h 6006442"/>
                <a:gd name="connsiteX173" fmla="*/ 5079628 w 6356680"/>
                <a:gd name="connsiteY173" fmla="*/ 5749126 h 6006442"/>
                <a:gd name="connsiteX174" fmla="*/ 5084392 w 6356680"/>
                <a:gd name="connsiteY174" fmla="*/ 5768186 h 6006442"/>
                <a:gd name="connsiteX175" fmla="*/ 5093924 w 6356680"/>
                <a:gd name="connsiteY175" fmla="*/ 5744362 h 6006442"/>
                <a:gd name="connsiteX176" fmla="*/ 5093924 w 6356680"/>
                <a:gd name="connsiteY176" fmla="*/ 5739598 h 6006442"/>
                <a:gd name="connsiteX177" fmla="*/ 5070096 w 6356680"/>
                <a:gd name="connsiteY177" fmla="*/ 5711006 h 6006442"/>
                <a:gd name="connsiteX178" fmla="*/ 5065332 w 6356680"/>
                <a:gd name="connsiteY178" fmla="*/ 5701474 h 6006442"/>
                <a:gd name="connsiteX179" fmla="*/ 5065332 w 6356680"/>
                <a:gd name="connsiteY179" fmla="*/ 5691946 h 6006442"/>
                <a:gd name="connsiteX180" fmla="*/ 5060568 w 6356680"/>
                <a:gd name="connsiteY180" fmla="*/ 5701474 h 6006442"/>
                <a:gd name="connsiteX181" fmla="*/ 5051036 w 6356680"/>
                <a:gd name="connsiteY181" fmla="*/ 5706242 h 6006442"/>
                <a:gd name="connsiteX182" fmla="*/ 5051036 w 6356680"/>
                <a:gd name="connsiteY182" fmla="*/ 5687178 h 6006442"/>
                <a:gd name="connsiteX183" fmla="*/ 5051036 w 6356680"/>
                <a:gd name="connsiteY183" fmla="*/ 5668118 h 6006442"/>
                <a:gd name="connsiteX184" fmla="*/ 5022444 w 6356680"/>
                <a:gd name="connsiteY184" fmla="*/ 5625234 h 6006442"/>
                <a:gd name="connsiteX185" fmla="*/ 4998620 w 6356680"/>
                <a:gd name="connsiteY185" fmla="*/ 5587114 h 6006442"/>
                <a:gd name="connsiteX186" fmla="*/ 4979560 w 6356680"/>
                <a:gd name="connsiteY186" fmla="*/ 5539462 h 6006442"/>
                <a:gd name="connsiteX187" fmla="*/ 4974796 w 6356680"/>
                <a:gd name="connsiteY187" fmla="*/ 5534694 h 6006442"/>
                <a:gd name="connsiteX188" fmla="*/ 4974796 w 6356680"/>
                <a:gd name="connsiteY188" fmla="*/ 5525166 h 6006442"/>
                <a:gd name="connsiteX189" fmla="*/ 4965264 w 6356680"/>
                <a:gd name="connsiteY189" fmla="*/ 5491810 h 6006442"/>
                <a:gd name="connsiteX190" fmla="*/ 4960500 w 6356680"/>
                <a:gd name="connsiteY190" fmla="*/ 5472750 h 6006442"/>
                <a:gd name="connsiteX191" fmla="*/ 4955736 w 6356680"/>
                <a:gd name="connsiteY191" fmla="*/ 5448922 h 6006442"/>
                <a:gd name="connsiteX192" fmla="*/ 4965264 w 6356680"/>
                <a:gd name="connsiteY192" fmla="*/ 5410802 h 6006442"/>
                <a:gd name="connsiteX193" fmla="*/ 5498960 w 6356680"/>
                <a:gd name="connsiteY193" fmla="*/ 5353622 h 6006442"/>
                <a:gd name="connsiteX194" fmla="*/ 5513252 w 6356680"/>
                <a:gd name="connsiteY194" fmla="*/ 5353622 h 6006442"/>
                <a:gd name="connsiteX195" fmla="*/ 5518020 w 6356680"/>
                <a:gd name="connsiteY195" fmla="*/ 5353622 h 6006442"/>
                <a:gd name="connsiteX196" fmla="*/ 5508488 w 6356680"/>
                <a:gd name="connsiteY196" fmla="*/ 5372682 h 6006442"/>
                <a:gd name="connsiteX197" fmla="*/ 5498960 w 6356680"/>
                <a:gd name="connsiteY197" fmla="*/ 5358386 h 6006442"/>
                <a:gd name="connsiteX198" fmla="*/ 4979560 w 6356680"/>
                <a:gd name="connsiteY198" fmla="*/ 5339326 h 6006442"/>
                <a:gd name="connsiteX199" fmla="*/ 4979560 w 6356680"/>
                <a:gd name="connsiteY199" fmla="*/ 5353622 h 6006442"/>
                <a:gd name="connsiteX200" fmla="*/ 4974792 w 6356680"/>
                <a:gd name="connsiteY200" fmla="*/ 5367918 h 6006442"/>
                <a:gd name="connsiteX201" fmla="*/ 4965264 w 6356680"/>
                <a:gd name="connsiteY201" fmla="*/ 5348858 h 6006442"/>
                <a:gd name="connsiteX202" fmla="*/ 4974792 w 6356680"/>
                <a:gd name="connsiteY202" fmla="*/ 5344090 h 6006442"/>
                <a:gd name="connsiteX203" fmla="*/ 5532316 w 6356680"/>
                <a:gd name="connsiteY203" fmla="*/ 5310734 h 6006442"/>
                <a:gd name="connsiteX204" fmla="*/ 5546608 w 6356680"/>
                <a:gd name="connsiteY204" fmla="*/ 5325030 h 6006442"/>
                <a:gd name="connsiteX205" fmla="*/ 5556140 w 6356680"/>
                <a:gd name="connsiteY205" fmla="*/ 5339326 h 6006442"/>
                <a:gd name="connsiteX206" fmla="*/ 5546608 w 6356680"/>
                <a:gd name="connsiteY206" fmla="*/ 5348854 h 6006442"/>
                <a:gd name="connsiteX207" fmla="*/ 5537080 w 6356680"/>
                <a:gd name="connsiteY207" fmla="*/ 5348854 h 6006442"/>
                <a:gd name="connsiteX208" fmla="*/ 5532316 w 6356680"/>
                <a:gd name="connsiteY208" fmla="*/ 5339326 h 6006442"/>
                <a:gd name="connsiteX209" fmla="*/ 5513252 w 6356680"/>
                <a:gd name="connsiteY209" fmla="*/ 5344090 h 6006442"/>
                <a:gd name="connsiteX210" fmla="*/ 5498960 w 6356680"/>
                <a:gd name="connsiteY210" fmla="*/ 5339326 h 6006442"/>
                <a:gd name="connsiteX211" fmla="*/ 5484664 w 6356680"/>
                <a:gd name="connsiteY211" fmla="*/ 5329794 h 6006442"/>
                <a:gd name="connsiteX212" fmla="*/ 5484664 w 6356680"/>
                <a:gd name="connsiteY212" fmla="*/ 5325030 h 6006442"/>
                <a:gd name="connsiteX213" fmla="*/ 5489428 w 6356680"/>
                <a:gd name="connsiteY213" fmla="*/ 5320266 h 6006442"/>
                <a:gd name="connsiteX214" fmla="*/ 5513252 w 6356680"/>
                <a:gd name="connsiteY214" fmla="*/ 5320266 h 6006442"/>
                <a:gd name="connsiteX215" fmla="*/ 5470368 w 6356680"/>
                <a:gd name="connsiteY215" fmla="*/ 5191606 h 6006442"/>
                <a:gd name="connsiteX216" fmla="*/ 5479896 w 6356680"/>
                <a:gd name="connsiteY216" fmla="*/ 5201138 h 6006442"/>
                <a:gd name="connsiteX217" fmla="*/ 5508488 w 6356680"/>
                <a:gd name="connsiteY217" fmla="*/ 5234494 h 6006442"/>
                <a:gd name="connsiteX218" fmla="*/ 5522784 w 6356680"/>
                <a:gd name="connsiteY218" fmla="*/ 5244022 h 6006442"/>
                <a:gd name="connsiteX219" fmla="*/ 5527548 w 6356680"/>
                <a:gd name="connsiteY219" fmla="*/ 5244022 h 6006442"/>
                <a:gd name="connsiteX220" fmla="*/ 5527548 w 6356680"/>
                <a:gd name="connsiteY220" fmla="*/ 5263082 h 6006442"/>
                <a:gd name="connsiteX221" fmla="*/ 5522784 w 6356680"/>
                <a:gd name="connsiteY221" fmla="*/ 5267850 h 6006442"/>
                <a:gd name="connsiteX222" fmla="*/ 5532312 w 6356680"/>
                <a:gd name="connsiteY222" fmla="*/ 5277378 h 6006442"/>
                <a:gd name="connsiteX223" fmla="*/ 5532312 w 6356680"/>
                <a:gd name="connsiteY223" fmla="*/ 5282146 h 6006442"/>
                <a:gd name="connsiteX224" fmla="*/ 5527548 w 6356680"/>
                <a:gd name="connsiteY224" fmla="*/ 5282146 h 6006442"/>
                <a:gd name="connsiteX225" fmla="*/ 5513252 w 6356680"/>
                <a:gd name="connsiteY225" fmla="*/ 5296438 h 6006442"/>
                <a:gd name="connsiteX226" fmla="*/ 5498960 w 6356680"/>
                <a:gd name="connsiteY226" fmla="*/ 5301206 h 6006442"/>
                <a:gd name="connsiteX227" fmla="*/ 5494192 w 6356680"/>
                <a:gd name="connsiteY227" fmla="*/ 5296438 h 6006442"/>
                <a:gd name="connsiteX228" fmla="*/ 5489428 w 6356680"/>
                <a:gd name="connsiteY228" fmla="*/ 5291674 h 6006442"/>
                <a:gd name="connsiteX229" fmla="*/ 5484664 w 6356680"/>
                <a:gd name="connsiteY229" fmla="*/ 5282146 h 6006442"/>
                <a:gd name="connsiteX230" fmla="*/ 5465604 w 6356680"/>
                <a:gd name="connsiteY230" fmla="*/ 5253554 h 6006442"/>
                <a:gd name="connsiteX231" fmla="*/ 5465604 w 6356680"/>
                <a:gd name="connsiteY231" fmla="*/ 5244022 h 6006442"/>
                <a:gd name="connsiteX232" fmla="*/ 5460836 w 6356680"/>
                <a:gd name="connsiteY232" fmla="*/ 5229730 h 6006442"/>
                <a:gd name="connsiteX233" fmla="*/ 5451308 w 6356680"/>
                <a:gd name="connsiteY233" fmla="*/ 5229730 h 6006442"/>
                <a:gd name="connsiteX234" fmla="*/ 5446544 w 6356680"/>
                <a:gd name="connsiteY234" fmla="*/ 5220198 h 6006442"/>
                <a:gd name="connsiteX235" fmla="*/ 5456072 w 6356680"/>
                <a:gd name="connsiteY235" fmla="*/ 5215434 h 6006442"/>
                <a:gd name="connsiteX236" fmla="*/ 4846136 w 6356680"/>
                <a:gd name="connsiteY236" fmla="*/ 5163014 h 6006442"/>
                <a:gd name="connsiteX237" fmla="*/ 4855664 w 6356680"/>
                <a:gd name="connsiteY237" fmla="*/ 5163014 h 6006442"/>
                <a:gd name="connsiteX238" fmla="*/ 4869960 w 6356680"/>
                <a:gd name="connsiteY238" fmla="*/ 5177310 h 6006442"/>
                <a:gd name="connsiteX239" fmla="*/ 4874724 w 6356680"/>
                <a:gd name="connsiteY239" fmla="*/ 5205902 h 6006442"/>
                <a:gd name="connsiteX240" fmla="*/ 4874724 w 6356680"/>
                <a:gd name="connsiteY240" fmla="*/ 5224962 h 6006442"/>
                <a:gd name="connsiteX241" fmla="*/ 4879492 w 6356680"/>
                <a:gd name="connsiteY241" fmla="*/ 5239258 h 6006442"/>
                <a:gd name="connsiteX242" fmla="*/ 4874724 w 6356680"/>
                <a:gd name="connsiteY242" fmla="*/ 5253554 h 6006442"/>
                <a:gd name="connsiteX243" fmla="*/ 4860432 w 6356680"/>
                <a:gd name="connsiteY243" fmla="*/ 5263082 h 6006442"/>
                <a:gd name="connsiteX244" fmla="*/ 4846136 w 6356680"/>
                <a:gd name="connsiteY244" fmla="*/ 5272614 h 6006442"/>
                <a:gd name="connsiteX245" fmla="*/ 4841372 w 6356680"/>
                <a:gd name="connsiteY245" fmla="*/ 5272614 h 6006442"/>
                <a:gd name="connsiteX246" fmla="*/ 4836604 w 6356680"/>
                <a:gd name="connsiteY246" fmla="*/ 5263082 h 6006442"/>
                <a:gd name="connsiteX247" fmla="*/ 4841372 w 6356680"/>
                <a:gd name="connsiteY247" fmla="*/ 5244022 h 6006442"/>
                <a:gd name="connsiteX248" fmla="*/ 4831840 w 6356680"/>
                <a:gd name="connsiteY248" fmla="*/ 5229726 h 6006442"/>
                <a:gd name="connsiteX249" fmla="*/ 4836604 w 6356680"/>
                <a:gd name="connsiteY249" fmla="*/ 5215434 h 6006442"/>
                <a:gd name="connsiteX250" fmla="*/ 4836604 w 6356680"/>
                <a:gd name="connsiteY250" fmla="*/ 5196370 h 6006442"/>
                <a:gd name="connsiteX251" fmla="*/ 4836604 w 6356680"/>
                <a:gd name="connsiteY251" fmla="*/ 5186842 h 6006442"/>
                <a:gd name="connsiteX252" fmla="*/ 4846136 w 6356680"/>
                <a:gd name="connsiteY252" fmla="*/ 5177310 h 6006442"/>
                <a:gd name="connsiteX253" fmla="*/ 5046272 w 6356680"/>
                <a:gd name="connsiteY253" fmla="*/ 4939054 h 6006442"/>
                <a:gd name="connsiteX254" fmla="*/ 5055800 w 6356680"/>
                <a:gd name="connsiteY254" fmla="*/ 4939054 h 6006442"/>
                <a:gd name="connsiteX255" fmla="*/ 5060568 w 6356680"/>
                <a:gd name="connsiteY255" fmla="*/ 4943822 h 6006442"/>
                <a:gd name="connsiteX256" fmla="*/ 5065332 w 6356680"/>
                <a:gd name="connsiteY256" fmla="*/ 4953350 h 6006442"/>
                <a:gd name="connsiteX257" fmla="*/ 5070096 w 6356680"/>
                <a:gd name="connsiteY257" fmla="*/ 4958118 h 6006442"/>
                <a:gd name="connsiteX258" fmla="*/ 5055800 w 6356680"/>
                <a:gd name="connsiteY258" fmla="*/ 4948586 h 6006442"/>
                <a:gd name="connsiteX259" fmla="*/ 5031976 w 6356680"/>
                <a:gd name="connsiteY259" fmla="*/ 4953350 h 6006442"/>
                <a:gd name="connsiteX260" fmla="*/ 5060568 w 6356680"/>
                <a:gd name="connsiteY260" fmla="*/ 4910462 h 6006442"/>
                <a:gd name="connsiteX261" fmla="*/ 5079628 w 6356680"/>
                <a:gd name="connsiteY261" fmla="*/ 4910462 h 6006442"/>
                <a:gd name="connsiteX262" fmla="*/ 5089156 w 6356680"/>
                <a:gd name="connsiteY262" fmla="*/ 4919994 h 6006442"/>
                <a:gd name="connsiteX263" fmla="*/ 5065332 w 6356680"/>
                <a:gd name="connsiteY263" fmla="*/ 4929526 h 6006442"/>
                <a:gd name="connsiteX264" fmla="*/ 5055800 w 6356680"/>
                <a:gd name="connsiteY264" fmla="*/ 4924758 h 6006442"/>
                <a:gd name="connsiteX265" fmla="*/ 5055800 w 6356680"/>
                <a:gd name="connsiteY265" fmla="*/ 4915230 h 6006442"/>
                <a:gd name="connsiteX266" fmla="*/ 3816868 w 6356680"/>
                <a:gd name="connsiteY266" fmla="*/ 4376770 h 6006442"/>
                <a:gd name="connsiteX267" fmla="*/ 3845460 w 6356680"/>
                <a:gd name="connsiteY267" fmla="*/ 4381534 h 6006442"/>
                <a:gd name="connsiteX268" fmla="*/ 3854988 w 6356680"/>
                <a:gd name="connsiteY268" fmla="*/ 4381534 h 6006442"/>
                <a:gd name="connsiteX269" fmla="*/ 3864520 w 6356680"/>
                <a:gd name="connsiteY269" fmla="*/ 4391066 h 6006442"/>
                <a:gd name="connsiteX270" fmla="*/ 3854988 w 6356680"/>
                <a:gd name="connsiteY270" fmla="*/ 4400594 h 6006442"/>
                <a:gd name="connsiteX271" fmla="*/ 3854988 w 6356680"/>
                <a:gd name="connsiteY271" fmla="*/ 4405358 h 6006442"/>
                <a:gd name="connsiteX272" fmla="*/ 3893112 w 6356680"/>
                <a:gd name="connsiteY272" fmla="*/ 4410126 h 6006442"/>
                <a:gd name="connsiteX273" fmla="*/ 3907408 w 6356680"/>
                <a:gd name="connsiteY273" fmla="*/ 4400594 h 6006442"/>
                <a:gd name="connsiteX274" fmla="*/ 3926468 w 6356680"/>
                <a:gd name="connsiteY274" fmla="*/ 4410126 h 6006442"/>
                <a:gd name="connsiteX275" fmla="*/ 3940760 w 6356680"/>
                <a:gd name="connsiteY275" fmla="*/ 4429186 h 6006442"/>
                <a:gd name="connsiteX276" fmla="*/ 3931232 w 6356680"/>
                <a:gd name="connsiteY276" fmla="*/ 4438714 h 6006442"/>
                <a:gd name="connsiteX277" fmla="*/ 3921700 w 6356680"/>
                <a:gd name="connsiteY277" fmla="*/ 4438714 h 6006442"/>
                <a:gd name="connsiteX278" fmla="*/ 3893112 w 6356680"/>
                <a:gd name="connsiteY278" fmla="*/ 4429186 h 6006442"/>
                <a:gd name="connsiteX279" fmla="*/ 3869284 w 6356680"/>
                <a:gd name="connsiteY279" fmla="*/ 4433950 h 6006442"/>
                <a:gd name="connsiteX280" fmla="*/ 3859756 w 6356680"/>
                <a:gd name="connsiteY280" fmla="*/ 4443482 h 6006442"/>
                <a:gd name="connsiteX281" fmla="*/ 3854988 w 6356680"/>
                <a:gd name="connsiteY281" fmla="*/ 4462542 h 6006442"/>
                <a:gd name="connsiteX282" fmla="*/ 3831164 w 6356680"/>
                <a:gd name="connsiteY282" fmla="*/ 4472074 h 6006442"/>
                <a:gd name="connsiteX283" fmla="*/ 3821632 w 6356680"/>
                <a:gd name="connsiteY283" fmla="*/ 4457778 h 6006442"/>
                <a:gd name="connsiteX284" fmla="*/ 3797808 w 6356680"/>
                <a:gd name="connsiteY284" fmla="*/ 4453010 h 6006442"/>
                <a:gd name="connsiteX285" fmla="*/ 3788276 w 6356680"/>
                <a:gd name="connsiteY285" fmla="*/ 4462542 h 6006442"/>
                <a:gd name="connsiteX286" fmla="*/ 3769216 w 6356680"/>
                <a:gd name="connsiteY286" fmla="*/ 4462542 h 6006442"/>
                <a:gd name="connsiteX287" fmla="*/ 3750156 w 6356680"/>
                <a:gd name="connsiteY287" fmla="*/ 4467306 h 6006442"/>
                <a:gd name="connsiteX288" fmla="*/ 3726332 w 6356680"/>
                <a:gd name="connsiteY288" fmla="*/ 4462542 h 6006442"/>
                <a:gd name="connsiteX289" fmla="*/ 3697740 w 6356680"/>
                <a:gd name="connsiteY289" fmla="*/ 4443482 h 6006442"/>
                <a:gd name="connsiteX290" fmla="*/ 3692976 w 6356680"/>
                <a:gd name="connsiteY290" fmla="*/ 4433950 h 6006442"/>
                <a:gd name="connsiteX291" fmla="*/ 3697740 w 6356680"/>
                <a:gd name="connsiteY291" fmla="*/ 4419654 h 6006442"/>
                <a:gd name="connsiteX292" fmla="*/ 3707272 w 6356680"/>
                <a:gd name="connsiteY292" fmla="*/ 4405358 h 6006442"/>
                <a:gd name="connsiteX293" fmla="*/ 3778748 w 6356680"/>
                <a:gd name="connsiteY293" fmla="*/ 4391066 h 6006442"/>
                <a:gd name="connsiteX294" fmla="*/ 6328092 w 6356680"/>
                <a:gd name="connsiteY294" fmla="*/ 2875754 h 6006442"/>
                <a:gd name="connsiteX295" fmla="*/ 6342384 w 6356680"/>
                <a:gd name="connsiteY295" fmla="*/ 2875754 h 6006442"/>
                <a:gd name="connsiteX296" fmla="*/ 6347152 w 6356680"/>
                <a:gd name="connsiteY296" fmla="*/ 2880518 h 6006442"/>
                <a:gd name="connsiteX297" fmla="*/ 6332856 w 6356680"/>
                <a:gd name="connsiteY297" fmla="*/ 2928170 h 6006442"/>
                <a:gd name="connsiteX298" fmla="*/ 6328092 w 6356680"/>
                <a:gd name="connsiteY298" fmla="*/ 2928170 h 6006442"/>
                <a:gd name="connsiteX299" fmla="*/ 6323324 w 6356680"/>
                <a:gd name="connsiteY299" fmla="*/ 2923406 h 6006442"/>
                <a:gd name="connsiteX300" fmla="*/ 6323324 w 6356680"/>
                <a:gd name="connsiteY300" fmla="*/ 2894814 h 6006442"/>
                <a:gd name="connsiteX301" fmla="*/ 6328088 w 6356680"/>
                <a:gd name="connsiteY301" fmla="*/ 2809042 h 6006442"/>
                <a:gd name="connsiteX302" fmla="*/ 6332856 w 6356680"/>
                <a:gd name="connsiteY302" fmla="*/ 2809042 h 6006442"/>
                <a:gd name="connsiteX303" fmla="*/ 6328088 w 6356680"/>
                <a:gd name="connsiteY303" fmla="*/ 2837634 h 6006442"/>
                <a:gd name="connsiteX304" fmla="*/ 6332856 w 6356680"/>
                <a:gd name="connsiteY304" fmla="*/ 2861458 h 6006442"/>
                <a:gd name="connsiteX305" fmla="*/ 6328088 w 6356680"/>
                <a:gd name="connsiteY305" fmla="*/ 2861458 h 6006442"/>
                <a:gd name="connsiteX306" fmla="*/ 6323324 w 6356680"/>
                <a:gd name="connsiteY306" fmla="*/ 2847162 h 6006442"/>
                <a:gd name="connsiteX307" fmla="*/ 6318560 w 6356680"/>
                <a:gd name="connsiteY307" fmla="*/ 2828102 h 6006442"/>
                <a:gd name="connsiteX308" fmla="*/ 6323324 w 6356680"/>
                <a:gd name="connsiteY308" fmla="*/ 2813806 h 6006442"/>
                <a:gd name="connsiteX309" fmla="*/ 4768 w 6356680"/>
                <a:gd name="connsiteY309" fmla="*/ 2546962 h 6006442"/>
                <a:gd name="connsiteX310" fmla="*/ 9532 w 6356680"/>
                <a:gd name="connsiteY310" fmla="*/ 2546962 h 6006442"/>
                <a:gd name="connsiteX311" fmla="*/ 28592 w 6356680"/>
                <a:gd name="connsiteY311" fmla="*/ 2599378 h 6006442"/>
                <a:gd name="connsiteX312" fmla="*/ 33356 w 6356680"/>
                <a:gd name="connsiteY312" fmla="*/ 2608906 h 6006442"/>
                <a:gd name="connsiteX313" fmla="*/ 33356 w 6356680"/>
                <a:gd name="connsiteY313" fmla="*/ 2623202 h 6006442"/>
                <a:gd name="connsiteX314" fmla="*/ 38120 w 6356680"/>
                <a:gd name="connsiteY314" fmla="*/ 2623202 h 6006442"/>
                <a:gd name="connsiteX315" fmla="*/ 42888 w 6356680"/>
                <a:gd name="connsiteY315" fmla="*/ 2637498 h 6006442"/>
                <a:gd name="connsiteX316" fmla="*/ 38120 w 6356680"/>
                <a:gd name="connsiteY316" fmla="*/ 2647030 h 6006442"/>
                <a:gd name="connsiteX317" fmla="*/ 9532 w 6356680"/>
                <a:gd name="connsiteY317" fmla="*/ 2589846 h 6006442"/>
                <a:gd name="connsiteX318" fmla="*/ 0 w 6356680"/>
                <a:gd name="connsiteY318" fmla="*/ 2556490 h 6006442"/>
                <a:gd name="connsiteX319" fmla="*/ 6304264 w 6356680"/>
                <a:gd name="connsiteY319" fmla="*/ 2408774 h 6006442"/>
                <a:gd name="connsiteX320" fmla="*/ 6304264 w 6356680"/>
                <a:gd name="connsiteY320" fmla="*/ 2413538 h 6006442"/>
                <a:gd name="connsiteX321" fmla="*/ 6309028 w 6356680"/>
                <a:gd name="connsiteY321" fmla="*/ 2442126 h 6006442"/>
                <a:gd name="connsiteX322" fmla="*/ 6318560 w 6356680"/>
                <a:gd name="connsiteY322" fmla="*/ 2451658 h 6006442"/>
                <a:gd name="connsiteX323" fmla="*/ 6318560 w 6356680"/>
                <a:gd name="connsiteY323" fmla="*/ 2465954 h 6006442"/>
                <a:gd name="connsiteX324" fmla="*/ 6285204 w 6356680"/>
                <a:gd name="connsiteY324" fmla="*/ 2546962 h 6006442"/>
                <a:gd name="connsiteX325" fmla="*/ 6275672 w 6356680"/>
                <a:gd name="connsiteY325" fmla="*/ 2575550 h 6006442"/>
                <a:gd name="connsiteX326" fmla="*/ 6275672 w 6356680"/>
                <a:gd name="connsiteY326" fmla="*/ 2585082 h 6006442"/>
                <a:gd name="connsiteX327" fmla="*/ 6270908 w 6356680"/>
                <a:gd name="connsiteY327" fmla="*/ 2589846 h 6006442"/>
                <a:gd name="connsiteX328" fmla="*/ 6261380 w 6356680"/>
                <a:gd name="connsiteY328" fmla="*/ 2580318 h 6006442"/>
                <a:gd name="connsiteX329" fmla="*/ 6256612 w 6356680"/>
                <a:gd name="connsiteY329" fmla="*/ 2551726 h 6006442"/>
                <a:gd name="connsiteX330" fmla="*/ 6261380 w 6356680"/>
                <a:gd name="connsiteY330" fmla="*/ 2532666 h 6006442"/>
                <a:gd name="connsiteX331" fmla="*/ 6270908 w 6356680"/>
                <a:gd name="connsiteY331" fmla="*/ 2518370 h 6006442"/>
                <a:gd name="connsiteX332" fmla="*/ 6270908 w 6356680"/>
                <a:gd name="connsiteY332" fmla="*/ 2508838 h 6006442"/>
                <a:gd name="connsiteX333" fmla="*/ 6266144 w 6356680"/>
                <a:gd name="connsiteY333" fmla="*/ 2489778 h 6006442"/>
                <a:gd name="connsiteX334" fmla="*/ 6289968 w 6356680"/>
                <a:gd name="connsiteY334" fmla="*/ 2470718 h 6006442"/>
                <a:gd name="connsiteX335" fmla="*/ 6299500 w 6356680"/>
                <a:gd name="connsiteY335" fmla="*/ 2456422 h 6006442"/>
                <a:gd name="connsiteX336" fmla="*/ 6299500 w 6356680"/>
                <a:gd name="connsiteY336" fmla="*/ 2442126 h 6006442"/>
                <a:gd name="connsiteX337" fmla="*/ 6289968 w 6356680"/>
                <a:gd name="connsiteY337" fmla="*/ 2427834 h 6006442"/>
                <a:gd name="connsiteX338" fmla="*/ 6285204 w 6356680"/>
                <a:gd name="connsiteY338" fmla="*/ 2423066 h 6006442"/>
                <a:gd name="connsiteX339" fmla="*/ 6289968 w 6356680"/>
                <a:gd name="connsiteY339" fmla="*/ 2418302 h 6006442"/>
                <a:gd name="connsiteX340" fmla="*/ 6294736 w 6356680"/>
                <a:gd name="connsiteY340" fmla="*/ 2413538 h 6006442"/>
                <a:gd name="connsiteX341" fmla="*/ 5961176 w 6356680"/>
                <a:gd name="connsiteY341" fmla="*/ 2194342 h 6006442"/>
                <a:gd name="connsiteX342" fmla="*/ 5970704 w 6356680"/>
                <a:gd name="connsiteY342" fmla="*/ 2199106 h 6006442"/>
                <a:gd name="connsiteX343" fmla="*/ 5980236 w 6356680"/>
                <a:gd name="connsiteY343" fmla="*/ 2203870 h 6006442"/>
                <a:gd name="connsiteX344" fmla="*/ 5985000 w 6356680"/>
                <a:gd name="connsiteY344" fmla="*/ 2203870 h 6006442"/>
                <a:gd name="connsiteX345" fmla="*/ 5985000 w 6356680"/>
                <a:gd name="connsiteY345" fmla="*/ 2218166 h 6006442"/>
                <a:gd name="connsiteX346" fmla="*/ 5994532 w 6356680"/>
                <a:gd name="connsiteY346" fmla="*/ 2227698 h 6006442"/>
                <a:gd name="connsiteX347" fmla="*/ 5994532 w 6356680"/>
                <a:gd name="connsiteY347" fmla="*/ 2237226 h 6006442"/>
                <a:gd name="connsiteX348" fmla="*/ 5989764 w 6356680"/>
                <a:gd name="connsiteY348" fmla="*/ 2241990 h 6006442"/>
                <a:gd name="connsiteX349" fmla="*/ 5985000 w 6356680"/>
                <a:gd name="connsiteY349" fmla="*/ 2246758 h 6006442"/>
                <a:gd name="connsiteX350" fmla="*/ 5980236 w 6356680"/>
                <a:gd name="connsiteY350" fmla="*/ 2241990 h 6006442"/>
                <a:gd name="connsiteX351" fmla="*/ 5956408 w 6356680"/>
                <a:gd name="connsiteY351" fmla="*/ 2203870 h 6006442"/>
                <a:gd name="connsiteX352" fmla="*/ 5870640 w 6356680"/>
                <a:gd name="connsiteY352" fmla="*/ 1979910 h 6006442"/>
                <a:gd name="connsiteX353" fmla="*/ 5875404 w 6356680"/>
                <a:gd name="connsiteY353" fmla="*/ 1984674 h 6006442"/>
                <a:gd name="connsiteX354" fmla="*/ 5880168 w 6356680"/>
                <a:gd name="connsiteY354" fmla="*/ 1998970 h 6006442"/>
                <a:gd name="connsiteX355" fmla="*/ 5875404 w 6356680"/>
                <a:gd name="connsiteY355" fmla="*/ 1998970 h 6006442"/>
                <a:gd name="connsiteX356" fmla="*/ 5870640 w 6356680"/>
                <a:gd name="connsiteY356" fmla="*/ 1998970 h 6006442"/>
                <a:gd name="connsiteX357" fmla="*/ 5865872 w 6356680"/>
                <a:gd name="connsiteY357" fmla="*/ 1998970 h 6006442"/>
                <a:gd name="connsiteX358" fmla="*/ 5870640 w 6356680"/>
                <a:gd name="connsiteY358" fmla="*/ 1989442 h 6006442"/>
                <a:gd name="connsiteX359" fmla="*/ 5780100 w 6356680"/>
                <a:gd name="connsiteY359" fmla="*/ 1951318 h 6006442"/>
                <a:gd name="connsiteX360" fmla="*/ 5780100 w 6356680"/>
                <a:gd name="connsiteY360" fmla="*/ 1970378 h 6006442"/>
                <a:gd name="connsiteX361" fmla="*/ 5780100 w 6356680"/>
                <a:gd name="connsiteY361" fmla="*/ 1979910 h 6006442"/>
                <a:gd name="connsiteX362" fmla="*/ 5775336 w 6356680"/>
                <a:gd name="connsiteY362" fmla="*/ 1984674 h 6006442"/>
                <a:gd name="connsiteX363" fmla="*/ 5775336 w 6356680"/>
                <a:gd name="connsiteY363" fmla="*/ 1970378 h 6006442"/>
                <a:gd name="connsiteX364" fmla="*/ 5775336 w 6356680"/>
                <a:gd name="connsiteY364" fmla="*/ 1956086 h 6006442"/>
                <a:gd name="connsiteX365" fmla="*/ 395508 w 6356680"/>
                <a:gd name="connsiteY365" fmla="*/ 1722594 h 6006442"/>
                <a:gd name="connsiteX366" fmla="*/ 400272 w 6356680"/>
                <a:gd name="connsiteY366" fmla="*/ 1732122 h 6006442"/>
                <a:gd name="connsiteX367" fmla="*/ 395508 w 6356680"/>
                <a:gd name="connsiteY367" fmla="*/ 1741654 h 6006442"/>
                <a:gd name="connsiteX368" fmla="*/ 385976 w 6356680"/>
                <a:gd name="connsiteY368" fmla="*/ 1755950 h 6006442"/>
                <a:gd name="connsiteX369" fmla="*/ 376448 w 6356680"/>
                <a:gd name="connsiteY369" fmla="*/ 1751182 h 6006442"/>
                <a:gd name="connsiteX370" fmla="*/ 376448 w 6356680"/>
                <a:gd name="connsiteY370" fmla="*/ 1746418 h 6006442"/>
                <a:gd name="connsiteX371" fmla="*/ 381212 w 6356680"/>
                <a:gd name="connsiteY371" fmla="*/ 1736890 h 6006442"/>
                <a:gd name="connsiteX372" fmla="*/ 5632384 w 6356680"/>
                <a:gd name="connsiteY372" fmla="*/ 1636822 h 6006442"/>
                <a:gd name="connsiteX373" fmla="*/ 5637148 w 6356680"/>
                <a:gd name="connsiteY373" fmla="*/ 1646350 h 6006442"/>
                <a:gd name="connsiteX374" fmla="*/ 5646680 w 6356680"/>
                <a:gd name="connsiteY374" fmla="*/ 1655882 h 6006442"/>
                <a:gd name="connsiteX375" fmla="*/ 5641912 w 6356680"/>
                <a:gd name="connsiteY375" fmla="*/ 1660646 h 6006442"/>
                <a:gd name="connsiteX376" fmla="*/ 5637148 w 6356680"/>
                <a:gd name="connsiteY376" fmla="*/ 1660646 h 6006442"/>
                <a:gd name="connsiteX377" fmla="*/ 5627616 w 6356680"/>
                <a:gd name="connsiteY377" fmla="*/ 1655882 h 6006442"/>
                <a:gd name="connsiteX378" fmla="*/ 5632380 w 6356680"/>
                <a:gd name="connsiteY378" fmla="*/ 1617762 h 6006442"/>
                <a:gd name="connsiteX379" fmla="*/ 5632380 w 6356680"/>
                <a:gd name="connsiteY379" fmla="*/ 1632058 h 6006442"/>
                <a:gd name="connsiteX380" fmla="*/ 5627616 w 6356680"/>
                <a:gd name="connsiteY380" fmla="*/ 1636822 h 6006442"/>
                <a:gd name="connsiteX381" fmla="*/ 5622852 w 6356680"/>
                <a:gd name="connsiteY381" fmla="*/ 1636822 h 6006442"/>
                <a:gd name="connsiteX382" fmla="*/ 5618088 w 6356680"/>
                <a:gd name="connsiteY382" fmla="*/ 1636822 h 6006442"/>
                <a:gd name="connsiteX383" fmla="*/ 5622852 w 6356680"/>
                <a:gd name="connsiteY383" fmla="*/ 1627290 h 6006442"/>
                <a:gd name="connsiteX384" fmla="*/ 5627616 w 6356680"/>
                <a:gd name="connsiteY384" fmla="*/ 1622526 h 6006442"/>
                <a:gd name="connsiteX385" fmla="*/ 5208284 w 6356680"/>
                <a:gd name="connsiteY385" fmla="*/ 1317558 h 6006442"/>
                <a:gd name="connsiteX386" fmla="*/ 5213052 w 6356680"/>
                <a:gd name="connsiteY386" fmla="*/ 1317558 h 6006442"/>
                <a:gd name="connsiteX387" fmla="*/ 5217816 w 6356680"/>
                <a:gd name="connsiteY387" fmla="*/ 1336618 h 6006442"/>
                <a:gd name="connsiteX388" fmla="*/ 5222580 w 6356680"/>
                <a:gd name="connsiteY388" fmla="*/ 1346150 h 6006442"/>
                <a:gd name="connsiteX389" fmla="*/ 5217816 w 6356680"/>
                <a:gd name="connsiteY389" fmla="*/ 1355678 h 6006442"/>
                <a:gd name="connsiteX390" fmla="*/ 5217816 w 6356680"/>
                <a:gd name="connsiteY390" fmla="*/ 1360446 h 6006442"/>
                <a:gd name="connsiteX391" fmla="*/ 5208284 w 6356680"/>
                <a:gd name="connsiteY391" fmla="*/ 1355678 h 6006442"/>
                <a:gd name="connsiteX392" fmla="*/ 5198756 w 6356680"/>
                <a:gd name="connsiteY392" fmla="*/ 1341382 h 6006442"/>
                <a:gd name="connsiteX393" fmla="*/ 5189224 w 6356680"/>
                <a:gd name="connsiteY393" fmla="*/ 1327090 h 6006442"/>
                <a:gd name="connsiteX394" fmla="*/ 5184460 w 6356680"/>
                <a:gd name="connsiteY394" fmla="*/ 1322322 h 6006442"/>
                <a:gd name="connsiteX395" fmla="*/ 5198756 w 6356680"/>
                <a:gd name="connsiteY395" fmla="*/ 1322322 h 6006442"/>
                <a:gd name="connsiteX396" fmla="*/ 5203520 w 6356680"/>
                <a:gd name="connsiteY396" fmla="*/ 1322322 h 6006442"/>
                <a:gd name="connsiteX397" fmla="*/ 4150428 w 6356680"/>
                <a:gd name="connsiteY397" fmla="*/ 1112658 h 6006442"/>
                <a:gd name="connsiteX398" fmla="*/ 4164724 w 6356680"/>
                <a:gd name="connsiteY398" fmla="*/ 1122186 h 6006442"/>
                <a:gd name="connsiteX399" fmla="*/ 4164724 w 6356680"/>
                <a:gd name="connsiteY399" fmla="*/ 1131718 h 6006442"/>
                <a:gd name="connsiteX400" fmla="*/ 4145664 w 6356680"/>
                <a:gd name="connsiteY400" fmla="*/ 1136482 h 6006442"/>
                <a:gd name="connsiteX401" fmla="*/ 4140896 w 6356680"/>
                <a:gd name="connsiteY401" fmla="*/ 1136482 h 6006442"/>
                <a:gd name="connsiteX402" fmla="*/ 4140896 w 6356680"/>
                <a:gd name="connsiteY402" fmla="*/ 1131718 h 6006442"/>
                <a:gd name="connsiteX403" fmla="*/ 4145664 w 6356680"/>
                <a:gd name="connsiteY403" fmla="*/ 1126954 h 6006442"/>
                <a:gd name="connsiteX404" fmla="*/ 4164724 w 6356680"/>
                <a:gd name="connsiteY404" fmla="*/ 1017354 h 6006442"/>
                <a:gd name="connsiteX405" fmla="*/ 4169488 w 6356680"/>
                <a:gd name="connsiteY405" fmla="*/ 1017354 h 6006442"/>
                <a:gd name="connsiteX406" fmla="*/ 4183784 w 6356680"/>
                <a:gd name="connsiteY406" fmla="*/ 1036414 h 6006442"/>
                <a:gd name="connsiteX407" fmla="*/ 4164724 w 6356680"/>
                <a:gd name="connsiteY407" fmla="*/ 1041182 h 6006442"/>
                <a:gd name="connsiteX408" fmla="*/ 4155192 w 6356680"/>
                <a:gd name="connsiteY408" fmla="*/ 1045946 h 6006442"/>
                <a:gd name="connsiteX409" fmla="*/ 4140896 w 6356680"/>
                <a:gd name="connsiteY409" fmla="*/ 1060242 h 6006442"/>
                <a:gd name="connsiteX410" fmla="*/ 4136132 w 6356680"/>
                <a:gd name="connsiteY410" fmla="*/ 1060242 h 6006442"/>
                <a:gd name="connsiteX411" fmla="*/ 4131368 w 6356680"/>
                <a:gd name="connsiteY411" fmla="*/ 1065006 h 6006442"/>
                <a:gd name="connsiteX412" fmla="*/ 4121836 w 6356680"/>
                <a:gd name="connsiteY412" fmla="*/ 1069770 h 6006442"/>
                <a:gd name="connsiteX413" fmla="*/ 4112308 w 6356680"/>
                <a:gd name="connsiteY413" fmla="*/ 1069770 h 6006442"/>
                <a:gd name="connsiteX414" fmla="*/ 4098012 w 6356680"/>
                <a:gd name="connsiteY414" fmla="*/ 1074538 h 6006442"/>
                <a:gd name="connsiteX415" fmla="*/ 4098012 w 6356680"/>
                <a:gd name="connsiteY415" fmla="*/ 1069770 h 6006442"/>
                <a:gd name="connsiteX416" fmla="*/ 4102776 w 6356680"/>
                <a:gd name="connsiteY416" fmla="*/ 1055478 h 6006442"/>
                <a:gd name="connsiteX417" fmla="*/ 4112308 w 6356680"/>
                <a:gd name="connsiteY417" fmla="*/ 1041182 h 6006442"/>
                <a:gd name="connsiteX418" fmla="*/ 4121836 w 6356680"/>
                <a:gd name="connsiteY418" fmla="*/ 1031650 h 6006442"/>
                <a:gd name="connsiteX419" fmla="*/ 4145664 w 6356680"/>
                <a:gd name="connsiteY419" fmla="*/ 1026886 h 6006442"/>
                <a:gd name="connsiteX420" fmla="*/ 3764452 w 6356680"/>
                <a:gd name="connsiteY420" fmla="*/ 888698 h 6006442"/>
                <a:gd name="connsiteX421" fmla="*/ 3773984 w 6356680"/>
                <a:gd name="connsiteY421" fmla="*/ 898226 h 6006442"/>
                <a:gd name="connsiteX422" fmla="*/ 3773984 w 6356680"/>
                <a:gd name="connsiteY422" fmla="*/ 912522 h 6006442"/>
                <a:gd name="connsiteX423" fmla="*/ 3778748 w 6356680"/>
                <a:gd name="connsiteY423" fmla="*/ 917286 h 6006442"/>
                <a:gd name="connsiteX424" fmla="*/ 3769216 w 6356680"/>
                <a:gd name="connsiteY424" fmla="*/ 926818 h 6006442"/>
                <a:gd name="connsiteX425" fmla="*/ 3764452 w 6356680"/>
                <a:gd name="connsiteY425" fmla="*/ 917286 h 6006442"/>
                <a:gd name="connsiteX426" fmla="*/ 3759688 w 6356680"/>
                <a:gd name="connsiteY426" fmla="*/ 907758 h 6006442"/>
                <a:gd name="connsiteX427" fmla="*/ 3754920 w 6356680"/>
                <a:gd name="connsiteY427" fmla="*/ 907758 h 6006442"/>
                <a:gd name="connsiteX428" fmla="*/ 3759688 w 6356680"/>
                <a:gd name="connsiteY428" fmla="*/ 898226 h 6006442"/>
                <a:gd name="connsiteX429" fmla="*/ 3688212 w 6356680"/>
                <a:gd name="connsiteY429" fmla="*/ 879166 h 6006442"/>
                <a:gd name="connsiteX430" fmla="*/ 3697740 w 6356680"/>
                <a:gd name="connsiteY430" fmla="*/ 879166 h 6006442"/>
                <a:gd name="connsiteX431" fmla="*/ 3702504 w 6356680"/>
                <a:gd name="connsiteY431" fmla="*/ 879166 h 6006442"/>
                <a:gd name="connsiteX432" fmla="*/ 3697740 w 6356680"/>
                <a:gd name="connsiteY432" fmla="*/ 893462 h 6006442"/>
                <a:gd name="connsiteX433" fmla="*/ 3688212 w 6356680"/>
                <a:gd name="connsiteY433" fmla="*/ 893462 h 6006442"/>
                <a:gd name="connsiteX434" fmla="*/ 3683444 w 6356680"/>
                <a:gd name="connsiteY434" fmla="*/ 888698 h 6006442"/>
                <a:gd name="connsiteX435" fmla="*/ 3745392 w 6356680"/>
                <a:gd name="connsiteY435" fmla="*/ 874402 h 6006442"/>
                <a:gd name="connsiteX436" fmla="*/ 3745392 w 6356680"/>
                <a:gd name="connsiteY436" fmla="*/ 888698 h 6006442"/>
                <a:gd name="connsiteX437" fmla="*/ 3740624 w 6356680"/>
                <a:gd name="connsiteY437" fmla="*/ 893462 h 6006442"/>
                <a:gd name="connsiteX438" fmla="*/ 3740624 w 6356680"/>
                <a:gd name="connsiteY438" fmla="*/ 879166 h 6006442"/>
                <a:gd name="connsiteX439" fmla="*/ 1815516 w 6356680"/>
                <a:gd name="connsiteY439" fmla="*/ 836282 h 6006442"/>
                <a:gd name="connsiteX440" fmla="*/ 1820280 w 6356680"/>
                <a:gd name="connsiteY440" fmla="*/ 836282 h 6006442"/>
                <a:gd name="connsiteX441" fmla="*/ 1820280 w 6356680"/>
                <a:gd name="connsiteY441" fmla="*/ 841046 h 6006442"/>
                <a:gd name="connsiteX442" fmla="*/ 1825048 w 6356680"/>
                <a:gd name="connsiteY442" fmla="*/ 850574 h 6006442"/>
                <a:gd name="connsiteX443" fmla="*/ 1825048 w 6356680"/>
                <a:gd name="connsiteY443" fmla="*/ 855342 h 6006442"/>
                <a:gd name="connsiteX444" fmla="*/ 1820280 w 6356680"/>
                <a:gd name="connsiteY444" fmla="*/ 860106 h 6006442"/>
                <a:gd name="connsiteX445" fmla="*/ 1815516 w 6356680"/>
                <a:gd name="connsiteY445" fmla="*/ 860106 h 6006442"/>
                <a:gd name="connsiteX446" fmla="*/ 1815516 w 6356680"/>
                <a:gd name="connsiteY446" fmla="*/ 855342 h 6006442"/>
                <a:gd name="connsiteX447" fmla="*/ 1805984 w 6356680"/>
                <a:gd name="connsiteY447" fmla="*/ 845810 h 6006442"/>
                <a:gd name="connsiteX448" fmla="*/ 1810752 w 6356680"/>
                <a:gd name="connsiteY448" fmla="*/ 841046 h 6006442"/>
                <a:gd name="connsiteX449" fmla="*/ 1915584 w 6356680"/>
                <a:gd name="connsiteY449" fmla="*/ 702858 h 6006442"/>
                <a:gd name="connsiteX450" fmla="*/ 1920348 w 6356680"/>
                <a:gd name="connsiteY450" fmla="*/ 707622 h 6006442"/>
                <a:gd name="connsiteX451" fmla="*/ 1920348 w 6356680"/>
                <a:gd name="connsiteY451" fmla="*/ 717150 h 6006442"/>
                <a:gd name="connsiteX452" fmla="*/ 1920348 w 6356680"/>
                <a:gd name="connsiteY452" fmla="*/ 721918 h 6006442"/>
                <a:gd name="connsiteX453" fmla="*/ 1910816 w 6356680"/>
                <a:gd name="connsiteY453" fmla="*/ 736214 h 6006442"/>
                <a:gd name="connsiteX454" fmla="*/ 1901288 w 6356680"/>
                <a:gd name="connsiteY454" fmla="*/ 726682 h 6006442"/>
                <a:gd name="connsiteX455" fmla="*/ 1906052 w 6356680"/>
                <a:gd name="connsiteY455" fmla="*/ 707622 h 6006442"/>
                <a:gd name="connsiteX456" fmla="*/ 3707272 w 6356680"/>
                <a:gd name="connsiteY456" fmla="*/ 578962 h 6006442"/>
                <a:gd name="connsiteX457" fmla="*/ 3716800 w 6356680"/>
                <a:gd name="connsiteY457" fmla="*/ 578962 h 6006442"/>
                <a:gd name="connsiteX458" fmla="*/ 3716800 w 6356680"/>
                <a:gd name="connsiteY458" fmla="*/ 588494 h 6006442"/>
                <a:gd name="connsiteX459" fmla="*/ 3716800 w 6356680"/>
                <a:gd name="connsiteY459" fmla="*/ 598022 h 6006442"/>
                <a:gd name="connsiteX460" fmla="*/ 3726332 w 6356680"/>
                <a:gd name="connsiteY460" fmla="*/ 607554 h 6006442"/>
                <a:gd name="connsiteX461" fmla="*/ 3731096 w 6356680"/>
                <a:gd name="connsiteY461" fmla="*/ 602790 h 6006442"/>
                <a:gd name="connsiteX462" fmla="*/ 3740628 w 6356680"/>
                <a:gd name="connsiteY462" fmla="*/ 588494 h 6006442"/>
                <a:gd name="connsiteX463" fmla="*/ 3745392 w 6356680"/>
                <a:gd name="connsiteY463" fmla="*/ 593258 h 6006442"/>
                <a:gd name="connsiteX464" fmla="*/ 3745392 w 6356680"/>
                <a:gd name="connsiteY464" fmla="*/ 598022 h 6006442"/>
                <a:gd name="connsiteX465" fmla="*/ 3750156 w 6356680"/>
                <a:gd name="connsiteY465" fmla="*/ 602790 h 6006442"/>
                <a:gd name="connsiteX466" fmla="*/ 3735860 w 6356680"/>
                <a:gd name="connsiteY466" fmla="*/ 612318 h 6006442"/>
                <a:gd name="connsiteX467" fmla="*/ 3735860 w 6356680"/>
                <a:gd name="connsiteY467" fmla="*/ 617086 h 6006442"/>
                <a:gd name="connsiteX468" fmla="*/ 3731096 w 6356680"/>
                <a:gd name="connsiteY468" fmla="*/ 621850 h 6006442"/>
                <a:gd name="connsiteX469" fmla="*/ 3721564 w 6356680"/>
                <a:gd name="connsiteY469" fmla="*/ 640910 h 6006442"/>
                <a:gd name="connsiteX470" fmla="*/ 3726332 w 6356680"/>
                <a:gd name="connsiteY470" fmla="*/ 650442 h 6006442"/>
                <a:gd name="connsiteX471" fmla="*/ 3731096 w 6356680"/>
                <a:gd name="connsiteY471" fmla="*/ 655206 h 6006442"/>
                <a:gd name="connsiteX472" fmla="*/ 3745392 w 6356680"/>
                <a:gd name="connsiteY472" fmla="*/ 659970 h 6006442"/>
                <a:gd name="connsiteX473" fmla="*/ 3754920 w 6356680"/>
                <a:gd name="connsiteY473" fmla="*/ 659970 h 6006442"/>
                <a:gd name="connsiteX474" fmla="*/ 3750156 w 6356680"/>
                <a:gd name="connsiteY474" fmla="*/ 669502 h 6006442"/>
                <a:gd name="connsiteX475" fmla="*/ 3745392 w 6356680"/>
                <a:gd name="connsiteY475" fmla="*/ 679030 h 6006442"/>
                <a:gd name="connsiteX476" fmla="*/ 3726332 w 6356680"/>
                <a:gd name="connsiteY476" fmla="*/ 674266 h 6006442"/>
                <a:gd name="connsiteX477" fmla="*/ 3707272 w 6356680"/>
                <a:gd name="connsiteY477" fmla="*/ 674266 h 6006442"/>
                <a:gd name="connsiteX478" fmla="*/ 3678680 w 6356680"/>
                <a:gd name="connsiteY478" fmla="*/ 669502 h 6006442"/>
                <a:gd name="connsiteX479" fmla="*/ 3664384 w 6356680"/>
                <a:gd name="connsiteY479" fmla="*/ 664734 h 6006442"/>
                <a:gd name="connsiteX480" fmla="*/ 3659620 w 6356680"/>
                <a:gd name="connsiteY480" fmla="*/ 664734 h 6006442"/>
                <a:gd name="connsiteX481" fmla="*/ 3669148 w 6356680"/>
                <a:gd name="connsiteY481" fmla="*/ 659970 h 6006442"/>
                <a:gd name="connsiteX482" fmla="*/ 3673916 w 6356680"/>
                <a:gd name="connsiteY482" fmla="*/ 650442 h 6006442"/>
                <a:gd name="connsiteX483" fmla="*/ 3669148 w 6356680"/>
                <a:gd name="connsiteY483" fmla="*/ 631378 h 6006442"/>
                <a:gd name="connsiteX484" fmla="*/ 3673916 w 6356680"/>
                <a:gd name="connsiteY484" fmla="*/ 607554 h 6006442"/>
                <a:gd name="connsiteX485" fmla="*/ 3688208 w 6356680"/>
                <a:gd name="connsiteY485" fmla="*/ 598022 h 6006442"/>
                <a:gd name="connsiteX486" fmla="*/ 3697740 w 6356680"/>
                <a:gd name="connsiteY486" fmla="*/ 583730 h 6006442"/>
                <a:gd name="connsiteX487" fmla="*/ 3640560 w 6356680"/>
                <a:gd name="connsiteY487" fmla="*/ 578962 h 6006442"/>
                <a:gd name="connsiteX488" fmla="*/ 3645324 w 6356680"/>
                <a:gd name="connsiteY488" fmla="*/ 583730 h 6006442"/>
                <a:gd name="connsiteX489" fmla="*/ 3650088 w 6356680"/>
                <a:gd name="connsiteY489" fmla="*/ 598022 h 6006442"/>
                <a:gd name="connsiteX490" fmla="*/ 3645324 w 6356680"/>
                <a:gd name="connsiteY490" fmla="*/ 602790 h 6006442"/>
                <a:gd name="connsiteX491" fmla="*/ 3640560 w 6356680"/>
                <a:gd name="connsiteY491" fmla="*/ 602790 h 6006442"/>
                <a:gd name="connsiteX492" fmla="*/ 3626264 w 6356680"/>
                <a:gd name="connsiteY492" fmla="*/ 602790 h 6006442"/>
                <a:gd name="connsiteX493" fmla="*/ 3626264 w 6356680"/>
                <a:gd name="connsiteY493" fmla="*/ 593258 h 6006442"/>
                <a:gd name="connsiteX494" fmla="*/ 3631028 w 6356680"/>
                <a:gd name="connsiteY494" fmla="*/ 588494 h 6006442"/>
                <a:gd name="connsiteX495" fmla="*/ 3678680 w 6356680"/>
                <a:gd name="connsiteY495" fmla="*/ 228726 h 6006442"/>
                <a:gd name="connsiteX496" fmla="*/ 3683444 w 6356680"/>
                <a:gd name="connsiteY496" fmla="*/ 228726 h 6006442"/>
                <a:gd name="connsiteX497" fmla="*/ 3678680 w 6356680"/>
                <a:gd name="connsiteY497" fmla="*/ 233490 h 6006442"/>
                <a:gd name="connsiteX498" fmla="*/ 3664384 w 6356680"/>
                <a:gd name="connsiteY498" fmla="*/ 247786 h 6006442"/>
                <a:gd name="connsiteX499" fmla="*/ 3659620 w 6356680"/>
                <a:gd name="connsiteY499" fmla="*/ 247786 h 6006442"/>
                <a:gd name="connsiteX500" fmla="*/ 3635792 w 6356680"/>
                <a:gd name="connsiteY500" fmla="*/ 262082 h 6006442"/>
                <a:gd name="connsiteX501" fmla="*/ 3650088 w 6356680"/>
                <a:gd name="connsiteY501" fmla="*/ 243022 h 6006442"/>
                <a:gd name="connsiteX502" fmla="*/ 2716124 w 6356680"/>
                <a:gd name="connsiteY502" fmla="*/ 204902 h 6006442"/>
                <a:gd name="connsiteX503" fmla="*/ 2720888 w 6356680"/>
                <a:gd name="connsiteY503" fmla="*/ 204902 h 6006442"/>
                <a:gd name="connsiteX504" fmla="*/ 2730420 w 6356680"/>
                <a:gd name="connsiteY504" fmla="*/ 219194 h 6006442"/>
                <a:gd name="connsiteX505" fmla="*/ 2730420 w 6356680"/>
                <a:gd name="connsiteY505" fmla="*/ 233490 h 6006442"/>
                <a:gd name="connsiteX506" fmla="*/ 2735184 w 6356680"/>
                <a:gd name="connsiteY506" fmla="*/ 247786 h 6006442"/>
                <a:gd name="connsiteX507" fmla="*/ 2739948 w 6356680"/>
                <a:gd name="connsiteY507" fmla="*/ 262082 h 6006442"/>
                <a:gd name="connsiteX508" fmla="*/ 2754244 w 6356680"/>
                <a:gd name="connsiteY508" fmla="*/ 266846 h 6006442"/>
                <a:gd name="connsiteX509" fmla="*/ 2759008 w 6356680"/>
                <a:gd name="connsiteY509" fmla="*/ 271610 h 6006442"/>
                <a:gd name="connsiteX510" fmla="*/ 2763776 w 6356680"/>
                <a:gd name="connsiteY510" fmla="*/ 276378 h 6006442"/>
                <a:gd name="connsiteX511" fmla="*/ 2763776 w 6356680"/>
                <a:gd name="connsiteY511" fmla="*/ 281142 h 6006442"/>
                <a:gd name="connsiteX512" fmla="*/ 2749480 w 6356680"/>
                <a:gd name="connsiteY512" fmla="*/ 285906 h 6006442"/>
                <a:gd name="connsiteX513" fmla="*/ 2720888 w 6356680"/>
                <a:gd name="connsiteY513" fmla="*/ 276378 h 6006442"/>
                <a:gd name="connsiteX514" fmla="*/ 2692300 w 6356680"/>
                <a:gd name="connsiteY514" fmla="*/ 285906 h 6006442"/>
                <a:gd name="connsiteX515" fmla="*/ 2682768 w 6356680"/>
                <a:gd name="connsiteY515" fmla="*/ 285906 h 6006442"/>
                <a:gd name="connsiteX516" fmla="*/ 2678004 w 6356680"/>
                <a:gd name="connsiteY516" fmla="*/ 276378 h 6006442"/>
                <a:gd name="connsiteX517" fmla="*/ 2682768 w 6356680"/>
                <a:gd name="connsiteY517" fmla="*/ 262082 h 6006442"/>
                <a:gd name="connsiteX518" fmla="*/ 2692300 w 6356680"/>
                <a:gd name="connsiteY518" fmla="*/ 262082 h 6006442"/>
                <a:gd name="connsiteX519" fmla="*/ 2701828 w 6356680"/>
                <a:gd name="connsiteY519" fmla="*/ 257318 h 6006442"/>
                <a:gd name="connsiteX520" fmla="*/ 2697064 w 6356680"/>
                <a:gd name="connsiteY520" fmla="*/ 238254 h 6006442"/>
                <a:gd name="connsiteX521" fmla="*/ 2692300 w 6356680"/>
                <a:gd name="connsiteY521" fmla="*/ 228726 h 6006442"/>
                <a:gd name="connsiteX522" fmla="*/ 2711360 w 6356680"/>
                <a:gd name="connsiteY522" fmla="*/ 209666 h 6006442"/>
                <a:gd name="connsiteX523" fmla="*/ 2730420 w 6356680"/>
                <a:gd name="connsiteY523" fmla="*/ 181074 h 6006442"/>
                <a:gd name="connsiteX524" fmla="*/ 2735184 w 6356680"/>
                <a:gd name="connsiteY524" fmla="*/ 181074 h 6006442"/>
                <a:gd name="connsiteX525" fmla="*/ 2749480 w 6356680"/>
                <a:gd name="connsiteY525" fmla="*/ 195370 h 6006442"/>
                <a:gd name="connsiteX526" fmla="*/ 2759008 w 6356680"/>
                <a:gd name="connsiteY526" fmla="*/ 200134 h 6006442"/>
                <a:gd name="connsiteX527" fmla="*/ 2768540 w 6356680"/>
                <a:gd name="connsiteY527" fmla="*/ 214430 h 6006442"/>
                <a:gd name="connsiteX528" fmla="*/ 2787600 w 6356680"/>
                <a:gd name="connsiteY528" fmla="*/ 214430 h 6006442"/>
                <a:gd name="connsiteX529" fmla="*/ 2811428 w 6356680"/>
                <a:gd name="connsiteY529" fmla="*/ 200134 h 6006442"/>
                <a:gd name="connsiteX530" fmla="*/ 2825720 w 6356680"/>
                <a:gd name="connsiteY530" fmla="*/ 204898 h 6006442"/>
                <a:gd name="connsiteX531" fmla="*/ 2830488 w 6356680"/>
                <a:gd name="connsiteY531" fmla="*/ 204898 h 6006442"/>
                <a:gd name="connsiteX532" fmla="*/ 2849548 w 6356680"/>
                <a:gd name="connsiteY532" fmla="*/ 195370 h 6006442"/>
                <a:gd name="connsiteX533" fmla="*/ 2859076 w 6356680"/>
                <a:gd name="connsiteY533" fmla="*/ 190606 h 6006442"/>
                <a:gd name="connsiteX534" fmla="*/ 2868608 w 6356680"/>
                <a:gd name="connsiteY534" fmla="*/ 181074 h 6006442"/>
                <a:gd name="connsiteX535" fmla="*/ 2878140 w 6356680"/>
                <a:gd name="connsiteY535" fmla="*/ 190606 h 6006442"/>
                <a:gd name="connsiteX536" fmla="*/ 2892432 w 6356680"/>
                <a:gd name="connsiteY536" fmla="*/ 204898 h 6006442"/>
                <a:gd name="connsiteX537" fmla="*/ 2901964 w 6356680"/>
                <a:gd name="connsiteY537" fmla="*/ 214430 h 6006442"/>
                <a:gd name="connsiteX538" fmla="*/ 2906728 w 6356680"/>
                <a:gd name="connsiteY538" fmla="*/ 219194 h 6006442"/>
                <a:gd name="connsiteX539" fmla="*/ 2911496 w 6356680"/>
                <a:gd name="connsiteY539" fmla="*/ 223962 h 6006442"/>
                <a:gd name="connsiteX540" fmla="*/ 2897200 w 6356680"/>
                <a:gd name="connsiteY540" fmla="*/ 233490 h 6006442"/>
                <a:gd name="connsiteX541" fmla="*/ 2897200 w 6356680"/>
                <a:gd name="connsiteY541" fmla="*/ 247786 h 6006442"/>
                <a:gd name="connsiteX542" fmla="*/ 2887668 w 6356680"/>
                <a:gd name="connsiteY542" fmla="*/ 247786 h 6006442"/>
                <a:gd name="connsiteX543" fmla="*/ 2873372 w 6356680"/>
                <a:gd name="connsiteY543" fmla="*/ 266846 h 6006442"/>
                <a:gd name="connsiteX544" fmla="*/ 2816192 w 6356680"/>
                <a:gd name="connsiteY544" fmla="*/ 300202 h 6006442"/>
                <a:gd name="connsiteX545" fmla="*/ 2768540 w 6356680"/>
                <a:gd name="connsiteY545" fmla="*/ 271610 h 6006442"/>
                <a:gd name="connsiteX546" fmla="*/ 2749480 w 6356680"/>
                <a:gd name="connsiteY546" fmla="*/ 252550 h 6006442"/>
                <a:gd name="connsiteX547" fmla="*/ 2735184 w 6356680"/>
                <a:gd name="connsiteY547" fmla="*/ 223962 h 6006442"/>
                <a:gd name="connsiteX548" fmla="*/ 2735184 w 6356680"/>
                <a:gd name="connsiteY548" fmla="*/ 200134 h 6006442"/>
                <a:gd name="connsiteX549" fmla="*/ 2725656 w 6356680"/>
                <a:gd name="connsiteY549" fmla="*/ 185838 h 6006442"/>
                <a:gd name="connsiteX550" fmla="*/ 2730420 w 6356680"/>
                <a:gd name="connsiteY550" fmla="*/ 185838 h 6006442"/>
                <a:gd name="connsiteX551" fmla="*/ 3726332 w 6356680"/>
                <a:gd name="connsiteY551" fmla="*/ 152482 h 6006442"/>
                <a:gd name="connsiteX552" fmla="*/ 3721564 w 6356680"/>
                <a:gd name="connsiteY552" fmla="*/ 185838 h 6006442"/>
                <a:gd name="connsiteX553" fmla="*/ 3702504 w 6356680"/>
                <a:gd name="connsiteY553" fmla="*/ 214430 h 6006442"/>
                <a:gd name="connsiteX554" fmla="*/ 3688208 w 6356680"/>
                <a:gd name="connsiteY554" fmla="*/ 223962 h 6006442"/>
                <a:gd name="connsiteX555" fmla="*/ 3688208 w 6356680"/>
                <a:gd name="connsiteY555" fmla="*/ 214430 h 6006442"/>
                <a:gd name="connsiteX556" fmla="*/ 3692976 w 6356680"/>
                <a:gd name="connsiteY556" fmla="*/ 209666 h 6006442"/>
                <a:gd name="connsiteX557" fmla="*/ 3707272 w 6356680"/>
                <a:gd name="connsiteY557" fmla="*/ 185838 h 6006442"/>
                <a:gd name="connsiteX558" fmla="*/ 3712036 w 6356680"/>
                <a:gd name="connsiteY558" fmla="*/ 181074 h 6006442"/>
                <a:gd name="connsiteX559" fmla="*/ 3716800 w 6356680"/>
                <a:gd name="connsiteY559" fmla="*/ 176310 h 6006442"/>
                <a:gd name="connsiteX560" fmla="*/ 3721564 w 6356680"/>
                <a:gd name="connsiteY560" fmla="*/ 171542 h 6006442"/>
                <a:gd name="connsiteX561" fmla="*/ 3721564 w 6356680"/>
                <a:gd name="connsiteY561" fmla="*/ 157250 h 6006442"/>
                <a:gd name="connsiteX562" fmla="*/ 3073508 w 6356680"/>
                <a:gd name="connsiteY562" fmla="*/ 147718 h 6006442"/>
                <a:gd name="connsiteX563" fmla="*/ 3073508 w 6356680"/>
                <a:gd name="connsiteY563" fmla="*/ 152482 h 6006442"/>
                <a:gd name="connsiteX564" fmla="*/ 3073508 w 6356680"/>
                <a:gd name="connsiteY564" fmla="*/ 171542 h 6006442"/>
                <a:gd name="connsiteX565" fmla="*/ 3078272 w 6356680"/>
                <a:gd name="connsiteY565" fmla="*/ 181074 h 6006442"/>
                <a:gd name="connsiteX566" fmla="*/ 3073508 w 6356680"/>
                <a:gd name="connsiteY566" fmla="*/ 200134 h 6006442"/>
                <a:gd name="connsiteX567" fmla="*/ 3073508 w 6356680"/>
                <a:gd name="connsiteY567" fmla="*/ 204902 h 6006442"/>
                <a:gd name="connsiteX568" fmla="*/ 3059212 w 6356680"/>
                <a:gd name="connsiteY568" fmla="*/ 176310 h 6006442"/>
                <a:gd name="connsiteX569" fmla="*/ 3063980 w 6356680"/>
                <a:gd name="connsiteY569" fmla="*/ 171542 h 6006442"/>
                <a:gd name="connsiteX570" fmla="*/ 3059212 w 6356680"/>
                <a:gd name="connsiteY570" fmla="*/ 157250 h 6006442"/>
                <a:gd name="connsiteX571" fmla="*/ 3063980 w 6356680"/>
                <a:gd name="connsiteY571" fmla="*/ 157250 h 6006442"/>
                <a:gd name="connsiteX572" fmla="*/ 4617412 w 6356680"/>
                <a:gd name="connsiteY572" fmla="*/ 104834 h 6006442"/>
                <a:gd name="connsiteX573" fmla="*/ 4626940 w 6356680"/>
                <a:gd name="connsiteY573" fmla="*/ 104834 h 6006442"/>
                <a:gd name="connsiteX574" fmla="*/ 4636472 w 6356680"/>
                <a:gd name="connsiteY574" fmla="*/ 114362 h 6006442"/>
                <a:gd name="connsiteX575" fmla="*/ 4631704 w 6356680"/>
                <a:gd name="connsiteY575" fmla="*/ 123894 h 6006442"/>
                <a:gd name="connsiteX576" fmla="*/ 4631704 w 6356680"/>
                <a:gd name="connsiteY576" fmla="*/ 133422 h 6006442"/>
                <a:gd name="connsiteX577" fmla="*/ 4655532 w 6356680"/>
                <a:gd name="connsiteY577" fmla="*/ 152482 h 6006442"/>
                <a:gd name="connsiteX578" fmla="*/ 4665060 w 6356680"/>
                <a:gd name="connsiteY578" fmla="*/ 171542 h 6006442"/>
                <a:gd name="connsiteX579" fmla="*/ 4669828 w 6356680"/>
                <a:gd name="connsiteY579" fmla="*/ 185838 h 6006442"/>
                <a:gd name="connsiteX580" fmla="*/ 4674592 w 6356680"/>
                <a:gd name="connsiteY580" fmla="*/ 200134 h 6006442"/>
                <a:gd name="connsiteX581" fmla="*/ 4674592 w 6356680"/>
                <a:gd name="connsiteY581" fmla="*/ 219194 h 6006442"/>
                <a:gd name="connsiteX582" fmla="*/ 4674592 w 6356680"/>
                <a:gd name="connsiteY582" fmla="*/ 252550 h 6006442"/>
                <a:gd name="connsiteX583" fmla="*/ 4679356 w 6356680"/>
                <a:gd name="connsiteY583" fmla="*/ 285906 h 6006442"/>
                <a:gd name="connsiteX584" fmla="*/ 4688888 w 6356680"/>
                <a:gd name="connsiteY584" fmla="*/ 290670 h 6006442"/>
                <a:gd name="connsiteX585" fmla="*/ 4698416 w 6356680"/>
                <a:gd name="connsiteY585" fmla="*/ 300202 h 6006442"/>
                <a:gd name="connsiteX586" fmla="*/ 4712712 w 6356680"/>
                <a:gd name="connsiteY586" fmla="*/ 300202 h 6006442"/>
                <a:gd name="connsiteX587" fmla="*/ 4727008 w 6356680"/>
                <a:gd name="connsiteY587" fmla="*/ 304966 h 6006442"/>
                <a:gd name="connsiteX588" fmla="*/ 4722244 w 6356680"/>
                <a:gd name="connsiteY588" fmla="*/ 324026 h 6006442"/>
                <a:gd name="connsiteX589" fmla="*/ 4717480 w 6356680"/>
                <a:gd name="connsiteY589" fmla="*/ 338322 h 6006442"/>
                <a:gd name="connsiteX590" fmla="*/ 4717480 w 6356680"/>
                <a:gd name="connsiteY590" fmla="*/ 347854 h 6006442"/>
                <a:gd name="connsiteX591" fmla="*/ 4717480 w 6356680"/>
                <a:gd name="connsiteY591" fmla="*/ 362150 h 6006442"/>
                <a:gd name="connsiteX592" fmla="*/ 4731772 w 6356680"/>
                <a:gd name="connsiteY592" fmla="*/ 371678 h 6006442"/>
                <a:gd name="connsiteX593" fmla="*/ 4741304 w 6356680"/>
                <a:gd name="connsiteY593" fmla="*/ 376446 h 6006442"/>
                <a:gd name="connsiteX594" fmla="*/ 4746068 w 6356680"/>
                <a:gd name="connsiteY594" fmla="*/ 390738 h 6006442"/>
                <a:gd name="connsiteX595" fmla="*/ 4765128 w 6356680"/>
                <a:gd name="connsiteY595" fmla="*/ 414566 h 6006442"/>
                <a:gd name="connsiteX596" fmla="*/ 4760364 w 6356680"/>
                <a:gd name="connsiteY596" fmla="*/ 428862 h 6006442"/>
                <a:gd name="connsiteX597" fmla="*/ 4769896 w 6356680"/>
                <a:gd name="connsiteY597" fmla="*/ 447922 h 6006442"/>
                <a:gd name="connsiteX598" fmla="*/ 4779424 w 6356680"/>
                <a:gd name="connsiteY598" fmla="*/ 483658 h 6006442"/>
                <a:gd name="connsiteX599" fmla="*/ 4784192 w 6356680"/>
                <a:gd name="connsiteY599" fmla="*/ 517014 h 6006442"/>
                <a:gd name="connsiteX600" fmla="*/ 4793720 w 6356680"/>
                <a:gd name="connsiteY600" fmla="*/ 540842 h 6006442"/>
                <a:gd name="connsiteX601" fmla="*/ 4784192 w 6356680"/>
                <a:gd name="connsiteY601" fmla="*/ 588494 h 6006442"/>
                <a:gd name="connsiteX602" fmla="*/ 4793720 w 6356680"/>
                <a:gd name="connsiteY602" fmla="*/ 607554 h 6006442"/>
                <a:gd name="connsiteX603" fmla="*/ 4798484 w 6356680"/>
                <a:gd name="connsiteY603" fmla="*/ 626614 h 6006442"/>
                <a:gd name="connsiteX604" fmla="*/ 4812780 w 6356680"/>
                <a:gd name="connsiteY604" fmla="*/ 655206 h 6006442"/>
                <a:gd name="connsiteX605" fmla="*/ 4817544 w 6356680"/>
                <a:gd name="connsiteY605" fmla="*/ 688562 h 6006442"/>
                <a:gd name="connsiteX606" fmla="*/ 4827076 w 6356680"/>
                <a:gd name="connsiteY606" fmla="*/ 693326 h 6006442"/>
                <a:gd name="connsiteX607" fmla="*/ 4850900 w 6356680"/>
                <a:gd name="connsiteY607" fmla="*/ 702854 h 6006442"/>
                <a:gd name="connsiteX608" fmla="*/ 4874728 w 6356680"/>
                <a:gd name="connsiteY608" fmla="*/ 693326 h 6006442"/>
                <a:gd name="connsiteX609" fmla="*/ 4889024 w 6356680"/>
                <a:gd name="connsiteY609" fmla="*/ 679030 h 6006442"/>
                <a:gd name="connsiteX610" fmla="*/ 4908084 w 6356680"/>
                <a:gd name="connsiteY610" fmla="*/ 674266 h 6006442"/>
                <a:gd name="connsiteX611" fmla="*/ 4931908 w 6356680"/>
                <a:gd name="connsiteY611" fmla="*/ 669498 h 6006442"/>
                <a:gd name="connsiteX612" fmla="*/ 4946204 w 6356680"/>
                <a:gd name="connsiteY612" fmla="*/ 688562 h 6006442"/>
                <a:gd name="connsiteX613" fmla="*/ 4955736 w 6356680"/>
                <a:gd name="connsiteY613" fmla="*/ 712386 h 6006442"/>
                <a:gd name="connsiteX614" fmla="*/ 4998620 w 6356680"/>
                <a:gd name="connsiteY614" fmla="*/ 740978 h 6006442"/>
                <a:gd name="connsiteX615" fmla="*/ 5022448 w 6356680"/>
                <a:gd name="connsiteY615" fmla="*/ 760038 h 6006442"/>
                <a:gd name="connsiteX616" fmla="*/ 5041508 w 6356680"/>
                <a:gd name="connsiteY616" fmla="*/ 769566 h 6006442"/>
                <a:gd name="connsiteX617" fmla="*/ 5055800 w 6356680"/>
                <a:gd name="connsiteY617" fmla="*/ 783862 h 6006442"/>
                <a:gd name="connsiteX618" fmla="*/ 5055800 w 6356680"/>
                <a:gd name="connsiteY618" fmla="*/ 798158 h 6006442"/>
                <a:gd name="connsiteX619" fmla="*/ 5051036 w 6356680"/>
                <a:gd name="connsiteY619" fmla="*/ 807690 h 6006442"/>
                <a:gd name="connsiteX620" fmla="*/ 5055800 w 6356680"/>
                <a:gd name="connsiteY620" fmla="*/ 826750 h 6006442"/>
                <a:gd name="connsiteX621" fmla="*/ 5060568 w 6356680"/>
                <a:gd name="connsiteY621" fmla="*/ 845810 h 6006442"/>
                <a:gd name="connsiteX622" fmla="*/ 5055800 w 6356680"/>
                <a:gd name="connsiteY622" fmla="*/ 869634 h 6006442"/>
                <a:gd name="connsiteX623" fmla="*/ 5065332 w 6356680"/>
                <a:gd name="connsiteY623" fmla="*/ 907758 h 6006442"/>
                <a:gd name="connsiteX624" fmla="*/ 5070096 w 6356680"/>
                <a:gd name="connsiteY624" fmla="*/ 936346 h 6006442"/>
                <a:gd name="connsiteX625" fmla="*/ 5084392 w 6356680"/>
                <a:gd name="connsiteY625" fmla="*/ 964938 h 6006442"/>
                <a:gd name="connsiteX626" fmla="*/ 5084392 w 6356680"/>
                <a:gd name="connsiteY626" fmla="*/ 993530 h 6006442"/>
                <a:gd name="connsiteX627" fmla="*/ 5079628 w 6356680"/>
                <a:gd name="connsiteY627" fmla="*/ 1003058 h 6006442"/>
                <a:gd name="connsiteX628" fmla="*/ 5079628 w 6356680"/>
                <a:gd name="connsiteY628" fmla="*/ 1017354 h 6006442"/>
                <a:gd name="connsiteX629" fmla="*/ 5089160 w 6356680"/>
                <a:gd name="connsiteY629" fmla="*/ 1041178 h 6006442"/>
                <a:gd name="connsiteX630" fmla="*/ 5098688 w 6356680"/>
                <a:gd name="connsiteY630" fmla="*/ 1055474 h 6006442"/>
                <a:gd name="connsiteX631" fmla="*/ 5112984 w 6356680"/>
                <a:gd name="connsiteY631" fmla="*/ 1069770 h 6006442"/>
                <a:gd name="connsiteX632" fmla="*/ 5132044 w 6356680"/>
                <a:gd name="connsiteY632" fmla="*/ 1098362 h 6006442"/>
                <a:gd name="connsiteX633" fmla="*/ 5141576 w 6356680"/>
                <a:gd name="connsiteY633" fmla="*/ 1103126 h 6006442"/>
                <a:gd name="connsiteX634" fmla="*/ 5155872 w 6356680"/>
                <a:gd name="connsiteY634" fmla="*/ 1103126 h 6006442"/>
                <a:gd name="connsiteX635" fmla="*/ 5155872 w 6356680"/>
                <a:gd name="connsiteY635" fmla="*/ 1126950 h 6006442"/>
                <a:gd name="connsiteX636" fmla="*/ 5174932 w 6356680"/>
                <a:gd name="connsiteY636" fmla="*/ 1179370 h 6006442"/>
                <a:gd name="connsiteX637" fmla="*/ 5189224 w 6356680"/>
                <a:gd name="connsiteY637" fmla="*/ 1222254 h 6006442"/>
                <a:gd name="connsiteX638" fmla="*/ 5179696 w 6356680"/>
                <a:gd name="connsiteY638" fmla="*/ 1279438 h 6006442"/>
                <a:gd name="connsiteX639" fmla="*/ 5170164 w 6356680"/>
                <a:gd name="connsiteY639" fmla="*/ 1308026 h 6006442"/>
                <a:gd name="connsiteX640" fmla="*/ 5174932 w 6356680"/>
                <a:gd name="connsiteY640" fmla="*/ 1327086 h 6006442"/>
                <a:gd name="connsiteX641" fmla="*/ 5203520 w 6356680"/>
                <a:gd name="connsiteY641" fmla="*/ 1365210 h 6006442"/>
                <a:gd name="connsiteX642" fmla="*/ 5222580 w 6356680"/>
                <a:gd name="connsiteY642" fmla="*/ 1369974 h 6006442"/>
                <a:gd name="connsiteX643" fmla="*/ 5217816 w 6356680"/>
                <a:gd name="connsiteY643" fmla="*/ 1389034 h 6006442"/>
                <a:gd name="connsiteX644" fmla="*/ 5213052 w 6356680"/>
                <a:gd name="connsiteY644" fmla="*/ 1417626 h 6006442"/>
                <a:gd name="connsiteX645" fmla="*/ 5227348 w 6356680"/>
                <a:gd name="connsiteY645" fmla="*/ 1441450 h 6006442"/>
                <a:gd name="connsiteX646" fmla="*/ 5246408 w 6356680"/>
                <a:gd name="connsiteY646" fmla="*/ 1460510 h 6006442"/>
                <a:gd name="connsiteX647" fmla="*/ 5260704 w 6356680"/>
                <a:gd name="connsiteY647" fmla="*/ 1470042 h 6006442"/>
                <a:gd name="connsiteX648" fmla="*/ 5275000 w 6356680"/>
                <a:gd name="connsiteY648" fmla="*/ 1474806 h 6006442"/>
                <a:gd name="connsiteX649" fmla="*/ 5298824 w 6356680"/>
                <a:gd name="connsiteY649" fmla="*/ 1484338 h 6006442"/>
                <a:gd name="connsiteX650" fmla="*/ 5327416 w 6356680"/>
                <a:gd name="connsiteY650" fmla="*/ 1489102 h 6006442"/>
                <a:gd name="connsiteX651" fmla="*/ 5336944 w 6356680"/>
                <a:gd name="connsiteY651" fmla="*/ 1498630 h 6006442"/>
                <a:gd name="connsiteX652" fmla="*/ 5346476 w 6356680"/>
                <a:gd name="connsiteY652" fmla="*/ 1512926 h 6006442"/>
                <a:gd name="connsiteX653" fmla="*/ 5370300 w 6356680"/>
                <a:gd name="connsiteY653" fmla="*/ 1512926 h 6006442"/>
                <a:gd name="connsiteX654" fmla="*/ 5379832 w 6356680"/>
                <a:gd name="connsiteY654" fmla="*/ 1512926 h 6006442"/>
                <a:gd name="connsiteX655" fmla="*/ 5389360 w 6356680"/>
                <a:gd name="connsiteY655" fmla="*/ 1508162 h 6006442"/>
                <a:gd name="connsiteX656" fmla="*/ 5398892 w 6356680"/>
                <a:gd name="connsiteY656" fmla="*/ 1512926 h 6006442"/>
                <a:gd name="connsiteX657" fmla="*/ 5403656 w 6356680"/>
                <a:gd name="connsiteY657" fmla="*/ 1522458 h 6006442"/>
                <a:gd name="connsiteX658" fmla="*/ 5417952 w 6356680"/>
                <a:gd name="connsiteY658" fmla="*/ 1546282 h 6006442"/>
                <a:gd name="connsiteX659" fmla="*/ 5441776 w 6356680"/>
                <a:gd name="connsiteY659" fmla="*/ 1574874 h 6006442"/>
                <a:gd name="connsiteX660" fmla="*/ 5456072 w 6356680"/>
                <a:gd name="connsiteY660" fmla="*/ 1574874 h 6006442"/>
                <a:gd name="connsiteX661" fmla="*/ 5470368 w 6356680"/>
                <a:gd name="connsiteY661" fmla="*/ 1589170 h 6006442"/>
                <a:gd name="connsiteX662" fmla="*/ 5479900 w 6356680"/>
                <a:gd name="connsiteY662" fmla="*/ 1593934 h 6006442"/>
                <a:gd name="connsiteX663" fmla="*/ 5494192 w 6356680"/>
                <a:gd name="connsiteY663" fmla="*/ 1593934 h 6006442"/>
                <a:gd name="connsiteX664" fmla="*/ 5508488 w 6356680"/>
                <a:gd name="connsiteY664" fmla="*/ 1603466 h 6006442"/>
                <a:gd name="connsiteX665" fmla="*/ 5537080 w 6356680"/>
                <a:gd name="connsiteY665" fmla="*/ 1627290 h 6006442"/>
                <a:gd name="connsiteX666" fmla="*/ 5565672 w 6356680"/>
                <a:gd name="connsiteY666" fmla="*/ 1627290 h 6006442"/>
                <a:gd name="connsiteX667" fmla="*/ 5575200 w 6356680"/>
                <a:gd name="connsiteY667" fmla="*/ 1636822 h 6006442"/>
                <a:gd name="connsiteX668" fmla="*/ 5599028 w 6356680"/>
                <a:gd name="connsiteY668" fmla="*/ 1660646 h 6006442"/>
                <a:gd name="connsiteX669" fmla="*/ 5608556 w 6356680"/>
                <a:gd name="connsiteY669" fmla="*/ 1670178 h 6006442"/>
                <a:gd name="connsiteX670" fmla="*/ 5618088 w 6356680"/>
                <a:gd name="connsiteY670" fmla="*/ 1689238 h 6006442"/>
                <a:gd name="connsiteX671" fmla="*/ 5608556 w 6356680"/>
                <a:gd name="connsiteY671" fmla="*/ 1694002 h 6006442"/>
                <a:gd name="connsiteX672" fmla="*/ 5594260 w 6356680"/>
                <a:gd name="connsiteY672" fmla="*/ 1689238 h 6006442"/>
                <a:gd name="connsiteX673" fmla="*/ 5589496 w 6356680"/>
                <a:gd name="connsiteY673" fmla="*/ 1708298 h 6006442"/>
                <a:gd name="connsiteX674" fmla="*/ 5603792 w 6356680"/>
                <a:gd name="connsiteY674" fmla="*/ 1732122 h 6006442"/>
                <a:gd name="connsiteX675" fmla="*/ 5622852 w 6356680"/>
                <a:gd name="connsiteY675" fmla="*/ 1751182 h 6006442"/>
                <a:gd name="connsiteX676" fmla="*/ 5646680 w 6356680"/>
                <a:gd name="connsiteY676" fmla="*/ 1770246 h 6006442"/>
                <a:gd name="connsiteX677" fmla="*/ 5670504 w 6356680"/>
                <a:gd name="connsiteY677" fmla="*/ 1798834 h 6006442"/>
                <a:gd name="connsiteX678" fmla="*/ 5675268 w 6356680"/>
                <a:gd name="connsiteY678" fmla="*/ 1817894 h 6006442"/>
                <a:gd name="connsiteX679" fmla="*/ 5680032 w 6356680"/>
                <a:gd name="connsiteY679" fmla="*/ 1827426 h 6006442"/>
                <a:gd name="connsiteX680" fmla="*/ 5689564 w 6356680"/>
                <a:gd name="connsiteY680" fmla="*/ 1856018 h 6006442"/>
                <a:gd name="connsiteX681" fmla="*/ 5708624 w 6356680"/>
                <a:gd name="connsiteY681" fmla="*/ 1875078 h 6006442"/>
                <a:gd name="connsiteX682" fmla="*/ 5708624 w 6356680"/>
                <a:gd name="connsiteY682" fmla="*/ 1908434 h 6006442"/>
                <a:gd name="connsiteX683" fmla="*/ 5718156 w 6356680"/>
                <a:gd name="connsiteY683" fmla="*/ 1951318 h 6006442"/>
                <a:gd name="connsiteX684" fmla="*/ 5732452 w 6356680"/>
                <a:gd name="connsiteY684" fmla="*/ 1989442 h 6006442"/>
                <a:gd name="connsiteX685" fmla="*/ 5737216 w 6356680"/>
                <a:gd name="connsiteY685" fmla="*/ 1998970 h 6006442"/>
                <a:gd name="connsiteX686" fmla="*/ 5746744 w 6356680"/>
                <a:gd name="connsiteY686" fmla="*/ 2018030 h 6006442"/>
                <a:gd name="connsiteX687" fmla="*/ 5756276 w 6356680"/>
                <a:gd name="connsiteY687" fmla="*/ 2018030 h 6006442"/>
                <a:gd name="connsiteX688" fmla="*/ 5765808 w 6356680"/>
                <a:gd name="connsiteY688" fmla="*/ 2013266 h 6006442"/>
                <a:gd name="connsiteX689" fmla="*/ 5780100 w 6356680"/>
                <a:gd name="connsiteY689" fmla="*/ 2032326 h 6006442"/>
                <a:gd name="connsiteX690" fmla="*/ 5789632 w 6356680"/>
                <a:gd name="connsiteY690" fmla="*/ 2037090 h 6006442"/>
                <a:gd name="connsiteX691" fmla="*/ 5794396 w 6356680"/>
                <a:gd name="connsiteY691" fmla="*/ 2032326 h 6006442"/>
                <a:gd name="connsiteX692" fmla="*/ 5784868 w 6356680"/>
                <a:gd name="connsiteY692" fmla="*/ 1998970 h 6006442"/>
                <a:gd name="connsiteX693" fmla="*/ 5789632 w 6356680"/>
                <a:gd name="connsiteY693" fmla="*/ 1975146 h 6006442"/>
                <a:gd name="connsiteX694" fmla="*/ 5799160 w 6356680"/>
                <a:gd name="connsiteY694" fmla="*/ 1975146 h 6006442"/>
                <a:gd name="connsiteX695" fmla="*/ 5803928 w 6356680"/>
                <a:gd name="connsiteY695" fmla="*/ 1975146 h 6006442"/>
                <a:gd name="connsiteX696" fmla="*/ 5818224 w 6356680"/>
                <a:gd name="connsiteY696" fmla="*/ 1989442 h 6006442"/>
                <a:gd name="connsiteX697" fmla="*/ 5827752 w 6356680"/>
                <a:gd name="connsiteY697" fmla="*/ 2008502 h 6006442"/>
                <a:gd name="connsiteX698" fmla="*/ 5856344 w 6356680"/>
                <a:gd name="connsiteY698" fmla="*/ 2022798 h 6006442"/>
                <a:gd name="connsiteX699" fmla="*/ 5880168 w 6356680"/>
                <a:gd name="connsiteY699" fmla="*/ 2041858 h 6006442"/>
                <a:gd name="connsiteX700" fmla="*/ 5884936 w 6356680"/>
                <a:gd name="connsiteY700" fmla="*/ 2037090 h 6006442"/>
                <a:gd name="connsiteX701" fmla="*/ 5880168 w 6356680"/>
                <a:gd name="connsiteY701" fmla="*/ 2027562 h 6006442"/>
                <a:gd name="connsiteX702" fmla="*/ 5880168 w 6356680"/>
                <a:gd name="connsiteY702" fmla="*/ 2008502 h 6006442"/>
                <a:gd name="connsiteX703" fmla="*/ 5889700 w 6356680"/>
                <a:gd name="connsiteY703" fmla="*/ 2008502 h 6006442"/>
                <a:gd name="connsiteX704" fmla="*/ 5899232 w 6356680"/>
                <a:gd name="connsiteY704" fmla="*/ 2018030 h 6006442"/>
                <a:gd name="connsiteX705" fmla="*/ 5913524 w 6356680"/>
                <a:gd name="connsiteY705" fmla="*/ 2041858 h 6006442"/>
                <a:gd name="connsiteX706" fmla="*/ 5918292 w 6356680"/>
                <a:gd name="connsiteY706" fmla="*/ 2099038 h 6006442"/>
                <a:gd name="connsiteX707" fmla="*/ 5918292 w 6356680"/>
                <a:gd name="connsiteY707" fmla="*/ 2146690 h 6006442"/>
                <a:gd name="connsiteX708" fmla="*/ 5923056 w 6356680"/>
                <a:gd name="connsiteY708" fmla="*/ 2194342 h 6006442"/>
                <a:gd name="connsiteX709" fmla="*/ 5937352 w 6356680"/>
                <a:gd name="connsiteY709" fmla="*/ 2203870 h 6006442"/>
                <a:gd name="connsiteX710" fmla="*/ 5946880 w 6356680"/>
                <a:gd name="connsiteY710" fmla="*/ 2218166 h 6006442"/>
                <a:gd name="connsiteX711" fmla="*/ 5961176 w 6356680"/>
                <a:gd name="connsiteY711" fmla="*/ 2232462 h 6006442"/>
                <a:gd name="connsiteX712" fmla="*/ 5975472 w 6356680"/>
                <a:gd name="connsiteY712" fmla="*/ 2246758 h 6006442"/>
                <a:gd name="connsiteX713" fmla="*/ 5985000 w 6356680"/>
                <a:gd name="connsiteY713" fmla="*/ 2256286 h 6006442"/>
                <a:gd name="connsiteX714" fmla="*/ 6027888 w 6356680"/>
                <a:gd name="connsiteY714" fmla="*/ 2284878 h 6006442"/>
                <a:gd name="connsiteX715" fmla="*/ 6037420 w 6356680"/>
                <a:gd name="connsiteY715" fmla="*/ 2289642 h 6006442"/>
                <a:gd name="connsiteX716" fmla="*/ 6056480 w 6356680"/>
                <a:gd name="connsiteY716" fmla="*/ 2289642 h 6006442"/>
                <a:gd name="connsiteX717" fmla="*/ 6080304 w 6356680"/>
                <a:gd name="connsiteY717" fmla="*/ 2303938 h 6006442"/>
                <a:gd name="connsiteX718" fmla="*/ 6089836 w 6356680"/>
                <a:gd name="connsiteY718" fmla="*/ 2318234 h 6006442"/>
                <a:gd name="connsiteX719" fmla="*/ 6113660 w 6356680"/>
                <a:gd name="connsiteY719" fmla="*/ 2370650 h 6006442"/>
                <a:gd name="connsiteX720" fmla="*/ 6127956 w 6356680"/>
                <a:gd name="connsiteY720" fmla="*/ 2384946 h 6006442"/>
                <a:gd name="connsiteX721" fmla="*/ 6151780 w 6356680"/>
                <a:gd name="connsiteY721" fmla="*/ 2404006 h 6006442"/>
                <a:gd name="connsiteX722" fmla="*/ 6161312 w 6356680"/>
                <a:gd name="connsiteY722" fmla="*/ 2408770 h 6006442"/>
                <a:gd name="connsiteX723" fmla="*/ 6175608 w 6356680"/>
                <a:gd name="connsiteY723" fmla="*/ 2423066 h 6006442"/>
                <a:gd name="connsiteX724" fmla="*/ 6180372 w 6356680"/>
                <a:gd name="connsiteY724" fmla="*/ 2442126 h 6006442"/>
                <a:gd name="connsiteX725" fmla="*/ 6185136 w 6356680"/>
                <a:gd name="connsiteY725" fmla="*/ 2451658 h 6006442"/>
                <a:gd name="connsiteX726" fmla="*/ 6194668 w 6356680"/>
                <a:gd name="connsiteY726" fmla="*/ 2470718 h 6006442"/>
                <a:gd name="connsiteX727" fmla="*/ 6208964 w 6356680"/>
                <a:gd name="connsiteY727" fmla="*/ 2489778 h 6006442"/>
                <a:gd name="connsiteX728" fmla="*/ 6228024 w 6356680"/>
                <a:gd name="connsiteY728" fmla="*/ 2504074 h 6006442"/>
                <a:gd name="connsiteX729" fmla="*/ 6247084 w 6356680"/>
                <a:gd name="connsiteY729" fmla="*/ 2532666 h 6006442"/>
                <a:gd name="connsiteX730" fmla="*/ 6251848 w 6356680"/>
                <a:gd name="connsiteY730" fmla="*/ 2575550 h 6006442"/>
                <a:gd name="connsiteX731" fmla="*/ 6261380 w 6356680"/>
                <a:gd name="connsiteY731" fmla="*/ 2599378 h 6006442"/>
                <a:gd name="connsiteX732" fmla="*/ 6266144 w 6356680"/>
                <a:gd name="connsiteY732" fmla="*/ 2608906 h 6006442"/>
                <a:gd name="connsiteX733" fmla="*/ 6280440 w 6356680"/>
                <a:gd name="connsiteY733" fmla="*/ 2618438 h 6006442"/>
                <a:gd name="connsiteX734" fmla="*/ 6289968 w 6356680"/>
                <a:gd name="connsiteY734" fmla="*/ 2623202 h 6006442"/>
                <a:gd name="connsiteX735" fmla="*/ 6275676 w 6356680"/>
                <a:gd name="connsiteY735" fmla="*/ 2685150 h 6006442"/>
                <a:gd name="connsiteX736" fmla="*/ 6289968 w 6356680"/>
                <a:gd name="connsiteY736" fmla="*/ 2799510 h 6006442"/>
                <a:gd name="connsiteX737" fmla="*/ 6280440 w 6356680"/>
                <a:gd name="connsiteY737" fmla="*/ 2837634 h 6006442"/>
                <a:gd name="connsiteX738" fmla="*/ 6294736 w 6356680"/>
                <a:gd name="connsiteY738" fmla="*/ 2875754 h 6006442"/>
                <a:gd name="connsiteX739" fmla="*/ 6323328 w 6356680"/>
                <a:gd name="connsiteY739" fmla="*/ 2937702 h 6006442"/>
                <a:gd name="connsiteX740" fmla="*/ 6328092 w 6356680"/>
                <a:gd name="connsiteY740" fmla="*/ 2961526 h 6006442"/>
                <a:gd name="connsiteX741" fmla="*/ 6332856 w 6356680"/>
                <a:gd name="connsiteY741" fmla="*/ 2990118 h 6006442"/>
                <a:gd name="connsiteX742" fmla="*/ 6351916 w 6356680"/>
                <a:gd name="connsiteY742" fmla="*/ 3023474 h 6006442"/>
                <a:gd name="connsiteX743" fmla="*/ 6351916 w 6356680"/>
                <a:gd name="connsiteY743" fmla="*/ 3075890 h 6006442"/>
                <a:gd name="connsiteX744" fmla="*/ 6356680 w 6356680"/>
                <a:gd name="connsiteY744" fmla="*/ 3099714 h 6006442"/>
                <a:gd name="connsiteX745" fmla="*/ 6356680 w 6356680"/>
                <a:gd name="connsiteY745" fmla="*/ 3133070 h 6006442"/>
                <a:gd name="connsiteX746" fmla="*/ 6332856 w 6356680"/>
                <a:gd name="connsiteY746" fmla="*/ 3166426 h 6006442"/>
                <a:gd name="connsiteX747" fmla="*/ 6318560 w 6356680"/>
                <a:gd name="connsiteY747" fmla="*/ 3209314 h 6006442"/>
                <a:gd name="connsiteX748" fmla="*/ 6313796 w 6356680"/>
                <a:gd name="connsiteY748" fmla="*/ 3247434 h 6006442"/>
                <a:gd name="connsiteX749" fmla="*/ 6304264 w 6356680"/>
                <a:gd name="connsiteY749" fmla="*/ 3318910 h 6006442"/>
                <a:gd name="connsiteX750" fmla="*/ 6294736 w 6356680"/>
                <a:gd name="connsiteY750" fmla="*/ 3337970 h 6006442"/>
                <a:gd name="connsiteX751" fmla="*/ 6289968 w 6356680"/>
                <a:gd name="connsiteY751" fmla="*/ 3366562 h 6006442"/>
                <a:gd name="connsiteX752" fmla="*/ 6266144 w 6356680"/>
                <a:gd name="connsiteY752" fmla="*/ 3438038 h 6006442"/>
                <a:gd name="connsiteX753" fmla="*/ 6266144 w 6356680"/>
                <a:gd name="connsiteY753" fmla="*/ 3466630 h 6006442"/>
                <a:gd name="connsiteX754" fmla="*/ 6270908 w 6356680"/>
                <a:gd name="connsiteY754" fmla="*/ 3499986 h 6006442"/>
                <a:gd name="connsiteX755" fmla="*/ 6266144 w 6356680"/>
                <a:gd name="connsiteY755" fmla="*/ 3533342 h 6006442"/>
                <a:gd name="connsiteX756" fmla="*/ 6261380 w 6356680"/>
                <a:gd name="connsiteY756" fmla="*/ 3557166 h 6006442"/>
                <a:gd name="connsiteX757" fmla="*/ 6251848 w 6356680"/>
                <a:gd name="connsiteY757" fmla="*/ 3600054 h 6006442"/>
                <a:gd name="connsiteX758" fmla="*/ 6228024 w 6356680"/>
                <a:gd name="connsiteY758" fmla="*/ 3662002 h 6006442"/>
                <a:gd name="connsiteX759" fmla="*/ 6194668 w 6356680"/>
                <a:gd name="connsiteY759" fmla="*/ 3709650 h 6006442"/>
                <a:gd name="connsiteX760" fmla="*/ 6189904 w 6356680"/>
                <a:gd name="connsiteY760" fmla="*/ 3747774 h 6006442"/>
                <a:gd name="connsiteX761" fmla="*/ 6185136 w 6356680"/>
                <a:gd name="connsiteY761" fmla="*/ 3762066 h 6006442"/>
                <a:gd name="connsiteX762" fmla="*/ 6180372 w 6356680"/>
                <a:gd name="connsiteY762" fmla="*/ 3781130 h 6006442"/>
                <a:gd name="connsiteX763" fmla="*/ 6156548 w 6356680"/>
                <a:gd name="connsiteY763" fmla="*/ 3804954 h 6006442"/>
                <a:gd name="connsiteX764" fmla="*/ 6142252 w 6356680"/>
                <a:gd name="connsiteY764" fmla="*/ 3814486 h 6006442"/>
                <a:gd name="connsiteX765" fmla="*/ 6137488 w 6356680"/>
                <a:gd name="connsiteY765" fmla="*/ 3828778 h 6006442"/>
                <a:gd name="connsiteX766" fmla="*/ 6127956 w 6356680"/>
                <a:gd name="connsiteY766" fmla="*/ 3828778 h 6006442"/>
                <a:gd name="connsiteX767" fmla="*/ 6127956 w 6356680"/>
                <a:gd name="connsiteY767" fmla="*/ 3833546 h 6006442"/>
                <a:gd name="connsiteX768" fmla="*/ 6137488 w 6356680"/>
                <a:gd name="connsiteY768" fmla="*/ 3833546 h 6006442"/>
                <a:gd name="connsiteX769" fmla="*/ 6132720 w 6356680"/>
                <a:gd name="connsiteY769" fmla="*/ 3843074 h 6006442"/>
                <a:gd name="connsiteX770" fmla="*/ 6099364 w 6356680"/>
                <a:gd name="connsiteY770" fmla="*/ 3852606 h 6006442"/>
                <a:gd name="connsiteX771" fmla="*/ 6075540 w 6356680"/>
                <a:gd name="connsiteY771" fmla="*/ 3866902 h 6006442"/>
                <a:gd name="connsiteX772" fmla="*/ 6056480 w 6356680"/>
                <a:gd name="connsiteY772" fmla="*/ 3905022 h 6006442"/>
                <a:gd name="connsiteX773" fmla="*/ 6046948 w 6356680"/>
                <a:gd name="connsiteY773" fmla="*/ 3924082 h 6006442"/>
                <a:gd name="connsiteX774" fmla="*/ 6032652 w 6356680"/>
                <a:gd name="connsiteY774" fmla="*/ 3943142 h 6006442"/>
                <a:gd name="connsiteX775" fmla="*/ 6023124 w 6356680"/>
                <a:gd name="connsiteY775" fmla="*/ 3952674 h 6006442"/>
                <a:gd name="connsiteX776" fmla="*/ 6023124 w 6356680"/>
                <a:gd name="connsiteY776" fmla="*/ 3962202 h 6006442"/>
                <a:gd name="connsiteX777" fmla="*/ 6018360 w 6356680"/>
                <a:gd name="connsiteY777" fmla="*/ 3986030 h 6006442"/>
                <a:gd name="connsiteX778" fmla="*/ 6004064 w 6356680"/>
                <a:gd name="connsiteY778" fmla="*/ 3990794 h 6006442"/>
                <a:gd name="connsiteX779" fmla="*/ 5994532 w 6356680"/>
                <a:gd name="connsiteY779" fmla="*/ 3995558 h 6006442"/>
                <a:gd name="connsiteX780" fmla="*/ 5999296 w 6356680"/>
                <a:gd name="connsiteY780" fmla="*/ 4019386 h 6006442"/>
                <a:gd name="connsiteX781" fmla="*/ 5994532 w 6356680"/>
                <a:gd name="connsiteY781" fmla="*/ 4043210 h 6006442"/>
                <a:gd name="connsiteX782" fmla="*/ 5994532 w 6356680"/>
                <a:gd name="connsiteY782" fmla="*/ 4062270 h 6006442"/>
                <a:gd name="connsiteX783" fmla="*/ 5989768 w 6356680"/>
                <a:gd name="connsiteY783" fmla="*/ 4071802 h 6006442"/>
                <a:gd name="connsiteX784" fmla="*/ 5980236 w 6356680"/>
                <a:gd name="connsiteY784" fmla="*/ 4067038 h 6006442"/>
                <a:gd name="connsiteX785" fmla="*/ 5975472 w 6356680"/>
                <a:gd name="connsiteY785" fmla="*/ 4067038 h 6006442"/>
                <a:gd name="connsiteX786" fmla="*/ 5970708 w 6356680"/>
                <a:gd name="connsiteY786" fmla="*/ 4076566 h 6006442"/>
                <a:gd name="connsiteX787" fmla="*/ 5980236 w 6356680"/>
                <a:gd name="connsiteY787" fmla="*/ 4076566 h 6006442"/>
                <a:gd name="connsiteX788" fmla="*/ 5985000 w 6356680"/>
                <a:gd name="connsiteY788" fmla="*/ 4081330 h 6006442"/>
                <a:gd name="connsiteX789" fmla="*/ 5965940 w 6356680"/>
                <a:gd name="connsiteY789" fmla="*/ 4105158 h 6006442"/>
                <a:gd name="connsiteX790" fmla="*/ 5942116 w 6356680"/>
                <a:gd name="connsiteY790" fmla="*/ 4128982 h 6006442"/>
                <a:gd name="connsiteX791" fmla="*/ 5937352 w 6356680"/>
                <a:gd name="connsiteY791" fmla="*/ 4148042 h 6006442"/>
                <a:gd name="connsiteX792" fmla="*/ 5927820 w 6356680"/>
                <a:gd name="connsiteY792" fmla="*/ 4167102 h 6006442"/>
                <a:gd name="connsiteX793" fmla="*/ 5923056 w 6356680"/>
                <a:gd name="connsiteY793" fmla="*/ 4214754 h 6006442"/>
                <a:gd name="connsiteX794" fmla="*/ 5913524 w 6356680"/>
                <a:gd name="connsiteY794" fmla="*/ 4243346 h 6006442"/>
                <a:gd name="connsiteX795" fmla="*/ 5918292 w 6356680"/>
                <a:gd name="connsiteY795" fmla="*/ 4262406 h 6006442"/>
                <a:gd name="connsiteX796" fmla="*/ 5918292 w 6356680"/>
                <a:gd name="connsiteY796" fmla="*/ 4267170 h 6006442"/>
                <a:gd name="connsiteX797" fmla="*/ 5913524 w 6356680"/>
                <a:gd name="connsiteY797" fmla="*/ 4267170 h 6006442"/>
                <a:gd name="connsiteX798" fmla="*/ 5903996 w 6356680"/>
                <a:gd name="connsiteY798" fmla="*/ 4271938 h 6006442"/>
                <a:gd name="connsiteX799" fmla="*/ 5899232 w 6356680"/>
                <a:gd name="connsiteY799" fmla="*/ 4276702 h 6006442"/>
                <a:gd name="connsiteX800" fmla="*/ 5903996 w 6356680"/>
                <a:gd name="connsiteY800" fmla="*/ 4286230 h 6006442"/>
                <a:gd name="connsiteX801" fmla="*/ 5903996 w 6356680"/>
                <a:gd name="connsiteY801" fmla="*/ 4290998 h 6006442"/>
                <a:gd name="connsiteX802" fmla="*/ 5903996 w 6356680"/>
                <a:gd name="connsiteY802" fmla="*/ 4295762 h 6006442"/>
                <a:gd name="connsiteX803" fmla="*/ 5899232 w 6356680"/>
                <a:gd name="connsiteY803" fmla="*/ 4295762 h 6006442"/>
                <a:gd name="connsiteX804" fmla="*/ 5894464 w 6356680"/>
                <a:gd name="connsiteY804" fmla="*/ 4295762 h 6006442"/>
                <a:gd name="connsiteX805" fmla="*/ 5880168 w 6356680"/>
                <a:gd name="connsiteY805" fmla="*/ 4305294 h 6006442"/>
                <a:gd name="connsiteX806" fmla="*/ 5851580 w 6356680"/>
                <a:gd name="connsiteY806" fmla="*/ 4376770 h 6006442"/>
                <a:gd name="connsiteX807" fmla="*/ 5837284 w 6356680"/>
                <a:gd name="connsiteY807" fmla="*/ 4395830 h 6006442"/>
                <a:gd name="connsiteX808" fmla="*/ 5822988 w 6356680"/>
                <a:gd name="connsiteY808" fmla="*/ 4424422 h 6006442"/>
                <a:gd name="connsiteX809" fmla="*/ 5818224 w 6356680"/>
                <a:gd name="connsiteY809" fmla="*/ 4448246 h 6006442"/>
                <a:gd name="connsiteX810" fmla="*/ 5813456 w 6356680"/>
                <a:gd name="connsiteY810" fmla="*/ 4476838 h 6006442"/>
                <a:gd name="connsiteX811" fmla="*/ 5808692 w 6356680"/>
                <a:gd name="connsiteY811" fmla="*/ 4529254 h 6006442"/>
                <a:gd name="connsiteX812" fmla="*/ 5803928 w 6356680"/>
                <a:gd name="connsiteY812" fmla="*/ 4562610 h 6006442"/>
                <a:gd name="connsiteX813" fmla="*/ 5789632 w 6356680"/>
                <a:gd name="connsiteY813" fmla="*/ 4595966 h 6006442"/>
                <a:gd name="connsiteX814" fmla="*/ 5784868 w 6356680"/>
                <a:gd name="connsiteY814" fmla="*/ 4619790 h 6006442"/>
                <a:gd name="connsiteX815" fmla="*/ 5784868 w 6356680"/>
                <a:gd name="connsiteY815" fmla="*/ 4667442 h 6006442"/>
                <a:gd name="connsiteX816" fmla="*/ 5789632 w 6356680"/>
                <a:gd name="connsiteY816" fmla="*/ 4700798 h 6006442"/>
                <a:gd name="connsiteX817" fmla="*/ 5789632 w 6356680"/>
                <a:gd name="connsiteY817" fmla="*/ 4719858 h 6006442"/>
                <a:gd name="connsiteX818" fmla="*/ 5789632 w 6356680"/>
                <a:gd name="connsiteY818" fmla="*/ 4738918 h 6006442"/>
                <a:gd name="connsiteX819" fmla="*/ 5784868 w 6356680"/>
                <a:gd name="connsiteY819" fmla="*/ 4753214 h 6006442"/>
                <a:gd name="connsiteX820" fmla="*/ 5765808 w 6356680"/>
                <a:gd name="connsiteY820" fmla="*/ 4757978 h 6006442"/>
                <a:gd name="connsiteX821" fmla="*/ 5746744 w 6356680"/>
                <a:gd name="connsiteY821" fmla="*/ 4772274 h 6006442"/>
                <a:gd name="connsiteX822" fmla="*/ 5727684 w 6356680"/>
                <a:gd name="connsiteY822" fmla="*/ 4791334 h 6006442"/>
                <a:gd name="connsiteX823" fmla="*/ 5713392 w 6356680"/>
                <a:gd name="connsiteY823" fmla="*/ 4800866 h 6006442"/>
                <a:gd name="connsiteX824" fmla="*/ 5684800 w 6356680"/>
                <a:gd name="connsiteY824" fmla="*/ 4805630 h 6006442"/>
                <a:gd name="connsiteX825" fmla="*/ 5627616 w 6356680"/>
                <a:gd name="connsiteY825" fmla="*/ 4805630 h 6006442"/>
                <a:gd name="connsiteX826" fmla="*/ 5522784 w 6356680"/>
                <a:gd name="connsiteY826" fmla="*/ 4815162 h 6006442"/>
                <a:gd name="connsiteX827" fmla="*/ 5503724 w 6356680"/>
                <a:gd name="connsiteY827" fmla="*/ 4819926 h 6006442"/>
                <a:gd name="connsiteX828" fmla="*/ 5460840 w 6356680"/>
                <a:gd name="connsiteY828" fmla="*/ 4834222 h 6006442"/>
                <a:gd name="connsiteX829" fmla="*/ 5422716 w 6356680"/>
                <a:gd name="connsiteY829" fmla="*/ 4858046 h 6006442"/>
                <a:gd name="connsiteX830" fmla="*/ 5384596 w 6356680"/>
                <a:gd name="connsiteY830" fmla="*/ 4891402 h 6006442"/>
                <a:gd name="connsiteX831" fmla="*/ 5303588 w 6356680"/>
                <a:gd name="connsiteY831" fmla="*/ 4977178 h 6006442"/>
                <a:gd name="connsiteX832" fmla="*/ 5236876 w 6356680"/>
                <a:gd name="connsiteY832" fmla="*/ 4986706 h 6006442"/>
                <a:gd name="connsiteX833" fmla="*/ 5222580 w 6356680"/>
                <a:gd name="connsiteY833" fmla="*/ 4986706 h 6006442"/>
                <a:gd name="connsiteX834" fmla="*/ 5213052 w 6356680"/>
                <a:gd name="connsiteY834" fmla="*/ 4986706 h 6006442"/>
                <a:gd name="connsiteX835" fmla="*/ 5203520 w 6356680"/>
                <a:gd name="connsiteY835" fmla="*/ 4991470 h 6006442"/>
                <a:gd name="connsiteX836" fmla="*/ 5203520 w 6356680"/>
                <a:gd name="connsiteY836" fmla="*/ 5001002 h 6006442"/>
                <a:gd name="connsiteX837" fmla="*/ 5213052 w 6356680"/>
                <a:gd name="connsiteY837" fmla="*/ 5015298 h 6006442"/>
                <a:gd name="connsiteX838" fmla="*/ 5222580 w 6356680"/>
                <a:gd name="connsiteY838" fmla="*/ 5024826 h 6006442"/>
                <a:gd name="connsiteX839" fmla="*/ 5236876 w 6356680"/>
                <a:gd name="connsiteY839" fmla="*/ 5010534 h 6006442"/>
                <a:gd name="connsiteX840" fmla="*/ 5241640 w 6356680"/>
                <a:gd name="connsiteY840" fmla="*/ 5015298 h 6006442"/>
                <a:gd name="connsiteX841" fmla="*/ 5246408 w 6356680"/>
                <a:gd name="connsiteY841" fmla="*/ 5043886 h 6006442"/>
                <a:gd name="connsiteX842" fmla="*/ 5246408 w 6356680"/>
                <a:gd name="connsiteY842" fmla="*/ 5058182 h 6006442"/>
                <a:gd name="connsiteX843" fmla="*/ 5241640 w 6356680"/>
                <a:gd name="connsiteY843" fmla="*/ 5067714 h 6006442"/>
                <a:gd name="connsiteX844" fmla="*/ 5232112 w 6356680"/>
                <a:gd name="connsiteY844" fmla="*/ 5077246 h 6006442"/>
                <a:gd name="connsiteX845" fmla="*/ 5222580 w 6356680"/>
                <a:gd name="connsiteY845" fmla="*/ 5072478 h 6006442"/>
                <a:gd name="connsiteX846" fmla="*/ 5222580 w 6356680"/>
                <a:gd name="connsiteY846" fmla="*/ 5062950 h 6006442"/>
                <a:gd name="connsiteX847" fmla="*/ 5208288 w 6356680"/>
                <a:gd name="connsiteY847" fmla="*/ 5039122 h 6006442"/>
                <a:gd name="connsiteX848" fmla="*/ 5193992 w 6356680"/>
                <a:gd name="connsiteY848" fmla="*/ 5020062 h 6006442"/>
                <a:gd name="connsiteX849" fmla="*/ 5179696 w 6356680"/>
                <a:gd name="connsiteY849" fmla="*/ 5015298 h 6006442"/>
                <a:gd name="connsiteX850" fmla="*/ 5170164 w 6356680"/>
                <a:gd name="connsiteY850" fmla="*/ 5020062 h 6006442"/>
                <a:gd name="connsiteX851" fmla="*/ 5160636 w 6356680"/>
                <a:gd name="connsiteY851" fmla="*/ 5024826 h 6006442"/>
                <a:gd name="connsiteX852" fmla="*/ 5146340 w 6356680"/>
                <a:gd name="connsiteY852" fmla="*/ 5001002 h 6006442"/>
                <a:gd name="connsiteX853" fmla="*/ 5136808 w 6356680"/>
                <a:gd name="connsiteY853" fmla="*/ 4981942 h 6006442"/>
                <a:gd name="connsiteX854" fmla="*/ 5122512 w 6356680"/>
                <a:gd name="connsiteY854" fmla="*/ 4977178 h 6006442"/>
                <a:gd name="connsiteX855" fmla="*/ 5108220 w 6356680"/>
                <a:gd name="connsiteY855" fmla="*/ 4977178 h 6006442"/>
                <a:gd name="connsiteX856" fmla="*/ 5093924 w 6356680"/>
                <a:gd name="connsiteY856" fmla="*/ 4967646 h 6006442"/>
                <a:gd name="connsiteX857" fmla="*/ 5074864 w 6356680"/>
                <a:gd name="connsiteY857" fmla="*/ 4953350 h 6006442"/>
                <a:gd name="connsiteX858" fmla="*/ 5079628 w 6356680"/>
                <a:gd name="connsiteY858" fmla="*/ 4943822 h 6006442"/>
                <a:gd name="connsiteX859" fmla="*/ 5084392 w 6356680"/>
                <a:gd name="connsiteY859" fmla="*/ 4929526 h 6006442"/>
                <a:gd name="connsiteX860" fmla="*/ 5098688 w 6356680"/>
                <a:gd name="connsiteY860" fmla="*/ 4924758 h 6006442"/>
                <a:gd name="connsiteX861" fmla="*/ 5093924 w 6356680"/>
                <a:gd name="connsiteY861" fmla="*/ 4910462 h 6006442"/>
                <a:gd name="connsiteX862" fmla="*/ 5084392 w 6356680"/>
                <a:gd name="connsiteY862" fmla="*/ 4896170 h 6006442"/>
                <a:gd name="connsiteX863" fmla="*/ 5070096 w 6356680"/>
                <a:gd name="connsiteY863" fmla="*/ 4891402 h 6006442"/>
                <a:gd name="connsiteX864" fmla="*/ 5060568 w 6356680"/>
                <a:gd name="connsiteY864" fmla="*/ 4896170 h 6006442"/>
                <a:gd name="connsiteX865" fmla="*/ 5051036 w 6356680"/>
                <a:gd name="connsiteY865" fmla="*/ 4905698 h 6006442"/>
                <a:gd name="connsiteX866" fmla="*/ 5041508 w 6356680"/>
                <a:gd name="connsiteY866" fmla="*/ 4924758 h 6006442"/>
                <a:gd name="connsiteX867" fmla="*/ 5008152 w 6356680"/>
                <a:gd name="connsiteY867" fmla="*/ 4948586 h 6006442"/>
                <a:gd name="connsiteX868" fmla="*/ 4989092 w 6356680"/>
                <a:gd name="connsiteY868" fmla="*/ 4934290 h 6006442"/>
                <a:gd name="connsiteX869" fmla="*/ 4970032 w 6356680"/>
                <a:gd name="connsiteY869" fmla="*/ 4915230 h 6006442"/>
                <a:gd name="connsiteX870" fmla="*/ 4979560 w 6356680"/>
                <a:gd name="connsiteY870" fmla="*/ 4915230 h 6006442"/>
                <a:gd name="connsiteX871" fmla="*/ 4998620 w 6356680"/>
                <a:gd name="connsiteY871" fmla="*/ 4915230 h 6006442"/>
                <a:gd name="connsiteX872" fmla="*/ 5017680 w 6356680"/>
                <a:gd name="connsiteY872" fmla="*/ 4900934 h 6006442"/>
                <a:gd name="connsiteX873" fmla="*/ 5022448 w 6356680"/>
                <a:gd name="connsiteY873" fmla="*/ 4886638 h 6006442"/>
                <a:gd name="connsiteX874" fmla="*/ 5031976 w 6356680"/>
                <a:gd name="connsiteY874" fmla="*/ 4862814 h 6006442"/>
                <a:gd name="connsiteX875" fmla="*/ 5022448 w 6356680"/>
                <a:gd name="connsiteY875" fmla="*/ 4848518 h 6006442"/>
                <a:gd name="connsiteX876" fmla="*/ 5012916 w 6356680"/>
                <a:gd name="connsiteY876" fmla="*/ 4838986 h 6006442"/>
                <a:gd name="connsiteX877" fmla="*/ 4993856 w 6356680"/>
                <a:gd name="connsiteY877" fmla="*/ 4829458 h 6006442"/>
                <a:gd name="connsiteX878" fmla="*/ 4941440 w 6356680"/>
                <a:gd name="connsiteY878" fmla="*/ 4862814 h 6006442"/>
                <a:gd name="connsiteX879" fmla="*/ 4927144 w 6356680"/>
                <a:gd name="connsiteY879" fmla="*/ 4867578 h 6006442"/>
                <a:gd name="connsiteX880" fmla="*/ 4917612 w 6356680"/>
                <a:gd name="connsiteY880" fmla="*/ 4872342 h 6006442"/>
                <a:gd name="connsiteX881" fmla="*/ 4936672 w 6356680"/>
                <a:gd name="connsiteY881" fmla="*/ 4881874 h 6006442"/>
                <a:gd name="connsiteX882" fmla="*/ 4946204 w 6356680"/>
                <a:gd name="connsiteY882" fmla="*/ 4877106 h 6006442"/>
                <a:gd name="connsiteX883" fmla="*/ 4960500 w 6356680"/>
                <a:gd name="connsiteY883" fmla="*/ 4886638 h 6006442"/>
                <a:gd name="connsiteX884" fmla="*/ 4941440 w 6356680"/>
                <a:gd name="connsiteY884" fmla="*/ 4905698 h 6006442"/>
                <a:gd name="connsiteX885" fmla="*/ 4927144 w 6356680"/>
                <a:gd name="connsiteY885" fmla="*/ 4905698 h 6006442"/>
                <a:gd name="connsiteX886" fmla="*/ 4908084 w 6356680"/>
                <a:gd name="connsiteY886" fmla="*/ 4915230 h 6006442"/>
                <a:gd name="connsiteX887" fmla="*/ 4869960 w 6356680"/>
                <a:gd name="connsiteY887" fmla="*/ 4939054 h 6006442"/>
                <a:gd name="connsiteX888" fmla="*/ 4827076 w 6356680"/>
                <a:gd name="connsiteY888" fmla="*/ 4986706 h 6006442"/>
                <a:gd name="connsiteX889" fmla="*/ 4808016 w 6356680"/>
                <a:gd name="connsiteY889" fmla="*/ 5001002 h 6006442"/>
                <a:gd name="connsiteX890" fmla="*/ 4784192 w 6356680"/>
                <a:gd name="connsiteY890" fmla="*/ 5010534 h 6006442"/>
                <a:gd name="connsiteX891" fmla="*/ 4750832 w 6356680"/>
                <a:gd name="connsiteY891" fmla="*/ 4996238 h 6006442"/>
                <a:gd name="connsiteX892" fmla="*/ 4736540 w 6356680"/>
                <a:gd name="connsiteY892" fmla="*/ 4996238 h 6006442"/>
                <a:gd name="connsiteX893" fmla="*/ 4712712 w 6356680"/>
                <a:gd name="connsiteY893" fmla="*/ 4977178 h 6006442"/>
                <a:gd name="connsiteX894" fmla="*/ 4674592 w 6356680"/>
                <a:gd name="connsiteY894" fmla="*/ 4962882 h 6006442"/>
                <a:gd name="connsiteX895" fmla="*/ 4641236 w 6356680"/>
                <a:gd name="connsiteY895" fmla="*/ 4939054 h 6006442"/>
                <a:gd name="connsiteX896" fmla="*/ 4612644 w 6356680"/>
                <a:gd name="connsiteY896" fmla="*/ 4924758 h 6006442"/>
                <a:gd name="connsiteX897" fmla="*/ 4598352 w 6356680"/>
                <a:gd name="connsiteY897" fmla="*/ 4919994 h 6006442"/>
                <a:gd name="connsiteX898" fmla="*/ 4574524 w 6356680"/>
                <a:gd name="connsiteY898" fmla="*/ 4924758 h 6006442"/>
                <a:gd name="connsiteX899" fmla="*/ 4531640 w 6356680"/>
                <a:gd name="connsiteY899" fmla="*/ 4905698 h 6006442"/>
                <a:gd name="connsiteX900" fmla="*/ 4503048 w 6356680"/>
                <a:gd name="connsiteY900" fmla="*/ 4900934 h 6006442"/>
                <a:gd name="connsiteX901" fmla="*/ 4479220 w 6356680"/>
                <a:gd name="connsiteY901" fmla="*/ 4924758 h 6006442"/>
                <a:gd name="connsiteX902" fmla="*/ 4464928 w 6356680"/>
                <a:gd name="connsiteY902" fmla="*/ 4924758 h 6006442"/>
                <a:gd name="connsiteX903" fmla="*/ 4455396 w 6356680"/>
                <a:gd name="connsiteY903" fmla="*/ 4919994 h 6006442"/>
                <a:gd name="connsiteX904" fmla="*/ 4422040 w 6356680"/>
                <a:gd name="connsiteY904" fmla="*/ 4881874 h 6006442"/>
                <a:gd name="connsiteX905" fmla="*/ 4388684 w 6356680"/>
                <a:gd name="connsiteY905" fmla="*/ 4862814 h 6006442"/>
                <a:gd name="connsiteX906" fmla="*/ 4331504 w 6356680"/>
                <a:gd name="connsiteY906" fmla="*/ 4853282 h 6006442"/>
                <a:gd name="connsiteX907" fmla="*/ 4293384 w 6356680"/>
                <a:gd name="connsiteY907" fmla="*/ 4824690 h 6006442"/>
                <a:gd name="connsiteX908" fmla="*/ 4264792 w 6356680"/>
                <a:gd name="connsiteY908" fmla="*/ 4777042 h 6006442"/>
                <a:gd name="connsiteX909" fmla="*/ 4212376 w 6356680"/>
                <a:gd name="connsiteY909" fmla="*/ 4719858 h 6006442"/>
                <a:gd name="connsiteX910" fmla="*/ 4198080 w 6356680"/>
                <a:gd name="connsiteY910" fmla="*/ 4700798 h 6006442"/>
                <a:gd name="connsiteX911" fmla="*/ 4193312 w 6356680"/>
                <a:gd name="connsiteY911" fmla="*/ 4676974 h 6006442"/>
                <a:gd name="connsiteX912" fmla="*/ 4193312 w 6356680"/>
                <a:gd name="connsiteY912" fmla="*/ 4662678 h 6006442"/>
                <a:gd name="connsiteX913" fmla="*/ 4198080 w 6356680"/>
                <a:gd name="connsiteY913" fmla="*/ 4629322 h 6006442"/>
                <a:gd name="connsiteX914" fmla="*/ 4207608 w 6356680"/>
                <a:gd name="connsiteY914" fmla="*/ 4600730 h 6006442"/>
                <a:gd name="connsiteX915" fmla="*/ 4207608 w 6356680"/>
                <a:gd name="connsiteY915" fmla="*/ 4586434 h 6006442"/>
                <a:gd name="connsiteX916" fmla="*/ 4188548 w 6356680"/>
                <a:gd name="connsiteY916" fmla="*/ 4529254 h 6006442"/>
                <a:gd name="connsiteX917" fmla="*/ 4159960 w 6356680"/>
                <a:gd name="connsiteY917" fmla="*/ 4476838 h 6006442"/>
                <a:gd name="connsiteX918" fmla="*/ 4150428 w 6356680"/>
                <a:gd name="connsiteY918" fmla="*/ 4457778 h 6006442"/>
                <a:gd name="connsiteX919" fmla="*/ 4112308 w 6356680"/>
                <a:gd name="connsiteY919" fmla="*/ 4424422 h 6006442"/>
                <a:gd name="connsiteX920" fmla="*/ 4078952 w 6356680"/>
                <a:gd name="connsiteY920" fmla="*/ 4395830 h 6006442"/>
                <a:gd name="connsiteX921" fmla="*/ 4074184 w 6356680"/>
                <a:gd name="connsiteY921" fmla="*/ 4381534 h 6006442"/>
                <a:gd name="connsiteX922" fmla="*/ 4069420 w 6356680"/>
                <a:gd name="connsiteY922" fmla="*/ 4376770 h 6006442"/>
                <a:gd name="connsiteX923" fmla="*/ 4083716 w 6356680"/>
                <a:gd name="connsiteY923" fmla="*/ 4376770 h 6006442"/>
                <a:gd name="connsiteX924" fmla="*/ 4093248 w 6356680"/>
                <a:gd name="connsiteY924" fmla="*/ 4367238 h 6006442"/>
                <a:gd name="connsiteX925" fmla="*/ 4102776 w 6356680"/>
                <a:gd name="connsiteY925" fmla="*/ 4362474 h 6006442"/>
                <a:gd name="connsiteX926" fmla="*/ 4112308 w 6356680"/>
                <a:gd name="connsiteY926" fmla="*/ 4376770 h 6006442"/>
                <a:gd name="connsiteX927" fmla="*/ 4121836 w 6356680"/>
                <a:gd name="connsiteY927" fmla="*/ 4381534 h 6006442"/>
                <a:gd name="connsiteX928" fmla="*/ 4121836 w 6356680"/>
                <a:gd name="connsiteY928" fmla="*/ 4357710 h 6006442"/>
                <a:gd name="connsiteX929" fmla="*/ 4126604 w 6356680"/>
                <a:gd name="connsiteY929" fmla="*/ 4348178 h 6006442"/>
                <a:gd name="connsiteX930" fmla="*/ 4121836 w 6356680"/>
                <a:gd name="connsiteY930" fmla="*/ 4338650 h 6006442"/>
                <a:gd name="connsiteX931" fmla="*/ 4121836 w 6356680"/>
                <a:gd name="connsiteY931" fmla="*/ 4333882 h 6006442"/>
                <a:gd name="connsiteX932" fmla="*/ 4107540 w 6356680"/>
                <a:gd name="connsiteY932" fmla="*/ 4329118 h 6006442"/>
                <a:gd name="connsiteX933" fmla="*/ 4088480 w 6356680"/>
                <a:gd name="connsiteY933" fmla="*/ 4338650 h 6006442"/>
                <a:gd name="connsiteX934" fmla="*/ 4078952 w 6356680"/>
                <a:gd name="connsiteY934" fmla="*/ 4348178 h 6006442"/>
                <a:gd name="connsiteX935" fmla="*/ 4059892 w 6356680"/>
                <a:gd name="connsiteY935" fmla="*/ 4357710 h 6006442"/>
                <a:gd name="connsiteX936" fmla="*/ 4055124 w 6356680"/>
                <a:gd name="connsiteY936" fmla="*/ 4367238 h 6006442"/>
                <a:gd name="connsiteX937" fmla="*/ 4040832 w 6356680"/>
                <a:gd name="connsiteY937" fmla="*/ 4367238 h 6006442"/>
                <a:gd name="connsiteX938" fmla="*/ 4031300 w 6356680"/>
                <a:gd name="connsiteY938" fmla="*/ 4372006 h 6006442"/>
                <a:gd name="connsiteX939" fmla="*/ 4002708 w 6356680"/>
                <a:gd name="connsiteY939" fmla="*/ 4386298 h 6006442"/>
                <a:gd name="connsiteX940" fmla="*/ 3978884 w 6356680"/>
                <a:gd name="connsiteY940" fmla="*/ 4386298 h 6006442"/>
                <a:gd name="connsiteX941" fmla="*/ 3945528 w 6356680"/>
                <a:gd name="connsiteY941" fmla="*/ 4381534 h 6006442"/>
                <a:gd name="connsiteX942" fmla="*/ 3959824 w 6356680"/>
                <a:gd name="connsiteY942" fmla="*/ 4357710 h 6006442"/>
                <a:gd name="connsiteX943" fmla="*/ 3969352 w 6356680"/>
                <a:gd name="connsiteY943" fmla="*/ 4343414 h 6006442"/>
                <a:gd name="connsiteX944" fmla="*/ 3983648 w 6356680"/>
                <a:gd name="connsiteY944" fmla="*/ 4324354 h 6006442"/>
                <a:gd name="connsiteX945" fmla="*/ 3997944 w 6356680"/>
                <a:gd name="connsiteY945" fmla="*/ 4267170 h 6006442"/>
                <a:gd name="connsiteX946" fmla="*/ 3997944 w 6356680"/>
                <a:gd name="connsiteY946" fmla="*/ 4219522 h 6006442"/>
                <a:gd name="connsiteX947" fmla="*/ 3988412 w 6356680"/>
                <a:gd name="connsiteY947" fmla="*/ 4200458 h 6006442"/>
                <a:gd name="connsiteX948" fmla="*/ 3959824 w 6356680"/>
                <a:gd name="connsiteY948" fmla="*/ 4157574 h 6006442"/>
                <a:gd name="connsiteX949" fmla="*/ 3950292 w 6356680"/>
                <a:gd name="connsiteY949" fmla="*/ 4133746 h 6006442"/>
                <a:gd name="connsiteX950" fmla="*/ 3931232 w 6356680"/>
                <a:gd name="connsiteY950" fmla="*/ 4105158 h 6006442"/>
                <a:gd name="connsiteX951" fmla="*/ 3926468 w 6356680"/>
                <a:gd name="connsiteY951" fmla="*/ 4119454 h 6006442"/>
                <a:gd name="connsiteX952" fmla="*/ 3921700 w 6356680"/>
                <a:gd name="connsiteY952" fmla="*/ 4138514 h 6006442"/>
                <a:gd name="connsiteX953" fmla="*/ 3907408 w 6356680"/>
                <a:gd name="connsiteY953" fmla="*/ 4162338 h 6006442"/>
                <a:gd name="connsiteX954" fmla="*/ 3897876 w 6356680"/>
                <a:gd name="connsiteY954" fmla="*/ 4214754 h 6006442"/>
                <a:gd name="connsiteX955" fmla="*/ 3869284 w 6356680"/>
                <a:gd name="connsiteY955" fmla="*/ 4290998 h 6006442"/>
                <a:gd name="connsiteX956" fmla="*/ 3850224 w 6356680"/>
                <a:gd name="connsiteY956" fmla="*/ 4290998 h 6006442"/>
                <a:gd name="connsiteX957" fmla="*/ 3835928 w 6356680"/>
                <a:gd name="connsiteY957" fmla="*/ 4290998 h 6006442"/>
                <a:gd name="connsiteX958" fmla="*/ 3807340 w 6356680"/>
                <a:gd name="connsiteY958" fmla="*/ 4295762 h 6006442"/>
                <a:gd name="connsiteX959" fmla="*/ 3783512 w 6356680"/>
                <a:gd name="connsiteY959" fmla="*/ 4310058 h 6006442"/>
                <a:gd name="connsiteX960" fmla="*/ 3769216 w 6356680"/>
                <a:gd name="connsiteY960" fmla="*/ 4310058 h 6006442"/>
                <a:gd name="connsiteX961" fmla="*/ 3759688 w 6356680"/>
                <a:gd name="connsiteY961" fmla="*/ 4314822 h 6006442"/>
                <a:gd name="connsiteX962" fmla="*/ 3745392 w 6356680"/>
                <a:gd name="connsiteY962" fmla="*/ 4310058 h 6006442"/>
                <a:gd name="connsiteX963" fmla="*/ 3764452 w 6356680"/>
                <a:gd name="connsiteY963" fmla="*/ 4248110 h 6006442"/>
                <a:gd name="connsiteX964" fmla="*/ 3783512 w 6356680"/>
                <a:gd name="connsiteY964" fmla="*/ 4248110 h 6006442"/>
                <a:gd name="connsiteX965" fmla="*/ 3802572 w 6356680"/>
                <a:gd name="connsiteY965" fmla="*/ 4248110 h 6006442"/>
                <a:gd name="connsiteX966" fmla="*/ 3812104 w 6356680"/>
                <a:gd name="connsiteY966" fmla="*/ 4248110 h 6006442"/>
                <a:gd name="connsiteX967" fmla="*/ 3826400 w 6356680"/>
                <a:gd name="connsiteY967" fmla="*/ 4248110 h 6006442"/>
                <a:gd name="connsiteX968" fmla="*/ 3835928 w 6356680"/>
                <a:gd name="connsiteY968" fmla="*/ 4219522 h 6006442"/>
                <a:gd name="connsiteX969" fmla="*/ 3840696 w 6356680"/>
                <a:gd name="connsiteY969" fmla="*/ 4186166 h 6006442"/>
                <a:gd name="connsiteX970" fmla="*/ 3835928 w 6356680"/>
                <a:gd name="connsiteY970" fmla="*/ 4167102 h 6006442"/>
                <a:gd name="connsiteX971" fmla="*/ 3835928 w 6356680"/>
                <a:gd name="connsiteY971" fmla="*/ 4148042 h 6006442"/>
                <a:gd name="connsiteX972" fmla="*/ 3840696 w 6356680"/>
                <a:gd name="connsiteY972" fmla="*/ 4124218 h 6006442"/>
                <a:gd name="connsiteX973" fmla="*/ 3840696 w 6356680"/>
                <a:gd name="connsiteY973" fmla="*/ 4105158 h 6006442"/>
                <a:gd name="connsiteX974" fmla="*/ 3864520 w 6356680"/>
                <a:gd name="connsiteY974" fmla="*/ 4047974 h 6006442"/>
                <a:gd name="connsiteX975" fmla="*/ 3883580 w 6356680"/>
                <a:gd name="connsiteY975" fmla="*/ 4019386 h 6006442"/>
                <a:gd name="connsiteX976" fmla="*/ 3907408 w 6356680"/>
                <a:gd name="connsiteY976" fmla="*/ 3995558 h 6006442"/>
                <a:gd name="connsiteX977" fmla="*/ 3907408 w 6356680"/>
                <a:gd name="connsiteY977" fmla="*/ 3971734 h 6006442"/>
                <a:gd name="connsiteX978" fmla="*/ 3897876 w 6356680"/>
                <a:gd name="connsiteY978" fmla="*/ 3947906 h 6006442"/>
                <a:gd name="connsiteX979" fmla="*/ 3897876 w 6356680"/>
                <a:gd name="connsiteY979" fmla="*/ 3924082 h 6006442"/>
                <a:gd name="connsiteX980" fmla="*/ 3907408 w 6356680"/>
                <a:gd name="connsiteY980" fmla="*/ 3919318 h 6006442"/>
                <a:gd name="connsiteX981" fmla="*/ 3916936 w 6356680"/>
                <a:gd name="connsiteY981" fmla="*/ 3905022 h 6006442"/>
                <a:gd name="connsiteX982" fmla="*/ 3907408 w 6356680"/>
                <a:gd name="connsiteY982" fmla="*/ 3843074 h 6006442"/>
                <a:gd name="connsiteX983" fmla="*/ 3897876 w 6356680"/>
                <a:gd name="connsiteY983" fmla="*/ 3828778 h 6006442"/>
                <a:gd name="connsiteX984" fmla="*/ 3883580 w 6356680"/>
                <a:gd name="connsiteY984" fmla="*/ 3809718 h 6006442"/>
                <a:gd name="connsiteX985" fmla="*/ 3883580 w 6356680"/>
                <a:gd name="connsiteY985" fmla="*/ 3833546 h 6006442"/>
                <a:gd name="connsiteX986" fmla="*/ 3888344 w 6356680"/>
                <a:gd name="connsiteY986" fmla="*/ 3852606 h 6006442"/>
                <a:gd name="connsiteX987" fmla="*/ 3869284 w 6356680"/>
                <a:gd name="connsiteY987" fmla="*/ 3881198 h 6006442"/>
                <a:gd name="connsiteX988" fmla="*/ 3845460 w 6356680"/>
                <a:gd name="connsiteY988" fmla="*/ 3905022 h 6006442"/>
                <a:gd name="connsiteX989" fmla="*/ 3831164 w 6356680"/>
                <a:gd name="connsiteY989" fmla="*/ 3924082 h 6006442"/>
                <a:gd name="connsiteX990" fmla="*/ 3816868 w 6356680"/>
                <a:gd name="connsiteY990" fmla="*/ 3966970 h 6006442"/>
                <a:gd name="connsiteX991" fmla="*/ 3802572 w 6356680"/>
                <a:gd name="connsiteY991" fmla="*/ 4005090 h 6006442"/>
                <a:gd name="connsiteX992" fmla="*/ 3783512 w 6356680"/>
                <a:gd name="connsiteY992" fmla="*/ 4019386 h 6006442"/>
                <a:gd name="connsiteX993" fmla="*/ 3769216 w 6356680"/>
                <a:gd name="connsiteY993" fmla="*/ 4024150 h 6006442"/>
                <a:gd name="connsiteX994" fmla="*/ 3754924 w 6356680"/>
                <a:gd name="connsiteY994" fmla="*/ 4028914 h 6006442"/>
                <a:gd name="connsiteX995" fmla="*/ 3731096 w 6356680"/>
                <a:gd name="connsiteY995" fmla="*/ 4043210 h 6006442"/>
                <a:gd name="connsiteX996" fmla="*/ 3707272 w 6356680"/>
                <a:gd name="connsiteY996" fmla="*/ 4057506 h 6006442"/>
                <a:gd name="connsiteX997" fmla="*/ 3688212 w 6356680"/>
                <a:gd name="connsiteY997" fmla="*/ 4071802 h 6006442"/>
                <a:gd name="connsiteX998" fmla="*/ 3673916 w 6356680"/>
                <a:gd name="connsiteY998" fmla="*/ 4081330 h 6006442"/>
                <a:gd name="connsiteX999" fmla="*/ 3626264 w 6356680"/>
                <a:gd name="connsiteY999" fmla="*/ 4157574 h 6006442"/>
                <a:gd name="connsiteX1000" fmla="*/ 3602440 w 6356680"/>
                <a:gd name="connsiteY1000" fmla="*/ 4181398 h 6006442"/>
                <a:gd name="connsiteX1001" fmla="*/ 3597672 w 6356680"/>
                <a:gd name="connsiteY1001" fmla="*/ 4190930 h 6006442"/>
                <a:gd name="connsiteX1002" fmla="*/ 3588144 w 6356680"/>
                <a:gd name="connsiteY1002" fmla="*/ 4200458 h 6006442"/>
                <a:gd name="connsiteX1003" fmla="*/ 3592908 w 6356680"/>
                <a:gd name="connsiteY1003" fmla="*/ 4209990 h 6006442"/>
                <a:gd name="connsiteX1004" fmla="*/ 3597672 w 6356680"/>
                <a:gd name="connsiteY1004" fmla="*/ 4219522 h 6006442"/>
                <a:gd name="connsiteX1005" fmla="*/ 3607204 w 6356680"/>
                <a:gd name="connsiteY1005" fmla="*/ 4252874 h 6006442"/>
                <a:gd name="connsiteX1006" fmla="*/ 3602440 w 6356680"/>
                <a:gd name="connsiteY1006" fmla="*/ 4262406 h 6006442"/>
                <a:gd name="connsiteX1007" fmla="*/ 3592908 w 6356680"/>
                <a:gd name="connsiteY1007" fmla="*/ 4257642 h 6006442"/>
                <a:gd name="connsiteX1008" fmla="*/ 3573848 w 6356680"/>
                <a:gd name="connsiteY1008" fmla="*/ 4238582 h 6006442"/>
                <a:gd name="connsiteX1009" fmla="*/ 3564316 w 6356680"/>
                <a:gd name="connsiteY1009" fmla="*/ 4243346 h 6006442"/>
                <a:gd name="connsiteX1010" fmla="*/ 3550020 w 6356680"/>
                <a:gd name="connsiteY1010" fmla="*/ 4252874 h 6006442"/>
                <a:gd name="connsiteX1011" fmla="*/ 3526196 w 6356680"/>
                <a:gd name="connsiteY1011" fmla="*/ 4219522 h 6006442"/>
                <a:gd name="connsiteX1012" fmla="*/ 3516664 w 6356680"/>
                <a:gd name="connsiteY1012" fmla="*/ 4209990 h 6006442"/>
                <a:gd name="connsiteX1013" fmla="*/ 3502372 w 6356680"/>
                <a:gd name="connsiteY1013" fmla="*/ 4195694 h 6006442"/>
                <a:gd name="connsiteX1014" fmla="*/ 3488076 w 6356680"/>
                <a:gd name="connsiteY1014" fmla="*/ 4186166 h 6006442"/>
                <a:gd name="connsiteX1015" fmla="*/ 3478544 w 6356680"/>
                <a:gd name="connsiteY1015" fmla="*/ 4181398 h 6006442"/>
                <a:gd name="connsiteX1016" fmla="*/ 3469016 w 6356680"/>
                <a:gd name="connsiteY1016" fmla="*/ 4186166 h 6006442"/>
                <a:gd name="connsiteX1017" fmla="*/ 3469016 w 6356680"/>
                <a:gd name="connsiteY1017" fmla="*/ 4176634 h 6006442"/>
                <a:gd name="connsiteX1018" fmla="*/ 3478544 w 6356680"/>
                <a:gd name="connsiteY1018" fmla="*/ 4167102 h 6006442"/>
                <a:gd name="connsiteX1019" fmla="*/ 3483312 w 6356680"/>
                <a:gd name="connsiteY1019" fmla="*/ 4167102 h 6006442"/>
                <a:gd name="connsiteX1020" fmla="*/ 3497604 w 6356680"/>
                <a:gd name="connsiteY1020" fmla="*/ 4176634 h 6006442"/>
                <a:gd name="connsiteX1021" fmla="*/ 3511900 w 6356680"/>
                <a:gd name="connsiteY1021" fmla="*/ 4186166 h 6006442"/>
                <a:gd name="connsiteX1022" fmla="*/ 3516664 w 6356680"/>
                <a:gd name="connsiteY1022" fmla="*/ 4190930 h 6006442"/>
                <a:gd name="connsiteX1023" fmla="*/ 3521432 w 6356680"/>
                <a:gd name="connsiteY1023" fmla="*/ 4186166 h 6006442"/>
                <a:gd name="connsiteX1024" fmla="*/ 3507136 w 6356680"/>
                <a:gd name="connsiteY1024" fmla="*/ 4143278 h 6006442"/>
                <a:gd name="connsiteX1025" fmla="*/ 3497604 w 6356680"/>
                <a:gd name="connsiteY1025" fmla="*/ 4109922 h 6006442"/>
                <a:gd name="connsiteX1026" fmla="*/ 3497604 w 6356680"/>
                <a:gd name="connsiteY1026" fmla="*/ 4100390 h 6006442"/>
                <a:gd name="connsiteX1027" fmla="*/ 3483312 w 6356680"/>
                <a:gd name="connsiteY1027" fmla="*/ 4067038 h 6006442"/>
                <a:gd name="connsiteX1028" fmla="*/ 3478544 w 6356680"/>
                <a:gd name="connsiteY1028" fmla="*/ 4057506 h 6006442"/>
                <a:gd name="connsiteX1029" fmla="*/ 3459484 w 6356680"/>
                <a:gd name="connsiteY1029" fmla="*/ 4033682 h 6006442"/>
                <a:gd name="connsiteX1030" fmla="*/ 3435660 w 6356680"/>
                <a:gd name="connsiteY1030" fmla="*/ 4005090 h 6006442"/>
                <a:gd name="connsiteX1031" fmla="*/ 3426128 w 6356680"/>
                <a:gd name="connsiteY1031" fmla="*/ 3971734 h 6006442"/>
                <a:gd name="connsiteX1032" fmla="*/ 3416600 w 6356680"/>
                <a:gd name="connsiteY1032" fmla="*/ 3947906 h 6006442"/>
                <a:gd name="connsiteX1033" fmla="*/ 3407068 w 6356680"/>
                <a:gd name="connsiteY1033" fmla="*/ 3933614 h 6006442"/>
                <a:gd name="connsiteX1034" fmla="*/ 3388008 w 6356680"/>
                <a:gd name="connsiteY1034" fmla="*/ 3924082 h 6006442"/>
                <a:gd name="connsiteX1035" fmla="*/ 3340356 w 6356680"/>
                <a:gd name="connsiteY1035" fmla="*/ 3919318 h 6006442"/>
                <a:gd name="connsiteX1036" fmla="*/ 3321296 w 6356680"/>
                <a:gd name="connsiteY1036" fmla="*/ 3881198 h 6006442"/>
                <a:gd name="connsiteX1037" fmla="*/ 3311764 w 6356680"/>
                <a:gd name="connsiteY1037" fmla="*/ 3838310 h 6006442"/>
                <a:gd name="connsiteX1038" fmla="*/ 3321296 w 6356680"/>
                <a:gd name="connsiteY1038" fmla="*/ 3838310 h 6006442"/>
                <a:gd name="connsiteX1039" fmla="*/ 3330824 w 6356680"/>
                <a:gd name="connsiteY1039" fmla="*/ 3838310 h 6006442"/>
                <a:gd name="connsiteX1040" fmla="*/ 3335592 w 6356680"/>
                <a:gd name="connsiteY1040" fmla="*/ 3824014 h 6006442"/>
                <a:gd name="connsiteX1041" fmla="*/ 3330824 w 6356680"/>
                <a:gd name="connsiteY1041" fmla="*/ 3804954 h 6006442"/>
                <a:gd name="connsiteX1042" fmla="*/ 3283176 w 6356680"/>
                <a:gd name="connsiteY1042" fmla="*/ 3776362 h 6006442"/>
                <a:gd name="connsiteX1043" fmla="*/ 3259348 w 6356680"/>
                <a:gd name="connsiteY1043" fmla="*/ 3752538 h 6006442"/>
                <a:gd name="connsiteX1044" fmla="*/ 3240288 w 6356680"/>
                <a:gd name="connsiteY1044" fmla="*/ 3738242 h 6006442"/>
                <a:gd name="connsiteX1045" fmla="*/ 3225992 w 6356680"/>
                <a:gd name="connsiteY1045" fmla="*/ 3733478 h 6006442"/>
                <a:gd name="connsiteX1046" fmla="*/ 3202168 w 6356680"/>
                <a:gd name="connsiteY1046" fmla="*/ 3738242 h 6006442"/>
                <a:gd name="connsiteX1047" fmla="*/ 3173576 w 6356680"/>
                <a:gd name="connsiteY1047" fmla="*/ 3733478 h 6006442"/>
                <a:gd name="connsiteX1048" fmla="*/ 3102100 w 6356680"/>
                <a:gd name="connsiteY1048" fmla="*/ 3695358 h 6006442"/>
                <a:gd name="connsiteX1049" fmla="*/ 3083040 w 6356680"/>
                <a:gd name="connsiteY1049" fmla="*/ 3690590 h 6006442"/>
                <a:gd name="connsiteX1050" fmla="*/ 3035388 w 6356680"/>
                <a:gd name="connsiteY1050" fmla="*/ 3704886 h 6006442"/>
                <a:gd name="connsiteX1051" fmla="*/ 3016328 w 6356680"/>
                <a:gd name="connsiteY1051" fmla="*/ 3704886 h 6006442"/>
                <a:gd name="connsiteX1052" fmla="*/ 2940084 w 6356680"/>
                <a:gd name="connsiteY1052" fmla="*/ 3647706 h 6006442"/>
                <a:gd name="connsiteX1053" fmla="*/ 2887668 w 6356680"/>
                <a:gd name="connsiteY1053" fmla="*/ 3619114 h 6006442"/>
                <a:gd name="connsiteX1054" fmla="*/ 2868608 w 6356680"/>
                <a:gd name="connsiteY1054" fmla="*/ 3614350 h 6006442"/>
                <a:gd name="connsiteX1055" fmla="*/ 2849548 w 6356680"/>
                <a:gd name="connsiteY1055" fmla="*/ 3609582 h 6006442"/>
                <a:gd name="connsiteX1056" fmla="*/ 2830488 w 6356680"/>
                <a:gd name="connsiteY1056" fmla="*/ 3614350 h 6006442"/>
                <a:gd name="connsiteX1057" fmla="*/ 2816192 w 6356680"/>
                <a:gd name="connsiteY1057" fmla="*/ 3623878 h 6006442"/>
                <a:gd name="connsiteX1058" fmla="*/ 2792368 w 6356680"/>
                <a:gd name="connsiteY1058" fmla="*/ 3628646 h 6006442"/>
                <a:gd name="connsiteX1059" fmla="*/ 2692300 w 6356680"/>
                <a:gd name="connsiteY1059" fmla="*/ 3623878 h 6006442"/>
                <a:gd name="connsiteX1060" fmla="*/ 2601760 w 6356680"/>
                <a:gd name="connsiteY1060" fmla="*/ 3633410 h 6006442"/>
                <a:gd name="connsiteX1061" fmla="*/ 2544580 w 6356680"/>
                <a:gd name="connsiteY1061" fmla="*/ 3638174 h 6006442"/>
                <a:gd name="connsiteX1062" fmla="*/ 2506460 w 6356680"/>
                <a:gd name="connsiteY1062" fmla="*/ 3647706 h 6006442"/>
                <a:gd name="connsiteX1063" fmla="*/ 2444512 w 6356680"/>
                <a:gd name="connsiteY1063" fmla="*/ 3681062 h 6006442"/>
                <a:gd name="connsiteX1064" fmla="*/ 2368272 w 6356680"/>
                <a:gd name="connsiteY1064" fmla="*/ 3714418 h 6006442"/>
                <a:gd name="connsiteX1065" fmla="*/ 2306324 w 6356680"/>
                <a:gd name="connsiteY1065" fmla="*/ 3728710 h 6006442"/>
                <a:gd name="connsiteX1066" fmla="*/ 2249144 w 6356680"/>
                <a:gd name="connsiteY1066" fmla="*/ 3752538 h 6006442"/>
                <a:gd name="connsiteX1067" fmla="*/ 2215788 w 6356680"/>
                <a:gd name="connsiteY1067" fmla="*/ 3757302 h 6006442"/>
                <a:gd name="connsiteX1068" fmla="*/ 2168136 w 6356680"/>
                <a:gd name="connsiteY1068" fmla="*/ 3762066 h 6006442"/>
                <a:gd name="connsiteX1069" fmla="*/ 2068068 w 6356680"/>
                <a:gd name="connsiteY1069" fmla="*/ 3747774 h 6006442"/>
                <a:gd name="connsiteX1070" fmla="*/ 2029948 w 6356680"/>
                <a:gd name="connsiteY1070" fmla="*/ 3757302 h 6006442"/>
                <a:gd name="connsiteX1071" fmla="*/ 1977528 w 6356680"/>
                <a:gd name="connsiteY1071" fmla="*/ 3795422 h 6006442"/>
                <a:gd name="connsiteX1072" fmla="*/ 1963236 w 6356680"/>
                <a:gd name="connsiteY1072" fmla="*/ 3804954 h 6006442"/>
                <a:gd name="connsiteX1073" fmla="*/ 1929880 w 6356680"/>
                <a:gd name="connsiteY1073" fmla="*/ 3814486 h 6006442"/>
                <a:gd name="connsiteX1074" fmla="*/ 1848872 w 6356680"/>
                <a:gd name="connsiteY1074" fmla="*/ 3866902 h 6006442"/>
                <a:gd name="connsiteX1075" fmla="*/ 1815516 w 6356680"/>
                <a:gd name="connsiteY1075" fmla="*/ 3876430 h 6006442"/>
                <a:gd name="connsiteX1076" fmla="*/ 1791688 w 6356680"/>
                <a:gd name="connsiteY1076" fmla="*/ 3881198 h 6006442"/>
                <a:gd name="connsiteX1077" fmla="*/ 1772628 w 6356680"/>
                <a:gd name="connsiteY1077" fmla="*/ 3890726 h 6006442"/>
                <a:gd name="connsiteX1078" fmla="*/ 1753568 w 6356680"/>
                <a:gd name="connsiteY1078" fmla="*/ 3909786 h 6006442"/>
                <a:gd name="connsiteX1079" fmla="*/ 1729744 w 6356680"/>
                <a:gd name="connsiteY1079" fmla="*/ 3971734 h 6006442"/>
                <a:gd name="connsiteX1080" fmla="*/ 1710684 w 6356680"/>
                <a:gd name="connsiteY1080" fmla="*/ 4000326 h 6006442"/>
                <a:gd name="connsiteX1081" fmla="*/ 1677328 w 6356680"/>
                <a:gd name="connsiteY1081" fmla="*/ 4043210 h 6006442"/>
                <a:gd name="connsiteX1082" fmla="*/ 1653500 w 6356680"/>
                <a:gd name="connsiteY1082" fmla="*/ 4057506 h 6006442"/>
                <a:gd name="connsiteX1083" fmla="*/ 1634440 w 6356680"/>
                <a:gd name="connsiteY1083" fmla="*/ 4057506 h 6006442"/>
                <a:gd name="connsiteX1084" fmla="*/ 1610616 w 6356680"/>
                <a:gd name="connsiteY1084" fmla="*/ 4071802 h 6006442"/>
                <a:gd name="connsiteX1085" fmla="*/ 1586788 w 6356680"/>
                <a:gd name="connsiteY1085" fmla="*/ 4057506 h 6006442"/>
                <a:gd name="connsiteX1086" fmla="*/ 1567728 w 6356680"/>
                <a:gd name="connsiteY1086" fmla="*/ 4052742 h 6006442"/>
                <a:gd name="connsiteX1087" fmla="*/ 1539136 w 6356680"/>
                <a:gd name="connsiteY1087" fmla="*/ 4052742 h 6006442"/>
                <a:gd name="connsiteX1088" fmla="*/ 1443836 w 6356680"/>
                <a:gd name="connsiteY1088" fmla="*/ 4071802 h 6006442"/>
                <a:gd name="connsiteX1089" fmla="*/ 1429540 w 6356680"/>
                <a:gd name="connsiteY1089" fmla="*/ 4052742 h 6006442"/>
                <a:gd name="connsiteX1090" fmla="*/ 1410480 w 6356680"/>
                <a:gd name="connsiteY1090" fmla="*/ 4047974 h 6006442"/>
                <a:gd name="connsiteX1091" fmla="*/ 1377124 w 6356680"/>
                <a:gd name="connsiteY1091" fmla="*/ 4047974 h 6006442"/>
                <a:gd name="connsiteX1092" fmla="*/ 1324708 w 6356680"/>
                <a:gd name="connsiteY1092" fmla="*/ 4043210 h 6006442"/>
                <a:gd name="connsiteX1093" fmla="*/ 1234168 w 6356680"/>
                <a:gd name="connsiteY1093" fmla="*/ 4047974 h 6006442"/>
                <a:gd name="connsiteX1094" fmla="*/ 1191284 w 6356680"/>
                <a:gd name="connsiteY1094" fmla="*/ 4057506 h 6006442"/>
                <a:gd name="connsiteX1095" fmla="*/ 1172224 w 6356680"/>
                <a:gd name="connsiteY1095" fmla="*/ 4067038 h 6006442"/>
                <a:gd name="connsiteX1096" fmla="*/ 1138868 w 6356680"/>
                <a:gd name="connsiteY1096" fmla="*/ 4062270 h 6006442"/>
                <a:gd name="connsiteX1097" fmla="*/ 1086452 w 6356680"/>
                <a:gd name="connsiteY1097" fmla="*/ 4071802 h 6006442"/>
                <a:gd name="connsiteX1098" fmla="*/ 1067392 w 6356680"/>
                <a:gd name="connsiteY1098" fmla="*/ 4081330 h 6006442"/>
                <a:gd name="connsiteX1099" fmla="*/ 1048328 w 6356680"/>
                <a:gd name="connsiteY1099" fmla="*/ 4090862 h 6006442"/>
                <a:gd name="connsiteX1100" fmla="*/ 1024504 w 6356680"/>
                <a:gd name="connsiteY1100" fmla="*/ 4143278 h 6006442"/>
                <a:gd name="connsiteX1101" fmla="*/ 991148 w 6356680"/>
                <a:gd name="connsiteY1101" fmla="*/ 4162338 h 6006442"/>
                <a:gd name="connsiteX1102" fmla="*/ 962556 w 6356680"/>
                <a:gd name="connsiteY1102" fmla="*/ 4162338 h 6006442"/>
                <a:gd name="connsiteX1103" fmla="*/ 933968 w 6356680"/>
                <a:gd name="connsiteY1103" fmla="*/ 4167102 h 6006442"/>
                <a:gd name="connsiteX1104" fmla="*/ 876784 w 6356680"/>
                <a:gd name="connsiteY1104" fmla="*/ 4214754 h 6006442"/>
                <a:gd name="connsiteX1105" fmla="*/ 814840 w 6356680"/>
                <a:gd name="connsiteY1105" fmla="*/ 4262406 h 6006442"/>
                <a:gd name="connsiteX1106" fmla="*/ 795780 w 6356680"/>
                <a:gd name="connsiteY1106" fmla="*/ 4267170 h 6006442"/>
                <a:gd name="connsiteX1107" fmla="*/ 771952 w 6356680"/>
                <a:gd name="connsiteY1107" fmla="*/ 4276702 h 6006442"/>
                <a:gd name="connsiteX1108" fmla="*/ 743360 w 6356680"/>
                <a:gd name="connsiteY1108" fmla="*/ 4276702 h 6006442"/>
                <a:gd name="connsiteX1109" fmla="*/ 729068 w 6356680"/>
                <a:gd name="connsiteY1109" fmla="*/ 4281466 h 6006442"/>
                <a:gd name="connsiteX1110" fmla="*/ 662356 w 6356680"/>
                <a:gd name="connsiteY1110" fmla="*/ 4271938 h 6006442"/>
                <a:gd name="connsiteX1111" fmla="*/ 619468 w 6356680"/>
                <a:gd name="connsiteY1111" fmla="*/ 4267170 h 6006442"/>
                <a:gd name="connsiteX1112" fmla="*/ 562288 w 6356680"/>
                <a:gd name="connsiteY1112" fmla="*/ 4262406 h 6006442"/>
                <a:gd name="connsiteX1113" fmla="*/ 514636 w 6356680"/>
                <a:gd name="connsiteY1113" fmla="*/ 4238582 h 6006442"/>
                <a:gd name="connsiteX1114" fmla="*/ 481280 w 6356680"/>
                <a:gd name="connsiteY1114" fmla="*/ 4224286 h 6006442"/>
                <a:gd name="connsiteX1115" fmla="*/ 438392 w 6356680"/>
                <a:gd name="connsiteY1115" fmla="*/ 4171870 h 6006442"/>
                <a:gd name="connsiteX1116" fmla="*/ 414568 w 6356680"/>
                <a:gd name="connsiteY1116" fmla="*/ 4152810 h 6006442"/>
                <a:gd name="connsiteX1117" fmla="*/ 371680 w 6356680"/>
                <a:gd name="connsiteY1117" fmla="*/ 4133746 h 6006442"/>
                <a:gd name="connsiteX1118" fmla="*/ 357388 w 6356680"/>
                <a:gd name="connsiteY1118" fmla="*/ 4133746 h 6006442"/>
                <a:gd name="connsiteX1119" fmla="*/ 347856 w 6356680"/>
                <a:gd name="connsiteY1119" fmla="*/ 4138514 h 6006442"/>
                <a:gd name="connsiteX1120" fmla="*/ 328796 w 6356680"/>
                <a:gd name="connsiteY1120" fmla="*/ 4124218 h 6006442"/>
                <a:gd name="connsiteX1121" fmla="*/ 328796 w 6356680"/>
                <a:gd name="connsiteY1121" fmla="*/ 4100390 h 6006442"/>
                <a:gd name="connsiteX1122" fmla="*/ 324032 w 6356680"/>
                <a:gd name="connsiteY1122" fmla="*/ 4086098 h 6006442"/>
                <a:gd name="connsiteX1123" fmla="*/ 324032 w 6356680"/>
                <a:gd name="connsiteY1123" fmla="*/ 4038446 h 6006442"/>
                <a:gd name="connsiteX1124" fmla="*/ 324032 w 6356680"/>
                <a:gd name="connsiteY1124" fmla="*/ 3981262 h 6006442"/>
                <a:gd name="connsiteX1125" fmla="*/ 343092 w 6356680"/>
                <a:gd name="connsiteY1125" fmla="*/ 3995558 h 6006442"/>
                <a:gd name="connsiteX1126" fmla="*/ 357388 w 6356680"/>
                <a:gd name="connsiteY1126" fmla="*/ 4005090 h 6006442"/>
                <a:gd name="connsiteX1127" fmla="*/ 381212 w 6356680"/>
                <a:gd name="connsiteY1127" fmla="*/ 4005090 h 6006442"/>
                <a:gd name="connsiteX1128" fmla="*/ 405036 w 6356680"/>
                <a:gd name="connsiteY1128" fmla="*/ 3986030 h 6006442"/>
                <a:gd name="connsiteX1129" fmla="*/ 419332 w 6356680"/>
                <a:gd name="connsiteY1129" fmla="*/ 3957438 h 6006442"/>
                <a:gd name="connsiteX1130" fmla="*/ 433628 w 6356680"/>
                <a:gd name="connsiteY1130" fmla="*/ 3924082 h 6006442"/>
                <a:gd name="connsiteX1131" fmla="*/ 433628 w 6356680"/>
                <a:gd name="connsiteY1131" fmla="*/ 3885962 h 6006442"/>
                <a:gd name="connsiteX1132" fmla="*/ 424100 w 6356680"/>
                <a:gd name="connsiteY1132" fmla="*/ 3824014 h 6006442"/>
                <a:gd name="connsiteX1133" fmla="*/ 428864 w 6356680"/>
                <a:gd name="connsiteY1133" fmla="*/ 3809718 h 6006442"/>
                <a:gd name="connsiteX1134" fmla="*/ 438392 w 6356680"/>
                <a:gd name="connsiteY1134" fmla="*/ 3804954 h 6006442"/>
                <a:gd name="connsiteX1135" fmla="*/ 438392 w 6356680"/>
                <a:gd name="connsiteY1135" fmla="*/ 3776362 h 6006442"/>
                <a:gd name="connsiteX1136" fmla="*/ 443160 w 6356680"/>
                <a:gd name="connsiteY1136" fmla="*/ 3681062 h 6006442"/>
                <a:gd name="connsiteX1137" fmla="*/ 438392 w 6356680"/>
                <a:gd name="connsiteY1137" fmla="*/ 3647706 h 6006442"/>
                <a:gd name="connsiteX1138" fmla="*/ 400272 w 6356680"/>
                <a:gd name="connsiteY1138" fmla="*/ 3576226 h 6006442"/>
                <a:gd name="connsiteX1139" fmla="*/ 371680 w 6356680"/>
                <a:gd name="connsiteY1139" fmla="*/ 3514282 h 6006442"/>
                <a:gd name="connsiteX1140" fmla="*/ 352620 w 6356680"/>
                <a:gd name="connsiteY1140" fmla="*/ 3485690 h 6006442"/>
                <a:gd name="connsiteX1141" fmla="*/ 338324 w 6356680"/>
                <a:gd name="connsiteY1141" fmla="*/ 3438038 h 6006442"/>
                <a:gd name="connsiteX1142" fmla="*/ 324032 w 6356680"/>
                <a:gd name="connsiteY1142" fmla="*/ 3376094 h 6006442"/>
                <a:gd name="connsiteX1143" fmla="*/ 324032 w 6356680"/>
                <a:gd name="connsiteY1143" fmla="*/ 3342738 h 6006442"/>
                <a:gd name="connsiteX1144" fmla="*/ 319264 w 6356680"/>
                <a:gd name="connsiteY1144" fmla="*/ 3285554 h 6006442"/>
                <a:gd name="connsiteX1145" fmla="*/ 324032 w 6356680"/>
                <a:gd name="connsiteY1145" fmla="*/ 3256966 h 6006442"/>
                <a:gd name="connsiteX1146" fmla="*/ 319264 w 6356680"/>
                <a:gd name="connsiteY1146" fmla="*/ 3237902 h 6006442"/>
                <a:gd name="connsiteX1147" fmla="*/ 304972 w 6356680"/>
                <a:gd name="connsiteY1147" fmla="*/ 3185486 h 6006442"/>
                <a:gd name="connsiteX1148" fmla="*/ 266848 w 6356680"/>
                <a:gd name="connsiteY1148" fmla="*/ 3133070 h 6006442"/>
                <a:gd name="connsiteX1149" fmla="*/ 262084 w 6356680"/>
                <a:gd name="connsiteY1149" fmla="*/ 3118774 h 6006442"/>
                <a:gd name="connsiteX1150" fmla="*/ 262084 w 6356680"/>
                <a:gd name="connsiteY1150" fmla="*/ 3099714 h 6006442"/>
                <a:gd name="connsiteX1151" fmla="*/ 252552 w 6356680"/>
                <a:gd name="connsiteY1151" fmla="*/ 3075890 h 6006442"/>
                <a:gd name="connsiteX1152" fmla="*/ 223964 w 6356680"/>
                <a:gd name="connsiteY1152" fmla="*/ 3033002 h 6006442"/>
                <a:gd name="connsiteX1153" fmla="*/ 195372 w 6356680"/>
                <a:gd name="connsiteY1153" fmla="*/ 2994882 h 6006442"/>
                <a:gd name="connsiteX1154" fmla="*/ 190608 w 6356680"/>
                <a:gd name="connsiteY1154" fmla="*/ 2975822 h 6006442"/>
                <a:gd name="connsiteX1155" fmla="*/ 185840 w 6356680"/>
                <a:gd name="connsiteY1155" fmla="*/ 2899578 h 6006442"/>
                <a:gd name="connsiteX1156" fmla="*/ 176312 w 6356680"/>
                <a:gd name="connsiteY1156" fmla="*/ 2866222 h 6006442"/>
                <a:gd name="connsiteX1157" fmla="*/ 123896 w 6356680"/>
                <a:gd name="connsiteY1157" fmla="*/ 2775686 h 6006442"/>
                <a:gd name="connsiteX1158" fmla="*/ 66712 w 6356680"/>
                <a:gd name="connsiteY1158" fmla="*/ 2704210 h 6006442"/>
                <a:gd name="connsiteX1159" fmla="*/ 52420 w 6356680"/>
                <a:gd name="connsiteY1159" fmla="*/ 2670854 h 6006442"/>
                <a:gd name="connsiteX1160" fmla="*/ 42888 w 6356680"/>
                <a:gd name="connsiteY1160" fmla="*/ 2661322 h 6006442"/>
                <a:gd name="connsiteX1161" fmla="*/ 47652 w 6356680"/>
                <a:gd name="connsiteY1161" fmla="*/ 2661322 h 6006442"/>
                <a:gd name="connsiteX1162" fmla="*/ 52420 w 6356680"/>
                <a:gd name="connsiteY1162" fmla="*/ 2661322 h 6006442"/>
                <a:gd name="connsiteX1163" fmla="*/ 61948 w 6356680"/>
                <a:gd name="connsiteY1163" fmla="*/ 2670854 h 6006442"/>
                <a:gd name="connsiteX1164" fmla="*/ 66712 w 6356680"/>
                <a:gd name="connsiteY1164" fmla="*/ 2670854 h 6006442"/>
                <a:gd name="connsiteX1165" fmla="*/ 66712 w 6356680"/>
                <a:gd name="connsiteY1165" fmla="*/ 2666090 h 6006442"/>
                <a:gd name="connsiteX1166" fmla="*/ 66712 w 6356680"/>
                <a:gd name="connsiteY1166" fmla="*/ 2651794 h 6006442"/>
                <a:gd name="connsiteX1167" fmla="*/ 71480 w 6356680"/>
                <a:gd name="connsiteY1167" fmla="*/ 2642262 h 6006442"/>
                <a:gd name="connsiteX1168" fmla="*/ 76244 w 6356680"/>
                <a:gd name="connsiteY1168" fmla="*/ 2647026 h 6006442"/>
                <a:gd name="connsiteX1169" fmla="*/ 81008 w 6356680"/>
                <a:gd name="connsiteY1169" fmla="*/ 2666090 h 6006442"/>
                <a:gd name="connsiteX1170" fmla="*/ 100068 w 6356680"/>
                <a:gd name="connsiteY1170" fmla="*/ 2704210 h 6006442"/>
                <a:gd name="connsiteX1171" fmla="*/ 104836 w 6356680"/>
                <a:gd name="connsiteY1171" fmla="*/ 2728034 h 6006442"/>
                <a:gd name="connsiteX1172" fmla="*/ 128660 w 6356680"/>
                <a:gd name="connsiteY1172" fmla="*/ 2732802 h 6006442"/>
                <a:gd name="connsiteX1173" fmla="*/ 138192 w 6356680"/>
                <a:gd name="connsiteY1173" fmla="*/ 2728034 h 6006442"/>
                <a:gd name="connsiteX1174" fmla="*/ 142956 w 6356680"/>
                <a:gd name="connsiteY1174" fmla="*/ 2718506 h 6006442"/>
                <a:gd name="connsiteX1175" fmla="*/ 147720 w 6356680"/>
                <a:gd name="connsiteY1175" fmla="*/ 2689914 h 6006442"/>
                <a:gd name="connsiteX1176" fmla="*/ 133424 w 6356680"/>
                <a:gd name="connsiteY1176" fmla="*/ 2675618 h 6006442"/>
                <a:gd name="connsiteX1177" fmla="*/ 123896 w 6356680"/>
                <a:gd name="connsiteY1177" fmla="*/ 2670854 h 6006442"/>
                <a:gd name="connsiteX1178" fmla="*/ 104836 w 6356680"/>
                <a:gd name="connsiteY1178" fmla="*/ 2647026 h 6006442"/>
                <a:gd name="connsiteX1179" fmla="*/ 95304 w 6356680"/>
                <a:gd name="connsiteY1179" fmla="*/ 2613670 h 6006442"/>
                <a:gd name="connsiteX1180" fmla="*/ 76244 w 6356680"/>
                <a:gd name="connsiteY1180" fmla="*/ 2580318 h 6006442"/>
                <a:gd name="connsiteX1181" fmla="*/ 76244 w 6356680"/>
                <a:gd name="connsiteY1181" fmla="*/ 2570786 h 6006442"/>
                <a:gd name="connsiteX1182" fmla="*/ 85776 w 6356680"/>
                <a:gd name="connsiteY1182" fmla="*/ 2561254 h 6006442"/>
                <a:gd name="connsiteX1183" fmla="*/ 100068 w 6356680"/>
                <a:gd name="connsiteY1183" fmla="*/ 2566022 h 6006442"/>
                <a:gd name="connsiteX1184" fmla="*/ 109600 w 6356680"/>
                <a:gd name="connsiteY1184" fmla="*/ 2585082 h 6006442"/>
                <a:gd name="connsiteX1185" fmla="*/ 123896 w 6356680"/>
                <a:gd name="connsiteY1185" fmla="*/ 2599378 h 6006442"/>
                <a:gd name="connsiteX1186" fmla="*/ 123896 w 6356680"/>
                <a:gd name="connsiteY1186" fmla="*/ 2632734 h 6006442"/>
                <a:gd name="connsiteX1187" fmla="*/ 119132 w 6356680"/>
                <a:gd name="connsiteY1187" fmla="*/ 2637498 h 6006442"/>
                <a:gd name="connsiteX1188" fmla="*/ 123896 w 6356680"/>
                <a:gd name="connsiteY1188" fmla="*/ 2647026 h 6006442"/>
                <a:gd name="connsiteX1189" fmla="*/ 128660 w 6356680"/>
                <a:gd name="connsiteY1189" fmla="*/ 2651794 h 6006442"/>
                <a:gd name="connsiteX1190" fmla="*/ 133424 w 6356680"/>
                <a:gd name="connsiteY1190" fmla="*/ 2656558 h 6006442"/>
                <a:gd name="connsiteX1191" fmla="*/ 142956 w 6356680"/>
                <a:gd name="connsiteY1191" fmla="*/ 2651794 h 6006442"/>
                <a:gd name="connsiteX1192" fmla="*/ 147720 w 6356680"/>
                <a:gd name="connsiteY1192" fmla="*/ 2632734 h 6006442"/>
                <a:gd name="connsiteX1193" fmla="*/ 152484 w 6356680"/>
                <a:gd name="connsiteY1193" fmla="*/ 2632734 h 6006442"/>
                <a:gd name="connsiteX1194" fmla="*/ 162016 w 6356680"/>
                <a:gd name="connsiteY1194" fmla="*/ 2675618 h 6006442"/>
                <a:gd name="connsiteX1195" fmla="*/ 171548 w 6356680"/>
                <a:gd name="connsiteY1195" fmla="*/ 2685150 h 6006442"/>
                <a:gd name="connsiteX1196" fmla="*/ 185840 w 6356680"/>
                <a:gd name="connsiteY1196" fmla="*/ 2699446 h 6006442"/>
                <a:gd name="connsiteX1197" fmla="*/ 200136 w 6356680"/>
                <a:gd name="connsiteY1197" fmla="*/ 2689914 h 6006442"/>
                <a:gd name="connsiteX1198" fmla="*/ 204904 w 6356680"/>
                <a:gd name="connsiteY1198" fmla="*/ 2680382 h 6006442"/>
                <a:gd name="connsiteX1199" fmla="*/ 200136 w 6356680"/>
                <a:gd name="connsiteY1199" fmla="*/ 2651794 h 6006442"/>
                <a:gd name="connsiteX1200" fmla="*/ 204904 w 6356680"/>
                <a:gd name="connsiteY1200" fmla="*/ 2623202 h 6006442"/>
                <a:gd name="connsiteX1201" fmla="*/ 204904 w 6356680"/>
                <a:gd name="connsiteY1201" fmla="*/ 2604142 h 6006442"/>
                <a:gd name="connsiteX1202" fmla="*/ 171548 w 6356680"/>
                <a:gd name="connsiteY1202" fmla="*/ 2551726 h 6006442"/>
                <a:gd name="connsiteX1203" fmla="*/ 138192 w 6356680"/>
                <a:gd name="connsiteY1203" fmla="*/ 2485014 h 6006442"/>
                <a:gd name="connsiteX1204" fmla="*/ 119132 w 6356680"/>
                <a:gd name="connsiteY1204" fmla="*/ 2451658 h 6006442"/>
                <a:gd name="connsiteX1205" fmla="*/ 104836 w 6356680"/>
                <a:gd name="connsiteY1205" fmla="*/ 2404006 h 6006442"/>
                <a:gd name="connsiteX1206" fmla="*/ 90540 w 6356680"/>
                <a:gd name="connsiteY1206" fmla="*/ 2384946 h 6006442"/>
                <a:gd name="connsiteX1207" fmla="*/ 81008 w 6356680"/>
                <a:gd name="connsiteY1207" fmla="*/ 2361122 h 6006442"/>
                <a:gd name="connsiteX1208" fmla="*/ 81008 w 6356680"/>
                <a:gd name="connsiteY1208" fmla="*/ 2327766 h 6006442"/>
                <a:gd name="connsiteX1209" fmla="*/ 81008 w 6356680"/>
                <a:gd name="connsiteY1209" fmla="*/ 2308702 h 6006442"/>
                <a:gd name="connsiteX1210" fmla="*/ 90540 w 6356680"/>
                <a:gd name="connsiteY1210" fmla="*/ 2261054 h 6006442"/>
                <a:gd name="connsiteX1211" fmla="*/ 100068 w 6356680"/>
                <a:gd name="connsiteY1211" fmla="*/ 2237226 h 6006442"/>
                <a:gd name="connsiteX1212" fmla="*/ 133424 w 6356680"/>
                <a:gd name="connsiteY1212" fmla="*/ 2184810 h 6006442"/>
                <a:gd name="connsiteX1213" fmla="*/ 133424 w 6356680"/>
                <a:gd name="connsiteY1213" fmla="*/ 2160986 h 6006442"/>
                <a:gd name="connsiteX1214" fmla="*/ 133424 w 6356680"/>
                <a:gd name="connsiteY1214" fmla="*/ 2146690 h 6006442"/>
                <a:gd name="connsiteX1215" fmla="*/ 138192 w 6356680"/>
                <a:gd name="connsiteY1215" fmla="*/ 2118098 h 6006442"/>
                <a:gd name="connsiteX1216" fmla="*/ 138192 w 6356680"/>
                <a:gd name="connsiteY1216" fmla="*/ 2099038 h 6006442"/>
                <a:gd name="connsiteX1217" fmla="*/ 133424 w 6356680"/>
                <a:gd name="connsiteY1217" fmla="*/ 2084742 h 6006442"/>
                <a:gd name="connsiteX1218" fmla="*/ 119132 w 6356680"/>
                <a:gd name="connsiteY1218" fmla="*/ 2051386 h 6006442"/>
                <a:gd name="connsiteX1219" fmla="*/ 138192 w 6356680"/>
                <a:gd name="connsiteY1219" fmla="*/ 2003734 h 6006442"/>
                <a:gd name="connsiteX1220" fmla="*/ 162016 w 6356680"/>
                <a:gd name="connsiteY1220" fmla="*/ 1937022 h 6006442"/>
                <a:gd name="connsiteX1221" fmla="*/ 171548 w 6356680"/>
                <a:gd name="connsiteY1221" fmla="*/ 1927494 h 6006442"/>
                <a:gd name="connsiteX1222" fmla="*/ 190608 w 6356680"/>
                <a:gd name="connsiteY1222" fmla="*/ 1917962 h 6006442"/>
                <a:gd name="connsiteX1223" fmla="*/ 190608 w 6356680"/>
                <a:gd name="connsiteY1223" fmla="*/ 1932258 h 6006442"/>
                <a:gd name="connsiteX1224" fmla="*/ 185840 w 6356680"/>
                <a:gd name="connsiteY1224" fmla="*/ 1975146 h 6006442"/>
                <a:gd name="connsiteX1225" fmla="*/ 195372 w 6356680"/>
                <a:gd name="connsiteY1225" fmla="*/ 1998970 h 6006442"/>
                <a:gd name="connsiteX1226" fmla="*/ 190608 w 6356680"/>
                <a:gd name="connsiteY1226" fmla="*/ 2027562 h 6006442"/>
                <a:gd name="connsiteX1227" fmla="*/ 204904 w 6356680"/>
                <a:gd name="connsiteY1227" fmla="*/ 2022798 h 6006442"/>
                <a:gd name="connsiteX1228" fmla="*/ 219196 w 6356680"/>
                <a:gd name="connsiteY1228" fmla="*/ 2018030 h 6006442"/>
                <a:gd name="connsiteX1229" fmla="*/ 228728 w 6356680"/>
                <a:gd name="connsiteY1229" fmla="*/ 2003734 h 6006442"/>
                <a:gd name="connsiteX1230" fmla="*/ 238260 w 6356680"/>
                <a:gd name="connsiteY1230" fmla="*/ 1989442 h 6006442"/>
                <a:gd name="connsiteX1231" fmla="*/ 266848 w 6356680"/>
                <a:gd name="connsiteY1231" fmla="*/ 1937022 h 6006442"/>
                <a:gd name="connsiteX1232" fmla="*/ 281144 w 6356680"/>
                <a:gd name="connsiteY1232" fmla="*/ 1917962 h 6006442"/>
                <a:gd name="connsiteX1233" fmla="*/ 304972 w 6356680"/>
                <a:gd name="connsiteY1233" fmla="*/ 1903666 h 6006442"/>
                <a:gd name="connsiteX1234" fmla="*/ 352620 w 6356680"/>
                <a:gd name="connsiteY1234" fmla="*/ 1884606 h 6006442"/>
                <a:gd name="connsiteX1235" fmla="*/ 400272 w 6356680"/>
                <a:gd name="connsiteY1235" fmla="*/ 1860782 h 6006442"/>
                <a:gd name="connsiteX1236" fmla="*/ 419332 w 6356680"/>
                <a:gd name="connsiteY1236" fmla="*/ 1836958 h 6006442"/>
                <a:gd name="connsiteX1237" fmla="*/ 447924 w 6356680"/>
                <a:gd name="connsiteY1237" fmla="*/ 1817894 h 6006442"/>
                <a:gd name="connsiteX1238" fmla="*/ 466984 w 6356680"/>
                <a:gd name="connsiteY1238" fmla="*/ 1798834 h 6006442"/>
                <a:gd name="connsiteX1239" fmla="*/ 486044 w 6356680"/>
                <a:gd name="connsiteY1239" fmla="*/ 1784538 h 6006442"/>
                <a:gd name="connsiteX1240" fmla="*/ 576584 w 6356680"/>
                <a:gd name="connsiteY1240" fmla="*/ 1732122 h 6006442"/>
                <a:gd name="connsiteX1241" fmla="*/ 595644 w 6356680"/>
                <a:gd name="connsiteY1241" fmla="*/ 1717826 h 6006442"/>
                <a:gd name="connsiteX1242" fmla="*/ 614704 w 6356680"/>
                <a:gd name="connsiteY1242" fmla="*/ 1717826 h 6006442"/>
                <a:gd name="connsiteX1243" fmla="*/ 638528 w 6356680"/>
                <a:gd name="connsiteY1243" fmla="*/ 1722594 h 6006442"/>
                <a:gd name="connsiteX1244" fmla="*/ 662356 w 6356680"/>
                <a:gd name="connsiteY1244" fmla="*/ 1717826 h 6006442"/>
                <a:gd name="connsiteX1245" fmla="*/ 686180 w 6356680"/>
                <a:gd name="connsiteY1245" fmla="*/ 1732122 h 6006442"/>
                <a:gd name="connsiteX1246" fmla="*/ 700476 w 6356680"/>
                <a:gd name="connsiteY1246" fmla="*/ 1732122 h 6006442"/>
                <a:gd name="connsiteX1247" fmla="*/ 748128 w 6356680"/>
                <a:gd name="connsiteY1247" fmla="*/ 1717826 h 6006442"/>
                <a:gd name="connsiteX1248" fmla="*/ 767188 w 6356680"/>
                <a:gd name="connsiteY1248" fmla="*/ 1708298 h 6006442"/>
                <a:gd name="connsiteX1249" fmla="*/ 810072 w 6356680"/>
                <a:gd name="connsiteY1249" fmla="*/ 1679706 h 6006442"/>
                <a:gd name="connsiteX1250" fmla="*/ 824368 w 6356680"/>
                <a:gd name="connsiteY1250" fmla="*/ 1674942 h 6006442"/>
                <a:gd name="connsiteX1251" fmla="*/ 867256 w 6356680"/>
                <a:gd name="connsiteY1251" fmla="*/ 1665410 h 6006442"/>
                <a:gd name="connsiteX1252" fmla="*/ 914908 w 6356680"/>
                <a:gd name="connsiteY1252" fmla="*/ 1655882 h 6006442"/>
                <a:gd name="connsiteX1253" fmla="*/ 967324 w 6356680"/>
                <a:gd name="connsiteY1253" fmla="*/ 1608230 h 6006442"/>
                <a:gd name="connsiteX1254" fmla="*/ 1005444 w 6356680"/>
                <a:gd name="connsiteY1254" fmla="*/ 1612994 h 6006442"/>
                <a:gd name="connsiteX1255" fmla="*/ 1043564 w 6356680"/>
                <a:gd name="connsiteY1255" fmla="*/ 1617762 h 6006442"/>
                <a:gd name="connsiteX1256" fmla="*/ 1072156 w 6356680"/>
                <a:gd name="connsiteY1256" fmla="*/ 1603466 h 6006442"/>
                <a:gd name="connsiteX1257" fmla="*/ 1138868 w 6356680"/>
                <a:gd name="connsiteY1257" fmla="*/ 1593934 h 6006442"/>
                <a:gd name="connsiteX1258" fmla="*/ 1176988 w 6356680"/>
                <a:gd name="connsiteY1258" fmla="*/ 1584406 h 6006442"/>
                <a:gd name="connsiteX1259" fmla="*/ 1243700 w 6356680"/>
                <a:gd name="connsiteY1259" fmla="*/ 1555814 h 6006442"/>
                <a:gd name="connsiteX1260" fmla="*/ 1262760 w 6356680"/>
                <a:gd name="connsiteY1260" fmla="*/ 1546282 h 6006442"/>
                <a:gd name="connsiteX1261" fmla="*/ 1291352 w 6356680"/>
                <a:gd name="connsiteY1261" fmla="*/ 1522458 h 6006442"/>
                <a:gd name="connsiteX1262" fmla="*/ 1315176 w 6356680"/>
                <a:gd name="connsiteY1262" fmla="*/ 1498630 h 6006442"/>
                <a:gd name="connsiteX1263" fmla="*/ 1339004 w 6356680"/>
                <a:gd name="connsiteY1263" fmla="*/ 1460510 h 6006442"/>
                <a:gd name="connsiteX1264" fmla="*/ 1358064 w 6356680"/>
                <a:gd name="connsiteY1264" fmla="*/ 1431922 h 6006442"/>
                <a:gd name="connsiteX1265" fmla="*/ 1362828 w 6356680"/>
                <a:gd name="connsiteY1265" fmla="*/ 1412858 h 6006442"/>
                <a:gd name="connsiteX1266" fmla="*/ 1377124 w 6356680"/>
                <a:gd name="connsiteY1266" fmla="*/ 1389034 h 6006442"/>
                <a:gd name="connsiteX1267" fmla="*/ 1386656 w 6356680"/>
                <a:gd name="connsiteY1267" fmla="*/ 1369974 h 6006442"/>
                <a:gd name="connsiteX1268" fmla="*/ 1396184 w 6356680"/>
                <a:gd name="connsiteY1268" fmla="*/ 1360442 h 6006442"/>
                <a:gd name="connsiteX1269" fmla="*/ 1420008 w 6356680"/>
                <a:gd name="connsiteY1269" fmla="*/ 1346146 h 6006442"/>
                <a:gd name="connsiteX1270" fmla="*/ 1462896 w 6356680"/>
                <a:gd name="connsiteY1270" fmla="*/ 1308026 h 6006442"/>
                <a:gd name="connsiteX1271" fmla="*/ 1472428 w 6356680"/>
                <a:gd name="connsiteY1271" fmla="*/ 1298498 h 6006442"/>
                <a:gd name="connsiteX1272" fmla="*/ 1477192 w 6356680"/>
                <a:gd name="connsiteY1272" fmla="*/ 1284202 h 6006442"/>
                <a:gd name="connsiteX1273" fmla="*/ 1467660 w 6356680"/>
                <a:gd name="connsiteY1273" fmla="*/ 1279438 h 6006442"/>
                <a:gd name="connsiteX1274" fmla="*/ 1458132 w 6356680"/>
                <a:gd name="connsiteY1274" fmla="*/ 1274670 h 6006442"/>
                <a:gd name="connsiteX1275" fmla="*/ 1448600 w 6356680"/>
                <a:gd name="connsiteY1275" fmla="*/ 1236550 h 6006442"/>
                <a:gd name="connsiteX1276" fmla="*/ 1443836 w 6356680"/>
                <a:gd name="connsiteY1276" fmla="*/ 1207958 h 6006442"/>
                <a:gd name="connsiteX1277" fmla="*/ 1443836 w 6356680"/>
                <a:gd name="connsiteY1277" fmla="*/ 1188898 h 6006442"/>
                <a:gd name="connsiteX1278" fmla="*/ 1443836 w 6356680"/>
                <a:gd name="connsiteY1278" fmla="*/ 1169838 h 6006442"/>
                <a:gd name="connsiteX1279" fmla="*/ 1462896 w 6356680"/>
                <a:gd name="connsiteY1279" fmla="*/ 1141246 h 6006442"/>
                <a:gd name="connsiteX1280" fmla="*/ 1472428 w 6356680"/>
                <a:gd name="connsiteY1280" fmla="*/ 1126950 h 6006442"/>
                <a:gd name="connsiteX1281" fmla="*/ 1486720 w 6356680"/>
                <a:gd name="connsiteY1281" fmla="*/ 1112658 h 6006442"/>
                <a:gd name="connsiteX1282" fmla="*/ 1501016 w 6356680"/>
                <a:gd name="connsiteY1282" fmla="*/ 1107890 h 6006442"/>
                <a:gd name="connsiteX1283" fmla="*/ 1515312 w 6356680"/>
                <a:gd name="connsiteY1283" fmla="*/ 1093598 h 6006442"/>
                <a:gd name="connsiteX1284" fmla="*/ 1534372 w 6356680"/>
                <a:gd name="connsiteY1284" fmla="*/ 1084066 h 6006442"/>
                <a:gd name="connsiteX1285" fmla="*/ 1539136 w 6356680"/>
                <a:gd name="connsiteY1285" fmla="*/ 1069770 h 6006442"/>
                <a:gd name="connsiteX1286" fmla="*/ 1553432 w 6356680"/>
                <a:gd name="connsiteY1286" fmla="*/ 1045946 h 6006442"/>
                <a:gd name="connsiteX1287" fmla="*/ 1562964 w 6356680"/>
                <a:gd name="connsiteY1287" fmla="*/ 1022118 h 6006442"/>
                <a:gd name="connsiteX1288" fmla="*/ 1572496 w 6356680"/>
                <a:gd name="connsiteY1288" fmla="*/ 1026886 h 6006442"/>
                <a:gd name="connsiteX1289" fmla="*/ 1586788 w 6356680"/>
                <a:gd name="connsiteY1289" fmla="*/ 1069770 h 6006442"/>
                <a:gd name="connsiteX1290" fmla="*/ 1596320 w 6356680"/>
                <a:gd name="connsiteY1290" fmla="*/ 1093598 h 6006442"/>
                <a:gd name="connsiteX1291" fmla="*/ 1620144 w 6356680"/>
                <a:gd name="connsiteY1291" fmla="*/ 1122186 h 6006442"/>
                <a:gd name="connsiteX1292" fmla="*/ 1634440 w 6356680"/>
                <a:gd name="connsiteY1292" fmla="*/ 1165074 h 6006442"/>
                <a:gd name="connsiteX1293" fmla="*/ 1653500 w 6356680"/>
                <a:gd name="connsiteY1293" fmla="*/ 1184134 h 6006442"/>
                <a:gd name="connsiteX1294" fmla="*/ 1658268 w 6356680"/>
                <a:gd name="connsiteY1294" fmla="*/ 1193662 h 6006442"/>
                <a:gd name="connsiteX1295" fmla="*/ 1663032 w 6356680"/>
                <a:gd name="connsiteY1295" fmla="*/ 1203194 h 6006442"/>
                <a:gd name="connsiteX1296" fmla="*/ 1667796 w 6356680"/>
                <a:gd name="connsiteY1296" fmla="*/ 1193662 h 6006442"/>
                <a:gd name="connsiteX1297" fmla="*/ 1663032 w 6356680"/>
                <a:gd name="connsiteY1297" fmla="*/ 1184134 h 6006442"/>
                <a:gd name="connsiteX1298" fmla="*/ 1672560 w 6356680"/>
                <a:gd name="connsiteY1298" fmla="*/ 1150778 h 6006442"/>
                <a:gd name="connsiteX1299" fmla="*/ 1667796 w 6356680"/>
                <a:gd name="connsiteY1299" fmla="*/ 1131718 h 6006442"/>
                <a:gd name="connsiteX1300" fmla="*/ 1667796 w 6356680"/>
                <a:gd name="connsiteY1300" fmla="*/ 1122186 h 6006442"/>
                <a:gd name="connsiteX1301" fmla="*/ 1672560 w 6356680"/>
                <a:gd name="connsiteY1301" fmla="*/ 1117422 h 6006442"/>
                <a:gd name="connsiteX1302" fmla="*/ 1682092 w 6356680"/>
                <a:gd name="connsiteY1302" fmla="*/ 1122186 h 6006442"/>
                <a:gd name="connsiteX1303" fmla="*/ 1696388 w 6356680"/>
                <a:gd name="connsiteY1303" fmla="*/ 1131718 h 6006442"/>
                <a:gd name="connsiteX1304" fmla="*/ 1701152 w 6356680"/>
                <a:gd name="connsiteY1304" fmla="*/ 1136482 h 6006442"/>
                <a:gd name="connsiteX1305" fmla="*/ 1705916 w 6356680"/>
                <a:gd name="connsiteY1305" fmla="*/ 1136482 h 6006442"/>
                <a:gd name="connsiteX1306" fmla="*/ 1705916 w 6356680"/>
                <a:gd name="connsiteY1306" fmla="*/ 1117422 h 6006442"/>
                <a:gd name="connsiteX1307" fmla="*/ 1710684 w 6356680"/>
                <a:gd name="connsiteY1307" fmla="*/ 1103126 h 6006442"/>
                <a:gd name="connsiteX1308" fmla="*/ 1710684 w 6356680"/>
                <a:gd name="connsiteY1308" fmla="*/ 1093598 h 6006442"/>
                <a:gd name="connsiteX1309" fmla="*/ 1696388 w 6356680"/>
                <a:gd name="connsiteY1309" fmla="*/ 1093598 h 6006442"/>
                <a:gd name="connsiteX1310" fmla="*/ 1691624 w 6356680"/>
                <a:gd name="connsiteY1310" fmla="*/ 1084066 h 6006442"/>
                <a:gd name="connsiteX1311" fmla="*/ 1682092 w 6356680"/>
                <a:gd name="connsiteY1311" fmla="*/ 1069770 h 6006442"/>
                <a:gd name="connsiteX1312" fmla="*/ 1672560 w 6356680"/>
                <a:gd name="connsiteY1312" fmla="*/ 1065006 h 6006442"/>
                <a:gd name="connsiteX1313" fmla="*/ 1658268 w 6356680"/>
                <a:gd name="connsiteY1313" fmla="*/ 1041178 h 6006442"/>
                <a:gd name="connsiteX1314" fmla="*/ 1653500 w 6356680"/>
                <a:gd name="connsiteY1314" fmla="*/ 1031650 h 6006442"/>
                <a:gd name="connsiteX1315" fmla="*/ 1658268 w 6356680"/>
                <a:gd name="connsiteY1315" fmla="*/ 1031650 h 6006442"/>
                <a:gd name="connsiteX1316" fmla="*/ 1667796 w 6356680"/>
                <a:gd name="connsiteY1316" fmla="*/ 1031650 h 6006442"/>
                <a:gd name="connsiteX1317" fmla="*/ 1672560 w 6356680"/>
                <a:gd name="connsiteY1317" fmla="*/ 1022118 h 6006442"/>
                <a:gd name="connsiteX1318" fmla="*/ 1677328 w 6356680"/>
                <a:gd name="connsiteY1318" fmla="*/ 1007822 h 6006442"/>
                <a:gd name="connsiteX1319" fmla="*/ 1672560 w 6356680"/>
                <a:gd name="connsiteY1319" fmla="*/ 988762 h 6006442"/>
                <a:gd name="connsiteX1320" fmla="*/ 1677328 w 6356680"/>
                <a:gd name="connsiteY1320" fmla="*/ 983998 h 6006442"/>
                <a:gd name="connsiteX1321" fmla="*/ 1691624 w 6356680"/>
                <a:gd name="connsiteY1321" fmla="*/ 983998 h 6006442"/>
                <a:gd name="connsiteX1322" fmla="*/ 1710684 w 6356680"/>
                <a:gd name="connsiteY1322" fmla="*/ 1017354 h 6006442"/>
                <a:gd name="connsiteX1323" fmla="*/ 1720212 w 6356680"/>
                <a:gd name="connsiteY1323" fmla="*/ 1012590 h 6006442"/>
                <a:gd name="connsiteX1324" fmla="*/ 1724976 w 6356680"/>
                <a:gd name="connsiteY1324" fmla="*/ 998294 h 6006442"/>
                <a:gd name="connsiteX1325" fmla="*/ 1739272 w 6356680"/>
                <a:gd name="connsiteY1325" fmla="*/ 998294 h 6006442"/>
                <a:gd name="connsiteX1326" fmla="*/ 1753568 w 6356680"/>
                <a:gd name="connsiteY1326" fmla="*/ 998294 h 6006442"/>
                <a:gd name="connsiteX1327" fmla="*/ 1763100 w 6356680"/>
                <a:gd name="connsiteY1327" fmla="*/ 1007822 h 6006442"/>
                <a:gd name="connsiteX1328" fmla="*/ 1777396 w 6356680"/>
                <a:gd name="connsiteY1328" fmla="*/ 1017354 h 6006442"/>
                <a:gd name="connsiteX1329" fmla="*/ 1801220 w 6356680"/>
                <a:gd name="connsiteY1329" fmla="*/ 1017354 h 6006442"/>
                <a:gd name="connsiteX1330" fmla="*/ 1815516 w 6356680"/>
                <a:gd name="connsiteY1330" fmla="*/ 1017354 h 6006442"/>
                <a:gd name="connsiteX1331" fmla="*/ 1839340 w 6356680"/>
                <a:gd name="connsiteY1331" fmla="*/ 1017354 h 6006442"/>
                <a:gd name="connsiteX1332" fmla="*/ 1853636 w 6356680"/>
                <a:gd name="connsiteY1332" fmla="*/ 1017354 h 6006442"/>
                <a:gd name="connsiteX1333" fmla="*/ 1848872 w 6356680"/>
                <a:gd name="connsiteY1333" fmla="*/ 1012590 h 6006442"/>
                <a:gd name="connsiteX1334" fmla="*/ 1834576 w 6356680"/>
                <a:gd name="connsiteY1334" fmla="*/ 1007822 h 6006442"/>
                <a:gd name="connsiteX1335" fmla="*/ 1820280 w 6356680"/>
                <a:gd name="connsiteY1335" fmla="*/ 1007822 h 6006442"/>
                <a:gd name="connsiteX1336" fmla="*/ 1805984 w 6356680"/>
                <a:gd name="connsiteY1336" fmla="*/ 1007822 h 6006442"/>
                <a:gd name="connsiteX1337" fmla="*/ 1796456 w 6356680"/>
                <a:gd name="connsiteY1337" fmla="*/ 1003058 h 6006442"/>
                <a:gd name="connsiteX1338" fmla="*/ 1791688 w 6356680"/>
                <a:gd name="connsiteY1338" fmla="*/ 988762 h 6006442"/>
                <a:gd name="connsiteX1339" fmla="*/ 1796456 w 6356680"/>
                <a:gd name="connsiteY1339" fmla="*/ 974466 h 6006442"/>
                <a:gd name="connsiteX1340" fmla="*/ 1801220 w 6356680"/>
                <a:gd name="connsiteY1340" fmla="*/ 969702 h 6006442"/>
                <a:gd name="connsiteX1341" fmla="*/ 1810752 w 6356680"/>
                <a:gd name="connsiteY1341" fmla="*/ 974466 h 6006442"/>
                <a:gd name="connsiteX1342" fmla="*/ 1825044 w 6356680"/>
                <a:gd name="connsiteY1342" fmla="*/ 974466 h 6006442"/>
                <a:gd name="connsiteX1343" fmla="*/ 1825044 w 6356680"/>
                <a:gd name="connsiteY1343" fmla="*/ 955406 h 6006442"/>
                <a:gd name="connsiteX1344" fmla="*/ 1829812 w 6356680"/>
                <a:gd name="connsiteY1344" fmla="*/ 945878 h 6006442"/>
                <a:gd name="connsiteX1345" fmla="*/ 1834576 w 6356680"/>
                <a:gd name="connsiteY1345" fmla="*/ 931582 h 6006442"/>
                <a:gd name="connsiteX1346" fmla="*/ 1834576 w 6356680"/>
                <a:gd name="connsiteY1346" fmla="*/ 922050 h 6006442"/>
                <a:gd name="connsiteX1347" fmla="*/ 1825044 w 6356680"/>
                <a:gd name="connsiteY1347" fmla="*/ 926818 h 6006442"/>
                <a:gd name="connsiteX1348" fmla="*/ 1810752 w 6356680"/>
                <a:gd name="connsiteY1348" fmla="*/ 950642 h 6006442"/>
                <a:gd name="connsiteX1349" fmla="*/ 1805984 w 6356680"/>
                <a:gd name="connsiteY1349" fmla="*/ 931582 h 6006442"/>
                <a:gd name="connsiteX1350" fmla="*/ 1791688 w 6356680"/>
                <a:gd name="connsiteY1350" fmla="*/ 912522 h 6006442"/>
                <a:gd name="connsiteX1351" fmla="*/ 1796456 w 6356680"/>
                <a:gd name="connsiteY1351" fmla="*/ 893462 h 6006442"/>
                <a:gd name="connsiteX1352" fmla="*/ 1801220 w 6356680"/>
                <a:gd name="connsiteY1352" fmla="*/ 869634 h 6006442"/>
                <a:gd name="connsiteX1353" fmla="*/ 1810752 w 6356680"/>
                <a:gd name="connsiteY1353" fmla="*/ 869634 h 6006442"/>
                <a:gd name="connsiteX1354" fmla="*/ 1820280 w 6356680"/>
                <a:gd name="connsiteY1354" fmla="*/ 874402 h 6006442"/>
                <a:gd name="connsiteX1355" fmla="*/ 1834576 w 6356680"/>
                <a:gd name="connsiteY1355" fmla="*/ 860106 h 6006442"/>
                <a:gd name="connsiteX1356" fmla="*/ 1839340 w 6356680"/>
                <a:gd name="connsiteY1356" fmla="*/ 850574 h 6006442"/>
                <a:gd name="connsiteX1357" fmla="*/ 1839340 w 6356680"/>
                <a:gd name="connsiteY1357" fmla="*/ 841046 h 6006442"/>
                <a:gd name="connsiteX1358" fmla="*/ 1839340 w 6356680"/>
                <a:gd name="connsiteY1358" fmla="*/ 836278 h 6006442"/>
                <a:gd name="connsiteX1359" fmla="*/ 1848872 w 6356680"/>
                <a:gd name="connsiteY1359" fmla="*/ 836278 h 6006442"/>
                <a:gd name="connsiteX1360" fmla="*/ 1882228 w 6356680"/>
                <a:gd name="connsiteY1360" fmla="*/ 855338 h 6006442"/>
                <a:gd name="connsiteX1361" fmla="*/ 1891756 w 6356680"/>
                <a:gd name="connsiteY1361" fmla="*/ 869634 h 6006442"/>
                <a:gd name="connsiteX1362" fmla="*/ 1901288 w 6356680"/>
                <a:gd name="connsiteY1362" fmla="*/ 864870 h 6006442"/>
                <a:gd name="connsiteX1363" fmla="*/ 1901288 w 6356680"/>
                <a:gd name="connsiteY1363" fmla="*/ 850574 h 6006442"/>
                <a:gd name="connsiteX1364" fmla="*/ 1901288 w 6356680"/>
                <a:gd name="connsiteY1364" fmla="*/ 841046 h 6006442"/>
                <a:gd name="connsiteX1365" fmla="*/ 1891756 w 6356680"/>
                <a:gd name="connsiteY1365" fmla="*/ 841046 h 6006442"/>
                <a:gd name="connsiteX1366" fmla="*/ 1872696 w 6356680"/>
                <a:gd name="connsiteY1366" fmla="*/ 841046 h 6006442"/>
                <a:gd name="connsiteX1367" fmla="*/ 1872696 w 6356680"/>
                <a:gd name="connsiteY1367" fmla="*/ 836278 h 6006442"/>
                <a:gd name="connsiteX1368" fmla="*/ 1872696 w 6356680"/>
                <a:gd name="connsiteY1368" fmla="*/ 831514 h 6006442"/>
                <a:gd name="connsiteX1369" fmla="*/ 1863168 w 6356680"/>
                <a:gd name="connsiteY1369" fmla="*/ 817218 h 6006442"/>
                <a:gd name="connsiteX1370" fmla="*/ 1877464 w 6356680"/>
                <a:gd name="connsiteY1370" fmla="*/ 807690 h 6006442"/>
                <a:gd name="connsiteX1371" fmla="*/ 1886992 w 6356680"/>
                <a:gd name="connsiteY1371" fmla="*/ 807690 h 6006442"/>
                <a:gd name="connsiteX1372" fmla="*/ 1891756 w 6356680"/>
                <a:gd name="connsiteY1372" fmla="*/ 802922 h 6006442"/>
                <a:gd name="connsiteX1373" fmla="*/ 1891756 w 6356680"/>
                <a:gd name="connsiteY1373" fmla="*/ 793394 h 6006442"/>
                <a:gd name="connsiteX1374" fmla="*/ 1896524 w 6356680"/>
                <a:gd name="connsiteY1374" fmla="*/ 793394 h 6006442"/>
                <a:gd name="connsiteX1375" fmla="*/ 1901288 w 6356680"/>
                <a:gd name="connsiteY1375" fmla="*/ 798158 h 6006442"/>
                <a:gd name="connsiteX1376" fmla="*/ 1915584 w 6356680"/>
                <a:gd name="connsiteY1376" fmla="*/ 798158 h 6006442"/>
                <a:gd name="connsiteX1377" fmla="*/ 1934644 w 6356680"/>
                <a:gd name="connsiteY1377" fmla="*/ 807690 h 6006442"/>
                <a:gd name="connsiteX1378" fmla="*/ 1944172 w 6356680"/>
                <a:gd name="connsiteY1378" fmla="*/ 812454 h 6006442"/>
                <a:gd name="connsiteX1379" fmla="*/ 1948940 w 6356680"/>
                <a:gd name="connsiteY1379" fmla="*/ 807690 h 6006442"/>
                <a:gd name="connsiteX1380" fmla="*/ 1948940 w 6356680"/>
                <a:gd name="connsiteY1380" fmla="*/ 793394 h 6006442"/>
                <a:gd name="connsiteX1381" fmla="*/ 1925112 w 6356680"/>
                <a:gd name="connsiteY1381" fmla="*/ 783862 h 6006442"/>
                <a:gd name="connsiteX1382" fmla="*/ 1925112 w 6356680"/>
                <a:gd name="connsiteY1382" fmla="*/ 769566 h 6006442"/>
                <a:gd name="connsiteX1383" fmla="*/ 1915584 w 6356680"/>
                <a:gd name="connsiteY1383" fmla="*/ 760038 h 6006442"/>
                <a:gd name="connsiteX1384" fmla="*/ 1915584 w 6356680"/>
                <a:gd name="connsiteY1384" fmla="*/ 745742 h 6006442"/>
                <a:gd name="connsiteX1385" fmla="*/ 1929880 w 6356680"/>
                <a:gd name="connsiteY1385" fmla="*/ 736210 h 6006442"/>
                <a:gd name="connsiteX1386" fmla="*/ 1934644 w 6356680"/>
                <a:gd name="connsiteY1386" fmla="*/ 726682 h 6006442"/>
                <a:gd name="connsiteX1387" fmla="*/ 1939408 w 6356680"/>
                <a:gd name="connsiteY1387" fmla="*/ 721918 h 6006442"/>
                <a:gd name="connsiteX1388" fmla="*/ 1958468 w 6356680"/>
                <a:gd name="connsiteY1388" fmla="*/ 721918 h 6006442"/>
                <a:gd name="connsiteX1389" fmla="*/ 1968000 w 6356680"/>
                <a:gd name="connsiteY1389" fmla="*/ 712386 h 6006442"/>
                <a:gd name="connsiteX1390" fmla="*/ 1977528 w 6356680"/>
                <a:gd name="connsiteY1390" fmla="*/ 707622 h 6006442"/>
                <a:gd name="connsiteX1391" fmla="*/ 1982296 w 6356680"/>
                <a:gd name="connsiteY1391" fmla="*/ 688562 h 6006442"/>
                <a:gd name="connsiteX1392" fmla="*/ 1982296 w 6356680"/>
                <a:gd name="connsiteY1392" fmla="*/ 674266 h 6006442"/>
                <a:gd name="connsiteX1393" fmla="*/ 1987060 w 6356680"/>
                <a:gd name="connsiteY1393" fmla="*/ 674266 h 6006442"/>
                <a:gd name="connsiteX1394" fmla="*/ 2001356 w 6356680"/>
                <a:gd name="connsiteY1394" fmla="*/ 679030 h 6006442"/>
                <a:gd name="connsiteX1395" fmla="*/ 1996592 w 6356680"/>
                <a:gd name="connsiteY1395" fmla="*/ 693326 h 6006442"/>
                <a:gd name="connsiteX1396" fmla="*/ 1996592 w 6356680"/>
                <a:gd name="connsiteY1396" fmla="*/ 707622 h 6006442"/>
                <a:gd name="connsiteX1397" fmla="*/ 1991824 w 6356680"/>
                <a:gd name="connsiteY1397" fmla="*/ 717150 h 6006442"/>
                <a:gd name="connsiteX1398" fmla="*/ 1996592 w 6356680"/>
                <a:gd name="connsiteY1398" fmla="*/ 717150 h 6006442"/>
                <a:gd name="connsiteX1399" fmla="*/ 2001356 w 6356680"/>
                <a:gd name="connsiteY1399" fmla="*/ 712386 h 6006442"/>
                <a:gd name="connsiteX1400" fmla="*/ 2006120 w 6356680"/>
                <a:gd name="connsiteY1400" fmla="*/ 702854 h 6006442"/>
                <a:gd name="connsiteX1401" fmla="*/ 2015652 w 6356680"/>
                <a:gd name="connsiteY1401" fmla="*/ 707622 h 6006442"/>
                <a:gd name="connsiteX1402" fmla="*/ 2020416 w 6356680"/>
                <a:gd name="connsiteY1402" fmla="*/ 717150 h 6006442"/>
                <a:gd name="connsiteX1403" fmla="*/ 2020416 w 6356680"/>
                <a:gd name="connsiteY1403" fmla="*/ 726682 h 6006442"/>
                <a:gd name="connsiteX1404" fmla="*/ 2029948 w 6356680"/>
                <a:gd name="connsiteY1404" fmla="*/ 731446 h 6006442"/>
                <a:gd name="connsiteX1405" fmla="*/ 2034712 w 6356680"/>
                <a:gd name="connsiteY1405" fmla="*/ 712386 h 6006442"/>
                <a:gd name="connsiteX1406" fmla="*/ 2049008 w 6356680"/>
                <a:gd name="connsiteY1406" fmla="*/ 712386 h 6006442"/>
                <a:gd name="connsiteX1407" fmla="*/ 2049008 w 6356680"/>
                <a:gd name="connsiteY1407" fmla="*/ 688562 h 6006442"/>
                <a:gd name="connsiteX1408" fmla="*/ 2053772 w 6356680"/>
                <a:gd name="connsiteY1408" fmla="*/ 674266 h 6006442"/>
                <a:gd name="connsiteX1409" fmla="*/ 2053772 w 6356680"/>
                <a:gd name="connsiteY1409" fmla="*/ 664734 h 6006442"/>
                <a:gd name="connsiteX1410" fmla="*/ 2058536 w 6356680"/>
                <a:gd name="connsiteY1410" fmla="*/ 659970 h 6006442"/>
                <a:gd name="connsiteX1411" fmla="*/ 2063304 w 6356680"/>
                <a:gd name="connsiteY1411" fmla="*/ 650438 h 6006442"/>
                <a:gd name="connsiteX1412" fmla="*/ 2058536 w 6356680"/>
                <a:gd name="connsiteY1412" fmla="*/ 640910 h 6006442"/>
                <a:gd name="connsiteX1413" fmla="*/ 2053772 w 6356680"/>
                <a:gd name="connsiteY1413" fmla="*/ 626614 h 6006442"/>
                <a:gd name="connsiteX1414" fmla="*/ 2063304 w 6356680"/>
                <a:gd name="connsiteY1414" fmla="*/ 621850 h 6006442"/>
                <a:gd name="connsiteX1415" fmla="*/ 2072832 w 6356680"/>
                <a:gd name="connsiteY1415" fmla="*/ 631378 h 6006442"/>
                <a:gd name="connsiteX1416" fmla="*/ 2082364 w 6356680"/>
                <a:gd name="connsiteY1416" fmla="*/ 650438 h 6006442"/>
                <a:gd name="connsiteX1417" fmla="*/ 2087128 w 6356680"/>
                <a:gd name="connsiteY1417" fmla="*/ 655206 h 6006442"/>
                <a:gd name="connsiteX1418" fmla="*/ 2091892 w 6356680"/>
                <a:gd name="connsiteY1418" fmla="*/ 650438 h 6006442"/>
                <a:gd name="connsiteX1419" fmla="*/ 2096656 w 6356680"/>
                <a:gd name="connsiteY1419" fmla="*/ 640910 h 6006442"/>
                <a:gd name="connsiteX1420" fmla="*/ 2106188 w 6356680"/>
                <a:gd name="connsiteY1420" fmla="*/ 631378 h 6006442"/>
                <a:gd name="connsiteX1421" fmla="*/ 2120484 w 6356680"/>
                <a:gd name="connsiteY1421" fmla="*/ 640910 h 6006442"/>
                <a:gd name="connsiteX1422" fmla="*/ 2134780 w 6356680"/>
                <a:gd name="connsiteY1422" fmla="*/ 655206 h 6006442"/>
                <a:gd name="connsiteX1423" fmla="*/ 2149076 w 6356680"/>
                <a:gd name="connsiteY1423" fmla="*/ 645674 h 6006442"/>
                <a:gd name="connsiteX1424" fmla="*/ 2168136 w 6356680"/>
                <a:gd name="connsiteY1424" fmla="*/ 621850 h 6006442"/>
                <a:gd name="connsiteX1425" fmla="*/ 2163368 w 6356680"/>
                <a:gd name="connsiteY1425" fmla="*/ 607554 h 6006442"/>
                <a:gd name="connsiteX1426" fmla="*/ 2168136 w 6356680"/>
                <a:gd name="connsiteY1426" fmla="*/ 598022 h 6006442"/>
                <a:gd name="connsiteX1427" fmla="*/ 2187196 w 6356680"/>
                <a:gd name="connsiteY1427" fmla="*/ 588494 h 6006442"/>
                <a:gd name="connsiteX1428" fmla="*/ 2201492 w 6356680"/>
                <a:gd name="connsiteY1428" fmla="*/ 593258 h 6006442"/>
                <a:gd name="connsiteX1429" fmla="*/ 2215788 w 6356680"/>
                <a:gd name="connsiteY1429" fmla="*/ 607554 h 6006442"/>
                <a:gd name="connsiteX1430" fmla="*/ 2244376 w 6356680"/>
                <a:gd name="connsiteY1430" fmla="*/ 621850 h 6006442"/>
                <a:gd name="connsiteX1431" fmla="*/ 2272968 w 6356680"/>
                <a:gd name="connsiteY1431" fmla="*/ 636142 h 6006442"/>
                <a:gd name="connsiteX1432" fmla="*/ 2282496 w 6356680"/>
                <a:gd name="connsiteY1432" fmla="*/ 645674 h 6006442"/>
                <a:gd name="connsiteX1433" fmla="*/ 2306324 w 6356680"/>
                <a:gd name="connsiteY1433" fmla="*/ 659970 h 6006442"/>
                <a:gd name="connsiteX1434" fmla="*/ 2320620 w 6356680"/>
                <a:gd name="connsiteY1434" fmla="*/ 679030 h 6006442"/>
                <a:gd name="connsiteX1435" fmla="*/ 2339680 w 6356680"/>
                <a:gd name="connsiteY1435" fmla="*/ 707622 h 6006442"/>
                <a:gd name="connsiteX1436" fmla="*/ 2387332 w 6356680"/>
                <a:gd name="connsiteY1436" fmla="*/ 745742 h 6006442"/>
                <a:gd name="connsiteX1437" fmla="*/ 2387332 w 6356680"/>
                <a:gd name="connsiteY1437" fmla="*/ 750506 h 6006442"/>
                <a:gd name="connsiteX1438" fmla="*/ 2382564 w 6356680"/>
                <a:gd name="connsiteY1438" fmla="*/ 764802 h 6006442"/>
                <a:gd name="connsiteX1439" fmla="*/ 2377800 w 6356680"/>
                <a:gd name="connsiteY1439" fmla="*/ 779098 h 6006442"/>
                <a:gd name="connsiteX1440" fmla="*/ 2368272 w 6356680"/>
                <a:gd name="connsiteY1440" fmla="*/ 807690 h 6006442"/>
                <a:gd name="connsiteX1441" fmla="*/ 2368272 w 6356680"/>
                <a:gd name="connsiteY1441" fmla="*/ 845810 h 6006442"/>
                <a:gd name="connsiteX1442" fmla="*/ 2373036 w 6356680"/>
                <a:gd name="connsiteY1442" fmla="*/ 841046 h 6006442"/>
                <a:gd name="connsiteX1443" fmla="*/ 2382564 w 6356680"/>
                <a:gd name="connsiteY1443" fmla="*/ 826750 h 6006442"/>
                <a:gd name="connsiteX1444" fmla="*/ 2387332 w 6356680"/>
                <a:gd name="connsiteY1444" fmla="*/ 831514 h 6006442"/>
                <a:gd name="connsiteX1445" fmla="*/ 2396860 w 6356680"/>
                <a:gd name="connsiteY1445" fmla="*/ 841046 h 6006442"/>
                <a:gd name="connsiteX1446" fmla="*/ 2396860 w 6356680"/>
                <a:gd name="connsiteY1446" fmla="*/ 831514 h 6006442"/>
                <a:gd name="connsiteX1447" fmla="*/ 2392096 w 6356680"/>
                <a:gd name="connsiteY1447" fmla="*/ 826750 h 6006442"/>
                <a:gd name="connsiteX1448" fmla="*/ 2382564 w 6356680"/>
                <a:gd name="connsiteY1448" fmla="*/ 807690 h 6006442"/>
                <a:gd name="connsiteX1449" fmla="*/ 2382564 w 6356680"/>
                <a:gd name="connsiteY1449" fmla="*/ 798158 h 6006442"/>
                <a:gd name="connsiteX1450" fmla="*/ 2392096 w 6356680"/>
                <a:gd name="connsiteY1450" fmla="*/ 793394 h 6006442"/>
                <a:gd name="connsiteX1451" fmla="*/ 2401628 w 6356680"/>
                <a:gd name="connsiteY1451" fmla="*/ 783862 h 6006442"/>
                <a:gd name="connsiteX1452" fmla="*/ 2411156 w 6356680"/>
                <a:gd name="connsiteY1452" fmla="*/ 774334 h 6006442"/>
                <a:gd name="connsiteX1453" fmla="*/ 2420688 w 6356680"/>
                <a:gd name="connsiteY1453" fmla="*/ 769566 h 6006442"/>
                <a:gd name="connsiteX1454" fmla="*/ 2420688 w 6356680"/>
                <a:gd name="connsiteY1454" fmla="*/ 764802 h 6006442"/>
                <a:gd name="connsiteX1455" fmla="*/ 2430216 w 6356680"/>
                <a:gd name="connsiteY1455" fmla="*/ 755270 h 6006442"/>
                <a:gd name="connsiteX1456" fmla="*/ 2449276 w 6356680"/>
                <a:gd name="connsiteY1456" fmla="*/ 755270 h 6006442"/>
                <a:gd name="connsiteX1457" fmla="*/ 2458808 w 6356680"/>
                <a:gd name="connsiteY1457" fmla="*/ 755270 h 6006442"/>
                <a:gd name="connsiteX1458" fmla="*/ 2520756 w 6356680"/>
                <a:gd name="connsiteY1458" fmla="*/ 774334 h 6006442"/>
                <a:gd name="connsiteX1459" fmla="*/ 2539816 w 6356680"/>
                <a:gd name="connsiteY1459" fmla="*/ 788626 h 6006442"/>
                <a:gd name="connsiteX1460" fmla="*/ 2539816 w 6356680"/>
                <a:gd name="connsiteY1460" fmla="*/ 812454 h 6006442"/>
                <a:gd name="connsiteX1461" fmla="*/ 2549344 w 6356680"/>
                <a:gd name="connsiteY1461" fmla="*/ 817218 h 6006442"/>
                <a:gd name="connsiteX1462" fmla="*/ 2549344 w 6356680"/>
                <a:gd name="connsiteY1462" fmla="*/ 802922 h 6006442"/>
                <a:gd name="connsiteX1463" fmla="*/ 2549344 w 6356680"/>
                <a:gd name="connsiteY1463" fmla="*/ 774334 h 6006442"/>
                <a:gd name="connsiteX1464" fmla="*/ 2554112 w 6356680"/>
                <a:gd name="connsiteY1464" fmla="*/ 769566 h 6006442"/>
                <a:gd name="connsiteX1465" fmla="*/ 2573172 w 6356680"/>
                <a:gd name="connsiteY1465" fmla="*/ 774334 h 6006442"/>
                <a:gd name="connsiteX1466" fmla="*/ 2582700 w 6356680"/>
                <a:gd name="connsiteY1466" fmla="*/ 779098 h 6006442"/>
                <a:gd name="connsiteX1467" fmla="*/ 2601760 w 6356680"/>
                <a:gd name="connsiteY1467" fmla="*/ 798158 h 6006442"/>
                <a:gd name="connsiteX1468" fmla="*/ 2606528 w 6356680"/>
                <a:gd name="connsiteY1468" fmla="*/ 807690 h 6006442"/>
                <a:gd name="connsiteX1469" fmla="*/ 2611292 w 6356680"/>
                <a:gd name="connsiteY1469" fmla="*/ 812454 h 6006442"/>
                <a:gd name="connsiteX1470" fmla="*/ 2616056 w 6356680"/>
                <a:gd name="connsiteY1470" fmla="*/ 807690 h 6006442"/>
                <a:gd name="connsiteX1471" fmla="*/ 2611292 w 6356680"/>
                <a:gd name="connsiteY1471" fmla="*/ 793394 h 6006442"/>
                <a:gd name="connsiteX1472" fmla="*/ 2611292 w 6356680"/>
                <a:gd name="connsiteY1472" fmla="*/ 779098 h 6006442"/>
                <a:gd name="connsiteX1473" fmla="*/ 2611292 w 6356680"/>
                <a:gd name="connsiteY1473" fmla="*/ 769566 h 6006442"/>
                <a:gd name="connsiteX1474" fmla="*/ 2635116 w 6356680"/>
                <a:gd name="connsiteY1474" fmla="*/ 764802 h 6006442"/>
                <a:gd name="connsiteX1475" fmla="*/ 2644648 w 6356680"/>
                <a:gd name="connsiteY1475" fmla="*/ 764802 h 6006442"/>
                <a:gd name="connsiteX1476" fmla="*/ 2639884 w 6356680"/>
                <a:gd name="connsiteY1476" fmla="*/ 760038 h 6006442"/>
                <a:gd name="connsiteX1477" fmla="*/ 2630352 w 6356680"/>
                <a:gd name="connsiteY1477" fmla="*/ 760038 h 6006442"/>
                <a:gd name="connsiteX1478" fmla="*/ 2616056 w 6356680"/>
                <a:gd name="connsiteY1478" fmla="*/ 745742 h 6006442"/>
                <a:gd name="connsiteX1479" fmla="*/ 2606528 w 6356680"/>
                <a:gd name="connsiteY1479" fmla="*/ 736210 h 6006442"/>
                <a:gd name="connsiteX1480" fmla="*/ 2620824 w 6356680"/>
                <a:gd name="connsiteY1480" fmla="*/ 721918 h 6006442"/>
                <a:gd name="connsiteX1481" fmla="*/ 2606528 w 6356680"/>
                <a:gd name="connsiteY1481" fmla="*/ 721918 h 6006442"/>
                <a:gd name="connsiteX1482" fmla="*/ 2587464 w 6356680"/>
                <a:gd name="connsiteY1482" fmla="*/ 707622 h 6006442"/>
                <a:gd name="connsiteX1483" fmla="*/ 2573172 w 6356680"/>
                <a:gd name="connsiteY1483" fmla="*/ 693326 h 6006442"/>
                <a:gd name="connsiteX1484" fmla="*/ 2582700 w 6356680"/>
                <a:gd name="connsiteY1484" fmla="*/ 664734 h 6006442"/>
                <a:gd name="connsiteX1485" fmla="*/ 2611292 w 6356680"/>
                <a:gd name="connsiteY1485" fmla="*/ 636142 h 6006442"/>
                <a:gd name="connsiteX1486" fmla="*/ 2625588 w 6356680"/>
                <a:gd name="connsiteY1486" fmla="*/ 626614 h 6006442"/>
                <a:gd name="connsiteX1487" fmla="*/ 2625588 w 6356680"/>
                <a:gd name="connsiteY1487" fmla="*/ 617082 h 6006442"/>
                <a:gd name="connsiteX1488" fmla="*/ 2630352 w 6356680"/>
                <a:gd name="connsiteY1488" fmla="*/ 598022 h 6006442"/>
                <a:gd name="connsiteX1489" fmla="*/ 2635116 w 6356680"/>
                <a:gd name="connsiteY1489" fmla="*/ 583726 h 6006442"/>
                <a:gd name="connsiteX1490" fmla="*/ 2639884 w 6356680"/>
                <a:gd name="connsiteY1490" fmla="*/ 574198 h 6006442"/>
                <a:gd name="connsiteX1491" fmla="*/ 2644648 w 6356680"/>
                <a:gd name="connsiteY1491" fmla="*/ 559902 h 6006442"/>
                <a:gd name="connsiteX1492" fmla="*/ 2658944 w 6356680"/>
                <a:gd name="connsiteY1492" fmla="*/ 550370 h 6006442"/>
                <a:gd name="connsiteX1493" fmla="*/ 2682768 w 6356680"/>
                <a:gd name="connsiteY1493" fmla="*/ 545606 h 6006442"/>
                <a:gd name="connsiteX1494" fmla="*/ 2692300 w 6356680"/>
                <a:gd name="connsiteY1494" fmla="*/ 540842 h 6006442"/>
                <a:gd name="connsiteX1495" fmla="*/ 2701828 w 6356680"/>
                <a:gd name="connsiteY1495" fmla="*/ 531310 h 6006442"/>
                <a:gd name="connsiteX1496" fmla="*/ 2711360 w 6356680"/>
                <a:gd name="connsiteY1496" fmla="*/ 517014 h 6006442"/>
                <a:gd name="connsiteX1497" fmla="*/ 2692300 w 6356680"/>
                <a:gd name="connsiteY1497" fmla="*/ 493190 h 6006442"/>
                <a:gd name="connsiteX1498" fmla="*/ 2692300 w 6356680"/>
                <a:gd name="connsiteY1498" fmla="*/ 478894 h 6006442"/>
                <a:gd name="connsiteX1499" fmla="*/ 2697064 w 6356680"/>
                <a:gd name="connsiteY1499" fmla="*/ 466982 h 6006442"/>
                <a:gd name="connsiteX1500" fmla="*/ 2720888 w 6356680"/>
                <a:gd name="connsiteY1500" fmla="*/ 452686 h 6006442"/>
                <a:gd name="connsiteX1501" fmla="*/ 2730420 w 6356680"/>
                <a:gd name="connsiteY1501" fmla="*/ 424094 h 6006442"/>
                <a:gd name="connsiteX1502" fmla="*/ 2739952 w 6356680"/>
                <a:gd name="connsiteY1502" fmla="*/ 419330 h 6006442"/>
                <a:gd name="connsiteX1503" fmla="*/ 2759012 w 6356680"/>
                <a:gd name="connsiteY1503" fmla="*/ 419330 h 6006442"/>
                <a:gd name="connsiteX1504" fmla="*/ 2768540 w 6356680"/>
                <a:gd name="connsiteY1504" fmla="*/ 414566 h 6006442"/>
                <a:gd name="connsiteX1505" fmla="*/ 2763776 w 6356680"/>
                <a:gd name="connsiteY1505" fmla="*/ 390738 h 6006442"/>
                <a:gd name="connsiteX1506" fmla="*/ 2768540 w 6356680"/>
                <a:gd name="connsiteY1506" fmla="*/ 381210 h 6006442"/>
                <a:gd name="connsiteX1507" fmla="*/ 2773304 w 6356680"/>
                <a:gd name="connsiteY1507" fmla="*/ 376446 h 6006442"/>
                <a:gd name="connsiteX1508" fmla="*/ 2782836 w 6356680"/>
                <a:gd name="connsiteY1508" fmla="*/ 381210 h 6006442"/>
                <a:gd name="connsiteX1509" fmla="*/ 2792368 w 6356680"/>
                <a:gd name="connsiteY1509" fmla="*/ 390738 h 6006442"/>
                <a:gd name="connsiteX1510" fmla="*/ 2806664 w 6356680"/>
                <a:gd name="connsiteY1510" fmla="*/ 400270 h 6006442"/>
                <a:gd name="connsiteX1511" fmla="*/ 2811428 w 6356680"/>
                <a:gd name="connsiteY1511" fmla="*/ 395506 h 6006442"/>
                <a:gd name="connsiteX1512" fmla="*/ 2806664 w 6356680"/>
                <a:gd name="connsiteY1512" fmla="*/ 385974 h 6006442"/>
                <a:gd name="connsiteX1513" fmla="*/ 2806664 w 6356680"/>
                <a:gd name="connsiteY1513" fmla="*/ 371678 h 6006442"/>
                <a:gd name="connsiteX1514" fmla="*/ 2820956 w 6356680"/>
                <a:gd name="connsiteY1514" fmla="*/ 366914 h 6006442"/>
                <a:gd name="connsiteX1515" fmla="*/ 2830488 w 6356680"/>
                <a:gd name="connsiteY1515" fmla="*/ 366914 h 6006442"/>
                <a:gd name="connsiteX1516" fmla="*/ 2830488 w 6356680"/>
                <a:gd name="connsiteY1516" fmla="*/ 357382 h 6006442"/>
                <a:gd name="connsiteX1517" fmla="*/ 2830488 w 6356680"/>
                <a:gd name="connsiteY1517" fmla="*/ 347854 h 6006442"/>
                <a:gd name="connsiteX1518" fmla="*/ 2830488 w 6356680"/>
                <a:gd name="connsiteY1518" fmla="*/ 343090 h 6006442"/>
                <a:gd name="connsiteX1519" fmla="*/ 2859080 w 6356680"/>
                <a:gd name="connsiteY1519" fmla="*/ 343090 h 6006442"/>
                <a:gd name="connsiteX1520" fmla="*/ 2868608 w 6356680"/>
                <a:gd name="connsiteY1520" fmla="*/ 328794 h 6006442"/>
                <a:gd name="connsiteX1521" fmla="*/ 2873372 w 6356680"/>
                <a:gd name="connsiteY1521" fmla="*/ 324026 h 6006442"/>
                <a:gd name="connsiteX1522" fmla="*/ 2873372 w 6356680"/>
                <a:gd name="connsiteY1522" fmla="*/ 328794 h 6006442"/>
                <a:gd name="connsiteX1523" fmla="*/ 2878140 w 6356680"/>
                <a:gd name="connsiteY1523" fmla="*/ 347854 h 6006442"/>
                <a:gd name="connsiteX1524" fmla="*/ 2892436 w 6356680"/>
                <a:gd name="connsiteY1524" fmla="*/ 357382 h 6006442"/>
                <a:gd name="connsiteX1525" fmla="*/ 2940084 w 6356680"/>
                <a:gd name="connsiteY1525" fmla="*/ 357382 h 6006442"/>
                <a:gd name="connsiteX1526" fmla="*/ 2963912 w 6356680"/>
                <a:gd name="connsiteY1526" fmla="*/ 347854 h 6006442"/>
                <a:gd name="connsiteX1527" fmla="*/ 2973440 w 6356680"/>
                <a:gd name="connsiteY1527" fmla="*/ 352618 h 6006442"/>
                <a:gd name="connsiteX1528" fmla="*/ 2992504 w 6356680"/>
                <a:gd name="connsiteY1528" fmla="*/ 357382 h 6006442"/>
                <a:gd name="connsiteX1529" fmla="*/ 3011564 w 6356680"/>
                <a:gd name="connsiteY1529" fmla="*/ 347854 h 6006442"/>
                <a:gd name="connsiteX1530" fmla="*/ 3021092 w 6356680"/>
                <a:gd name="connsiteY1530" fmla="*/ 343090 h 6006442"/>
                <a:gd name="connsiteX1531" fmla="*/ 3040152 w 6356680"/>
                <a:gd name="connsiteY1531" fmla="*/ 352618 h 6006442"/>
                <a:gd name="connsiteX1532" fmla="*/ 3044920 w 6356680"/>
                <a:gd name="connsiteY1532" fmla="*/ 357382 h 6006442"/>
                <a:gd name="connsiteX1533" fmla="*/ 3049684 w 6356680"/>
                <a:gd name="connsiteY1533" fmla="*/ 338322 h 6006442"/>
                <a:gd name="connsiteX1534" fmla="*/ 3063980 w 6356680"/>
                <a:gd name="connsiteY1534" fmla="*/ 333558 h 6006442"/>
                <a:gd name="connsiteX1535" fmla="*/ 3073508 w 6356680"/>
                <a:gd name="connsiteY1535" fmla="*/ 328794 h 6006442"/>
                <a:gd name="connsiteX1536" fmla="*/ 3087804 w 6356680"/>
                <a:gd name="connsiteY1536" fmla="*/ 333558 h 6006442"/>
                <a:gd name="connsiteX1537" fmla="*/ 3092568 w 6356680"/>
                <a:gd name="connsiteY1537" fmla="*/ 333558 h 6006442"/>
                <a:gd name="connsiteX1538" fmla="*/ 3078276 w 6356680"/>
                <a:gd name="connsiteY1538" fmla="*/ 319262 h 6006442"/>
                <a:gd name="connsiteX1539" fmla="*/ 3083040 w 6356680"/>
                <a:gd name="connsiteY1539" fmla="*/ 304966 h 6006442"/>
                <a:gd name="connsiteX1540" fmla="*/ 3078276 w 6356680"/>
                <a:gd name="connsiteY1540" fmla="*/ 285906 h 6006442"/>
                <a:gd name="connsiteX1541" fmla="*/ 3083040 w 6356680"/>
                <a:gd name="connsiteY1541" fmla="*/ 266846 h 6006442"/>
                <a:gd name="connsiteX1542" fmla="*/ 3087804 w 6356680"/>
                <a:gd name="connsiteY1542" fmla="*/ 257318 h 6006442"/>
                <a:gd name="connsiteX1543" fmla="*/ 3054448 w 6356680"/>
                <a:gd name="connsiteY1543" fmla="*/ 228726 h 6006442"/>
                <a:gd name="connsiteX1544" fmla="*/ 3025856 w 6356680"/>
                <a:gd name="connsiteY1544" fmla="*/ 228726 h 6006442"/>
                <a:gd name="connsiteX1545" fmla="*/ 3002032 w 6356680"/>
                <a:gd name="connsiteY1545" fmla="*/ 233490 h 6006442"/>
                <a:gd name="connsiteX1546" fmla="*/ 2992504 w 6356680"/>
                <a:gd name="connsiteY1546" fmla="*/ 228726 h 6006442"/>
                <a:gd name="connsiteX1547" fmla="*/ 2973440 w 6356680"/>
                <a:gd name="connsiteY1547" fmla="*/ 209666 h 6006442"/>
                <a:gd name="connsiteX1548" fmla="*/ 2954380 w 6356680"/>
                <a:gd name="connsiteY1548" fmla="*/ 200134 h 6006442"/>
                <a:gd name="connsiteX1549" fmla="*/ 2954380 w 6356680"/>
                <a:gd name="connsiteY1549" fmla="*/ 195370 h 6006442"/>
                <a:gd name="connsiteX1550" fmla="*/ 2973440 w 6356680"/>
                <a:gd name="connsiteY1550" fmla="*/ 181074 h 6006442"/>
                <a:gd name="connsiteX1551" fmla="*/ 2982972 w 6356680"/>
                <a:gd name="connsiteY1551" fmla="*/ 185838 h 6006442"/>
                <a:gd name="connsiteX1552" fmla="*/ 2997268 w 6356680"/>
                <a:gd name="connsiteY1552" fmla="*/ 195370 h 6006442"/>
                <a:gd name="connsiteX1553" fmla="*/ 3006796 w 6356680"/>
                <a:gd name="connsiteY1553" fmla="*/ 204898 h 6006442"/>
                <a:gd name="connsiteX1554" fmla="*/ 3011564 w 6356680"/>
                <a:gd name="connsiteY1554" fmla="*/ 200134 h 6006442"/>
                <a:gd name="connsiteX1555" fmla="*/ 3016328 w 6356680"/>
                <a:gd name="connsiteY1555" fmla="*/ 190606 h 6006442"/>
                <a:gd name="connsiteX1556" fmla="*/ 3021092 w 6356680"/>
                <a:gd name="connsiteY1556" fmla="*/ 185838 h 6006442"/>
                <a:gd name="connsiteX1557" fmla="*/ 3035388 w 6356680"/>
                <a:gd name="connsiteY1557" fmla="*/ 190606 h 6006442"/>
                <a:gd name="connsiteX1558" fmla="*/ 3068744 w 6356680"/>
                <a:gd name="connsiteY1558" fmla="*/ 209666 h 6006442"/>
                <a:gd name="connsiteX1559" fmla="*/ 3087804 w 6356680"/>
                <a:gd name="connsiteY1559" fmla="*/ 233490 h 6006442"/>
                <a:gd name="connsiteX1560" fmla="*/ 3097336 w 6356680"/>
                <a:gd name="connsiteY1560" fmla="*/ 228726 h 6006442"/>
                <a:gd name="connsiteX1561" fmla="*/ 3116396 w 6356680"/>
                <a:gd name="connsiteY1561" fmla="*/ 214430 h 6006442"/>
                <a:gd name="connsiteX1562" fmla="*/ 3130692 w 6356680"/>
                <a:gd name="connsiteY1562" fmla="*/ 219194 h 6006442"/>
                <a:gd name="connsiteX1563" fmla="*/ 3140220 w 6356680"/>
                <a:gd name="connsiteY1563" fmla="*/ 223962 h 6006442"/>
                <a:gd name="connsiteX1564" fmla="*/ 3154516 w 6356680"/>
                <a:gd name="connsiteY1564" fmla="*/ 252550 h 6006442"/>
                <a:gd name="connsiteX1565" fmla="*/ 3168812 w 6356680"/>
                <a:gd name="connsiteY1565" fmla="*/ 266846 h 6006442"/>
                <a:gd name="connsiteX1566" fmla="*/ 3192636 w 6356680"/>
                <a:gd name="connsiteY1566" fmla="*/ 266846 h 6006442"/>
                <a:gd name="connsiteX1567" fmla="*/ 3206932 w 6356680"/>
                <a:gd name="connsiteY1567" fmla="*/ 271610 h 6006442"/>
                <a:gd name="connsiteX1568" fmla="*/ 3221228 w 6356680"/>
                <a:gd name="connsiteY1568" fmla="*/ 281142 h 6006442"/>
                <a:gd name="connsiteX1569" fmla="*/ 3240288 w 6356680"/>
                <a:gd name="connsiteY1569" fmla="*/ 281142 h 6006442"/>
                <a:gd name="connsiteX1570" fmla="*/ 3278408 w 6356680"/>
                <a:gd name="connsiteY1570" fmla="*/ 285906 h 6006442"/>
                <a:gd name="connsiteX1571" fmla="*/ 3316532 w 6356680"/>
                <a:gd name="connsiteY1571" fmla="*/ 304966 h 6006442"/>
                <a:gd name="connsiteX1572" fmla="*/ 3330824 w 6356680"/>
                <a:gd name="connsiteY1572" fmla="*/ 314498 h 6006442"/>
                <a:gd name="connsiteX1573" fmla="*/ 3349888 w 6356680"/>
                <a:gd name="connsiteY1573" fmla="*/ 314498 h 6006442"/>
                <a:gd name="connsiteX1574" fmla="*/ 3359416 w 6356680"/>
                <a:gd name="connsiteY1574" fmla="*/ 319262 h 6006442"/>
                <a:gd name="connsiteX1575" fmla="*/ 3378476 w 6356680"/>
                <a:gd name="connsiteY1575" fmla="*/ 324026 h 6006442"/>
                <a:gd name="connsiteX1576" fmla="*/ 3407068 w 6356680"/>
                <a:gd name="connsiteY1576" fmla="*/ 309734 h 6006442"/>
                <a:gd name="connsiteX1577" fmla="*/ 3421364 w 6356680"/>
                <a:gd name="connsiteY1577" fmla="*/ 319262 h 6006442"/>
                <a:gd name="connsiteX1578" fmla="*/ 3426128 w 6356680"/>
                <a:gd name="connsiteY1578" fmla="*/ 328794 h 6006442"/>
                <a:gd name="connsiteX1579" fmla="*/ 3454720 w 6356680"/>
                <a:gd name="connsiteY1579" fmla="*/ 343090 h 6006442"/>
                <a:gd name="connsiteX1580" fmla="*/ 3483312 w 6356680"/>
                <a:gd name="connsiteY1580" fmla="*/ 347854 h 6006442"/>
                <a:gd name="connsiteX1581" fmla="*/ 3507136 w 6356680"/>
                <a:gd name="connsiteY1581" fmla="*/ 333558 h 6006442"/>
                <a:gd name="connsiteX1582" fmla="*/ 3535728 w 6356680"/>
                <a:gd name="connsiteY1582" fmla="*/ 324026 h 6006442"/>
                <a:gd name="connsiteX1583" fmla="*/ 3559552 w 6356680"/>
                <a:gd name="connsiteY1583" fmla="*/ 304966 h 6006442"/>
                <a:gd name="connsiteX1584" fmla="*/ 3573848 w 6356680"/>
                <a:gd name="connsiteY1584" fmla="*/ 295438 h 6006442"/>
                <a:gd name="connsiteX1585" fmla="*/ 3588144 w 6356680"/>
                <a:gd name="connsiteY1585" fmla="*/ 285906 h 6006442"/>
                <a:gd name="connsiteX1586" fmla="*/ 3592908 w 6356680"/>
                <a:gd name="connsiteY1586" fmla="*/ 285906 h 6006442"/>
                <a:gd name="connsiteX1587" fmla="*/ 3583376 w 6356680"/>
                <a:gd name="connsiteY1587" fmla="*/ 295438 h 6006442"/>
                <a:gd name="connsiteX1588" fmla="*/ 3578612 w 6356680"/>
                <a:gd name="connsiteY1588" fmla="*/ 304966 h 6006442"/>
                <a:gd name="connsiteX1589" fmla="*/ 3592908 w 6356680"/>
                <a:gd name="connsiteY1589" fmla="*/ 309734 h 6006442"/>
                <a:gd name="connsiteX1590" fmla="*/ 3588144 w 6356680"/>
                <a:gd name="connsiteY1590" fmla="*/ 309734 h 6006442"/>
                <a:gd name="connsiteX1591" fmla="*/ 3573848 w 6356680"/>
                <a:gd name="connsiteY1591" fmla="*/ 319262 h 6006442"/>
                <a:gd name="connsiteX1592" fmla="*/ 3559552 w 6356680"/>
                <a:gd name="connsiteY1592" fmla="*/ 338322 h 6006442"/>
                <a:gd name="connsiteX1593" fmla="*/ 3559552 w 6356680"/>
                <a:gd name="connsiteY1593" fmla="*/ 347854 h 6006442"/>
                <a:gd name="connsiteX1594" fmla="*/ 3569084 w 6356680"/>
                <a:gd name="connsiteY1594" fmla="*/ 352618 h 6006442"/>
                <a:gd name="connsiteX1595" fmla="*/ 3573848 w 6356680"/>
                <a:gd name="connsiteY1595" fmla="*/ 347854 h 6006442"/>
                <a:gd name="connsiteX1596" fmla="*/ 3583376 w 6356680"/>
                <a:gd name="connsiteY1596" fmla="*/ 343090 h 6006442"/>
                <a:gd name="connsiteX1597" fmla="*/ 3597672 w 6356680"/>
                <a:gd name="connsiteY1597" fmla="*/ 338322 h 6006442"/>
                <a:gd name="connsiteX1598" fmla="*/ 3607204 w 6356680"/>
                <a:gd name="connsiteY1598" fmla="*/ 343090 h 6006442"/>
                <a:gd name="connsiteX1599" fmla="*/ 3611968 w 6356680"/>
                <a:gd name="connsiteY1599" fmla="*/ 366914 h 6006442"/>
                <a:gd name="connsiteX1600" fmla="*/ 3621500 w 6356680"/>
                <a:gd name="connsiteY1600" fmla="*/ 381210 h 6006442"/>
                <a:gd name="connsiteX1601" fmla="*/ 3635796 w 6356680"/>
                <a:gd name="connsiteY1601" fmla="*/ 381210 h 6006442"/>
                <a:gd name="connsiteX1602" fmla="*/ 3645324 w 6356680"/>
                <a:gd name="connsiteY1602" fmla="*/ 381210 h 6006442"/>
                <a:gd name="connsiteX1603" fmla="*/ 3659620 w 6356680"/>
                <a:gd name="connsiteY1603" fmla="*/ 362150 h 6006442"/>
                <a:gd name="connsiteX1604" fmla="*/ 3650088 w 6356680"/>
                <a:gd name="connsiteY1604" fmla="*/ 343090 h 6006442"/>
                <a:gd name="connsiteX1605" fmla="*/ 3645324 w 6356680"/>
                <a:gd name="connsiteY1605" fmla="*/ 338322 h 6006442"/>
                <a:gd name="connsiteX1606" fmla="*/ 3650088 w 6356680"/>
                <a:gd name="connsiteY1606" fmla="*/ 333558 h 6006442"/>
                <a:gd name="connsiteX1607" fmla="*/ 3673916 w 6356680"/>
                <a:gd name="connsiteY1607" fmla="*/ 304966 h 6006442"/>
                <a:gd name="connsiteX1608" fmla="*/ 3692976 w 6356680"/>
                <a:gd name="connsiteY1608" fmla="*/ 304966 h 6006442"/>
                <a:gd name="connsiteX1609" fmla="*/ 3702504 w 6356680"/>
                <a:gd name="connsiteY1609" fmla="*/ 333558 h 6006442"/>
                <a:gd name="connsiteX1610" fmla="*/ 3721568 w 6356680"/>
                <a:gd name="connsiteY1610" fmla="*/ 347854 h 6006442"/>
                <a:gd name="connsiteX1611" fmla="*/ 3735860 w 6356680"/>
                <a:gd name="connsiteY1611" fmla="*/ 347854 h 6006442"/>
                <a:gd name="connsiteX1612" fmla="*/ 3745392 w 6356680"/>
                <a:gd name="connsiteY1612" fmla="*/ 352618 h 6006442"/>
                <a:gd name="connsiteX1613" fmla="*/ 3754924 w 6356680"/>
                <a:gd name="connsiteY1613" fmla="*/ 366914 h 6006442"/>
                <a:gd name="connsiteX1614" fmla="*/ 3692976 w 6356680"/>
                <a:gd name="connsiteY1614" fmla="*/ 438390 h 6006442"/>
                <a:gd name="connsiteX1615" fmla="*/ 3688212 w 6356680"/>
                <a:gd name="connsiteY1615" fmla="*/ 443158 h 6006442"/>
                <a:gd name="connsiteX1616" fmla="*/ 3697740 w 6356680"/>
                <a:gd name="connsiteY1616" fmla="*/ 457450 h 6006442"/>
                <a:gd name="connsiteX1617" fmla="*/ 3697740 w 6356680"/>
                <a:gd name="connsiteY1617" fmla="*/ 469366 h 6006442"/>
                <a:gd name="connsiteX1618" fmla="*/ 3678680 w 6356680"/>
                <a:gd name="connsiteY1618" fmla="*/ 507486 h 6006442"/>
                <a:gd name="connsiteX1619" fmla="*/ 3669152 w 6356680"/>
                <a:gd name="connsiteY1619" fmla="*/ 507486 h 6006442"/>
                <a:gd name="connsiteX1620" fmla="*/ 3664384 w 6356680"/>
                <a:gd name="connsiteY1620" fmla="*/ 497954 h 6006442"/>
                <a:gd name="connsiteX1621" fmla="*/ 3654856 w 6356680"/>
                <a:gd name="connsiteY1621" fmla="*/ 493190 h 6006442"/>
                <a:gd name="connsiteX1622" fmla="*/ 3645324 w 6356680"/>
                <a:gd name="connsiteY1622" fmla="*/ 497954 h 6006442"/>
                <a:gd name="connsiteX1623" fmla="*/ 3631028 w 6356680"/>
                <a:gd name="connsiteY1623" fmla="*/ 497954 h 6006442"/>
                <a:gd name="connsiteX1624" fmla="*/ 3597672 w 6356680"/>
                <a:gd name="connsiteY1624" fmla="*/ 517014 h 6006442"/>
                <a:gd name="connsiteX1625" fmla="*/ 3597672 w 6356680"/>
                <a:gd name="connsiteY1625" fmla="*/ 569430 h 6006442"/>
                <a:gd name="connsiteX1626" fmla="*/ 3607204 w 6356680"/>
                <a:gd name="connsiteY1626" fmla="*/ 598022 h 6006442"/>
                <a:gd name="connsiteX1627" fmla="*/ 3597672 w 6356680"/>
                <a:gd name="connsiteY1627" fmla="*/ 621850 h 6006442"/>
                <a:gd name="connsiteX1628" fmla="*/ 3588144 w 6356680"/>
                <a:gd name="connsiteY1628" fmla="*/ 655206 h 6006442"/>
                <a:gd name="connsiteX1629" fmla="*/ 3578612 w 6356680"/>
                <a:gd name="connsiteY1629" fmla="*/ 669498 h 6006442"/>
                <a:gd name="connsiteX1630" fmla="*/ 3569084 w 6356680"/>
                <a:gd name="connsiteY1630" fmla="*/ 679030 h 6006442"/>
                <a:gd name="connsiteX1631" fmla="*/ 3535728 w 6356680"/>
                <a:gd name="connsiteY1631" fmla="*/ 726682 h 6006442"/>
                <a:gd name="connsiteX1632" fmla="*/ 3526196 w 6356680"/>
                <a:gd name="connsiteY1632" fmla="*/ 736210 h 6006442"/>
                <a:gd name="connsiteX1633" fmla="*/ 3511900 w 6356680"/>
                <a:gd name="connsiteY1633" fmla="*/ 750506 h 6006442"/>
                <a:gd name="connsiteX1634" fmla="*/ 3516664 w 6356680"/>
                <a:gd name="connsiteY1634" fmla="*/ 769566 h 6006442"/>
                <a:gd name="connsiteX1635" fmla="*/ 3521432 w 6356680"/>
                <a:gd name="connsiteY1635" fmla="*/ 779098 h 6006442"/>
                <a:gd name="connsiteX1636" fmla="*/ 3535728 w 6356680"/>
                <a:gd name="connsiteY1636" fmla="*/ 793394 h 6006442"/>
                <a:gd name="connsiteX1637" fmla="*/ 3578612 w 6356680"/>
                <a:gd name="connsiteY1637" fmla="*/ 817218 h 6006442"/>
                <a:gd name="connsiteX1638" fmla="*/ 3602440 w 6356680"/>
                <a:gd name="connsiteY1638" fmla="*/ 836278 h 6006442"/>
                <a:gd name="connsiteX1639" fmla="*/ 3640560 w 6356680"/>
                <a:gd name="connsiteY1639" fmla="*/ 855338 h 6006442"/>
                <a:gd name="connsiteX1640" fmla="*/ 3645324 w 6356680"/>
                <a:gd name="connsiteY1640" fmla="*/ 869634 h 6006442"/>
                <a:gd name="connsiteX1641" fmla="*/ 3650088 w 6356680"/>
                <a:gd name="connsiteY1641" fmla="*/ 883930 h 6006442"/>
                <a:gd name="connsiteX1642" fmla="*/ 3678680 w 6356680"/>
                <a:gd name="connsiteY1642" fmla="*/ 898226 h 6006442"/>
                <a:gd name="connsiteX1643" fmla="*/ 3697740 w 6356680"/>
                <a:gd name="connsiteY1643" fmla="*/ 907758 h 6006442"/>
                <a:gd name="connsiteX1644" fmla="*/ 3702504 w 6356680"/>
                <a:gd name="connsiteY1644" fmla="*/ 902990 h 6006442"/>
                <a:gd name="connsiteX1645" fmla="*/ 3707272 w 6356680"/>
                <a:gd name="connsiteY1645" fmla="*/ 902990 h 6006442"/>
                <a:gd name="connsiteX1646" fmla="*/ 3712036 w 6356680"/>
                <a:gd name="connsiteY1646" fmla="*/ 902990 h 6006442"/>
                <a:gd name="connsiteX1647" fmla="*/ 3716800 w 6356680"/>
                <a:gd name="connsiteY1647" fmla="*/ 902990 h 6006442"/>
                <a:gd name="connsiteX1648" fmla="*/ 3716800 w 6356680"/>
                <a:gd name="connsiteY1648" fmla="*/ 912522 h 6006442"/>
                <a:gd name="connsiteX1649" fmla="*/ 3712036 w 6356680"/>
                <a:gd name="connsiteY1649" fmla="*/ 917286 h 6006442"/>
                <a:gd name="connsiteX1650" fmla="*/ 3716800 w 6356680"/>
                <a:gd name="connsiteY1650" fmla="*/ 926818 h 6006442"/>
                <a:gd name="connsiteX1651" fmla="*/ 3731096 w 6356680"/>
                <a:gd name="connsiteY1651" fmla="*/ 936346 h 6006442"/>
                <a:gd name="connsiteX1652" fmla="*/ 3750156 w 6356680"/>
                <a:gd name="connsiteY1652" fmla="*/ 936346 h 6006442"/>
                <a:gd name="connsiteX1653" fmla="*/ 3764452 w 6356680"/>
                <a:gd name="connsiteY1653" fmla="*/ 936346 h 6006442"/>
                <a:gd name="connsiteX1654" fmla="*/ 3778748 w 6356680"/>
                <a:gd name="connsiteY1654" fmla="*/ 945878 h 6006442"/>
                <a:gd name="connsiteX1655" fmla="*/ 3788280 w 6356680"/>
                <a:gd name="connsiteY1655" fmla="*/ 950642 h 6006442"/>
                <a:gd name="connsiteX1656" fmla="*/ 3807340 w 6356680"/>
                <a:gd name="connsiteY1656" fmla="*/ 964938 h 6006442"/>
                <a:gd name="connsiteX1657" fmla="*/ 3845460 w 6356680"/>
                <a:gd name="connsiteY1657" fmla="*/ 979234 h 6006442"/>
                <a:gd name="connsiteX1658" fmla="*/ 3874052 w 6356680"/>
                <a:gd name="connsiteY1658" fmla="*/ 993530 h 6006442"/>
                <a:gd name="connsiteX1659" fmla="*/ 3907408 w 6356680"/>
                <a:gd name="connsiteY1659" fmla="*/ 1031650 h 6006442"/>
                <a:gd name="connsiteX1660" fmla="*/ 3931232 w 6356680"/>
                <a:gd name="connsiteY1660" fmla="*/ 1055474 h 6006442"/>
                <a:gd name="connsiteX1661" fmla="*/ 3959824 w 6356680"/>
                <a:gd name="connsiteY1661" fmla="*/ 1069770 h 6006442"/>
                <a:gd name="connsiteX1662" fmla="*/ 3997944 w 6356680"/>
                <a:gd name="connsiteY1662" fmla="*/ 1084066 h 6006442"/>
                <a:gd name="connsiteX1663" fmla="*/ 4017004 w 6356680"/>
                <a:gd name="connsiteY1663" fmla="*/ 1079302 h 6006442"/>
                <a:gd name="connsiteX1664" fmla="*/ 4045596 w 6356680"/>
                <a:gd name="connsiteY1664" fmla="*/ 1093598 h 6006442"/>
                <a:gd name="connsiteX1665" fmla="*/ 4078952 w 6356680"/>
                <a:gd name="connsiteY1665" fmla="*/ 1098362 h 6006442"/>
                <a:gd name="connsiteX1666" fmla="*/ 4093248 w 6356680"/>
                <a:gd name="connsiteY1666" fmla="*/ 1117422 h 6006442"/>
                <a:gd name="connsiteX1667" fmla="*/ 4098012 w 6356680"/>
                <a:gd name="connsiteY1667" fmla="*/ 1131718 h 6006442"/>
                <a:gd name="connsiteX1668" fmla="*/ 4098012 w 6356680"/>
                <a:gd name="connsiteY1668" fmla="*/ 1146014 h 6006442"/>
                <a:gd name="connsiteX1669" fmla="*/ 4112308 w 6356680"/>
                <a:gd name="connsiteY1669" fmla="*/ 1169838 h 6006442"/>
                <a:gd name="connsiteX1670" fmla="*/ 4145664 w 6356680"/>
                <a:gd name="connsiteY1670" fmla="*/ 1179370 h 6006442"/>
                <a:gd name="connsiteX1671" fmla="*/ 4183784 w 6356680"/>
                <a:gd name="connsiteY1671" fmla="*/ 1203194 h 6006442"/>
                <a:gd name="connsiteX1672" fmla="*/ 4217140 w 6356680"/>
                <a:gd name="connsiteY1672" fmla="*/ 1217490 h 6006442"/>
                <a:gd name="connsiteX1673" fmla="*/ 4221904 w 6356680"/>
                <a:gd name="connsiteY1673" fmla="*/ 1222254 h 6006442"/>
                <a:gd name="connsiteX1674" fmla="*/ 4236200 w 6356680"/>
                <a:gd name="connsiteY1674" fmla="*/ 1231786 h 6006442"/>
                <a:gd name="connsiteX1675" fmla="*/ 4264792 w 6356680"/>
                <a:gd name="connsiteY1675" fmla="*/ 1231786 h 6006442"/>
                <a:gd name="connsiteX1676" fmla="*/ 4312444 w 6356680"/>
                <a:gd name="connsiteY1676" fmla="*/ 1217490 h 6006442"/>
                <a:gd name="connsiteX1677" fmla="*/ 4331504 w 6356680"/>
                <a:gd name="connsiteY1677" fmla="*/ 1207958 h 6006442"/>
                <a:gd name="connsiteX1678" fmla="*/ 4360092 w 6356680"/>
                <a:gd name="connsiteY1678" fmla="*/ 1184134 h 6006442"/>
                <a:gd name="connsiteX1679" fmla="*/ 4374388 w 6356680"/>
                <a:gd name="connsiteY1679" fmla="*/ 1146014 h 6006442"/>
                <a:gd name="connsiteX1680" fmla="*/ 4383920 w 6356680"/>
                <a:gd name="connsiteY1680" fmla="*/ 1117422 h 6006442"/>
                <a:gd name="connsiteX1681" fmla="*/ 4422040 w 6356680"/>
                <a:gd name="connsiteY1681" fmla="*/ 1060242 h 6006442"/>
                <a:gd name="connsiteX1682" fmla="*/ 4431572 w 6356680"/>
                <a:gd name="connsiteY1682" fmla="*/ 1031650 h 6006442"/>
                <a:gd name="connsiteX1683" fmla="*/ 4441100 w 6356680"/>
                <a:gd name="connsiteY1683" fmla="*/ 988762 h 6006442"/>
                <a:gd name="connsiteX1684" fmla="*/ 4450632 w 6356680"/>
                <a:gd name="connsiteY1684" fmla="*/ 964938 h 6006442"/>
                <a:gd name="connsiteX1685" fmla="*/ 4450632 w 6356680"/>
                <a:gd name="connsiteY1685" fmla="*/ 936346 h 6006442"/>
                <a:gd name="connsiteX1686" fmla="*/ 4460160 w 6356680"/>
                <a:gd name="connsiteY1686" fmla="*/ 888694 h 6006442"/>
                <a:gd name="connsiteX1687" fmla="*/ 4479220 w 6356680"/>
                <a:gd name="connsiteY1687" fmla="*/ 821982 h 6006442"/>
                <a:gd name="connsiteX1688" fmla="*/ 4483988 w 6356680"/>
                <a:gd name="connsiteY1688" fmla="*/ 802922 h 6006442"/>
                <a:gd name="connsiteX1689" fmla="*/ 4483988 w 6356680"/>
                <a:gd name="connsiteY1689" fmla="*/ 769566 h 6006442"/>
                <a:gd name="connsiteX1690" fmla="*/ 4469692 w 6356680"/>
                <a:gd name="connsiteY1690" fmla="*/ 707622 h 6006442"/>
                <a:gd name="connsiteX1691" fmla="*/ 4474456 w 6356680"/>
                <a:gd name="connsiteY1691" fmla="*/ 683794 h 6006442"/>
                <a:gd name="connsiteX1692" fmla="*/ 4479220 w 6356680"/>
                <a:gd name="connsiteY1692" fmla="*/ 655206 h 6006442"/>
                <a:gd name="connsiteX1693" fmla="*/ 4469692 w 6356680"/>
                <a:gd name="connsiteY1693" fmla="*/ 631378 h 6006442"/>
                <a:gd name="connsiteX1694" fmla="*/ 4464928 w 6356680"/>
                <a:gd name="connsiteY1694" fmla="*/ 617082 h 6006442"/>
                <a:gd name="connsiteX1695" fmla="*/ 4460160 w 6356680"/>
                <a:gd name="connsiteY1695" fmla="*/ 598022 h 6006442"/>
                <a:gd name="connsiteX1696" fmla="*/ 4469692 w 6356680"/>
                <a:gd name="connsiteY1696" fmla="*/ 559902 h 6006442"/>
                <a:gd name="connsiteX1697" fmla="*/ 4479220 w 6356680"/>
                <a:gd name="connsiteY1697" fmla="*/ 536078 h 6006442"/>
                <a:gd name="connsiteX1698" fmla="*/ 4488752 w 6356680"/>
                <a:gd name="connsiteY1698" fmla="*/ 512250 h 6006442"/>
                <a:gd name="connsiteX1699" fmla="*/ 4483988 w 6356680"/>
                <a:gd name="connsiteY1699" fmla="*/ 462218 h 6006442"/>
                <a:gd name="connsiteX1700" fmla="*/ 4503048 w 6356680"/>
                <a:gd name="connsiteY1700" fmla="*/ 443158 h 6006442"/>
                <a:gd name="connsiteX1701" fmla="*/ 4507812 w 6356680"/>
                <a:gd name="connsiteY1701" fmla="*/ 438390 h 6006442"/>
                <a:gd name="connsiteX1702" fmla="*/ 4526872 w 6356680"/>
                <a:gd name="connsiteY1702" fmla="*/ 438390 h 6006442"/>
                <a:gd name="connsiteX1703" fmla="*/ 4531640 w 6356680"/>
                <a:gd name="connsiteY1703" fmla="*/ 443158 h 6006442"/>
                <a:gd name="connsiteX1704" fmla="*/ 4531640 w 6356680"/>
                <a:gd name="connsiteY1704" fmla="*/ 428862 h 6006442"/>
                <a:gd name="connsiteX1705" fmla="*/ 4526872 w 6356680"/>
                <a:gd name="connsiteY1705" fmla="*/ 419330 h 6006442"/>
                <a:gd name="connsiteX1706" fmla="*/ 4526872 w 6356680"/>
                <a:gd name="connsiteY1706" fmla="*/ 409802 h 6006442"/>
                <a:gd name="connsiteX1707" fmla="*/ 4522108 w 6356680"/>
                <a:gd name="connsiteY1707" fmla="*/ 405034 h 6006442"/>
                <a:gd name="connsiteX1708" fmla="*/ 4512576 w 6356680"/>
                <a:gd name="connsiteY1708" fmla="*/ 405034 h 6006442"/>
                <a:gd name="connsiteX1709" fmla="*/ 4503048 w 6356680"/>
                <a:gd name="connsiteY1709" fmla="*/ 395506 h 6006442"/>
                <a:gd name="connsiteX1710" fmla="*/ 4493516 w 6356680"/>
                <a:gd name="connsiteY1710" fmla="*/ 390738 h 6006442"/>
                <a:gd name="connsiteX1711" fmla="*/ 4493516 w 6356680"/>
                <a:gd name="connsiteY1711" fmla="*/ 366914 h 6006442"/>
                <a:gd name="connsiteX1712" fmla="*/ 4512576 w 6356680"/>
                <a:gd name="connsiteY1712" fmla="*/ 324026 h 6006442"/>
                <a:gd name="connsiteX1713" fmla="*/ 4522108 w 6356680"/>
                <a:gd name="connsiteY1713" fmla="*/ 309734 h 6006442"/>
                <a:gd name="connsiteX1714" fmla="*/ 4531640 w 6356680"/>
                <a:gd name="connsiteY1714" fmla="*/ 314498 h 6006442"/>
                <a:gd name="connsiteX1715" fmla="*/ 4536404 w 6356680"/>
                <a:gd name="connsiteY1715" fmla="*/ 319262 h 6006442"/>
                <a:gd name="connsiteX1716" fmla="*/ 4541168 w 6356680"/>
                <a:gd name="connsiteY1716" fmla="*/ 309734 h 6006442"/>
                <a:gd name="connsiteX1717" fmla="*/ 4536404 w 6356680"/>
                <a:gd name="connsiteY1717" fmla="*/ 295438 h 6006442"/>
                <a:gd name="connsiteX1718" fmla="*/ 4550700 w 6356680"/>
                <a:gd name="connsiteY1718" fmla="*/ 252550 h 6006442"/>
                <a:gd name="connsiteX1719" fmla="*/ 4564992 w 6356680"/>
                <a:gd name="connsiteY1719" fmla="*/ 195370 h 6006442"/>
                <a:gd name="connsiteX1720" fmla="*/ 4569760 w 6356680"/>
                <a:gd name="connsiteY1720" fmla="*/ 142954 h 6006442"/>
                <a:gd name="connsiteX1721" fmla="*/ 4593584 w 6356680"/>
                <a:gd name="connsiteY1721" fmla="*/ 133422 h 6006442"/>
                <a:gd name="connsiteX1722" fmla="*/ 4607880 w 6356680"/>
                <a:gd name="connsiteY1722" fmla="*/ 123894 h 6006442"/>
                <a:gd name="connsiteX1723" fmla="*/ 4574524 w 6356680"/>
                <a:gd name="connsiteY1723" fmla="*/ 85774 h 6006442"/>
                <a:gd name="connsiteX1724" fmla="*/ 4588820 w 6356680"/>
                <a:gd name="connsiteY1724" fmla="*/ 104834 h 6006442"/>
                <a:gd name="connsiteX1725" fmla="*/ 4574524 w 6356680"/>
                <a:gd name="connsiteY1725" fmla="*/ 114362 h 6006442"/>
                <a:gd name="connsiteX1726" fmla="*/ 4564992 w 6356680"/>
                <a:gd name="connsiteY1726" fmla="*/ 109598 h 6006442"/>
                <a:gd name="connsiteX1727" fmla="*/ 4564992 w 6356680"/>
                <a:gd name="connsiteY1727" fmla="*/ 100066 h 6006442"/>
                <a:gd name="connsiteX1728" fmla="*/ 4564992 w 6356680"/>
                <a:gd name="connsiteY1728" fmla="*/ 95302 h 6006442"/>
                <a:gd name="connsiteX1729" fmla="*/ 4588820 w 6356680"/>
                <a:gd name="connsiteY1729" fmla="*/ 14296 h 6006442"/>
                <a:gd name="connsiteX1730" fmla="*/ 4598348 w 6356680"/>
                <a:gd name="connsiteY1730" fmla="*/ 23826 h 6006442"/>
                <a:gd name="connsiteX1731" fmla="*/ 4588820 w 6356680"/>
                <a:gd name="connsiteY1731" fmla="*/ 33358 h 6006442"/>
                <a:gd name="connsiteX1732" fmla="*/ 4579288 w 6356680"/>
                <a:gd name="connsiteY1732" fmla="*/ 33358 h 6006442"/>
                <a:gd name="connsiteX1733" fmla="*/ 4574524 w 6356680"/>
                <a:gd name="connsiteY1733" fmla="*/ 23826 h 6006442"/>
                <a:gd name="connsiteX1734" fmla="*/ 4579288 w 6356680"/>
                <a:gd name="connsiteY1734" fmla="*/ 19062 h 6006442"/>
                <a:gd name="connsiteX1735" fmla="*/ 4564992 w 6356680"/>
                <a:gd name="connsiteY1735" fmla="*/ 0 h 6006442"/>
                <a:gd name="connsiteX1736" fmla="*/ 4574524 w 6356680"/>
                <a:gd name="connsiteY1736" fmla="*/ 9530 h 6006442"/>
                <a:gd name="connsiteX1737" fmla="*/ 4569760 w 6356680"/>
                <a:gd name="connsiteY1737" fmla="*/ 19060 h 6006442"/>
                <a:gd name="connsiteX1738" fmla="*/ 4564992 w 6356680"/>
                <a:gd name="connsiteY1738" fmla="*/ 23826 h 6006442"/>
                <a:gd name="connsiteX1739" fmla="*/ 4560228 w 6356680"/>
                <a:gd name="connsiteY1739" fmla="*/ 14296 h 6006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</a:cxnLst>
              <a:rect l="l" t="t" r="r" b="b"/>
              <a:pathLst>
                <a:path w="6356680" h="6006442">
                  <a:moveTo>
                    <a:pt x="5370300" y="5934966"/>
                  </a:moveTo>
                  <a:lnTo>
                    <a:pt x="5375064" y="5934966"/>
                  </a:lnTo>
                  <a:lnTo>
                    <a:pt x="5379832" y="5949262"/>
                  </a:lnTo>
                  <a:lnTo>
                    <a:pt x="5379832" y="5958794"/>
                  </a:lnTo>
                  <a:lnTo>
                    <a:pt x="5375064" y="5982618"/>
                  </a:lnTo>
                  <a:lnTo>
                    <a:pt x="5360768" y="5977854"/>
                  </a:lnTo>
                  <a:lnTo>
                    <a:pt x="5351240" y="5982618"/>
                  </a:lnTo>
                  <a:lnTo>
                    <a:pt x="5341708" y="5968322"/>
                  </a:lnTo>
                  <a:lnTo>
                    <a:pt x="5341708" y="5963558"/>
                  </a:lnTo>
                  <a:lnTo>
                    <a:pt x="5351240" y="5968322"/>
                  </a:lnTo>
                  <a:lnTo>
                    <a:pt x="5356004" y="5963558"/>
                  </a:lnTo>
                  <a:lnTo>
                    <a:pt x="5356004" y="5954026"/>
                  </a:lnTo>
                  <a:lnTo>
                    <a:pt x="5360768" y="5954026"/>
                  </a:lnTo>
                  <a:lnTo>
                    <a:pt x="5360768" y="5944498"/>
                  </a:lnTo>
                  <a:close/>
                  <a:moveTo>
                    <a:pt x="5379832" y="5892078"/>
                  </a:moveTo>
                  <a:lnTo>
                    <a:pt x="5389360" y="5901610"/>
                  </a:lnTo>
                  <a:lnTo>
                    <a:pt x="5394128" y="5925438"/>
                  </a:lnTo>
                  <a:lnTo>
                    <a:pt x="5384596" y="5925438"/>
                  </a:lnTo>
                  <a:lnTo>
                    <a:pt x="5379832" y="5925438"/>
                  </a:lnTo>
                  <a:lnTo>
                    <a:pt x="5379832" y="5915906"/>
                  </a:lnTo>
                  <a:lnTo>
                    <a:pt x="5370300" y="5911142"/>
                  </a:lnTo>
                  <a:lnTo>
                    <a:pt x="5375064" y="5906374"/>
                  </a:lnTo>
                  <a:lnTo>
                    <a:pt x="5375064" y="5901610"/>
                  </a:lnTo>
                  <a:close/>
                  <a:moveTo>
                    <a:pt x="5494192" y="5787246"/>
                  </a:moveTo>
                  <a:lnTo>
                    <a:pt x="5503724" y="5792014"/>
                  </a:lnTo>
                  <a:lnTo>
                    <a:pt x="5508488" y="5801542"/>
                  </a:lnTo>
                  <a:lnTo>
                    <a:pt x="5498960" y="5806310"/>
                  </a:lnTo>
                  <a:lnTo>
                    <a:pt x="5498960" y="5815838"/>
                  </a:lnTo>
                  <a:lnTo>
                    <a:pt x="5489428" y="5815838"/>
                  </a:lnTo>
                  <a:lnTo>
                    <a:pt x="5484664" y="5815838"/>
                  </a:lnTo>
                  <a:lnTo>
                    <a:pt x="5484664" y="5801542"/>
                  </a:lnTo>
                  <a:lnTo>
                    <a:pt x="5484664" y="5796778"/>
                  </a:lnTo>
                  <a:close/>
                  <a:moveTo>
                    <a:pt x="4970028" y="5386978"/>
                  </a:moveTo>
                  <a:lnTo>
                    <a:pt x="4984324" y="5396506"/>
                  </a:lnTo>
                  <a:lnTo>
                    <a:pt x="5017680" y="5410802"/>
                  </a:lnTo>
                  <a:lnTo>
                    <a:pt x="5036740" y="5410802"/>
                  </a:lnTo>
                  <a:lnTo>
                    <a:pt x="5046272" y="5406038"/>
                  </a:lnTo>
                  <a:lnTo>
                    <a:pt x="5055800" y="5406038"/>
                  </a:lnTo>
                  <a:lnTo>
                    <a:pt x="5065332" y="5420334"/>
                  </a:lnTo>
                  <a:lnTo>
                    <a:pt x="5079628" y="5425098"/>
                  </a:lnTo>
                  <a:lnTo>
                    <a:pt x="5089156" y="5425098"/>
                  </a:lnTo>
                  <a:lnTo>
                    <a:pt x="5093924" y="5425098"/>
                  </a:lnTo>
                  <a:lnTo>
                    <a:pt x="5103452" y="5434630"/>
                  </a:lnTo>
                  <a:lnTo>
                    <a:pt x="5117748" y="5439394"/>
                  </a:lnTo>
                  <a:lnTo>
                    <a:pt x="5127280" y="5448922"/>
                  </a:lnTo>
                  <a:lnTo>
                    <a:pt x="5132044" y="5453690"/>
                  </a:lnTo>
                  <a:lnTo>
                    <a:pt x="5141572" y="5458454"/>
                  </a:lnTo>
                  <a:lnTo>
                    <a:pt x="5184460" y="5477514"/>
                  </a:lnTo>
                  <a:lnTo>
                    <a:pt x="5217816" y="5487046"/>
                  </a:lnTo>
                  <a:lnTo>
                    <a:pt x="5260700" y="5482278"/>
                  </a:lnTo>
                  <a:lnTo>
                    <a:pt x="5270232" y="5477514"/>
                  </a:lnTo>
                  <a:lnTo>
                    <a:pt x="5279764" y="5472750"/>
                  </a:lnTo>
                  <a:lnTo>
                    <a:pt x="5289292" y="5477514"/>
                  </a:lnTo>
                  <a:lnTo>
                    <a:pt x="5298824" y="5487046"/>
                  </a:lnTo>
                  <a:lnTo>
                    <a:pt x="5298824" y="5477514"/>
                  </a:lnTo>
                  <a:lnTo>
                    <a:pt x="5303588" y="5467986"/>
                  </a:lnTo>
                  <a:lnTo>
                    <a:pt x="5313120" y="5458454"/>
                  </a:lnTo>
                  <a:lnTo>
                    <a:pt x="5322648" y="5453690"/>
                  </a:lnTo>
                  <a:lnTo>
                    <a:pt x="5341708" y="5453690"/>
                  </a:lnTo>
                  <a:lnTo>
                    <a:pt x="5360768" y="5448922"/>
                  </a:lnTo>
                  <a:lnTo>
                    <a:pt x="5365536" y="5444158"/>
                  </a:lnTo>
                  <a:lnTo>
                    <a:pt x="5375064" y="5444158"/>
                  </a:lnTo>
                  <a:lnTo>
                    <a:pt x="5384596" y="5453690"/>
                  </a:lnTo>
                  <a:lnTo>
                    <a:pt x="5394124" y="5453690"/>
                  </a:lnTo>
                  <a:lnTo>
                    <a:pt x="5403656" y="5448922"/>
                  </a:lnTo>
                  <a:lnTo>
                    <a:pt x="5413184" y="5429862"/>
                  </a:lnTo>
                  <a:lnTo>
                    <a:pt x="5422716" y="5425098"/>
                  </a:lnTo>
                  <a:lnTo>
                    <a:pt x="5451308" y="5429862"/>
                  </a:lnTo>
                  <a:lnTo>
                    <a:pt x="5460836" y="5429862"/>
                  </a:lnTo>
                  <a:lnTo>
                    <a:pt x="5475132" y="5410802"/>
                  </a:lnTo>
                  <a:lnTo>
                    <a:pt x="5484664" y="5410802"/>
                  </a:lnTo>
                  <a:lnTo>
                    <a:pt x="5513252" y="5425098"/>
                  </a:lnTo>
                  <a:lnTo>
                    <a:pt x="5527548" y="5444158"/>
                  </a:lnTo>
                  <a:lnTo>
                    <a:pt x="5527548" y="5477514"/>
                  </a:lnTo>
                  <a:lnTo>
                    <a:pt x="5527548" y="5491810"/>
                  </a:lnTo>
                  <a:lnTo>
                    <a:pt x="5527548" y="5501338"/>
                  </a:lnTo>
                  <a:lnTo>
                    <a:pt x="5527548" y="5525166"/>
                  </a:lnTo>
                  <a:lnTo>
                    <a:pt x="5527548" y="5548990"/>
                  </a:lnTo>
                  <a:lnTo>
                    <a:pt x="5527548" y="5568050"/>
                  </a:lnTo>
                  <a:lnTo>
                    <a:pt x="5527548" y="5587114"/>
                  </a:lnTo>
                  <a:lnTo>
                    <a:pt x="5527548" y="5625234"/>
                  </a:lnTo>
                  <a:lnTo>
                    <a:pt x="5532312" y="5649058"/>
                  </a:lnTo>
                  <a:lnTo>
                    <a:pt x="5527548" y="5663354"/>
                  </a:lnTo>
                  <a:lnTo>
                    <a:pt x="5527548" y="5672886"/>
                  </a:lnTo>
                  <a:lnTo>
                    <a:pt x="5532312" y="5677650"/>
                  </a:lnTo>
                  <a:lnTo>
                    <a:pt x="5532312" y="5687178"/>
                  </a:lnTo>
                  <a:lnTo>
                    <a:pt x="5532312" y="5696710"/>
                  </a:lnTo>
                  <a:lnTo>
                    <a:pt x="5532312" y="5706242"/>
                  </a:lnTo>
                  <a:lnTo>
                    <a:pt x="5532312" y="5720534"/>
                  </a:lnTo>
                  <a:lnTo>
                    <a:pt x="5527548" y="5715770"/>
                  </a:lnTo>
                  <a:lnTo>
                    <a:pt x="5522784" y="5711006"/>
                  </a:lnTo>
                  <a:lnTo>
                    <a:pt x="5527548" y="5701474"/>
                  </a:lnTo>
                  <a:lnTo>
                    <a:pt x="5522784" y="5691946"/>
                  </a:lnTo>
                  <a:lnTo>
                    <a:pt x="5522784" y="5682414"/>
                  </a:lnTo>
                  <a:lnTo>
                    <a:pt x="5508488" y="5677650"/>
                  </a:lnTo>
                  <a:lnTo>
                    <a:pt x="5513252" y="5672886"/>
                  </a:lnTo>
                  <a:lnTo>
                    <a:pt x="5518020" y="5668118"/>
                  </a:lnTo>
                  <a:lnTo>
                    <a:pt x="5513252" y="5658590"/>
                  </a:lnTo>
                  <a:lnTo>
                    <a:pt x="5508488" y="5663354"/>
                  </a:lnTo>
                  <a:lnTo>
                    <a:pt x="5503724" y="5677650"/>
                  </a:lnTo>
                  <a:lnTo>
                    <a:pt x="5503724" y="5682414"/>
                  </a:lnTo>
                  <a:lnTo>
                    <a:pt x="5503724" y="5687178"/>
                  </a:lnTo>
                  <a:lnTo>
                    <a:pt x="5489428" y="5701474"/>
                  </a:lnTo>
                  <a:lnTo>
                    <a:pt x="5484664" y="5715770"/>
                  </a:lnTo>
                  <a:lnTo>
                    <a:pt x="5479896" y="5734830"/>
                  </a:lnTo>
                  <a:lnTo>
                    <a:pt x="5484664" y="5753890"/>
                  </a:lnTo>
                  <a:lnTo>
                    <a:pt x="5475132" y="5768186"/>
                  </a:lnTo>
                  <a:lnTo>
                    <a:pt x="5470368" y="5782482"/>
                  </a:lnTo>
                  <a:lnTo>
                    <a:pt x="5465604" y="5801542"/>
                  </a:lnTo>
                  <a:lnTo>
                    <a:pt x="5465604" y="5834898"/>
                  </a:lnTo>
                  <a:lnTo>
                    <a:pt x="5475132" y="5868254"/>
                  </a:lnTo>
                  <a:lnTo>
                    <a:pt x="5479896" y="5906374"/>
                  </a:lnTo>
                  <a:lnTo>
                    <a:pt x="5470368" y="5915906"/>
                  </a:lnTo>
                  <a:lnTo>
                    <a:pt x="5456072" y="5915906"/>
                  </a:lnTo>
                  <a:lnTo>
                    <a:pt x="5446540" y="5920670"/>
                  </a:lnTo>
                  <a:lnTo>
                    <a:pt x="5432248" y="5901610"/>
                  </a:lnTo>
                  <a:lnTo>
                    <a:pt x="5427480" y="5877786"/>
                  </a:lnTo>
                  <a:lnTo>
                    <a:pt x="5432248" y="5868254"/>
                  </a:lnTo>
                  <a:lnTo>
                    <a:pt x="5446540" y="5877786"/>
                  </a:lnTo>
                  <a:lnTo>
                    <a:pt x="5451308" y="5868254"/>
                  </a:lnTo>
                  <a:lnTo>
                    <a:pt x="5451308" y="5863490"/>
                  </a:lnTo>
                  <a:lnTo>
                    <a:pt x="5451308" y="5858726"/>
                  </a:lnTo>
                  <a:lnTo>
                    <a:pt x="5432248" y="5849194"/>
                  </a:lnTo>
                  <a:lnTo>
                    <a:pt x="5413184" y="5844430"/>
                  </a:lnTo>
                  <a:lnTo>
                    <a:pt x="5408420" y="5849194"/>
                  </a:lnTo>
                  <a:lnTo>
                    <a:pt x="5408420" y="5868254"/>
                  </a:lnTo>
                  <a:lnTo>
                    <a:pt x="5408420" y="5873018"/>
                  </a:lnTo>
                  <a:lnTo>
                    <a:pt x="5394124" y="5882550"/>
                  </a:lnTo>
                  <a:lnTo>
                    <a:pt x="5389360" y="5853958"/>
                  </a:lnTo>
                  <a:lnTo>
                    <a:pt x="5370300" y="5830134"/>
                  </a:lnTo>
                  <a:lnTo>
                    <a:pt x="5370300" y="5839662"/>
                  </a:lnTo>
                  <a:lnTo>
                    <a:pt x="5379832" y="5858726"/>
                  </a:lnTo>
                  <a:lnTo>
                    <a:pt x="5379832" y="5868254"/>
                  </a:lnTo>
                  <a:lnTo>
                    <a:pt x="5375064" y="5877786"/>
                  </a:lnTo>
                  <a:lnTo>
                    <a:pt x="5370300" y="5882550"/>
                  </a:lnTo>
                  <a:lnTo>
                    <a:pt x="5365536" y="5892082"/>
                  </a:lnTo>
                  <a:lnTo>
                    <a:pt x="5365536" y="5901610"/>
                  </a:lnTo>
                  <a:lnTo>
                    <a:pt x="5365536" y="5920670"/>
                  </a:lnTo>
                  <a:lnTo>
                    <a:pt x="5351240" y="5930202"/>
                  </a:lnTo>
                  <a:lnTo>
                    <a:pt x="5322648" y="5906374"/>
                  </a:lnTo>
                  <a:lnTo>
                    <a:pt x="5322648" y="5915906"/>
                  </a:lnTo>
                  <a:lnTo>
                    <a:pt x="5322648" y="5920670"/>
                  </a:lnTo>
                  <a:lnTo>
                    <a:pt x="5336944" y="5934966"/>
                  </a:lnTo>
                  <a:lnTo>
                    <a:pt x="5332180" y="5944498"/>
                  </a:lnTo>
                  <a:lnTo>
                    <a:pt x="5327412" y="5954026"/>
                  </a:lnTo>
                  <a:lnTo>
                    <a:pt x="5317884" y="5982618"/>
                  </a:lnTo>
                  <a:lnTo>
                    <a:pt x="5303588" y="6006442"/>
                  </a:lnTo>
                  <a:lnTo>
                    <a:pt x="5298824" y="6006442"/>
                  </a:lnTo>
                  <a:lnTo>
                    <a:pt x="5279764" y="6001678"/>
                  </a:lnTo>
                  <a:lnTo>
                    <a:pt x="5255936" y="5982618"/>
                  </a:lnTo>
                  <a:lnTo>
                    <a:pt x="5232112" y="5987382"/>
                  </a:lnTo>
                  <a:lnTo>
                    <a:pt x="5198756" y="5982618"/>
                  </a:lnTo>
                  <a:lnTo>
                    <a:pt x="5174928" y="5992146"/>
                  </a:lnTo>
                  <a:lnTo>
                    <a:pt x="5170164" y="5968322"/>
                  </a:lnTo>
                  <a:lnTo>
                    <a:pt x="5165400" y="5963558"/>
                  </a:lnTo>
                  <a:lnTo>
                    <a:pt x="5170164" y="5954026"/>
                  </a:lnTo>
                  <a:lnTo>
                    <a:pt x="5184460" y="5949262"/>
                  </a:lnTo>
                  <a:lnTo>
                    <a:pt x="5203520" y="5949262"/>
                  </a:lnTo>
                  <a:lnTo>
                    <a:pt x="5198756" y="5944498"/>
                  </a:lnTo>
                  <a:lnTo>
                    <a:pt x="5193992" y="5939730"/>
                  </a:lnTo>
                  <a:lnTo>
                    <a:pt x="5189224" y="5939730"/>
                  </a:lnTo>
                  <a:lnTo>
                    <a:pt x="5165400" y="5934966"/>
                  </a:lnTo>
                  <a:lnTo>
                    <a:pt x="5151104" y="5939730"/>
                  </a:lnTo>
                  <a:lnTo>
                    <a:pt x="5136808" y="5925434"/>
                  </a:lnTo>
                  <a:lnTo>
                    <a:pt x="5117748" y="5892082"/>
                  </a:lnTo>
                  <a:lnTo>
                    <a:pt x="5108216" y="5873018"/>
                  </a:lnTo>
                  <a:lnTo>
                    <a:pt x="5103452" y="5868254"/>
                  </a:lnTo>
                  <a:lnTo>
                    <a:pt x="5093924" y="5863490"/>
                  </a:lnTo>
                  <a:lnTo>
                    <a:pt x="5089156" y="5858726"/>
                  </a:lnTo>
                  <a:lnTo>
                    <a:pt x="5055800" y="5777718"/>
                  </a:lnTo>
                  <a:lnTo>
                    <a:pt x="5051036" y="5758658"/>
                  </a:lnTo>
                  <a:lnTo>
                    <a:pt x="5041508" y="5711006"/>
                  </a:lnTo>
                  <a:lnTo>
                    <a:pt x="5070096" y="5734830"/>
                  </a:lnTo>
                  <a:lnTo>
                    <a:pt x="5079628" y="5749126"/>
                  </a:lnTo>
                  <a:lnTo>
                    <a:pt x="5084392" y="5768186"/>
                  </a:lnTo>
                  <a:lnTo>
                    <a:pt x="5093924" y="5744362"/>
                  </a:lnTo>
                  <a:lnTo>
                    <a:pt x="5093924" y="5739598"/>
                  </a:lnTo>
                  <a:lnTo>
                    <a:pt x="5070096" y="5711006"/>
                  </a:lnTo>
                  <a:lnTo>
                    <a:pt x="5065332" y="5701474"/>
                  </a:lnTo>
                  <a:lnTo>
                    <a:pt x="5065332" y="5691946"/>
                  </a:lnTo>
                  <a:lnTo>
                    <a:pt x="5060568" y="5701474"/>
                  </a:lnTo>
                  <a:lnTo>
                    <a:pt x="5051036" y="5706242"/>
                  </a:lnTo>
                  <a:lnTo>
                    <a:pt x="5051036" y="5687178"/>
                  </a:lnTo>
                  <a:lnTo>
                    <a:pt x="5051036" y="5668118"/>
                  </a:lnTo>
                  <a:lnTo>
                    <a:pt x="5022444" y="5625234"/>
                  </a:lnTo>
                  <a:lnTo>
                    <a:pt x="4998620" y="5587114"/>
                  </a:lnTo>
                  <a:lnTo>
                    <a:pt x="4979560" y="5539462"/>
                  </a:lnTo>
                  <a:lnTo>
                    <a:pt x="4974796" y="5534694"/>
                  </a:lnTo>
                  <a:lnTo>
                    <a:pt x="4974796" y="5525166"/>
                  </a:lnTo>
                  <a:lnTo>
                    <a:pt x="4965264" y="5491810"/>
                  </a:lnTo>
                  <a:lnTo>
                    <a:pt x="4960500" y="5472750"/>
                  </a:lnTo>
                  <a:lnTo>
                    <a:pt x="4955736" y="5448922"/>
                  </a:lnTo>
                  <a:lnTo>
                    <a:pt x="4965264" y="5410802"/>
                  </a:lnTo>
                  <a:close/>
                  <a:moveTo>
                    <a:pt x="5498960" y="5353622"/>
                  </a:moveTo>
                  <a:lnTo>
                    <a:pt x="5513252" y="5353622"/>
                  </a:lnTo>
                  <a:lnTo>
                    <a:pt x="5518020" y="5353622"/>
                  </a:lnTo>
                  <a:lnTo>
                    <a:pt x="5508488" y="5372682"/>
                  </a:lnTo>
                  <a:lnTo>
                    <a:pt x="5498960" y="5358386"/>
                  </a:lnTo>
                  <a:close/>
                  <a:moveTo>
                    <a:pt x="4979560" y="5339326"/>
                  </a:moveTo>
                  <a:lnTo>
                    <a:pt x="4979560" y="5353622"/>
                  </a:lnTo>
                  <a:lnTo>
                    <a:pt x="4974792" y="5367918"/>
                  </a:lnTo>
                  <a:lnTo>
                    <a:pt x="4965264" y="5348858"/>
                  </a:lnTo>
                  <a:lnTo>
                    <a:pt x="4974792" y="5344090"/>
                  </a:lnTo>
                  <a:close/>
                  <a:moveTo>
                    <a:pt x="5532316" y="5310734"/>
                  </a:moveTo>
                  <a:lnTo>
                    <a:pt x="5546608" y="5325030"/>
                  </a:lnTo>
                  <a:lnTo>
                    <a:pt x="5556140" y="5339326"/>
                  </a:lnTo>
                  <a:lnTo>
                    <a:pt x="5546608" y="5348854"/>
                  </a:lnTo>
                  <a:lnTo>
                    <a:pt x="5537080" y="5348854"/>
                  </a:lnTo>
                  <a:lnTo>
                    <a:pt x="5532316" y="5339326"/>
                  </a:lnTo>
                  <a:lnTo>
                    <a:pt x="5513252" y="5344090"/>
                  </a:lnTo>
                  <a:lnTo>
                    <a:pt x="5498960" y="5339326"/>
                  </a:lnTo>
                  <a:lnTo>
                    <a:pt x="5484664" y="5329794"/>
                  </a:lnTo>
                  <a:lnTo>
                    <a:pt x="5484664" y="5325030"/>
                  </a:lnTo>
                  <a:lnTo>
                    <a:pt x="5489428" y="5320266"/>
                  </a:lnTo>
                  <a:lnTo>
                    <a:pt x="5513252" y="5320266"/>
                  </a:lnTo>
                  <a:close/>
                  <a:moveTo>
                    <a:pt x="5470368" y="5191606"/>
                  </a:moveTo>
                  <a:lnTo>
                    <a:pt x="5479896" y="5201138"/>
                  </a:lnTo>
                  <a:lnTo>
                    <a:pt x="5508488" y="5234494"/>
                  </a:lnTo>
                  <a:lnTo>
                    <a:pt x="5522784" y="5244022"/>
                  </a:lnTo>
                  <a:lnTo>
                    <a:pt x="5527548" y="5244022"/>
                  </a:lnTo>
                  <a:lnTo>
                    <a:pt x="5527548" y="5263082"/>
                  </a:lnTo>
                  <a:lnTo>
                    <a:pt x="5522784" y="5267850"/>
                  </a:lnTo>
                  <a:lnTo>
                    <a:pt x="5532312" y="5277378"/>
                  </a:lnTo>
                  <a:lnTo>
                    <a:pt x="5532312" y="5282146"/>
                  </a:lnTo>
                  <a:lnTo>
                    <a:pt x="5527548" y="5282146"/>
                  </a:lnTo>
                  <a:lnTo>
                    <a:pt x="5513252" y="5296438"/>
                  </a:lnTo>
                  <a:lnTo>
                    <a:pt x="5498960" y="5301206"/>
                  </a:lnTo>
                  <a:lnTo>
                    <a:pt x="5494192" y="5296438"/>
                  </a:lnTo>
                  <a:lnTo>
                    <a:pt x="5489428" y="5291674"/>
                  </a:lnTo>
                  <a:lnTo>
                    <a:pt x="5484664" y="5282146"/>
                  </a:lnTo>
                  <a:lnTo>
                    <a:pt x="5465604" y="5253554"/>
                  </a:lnTo>
                  <a:lnTo>
                    <a:pt x="5465604" y="5244022"/>
                  </a:lnTo>
                  <a:lnTo>
                    <a:pt x="5460836" y="5229730"/>
                  </a:lnTo>
                  <a:lnTo>
                    <a:pt x="5451308" y="5229730"/>
                  </a:lnTo>
                  <a:lnTo>
                    <a:pt x="5446544" y="5220198"/>
                  </a:lnTo>
                  <a:lnTo>
                    <a:pt x="5456072" y="5215434"/>
                  </a:lnTo>
                  <a:close/>
                  <a:moveTo>
                    <a:pt x="4846136" y="5163014"/>
                  </a:moveTo>
                  <a:lnTo>
                    <a:pt x="4855664" y="5163014"/>
                  </a:lnTo>
                  <a:lnTo>
                    <a:pt x="4869960" y="5177310"/>
                  </a:lnTo>
                  <a:lnTo>
                    <a:pt x="4874724" y="5205902"/>
                  </a:lnTo>
                  <a:lnTo>
                    <a:pt x="4874724" y="5224962"/>
                  </a:lnTo>
                  <a:lnTo>
                    <a:pt x="4879492" y="5239258"/>
                  </a:lnTo>
                  <a:lnTo>
                    <a:pt x="4874724" y="5253554"/>
                  </a:lnTo>
                  <a:lnTo>
                    <a:pt x="4860432" y="5263082"/>
                  </a:lnTo>
                  <a:lnTo>
                    <a:pt x="4846136" y="5272614"/>
                  </a:lnTo>
                  <a:lnTo>
                    <a:pt x="4841372" y="5272614"/>
                  </a:lnTo>
                  <a:lnTo>
                    <a:pt x="4836604" y="5263082"/>
                  </a:lnTo>
                  <a:lnTo>
                    <a:pt x="4841372" y="5244022"/>
                  </a:lnTo>
                  <a:lnTo>
                    <a:pt x="4831840" y="5229726"/>
                  </a:lnTo>
                  <a:lnTo>
                    <a:pt x="4836604" y="5215434"/>
                  </a:lnTo>
                  <a:lnTo>
                    <a:pt x="4836604" y="5196370"/>
                  </a:lnTo>
                  <a:lnTo>
                    <a:pt x="4836604" y="5186842"/>
                  </a:lnTo>
                  <a:lnTo>
                    <a:pt x="4846136" y="5177310"/>
                  </a:lnTo>
                  <a:close/>
                  <a:moveTo>
                    <a:pt x="5046272" y="4939054"/>
                  </a:moveTo>
                  <a:lnTo>
                    <a:pt x="5055800" y="4939054"/>
                  </a:lnTo>
                  <a:lnTo>
                    <a:pt x="5060568" y="4943822"/>
                  </a:lnTo>
                  <a:lnTo>
                    <a:pt x="5065332" y="4953350"/>
                  </a:lnTo>
                  <a:lnTo>
                    <a:pt x="5070096" y="4958118"/>
                  </a:lnTo>
                  <a:lnTo>
                    <a:pt x="5055800" y="4948586"/>
                  </a:lnTo>
                  <a:lnTo>
                    <a:pt x="5031976" y="4953350"/>
                  </a:lnTo>
                  <a:close/>
                  <a:moveTo>
                    <a:pt x="5060568" y="4910462"/>
                  </a:moveTo>
                  <a:lnTo>
                    <a:pt x="5079628" y="4910462"/>
                  </a:lnTo>
                  <a:lnTo>
                    <a:pt x="5089156" y="4919994"/>
                  </a:lnTo>
                  <a:lnTo>
                    <a:pt x="5065332" y="4929526"/>
                  </a:lnTo>
                  <a:lnTo>
                    <a:pt x="5055800" y="4924758"/>
                  </a:lnTo>
                  <a:lnTo>
                    <a:pt x="5055800" y="4915230"/>
                  </a:lnTo>
                  <a:close/>
                  <a:moveTo>
                    <a:pt x="3816868" y="4376770"/>
                  </a:moveTo>
                  <a:lnTo>
                    <a:pt x="3845460" y="4381534"/>
                  </a:lnTo>
                  <a:lnTo>
                    <a:pt x="3854988" y="4381534"/>
                  </a:lnTo>
                  <a:lnTo>
                    <a:pt x="3864520" y="4391066"/>
                  </a:lnTo>
                  <a:lnTo>
                    <a:pt x="3854988" y="4400594"/>
                  </a:lnTo>
                  <a:lnTo>
                    <a:pt x="3854988" y="4405358"/>
                  </a:lnTo>
                  <a:lnTo>
                    <a:pt x="3893112" y="4410126"/>
                  </a:lnTo>
                  <a:lnTo>
                    <a:pt x="3907408" y="4400594"/>
                  </a:lnTo>
                  <a:lnTo>
                    <a:pt x="3926468" y="4410126"/>
                  </a:lnTo>
                  <a:lnTo>
                    <a:pt x="3940760" y="4429186"/>
                  </a:lnTo>
                  <a:lnTo>
                    <a:pt x="3931232" y="4438714"/>
                  </a:lnTo>
                  <a:lnTo>
                    <a:pt x="3921700" y="4438714"/>
                  </a:lnTo>
                  <a:lnTo>
                    <a:pt x="3893112" y="4429186"/>
                  </a:lnTo>
                  <a:lnTo>
                    <a:pt x="3869284" y="4433950"/>
                  </a:lnTo>
                  <a:lnTo>
                    <a:pt x="3859756" y="4443482"/>
                  </a:lnTo>
                  <a:lnTo>
                    <a:pt x="3854988" y="4462542"/>
                  </a:lnTo>
                  <a:lnTo>
                    <a:pt x="3831164" y="4472074"/>
                  </a:lnTo>
                  <a:lnTo>
                    <a:pt x="3821632" y="4457778"/>
                  </a:lnTo>
                  <a:lnTo>
                    <a:pt x="3797808" y="4453010"/>
                  </a:lnTo>
                  <a:lnTo>
                    <a:pt x="3788276" y="4462542"/>
                  </a:lnTo>
                  <a:lnTo>
                    <a:pt x="3769216" y="4462542"/>
                  </a:lnTo>
                  <a:lnTo>
                    <a:pt x="3750156" y="4467306"/>
                  </a:lnTo>
                  <a:lnTo>
                    <a:pt x="3726332" y="4462542"/>
                  </a:lnTo>
                  <a:lnTo>
                    <a:pt x="3697740" y="4443482"/>
                  </a:lnTo>
                  <a:lnTo>
                    <a:pt x="3692976" y="4433950"/>
                  </a:lnTo>
                  <a:lnTo>
                    <a:pt x="3697740" y="4419654"/>
                  </a:lnTo>
                  <a:lnTo>
                    <a:pt x="3707272" y="4405358"/>
                  </a:lnTo>
                  <a:lnTo>
                    <a:pt x="3778748" y="4391066"/>
                  </a:lnTo>
                  <a:close/>
                  <a:moveTo>
                    <a:pt x="6328092" y="2875754"/>
                  </a:moveTo>
                  <a:lnTo>
                    <a:pt x="6342384" y="2875754"/>
                  </a:lnTo>
                  <a:lnTo>
                    <a:pt x="6347152" y="2880518"/>
                  </a:lnTo>
                  <a:lnTo>
                    <a:pt x="6332856" y="2928170"/>
                  </a:lnTo>
                  <a:lnTo>
                    <a:pt x="6328092" y="2928170"/>
                  </a:lnTo>
                  <a:lnTo>
                    <a:pt x="6323324" y="2923406"/>
                  </a:lnTo>
                  <a:lnTo>
                    <a:pt x="6323324" y="2894814"/>
                  </a:lnTo>
                  <a:close/>
                  <a:moveTo>
                    <a:pt x="6328088" y="2809042"/>
                  </a:moveTo>
                  <a:lnTo>
                    <a:pt x="6332856" y="2809042"/>
                  </a:lnTo>
                  <a:lnTo>
                    <a:pt x="6328088" y="2837634"/>
                  </a:lnTo>
                  <a:lnTo>
                    <a:pt x="6332856" y="2861458"/>
                  </a:lnTo>
                  <a:lnTo>
                    <a:pt x="6328088" y="2861458"/>
                  </a:lnTo>
                  <a:lnTo>
                    <a:pt x="6323324" y="2847162"/>
                  </a:lnTo>
                  <a:lnTo>
                    <a:pt x="6318560" y="2828102"/>
                  </a:lnTo>
                  <a:lnTo>
                    <a:pt x="6323324" y="2813806"/>
                  </a:lnTo>
                  <a:close/>
                  <a:moveTo>
                    <a:pt x="4768" y="2546962"/>
                  </a:moveTo>
                  <a:lnTo>
                    <a:pt x="9532" y="2546962"/>
                  </a:lnTo>
                  <a:lnTo>
                    <a:pt x="28592" y="2599378"/>
                  </a:lnTo>
                  <a:lnTo>
                    <a:pt x="33356" y="2608906"/>
                  </a:lnTo>
                  <a:lnTo>
                    <a:pt x="33356" y="2623202"/>
                  </a:lnTo>
                  <a:lnTo>
                    <a:pt x="38120" y="2623202"/>
                  </a:lnTo>
                  <a:lnTo>
                    <a:pt x="42888" y="2637498"/>
                  </a:lnTo>
                  <a:lnTo>
                    <a:pt x="38120" y="2647030"/>
                  </a:lnTo>
                  <a:lnTo>
                    <a:pt x="9532" y="2589846"/>
                  </a:lnTo>
                  <a:lnTo>
                    <a:pt x="0" y="2556490"/>
                  </a:lnTo>
                  <a:close/>
                  <a:moveTo>
                    <a:pt x="6304264" y="2408774"/>
                  </a:moveTo>
                  <a:lnTo>
                    <a:pt x="6304264" y="2413538"/>
                  </a:lnTo>
                  <a:lnTo>
                    <a:pt x="6309028" y="2442126"/>
                  </a:lnTo>
                  <a:lnTo>
                    <a:pt x="6318560" y="2451658"/>
                  </a:lnTo>
                  <a:lnTo>
                    <a:pt x="6318560" y="2465954"/>
                  </a:lnTo>
                  <a:lnTo>
                    <a:pt x="6285204" y="2546962"/>
                  </a:lnTo>
                  <a:lnTo>
                    <a:pt x="6275672" y="2575550"/>
                  </a:lnTo>
                  <a:lnTo>
                    <a:pt x="6275672" y="2585082"/>
                  </a:lnTo>
                  <a:lnTo>
                    <a:pt x="6270908" y="2589846"/>
                  </a:lnTo>
                  <a:lnTo>
                    <a:pt x="6261380" y="2580318"/>
                  </a:lnTo>
                  <a:lnTo>
                    <a:pt x="6256612" y="2551726"/>
                  </a:lnTo>
                  <a:lnTo>
                    <a:pt x="6261380" y="2532666"/>
                  </a:lnTo>
                  <a:lnTo>
                    <a:pt x="6270908" y="2518370"/>
                  </a:lnTo>
                  <a:lnTo>
                    <a:pt x="6270908" y="2508838"/>
                  </a:lnTo>
                  <a:lnTo>
                    <a:pt x="6266144" y="2489778"/>
                  </a:lnTo>
                  <a:lnTo>
                    <a:pt x="6289968" y="2470718"/>
                  </a:lnTo>
                  <a:lnTo>
                    <a:pt x="6299500" y="2456422"/>
                  </a:lnTo>
                  <a:lnTo>
                    <a:pt x="6299500" y="2442126"/>
                  </a:lnTo>
                  <a:lnTo>
                    <a:pt x="6289968" y="2427834"/>
                  </a:lnTo>
                  <a:lnTo>
                    <a:pt x="6285204" y="2423066"/>
                  </a:lnTo>
                  <a:lnTo>
                    <a:pt x="6289968" y="2418302"/>
                  </a:lnTo>
                  <a:lnTo>
                    <a:pt x="6294736" y="2413538"/>
                  </a:lnTo>
                  <a:close/>
                  <a:moveTo>
                    <a:pt x="5961176" y="2194342"/>
                  </a:moveTo>
                  <a:lnTo>
                    <a:pt x="5970704" y="2199106"/>
                  </a:lnTo>
                  <a:lnTo>
                    <a:pt x="5980236" y="2203870"/>
                  </a:lnTo>
                  <a:lnTo>
                    <a:pt x="5985000" y="2203870"/>
                  </a:lnTo>
                  <a:lnTo>
                    <a:pt x="5985000" y="2218166"/>
                  </a:lnTo>
                  <a:lnTo>
                    <a:pt x="5994532" y="2227698"/>
                  </a:lnTo>
                  <a:lnTo>
                    <a:pt x="5994532" y="2237226"/>
                  </a:lnTo>
                  <a:lnTo>
                    <a:pt x="5989764" y="2241990"/>
                  </a:lnTo>
                  <a:lnTo>
                    <a:pt x="5985000" y="2246758"/>
                  </a:lnTo>
                  <a:lnTo>
                    <a:pt x="5980236" y="2241990"/>
                  </a:lnTo>
                  <a:lnTo>
                    <a:pt x="5956408" y="2203870"/>
                  </a:lnTo>
                  <a:close/>
                  <a:moveTo>
                    <a:pt x="5870640" y="1979910"/>
                  </a:moveTo>
                  <a:lnTo>
                    <a:pt x="5875404" y="1984674"/>
                  </a:lnTo>
                  <a:lnTo>
                    <a:pt x="5880168" y="1998970"/>
                  </a:lnTo>
                  <a:lnTo>
                    <a:pt x="5875404" y="1998970"/>
                  </a:lnTo>
                  <a:lnTo>
                    <a:pt x="5870640" y="1998970"/>
                  </a:lnTo>
                  <a:lnTo>
                    <a:pt x="5865872" y="1998970"/>
                  </a:lnTo>
                  <a:lnTo>
                    <a:pt x="5870640" y="1989442"/>
                  </a:lnTo>
                  <a:close/>
                  <a:moveTo>
                    <a:pt x="5780100" y="1951318"/>
                  </a:moveTo>
                  <a:lnTo>
                    <a:pt x="5780100" y="1970378"/>
                  </a:lnTo>
                  <a:lnTo>
                    <a:pt x="5780100" y="1979910"/>
                  </a:lnTo>
                  <a:lnTo>
                    <a:pt x="5775336" y="1984674"/>
                  </a:lnTo>
                  <a:lnTo>
                    <a:pt x="5775336" y="1970378"/>
                  </a:lnTo>
                  <a:lnTo>
                    <a:pt x="5775336" y="1956086"/>
                  </a:lnTo>
                  <a:close/>
                  <a:moveTo>
                    <a:pt x="395508" y="1722594"/>
                  </a:moveTo>
                  <a:lnTo>
                    <a:pt x="400272" y="1732122"/>
                  </a:lnTo>
                  <a:lnTo>
                    <a:pt x="395508" y="1741654"/>
                  </a:lnTo>
                  <a:lnTo>
                    <a:pt x="385976" y="1755950"/>
                  </a:lnTo>
                  <a:lnTo>
                    <a:pt x="376448" y="1751182"/>
                  </a:lnTo>
                  <a:lnTo>
                    <a:pt x="376448" y="1746418"/>
                  </a:lnTo>
                  <a:lnTo>
                    <a:pt x="381212" y="1736890"/>
                  </a:lnTo>
                  <a:close/>
                  <a:moveTo>
                    <a:pt x="5632384" y="1636822"/>
                  </a:moveTo>
                  <a:lnTo>
                    <a:pt x="5637148" y="1646350"/>
                  </a:lnTo>
                  <a:lnTo>
                    <a:pt x="5646680" y="1655882"/>
                  </a:lnTo>
                  <a:lnTo>
                    <a:pt x="5641912" y="1660646"/>
                  </a:lnTo>
                  <a:lnTo>
                    <a:pt x="5637148" y="1660646"/>
                  </a:lnTo>
                  <a:lnTo>
                    <a:pt x="5627616" y="1655882"/>
                  </a:lnTo>
                  <a:close/>
                  <a:moveTo>
                    <a:pt x="5632380" y="1617762"/>
                  </a:moveTo>
                  <a:lnTo>
                    <a:pt x="5632380" y="1632058"/>
                  </a:lnTo>
                  <a:lnTo>
                    <a:pt x="5627616" y="1636822"/>
                  </a:lnTo>
                  <a:lnTo>
                    <a:pt x="5622852" y="1636822"/>
                  </a:lnTo>
                  <a:lnTo>
                    <a:pt x="5618088" y="1636822"/>
                  </a:lnTo>
                  <a:lnTo>
                    <a:pt x="5622852" y="1627290"/>
                  </a:lnTo>
                  <a:lnTo>
                    <a:pt x="5627616" y="1622526"/>
                  </a:lnTo>
                  <a:close/>
                  <a:moveTo>
                    <a:pt x="5208284" y="1317558"/>
                  </a:moveTo>
                  <a:lnTo>
                    <a:pt x="5213052" y="1317558"/>
                  </a:lnTo>
                  <a:lnTo>
                    <a:pt x="5217816" y="1336618"/>
                  </a:lnTo>
                  <a:lnTo>
                    <a:pt x="5222580" y="1346150"/>
                  </a:lnTo>
                  <a:lnTo>
                    <a:pt x="5217816" y="1355678"/>
                  </a:lnTo>
                  <a:lnTo>
                    <a:pt x="5217816" y="1360446"/>
                  </a:lnTo>
                  <a:lnTo>
                    <a:pt x="5208284" y="1355678"/>
                  </a:lnTo>
                  <a:lnTo>
                    <a:pt x="5198756" y="1341382"/>
                  </a:lnTo>
                  <a:lnTo>
                    <a:pt x="5189224" y="1327090"/>
                  </a:lnTo>
                  <a:lnTo>
                    <a:pt x="5184460" y="1322322"/>
                  </a:lnTo>
                  <a:lnTo>
                    <a:pt x="5198756" y="1322322"/>
                  </a:lnTo>
                  <a:lnTo>
                    <a:pt x="5203520" y="1322322"/>
                  </a:lnTo>
                  <a:close/>
                  <a:moveTo>
                    <a:pt x="4150428" y="1112658"/>
                  </a:moveTo>
                  <a:lnTo>
                    <a:pt x="4164724" y="1122186"/>
                  </a:lnTo>
                  <a:lnTo>
                    <a:pt x="4164724" y="1131718"/>
                  </a:lnTo>
                  <a:lnTo>
                    <a:pt x="4145664" y="1136482"/>
                  </a:lnTo>
                  <a:lnTo>
                    <a:pt x="4140896" y="1136482"/>
                  </a:lnTo>
                  <a:lnTo>
                    <a:pt x="4140896" y="1131718"/>
                  </a:lnTo>
                  <a:lnTo>
                    <a:pt x="4145664" y="1126954"/>
                  </a:lnTo>
                  <a:close/>
                  <a:moveTo>
                    <a:pt x="4164724" y="1017354"/>
                  </a:moveTo>
                  <a:lnTo>
                    <a:pt x="4169488" y="1017354"/>
                  </a:lnTo>
                  <a:lnTo>
                    <a:pt x="4183784" y="1036414"/>
                  </a:lnTo>
                  <a:lnTo>
                    <a:pt x="4164724" y="1041182"/>
                  </a:lnTo>
                  <a:lnTo>
                    <a:pt x="4155192" y="1045946"/>
                  </a:lnTo>
                  <a:lnTo>
                    <a:pt x="4140896" y="1060242"/>
                  </a:lnTo>
                  <a:lnTo>
                    <a:pt x="4136132" y="1060242"/>
                  </a:lnTo>
                  <a:lnTo>
                    <a:pt x="4131368" y="1065006"/>
                  </a:lnTo>
                  <a:lnTo>
                    <a:pt x="4121836" y="1069770"/>
                  </a:lnTo>
                  <a:lnTo>
                    <a:pt x="4112308" y="1069770"/>
                  </a:lnTo>
                  <a:lnTo>
                    <a:pt x="4098012" y="1074538"/>
                  </a:lnTo>
                  <a:lnTo>
                    <a:pt x="4098012" y="1069770"/>
                  </a:lnTo>
                  <a:lnTo>
                    <a:pt x="4102776" y="1055478"/>
                  </a:lnTo>
                  <a:lnTo>
                    <a:pt x="4112308" y="1041182"/>
                  </a:lnTo>
                  <a:lnTo>
                    <a:pt x="4121836" y="1031650"/>
                  </a:lnTo>
                  <a:lnTo>
                    <a:pt x="4145664" y="1026886"/>
                  </a:lnTo>
                  <a:close/>
                  <a:moveTo>
                    <a:pt x="3764452" y="888698"/>
                  </a:moveTo>
                  <a:lnTo>
                    <a:pt x="3773984" y="898226"/>
                  </a:lnTo>
                  <a:lnTo>
                    <a:pt x="3773984" y="912522"/>
                  </a:lnTo>
                  <a:lnTo>
                    <a:pt x="3778748" y="917286"/>
                  </a:lnTo>
                  <a:lnTo>
                    <a:pt x="3769216" y="926818"/>
                  </a:lnTo>
                  <a:lnTo>
                    <a:pt x="3764452" y="917286"/>
                  </a:lnTo>
                  <a:lnTo>
                    <a:pt x="3759688" y="907758"/>
                  </a:lnTo>
                  <a:lnTo>
                    <a:pt x="3754920" y="907758"/>
                  </a:lnTo>
                  <a:lnTo>
                    <a:pt x="3759688" y="898226"/>
                  </a:lnTo>
                  <a:close/>
                  <a:moveTo>
                    <a:pt x="3688212" y="879166"/>
                  </a:moveTo>
                  <a:lnTo>
                    <a:pt x="3697740" y="879166"/>
                  </a:lnTo>
                  <a:lnTo>
                    <a:pt x="3702504" y="879166"/>
                  </a:lnTo>
                  <a:lnTo>
                    <a:pt x="3697740" y="893462"/>
                  </a:lnTo>
                  <a:lnTo>
                    <a:pt x="3688212" y="893462"/>
                  </a:lnTo>
                  <a:lnTo>
                    <a:pt x="3683444" y="888698"/>
                  </a:lnTo>
                  <a:close/>
                  <a:moveTo>
                    <a:pt x="3745392" y="874402"/>
                  </a:moveTo>
                  <a:lnTo>
                    <a:pt x="3745392" y="888698"/>
                  </a:lnTo>
                  <a:lnTo>
                    <a:pt x="3740624" y="893462"/>
                  </a:lnTo>
                  <a:lnTo>
                    <a:pt x="3740624" y="879166"/>
                  </a:lnTo>
                  <a:close/>
                  <a:moveTo>
                    <a:pt x="1815516" y="836282"/>
                  </a:moveTo>
                  <a:lnTo>
                    <a:pt x="1820280" y="836282"/>
                  </a:lnTo>
                  <a:lnTo>
                    <a:pt x="1820280" y="841046"/>
                  </a:lnTo>
                  <a:lnTo>
                    <a:pt x="1825048" y="850574"/>
                  </a:lnTo>
                  <a:lnTo>
                    <a:pt x="1825048" y="855342"/>
                  </a:lnTo>
                  <a:lnTo>
                    <a:pt x="1820280" y="860106"/>
                  </a:lnTo>
                  <a:lnTo>
                    <a:pt x="1815516" y="860106"/>
                  </a:lnTo>
                  <a:lnTo>
                    <a:pt x="1815516" y="855342"/>
                  </a:lnTo>
                  <a:lnTo>
                    <a:pt x="1805984" y="845810"/>
                  </a:lnTo>
                  <a:lnTo>
                    <a:pt x="1810752" y="841046"/>
                  </a:lnTo>
                  <a:close/>
                  <a:moveTo>
                    <a:pt x="1915584" y="702858"/>
                  </a:moveTo>
                  <a:lnTo>
                    <a:pt x="1920348" y="707622"/>
                  </a:lnTo>
                  <a:lnTo>
                    <a:pt x="1920348" y="717150"/>
                  </a:lnTo>
                  <a:lnTo>
                    <a:pt x="1920348" y="721918"/>
                  </a:lnTo>
                  <a:lnTo>
                    <a:pt x="1910816" y="736214"/>
                  </a:lnTo>
                  <a:lnTo>
                    <a:pt x="1901288" y="726682"/>
                  </a:lnTo>
                  <a:lnTo>
                    <a:pt x="1906052" y="707622"/>
                  </a:lnTo>
                  <a:close/>
                  <a:moveTo>
                    <a:pt x="3707272" y="578962"/>
                  </a:moveTo>
                  <a:lnTo>
                    <a:pt x="3716800" y="578962"/>
                  </a:lnTo>
                  <a:lnTo>
                    <a:pt x="3716800" y="588494"/>
                  </a:lnTo>
                  <a:lnTo>
                    <a:pt x="3716800" y="598022"/>
                  </a:lnTo>
                  <a:lnTo>
                    <a:pt x="3726332" y="607554"/>
                  </a:lnTo>
                  <a:lnTo>
                    <a:pt x="3731096" y="602790"/>
                  </a:lnTo>
                  <a:lnTo>
                    <a:pt x="3740628" y="588494"/>
                  </a:lnTo>
                  <a:lnTo>
                    <a:pt x="3745392" y="593258"/>
                  </a:lnTo>
                  <a:lnTo>
                    <a:pt x="3745392" y="598022"/>
                  </a:lnTo>
                  <a:lnTo>
                    <a:pt x="3750156" y="602790"/>
                  </a:lnTo>
                  <a:lnTo>
                    <a:pt x="3735860" y="612318"/>
                  </a:lnTo>
                  <a:lnTo>
                    <a:pt x="3735860" y="617086"/>
                  </a:lnTo>
                  <a:lnTo>
                    <a:pt x="3731096" y="621850"/>
                  </a:lnTo>
                  <a:lnTo>
                    <a:pt x="3721564" y="640910"/>
                  </a:lnTo>
                  <a:lnTo>
                    <a:pt x="3726332" y="650442"/>
                  </a:lnTo>
                  <a:lnTo>
                    <a:pt x="3731096" y="655206"/>
                  </a:lnTo>
                  <a:lnTo>
                    <a:pt x="3745392" y="659970"/>
                  </a:lnTo>
                  <a:lnTo>
                    <a:pt x="3754920" y="659970"/>
                  </a:lnTo>
                  <a:lnTo>
                    <a:pt x="3750156" y="669502"/>
                  </a:lnTo>
                  <a:lnTo>
                    <a:pt x="3745392" y="679030"/>
                  </a:lnTo>
                  <a:lnTo>
                    <a:pt x="3726332" y="674266"/>
                  </a:lnTo>
                  <a:lnTo>
                    <a:pt x="3707272" y="674266"/>
                  </a:lnTo>
                  <a:lnTo>
                    <a:pt x="3678680" y="669502"/>
                  </a:lnTo>
                  <a:lnTo>
                    <a:pt x="3664384" y="664734"/>
                  </a:lnTo>
                  <a:lnTo>
                    <a:pt x="3659620" y="664734"/>
                  </a:lnTo>
                  <a:lnTo>
                    <a:pt x="3669148" y="659970"/>
                  </a:lnTo>
                  <a:lnTo>
                    <a:pt x="3673916" y="650442"/>
                  </a:lnTo>
                  <a:lnTo>
                    <a:pt x="3669148" y="631378"/>
                  </a:lnTo>
                  <a:lnTo>
                    <a:pt x="3673916" y="607554"/>
                  </a:lnTo>
                  <a:lnTo>
                    <a:pt x="3688208" y="598022"/>
                  </a:lnTo>
                  <a:lnTo>
                    <a:pt x="3697740" y="583730"/>
                  </a:lnTo>
                  <a:close/>
                  <a:moveTo>
                    <a:pt x="3640560" y="578962"/>
                  </a:moveTo>
                  <a:lnTo>
                    <a:pt x="3645324" y="583730"/>
                  </a:lnTo>
                  <a:lnTo>
                    <a:pt x="3650088" y="598022"/>
                  </a:lnTo>
                  <a:lnTo>
                    <a:pt x="3645324" y="602790"/>
                  </a:lnTo>
                  <a:lnTo>
                    <a:pt x="3640560" y="602790"/>
                  </a:lnTo>
                  <a:lnTo>
                    <a:pt x="3626264" y="602790"/>
                  </a:lnTo>
                  <a:lnTo>
                    <a:pt x="3626264" y="593258"/>
                  </a:lnTo>
                  <a:lnTo>
                    <a:pt x="3631028" y="588494"/>
                  </a:lnTo>
                  <a:close/>
                  <a:moveTo>
                    <a:pt x="3678680" y="228726"/>
                  </a:moveTo>
                  <a:lnTo>
                    <a:pt x="3683444" y="228726"/>
                  </a:lnTo>
                  <a:lnTo>
                    <a:pt x="3678680" y="233490"/>
                  </a:lnTo>
                  <a:lnTo>
                    <a:pt x="3664384" y="247786"/>
                  </a:lnTo>
                  <a:lnTo>
                    <a:pt x="3659620" y="247786"/>
                  </a:lnTo>
                  <a:lnTo>
                    <a:pt x="3635792" y="262082"/>
                  </a:lnTo>
                  <a:lnTo>
                    <a:pt x="3650088" y="243022"/>
                  </a:lnTo>
                  <a:close/>
                  <a:moveTo>
                    <a:pt x="2716124" y="204902"/>
                  </a:moveTo>
                  <a:lnTo>
                    <a:pt x="2720888" y="204902"/>
                  </a:lnTo>
                  <a:lnTo>
                    <a:pt x="2730420" y="219194"/>
                  </a:lnTo>
                  <a:lnTo>
                    <a:pt x="2730420" y="233490"/>
                  </a:lnTo>
                  <a:lnTo>
                    <a:pt x="2735184" y="247786"/>
                  </a:lnTo>
                  <a:lnTo>
                    <a:pt x="2739948" y="262082"/>
                  </a:lnTo>
                  <a:lnTo>
                    <a:pt x="2754244" y="266846"/>
                  </a:lnTo>
                  <a:lnTo>
                    <a:pt x="2759008" y="271610"/>
                  </a:lnTo>
                  <a:lnTo>
                    <a:pt x="2763776" y="276378"/>
                  </a:lnTo>
                  <a:lnTo>
                    <a:pt x="2763776" y="281142"/>
                  </a:lnTo>
                  <a:lnTo>
                    <a:pt x="2749480" y="285906"/>
                  </a:lnTo>
                  <a:lnTo>
                    <a:pt x="2720888" y="276378"/>
                  </a:lnTo>
                  <a:lnTo>
                    <a:pt x="2692300" y="285906"/>
                  </a:lnTo>
                  <a:lnTo>
                    <a:pt x="2682768" y="285906"/>
                  </a:lnTo>
                  <a:lnTo>
                    <a:pt x="2678004" y="276378"/>
                  </a:lnTo>
                  <a:lnTo>
                    <a:pt x="2682768" y="262082"/>
                  </a:lnTo>
                  <a:lnTo>
                    <a:pt x="2692300" y="262082"/>
                  </a:lnTo>
                  <a:lnTo>
                    <a:pt x="2701828" y="257318"/>
                  </a:lnTo>
                  <a:lnTo>
                    <a:pt x="2697064" y="238254"/>
                  </a:lnTo>
                  <a:lnTo>
                    <a:pt x="2692300" y="228726"/>
                  </a:lnTo>
                  <a:lnTo>
                    <a:pt x="2711360" y="209666"/>
                  </a:lnTo>
                  <a:close/>
                  <a:moveTo>
                    <a:pt x="2730420" y="181074"/>
                  </a:moveTo>
                  <a:lnTo>
                    <a:pt x="2735184" y="181074"/>
                  </a:lnTo>
                  <a:lnTo>
                    <a:pt x="2749480" y="195370"/>
                  </a:lnTo>
                  <a:lnTo>
                    <a:pt x="2759008" y="200134"/>
                  </a:lnTo>
                  <a:lnTo>
                    <a:pt x="2768540" y="214430"/>
                  </a:lnTo>
                  <a:lnTo>
                    <a:pt x="2787600" y="214430"/>
                  </a:lnTo>
                  <a:lnTo>
                    <a:pt x="2811428" y="200134"/>
                  </a:lnTo>
                  <a:lnTo>
                    <a:pt x="2825720" y="204898"/>
                  </a:lnTo>
                  <a:lnTo>
                    <a:pt x="2830488" y="204898"/>
                  </a:lnTo>
                  <a:lnTo>
                    <a:pt x="2849548" y="195370"/>
                  </a:lnTo>
                  <a:lnTo>
                    <a:pt x="2859076" y="190606"/>
                  </a:lnTo>
                  <a:lnTo>
                    <a:pt x="2868608" y="181074"/>
                  </a:lnTo>
                  <a:lnTo>
                    <a:pt x="2878140" y="190606"/>
                  </a:lnTo>
                  <a:lnTo>
                    <a:pt x="2892432" y="204898"/>
                  </a:lnTo>
                  <a:lnTo>
                    <a:pt x="2901964" y="214430"/>
                  </a:lnTo>
                  <a:lnTo>
                    <a:pt x="2906728" y="219194"/>
                  </a:lnTo>
                  <a:lnTo>
                    <a:pt x="2911496" y="223962"/>
                  </a:lnTo>
                  <a:lnTo>
                    <a:pt x="2897200" y="233490"/>
                  </a:lnTo>
                  <a:lnTo>
                    <a:pt x="2897200" y="247786"/>
                  </a:lnTo>
                  <a:lnTo>
                    <a:pt x="2887668" y="247786"/>
                  </a:lnTo>
                  <a:lnTo>
                    <a:pt x="2873372" y="266846"/>
                  </a:lnTo>
                  <a:lnTo>
                    <a:pt x="2816192" y="300202"/>
                  </a:lnTo>
                  <a:lnTo>
                    <a:pt x="2768540" y="271610"/>
                  </a:lnTo>
                  <a:lnTo>
                    <a:pt x="2749480" y="252550"/>
                  </a:lnTo>
                  <a:lnTo>
                    <a:pt x="2735184" y="223962"/>
                  </a:lnTo>
                  <a:lnTo>
                    <a:pt x="2735184" y="200134"/>
                  </a:lnTo>
                  <a:lnTo>
                    <a:pt x="2725656" y="185838"/>
                  </a:lnTo>
                  <a:lnTo>
                    <a:pt x="2730420" y="185838"/>
                  </a:lnTo>
                  <a:close/>
                  <a:moveTo>
                    <a:pt x="3726332" y="152482"/>
                  </a:moveTo>
                  <a:lnTo>
                    <a:pt x="3721564" y="185838"/>
                  </a:lnTo>
                  <a:lnTo>
                    <a:pt x="3702504" y="214430"/>
                  </a:lnTo>
                  <a:lnTo>
                    <a:pt x="3688208" y="223962"/>
                  </a:lnTo>
                  <a:lnTo>
                    <a:pt x="3688208" y="214430"/>
                  </a:lnTo>
                  <a:lnTo>
                    <a:pt x="3692976" y="209666"/>
                  </a:lnTo>
                  <a:lnTo>
                    <a:pt x="3707272" y="185838"/>
                  </a:lnTo>
                  <a:lnTo>
                    <a:pt x="3712036" y="181074"/>
                  </a:lnTo>
                  <a:lnTo>
                    <a:pt x="3716800" y="176310"/>
                  </a:lnTo>
                  <a:lnTo>
                    <a:pt x="3721564" y="171542"/>
                  </a:lnTo>
                  <a:lnTo>
                    <a:pt x="3721564" y="157250"/>
                  </a:lnTo>
                  <a:close/>
                  <a:moveTo>
                    <a:pt x="3073508" y="147718"/>
                  </a:moveTo>
                  <a:lnTo>
                    <a:pt x="3073508" y="152482"/>
                  </a:lnTo>
                  <a:lnTo>
                    <a:pt x="3073508" y="171542"/>
                  </a:lnTo>
                  <a:lnTo>
                    <a:pt x="3078272" y="181074"/>
                  </a:lnTo>
                  <a:lnTo>
                    <a:pt x="3073508" y="200134"/>
                  </a:lnTo>
                  <a:lnTo>
                    <a:pt x="3073508" y="204902"/>
                  </a:lnTo>
                  <a:lnTo>
                    <a:pt x="3059212" y="176310"/>
                  </a:lnTo>
                  <a:lnTo>
                    <a:pt x="3063980" y="171542"/>
                  </a:lnTo>
                  <a:lnTo>
                    <a:pt x="3059212" y="157250"/>
                  </a:lnTo>
                  <a:lnTo>
                    <a:pt x="3063980" y="157250"/>
                  </a:lnTo>
                  <a:close/>
                  <a:moveTo>
                    <a:pt x="4617412" y="104834"/>
                  </a:moveTo>
                  <a:lnTo>
                    <a:pt x="4626940" y="104834"/>
                  </a:lnTo>
                  <a:lnTo>
                    <a:pt x="4636472" y="114362"/>
                  </a:lnTo>
                  <a:lnTo>
                    <a:pt x="4631704" y="123894"/>
                  </a:lnTo>
                  <a:lnTo>
                    <a:pt x="4631704" y="133422"/>
                  </a:lnTo>
                  <a:lnTo>
                    <a:pt x="4655532" y="152482"/>
                  </a:lnTo>
                  <a:lnTo>
                    <a:pt x="4665060" y="171542"/>
                  </a:lnTo>
                  <a:lnTo>
                    <a:pt x="4669828" y="185838"/>
                  </a:lnTo>
                  <a:lnTo>
                    <a:pt x="4674592" y="200134"/>
                  </a:lnTo>
                  <a:lnTo>
                    <a:pt x="4674592" y="219194"/>
                  </a:lnTo>
                  <a:lnTo>
                    <a:pt x="4674592" y="252550"/>
                  </a:lnTo>
                  <a:lnTo>
                    <a:pt x="4679356" y="285906"/>
                  </a:lnTo>
                  <a:lnTo>
                    <a:pt x="4688888" y="290670"/>
                  </a:lnTo>
                  <a:lnTo>
                    <a:pt x="4698416" y="300202"/>
                  </a:lnTo>
                  <a:lnTo>
                    <a:pt x="4712712" y="300202"/>
                  </a:lnTo>
                  <a:lnTo>
                    <a:pt x="4727008" y="304966"/>
                  </a:lnTo>
                  <a:lnTo>
                    <a:pt x="4722244" y="324026"/>
                  </a:lnTo>
                  <a:lnTo>
                    <a:pt x="4717480" y="338322"/>
                  </a:lnTo>
                  <a:lnTo>
                    <a:pt x="4717480" y="347854"/>
                  </a:lnTo>
                  <a:lnTo>
                    <a:pt x="4717480" y="362150"/>
                  </a:lnTo>
                  <a:lnTo>
                    <a:pt x="4731772" y="371678"/>
                  </a:lnTo>
                  <a:lnTo>
                    <a:pt x="4741304" y="376446"/>
                  </a:lnTo>
                  <a:lnTo>
                    <a:pt x="4746068" y="390738"/>
                  </a:lnTo>
                  <a:lnTo>
                    <a:pt x="4765128" y="414566"/>
                  </a:lnTo>
                  <a:lnTo>
                    <a:pt x="4760364" y="428862"/>
                  </a:lnTo>
                  <a:lnTo>
                    <a:pt x="4769896" y="447922"/>
                  </a:lnTo>
                  <a:lnTo>
                    <a:pt x="4779424" y="483658"/>
                  </a:lnTo>
                  <a:lnTo>
                    <a:pt x="4784192" y="517014"/>
                  </a:lnTo>
                  <a:lnTo>
                    <a:pt x="4793720" y="540842"/>
                  </a:lnTo>
                  <a:lnTo>
                    <a:pt x="4784192" y="588494"/>
                  </a:lnTo>
                  <a:lnTo>
                    <a:pt x="4793720" y="607554"/>
                  </a:lnTo>
                  <a:lnTo>
                    <a:pt x="4798484" y="626614"/>
                  </a:lnTo>
                  <a:lnTo>
                    <a:pt x="4812780" y="655206"/>
                  </a:lnTo>
                  <a:lnTo>
                    <a:pt x="4817544" y="688562"/>
                  </a:lnTo>
                  <a:lnTo>
                    <a:pt x="4827076" y="693326"/>
                  </a:lnTo>
                  <a:lnTo>
                    <a:pt x="4850900" y="702854"/>
                  </a:lnTo>
                  <a:lnTo>
                    <a:pt x="4874728" y="693326"/>
                  </a:lnTo>
                  <a:lnTo>
                    <a:pt x="4889024" y="679030"/>
                  </a:lnTo>
                  <a:lnTo>
                    <a:pt x="4908084" y="674266"/>
                  </a:lnTo>
                  <a:lnTo>
                    <a:pt x="4931908" y="669498"/>
                  </a:lnTo>
                  <a:lnTo>
                    <a:pt x="4946204" y="688562"/>
                  </a:lnTo>
                  <a:lnTo>
                    <a:pt x="4955736" y="712386"/>
                  </a:lnTo>
                  <a:lnTo>
                    <a:pt x="4998620" y="740978"/>
                  </a:lnTo>
                  <a:lnTo>
                    <a:pt x="5022448" y="760038"/>
                  </a:lnTo>
                  <a:lnTo>
                    <a:pt x="5041508" y="769566"/>
                  </a:lnTo>
                  <a:lnTo>
                    <a:pt x="5055800" y="783862"/>
                  </a:lnTo>
                  <a:lnTo>
                    <a:pt x="5055800" y="798158"/>
                  </a:lnTo>
                  <a:lnTo>
                    <a:pt x="5051036" y="807690"/>
                  </a:lnTo>
                  <a:lnTo>
                    <a:pt x="5055800" y="826750"/>
                  </a:lnTo>
                  <a:lnTo>
                    <a:pt x="5060568" y="845810"/>
                  </a:lnTo>
                  <a:lnTo>
                    <a:pt x="5055800" y="869634"/>
                  </a:lnTo>
                  <a:lnTo>
                    <a:pt x="5065332" y="907758"/>
                  </a:lnTo>
                  <a:lnTo>
                    <a:pt x="5070096" y="936346"/>
                  </a:lnTo>
                  <a:lnTo>
                    <a:pt x="5084392" y="964938"/>
                  </a:lnTo>
                  <a:lnTo>
                    <a:pt x="5084392" y="993530"/>
                  </a:lnTo>
                  <a:lnTo>
                    <a:pt x="5079628" y="1003058"/>
                  </a:lnTo>
                  <a:lnTo>
                    <a:pt x="5079628" y="1017354"/>
                  </a:lnTo>
                  <a:lnTo>
                    <a:pt x="5089160" y="1041178"/>
                  </a:lnTo>
                  <a:lnTo>
                    <a:pt x="5098688" y="1055474"/>
                  </a:lnTo>
                  <a:lnTo>
                    <a:pt x="5112984" y="1069770"/>
                  </a:lnTo>
                  <a:lnTo>
                    <a:pt x="5132044" y="1098362"/>
                  </a:lnTo>
                  <a:lnTo>
                    <a:pt x="5141576" y="1103126"/>
                  </a:lnTo>
                  <a:lnTo>
                    <a:pt x="5155872" y="1103126"/>
                  </a:lnTo>
                  <a:lnTo>
                    <a:pt x="5155872" y="1126950"/>
                  </a:lnTo>
                  <a:lnTo>
                    <a:pt x="5174932" y="1179370"/>
                  </a:lnTo>
                  <a:lnTo>
                    <a:pt x="5189224" y="1222254"/>
                  </a:lnTo>
                  <a:lnTo>
                    <a:pt x="5179696" y="1279438"/>
                  </a:lnTo>
                  <a:lnTo>
                    <a:pt x="5170164" y="1308026"/>
                  </a:lnTo>
                  <a:lnTo>
                    <a:pt x="5174932" y="1327086"/>
                  </a:lnTo>
                  <a:lnTo>
                    <a:pt x="5203520" y="1365210"/>
                  </a:lnTo>
                  <a:lnTo>
                    <a:pt x="5222580" y="1369974"/>
                  </a:lnTo>
                  <a:lnTo>
                    <a:pt x="5217816" y="1389034"/>
                  </a:lnTo>
                  <a:lnTo>
                    <a:pt x="5213052" y="1417626"/>
                  </a:lnTo>
                  <a:lnTo>
                    <a:pt x="5227348" y="1441450"/>
                  </a:lnTo>
                  <a:lnTo>
                    <a:pt x="5246408" y="1460510"/>
                  </a:lnTo>
                  <a:lnTo>
                    <a:pt x="5260704" y="1470042"/>
                  </a:lnTo>
                  <a:lnTo>
                    <a:pt x="5275000" y="1474806"/>
                  </a:lnTo>
                  <a:lnTo>
                    <a:pt x="5298824" y="1484338"/>
                  </a:lnTo>
                  <a:lnTo>
                    <a:pt x="5327416" y="1489102"/>
                  </a:lnTo>
                  <a:lnTo>
                    <a:pt x="5336944" y="1498630"/>
                  </a:lnTo>
                  <a:lnTo>
                    <a:pt x="5346476" y="1512926"/>
                  </a:lnTo>
                  <a:lnTo>
                    <a:pt x="5370300" y="1512926"/>
                  </a:lnTo>
                  <a:lnTo>
                    <a:pt x="5379832" y="1512926"/>
                  </a:lnTo>
                  <a:lnTo>
                    <a:pt x="5389360" y="1508162"/>
                  </a:lnTo>
                  <a:lnTo>
                    <a:pt x="5398892" y="1512926"/>
                  </a:lnTo>
                  <a:lnTo>
                    <a:pt x="5403656" y="1522458"/>
                  </a:lnTo>
                  <a:lnTo>
                    <a:pt x="5417952" y="1546282"/>
                  </a:lnTo>
                  <a:lnTo>
                    <a:pt x="5441776" y="1574874"/>
                  </a:lnTo>
                  <a:lnTo>
                    <a:pt x="5456072" y="1574874"/>
                  </a:lnTo>
                  <a:lnTo>
                    <a:pt x="5470368" y="1589170"/>
                  </a:lnTo>
                  <a:lnTo>
                    <a:pt x="5479900" y="1593934"/>
                  </a:lnTo>
                  <a:lnTo>
                    <a:pt x="5494192" y="1593934"/>
                  </a:lnTo>
                  <a:lnTo>
                    <a:pt x="5508488" y="1603466"/>
                  </a:lnTo>
                  <a:lnTo>
                    <a:pt x="5537080" y="1627290"/>
                  </a:lnTo>
                  <a:lnTo>
                    <a:pt x="5565672" y="1627290"/>
                  </a:lnTo>
                  <a:lnTo>
                    <a:pt x="5575200" y="1636822"/>
                  </a:lnTo>
                  <a:lnTo>
                    <a:pt x="5599028" y="1660646"/>
                  </a:lnTo>
                  <a:lnTo>
                    <a:pt x="5608556" y="1670178"/>
                  </a:lnTo>
                  <a:lnTo>
                    <a:pt x="5618088" y="1689238"/>
                  </a:lnTo>
                  <a:lnTo>
                    <a:pt x="5608556" y="1694002"/>
                  </a:lnTo>
                  <a:lnTo>
                    <a:pt x="5594260" y="1689238"/>
                  </a:lnTo>
                  <a:lnTo>
                    <a:pt x="5589496" y="1708298"/>
                  </a:lnTo>
                  <a:lnTo>
                    <a:pt x="5603792" y="1732122"/>
                  </a:lnTo>
                  <a:lnTo>
                    <a:pt x="5622852" y="1751182"/>
                  </a:lnTo>
                  <a:lnTo>
                    <a:pt x="5646680" y="1770246"/>
                  </a:lnTo>
                  <a:lnTo>
                    <a:pt x="5670504" y="1798834"/>
                  </a:lnTo>
                  <a:lnTo>
                    <a:pt x="5675268" y="1817894"/>
                  </a:lnTo>
                  <a:lnTo>
                    <a:pt x="5680032" y="1827426"/>
                  </a:lnTo>
                  <a:lnTo>
                    <a:pt x="5689564" y="1856018"/>
                  </a:lnTo>
                  <a:lnTo>
                    <a:pt x="5708624" y="1875078"/>
                  </a:lnTo>
                  <a:lnTo>
                    <a:pt x="5708624" y="1908434"/>
                  </a:lnTo>
                  <a:lnTo>
                    <a:pt x="5718156" y="1951318"/>
                  </a:lnTo>
                  <a:lnTo>
                    <a:pt x="5732452" y="1989442"/>
                  </a:lnTo>
                  <a:lnTo>
                    <a:pt x="5737216" y="1998970"/>
                  </a:lnTo>
                  <a:lnTo>
                    <a:pt x="5746744" y="2018030"/>
                  </a:lnTo>
                  <a:lnTo>
                    <a:pt x="5756276" y="2018030"/>
                  </a:lnTo>
                  <a:lnTo>
                    <a:pt x="5765808" y="2013266"/>
                  </a:lnTo>
                  <a:lnTo>
                    <a:pt x="5780100" y="2032326"/>
                  </a:lnTo>
                  <a:lnTo>
                    <a:pt x="5789632" y="2037090"/>
                  </a:lnTo>
                  <a:lnTo>
                    <a:pt x="5794396" y="2032326"/>
                  </a:lnTo>
                  <a:lnTo>
                    <a:pt x="5784868" y="1998970"/>
                  </a:lnTo>
                  <a:lnTo>
                    <a:pt x="5789632" y="1975146"/>
                  </a:lnTo>
                  <a:lnTo>
                    <a:pt x="5799160" y="1975146"/>
                  </a:lnTo>
                  <a:lnTo>
                    <a:pt x="5803928" y="1975146"/>
                  </a:lnTo>
                  <a:lnTo>
                    <a:pt x="5818224" y="1989442"/>
                  </a:lnTo>
                  <a:lnTo>
                    <a:pt x="5827752" y="2008502"/>
                  </a:lnTo>
                  <a:lnTo>
                    <a:pt x="5856344" y="2022798"/>
                  </a:lnTo>
                  <a:lnTo>
                    <a:pt x="5880168" y="2041858"/>
                  </a:lnTo>
                  <a:lnTo>
                    <a:pt x="5884936" y="2037090"/>
                  </a:lnTo>
                  <a:lnTo>
                    <a:pt x="5880168" y="2027562"/>
                  </a:lnTo>
                  <a:lnTo>
                    <a:pt x="5880168" y="2008502"/>
                  </a:lnTo>
                  <a:lnTo>
                    <a:pt x="5889700" y="2008502"/>
                  </a:lnTo>
                  <a:lnTo>
                    <a:pt x="5899232" y="2018030"/>
                  </a:lnTo>
                  <a:lnTo>
                    <a:pt x="5913524" y="2041858"/>
                  </a:lnTo>
                  <a:lnTo>
                    <a:pt x="5918292" y="2099038"/>
                  </a:lnTo>
                  <a:lnTo>
                    <a:pt x="5918292" y="2146690"/>
                  </a:lnTo>
                  <a:lnTo>
                    <a:pt x="5923056" y="2194342"/>
                  </a:lnTo>
                  <a:lnTo>
                    <a:pt x="5937352" y="2203870"/>
                  </a:lnTo>
                  <a:lnTo>
                    <a:pt x="5946880" y="2218166"/>
                  </a:lnTo>
                  <a:lnTo>
                    <a:pt x="5961176" y="2232462"/>
                  </a:lnTo>
                  <a:lnTo>
                    <a:pt x="5975472" y="2246758"/>
                  </a:lnTo>
                  <a:lnTo>
                    <a:pt x="5985000" y="2256286"/>
                  </a:lnTo>
                  <a:lnTo>
                    <a:pt x="6027888" y="2284878"/>
                  </a:lnTo>
                  <a:lnTo>
                    <a:pt x="6037420" y="2289642"/>
                  </a:lnTo>
                  <a:lnTo>
                    <a:pt x="6056480" y="2289642"/>
                  </a:lnTo>
                  <a:lnTo>
                    <a:pt x="6080304" y="2303938"/>
                  </a:lnTo>
                  <a:lnTo>
                    <a:pt x="6089836" y="2318234"/>
                  </a:lnTo>
                  <a:lnTo>
                    <a:pt x="6113660" y="2370650"/>
                  </a:lnTo>
                  <a:lnTo>
                    <a:pt x="6127956" y="2384946"/>
                  </a:lnTo>
                  <a:lnTo>
                    <a:pt x="6151780" y="2404006"/>
                  </a:lnTo>
                  <a:lnTo>
                    <a:pt x="6161312" y="2408770"/>
                  </a:lnTo>
                  <a:lnTo>
                    <a:pt x="6175608" y="2423066"/>
                  </a:lnTo>
                  <a:lnTo>
                    <a:pt x="6180372" y="2442126"/>
                  </a:lnTo>
                  <a:lnTo>
                    <a:pt x="6185136" y="2451658"/>
                  </a:lnTo>
                  <a:lnTo>
                    <a:pt x="6194668" y="2470718"/>
                  </a:lnTo>
                  <a:lnTo>
                    <a:pt x="6208964" y="2489778"/>
                  </a:lnTo>
                  <a:lnTo>
                    <a:pt x="6228024" y="2504074"/>
                  </a:lnTo>
                  <a:lnTo>
                    <a:pt x="6247084" y="2532666"/>
                  </a:lnTo>
                  <a:lnTo>
                    <a:pt x="6251848" y="2575550"/>
                  </a:lnTo>
                  <a:lnTo>
                    <a:pt x="6261380" y="2599378"/>
                  </a:lnTo>
                  <a:lnTo>
                    <a:pt x="6266144" y="2608906"/>
                  </a:lnTo>
                  <a:lnTo>
                    <a:pt x="6280440" y="2618438"/>
                  </a:lnTo>
                  <a:lnTo>
                    <a:pt x="6289968" y="2623202"/>
                  </a:lnTo>
                  <a:lnTo>
                    <a:pt x="6275676" y="2685150"/>
                  </a:lnTo>
                  <a:lnTo>
                    <a:pt x="6289968" y="2799510"/>
                  </a:lnTo>
                  <a:lnTo>
                    <a:pt x="6280440" y="2837634"/>
                  </a:lnTo>
                  <a:lnTo>
                    <a:pt x="6294736" y="2875754"/>
                  </a:lnTo>
                  <a:lnTo>
                    <a:pt x="6323328" y="2937702"/>
                  </a:lnTo>
                  <a:lnTo>
                    <a:pt x="6328092" y="2961526"/>
                  </a:lnTo>
                  <a:lnTo>
                    <a:pt x="6332856" y="2990118"/>
                  </a:lnTo>
                  <a:lnTo>
                    <a:pt x="6351916" y="3023474"/>
                  </a:lnTo>
                  <a:lnTo>
                    <a:pt x="6351916" y="3075890"/>
                  </a:lnTo>
                  <a:lnTo>
                    <a:pt x="6356680" y="3099714"/>
                  </a:lnTo>
                  <a:lnTo>
                    <a:pt x="6356680" y="3133070"/>
                  </a:lnTo>
                  <a:lnTo>
                    <a:pt x="6332856" y="3166426"/>
                  </a:lnTo>
                  <a:lnTo>
                    <a:pt x="6318560" y="3209314"/>
                  </a:lnTo>
                  <a:lnTo>
                    <a:pt x="6313796" y="3247434"/>
                  </a:lnTo>
                  <a:lnTo>
                    <a:pt x="6304264" y="3318910"/>
                  </a:lnTo>
                  <a:lnTo>
                    <a:pt x="6294736" y="3337970"/>
                  </a:lnTo>
                  <a:lnTo>
                    <a:pt x="6289968" y="3366562"/>
                  </a:lnTo>
                  <a:lnTo>
                    <a:pt x="6266144" y="3438038"/>
                  </a:lnTo>
                  <a:lnTo>
                    <a:pt x="6266144" y="3466630"/>
                  </a:lnTo>
                  <a:lnTo>
                    <a:pt x="6270908" y="3499986"/>
                  </a:lnTo>
                  <a:lnTo>
                    <a:pt x="6266144" y="3533342"/>
                  </a:lnTo>
                  <a:lnTo>
                    <a:pt x="6261380" y="3557166"/>
                  </a:lnTo>
                  <a:lnTo>
                    <a:pt x="6251848" y="3600054"/>
                  </a:lnTo>
                  <a:lnTo>
                    <a:pt x="6228024" y="3662002"/>
                  </a:lnTo>
                  <a:lnTo>
                    <a:pt x="6194668" y="3709650"/>
                  </a:lnTo>
                  <a:lnTo>
                    <a:pt x="6189904" y="3747774"/>
                  </a:lnTo>
                  <a:lnTo>
                    <a:pt x="6185136" y="3762066"/>
                  </a:lnTo>
                  <a:lnTo>
                    <a:pt x="6180372" y="3781130"/>
                  </a:lnTo>
                  <a:lnTo>
                    <a:pt x="6156548" y="3804954"/>
                  </a:lnTo>
                  <a:lnTo>
                    <a:pt x="6142252" y="3814486"/>
                  </a:lnTo>
                  <a:lnTo>
                    <a:pt x="6137488" y="3828778"/>
                  </a:lnTo>
                  <a:lnTo>
                    <a:pt x="6127956" y="3828778"/>
                  </a:lnTo>
                  <a:lnTo>
                    <a:pt x="6127956" y="3833546"/>
                  </a:lnTo>
                  <a:lnTo>
                    <a:pt x="6137488" y="3833546"/>
                  </a:lnTo>
                  <a:lnTo>
                    <a:pt x="6132720" y="3843074"/>
                  </a:lnTo>
                  <a:lnTo>
                    <a:pt x="6099364" y="3852606"/>
                  </a:lnTo>
                  <a:lnTo>
                    <a:pt x="6075540" y="3866902"/>
                  </a:lnTo>
                  <a:lnTo>
                    <a:pt x="6056480" y="3905022"/>
                  </a:lnTo>
                  <a:lnTo>
                    <a:pt x="6046948" y="3924082"/>
                  </a:lnTo>
                  <a:lnTo>
                    <a:pt x="6032652" y="3943142"/>
                  </a:lnTo>
                  <a:lnTo>
                    <a:pt x="6023124" y="3952674"/>
                  </a:lnTo>
                  <a:lnTo>
                    <a:pt x="6023124" y="3962202"/>
                  </a:lnTo>
                  <a:lnTo>
                    <a:pt x="6018360" y="3986030"/>
                  </a:lnTo>
                  <a:lnTo>
                    <a:pt x="6004064" y="3990794"/>
                  </a:lnTo>
                  <a:lnTo>
                    <a:pt x="5994532" y="3995558"/>
                  </a:lnTo>
                  <a:lnTo>
                    <a:pt x="5999296" y="4019386"/>
                  </a:lnTo>
                  <a:lnTo>
                    <a:pt x="5994532" y="4043210"/>
                  </a:lnTo>
                  <a:lnTo>
                    <a:pt x="5994532" y="4062270"/>
                  </a:lnTo>
                  <a:lnTo>
                    <a:pt x="5989768" y="4071802"/>
                  </a:lnTo>
                  <a:lnTo>
                    <a:pt x="5980236" y="4067038"/>
                  </a:lnTo>
                  <a:lnTo>
                    <a:pt x="5975472" y="4067038"/>
                  </a:lnTo>
                  <a:lnTo>
                    <a:pt x="5970708" y="4076566"/>
                  </a:lnTo>
                  <a:lnTo>
                    <a:pt x="5980236" y="4076566"/>
                  </a:lnTo>
                  <a:lnTo>
                    <a:pt x="5985000" y="4081330"/>
                  </a:lnTo>
                  <a:lnTo>
                    <a:pt x="5965940" y="4105158"/>
                  </a:lnTo>
                  <a:lnTo>
                    <a:pt x="5942116" y="4128982"/>
                  </a:lnTo>
                  <a:lnTo>
                    <a:pt x="5937352" y="4148042"/>
                  </a:lnTo>
                  <a:lnTo>
                    <a:pt x="5927820" y="4167102"/>
                  </a:lnTo>
                  <a:lnTo>
                    <a:pt x="5923056" y="4214754"/>
                  </a:lnTo>
                  <a:lnTo>
                    <a:pt x="5913524" y="4243346"/>
                  </a:lnTo>
                  <a:lnTo>
                    <a:pt x="5918292" y="4262406"/>
                  </a:lnTo>
                  <a:lnTo>
                    <a:pt x="5918292" y="4267170"/>
                  </a:lnTo>
                  <a:lnTo>
                    <a:pt x="5913524" y="4267170"/>
                  </a:lnTo>
                  <a:lnTo>
                    <a:pt x="5903996" y="4271938"/>
                  </a:lnTo>
                  <a:lnTo>
                    <a:pt x="5899232" y="4276702"/>
                  </a:lnTo>
                  <a:lnTo>
                    <a:pt x="5903996" y="4286230"/>
                  </a:lnTo>
                  <a:lnTo>
                    <a:pt x="5903996" y="4290998"/>
                  </a:lnTo>
                  <a:lnTo>
                    <a:pt x="5903996" y="4295762"/>
                  </a:lnTo>
                  <a:lnTo>
                    <a:pt x="5899232" y="4295762"/>
                  </a:lnTo>
                  <a:lnTo>
                    <a:pt x="5894464" y="4295762"/>
                  </a:lnTo>
                  <a:lnTo>
                    <a:pt x="5880168" y="4305294"/>
                  </a:lnTo>
                  <a:lnTo>
                    <a:pt x="5851580" y="4376770"/>
                  </a:lnTo>
                  <a:lnTo>
                    <a:pt x="5837284" y="4395830"/>
                  </a:lnTo>
                  <a:lnTo>
                    <a:pt x="5822988" y="4424422"/>
                  </a:lnTo>
                  <a:lnTo>
                    <a:pt x="5818224" y="4448246"/>
                  </a:lnTo>
                  <a:lnTo>
                    <a:pt x="5813456" y="4476838"/>
                  </a:lnTo>
                  <a:lnTo>
                    <a:pt x="5808692" y="4529254"/>
                  </a:lnTo>
                  <a:lnTo>
                    <a:pt x="5803928" y="4562610"/>
                  </a:lnTo>
                  <a:lnTo>
                    <a:pt x="5789632" y="4595966"/>
                  </a:lnTo>
                  <a:lnTo>
                    <a:pt x="5784868" y="4619790"/>
                  </a:lnTo>
                  <a:lnTo>
                    <a:pt x="5784868" y="4667442"/>
                  </a:lnTo>
                  <a:lnTo>
                    <a:pt x="5789632" y="4700798"/>
                  </a:lnTo>
                  <a:lnTo>
                    <a:pt x="5789632" y="4719858"/>
                  </a:lnTo>
                  <a:lnTo>
                    <a:pt x="5789632" y="4738918"/>
                  </a:lnTo>
                  <a:lnTo>
                    <a:pt x="5784868" y="4753214"/>
                  </a:lnTo>
                  <a:lnTo>
                    <a:pt x="5765808" y="4757978"/>
                  </a:lnTo>
                  <a:lnTo>
                    <a:pt x="5746744" y="4772274"/>
                  </a:lnTo>
                  <a:lnTo>
                    <a:pt x="5727684" y="4791334"/>
                  </a:lnTo>
                  <a:lnTo>
                    <a:pt x="5713392" y="4800866"/>
                  </a:lnTo>
                  <a:lnTo>
                    <a:pt x="5684800" y="4805630"/>
                  </a:lnTo>
                  <a:lnTo>
                    <a:pt x="5627616" y="4805630"/>
                  </a:lnTo>
                  <a:lnTo>
                    <a:pt x="5522784" y="4815162"/>
                  </a:lnTo>
                  <a:lnTo>
                    <a:pt x="5503724" y="4819926"/>
                  </a:lnTo>
                  <a:lnTo>
                    <a:pt x="5460840" y="4834222"/>
                  </a:lnTo>
                  <a:lnTo>
                    <a:pt x="5422716" y="4858046"/>
                  </a:lnTo>
                  <a:lnTo>
                    <a:pt x="5384596" y="4891402"/>
                  </a:lnTo>
                  <a:lnTo>
                    <a:pt x="5303588" y="4977178"/>
                  </a:lnTo>
                  <a:lnTo>
                    <a:pt x="5236876" y="4986706"/>
                  </a:lnTo>
                  <a:lnTo>
                    <a:pt x="5222580" y="4986706"/>
                  </a:lnTo>
                  <a:lnTo>
                    <a:pt x="5213052" y="4986706"/>
                  </a:lnTo>
                  <a:lnTo>
                    <a:pt x="5203520" y="4991470"/>
                  </a:lnTo>
                  <a:lnTo>
                    <a:pt x="5203520" y="5001002"/>
                  </a:lnTo>
                  <a:lnTo>
                    <a:pt x="5213052" y="5015298"/>
                  </a:lnTo>
                  <a:lnTo>
                    <a:pt x="5222580" y="5024826"/>
                  </a:lnTo>
                  <a:lnTo>
                    <a:pt x="5236876" y="5010534"/>
                  </a:lnTo>
                  <a:lnTo>
                    <a:pt x="5241640" y="5015298"/>
                  </a:lnTo>
                  <a:lnTo>
                    <a:pt x="5246408" y="5043886"/>
                  </a:lnTo>
                  <a:lnTo>
                    <a:pt x="5246408" y="5058182"/>
                  </a:lnTo>
                  <a:lnTo>
                    <a:pt x="5241640" y="5067714"/>
                  </a:lnTo>
                  <a:lnTo>
                    <a:pt x="5232112" y="5077246"/>
                  </a:lnTo>
                  <a:lnTo>
                    <a:pt x="5222580" y="5072478"/>
                  </a:lnTo>
                  <a:lnTo>
                    <a:pt x="5222580" y="5062950"/>
                  </a:lnTo>
                  <a:lnTo>
                    <a:pt x="5208288" y="5039122"/>
                  </a:lnTo>
                  <a:lnTo>
                    <a:pt x="5193992" y="5020062"/>
                  </a:lnTo>
                  <a:lnTo>
                    <a:pt x="5179696" y="5015298"/>
                  </a:lnTo>
                  <a:lnTo>
                    <a:pt x="5170164" y="5020062"/>
                  </a:lnTo>
                  <a:lnTo>
                    <a:pt x="5160636" y="5024826"/>
                  </a:lnTo>
                  <a:lnTo>
                    <a:pt x="5146340" y="5001002"/>
                  </a:lnTo>
                  <a:lnTo>
                    <a:pt x="5136808" y="4981942"/>
                  </a:lnTo>
                  <a:lnTo>
                    <a:pt x="5122512" y="4977178"/>
                  </a:lnTo>
                  <a:lnTo>
                    <a:pt x="5108220" y="4977178"/>
                  </a:lnTo>
                  <a:lnTo>
                    <a:pt x="5093924" y="4967646"/>
                  </a:lnTo>
                  <a:lnTo>
                    <a:pt x="5074864" y="4953350"/>
                  </a:lnTo>
                  <a:lnTo>
                    <a:pt x="5079628" y="4943822"/>
                  </a:lnTo>
                  <a:lnTo>
                    <a:pt x="5084392" y="4929526"/>
                  </a:lnTo>
                  <a:lnTo>
                    <a:pt x="5098688" y="4924758"/>
                  </a:lnTo>
                  <a:lnTo>
                    <a:pt x="5093924" y="4910462"/>
                  </a:lnTo>
                  <a:lnTo>
                    <a:pt x="5084392" y="4896170"/>
                  </a:lnTo>
                  <a:lnTo>
                    <a:pt x="5070096" y="4891402"/>
                  </a:lnTo>
                  <a:lnTo>
                    <a:pt x="5060568" y="4896170"/>
                  </a:lnTo>
                  <a:lnTo>
                    <a:pt x="5051036" y="4905698"/>
                  </a:lnTo>
                  <a:lnTo>
                    <a:pt x="5041508" y="4924758"/>
                  </a:lnTo>
                  <a:lnTo>
                    <a:pt x="5008152" y="4948586"/>
                  </a:lnTo>
                  <a:lnTo>
                    <a:pt x="4989092" y="4934290"/>
                  </a:lnTo>
                  <a:lnTo>
                    <a:pt x="4970032" y="4915230"/>
                  </a:lnTo>
                  <a:lnTo>
                    <a:pt x="4979560" y="4915230"/>
                  </a:lnTo>
                  <a:lnTo>
                    <a:pt x="4998620" y="4915230"/>
                  </a:lnTo>
                  <a:lnTo>
                    <a:pt x="5017680" y="4900934"/>
                  </a:lnTo>
                  <a:lnTo>
                    <a:pt x="5022448" y="4886638"/>
                  </a:lnTo>
                  <a:lnTo>
                    <a:pt x="5031976" y="4862814"/>
                  </a:lnTo>
                  <a:lnTo>
                    <a:pt x="5022448" y="4848518"/>
                  </a:lnTo>
                  <a:lnTo>
                    <a:pt x="5012916" y="4838986"/>
                  </a:lnTo>
                  <a:lnTo>
                    <a:pt x="4993856" y="4829458"/>
                  </a:lnTo>
                  <a:lnTo>
                    <a:pt x="4941440" y="4862814"/>
                  </a:lnTo>
                  <a:lnTo>
                    <a:pt x="4927144" y="4867578"/>
                  </a:lnTo>
                  <a:lnTo>
                    <a:pt x="4917612" y="4872342"/>
                  </a:lnTo>
                  <a:lnTo>
                    <a:pt x="4936672" y="4881874"/>
                  </a:lnTo>
                  <a:lnTo>
                    <a:pt x="4946204" y="4877106"/>
                  </a:lnTo>
                  <a:lnTo>
                    <a:pt x="4960500" y="4886638"/>
                  </a:lnTo>
                  <a:lnTo>
                    <a:pt x="4941440" y="4905698"/>
                  </a:lnTo>
                  <a:lnTo>
                    <a:pt x="4927144" y="4905698"/>
                  </a:lnTo>
                  <a:lnTo>
                    <a:pt x="4908084" y="4915230"/>
                  </a:lnTo>
                  <a:lnTo>
                    <a:pt x="4869960" y="4939054"/>
                  </a:lnTo>
                  <a:lnTo>
                    <a:pt x="4827076" y="4986706"/>
                  </a:lnTo>
                  <a:lnTo>
                    <a:pt x="4808016" y="5001002"/>
                  </a:lnTo>
                  <a:lnTo>
                    <a:pt x="4784192" y="5010534"/>
                  </a:lnTo>
                  <a:lnTo>
                    <a:pt x="4750832" y="4996238"/>
                  </a:lnTo>
                  <a:lnTo>
                    <a:pt x="4736540" y="4996238"/>
                  </a:lnTo>
                  <a:lnTo>
                    <a:pt x="4712712" y="4977178"/>
                  </a:lnTo>
                  <a:lnTo>
                    <a:pt x="4674592" y="4962882"/>
                  </a:lnTo>
                  <a:lnTo>
                    <a:pt x="4641236" y="4939054"/>
                  </a:lnTo>
                  <a:lnTo>
                    <a:pt x="4612644" y="4924758"/>
                  </a:lnTo>
                  <a:lnTo>
                    <a:pt x="4598352" y="4919994"/>
                  </a:lnTo>
                  <a:lnTo>
                    <a:pt x="4574524" y="4924758"/>
                  </a:lnTo>
                  <a:lnTo>
                    <a:pt x="4531640" y="4905698"/>
                  </a:lnTo>
                  <a:lnTo>
                    <a:pt x="4503048" y="4900934"/>
                  </a:lnTo>
                  <a:lnTo>
                    <a:pt x="4479220" y="4924758"/>
                  </a:lnTo>
                  <a:lnTo>
                    <a:pt x="4464928" y="4924758"/>
                  </a:lnTo>
                  <a:lnTo>
                    <a:pt x="4455396" y="4919994"/>
                  </a:lnTo>
                  <a:lnTo>
                    <a:pt x="4422040" y="4881874"/>
                  </a:lnTo>
                  <a:lnTo>
                    <a:pt x="4388684" y="4862814"/>
                  </a:lnTo>
                  <a:lnTo>
                    <a:pt x="4331504" y="4853282"/>
                  </a:lnTo>
                  <a:lnTo>
                    <a:pt x="4293384" y="4824690"/>
                  </a:lnTo>
                  <a:lnTo>
                    <a:pt x="4264792" y="4777042"/>
                  </a:lnTo>
                  <a:lnTo>
                    <a:pt x="4212376" y="4719858"/>
                  </a:lnTo>
                  <a:lnTo>
                    <a:pt x="4198080" y="4700798"/>
                  </a:lnTo>
                  <a:lnTo>
                    <a:pt x="4193312" y="4676974"/>
                  </a:lnTo>
                  <a:lnTo>
                    <a:pt x="4193312" y="4662678"/>
                  </a:lnTo>
                  <a:lnTo>
                    <a:pt x="4198080" y="4629322"/>
                  </a:lnTo>
                  <a:lnTo>
                    <a:pt x="4207608" y="4600730"/>
                  </a:lnTo>
                  <a:lnTo>
                    <a:pt x="4207608" y="4586434"/>
                  </a:lnTo>
                  <a:lnTo>
                    <a:pt x="4188548" y="4529254"/>
                  </a:lnTo>
                  <a:lnTo>
                    <a:pt x="4159960" y="4476838"/>
                  </a:lnTo>
                  <a:lnTo>
                    <a:pt x="4150428" y="4457778"/>
                  </a:lnTo>
                  <a:lnTo>
                    <a:pt x="4112308" y="4424422"/>
                  </a:lnTo>
                  <a:lnTo>
                    <a:pt x="4078952" y="4395830"/>
                  </a:lnTo>
                  <a:lnTo>
                    <a:pt x="4074184" y="4381534"/>
                  </a:lnTo>
                  <a:lnTo>
                    <a:pt x="4069420" y="4376770"/>
                  </a:lnTo>
                  <a:lnTo>
                    <a:pt x="4083716" y="4376770"/>
                  </a:lnTo>
                  <a:lnTo>
                    <a:pt x="4093248" y="4367238"/>
                  </a:lnTo>
                  <a:lnTo>
                    <a:pt x="4102776" y="4362474"/>
                  </a:lnTo>
                  <a:lnTo>
                    <a:pt x="4112308" y="4376770"/>
                  </a:lnTo>
                  <a:lnTo>
                    <a:pt x="4121836" y="4381534"/>
                  </a:lnTo>
                  <a:lnTo>
                    <a:pt x="4121836" y="4357710"/>
                  </a:lnTo>
                  <a:lnTo>
                    <a:pt x="4126604" y="4348178"/>
                  </a:lnTo>
                  <a:lnTo>
                    <a:pt x="4121836" y="4338650"/>
                  </a:lnTo>
                  <a:lnTo>
                    <a:pt x="4121836" y="4333882"/>
                  </a:lnTo>
                  <a:lnTo>
                    <a:pt x="4107540" y="4329118"/>
                  </a:lnTo>
                  <a:lnTo>
                    <a:pt x="4088480" y="4338650"/>
                  </a:lnTo>
                  <a:lnTo>
                    <a:pt x="4078952" y="4348178"/>
                  </a:lnTo>
                  <a:lnTo>
                    <a:pt x="4059892" y="4357710"/>
                  </a:lnTo>
                  <a:lnTo>
                    <a:pt x="4055124" y="4367238"/>
                  </a:lnTo>
                  <a:lnTo>
                    <a:pt x="4040832" y="4367238"/>
                  </a:lnTo>
                  <a:lnTo>
                    <a:pt x="4031300" y="4372006"/>
                  </a:lnTo>
                  <a:lnTo>
                    <a:pt x="4002708" y="4386298"/>
                  </a:lnTo>
                  <a:lnTo>
                    <a:pt x="3978884" y="4386298"/>
                  </a:lnTo>
                  <a:lnTo>
                    <a:pt x="3945528" y="4381534"/>
                  </a:lnTo>
                  <a:lnTo>
                    <a:pt x="3959824" y="4357710"/>
                  </a:lnTo>
                  <a:lnTo>
                    <a:pt x="3969352" y="4343414"/>
                  </a:lnTo>
                  <a:lnTo>
                    <a:pt x="3983648" y="4324354"/>
                  </a:lnTo>
                  <a:lnTo>
                    <a:pt x="3997944" y="4267170"/>
                  </a:lnTo>
                  <a:lnTo>
                    <a:pt x="3997944" y="4219522"/>
                  </a:lnTo>
                  <a:lnTo>
                    <a:pt x="3988412" y="4200458"/>
                  </a:lnTo>
                  <a:lnTo>
                    <a:pt x="3959824" y="4157574"/>
                  </a:lnTo>
                  <a:lnTo>
                    <a:pt x="3950292" y="4133746"/>
                  </a:lnTo>
                  <a:lnTo>
                    <a:pt x="3931232" y="4105158"/>
                  </a:lnTo>
                  <a:lnTo>
                    <a:pt x="3926468" y="4119454"/>
                  </a:lnTo>
                  <a:lnTo>
                    <a:pt x="3921700" y="4138514"/>
                  </a:lnTo>
                  <a:lnTo>
                    <a:pt x="3907408" y="4162338"/>
                  </a:lnTo>
                  <a:lnTo>
                    <a:pt x="3897876" y="4214754"/>
                  </a:lnTo>
                  <a:lnTo>
                    <a:pt x="3869284" y="4290998"/>
                  </a:lnTo>
                  <a:lnTo>
                    <a:pt x="3850224" y="4290998"/>
                  </a:lnTo>
                  <a:lnTo>
                    <a:pt x="3835928" y="4290998"/>
                  </a:lnTo>
                  <a:lnTo>
                    <a:pt x="3807340" y="4295762"/>
                  </a:lnTo>
                  <a:lnTo>
                    <a:pt x="3783512" y="4310058"/>
                  </a:lnTo>
                  <a:lnTo>
                    <a:pt x="3769216" y="4310058"/>
                  </a:lnTo>
                  <a:lnTo>
                    <a:pt x="3759688" y="4314822"/>
                  </a:lnTo>
                  <a:lnTo>
                    <a:pt x="3745392" y="4310058"/>
                  </a:lnTo>
                  <a:lnTo>
                    <a:pt x="3764452" y="4248110"/>
                  </a:lnTo>
                  <a:lnTo>
                    <a:pt x="3783512" y="4248110"/>
                  </a:lnTo>
                  <a:lnTo>
                    <a:pt x="3802572" y="4248110"/>
                  </a:lnTo>
                  <a:lnTo>
                    <a:pt x="3812104" y="4248110"/>
                  </a:lnTo>
                  <a:lnTo>
                    <a:pt x="3826400" y="4248110"/>
                  </a:lnTo>
                  <a:lnTo>
                    <a:pt x="3835928" y="4219522"/>
                  </a:lnTo>
                  <a:lnTo>
                    <a:pt x="3840696" y="4186166"/>
                  </a:lnTo>
                  <a:lnTo>
                    <a:pt x="3835928" y="4167102"/>
                  </a:lnTo>
                  <a:lnTo>
                    <a:pt x="3835928" y="4148042"/>
                  </a:lnTo>
                  <a:lnTo>
                    <a:pt x="3840696" y="4124218"/>
                  </a:lnTo>
                  <a:lnTo>
                    <a:pt x="3840696" y="4105158"/>
                  </a:lnTo>
                  <a:lnTo>
                    <a:pt x="3864520" y="4047974"/>
                  </a:lnTo>
                  <a:lnTo>
                    <a:pt x="3883580" y="4019386"/>
                  </a:lnTo>
                  <a:lnTo>
                    <a:pt x="3907408" y="3995558"/>
                  </a:lnTo>
                  <a:lnTo>
                    <a:pt x="3907408" y="3971734"/>
                  </a:lnTo>
                  <a:lnTo>
                    <a:pt x="3897876" y="3947906"/>
                  </a:lnTo>
                  <a:lnTo>
                    <a:pt x="3897876" y="3924082"/>
                  </a:lnTo>
                  <a:lnTo>
                    <a:pt x="3907408" y="3919318"/>
                  </a:lnTo>
                  <a:lnTo>
                    <a:pt x="3916936" y="3905022"/>
                  </a:lnTo>
                  <a:lnTo>
                    <a:pt x="3907408" y="3843074"/>
                  </a:lnTo>
                  <a:lnTo>
                    <a:pt x="3897876" y="3828778"/>
                  </a:lnTo>
                  <a:lnTo>
                    <a:pt x="3883580" y="3809718"/>
                  </a:lnTo>
                  <a:lnTo>
                    <a:pt x="3883580" y="3833546"/>
                  </a:lnTo>
                  <a:lnTo>
                    <a:pt x="3888344" y="3852606"/>
                  </a:lnTo>
                  <a:lnTo>
                    <a:pt x="3869284" y="3881198"/>
                  </a:lnTo>
                  <a:lnTo>
                    <a:pt x="3845460" y="3905022"/>
                  </a:lnTo>
                  <a:lnTo>
                    <a:pt x="3831164" y="3924082"/>
                  </a:lnTo>
                  <a:lnTo>
                    <a:pt x="3816868" y="3966970"/>
                  </a:lnTo>
                  <a:lnTo>
                    <a:pt x="3802572" y="4005090"/>
                  </a:lnTo>
                  <a:lnTo>
                    <a:pt x="3783512" y="4019386"/>
                  </a:lnTo>
                  <a:lnTo>
                    <a:pt x="3769216" y="4024150"/>
                  </a:lnTo>
                  <a:lnTo>
                    <a:pt x="3754924" y="4028914"/>
                  </a:lnTo>
                  <a:lnTo>
                    <a:pt x="3731096" y="4043210"/>
                  </a:lnTo>
                  <a:lnTo>
                    <a:pt x="3707272" y="4057506"/>
                  </a:lnTo>
                  <a:lnTo>
                    <a:pt x="3688212" y="4071802"/>
                  </a:lnTo>
                  <a:lnTo>
                    <a:pt x="3673916" y="4081330"/>
                  </a:lnTo>
                  <a:lnTo>
                    <a:pt x="3626264" y="4157574"/>
                  </a:lnTo>
                  <a:lnTo>
                    <a:pt x="3602440" y="4181398"/>
                  </a:lnTo>
                  <a:lnTo>
                    <a:pt x="3597672" y="4190930"/>
                  </a:lnTo>
                  <a:lnTo>
                    <a:pt x="3588144" y="4200458"/>
                  </a:lnTo>
                  <a:lnTo>
                    <a:pt x="3592908" y="4209990"/>
                  </a:lnTo>
                  <a:lnTo>
                    <a:pt x="3597672" y="4219522"/>
                  </a:lnTo>
                  <a:lnTo>
                    <a:pt x="3607204" y="4252874"/>
                  </a:lnTo>
                  <a:lnTo>
                    <a:pt x="3602440" y="4262406"/>
                  </a:lnTo>
                  <a:lnTo>
                    <a:pt x="3592908" y="4257642"/>
                  </a:lnTo>
                  <a:lnTo>
                    <a:pt x="3573848" y="4238582"/>
                  </a:lnTo>
                  <a:lnTo>
                    <a:pt x="3564316" y="4243346"/>
                  </a:lnTo>
                  <a:lnTo>
                    <a:pt x="3550020" y="4252874"/>
                  </a:lnTo>
                  <a:lnTo>
                    <a:pt x="3526196" y="4219522"/>
                  </a:lnTo>
                  <a:lnTo>
                    <a:pt x="3516664" y="4209990"/>
                  </a:lnTo>
                  <a:lnTo>
                    <a:pt x="3502372" y="4195694"/>
                  </a:lnTo>
                  <a:lnTo>
                    <a:pt x="3488076" y="4186166"/>
                  </a:lnTo>
                  <a:lnTo>
                    <a:pt x="3478544" y="4181398"/>
                  </a:lnTo>
                  <a:lnTo>
                    <a:pt x="3469016" y="4186166"/>
                  </a:lnTo>
                  <a:lnTo>
                    <a:pt x="3469016" y="4176634"/>
                  </a:lnTo>
                  <a:lnTo>
                    <a:pt x="3478544" y="4167102"/>
                  </a:lnTo>
                  <a:lnTo>
                    <a:pt x="3483312" y="4167102"/>
                  </a:lnTo>
                  <a:lnTo>
                    <a:pt x="3497604" y="4176634"/>
                  </a:lnTo>
                  <a:lnTo>
                    <a:pt x="3511900" y="4186166"/>
                  </a:lnTo>
                  <a:lnTo>
                    <a:pt x="3516664" y="4190930"/>
                  </a:lnTo>
                  <a:lnTo>
                    <a:pt x="3521432" y="4186166"/>
                  </a:lnTo>
                  <a:lnTo>
                    <a:pt x="3507136" y="4143278"/>
                  </a:lnTo>
                  <a:lnTo>
                    <a:pt x="3497604" y="4109922"/>
                  </a:lnTo>
                  <a:lnTo>
                    <a:pt x="3497604" y="4100390"/>
                  </a:lnTo>
                  <a:lnTo>
                    <a:pt x="3483312" y="4067038"/>
                  </a:lnTo>
                  <a:lnTo>
                    <a:pt x="3478544" y="4057506"/>
                  </a:lnTo>
                  <a:lnTo>
                    <a:pt x="3459484" y="4033682"/>
                  </a:lnTo>
                  <a:lnTo>
                    <a:pt x="3435660" y="4005090"/>
                  </a:lnTo>
                  <a:lnTo>
                    <a:pt x="3426128" y="3971734"/>
                  </a:lnTo>
                  <a:lnTo>
                    <a:pt x="3416600" y="3947906"/>
                  </a:lnTo>
                  <a:lnTo>
                    <a:pt x="3407068" y="3933614"/>
                  </a:lnTo>
                  <a:lnTo>
                    <a:pt x="3388008" y="3924082"/>
                  </a:lnTo>
                  <a:lnTo>
                    <a:pt x="3340356" y="3919318"/>
                  </a:lnTo>
                  <a:lnTo>
                    <a:pt x="3321296" y="3881198"/>
                  </a:lnTo>
                  <a:lnTo>
                    <a:pt x="3311764" y="3838310"/>
                  </a:lnTo>
                  <a:lnTo>
                    <a:pt x="3321296" y="3838310"/>
                  </a:lnTo>
                  <a:lnTo>
                    <a:pt x="3330824" y="3838310"/>
                  </a:lnTo>
                  <a:lnTo>
                    <a:pt x="3335592" y="3824014"/>
                  </a:lnTo>
                  <a:lnTo>
                    <a:pt x="3330824" y="3804954"/>
                  </a:lnTo>
                  <a:lnTo>
                    <a:pt x="3283176" y="3776362"/>
                  </a:lnTo>
                  <a:lnTo>
                    <a:pt x="3259348" y="3752538"/>
                  </a:lnTo>
                  <a:lnTo>
                    <a:pt x="3240288" y="3738242"/>
                  </a:lnTo>
                  <a:lnTo>
                    <a:pt x="3225992" y="3733478"/>
                  </a:lnTo>
                  <a:lnTo>
                    <a:pt x="3202168" y="3738242"/>
                  </a:lnTo>
                  <a:lnTo>
                    <a:pt x="3173576" y="3733478"/>
                  </a:lnTo>
                  <a:lnTo>
                    <a:pt x="3102100" y="3695358"/>
                  </a:lnTo>
                  <a:lnTo>
                    <a:pt x="3083040" y="3690590"/>
                  </a:lnTo>
                  <a:lnTo>
                    <a:pt x="3035388" y="3704886"/>
                  </a:lnTo>
                  <a:lnTo>
                    <a:pt x="3016328" y="3704886"/>
                  </a:lnTo>
                  <a:lnTo>
                    <a:pt x="2940084" y="3647706"/>
                  </a:lnTo>
                  <a:lnTo>
                    <a:pt x="2887668" y="3619114"/>
                  </a:lnTo>
                  <a:lnTo>
                    <a:pt x="2868608" y="3614350"/>
                  </a:lnTo>
                  <a:lnTo>
                    <a:pt x="2849548" y="3609582"/>
                  </a:lnTo>
                  <a:lnTo>
                    <a:pt x="2830488" y="3614350"/>
                  </a:lnTo>
                  <a:lnTo>
                    <a:pt x="2816192" y="3623878"/>
                  </a:lnTo>
                  <a:lnTo>
                    <a:pt x="2792368" y="3628646"/>
                  </a:lnTo>
                  <a:lnTo>
                    <a:pt x="2692300" y="3623878"/>
                  </a:lnTo>
                  <a:lnTo>
                    <a:pt x="2601760" y="3633410"/>
                  </a:lnTo>
                  <a:lnTo>
                    <a:pt x="2544580" y="3638174"/>
                  </a:lnTo>
                  <a:lnTo>
                    <a:pt x="2506460" y="3647706"/>
                  </a:lnTo>
                  <a:lnTo>
                    <a:pt x="2444512" y="3681062"/>
                  </a:lnTo>
                  <a:lnTo>
                    <a:pt x="2368272" y="3714418"/>
                  </a:lnTo>
                  <a:lnTo>
                    <a:pt x="2306324" y="3728710"/>
                  </a:lnTo>
                  <a:lnTo>
                    <a:pt x="2249144" y="3752538"/>
                  </a:lnTo>
                  <a:lnTo>
                    <a:pt x="2215788" y="3757302"/>
                  </a:lnTo>
                  <a:lnTo>
                    <a:pt x="2168136" y="3762066"/>
                  </a:lnTo>
                  <a:lnTo>
                    <a:pt x="2068068" y="3747774"/>
                  </a:lnTo>
                  <a:lnTo>
                    <a:pt x="2029948" y="3757302"/>
                  </a:lnTo>
                  <a:lnTo>
                    <a:pt x="1977528" y="3795422"/>
                  </a:lnTo>
                  <a:lnTo>
                    <a:pt x="1963236" y="3804954"/>
                  </a:lnTo>
                  <a:lnTo>
                    <a:pt x="1929880" y="3814486"/>
                  </a:lnTo>
                  <a:lnTo>
                    <a:pt x="1848872" y="3866902"/>
                  </a:lnTo>
                  <a:lnTo>
                    <a:pt x="1815516" y="3876430"/>
                  </a:lnTo>
                  <a:lnTo>
                    <a:pt x="1791688" y="3881198"/>
                  </a:lnTo>
                  <a:lnTo>
                    <a:pt x="1772628" y="3890726"/>
                  </a:lnTo>
                  <a:lnTo>
                    <a:pt x="1753568" y="3909786"/>
                  </a:lnTo>
                  <a:lnTo>
                    <a:pt x="1729744" y="3971734"/>
                  </a:lnTo>
                  <a:lnTo>
                    <a:pt x="1710684" y="4000326"/>
                  </a:lnTo>
                  <a:lnTo>
                    <a:pt x="1677328" y="4043210"/>
                  </a:lnTo>
                  <a:lnTo>
                    <a:pt x="1653500" y="4057506"/>
                  </a:lnTo>
                  <a:lnTo>
                    <a:pt x="1634440" y="4057506"/>
                  </a:lnTo>
                  <a:lnTo>
                    <a:pt x="1610616" y="4071802"/>
                  </a:lnTo>
                  <a:lnTo>
                    <a:pt x="1586788" y="4057506"/>
                  </a:lnTo>
                  <a:lnTo>
                    <a:pt x="1567728" y="4052742"/>
                  </a:lnTo>
                  <a:lnTo>
                    <a:pt x="1539136" y="4052742"/>
                  </a:lnTo>
                  <a:lnTo>
                    <a:pt x="1443836" y="4071802"/>
                  </a:lnTo>
                  <a:lnTo>
                    <a:pt x="1429540" y="4052742"/>
                  </a:lnTo>
                  <a:lnTo>
                    <a:pt x="1410480" y="4047974"/>
                  </a:lnTo>
                  <a:lnTo>
                    <a:pt x="1377124" y="4047974"/>
                  </a:lnTo>
                  <a:lnTo>
                    <a:pt x="1324708" y="4043210"/>
                  </a:lnTo>
                  <a:lnTo>
                    <a:pt x="1234168" y="4047974"/>
                  </a:lnTo>
                  <a:lnTo>
                    <a:pt x="1191284" y="4057506"/>
                  </a:lnTo>
                  <a:lnTo>
                    <a:pt x="1172224" y="4067038"/>
                  </a:lnTo>
                  <a:lnTo>
                    <a:pt x="1138868" y="4062270"/>
                  </a:lnTo>
                  <a:lnTo>
                    <a:pt x="1086452" y="4071802"/>
                  </a:lnTo>
                  <a:lnTo>
                    <a:pt x="1067392" y="4081330"/>
                  </a:lnTo>
                  <a:lnTo>
                    <a:pt x="1048328" y="4090862"/>
                  </a:lnTo>
                  <a:lnTo>
                    <a:pt x="1024504" y="4143278"/>
                  </a:lnTo>
                  <a:lnTo>
                    <a:pt x="991148" y="4162338"/>
                  </a:lnTo>
                  <a:lnTo>
                    <a:pt x="962556" y="4162338"/>
                  </a:lnTo>
                  <a:lnTo>
                    <a:pt x="933968" y="4167102"/>
                  </a:lnTo>
                  <a:lnTo>
                    <a:pt x="876784" y="4214754"/>
                  </a:lnTo>
                  <a:lnTo>
                    <a:pt x="814840" y="4262406"/>
                  </a:lnTo>
                  <a:lnTo>
                    <a:pt x="795780" y="4267170"/>
                  </a:lnTo>
                  <a:lnTo>
                    <a:pt x="771952" y="4276702"/>
                  </a:lnTo>
                  <a:lnTo>
                    <a:pt x="743360" y="4276702"/>
                  </a:lnTo>
                  <a:lnTo>
                    <a:pt x="729068" y="4281466"/>
                  </a:lnTo>
                  <a:lnTo>
                    <a:pt x="662356" y="4271938"/>
                  </a:lnTo>
                  <a:lnTo>
                    <a:pt x="619468" y="4267170"/>
                  </a:lnTo>
                  <a:lnTo>
                    <a:pt x="562288" y="4262406"/>
                  </a:lnTo>
                  <a:lnTo>
                    <a:pt x="514636" y="4238582"/>
                  </a:lnTo>
                  <a:lnTo>
                    <a:pt x="481280" y="4224286"/>
                  </a:lnTo>
                  <a:lnTo>
                    <a:pt x="438392" y="4171870"/>
                  </a:lnTo>
                  <a:lnTo>
                    <a:pt x="414568" y="4152810"/>
                  </a:lnTo>
                  <a:lnTo>
                    <a:pt x="371680" y="4133746"/>
                  </a:lnTo>
                  <a:lnTo>
                    <a:pt x="357388" y="4133746"/>
                  </a:lnTo>
                  <a:lnTo>
                    <a:pt x="347856" y="4138514"/>
                  </a:lnTo>
                  <a:lnTo>
                    <a:pt x="328796" y="4124218"/>
                  </a:lnTo>
                  <a:lnTo>
                    <a:pt x="328796" y="4100390"/>
                  </a:lnTo>
                  <a:lnTo>
                    <a:pt x="324032" y="4086098"/>
                  </a:lnTo>
                  <a:lnTo>
                    <a:pt x="324032" y="4038446"/>
                  </a:lnTo>
                  <a:lnTo>
                    <a:pt x="324032" y="3981262"/>
                  </a:lnTo>
                  <a:lnTo>
                    <a:pt x="343092" y="3995558"/>
                  </a:lnTo>
                  <a:lnTo>
                    <a:pt x="357388" y="4005090"/>
                  </a:lnTo>
                  <a:lnTo>
                    <a:pt x="381212" y="4005090"/>
                  </a:lnTo>
                  <a:lnTo>
                    <a:pt x="405036" y="3986030"/>
                  </a:lnTo>
                  <a:lnTo>
                    <a:pt x="419332" y="3957438"/>
                  </a:lnTo>
                  <a:lnTo>
                    <a:pt x="433628" y="3924082"/>
                  </a:lnTo>
                  <a:lnTo>
                    <a:pt x="433628" y="3885962"/>
                  </a:lnTo>
                  <a:lnTo>
                    <a:pt x="424100" y="3824014"/>
                  </a:lnTo>
                  <a:lnTo>
                    <a:pt x="428864" y="3809718"/>
                  </a:lnTo>
                  <a:lnTo>
                    <a:pt x="438392" y="3804954"/>
                  </a:lnTo>
                  <a:lnTo>
                    <a:pt x="438392" y="3776362"/>
                  </a:lnTo>
                  <a:lnTo>
                    <a:pt x="443160" y="3681062"/>
                  </a:lnTo>
                  <a:lnTo>
                    <a:pt x="438392" y="3647706"/>
                  </a:lnTo>
                  <a:lnTo>
                    <a:pt x="400272" y="3576226"/>
                  </a:lnTo>
                  <a:lnTo>
                    <a:pt x="371680" y="3514282"/>
                  </a:lnTo>
                  <a:lnTo>
                    <a:pt x="352620" y="3485690"/>
                  </a:lnTo>
                  <a:lnTo>
                    <a:pt x="338324" y="3438038"/>
                  </a:lnTo>
                  <a:lnTo>
                    <a:pt x="324032" y="3376094"/>
                  </a:lnTo>
                  <a:lnTo>
                    <a:pt x="324032" y="3342738"/>
                  </a:lnTo>
                  <a:lnTo>
                    <a:pt x="319264" y="3285554"/>
                  </a:lnTo>
                  <a:lnTo>
                    <a:pt x="324032" y="3256966"/>
                  </a:lnTo>
                  <a:lnTo>
                    <a:pt x="319264" y="3237902"/>
                  </a:lnTo>
                  <a:lnTo>
                    <a:pt x="304972" y="3185486"/>
                  </a:lnTo>
                  <a:lnTo>
                    <a:pt x="266848" y="3133070"/>
                  </a:lnTo>
                  <a:lnTo>
                    <a:pt x="262084" y="3118774"/>
                  </a:lnTo>
                  <a:lnTo>
                    <a:pt x="262084" y="3099714"/>
                  </a:lnTo>
                  <a:lnTo>
                    <a:pt x="252552" y="3075890"/>
                  </a:lnTo>
                  <a:lnTo>
                    <a:pt x="223964" y="3033002"/>
                  </a:lnTo>
                  <a:lnTo>
                    <a:pt x="195372" y="2994882"/>
                  </a:lnTo>
                  <a:lnTo>
                    <a:pt x="190608" y="2975822"/>
                  </a:lnTo>
                  <a:lnTo>
                    <a:pt x="185840" y="2899578"/>
                  </a:lnTo>
                  <a:lnTo>
                    <a:pt x="176312" y="2866222"/>
                  </a:lnTo>
                  <a:lnTo>
                    <a:pt x="123896" y="2775686"/>
                  </a:lnTo>
                  <a:lnTo>
                    <a:pt x="66712" y="2704210"/>
                  </a:lnTo>
                  <a:lnTo>
                    <a:pt x="52420" y="2670854"/>
                  </a:lnTo>
                  <a:lnTo>
                    <a:pt x="42888" y="2661322"/>
                  </a:lnTo>
                  <a:lnTo>
                    <a:pt x="47652" y="2661322"/>
                  </a:lnTo>
                  <a:lnTo>
                    <a:pt x="52420" y="2661322"/>
                  </a:lnTo>
                  <a:lnTo>
                    <a:pt x="61948" y="2670854"/>
                  </a:lnTo>
                  <a:lnTo>
                    <a:pt x="66712" y="2670854"/>
                  </a:lnTo>
                  <a:lnTo>
                    <a:pt x="66712" y="2666090"/>
                  </a:lnTo>
                  <a:lnTo>
                    <a:pt x="66712" y="2651794"/>
                  </a:lnTo>
                  <a:lnTo>
                    <a:pt x="71480" y="2642262"/>
                  </a:lnTo>
                  <a:lnTo>
                    <a:pt x="76244" y="2647026"/>
                  </a:lnTo>
                  <a:lnTo>
                    <a:pt x="81008" y="2666090"/>
                  </a:lnTo>
                  <a:lnTo>
                    <a:pt x="100068" y="2704210"/>
                  </a:lnTo>
                  <a:lnTo>
                    <a:pt x="104836" y="2728034"/>
                  </a:lnTo>
                  <a:lnTo>
                    <a:pt x="128660" y="2732802"/>
                  </a:lnTo>
                  <a:lnTo>
                    <a:pt x="138192" y="2728034"/>
                  </a:lnTo>
                  <a:lnTo>
                    <a:pt x="142956" y="2718506"/>
                  </a:lnTo>
                  <a:lnTo>
                    <a:pt x="147720" y="2689914"/>
                  </a:lnTo>
                  <a:lnTo>
                    <a:pt x="133424" y="2675618"/>
                  </a:lnTo>
                  <a:lnTo>
                    <a:pt x="123896" y="2670854"/>
                  </a:lnTo>
                  <a:lnTo>
                    <a:pt x="104836" y="2647026"/>
                  </a:lnTo>
                  <a:lnTo>
                    <a:pt x="95304" y="2613670"/>
                  </a:lnTo>
                  <a:lnTo>
                    <a:pt x="76244" y="2580318"/>
                  </a:lnTo>
                  <a:lnTo>
                    <a:pt x="76244" y="2570786"/>
                  </a:lnTo>
                  <a:lnTo>
                    <a:pt x="85776" y="2561254"/>
                  </a:lnTo>
                  <a:lnTo>
                    <a:pt x="100068" y="2566022"/>
                  </a:lnTo>
                  <a:lnTo>
                    <a:pt x="109600" y="2585082"/>
                  </a:lnTo>
                  <a:lnTo>
                    <a:pt x="123896" y="2599378"/>
                  </a:lnTo>
                  <a:lnTo>
                    <a:pt x="123896" y="2632734"/>
                  </a:lnTo>
                  <a:lnTo>
                    <a:pt x="119132" y="2637498"/>
                  </a:lnTo>
                  <a:lnTo>
                    <a:pt x="123896" y="2647026"/>
                  </a:lnTo>
                  <a:lnTo>
                    <a:pt x="128660" y="2651794"/>
                  </a:lnTo>
                  <a:lnTo>
                    <a:pt x="133424" y="2656558"/>
                  </a:lnTo>
                  <a:lnTo>
                    <a:pt x="142956" y="2651794"/>
                  </a:lnTo>
                  <a:lnTo>
                    <a:pt x="147720" y="2632734"/>
                  </a:lnTo>
                  <a:lnTo>
                    <a:pt x="152484" y="2632734"/>
                  </a:lnTo>
                  <a:lnTo>
                    <a:pt x="162016" y="2675618"/>
                  </a:lnTo>
                  <a:lnTo>
                    <a:pt x="171548" y="2685150"/>
                  </a:lnTo>
                  <a:lnTo>
                    <a:pt x="185840" y="2699446"/>
                  </a:lnTo>
                  <a:lnTo>
                    <a:pt x="200136" y="2689914"/>
                  </a:lnTo>
                  <a:lnTo>
                    <a:pt x="204904" y="2680382"/>
                  </a:lnTo>
                  <a:lnTo>
                    <a:pt x="200136" y="2651794"/>
                  </a:lnTo>
                  <a:lnTo>
                    <a:pt x="204904" y="2623202"/>
                  </a:lnTo>
                  <a:lnTo>
                    <a:pt x="204904" y="2604142"/>
                  </a:lnTo>
                  <a:lnTo>
                    <a:pt x="171548" y="2551726"/>
                  </a:lnTo>
                  <a:lnTo>
                    <a:pt x="138192" y="2485014"/>
                  </a:lnTo>
                  <a:lnTo>
                    <a:pt x="119132" y="2451658"/>
                  </a:lnTo>
                  <a:lnTo>
                    <a:pt x="104836" y="2404006"/>
                  </a:lnTo>
                  <a:lnTo>
                    <a:pt x="90540" y="2384946"/>
                  </a:lnTo>
                  <a:lnTo>
                    <a:pt x="81008" y="2361122"/>
                  </a:lnTo>
                  <a:lnTo>
                    <a:pt x="81008" y="2327766"/>
                  </a:lnTo>
                  <a:lnTo>
                    <a:pt x="81008" y="2308702"/>
                  </a:lnTo>
                  <a:lnTo>
                    <a:pt x="90540" y="2261054"/>
                  </a:lnTo>
                  <a:lnTo>
                    <a:pt x="100068" y="2237226"/>
                  </a:lnTo>
                  <a:lnTo>
                    <a:pt x="133424" y="2184810"/>
                  </a:lnTo>
                  <a:lnTo>
                    <a:pt x="133424" y="2160986"/>
                  </a:lnTo>
                  <a:lnTo>
                    <a:pt x="133424" y="2146690"/>
                  </a:lnTo>
                  <a:lnTo>
                    <a:pt x="138192" y="2118098"/>
                  </a:lnTo>
                  <a:lnTo>
                    <a:pt x="138192" y="2099038"/>
                  </a:lnTo>
                  <a:lnTo>
                    <a:pt x="133424" y="2084742"/>
                  </a:lnTo>
                  <a:lnTo>
                    <a:pt x="119132" y="2051386"/>
                  </a:lnTo>
                  <a:lnTo>
                    <a:pt x="138192" y="2003734"/>
                  </a:lnTo>
                  <a:lnTo>
                    <a:pt x="162016" y="1937022"/>
                  </a:lnTo>
                  <a:lnTo>
                    <a:pt x="171548" y="1927494"/>
                  </a:lnTo>
                  <a:lnTo>
                    <a:pt x="190608" y="1917962"/>
                  </a:lnTo>
                  <a:lnTo>
                    <a:pt x="190608" y="1932258"/>
                  </a:lnTo>
                  <a:lnTo>
                    <a:pt x="185840" y="1975146"/>
                  </a:lnTo>
                  <a:lnTo>
                    <a:pt x="195372" y="1998970"/>
                  </a:lnTo>
                  <a:lnTo>
                    <a:pt x="190608" y="2027562"/>
                  </a:lnTo>
                  <a:lnTo>
                    <a:pt x="204904" y="2022798"/>
                  </a:lnTo>
                  <a:lnTo>
                    <a:pt x="219196" y="2018030"/>
                  </a:lnTo>
                  <a:lnTo>
                    <a:pt x="228728" y="2003734"/>
                  </a:lnTo>
                  <a:lnTo>
                    <a:pt x="238260" y="1989442"/>
                  </a:lnTo>
                  <a:lnTo>
                    <a:pt x="266848" y="1937022"/>
                  </a:lnTo>
                  <a:lnTo>
                    <a:pt x="281144" y="1917962"/>
                  </a:lnTo>
                  <a:lnTo>
                    <a:pt x="304972" y="1903666"/>
                  </a:lnTo>
                  <a:lnTo>
                    <a:pt x="352620" y="1884606"/>
                  </a:lnTo>
                  <a:lnTo>
                    <a:pt x="400272" y="1860782"/>
                  </a:lnTo>
                  <a:lnTo>
                    <a:pt x="419332" y="1836958"/>
                  </a:lnTo>
                  <a:lnTo>
                    <a:pt x="447924" y="1817894"/>
                  </a:lnTo>
                  <a:lnTo>
                    <a:pt x="466984" y="1798834"/>
                  </a:lnTo>
                  <a:lnTo>
                    <a:pt x="486044" y="1784538"/>
                  </a:lnTo>
                  <a:lnTo>
                    <a:pt x="576584" y="1732122"/>
                  </a:lnTo>
                  <a:lnTo>
                    <a:pt x="595644" y="1717826"/>
                  </a:lnTo>
                  <a:lnTo>
                    <a:pt x="614704" y="1717826"/>
                  </a:lnTo>
                  <a:lnTo>
                    <a:pt x="638528" y="1722594"/>
                  </a:lnTo>
                  <a:lnTo>
                    <a:pt x="662356" y="1717826"/>
                  </a:lnTo>
                  <a:lnTo>
                    <a:pt x="686180" y="1732122"/>
                  </a:lnTo>
                  <a:lnTo>
                    <a:pt x="700476" y="1732122"/>
                  </a:lnTo>
                  <a:lnTo>
                    <a:pt x="748128" y="1717826"/>
                  </a:lnTo>
                  <a:lnTo>
                    <a:pt x="767188" y="1708298"/>
                  </a:lnTo>
                  <a:lnTo>
                    <a:pt x="810072" y="1679706"/>
                  </a:lnTo>
                  <a:lnTo>
                    <a:pt x="824368" y="1674942"/>
                  </a:lnTo>
                  <a:lnTo>
                    <a:pt x="867256" y="1665410"/>
                  </a:lnTo>
                  <a:lnTo>
                    <a:pt x="914908" y="1655882"/>
                  </a:lnTo>
                  <a:lnTo>
                    <a:pt x="967324" y="1608230"/>
                  </a:lnTo>
                  <a:lnTo>
                    <a:pt x="1005444" y="1612994"/>
                  </a:lnTo>
                  <a:lnTo>
                    <a:pt x="1043564" y="1617762"/>
                  </a:lnTo>
                  <a:lnTo>
                    <a:pt x="1072156" y="1603466"/>
                  </a:lnTo>
                  <a:lnTo>
                    <a:pt x="1138868" y="1593934"/>
                  </a:lnTo>
                  <a:lnTo>
                    <a:pt x="1176988" y="1584406"/>
                  </a:lnTo>
                  <a:lnTo>
                    <a:pt x="1243700" y="1555814"/>
                  </a:lnTo>
                  <a:lnTo>
                    <a:pt x="1262760" y="1546282"/>
                  </a:lnTo>
                  <a:lnTo>
                    <a:pt x="1291352" y="1522458"/>
                  </a:lnTo>
                  <a:lnTo>
                    <a:pt x="1315176" y="1498630"/>
                  </a:lnTo>
                  <a:lnTo>
                    <a:pt x="1339004" y="1460510"/>
                  </a:lnTo>
                  <a:lnTo>
                    <a:pt x="1358064" y="1431922"/>
                  </a:lnTo>
                  <a:lnTo>
                    <a:pt x="1362828" y="1412858"/>
                  </a:lnTo>
                  <a:lnTo>
                    <a:pt x="1377124" y="1389034"/>
                  </a:lnTo>
                  <a:lnTo>
                    <a:pt x="1386656" y="1369974"/>
                  </a:lnTo>
                  <a:lnTo>
                    <a:pt x="1396184" y="1360442"/>
                  </a:lnTo>
                  <a:lnTo>
                    <a:pt x="1420008" y="1346146"/>
                  </a:lnTo>
                  <a:lnTo>
                    <a:pt x="1462896" y="1308026"/>
                  </a:lnTo>
                  <a:lnTo>
                    <a:pt x="1472428" y="1298498"/>
                  </a:lnTo>
                  <a:lnTo>
                    <a:pt x="1477192" y="1284202"/>
                  </a:lnTo>
                  <a:lnTo>
                    <a:pt x="1467660" y="1279438"/>
                  </a:lnTo>
                  <a:lnTo>
                    <a:pt x="1458132" y="1274670"/>
                  </a:lnTo>
                  <a:lnTo>
                    <a:pt x="1448600" y="1236550"/>
                  </a:lnTo>
                  <a:lnTo>
                    <a:pt x="1443836" y="1207958"/>
                  </a:lnTo>
                  <a:lnTo>
                    <a:pt x="1443836" y="1188898"/>
                  </a:lnTo>
                  <a:lnTo>
                    <a:pt x="1443836" y="1169838"/>
                  </a:lnTo>
                  <a:lnTo>
                    <a:pt x="1462896" y="1141246"/>
                  </a:lnTo>
                  <a:lnTo>
                    <a:pt x="1472428" y="1126950"/>
                  </a:lnTo>
                  <a:lnTo>
                    <a:pt x="1486720" y="1112658"/>
                  </a:lnTo>
                  <a:lnTo>
                    <a:pt x="1501016" y="1107890"/>
                  </a:lnTo>
                  <a:lnTo>
                    <a:pt x="1515312" y="1093598"/>
                  </a:lnTo>
                  <a:lnTo>
                    <a:pt x="1534372" y="1084066"/>
                  </a:lnTo>
                  <a:lnTo>
                    <a:pt x="1539136" y="1069770"/>
                  </a:lnTo>
                  <a:lnTo>
                    <a:pt x="1553432" y="1045946"/>
                  </a:lnTo>
                  <a:lnTo>
                    <a:pt x="1562964" y="1022118"/>
                  </a:lnTo>
                  <a:lnTo>
                    <a:pt x="1572496" y="1026886"/>
                  </a:lnTo>
                  <a:lnTo>
                    <a:pt x="1586788" y="1069770"/>
                  </a:lnTo>
                  <a:lnTo>
                    <a:pt x="1596320" y="1093598"/>
                  </a:lnTo>
                  <a:lnTo>
                    <a:pt x="1620144" y="1122186"/>
                  </a:lnTo>
                  <a:lnTo>
                    <a:pt x="1634440" y="1165074"/>
                  </a:lnTo>
                  <a:lnTo>
                    <a:pt x="1653500" y="1184134"/>
                  </a:lnTo>
                  <a:lnTo>
                    <a:pt x="1658268" y="1193662"/>
                  </a:lnTo>
                  <a:lnTo>
                    <a:pt x="1663032" y="1203194"/>
                  </a:lnTo>
                  <a:lnTo>
                    <a:pt x="1667796" y="1193662"/>
                  </a:lnTo>
                  <a:lnTo>
                    <a:pt x="1663032" y="1184134"/>
                  </a:lnTo>
                  <a:lnTo>
                    <a:pt x="1672560" y="1150778"/>
                  </a:lnTo>
                  <a:lnTo>
                    <a:pt x="1667796" y="1131718"/>
                  </a:lnTo>
                  <a:lnTo>
                    <a:pt x="1667796" y="1122186"/>
                  </a:lnTo>
                  <a:lnTo>
                    <a:pt x="1672560" y="1117422"/>
                  </a:lnTo>
                  <a:lnTo>
                    <a:pt x="1682092" y="1122186"/>
                  </a:lnTo>
                  <a:lnTo>
                    <a:pt x="1696388" y="1131718"/>
                  </a:lnTo>
                  <a:lnTo>
                    <a:pt x="1701152" y="1136482"/>
                  </a:lnTo>
                  <a:lnTo>
                    <a:pt x="1705916" y="1136482"/>
                  </a:lnTo>
                  <a:lnTo>
                    <a:pt x="1705916" y="1117422"/>
                  </a:lnTo>
                  <a:lnTo>
                    <a:pt x="1710684" y="1103126"/>
                  </a:lnTo>
                  <a:lnTo>
                    <a:pt x="1710684" y="1093598"/>
                  </a:lnTo>
                  <a:lnTo>
                    <a:pt x="1696388" y="1093598"/>
                  </a:lnTo>
                  <a:lnTo>
                    <a:pt x="1691624" y="1084066"/>
                  </a:lnTo>
                  <a:lnTo>
                    <a:pt x="1682092" y="1069770"/>
                  </a:lnTo>
                  <a:lnTo>
                    <a:pt x="1672560" y="1065006"/>
                  </a:lnTo>
                  <a:lnTo>
                    <a:pt x="1658268" y="1041178"/>
                  </a:lnTo>
                  <a:lnTo>
                    <a:pt x="1653500" y="1031650"/>
                  </a:lnTo>
                  <a:lnTo>
                    <a:pt x="1658268" y="1031650"/>
                  </a:lnTo>
                  <a:lnTo>
                    <a:pt x="1667796" y="1031650"/>
                  </a:lnTo>
                  <a:lnTo>
                    <a:pt x="1672560" y="1022118"/>
                  </a:lnTo>
                  <a:lnTo>
                    <a:pt x="1677328" y="1007822"/>
                  </a:lnTo>
                  <a:lnTo>
                    <a:pt x="1672560" y="988762"/>
                  </a:lnTo>
                  <a:lnTo>
                    <a:pt x="1677328" y="983998"/>
                  </a:lnTo>
                  <a:lnTo>
                    <a:pt x="1691624" y="983998"/>
                  </a:lnTo>
                  <a:lnTo>
                    <a:pt x="1710684" y="1017354"/>
                  </a:lnTo>
                  <a:lnTo>
                    <a:pt x="1720212" y="1012590"/>
                  </a:lnTo>
                  <a:lnTo>
                    <a:pt x="1724976" y="998294"/>
                  </a:lnTo>
                  <a:lnTo>
                    <a:pt x="1739272" y="998294"/>
                  </a:lnTo>
                  <a:lnTo>
                    <a:pt x="1753568" y="998294"/>
                  </a:lnTo>
                  <a:lnTo>
                    <a:pt x="1763100" y="1007822"/>
                  </a:lnTo>
                  <a:lnTo>
                    <a:pt x="1777396" y="1017354"/>
                  </a:lnTo>
                  <a:lnTo>
                    <a:pt x="1801220" y="1017354"/>
                  </a:lnTo>
                  <a:lnTo>
                    <a:pt x="1815516" y="1017354"/>
                  </a:lnTo>
                  <a:lnTo>
                    <a:pt x="1839340" y="1017354"/>
                  </a:lnTo>
                  <a:lnTo>
                    <a:pt x="1853636" y="1017354"/>
                  </a:lnTo>
                  <a:lnTo>
                    <a:pt x="1848872" y="1012590"/>
                  </a:lnTo>
                  <a:lnTo>
                    <a:pt x="1834576" y="1007822"/>
                  </a:lnTo>
                  <a:lnTo>
                    <a:pt x="1820280" y="1007822"/>
                  </a:lnTo>
                  <a:lnTo>
                    <a:pt x="1805984" y="1007822"/>
                  </a:lnTo>
                  <a:lnTo>
                    <a:pt x="1796456" y="1003058"/>
                  </a:lnTo>
                  <a:lnTo>
                    <a:pt x="1791688" y="988762"/>
                  </a:lnTo>
                  <a:lnTo>
                    <a:pt x="1796456" y="974466"/>
                  </a:lnTo>
                  <a:lnTo>
                    <a:pt x="1801220" y="969702"/>
                  </a:lnTo>
                  <a:lnTo>
                    <a:pt x="1810752" y="974466"/>
                  </a:lnTo>
                  <a:lnTo>
                    <a:pt x="1825044" y="974466"/>
                  </a:lnTo>
                  <a:lnTo>
                    <a:pt x="1825044" y="955406"/>
                  </a:lnTo>
                  <a:lnTo>
                    <a:pt x="1829812" y="945878"/>
                  </a:lnTo>
                  <a:lnTo>
                    <a:pt x="1834576" y="931582"/>
                  </a:lnTo>
                  <a:lnTo>
                    <a:pt x="1834576" y="922050"/>
                  </a:lnTo>
                  <a:lnTo>
                    <a:pt x="1825044" y="926818"/>
                  </a:lnTo>
                  <a:lnTo>
                    <a:pt x="1810752" y="950642"/>
                  </a:lnTo>
                  <a:lnTo>
                    <a:pt x="1805984" y="931582"/>
                  </a:lnTo>
                  <a:lnTo>
                    <a:pt x="1791688" y="912522"/>
                  </a:lnTo>
                  <a:lnTo>
                    <a:pt x="1796456" y="893462"/>
                  </a:lnTo>
                  <a:lnTo>
                    <a:pt x="1801220" y="869634"/>
                  </a:lnTo>
                  <a:lnTo>
                    <a:pt x="1810752" y="869634"/>
                  </a:lnTo>
                  <a:lnTo>
                    <a:pt x="1820280" y="874402"/>
                  </a:lnTo>
                  <a:lnTo>
                    <a:pt x="1834576" y="860106"/>
                  </a:lnTo>
                  <a:lnTo>
                    <a:pt x="1839340" y="850574"/>
                  </a:lnTo>
                  <a:lnTo>
                    <a:pt x="1839340" y="841046"/>
                  </a:lnTo>
                  <a:lnTo>
                    <a:pt x="1839340" y="836278"/>
                  </a:lnTo>
                  <a:lnTo>
                    <a:pt x="1848872" y="836278"/>
                  </a:lnTo>
                  <a:lnTo>
                    <a:pt x="1882228" y="855338"/>
                  </a:lnTo>
                  <a:lnTo>
                    <a:pt x="1891756" y="869634"/>
                  </a:lnTo>
                  <a:lnTo>
                    <a:pt x="1901288" y="864870"/>
                  </a:lnTo>
                  <a:lnTo>
                    <a:pt x="1901288" y="850574"/>
                  </a:lnTo>
                  <a:lnTo>
                    <a:pt x="1901288" y="841046"/>
                  </a:lnTo>
                  <a:lnTo>
                    <a:pt x="1891756" y="841046"/>
                  </a:lnTo>
                  <a:lnTo>
                    <a:pt x="1872696" y="841046"/>
                  </a:lnTo>
                  <a:lnTo>
                    <a:pt x="1872696" y="836278"/>
                  </a:lnTo>
                  <a:lnTo>
                    <a:pt x="1872696" y="831514"/>
                  </a:lnTo>
                  <a:lnTo>
                    <a:pt x="1863168" y="817218"/>
                  </a:lnTo>
                  <a:lnTo>
                    <a:pt x="1877464" y="807690"/>
                  </a:lnTo>
                  <a:lnTo>
                    <a:pt x="1886992" y="807690"/>
                  </a:lnTo>
                  <a:lnTo>
                    <a:pt x="1891756" y="802922"/>
                  </a:lnTo>
                  <a:lnTo>
                    <a:pt x="1891756" y="793394"/>
                  </a:lnTo>
                  <a:lnTo>
                    <a:pt x="1896524" y="793394"/>
                  </a:lnTo>
                  <a:lnTo>
                    <a:pt x="1901288" y="798158"/>
                  </a:lnTo>
                  <a:lnTo>
                    <a:pt x="1915584" y="798158"/>
                  </a:lnTo>
                  <a:lnTo>
                    <a:pt x="1934644" y="807690"/>
                  </a:lnTo>
                  <a:lnTo>
                    <a:pt x="1944172" y="812454"/>
                  </a:lnTo>
                  <a:lnTo>
                    <a:pt x="1948940" y="807690"/>
                  </a:lnTo>
                  <a:lnTo>
                    <a:pt x="1948940" y="793394"/>
                  </a:lnTo>
                  <a:lnTo>
                    <a:pt x="1925112" y="783862"/>
                  </a:lnTo>
                  <a:lnTo>
                    <a:pt x="1925112" y="769566"/>
                  </a:lnTo>
                  <a:lnTo>
                    <a:pt x="1915584" y="760038"/>
                  </a:lnTo>
                  <a:lnTo>
                    <a:pt x="1915584" y="745742"/>
                  </a:lnTo>
                  <a:lnTo>
                    <a:pt x="1929880" y="736210"/>
                  </a:lnTo>
                  <a:lnTo>
                    <a:pt x="1934644" y="726682"/>
                  </a:lnTo>
                  <a:lnTo>
                    <a:pt x="1939408" y="721918"/>
                  </a:lnTo>
                  <a:lnTo>
                    <a:pt x="1958468" y="721918"/>
                  </a:lnTo>
                  <a:lnTo>
                    <a:pt x="1968000" y="712386"/>
                  </a:lnTo>
                  <a:lnTo>
                    <a:pt x="1977528" y="707622"/>
                  </a:lnTo>
                  <a:lnTo>
                    <a:pt x="1982296" y="688562"/>
                  </a:lnTo>
                  <a:lnTo>
                    <a:pt x="1982296" y="674266"/>
                  </a:lnTo>
                  <a:lnTo>
                    <a:pt x="1987060" y="674266"/>
                  </a:lnTo>
                  <a:lnTo>
                    <a:pt x="2001356" y="679030"/>
                  </a:lnTo>
                  <a:lnTo>
                    <a:pt x="1996592" y="693326"/>
                  </a:lnTo>
                  <a:lnTo>
                    <a:pt x="1996592" y="707622"/>
                  </a:lnTo>
                  <a:lnTo>
                    <a:pt x="1991824" y="717150"/>
                  </a:lnTo>
                  <a:lnTo>
                    <a:pt x="1996592" y="717150"/>
                  </a:lnTo>
                  <a:lnTo>
                    <a:pt x="2001356" y="712386"/>
                  </a:lnTo>
                  <a:lnTo>
                    <a:pt x="2006120" y="702854"/>
                  </a:lnTo>
                  <a:lnTo>
                    <a:pt x="2015652" y="707622"/>
                  </a:lnTo>
                  <a:lnTo>
                    <a:pt x="2020416" y="717150"/>
                  </a:lnTo>
                  <a:lnTo>
                    <a:pt x="2020416" y="726682"/>
                  </a:lnTo>
                  <a:lnTo>
                    <a:pt x="2029948" y="731446"/>
                  </a:lnTo>
                  <a:lnTo>
                    <a:pt x="2034712" y="712386"/>
                  </a:lnTo>
                  <a:lnTo>
                    <a:pt x="2049008" y="712386"/>
                  </a:lnTo>
                  <a:lnTo>
                    <a:pt x="2049008" y="688562"/>
                  </a:lnTo>
                  <a:lnTo>
                    <a:pt x="2053772" y="674266"/>
                  </a:lnTo>
                  <a:lnTo>
                    <a:pt x="2053772" y="664734"/>
                  </a:lnTo>
                  <a:lnTo>
                    <a:pt x="2058536" y="659970"/>
                  </a:lnTo>
                  <a:lnTo>
                    <a:pt x="2063304" y="650438"/>
                  </a:lnTo>
                  <a:lnTo>
                    <a:pt x="2058536" y="640910"/>
                  </a:lnTo>
                  <a:lnTo>
                    <a:pt x="2053772" y="626614"/>
                  </a:lnTo>
                  <a:lnTo>
                    <a:pt x="2063304" y="621850"/>
                  </a:lnTo>
                  <a:lnTo>
                    <a:pt x="2072832" y="631378"/>
                  </a:lnTo>
                  <a:lnTo>
                    <a:pt x="2082364" y="650438"/>
                  </a:lnTo>
                  <a:lnTo>
                    <a:pt x="2087128" y="655206"/>
                  </a:lnTo>
                  <a:lnTo>
                    <a:pt x="2091892" y="650438"/>
                  </a:lnTo>
                  <a:lnTo>
                    <a:pt x="2096656" y="640910"/>
                  </a:lnTo>
                  <a:lnTo>
                    <a:pt x="2106188" y="631378"/>
                  </a:lnTo>
                  <a:lnTo>
                    <a:pt x="2120484" y="640910"/>
                  </a:lnTo>
                  <a:lnTo>
                    <a:pt x="2134780" y="655206"/>
                  </a:lnTo>
                  <a:lnTo>
                    <a:pt x="2149076" y="645674"/>
                  </a:lnTo>
                  <a:lnTo>
                    <a:pt x="2168136" y="621850"/>
                  </a:lnTo>
                  <a:lnTo>
                    <a:pt x="2163368" y="607554"/>
                  </a:lnTo>
                  <a:lnTo>
                    <a:pt x="2168136" y="598022"/>
                  </a:lnTo>
                  <a:lnTo>
                    <a:pt x="2187196" y="588494"/>
                  </a:lnTo>
                  <a:lnTo>
                    <a:pt x="2201492" y="593258"/>
                  </a:lnTo>
                  <a:lnTo>
                    <a:pt x="2215788" y="607554"/>
                  </a:lnTo>
                  <a:lnTo>
                    <a:pt x="2244376" y="621850"/>
                  </a:lnTo>
                  <a:lnTo>
                    <a:pt x="2272968" y="636142"/>
                  </a:lnTo>
                  <a:lnTo>
                    <a:pt x="2282496" y="645674"/>
                  </a:lnTo>
                  <a:lnTo>
                    <a:pt x="2306324" y="659970"/>
                  </a:lnTo>
                  <a:lnTo>
                    <a:pt x="2320620" y="679030"/>
                  </a:lnTo>
                  <a:lnTo>
                    <a:pt x="2339680" y="707622"/>
                  </a:lnTo>
                  <a:lnTo>
                    <a:pt x="2387332" y="745742"/>
                  </a:lnTo>
                  <a:lnTo>
                    <a:pt x="2387332" y="750506"/>
                  </a:lnTo>
                  <a:lnTo>
                    <a:pt x="2382564" y="764802"/>
                  </a:lnTo>
                  <a:lnTo>
                    <a:pt x="2377800" y="779098"/>
                  </a:lnTo>
                  <a:lnTo>
                    <a:pt x="2368272" y="807690"/>
                  </a:lnTo>
                  <a:lnTo>
                    <a:pt x="2368272" y="845810"/>
                  </a:lnTo>
                  <a:lnTo>
                    <a:pt x="2373036" y="841046"/>
                  </a:lnTo>
                  <a:lnTo>
                    <a:pt x="2382564" y="826750"/>
                  </a:lnTo>
                  <a:lnTo>
                    <a:pt x="2387332" y="831514"/>
                  </a:lnTo>
                  <a:lnTo>
                    <a:pt x="2396860" y="841046"/>
                  </a:lnTo>
                  <a:lnTo>
                    <a:pt x="2396860" y="831514"/>
                  </a:lnTo>
                  <a:lnTo>
                    <a:pt x="2392096" y="826750"/>
                  </a:lnTo>
                  <a:lnTo>
                    <a:pt x="2382564" y="807690"/>
                  </a:lnTo>
                  <a:lnTo>
                    <a:pt x="2382564" y="798158"/>
                  </a:lnTo>
                  <a:lnTo>
                    <a:pt x="2392096" y="793394"/>
                  </a:lnTo>
                  <a:lnTo>
                    <a:pt x="2401628" y="783862"/>
                  </a:lnTo>
                  <a:lnTo>
                    <a:pt x="2411156" y="774334"/>
                  </a:lnTo>
                  <a:lnTo>
                    <a:pt x="2420688" y="769566"/>
                  </a:lnTo>
                  <a:lnTo>
                    <a:pt x="2420688" y="764802"/>
                  </a:lnTo>
                  <a:lnTo>
                    <a:pt x="2430216" y="755270"/>
                  </a:lnTo>
                  <a:lnTo>
                    <a:pt x="2449276" y="755270"/>
                  </a:lnTo>
                  <a:lnTo>
                    <a:pt x="2458808" y="755270"/>
                  </a:lnTo>
                  <a:lnTo>
                    <a:pt x="2520756" y="774334"/>
                  </a:lnTo>
                  <a:lnTo>
                    <a:pt x="2539816" y="788626"/>
                  </a:lnTo>
                  <a:lnTo>
                    <a:pt x="2539816" y="812454"/>
                  </a:lnTo>
                  <a:lnTo>
                    <a:pt x="2549344" y="817218"/>
                  </a:lnTo>
                  <a:lnTo>
                    <a:pt x="2549344" y="802922"/>
                  </a:lnTo>
                  <a:lnTo>
                    <a:pt x="2549344" y="774334"/>
                  </a:lnTo>
                  <a:lnTo>
                    <a:pt x="2554112" y="769566"/>
                  </a:lnTo>
                  <a:lnTo>
                    <a:pt x="2573172" y="774334"/>
                  </a:lnTo>
                  <a:lnTo>
                    <a:pt x="2582700" y="779098"/>
                  </a:lnTo>
                  <a:lnTo>
                    <a:pt x="2601760" y="798158"/>
                  </a:lnTo>
                  <a:lnTo>
                    <a:pt x="2606528" y="807690"/>
                  </a:lnTo>
                  <a:lnTo>
                    <a:pt x="2611292" y="812454"/>
                  </a:lnTo>
                  <a:lnTo>
                    <a:pt x="2616056" y="807690"/>
                  </a:lnTo>
                  <a:lnTo>
                    <a:pt x="2611292" y="793394"/>
                  </a:lnTo>
                  <a:lnTo>
                    <a:pt x="2611292" y="779098"/>
                  </a:lnTo>
                  <a:lnTo>
                    <a:pt x="2611292" y="769566"/>
                  </a:lnTo>
                  <a:lnTo>
                    <a:pt x="2635116" y="764802"/>
                  </a:lnTo>
                  <a:lnTo>
                    <a:pt x="2644648" y="764802"/>
                  </a:lnTo>
                  <a:lnTo>
                    <a:pt x="2639884" y="760038"/>
                  </a:lnTo>
                  <a:lnTo>
                    <a:pt x="2630352" y="760038"/>
                  </a:lnTo>
                  <a:lnTo>
                    <a:pt x="2616056" y="745742"/>
                  </a:lnTo>
                  <a:lnTo>
                    <a:pt x="2606528" y="736210"/>
                  </a:lnTo>
                  <a:lnTo>
                    <a:pt x="2620824" y="721918"/>
                  </a:lnTo>
                  <a:lnTo>
                    <a:pt x="2606528" y="721918"/>
                  </a:lnTo>
                  <a:lnTo>
                    <a:pt x="2587464" y="707622"/>
                  </a:lnTo>
                  <a:lnTo>
                    <a:pt x="2573172" y="693326"/>
                  </a:lnTo>
                  <a:lnTo>
                    <a:pt x="2582700" y="664734"/>
                  </a:lnTo>
                  <a:lnTo>
                    <a:pt x="2611292" y="636142"/>
                  </a:lnTo>
                  <a:lnTo>
                    <a:pt x="2625588" y="626614"/>
                  </a:lnTo>
                  <a:lnTo>
                    <a:pt x="2625588" y="617082"/>
                  </a:lnTo>
                  <a:lnTo>
                    <a:pt x="2630352" y="598022"/>
                  </a:lnTo>
                  <a:lnTo>
                    <a:pt x="2635116" y="583726"/>
                  </a:lnTo>
                  <a:lnTo>
                    <a:pt x="2639884" y="574198"/>
                  </a:lnTo>
                  <a:lnTo>
                    <a:pt x="2644648" y="559902"/>
                  </a:lnTo>
                  <a:lnTo>
                    <a:pt x="2658944" y="550370"/>
                  </a:lnTo>
                  <a:lnTo>
                    <a:pt x="2682768" y="545606"/>
                  </a:lnTo>
                  <a:lnTo>
                    <a:pt x="2692300" y="540842"/>
                  </a:lnTo>
                  <a:lnTo>
                    <a:pt x="2701828" y="531310"/>
                  </a:lnTo>
                  <a:lnTo>
                    <a:pt x="2711360" y="517014"/>
                  </a:lnTo>
                  <a:lnTo>
                    <a:pt x="2692300" y="493190"/>
                  </a:lnTo>
                  <a:lnTo>
                    <a:pt x="2692300" y="478894"/>
                  </a:lnTo>
                  <a:lnTo>
                    <a:pt x="2697064" y="466982"/>
                  </a:lnTo>
                  <a:lnTo>
                    <a:pt x="2720888" y="452686"/>
                  </a:lnTo>
                  <a:lnTo>
                    <a:pt x="2730420" y="424094"/>
                  </a:lnTo>
                  <a:lnTo>
                    <a:pt x="2739952" y="419330"/>
                  </a:lnTo>
                  <a:lnTo>
                    <a:pt x="2759012" y="419330"/>
                  </a:lnTo>
                  <a:lnTo>
                    <a:pt x="2768540" y="414566"/>
                  </a:lnTo>
                  <a:lnTo>
                    <a:pt x="2763776" y="390738"/>
                  </a:lnTo>
                  <a:lnTo>
                    <a:pt x="2768540" y="381210"/>
                  </a:lnTo>
                  <a:lnTo>
                    <a:pt x="2773304" y="376446"/>
                  </a:lnTo>
                  <a:lnTo>
                    <a:pt x="2782836" y="381210"/>
                  </a:lnTo>
                  <a:lnTo>
                    <a:pt x="2792368" y="390738"/>
                  </a:lnTo>
                  <a:lnTo>
                    <a:pt x="2806664" y="400270"/>
                  </a:lnTo>
                  <a:lnTo>
                    <a:pt x="2811428" y="395506"/>
                  </a:lnTo>
                  <a:lnTo>
                    <a:pt x="2806664" y="385974"/>
                  </a:lnTo>
                  <a:lnTo>
                    <a:pt x="2806664" y="371678"/>
                  </a:lnTo>
                  <a:lnTo>
                    <a:pt x="2820956" y="366914"/>
                  </a:lnTo>
                  <a:lnTo>
                    <a:pt x="2830488" y="366914"/>
                  </a:lnTo>
                  <a:lnTo>
                    <a:pt x="2830488" y="357382"/>
                  </a:lnTo>
                  <a:lnTo>
                    <a:pt x="2830488" y="347854"/>
                  </a:lnTo>
                  <a:lnTo>
                    <a:pt x="2830488" y="343090"/>
                  </a:lnTo>
                  <a:lnTo>
                    <a:pt x="2859080" y="343090"/>
                  </a:lnTo>
                  <a:lnTo>
                    <a:pt x="2868608" y="328794"/>
                  </a:lnTo>
                  <a:lnTo>
                    <a:pt x="2873372" y="324026"/>
                  </a:lnTo>
                  <a:lnTo>
                    <a:pt x="2873372" y="328794"/>
                  </a:lnTo>
                  <a:lnTo>
                    <a:pt x="2878140" y="347854"/>
                  </a:lnTo>
                  <a:lnTo>
                    <a:pt x="2892436" y="357382"/>
                  </a:lnTo>
                  <a:lnTo>
                    <a:pt x="2940084" y="357382"/>
                  </a:lnTo>
                  <a:lnTo>
                    <a:pt x="2963912" y="347854"/>
                  </a:lnTo>
                  <a:lnTo>
                    <a:pt x="2973440" y="352618"/>
                  </a:lnTo>
                  <a:lnTo>
                    <a:pt x="2992504" y="357382"/>
                  </a:lnTo>
                  <a:lnTo>
                    <a:pt x="3011564" y="347854"/>
                  </a:lnTo>
                  <a:lnTo>
                    <a:pt x="3021092" y="343090"/>
                  </a:lnTo>
                  <a:lnTo>
                    <a:pt x="3040152" y="352618"/>
                  </a:lnTo>
                  <a:lnTo>
                    <a:pt x="3044920" y="357382"/>
                  </a:lnTo>
                  <a:lnTo>
                    <a:pt x="3049684" y="338322"/>
                  </a:lnTo>
                  <a:lnTo>
                    <a:pt x="3063980" y="333558"/>
                  </a:lnTo>
                  <a:lnTo>
                    <a:pt x="3073508" y="328794"/>
                  </a:lnTo>
                  <a:lnTo>
                    <a:pt x="3087804" y="333558"/>
                  </a:lnTo>
                  <a:lnTo>
                    <a:pt x="3092568" y="333558"/>
                  </a:lnTo>
                  <a:lnTo>
                    <a:pt x="3078276" y="319262"/>
                  </a:lnTo>
                  <a:lnTo>
                    <a:pt x="3083040" y="304966"/>
                  </a:lnTo>
                  <a:lnTo>
                    <a:pt x="3078276" y="285906"/>
                  </a:lnTo>
                  <a:lnTo>
                    <a:pt x="3083040" y="266846"/>
                  </a:lnTo>
                  <a:lnTo>
                    <a:pt x="3087804" y="257318"/>
                  </a:lnTo>
                  <a:lnTo>
                    <a:pt x="3054448" y="228726"/>
                  </a:lnTo>
                  <a:lnTo>
                    <a:pt x="3025856" y="228726"/>
                  </a:lnTo>
                  <a:lnTo>
                    <a:pt x="3002032" y="233490"/>
                  </a:lnTo>
                  <a:lnTo>
                    <a:pt x="2992504" y="228726"/>
                  </a:lnTo>
                  <a:lnTo>
                    <a:pt x="2973440" y="209666"/>
                  </a:lnTo>
                  <a:lnTo>
                    <a:pt x="2954380" y="200134"/>
                  </a:lnTo>
                  <a:lnTo>
                    <a:pt x="2954380" y="195370"/>
                  </a:lnTo>
                  <a:lnTo>
                    <a:pt x="2973440" y="181074"/>
                  </a:lnTo>
                  <a:lnTo>
                    <a:pt x="2982972" y="185838"/>
                  </a:lnTo>
                  <a:lnTo>
                    <a:pt x="2997268" y="195370"/>
                  </a:lnTo>
                  <a:lnTo>
                    <a:pt x="3006796" y="204898"/>
                  </a:lnTo>
                  <a:lnTo>
                    <a:pt x="3011564" y="200134"/>
                  </a:lnTo>
                  <a:lnTo>
                    <a:pt x="3016328" y="190606"/>
                  </a:lnTo>
                  <a:lnTo>
                    <a:pt x="3021092" y="185838"/>
                  </a:lnTo>
                  <a:lnTo>
                    <a:pt x="3035388" y="190606"/>
                  </a:lnTo>
                  <a:lnTo>
                    <a:pt x="3068744" y="209666"/>
                  </a:lnTo>
                  <a:lnTo>
                    <a:pt x="3087804" y="233490"/>
                  </a:lnTo>
                  <a:lnTo>
                    <a:pt x="3097336" y="228726"/>
                  </a:lnTo>
                  <a:lnTo>
                    <a:pt x="3116396" y="214430"/>
                  </a:lnTo>
                  <a:lnTo>
                    <a:pt x="3130692" y="219194"/>
                  </a:lnTo>
                  <a:lnTo>
                    <a:pt x="3140220" y="223962"/>
                  </a:lnTo>
                  <a:lnTo>
                    <a:pt x="3154516" y="252550"/>
                  </a:lnTo>
                  <a:lnTo>
                    <a:pt x="3168812" y="266846"/>
                  </a:lnTo>
                  <a:lnTo>
                    <a:pt x="3192636" y="266846"/>
                  </a:lnTo>
                  <a:lnTo>
                    <a:pt x="3206932" y="271610"/>
                  </a:lnTo>
                  <a:lnTo>
                    <a:pt x="3221228" y="281142"/>
                  </a:lnTo>
                  <a:lnTo>
                    <a:pt x="3240288" y="281142"/>
                  </a:lnTo>
                  <a:lnTo>
                    <a:pt x="3278408" y="285906"/>
                  </a:lnTo>
                  <a:lnTo>
                    <a:pt x="3316532" y="304966"/>
                  </a:lnTo>
                  <a:lnTo>
                    <a:pt x="3330824" y="314498"/>
                  </a:lnTo>
                  <a:lnTo>
                    <a:pt x="3349888" y="314498"/>
                  </a:lnTo>
                  <a:lnTo>
                    <a:pt x="3359416" y="319262"/>
                  </a:lnTo>
                  <a:lnTo>
                    <a:pt x="3378476" y="324026"/>
                  </a:lnTo>
                  <a:lnTo>
                    <a:pt x="3407068" y="309734"/>
                  </a:lnTo>
                  <a:lnTo>
                    <a:pt x="3421364" y="319262"/>
                  </a:lnTo>
                  <a:lnTo>
                    <a:pt x="3426128" y="328794"/>
                  </a:lnTo>
                  <a:lnTo>
                    <a:pt x="3454720" y="343090"/>
                  </a:lnTo>
                  <a:lnTo>
                    <a:pt x="3483312" y="347854"/>
                  </a:lnTo>
                  <a:lnTo>
                    <a:pt x="3507136" y="333558"/>
                  </a:lnTo>
                  <a:lnTo>
                    <a:pt x="3535728" y="324026"/>
                  </a:lnTo>
                  <a:lnTo>
                    <a:pt x="3559552" y="304966"/>
                  </a:lnTo>
                  <a:lnTo>
                    <a:pt x="3573848" y="295438"/>
                  </a:lnTo>
                  <a:lnTo>
                    <a:pt x="3588144" y="285906"/>
                  </a:lnTo>
                  <a:lnTo>
                    <a:pt x="3592908" y="285906"/>
                  </a:lnTo>
                  <a:lnTo>
                    <a:pt x="3583376" y="295438"/>
                  </a:lnTo>
                  <a:lnTo>
                    <a:pt x="3578612" y="304966"/>
                  </a:lnTo>
                  <a:lnTo>
                    <a:pt x="3592908" y="309734"/>
                  </a:lnTo>
                  <a:lnTo>
                    <a:pt x="3588144" y="309734"/>
                  </a:lnTo>
                  <a:lnTo>
                    <a:pt x="3573848" y="319262"/>
                  </a:lnTo>
                  <a:lnTo>
                    <a:pt x="3559552" y="338322"/>
                  </a:lnTo>
                  <a:lnTo>
                    <a:pt x="3559552" y="347854"/>
                  </a:lnTo>
                  <a:lnTo>
                    <a:pt x="3569084" y="352618"/>
                  </a:lnTo>
                  <a:lnTo>
                    <a:pt x="3573848" y="347854"/>
                  </a:lnTo>
                  <a:lnTo>
                    <a:pt x="3583376" y="343090"/>
                  </a:lnTo>
                  <a:lnTo>
                    <a:pt x="3597672" y="338322"/>
                  </a:lnTo>
                  <a:lnTo>
                    <a:pt x="3607204" y="343090"/>
                  </a:lnTo>
                  <a:lnTo>
                    <a:pt x="3611968" y="366914"/>
                  </a:lnTo>
                  <a:lnTo>
                    <a:pt x="3621500" y="381210"/>
                  </a:lnTo>
                  <a:lnTo>
                    <a:pt x="3635796" y="381210"/>
                  </a:lnTo>
                  <a:lnTo>
                    <a:pt x="3645324" y="381210"/>
                  </a:lnTo>
                  <a:lnTo>
                    <a:pt x="3659620" y="362150"/>
                  </a:lnTo>
                  <a:lnTo>
                    <a:pt x="3650088" y="343090"/>
                  </a:lnTo>
                  <a:lnTo>
                    <a:pt x="3645324" y="338322"/>
                  </a:lnTo>
                  <a:lnTo>
                    <a:pt x="3650088" y="333558"/>
                  </a:lnTo>
                  <a:lnTo>
                    <a:pt x="3673916" y="304966"/>
                  </a:lnTo>
                  <a:lnTo>
                    <a:pt x="3692976" y="304966"/>
                  </a:lnTo>
                  <a:lnTo>
                    <a:pt x="3702504" y="333558"/>
                  </a:lnTo>
                  <a:lnTo>
                    <a:pt x="3721568" y="347854"/>
                  </a:lnTo>
                  <a:lnTo>
                    <a:pt x="3735860" y="347854"/>
                  </a:lnTo>
                  <a:lnTo>
                    <a:pt x="3745392" y="352618"/>
                  </a:lnTo>
                  <a:lnTo>
                    <a:pt x="3754924" y="366914"/>
                  </a:lnTo>
                  <a:lnTo>
                    <a:pt x="3692976" y="438390"/>
                  </a:lnTo>
                  <a:lnTo>
                    <a:pt x="3688212" y="443158"/>
                  </a:lnTo>
                  <a:lnTo>
                    <a:pt x="3697740" y="457450"/>
                  </a:lnTo>
                  <a:lnTo>
                    <a:pt x="3697740" y="469366"/>
                  </a:lnTo>
                  <a:lnTo>
                    <a:pt x="3678680" y="507486"/>
                  </a:lnTo>
                  <a:lnTo>
                    <a:pt x="3669152" y="507486"/>
                  </a:lnTo>
                  <a:lnTo>
                    <a:pt x="3664384" y="497954"/>
                  </a:lnTo>
                  <a:lnTo>
                    <a:pt x="3654856" y="493190"/>
                  </a:lnTo>
                  <a:lnTo>
                    <a:pt x="3645324" y="497954"/>
                  </a:lnTo>
                  <a:lnTo>
                    <a:pt x="3631028" y="497954"/>
                  </a:lnTo>
                  <a:lnTo>
                    <a:pt x="3597672" y="517014"/>
                  </a:lnTo>
                  <a:lnTo>
                    <a:pt x="3597672" y="569430"/>
                  </a:lnTo>
                  <a:lnTo>
                    <a:pt x="3607204" y="598022"/>
                  </a:lnTo>
                  <a:lnTo>
                    <a:pt x="3597672" y="621850"/>
                  </a:lnTo>
                  <a:lnTo>
                    <a:pt x="3588144" y="655206"/>
                  </a:lnTo>
                  <a:lnTo>
                    <a:pt x="3578612" y="669498"/>
                  </a:lnTo>
                  <a:lnTo>
                    <a:pt x="3569084" y="679030"/>
                  </a:lnTo>
                  <a:lnTo>
                    <a:pt x="3535728" y="726682"/>
                  </a:lnTo>
                  <a:lnTo>
                    <a:pt x="3526196" y="736210"/>
                  </a:lnTo>
                  <a:lnTo>
                    <a:pt x="3511900" y="750506"/>
                  </a:lnTo>
                  <a:lnTo>
                    <a:pt x="3516664" y="769566"/>
                  </a:lnTo>
                  <a:lnTo>
                    <a:pt x="3521432" y="779098"/>
                  </a:lnTo>
                  <a:lnTo>
                    <a:pt x="3535728" y="793394"/>
                  </a:lnTo>
                  <a:lnTo>
                    <a:pt x="3578612" y="817218"/>
                  </a:lnTo>
                  <a:lnTo>
                    <a:pt x="3602440" y="836278"/>
                  </a:lnTo>
                  <a:lnTo>
                    <a:pt x="3640560" y="855338"/>
                  </a:lnTo>
                  <a:lnTo>
                    <a:pt x="3645324" y="869634"/>
                  </a:lnTo>
                  <a:lnTo>
                    <a:pt x="3650088" y="883930"/>
                  </a:lnTo>
                  <a:lnTo>
                    <a:pt x="3678680" y="898226"/>
                  </a:lnTo>
                  <a:lnTo>
                    <a:pt x="3697740" y="907758"/>
                  </a:lnTo>
                  <a:lnTo>
                    <a:pt x="3702504" y="902990"/>
                  </a:lnTo>
                  <a:lnTo>
                    <a:pt x="3707272" y="902990"/>
                  </a:lnTo>
                  <a:lnTo>
                    <a:pt x="3712036" y="902990"/>
                  </a:lnTo>
                  <a:lnTo>
                    <a:pt x="3716800" y="902990"/>
                  </a:lnTo>
                  <a:lnTo>
                    <a:pt x="3716800" y="912522"/>
                  </a:lnTo>
                  <a:lnTo>
                    <a:pt x="3712036" y="917286"/>
                  </a:lnTo>
                  <a:lnTo>
                    <a:pt x="3716800" y="926818"/>
                  </a:lnTo>
                  <a:lnTo>
                    <a:pt x="3731096" y="936346"/>
                  </a:lnTo>
                  <a:lnTo>
                    <a:pt x="3750156" y="936346"/>
                  </a:lnTo>
                  <a:lnTo>
                    <a:pt x="3764452" y="936346"/>
                  </a:lnTo>
                  <a:lnTo>
                    <a:pt x="3778748" y="945878"/>
                  </a:lnTo>
                  <a:lnTo>
                    <a:pt x="3788280" y="950642"/>
                  </a:lnTo>
                  <a:lnTo>
                    <a:pt x="3807340" y="964938"/>
                  </a:lnTo>
                  <a:lnTo>
                    <a:pt x="3845460" y="979234"/>
                  </a:lnTo>
                  <a:lnTo>
                    <a:pt x="3874052" y="993530"/>
                  </a:lnTo>
                  <a:lnTo>
                    <a:pt x="3907408" y="1031650"/>
                  </a:lnTo>
                  <a:lnTo>
                    <a:pt x="3931232" y="1055474"/>
                  </a:lnTo>
                  <a:lnTo>
                    <a:pt x="3959824" y="1069770"/>
                  </a:lnTo>
                  <a:lnTo>
                    <a:pt x="3997944" y="1084066"/>
                  </a:lnTo>
                  <a:lnTo>
                    <a:pt x="4017004" y="1079302"/>
                  </a:lnTo>
                  <a:lnTo>
                    <a:pt x="4045596" y="1093598"/>
                  </a:lnTo>
                  <a:lnTo>
                    <a:pt x="4078952" y="1098362"/>
                  </a:lnTo>
                  <a:lnTo>
                    <a:pt x="4093248" y="1117422"/>
                  </a:lnTo>
                  <a:lnTo>
                    <a:pt x="4098012" y="1131718"/>
                  </a:lnTo>
                  <a:lnTo>
                    <a:pt x="4098012" y="1146014"/>
                  </a:lnTo>
                  <a:lnTo>
                    <a:pt x="4112308" y="1169838"/>
                  </a:lnTo>
                  <a:lnTo>
                    <a:pt x="4145664" y="1179370"/>
                  </a:lnTo>
                  <a:lnTo>
                    <a:pt x="4183784" y="1203194"/>
                  </a:lnTo>
                  <a:lnTo>
                    <a:pt x="4217140" y="1217490"/>
                  </a:lnTo>
                  <a:lnTo>
                    <a:pt x="4221904" y="1222254"/>
                  </a:lnTo>
                  <a:lnTo>
                    <a:pt x="4236200" y="1231786"/>
                  </a:lnTo>
                  <a:lnTo>
                    <a:pt x="4264792" y="1231786"/>
                  </a:lnTo>
                  <a:lnTo>
                    <a:pt x="4312444" y="1217490"/>
                  </a:lnTo>
                  <a:lnTo>
                    <a:pt x="4331504" y="1207958"/>
                  </a:lnTo>
                  <a:lnTo>
                    <a:pt x="4360092" y="1184134"/>
                  </a:lnTo>
                  <a:lnTo>
                    <a:pt x="4374388" y="1146014"/>
                  </a:lnTo>
                  <a:lnTo>
                    <a:pt x="4383920" y="1117422"/>
                  </a:lnTo>
                  <a:lnTo>
                    <a:pt x="4422040" y="1060242"/>
                  </a:lnTo>
                  <a:lnTo>
                    <a:pt x="4431572" y="1031650"/>
                  </a:lnTo>
                  <a:lnTo>
                    <a:pt x="4441100" y="988762"/>
                  </a:lnTo>
                  <a:lnTo>
                    <a:pt x="4450632" y="964938"/>
                  </a:lnTo>
                  <a:lnTo>
                    <a:pt x="4450632" y="936346"/>
                  </a:lnTo>
                  <a:lnTo>
                    <a:pt x="4460160" y="888694"/>
                  </a:lnTo>
                  <a:lnTo>
                    <a:pt x="4479220" y="821982"/>
                  </a:lnTo>
                  <a:lnTo>
                    <a:pt x="4483988" y="802922"/>
                  </a:lnTo>
                  <a:lnTo>
                    <a:pt x="4483988" y="769566"/>
                  </a:lnTo>
                  <a:lnTo>
                    <a:pt x="4469692" y="707622"/>
                  </a:lnTo>
                  <a:lnTo>
                    <a:pt x="4474456" y="683794"/>
                  </a:lnTo>
                  <a:lnTo>
                    <a:pt x="4479220" y="655206"/>
                  </a:lnTo>
                  <a:lnTo>
                    <a:pt x="4469692" y="631378"/>
                  </a:lnTo>
                  <a:lnTo>
                    <a:pt x="4464928" y="617082"/>
                  </a:lnTo>
                  <a:lnTo>
                    <a:pt x="4460160" y="598022"/>
                  </a:lnTo>
                  <a:lnTo>
                    <a:pt x="4469692" y="559902"/>
                  </a:lnTo>
                  <a:lnTo>
                    <a:pt x="4479220" y="536078"/>
                  </a:lnTo>
                  <a:lnTo>
                    <a:pt x="4488752" y="512250"/>
                  </a:lnTo>
                  <a:lnTo>
                    <a:pt x="4483988" y="462218"/>
                  </a:lnTo>
                  <a:lnTo>
                    <a:pt x="4503048" y="443158"/>
                  </a:lnTo>
                  <a:lnTo>
                    <a:pt x="4507812" y="438390"/>
                  </a:lnTo>
                  <a:lnTo>
                    <a:pt x="4526872" y="438390"/>
                  </a:lnTo>
                  <a:lnTo>
                    <a:pt x="4531640" y="443158"/>
                  </a:lnTo>
                  <a:lnTo>
                    <a:pt x="4531640" y="428862"/>
                  </a:lnTo>
                  <a:lnTo>
                    <a:pt x="4526872" y="419330"/>
                  </a:lnTo>
                  <a:lnTo>
                    <a:pt x="4526872" y="409802"/>
                  </a:lnTo>
                  <a:lnTo>
                    <a:pt x="4522108" y="405034"/>
                  </a:lnTo>
                  <a:lnTo>
                    <a:pt x="4512576" y="405034"/>
                  </a:lnTo>
                  <a:lnTo>
                    <a:pt x="4503048" y="395506"/>
                  </a:lnTo>
                  <a:lnTo>
                    <a:pt x="4493516" y="390738"/>
                  </a:lnTo>
                  <a:lnTo>
                    <a:pt x="4493516" y="366914"/>
                  </a:lnTo>
                  <a:lnTo>
                    <a:pt x="4512576" y="324026"/>
                  </a:lnTo>
                  <a:lnTo>
                    <a:pt x="4522108" y="309734"/>
                  </a:lnTo>
                  <a:lnTo>
                    <a:pt x="4531640" y="314498"/>
                  </a:lnTo>
                  <a:lnTo>
                    <a:pt x="4536404" y="319262"/>
                  </a:lnTo>
                  <a:lnTo>
                    <a:pt x="4541168" y="309734"/>
                  </a:lnTo>
                  <a:lnTo>
                    <a:pt x="4536404" y="295438"/>
                  </a:lnTo>
                  <a:lnTo>
                    <a:pt x="4550700" y="252550"/>
                  </a:lnTo>
                  <a:lnTo>
                    <a:pt x="4564992" y="195370"/>
                  </a:lnTo>
                  <a:lnTo>
                    <a:pt x="4569760" y="142954"/>
                  </a:lnTo>
                  <a:lnTo>
                    <a:pt x="4593584" y="133422"/>
                  </a:lnTo>
                  <a:lnTo>
                    <a:pt x="4607880" y="123894"/>
                  </a:lnTo>
                  <a:close/>
                  <a:moveTo>
                    <a:pt x="4574524" y="85774"/>
                  </a:moveTo>
                  <a:lnTo>
                    <a:pt x="4588820" y="104834"/>
                  </a:lnTo>
                  <a:lnTo>
                    <a:pt x="4574524" y="114362"/>
                  </a:lnTo>
                  <a:lnTo>
                    <a:pt x="4564992" y="109598"/>
                  </a:lnTo>
                  <a:lnTo>
                    <a:pt x="4564992" y="100066"/>
                  </a:lnTo>
                  <a:lnTo>
                    <a:pt x="4564992" y="95302"/>
                  </a:lnTo>
                  <a:close/>
                  <a:moveTo>
                    <a:pt x="4588820" y="14296"/>
                  </a:moveTo>
                  <a:lnTo>
                    <a:pt x="4598348" y="23826"/>
                  </a:lnTo>
                  <a:lnTo>
                    <a:pt x="4588820" y="33358"/>
                  </a:lnTo>
                  <a:lnTo>
                    <a:pt x="4579288" y="33358"/>
                  </a:lnTo>
                  <a:lnTo>
                    <a:pt x="4574524" y="23826"/>
                  </a:lnTo>
                  <a:lnTo>
                    <a:pt x="4579288" y="19062"/>
                  </a:lnTo>
                  <a:close/>
                  <a:moveTo>
                    <a:pt x="4564992" y="0"/>
                  </a:moveTo>
                  <a:lnTo>
                    <a:pt x="4574524" y="9530"/>
                  </a:lnTo>
                  <a:lnTo>
                    <a:pt x="4569760" y="19060"/>
                  </a:lnTo>
                  <a:lnTo>
                    <a:pt x="4564992" y="23826"/>
                  </a:lnTo>
                  <a:lnTo>
                    <a:pt x="4560228" y="1429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4" name="Freeform 3897">
              <a:extLst>
                <a:ext uri="{FF2B5EF4-FFF2-40B4-BE49-F238E27FC236}">
                  <a16:creationId xmlns:a16="http://schemas.microsoft.com/office/drawing/2014/main" id="{717592F3-DC06-4E85-87AA-00DC6AE2DD22}"/>
                </a:ext>
              </a:extLst>
            </p:cNvPr>
            <p:cNvSpPr/>
            <p:nvPr/>
          </p:nvSpPr>
          <p:spPr bwMode="auto">
            <a:xfrm>
              <a:off x="5538967" y="3985602"/>
              <a:ext cx="192719" cy="97130"/>
            </a:xfrm>
            <a:custGeom>
              <a:avLst/>
              <a:gdLst>
                <a:gd name="T0" fmla="*/ 476 w 500"/>
                <a:gd name="T1" fmla="*/ 26 h 252"/>
                <a:gd name="T2" fmla="*/ 452 w 500"/>
                <a:gd name="T3" fmla="*/ 22 h 252"/>
                <a:gd name="T4" fmla="*/ 410 w 500"/>
                <a:gd name="T5" fmla="*/ 12 h 252"/>
                <a:gd name="T6" fmla="*/ 376 w 500"/>
                <a:gd name="T7" fmla="*/ 2 h 252"/>
                <a:gd name="T8" fmla="*/ 360 w 500"/>
                <a:gd name="T9" fmla="*/ 0 h 252"/>
                <a:gd name="T10" fmla="*/ 346 w 500"/>
                <a:gd name="T11" fmla="*/ 24 h 252"/>
                <a:gd name="T12" fmla="*/ 322 w 500"/>
                <a:gd name="T13" fmla="*/ 38 h 252"/>
                <a:gd name="T14" fmla="*/ 288 w 500"/>
                <a:gd name="T15" fmla="*/ 26 h 252"/>
                <a:gd name="T16" fmla="*/ 280 w 500"/>
                <a:gd name="T17" fmla="*/ 36 h 252"/>
                <a:gd name="T18" fmla="*/ 260 w 500"/>
                <a:gd name="T19" fmla="*/ 40 h 252"/>
                <a:gd name="T20" fmla="*/ 250 w 500"/>
                <a:gd name="T21" fmla="*/ 66 h 252"/>
                <a:gd name="T22" fmla="*/ 216 w 500"/>
                <a:gd name="T23" fmla="*/ 82 h 252"/>
                <a:gd name="T24" fmla="*/ 226 w 500"/>
                <a:gd name="T25" fmla="*/ 116 h 252"/>
                <a:gd name="T26" fmla="*/ 230 w 500"/>
                <a:gd name="T27" fmla="*/ 128 h 252"/>
                <a:gd name="T28" fmla="*/ 226 w 500"/>
                <a:gd name="T29" fmla="*/ 150 h 252"/>
                <a:gd name="T30" fmla="*/ 214 w 500"/>
                <a:gd name="T31" fmla="*/ 136 h 252"/>
                <a:gd name="T32" fmla="*/ 194 w 500"/>
                <a:gd name="T33" fmla="*/ 134 h 252"/>
                <a:gd name="T34" fmla="*/ 176 w 500"/>
                <a:gd name="T35" fmla="*/ 126 h 252"/>
                <a:gd name="T36" fmla="*/ 128 w 500"/>
                <a:gd name="T37" fmla="*/ 146 h 252"/>
                <a:gd name="T38" fmla="*/ 110 w 500"/>
                <a:gd name="T39" fmla="*/ 154 h 252"/>
                <a:gd name="T40" fmla="*/ 90 w 500"/>
                <a:gd name="T41" fmla="*/ 150 h 252"/>
                <a:gd name="T42" fmla="*/ 64 w 500"/>
                <a:gd name="T43" fmla="*/ 142 h 252"/>
                <a:gd name="T44" fmla="*/ 52 w 500"/>
                <a:gd name="T45" fmla="*/ 166 h 252"/>
                <a:gd name="T46" fmla="*/ 42 w 500"/>
                <a:gd name="T47" fmla="*/ 160 h 252"/>
                <a:gd name="T48" fmla="*/ 34 w 500"/>
                <a:gd name="T49" fmla="*/ 150 h 252"/>
                <a:gd name="T50" fmla="*/ 12 w 500"/>
                <a:gd name="T51" fmla="*/ 142 h 252"/>
                <a:gd name="T52" fmla="*/ 8 w 500"/>
                <a:gd name="T53" fmla="*/ 150 h 252"/>
                <a:gd name="T54" fmla="*/ 2 w 500"/>
                <a:gd name="T55" fmla="*/ 174 h 252"/>
                <a:gd name="T56" fmla="*/ 6 w 500"/>
                <a:gd name="T57" fmla="*/ 188 h 252"/>
                <a:gd name="T58" fmla="*/ 22 w 500"/>
                <a:gd name="T59" fmla="*/ 198 h 252"/>
                <a:gd name="T60" fmla="*/ 54 w 500"/>
                <a:gd name="T61" fmla="*/ 196 h 252"/>
                <a:gd name="T62" fmla="*/ 70 w 500"/>
                <a:gd name="T63" fmla="*/ 210 h 252"/>
                <a:gd name="T64" fmla="*/ 96 w 500"/>
                <a:gd name="T65" fmla="*/ 216 h 252"/>
                <a:gd name="T66" fmla="*/ 126 w 500"/>
                <a:gd name="T67" fmla="*/ 196 h 252"/>
                <a:gd name="T68" fmla="*/ 160 w 500"/>
                <a:gd name="T69" fmla="*/ 192 h 252"/>
                <a:gd name="T70" fmla="*/ 172 w 500"/>
                <a:gd name="T71" fmla="*/ 196 h 252"/>
                <a:gd name="T72" fmla="*/ 194 w 500"/>
                <a:gd name="T73" fmla="*/ 226 h 252"/>
                <a:gd name="T74" fmla="*/ 252 w 500"/>
                <a:gd name="T75" fmla="*/ 238 h 252"/>
                <a:gd name="T76" fmla="*/ 290 w 500"/>
                <a:gd name="T77" fmla="*/ 244 h 252"/>
                <a:gd name="T78" fmla="*/ 324 w 500"/>
                <a:gd name="T79" fmla="*/ 250 h 252"/>
                <a:gd name="T80" fmla="*/ 338 w 500"/>
                <a:gd name="T81" fmla="*/ 246 h 252"/>
                <a:gd name="T82" fmla="*/ 356 w 500"/>
                <a:gd name="T83" fmla="*/ 232 h 252"/>
                <a:gd name="T84" fmla="*/ 400 w 500"/>
                <a:gd name="T85" fmla="*/ 224 h 252"/>
                <a:gd name="T86" fmla="*/ 424 w 500"/>
                <a:gd name="T87" fmla="*/ 224 h 252"/>
                <a:gd name="T88" fmla="*/ 446 w 500"/>
                <a:gd name="T89" fmla="*/ 194 h 252"/>
                <a:gd name="T90" fmla="*/ 456 w 500"/>
                <a:gd name="T91" fmla="*/ 186 h 252"/>
                <a:gd name="T92" fmla="*/ 454 w 500"/>
                <a:gd name="T93" fmla="*/ 170 h 252"/>
                <a:gd name="T94" fmla="*/ 462 w 500"/>
                <a:gd name="T95" fmla="*/ 154 h 252"/>
                <a:gd name="T96" fmla="*/ 454 w 500"/>
                <a:gd name="T97" fmla="*/ 132 h 252"/>
                <a:gd name="T98" fmla="*/ 464 w 500"/>
                <a:gd name="T99" fmla="*/ 122 h 252"/>
                <a:gd name="T100" fmla="*/ 482 w 500"/>
                <a:gd name="T101" fmla="*/ 128 h 252"/>
                <a:gd name="T102" fmla="*/ 492 w 500"/>
                <a:gd name="T103" fmla="*/ 114 h 252"/>
                <a:gd name="T104" fmla="*/ 496 w 500"/>
                <a:gd name="T105" fmla="*/ 94 h 252"/>
                <a:gd name="T106" fmla="*/ 484 w 500"/>
                <a:gd name="T107" fmla="*/ 48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00" h="251">
                  <a:moveTo>
                    <a:pt x="488" y="38"/>
                  </a:moveTo>
                  <a:lnTo>
                    <a:pt x="486" y="36"/>
                  </a:lnTo>
                  <a:lnTo>
                    <a:pt x="482" y="28"/>
                  </a:lnTo>
                  <a:lnTo>
                    <a:pt x="480" y="28"/>
                  </a:lnTo>
                  <a:lnTo>
                    <a:pt x="476" y="26"/>
                  </a:lnTo>
                  <a:lnTo>
                    <a:pt x="472" y="26"/>
                  </a:lnTo>
                  <a:lnTo>
                    <a:pt x="464" y="20"/>
                  </a:lnTo>
                  <a:lnTo>
                    <a:pt x="460" y="20"/>
                  </a:lnTo>
                  <a:lnTo>
                    <a:pt x="456" y="20"/>
                  </a:lnTo>
                  <a:lnTo>
                    <a:pt x="452" y="22"/>
                  </a:lnTo>
                  <a:lnTo>
                    <a:pt x="450" y="26"/>
                  </a:lnTo>
                  <a:lnTo>
                    <a:pt x="440" y="26"/>
                  </a:lnTo>
                  <a:lnTo>
                    <a:pt x="428" y="24"/>
                  </a:lnTo>
                  <a:lnTo>
                    <a:pt x="414" y="12"/>
                  </a:lnTo>
                  <a:lnTo>
                    <a:pt x="410" y="12"/>
                  </a:lnTo>
                  <a:lnTo>
                    <a:pt x="406" y="14"/>
                  </a:lnTo>
                  <a:lnTo>
                    <a:pt x="398" y="10"/>
                  </a:lnTo>
                  <a:lnTo>
                    <a:pt x="386" y="4"/>
                  </a:lnTo>
                  <a:lnTo>
                    <a:pt x="380" y="2"/>
                  </a:lnTo>
                  <a:lnTo>
                    <a:pt x="376" y="2"/>
                  </a:lnTo>
                  <a:lnTo>
                    <a:pt x="372" y="4"/>
                  </a:lnTo>
                  <a:lnTo>
                    <a:pt x="370" y="4"/>
                  </a:lnTo>
                  <a:lnTo>
                    <a:pt x="368" y="2"/>
                  </a:lnTo>
                  <a:lnTo>
                    <a:pt x="364" y="0"/>
                  </a:lnTo>
                  <a:lnTo>
                    <a:pt x="360" y="0"/>
                  </a:lnTo>
                  <a:lnTo>
                    <a:pt x="358" y="0"/>
                  </a:lnTo>
                  <a:lnTo>
                    <a:pt x="356" y="16"/>
                  </a:lnTo>
                  <a:lnTo>
                    <a:pt x="354" y="22"/>
                  </a:lnTo>
                  <a:lnTo>
                    <a:pt x="348" y="22"/>
                  </a:lnTo>
                  <a:lnTo>
                    <a:pt x="346" y="24"/>
                  </a:lnTo>
                  <a:lnTo>
                    <a:pt x="340" y="32"/>
                  </a:lnTo>
                  <a:lnTo>
                    <a:pt x="340" y="38"/>
                  </a:lnTo>
                  <a:lnTo>
                    <a:pt x="330" y="38"/>
                  </a:lnTo>
                  <a:lnTo>
                    <a:pt x="326" y="36"/>
                  </a:lnTo>
                  <a:lnTo>
                    <a:pt x="322" y="38"/>
                  </a:lnTo>
                  <a:lnTo>
                    <a:pt x="318" y="42"/>
                  </a:lnTo>
                  <a:lnTo>
                    <a:pt x="306" y="42"/>
                  </a:lnTo>
                  <a:lnTo>
                    <a:pt x="298" y="38"/>
                  </a:lnTo>
                  <a:lnTo>
                    <a:pt x="294" y="30"/>
                  </a:lnTo>
                  <a:lnTo>
                    <a:pt x="288" y="26"/>
                  </a:lnTo>
                  <a:lnTo>
                    <a:pt x="284" y="24"/>
                  </a:lnTo>
                  <a:lnTo>
                    <a:pt x="282" y="22"/>
                  </a:lnTo>
                  <a:lnTo>
                    <a:pt x="280" y="24"/>
                  </a:lnTo>
                  <a:lnTo>
                    <a:pt x="280" y="30"/>
                  </a:lnTo>
                  <a:lnTo>
                    <a:pt x="280" y="36"/>
                  </a:lnTo>
                  <a:lnTo>
                    <a:pt x="280" y="40"/>
                  </a:lnTo>
                  <a:lnTo>
                    <a:pt x="276" y="44"/>
                  </a:lnTo>
                  <a:lnTo>
                    <a:pt x="274" y="46"/>
                  </a:lnTo>
                  <a:lnTo>
                    <a:pt x="272" y="46"/>
                  </a:lnTo>
                  <a:lnTo>
                    <a:pt x="260" y="40"/>
                  </a:lnTo>
                  <a:lnTo>
                    <a:pt x="260" y="42"/>
                  </a:lnTo>
                  <a:lnTo>
                    <a:pt x="258" y="42"/>
                  </a:lnTo>
                  <a:lnTo>
                    <a:pt x="256" y="60"/>
                  </a:lnTo>
                  <a:lnTo>
                    <a:pt x="252" y="62"/>
                  </a:lnTo>
                  <a:lnTo>
                    <a:pt x="250" y="66"/>
                  </a:lnTo>
                  <a:lnTo>
                    <a:pt x="242" y="68"/>
                  </a:lnTo>
                  <a:lnTo>
                    <a:pt x="238" y="70"/>
                  </a:lnTo>
                  <a:lnTo>
                    <a:pt x="234" y="72"/>
                  </a:lnTo>
                  <a:lnTo>
                    <a:pt x="222" y="78"/>
                  </a:lnTo>
                  <a:lnTo>
                    <a:pt x="216" y="82"/>
                  </a:lnTo>
                  <a:lnTo>
                    <a:pt x="212" y="88"/>
                  </a:lnTo>
                  <a:lnTo>
                    <a:pt x="212" y="90"/>
                  </a:lnTo>
                  <a:lnTo>
                    <a:pt x="218" y="100"/>
                  </a:lnTo>
                  <a:lnTo>
                    <a:pt x="226" y="108"/>
                  </a:lnTo>
                  <a:lnTo>
                    <a:pt x="226" y="116"/>
                  </a:lnTo>
                  <a:lnTo>
                    <a:pt x="222" y="124"/>
                  </a:lnTo>
                  <a:lnTo>
                    <a:pt x="222" y="126"/>
                  </a:lnTo>
                  <a:lnTo>
                    <a:pt x="224" y="126"/>
                  </a:lnTo>
                  <a:lnTo>
                    <a:pt x="228" y="126"/>
                  </a:lnTo>
                  <a:lnTo>
                    <a:pt x="230" y="128"/>
                  </a:lnTo>
                  <a:lnTo>
                    <a:pt x="232" y="132"/>
                  </a:lnTo>
                  <a:lnTo>
                    <a:pt x="232" y="140"/>
                  </a:lnTo>
                  <a:lnTo>
                    <a:pt x="230" y="146"/>
                  </a:lnTo>
                  <a:lnTo>
                    <a:pt x="230" y="150"/>
                  </a:lnTo>
                  <a:lnTo>
                    <a:pt x="226" y="150"/>
                  </a:lnTo>
                  <a:lnTo>
                    <a:pt x="220" y="146"/>
                  </a:lnTo>
                  <a:lnTo>
                    <a:pt x="216" y="142"/>
                  </a:lnTo>
                  <a:lnTo>
                    <a:pt x="214" y="140"/>
                  </a:lnTo>
                  <a:lnTo>
                    <a:pt x="214" y="138"/>
                  </a:lnTo>
                  <a:lnTo>
                    <a:pt x="214" y="136"/>
                  </a:lnTo>
                  <a:lnTo>
                    <a:pt x="214" y="134"/>
                  </a:lnTo>
                  <a:lnTo>
                    <a:pt x="208" y="130"/>
                  </a:lnTo>
                  <a:lnTo>
                    <a:pt x="202" y="132"/>
                  </a:lnTo>
                  <a:lnTo>
                    <a:pt x="198" y="134"/>
                  </a:lnTo>
                  <a:lnTo>
                    <a:pt x="194" y="134"/>
                  </a:lnTo>
                  <a:lnTo>
                    <a:pt x="192" y="130"/>
                  </a:lnTo>
                  <a:lnTo>
                    <a:pt x="186" y="128"/>
                  </a:lnTo>
                  <a:lnTo>
                    <a:pt x="180" y="128"/>
                  </a:lnTo>
                  <a:lnTo>
                    <a:pt x="176" y="126"/>
                  </a:lnTo>
                  <a:lnTo>
                    <a:pt x="176" y="126"/>
                  </a:lnTo>
                  <a:lnTo>
                    <a:pt x="176" y="132"/>
                  </a:lnTo>
                  <a:lnTo>
                    <a:pt x="174" y="136"/>
                  </a:lnTo>
                  <a:lnTo>
                    <a:pt x="144" y="138"/>
                  </a:lnTo>
                  <a:lnTo>
                    <a:pt x="134" y="142"/>
                  </a:lnTo>
                  <a:lnTo>
                    <a:pt x="128" y="146"/>
                  </a:lnTo>
                  <a:lnTo>
                    <a:pt x="122" y="148"/>
                  </a:lnTo>
                  <a:lnTo>
                    <a:pt x="122" y="150"/>
                  </a:lnTo>
                  <a:lnTo>
                    <a:pt x="116" y="154"/>
                  </a:lnTo>
                  <a:lnTo>
                    <a:pt x="112" y="156"/>
                  </a:lnTo>
                  <a:lnTo>
                    <a:pt x="110" y="154"/>
                  </a:lnTo>
                  <a:lnTo>
                    <a:pt x="106" y="156"/>
                  </a:lnTo>
                  <a:lnTo>
                    <a:pt x="100" y="158"/>
                  </a:lnTo>
                  <a:lnTo>
                    <a:pt x="96" y="156"/>
                  </a:lnTo>
                  <a:lnTo>
                    <a:pt x="94" y="154"/>
                  </a:lnTo>
                  <a:lnTo>
                    <a:pt x="90" y="150"/>
                  </a:lnTo>
                  <a:lnTo>
                    <a:pt x="88" y="146"/>
                  </a:lnTo>
                  <a:lnTo>
                    <a:pt x="88" y="144"/>
                  </a:lnTo>
                  <a:lnTo>
                    <a:pt x="80" y="144"/>
                  </a:lnTo>
                  <a:lnTo>
                    <a:pt x="74" y="142"/>
                  </a:lnTo>
                  <a:lnTo>
                    <a:pt x="64" y="142"/>
                  </a:lnTo>
                  <a:lnTo>
                    <a:pt x="60" y="142"/>
                  </a:lnTo>
                  <a:lnTo>
                    <a:pt x="60" y="142"/>
                  </a:lnTo>
                  <a:lnTo>
                    <a:pt x="58" y="156"/>
                  </a:lnTo>
                  <a:lnTo>
                    <a:pt x="56" y="160"/>
                  </a:lnTo>
                  <a:lnTo>
                    <a:pt x="52" y="166"/>
                  </a:lnTo>
                  <a:lnTo>
                    <a:pt x="48" y="168"/>
                  </a:lnTo>
                  <a:lnTo>
                    <a:pt x="44" y="168"/>
                  </a:lnTo>
                  <a:lnTo>
                    <a:pt x="44" y="164"/>
                  </a:lnTo>
                  <a:lnTo>
                    <a:pt x="44" y="160"/>
                  </a:lnTo>
                  <a:lnTo>
                    <a:pt x="42" y="160"/>
                  </a:lnTo>
                  <a:lnTo>
                    <a:pt x="38" y="158"/>
                  </a:lnTo>
                  <a:lnTo>
                    <a:pt x="36" y="158"/>
                  </a:lnTo>
                  <a:lnTo>
                    <a:pt x="36" y="154"/>
                  </a:lnTo>
                  <a:lnTo>
                    <a:pt x="36" y="152"/>
                  </a:lnTo>
                  <a:lnTo>
                    <a:pt x="34" y="150"/>
                  </a:lnTo>
                  <a:lnTo>
                    <a:pt x="30" y="146"/>
                  </a:lnTo>
                  <a:lnTo>
                    <a:pt x="22" y="142"/>
                  </a:lnTo>
                  <a:lnTo>
                    <a:pt x="16" y="140"/>
                  </a:lnTo>
                  <a:lnTo>
                    <a:pt x="14" y="142"/>
                  </a:lnTo>
                  <a:lnTo>
                    <a:pt x="12" y="142"/>
                  </a:lnTo>
                  <a:lnTo>
                    <a:pt x="14" y="144"/>
                  </a:lnTo>
                  <a:lnTo>
                    <a:pt x="14" y="146"/>
                  </a:lnTo>
                  <a:lnTo>
                    <a:pt x="10" y="146"/>
                  </a:lnTo>
                  <a:lnTo>
                    <a:pt x="2" y="146"/>
                  </a:lnTo>
                  <a:lnTo>
                    <a:pt x="8" y="150"/>
                  </a:lnTo>
                  <a:lnTo>
                    <a:pt x="6" y="158"/>
                  </a:lnTo>
                  <a:lnTo>
                    <a:pt x="0" y="170"/>
                  </a:lnTo>
                  <a:lnTo>
                    <a:pt x="2" y="170"/>
                  </a:lnTo>
                  <a:lnTo>
                    <a:pt x="2" y="172"/>
                  </a:lnTo>
                  <a:lnTo>
                    <a:pt x="2" y="174"/>
                  </a:lnTo>
                  <a:lnTo>
                    <a:pt x="2" y="178"/>
                  </a:lnTo>
                  <a:lnTo>
                    <a:pt x="4" y="180"/>
                  </a:lnTo>
                  <a:lnTo>
                    <a:pt x="6" y="182"/>
                  </a:lnTo>
                  <a:lnTo>
                    <a:pt x="6" y="184"/>
                  </a:lnTo>
                  <a:lnTo>
                    <a:pt x="6" y="188"/>
                  </a:lnTo>
                  <a:lnTo>
                    <a:pt x="4" y="190"/>
                  </a:lnTo>
                  <a:lnTo>
                    <a:pt x="6" y="190"/>
                  </a:lnTo>
                  <a:lnTo>
                    <a:pt x="14" y="192"/>
                  </a:lnTo>
                  <a:lnTo>
                    <a:pt x="22" y="194"/>
                  </a:lnTo>
                  <a:lnTo>
                    <a:pt x="22" y="198"/>
                  </a:lnTo>
                  <a:lnTo>
                    <a:pt x="24" y="202"/>
                  </a:lnTo>
                  <a:lnTo>
                    <a:pt x="32" y="206"/>
                  </a:lnTo>
                  <a:lnTo>
                    <a:pt x="40" y="210"/>
                  </a:lnTo>
                  <a:lnTo>
                    <a:pt x="44" y="208"/>
                  </a:lnTo>
                  <a:lnTo>
                    <a:pt x="54" y="196"/>
                  </a:lnTo>
                  <a:lnTo>
                    <a:pt x="58" y="198"/>
                  </a:lnTo>
                  <a:lnTo>
                    <a:pt x="62" y="204"/>
                  </a:lnTo>
                  <a:lnTo>
                    <a:pt x="62" y="208"/>
                  </a:lnTo>
                  <a:lnTo>
                    <a:pt x="64" y="210"/>
                  </a:lnTo>
                  <a:lnTo>
                    <a:pt x="70" y="210"/>
                  </a:lnTo>
                  <a:lnTo>
                    <a:pt x="76" y="210"/>
                  </a:lnTo>
                  <a:lnTo>
                    <a:pt x="82" y="216"/>
                  </a:lnTo>
                  <a:lnTo>
                    <a:pt x="86" y="216"/>
                  </a:lnTo>
                  <a:lnTo>
                    <a:pt x="92" y="218"/>
                  </a:lnTo>
                  <a:lnTo>
                    <a:pt x="96" y="216"/>
                  </a:lnTo>
                  <a:lnTo>
                    <a:pt x="98" y="214"/>
                  </a:lnTo>
                  <a:lnTo>
                    <a:pt x="102" y="208"/>
                  </a:lnTo>
                  <a:lnTo>
                    <a:pt x="106" y="202"/>
                  </a:lnTo>
                  <a:lnTo>
                    <a:pt x="114" y="198"/>
                  </a:lnTo>
                  <a:lnTo>
                    <a:pt x="126" y="196"/>
                  </a:lnTo>
                  <a:lnTo>
                    <a:pt x="132" y="196"/>
                  </a:lnTo>
                  <a:lnTo>
                    <a:pt x="138" y="196"/>
                  </a:lnTo>
                  <a:lnTo>
                    <a:pt x="142" y="196"/>
                  </a:lnTo>
                  <a:lnTo>
                    <a:pt x="148" y="196"/>
                  </a:lnTo>
                  <a:lnTo>
                    <a:pt x="160" y="192"/>
                  </a:lnTo>
                  <a:lnTo>
                    <a:pt x="174" y="188"/>
                  </a:lnTo>
                  <a:lnTo>
                    <a:pt x="176" y="188"/>
                  </a:lnTo>
                  <a:lnTo>
                    <a:pt x="176" y="190"/>
                  </a:lnTo>
                  <a:lnTo>
                    <a:pt x="174" y="192"/>
                  </a:lnTo>
                  <a:lnTo>
                    <a:pt x="172" y="196"/>
                  </a:lnTo>
                  <a:lnTo>
                    <a:pt x="172" y="202"/>
                  </a:lnTo>
                  <a:lnTo>
                    <a:pt x="180" y="210"/>
                  </a:lnTo>
                  <a:lnTo>
                    <a:pt x="184" y="218"/>
                  </a:lnTo>
                  <a:lnTo>
                    <a:pt x="188" y="224"/>
                  </a:lnTo>
                  <a:lnTo>
                    <a:pt x="194" y="226"/>
                  </a:lnTo>
                  <a:lnTo>
                    <a:pt x="202" y="228"/>
                  </a:lnTo>
                  <a:lnTo>
                    <a:pt x="208" y="230"/>
                  </a:lnTo>
                  <a:lnTo>
                    <a:pt x="216" y="232"/>
                  </a:lnTo>
                  <a:lnTo>
                    <a:pt x="240" y="236"/>
                  </a:lnTo>
                  <a:lnTo>
                    <a:pt x="252" y="238"/>
                  </a:lnTo>
                  <a:lnTo>
                    <a:pt x="260" y="238"/>
                  </a:lnTo>
                  <a:lnTo>
                    <a:pt x="274" y="242"/>
                  </a:lnTo>
                  <a:lnTo>
                    <a:pt x="278" y="242"/>
                  </a:lnTo>
                  <a:lnTo>
                    <a:pt x="282" y="242"/>
                  </a:lnTo>
                  <a:lnTo>
                    <a:pt x="290" y="244"/>
                  </a:lnTo>
                  <a:lnTo>
                    <a:pt x="296" y="244"/>
                  </a:lnTo>
                  <a:lnTo>
                    <a:pt x="300" y="246"/>
                  </a:lnTo>
                  <a:lnTo>
                    <a:pt x="312" y="248"/>
                  </a:lnTo>
                  <a:lnTo>
                    <a:pt x="322" y="250"/>
                  </a:lnTo>
                  <a:lnTo>
                    <a:pt x="324" y="250"/>
                  </a:lnTo>
                  <a:lnTo>
                    <a:pt x="326" y="250"/>
                  </a:lnTo>
                  <a:lnTo>
                    <a:pt x="330" y="252"/>
                  </a:lnTo>
                  <a:lnTo>
                    <a:pt x="332" y="252"/>
                  </a:lnTo>
                  <a:lnTo>
                    <a:pt x="334" y="250"/>
                  </a:lnTo>
                  <a:lnTo>
                    <a:pt x="338" y="246"/>
                  </a:lnTo>
                  <a:lnTo>
                    <a:pt x="344" y="244"/>
                  </a:lnTo>
                  <a:lnTo>
                    <a:pt x="346" y="238"/>
                  </a:lnTo>
                  <a:lnTo>
                    <a:pt x="348" y="236"/>
                  </a:lnTo>
                  <a:lnTo>
                    <a:pt x="352" y="232"/>
                  </a:lnTo>
                  <a:lnTo>
                    <a:pt x="356" y="232"/>
                  </a:lnTo>
                  <a:lnTo>
                    <a:pt x="360" y="232"/>
                  </a:lnTo>
                  <a:lnTo>
                    <a:pt x="374" y="230"/>
                  </a:lnTo>
                  <a:lnTo>
                    <a:pt x="388" y="230"/>
                  </a:lnTo>
                  <a:lnTo>
                    <a:pt x="396" y="228"/>
                  </a:lnTo>
                  <a:lnTo>
                    <a:pt x="400" y="224"/>
                  </a:lnTo>
                  <a:lnTo>
                    <a:pt x="410" y="222"/>
                  </a:lnTo>
                  <a:lnTo>
                    <a:pt x="410" y="222"/>
                  </a:lnTo>
                  <a:lnTo>
                    <a:pt x="422" y="226"/>
                  </a:lnTo>
                  <a:lnTo>
                    <a:pt x="424" y="224"/>
                  </a:lnTo>
                  <a:lnTo>
                    <a:pt x="424" y="224"/>
                  </a:lnTo>
                  <a:lnTo>
                    <a:pt x="424" y="214"/>
                  </a:lnTo>
                  <a:lnTo>
                    <a:pt x="428" y="210"/>
                  </a:lnTo>
                  <a:lnTo>
                    <a:pt x="430" y="208"/>
                  </a:lnTo>
                  <a:lnTo>
                    <a:pt x="442" y="198"/>
                  </a:lnTo>
                  <a:lnTo>
                    <a:pt x="446" y="194"/>
                  </a:lnTo>
                  <a:lnTo>
                    <a:pt x="452" y="196"/>
                  </a:lnTo>
                  <a:lnTo>
                    <a:pt x="454" y="194"/>
                  </a:lnTo>
                  <a:lnTo>
                    <a:pt x="456" y="192"/>
                  </a:lnTo>
                  <a:lnTo>
                    <a:pt x="456" y="190"/>
                  </a:lnTo>
                  <a:lnTo>
                    <a:pt x="456" y="186"/>
                  </a:lnTo>
                  <a:lnTo>
                    <a:pt x="458" y="184"/>
                  </a:lnTo>
                  <a:lnTo>
                    <a:pt x="456" y="182"/>
                  </a:lnTo>
                  <a:lnTo>
                    <a:pt x="454" y="182"/>
                  </a:lnTo>
                  <a:lnTo>
                    <a:pt x="452" y="174"/>
                  </a:lnTo>
                  <a:lnTo>
                    <a:pt x="454" y="170"/>
                  </a:lnTo>
                  <a:lnTo>
                    <a:pt x="456" y="168"/>
                  </a:lnTo>
                  <a:lnTo>
                    <a:pt x="454" y="160"/>
                  </a:lnTo>
                  <a:lnTo>
                    <a:pt x="454" y="156"/>
                  </a:lnTo>
                  <a:lnTo>
                    <a:pt x="458" y="156"/>
                  </a:lnTo>
                  <a:lnTo>
                    <a:pt x="462" y="154"/>
                  </a:lnTo>
                  <a:lnTo>
                    <a:pt x="466" y="152"/>
                  </a:lnTo>
                  <a:lnTo>
                    <a:pt x="466" y="150"/>
                  </a:lnTo>
                  <a:lnTo>
                    <a:pt x="470" y="144"/>
                  </a:lnTo>
                  <a:lnTo>
                    <a:pt x="466" y="136"/>
                  </a:lnTo>
                  <a:lnTo>
                    <a:pt x="454" y="132"/>
                  </a:lnTo>
                  <a:lnTo>
                    <a:pt x="452" y="130"/>
                  </a:lnTo>
                  <a:lnTo>
                    <a:pt x="456" y="128"/>
                  </a:lnTo>
                  <a:lnTo>
                    <a:pt x="460" y="126"/>
                  </a:lnTo>
                  <a:lnTo>
                    <a:pt x="462" y="122"/>
                  </a:lnTo>
                  <a:lnTo>
                    <a:pt x="464" y="122"/>
                  </a:lnTo>
                  <a:lnTo>
                    <a:pt x="468" y="124"/>
                  </a:lnTo>
                  <a:lnTo>
                    <a:pt x="474" y="128"/>
                  </a:lnTo>
                  <a:lnTo>
                    <a:pt x="476" y="130"/>
                  </a:lnTo>
                  <a:lnTo>
                    <a:pt x="478" y="128"/>
                  </a:lnTo>
                  <a:lnTo>
                    <a:pt x="482" y="128"/>
                  </a:lnTo>
                  <a:lnTo>
                    <a:pt x="488" y="128"/>
                  </a:lnTo>
                  <a:lnTo>
                    <a:pt x="494" y="126"/>
                  </a:lnTo>
                  <a:lnTo>
                    <a:pt x="494" y="122"/>
                  </a:lnTo>
                  <a:lnTo>
                    <a:pt x="494" y="118"/>
                  </a:lnTo>
                  <a:lnTo>
                    <a:pt x="492" y="114"/>
                  </a:lnTo>
                  <a:lnTo>
                    <a:pt x="494" y="110"/>
                  </a:lnTo>
                  <a:lnTo>
                    <a:pt x="496" y="108"/>
                  </a:lnTo>
                  <a:lnTo>
                    <a:pt x="496" y="102"/>
                  </a:lnTo>
                  <a:lnTo>
                    <a:pt x="500" y="98"/>
                  </a:lnTo>
                  <a:lnTo>
                    <a:pt x="496" y="94"/>
                  </a:lnTo>
                  <a:lnTo>
                    <a:pt x="494" y="90"/>
                  </a:lnTo>
                  <a:lnTo>
                    <a:pt x="488" y="78"/>
                  </a:lnTo>
                  <a:lnTo>
                    <a:pt x="482" y="60"/>
                  </a:lnTo>
                  <a:lnTo>
                    <a:pt x="482" y="54"/>
                  </a:lnTo>
                  <a:lnTo>
                    <a:pt x="484" y="48"/>
                  </a:lnTo>
                  <a:lnTo>
                    <a:pt x="486" y="44"/>
                  </a:lnTo>
                  <a:lnTo>
                    <a:pt x="488" y="40"/>
                  </a:lnTo>
                  <a:lnTo>
                    <a:pt x="488" y="3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5" name="Freeform 3901">
              <a:extLst>
                <a:ext uri="{FF2B5EF4-FFF2-40B4-BE49-F238E27FC236}">
                  <a16:creationId xmlns:a16="http://schemas.microsoft.com/office/drawing/2014/main" id="{9146FCEA-ADE1-4CCF-A09B-0ACBDA9D6571}"/>
                </a:ext>
              </a:extLst>
            </p:cNvPr>
            <p:cNvSpPr/>
            <p:nvPr/>
          </p:nvSpPr>
          <p:spPr bwMode="auto">
            <a:xfrm>
              <a:off x="6430100" y="4312454"/>
              <a:ext cx="33919" cy="29293"/>
            </a:xfrm>
            <a:custGeom>
              <a:avLst/>
              <a:gdLst>
                <a:gd name="T0" fmla="*/ 24 w 88"/>
                <a:gd name="T1" fmla="*/ 16 h 76"/>
                <a:gd name="T2" fmla="*/ 24 w 88"/>
                <a:gd name="T3" fmla="*/ 10 h 76"/>
                <a:gd name="T4" fmla="*/ 22 w 88"/>
                <a:gd name="T5" fmla="*/ 6 h 76"/>
                <a:gd name="T6" fmla="*/ 20 w 88"/>
                <a:gd name="T7" fmla="*/ 2 h 76"/>
                <a:gd name="T8" fmla="*/ 16 w 88"/>
                <a:gd name="T9" fmla="*/ 0 h 76"/>
                <a:gd name="T10" fmla="*/ 6 w 88"/>
                <a:gd name="T11" fmla="*/ 6 h 76"/>
                <a:gd name="T12" fmla="*/ 0 w 88"/>
                <a:gd name="T13" fmla="*/ 6 h 76"/>
                <a:gd name="T14" fmla="*/ 0 w 88"/>
                <a:gd name="T15" fmla="*/ 8 h 76"/>
                <a:gd name="T16" fmla="*/ 2 w 88"/>
                <a:gd name="T17" fmla="*/ 10 h 76"/>
                <a:gd name="T18" fmla="*/ 4 w 88"/>
                <a:gd name="T19" fmla="*/ 12 h 76"/>
                <a:gd name="T20" fmla="*/ 14 w 88"/>
                <a:gd name="T21" fmla="*/ 30 h 76"/>
                <a:gd name="T22" fmla="*/ 18 w 88"/>
                <a:gd name="T23" fmla="*/ 36 h 76"/>
                <a:gd name="T24" fmla="*/ 22 w 88"/>
                <a:gd name="T25" fmla="*/ 40 h 76"/>
                <a:gd name="T26" fmla="*/ 24 w 88"/>
                <a:gd name="T27" fmla="*/ 44 h 76"/>
                <a:gd name="T28" fmla="*/ 26 w 88"/>
                <a:gd name="T29" fmla="*/ 48 h 76"/>
                <a:gd name="T30" fmla="*/ 30 w 88"/>
                <a:gd name="T31" fmla="*/ 50 h 76"/>
                <a:gd name="T32" fmla="*/ 36 w 88"/>
                <a:gd name="T33" fmla="*/ 54 h 76"/>
                <a:gd name="T34" fmla="*/ 40 w 88"/>
                <a:gd name="T35" fmla="*/ 58 h 76"/>
                <a:gd name="T36" fmla="*/ 46 w 88"/>
                <a:gd name="T37" fmla="*/ 66 h 76"/>
                <a:gd name="T38" fmla="*/ 52 w 88"/>
                <a:gd name="T39" fmla="*/ 68 h 76"/>
                <a:gd name="T40" fmla="*/ 74 w 88"/>
                <a:gd name="T41" fmla="*/ 74 h 76"/>
                <a:gd name="T42" fmla="*/ 88 w 88"/>
                <a:gd name="T43" fmla="*/ 76 h 76"/>
                <a:gd name="T44" fmla="*/ 84 w 88"/>
                <a:gd name="T45" fmla="*/ 70 h 76"/>
                <a:gd name="T46" fmla="*/ 82 w 88"/>
                <a:gd name="T47" fmla="*/ 64 h 76"/>
                <a:gd name="T48" fmla="*/ 76 w 88"/>
                <a:gd name="T49" fmla="*/ 50 h 76"/>
                <a:gd name="T50" fmla="*/ 78 w 88"/>
                <a:gd name="T51" fmla="*/ 46 h 76"/>
                <a:gd name="T52" fmla="*/ 74 w 88"/>
                <a:gd name="T53" fmla="*/ 42 h 76"/>
                <a:gd name="T54" fmla="*/ 66 w 88"/>
                <a:gd name="T55" fmla="*/ 36 h 76"/>
                <a:gd name="T56" fmla="*/ 64 w 88"/>
                <a:gd name="T57" fmla="*/ 34 h 76"/>
                <a:gd name="T58" fmla="*/ 66 w 88"/>
                <a:gd name="T59" fmla="*/ 30 h 76"/>
                <a:gd name="T60" fmla="*/ 66 w 88"/>
                <a:gd name="T61" fmla="*/ 24 h 76"/>
                <a:gd name="T62" fmla="*/ 66 w 88"/>
                <a:gd name="T63" fmla="*/ 20 h 76"/>
                <a:gd name="T64" fmla="*/ 64 w 88"/>
                <a:gd name="T65" fmla="*/ 18 h 76"/>
                <a:gd name="T66" fmla="*/ 60 w 88"/>
                <a:gd name="T67" fmla="*/ 18 h 76"/>
                <a:gd name="T68" fmla="*/ 54 w 88"/>
                <a:gd name="T69" fmla="*/ 20 h 76"/>
                <a:gd name="T70" fmla="*/ 44 w 88"/>
                <a:gd name="T71" fmla="*/ 24 h 76"/>
                <a:gd name="T72" fmla="*/ 38 w 88"/>
                <a:gd name="T73" fmla="*/ 22 h 76"/>
                <a:gd name="T74" fmla="*/ 34 w 88"/>
                <a:gd name="T75" fmla="*/ 18 h 76"/>
                <a:gd name="T76" fmla="*/ 30 w 88"/>
                <a:gd name="T77" fmla="*/ 16 h 76"/>
                <a:gd name="T78" fmla="*/ 26 w 88"/>
                <a:gd name="T79" fmla="*/ 18 h 76"/>
                <a:gd name="T80" fmla="*/ 24 w 88"/>
                <a:gd name="T81" fmla="*/ 1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" h="76">
                  <a:moveTo>
                    <a:pt x="24" y="16"/>
                  </a:moveTo>
                  <a:lnTo>
                    <a:pt x="24" y="10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1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14" y="30"/>
                  </a:lnTo>
                  <a:lnTo>
                    <a:pt x="18" y="36"/>
                  </a:lnTo>
                  <a:lnTo>
                    <a:pt x="22" y="40"/>
                  </a:lnTo>
                  <a:lnTo>
                    <a:pt x="24" y="44"/>
                  </a:lnTo>
                  <a:lnTo>
                    <a:pt x="26" y="48"/>
                  </a:lnTo>
                  <a:lnTo>
                    <a:pt x="30" y="50"/>
                  </a:lnTo>
                  <a:lnTo>
                    <a:pt x="36" y="54"/>
                  </a:lnTo>
                  <a:lnTo>
                    <a:pt x="40" y="58"/>
                  </a:lnTo>
                  <a:lnTo>
                    <a:pt x="46" y="66"/>
                  </a:lnTo>
                  <a:lnTo>
                    <a:pt x="52" y="68"/>
                  </a:lnTo>
                  <a:lnTo>
                    <a:pt x="74" y="74"/>
                  </a:lnTo>
                  <a:lnTo>
                    <a:pt x="88" y="76"/>
                  </a:lnTo>
                  <a:lnTo>
                    <a:pt x="84" y="70"/>
                  </a:lnTo>
                  <a:lnTo>
                    <a:pt x="82" y="64"/>
                  </a:lnTo>
                  <a:lnTo>
                    <a:pt x="76" y="50"/>
                  </a:lnTo>
                  <a:lnTo>
                    <a:pt x="78" y="46"/>
                  </a:lnTo>
                  <a:lnTo>
                    <a:pt x="74" y="42"/>
                  </a:lnTo>
                  <a:lnTo>
                    <a:pt x="66" y="36"/>
                  </a:lnTo>
                  <a:lnTo>
                    <a:pt x="64" y="34"/>
                  </a:lnTo>
                  <a:lnTo>
                    <a:pt x="66" y="30"/>
                  </a:lnTo>
                  <a:lnTo>
                    <a:pt x="66" y="24"/>
                  </a:lnTo>
                  <a:lnTo>
                    <a:pt x="66" y="20"/>
                  </a:lnTo>
                  <a:lnTo>
                    <a:pt x="64" y="18"/>
                  </a:lnTo>
                  <a:lnTo>
                    <a:pt x="60" y="18"/>
                  </a:lnTo>
                  <a:lnTo>
                    <a:pt x="54" y="20"/>
                  </a:lnTo>
                  <a:lnTo>
                    <a:pt x="44" y="24"/>
                  </a:lnTo>
                  <a:lnTo>
                    <a:pt x="38" y="22"/>
                  </a:lnTo>
                  <a:lnTo>
                    <a:pt x="34" y="18"/>
                  </a:lnTo>
                  <a:lnTo>
                    <a:pt x="30" y="16"/>
                  </a:lnTo>
                  <a:lnTo>
                    <a:pt x="26" y="18"/>
                  </a:lnTo>
                  <a:lnTo>
                    <a:pt x="24" y="1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6" name="Freeform 3903">
              <a:extLst>
                <a:ext uri="{FF2B5EF4-FFF2-40B4-BE49-F238E27FC236}">
                  <a16:creationId xmlns:a16="http://schemas.microsoft.com/office/drawing/2014/main" id="{F13D8607-8C10-472F-A0AC-77103A47B89D}"/>
                </a:ext>
              </a:extLst>
            </p:cNvPr>
            <p:cNvSpPr/>
            <p:nvPr/>
          </p:nvSpPr>
          <p:spPr bwMode="auto">
            <a:xfrm>
              <a:off x="6435496" y="4241533"/>
              <a:ext cx="135674" cy="115631"/>
            </a:xfrm>
            <a:custGeom>
              <a:avLst/>
              <a:gdLst>
                <a:gd name="T0" fmla="*/ 92 w 352"/>
                <a:gd name="T1" fmla="*/ 4 h 300"/>
                <a:gd name="T2" fmla="*/ 78 w 352"/>
                <a:gd name="T3" fmla="*/ 14 h 300"/>
                <a:gd name="T4" fmla="*/ 80 w 352"/>
                <a:gd name="T5" fmla="*/ 26 h 300"/>
                <a:gd name="T6" fmla="*/ 98 w 352"/>
                <a:gd name="T7" fmla="*/ 44 h 300"/>
                <a:gd name="T8" fmla="*/ 106 w 352"/>
                <a:gd name="T9" fmla="*/ 64 h 300"/>
                <a:gd name="T10" fmla="*/ 90 w 352"/>
                <a:gd name="T11" fmla="*/ 70 h 300"/>
                <a:gd name="T12" fmla="*/ 68 w 352"/>
                <a:gd name="T13" fmla="*/ 64 h 300"/>
                <a:gd name="T14" fmla="*/ 46 w 352"/>
                <a:gd name="T15" fmla="*/ 54 h 300"/>
                <a:gd name="T16" fmla="*/ 14 w 352"/>
                <a:gd name="T17" fmla="*/ 42 h 300"/>
                <a:gd name="T18" fmla="*/ 10 w 352"/>
                <a:gd name="T19" fmla="*/ 64 h 300"/>
                <a:gd name="T20" fmla="*/ 4 w 352"/>
                <a:gd name="T21" fmla="*/ 70 h 300"/>
                <a:gd name="T22" fmla="*/ 24 w 352"/>
                <a:gd name="T23" fmla="*/ 78 h 300"/>
                <a:gd name="T24" fmla="*/ 38 w 352"/>
                <a:gd name="T25" fmla="*/ 92 h 300"/>
                <a:gd name="T26" fmla="*/ 24 w 352"/>
                <a:gd name="T27" fmla="*/ 108 h 300"/>
                <a:gd name="T28" fmla="*/ 48 w 352"/>
                <a:gd name="T29" fmla="*/ 136 h 300"/>
                <a:gd name="T30" fmla="*/ 60 w 352"/>
                <a:gd name="T31" fmla="*/ 160 h 300"/>
                <a:gd name="T32" fmla="*/ 40 w 352"/>
                <a:gd name="T33" fmla="*/ 164 h 300"/>
                <a:gd name="T34" fmla="*/ 52 w 352"/>
                <a:gd name="T35" fmla="*/ 176 h 300"/>
                <a:gd name="T36" fmla="*/ 72 w 352"/>
                <a:gd name="T37" fmla="*/ 194 h 300"/>
                <a:gd name="T38" fmla="*/ 98 w 352"/>
                <a:gd name="T39" fmla="*/ 206 h 300"/>
                <a:gd name="T40" fmla="*/ 90 w 352"/>
                <a:gd name="T41" fmla="*/ 216 h 300"/>
                <a:gd name="T42" fmla="*/ 104 w 352"/>
                <a:gd name="T43" fmla="*/ 232 h 300"/>
                <a:gd name="T44" fmla="*/ 92 w 352"/>
                <a:gd name="T45" fmla="*/ 234 h 300"/>
                <a:gd name="T46" fmla="*/ 98 w 352"/>
                <a:gd name="T47" fmla="*/ 258 h 300"/>
                <a:gd name="T48" fmla="*/ 130 w 352"/>
                <a:gd name="T49" fmla="*/ 234 h 300"/>
                <a:gd name="T50" fmla="*/ 162 w 352"/>
                <a:gd name="T51" fmla="*/ 208 h 300"/>
                <a:gd name="T52" fmla="*/ 196 w 352"/>
                <a:gd name="T53" fmla="*/ 192 h 300"/>
                <a:gd name="T54" fmla="*/ 214 w 352"/>
                <a:gd name="T55" fmla="*/ 220 h 300"/>
                <a:gd name="T56" fmla="*/ 204 w 352"/>
                <a:gd name="T57" fmla="*/ 232 h 300"/>
                <a:gd name="T58" fmla="*/ 216 w 352"/>
                <a:gd name="T59" fmla="*/ 248 h 300"/>
                <a:gd name="T60" fmla="*/ 200 w 352"/>
                <a:gd name="T61" fmla="*/ 256 h 300"/>
                <a:gd name="T62" fmla="*/ 198 w 352"/>
                <a:gd name="T63" fmla="*/ 266 h 300"/>
                <a:gd name="T64" fmla="*/ 216 w 352"/>
                <a:gd name="T65" fmla="*/ 282 h 300"/>
                <a:gd name="T66" fmla="*/ 238 w 352"/>
                <a:gd name="T67" fmla="*/ 300 h 300"/>
                <a:gd name="T68" fmla="*/ 252 w 352"/>
                <a:gd name="T69" fmla="*/ 264 h 300"/>
                <a:gd name="T70" fmla="*/ 270 w 352"/>
                <a:gd name="T71" fmla="*/ 242 h 300"/>
                <a:gd name="T72" fmla="*/ 276 w 352"/>
                <a:gd name="T73" fmla="*/ 244 h 300"/>
                <a:gd name="T74" fmla="*/ 286 w 352"/>
                <a:gd name="T75" fmla="*/ 216 h 300"/>
                <a:gd name="T76" fmla="*/ 294 w 352"/>
                <a:gd name="T77" fmla="*/ 158 h 300"/>
                <a:gd name="T78" fmla="*/ 322 w 352"/>
                <a:gd name="T79" fmla="*/ 138 h 300"/>
                <a:gd name="T80" fmla="*/ 344 w 352"/>
                <a:gd name="T81" fmla="*/ 126 h 300"/>
                <a:gd name="T82" fmla="*/ 318 w 352"/>
                <a:gd name="T83" fmla="*/ 116 h 300"/>
                <a:gd name="T84" fmla="*/ 292 w 352"/>
                <a:gd name="T85" fmla="*/ 96 h 300"/>
                <a:gd name="T86" fmla="*/ 270 w 352"/>
                <a:gd name="T87" fmla="*/ 52 h 300"/>
                <a:gd name="T88" fmla="*/ 234 w 352"/>
                <a:gd name="T89" fmla="*/ 4 h 300"/>
                <a:gd name="T90" fmla="*/ 216 w 352"/>
                <a:gd name="T91" fmla="*/ 32 h 300"/>
                <a:gd name="T92" fmla="*/ 188 w 352"/>
                <a:gd name="T93" fmla="*/ 60 h 300"/>
                <a:gd name="T94" fmla="*/ 152 w 352"/>
                <a:gd name="T95" fmla="*/ 54 h 300"/>
                <a:gd name="T96" fmla="*/ 136 w 352"/>
                <a:gd name="T97" fmla="*/ 30 h 300"/>
                <a:gd name="T98" fmla="*/ 120 w 352"/>
                <a:gd name="T99" fmla="*/ 14 h 300"/>
                <a:gd name="T100" fmla="*/ 104 w 352"/>
                <a:gd name="T101" fmla="*/ 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2" h="300">
                  <a:moveTo>
                    <a:pt x="102" y="8"/>
                  </a:moveTo>
                  <a:lnTo>
                    <a:pt x="102" y="2"/>
                  </a:lnTo>
                  <a:lnTo>
                    <a:pt x="94" y="0"/>
                  </a:lnTo>
                  <a:lnTo>
                    <a:pt x="92" y="4"/>
                  </a:lnTo>
                  <a:lnTo>
                    <a:pt x="88" y="10"/>
                  </a:lnTo>
                  <a:lnTo>
                    <a:pt x="86" y="12"/>
                  </a:lnTo>
                  <a:lnTo>
                    <a:pt x="82" y="12"/>
                  </a:lnTo>
                  <a:lnTo>
                    <a:pt x="78" y="14"/>
                  </a:lnTo>
                  <a:lnTo>
                    <a:pt x="78" y="18"/>
                  </a:lnTo>
                  <a:lnTo>
                    <a:pt x="78" y="22"/>
                  </a:lnTo>
                  <a:lnTo>
                    <a:pt x="78" y="24"/>
                  </a:lnTo>
                  <a:lnTo>
                    <a:pt x="80" y="26"/>
                  </a:lnTo>
                  <a:lnTo>
                    <a:pt x="82" y="26"/>
                  </a:lnTo>
                  <a:lnTo>
                    <a:pt x="86" y="34"/>
                  </a:lnTo>
                  <a:lnTo>
                    <a:pt x="90" y="38"/>
                  </a:lnTo>
                  <a:lnTo>
                    <a:pt x="98" y="44"/>
                  </a:lnTo>
                  <a:lnTo>
                    <a:pt x="106" y="48"/>
                  </a:lnTo>
                  <a:lnTo>
                    <a:pt x="110" y="54"/>
                  </a:lnTo>
                  <a:lnTo>
                    <a:pt x="108" y="58"/>
                  </a:lnTo>
                  <a:lnTo>
                    <a:pt x="106" y="64"/>
                  </a:lnTo>
                  <a:lnTo>
                    <a:pt x="100" y="70"/>
                  </a:lnTo>
                  <a:lnTo>
                    <a:pt x="96" y="72"/>
                  </a:lnTo>
                  <a:lnTo>
                    <a:pt x="94" y="72"/>
                  </a:lnTo>
                  <a:lnTo>
                    <a:pt x="90" y="70"/>
                  </a:lnTo>
                  <a:lnTo>
                    <a:pt x="84" y="66"/>
                  </a:lnTo>
                  <a:lnTo>
                    <a:pt x="78" y="62"/>
                  </a:lnTo>
                  <a:lnTo>
                    <a:pt x="72" y="62"/>
                  </a:lnTo>
                  <a:lnTo>
                    <a:pt x="68" y="64"/>
                  </a:lnTo>
                  <a:lnTo>
                    <a:pt x="60" y="62"/>
                  </a:lnTo>
                  <a:lnTo>
                    <a:pt x="52" y="60"/>
                  </a:lnTo>
                  <a:lnTo>
                    <a:pt x="48" y="56"/>
                  </a:lnTo>
                  <a:lnTo>
                    <a:pt x="46" y="54"/>
                  </a:lnTo>
                  <a:lnTo>
                    <a:pt x="48" y="50"/>
                  </a:lnTo>
                  <a:lnTo>
                    <a:pt x="28" y="42"/>
                  </a:lnTo>
                  <a:lnTo>
                    <a:pt x="18" y="40"/>
                  </a:lnTo>
                  <a:lnTo>
                    <a:pt x="14" y="42"/>
                  </a:lnTo>
                  <a:lnTo>
                    <a:pt x="0" y="54"/>
                  </a:lnTo>
                  <a:lnTo>
                    <a:pt x="2" y="58"/>
                  </a:lnTo>
                  <a:lnTo>
                    <a:pt x="6" y="62"/>
                  </a:lnTo>
                  <a:lnTo>
                    <a:pt x="10" y="64"/>
                  </a:lnTo>
                  <a:lnTo>
                    <a:pt x="12" y="66"/>
                  </a:lnTo>
                  <a:lnTo>
                    <a:pt x="12" y="68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8" y="78"/>
                  </a:lnTo>
                  <a:lnTo>
                    <a:pt x="24" y="78"/>
                  </a:lnTo>
                  <a:lnTo>
                    <a:pt x="28" y="80"/>
                  </a:lnTo>
                  <a:lnTo>
                    <a:pt x="30" y="84"/>
                  </a:lnTo>
                  <a:lnTo>
                    <a:pt x="34" y="88"/>
                  </a:lnTo>
                  <a:lnTo>
                    <a:pt x="38" y="92"/>
                  </a:lnTo>
                  <a:lnTo>
                    <a:pt x="38" y="94"/>
                  </a:lnTo>
                  <a:lnTo>
                    <a:pt x="38" y="96"/>
                  </a:lnTo>
                  <a:lnTo>
                    <a:pt x="26" y="104"/>
                  </a:lnTo>
                  <a:lnTo>
                    <a:pt x="24" y="108"/>
                  </a:lnTo>
                  <a:lnTo>
                    <a:pt x="24" y="110"/>
                  </a:lnTo>
                  <a:lnTo>
                    <a:pt x="30" y="120"/>
                  </a:lnTo>
                  <a:lnTo>
                    <a:pt x="38" y="130"/>
                  </a:lnTo>
                  <a:lnTo>
                    <a:pt x="48" y="136"/>
                  </a:lnTo>
                  <a:lnTo>
                    <a:pt x="64" y="144"/>
                  </a:lnTo>
                  <a:lnTo>
                    <a:pt x="64" y="150"/>
                  </a:lnTo>
                  <a:lnTo>
                    <a:pt x="62" y="156"/>
                  </a:lnTo>
                  <a:lnTo>
                    <a:pt x="60" y="160"/>
                  </a:lnTo>
                  <a:lnTo>
                    <a:pt x="58" y="162"/>
                  </a:lnTo>
                  <a:lnTo>
                    <a:pt x="56" y="164"/>
                  </a:lnTo>
                  <a:lnTo>
                    <a:pt x="42" y="164"/>
                  </a:lnTo>
                  <a:lnTo>
                    <a:pt x="40" y="164"/>
                  </a:lnTo>
                  <a:lnTo>
                    <a:pt x="38" y="166"/>
                  </a:lnTo>
                  <a:lnTo>
                    <a:pt x="38" y="166"/>
                  </a:lnTo>
                  <a:lnTo>
                    <a:pt x="44" y="168"/>
                  </a:lnTo>
                  <a:lnTo>
                    <a:pt x="52" y="176"/>
                  </a:lnTo>
                  <a:lnTo>
                    <a:pt x="56" y="182"/>
                  </a:lnTo>
                  <a:lnTo>
                    <a:pt x="62" y="184"/>
                  </a:lnTo>
                  <a:lnTo>
                    <a:pt x="68" y="190"/>
                  </a:lnTo>
                  <a:lnTo>
                    <a:pt x="72" y="194"/>
                  </a:lnTo>
                  <a:lnTo>
                    <a:pt x="78" y="200"/>
                  </a:lnTo>
                  <a:lnTo>
                    <a:pt x="86" y="198"/>
                  </a:lnTo>
                  <a:lnTo>
                    <a:pt x="98" y="202"/>
                  </a:lnTo>
                  <a:lnTo>
                    <a:pt x="98" y="206"/>
                  </a:lnTo>
                  <a:lnTo>
                    <a:pt x="98" y="210"/>
                  </a:lnTo>
                  <a:lnTo>
                    <a:pt x="90" y="214"/>
                  </a:lnTo>
                  <a:lnTo>
                    <a:pt x="90" y="214"/>
                  </a:lnTo>
                  <a:lnTo>
                    <a:pt x="90" y="216"/>
                  </a:lnTo>
                  <a:lnTo>
                    <a:pt x="90" y="218"/>
                  </a:lnTo>
                  <a:lnTo>
                    <a:pt x="94" y="220"/>
                  </a:lnTo>
                  <a:lnTo>
                    <a:pt x="98" y="224"/>
                  </a:lnTo>
                  <a:lnTo>
                    <a:pt x="104" y="232"/>
                  </a:lnTo>
                  <a:lnTo>
                    <a:pt x="102" y="232"/>
                  </a:lnTo>
                  <a:lnTo>
                    <a:pt x="96" y="234"/>
                  </a:lnTo>
                  <a:lnTo>
                    <a:pt x="94" y="232"/>
                  </a:lnTo>
                  <a:lnTo>
                    <a:pt x="92" y="234"/>
                  </a:lnTo>
                  <a:lnTo>
                    <a:pt x="92" y="236"/>
                  </a:lnTo>
                  <a:lnTo>
                    <a:pt x="96" y="240"/>
                  </a:lnTo>
                  <a:lnTo>
                    <a:pt x="98" y="244"/>
                  </a:lnTo>
                  <a:lnTo>
                    <a:pt x="98" y="258"/>
                  </a:lnTo>
                  <a:lnTo>
                    <a:pt x="102" y="258"/>
                  </a:lnTo>
                  <a:lnTo>
                    <a:pt x="118" y="242"/>
                  </a:lnTo>
                  <a:lnTo>
                    <a:pt x="122" y="238"/>
                  </a:lnTo>
                  <a:lnTo>
                    <a:pt x="130" y="234"/>
                  </a:lnTo>
                  <a:lnTo>
                    <a:pt x="136" y="228"/>
                  </a:lnTo>
                  <a:lnTo>
                    <a:pt x="144" y="220"/>
                  </a:lnTo>
                  <a:lnTo>
                    <a:pt x="154" y="214"/>
                  </a:lnTo>
                  <a:lnTo>
                    <a:pt x="162" y="208"/>
                  </a:lnTo>
                  <a:lnTo>
                    <a:pt x="170" y="204"/>
                  </a:lnTo>
                  <a:lnTo>
                    <a:pt x="182" y="194"/>
                  </a:lnTo>
                  <a:lnTo>
                    <a:pt x="190" y="192"/>
                  </a:lnTo>
                  <a:lnTo>
                    <a:pt x="196" y="192"/>
                  </a:lnTo>
                  <a:lnTo>
                    <a:pt x="206" y="202"/>
                  </a:lnTo>
                  <a:lnTo>
                    <a:pt x="216" y="212"/>
                  </a:lnTo>
                  <a:lnTo>
                    <a:pt x="218" y="216"/>
                  </a:lnTo>
                  <a:lnTo>
                    <a:pt x="214" y="220"/>
                  </a:lnTo>
                  <a:lnTo>
                    <a:pt x="206" y="224"/>
                  </a:lnTo>
                  <a:lnTo>
                    <a:pt x="204" y="226"/>
                  </a:lnTo>
                  <a:lnTo>
                    <a:pt x="204" y="230"/>
                  </a:lnTo>
                  <a:lnTo>
                    <a:pt x="204" y="232"/>
                  </a:lnTo>
                  <a:lnTo>
                    <a:pt x="204" y="236"/>
                  </a:lnTo>
                  <a:lnTo>
                    <a:pt x="214" y="242"/>
                  </a:lnTo>
                  <a:lnTo>
                    <a:pt x="216" y="244"/>
                  </a:lnTo>
                  <a:lnTo>
                    <a:pt x="216" y="248"/>
                  </a:lnTo>
                  <a:lnTo>
                    <a:pt x="214" y="250"/>
                  </a:lnTo>
                  <a:lnTo>
                    <a:pt x="212" y="252"/>
                  </a:lnTo>
                  <a:lnTo>
                    <a:pt x="206" y="254"/>
                  </a:lnTo>
                  <a:lnTo>
                    <a:pt x="200" y="256"/>
                  </a:lnTo>
                  <a:lnTo>
                    <a:pt x="198" y="258"/>
                  </a:lnTo>
                  <a:lnTo>
                    <a:pt x="196" y="260"/>
                  </a:lnTo>
                  <a:lnTo>
                    <a:pt x="196" y="262"/>
                  </a:lnTo>
                  <a:lnTo>
                    <a:pt x="198" y="266"/>
                  </a:lnTo>
                  <a:lnTo>
                    <a:pt x="210" y="274"/>
                  </a:lnTo>
                  <a:lnTo>
                    <a:pt x="212" y="276"/>
                  </a:lnTo>
                  <a:lnTo>
                    <a:pt x="214" y="280"/>
                  </a:lnTo>
                  <a:lnTo>
                    <a:pt x="216" y="282"/>
                  </a:lnTo>
                  <a:lnTo>
                    <a:pt x="222" y="284"/>
                  </a:lnTo>
                  <a:lnTo>
                    <a:pt x="224" y="284"/>
                  </a:lnTo>
                  <a:lnTo>
                    <a:pt x="236" y="300"/>
                  </a:lnTo>
                  <a:lnTo>
                    <a:pt x="238" y="300"/>
                  </a:lnTo>
                  <a:lnTo>
                    <a:pt x="252" y="298"/>
                  </a:lnTo>
                  <a:lnTo>
                    <a:pt x="254" y="298"/>
                  </a:lnTo>
                  <a:lnTo>
                    <a:pt x="252" y="266"/>
                  </a:lnTo>
                  <a:lnTo>
                    <a:pt x="252" y="264"/>
                  </a:lnTo>
                  <a:lnTo>
                    <a:pt x="258" y="254"/>
                  </a:lnTo>
                  <a:lnTo>
                    <a:pt x="260" y="244"/>
                  </a:lnTo>
                  <a:lnTo>
                    <a:pt x="264" y="238"/>
                  </a:lnTo>
                  <a:lnTo>
                    <a:pt x="270" y="242"/>
                  </a:lnTo>
                  <a:lnTo>
                    <a:pt x="270" y="248"/>
                  </a:lnTo>
                  <a:lnTo>
                    <a:pt x="270" y="250"/>
                  </a:lnTo>
                  <a:lnTo>
                    <a:pt x="274" y="248"/>
                  </a:lnTo>
                  <a:lnTo>
                    <a:pt x="276" y="244"/>
                  </a:lnTo>
                  <a:lnTo>
                    <a:pt x="280" y="226"/>
                  </a:lnTo>
                  <a:lnTo>
                    <a:pt x="284" y="222"/>
                  </a:lnTo>
                  <a:lnTo>
                    <a:pt x="286" y="220"/>
                  </a:lnTo>
                  <a:lnTo>
                    <a:pt x="286" y="216"/>
                  </a:lnTo>
                  <a:lnTo>
                    <a:pt x="284" y="208"/>
                  </a:lnTo>
                  <a:lnTo>
                    <a:pt x="284" y="198"/>
                  </a:lnTo>
                  <a:lnTo>
                    <a:pt x="290" y="178"/>
                  </a:lnTo>
                  <a:lnTo>
                    <a:pt x="294" y="158"/>
                  </a:lnTo>
                  <a:lnTo>
                    <a:pt x="298" y="148"/>
                  </a:lnTo>
                  <a:lnTo>
                    <a:pt x="306" y="144"/>
                  </a:lnTo>
                  <a:lnTo>
                    <a:pt x="314" y="140"/>
                  </a:lnTo>
                  <a:lnTo>
                    <a:pt x="322" y="138"/>
                  </a:lnTo>
                  <a:lnTo>
                    <a:pt x="338" y="138"/>
                  </a:lnTo>
                  <a:lnTo>
                    <a:pt x="352" y="142"/>
                  </a:lnTo>
                  <a:lnTo>
                    <a:pt x="348" y="130"/>
                  </a:lnTo>
                  <a:lnTo>
                    <a:pt x="344" y="126"/>
                  </a:lnTo>
                  <a:lnTo>
                    <a:pt x="340" y="122"/>
                  </a:lnTo>
                  <a:lnTo>
                    <a:pt x="336" y="118"/>
                  </a:lnTo>
                  <a:lnTo>
                    <a:pt x="328" y="116"/>
                  </a:lnTo>
                  <a:lnTo>
                    <a:pt x="318" y="116"/>
                  </a:lnTo>
                  <a:lnTo>
                    <a:pt x="314" y="114"/>
                  </a:lnTo>
                  <a:lnTo>
                    <a:pt x="310" y="112"/>
                  </a:lnTo>
                  <a:lnTo>
                    <a:pt x="298" y="104"/>
                  </a:lnTo>
                  <a:lnTo>
                    <a:pt x="292" y="96"/>
                  </a:lnTo>
                  <a:lnTo>
                    <a:pt x="278" y="76"/>
                  </a:lnTo>
                  <a:lnTo>
                    <a:pt x="274" y="68"/>
                  </a:lnTo>
                  <a:lnTo>
                    <a:pt x="272" y="60"/>
                  </a:lnTo>
                  <a:lnTo>
                    <a:pt x="270" y="52"/>
                  </a:lnTo>
                  <a:lnTo>
                    <a:pt x="266" y="46"/>
                  </a:lnTo>
                  <a:lnTo>
                    <a:pt x="250" y="24"/>
                  </a:lnTo>
                  <a:lnTo>
                    <a:pt x="240" y="10"/>
                  </a:lnTo>
                  <a:lnTo>
                    <a:pt x="234" y="4"/>
                  </a:lnTo>
                  <a:lnTo>
                    <a:pt x="230" y="10"/>
                  </a:lnTo>
                  <a:lnTo>
                    <a:pt x="226" y="20"/>
                  </a:lnTo>
                  <a:lnTo>
                    <a:pt x="222" y="26"/>
                  </a:lnTo>
                  <a:lnTo>
                    <a:pt x="216" y="32"/>
                  </a:lnTo>
                  <a:lnTo>
                    <a:pt x="206" y="36"/>
                  </a:lnTo>
                  <a:lnTo>
                    <a:pt x="200" y="38"/>
                  </a:lnTo>
                  <a:lnTo>
                    <a:pt x="194" y="50"/>
                  </a:lnTo>
                  <a:lnTo>
                    <a:pt x="188" y="60"/>
                  </a:lnTo>
                  <a:lnTo>
                    <a:pt x="184" y="62"/>
                  </a:lnTo>
                  <a:lnTo>
                    <a:pt x="170" y="60"/>
                  </a:lnTo>
                  <a:lnTo>
                    <a:pt x="166" y="58"/>
                  </a:lnTo>
                  <a:lnTo>
                    <a:pt x="152" y="54"/>
                  </a:lnTo>
                  <a:lnTo>
                    <a:pt x="148" y="52"/>
                  </a:lnTo>
                  <a:lnTo>
                    <a:pt x="144" y="38"/>
                  </a:lnTo>
                  <a:lnTo>
                    <a:pt x="140" y="34"/>
                  </a:lnTo>
                  <a:lnTo>
                    <a:pt x="136" y="30"/>
                  </a:lnTo>
                  <a:lnTo>
                    <a:pt x="132" y="28"/>
                  </a:lnTo>
                  <a:lnTo>
                    <a:pt x="130" y="24"/>
                  </a:lnTo>
                  <a:lnTo>
                    <a:pt x="126" y="20"/>
                  </a:lnTo>
                  <a:lnTo>
                    <a:pt x="120" y="14"/>
                  </a:lnTo>
                  <a:lnTo>
                    <a:pt x="114" y="8"/>
                  </a:lnTo>
                  <a:lnTo>
                    <a:pt x="112" y="6"/>
                  </a:lnTo>
                  <a:lnTo>
                    <a:pt x="106" y="8"/>
                  </a:lnTo>
                  <a:lnTo>
                    <a:pt x="104" y="8"/>
                  </a:lnTo>
                  <a:lnTo>
                    <a:pt x="102" y="8"/>
                  </a:lnTo>
                </a:path>
              </a:pathLst>
            </a:custGeom>
            <a:solidFill>
              <a:schemeClr val="bg1"/>
            </a:solidFill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7" name="Freeform 3911">
              <a:extLst>
                <a:ext uri="{FF2B5EF4-FFF2-40B4-BE49-F238E27FC236}">
                  <a16:creationId xmlns:a16="http://schemas.microsoft.com/office/drawing/2014/main" id="{C256E65C-7C51-4884-B4F7-3506A3F38ED2}"/>
                </a:ext>
              </a:extLst>
            </p:cNvPr>
            <p:cNvSpPr/>
            <p:nvPr/>
          </p:nvSpPr>
          <p:spPr bwMode="auto">
            <a:xfrm>
              <a:off x="6031557" y="5467998"/>
              <a:ext cx="45482" cy="53961"/>
            </a:xfrm>
            <a:custGeom>
              <a:avLst/>
              <a:gdLst>
                <a:gd name="T0" fmla="*/ 100 w 118"/>
                <a:gd name="T1" fmla="*/ 6 h 140"/>
                <a:gd name="T2" fmla="*/ 92 w 118"/>
                <a:gd name="T3" fmla="*/ 0 h 140"/>
                <a:gd name="T4" fmla="*/ 80 w 118"/>
                <a:gd name="T5" fmla="*/ 2 h 140"/>
                <a:gd name="T6" fmla="*/ 74 w 118"/>
                <a:gd name="T7" fmla="*/ 6 h 140"/>
                <a:gd name="T8" fmla="*/ 70 w 118"/>
                <a:gd name="T9" fmla="*/ 6 h 140"/>
                <a:gd name="T10" fmla="*/ 60 w 118"/>
                <a:gd name="T11" fmla="*/ 2 h 140"/>
                <a:gd name="T12" fmla="*/ 58 w 118"/>
                <a:gd name="T13" fmla="*/ 24 h 140"/>
                <a:gd name="T14" fmla="*/ 50 w 118"/>
                <a:gd name="T15" fmla="*/ 30 h 140"/>
                <a:gd name="T16" fmla="*/ 42 w 118"/>
                <a:gd name="T17" fmla="*/ 32 h 140"/>
                <a:gd name="T18" fmla="*/ 24 w 118"/>
                <a:gd name="T19" fmla="*/ 32 h 140"/>
                <a:gd name="T20" fmla="*/ 18 w 118"/>
                <a:gd name="T21" fmla="*/ 24 h 140"/>
                <a:gd name="T22" fmla="*/ 6 w 118"/>
                <a:gd name="T23" fmla="*/ 18 h 140"/>
                <a:gd name="T24" fmla="*/ 2 w 118"/>
                <a:gd name="T25" fmla="*/ 24 h 140"/>
                <a:gd name="T26" fmla="*/ 0 w 118"/>
                <a:gd name="T27" fmla="*/ 32 h 140"/>
                <a:gd name="T28" fmla="*/ 10 w 118"/>
                <a:gd name="T29" fmla="*/ 42 h 140"/>
                <a:gd name="T30" fmla="*/ 14 w 118"/>
                <a:gd name="T31" fmla="*/ 54 h 140"/>
                <a:gd name="T32" fmla="*/ 12 w 118"/>
                <a:gd name="T33" fmla="*/ 68 h 140"/>
                <a:gd name="T34" fmla="*/ 20 w 118"/>
                <a:gd name="T35" fmla="*/ 70 h 140"/>
                <a:gd name="T36" fmla="*/ 22 w 118"/>
                <a:gd name="T37" fmla="*/ 88 h 140"/>
                <a:gd name="T38" fmla="*/ 24 w 118"/>
                <a:gd name="T39" fmla="*/ 102 h 140"/>
                <a:gd name="T40" fmla="*/ 28 w 118"/>
                <a:gd name="T41" fmla="*/ 112 h 140"/>
                <a:gd name="T42" fmla="*/ 38 w 118"/>
                <a:gd name="T43" fmla="*/ 130 h 140"/>
                <a:gd name="T44" fmla="*/ 42 w 118"/>
                <a:gd name="T45" fmla="*/ 138 h 140"/>
                <a:gd name="T46" fmla="*/ 46 w 118"/>
                <a:gd name="T47" fmla="*/ 140 h 140"/>
                <a:gd name="T48" fmla="*/ 62 w 118"/>
                <a:gd name="T49" fmla="*/ 132 h 140"/>
                <a:gd name="T50" fmla="*/ 78 w 118"/>
                <a:gd name="T51" fmla="*/ 110 h 140"/>
                <a:gd name="T52" fmla="*/ 88 w 118"/>
                <a:gd name="T53" fmla="*/ 96 h 140"/>
                <a:gd name="T54" fmla="*/ 92 w 118"/>
                <a:gd name="T55" fmla="*/ 88 h 140"/>
                <a:gd name="T56" fmla="*/ 100 w 118"/>
                <a:gd name="T57" fmla="*/ 78 h 140"/>
                <a:gd name="T58" fmla="*/ 106 w 118"/>
                <a:gd name="T59" fmla="*/ 70 h 140"/>
                <a:gd name="T60" fmla="*/ 106 w 118"/>
                <a:gd name="T61" fmla="*/ 68 h 140"/>
                <a:gd name="T62" fmla="*/ 116 w 118"/>
                <a:gd name="T63" fmla="*/ 64 h 140"/>
                <a:gd name="T64" fmla="*/ 118 w 118"/>
                <a:gd name="T65" fmla="*/ 52 h 140"/>
                <a:gd name="T66" fmla="*/ 118 w 118"/>
                <a:gd name="T67" fmla="*/ 46 h 140"/>
                <a:gd name="T68" fmla="*/ 112 w 118"/>
                <a:gd name="T69" fmla="*/ 44 h 140"/>
                <a:gd name="T70" fmla="*/ 98 w 118"/>
                <a:gd name="T71" fmla="*/ 40 h 140"/>
                <a:gd name="T72" fmla="*/ 94 w 118"/>
                <a:gd name="T73" fmla="*/ 36 h 140"/>
                <a:gd name="T74" fmla="*/ 94 w 118"/>
                <a:gd name="T75" fmla="*/ 30 h 140"/>
                <a:gd name="T76" fmla="*/ 96 w 118"/>
                <a:gd name="T77" fmla="*/ 26 h 140"/>
                <a:gd name="T78" fmla="*/ 92 w 118"/>
                <a:gd name="T79" fmla="*/ 22 h 140"/>
                <a:gd name="T80" fmla="*/ 100 w 118"/>
                <a:gd name="T81" fmla="*/ 8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8" h="140">
                  <a:moveTo>
                    <a:pt x="102" y="6"/>
                  </a:moveTo>
                  <a:lnTo>
                    <a:pt x="100" y="6"/>
                  </a:lnTo>
                  <a:lnTo>
                    <a:pt x="96" y="4"/>
                  </a:lnTo>
                  <a:lnTo>
                    <a:pt x="92" y="0"/>
                  </a:lnTo>
                  <a:lnTo>
                    <a:pt x="82" y="2"/>
                  </a:lnTo>
                  <a:lnTo>
                    <a:pt x="80" y="2"/>
                  </a:lnTo>
                  <a:lnTo>
                    <a:pt x="76" y="4"/>
                  </a:lnTo>
                  <a:lnTo>
                    <a:pt x="74" y="6"/>
                  </a:lnTo>
                  <a:lnTo>
                    <a:pt x="72" y="8"/>
                  </a:lnTo>
                  <a:lnTo>
                    <a:pt x="70" y="6"/>
                  </a:lnTo>
                  <a:lnTo>
                    <a:pt x="62" y="2"/>
                  </a:lnTo>
                  <a:lnTo>
                    <a:pt x="60" y="2"/>
                  </a:lnTo>
                  <a:lnTo>
                    <a:pt x="60" y="16"/>
                  </a:lnTo>
                  <a:lnTo>
                    <a:pt x="58" y="24"/>
                  </a:lnTo>
                  <a:lnTo>
                    <a:pt x="56" y="26"/>
                  </a:lnTo>
                  <a:lnTo>
                    <a:pt x="50" y="30"/>
                  </a:lnTo>
                  <a:lnTo>
                    <a:pt x="44" y="32"/>
                  </a:lnTo>
                  <a:lnTo>
                    <a:pt x="42" y="32"/>
                  </a:lnTo>
                  <a:lnTo>
                    <a:pt x="30" y="32"/>
                  </a:lnTo>
                  <a:lnTo>
                    <a:pt x="24" y="32"/>
                  </a:lnTo>
                  <a:lnTo>
                    <a:pt x="22" y="32"/>
                  </a:lnTo>
                  <a:lnTo>
                    <a:pt x="18" y="24"/>
                  </a:lnTo>
                  <a:lnTo>
                    <a:pt x="12" y="20"/>
                  </a:lnTo>
                  <a:lnTo>
                    <a:pt x="6" y="18"/>
                  </a:lnTo>
                  <a:lnTo>
                    <a:pt x="4" y="20"/>
                  </a:lnTo>
                  <a:lnTo>
                    <a:pt x="2" y="24"/>
                  </a:lnTo>
                  <a:lnTo>
                    <a:pt x="0" y="26"/>
                  </a:lnTo>
                  <a:lnTo>
                    <a:pt x="0" y="32"/>
                  </a:lnTo>
                  <a:lnTo>
                    <a:pt x="4" y="36"/>
                  </a:lnTo>
                  <a:lnTo>
                    <a:pt x="10" y="42"/>
                  </a:lnTo>
                  <a:lnTo>
                    <a:pt x="14" y="48"/>
                  </a:lnTo>
                  <a:lnTo>
                    <a:pt x="14" y="54"/>
                  </a:lnTo>
                  <a:lnTo>
                    <a:pt x="14" y="64"/>
                  </a:lnTo>
                  <a:lnTo>
                    <a:pt x="12" y="68"/>
                  </a:lnTo>
                  <a:lnTo>
                    <a:pt x="18" y="68"/>
                  </a:lnTo>
                  <a:lnTo>
                    <a:pt x="20" y="70"/>
                  </a:lnTo>
                  <a:lnTo>
                    <a:pt x="20" y="76"/>
                  </a:lnTo>
                  <a:lnTo>
                    <a:pt x="22" y="88"/>
                  </a:lnTo>
                  <a:lnTo>
                    <a:pt x="22" y="98"/>
                  </a:lnTo>
                  <a:lnTo>
                    <a:pt x="24" y="102"/>
                  </a:lnTo>
                  <a:lnTo>
                    <a:pt x="28" y="110"/>
                  </a:lnTo>
                  <a:lnTo>
                    <a:pt x="28" y="112"/>
                  </a:lnTo>
                  <a:lnTo>
                    <a:pt x="34" y="124"/>
                  </a:lnTo>
                  <a:lnTo>
                    <a:pt x="38" y="130"/>
                  </a:lnTo>
                  <a:lnTo>
                    <a:pt x="40" y="134"/>
                  </a:lnTo>
                  <a:lnTo>
                    <a:pt x="42" y="138"/>
                  </a:lnTo>
                  <a:lnTo>
                    <a:pt x="42" y="140"/>
                  </a:lnTo>
                  <a:lnTo>
                    <a:pt x="46" y="140"/>
                  </a:lnTo>
                  <a:lnTo>
                    <a:pt x="50" y="138"/>
                  </a:lnTo>
                  <a:lnTo>
                    <a:pt x="62" y="132"/>
                  </a:lnTo>
                  <a:lnTo>
                    <a:pt x="74" y="116"/>
                  </a:lnTo>
                  <a:lnTo>
                    <a:pt x="78" y="110"/>
                  </a:lnTo>
                  <a:lnTo>
                    <a:pt x="82" y="102"/>
                  </a:lnTo>
                  <a:lnTo>
                    <a:pt x="88" y="96"/>
                  </a:lnTo>
                  <a:lnTo>
                    <a:pt x="90" y="94"/>
                  </a:lnTo>
                  <a:lnTo>
                    <a:pt x="92" y="88"/>
                  </a:lnTo>
                  <a:lnTo>
                    <a:pt x="92" y="84"/>
                  </a:lnTo>
                  <a:lnTo>
                    <a:pt x="100" y="78"/>
                  </a:lnTo>
                  <a:lnTo>
                    <a:pt x="106" y="72"/>
                  </a:lnTo>
                  <a:lnTo>
                    <a:pt x="106" y="70"/>
                  </a:lnTo>
                  <a:lnTo>
                    <a:pt x="106" y="70"/>
                  </a:lnTo>
                  <a:lnTo>
                    <a:pt x="106" y="68"/>
                  </a:lnTo>
                  <a:lnTo>
                    <a:pt x="110" y="66"/>
                  </a:lnTo>
                  <a:lnTo>
                    <a:pt x="116" y="64"/>
                  </a:lnTo>
                  <a:lnTo>
                    <a:pt x="118" y="58"/>
                  </a:lnTo>
                  <a:lnTo>
                    <a:pt x="118" y="52"/>
                  </a:lnTo>
                  <a:lnTo>
                    <a:pt x="116" y="50"/>
                  </a:lnTo>
                  <a:lnTo>
                    <a:pt x="118" y="46"/>
                  </a:lnTo>
                  <a:lnTo>
                    <a:pt x="116" y="44"/>
                  </a:lnTo>
                  <a:lnTo>
                    <a:pt x="112" y="44"/>
                  </a:lnTo>
                  <a:lnTo>
                    <a:pt x="104" y="42"/>
                  </a:lnTo>
                  <a:lnTo>
                    <a:pt x="98" y="40"/>
                  </a:lnTo>
                  <a:lnTo>
                    <a:pt x="94" y="38"/>
                  </a:lnTo>
                  <a:lnTo>
                    <a:pt x="94" y="36"/>
                  </a:lnTo>
                  <a:lnTo>
                    <a:pt x="92" y="34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6" y="26"/>
                  </a:lnTo>
                  <a:lnTo>
                    <a:pt x="94" y="22"/>
                  </a:lnTo>
                  <a:lnTo>
                    <a:pt x="92" y="22"/>
                  </a:lnTo>
                  <a:lnTo>
                    <a:pt x="94" y="20"/>
                  </a:lnTo>
                  <a:lnTo>
                    <a:pt x="100" y="8"/>
                  </a:lnTo>
                  <a:lnTo>
                    <a:pt x="102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8" name="Freeform 3915">
              <a:extLst>
                <a:ext uri="{FF2B5EF4-FFF2-40B4-BE49-F238E27FC236}">
                  <a16:creationId xmlns:a16="http://schemas.microsoft.com/office/drawing/2014/main" id="{12C7889A-1B77-401E-91DA-3E6BE3A29BF6}"/>
                </a:ext>
              </a:extLst>
            </p:cNvPr>
            <p:cNvSpPr/>
            <p:nvPr/>
          </p:nvSpPr>
          <p:spPr bwMode="auto">
            <a:xfrm>
              <a:off x="5362436" y="3886930"/>
              <a:ext cx="97130" cy="78629"/>
            </a:xfrm>
            <a:custGeom>
              <a:avLst/>
              <a:gdLst>
                <a:gd name="T0" fmla="*/ 148 w 252"/>
                <a:gd name="T1" fmla="*/ 2 h 204"/>
                <a:gd name="T2" fmla="*/ 136 w 252"/>
                <a:gd name="T3" fmla="*/ 6 h 204"/>
                <a:gd name="T4" fmla="*/ 126 w 252"/>
                <a:gd name="T5" fmla="*/ 4 h 204"/>
                <a:gd name="T6" fmla="*/ 120 w 252"/>
                <a:gd name="T7" fmla="*/ 14 h 204"/>
                <a:gd name="T8" fmla="*/ 110 w 252"/>
                <a:gd name="T9" fmla="*/ 14 h 204"/>
                <a:gd name="T10" fmla="*/ 90 w 252"/>
                <a:gd name="T11" fmla="*/ 30 h 204"/>
                <a:gd name="T12" fmla="*/ 80 w 252"/>
                <a:gd name="T13" fmla="*/ 24 h 204"/>
                <a:gd name="T14" fmla="*/ 64 w 252"/>
                <a:gd name="T15" fmla="*/ 24 h 204"/>
                <a:gd name="T16" fmla="*/ 58 w 252"/>
                <a:gd name="T17" fmla="*/ 24 h 204"/>
                <a:gd name="T18" fmla="*/ 46 w 252"/>
                <a:gd name="T19" fmla="*/ 14 h 204"/>
                <a:gd name="T20" fmla="*/ 0 w 252"/>
                <a:gd name="T21" fmla="*/ 46 h 204"/>
                <a:gd name="T22" fmla="*/ 4 w 252"/>
                <a:gd name="T23" fmla="*/ 60 h 204"/>
                <a:gd name="T24" fmla="*/ 14 w 252"/>
                <a:gd name="T25" fmla="*/ 78 h 204"/>
                <a:gd name="T26" fmla="*/ 26 w 252"/>
                <a:gd name="T27" fmla="*/ 80 h 204"/>
                <a:gd name="T28" fmla="*/ 42 w 252"/>
                <a:gd name="T29" fmla="*/ 80 h 204"/>
                <a:gd name="T30" fmla="*/ 48 w 252"/>
                <a:gd name="T31" fmla="*/ 100 h 204"/>
                <a:gd name="T32" fmla="*/ 70 w 252"/>
                <a:gd name="T33" fmla="*/ 106 h 204"/>
                <a:gd name="T34" fmla="*/ 76 w 252"/>
                <a:gd name="T35" fmla="*/ 122 h 204"/>
                <a:gd name="T36" fmla="*/ 82 w 252"/>
                <a:gd name="T37" fmla="*/ 118 h 204"/>
                <a:gd name="T38" fmla="*/ 100 w 252"/>
                <a:gd name="T39" fmla="*/ 122 h 204"/>
                <a:gd name="T40" fmla="*/ 106 w 252"/>
                <a:gd name="T41" fmla="*/ 136 h 204"/>
                <a:gd name="T42" fmla="*/ 108 w 252"/>
                <a:gd name="T43" fmla="*/ 144 h 204"/>
                <a:gd name="T44" fmla="*/ 106 w 252"/>
                <a:gd name="T45" fmla="*/ 154 h 204"/>
                <a:gd name="T46" fmla="*/ 108 w 252"/>
                <a:gd name="T47" fmla="*/ 158 h 204"/>
                <a:gd name="T48" fmla="*/ 140 w 252"/>
                <a:gd name="T49" fmla="*/ 154 h 204"/>
                <a:gd name="T50" fmla="*/ 146 w 252"/>
                <a:gd name="T51" fmla="*/ 140 h 204"/>
                <a:gd name="T52" fmla="*/ 148 w 252"/>
                <a:gd name="T53" fmla="*/ 158 h 204"/>
                <a:gd name="T54" fmla="*/ 154 w 252"/>
                <a:gd name="T55" fmla="*/ 176 h 204"/>
                <a:gd name="T56" fmla="*/ 166 w 252"/>
                <a:gd name="T57" fmla="*/ 178 h 204"/>
                <a:gd name="T58" fmla="*/ 180 w 252"/>
                <a:gd name="T59" fmla="*/ 186 h 204"/>
                <a:gd name="T60" fmla="*/ 190 w 252"/>
                <a:gd name="T61" fmla="*/ 200 h 204"/>
                <a:gd name="T62" fmla="*/ 202 w 252"/>
                <a:gd name="T63" fmla="*/ 202 h 204"/>
                <a:gd name="T64" fmla="*/ 216 w 252"/>
                <a:gd name="T65" fmla="*/ 200 h 204"/>
                <a:gd name="T66" fmla="*/ 220 w 252"/>
                <a:gd name="T67" fmla="*/ 190 h 204"/>
                <a:gd name="T68" fmla="*/ 210 w 252"/>
                <a:gd name="T69" fmla="*/ 174 h 204"/>
                <a:gd name="T70" fmla="*/ 210 w 252"/>
                <a:gd name="T71" fmla="*/ 166 h 204"/>
                <a:gd name="T72" fmla="*/ 216 w 252"/>
                <a:gd name="T73" fmla="*/ 152 h 204"/>
                <a:gd name="T74" fmla="*/ 230 w 252"/>
                <a:gd name="T75" fmla="*/ 138 h 204"/>
                <a:gd name="T76" fmla="*/ 236 w 252"/>
                <a:gd name="T77" fmla="*/ 142 h 204"/>
                <a:gd name="T78" fmla="*/ 252 w 252"/>
                <a:gd name="T79" fmla="*/ 122 h 204"/>
                <a:gd name="T80" fmla="*/ 246 w 252"/>
                <a:gd name="T81" fmla="*/ 104 h 204"/>
                <a:gd name="T82" fmla="*/ 238 w 252"/>
                <a:gd name="T83" fmla="*/ 98 h 204"/>
                <a:gd name="T84" fmla="*/ 236 w 252"/>
                <a:gd name="T85" fmla="*/ 84 h 204"/>
                <a:gd name="T86" fmla="*/ 220 w 252"/>
                <a:gd name="T87" fmla="*/ 76 h 204"/>
                <a:gd name="T88" fmla="*/ 208 w 252"/>
                <a:gd name="T89" fmla="*/ 74 h 204"/>
                <a:gd name="T90" fmla="*/ 210 w 252"/>
                <a:gd name="T91" fmla="*/ 58 h 204"/>
                <a:gd name="T92" fmla="*/ 212 w 252"/>
                <a:gd name="T93" fmla="*/ 52 h 204"/>
                <a:gd name="T94" fmla="*/ 214 w 252"/>
                <a:gd name="T95" fmla="*/ 36 h 204"/>
                <a:gd name="T96" fmla="*/ 198 w 252"/>
                <a:gd name="T97" fmla="*/ 26 h 204"/>
                <a:gd name="T98" fmla="*/ 190 w 252"/>
                <a:gd name="T99" fmla="*/ 22 h 204"/>
                <a:gd name="T100" fmla="*/ 168 w 252"/>
                <a:gd name="T101" fmla="*/ 14 h 204"/>
                <a:gd name="T102" fmla="*/ 164 w 252"/>
                <a:gd name="T103" fmla="*/ 2 h 204"/>
                <a:gd name="T104" fmla="*/ 152 w 252"/>
                <a:gd name="T105" fmla="*/ 1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1" h="204">
                  <a:moveTo>
                    <a:pt x="150" y="6"/>
                  </a:moveTo>
                  <a:lnTo>
                    <a:pt x="150" y="4"/>
                  </a:lnTo>
                  <a:lnTo>
                    <a:pt x="148" y="2"/>
                  </a:lnTo>
                  <a:lnTo>
                    <a:pt x="146" y="0"/>
                  </a:lnTo>
                  <a:lnTo>
                    <a:pt x="138" y="6"/>
                  </a:lnTo>
                  <a:lnTo>
                    <a:pt x="136" y="6"/>
                  </a:lnTo>
                  <a:lnTo>
                    <a:pt x="132" y="4"/>
                  </a:lnTo>
                  <a:lnTo>
                    <a:pt x="130" y="2"/>
                  </a:lnTo>
                  <a:lnTo>
                    <a:pt x="126" y="4"/>
                  </a:lnTo>
                  <a:lnTo>
                    <a:pt x="122" y="6"/>
                  </a:lnTo>
                  <a:lnTo>
                    <a:pt x="122" y="12"/>
                  </a:lnTo>
                  <a:lnTo>
                    <a:pt x="120" y="14"/>
                  </a:lnTo>
                  <a:lnTo>
                    <a:pt x="116" y="14"/>
                  </a:lnTo>
                  <a:lnTo>
                    <a:pt x="112" y="10"/>
                  </a:lnTo>
                  <a:lnTo>
                    <a:pt x="110" y="14"/>
                  </a:lnTo>
                  <a:lnTo>
                    <a:pt x="108" y="20"/>
                  </a:lnTo>
                  <a:lnTo>
                    <a:pt x="98" y="26"/>
                  </a:lnTo>
                  <a:lnTo>
                    <a:pt x="90" y="30"/>
                  </a:lnTo>
                  <a:lnTo>
                    <a:pt x="86" y="28"/>
                  </a:lnTo>
                  <a:lnTo>
                    <a:pt x="82" y="26"/>
                  </a:lnTo>
                  <a:lnTo>
                    <a:pt x="80" y="24"/>
                  </a:lnTo>
                  <a:lnTo>
                    <a:pt x="76" y="22"/>
                  </a:lnTo>
                  <a:lnTo>
                    <a:pt x="68" y="22"/>
                  </a:lnTo>
                  <a:lnTo>
                    <a:pt x="64" y="24"/>
                  </a:lnTo>
                  <a:lnTo>
                    <a:pt x="62" y="26"/>
                  </a:lnTo>
                  <a:lnTo>
                    <a:pt x="58" y="26"/>
                  </a:lnTo>
                  <a:lnTo>
                    <a:pt x="58" y="24"/>
                  </a:lnTo>
                  <a:lnTo>
                    <a:pt x="56" y="20"/>
                  </a:lnTo>
                  <a:lnTo>
                    <a:pt x="54" y="12"/>
                  </a:lnTo>
                  <a:lnTo>
                    <a:pt x="46" y="14"/>
                  </a:lnTo>
                  <a:lnTo>
                    <a:pt x="28" y="24"/>
                  </a:lnTo>
                  <a:lnTo>
                    <a:pt x="0" y="40"/>
                  </a:lnTo>
                  <a:lnTo>
                    <a:pt x="0" y="46"/>
                  </a:lnTo>
                  <a:lnTo>
                    <a:pt x="4" y="52"/>
                  </a:lnTo>
                  <a:lnTo>
                    <a:pt x="4" y="56"/>
                  </a:lnTo>
                  <a:lnTo>
                    <a:pt x="4" y="60"/>
                  </a:lnTo>
                  <a:lnTo>
                    <a:pt x="4" y="64"/>
                  </a:lnTo>
                  <a:lnTo>
                    <a:pt x="8" y="70"/>
                  </a:lnTo>
                  <a:lnTo>
                    <a:pt x="14" y="78"/>
                  </a:lnTo>
                  <a:lnTo>
                    <a:pt x="20" y="82"/>
                  </a:lnTo>
                  <a:lnTo>
                    <a:pt x="22" y="80"/>
                  </a:lnTo>
                  <a:lnTo>
                    <a:pt x="26" y="80"/>
                  </a:lnTo>
                  <a:lnTo>
                    <a:pt x="32" y="76"/>
                  </a:lnTo>
                  <a:lnTo>
                    <a:pt x="38" y="74"/>
                  </a:lnTo>
                  <a:lnTo>
                    <a:pt x="42" y="80"/>
                  </a:lnTo>
                  <a:lnTo>
                    <a:pt x="46" y="86"/>
                  </a:lnTo>
                  <a:lnTo>
                    <a:pt x="48" y="94"/>
                  </a:lnTo>
                  <a:lnTo>
                    <a:pt x="48" y="100"/>
                  </a:lnTo>
                  <a:lnTo>
                    <a:pt x="52" y="102"/>
                  </a:lnTo>
                  <a:lnTo>
                    <a:pt x="62" y="104"/>
                  </a:lnTo>
                  <a:lnTo>
                    <a:pt x="70" y="106"/>
                  </a:lnTo>
                  <a:lnTo>
                    <a:pt x="72" y="108"/>
                  </a:lnTo>
                  <a:lnTo>
                    <a:pt x="74" y="120"/>
                  </a:lnTo>
                  <a:lnTo>
                    <a:pt x="76" y="122"/>
                  </a:lnTo>
                  <a:lnTo>
                    <a:pt x="78" y="122"/>
                  </a:lnTo>
                  <a:lnTo>
                    <a:pt x="80" y="120"/>
                  </a:lnTo>
                  <a:lnTo>
                    <a:pt x="82" y="118"/>
                  </a:lnTo>
                  <a:lnTo>
                    <a:pt x="88" y="120"/>
                  </a:lnTo>
                  <a:lnTo>
                    <a:pt x="92" y="120"/>
                  </a:lnTo>
                  <a:lnTo>
                    <a:pt x="100" y="122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06" y="136"/>
                  </a:lnTo>
                  <a:lnTo>
                    <a:pt x="106" y="140"/>
                  </a:lnTo>
                  <a:lnTo>
                    <a:pt x="106" y="142"/>
                  </a:lnTo>
                  <a:lnTo>
                    <a:pt x="108" y="144"/>
                  </a:lnTo>
                  <a:lnTo>
                    <a:pt x="108" y="148"/>
                  </a:lnTo>
                  <a:lnTo>
                    <a:pt x="106" y="152"/>
                  </a:lnTo>
                  <a:lnTo>
                    <a:pt x="106" y="154"/>
                  </a:lnTo>
                  <a:lnTo>
                    <a:pt x="106" y="156"/>
                  </a:lnTo>
                  <a:lnTo>
                    <a:pt x="106" y="158"/>
                  </a:lnTo>
                  <a:lnTo>
                    <a:pt x="108" y="158"/>
                  </a:lnTo>
                  <a:lnTo>
                    <a:pt x="120" y="160"/>
                  </a:lnTo>
                  <a:lnTo>
                    <a:pt x="132" y="158"/>
                  </a:lnTo>
                  <a:lnTo>
                    <a:pt x="140" y="154"/>
                  </a:lnTo>
                  <a:lnTo>
                    <a:pt x="140" y="150"/>
                  </a:lnTo>
                  <a:lnTo>
                    <a:pt x="142" y="144"/>
                  </a:lnTo>
                  <a:lnTo>
                    <a:pt x="146" y="140"/>
                  </a:lnTo>
                  <a:lnTo>
                    <a:pt x="150" y="138"/>
                  </a:lnTo>
                  <a:lnTo>
                    <a:pt x="152" y="140"/>
                  </a:lnTo>
                  <a:lnTo>
                    <a:pt x="148" y="158"/>
                  </a:lnTo>
                  <a:lnTo>
                    <a:pt x="152" y="162"/>
                  </a:lnTo>
                  <a:lnTo>
                    <a:pt x="152" y="170"/>
                  </a:lnTo>
                  <a:lnTo>
                    <a:pt x="154" y="176"/>
                  </a:lnTo>
                  <a:lnTo>
                    <a:pt x="158" y="176"/>
                  </a:lnTo>
                  <a:lnTo>
                    <a:pt x="162" y="176"/>
                  </a:lnTo>
                  <a:lnTo>
                    <a:pt x="166" y="178"/>
                  </a:lnTo>
                  <a:lnTo>
                    <a:pt x="170" y="182"/>
                  </a:lnTo>
                  <a:lnTo>
                    <a:pt x="176" y="186"/>
                  </a:lnTo>
                  <a:lnTo>
                    <a:pt x="180" y="186"/>
                  </a:lnTo>
                  <a:lnTo>
                    <a:pt x="182" y="190"/>
                  </a:lnTo>
                  <a:lnTo>
                    <a:pt x="186" y="192"/>
                  </a:lnTo>
                  <a:lnTo>
                    <a:pt x="190" y="200"/>
                  </a:lnTo>
                  <a:lnTo>
                    <a:pt x="196" y="204"/>
                  </a:lnTo>
                  <a:lnTo>
                    <a:pt x="198" y="204"/>
                  </a:lnTo>
                  <a:lnTo>
                    <a:pt x="202" y="202"/>
                  </a:lnTo>
                  <a:lnTo>
                    <a:pt x="208" y="202"/>
                  </a:lnTo>
                  <a:lnTo>
                    <a:pt x="214" y="202"/>
                  </a:lnTo>
                  <a:lnTo>
                    <a:pt x="216" y="200"/>
                  </a:lnTo>
                  <a:lnTo>
                    <a:pt x="216" y="198"/>
                  </a:lnTo>
                  <a:lnTo>
                    <a:pt x="218" y="194"/>
                  </a:lnTo>
                  <a:lnTo>
                    <a:pt x="220" y="190"/>
                  </a:lnTo>
                  <a:lnTo>
                    <a:pt x="214" y="182"/>
                  </a:lnTo>
                  <a:lnTo>
                    <a:pt x="214" y="178"/>
                  </a:lnTo>
                  <a:lnTo>
                    <a:pt x="210" y="174"/>
                  </a:lnTo>
                  <a:lnTo>
                    <a:pt x="210" y="172"/>
                  </a:lnTo>
                  <a:lnTo>
                    <a:pt x="210" y="168"/>
                  </a:lnTo>
                  <a:lnTo>
                    <a:pt x="210" y="166"/>
                  </a:lnTo>
                  <a:lnTo>
                    <a:pt x="210" y="162"/>
                  </a:lnTo>
                  <a:lnTo>
                    <a:pt x="214" y="158"/>
                  </a:lnTo>
                  <a:lnTo>
                    <a:pt x="216" y="152"/>
                  </a:lnTo>
                  <a:lnTo>
                    <a:pt x="218" y="146"/>
                  </a:lnTo>
                  <a:lnTo>
                    <a:pt x="226" y="138"/>
                  </a:lnTo>
                  <a:lnTo>
                    <a:pt x="230" y="138"/>
                  </a:lnTo>
                  <a:lnTo>
                    <a:pt x="234" y="138"/>
                  </a:lnTo>
                  <a:lnTo>
                    <a:pt x="234" y="142"/>
                  </a:lnTo>
                  <a:lnTo>
                    <a:pt x="236" y="142"/>
                  </a:lnTo>
                  <a:lnTo>
                    <a:pt x="236" y="140"/>
                  </a:lnTo>
                  <a:lnTo>
                    <a:pt x="238" y="130"/>
                  </a:lnTo>
                  <a:lnTo>
                    <a:pt x="252" y="122"/>
                  </a:lnTo>
                  <a:lnTo>
                    <a:pt x="250" y="114"/>
                  </a:lnTo>
                  <a:lnTo>
                    <a:pt x="250" y="108"/>
                  </a:lnTo>
                  <a:lnTo>
                    <a:pt x="246" y="104"/>
                  </a:lnTo>
                  <a:lnTo>
                    <a:pt x="240" y="104"/>
                  </a:lnTo>
                  <a:lnTo>
                    <a:pt x="240" y="100"/>
                  </a:lnTo>
                  <a:lnTo>
                    <a:pt x="238" y="98"/>
                  </a:lnTo>
                  <a:lnTo>
                    <a:pt x="242" y="94"/>
                  </a:lnTo>
                  <a:lnTo>
                    <a:pt x="238" y="88"/>
                  </a:lnTo>
                  <a:lnTo>
                    <a:pt x="236" y="84"/>
                  </a:lnTo>
                  <a:lnTo>
                    <a:pt x="228" y="78"/>
                  </a:lnTo>
                  <a:lnTo>
                    <a:pt x="228" y="78"/>
                  </a:lnTo>
                  <a:lnTo>
                    <a:pt x="220" y="76"/>
                  </a:lnTo>
                  <a:lnTo>
                    <a:pt x="216" y="70"/>
                  </a:lnTo>
                  <a:lnTo>
                    <a:pt x="208" y="74"/>
                  </a:lnTo>
                  <a:lnTo>
                    <a:pt x="208" y="74"/>
                  </a:lnTo>
                  <a:lnTo>
                    <a:pt x="204" y="68"/>
                  </a:lnTo>
                  <a:lnTo>
                    <a:pt x="204" y="66"/>
                  </a:lnTo>
                  <a:lnTo>
                    <a:pt x="210" y="58"/>
                  </a:lnTo>
                  <a:lnTo>
                    <a:pt x="212" y="56"/>
                  </a:lnTo>
                  <a:lnTo>
                    <a:pt x="210" y="56"/>
                  </a:lnTo>
                  <a:lnTo>
                    <a:pt x="212" y="52"/>
                  </a:lnTo>
                  <a:lnTo>
                    <a:pt x="216" y="42"/>
                  </a:lnTo>
                  <a:lnTo>
                    <a:pt x="216" y="38"/>
                  </a:lnTo>
                  <a:lnTo>
                    <a:pt x="214" y="36"/>
                  </a:lnTo>
                  <a:lnTo>
                    <a:pt x="212" y="34"/>
                  </a:lnTo>
                  <a:lnTo>
                    <a:pt x="202" y="30"/>
                  </a:lnTo>
                  <a:lnTo>
                    <a:pt x="198" y="26"/>
                  </a:lnTo>
                  <a:lnTo>
                    <a:pt x="196" y="22"/>
                  </a:lnTo>
                  <a:lnTo>
                    <a:pt x="194" y="22"/>
                  </a:lnTo>
                  <a:lnTo>
                    <a:pt x="190" y="22"/>
                  </a:lnTo>
                  <a:lnTo>
                    <a:pt x="182" y="24"/>
                  </a:lnTo>
                  <a:lnTo>
                    <a:pt x="176" y="22"/>
                  </a:lnTo>
                  <a:lnTo>
                    <a:pt x="168" y="14"/>
                  </a:lnTo>
                  <a:lnTo>
                    <a:pt x="166" y="8"/>
                  </a:lnTo>
                  <a:lnTo>
                    <a:pt x="166" y="4"/>
                  </a:lnTo>
                  <a:lnTo>
                    <a:pt x="164" y="2"/>
                  </a:lnTo>
                  <a:lnTo>
                    <a:pt x="162" y="4"/>
                  </a:lnTo>
                  <a:lnTo>
                    <a:pt x="158" y="8"/>
                  </a:lnTo>
                  <a:lnTo>
                    <a:pt x="152" y="10"/>
                  </a:lnTo>
                  <a:lnTo>
                    <a:pt x="150" y="8"/>
                  </a:lnTo>
                  <a:lnTo>
                    <a:pt x="150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9" name="Freeform 3919">
              <a:extLst>
                <a:ext uri="{FF2B5EF4-FFF2-40B4-BE49-F238E27FC236}">
                  <a16:creationId xmlns:a16="http://schemas.microsoft.com/office/drawing/2014/main" id="{642EFD7A-1F81-49A8-976C-B71B8AAECA3F}"/>
                </a:ext>
              </a:extLst>
            </p:cNvPr>
            <p:cNvSpPr/>
            <p:nvPr/>
          </p:nvSpPr>
          <p:spPr bwMode="auto">
            <a:xfrm>
              <a:off x="5317725" y="5094123"/>
              <a:ext cx="77859" cy="158030"/>
            </a:xfrm>
            <a:custGeom>
              <a:avLst/>
              <a:gdLst>
                <a:gd name="T0" fmla="*/ 176 w 202"/>
                <a:gd name="T1" fmla="*/ 36 h 410"/>
                <a:gd name="T2" fmla="*/ 164 w 202"/>
                <a:gd name="T3" fmla="*/ 26 h 410"/>
                <a:gd name="T4" fmla="*/ 138 w 202"/>
                <a:gd name="T5" fmla="*/ 0 h 410"/>
                <a:gd name="T6" fmla="*/ 126 w 202"/>
                <a:gd name="T7" fmla="*/ 6 h 410"/>
                <a:gd name="T8" fmla="*/ 112 w 202"/>
                <a:gd name="T9" fmla="*/ 8 h 410"/>
                <a:gd name="T10" fmla="*/ 108 w 202"/>
                <a:gd name="T11" fmla="*/ 26 h 410"/>
                <a:gd name="T12" fmla="*/ 100 w 202"/>
                <a:gd name="T13" fmla="*/ 46 h 410"/>
                <a:gd name="T14" fmla="*/ 72 w 202"/>
                <a:gd name="T15" fmla="*/ 64 h 410"/>
                <a:gd name="T16" fmla="*/ 48 w 202"/>
                <a:gd name="T17" fmla="*/ 62 h 410"/>
                <a:gd name="T18" fmla="*/ 42 w 202"/>
                <a:gd name="T19" fmla="*/ 66 h 410"/>
                <a:gd name="T20" fmla="*/ 34 w 202"/>
                <a:gd name="T21" fmla="*/ 74 h 410"/>
                <a:gd name="T22" fmla="*/ 26 w 202"/>
                <a:gd name="T23" fmla="*/ 76 h 410"/>
                <a:gd name="T24" fmla="*/ 22 w 202"/>
                <a:gd name="T25" fmla="*/ 82 h 410"/>
                <a:gd name="T26" fmla="*/ 20 w 202"/>
                <a:gd name="T27" fmla="*/ 90 h 410"/>
                <a:gd name="T28" fmla="*/ 12 w 202"/>
                <a:gd name="T29" fmla="*/ 92 h 410"/>
                <a:gd name="T30" fmla="*/ 8 w 202"/>
                <a:gd name="T31" fmla="*/ 100 h 410"/>
                <a:gd name="T32" fmla="*/ 0 w 202"/>
                <a:gd name="T33" fmla="*/ 134 h 410"/>
                <a:gd name="T34" fmla="*/ 14 w 202"/>
                <a:gd name="T35" fmla="*/ 144 h 410"/>
                <a:gd name="T36" fmla="*/ 38 w 202"/>
                <a:gd name="T37" fmla="*/ 162 h 410"/>
                <a:gd name="T38" fmla="*/ 40 w 202"/>
                <a:gd name="T39" fmla="*/ 196 h 410"/>
                <a:gd name="T40" fmla="*/ 52 w 202"/>
                <a:gd name="T41" fmla="*/ 216 h 410"/>
                <a:gd name="T42" fmla="*/ 56 w 202"/>
                <a:gd name="T43" fmla="*/ 256 h 410"/>
                <a:gd name="T44" fmla="*/ 50 w 202"/>
                <a:gd name="T45" fmla="*/ 360 h 410"/>
                <a:gd name="T46" fmla="*/ 56 w 202"/>
                <a:gd name="T47" fmla="*/ 376 h 410"/>
                <a:gd name="T48" fmla="*/ 58 w 202"/>
                <a:gd name="T49" fmla="*/ 386 h 410"/>
                <a:gd name="T50" fmla="*/ 56 w 202"/>
                <a:gd name="T51" fmla="*/ 408 h 410"/>
                <a:gd name="T52" fmla="*/ 100 w 202"/>
                <a:gd name="T53" fmla="*/ 402 h 410"/>
                <a:gd name="T54" fmla="*/ 130 w 202"/>
                <a:gd name="T55" fmla="*/ 386 h 410"/>
                <a:gd name="T56" fmla="*/ 130 w 202"/>
                <a:gd name="T57" fmla="*/ 374 h 410"/>
                <a:gd name="T58" fmla="*/ 130 w 202"/>
                <a:gd name="T59" fmla="*/ 358 h 410"/>
                <a:gd name="T60" fmla="*/ 130 w 202"/>
                <a:gd name="T61" fmla="*/ 332 h 410"/>
                <a:gd name="T62" fmla="*/ 132 w 202"/>
                <a:gd name="T63" fmla="*/ 328 h 410"/>
                <a:gd name="T64" fmla="*/ 128 w 202"/>
                <a:gd name="T65" fmla="*/ 310 h 410"/>
                <a:gd name="T66" fmla="*/ 128 w 202"/>
                <a:gd name="T67" fmla="*/ 290 h 410"/>
                <a:gd name="T68" fmla="*/ 128 w 202"/>
                <a:gd name="T69" fmla="*/ 264 h 410"/>
                <a:gd name="T70" fmla="*/ 132 w 202"/>
                <a:gd name="T71" fmla="*/ 222 h 410"/>
                <a:gd name="T72" fmla="*/ 154 w 202"/>
                <a:gd name="T73" fmla="*/ 214 h 410"/>
                <a:gd name="T74" fmla="*/ 158 w 202"/>
                <a:gd name="T75" fmla="*/ 194 h 410"/>
                <a:gd name="T76" fmla="*/ 168 w 202"/>
                <a:gd name="T77" fmla="*/ 174 h 410"/>
                <a:gd name="T78" fmla="*/ 178 w 202"/>
                <a:gd name="T79" fmla="*/ 170 h 410"/>
                <a:gd name="T80" fmla="*/ 190 w 202"/>
                <a:gd name="T81" fmla="*/ 148 h 410"/>
                <a:gd name="T82" fmla="*/ 186 w 202"/>
                <a:gd name="T83" fmla="*/ 136 h 410"/>
                <a:gd name="T84" fmla="*/ 196 w 202"/>
                <a:gd name="T85" fmla="*/ 132 h 410"/>
                <a:gd name="T86" fmla="*/ 202 w 202"/>
                <a:gd name="T87" fmla="*/ 120 h 410"/>
                <a:gd name="T88" fmla="*/ 196 w 202"/>
                <a:gd name="T89" fmla="*/ 104 h 410"/>
                <a:gd name="T90" fmla="*/ 192 w 202"/>
                <a:gd name="T91" fmla="*/ 84 h 410"/>
                <a:gd name="T92" fmla="*/ 178 w 202"/>
                <a:gd name="T93" fmla="*/ 66 h 410"/>
                <a:gd name="T94" fmla="*/ 186 w 202"/>
                <a:gd name="T95" fmla="*/ 46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1" h="410">
                  <a:moveTo>
                    <a:pt x="186" y="46"/>
                  </a:moveTo>
                  <a:lnTo>
                    <a:pt x="182" y="40"/>
                  </a:lnTo>
                  <a:lnTo>
                    <a:pt x="176" y="36"/>
                  </a:lnTo>
                  <a:lnTo>
                    <a:pt x="170" y="34"/>
                  </a:lnTo>
                  <a:lnTo>
                    <a:pt x="166" y="30"/>
                  </a:lnTo>
                  <a:lnTo>
                    <a:pt x="164" y="26"/>
                  </a:lnTo>
                  <a:lnTo>
                    <a:pt x="156" y="18"/>
                  </a:lnTo>
                  <a:lnTo>
                    <a:pt x="138" y="2"/>
                  </a:lnTo>
                  <a:lnTo>
                    <a:pt x="138" y="0"/>
                  </a:lnTo>
                  <a:lnTo>
                    <a:pt x="134" y="0"/>
                  </a:lnTo>
                  <a:lnTo>
                    <a:pt x="130" y="2"/>
                  </a:lnTo>
                  <a:lnTo>
                    <a:pt x="126" y="6"/>
                  </a:lnTo>
                  <a:lnTo>
                    <a:pt x="124" y="6"/>
                  </a:lnTo>
                  <a:lnTo>
                    <a:pt x="120" y="6"/>
                  </a:lnTo>
                  <a:lnTo>
                    <a:pt x="112" y="8"/>
                  </a:lnTo>
                  <a:lnTo>
                    <a:pt x="106" y="12"/>
                  </a:lnTo>
                  <a:lnTo>
                    <a:pt x="106" y="14"/>
                  </a:lnTo>
                  <a:lnTo>
                    <a:pt x="108" y="26"/>
                  </a:lnTo>
                  <a:lnTo>
                    <a:pt x="106" y="32"/>
                  </a:lnTo>
                  <a:lnTo>
                    <a:pt x="106" y="36"/>
                  </a:lnTo>
                  <a:lnTo>
                    <a:pt x="100" y="46"/>
                  </a:lnTo>
                  <a:lnTo>
                    <a:pt x="96" y="50"/>
                  </a:lnTo>
                  <a:lnTo>
                    <a:pt x="80" y="66"/>
                  </a:lnTo>
                  <a:lnTo>
                    <a:pt x="72" y="64"/>
                  </a:lnTo>
                  <a:lnTo>
                    <a:pt x="56" y="66"/>
                  </a:lnTo>
                  <a:lnTo>
                    <a:pt x="52" y="64"/>
                  </a:lnTo>
                  <a:lnTo>
                    <a:pt x="48" y="62"/>
                  </a:lnTo>
                  <a:lnTo>
                    <a:pt x="44" y="64"/>
                  </a:lnTo>
                  <a:lnTo>
                    <a:pt x="42" y="64"/>
                  </a:lnTo>
                  <a:lnTo>
                    <a:pt x="42" y="66"/>
                  </a:lnTo>
                  <a:lnTo>
                    <a:pt x="40" y="68"/>
                  </a:lnTo>
                  <a:lnTo>
                    <a:pt x="36" y="74"/>
                  </a:lnTo>
                  <a:lnTo>
                    <a:pt x="34" y="74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6" y="76"/>
                  </a:lnTo>
                  <a:lnTo>
                    <a:pt x="26" y="78"/>
                  </a:lnTo>
                  <a:lnTo>
                    <a:pt x="24" y="82"/>
                  </a:lnTo>
                  <a:lnTo>
                    <a:pt x="22" y="82"/>
                  </a:lnTo>
                  <a:lnTo>
                    <a:pt x="22" y="86"/>
                  </a:lnTo>
                  <a:lnTo>
                    <a:pt x="22" y="88"/>
                  </a:lnTo>
                  <a:lnTo>
                    <a:pt x="20" y="90"/>
                  </a:lnTo>
                  <a:lnTo>
                    <a:pt x="16" y="88"/>
                  </a:lnTo>
                  <a:lnTo>
                    <a:pt x="14" y="88"/>
                  </a:lnTo>
                  <a:lnTo>
                    <a:pt x="12" y="92"/>
                  </a:lnTo>
                  <a:lnTo>
                    <a:pt x="10" y="94"/>
                  </a:lnTo>
                  <a:lnTo>
                    <a:pt x="10" y="94"/>
                  </a:lnTo>
                  <a:lnTo>
                    <a:pt x="8" y="100"/>
                  </a:lnTo>
                  <a:lnTo>
                    <a:pt x="4" y="110"/>
                  </a:lnTo>
                  <a:lnTo>
                    <a:pt x="2" y="112"/>
                  </a:lnTo>
                  <a:lnTo>
                    <a:pt x="0" y="134"/>
                  </a:lnTo>
                  <a:lnTo>
                    <a:pt x="2" y="136"/>
                  </a:lnTo>
                  <a:lnTo>
                    <a:pt x="2" y="136"/>
                  </a:lnTo>
                  <a:lnTo>
                    <a:pt x="14" y="144"/>
                  </a:lnTo>
                  <a:lnTo>
                    <a:pt x="28" y="154"/>
                  </a:lnTo>
                  <a:lnTo>
                    <a:pt x="38" y="160"/>
                  </a:lnTo>
                  <a:lnTo>
                    <a:pt x="38" y="162"/>
                  </a:lnTo>
                  <a:lnTo>
                    <a:pt x="38" y="176"/>
                  </a:lnTo>
                  <a:lnTo>
                    <a:pt x="38" y="188"/>
                  </a:lnTo>
                  <a:lnTo>
                    <a:pt x="40" y="196"/>
                  </a:lnTo>
                  <a:lnTo>
                    <a:pt x="40" y="202"/>
                  </a:lnTo>
                  <a:lnTo>
                    <a:pt x="44" y="208"/>
                  </a:lnTo>
                  <a:lnTo>
                    <a:pt x="52" y="216"/>
                  </a:lnTo>
                  <a:lnTo>
                    <a:pt x="56" y="222"/>
                  </a:lnTo>
                  <a:lnTo>
                    <a:pt x="56" y="242"/>
                  </a:lnTo>
                  <a:lnTo>
                    <a:pt x="56" y="256"/>
                  </a:lnTo>
                  <a:lnTo>
                    <a:pt x="56" y="274"/>
                  </a:lnTo>
                  <a:lnTo>
                    <a:pt x="56" y="358"/>
                  </a:lnTo>
                  <a:lnTo>
                    <a:pt x="50" y="360"/>
                  </a:lnTo>
                  <a:lnTo>
                    <a:pt x="54" y="366"/>
                  </a:lnTo>
                  <a:lnTo>
                    <a:pt x="54" y="374"/>
                  </a:lnTo>
                  <a:lnTo>
                    <a:pt x="56" y="376"/>
                  </a:lnTo>
                  <a:lnTo>
                    <a:pt x="54" y="380"/>
                  </a:lnTo>
                  <a:lnTo>
                    <a:pt x="54" y="384"/>
                  </a:lnTo>
                  <a:lnTo>
                    <a:pt x="58" y="386"/>
                  </a:lnTo>
                  <a:lnTo>
                    <a:pt x="64" y="396"/>
                  </a:lnTo>
                  <a:lnTo>
                    <a:pt x="66" y="404"/>
                  </a:lnTo>
                  <a:lnTo>
                    <a:pt x="56" y="408"/>
                  </a:lnTo>
                  <a:lnTo>
                    <a:pt x="56" y="410"/>
                  </a:lnTo>
                  <a:lnTo>
                    <a:pt x="70" y="408"/>
                  </a:lnTo>
                  <a:lnTo>
                    <a:pt x="100" y="402"/>
                  </a:lnTo>
                  <a:lnTo>
                    <a:pt x="128" y="400"/>
                  </a:lnTo>
                  <a:lnTo>
                    <a:pt x="128" y="396"/>
                  </a:lnTo>
                  <a:lnTo>
                    <a:pt x="130" y="386"/>
                  </a:lnTo>
                  <a:lnTo>
                    <a:pt x="130" y="380"/>
                  </a:lnTo>
                  <a:lnTo>
                    <a:pt x="132" y="378"/>
                  </a:lnTo>
                  <a:lnTo>
                    <a:pt x="130" y="374"/>
                  </a:lnTo>
                  <a:lnTo>
                    <a:pt x="130" y="368"/>
                  </a:lnTo>
                  <a:lnTo>
                    <a:pt x="128" y="360"/>
                  </a:lnTo>
                  <a:lnTo>
                    <a:pt x="130" y="358"/>
                  </a:lnTo>
                  <a:lnTo>
                    <a:pt x="130" y="354"/>
                  </a:lnTo>
                  <a:lnTo>
                    <a:pt x="130" y="348"/>
                  </a:lnTo>
                  <a:lnTo>
                    <a:pt x="130" y="332"/>
                  </a:lnTo>
                  <a:lnTo>
                    <a:pt x="132" y="330"/>
                  </a:lnTo>
                  <a:lnTo>
                    <a:pt x="132" y="330"/>
                  </a:lnTo>
                  <a:lnTo>
                    <a:pt x="132" y="328"/>
                  </a:lnTo>
                  <a:lnTo>
                    <a:pt x="130" y="322"/>
                  </a:lnTo>
                  <a:lnTo>
                    <a:pt x="128" y="318"/>
                  </a:lnTo>
                  <a:lnTo>
                    <a:pt x="128" y="310"/>
                  </a:lnTo>
                  <a:lnTo>
                    <a:pt x="128" y="304"/>
                  </a:lnTo>
                  <a:lnTo>
                    <a:pt x="126" y="300"/>
                  </a:lnTo>
                  <a:lnTo>
                    <a:pt x="128" y="290"/>
                  </a:lnTo>
                  <a:lnTo>
                    <a:pt x="128" y="274"/>
                  </a:lnTo>
                  <a:lnTo>
                    <a:pt x="128" y="268"/>
                  </a:lnTo>
                  <a:lnTo>
                    <a:pt x="128" y="264"/>
                  </a:lnTo>
                  <a:lnTo>
                    <a:pt x="130" y="252"/>
                  </a:lnTo>
                  <a:lnTo>
                    <a:pt x="130" y="240"/>
                  </a:lnTo>
                  <a:lnTo>
                    <a:pt x="132" y="222"/>
                  </a:lnTo>
                  <a:lnTo>
                    <a:pt x="140" y="222"/>
                  </a:lnTo>
                  <a:lnTo>
                    <a:pt x="150" y="220"/>
                  </a:lnTo>
                  <a:lnTo>
                    <a:pt x="154" y="214"/>
                  </a:lnTo>
                  <a:lnTo>
                    <a:pt x="156" y="204"/>
                  </a:lnTo>
                  <a:lnTo>
                    <a:pt x="156" y="196"/>
                  </a:lnTo>
                  <a:lnTo>
                    <a:pt x="158" y="194"/>
                  </a:lnTo>
                  <a:lnTo>
                    <a:pt x="162" y="188"/>
                  </a:lnTo>
                  <a:lnTo>
                    <a:pt x="168" y="182"/>
                  </a:lnTo>
                  <a:lnTo>
                    <a:pt x="168" y="174"/>
                  </a:lnTo>
                  <a:lnTo>
                    <a:pt x="170" y="172"/>
                  </a:lnTo>
                  <a:lnTo>
                    <a:pt x="174" y="170"/>
                  </a:lnTo>
                  <a:lnTo>
                    <a:pt x="178" y="170"/>
                  </a:lnTo>
                  <a:lnTo>
                    <a:pt x="184" y="166"/>
                  </a:lnTo>
                  <a:lnTo>
                    <a:pt x="186" y="160"/>
                  </a:lnTo>
                  <a:lnTo>
                    <a:pt x="190" y="148"/>
                  </a:lnTo>
                  <a:lnTo>
                    <a:pt x="184" y="142"/>
                  </a:lnTo>
                  <a:lnTo>
                    <a:pt x="184" y="140"/>
                  </a:lnTo>
                  <a:lnTo>
                    <a:pt x="186" y="136"/>
                  </a:lnTo>
                  <a:lnTo>
                    <a:pt x="190" y="132"/>
                  </a:lnTo>
                  <a:lnTo>
                    <a:pt x="192" y="132"/>
                  </a:lnTo>
                  <a:lnTo>
                    <a:pt x="196" y="132"/>
                  </a:lnTo>
                  <a:lnTo>
                    <a:pt x="198" y="132"/>
                  </a:lnTo>
                  <a:lnTo>
                    <a:pt x="198" y="130"/>
                  </a:lnTo>
                  <a:lnTo>
                    <a:pt x="202" y="120"/>
                  </a:lnTo>
                  <a:lnTo>
                    <a:pt x="202" y="116"/>
                  </a:lnTo>
                  <a:lnTo>
                    <a:pt x="196" y="108"/>
                  </a:lnTo>
                  <a:lnTo>
                    <a:pt x="196" y="104"/>
                  </a:lnTo>
                  <a:lnTo>
                    <a:pt x="194" y="94"/>
                  </a:lnTo>
                  <a:lnTo>
                    <a:pt x="194" y="88"/>
                  </a:lnTo>
                  <a:lnTo>
                    <a:pt x="192" y="84"/>
                  </a:lnTo>
                  <a:lnTo>
                    <a:pt x="190" y="82"/>
                  </a:lnTo>
                  <a:lnTo>
                    <a:pt x="188" y="82"/>
                  </a:lnTo>
                  <a:lnTo>
                    <a:pt x="178" y="66"/>
                  </a:lnTo>
                  <a:lnTo>
                    <a:pt x="178" y="60"/>
                  </a:lnTo>
                  <a:lnTo>
                    <a:pt x="184" y="50"/>
                  </a:lnTo>
                  <a:lnTo>
                    <a:pt x="186" y="4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3923">
              <a:extLst>
                <a:ext uri="{FF2B5EF4-FFF2-40B4-BE49-F238E27FC236}">
                  <a16:creationId xmlns:a16="http://schemas.microsoft.com/office/drawing/2014/main" id="{3C0FC2C3-3837-4385-BDAF-262DB8353C97}"/>
                </a:ext>
              </a:extLst>
            </p:cNvPr>
            <p:cNvSpPr/>
            <p:nvPr/>
          </p:nvSpPr>
          <p:spPr bwMode="auto">
            <a:xfrm>
              <a:off x="5158925" y="5023973"/>
              <a:ext cx="199657" cy="146467"/>
            </a:xfrm>
            <a:custGeom>
              <a:avLst/>
              <a:gdLst>
                <a:gd name="T0" fmla="*/ 336 w 518"/>
                <a:gd name="T1" fmla="*/ 4 h 380"/>
                <a:gd name="T2" fmla="*/ 318 w 518"/>
                <a:gd name="T3" fmla="*/ 2 h 380"/>
                <a:gd name="T4" fmla="*/ 294 w 518"/>
                <a:gd name="T5" fmla="*/ 18 h 380"/>
                <a:gd name="T6" fmla="*/ 250 w 518"/>
                <a:gd name="T7" fmla="*/ 40 h 380"/>
                <a:gd name="T8" fmla="*/ 228 w 518"/>
                <a:gd name="T9" fmla="*/ 60 h 380"/>
                <a:gd name="T10" fmla="*/ 192 w 518"/>
                <a:gd name="T11" fmla="*/ 58 h 380"/>
                <a:gd name="T12" fmla="*/ 170 w 518"/>
                <a:gd name="T13" fmla="*/ 92 h 380"/>
                <a:gd name="T14" fmla="*/ 162 w 518"/>
                <a:gd name="T15" fmla="*/ 98 h 380"/>
                <a:gd name="T16" fmla="*/ 148 w 518"/>
                <a:gd name="T17" fmla="*/ 114 h 380"/>
                <a:gd name="T18" fmla="*/ 130 w 518"/>
                <a:gd name="T19" fmla="*/ 128 h 380"/>
                <a:gd name="T20" fmla="*/ 96 w 518"/>
                <a:gd name="T21" fmla="*/ 116 h 380"/>
                <a:gd name="T22" fmla="*/ 78 w 518"/>
                <a:gd name="T23" fmla="*/ 132 h 380"/>
                <a:gd name="T24" fmla="*/ 84 w 518"/>
                <a:gd name="T25" fmla="*/ 154 h 380"/>
                <a:gd name="T26" fmla="*/ 72 w 518"/>
                <a:gd name="T27" fmla="*/ 174 h 380"/>
                <a:gd name="T28" fmla="*/ 62 w 518"/>
                <a:gd name="T29" fmla="*/ 198 h 380"/>
                <a:gd name="T30" fmla="*/ 36 w 518"/>
                <a:gd name="T31" fmla="*/ 208 h 380"/>
                <a:gd name="T32" fmla="*/ 16 w 518"/>
                <a:gd name="T33" fmla="*/ 220 h 380"/>
                <a:gd name="T34" fmla="*/ 18 w 518"/>
                <a:gd name="T35" fmla="*/ 236 h 380"/>
                <a:gd name="T36" fmla="*/ 12 w 518"/>
                <a:gd name="T37" fmla="*/ 266 h 380"/>
                <a:gd name="T38" fmla="*/ 4 w 518"/>
                <a:gd name="T39" fmla="*/ 290 h 380"/>
                <a:gd name="T40" fmla="*/ 0 w 518"/>
                <a:gd name="T41" fmla="*/ 314 h 380"/>
                <a:gd name="T42" fmla="*/ 22 w 518"/>
                <a:gd name="T43" fmla="*/ 322 h 380"/>
                <a:gd name="T44" fmla="*/ 36 w 518"/>
                <a:gd name="T45" fmla="*/ 346 h 380"/>
                <a:gd name="T46" fmla="*/ 58 w 518"/>
                <a:gd name="T47" fmla="*/ 360 h 380"/>
                <a:gd name="T48" fmla="*/ 78 w 518"/>
                <a:gd name="T49" fmla="*/ 366 h 380"/>
                <a:gd name="T50" fmla="*/ 108 w 518"/>
                <a:gd name="T51" fmla="*/ 348 h 380"/>
                <a:gd name="T52" fmla="*/ 146 w 518"/>
                <a:gd name="T53" fmla="*/ 350 h 380"/>
                <a:gd name="T54" fmla="*/ 162 w 518"/>
                <a:gd name="T55" fmla="*/ 360 h 380"/>
                <a:gd name="T56" fmla="*/ 174 w 518"/>
                <a:gd name="T57" fmla="*/ 374 h 380"/>
                <a:gd name="T58" fmla="*/ 186 w 518"/>
                <a:gd name="T59" fmla="*/ 376 h 380"/>
                <a:gd name="T60" fmla="*/ 182 w 518"/>
                <a:gd name="T61" fmla="*/ 356 h 380"/>
                <a:gd name="T62" fmla="*/ 180 w 518"/>
                <a:gd name="T63" fmla="*/ 326 h 380"/>
                <a:gd name="T64" fmla="*/ 180 w 518"/>
                <a:gd name="T65" fmla="*/ 314 h 380"/>
                <a:gd name="T66" fmla="*/ 172 w 518"/>
                <a:gd name="T67" fmla="*/ 302 h 380"/>
                <a:gd name="T68" fmla="*/ 182 w 518"/>
                <a:gd name="T69" fmla="*/ 276 h 380"/>
                <a:gd name="T70" fmla="*/ 238 w 518"/>
                <a:gd name="T71" fmla="*/ 276 h 380"/>
                <a:gd name="T72" fmla="*/ 282 w 518"/>
                <a:gd name="T73" fmla="*/ 276 h 380"/>
                <a:gd name="T74" fmla="*/ 312 w 518"/>
                <a:gd name="T75" fmla="*/ 276 h 380"/>
                <a:gd name="T76" fmla="*/ 322 w 518"/>
                <a:gd name="T77" fmla="*/ 278 h 380"/>
                <a:gd name="T78" fmla="*/ 334 w 518"/>
                <a:gd name="T79" fmla="*/ 268 h 380"/>
                <a:gd name="T80" fmla="*/ 342 w 518"/>
                <a:gd name="T81" fmla="*/ 264 h 380"/>
                <a:gd name="T82" fmla="*/ 394 w 518"/>
                <a:gd name="T83" fmla="*/ 276 h 380"/>
                <a:gd name="T84" fmla="*/ 422 w 518"/>
                <a:gd name="T85" fmla="*/ 276 h 380"/>
                <a:gd name="T86" fmla="*/ 428 w 518"/>
                <a:gd name="T87" fmla="*/ 270 h 380"/>
                <a:gd name="T88" fmla="*/ 434 w 518"/>
                <a:gd name="T89" fmla="*/ 264 h 380"/>
                <a:gd name="T90" fmla="*/ 440 w 518"/>
                <a:gd name="T91" fmla="*/ 258 h 380"/>
                <a:gd name="T92" fmla="*/ 452 w 518"/>
                <a:gd name="T93" fmla="*/ 250 h 380"/>
                <a:gd name="T94" fmla="*/ 460 w 518"/>
                <a:gd name="T95" fmla="*/ 244 h 380"/>
                <a:gd name="T96" fmla="*/ 492 w 518"/>
                <a:gd name="T97" fmla="*/ 248 h 380"/>
                <a:gd name="T98" fmla="*/ 518 w 518"/>
                <a:gd name="T99" fmla="*/ 214 h 380"/>
                <a:gd name="T100" fmla="*/ 498 w 518"/>
                <a:gd name="T101" fmla="*/ 188 h 380"/>
                <a:gd name="T102" fmla="*/ 506 w 518"/>
                <a:gd name="T103" fmla="*/ 180 h 380"/>
                <a:gd name="T104" fmla="*/ 504 w 518"/>
                <a:gd name="T105" fmla="*/ 166 h 380"/>
                <a:gd name="T106" fmla="*/ 490 w 518"/>
                <a:gd name="T107" fmla="*/ 160 h 380"/>
                <a:gd name="T108" fmla="*/ 464 w 518"/>
                <a:gd name="T109" fmla="*/ 166 h 380"/>
                <a:gd name="T110" fmla="*/ 428 w 518"/>
                <a:gd name="T111" fmla="*/ 140 h 380"/>
                <a:gd name="T112" fmla="*/ 426 w 518"/>
                <a:gd name="T113" fmla="*/ 116 h 380"/>
                <a:gd name="T114" fmla="*/ 436 w 518"/>
                <a:gd name="T115" fmla="*/ 112 h 380"/>
                <a:gd name="T116" fmla="*/ 420 w 518"/>
                <a:gd name="T117" fmla="*/ 100 h 380"/>
                <a:gd name="T118" fmla="*/ 406 w 518"/>
                <a:gd name="T119" fmla="*/ 94 h 380"/>
                <a:gd name="T120" fmla="*/ 386 w 518"/>
                <a:gd name="T121" fmla="*/ 68 h 380"/>
                <a:gd name="T122" fmla="*/ 378 w 518"/>
                <a:gd name="T123" fmla="*/ 46 h 380"/>
                <a:gd name="T124" fmla="*/ 376 w 518"/>
                <a:gd name="T125" fmla="*/ 16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18" h="380">
                  <a:moveTo>
                    <a:pt x="376" y="12"/>
                  </a:moveTo>
                  <a:lnTo>
                    <a:pt x="362" y="6"/>
                  </a:lnTo>
                  <a:lnTo>
                    <a:pt x="346" y="2"/>
                  </a:lnTo>
                  <a:lnTo>
                    <a:pt x="336" y="4"/>
                  </a:lnTo>
                  <a:lnTo>
                    <a:pt x="334" y="4"/>
                  </a:lnTo>
                  <a:lnTo>
                    <a:pt x="332" y="2"/>
                  </a:lnTo>
                  <a:lnTo>
                    <a:pt x="326" y="0"/>
                  </a:lnTo>
                  <a:lnTo>
                    <a:pt x="318" y="2"/>
                  </a:lnTo>
                  <a:lnTo>
                    <a:pt x="312" y="2"/>
                  </a:lnTo>
                  <a:lnTo>
                    <a:pt x="302" y="10"/>
                  </a:lnTo>
                  <a:lnTo>
                    <a:pt x="296" y="16"/>
                  </a:lnTo>
                  <a:lnTo>
                    <a:pt x="294" y="18"/>
                  </a:lnTo>
                  <a:lnTo>
                    <a:pt x="282" y="22"/>
                  </a:lnTo>
                  <a:lnTo>
                    <a:pt x="264" y="32"/>
                  </a:lnTo>
                  <a:lnTo>
                    <a:pt x="254" y="38"/>
                  </a:lnTo>
                  <a:lnTo>
                    <a:pt x="250" y="40"/>
                  </a:lnTo>
                  <a:lnTo>
                    <a:pt x="246" y="40"/>
                  </a:lnTo>
                  <a:lnTo>
                    <a:pt x="238" y="40"/>
                  </a:lnTo>
                  <a:lnTo>
                    <a:pt x="232" y="42"/>
                  </a:lnTo>
                  <a:lnTo>
                    <a:pt x="228" y="60"/>
                  </a:lnTo>
                  <a:lnTo>
                    <a:pt x="224" y="62"/>
                  </a:lnTo>
                  <a:lnTo>
                    <a:pt x="200" y="56"/>
                  </a:lnTo>
                  <a:lnTo>
                    <a:pt x="196" y="56"/>
                  </a:lnTo>
                  <a:lnTo>
                    <a:pt x="192" y="58"/>
                  </a:lnTo>
                  <a:lnTo>
                    <a:pt x="180" y="68"/>
                  </a:lnTo>
                  <a:lnTo>
                    <a:pt x="174" y="76"/>
                  </a:lnTo>
                  <a:lnTo>
                    <a:pt x="170" y="88"/>
                  </a:lnTo>
                  <a:lnTo>
                    <a:pt x="170" y="92"/>
                  </a:lnTo>
                  <a:lnTo>
                    <a:pt x="170" y="94"/>
                  </a:lnTo>
                  <a:lnTo>
                    <a:pt x="168" y="98"/>
                  </a:lnTo>
                  <a:lnTo>
                    <a:pt x="166" y="98"/>
                  </a:lnTo>
                  <a:lnTo>
                    <a:pt x="162" y="98"/>
                  </a:lnTo>
                  <a:lnTo>
                    <a:pt x="152" y="96"/>
                  </a:lnTo>
                  <a:lnTo>
                    <a:pt x="150" y="96"/>
                  </a:lnTo>
                  <a:lnTo>
                    <a:pt x="148" y="102"/>
                  </a:lnTo>
                  <a:lnTo>
                    <a:pt x="148" y="114"/>
                  </a:lnTo>
                  <a:lnTo>
                    <a:pt x="146" y="122"/>
                  </a:lnTo>
                  <a:lnTo>
                    <a:pt x="140" y="124"/>
                  </a:lnTo>
                  <a:lnTo>
                    <a:pt x="134" y="128"/>
                  </a:lnTo>
                  <a:lnTo>
                    <a:pt x="130" y="128"/>
                  </a:lnTo>
                  <a:lnTo>
                    <a:pt x="128" y="128"/>
                  </a:lnTo>
                  <a:lnTo>
                    <a:pt x="110" y="116"/>
                  </a:lnTo>
                  <a:lnTo>
                    <a:pt x="104" y="114"/>
                  </a:lnTo>
                  <a:lnTo>
                    <a:pt x="96" y="116"/>
                  </a:lnTo>
                  <a:lnTo>
                    <a:pt x="90" y="120"/>
                  </a:lnTo>
                  <a:lnTo>
                    <a:pt x="86" y="124"/>
                  </a:lnTo>
                  <a:lnTo>
                    <a:pt x="82" y="128"/>
                  </a:lnTo>
                  <a:lnTo>
                    <a:pt x="78" y="132"/>
                  </a:lnTo>
                  <a:lnTo>
                    <a:pt x="80" y="138"/>
                  </a:lnTo>
                  <a:lnTo>
                    <a:pt x="82" y="142"/>
                  </a:lnTo>
                  <a:lnTo>
                    <a:pt x="86" y="150"/>
                  </a:lnTo>
                  <a:lnTo>
                    <a:pt x="84" y="154"/>
                  </a:lnTo>
                  <a:lnTo>
                    <a:pt x="68" y="164"/>
                  </a:lnTo>
                  <a:lnTo>
                    <a:pt x="70" y="166"/>
                  </a:lnTo>
                  <a:lnTo>
                    <a:pt x="72" y="168"/>
                  </a:lnTo>
                  <a:lnTo>
                    <a:pt x="72" y="174"/>
                  </a:lnTo>
                  <a:lnTo>
                    <a:pt x="72" y="186"/>
                  </a:lnTo>
                  <a:lnTo>
                    <a:pt x="68" y="190"/>
                  </a:lnTo>
                  <a:lnTo>
                    <a:pt x="64" y="192"/>
                  </a:lnTo>
                  <a:lnTo>
                    <a:pt x="62" y="198"/>
                  </a:lnTo>
                  <a:lnTo>
                    <a:pt x="58" y="200"/>
                  </a:lnTo>
                  <a:lnTo>
                    <a:pt x="54" y="204"/>
                  </a:lnTo>
                  <a:lnTo>
                    <a:pt x="48" y="206"/>
                  </a:lnTo>
                  <a:lnTo>
                    <a:pt x="36" y="208"/>
                  </a:lnTo>
                  <a:lnTo>
                    <a:pt x="28" y="210"/>
                  </a:lnTo>
                  <a:lnTo>
                    <a:pt x="24" y="212"/>
                  </a:lnTo>
                  <a:lnTo>
                    <a:pt x="20" y="216"/>
                  </a:lnTo>
                  <a:lnTo>
                    <a:pt x="16" y="220"/>
                  </a:lnTo>
                  <a:lnTo>
                    <a:pt x="14" y="224"/>
                  </a:lnTo>
                  <a:lnTo>
                    <a:pt x="16" y="230"/>
                  </a:lnTo>
                  <a:lnTo>
                    <a:pt x="16" y="234"/>
                  </a:lnTo>
                  <a:lnTo>
                    <a:pt x="18" y="236"/>
                  </a:lnTo>
                  <a:lnTo>
                    <a:pt x="20" y="240"/>
                  </a:lnTo>
                  <a:lnTo>
                    <a:pt x="18" y="250"/>
                  </a:lnTo>
                  <a:lnTo>
                    <a:pt x="14" y="260"/>
                  </a:lnTo>
                  <a:lnTo>
                    <a:pt x="12" y="266"/>
                  </a:lnTo>
                  <a:lnTo>
                    <a:pt x="6" y="270"/>
                  </a:lnTo>
                  <a:lnTo>
                    <a:pt x="2" y="272"/>
                  </a:lnTo>
                  <a:lnTo>
                    <a:pt x="4" y="280"/>
                  </a:lnTo>
                  <a:lnTo>
                    <a:pt x="4" y="290"/>
                  </a:lnTo>
                  <a:lnTo>
                    <a:pt x="4" y="298"/>
                  </a:lnTo>
                  <a:lnTo>
                    <a:pt x="2" y="304"/>
                  </a:lnTo>
                  <a:lnTo>
                    <a:pt x="2" y="310"/>
                  </a:lnTo>
                  <a:lnTo>
                    <a:pt x="0" y="314"/>
                  </a:lnTo>
                  <a:lnTo>
                    <a:pt x="4" y="318"/>
                  </a:lnTo>
                  <a:lnTo>
                    <a:pt x="10" y="320"/>
                  </a:lnTo>
                  <a:lnTo>
                    <a:pt x="18" y="320"/>
                  </a:lnTo>
                  <a:lnTo>
                    <a:pt x="22" y="322"/>
                  </a:lnTo>
                  <a:lnTo>
                    <a:pt x="28" y="326"/>
                  </a:lnTo>
                  <a:lnTo>
                    <a:pt x="32" y="332"/>
                  </a:lnTo>
                  <a:lnTo>
                    <a:pt x="34" y="338"/>
                  </a:lnTo>
                  <a:lnTo>
                    <a:pt x="36" y="346"/>
                  </a:lnTo>
                  <a:lnTo>
                    <a:pt x="42" y="350"/>
                  </a:lnTo>
                  <a:lnTo>
                    <a:pt x="46" y="352"/>
                  </a:lnTo>
                  <a:lnTo>
                    <a:pt x="52" y="358"/>
                  </a:lnTo>
                  <a:lnTo>
                    <a:pt x="58" y="360"/>
                  </a:lnTo>
                  <a:lnTo>
                    <a:pt x="66" y="360"/>
                  </a:lnTo>
                  <a:lnTo>
                    <a:pt x="68" y="362"/>
                  </a:lnTo>
                  <a:lnTo>
                    <a:pt x="74" y="364"/>
                  </a:lnTo>
                  <a:lnTo>
                    <a:pt x="78" y="366"/>
                  </a:lnTo>
                  <a:lnTo>
                    <a:pt x="82" y="358"/>
                  </a:lnTo>
                  <a:lnTo>
                    <a:pt x="88" y="356"/>
                  </a:lnTo>
                  <a:lnTo>
                    <a:pt x="102" y="352"/>
                  </a:lnTo>
                  <a:lnTo>
                    <a:pt x="108" y="348"/>
                  </a:lnTo>
                  <a:lnTo>
                    <a:pt x="114" y="348"/>
                  </a:lnTo>
                  <a:lnTo>
                    <a:pt x="128" y="346"/>
                  </a:lnTo>
                  <a:lnTo>
                    <a:pt x="140" y="348"/>
                  </a:lnTo>
                  <a:lnTo>
                    <a:pt x="146" y="350"/>
                  </a:lnTo>
                  <a:lnTo>
                    <a:pt x="150" y="348"/>
                  </a:lnTo>
                  <a:lnTo>
                    <a:pt x="154" y="352"/>
                  </a:lnTo>
                  <a:lnTo>
                    <a:pt x="160" y="358"/>
                  </a:lnTo>
                  <a:lnTo>
                    <a:pt x="162" y="360"/>
                  </a:lnTo>
                  <a:lnTo>
                    <a:pt x="166" y="362"/>
                  </a:lnTo>
                  <a:lnTo>
                    <a:pt x="168" y="368"/>
                  </a:lnTo>
                  <a:lnTo>
                    <a:pt x="172" y="372"/>
                  </a:lnTo>
                  <a:lnTo>
                    <a:pt x="174" y="374"/>
                  </a:lnTo>
                  <a:lnTo>
                    <a:pt x="178" y="380"/>
                  </a:lnTo>
                  <a:lnTo>
                    <a:pt x="180" y="380"/>
                  </a:lnTo>
                  <a:lnTo>
                    <a:pt x="184" y="378"/>
                  </a:lnTo>
                  <a:lnTo>
                    <a:pt x="186" y="376"/>
                  </a:lnTo>
                  <a:lnTo>
                    <a:pt x="184" y="372"/>
                  </a:lnTo>
                  <a:lnTo>
                    <a:pt x="180" y="364"/>
                  </a:lnTo>
                  <a:lnTo>
                    <a:pt x="180" y="358"/>
                  </a:lnTo>
                  <a:lnTo>
                    <a:pt x="182" y="356"/>
                  </a:lnTo>
                  <a:lnTo>
                    <a:pt x="182" y="348"/>
                  </a:lnTo>
                  <a:lnTo>
                    <a:pt x="180" y="336"/>
                  </a:lnTo>
                  <a:lnTo>
                    <a:pt x="180" y="328"/>
                  </a:lnTo>
                  <a:lnTo>
                    <a:pt x="180" y="326"/>
                  </a:lnTo>
                  <a:lnTo>
                    <a:pt x="180" y="322"/>
                  </a:lnTo>
                  <a:lnTo>
                    <a:pt x="178" y="320"/>
                  </a:lnTo>
                  <a:lnTo>
                    <a:pt x="178" y="318"/>
                  </a:lnTo>
                  <a:lnTo>
                    <a:pt x="180" y="314"/>
                  </a:lnTo>
                  <a:lnTo>
                    <a:pt x="180" y="312"/>
                  </a:lnTo>
                  <a:lnTo>
                    <a:pt x="176" y="312"/>
                  </a:lnTo>
                  <a:lnTo>
                    <a:pt x="174" y="308"/>
                  </a:lnTo>
                  <a:lnTo>
                    <a:pt x="172" y="302"/>
                  </a:lnTo>
                  <a:lnTo>
                    <a:pt x="172" y="292"/>
                  </a:lnTo>
                  <a:lnTo>
                    <a:pt x="176" y="276"/>
                  </a:lnTo>
                  <a:lnTo>
                    <a:pt x="176" y="274"/>
                  </a:lnTo>
                  <a:lnTo>
                    <a:pt x="182" y="276"/>
                  </a:lnTo>
                  <a:lnTo>
                    <a:pt x="182" y="276"/>
                  </a:lnTo>
                  <a:lnTo>
                    <a:pt x="198" y="276"/>
                  </a:lnTo>
                  <a:lnTo>
                    <a:pt x="216" y="276"/>
                  </a:lnTo>
                  <a:lnTo>
                    <a:pt x="238" y="276"/>
                  </a:lnTo>
                  <a:lnTo>
                    <a:pt x="258" y="276"/>
                  </a:lnTo>
                  <a:lnTo>
                    <a:pt x="258" y="274"/>
                  </a:lnTo>
                  <a:lnTo>
                    <a:pt x="262" y="274"/>
                  </a:lnTo>
                  <a:lnTo>
                    <a:pt x="282" y="276"/>
                  </a:lnTo>
                  <a:lnTo>
                    <a:pt x="294" y="274"/>
                  </a:lnTo>
                  <a:lnTo>
                    <a:pt x="298" y="274"/>
                  </a:lnTo>
                  <a:lnTo>
                    <a:pt x="302" y="276"/>
                  </a:lnTo>
                  <a:lnTo>
                    <a:pt x="312" y="276"/>
                  </a:lnTo>
                  <a:lnTo>
                    <a:pt x="316" y="276"/>
                  </a:lnTo>
                  <a:lnTo>
                    <a:pt x="320" y="280"/>
                  </a:lnTo>
                  <a:lnTo>
                    <a:pt x="320" y="280"/>
                  </a:lnTo>
                  <a:lnTo>
                    <a:pt x="322" y="278"/>
                  </a:lnTo>
                  <a:lnTo>
                    <a:pt x="326" y="276"/>
                  </a:lnTo>
                  <a:lnTo>
                    <a:pt x="330" y="274"/>
                  </a:lnTo>
                  <a:lnTo>
                    <a:pt x="332" y="272"/>
                  </a:lnTo>
                  <a:lnTo>
                    <a:pt x="334" y="268"/>
                  </a:lnTo>
                  <a:lnTo>
                    <a:pt x="336" y="270"/>
                  </a:lnTo>
                  <a:lnTo>
                    <a:pt x="340" y="270"/>
                  </a:lnTo>
                  <a:lnTo>
                    <a:pt x="342" y="266"/>
                  </a:lnTo>
                  <a:lnTo>
                    <a:pt x="342" y="264"/>
                  </a:lnTo>
                  <a:lnTo>
                    <a:pt x="358" y="268"/>
                  </a:lnTo>
                  <a:lnTo>
                    <a:pt x="372" y="270"/>
                  </a:lnTo>
                  <a:lnTo>
                    <a:pt x="394" y="276"/>
                  </a:lnTo>
                  <a:lnTo>
                    <a:pt x="394" y="276"/>
                  </a:lnTo>
                  <a:lnTo>
                    <a:pt x="394" y="278"/>
                  </a:lnTo>
                  <a:lnTo>
                    <a:pt x="398" y="278"/>
                  </a:lnTo>
                  <a:lnTo>
                    <a:pt x="404" y="276"/>
                  </a:lnTo>
                  <a:lnTo>
                    <a:pt x="422" y="276"/>
                  </a:lnTo>
                  <a:lnTo>
                    <a:pt x="422" y="276"/>
                  </a:lnTo>
                  <a:lnTo>
                    <a:pt x="424" y="274"/>
                  </a:lnTo>
                  <a:lnTo>
                    <a:pt x="426" y="270"/>
                  </a:lnTo>
                  <a:lnTo>
                    <a:pt x="428" y="270"/>
                  </a:lnTo>
                  <a:lnTo>
                    <a:pt x="432" y="272"/>
                  </a:lnTo>
                  <a:lnTo>
                    <a:pt x="434" y="270"/>
                  </a:lnTo>
                  <a:lnTo>
                    <a:pt x="434" y="268"/>
                  </a:lnTo>
                  <a:lnTo>
                    <a:pt x="434" y="264"/>
                  </a:lnTo>
                  <a:lnTo>
                    <a:pt x="436" y="264"/>
                  </a:lnTo>
                  <a:lnTo>
                    <a:pt x="438" y="260"/>
                  </a:lnTo>
                  <a:lnTo>
                    <a:pt x="438" y="258"/>
                  </a:lnTo>
                  <a:lnTo>
                    <a:pt x="440" y="258"/>
                  </a:lnTo>
                  <a:lnTo>
                    <a:pt x="444" y="258"/>
                  </a:lnTo>
                  <a:lnTo>
                    <a:pt x="446" y="256"/>
                  </a:lnTo>
                  <a:lnTo>
                    <a:pt x="448" y="256"/>
                  </a:lnTo>
                  <a:lnTo>
                    <a:pt x="452" y="250"/>
                  </a:lnTo>
                  <a:lnTo>
                    <a:pt x="454" y="248"/>
                  </a:lnTo>
                  <a:lnTo>
                    <a:pt x="454" y="246"/>
                  </a:lnTo>
                  <a:lnTo>
                    <a:pt x="456" y="246"/>
                  </a:lnTo>
                  <a:lnTo>
                    <a:pt x="460" y="244"/>
                  </a:lnTo>
                  <a:lnTo>
                    <a:pt x="464" y="246"/>
                  </a:lnTo>
                  <a:lnTo>
                    <a:pt x="468" y="248"/>
                  </a:lnTo>
                  <a:lnTo>
                    <a:pt x="484" y="246"/>
                  </a:lnTo>
                  <a:lnTo>
                    <a:pt x="492" y="248"/>
                  </a:lnTo>
                  <a:lnTo>
                    <a:pt x="508" y="232"/>
                  </a:lnTo>
                  <a:lnTo>
                    <a:pt x="512" y="228"/>
                  </a:lnTo>
                  <a:lnTo>
                    <a:pt x="518" y="218"/>
                  </a:lnTo>
                  <a:lnTo>
                    <a:pt x="518" y="214"/>
                  </a:lnTo>
                  <a:lnTo>
                    <a:pt x="516" y="212"/>
                  </a:lnTo>
                  <a:lnTo>
                    <a:pt x="506" y="198"/>
                  </a:lnTo>
                  <a:lnTo>
                    <a:pt x="500" y="190"/>
                  </a:lnTo>
                  <a:lnTo>
                    <a:pt x="498" y="188"/>
                  </a:lnTo>
                  <a:lnTo>
                    <a:pt x="498" y="184"/>
                  </a:lnTo>
                  <a:lnTo>
                    <a:pt x="498" y="182"/>
                  </a:lnTo>
                  <a:lnTo>
                    <a:pt x="500" y="182"/>
                  </a:lnTo>
                  <a:lnTo>
                    <a:pt x="506" y="180"/>
                  </a:lnTo>
                  <a:lnTo>
                    <a:pt x="508" y="180"/>
                  </a:lnTo>
                  <a:lnTo>
                    <a:pt x="508" y="176"/>
                  </a:lnTo>
                  <a:lnTo>
                    <a:pt x="508" y="172"/>
                  </a:lnTo>
                  <a:lnTo>
                    <a:pt x="504" y="166"/>
                  </a:lnTo>
                  <a:lnTo>
                    <a:pt x="500" y="160"/>
                  </a:lnTo>
                  <a:lnTo>
                    <a:pt x="498" y="160"/>
                  </a:lnTo>
                  <a:lnTo>
                    <a:pt x="494" y="160"/>
                  </a:lnTo>
                  <a:lnTo>
                    <a:pt x="490" y="160"/>
                  </a:lnTo>
                  <a:lnTo>
                    <a:pt x="482" y="166"/>
                  </a:lnTo>
                  <a:lnTo>
                    <a:pt x="480" y="166"/>
                  </a:lnTo>
                  <a:lnTo>
                    <a:pt x="472" y="166"/>
                  </a:lnTo>
                  <a:lnTo>
                    <a:pt x="464" y="166"/>
                  </a:lnTo>
                  <a:lnTo>
                    <a:pt x="460" y="162"/>
                  </a:lnTo>
                  <a:lnTo>
                    <a:pt x="448" y="152"/>
                  </a:lnTo>
                  <a:lnTo>
                    <a:pt x="434" y="140"/>
                  </a:lnTo>
                  <a:lnTo>
                    <a:pt x="428" y="140"/>
                  </a:lnTo>
                  <a:lnTo>
                    <a:pt x="426" y="138"/>
                  </a:lnTo>
                  <a:lnTo>
                    <a:pt x="426" y="130"/>
                  </a:lnTo>
                  <a:lnTo>
                    <a:pt x="426" y="118"/>
                  </a:lnTo>
                  <a:lnTo>
                    <a:pt x="426" y="116"/>
                  </a:lnTo>
                  <a:lnTo>
                    <a:pt x="432" y="118"/>
                  </a:lnTo>
                  <a:lnTo>
                    <a:pt x="438" y="118"/>
                  </a:lnTo>
                  <a:lnTo>
                    <a:pt x="440" y="116"/>
                  </a:lnTo>
                  <a:lnTo>
                    <a:pt x="436" y="112"/>
                  </a:lnTo>
                  <a:lnTo>
                    <a:pt x="428" y="110"/>
                  </a:lnTo>
                  <a:lnTo>
                    <a:pt x="426" y="104"/>
                  </a:lnTo>
                  <a:lnTo>
                    <a:pt x="424" y="102"/>
                  </a:lnTo>
                  <a:lnTo>
                    <a:pt x="420" y="100"/>
                  </a:lnTo>
                  <a:lnTo>
                    <a:pt x="418" y="98"/>
                  </a:lnTo>
                  <a:lnTo>
                    <a:pt x="414" y="98"/>
                  </a:lnTo>
                  <a:lnTo>
                    <a:pt x="412" y="96"/>
                  </a:lnTo>
                  <a:lnTo>
                    <a:pt x="406" y="94"/>
                  </a:lnTo>
                  <a:lnTo>
                    <a:pt x="402" y="94"/>
                  </a:lnTo>
                  <a:lnTo>
                    <a:pt x="396" y="84"/>
                  </a:lnTo>
                  <a:lnTo>
                    <a:pt x="390" y="76"/>
                  </a:lnTo>
                  <a:lnTo>
                    <a:pt x="386" y="68"/>
                  </a:lnTo>
                  <a:lnTo>
                    <a:pt x="386" y="64"/>
                  </a:lnTo>
                  <a:lnTo>
                    <a:pt x="388" y="56"/>
                  </a:lnTo>
                  <a:lnTo>
                    <a:pt x="386" y="54"/>
                  </a:lnTo>
                  <a:lnTo>
                    <a:pt x="378" y="46"/>
                  </a:lnTo>
                  <a:lnTo>
                    <a:pt x="372" y="40"/>
                  </a:lnTo>
                  <a:lnTo>
                    <a:pt x="374" y="30"/>
                  </a:lnTo>
                  <a:lnTo>
                    <a:pt x="376" y="20"/>
                  </a:lnTo>
                  <a:lnTo>
                    <a:pt x="376" y="16"/>
                  </a:lnTo>
                  <a:lnTo>
                    <a:pt x="376" y="1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3944">
              <a:extLst>
                <a:ext uri="{FF2B5EF4-FFF2-40B4-BE49-F238E27FC236}">
                  <a16:creationId xmlns:a16="http://schemas.microsoft.com/office/drawing/2014/main" id="{C54CA3CE-3747-47A3-9CBB-38E501348D4A}"/>
                </a:ext>
              </a:extLst>
            </p:cNvPr>
            <p:cNvSpPr/>
            <p:nvPr/>
          </p:nvSpPr>
          <p:spPr bwMode="auto">
            <a:xfrm>
              <a:off x="5862735" y="4160591"/>
              <a:ext cx="158030" cy="103297"/>
            </a:xfrm>
            <a:custGeom>
              <a:avLst/>
              <a:gdLst>
                <a:gd name="T0" fmla="*/ 396 w 410"/>
                <a:gd name="T1" fmla="*/ 44 h 268"/>
                <a:gd name="T2" fmla="*/ 368 w 410"/>
                <a:gd name="T3" fmla="*/ 30 h 268"/>
                <a:gd name="T4" fmla="*/ 352 w 410"/>
                <a:gd name="T5" fmla="*/ 26 h 268"/>
                <a:gd name="T6" fmla="*/ 334 w 410"/>
                <a:gd name="T7" fmla="*/ 20 h 268"/>
                <a:gd name="T8" fmla="*/ 296 w 410"/>
                <a:gd name="T9" fmla="*/ 8 h 268"/>
                <a:gd name="T10" fmla="*/ 236 w 410"/>
                <a:gd name="T11" fmla="*/ 34 h 268"/>
                <a:gd name="T12" fmla="*/ 208 w 410"/>
                <a:gd name="T13" fmla="*/ 52 h 268"/>
                <a:gd name="T14" fmla="*/ 138 w 410"/>
                <a:gd name="T15" fmla="*/ 40 h 268"/>
                <a:gd name="T16" fmla="*/ 78 w 410"/>
                <a:gd name="T17" fmla="*/ 36 h 268"/>
                <a:gd name="T18" fmla="*/ 36 w 410"/>
                <a:gd name="T19" fmla="*/ 34 h 268"/>
                <a:gd name="T20" fmla="*/ 38 w 410"/>
                <a:gd name="T21" fmla="*/ 24 h 268"/>
                <a:gd name="T22" fmla="*/ 46 w 410"/>
                <a:gd name="T23" fmla="*/ 14 h 268"/>
                <a:gd name="T24" fmla="*/ 24 w 410"/>
                <a:gd name="T25" fmla="*/ 0 h 268"/>
                <a:gd name="T26" fmla="*/ 18 w 410"/>
                <a:gd name="T27" fmla="*/ 8 h 268"/>
                <a:gd name="T28" fmla="*/ 6 w 410"/>
                <a:gd name="T29" fmla="*/ 22 h 268"/>
                <a:gd name="T30" fmla="*/ 2 w 410"/>
                <a:gd name="T31" fmla="*/ 42 h 268"/>
                <a:gd name="T32" fmla="*/ 6 w 410"/>
                <a:gd name="T33" fmla="*/ 52 h 268"/>
                <a:gd name="T34" fmla="*/ 14 w 410"/>
                <a:gd name="T35" fmla="*/ 72 h 268"/>
                <a:gd name="T36" fmla="*/ 32 w 410"/>
                <a:gd name="T37" fmla="*/ 86 h 268"/>
                <a:gd name="T38" fmla="*/ 42 w 410"/>
                <a:gd name="T39" fmla="*/ 100 h 268"/>
                <a:gd name="T40" fmla="*/ 34 w 410"/>
                <a:gd name="T41" fmla="*/ 110 h 268"/>
                <a:gd name="T42" fmla="*/ 14 w 410"/>
                <a:gd name="T43" fmla="*/ 124 h 268"/>
                <a:gd name="T44" fmla="*/ 8 w 410"/>
                <a:gd name="T45" fmla="*/ 130 h 268"/>
                <a:gd name="T46" fmla="*/ 6 w 410"/>
                <a:gd name="T47" fmla="*/ 146 h 268"/>
                <a:gd name="T48" fmla="*/ 14 w 410"/>
                <a:gd name="T49" fmla="*/ 158 h 268"/>
                <a:gd name="T50" fmla="*/ 6 w 410"/>
                <a:gd name="T51" fmla="*/ 172 h 268"/>
                <a:gd name="T52" fmla="*/ 16 w 410"/>
                <a:gd name="T53" fmla="*/ 192 h 268"/>
                <a:gd name="T54" fmla="*/ 34 w 410"/>
                <a:gd name="T55" fmla="*/ 202 h 268"/>
                <a:gd name="T56" fmla="*/ 44 w 410"/>
                <a:gd name="T57" fmla="*/ 222 h 268"/>
                <a:gd name="T58" fmla="*/ 40 w 410"/>
                <a:gd name="T59" fmla="*/ 236 h 268"/>
                <a:gd name="T60" fmla="*/ 46 w 410"/>
                <a:gd name="T61" fmla="*/ 260 h 268"/>
                <a:gd name="T62" fmla="*/ 68 w 410"/>
                <a:gd name="T63" fmla="*/ 254 h 268"/>
                <a:gd name="T64" fmla="*/ 86 w 410"/>
                <a:gd name="T65" fmla="*/ 256 h 268"/>
                <a:gd name="T66" fmla="*/ 108 w 410"/>
                <a:gd name="T67" fmla="*/ 250 h 268"/>
                <a:gd name="T68" fmla="*/ 114 w 410"/>
                <a:gd name="T69" fmla="*/ 242 h 268"/>
                <a:gd name="T70" fmla="*/ 134 w 410"/>
                <a:gd name="T71" fmla="*/ 242 h 268"/>
                <a:gd name="T72" fmla="*/ 146 w 410"/>
                <a:gd name="T73" fmla="*/ 248 h 268"/>
                <a:gd name="T74" fmla="*/ 160 w 410"/>
                <a:gd name="T75" fmla="*/ 258 h 268"/>
                <a:gd name="T76" fmla="*/ 174 w 410"/>
                <a:gd name="T77" fmla="*/ 256 h 268"/>
                <a:gd name="T78" fmla="*/ 200 w 410"/>
                <a:gd name="T79" fmla="*/ 266 h 268"/>
                <a:gd name="T80" fmla="*/ 222 w 410"/>
                <a:gd name="T81" fmla="*/ 262 h 268"/>
                <a:gd name="T82" fmla="*/ 244 w 410"/>
                <a:gd name="T83" fmla="*/ 258 h 268"/>
                <a:gd name="T84" fmla="*/ 250 w 410"/>
                <a:gd name="T85" fmla="*/ 244 h 268"/>
                <a:gd name="T86" fmla="*/ 244 w 410"/>
                <a:gd name="T87" fmla="*/ 230 h 268"/>
                <a:gd name="T88" fmla="*/ 254 w 410"/>
                <a:gd name="T89" fmla="*/ 224 h 268"/>
                <a:gd name="T90" fmla="*/ 262 w 410"/>
                <a:gd name="T91" fmla="*/ 222 h 268"/>
                <a:gd name="T92" fmla="*/ 276 w 410"/>
                <a:gd name="T93" fmla="*/ 214 h 268"/>
                <a:gd name="T94" fmla="*/ 282 w 410"/>
                <a:gd name="T95" fmla="*/ 204 h 268"/>
                <a:gd name="T96" fmla="*/ 298 w 410"/>
                <a:gd name="T97" fmla="*/ 202 h 268"/>
                <a:gd name="T98" fmla="*/ 318 w 410"/>
                <a:gd name="T99" fmla="*/ 194 h 268"/>
                <a:gd name="T100" fmla="*/ 330 w 410"/>
                <a:gd name="T101" fmla="*/ 198 h 268"/>
                <a:gd name="T102" fmla="*/ 344 w 410"/>
                <a:gd name="T103" fmla="*/ 208 h 268"/>
                <a:gd name="T104" fmla="*/ 358 w 410"/>
                <a:gd name="T105" fmla="*/ 206 h 268"/>
                <a:gd name="T106" fmla="*/ 372 w 410"/>
                <a:gd name="T107" fmla="*/ 204 h 268"/>
                <a:gd name="T108" fmla="*/ 352 w 410"/>
                <a:gd name="T109" fmla="*/ 170 h 268"/>
                <a:gd name="T110" fmla="*/ 356 w 410"/>
                <a:gd name="T111" fmla="*/ 138 h 268"/>
                <a:gd name="T112" fmla="*/ 364 w 410"/>
                <a:gd name="T113" fmla="*/ 110 h 268"/>
                <a:gd name="T114" fmla="*/ 374 w 410"/>
                <a:gd name="T115" fmla="*/ 88 h 268"/>
                <a:gd name="T116" fmla="*/ 402 w 410"/>
                <a:gd name="T117" fmla="*/ 7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10" h="268">
                  <a:moveTo>
                    <a:pt x="410" y="46"/>
                  </a:moveTo>
                  <a:lnTo>
                    <a:pt x="400" y="46"/>
                  </a:lnTo>
                  <a:lnTo>
                    <a:pt x="396" y="44"/>
                  </a:lnTo>
                  <a:lnTo>
                    <a:pt x="386" y="42"/>
                  </a:lnTo>
                  <a:lnTo>
                    <a:pt x="374" y="38"/>
                  </a:lnTo>
                  <a:lnTo>
                    <a:pt x="368" y="30"/>
                  </a:lnTo>
                  <a:lnTo>
                    <a:pt x="364" y="24"/>
                  </a:lnTo>
                  <a:lnTo>
                    <a:pt x="354" y="26"/>
                  </a:lnTo>
                  <a:lnTo>
                    <a:pt x="352" y="26"/>
                  </a:lnTo>
                  <a:lnTo>
                    <a:pt x="350" y="22"/>
                  </a:lnTo>
                  <a:lnTo>
                    <a:pt x="342" y="20"/>
                  </a:lnTo>
                  <a:lnTo>
                    <a:pt x="334" y="20"/>
                  </a:lnTo>
                  <a:lnTo>
                    <a:pt x="314" y="8"/>
                  </a:lnTo>
                  <a:lnTo>
                    <a:pt x="312" y="6"/>
                  </a:lnTo>
                  <a:lnTo>
                    <a:pt x="296" y="8"/>
                  </a:lnTo>
                  <a:lnTo>
                    <a:pt x="272" y="14"/>
                  </a:lnTo>
                  <a:lnTo>
                    <a:pt x="254" y="22"/>
                  </a:lnTo>
                  <a:lnTo>
                    <a:pt x="236" y="34"/>
                  </a:lnTo>
                  <a:lnTo>
                    <a:pt x="228" y="44"/>
                  </a:lnTo>
                  <a:lnTo>
                    <a:pt x="220" y="48"/>
                  </a:lnTo>
                  <a:lnTo>
                    <a:pt x="208" y="52"/>
                  </a:lnTo>
                  <a:lnTo>
                    <a:pt x="186" y="50"/>
                  </a:lnTo>
                  <a:lnTo>
                    <a:pt x="162" y="46"/>
                  </a:lnTo>
                  <a:lnTo>
                    <a:pt x="138" y="40"/>
                  </a:lnTo>
                  <a:lnTo>
                    <a:pt x="124" y="44"/>
                  </a:lnTo>
                  <a:lnTo>
                    <a:pt x="106" y="42"/>
                  </a:lnTo>
                  <a:lnTo>
                    <a:pt x="78" y="36"/>
                  </a:lnTo>
                  <a:lnTo>
                    <a:pt x="58" y="34"/>
                  </a:lnTo>
                  <a:lnTo>
                    <a:pt x="38" y="38"/>
                  </a:lnTo>
                  <a:lnTo>
                    <a:pt x="36" y="34"/>
                  </a:lnTo>
                  <a:lnTo>
                    <a:pt x="34" y="32"/>
                  </a:lnTo>
                  <a:lnTo>
                    <a:pt x="36" y="26"/>
                  </a:lnTo>
                  <a:lnTo>
                    <a:pt x="38" y="24"/>
                  </a:lnTo>
                  <a:lnTo>
                    <a:pt x="44" y="20"/>
                  </a:lnTo>
                  <a:lnTo>
                    <a:pt x="46" y="18"/>
                  </a:lnTo>
                  <a:lnTo>
                    <a:pt x="46" y="14"/>
                  </a:lnTo>
                  <a:lnTo>
                    <a:pt x="40" y="10"/>
                  </a:lnTo>
                  <a:lnTo>
                    <a:pt x="30" y="4"/>
                  </a:lnTo>
                  <a:lnTo>
                    <a:pt x="24" y="0"/>
                  </a:lnTo>
                  <a:lnTo>
                    <a:pt x="22" y="2"/>
                  </a:lnTo>
                  <a:lnTo>
                    <a:pt x="20" y="4"/>
                  </a:lnTo>
                  <a:lnTo>
                    <a:pt x="18" y="8"/>
                  </a:lnTo>
                  <a:lnTo>
                    <a:pt x="18" y="16"/>
                  </a:lnTo>
                  <a:lnTo>
                    <a:pt x="8" y="20"/>
                  </a:lnTo>
                  <a:lnTo>
                    <a:pt x="6" y="22"/>
                  </a:lnTo>
                  <a:lnTo>
                    <a:pt x="4" y="24"/>
                  </a:lnTo>
                  <a:lnTo>
                    <a:pt x="2" y="34"/>
                  </a:lnTo>
                  <a:lnTo>
                    <a:pt x="2" y="42"/>
                  </a:lnTo>
                  <a:lnTo>
                    <a:pt x="4" y="46"/>
                  </a:lnTo>
                  <a:lnTo>
                    <a:pt x="4" y="48"/>
                  </a:lnTo>
                  <a:lnTo>
                    <a:pt x="6" y="52"/>
                  </a:lnTo>
                  <a:lnTo>
                    <a:pt x="10" y="58"/>
                  </a:lnTo>
                  <a:lnTo>
                    <a:pt x="12" y="66"/>
                  </a:lnTo>
                  <a:lnTo>
                    <a:pt x="14" y="72"/>
                  </a:lnTo>
                  <a:lnTo>
                    <a:pt x="24" y="76"/>
                  </a:lnTo>
                  <a:lnTo>
                    <a:pt x="28" y="80"/>
                  </a:lnTo>
                  <a:lnTo>
                    <a:pt x="32" y="86"/>
                  </a:lnTo>
                  <a:lnTo>
                    <a:pt x="34" y="90"/>
                  </a:lnTo>
                  <a:lnTo>
                    <a:pt x="42" y="96"/>
                  </a:lnTo>
                  <a:lnTo>
                    <a:pt x="42" y="100"/>
                  </a:lnTo>
                  <a:lnTo>
                    <a:pt x="40" y="104"/>
                  </a:lnTo>
                  <a:lnTo>
                    <a:pt x="38" y="106"/>
                  </a:lnTo>
                  <a:lnTo>
                    <a:pt x="34" y="110"/>
                  </a:lnTo>
                  <a:lnTo>
                    <a:pt x="30" y="114"/>
                  </a:lnTo>
                  <a:lnTo>
                    <a:pt x="24" y="122"/>
                  </a:lnTo>
                  <a:lnTo>
                    <a:pt x="14" y="124"/>
                  </a:lnTo>
                  <a:lnTo>
                    <a:pt x="12" y="124"/>
                  </a:lnTo>
                  <a:lnTo>
                    <a:pt x="8" y="126"/>
                  </a:lnTo>
                  <a:lnTo>
                    <a:pt x="8" y="130"/>
                  </a:lnTo>
                  <a:lnTo>
                    <a:pt x="8" y="134"/>
                  </a:lnTo>
                  <a:lnTo>
                    <a:pt x="8" y="138"/>
                  </a:lnTo>
                  <a:lnTo>
                    <a:pt x="6" y="146"/>
                  </a:lnTo>
                  <a:lnTo>
                    <a:pt x="10" y="154"/>
                  </a:lnTo>
                  <a:lnTo>
                    <a:pt x="12" y="156"/>
                  </a:lnTo>
                  <a:lnTo>
                    <a:pt x="14" y="158"/>
                  </a:lnTo>
                  <a:lnTo>
                    <a:pt x="12" y="162"/>
                  </a:lnTo>
                  <a:lnTo>
                    <a:pt x="8" y="170"/>
                  </a:lnTo>
                  <a:lnTo>
                    <a:pt x="6" y="172"/>
                  </a:lnTo>
                  <a:lnTo>
                    <a:pt x="0" y="174"/>
                  </a:lnTo>
                  <a:lnTo>
                    <a:pt x="12" y="186"/>
                  </a:lnTo>
                  <a:lnTo>
                    <a:pt x="16" y="192"/>
                  </a:lnTo>
                  <a:lnTo>
                    <a:pt x="24" y="196"/>
                  </a:lnTo>
                  <a:lnTo>
                    <a:pt x="30" y="198"/>
                  </a:lnTo>
                  <a:lnTo>
                    <a:pt x="34" y="202"/>
                  </a:lnTo>
                  <a:lnTo>
                    <a:pt x="38" y="216"/>
                  </a:lnTo>
                  <a:lnTo>
                    <a:pt x="40" y="222"/>
                  </a:lnTo>
                  <a:lnTo>
                    <a:pt x="44" y="222"/>
                  </a:lnTo>
                  <a:lnTo>
                    <a:pt x="44" y="224"/>
                  </a:lnTo>
                  <a:lnTo>
                    <a:pt x="44" y="226"/>
                  </a:lnTo>
                  <a:lnTo>
                    <a:pt x="40" y="236"/>
                  </a:lnTo>
                  <a:lnTo>
                    <a:pt x="40" y="258"/>
                  </a:lnTo>
                  <a:lnTo>
                    <a:pt x="38" y="260"/>
                  </a:lnTo>
                  <a:lnTo>
                    <a:pt x="46" y="260"/>
                  </a:lnTo>
                  <a:lnTo>
                    <a:pt x="54" y="260"/>
                  </a:lnTo>
                  <a:lnTo>
                    <a:pt x="60" y="256"/>
                  </a:lnTo>
                  <a:lnTo>
                    <a:pt x="68" y="254"/>
                  </a:lnTo>
                  <a:lnTo>
                    <a:pt x="72" y="254"/>
                  </a:lnTo>
                  <a:lnTo>
                    <a:pt x="80" y="256"/>
                  </a:lnTo>
                  <a:lnTo>
                    <a:pt x="86" y="256"/>
                  </a:lnTo>
                  <a:lnTo>
                    <a:pt x="94" y="252"/>
                  </a:lnTo>
                  <a:lnTo>
                    <a:pt x="102" y="248"/>
                  </a:lnTo>
                  <a:lnTo>
                    <a:pt x="108" y="250"/>
                  </a:lnTo>
                  <a:lnTo>
                    <a:pt x="110" y="248"/>
                  </a:lnTo>
                  <a:lnTo>
                    <a:pt x="112" y="248"/>
                  </a:lnTo>
                  <a:lnTo>
                    <a:pt x="114" y="242"/>
                  </a:lnTo>
                  <a:lnTo>
                    <a:pt x="124" y="242"/>
                  </a:lnTo>
                  <a:lnTo>
                    <a:pt x="128" y="242"/>
                  </a:lnTo>
                  <a:lnTo>
                    <a:pt x="134" y="242"/>
                  </a:lnTo>
                  <a:lnTo>
                    <a:pt x="142" y="240"/>
                  </a:lnTo>
                  <a:lnTo>
                    <a:pt x="144" y="240"/>
                  </a:lnTo>
                  <a:lnTo>
                    <a:pt x="146" y="248"/>
                  </a:lnTo>
                  <a:lnTo>
                    <a:pt x="148" y="250"/>
                  </a:lnTo>
                  <a:lnTo>
                    <a:pt x="152" y="252"/>
                  </a:lnTo>
                  <a:lnTo>
                    <a:pt x="160" y="258"/>
                  </a:lnTo>
                  <a:lnTo>
                    <a:pt x="162" y="256"/>
                  </a:lnTo>
                  <a:lnTo>
                    <a:pt x="164" y="254"/>
                  </a:lnTo>
                  <a:lnTo>
                    <a:pt x="174" y="256"/>
                  </a:lnTo>
                  <a:lnTo>
                    <a:pt x="184" y="262"/>
                  </a:lnTo>
                  <a:lnTo>
                    <a:pt x="192" y="268"/>
                  </a:lnTo>
                  <a:lnTo>
                    <a:pt x="200" y="266"/>
                  </a:lnTo>
                  <a:lnTo>
                    <a:pt x="210" y="262"/>
                  </a:lnTo>
                  <a:lnTo>
                    <a:pt x="216" y="262"/>
                  </a:lnTo>
                  <a:lnTo>
                    <a:pt x="222" y="262"/>
                  </a:lnTo>
                  <a:lnTo>
                    <a:pt x="226" y="260"/>
                  </a:lnTo>
                  <a:lnTo>
                    <a:pt x="236" y="262"/>
                  </a:lnTo>
                  <a:lnTo>
                    <a:pt x="244" y="258"/>
                  </a:lnTo>
                  <a:lnTo>
                    <a:pt x="250" y="256"/>
                  </a:lnTo>
                  <a:lnTo>
                    <a:pt x="250" y="250"/>
                  </a:lnTo>
                  <a:lnTo>
                    <a:pt x="250" y="244"/>
                  </a:lnTo>
                  <a:lnTo>
                    <a:pt x="248" y="236"/>
                  </a:lnTo>
                  <a:lnTo>
                    <a:pt x="246" y="232"/>
                  </a:lnTo>
                  <a:lnTo>
                    <a:pt x="244" y="230"/>
                  </a:lnTo>
                  <a:lnTo>
                    <a:pt x="246" y="228"/>
                  </a:lnTo>
                  <a:lnTo>
                    <a:pt x="248" y="226"/>
                  </a:lnTo>
                  <a:lnTo>
                    <a:pt x="254" y="224"/>
                  </a:lnTo>
                  <a:lnTo>
                    <a:pt x="262" y="226"/>
                  </a:lnTo>
                  <a:lnTo>
                    <a:pt x="262" y="224"/>
                  </a:lnTo>
                  <a:lnTo>
                    <a:pt x="262" y="222"/>
                  </a:lnTo>
                  <a:lnTo>
                    <a:pt x="264" y="218"/>
                  </a:lnTo>
                  <a:lnTo>
                    <a:pt x="274" y="216"/>
                  </a:lnTo>
                  <a:lnTo>
                    <a:pt x="276" y="214"/>
                  </a:lnTo>
                  <a:lnTo>
                    <a:pt x="276" y="210"/>
                  </a:lnTo>
                  <a:lnTo>
                    <a:pt x="278" y="206"/>
                  </a:lnTo>
                  <a:lnTo>
                    <a:pt x="282" y="204"/>
                  </a:lnTo>
                  <a:lnTo>
                    <a:pt x="286" y="204"/>
                  </a:lnTo>
                  <a:lnTo>
                    <a:pt x="294" y="204"/>
                  </a:lnTo>
                  <a:lnTo>
                    <a:pt x="298" y="202"/>
                  </a:lnTo>
                  <a:lnTo>
                    <a:pt x="304" y="198"/>
                  </a:lnTo>
                  <a:lnTo>
                    <a:pt x="306" y="196"/>
                  </a:lnTo>
                  <a:lnTo>
                    <a:pt x="318" y="194"/>
                  </a:lnTo>
                  <a:lnTo>
                    <a:pt x="322" y="192"/>
                  </a:lnTo>
                  <a:lnTo>
                    <a:pt x="326" y="194"/>
                  </a:lnTo>
                  <a:lnTo>
                    <a:pt x="330" y="198"/>
                  </a:lnTo>
                  <a:lnTo>
                    <a:pt x="338" y="206"/>
                  </a:lnTo>
                  <a:lnTo>
                    <a:pt x="342" y="208"/>
                  </a:lnTo>
                  <a:lnTo>
                    <a:pt x="344" y="208"/>
                  </a:lnTo>
                  <a:lnTo>
                    <a:pt x="350" y="204"/>
                  </a:lnTo>
                  <a:lnTo>
                    <a:pt x="354" y="204"/>
                  </a:lnTo>
                  <a:lnTo>
                    <a:pt x="358" y="206"/>
                  </a:lnTo>
                  <a:lnTo>
                    <a:pt x="360" y="202"/>
                  </a:lnTo>
                  <a:lnTo>
                    <a:pt x="364" y="202"/>
                  </a:lnTo>
                  <a:lnTo>
                    <a:pt x="372" y="204"/>
                  </a:lnTo>
                  <a:lnTo>
                    <a:pt x="370" y="196"/>
                  </a:lnTo>
                  <a:lnTo>
                    <a:pt x="360" y="182"/>
                  </a:lnTo>
                  <a:lnTo>
                    <a:pt x="352" y="170"/>
                  </a:lnTo>
                  <a:lnTo>
                    <a:pt x="348" y="166"/>
                  </a:lnTo>
                  <a:lnTo>
                    <a:pt x="338" y="160"/>
                  </a:lnTo>
                  <a:lnTo>
                    <a:pt x="356" y="138"/>
                  </a:lnTo>
                  <a:lnTo>
                    <a:pt x="360" y="138"/>
                  </a:lnTo>
                  <a:lnTo>
                    <a:pt x="364" y="134"/>
                  </a:lnTo>
                  <a:lnTo>
                    <a:pt x="364" y="110"/>
                  </a:lnTo>
                  <a:lnTo>
                    <a:pt x="368" y="96"/>
                  </a:lnTo>
                  <a:lnTo>
                    <a:pt x="370" y="92"/>
                  </a:lnTo>
                  <a:lnTo>
                    <a:pt x="374" y="88"/>
                  </a:lnTo>
                  <a:lnTo>
                    <a:pt x="380" y="76"/>
                  </a:lnTo>
                  <a:lnTo>
                    <a:pt x="392" y="74"/>
                  </a:lnTo>
                  <a:lnTo>
                    <a:pt x="402" y="78"/>
                  </a:lnTo>
                  <a:lnTo>
                    <a:pt x="408" y="68"/>
                  </a:lnTo>
                  <a:lnTo>
                    <a:pt x="410" y="4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2" name="Freeform 3948">
              <a:extLst>
                <a:ext uri="{FF2B5EF4-FFF2-40B4-BE49-F238E27FC236}">
                  <a16:creationId xmlns:a16="http://schemas.microsoft.com/office/drawing/2014/main" id="{D9C0C1E0-0556-4859-99B9-A366C971BC20}"/>
                </a:ext>
              </a:extLst>
            </p:cNvPr>
            <p:cNvSpPr/>
            <p:nvPr/>
          </p:nvSpPr>
          <p:spPr bwMode="auto">
            <a:xfrm>
              <a:off x="6573483" y="4721790"/>
              <a:ext cx="3854" cy="12334"/>
            </a:xfrm>
            <a:custGeom>
              <a:avLst/>
              <a:gdLst>
                <a:gd name="T0" fmla="*/ 10 w 10"/>
                <a:gd name="T1" fmla="*/ 26 h 32"/>
                <a:gd name="T2" fmla="*/ 10 w 10"/>
                <a:gd name="T3" fmla="*/ 18 h 32"/>
                <a:gd name="T4" fmla="*/ 10 w 10"/>
                <a:gd name="T5" fmla="*/ 10 h 32"/>
                <a:gd name="T6" fmla="*/ 6 w 10"/>
                <a:gd name="T7" fmla="*/ 4 h 32"/>
                <a:gd name="T8" fmla="*/ 8 w 10"/>
                <a:gd name="T9" fmla="*/ 0 h 32"/>
                <a:gd name="T10" fmla="*/ 8 w 10"/>
                <a:gd name="T11" fmla="*/ 0 h 32"/>
                <a:gd name="T12" fmla="*/ 0 w 10"/>
                <a:gd name="T13" fmla="*/ 2 h 32"/>
                <a:gd name="T14" fmla="*/ 0 w 10"/>
                <a:gd name="T15" fmla="*/ 4 h 32"/>
                <a:gd name="T16" fmla="*/ 2 w 10"/>
                <a:gd name="T17" fmla="*/ 14 h 32"/>
                <a:gd name="T18" fmla="*/ 0 w 10"/>
                <a:gd name="T19" fmla="*/ 20 h 32"/>
                <a:gd name="T20" fmla="*/ 6 w 10"/>
                <a:gd name="T21" fmla="*/ 30 h 32"/>
                <a:gd name="T22" fmla="*/ 8 w 10"/>
                <a:gd name="T23" fmla="*/ 32 h 32"/>
                <a:gd name="T24" fmla="*/ 10 w 10"/>
                <a:gd name="T25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32">
                  <a:moveTo>
                    <a:pt x="10" y="26"/>
                  </a:moveTo>
                  <a:lnTo>
                    <a:pt x="10" y="18"/>
                  </a:lnTo>
                  <a:lnTo>
                    <a:pt x="10" y="10"/>
                  </a:lnTo>
                  <a:lnTo>
                    <a:pt x="6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14"/>
                  </a:lnTo>
                  <a:lnTo>
                    <a:pt x="0" y="20"/>
                  </a:lnTo>
                  <a:lnTo>
                    <a:pt x="6" y="30"/>
                  </a:lnTo>
                  <a:lnTo>
                    <a:pt x="8" y="32"/>
                  </a:lnTo>
                  <a:lnTo>
                    <a:pt x="10" y="2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3" name="Freeform 3984">
              <a:extLst>
                <a:ext uri="{FF2B5EF4-FFF2-40B4-BE49-F238E27FC236}">
                  <a16:creationId xmlns:a16="http://schemas.microsoft.com/office/drawing/2014/main" id="{12C0C8D8-B042-4E43-8E42-B66860B3E49D}"/>
                </a:ext>
              </a:extLst>
            </p:cNvPr>
            <p:cNvSpPr/>
            <p:nvPr/>
          </p:nvSpPr>
          <p:spPr bwMode="auto">
            <a:xfrm>
              <a:off x="5696226" y="4123589"/>
              <a:ext cx="97130" cy="95589"/>
            </a:xfrm>
            <a:custGeom>
              <a:avLst/>
              <a:gdLst>
                <a:gd name="T0" fmla="*/ 202 w 252"/>
                <a:gd name="T1" fmla="*/ 36 h 248"/>
                <a:gd name="T2" fmla="*/ 200 w 252"/>
                <a:gd name="T3" fmla="*/ 28 h 248"/>
                <a:gd name="T4" fmla="*/ 180 w 252"/>
                <a:gd name="T5" fmla="*/ 18 h 248"/>
                <a:gd name="T6" fmla="*/ 166 w 252"/>
                <a:gd name="T7" fmla="*/ 14 h 248"/>
                <a:gd name="T8" fmla="*/ 148 w 252"/>
                <a:gd name="T9" fmla="*/ 12 h 248"/>
                <a:gd name="T10" fmla="*/ 136 w 252"/>
                <a:gd name="T11" fmla="*/ 18 h 248"/>
                <a:gd name="T12" fmla="*/ 118 w 252"/>
                <a:gd name="T13" fmla="*/ 14 h 248"/>
                <a:gd name="T14" fmla="*/ 104 w 252"/>
                <a:gd name="T15" fmla="*/ 10 h 248"/>
                <a:gd name="T16" fmla="*/ 90 w 252"/>
                <a:gd name="T17" fmla="*/ 10 h 248"/>
                <a:gd name="T18" fmla="*/ 52 w 252"/>
                <a:gd name="T19" fmla="*/ 6 h 248"/>
                <a:gd name="T20" fmla="*/ 36 w 252"/>
                <a:gd name="T21" fmla="*/ 26 h 248"/>
                <a:gd name="T22" fmla="*/ 18 w 252"/>
                <a:gd name="T23" fmla="*/ 8 h 248"/>
                <a:gd name="T24" fmla="*/ 6 w 252"/>
                <a:gd name="T25" fmla="*/ 8 h 248"/>
                <a:gd name="T26" fmla="*/ 0 w 252"/>
                <a:gd name="T27" fmla="*/ 40 h 248"/>
                <a:gd name="T28" fmla="*/ 20 w 252"/>
                <a:gd name="T29" fmla="*/ 68 h 248"/>
                <a:gd name="T30" fmla="*/ 28 w 252"/>
                <a:gd name="T31" fmla="*/ 86 h 248"/>
                <a:gd name="T32" fmla="*/ 42 w 252"/>
                <a:gd name="T33" fmla="*/ 112 h 248"/>
                <a:gd name="T34" fmla="*/ 62 w 252"/>
                <a:gd name="T35" fmla="*/ 134 h 248"/>
                <a:gd name="T36" fmla="*/ 98 w 252"/>
                <a:gd name="T37" fmla="*/ 166 h 248"/>
                <a:gd name="T38" fmla="*/ 102 w 252"/>
                <a:gd name="T39" fmla="*/ 180 h 248"/>
                <a:gd name="T40" fmla="*/ 126 w 252"/>
                <a:gd name="T41" fmla="*/ 208 h 248"/>
                <a:gd name="T42" fmla="*/ 120 w 252"/>
                <a:gd name="T43" fmla="*/ 214 h 248"/>
                <a:gd name="T44" fmla="*/ 136 w 252"/>
                <a:gd name="T45" fmla="*/ 218 h 248"/>
                <a:gd name="T46" fmla="*/ 152 w 252"/>
                <a:gd name="T47" fmla="*/ 232 h 248"/>
                <a:gd name="T48" fmla="*/ 170 w 252"/>
                <a:gd name="T49" fmla="*/ 246 h 248"/>
                <a:gd name="T50" fmla="*/ 180 w 252"/>
                <a:gd name="T51" fmla="*/ 246 h 248"/>
                <a:gd name="T52" fmla="*/ 184 w 252"/>
                <a:gd name="T53" fmla="*/ 238 h 248"/>
                <a:gd name="T54" fmla="*/ 178 w 252"/>
                <a:gd name="T55" fmla="*/ 212 h 248"/>
                <a:gd name="T56" fmla="*/ 190 w 252"/>
                <a:gd name="T57" fmla="*/ 206 h 248"/>
                <a:gd name="T58" fmla="*/ 192 w 252"/>
                <a:gd name="T59" fmla="*/ 190 h 248"/>
                <a:gd name="T60" fmla="*/ 204 w 252"/>
                <a:gd name="T61" fmla="*/ 178 h 248"/>
                <a:gd name="T62" fmla="*/ 212 w 252"/>
                <a:gd name="T63" fmla="*/ 182 h 248"/>
                <a:gd name="T64" fmla="*/ 212 w 252"/>
                <a:gd name="T65" fmla="*/ 168 h 248"/>
                <a:gd name="T66" fmla="*/ 212 w 252"/>
                <a:gd name="T67" fmla="*/ 160 h 248"/>
                <a:gd name="T68" fmla="*/ 220 w 252"/>
                <a:gd name="T69" fmla="*/ 160 h 248"/>
                <a:gd name="T70" fmla="*/ 230 w 252"/>
                <a:gd name="T71" fmla="*/ 156 h 248"/>
                <a:gd name="T72" fmla="*/ 240 w 252"/>
                <a:gd name="T73" fmla="*/ 158 h 248"/>
                <a:gd name="T74" fmla="*/ 246 w 252"/>
                <a:gd name="T75" fmla="*/ 150 h 248"/>
                <a:gd name="T76" fmla="*/ 230 w 252"/>
                <a:gd name="T77" fmla="*/ 122 h 248"/>
                <a:gd name="T78" fmla="*/ 234 w 252"/>
                <a:gd name="T79" fmla="*/ 118 h 248"/>
                <a:gd name="T80" fmla="*/ 250 w 252"/>
                <a:gd name="T81" fmla="*/ 120 h 248"/>
                <a:gd name="T82" fmla="*/ 250 w 252"/>
                <a:gd name="T83" fmla="*/ 112 h 248"/>
                <a:gd name="T84" fmla="*/ 228 w 252"/>
                <a:gd name="T85" fmla="*/ 92 h 248"/>
                <a:gd name="T86" fmla="*/ 222 w 252"/>
                <a:gd name="T87" fmla="*/ 86 h 248"/>
                <a:gd name="T88" fmla="*/ 224 w 252"/>
                <a:gd name="T89" fmla="*/ 70 h 248"/>
                <a:gd name="T90" fmla="*/ 236 w 252"/>
                <a:gd name="T91" fmla="*/ 46 h 248"/>
                <a:gd name="T92" fmla="*/ 234 w 252"/>
                <a:gd name="T93" fmla="*/ 36 h 248"/>
                <a:gd name="T94" fmla="*/ 216 w 252"/>
                <a:gd name="T95" fmla="*/ 3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1" h="248">
                  <a:moveTo>
                    <a:pt x="214" y="38"/>
                  </a:moveTo>
                  <a:lnTo>
                    <a:pt x="210" y="38"/>
                  </a:lnTo>
                  <a:lnTo>
                    <a:pt x="202" y="36"/>
                  </a:lnTo>
                  <a:lnTo>
                    <a:pt x="200" y="34"/>
                  </a:lnTo>
                  <a:lnTo>
                    <a:pt x="200" y="30"/>
                  </a:lnTo>
                  <a:lnTo>
                    <a:pt x="200" y="28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80" y="18"/>
                  </a:lnTo>
                  <a:lnTo>
                    <a:pt x="176" y="16"/>
                  </a:lnTo>
                  <a:lnTo>
                    <a:pt x="172" y="14"/>
                  </a:lnTo>
                  <a:lnTo>
                    <a:pt x="166" y="14"/>
                  </a:lnTo>
                  <a:lnTo>
                    <a:pt x="162" y="14"/>
                  </a:lnTo>
                  <a:lnTo>
                    <a:pt x="158" y="14"/>
                  </a:lnTo>
                  <a:lnTo>
                    <a:pt x="148" y="12"/>
                  </a:lnTo>
                  <a:lnTo>
                    <a:pt x="144" y="16"/>
                  </a:lnTo>
                  <a:lnTo>
                    <a:pt x="140" y="18"/>
                  </a:lnTo>
                  <a:lnTo>
                    <a:pt x="136" y="18"/>
                  </a:lnTo>
                  <a:lnTo>
                    <a:pt x="128" y="12"/>
                  </a:lnTo>
                  <a:lnTo>
                    <a:pt x="126" y="10"/>
                  </a:lnTo>
                  <a:lnTo>
                    <a:pt x="118" y="14"/>
                  </a:lnTo>
                  <a:lnTo>
                    <a:pt x="116" y="14"/>
                  </a:lnTo>
                  <a:lnTo>
                    <a:pt x="114" y="14"/>
                  </a:lnTo>
                  <a:lnTo>
                    <a:pt x="104" y="10"/>
                  </a:lnTo>
                  <a:lnTo>
                    <a:pt x="100" y="10"/>
                  </a:lnTo>
                  <a:lnTo>
                    <a:pt x="96" y="12"/>
                  </a:lnTo>
                  <a:lnTo>
                    <a:pt x="90" y="10"/>
                  </a:lnTo>
                  <a:lnTo>
                    <a:pt x="78" y="0"/>
                  </a:lnTo>
                  <a:lnTo>
                    <a:pt x="68" y="8"/>
                  </a:lnTo>
                  <a:lnTo>
                    <a:pt x="52" y="6"/>
                  </a:lnTo>
                  <a:lnTo>
                    <a:pt x="46" y="12"/>
                  </a:lnTo>
                  <a:lnTo>
                    <a:pt x="42" y="20"/>
                  </a:lnTo>
                  <a:lnTo>
                    <a:pt x="36" y="26"/>
                  </a:lnTo>
                  <a:lnTo>
                    <a:pt x="32" y="24"/>
                  </a:lnTo>
                  <a:lnTo>
                    <a:pt x="28" y="20"/>
                  </a:lnTo>
                  <a:lnTo>
                    <a:pt x="18" y="8"/>
                  </a:lnTo>
                  <a:lnTo>
                    <a:pt x="14" y="6"/>
                  </a:lnTo>
                  <a:lnTo>
                    <a:pt x="10" y="6"/>
                  </a:lnTo>
                  <a:lnTo>
                    <a:pt x="6" y="8"/>
                  </a:lnTo>
                  <a:lnTo>
                    <a:pt x="4" y="10"/>
                  </a:lnTo>
                  <a:lnTo>
                    <a:pt x="2" y="26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10" y="56"/>
                  </a:lnTo>
                  <a:lnTo>
                    <a:pt x="20" y="68"/>
                  </a:lnTo>
                  <a:lnTo>
                    <a:pt x="24" y="70"/>
                  </a:lnTo>
                  <a:lnTo>
                    <a:pt x="26" y="74"/>
                  </a:lnTo>
                  <a:lnTo>
                    <a:pt x="28" y="86"/>
                  </a:lnTo>
                  <a:lnTo>
                    <a:pt x="32" y="98"/>
                  </a:lnTo>
                  <a:lnTo>
                    <a:pt x="36" y="106"/>
                  </a:lnTo>
                  <a:lnTo>
                    <a:pt x="42" y="112"/>
                  </a:lnTo>
                  <a:lnTo>
                    <a:pt x="48" y="118"/>
                  </a:lnTo>
                  <a:lnTo>
                    <a:pt x="56" y="126"/>
                  </a:lnTo>
                  <a:lnTo>
                    <a:pt x="62" y="134"/>
                  </a:lnTo>
                  <a:lnTo>
                    <a:pt x="64" y="138"/>
                  </a:lnTo>
                  <a:lnTo>
                    <a:pt x="88" y="162"/>
                  </a:lnTo>
                  <a:lnTo>
                    <a:pt x="98" y="166"/>
                  </a:lnTo>
                  <a:lnTo>
                    <a:pt x="100" y="168"/>
                  </a:lnTo>
                  <a:lnTo>
                    <a:pt x="100" y="178"/>
                  </a:lnTo>
                  <a:lnTo>
                    <a:pt x="102" y="180"/>
                  </a:lnTo>
                  <a:lnTo>
                    <a:pt x="108" y="190"/>
                  </a:lnTo>
                  <a:lnTo>
                    <a:pt x="124" y="204"/>
                  </a:lnTo>
                  <a:lnTo>
                    <a:pt x="126" y="208"/>
                  </a:lnTo>
                  <a:lnTo>
                    <a:pt x="126" y="210"/>
                  </a:lnTo>
                  <a:lnTo>
                    <a:pt x="124" y="212"/>
                  </a:lnTo>
                  <a:lnTo>
                    <a:pt x="120" y="214"/>
                  </a:lnTo>
                  <a:lnTo>
                    <a:pt x="126" y="218"/>
                  </a:lnTo>
                  <a:lnTo>
                    <a:pt x="132" y="216"/>
                  </a:lnTo>
                  <a:lnTo>
                    <a:pt x="136" y="218"/>
                  </a:lnTo>
                  <a:lnTo>
                    <a:pt x="138" y="222"/>
                  </a:lnTo>
                  <a:lnTo>
                    <a:pt x="142" y="226"/>
                  </a:lnTo>
                  <a:lnTo>
                    <a:pt x="152" y="232"/>
                  </a:lnTo>
                  <a:lnTo>
                    <a:pt x="156" y="236"/>
                  </a:lnTo>
                  <a:lnTo>
                    <a:pt x="168" y="244"/>
                  </a:lnTo>
                  <a:lnTo>
                    <a:pt x="170" y="246"/>
                  </a:lnTo>
                  <a:lnTo>
                    <a:pt x="176" y="248"/>
                  </a:lnTo>
                  <a:lnTo>
                    <a:pt x="178" y="248"/>
                  </a:lnTo>
                  <a:lnTo>
                    <a:pt x="180" y="246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78" y="228"/>
                  </a:lnTo>
                  <a:lnTo>
                    <a:pt x="178" y="222"/>
                  </a:lnTo>
                  <a:lnTo>
                    <a:pt x="178" y="212"/>
                  </a:lnTo>
                  <a:lnTo>
                    <a:pt x="178" y="208"/>
                  </a:lnTo>
                  <a:lnTo>
                    <a:pt x="180" y="208"/>
                  </a:lnTo>
                  <a:lnTo>
                    <a:pt x="190" y="206"/>
                  </a:lnTo>
                  <a:lnTo>
                    <a:pt x="188" y="196"/>
                  </a:lnTo>
                  <a:lnTo>
                    <a:pt x="190" y="194"/>
                  </a:lnTo>
                  <a:lnTo>
                    <a:pt x="192" y="190"/>
                  </a:lnTo>
                  <a:lnTo>
                    <a:pt x="192" y="188"/>
                  </a:lnTo>
                  <a:lnTo>
                    <a:pt x="198" y="182"/>
                  </a:lnTo>
                  <a:lnTo>
                    <a:pt x="204" y="178"/>
                  </a:lnTo>
                  <a:lnTo>
                    <a:pt x="206" y="176"/>
                  </a:lnTo>
                  <a:lnTo>
                    <a:pt x="210" y="178"/>
                  </a:lnTo>
                  <a:lnTo>
                    <a:pt x="212" y="182"/>
                  </a:lnTo>
                  <a:lnTo>
                    <a:pt x="216" y="182"/>
                  </a:lnTo>
                  <a:lnTo>
                    <a:pt x="216" y="176"/>
                  </a:lnTo>
                  <a:lnTo>
                    <a:pt x="212" y="168"/>
                  </a:lnTo>
                  <a:lnTo>
                    <a:pt x="210" y="164"/>
                  </a:lnTo>
                  <a:lnTo>
                    <a:pt x="210" y="160"/>
                  </a:lnTo>
                  <a:lnTo>
                    <a:pt x="212" y="160"/>
                  </a:lnTo>
                  <a:lnTo>
                    <a:pt x="216" y="160"/>
                  </a:lnTo>
                  <a:lnTo>
                    <a:pt x="218" y="162"/>
                  </a:lnTo>
                  <a:lnTo>
                    <a:pt x="220" y="160"/>
                  </a:lnTo>
                  <a:lnTo>
                    <a:pt x="224" y="160"/>
                  </a:lnTo>
                  <a:lnTo>
                    <a:pt x="226" y="160"/>
                  </a:lnTo>
                  <a:lnTo>
                    <a:pt x="230" y="156"/>
                  </a:lnTo>
                  <a:lnTo>
                    <a:pt x="234" y="154"/>
                  </a:lnTo>
                  <a:lnTo>
                    <a:pt x="238" y="154"/>
                  </a:lnTo>
                  <a:lnTo>
                    <a:pt x="240" y="158"/>
                  </a:lnTo>
                  <a:lnTo>
                    <a:pt x="244" y="158"/>
                  </a:lnTo>
                  <a:lnTo>
                    <a:pt x="246" y="154"/>
                  </a:lnTo>
                  <a:lnTo>
                    <a:pt x="246" y="150"/>
                  </a:lnTo>
                  <a:lnTo>
                    <a:pt x="246" y="144"/>
                  </a:lnTo>
                  <a:lnTo>
                    <a:pt x="238" y="132"/>
                  </a:lnTo>
                  <a:lnTo>
                    <a:pt x="230" y="122"/>
                  </a:lnTo>
                  <a:lnTo>
                    <a:pt x="230" y="122"/>
                  </a:lnTo>
                  <a:lnTo>
                    <a:pt x="232" y="120"/>
                  </a:lnTo>
                  <a:lnTo>
                    <a:pt x="234" y="118"/>
                  </a:lnTo>
                  <a:lnTo>
                    <a:pt x="236" y="120"/>
                  </a:lnTo>
                  <a:lnTo>
                    <a:pt x="244" y="120"/>
                  </a:lnTo>
                  <a:lnTo>
                    <a:pt x="250" y="120"/>
                  </a:lnTo>
                  <a:lnTo>
                    <a:pt x="252" y="116"/>
                  </a:lnTo>
                  <a:lnTo>
                    <a:pt x="252" y="114"/>
                  </a:lnTo>
                  <a:lnTo>
                    <a:pt x="250" y="112"/>
                  </a:lnTo>
                  <a:lnTo>
                    <a:pt x="242" y="104"/>
                  </a:lnTo>
                  <a:lnTo>
                    <a:pt x="236" y="98"/>
                  </a:lnTo>
                  <a:lnTo>
                    <a:pt x="228" y="92"/>
                  </a:lnTo>
                  <a:lnTo>
                    <a:pt x="224" y="90"/>
                  </a:lnTo>
                  <a:lnTo>
                    <a:pt x="222" y="88"/>
                  </a:lnTo>
                  <a:lnTo>
                    <a:pt x="222" y="86"/>
                  </a:lnTo>
                  <a:lnTo>
                    <a:pt x="222" y="80"/>
                  </a:lnTo>
                  <a:lnTo>
                    <a:pt x="222" y="74"/>
                  </a:lnTo>
                  <a:lnTo>
                    <a:pt x="224" y="70"/>
                  </a:lnTo>
                  <a:lnTo>
                    <a:pt x="228" y="62"/>
                  </a:lnTo>
                  <a:lnTo>
                    <a:pt x="232" y="54"/>
                  </a:lnTo>
                  <a:lnTo>
                    <a:pt x="236" y="46"/>
                  </a:lnTo>
                  <a:lnTo>
                    <a:pt x="236" y="40"/>
                  </a:lnTo>
                  <a:lnTo>
                    <a:pt x="236" y="38"/>
                  </a:lnTo>
                  <a:lnTo>
                    <a:pt x="234" y="36"/>
                  </a:lnTo>
                  <a:lnTo>
                    <a:pt x="230" y="34"/>
                  </a:lnTo>
                  <a:lnTo>
                    <a:pt x="222" y="36"/>
                  </a:lnTo>
                  <a:lnTo>
                    <a:pt x="216" y="38"/>
                  </a:lnTo>
                  <a:lnTo>
                    <a:pt x="214" y="3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4" name="Freeform 3988">
              <a:extLst>
                <a:ext uri="{FF2B5EF4-FFF2-40B4-BE49-F238E27FC236}">
                  <a16:creationId xmlns:a16="http://schemas.microsoft.com/office/drawing/2014/main" id="{9CCCA902-0F0C-4EFB-AAE0-EB13D43665E2}"/>
                </a:ext>
              </a:extLst>
            </p:cNvPr>
            <p:cNvSpPr/>
            <p:nvPr/>
          </p:nvSpPr>
          <p:spPr bwMode="auto">
            <a:xfrm>
              <a:off x="3709676" y="4949198"/>
              <a:ext cx="2313" cy="1542"/>
            </a:xfrm>
            <a:custGeom>
              <a:avLst/>
              <a:gdLst>
                <a:gd name="T0" fmla="*/ 2 w 6"/>
                <a:gd name="T1" fmla="*/ 4 h 4"/>
                <a:gd name="T2" fmla="*/ 4 w 6"/>
                <a:gd name="T3" fmla="*/ 2 h 4"/>
                <a:gd name="T4" fmla="*/ 4 w 6"/>
                <a:gd name="T5" fmla="*/ 2 h 4"/>
                <a:gd name="T6" fmla="*/ 6 w 6"/>
                <a:gd name="T7" fmla="*/ 0 h 4"/>
                <a:gd name="T8" fmla="*/ 0 w 6"/>
                <a:gd name="T9" fmla="*/ 0 h 4"/>
                <a:gd name="T10" fmla="*/ 0 w 6"/>
                <a:gd name="T11" fmla="*/ 0 h 4"/>
                <a:gd name="T12" fmla="*/ 0 w 6"/>
                <a:gd name="T13" fmla="*/ 0 h 4"/>
                <a:gd name="T14" fmla="*/ 0 w 6"/>
                <a:gd name="T15" fmla="*/ 2 h 4"/>
                <a:gd name="T16" fmla="*/ 2 w 6"/>
                <a:gd name="T17" fmla="*/ 2 h 4"/>
                <a:gd name="T18" fmla="*/ 2 w 6"/>
                <a:gd name="T19" fmla="*/ 4 h 4"/>
                <a:gd name="T20" fmla="*/ 2 w 6"/>
                <a:gd name="T2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4">
                  <a:moveTo>
                    <a:pt x="2" y="4"/>
                  </a:moveTo>
                  <a:lnTo>
                    <a:pt x="4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5" name="Line 3989">
              <a:extLst>
                <a:ext uri="{FF2B5EF4-FFF2-40B4-BE49-F238E27FC236}">
                  <a16:creationId xmlns:a16="http://schemas.microsoft.com/office/drawing/2014/main" id="{A01BF715-1005-48F6-BA26-C1712041DC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10447" y="4950740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6" name="Line 3991">
              <a:extLst>
                <a:ext uri="{FF2B5EF4-FFF2-40B4-BE49-F238E27FC236}">
                  <a16:creationId xmlns:a16="http://schemas.microsoft.com/office/drawing/2014/main" id="{ABCE6C74-8767-46BC-B066-ECC7684C90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10447" y="4950740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7" name="Freeform 3992">
              <a:extLst>
                <a:ext uri="{FF2B5EF4-FFF2-40B4-BE49-F238E27FC236}">
                  <a16:creationId xmlns:a16="http://schemas.microsoft.com/office/drawing/2014/main" id="{3C11BD09-D1F4-4A6C-9AD8-A2B9CC2E3641}"/>
                </a:ext>
              </a:extLst>
            </p:cNvPr>
            <p:cNvSpPr/>
            <p:nvPr/>
          </p:nvSpPr>
          <p:spPr bwMode="auto">
            <a:xfrm>
              <a:off x="5884320" y="3687273"/>
              <a:ext cx="240514" cy="208908"/>
            </a:xfrm>
            <a:custGeom>
              <a:avLst/>
              <a:gdLst>
                <a:gd name="T0" fmla="*/ 292 w 624"/>
                <a:gd name="T1" fmla="*/ 28 h 542"/>
                <a:gd name="T2" fmla="*/ 254 w 624"/>
                <a:gd name="T3" fmla="*/ 38 h 542"/>
                <a:gd name="T4" fmla="*/ 224 w 624"/>
                <a:gd name="T5" fmla="*/ 62 h 542"/>
                <a:gd name="T6" fmla="*/ 230 w 624"/>
                <a:gd name="T7" fmla="*/ 98 h 542"/>
                <a:gd name="T8" fmla="*/ 224 w 624"/>
                <a:gd name="T9" fmla="*/ 118 h 542"/>
                <a:gd name="T10" fmla="*/ 190 w 624"/>
                <a:gd name="T11" fmla="*/ 138 h 542"/>
                <a:gd name="T12" fmla="*/ 166 w 624"/>
                <a:gd name="T13" fmla="*/ 180 h 542"/>
                <a:gd name="T14" fmla="*/ 156 w 624"/>
                <a:gd name="T15" fmla="*/ 212 h 542"/>
                <a:gd name="T16" fmla="*/ 168 w 624"/>
                <a:gd name="T17" fmla="*/ 228 h 542"/>
                <a:gd name="T18" fmla="*/ 152 w 624"/>
                <a:gd name="T19" fmla="*/ 216 h 542"/>
                <a:gd name="T20" fmla="*/ 122 w 624"/>
                <a:gd name="T21" fmla="*/ 232 h 542"/>
                <a:gd name="T22" fmla="*/ 84 w 624"/>
                <a:gd name="T23" fmla="*/ 254 h 542"/>
                <a:gd name="T24" fmla="*/ 50 w 624"/>
                <a:gd name="T25" fmla="*/ 252 h 542"/>
                <a:gd name="T26" fmla="*/ 40 w 624"/>
                <a:gd name="T27" fmla="*/ 326 h 542"/>
                <a:gd name="T28" fmla="*/ 48 w 624"/>
                <a:gd name="T29" fmla="*/ 388 h 542"/>
                <a:gd name="T30" fmla="*/ 0 w 624"/>
                <a:gd name="T31" fmla="*/ 432 h 542"/>
                <a:gd name="T32" fmla="*/ 26 w 624"/>
                <a:gd name="T33" fmla="*/ 452 h 542"/>
                <a:gd name="T34" fmla="*/ 26 w 624"/>
                <a:gd name="T35" fmla="*/ 490 h 542"/>
                <a:gd name="T36" fmla="*/ 30 w 624"/>
                <a:gd name="T37" fmla="*/ 504 h 542"/>
                <a:gd name="T38" fmla="*/ 62 w 624"/>
                <a:gd name="T39" fmla="*/ 500 h 542"/>
                <a:gd name="T40" fmla="*/ 98 w 624"/>
                <a:gd name="T41" fmla="*/ 476 h 542"/>
                <a:gd name="T42" fmla="*/ 170 w 624"/>
                <a:gd name="T43" fmla="*/ 472 h 542"/>
                <a:gd name="T44" fmla="*/ 236 w 624"/>
                <a:gd name="T45" fmla="*/ 488 h 542"/>
                <a:gd name="T46" fmla="*/ 272 w 624"/>
                <a:gd name="T47" fmla="*/ 506 h 542"/>
                <a:gd name="T48" fmla="*/ 298 w 624"/>
                <a:gd name="T49" fmla="*/ 518 h 542"/>
                <a:gd name="T50" fmla="*/ 326 w 624"/>
                <a:gd name="T51" fmla="*/ 506 h 542"/>
                <a:gd name="T52" fmla="*/ 358 w 624"/>
                <a:gd name="T53" fmla="*/ 522 h 542"/>
                <a:gd name="T54" fmla="*/ 380 w 624"/>
                <a:gd name="T55" fmla="*/ 510 h 542"/>
                <a:gd name="T56" fmla="*/ 396 w 624"/>
                <a:gd name="T57" fmla="*/ 518 h 542"/>
                <a:gd name="T58" fmla="*/ 440 w 624"/>
                <a:gd name="T59" fmla="*/ 522 h 542"/>
                <a:gd name="T60" fmla="*/ 476 w 624"/>
                <a:gd name="T61" fmla="*/ 540 h 542"/>
                <a:gd name="T62" fmla="*/ 484 w 624"/>
                <a:gd name="T63" fmla="*/ 514 h 542"/>
                <a:gd name="T64" fmla="*/ 502 w 624"/>
                <a:gd name="T65" fmla="*/ 468 h 542"/>
                <a:gd name="T66" fmla="*/ 550 w 624"/>
                <a:gd name="T67" fmla="*/ 452 h 542"/>
                <a:gd name="T68" fmla="*/ 550 w 624"/>
                <a:gd name="T69" fmla="*/ 430 h 542"/>
                <a:gd name="T70" fmla="*/ 550 w 624"/>
                <a:gd name="T71" fmla="*/ 386 h 542"/>
                <a:gd name="T72" fmla="*/ 530 w 624"/>
                <a:gd name="T73" fmla="*/ 354 h 542"/>
                <a:gd name="T74" fmla="*/ 556 w 624"/>
                <a:gd name="T75" fmla="*/ 334 h 542"/>
                <a:gd name="T76" fmla="*/ 594 w 624"/>
                <a:gd name="T77" fmla="*/ 342 h 542"/>
                <a:gd name="T78" fmla="*/ 624 w 624"/>
                <a:gd name="T79" fmla="*/ 316 h 542"/>
                <a:gd name="T80" fmla="*/ 608 w 624"/>
                <a:gd name="T81" fmla="*/ 284 h 542"/>
                <a:gd name="T82" fmla="*/ 564 w 624"/>
                <a:gd name="T83" fmla="*/ 262 h 542"/>
                <a:gd name="T84" fmla="*/ 538 w 624"/>
                <a:gd name="T85" fmla="*/ 224 h 542"/>
                <a:gd name="T86" fmla="*/ 522 w 624"/>
                <a:gd name="T87" fmla="*/ 178 h 542"/>
                <a:gd name="T88" fmla="*/ 500 w 624"/>
                <a:gd name="T89" fmla="*/ 150 h 542"/>
                <a:gd name="T90" fmla="*/ 504 w 624"/>
                <a:gd name="T91" fmla="*/ 108 h 542"/>
                <a:gd name="T92" fmla="*/ 506 w 624"/>
                <a:gd name="T93" fmla="*/ 72 h 542"/>
                <a:gd name="T94" fmla="*/ 490 w 624"/>
                <a:gd name="T95" fmla="*/ 58 h 542"/>
                <a:gd name="T96" fmla="*/ 450 w 624"/>
                <a:gd name="T97" fmla="*/ 36 h 542"/>
                <a:gd name="T98" fmla="*/ 422 w 624"/>
                <a:gd name="T99" fmla="*/ 46 h 542"/>
                <a:gd name="T100" fmla="*/ 408 w 624"/>
                <a:gd name="T101" fmla="*/ 28 h 542"/>
                <a:gd name="T102" fmla="*/ 368 w 624"/>
                <a:gd name="T103" fmla="*/ 24 h 542"/>
                <a:gd name="T104" fmla="*/ 342 w 624"/>
                <a:gd name="T105" fmla="*/ 8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4" h="542">
                  <a:moveTo>
                    <a:pt x="326" y="0"/>
                  </a:moveTo>
                  <a:lnTo>
                    <a:pt x="324" y="0"/>
                  </a:lnTo>
                  <a:lnTo>
                    <a:pt x="318" y="2"/>
                  </a:lnTo>
                  <a:lnTo>
                    <a:pt x="308" y="8"/>
                  </a:lnTo>
                  <a:lnTo>
                    <a:pt x="296" y="24"/>
                  </a:lnTo>
                  <a:lnTo>
                    <a:pt x="292" y="28"/>
                  </a:lnTo>
                  <a:lnTo>
                    <a:pt x="288" y="40"/>
                  </a:lnTo>
                  <a:lnTo>
                    <a:pt x="288" y="40"/>
                  </a:lnTo>
                  <a:lnTo>
                    <a:pt x="280" y="40"/>
                  </a:lnTo>
                  <a:lnTo>
                    <a:pt x="278" y="40"/>
                  </a:lnTo>
                  <a:lnTo>
                    <a:pt x="270" y="40"/>
                  </a:lnTo>
                  <a:lnTo>
                    <a:pt x="254" y="38"/>
                  </a:lnTo>
                  <a:lnTo>
                    <a:pt x="246" y="40"/>
                  </a:lnTo>
                  <a:lnTo>
                    <a:pt x="238" y="52"/>
                  </a:lnTo>
                  <a:lnTo>
                    <a:pt x="236" y="54"/>
                  </a:lnTo>
                  <a:lnTo>
                    <a:pt x="226" y="54"/>
                  </a:lnTo>
                  <a:lnTo>
                    <a:pt x="224" y="56"/>
                  </a:lnTo>
                  <a:lnTo>
                    <a:pt x="224" y="62"/>
                  </a:lnTo>
                  <a:lnTo>
                    <a:pt x="222" y="70"/>
                  </a:lnTo>
                  <a:lnTo>
                    <a:pt x="218" y="82"/>
                  </a:lnTo>
                  <a:lnTo>
                    <a:pt x="216" y="90"/>
                  </a:lnTo>
                  <a:lnTo>
                    <a:pt x="214" y="94"/>
                  </a:lnTo>
                  <a:lnTo>
                    <a:pt x="218" y="96"/>
                  </a:lnTo>
                  <a:lnTo>
                    <a:pt x="230" y="98"/>
                  </a:lnTo>
                  <a:lnTo>
                    <a:pt x="234" y="100"/>
                  </a:lnTo>
                  <a:lnTo>
                    <a:pt x="236" y="102"/>
                  </a:lnTo>
                  <a:lnTo>
                    <a:pt x="232" y="104"/>
                  </a:lnTo>
                  <a:lnTo>
                    <a:pt x="228" y="108"/>
                  </a:lnTo>
                  <a:lnTo>
                    <a:pt x="228" y="110"/>
                  </a:lnTo>
                  <a:lnTo>
                    <a:pt x="224" y="118"/>
                  </a:lnTo>
                  <a:lnTo>
                    <a:pt x="204" y="118"/>
                  </a:lnTo>
                  <a:lnTo>
                    <a:pt x="202" y="118"/>
                  </a:lnTo>
                  <a:lnTo>
                    <a:pt x="200" y="122"/>
                  </a:lnTo>
                  <a:lnTo>
                    <a:pt x="198" y="128"/>
                  </a:lnTo>
                  <a:lnTo>
                    <a:pt x="196" y="132"/>
                  </a:lnTo>
                  <a:lnTo>
                    <a:pt x="190" y="138"/>
                  </a:lnTo>
                  <a:lnTo>
                    <a:pt x="182" y="138"/>
                  </a:lnTo>
                  <a:lnTo>
                    <a:pt x="176" y="142"/>
                  </a:lnTo>
                  <a:lnTo>
                    <a:pt x="170" y="152"/>
                  </a:lnTo>
                  <a:lnTo>
                    <a:pt x="166" y="166"/>
                  </a:lnTo>
                  <a:lnTo>
                    <a:pt x="166" y="174"/>
                  </a:lnTo>
                  <a:lnTo>
                    <a:pt x="166" y="180"/>
                  </a:lnTo>
                  <a:lnTo>
                    <a:pt x="166" y="182"/>
                  </a:lnTo>
                  <a:lnTo>
                    <a:pt x="164" y="186"/>
                  </a:lnTo>
                  <a:lnTo>
                    <a:pt x="160" y="194"/>
                  </a:lnTo>
                  <a:lnTo>
                    <a:pt x="156" y="204"/>
                  </a:lnTo>
                  <a:lnTo>
                    <a:pt x="154" y="208"/>
                  </a:lnTo>
                  <a:lnTo>
                    <a:pt x="156" y="212"/>
                  </a:lnTo>
                  <a:lnTo>
                    <a:pt x="160" y="212"/>
                  </a:lnTo>
                  <a:lnTo>
                    <a:pt x="166" y="214"/>
                  </a:lnTo>
                  <a:lnTo>
                    <a:pt x="168" y="216"/>
                  </a:lnTo>
                  <a:lnTo>
                    <a:pt x="170" y="222"/>
                  </a:lnTo>
                  <a:lnTo>
                    <a:pt x="170" y="226"/>
                  </a:lnTo>
                  <a:lnTo>
                    <a:pt x="168" y="228"/>
                  </a:lnTo>
                  <a:lnTo>
                    <a:pt x="164" y="230"/>
                  </a:lnTo>
                  <a:lnTo>
                    <a:pt x="156" y="230"/>
                  </a:lnTo>
                  <a:lnTo>
                    <a:pt x="152" y="228"/>
                  </a:lnTo>
                  <a:lnTo>
                    <a:pt x="152" y="226"/>
                  </a:lnTo>
                  <a:lnTo>
                    <a:pt x="154" y="222"/>
                  </a:lnTo>
                  <a:lnTo>
                    <a:pt x="152" y="216"/>
                  </a:lnTo>
                  <a:lnTo>
                    <a:pt x="150" y="214"/>
                  </a:lnTo>
                  <a:lnTo>
                    <a:pt x="144" y="218"/>
                  </a:lnTo>
                  <a:lnTo>
                    <a:pt x="138" y="218"/>
                  </a:lnTo>
                  <a:lnTo>
                    <a:pt x="130" y="222"/>
                  </a:lnTo>
                  <a:lnTo>
                    <a:pt x="126" y="228"/>
                  </a:lnTo>
                  <a:lnTo>
                    <a:pt x="122" y="232"/>
                  </a:lnTo>
                  <a:lnTo>
                    <a:pt x="110" y="230"/>
                  </a:lnTo>
                  <a:lnTo>
                    <a:pt x="108" y="232"/>
                  </a:lnTo>
                  <a:lnTo>
                    <a:pt x="106" y="246"/>
                  </a:lnTo>
                  <a:lnTo>
                    <a:pt x="104" y="248"/>
                  </a:lnTo>
                  <a:lnTo>
                    <a:pt x="94" y="248"/>
                  </a:lnTo>
                  <a:lnTo>
                    <a:pt x="84" y="254"/>
                  </a:lnTo>
                  <a:lnTo>
                    <a:pt x="74" y="258"/>
                  </a:lnTo>
                  <a:lnTo>
                    <a:pt x="70" y="256"/>
                  </a:lnTo>
                  <a:lnTo>
                    <a:pt x="66" y="252"/>
                  </a:lnTo>
                  <a:lnTo>
                    <a:pt x="60" y="252"/>
                  </a:lnTo>
                  <a:lnTo>
                    <a:pt x="54" y="254"/>
                  </a:lnTo>
                  <a:lnTo>
                    <a:pt x="50" y="252"/>
                  </a:lnTo>
                  <a:lnTo>
                    <a:pt x="46" y="254"/>
                  </a:lnTo>
                  <a:lnTo>
                    <a:pt x="36" y="256"/>
                  </a:lnTo>
                  <a:lnTo>
                    <a:pt x="24" y="256"/>
                  </a:lnTo>
                  <a:lnTo>
                    <a:pt x="20" y="252"/>
                  </a:lnTo>
                  <a:lnTo>
                    <a:pt x="28" y="290"/>
                  </a:lnTo>
                  <a:lnTo>
                    <a:pt x="40" y="326"/>
                  </a:lnTo>
                  <a:lnTo>
                    <a:pt x="44" y="344"/>
                  </a:lnTo>
                  <a:lnTo>
                    <a:pt x="46" y="354"/>
                  </a:lnTo>
                  <a:lnTo>
                    <a:pt x="48" y="366"/>
                  </a:lnTo>
                  <a:lnTo>
                    <a:pt x="48" y="376"/>
                  </a:lnTo>
                  <a:lnTo>
                    <a:pt x="48" y="382"/>
                  </a:lnTo>
                  <a:lnTo>
                    <a:pt x="48" y="388"/>
                  </a:lnTo>
                  <a:lnTo>
                    <a:pt x="44" y="392"/>
                  </a:lnTo>
                  <a:lnTo>
                    <a:pt x="20" y="404"/>
                  </a:lnTo>
                  <a:lnTo>
                    <a:pt x="14" y="408"/>
                  </a:lnTo>
                  <a:lnTo>
                    <a:pt x="8" y="418"/>
                  </a:lnTo>
                  <a:lnTo>
                    <a:pt x="2" y="428"/>
                  </a:lnTo>
                  <a:lnTo>
                    <a:pt x="0" y="432"/>
                  </a:lnTo>
                  <a:lnTo>
                    <a:pt x="0" y="434"/>
                  </a:lnTo>
                  <a:lnTo>
                    <a:pt x="0" y="436"/>
                  </a:lnTo>
                  <a:lnTo>
                    <a:pt x="10" y="442"/>
                  </a:lnTo>
                  <a:lnTo>
                    <a:pt x="18" y="446"/>
                  </a:lnTo>
                  <a:lnTo>
                    <a:pt x="20" y="448"/>
                  </a:lnTo>
                  <a:lnTo>
                    <a:pt x="26" y="452"/>
                  </a:lnTo>
                  <a:lnTo>
                    <a:pt x="30" y="456"/>
                  </a:lnTo>
                  <a:lnTo>
                    <a:pt x="30" y="460"/>
                  </a:lnTo>
                  <a:lnTo>
                    <a:pt x="30" y="466"/>
                  </a:lnTo>
                  <a:lnTo>
                    <a:pt x="28" y="476"/>
                  </a:lnTo>
                  <a:lnTo>
                    <a:pt x="30" y="484"/>
                  </a:lnTo>
                  <a:lnTo>
                    <a:pt x="26" y="490"/>
                  </a:lnTo>
                  <a:lnTo>
                    <a:pt x="24" y="494"/>
                  </a:lnTo>
                  <a:lnTo>
                    <a:pt x="24" y="504"/>
                  </a:lnTo>
                  <a:lnTo>
                    <a:pt x="28" y="514"/>
                  </a:lnTo>
                  <a:lnTo>
                    <a:pt x="28" y="514"/>
                  </a:lnTo>
                  <a:lnTo>
                    <a:pt x="28" y="506"/>
                  </a:lnTo>
                  <a:lnTo>
                    <a:pt x="30" y="504"/>
                  </a:lnTo>
                  <a:lnTo>
                    <a:pt x="34" y="502"/>
                  </a:lnTo>
                  <a:lnTo>
                    <a:pt x="40" y="502"/>
                  </a:lnTo>
                  <a:lnTo>
                    <a:pt x="44" y="504"/>
                  </a:lnTo>
                  <a:lnTo>
                    <a:pt x="50" y="508"/>
                  </a:lnTo>
                  <a:lnTo>
                    <a:pt x="52" y="508"/>
                  </a:lnTo>
                  <a:lnTo>
                    <a:pt x="62" y="500"/>
                  </a:lnTo>
                  <a:lnTo>
                    <a:pt x="72" y="488"/>
                  </a:lnTo>
                  <a:lnTo>
                    <a:pt x="74" y="482"/>
                  </a:lnTo>
                  <a:lnTo>
                    <a:pt x="78" y="478"/>
                  </a:lnTo>
                  <a:lnTo>
                    <a:pt x="86" y="476"/>
                  </a:lnTo>
                  <a:lnTo>
                    <a:pt x="94" y="476"/>
                  </a:lnTo>
                  <a:lnTo>
                    <a:pt x="98" y="476"/>
                  </a:lnTo>
                  <a:lnTo>
                    <a:pt x="110" y="474"/>
                  </a:lnTo>
                  <a:lnTo>
                    <a:pt x="118" y="474"/>
                  </a:lnTo>
                  <a:lnTo>
                    <a:pt x="124" y="472"/>
                  </a:lnTo>
                  <a:lnTo>
                    <a:pt x="136" y="470"/>
                  </a:lnTo>
                  <a:lnTo>
                    <a:pt x="156" y="472"/>
                  </a:lnTo>
                  <a:lnTo>
                    <a:pt x="170" y="472"/>
                  </a:lnTo>
                  <a:lnTo>
                    <a:pt x="180" y="474"/>
                  </a:lnTo>
                  <a:lnTo>
                    <a:pt x="202" y="480"/>
                  </a:lnTo>
                  <a:lnTo>
                    <a:pt x="210" y="480"/>
                  </a:lnTo>
                  <a:lnTo>
                    <a:pt x="214" y="484"/>
                  </a:lnTo>
                  <a:lnTo>
                    <a:pt x="222" y="486"/>
                  </a:lnTo>
                  <a:lnTo>
                    <a:pt x="236" y="488"/>
                  </a:lnTo>
                  <a:lnTo>
                    <a:pt x="246" y="490"/>
                  </a:lnTo>
                  <a:lnTo>
                    <a:pt x="254" y="490"/>
                  </a:lnTo>
                  <a:lnTo>
                    <a:pt x="260" y="490"/>
                  </a:lnTo>
                  <a:lnTo>
                    <a:pt x="268" y="504"/>
                  </a:lnTo>
                  <a:lnTo>
                    <a:pt x="270" y="506"/>
                  </a:lnTo>
                  <a:lnTo>
                    <a:pt x="272" y="506"/>
                  </a:lnTo>
                  <a:lnTo>
                    <a:pt x="280" y="506"/>
                  </a:lnTo>
                  <a:lnTo>
                    <a:pt x="290" y="506"/>
                  </a:lnTo>
                  <a:lnTo>
                    <a:pt x="296" y="510"/>
                  </a:lnTo>
                  <a:lnTo>
                    <a:pt x="294" y="518"/>
                  </a:lnTo>
                  <a:lnTo>
                    <a:pt x="296" y="520"/>
                  </a:lnTo>
                  <a:lnTo>
                    <a:pt x="298" y="518"/>
                  </a:lnTo>
                  <a:lnTo>
                    <a:pt x="302" y="514"/>
                  </a:lnTo>
                  <a:lnTo>
                    <a:pt x="304" y="508"/>
                  </a:lnTo>
                  <a:lnTo>
                    <a:pt x="306" y="508"/>
                  </a:lnTo>
                  <a:lnTo>
                    <a:pt x="316" y="510"/>
                  </a:lnTo>
                  <a:lnTo>
                    <a:pt x="320" y="510"/>
                  </a:lnTo>
                  <a:lnTo>
                    <a:pt x="326" y="506"/>
                  </a:lnTo>
                  <a:lnTo>
                    <a:pt x="328" y="506"/>
                  </a:lnTo>
                  <a:lnTo>
                    <a:pt x="334" y="508"/>
                  </a:lnTo>
                  <a:lnTo>
                    <a:pt x="344" y="510"/>
                  </a:lnTo>
                  <a:lnTo>
                    <a:pt x="350" y="510"/>
                  </a:lnTo>
                  <a:lnTo>
                    <a:pt x="354" y="512"/>
                  </a:lnTo>
                  <a:lnTo>
                    <a:pt x="358" y="522"/>
                  </a:lnTo>
                  <a:lnTo>
                    <a:pt x="360" y="524"/>
                  </a:lnTo>
                  <a:lnTo>
                    <a:pt x="364" y="524"/>
                  </a:lnTo>
                  <a:lnTo>
                    <a:pt x="368" y="516"/>
                  </a:lnTo>
                  <a:lnTo>
                    <a:pt x="372" y="512"/>
                  </a:lnTo>
                  <a:lnTo>
                    <a:pt x="376" y="510"/>
                  </a:lnTo>
                  <a:lnTo>
                    <a:pt x="380" y="510"/>
                  </a:lnTo>
                  <a:lnTo>
                    <a:pt x="382" y="506"/>
                  </a:lnTo>
                  <a:lnTo>
                    <a:pt x="386" y="504"/>
                  </a:lnTo>
                  <a:lnTo>
                    <a:pt x="388" y="504"/>
                  </a:lnTo>
                  <a:lnTo>
                    <a:pt x="390" y="504"/>
                  </a:lnTo>
                  <a:lnTo>
                    <a:pt x="392" y="508"/>
                  </a:lnTo>
                  <a:lnTo>
                    <a:pt x="396" y="518"/>
                  </a:lnTo>
                  <a:lnTo>
                    <a:pt x="400" y="526"/>
                  </a:lnTo>
                  <a:lnTo>
                    <a:pt x="404" y="530"/>
                  </a:lnTo>
                  <a:lnTo>
                    <a:pt x="412" y="526"/>
                  </a:lnTo>
                  <a:lnTo>
                    <a:pt x="418" y="524"/>
                  </a:lnTo>
                  <a:lnTo>
                    <a:pt x="428" y="524"/>
                  </a:lnTo>
                  <a:lnTo>
                    <a:pt x="440" y="522"/>
                  </a:lnTo>
                  <a:lnTo>
                    <a:pt x="450" y="518"/>
                  </a:lnTo>
                  <a:lnTo>
                    <a:pt x="458" y="520"/>
                  </a:lnTo>
                  <a:lnTo>
                    <a:pt x="462" y="522"/>
                  </a:lnTo>
                  <a:lnTo>
                    <a:pt x="468" y="528"/>
                  </a:lnTo>
                  <a:lnTo>
                    <a:pt x="468" y="536"/>
                  </a:lnTo>
                  <a:lnTo>
                    <a:pt x="476" y="540"/>
                  </a:lnTo>
                  <a:lnTo>
                    <a:pt x="482" y="542"/>
                  </a:lnTo>
                  <a:lnTo>
                    <a:pt x="484" y="536"/>
                  </a:lnTo>
                  <a:lnTo>
                    <a:pt x="488" y="532"/>
                  </a:lnTo>
                  <a:lnTo>
                    <a:pt x="488" y="526"/>
                  </a:lnTo>
                  <a:lnTo>
                    <a:pt x="486" y="520"/>
                  </a:lnTo>
                  <a:lnTo>
                    <a:pt x="484" y="514"/>
                  </a:lnTo>
                  <a:lnTo>
                    <a:pt x="482" y="506"/>
                  </a:lnTo>
                  <a:lnTo>
                    <a:pt x="486" y="496"/>
                  </a:lnTo>
                  <a:lnTo>
                    <a:pt x="488" y="488"/>
                  </a:lnTo>
                  <a:lnTo>
                    <a:pt x="490" y="484"/>
                  </a:lnTo>
                  <a:lnTo>
                    <a:pt x="496" y="474"/>
                  </a:lnTo>
                  <a:lnTo>
                    <a:pt x="502" y="468"/>
                  </a:lnTo>
                  <a:lnTo>
                    <a:pt x="510" y="458"/>
                  </a:lnTo>
                  <a:lnTo>
                    <a:pt x="518" y="456"/>
                  </a:lnTo>
                  <a:lnTo>
                    <a:pt x="524" y="458"/>
                  </a:lnTo>
                  <a:lnTo>
                    <a:pt x="526" y="458"/>
                  </a:lnTo>
                  <a:lnTo>
                    <a:pt x="534" y="452"/>
                  </a:lnTo>
                  <a:lnTo>
                    <a:pt x="550" y="452"/>
                  </a:lnTo>
                  <a:lnTo>
                    <a:pt x="562" y="454"/>
                  </a:lnTo>
                  <a:lnTo>
                    <a:pt x="562" y="450"/>
                  </a:lnTo>
                  <a:lnTo>
                    <a:pt x="558" y="440"/>
                  </a:lnTo>
                  <a:lnTo>
                    <a:pt x="556" y="436"/>
                  </a:lnTo>
                  <a:lnTo>
                    <a:pt x="552" y="434"/>
                  </a:lnTo>
                  <a:lnTo>
                    <a:pt x="550" y="430"/>
                  </a:lnTo>
                  <a:lnTo>
                    <a:pt x="550" y="418"/>
                  </a:lnTo>
                  <a:lnTo>
                    <a:pt x="550" y="406"/>
                  </a:lnTo>
                  <a:lnTo>
                    <a:pt x="552" y="406"/>
                  </a:lnTo>
                  <a:lnTo>
                    <a:pt x="546" y="396"/>
                  </a:lnTo>
                  <a:lnTo>
                    <a:pt x="546" y="388"/>
                  </a:lnTo>
                  <a:lnTo>
                    <a:pt x="550" y="386"/>
                  </a:lnTo>
                  <a:lnTo>
                    <a:pt x="550" y="382"/>
                  </a:lnTo>
                  <a:lnTo>
                    <a:pt x="548" y="378"/>
                  </a:lnTo>
                  <a:lnTo>
                    <a:pt x="542" y="372"/>
                  </a:lnTo>
                  <a:lnTo>
                    <a:pt x="536" y="364"/>
                  </a:lnTo>
                  <a:lnTo>
                    <a:pt x="532" y="358"/>
                  </a:lnTo>
                  <a:lnTo>
                    <a:pt x="530" y="354"/>
                  </a:lnTo>
                  <a:lnTo>
                    <a:pt x="532" y="350"/>
                  </a:lnTo>
                  <a:lnTo>
                    <a:pt x="536" y="342"/>
                  </a:lnTo>
                  <a:lnTo>
                    <a:pt x="538" y="336"/>
                  </a:lnTo>
                  <a:lnTo>
                    <a:pt x="540" y="334"/>
                  </a:lnTo>
                  <a:lnTo>
                    <a:pt x="550" y="334"/>
                  </a:lnTo>
                  <a:lnTo>
                    <a:pt x="556" y="334"/>
                  </a:lnTo>
                  <a:lnTo>
                    <a:pt x="562" y="336"/>
                  </a:lnTo>
                  <a:lnTo>
                    <a:pt x="564" y="340"/>
                  </a:lnTo>
                  <a:lnTo>
                    <a:pt x="568" y="344"/>
                  </a:lnTo>
                  <a:lnTo>
                    <a:pt x="582" y="346"/>
                  </a:lnTo>
                  <a:lnTo>
                    <a:pt x="588" y="346"/>
                  </a:lnTo>
                  <a:lnTo>
                    <a:pt x="594" y="342"/>
                  </a:lnTo>
                  <a:lnTo>
                    <a:pt x="606" y="334"/>
                  </a:lnTo>
                  <a:lnTo>
                    <a:pt x="608" y="326"/>
                  </a:lnTo>
                  <a:lnTo>
                    <a:pt x="616" y="322"/>
                  </a:lnTo>
                  <a:lnTo>
                    <a:pt x="620" y="320"/>
                  </a:lnTo>
                  <a:lnTo>
                    <a:pt x="624" y="320"/>
                  </a:lnTo>
                  <a:lnTo>
                    <a:pt x="624" y="316"/>
                  </a:lnTo>
                  <a:lnTo>
                    <a:pt x="624" y="310"/>
                  </a:lnTo>
                  <a:lnTo>
                    <a:pt x="622" y="308"/>
                  </a:lnTo>
                  <a:lnTo>
                    <a:pt x="608" y="296"/>
                  </a:lnTo>
                  <a:lnTo>
                    <a:pt x="606" y="292"/>
                  </a:lnTo>
                  <a:lnTo>
                    <a:pt x="606" y="288"/>
                  </a:lnTo>
                  <a:lnTo>
                    <a:pt x="608" y="284"/>
                  </a:lnTo>
                  <a:lnTo>
                    <a:pt x="608" y="280"/>
                  </a:lnTo>
                  <a:lnTo>
                    <a:pt x="592" y="270"/>
                  </a:lnTo>
                  <a:lnTo>
                    <a:pt x="578" y="268"/>
                  </a:lnTo>
                  <a:lnTo>
                    <a:pt x="566" y="270"/>
                  </a:lnTo>
                  <a:lnTo>
                    <a:pt x="562" y="268"/>
                  </a:lnTo>
                  <a:lnTo>
                    <a:pt x="564" y="262"/>
                  </a:lnTo>
                  <a:lnTo>
                    <a:pt x="566" y="254"/>
                  </a:lnTo>
                  <a:lnTo>
                    <a:pt x="568" y="246"/>
                  </a:lnTo>
                  <a:lnTo>
                    <a:pt x="566" y="242"/>
                  </a:lnTo>
                  <a:lnTo>
                    <a:pt x="564" y="240"/>
                  </a:lnTo>
                  <a:lnTo>
                    <a:pt x="554" y="234"/>
                  </a:lnTo>
                  <a:lnTo>
                    <a:pt x="538" y="224"/>
                  </a:lnTo>
                  <a:lnTo>
                    <a:pt x="532" y="214"/>
                  </a:lnTo>
                  <a:lnTo>
                    <a:pt x="528" y="202"/>
                  </a:lnTo>
                  <a:lnTo>
                    <a:pt x="524" y="196"/>
                  </a:lnTo>
                  <a:lnTo>
                    <a:pt x="518" y="190"/>
                  </a:lnTo>
                  <a:lnTo>
                    <a:pt x="518" y="188"/>
                  </a:lnTo>
                  <a:lnTo>
                    <a:pt x="522" y="178"/>
                  </a:lnTo>
                  <a:lnTo>
                    <a:pt x="522" y="176"/>
                  </a:lnTo>
                  <a:lnTo>
                    <a:pt x="520" y="174"/>
                  </a:lnTo>
                  <a:lnTo>
                    <a:pt x="512" y="168"/>
                  </a:lnTo>
                  <a:lnTo>
                    <a:pt x="500" y="158"/>
                  </a:lnTo>
                  <a:lnTo>
                    <a:pt x="498" y="156"/>
                  </a:lnTo>
                  <a:lnTo>
                    <a:pt x="500" y="150"/>
                  </a:lnTo>
                  <a:lnTo>
                    <a:pt x="502" y="142"/>
                  </a:lnTo>
                  <a:lnTo>
                    <a:pt x="504" y="140"/>
                  </a:lnTo>
                  <a:lnTo>
                    <a:pt x="510" y="128"/>
                  </a:lnTo>
                  <a:lnTo>
                    <a:pt x="510" y="122"/>
                  </a:lnTo>
                  <a:lnTo>
                    <a:pt x="510" y="118"/>
                  </a:lnTo>
                  <a:lnTo>
                    <a:pt x="504" y="108"/>
                  </a:lnTo>
                  <a:lnTo>
                    <a:pt x="500" y="102"/>
                  </a:lnTo>
                  <a:lnTo>
                    <a:pt x="500" y="98"/>
                  </a:lnTo>
                  <a:lnTo>
                    <a:pt x="500" y="96"/>
                  </a:lnTo>
                  <a:lnTo>
                    <a:pt x="504" y="92"/>
                  </a:lnTo>
                  <a:lnTo>
                    <a:pt x="506" y="88"/>
                  </a:lnTo>
                  <a:lnTo>
                    <a:pt x="506" y="72"/>
                  </a:lnTo>
                  <a:lnTo>
                    <a:pt x="506" y="68"/>
                  </a:lnTo>
                  <a:lnTo>
                    <a:pt x="504" y="64"/>
                  </a:lnTo>
                  <a:lnTo>
                    <a:pt x="502" y="64"/>
                  </a:lnTo>
                  <a:lnTo>
                    <a:pt x="500" y="64"/>
                  </a:lnTo>
                  <a:lnTo>
                    <a:pt x="494" y="62"/>
                  </a:lnTo>
                  <a:lnTo>
                    <a:pt x="490" y="58"/>
                  </a:lnTo>
                  <a:lnTo>
                    <a:pt x="488" y="56"/>
                  </a:lnTo>
                  <a:lnTo>
                    <a:pt x="486" y="52"/>
                  </a:lnTo>
                  <a:lnTo>
                    <a:pt x="478" y="44"/>
                  </a:lnTo>
                  <a:lnTo>
                    <a:pt x="476" y="42"/>
                  </a:lnTo>
                  <a:lnTo>
                    <a:pt x="462" y="36"/>
                  </a:lnTo>
                  <a:lnTo>
                    <a:pt x="450" y="36"/>
                  </a:lnTo>
                  <a:lnTo>
                    <a:pt x="442" y="36"/>
                  </a:lnTo>
                  <a:lnTo>
                    <a:pt x="440" y="36"/>
                  </a:lnTo>
                  <a:lnTo>
                    <a:pt x="436" y="42"/>
                  </a:lnTo>
                  <a:lnTo>
                    <a:pt x="430" y="44"/>
                  </a:lnTo>
                  <a:lnTo>
                    <a:pt x="426" y="44"/>
                  </a:lnTo>
                  <a:lnTo>
                    <a:pt x="422" y="46"/>
                  </a:lnTo>
                  <a:lnTo>
                    <a:pt x="412" y="54"/>
                  </a:lnTo>
                  <a:lnTo>
                    <a:pt x="408" y="50"/>
                  </a:lnTo>
                  <a:lnTo>
                    <a:pt x="404" y="42"/>
                  </a:lnTo>
                  <a:lnTo>
                    <a:pt x="406" y="36"/>
                  </a:lnTo>
                  <a:lnTo>
                    <a:pt x="408" y="32"/>
                  </a:lnTo>
                  <a:lnTo>
                    <a:pt x="408" y="28"/>
                  </a:lnTo>
                  <a:lnTo>
                    <a:pt x="406" y="24"/>
                  </a:lnTo>
                  <a:lnTo>
                    <a:pt x="400" y="22"/>
                  </a:lnTo>
                  <a:lnTo>
                    <a:pt x="386" y="14"/>
                  </a:lnTo>
                  <a:lnTo>
                    <a:pt x="384" y="14"/>
                  </a:lnTo>
                  <a:lnTo>
                    <a:pt x="378" y="18"/>
                  </a:lnTo>
                  <a:lnTo>
                    <a:pt x="368" y="24"/>
                  </a:lnTo>
                  <a:lnTo>
                    <a:pt x="364" y="22"/>
                  </a:lnTo>
                  <a:lnTo>
                    <a:pt x="360" y="18"/>
                  </a:lnTo>
                  <a:lnTo>
                    <a:pt x="358" y="10"/>
                  </a:lnTo>
                  <a:lnTo>
                    <a:pt x="352" y="6"/>
                  </a:lnTo>
                  <a:lnTo>
                    <a:pt x="342" y="6"/>
                  </a:lnTo>
                  <a:lnTo>
                    <a:pt x="342" y="8"/>
                  </a:lnTo>
                  <a:lnTo>
                    <a:pt x="336" y="12"/>
                  </a:lnTo>
                  <a:lnTo>
                    <a:pt x="334" y="10"/>
                  </a:lnTo>
                  <a:lnTo>
                    <a:pt x="326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8" name="Freeform 3994">
              <a:extLst>
                <a:ext uri="{FF2B5EF4-FFF2-40B4-BE49-F238E27FC236}">
                  <a16:creationId xmlns:a16="http://schemas.microsoft.com/office/drawing/2014/main" id="{587A4E61-73B0-4C5A-87E6-3334178AAEB2}"/>
                </a:ext>
              </a:extLst>
            </p:cNvPr>
            <p:cNvSpPr/>
            <p:nvPr/>
          </p:nvSpPr>
          <p:spPr bwMode="auto">
            <a:xfrm>
              <a:off x="5884320" y="3687273"/>
              <a:ext cx="240514" cy="208908"/>
            </a:xfrm>
            <a:custGeom>
              <a:avLst/>
              <a:gdLst>
                <a:gd name="T0" fmla="*/ 292 w 624"/>
                <a:gd name="T1" fmla="*/ 28 h 542"/>
                <a:gd name="T2" fmla="*/ 254 w 624"/>
                <a:gd name="T3" fmla="*/ 38 h 542"/>
                <a:gd name="T4" fmla="*/ 224 w 624"/>
                <a:gd name="T5" fmla="*/ 62 h 542"/>
                <a:gd name="T6" fmla="*/ 230 w 624"/>
                <a:gd name="T7" fmla="*/ 98 h 542"/>
                <a:gd name="T8" fmla="*/ 224 w 624"/>
                <a:gd name="T9" fmla="*/ 118 h 542"/>
                <a:gd name="T10" fmla="*/ 190 w 624"/>
                <a:gd name="T11" fmla="*/ 138 h 542"/>
                <a:gd name="T12" fmla="*/ 166 w 624"/>
                <a:gd name="T13" fmla="*/ 180 h 542"/>
                <a:gd name="T14" fmla="*/ 156 w 624"/>
                <a:gd name="T15" fmla="*/ 212 h 542"/>
                <a:gd name="T16" fmla="*/ 168 w 624"/>
                <a:gd name="T17" fmla="*/ 228 h 542"/>
                <a:gd name="T18" fmla="*/ 152 w 624"/>
                <a:gd name="T19" fmla="*/ 216 h 542"/>
                <a:gd name="T20" fmla="*/ 122 w 624"/>
                <a:gd name="T21" fmla="*/ 230 h 542"/>
                <a:gd name="T22" fmla="*/ 84 w 624"/>
                <a:gd name="T23" fmla="*/ 254 h 542"/>
                <a:gd name="T24" fmla="*/ 50 w 624"/>
                <a:gd name="T25" fmla="*/ 252 h 542"/>
                <a:gd name="T26" fmla="*/ 40 w 624"/>
                <a:gd name="T27" fmla="*/ 326 h 542"/>
                <a:gd name="T28" fmla="*/ 48 w 624"/>
                <a:gd name="T29" fmla="*/ 388 h 542"/>
                <a:gd name="T30" fmla="*/ 0 w 624"/>
                <a:gd name="T31" fmla="*/ 432 h 542"/>
                <a:gd name="T32" fmla="*/ 26 w 624"/>
                <a:gd name="T33" fmla="*/ 452 h 542"/>
                <a:gd name="T34" fmla="*/ 26 w 624"/>
                <a:gd name="T35" fmla="*/ 490 h 542"/>
                <a:gd name="T36" fmla="*/ 30 w 624"/>
                <a:gd name="T37" fmla="*/ 504 h 542"/>
                <a:gd name="T38" fmla="*/ 62 w 624"/>
                <a:gd name="T39" fmla="*/ 500 h 542"/>
                <a:gd name="T40" fmla="*/ 98 w 624"/>
                <a:gd name="T41" fmla="*/ 476 h 542"/>
                <a:gd name="T42" fmla="*/ 170 w 624"/>
                <a:gd name="T43" fmla="*/ 472 h 542"/>
                <a:gd name="T44" fmla="*/ 236 w 624"/>
                <a:gd name="T45" fmla="*/ 488 h 542"/>
                <a:gd name="T46" fmla="*/ 272 w 624"/>
                <a:gd name="T47" fmla="*/ 506 h 542"/>
                <a:gd name="T48" fmla="*/ 298 w 624"/>
                <a:gd name="T49" fmla="*/ 518 h 542"/>
                <a:gd name="T50" fmla="*/ 326 w 624"/>
                <a:gd name="T51" fmla="*/ 506 h 542"/>
                <a:gd name="T52" fmla="*/ 358 w 624"/>
                <a:gd name="T53" fmla="*/ 522 h 542"/>
                <a:gd name="T54" fmla="*/ 380 w 624"/>
                <a:gd name="T55" fmla="*/ 510 h 542"/>
                <a:gd name="T56" fmla="*/ 396 w 624"/>
                <a:gd name="T57" fmla="*/ 518 h 542"/>
                <a:gd name="T58" fmla="*/ 440 w 624"/>
                <a:gd name="T59" fmla="*/ 522 h 542"/>
                <a:gd name="T60" fmla="*/ 476 w 624"/>
                <a:gd name="T61" fmla="*/ 540 h 542"/>
                <a:gd name="T62" fmla="*/ 484 w 624"/>
                <a:gd name="T63" fmla="*/ 514 h 542"/>
                <a:gd name="T64" fmla="*/ 502 w 624"/>
                <a:gd name="T65" fmla="*/ 468 h 542"/>
                <a:gd name="T66" fmla="*/ 550 w 624"/>
                <a:gd name="T67" fmla="*/ 452 h 542"/>
                <a:gd name="T68" fmla="*/ 550 w 624"/>
                <a:gd name="T69" fmla="*/ 430 h 542"/>
                <a:gd name="T70" fmla="*/ 550 w 624"/>
                <a:gd name="T71" fmla="*/ 386 h 542"/>
                <a:gd name="T72" fmla="*/ 530 w 624"/>
                <a:gd name="T73" fmla="*/ 354 h 542"/>
                <a:gd name="T74" fmla="*/ 556 w 624"/>
                <a:gd name="T75" fmla="*/ 334 h 542"/>
                <a:gd name="T76" fmla="*/ 594 w 624"/>
                <a:gd name="T77" fmla="*/ 342 h 542"/>
                <a:gd name="T78" fmla="*/ 624 w 624"/>
                <a:gd name="T79" fmla="*/ 316 h 542"/>
                <a:gd name="T80" fmla="*/ 608 w 624"/>
                <a:gd name="T81" fmla="*/ 284 h 542"/>
                <a:gd name="T82" fmla="*/ 564 w 624"/>
                <a:gd name="T83" fmla="*/ 262 h 542"/>
                <a:gd name="T84" fmla="*/ 538 w 624"/>
                <a:gd name="T85" fmla="*/ 224 h 542"/>
                <a:gd name="T86" fmla="*/ 522 w 624"/>
                <a:gd name="T87" fmla="*/ 178 h 542"/>
                <a:gd name="T88" fmla="*/ 500 w 624"/>
                <a:gd name="T89" fmla="*/ 150 h 542"/>
                <a:gd name="T90" fmla="*/ 504 w 624"/>
                <a:gd name="T91" fmla="*/ 108 h 542"/>
                <a:gd name="T92" fmla="*/ 506 w 624"/>
                <a:gd name="T93" fmla="*/ 72 h 542"/>
                <a:gd name="T94" fmla="*/ 490 w 624"/>
                <a:gd name="T95" fmla="*/ 58 h 542"/>
                <a:gd name="T96" fmla="*/ 450 w 624"/>
                <a:gd name="T97" fmla="*/ 36 h 542"/>
                <a:gd name="T98" fmla="*/ 422 w 624"/>
                <a:gd name="T99" fmla="*/ 46 h 542"/>
                <a:gd name="T100" fmla="*/ 408 w 624"/>
                <a:gd name="T101" fmla="*/ 28 h 542"/>
                <a:gd name="T102" fmla="*/ 368 w 624"/>
                <a:gd name="T103" fmla="*/ 24 h 542"/>
                <a:gd name="T104" fmla="*/ 342 w 624"/>
                <a:gd name="T105" fmla="*/ 8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4" h="542">
                  <a:moveTo>
                    <a:pt x="326" y="0"/>
                  </a:moveTo>
                  <a:lnTo>
                    <a:pt x="324" y="0"/>
                  </a:lnTo>
                  <a:lnTo>
                    <a:pt x="318" y="2"/>
                  </a:lnTo>
                  <a:lnTo>
                    <a:pt x="308" y="8"/>
                  </a:lnTo>
                  <a:lnTo>
                    <a:pt x="296" y="24"/>
                  </a:lnTo>
                  <a:lnTo>
                    <a:pt x="292" y="28"/>
                  </a:lnTo>
                  <a:lnTo>
                    <a:pt x="288" y="40"/>
                  </a:lnTo>
                  <a:lnTo>
                    <a:pt x="288" y="40"/>
                  </a:lnTo>
                  <a:lnTo>
                    <a:pt x="280" y="40"/>
                  </a:lnTo>
                  <a:lnTo>
                    <a:pt x="278" y="40"/>
                  </a:lnTo>
                  <a:lnTo>
                    <a:pt x="270" y="40"/>
                  </a:lnTo>
                  <a:lnTo>
                    <a:pt x="254" y="38"/>
                  </a:lnTo>
                  <a:lnTo>
                    <a:pt x="246" y="40"/>
                  </a:lnTo>
                  <a:lnTo>
                    <a:pt x="238" y="52"/>
                  </a:lnTo>
                  <a:lnTo>
                    <a:pt x="236" y="54"/>
                  </a:lnTo>
                  <a:lnTo>
                    <a:pt x="226" y="54"/>
                  </a:lnTo>
                  <a:lnTo>
                    <a:pt x="224" y="56"/>
                  </a:lnTo>
                  <a:lnTo>
                    <a:pt x="224" y="62"/>
                  </a:lnTo>
                  <a:lnTo>
                    <a:pt x="222" y="70"/>
                  </a:lnTo>
                  <a:lnTo>
                    <a:pt x="218" y="82"/>
                  </a:lnTo>
                  <a:lnTo>
                    <a:pt x="216" y="90"/>
                  </a:lnTo>
                  <a:lnTo>
                    <a:pt x="214" y="94"/>
                  </a:lnTo>
                  <a:lnTo>
                    <a:pt x="218" y="96"/>
                  </a:lnTo>
                  <a:lnTo>
                    <a:pt x="230" y="98"/>
                  </a:lnTo>
                  <a:lnTo>
                    <a:pt x="234" y="100"/>
                  </a:lnTo>
                  <a:lnTo>
                    <a:pt x="236" y="102"/>
                  </a:lnTo>
                  <a:lnTo>
                    <a:pt x="232" y="104"/>
                  </a:lnTo>
                  <a:lnTo>
                    <a:pt x="228" y="108"/>
                  </a:lnTo>
                  <a:lnTo>
                    <a:pt x="228" y="110"/>
                  </a:lnTo>
                  <a:lnTo>
                    <a:pt x="224" y="118"/>
                  </a:lnTo>
                  <a:lnTo>
                    <a:pt x="204" y="118"/>
                  </a:lnTo>
                  <a:lnTo>
                    <a:pt x="202" y="118"/>
                  </a:lnTo>
                  <a:lnTo>
                    <a:pt x="200" y="122"/>
                  </a:lnTo>
                  <a:lnTo>
                    <a:pt x="198" y="128"/>
                  </a:lnTo>
                  <a:lnTo>
                    <a:pt x="196" y="132"/>
                  </a:lnTo>
                  <a:lnTo>
                    <a:pt x="190" y="138"/>
                  </a:lnTo>
                  <a:lnTo>
                    <a:pt x="182" y="138"/>
                  </a:lnTo>
                  <a:lnTo>
                    <a:pt x="176" y="142"/>
                  </a:lnTo>
                  <a:lnTo>
                    <a:pt x="170" y="152"/>
                  </a:lnTo>
                  <a:lnTo>
                    <a:pt x="166" y="166"/>
                  </a:lnTo>
                  <a:lnTo>
                    <a:pt x="166" y="174"/>
                  </a:lnTo>
                  <a:lnTo>
                    <a:pt x="166" y="180"/>
                  </a:lnTo>
                  <a:lnTo>
                    <a:pt x="166" y="182"/>
                  </a:lnTo>
                  <a:lnTo>
                    <a:pt x="164" y="186"/>
                  </a:lnTo>
                  <a:lnTo>
                    <a:pt x="160" y="194"/>
                  </a:lnTo>
                  <a:lnTo>
                    <a:pt x="156" y="204"/>
                  </a:lnTo>
                  <a:lnTo>
                    <a:pt x="154" y="208"/>
                  </a:lnTo>
                  <a:lnTo>
                    <a:pt x="156" y="212"/>
                  </a:lnTo>
                  <a:lnTo>
                    <a:pt x="160" y="212"/>
                  </a:lnTo>
                  <a:lnTo>
                    <a:pt x="166" y="214"/>
                  </a:lnTo>
                  <a:lnTo>
                    <a:pt x="168" y="216"/>
                  </a:lnTo>
                  <a:lnTo>
                    <a:pt x="170" y="222"/>
                  </a:lnTo>
                  <a:lnTo>
                    <a:pt x="170" y="226"/>
                  </a:lnTo>
                  <a:lnTo>
                    <a:pt x="168" y="228"/>
                  </a:lnTo>
                  <a:lnTo>
                    <a:pt x="164" y="230"/>
                  </a:lnTo>
                  <a:lnTo>
                    <a:pt x="156" y="230"/>
                  </a:lnTo>
                  <a:lnTo>
                    <a:pt x="152" y="228"/>
                  </a:lnTo>
                  <a:lnTo>
                    <a:pt x="152" y="226"/>
                  </a:lnTo>
                  <a:lnTo>
                    <a:pt x="154" y="222"/>
                  </a:lnTo>
                  <a:lnTo>
                    <a:pt x="152" y="216"/>
                  </a:lnTo>
                  <a:lnTo>
                    <a:pt x="150" y="214"/>
                  </a:lnTo>
                  <a:lnTo>
                    <a:pt x="144" y="218"/>
                  </a:lnTo>
                  <a:lnTo>
                    <a:pt x="138" y="218"/>
                  </a:lnTo>
                  <a:lnTo>
                    <a:pt x="130" y="222"/>
                  </a:lnTo>
                  <a:lnTo>
                    <a:pt x="126" y="228"/>
                  </a:lnTo>
                  <a:lnTo>
                    <a:pt x="122" y="230"/>
                  </a:lnTo>
                  <a:lnTo>
                    <a:pt x="110" y="230"/>
                  </a:lnTo>
                  <a:lnTo>
                    <a:pt x="108" y="232"/>
                  </a:lnTo>
                  <a:lnTo>
                    <a:pt x="106" y="246"/>
                  </a:lnTo>
                  <a:lnTo>
                    <a:pt x="104" y="248"/>
                  </a:lnTo>
                  <a:lnTo>
                    <a:pt x="94" y="248"/>
                  </a:lnTo>
                  <a:lnTo>
                    <a:pt x="84" y="254"/>
                  </a:lnTo>
                  <a:lnTo>
                    <a:pt x="74" y="258"/>
                  </a:lnTo>
                  <a:lnTo>
                    <a:pt x="70" y="256"/>
                  </a:lnTo>
                  <a:lnTo>
                    <a:pt x="66" y="252"/>
                  </a:lnTo>
                  <a:lnTo>
                    <a:pt x="60" y="252"/>
                  </a:lnTo>
                  <a:lnTo>
                    <a:pt x="54" y="254"/>
                  </a:lnTo>
                  <a:lnTo>
                    <a:pt x="50" y="252"/>
                  </a:lnTo>
                  <a:lnTo>
                    <a:pt x="46" y="254"/>
                  </a:lnTo>
                  <a:lnTo>
                    <a:pt x="36" y="256"/>
                  </a:lnTo>
                  <a:lnTo>
                    <a:pt x="24" y="256"/>
                  </a:lnTo>
                  <a:lnTo>
                    <a:pt x="20" y="252"/>
                  </a:lnTo>
                  <a:lnTo>
                    <a:pt x="28" y="290"/>
                  </a:lnTo>
                  <a:lnTo>
                    <a:pt x="40" y="326"/>
                  </a:lnTo>
                  <a:lnTo>
                    <a:pt x="44" y="344"/>
                  </a:lnTo>
                  <a:lnTo>
                    <a:pt x="46" y="354"/>
                  </a:lnTo>
                  <a:lnTo>
                    <a:pt x="48" y="366"/>
                  </a:lnTo>
                  <a:lnTo>
                    <a:pt x="48" y="376"/>
                  </a:lnTo>
                  <a:lnTo>
                    <a:pt x="48" y="382"/>
                  </a:lnTo>
                  <a:lnTo>
                    <a:pt x="48" y="388"/>
                  </a:lnTo>
                  <a:lnTo>
                    <a:pt x="44" y="392"/>
                  </a:lnTo>
                  <a:lnTo>
                    <a:pt x="20" y="404"/>
                  </a:lnTo>
                  <a:lnTo>
                    <a:pt x="14" y="408"/>
                  </a:lnTo>
                  <a:lnTo>
                    <a:pt x="8" y="418"/>
                  </a:lnTo>
                  <a:lnTo>
                    <a:pt x="2" y="428"/>
                  </a:lnTo>
                  <a:lnTo>
                    <a:pt x="0" y="432"/>
                  </a:lnTo>
                  <a:lnTo>
                    <a:pt x="0" y="434"/>
                  </a:lnTo>
                  <a:lnTo>
                    <a:pt x="0" y="436"/>
                  </a:lnTo>
                  <a:lnTo>
                    <a:pt x="10" y="442"/>
                  </a:lnTo>
                  <a:lnTo>
                    <a:pt x="18" y="446"/>
                  </a:lnTo>
                  <a:lnTo>
                    <a:pt x="20" y="448"/>
                  </a:lnTo>
                  <a:lnTo>
                    <a:pt x="26" y="452"/>
                  </a:lnTo>
                  <a:lnTo>
                    <a:pt x="30" y="456"/>
                  </a:lnTo>
                  <a:lnTo>
                    <a:pt x="30" y="460"/>
                  </a:lnTo>
                  <a:lnTo>
                    <a:pt x="30" y="466"/>
                  </a:lnTo>
                  <a:lnTo>
                    <a:pt x="28" y="476"/>
                  </a:lnTo>
                  <a:lnTo>
                    <a:pt x="30" y="484"/>
                  </a:lnTo>
                  <a:lnTo>
                    <a:pt x="26" y="490"/>
                  </a:lnTo>
                  <a:lnTo>
                    <a:pt x="24" y="494"/>
                  </a:lnTo>
                  <a:lnTo>
                    <a:pt x="24" y="504"/>
                  </a:lnTo>
                  <a:lnTo>
                    <a:pt x="28" y="514"/>
                  </a:lnTo>
                  <a:lnTo>
                    <a:pt x="28" y="514"/>
                  </a:lnTo>
                  <a:lnTo>
                    <a:pt x="28" y="506"/>
                  </a:lnTo>
                  <a:lnTo>
                    <a:pt x="30" y="504"/>
                  </a:lnTo>
                  <a:lnTo>
                    <a:pt x="34" y="502"/>
                  </a:lnTo>
                  <a:lnTo>
                    <a:pt x="40" y="502"/>
                  </a:lnTo>
                  <a:lnTo>
                    <a:pt x="44" y="504"/>
                  </a:lnTo>
                  <a:lnTo>
                    <a:pt x="50" y="508"/>
                  </a:lnTo>
                  <a:lnTo>
                    <a:pt x="52" y="508"/>
                  </a:lnTo>
                  <a:lnTo>
                    <a:pt x="62" y="500"/>
                  </a:lnTo>
                  <a:lnTo>
                    <a:pt x="72" y="488"/>
                  </a:lnTo>
                  <a:lnTo>
                    <a:pt x="74" y="482"/>
                  </a:lnTo>
                  <a:lnTo>
                    <a:pt x="78" y="478"/>
                  </a:lnTo>
                  <a:lnTo>
                    <a:pt x="86" y="476"/>
                  </a:lnTo>
                  <a:lnTo>
                    <a:pt x="94" y="476"/>
                  </a:lnTo>
                  <a:lnTo>
                    <a:pt x="98" y="476"/>
                  </a:lnTo>
                  <a:lnTo>
                    <a:pt x="110" y="474"/>
                  </a:lnTo>
                  <a:lnTo>
                    <a:pt x="118" y="474"/>
                  </a:lnTo>
                  <a:lnTo>
                    <a:pt x="124" y="472"/>
                  </a:lnTo>
                  <a:lnTo>
                    <a:pt x="136" y="470"/>
                  </a:lnTo>
                  <a:lnTo>
                    <a:pt x="156" y="472"/>
                  </a:lnTo>
                  <a:lnTo>
                    <a:pt x="170" y="472"/>
                  </a:lnTo>
                  <a:lnTo>
                    <a:pt x="180" y="474"/>
                  </a:lnTo>
                  <a:lnTo>
                    <a:pt x="202" y="480"/>
                  </a:lnTo>
                  <a:lnTo>
                    <a:pt x="210" y="480"/>
                  </a:lnTo>
                  <a:lnTo>
                    <a:pt x="214" y="484"/>
                  </a:lnTo>
                  <a:lnTo>
                    <a:pt x="222" y="486"/>
                  </a:lnTo>
                  <a:lnTo>
                    <a:pt x="236" y="488"/>
                  </a:lnTo>
                  <a:lnTo>
                    <a:pt x="246" y="490"/>
                  </a:lnTo>
                  <a:lnTo>
                    <a:pt x="254" y="490"/>
                  </a:lnTo>
                  <a:lnTo>
                    <a:pt x="260" y="490"/>
                  </a:lnTo>
                  <a:lnTo>
                    <a:pt x="268" y="504"/>
                  </a:lnTo>
                  <a:lnTo>
                    <a:pt x="270" y="506"/>
                  </a:lnTo>
                  <a:lnTo>
                    <a:pt x="272" y="506"/>
                  </a:lnTo>
                  <a:lnTo>
                    <a:pt x="280" y="506"/>
                  </a:lnTo>
                  <a:lnTo>
                    <a:pt x="290" y="506"/>
                  </a:lnTo>
                  <a:lnTo>
                    <a:pt x="296" y="510"/>
                  </a:lnTo>
                  <a:lnTo>
                    <a:pt x="294" y="518"/>
                  </a:lnTo>
                  <a:lnTo>
                    <a:pt x="296" y="520"/>
                  </a:lnTo>
                  <a:lnTo>
                    <a:pt x="298" y="518"/>
                  </a:lnTo>
                  <a:lnTo>
                    <a:pt x="302" y="514"/>
                  </a:lnTo>
                  <a:lnTo>
                    <a:pt x="304" y="508"/>
                  </a:lnTo>
                  <a:lnTo>
                    <a:pt x="306" y="508"/>
                  </a:lnTo>
                  <a:lnTo>
                    <a:pt x="316" y="510"/>
                  </a:lnTo>
                  <a:lnTo>
                    <a:pt x="320" y="510"/>
                  </a:lnTo>
                  <a:lnTo>
                    <a:pt x="326" y="506"/>
                  </a:lnTo>
                  <a:lnTo>
                    <a:pt x="328" y="506"/>
                  </a:lnTo>
                  <a:lnTo>
                    <a:pt x="334" y="508"/>
                  </a:lnTo>
                  <a:lnTo>
                    <a:pt x="344" y="510"/>
                  </a:lnTo>
                  <a:lnTo>
                    <a:pt x="350" y="510"/>
                  </a:lnTo>
                  <a:lnTo>
                    <a:pt x="354" y="512"/>
                  </a:lnTo>
                  <a:lnTo>
                    <a:pt x="358" y="522"/>
                  </a:lnTo>
                  <a:lnTo>
                    <a:pt x="360" y="524"/>
                  </a:lnTo>
                  <a:lnTo>
                    <a:pt x="364" y="524"/>
                  </a:lnTo>
                  <a:lnTo>
                    <a:pt x="368" y="516"/>
                  </a:lnTo>
                  <a:lnTo>
                    <a:pt x="372" y="512"/>
                  </a:lnTo>
                  <a:lnTo>
                    <a:pt x="376" y="510"/>
                  </a:lnTo>
                  <a:lnTo>
                    <a:pt x="380" y="510"/>
                  </a:lnTo>
                  <a:lnTo>
                    <a:pt x="382" y="506"/>
                  </a:lnTo>
                  <a:lnTo>
                    <a:pt x="386" y="504"/>
                  </a:lnTo>
                  <a:lnTo>
                    <a:pt x="388" y="504"/>
                  </a:lnTo>
                  <a:lnTo>
                    <a:pt x="390" y="504"/>
                  </a:lnTo>
                  <a:lnTo>
                    <a:pt x="392" y="508"/>
                  </a:lnTo>
                  <a:lnTo>
                    <a:pt x="396" y="518"/>
                  </a:lnTo>
                  <a:lnTo>
                    <a:pt x="400" y="526"/>
                  </a:lnTo>
                  <a:lnTo>
                    <a:pt x="404" y="530"/>
                  </a:lnTo>
                  <a:lnTo>
                    <a:pt x="412" y="526"/>
                  </a:lnTo>
                  <a:lnTo>
                    <a:pt x="418" y="524"/>
                  </a:lnTo>
                  <a:lnTo>
                    <a:pt x="428" y="524"/>
                  </a:lnTo>
                  <a:lnTo>
                    <a:pt x="440" y="522"/>
                  </a:lnTo>
                  <a:lnTo>
                    <a:pt x="450" y="518"/>
                  </a:lnTo>
                  <a:lnTo>
                    <a:pt x="458" y="520"/>
                  </a:lnTo>
                  <a:lnTo>
                    <a:pt x="462" y="522"/>
                  </a:lnTo>
                  <a:lnTo>
                    <a:pt x="468" y="528"/>
                  </a:lnTo>
                  <a:lnTo>
                    <a:pt x="468" y="536"/>
                  </a:lnTo>
                  <a:lnTo>
                    <a:pt x="476" y="540"/>
                  </a:lnTo>
                  <a:lnTo>
                    <a:pt x="482" y="542"/>
                  </a:lnTo>
                  <a:lnTo>
                    <a:pt x="484" y="536"/>
                  </a:lnTo>
                  <a:lnTo>
                    <a:pt x="488" y="532"/>
                  </a:lnTo>
                  <a:lnTo>
                    <a:pt x="488" y="526"/>
                  </a:lnTo>
                  <a:lnTo>
                    <a:pt x="486" y="520"/>
                  </a:lnTo>
                  <a:lnTo>
                    <a:pt x="484" y="514"/>
                  </a:lnTo>
                  <a:lnTo>
                    <a:pt x="482" y="506"/>
                  </a:lnTo>
                  <a:lnTo>
                    <a:pt x="486" y="496"/>
                  </a:lnTo>
                  <a:lnTo>
                    <a:pt x="488" y="488"/>
                  </a:lnTo>
                  <a:lnTo>
                    <a:pt x="490" y="484"/>
                  </a:lnTo>
                  <a:lnTo>
                    <a:pt x="496" y="474"/>
                  </a:lnTo>
                  <a:lnTo>
                    <a:pt x="502" y="468"/>
                  </a:lnTo>
                  <a:lnTo>
                    <a:pt x="510" y="458"/>
                  </a:lnTo>
                  <a:lnTo>
                    <a:pt x="518" y="456"/>
                  </a:lnTo>
                  <a:lnTo>
                    <a:pt x="524" y="458"/>
                  </a:lnTo>
                  <a:lnTo>
                    <a:pt x="526" y="458"/>
                  </a:lnTo>
                  <a:lnTo>
                    <a:pt x="534" y="452"/>
                  </a:lnTo>
                  <a:lnTo>
                    <a:pt x="550" y="452"/>
                  </a:lnTo>
                  <a:lnTo>
                    <a:pt x="562" y="454"/>
                  </a:lnTo>
                  <a:lnTo>
                    <a:pt x="562" y="450"/>
                  </a:lnTo>
                  <a:lnTo>
                    <a:pt x="558" y="440"/>
                  </a:lnTo>
                  <a:lnTo>
                    <a:pt x="556" y="436"/>
                  </a:lnTo>
                  <a:lnTo>
                    <a:pt x="552" y="434"/>
                  </a:lnTo>
                  <a:lnTo>
                    <a:pt x="550" y="430"/>
                  </a:lnTo>
                  <a:lnTo>
                    <a:pt x="550" y="418"/>
                  </a:lnTo>
                  <a:lnTo>
                    <a:pt x="550" y="406"/>
                  </a:lnTo>
                  <a:lnTo>
                    <a:pt x="552" y="406"/>
                  </a:lnTo>
                  <a:lnTo>
                    <a:pt x="546" y="396"/>
                  </a:lnTo>
                  <a:lnTo>
                    <a:pt x="546" y="388"/>
                  </a:lnTo>
                  <a:lnTo>
                    <a:pt x="550" y="386"/>
                  </a:lnTo>
                  <a:lnTo>
                    <a:pt x="550" y="382"/>
                  </a:lnTo>
                  <a:lnTo>
                    <a:pt x="548" y="378"/>
                  </a:lnTo>
                  <a:lnTo>
                    <a:pt x="542" y="372"/>
                  </a:lnTo>
                  <a:lnTo>
                    <a:pt x="536" y="364"/>
                  </a:lnTo>
                  <a:lnTo>
                    <a:pt x="532" y="358"/>
                  </a:lnTo>
                  <a:lnTo>
                    <a:pt x="530" y="354"/>
                  </a:lnTo>
                  <a:lnTo>
                    <a:pt x="532" y="350"/>
                  </a:lnTo>
                  <a:lnTo>
                    <a:pt x="536" y="342"/>
                  </a:lnTo>
                  <a:lnTo>
                    <a:pt x="538" y="336"/>
                  </a:lnTo>
                  <a:lnTo>
                    <a:pt x="540" y="334"/>
                  </a:lnTo>
                  <a:lnTo>
                    <a:pt x="550" y="334"/>
                  </a:lnTo>
                  <a:lnTo>
                    <a:pt x="556" y="334"/>
                  </a:lnTo>
                  <a:lnTo>
                    <a:pt x="562" y="336"/>
                  </a:lnTo>
                  <a:lnTo>
                    <a:pt x="564" y="340"/>
                  </a:lnTo>
                  <a:lnTo>
                    <a:pt x="568" y="344"/>
                  </a:lnTo>
                  <a:lnTo>
                    <a:pt x="582" y="346"/>
                  </a:lnTo>
                  <a:lnTo>
                    <a:pt x="588" y="346"/>
                  </a:lnTo>
                  <a:lnTo>
                    <a:pt x="594" y="342"/>
                  </a:lnTo>
                  <a:lnTo>
                    <a:pt x="606" y="334"/>
                  </a:lnTo>
                  <a:lnTo>
                    <a:pt x="608" y="326"/>
                  </a:lnTo>
                  <a:lnTo>
                    <a:pt x="616" y="322"/>
                  </a:lnTo>
                  <a:lnTo>
                    <a:pt x="620" y="320"/>
                  </a:lnTo>
                  <a:lnTo>
                    <a:pt x="624" y="320"/>
                  </a:lnTo>
                  <a:lnTo>
                    <a:pt x="624" y="316"/>
                  </a:lnTo>
                  <a:lnTo>
                    <a:pt x="624" y="310"/>
                  </a:lnTo>
                  <a:lnTo>
                    <a:pt x="622" y="308"/>
                  </a:lnTo>
                  <a:lnTo>
                    <a:pt x="608" y="296"/>
                  </a:lnTo>
                  <a:lnTo>
                    <a:pt x="606" y="292"/>
                  </a:lnTo>
                  <a:lnTo>
                    <a:pt x="606" y="288"/>
                  </a:lnTo>
                  <a:lnTo>
                    <a:pt x="608" y="284"/>
                  </a:lnTo>
                  <a:lnTo>
                    <a:pt x="608" y="280"/>
                  </a:lnTo>
                  <a:lnTo>
                    <a:pt x="592" y="270"/>
                  </a:lnTo>
                  <a:lnTo>
                    <a:pt x="578" y="268"/>
                  </a:lnTo>
                  <a:lnTo>
                    <a:pt x="566" y="270"/>
                  </a:lnTo>
                  <a:lnTo>
                    <a:pt x="562" y="268"/>
                  </a:lnTo>
                  <a:lnTo>
                    <a:pt x="564" y="262"/>
                  </a:lnTo>
                  <a:lnTo>
                    <a:pt x="566" y="254"/>
                  </a:lnTo>
                  <a:lnTo>
                    <a:pt x="568" y="246"/>
                  </a:lnTo>
                  <a:lnTo>
                    <a:pt x="566" y="242"/>
                  </a:lnTo>
                  <a:lnTo>
                    <a:pt x="564" y="240"/>
                  </a:lnTo>
                  <a:lnTo>
                    <a:pt x="554" y="234"/>
                  </a:lnTo>
                  <a:lnTo>
                    <a:pt x="538" y="224"/>
                  </a:lnTo>
                  <a:lnTo>
                    <a:pt x="532" y="214"/>
                  </a:lnTo>
                  <a:lnTo>
                    <a:pt x="528" y="202"/>
                  </a:lnTo>
                  <a:lnTo>
                    <a:pt x="524" y="196"/>
                  </a:lnTo>
                  <a:lnTo>
                    <a:pt x="518" y="190"/>
                  </a:lnTo>
                  <a:lnTo>
                    <a:pt x="518" y="188"/>
                  </a:lnTo>
                  <a:lnTo>
                    <a:pt x="522" y="178"/>
                  </a:lnTo>
                  <a:lnTo>
                    <a:pt x="522" y="176"/>
                  </a:lnTo>
                  <a:lnTo>
                    <a:pt x="520" y="174"/>
                  </a:lnTo>
                  <a:lnTo>
                    <a:pt x="512" y="168"/>
                  </a:lnTo>
                  <a:lnTo>
                    <a:pt x="500" y="158"/>
                  </a:lnTo>
                  <a:lnTo>
                    <a:pt x="498" y="156"/>
                  </a:lnTo>
                  <a:lnTo>
                    <a:pt x="500" y="150"/>
                  </a:lnTo>
                  <a:lnTo>
                    <a:pt x="502" y="142"/>
                  </a:lnTo>
                  <a:lnTo>
                    <a:pt x="504" y="140"/>
                  </a:lnTo>
                  <a:lnTo>
                    <a:pt x="510" y="128"/>
                  </a:lnTo>
                  <a:lnTo>
                    <a:pt x="510" y="124"/>
                  </a:lnTo>
                  <a:lnTo>
                    <a:pt x="510" y="118"/>
                  </a:lnTo>
                  <a:lnTo>
                    <a:pt x="504" y="108"/>
                  </a:lnTo>
                  <a:lnTo>
                    <a:pt x="500" y="102"/>
                  </a:lnTo>
                  <a:lnTo>
                    <a:pt x="500" y="98"/>
                  </a:lnTo>
                  <a:lnTo>
                    <a:pt x="500" y="96"/>
                  </a:lnTo>
                  <a:lnTo>
                    <a:pt x="504" y="92"/>
                  </a:lnTo>
                  <a:lnTo>
                    <a:pt x="506" y="88"/>
                  </a:lnTo>
                  <a:lnTo>
                    <a:pt x="506" y="72"/>
                  </a:lnTo>
                  <a:lnTo>
                    <a:pt x="506" y="68"/>
                  </a:lnTo>
                  <a:lnTo>
                    <a:pt x="504" y="64"/>
                  </a:lnTo>
                  <a:lnTo>
                    <a:pt x="502" y="64"/>
                  </a:lnTo>
                  <a:lnTo>
                    <a:pt x="500" y="64"/>
                  </a:lnTo>
                  <a:lnTo>
                    <a:pt x="494" y="62"/>
                  </a:lnTo>
                  <a:lnTo>
                    <a:pt x="490" y="58"/>
                  </a:lnTo>
                  <a:lnTo>
                    <a:pt x="488" y="56"/>
                  </a:lnTo>
                  <a:lnTo>
                    <a:pt x="486" y="52"/>
                  </a:lnTo>
                  <a:lnTo>
                    <a:pt x="478" y="44"/>
                  </a:lnTo>
                  <a:lnTo>
                    <a:pt x="476" y="42"/>
                  </a:lnTo>
                  <a:lnTo>
                    <a:pt x="462" y="36"/>
                  </a:lnTo>
                  <a:lnTo>
                    <a:pt x="450" y="36"/>
                  </a:lnTo>
                  <a:lnTo>
                    <a:pt x="442" y="36"/>
                  </a:lnTo>
                  <a:lnTo>
                    <a:pt x="440" y="36"/>
                  </a:lnTo>
                  <a:lnTo>
                    <a:pt x="436" y="42"/>
                  </a:lnTo>
                  <a:lnTo>
                    <a:pt x="430" y="44"/>
                  </a:lnTo>
                  <a:lnTo>
                    <a:pt x="426" y="44"/>
                  </a:lnTo>
                  <a:lnTo>
                    <a:pt x="422" y="46"/>
                  </a:lnTo>
                  <a:lnTo>
                    <a:pt x="412" y="54"/>
                  </a:lnTo>
                  <a:lnTo>
                    <a:pt x="408" y="50"/>
                  </a:lnTo>
                  <a:lnTo>
                    <a:pt x="404" y="42"/>
                  </a:lnTo>
                  <a:lnTo>
                    <a:pt x="406" y="36"/>
                  </a:lnTo>
                  <a:lnTo>
                    <a:pt x="408" y="32"/>
                  </a:lnTo>
                  <a:lnTo>
                    <a:pt x="408" y="28"/>
                  </a:lnTo>
                  <a:lnTo>
                    <a:pt x="406" y="24"/>
                  </a:lnTo>
                  <a:lnTo>
                    <a:pt x="400" y="22"/>
                  </a:lnTo>
                  <a:lnTo>
                    <a:pt x="386" y="14"/>
                  </a:lnTo>
                  <a:lnTo>
                    <a:pt x="384" y="14"/>
                  </a:lnTo>
                  <a:lnTo>
                    <a:pt x="378" y="16"/>
                  </a:lnTo>
                  <a:lnTo>
                    <a:pt x="368" y="24"/>
                  </a:lnTo>
                  <a:lnTo>
                    <a:pt x="364" y="22"/>
                  </a:lnTo>
                  <a:lnTo>
                    <a:pt x="360" y="16"/>
                  </a:lnTo>
                  <a:lnTo>
                    <a:pt x="358" y="10"/>
                  </a:lnTo>
                  <a:lnTo>
                    <a:pt x="352" y="6"/>
                  </a:lnTo>
                  <a:lnTo>
                    <a:pt x="342" y="6"/>
                  </a:lnTo>
                  <a:lnTo>
                    <a:pt x="342" y="8"/>
                  </a:lnTo>
                  <a:lnTo>
                    <a:pt x="336" y="12"/>
                  </a:lnTo>
                  <a:lnTo>
                    <a:pt x="334" y="10"/>
                  </a:lnTo>
                  <a:lnTo>
                    <a:pt x="326" y="0"/>
                  </a:lnTo>
                </a:path>
              </a:pathLst>
            </a:custGeom>
            <a:solidFill>
              <a:schemeClr val="bg1"/>
            </a:solidFill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9" name="Freeform 47">
              <a:extLst>
                <a:ext uri="{FF2B5EF4-FFF2-40B4-BE49-F238E27FC236}">
                  <a16:creationId xmlns:a16="http://schemas.microsoft.com/office/drawing/2014/main" id="{523FACD7-7CA2-40DD-8BA2-ADFEA88889AE}"/>
                </a:ext>
              </a:extLst>
            </p:cNvPr>
            <p:cNvSpPr/>
            <p:nvPr/>
          </p:nvSpPr>
          <p:spPr bwMode="auto">
            <a:xfrm>
              <a:off x="3044024" y="4934552"/>
              <a:ext cx="36231" cy="68608"/>
            </a:xfrm>
            <a:custGeom>
              <a:avLst/>
              <a:gdLst>
                <a:gd name="connsiteX0" fmla="*/ 219196 w 223961"/>
                <a:gd name="connsiteY0" fmla="*/ 152484 h 424096"/>
                <a:gd name="connsiteX1" fmla="*/ 223961 w 223961"/>
                <a:gd name="connsiteY1" fmla="*/ 157248 h 424096"/>
                <a:gd name="connsiteX2" fmla="*/ 223961 w 223961"/>
                <a:gd name="connsiteY2" fmla="*/ 162014 h 424096"/>
                <a:gd name="connsiteX3" fmla="*/ 214430 w 223961"/>
                <a:gd name="connsiteY3" fmla="*/ 171544 h 424096"/>
                <a:gd name="connsiteX4" fmla="*/ 204900 w 223961"/>
                <a:gd name="connsiteY4" fmla="*/ 195368 h 424096"/>
                <a:gd name="connsiteX5" fmla="*/ 204900 w 223961"/>
                <a:gd name="connsiteY5" fmla="*/ 190604 h 424096"/>
                <a:gd name="connsiteX6" fmla="*/ 209665 w 223961"/>
                <a:gd name="connsiteY6" fmla="*/ 171544 h 424096"/>
                <a:gd name="connsiteX7" fmla="*/ 214430 w 223961"/>
                <a:gd name="connsiteY7" fmla="*/ 166778 h 424096"/>
                <a:gd name="connsiteX8" fmla="*/ 219196 w 223961"/>
                <a:gd name="connsiteY8" fmla="*/ 162014 h 424096"/>
                <a:gd name="connsiteX9" fmla="*/ 209666 w 223961"/>
                <a:gd name="connsiteY9" fmla="*/ 52416 h 424096"/>
                <a:gd name="connsiteX10" fmla="*/ 214431 w 223961"/>
                <a:gd name="connsiteY10" fmla="*/ 52416 h 424096"/>
                <a:gd name="connsiteX11" fmla="*/ 219196 w 223961"/>
                <a:gd name="connsiteY11" fmla="*/ 52416 h 424096"/>
                <a:gd name="connsiteX12" fmla="*/ 200135 w 223961"/>
                <a:gd name="connsiteY12" fmla="*/ 90536 h 424096"/>
                <a:gd name="connsiteX13" fmla="*/ 195370 w 223961"/>
                <a:gd name="connsiteY13" fmla="*/ 90536 h 424096"/>
                <a:gd name="connsiteX14" fmla="*/ 200135 w 223961"/>
                <a:gd name="connsiteY14" fmla="*/ 85772 h 424096"/>
                <a:gd name="connsiteX15" fmla="*/ 200135 w 223961"/>
                <a:gd name="connsiteY15" fmla="*/ 76242 h 424096"/>
                <a:gd name="connsiteX16" fmla="*/ 119128 w 223961"/>
                <a:gd name="connsiteY16" fmla="*/ 0 h 424096"/>
                <a:gd name="connsiteX17" fmla="*/ 133424 w 223961"/>
                <a:gd name="connsiteY17" fmla="*/ 0 h 424096"/>
                <a:gd name="connsiteX18" fmla="*/ 147719 w 223961"/>
                <a:gd name="connsiteY18" fmla="*/ 0 h 424096"/>
                <a:gd name="connsiteX19" fmla="*/ 138189 w 223961"/>
                <a:gd name="connsiteY19" fmla="*/ 19060 h 424096"/>
                <a:gd name="connsiteX20" fmla="*/ 147719 w 223961"/>
                <a:gd name="connsiteY20" fmla="*/ 19060 h 424096"/>
                <a:gd name="connsiteX21" fmla="*/ 152484 w 223961"/>
                <a:gd name="connsiteY21" fmla="*/ 19060 h 424096"/>
                <a:gd name="connsiteX22" fmla="*/ 171545 w 223961"/>
                <a:gd name="connsiteY22" fmla="*/ 19060 h 424096"/>
                <a:gd name="connsiteX23" fmla="*/ 181075 w 223961"/>
                <a:gd name="connsiteY23" fmla="*/ 42886 h 424096"/>
                <a:gd name="connsiteX24" fmla="*/ 176310 w 223961"/>
                <a:gd name="connsiteY24" fmla="*/ 57180 h 424096"/>
                <a:gd name="connsiteX25" fmla="*/ 162014 w 223961"/>
                <a:gd name="connsiteY25" fmla="*/ 104832 h 424096"/>
                <a:gd name="connsiteX26" fmla="*/ 157249 w 223961"/>
                <a:gd name="connsiteY26" fmla="*/ 119128 h 424096"/>
                <a:gd name="connsiteX27" fmla="*/ 152484 w 223961"/>
                <a:gd name="connsiteY27" fmla="*/ 142952 h 424096"/>
                <a:gd name="connsiteX28" fmla="*/ 162014 w 223961"/>
                <a:gd name="connsiteY28" fmla="*/ 157248 h 424096"/>
                <a:gd name="connsiteX29" fmla="*/ 152484 w 223961"/>
                <a:gd name="connsiteY29" fmla="*/ 176308 h 424096"/>
                <a:gd name="connsiteX30" fmla="*/ 147719 w 223961"/>
                <a:gd name="connsiteY30" fmla="*/ 190604 h 424096"/>
                <a:gd name="connsiteX31" fmla="*/ 147719 w 223961"/>
                <a:gd name="connsiteY31" fmla="*/ 209664 h 424096"/>
                <a:gd name="connsiteX32" fmla="*/ 152484 w 223961"/>
                <a:gd name="connsiteY32" fmla="*/ 247786 h 424096"/>
                <a:gd name="connsiteX33" fmla="*/ 142954 w 223961"/>
                <a:gd name="connsiteY33" fmla="*/ 300202 h 424096"/>
                <a:gd name="connsiteX34" fmla="*/ 128659 w 223961"/>
                <a:gd name="connsiteY34" fmla="*/ 324028 h 424096"/>
                <a:gd name="connsiteX35" fmla="*/ 119128 w 223961"/>
                <a:gd name="connsiteY35" fmla="*/ 333558 h 424096"/>
                <a:gd name="connsiteX36" fmla="*/ 104833 w 223961"/>
                <a:gd name="connsiteY36" fmla="*/ 357384 h 424096"/>
                <a:gd name="connsiteX37" fmla="*/ 85772 w 223961"/>
                <a:gd name="connsiteY37" fmla="*/ 362148 h 424096"/>
                <a:gd name="connsiteX38" fmla="*/ 57182 w 223961"/>
                <a:gd name="connsiteY38" fmla="*/ 400270 h 424096"/>
                <a:gd name="connsiteX39" fmla="*/ 52416 w 223961"/>
                <a:gd name="connsiteY39" fmla="*/ 409800 h 424096"/>
                <a:gd name="connsiteX40" fmla="*/ 52416 w 223961"/>
                <a:gd name="connsiteY40" fmla="*/ 424096 h 424096"/>
                <a:gd name="connsiteX41" fmla="*/ 47651 w 223961"/>
                <a:gd name="connsiteY41" fmla="*/ 424096 h 424096"/>
                <a:gd name="connsiteX42" fmla="*/ 19061 w 223961"/>
                <a:gd name="connsiteY42" fmla="*/ 419330 h 424096"/>
                <a:gd name="connsiteX43" fmla="*/ 0 w 223961"/>
                <a:gd name="connsiteY43" fmla="*/ 424096 h 424096"/>
                <a:gd name="connsiteX44" fmla="*/ 0 w 223961"/>
                <a:gd name="connsiteY44" fmla="*/ 419330 h 424096"/>
                <a:gd name="connsiteX45" fmla="*/ 0 w 223961"/>
                <a:gd name="connsiteY45" fmla="*/ 381208 h 424096"/>
                <a:gd name="connsiteX46" fmla="*/ 4765 w 223961"/>
                <a:gd name="connsiteY46" fmla="*/ 319262 h 424096"/>
                <a:gd name="connsiteX47" fmla="*/ 4765 w 223961"/>
                <a:gd name="connsiteY47" fmla="*/ 271612 h 424096"/>
                <a:gd name="connsiteX48" fmla="*/ 9530 w 223961"/>
                <a:gd name="connsiteY48" fmla="*/ 228724 h 424096"/>
                <a:gd name="connsiteX49" fmla="*/ 9530 w 223961"/>
                <a:gd name="connsiteY49" fmla="*/ 195370 h 424096"/>
                <a:gd name="connsiteX50" fmla="*/ 9530 w 223961"/>
                <a:gd name="connsiteY50" fmla="*/ 147718 h 424096"/>
                <a:gd name="connsiteX51" fmla="*/ 9530 w 223961"/>
                <a:gd name="connsiteY51" fmla="*/ 109596 h 424096"/>
                <a:gd name="connsiteX52" fmla="*/ 9530 w 223961"/>
                <a:gd name="connsiteY52" fmla="*/ 95302 h 424096"/>
                <a:gd name="connsiteX53" fmla="*/ 14295 w 223961"/>
                <a:gd name="connsiteY53" fmla="*/ 81006 h 424096"/>
                <a:gd name="connsiteX54" fmla="*/ 28591 w 223961"/>
                <a:gd name="connsiteY54" fmla="*/ 76240 h 424096"/>
                <a:gd name="connsiteX55" fmla="*/ 47651 w 223961"/>
                <a:gd name="connsiteY55" fmla="*/ 85772 h 424096"/>
                <a:gd name="connsiteX56" fmla="*/ 52416 w 223961"/>
                <a:gd name="connsiteY56" fmla="*/ 90536 h 424096"/>
                <a:gd name="connsiteX57" fmla="*/ 57182 w 223961"/>
                <a:gd name="connsiteY57" fmla="*/ 90536 h 424096"/>
                <a:gd name="connsiteX58" fmla="*/ 66712 w 223961"/>
                <a:gd name="connsiteY58" fmla="*/ 85772 h 424096"/>
                <a:gd name="connsiteX59" fmla="*/ 76242 w 223961"/>
                <a:gd name="connsiteY59" fmla="*/ 66710 h 424096"/>
                <a:gd name="connsiteX60" fmla="*/ 100068 w 223961"/>
                <a:gd name="connsiteY60" fmla="*/ 28590 h 424096"/>
                <a:gd name="connsiteX61" fmla="*/ 109598 w 223961"/>
                <a:gd name="connsiteY61" fmla="*/ 4764 h 424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223961" h="424096">
                  <a:moveTo>
                    <a:pt x="219196" y="152484"/>
                  </a:moveTo>
                  <a:lnTo>
                    <a:pt x="223961" y="157248"/>
                  </a:lnTo>
                  <a:lnTo>
                    <a:pt x="223961" y="162014"/>
                  </a:lnTo>
                  <a:lnTo>
                    <a:pt x="214430" y="171544"/>
                  </a:lnTo>
                  <a:lnTo>
                    <a:pt x="204900" y="195368"/>
                  </a:lnTo>
                  <a:lnTo>
                    <a:pt x="204900" y="190604"/>
                  </a:lnTo>
                  <a:lnTo>
                    <a:pt x="209665" y="171544"/>
                  </a:lnTo>
                  <a:lnTo>
                    <a:pt x="214430" y="166778"/>
                  </a:lnTo>
                  <a:lnTo>
                    <a:pt x="219196" y="162014"/>
                  </a:lnTo>
                  <a:close/>
                  <a:moveTo>
                    <a:pt x="209666" y="52416"/>
                  </a:moveTo>
                  <a:lnTo>
                    <a:pt x="214431" y="52416"/>
                  </a:lnTo>
                  <a:lnTo>
                    <a:pt x="219196" y="52416"/>
                  </a:lnTo>
                  <a:lnTo>
                    <a:pt x="200135" y="90536"/>
                  </a:lnTo>
                  <a:lnTo>
                    <a:pt x="195370" y="90536"/>
                  </a:lnTo>
                  <a:lnTo>
                    <a:pt x="200135" y="85772"/>
                  </a:lnTo>
                  <a:lnTo>
                    <a:pt x="200135" y="76242"/>
                  </a:lnTo>
                  <a:close/>
                  <a:moveTo>
                    <a:pt x="119128" y="0"/>
                  </a:moveTo>
                  <a:lnTo>
                    <a:pt x="133424" y="0"/>
                  </a:lnTo>
                  <a:lnTo>
                    <a:pt x="147719" y="0"/>
                  </a:lnTo>
                  <a:lnTo>
                    <a:pt x="138189" y="19060"/>
                  </a:lnTo>
                  <a:lnTo>
                    <a:pt x="147719" y="19060"/>
                  </a:lnTo>
                  <a:lnTo>
                    <a:pt x="152484" y="19060"/>
                  </a:lnTo>
                  <a:lnTo>
                    <a:pt x="171545" y="19060"/>
                  </a:lnTo>
                  <a:lnTo>
                    <a:pt x="181075" y="42886"/>
                  </a:lnTo>
                  <a:lnTo>
                    <a:pt x="176310" y="57180"/>
                  </a:lnTo>
                  <a:lnTo>
                    <a:pt x="162014" y="104832"/>
                  </a:lnTo>
                  <a:lnTo>
                    <a:pt x="157249" y="119128"/>
                  </a:lnTo>
                  <a:lnTo>
                    <a:pt x="152484" y="142952"/>
                  </a:lnTo>
                  <a:lnTo>
                    <a:pt x="162014" y="157248"/>
                  </a:lnTo>
                  <a:lnTo>
                    <a:pt x="152484" y="176308"/>
                  </a:lnTo>
                  <a:lnTo>
                    <a:pt x="147719" y="190604"/>
                  </a:lnTo>
                  <a:lnTo>
                    <a:pt x="147719" y="209664"/>
                  </a:lnTo>
                  <a:lnTo>
                    <a:pt x="152484" y="247786"/>
                  </a:lnTo>
                  <a:lnTo>
                    <a:pt x="142954" y="300202"/>
                  </a:lnTo>
                  <a:lnTo>
                    <a:pt x="128659" y="324028"/>
                  </a:lnTo>
                  <a:lnTo>
                    <a:pt x="119128" y="333558"/>
                  </a:lnTo>
                  <a:lnTo>
                    <a:pt x="104833" y="357384"/>
                  </a:lnTo>
                  <a:lnTo>
                    <a:pt x="85772" y="362148"/>
                  </a:lnTo>
                  <a:lnTo>
                    <a:pt x="57182" y="400270"/>
                  </a:lnTo>
                  <a:lnTo>
                    <a:pt x="52416" y="409800"/>
                  </a:lnTo>
                  <a:lnTo>
                    <a:pt x="52416" y="424096"/>
                  </a:lnTo>
                  <a:lnTo>
                    <a:pt x="47651" y="424096"/>
                  </a:lnTo>
                  <a:lnTo>
                    <a:pt x="19061" y="419330"/>
                  </a:lnTo>
                  <a:lnTo>
                    <a:pt x="0" y="424096"/>
                  </a:lnTo>
                  <a:lnTo>
                    <a:pt x="0" y="419330"/>
                  </a:lnTo>
                  <a:lnTo>
                    <a:pt x="0" y="381208"/>
                  </a:lnTo>
                  <a:lnTo>
                    <a:pt x="4765" y="319262"/>
                  </a:lnTo>
                  <a:lnTo>
                    <a:pt x="4765" y="271612"/>
                  </a:lnTo>
                  <a:lnTo>
                    <a:pt x="9530" y="228724"/>
                  </a:lnTo>
                  <a:lnTo>
                    <a:pt x="9530" y="195370"/>
                  </a:lnTo>
                  <a:lnTo>
                    <a:pt x="9530" y="147718"/>
                  </a:lnTo>
                  <a:lnTo>
                    <a:pt x="9530" y="109596"/>
                  </a:lnTo>
                  <a:lnTo>
                    <a:pt x="9530" y="95302"/>
                  </a:lnTo>
                  <a:lnTo>
                    <a:pt x="14295" y="81006"/>
                  </a:lnTo>
                  <a:lnTo>
                    <a:pt x="28591" y="76240"/>
                  </a:lnTo>
                  <a:lnTo>
                    <a:pt x="47651" y="85772"/>
                  </a:lnTo>
                  <a:lnTo>
                    <a:pt x="52416" y="90536"/>
                  </a:lnTo>
                  <a:lnTo>
                    <a:pt x="57182" y="90536"/>
                  </a:lnTo>
                  <a:lnTo>
                    <a:pt x="66712" y="85772"/>
                  </a:lnTo>
                  <a:lnTo>
                    <a:pt x="76242" y="66710"/>
                  </a:lnTo>
                  <a:lnTo>
                    <a:pt x="100068" y="28590"/>
                  </a:lnTo>
                  <a:lnTo>
                    <a:pt x="109598" y="476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0" name="Freeform 48">
              <a:extLst>
                <a:ext uri="{FF2B5EF4-FFF2-40B4-BE49-F238E27FC236}">
                  <a16:creationId xmlns:a16="http://schemas.microsoft.com/office/drawing/2014/main" id="{FF0A6957-449A-42DA-9201-C288148116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9570" y="4543717"/>
              <a:ext cx="4625" cy="3854"/>
            </a:xfrm>
            <a:custGeom>
              <a:avLst/>
              <a:gdLst>
                <a:gd name="connsiteX0" fmla="*/ 23824 w 28590"/>
                <a:gd name="connsiteY0" fmla="*/ 0 h 23826"/>
                <a:gd name="connsiteX1" fmla="*/ 28590 w 28590"/>
                <a:gd name="connsiteY1" fmla="*/ 0 h 23826"/>
                <a:gd name="connsiteX2" fmla="*/ 19060 w 28590"/>
                <a:gd name="connsiteY2" fmla="*/ 19060 h 23826"/>
                <a:gd name="connsiteX3" fmla="*/ 4764 w 28590"/>
                <a:gd name="connsiteY3" fmla="*/ 23826 h 23826"/>
                <a:gd name="connsiteX4" fmla="*/ 0 w 28590"/>
                <a:gd name="connsiteY4" fmla="*/ 23826 h 23826"/>
                <a:gd name="connsiteX5" fmla="*/ 14294 w 28590"/>
                <a:gd name="connsiteY5" fmla="*/ 14296 h 23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590" h="23826">
                  <a:moveTo>
                    <a:pt x="23824" y="0"/>
                  </a:moveTo>
                  <a:lnTo>
                    <a:pt x="28590" y="0"/>
                  </a:lnTo>
                  <a:lnTo>
                    <a:pt x="19060" y="19060"/>
                  </a:lnTo>
                  <a:lnTo>
                    <a:pt x="4764" y="23826"/>
                  </a:lnTo>
                  <a:lnTo>
                    <a:pt x="0" y="23826"/>
                  </a:lnTo>
                  <a:lnTo>
                    <a:pt x="14294" y="1429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1" name="Freeform 49">
              <a:extLst>
                <a:ext uri="{FF2B5EF4-FFF2-40B4-BE49-F238E27FC236}">
                  <a16:creationId xmlns:a16="http://schemas.microsoft.com/office/drawing/2014/main" id="{B385F1F0-1F5A-48E8-B540-F946A648B7A7}"/>
                </a:ext>
              </a:extLst>
            </p:cNvPr>
            <p:cNvSpPr/>
            <p:nvPr/>
          </p:nvSpPr>
          <p:spPr bwMode="auto">
            <a:xfrm>
              <a:off x="3538542" y="5656092"/>
              <a:ext cx="306809" cy="347280"/>
            </a:xfrm>
            <a:custGeom>
              <a:avLst/>
              <a:gdLst>
                <a:gd name="connsiteX0" fmla="*/ 90538 w 1896522"/>
                <a:gd name="connsiteY0" fmla="*/ 1017354 h 2146690"/>
                <a:gd name="connsiteX1" fmla="*/ 100068 w 1896522"/>
                <a:gd name="connsiteY1" fmla="*/ 1022120 h 2146690"/>
                <a:gd name="connsiteX2" fmla="*/ 109598 w 1896522"/>
                <a:gd name="connsiteY2" fmla="*/ 1036416 h 2146690"/>
                <a:gd name="connsiteX3" fmla="*/ 119128 w 1896522"/>
                <a:gd name="connsiteY3" fmla="*/ 1041180 h 2146690"/>
                <a:gd name="connsiteX4" fmla="*/ 119128 w 1896522"/>
                <a:gd name="connsiteY4" fmla="*/ 1045946 h 2146690"/>
                <a:gd name="connsiteX5" fmla="*/ 114362 w 1896522"/>
                <a:gd name="connsiteY5" fmla="*/ 1045946 h 2146690"/>
                <a:gd name="connsiteX6" fmla="*/ 109598 w 1896522"/>
                <a:gd name="connsiteY6" fmla="*/ 1041180 h 2146690"/>
                <a:gd name="connsiteX7" fmla="*/ 104832 w 1896522"/>
                <a:gd name="connsiteY7" fmla="*/ 1045946 h 2146690"/>
                <a:gd name="connsiteX8" fmla="*/ 95302 w 1896522"/>
                <a:gd name="connsiteY8" fmla="*/ 1041180 h 2146690"/>
                <a:gd name="connsiteX9" fmla="*/ 81006 w 1896522"/>
                <a:gd name="connsiteY9" fmla="*/ 1041180 h 2146690"/>
                <a:gd name="connsiteX10" fmla="*/ 81006 w 1896522"/>
                <a:gd name="connsiteY10" fmla="*/ 1036416 h 2146690"/>
                <a:gd name="connsiteX11" fmla="*/ 85772 w 1896522"/>
                <a:gd name="connsiteY11" fmla="*/ 1026886 h 2146690"/>
                <a:gd name="connsiteX12" fmla="*/ 85772 w 1896522"/>
                <a:gd name="connsiteY12" fmla="*/ 1022120 h 2146690"/>
                <a:gd name="connsiteX13" fmla="*/ 657588 w 1896522"/>
                <a:gd name="connsiteY13" fmla="*/ 0 h 2146690"/>
                <a:gd name="connsiteX14" fmla="*/ 662352 w 1896522"/>
                <a:gd name="connsiteY14" fmla="*/ 0 h 2146690"/>
                <a:gd name="connsiteX15" fmla="*/ 671884 w 1896522"/>
                <a:gd name="connsiteY15" fmla="*/ 14296 h 2146690"/>
                <a:gd name="connsiteX16" fmla="*/ 676648 w 1896522"/>
                <a:gd name="connsiteY16" fmla="*/ 28590 h 2146690"/>
                <a:gd name="connsiteX17" fmla="*/ 676648 w 1896522"/>
                <a:gd name="connsiteY17" fmla="*/ 38122 h 2146690"/>
                <a:gd name="connsiteX18" fmla="*/ 676648 w 1896522"/>
                <a:gd name="connsiteY18" fmla="*/ 52416 h 2146690"/>
                <a:gd name="connsiteX19" fmla="*/ 681414 w 1896522"/>
                <a:gd name="connsiteY19" fmla="*/ 71476 h 2146690"/>
                <a:gd name="connsiteX20" fmla="*/ 676648 w 1896522"/>
                <a:gd name="connsiteY20" fmla="*/ 85772 h 2146690"/>
                <a:gd name="connsiteX21" fmla="*/ 662352 w 1896522"/>
                <a:gd name="connsiteY21" fmla="*/ 109598 h 2146690"/>
                <a:gd name="connsiteX22" fmla="*/ 657588 w 1896522"/>
                <a:gd name="connsiteY22" fmla="*/ 119128 h 2146690"/>
                <a:gd name="connsiteX23" fmla="*/ 657588 w 1896522"/>
                <a:gd name="connsiteY23" fmla="*/ 128658 h 2146690"/>
                <a:gd name="connsiteX24" fmla="*/ 657588 w 1896522"/>
                <a:gd name="connsiteY24" fmla="*/ 138188 h 2146690"/>
                <a:gd name="connsiteX25" fmla="*/ 662352 w 1896522"/>
                <a:gd name="connsiteY25" fmla="*/ 162014 h 2146690"/>
                <a:gd name="connsiteX26" fmla="*/ 671884 w 1896522"/>
                <a:gd name="connsiteY26" fmla="*/ 185840 h 2146690"/>
                <a:gd name="connsiteX27" fmla="*/ 676648 w 1896522"/>
                <a:gd name="connsiteY27" fmla="*/ 209666 h 2146690"/>
                <a:gd name="connsiteX28" fmla="*/ 667118 w 1896522"/>
                <a:gd name="connsiteY28" fmla="*/ 223962 h 2146690"/>
                <a:gd name="connsiteX29" fmla="*/ 667118 w 1896522"/>
                <a:gd name="connsiteY29" fmla="*/ 233492 h 2146690"/>
                <a:gd name="connsiteX30" fmla="*/ 667118 w 1896522"/>
                <a:gd name="connsiteY30" fmla="*/ 243022 h 2146690"/>
                <a:gd name="connsiteX31" fmla="*/ 667118 w 1896522"/>
                <a:gd name="connsiteY31" fmla="*/ 252552 h 2146690"/>
                <a:gd name="connsiteX32" fmla="*/ 671884 w 1896522"/>
                <a:gd name="connsiteY32" fmla="*/ 257316 h 2146690"/>
                <a:gd name="connsiteX33" fmla="*/ 676648 w 1896522"/>
                <a:gd name="connsiteY33" fmla="*/ 262082 h 2146690"/>
                <a:gd name="connsiteX34" fmla="*/ 676648 w 1896522"/>
                <a:gd name="connsiteY34" fmla="*/ 276378 h 2146690"/>
                <a:gd name="connsiteX35" fmla="*/ 681414 w 1896522"/>
                <a:gd name="connsiteY35" fmla="*/ 285908 h 2146690"/>
                <a:gd name="connsiteX36" fmla="*/ 695708 w 1896522"/>
                <a:gd name="connsiteY36" fmla="*/ 300204 h 2146690"/>
                <a:gd name="connsiteX37" fmla="*/ 700474 w 1896522"/>
                <a:gd name="connsiteY37" fmla="*/ 309734 h 2146690"/>
                <a:gd name="connsiteX38" fmla="*/ 695708 w 1896522"/>
                <a:gd name="connsiteY38" fmla="*/ 319264 h 2146690"/>
                <a:gd name="connsiteX39" fmla="*/ 695708 w 1896522"/>
                <a:gd name="connsiteY39" fmla="*/ 324028 h 2146690"/>
                <a:gd name="connsiteX40" fmla="*/ 700474 w 1896522"/>
                <a:gd name="connsiteY40" fmla="*/ 328794 h 2146690"/>
                <a:gd name="connsiteX41" fmla="*/ 705238 w 1896522"/>
                <a:gd name="connsiteY41" fmla="*/ 324028 h 2146690"/>
                <a:gd name="connsiteX42" fmla="*/ 710004 w 1896522"/>
                <a:gd name="connsiteY42" fmla="*/ 324028 h 2146690"/>
                <a:gd name="connsiteX43" fmla="*/ 719534 w 1896522"/>
                <a:gd name="connsiteY43" fmla="*/ 338324 h 2146690"/>
                <a:gd name="connsiteX44" fmla="*/ 724300 w 1896522"/>
                <a:gd name="connsiteY44" fmla="*/ 352620 h 2146690"/>
                <a:gd name="connsiteX45" fmla="*/ 729064 w 1896522"/>
                <a:gd name="connsiteY45" fmla="*/ 362150 h 2146690"/>
                <a:gd name="connsiteX46" fmla="*/ 738594 w 1896522"/>
                <a:gd name="connsiteY46" fmla="*/ 366914 h 2146690"/>
                <a:gd name="connsiteX47" fmla="*/ 752890 w 1896522"/>
                <a:gd name="connsiteY47" fmla="*/ 366914 h 2146690"/>
                <a:gd name="connsiteX48" fmla="*/ 762420 w 1896522"/>
                <a:gd name="connsiteY48" fmla="*/ 376446 h 2146690"/>
                <a:gd name="connsiteX49" fmla="*/ 776716 w 1896522"/>
                <a:gd name="connsiteY49" fmla="*/ 385976 h 2146690"/>
                <a:gd name="connsiteX50" fmla="*/ 786246 w 1896522"/>
                <a:gd name="connsiteY50" fmla="*/ 395506 h 2146690"/>
                <a:gd name="connsiteX51" fmla="*/ 800542 w 1896522"/>
                <a:gd name="connsiteY51" fmla="*/ 405036 h 2146690"/>
                <a:gd name="connsiteX52" fmla="*/ 805306 w 1896522"/>
                <a:gd name="connsiteY52" fmla="*/ 414566 h 2146690"/>
                <a:gd name="connsiteX53" fmla="*/ 814836 w 1896522"/>
                <a:gd name="connsiteY53" fmla="*/ 433626 h 2146690"/>
                <a:gd name="connsiteX54" fmla="*/ 843428 w 1896522"/>
                <a:gd name="connsiteY54" fmla="*/ 443156 h 2146690"/>
                <a:gd name="connsiteX55" fmla="*/ 872018 w 1896522"/>
                <a:gd name="connsiteY55" fmla="*/ 443156 h 2146690"/>
                <a:gd name="connsiteX56" fmla="*/ 891078 w 1896522"/>
                <a:gd name="connsiteY56" fmla="*/ 447922 h 2146690"/>
                <a:gd name="connsiteX57" fmla="*/ 914904 w 1896522"/>
                <a:gd name="connsiteY57" fmla="*/ 438392 h 2146690"/>
                <a:gd name="connsiteX58" fmla="*/ 929200 w 1896522"/>
                <a:gd name="connsiteY58" fmla="*/ 443156 h 2146690"/>
                <a:gd name="connsiteX59" fmla="*/ 948260 w 1896522"/>
                <a:gd name="connsiteY59" fmla="*/ 447922 h 2146690"/>
                <a:gd name="connsiteX60" fmla="*/ 953026 w 1896522"/>
                <a:gd name="connsiteY60" fmla="*/ 452688 h 2146690"/>
                <a:gd name="connsiteX61" fmla="*/ 967322 w 1896522"/>
                <a:gd name="connsiteY61" fmla="*/ 462218 h 2146690"/>
                <a:gd name="connsiteX62" fmla="*/ 986382 w 1896522"/>
                <a:gd name="connsiteY62" fmla="*/ 471748 h 2146690"/>
                <a:gd name="connsiteX63" fmla="*/ 1000676 w 1896522"/>
                <a:gd name="connsiteY63" fmla="*/ 476512 h 2146690"/>
                <a:gd name="connsiteX64" fmla="*/ 1010208 w 1896522"/>
                <a:gd name="connsiteY64" fmla="*/ 471748 h 2146690"/>
                <a:gd name="connsiteX65" fmla="*/ 1019738 w 1896522"/>
                <a:gd name="connsiteY65" fmla="*/ 466982 h 2146690"/>
                <a:gd name="connsiteX66" fmla="*/ 1029268 w 1896522"/>
                <a:gd name="connsiteY66" fmla="*/ 471748 h 2146690"/>
                <a:gd name="connsiteX67" fmla="*/ 1034032 w 1896522"/>
                <a:gd name="connsiteY67" fmla="*/ 486044 h 2146690"/>
                <a:gd name="connsiteX68" fmla="*/ 1038798 w 1896522"/>
                <a:gd name="connsiteY68" fmla="*/ 495574 h 2146690"/>
                <a:gd name="connsiteX69" fmla="*/ 1043564 w 1896522"/>
                <a:gd name="connsiteY69" fmla="*/ 500338 h 2146690"/>
                <a:gd name="connsiteX70" fmla="*/ 1062624 w 1896522"/>
                <a:gd name="connsiteY70" fmla="*/ 519398 h 2146690"/>
                <a:gd name="connsiteX71" fmla="*/ 1076918 w 1896522"/>
                <a:gd name="connsiteY71" fmla="*/ 521782 h 2146690"/>
                <a:gd name="connsiteX72" fmla="*/ 1086450 w 1896522"/>
                <a:gd name="connsiteY72" fmla="*/ 521782 h 2146690"/>
                <a:gd name="connsiteX73" fmla="*/ 1115040 w 1896522"/>
                <a:gd name="connsiteY73" fmla="*/ 531312 h 2146690"/>
                <a:gd name="connsiteX74" fmla="*/ 1138866 w 1896522"/>
                <a:gd name="connsiteY74" fmla="*/ 540842 h 2146690"/>
                <a:gd name="connsiteX75" fmla="*/ 1153162 w 1896522"/>
                <a:gd name="connsiteY75" fmla="*/ 545608 h 2146690"/>
                <a:gd name="connsiteX76" fmla="*/ 1167456 w 1896522"/>
                <a:gd name="connsiteY76" fmla="*/ 545608 h 2146690"/>
                <a:gd name="connsiteX77" fmla="*/ 1176986 w 1896522"/>
                <a:gd name="connsiteY77" fmla="*/ 550372 h 2146690"/>
                <a:gd name="connsiteX78" fmla="*/ 1181752 w 1896522"/>
                <a:gd name="connsiteY78" fmla="*/ 559902 h 2146690"/>
                <a:gd name="connsiteX79" fmla="*/ 1205578 w 1896522"/>
                <a:gd name="connsiteY79" fmla="*/ 588494 h 2146690"/>
                <a:gd name="connsiteX80" fmla="*/ 1215108 w 1896522"/>
                <a:gd name="connsiteY80" fmla="*/ 598024 h 2146690"/>
                <a:gd name="connsiteX81" fmla="*/ 1229402 w 1896522"/>
                <a:gd name="connsiteY81" fmla="*/ 607554 h 2146690"/>
                <a:gd name="connsiteX82" fmla="*/ 1262758 w 1896522"/>
                <a:gd name="connsiteY82" fmla="*/ 607554 h 2146690"/>
                <a:gd name="connsiteX83" fmla="*/ 1272290 w 1896522"/>
                <a:gd name="connsiteY83" fmla="*/ 607554 h 2146690"/>
                <a:gd name="connsiteX84" fmla="*/ 1286584 w 1896522"/>
                <a:gd name="connsiteY84" fmla="*/ 607554 h 2146690"/>
                <a:gd name="connsiteX85" fmla="*/ 1329470 w 1896522"/>
                <a:gd name="connsiteY85" fmla="*/ 602788 h 2146690"/>
                <a:gd name="connsiteX86" fmla="*/ 1339002 w 1896522"/>
                <a:gd name="connsiteY86" fmla="*/ 602788 h 2146690"/>
                <a:gd name="connsiteX87" fmla="*/ 1362826 w 1896522"/>
                <a:gd name="connsiteY87" fmla="*/ 612318 h 2146690"/>
                <a:gd name="connsiteX88" fmla="*/ 1396182 w 1896522"/>
                <a:gd name="connsiteY88" fmla="*/ 631380 h 2146690"/>
                <a:gd name="connsiteX89" fmla="*/ 1415242 w 1896522"/>
                <a:gd name="connsiteY89" fmla="*/ 640910 h 2146690"/>
                <a:gd name="connsiteX90" fmla="*/ 1429538 w 1896522"/>
                <a:gd name="connsiteY90" fmla="*/ 650440 h 2146690"/>
                <a:gd name="connsiteX91" fmla="*/ 1434304 w 1896522"/>
                <a:gd name="connsiteY91" fmla="*/ 659970 h 2146690"/>
                <a:gd name="connsiteX92" fmla="*/ 1443834 w 1896522"/>
                <a:gd name="connsiteY92" fmla="*/ 674266 h 2146690"/>
                <a:gd name="connsiteX93" fmla="*/ 1443834 w 1896522"/>
                <a:gd name="connsiteY93" fmla="*/ 683796 h 2146690"/>
                <a:gd name="connsiteX94" fmla="*/ 1439068 w 1896522"/>
                <a:gd name="connsiteY94" fmla="*/ 698092 h 2146690"/>
                <a:gd name="connsiteX95" fmla="*/ 1434304 w 1896522"/>
                <a:gd name="connsiteY95" fmla="*/ 702856 h 2146690"/>
                <a:gd name="connsiteX96" fmla="*/ 1434304 w 1896522"/>
                <a:gd name="connsiteY96" fmla="*/ 712386 h 2146690"/>
                <a:gd name="connsiteX97" fmla="*/ 1434304 w 1896522"/>
                <a:gd name="connsiteY97" fmla="*/ 726682 h 2146690"/>
                <a:gd name="connsiteX98" fmla="*/ 1443834 w 1896522"/>
                <a:gd name="connsiteY98" fmla="*/ 736212 h 2146690"/>
                <a:gd name="connsiteX99" fmla="*/ 1448598 w 1896522"/>
                <a:gd name="connsiteY99" fmla="*/ 750508 h 2146690"/>
                <a:gd name="connsiteX100" fmla="*/ 1453364 w 1896522"/>
                <a:gd name="connsiteY100" fmla="*/ 774334 h 2146690"/>
                <a:gd name="connsiteX101" fmla="*/ 1462894 w 1896522"/>
                <a:gd name="connsiteY101" fmla="*/ 783864 h 2146690"/>
                <a:gd name="connsiteX102" fmla="*/ 1462894 w 1896522"/>
                <a:gd name="connsiteY102" fmla="*/ 860106 h 2146690"/>
                <a:gd name="connsiteX103" fmla="*/ 1443834 w 1896522"/>
                <a:gd name="connsiteY103" fmla="*/ 860106 h 2146690"/>
                <a:gd name="connsiteX104" fmla="*/ 1415242 w 1896522"/>
                <a:gd name="connsiteY104" fmla="*/ 860106 h 2146690"/>
                <a:gd name="connsiteX105" fmla="*/ 1424774 w 1896522"/>
                <a:gd name="connsiteY105" fmla="*/ 869636 h 2146690"/>
                <a:gd name="connsiteX106" fmla="*/ 1448598 w 1896522"/>
                <a:gd name="connsiteY106" fmla="*/ 893462 h 2146690"/>
                <a:gd name="connsiteX107" fmla="*/ 1467660 w 1896522"/>
                <a:gd name="connsiteY107" fmla="*/ 922052 h 2146690"/>
                <a:gd name="connsiteX108" fmla="*/ 1472424 w 1896522"/>
                <a:gd name="connsiteY108" fmla="*/ 964938 h 2146690"/>
                <a:gd name="connsiteX109" fmla="*/ 1477190 w 1896522"/>
                <a:gd name="connsiteY109" fmla="*/ 988764 h 2146690"/>
                <a:gd name="connsiteX110" fmla="*/ 1477190 w 1896522"/>
                <a:gd name="connsiteY110" fmla="*/ 1026886 h 2146690"/>
                <a:gd name="connsiteX111" fmla="*/ 1481954 w 1896522"/>
                <a:gd name="connsiteY111" fmla="*/ 1050710 h 2146690"/>
                <a:gd name="connsiteX112" fmla="*/ 1534372 w 1896522"/>
                <a:gd name="connsiteY112" fmla="*/ 1050710 h 2146690"/>
                <a:gd name="connsiteX113" fmla="*/ 1596318 w 1896522"/>
                <a:gd name="connsiteY113" fmla="*/ 1055476 h 2146690"/>
                <a:gd name="connsiteX114" fmla="*/ 1667794 w 1896522"/>
                <a:gd name="connsiteY114" fmla="*/ 1055476 h 2146690"/>
                <a:gd name="connsiteX115" fmla="*/ 1734506 w 1896522"/>
                <a:gd name="connsiteY115" fmla="*/ 1060240 h 2146690"/>
                <a:gd name="connsiteX116" fmla="*/ 1744036 w 1896522"/>
                <a:gd name="connsiteY116" fmla="*/ 1060240 h 2146690"/>
                <a:gd name="connsiteX117" fmla="*/ 1753568 w 1896522"/>
                <a:gd name="connsiteY117" fmla="*/ 1055476 h 2146690"/>
                <a:gd name="connsiteX118" fmla="*/ 1763098 w 1896522"/>
                <a:gd name="connsiteY118" fmla="*/ 1050710 h 2146690"/>
                <a:gd name="connsiteX119" fmla="*/ 1767862 w 1896522"/>
                <a:gd name="connsiteY119" fmla="*/ 1050710 h 2146690"/>
                <a:gd name="connsiteX120" fmla="*/ 1767862 w 1896522"/>
                <a:gd name="connsiteY120" fmla="*/ 1060240 h 2146690"/>
                <a:gd name="connsiteX121" fmla="*/ 1763098 w 1896522"/>
                <a:gd name="connsiteY121" fmla="*/ 1074536 h 2146690"/>
                <a:gd name="connsiteX122" fmla="*/ 1763098 w 1896522"/>
                <a:gd name="connsiteY122" fmla="*/ 1084066 h 2146690"/>
                <a:gd name="connsiteX123" fmla="*/ 1744036 w 1896522"/>
                <a:gd name="connsiteY123" fmla="*/ 1112658 h 2146690"/>
                <a:gd name="connsiteX124" fmla="*/ 1744036 w 1896522"/>
                <a:gd name="connsiteY124" fmla="*/ 1122188 h 2146690"/>
                <a:gd name="connsiteX125" fmla="*/ 1748802 w 1896522"/>
                <a:gd name="connsiteY125" fmla="*/ 1155544 h 2146690"/>
                <a:gd name="connsiteX126" fmla="*/ 1753568 w 1896522"/>
                <a:gd name="connsiteY126" fmla="*/ 1184134 h 2146690"/>
                <a:gd name="connsiteX127" fmla="*/ 1758332 w 1896522"/>
                <a:gd name="connsiteY127" fmla="*/ 1207960 h 2146690"/>
                <a:gd name="connsiteX128" fmla="*/ 1763098 w 1896522"/>
                <a:gd name="connsiteY128" fmla="*/ 1217490 h 2146690"/>
                <a:gd name="connsiteX129" fmla="*/ 1786922 w 1896522"/>
                <a:gd name="connsiteY129" fmla="*/ 1227020 h 2146690"/>
                <a:gd name="connsiteX130" fmla="*/ 1820278 w 1896522"/>
                <a:gd name="connsiteY130" fmla="*/ 1255612 h 2146690"/>
                <a:gd name="connsiteX131" fmla="*/ 1834574 w 1896522"/>
                <a:gd name="connsiteY131" fmla="*/ 1255612 h 2146690"/>
                <a:gd name="connsiteX132" fmla="*/ 1844104 w 1896522"/>
                <a:gd name="connsiteY132" fmla="*/ 1250846 h 2146690"/>
                <a:gd name="connsiteX133" fmla="*/ 1853634 w 1896522"/>
                <a:gd name="connsiteY133" fmla="*/ 1265142 h 2146690"/>
                <a:gd name="connsiteX134" fmla="*/ 1853634 w 1896522"/>
                <a:gd name="connsiteY134" fmla="*/ 1279436 h 2146690"/>
                <a:gd name="connsiteX135" fmla="*/ 1872696 w 1896522"/>
                <a:gd name="connsiteY135" fmla="*/ 1322322 h 2146690"/>
                <a:gd name="connsiteX136" fmla="*/ 1882226 w 1896522"/>
                <a:gd name="connsiteY136" fmla="*/ 1350914 h 2146690"/>
                <a:gd name="connsiteX137" fmla="*/ 1886990 w 1896522"/>
                <a:gd name="connsiteY137" fmla="*/ 1365210 h 2146690"/>
                <a:gd name="connsiteX138" fmla="*/ 1896522 w 1896522"/>
                <a:gd name="connsiteY138" fmla="*/ 1369974 h 2146690"/>
                <a:gd name="connsiteX139" fmla="*/ 1886990 w 1896522"/>
                <a:gd name="connsiteY139" fmla="*/ 1374740 h 2146690"/>
                <a:gd name="connsiteX140" fmla="*/ 1886990 w 1896522"/>
                <a:gd name="connsiteY140" fmla="*/ 1379504 h 2146690"/>
                <a:gd name="connsiteX141" fmla="*/ 1877460 w 1896522"/>
                <a:gd name="connsiteY141" fmla="*/ 1412860 h 2146690"/>
                <a:gd name="connsiteX142" fmla="*/ 1863166 w 1896522"/>
                <a:gd name="connsiteY142" fmla="*/ 1455746 h 2146690"/>
                <a:gd name="connsiteX143" fmla="*/ 1853634 w 1896522"/>
                <a:gd name="connsiteY143" fmla="*/ 1484338 h 2146690"/>
                <a:gd name="connsiteX144" fmla="*/ 1863166 w 1896522"/>
                <a:gd name="connsiteY144" fmla="*/ 1484338 h 2146690"/>
                <a:gd name="connsiteX145" fmla="*/ 1863166 w 1896522"/>
                <a:gd name="connsiteY145" fmla="*/ 1493868 h 2146690"/>
                <a:gd name="connsiteX146" fmla="*/ 1863166 w 1896522"/>
                <a:gd name="connsiteY146" fmla="*/ 1503398 h 2146690"/>
                <a:gd name="connsiteX147" fmla="*/ 1853634 w 1896522"/>
                <a:gd name="connsiteY147" fmla="*/ 1508162 h 2146690"/>
                <a:gd name="connsiteX148" fmla="*/ 1848870 w 1896522"/>
                <a:gd name="connsiteY148" fmla="*/ 1512928 h 2146690"/>
                <a:gd name="connsiteX149" fmla="*/ 1839340 w 1896522"/>
                <a:gd name="connsiteY149" fmla="*/ 1536754 h 2146690"/>
                <a:gd name="connsiteX150" fmla="*/ 1825044 w 1896522"/>
                <a:gd name="connsiteY150" fmla="*/ 1570110 h 2146690"/>
                <a:gd name="connsiteX151" fmla="*/ 1805984 w 1896522"/>
                <a:gd name="connsiteY151" fmla="*/ 1598700 h 2146690"/>
                <a:gd name="connsiteX152" fmla="*/ 1801218 w 1896522"/>
                <a:gd name="connsiteY152" fmla="*/ 1622526 h 2146690"/>
                <a:gd name="connsiteX153" fmla="*/ 1815514 w 1896522"/>
                <a:gd name="connsiteY153" fmla="*/ 1636822 h 2146690"/>
                <a:gd name="connsiteX154" fmla="*/ 1839340 w 1896522"/>
                <a:gd name="connsiteY154" fmla="*/ 1660646 h 2146690"/>
                <a:gd name="connsiteX155" fmla="*/ 1839340 w 1896522"/>
                <a:gd name="connsiteY155" fmla="*/ 1665412 h 2146690"/>
                <a:gd name="connsiteX156" fmla="*/ 1825044 w 1896522"/>
                <a:gd name="connsiteY156" fmla="*/ 1670178 h 2146690"/>
                <a:gd name="connsiteX157" fmla="*/ 1815514 w 1896522"/>
                <a:gd name="connsiteY157" fmla="*/ 1670178 h 2146690"/>
                <a:gd name="connsiteX158" fmla="*/ 1810748 w 1896522"/>
                <a:gd name="connsiteY158" fmla="*/ 1679708 h 2146690"/>
                <a:gd name="connsiteX159" fmla="*/ 1805984 w 1896522"/>
                <a:gd name="connsiteY159" fmla="*/ 1689238 h 2146690"/>
                <a:gd name="connsiteX160" fmla="*/ 1796454 w 1896522"/>
                <a:gd name="connsiteY160" fmla="*/ 1689238 h 2146690"/>
                <a:gd name="connsiteX161" fmla="*/ 1796454 w 1896522"/>
                <a:gd name="connsiteY161" fmla="*/ 1665412 h 2146690"/>
                <a:gd name="connsiteX162" fmla="*/ 1796454 w 1896522"/>
                <a:gd name="connsiteY162" fmla="*/ 1636822 h 2146690"/>
                <a:gd name="connsiteX163" fmla="*/ 1791688 w 1896522"/>
                <a:gd name="connsiteY163" fmla="*/ 1632056 h 2146690"/>
                <a:gd name="connsiteX164" fmla="*/ 1744036 w 1896522"/>
                <a:gd name="connsiteY164" fmla="*/ 1603466 h 2146690"/>
                <a:gd name="connsiteX165" fmla="*/ 1705916 w 1896522"/>
                <a:gd name="connsiteY165" fmla="*/ 1579640 h 2146690"/>
                <a:gd name="connsiteX166" fmla="*/ 1648734 w 1896522"/>
                <a:gd name="connsiteY166" fmla="*/ 1546284 h 2146690"/>
                <a:gd name="connsiteX167" fmla="*/ 1577258 w 1896522"/>
                <a:gd name="connsiteY167" fmla="*/ 1546284 h 2146690"/>
                <a:gd name="connsiteX168" fmla="*/ 1505780 w 1896522"/>
                <a:gd name="connsiteY168" fmla="*/ 1546284 h 2146690"/>
                <a:gd name="connsiteX169" fmla="*/ 1434304 w 1896522"/>
                <a:gd name="connsiteY169" fmla="*/ 1560580 h 2146690"/>
                <a:gd name="connsiteX170" fmla="*/ 1367592 w 1896522"/>
                <a:gd name="connsiteY170" fmla="*/ 1574874 h 2146690"/>
                <a:gd name="connsiteX171" fmla="*/ 1334236 w 1896522"/>
                <a:gd name="connsiteY171" fmla="*/ 1584406 h 2146690"/>
                <a:gd name="connsiteX172" fmla="*/ 1272290 w 1896522"/>
                <a:gd name="connsiteY172" fmla="*/ 1598700 h 2146690"/>
                <a:gd name="connsiteX173" fmla="*/ 1234168 w 1896522"/>
                <a:gd name="connsiteY173" fmla="*/ 1603466 h 2146690"/>
                <a:gd name="connsiteX174" fmla="*/ 1224638 w 1896522"/>
                <a:gd name="connsiteY174" fmla="*/ 1632056 h 2146690"/>
                <a:gd name="connsiteX175" fmla="*/ 1210342 w 1896522"/>
                <a:gd name="connsiteY175" fmla="*/ 1670178 h 2146690"/>
                <a:gd name="connsiteX176" fmla="*/ 1191282 w 1896522"/>
                <a:gd name="connsiteY176" fmla="*/ 1694002 h 2146690"/>
                <a:gd name="connsiteX177" fmla="*/ 1176986 w 1896522"/>
                <a:gd name="connsiteY177" fmla="*/ 1722594 h 2146690"/>
                <a:gd name="connsiteX178" fmla="*/ 1153162 w 1896522"/>
                <a:gd name="connsiteY178" fmla="*/ 1755950 h 2146690"/>
                <a:gd name="connsiteX179" fmla="*/ 1153162 w 1896522"/>
                <a:gd name="connsiteY179" fmla="*/ 1841722 h 2146690"/>
                <a:gd name="connsiteX180" fmla="*/ 1134100 w 1896522"/>
                <a:gd name="connsiteY180" fmla="*/ 1898904 h 2146690"/>
                <a:gd name="connsiteX181" fmla="*/ 1119806 w 1896522"/>
                <a:gd name="connsiteY181" fmla="*/ 1946554 h 2146690"/>
                <a:gd name="connsiteX182" fmla="*/ 1105510 w 1896522"/>
                <a:gd name="connsiteY182" fmla="*/ 1994206 h 2146690"/>
                <a:gd name="connsiteX183" fmla="*/ 1095980 w 1896522"/>
                <a:gd name="connsiteY183" fmla="*/ 2027562 h 2146690"/>
                <a:gd name="connsiteX184" fmla="*/ 1091214 w 1896522"/>
                <a:gd name="connsiteY184" fmla="*/ 2037092 h 2146690"/>
                <a:gd name="connsiteX185" fmla="*/ 1076918 w 1896522"/>
                <a:gd name="connsiteY185" fmla="*/ 2022796 h 2146690"/>
                <a:gd name="connsiteX186" fmla="*/ 1067388 w 1896522"/>
                <a:gd name="connsiteY186" fmla="*/ 2008502 h 2146690"/>
                <a:gd name="connsiteX187" fmla="*/ 1062624 w 1896522"/>
                <a:gd name="connsiteY187" fmla="*/ 1998970 h 2146690"/>
                <a:gd name="connsiteX188" fmla="*/ 995912 w 1896522"/>
                <a:gd name="connsiteY188" fmla="*/ 1998970 h 2146690"/>
                <a:gd name="connsiteX189" fmla="*/ 933966 w 1896522"/>
                <a:gd name="connsiteY189" fmla="*/ 1998970 h 2146690"/>
                <a:gd name="connsiteX190" fmla="*/ 924434 w 1896522"/>
                <a:gd name="connsiteY190" fmla="*/ 2003736 h 2146690"/>
                <a:gd name="connsiteX191" fmla="*/ 919670 w 1896522"/>
                <a:gd name="connsiteY191" fmla="*/ 2003736 h 2146690"/>
                <a:gd name="connsiteX192" fmla="*/ 910140 w 1896522"/>
                <a:gd name="connsiteY192" fmla="*/ 1998970 h 2146690"/>
                <a:gd name="connsiteX193" fmla="*/ 905374 w 1896522"/>
                <a:gd name="connsiteY193" fmla="*/ 1998970 h 2146690"/>
                <a:gd name="connsiteX194" fmla="*/ 895844 w 1896522"/>
                <a:gd name="connsiteY194" fmla="*/ 2003736 h 2146690"/>
                <a:gd name="connsiteX195" fmla="*/ 886314 w 1896522"/>
                <a:gd name="connsiteY195" fmla="*/ 2008502 h 2146690"/>
                <a:gd name="connsiteX196" fmla="*/ 862488 w 1896522"/>
                <a:gd name="connsiteY196" fmla="*/ 2060918 h 2146690"/>
                <a:gd name="connsiteX197" fmla="*/ 848192 w 1896522"/>
                <a:gd name="connsiteY197" fmla="*/ 2079978 h 2146690"/>
                <a:gd name="connsiteX198" fmla="*/ 838662 w 1896522"/>
                <a:gd name="connsiteY198" fmla="*/ 2099038 h 2146690"/>
                <a:gd name="connsiteX199" fmla="*/ 833898 w 1896522"/>
                <a:gd name="connsiteY199" fmla="*/ 2132394 h 2146690"/>
                <a:gd name="connsiteX200" fmla="*/ 829132 w 1896522"/>
                <a:gd name="connsiteY200" fmla="*/ 2137160 h 2146690"/>
                <a:gd name="connsiteX201" fmla="*/ 824368 w 1896522"/>
                <a:gd name="connsiteY201" fmla="*/ 2127630 h 2146690"/>
                <a:gd name="connsiteX202" fmla="*/ 814836 w 1896522"/>
                <a:gd name="connsiteY202" fmla="*/ 2099038 h 2146690"/>
                <a:gd name="connsiteX203" fmla="*/ 810072 w 1896522"/>
                <a:gd name="connsiteY203" fmla="*/ 2079978 h 2146690"/>
                <a:gd name="connsiteX204" fmla="*/ 800542 w 1896522"/>
                <a:gd name="connsiteY204" fmla="*/ 2060918 h 2146690"/>
                <a:gd name="connsiteX205" fmla="*/ 786246 w 1896522"/>
                <a:gd name="connsiteY205" fmla="*/ 2037092 h 2146690"/>
                <a:gd name="connsiteX206" fmla="*/ 771950 w 1896522"/>
                <a:gd name="connsiteY206" fmla="*/ 2027562 h 2146690"/>
                <a:gd name="connsiteX207" fmla="*/ 762420 w 1896522"/>
                <a:gd name="connsiteY207" fmla="*/ 2027562 h 2146690"/>
                <a:gd name="connsiteX208" fmla="*/ 752890 w 1896522"/>
                <a:gd name="connsiteY208" fmla="*/ 2022796 h 2146690"/>
                <a:gd name="connsiteX209" fmla="*/ 729064 w 1896522"/>
                <a:gd name="connsiteY209" fmla="*/ 2018032 h 2146690"/>
                <a:gd name="connsiteX210" fmla="*/ 719534 w 1896522"/>
                <a:gd name="connsiteY210" fmla="*/ 2013266 h 2146690"/>
                <a:gd name="connsiteX211" fmla="*/ 652822 w 1896522"/>
                <a:gd name="connsiteY211" fmla="*/ 2013266 h 2146690"/>
                <a:gd name="connsiteX212" fmla="*/ 643292 w 1896522"/>
                <a:gd name="connsiteY212" fmla="*/ 2013266 h 2146690"/>
                <a:gd name="connsiteX213" fmla="*/ 619466 w 1896522"/>
                <a:gd name="connsiteY213" fmla="*/ 2018032 h 2146690"/>
                <a:gd name="connsiteX214" fmla="*/ 605172 w 1896522"/>
                <a:gd name="connsiteY214" fmla="*/ 2013266 h 2146690"/>
                <a:gd name="connsiteX215" fmla="*/ 590876 w 1896522"/>
                <a:gd name="connsiteY215" fmla="*/ 2003736 h 2146690"/>
                <a:gd name="connsiteX216" fmla="*/ 562286 w 1896522"/>
                <a:gd name="connsiteY216" fmla="*/ 1979910 h 2146690"/>
                <a:gd name="connsiteX217" fmla="*/ 552754 w 1896522"/>
                <a:gd name="connsiteY217" fmla="*/ 1970380 h 2146690"/>
                <a:gd name="connsiteX218" fmla="*/ 543224 w 1896522"/>
                <a:gd name="connsiteY218" fmla="*/ 1965616 h 2146690"/>
                <a:gd name="connsiteX219" fmla="*/ 533694 w 1896522"/>
                <a:gd name="connsiteY219" fmla="*/ 1965616 h 2146690"/>
                <a:gd name="connsiteX220" fmla="*/ 533694 w 1896522"/>
                <a:gd name="connsiteY220" fmla="*/ 1970380 h 2146690"/>
                <a:gd name="connsiteX221" fmla="*/ 524164 w 1896522"/>
                <a:gd name="connsiteY221" fmla="*/ 1989440 h 2146690"/>
                <a:gd name="connsiteX222" fmla="*/ 519398 w 1896522"/>
                <a:gd name="connsiteY222" fmla="*/ 2008502 h 2146690"/>
                <a:gd name="connsiteX223" fmla="*/ 514634 w 1896522"/>
                <a:gd name="connsiteY223" fmla="*/ 2018032 h 2146690"/>
                <a:gd name="connsiteX224" fmla="*/ 490808 w 1896522"/>
                <a:gd name="connsiteY224" fmla="*/ 2022796 h 2146690"/>
                <a:gd name="connsiteX225" fmla="*/ 471748 w 1896522"/>
                <a:gd name="connsiteY225" fmla="*/ 2032326 h 2146690"/>
                <a:gd name="connsiteX226" fmla="*/ 457452 w 1896522"/>
                <a:gd name="connsiteY226" fmla="*/ 2037092 h 2146690"/>
                <a:gd name="connsiteX227" fmla="*/ 452688 w 1896522"/>
                <a:gd name="connsiteY227" fmla="*/ 2041858 h 2146690"/>
                <a:gd name="connsiteX228" fmla="*/ 452688 w 1896522"/>
                <a:gd name="connsiteY228" fmla="*/ 2056152 h 2146690"/>
                <a:gd name="connsiteX229" fmla="*/ 443156 w 1896522"/>
                <a:gd name="connsiteY229" fmla="*/ 2065682 h 2146690"/>
                <a:gd name="connsiteX230" fmla="*/ 414566 w 1896522"/>
                <a:gd name="connsiteY230" fmla="*/ 2084744 h 2146690"/>
                <a:gd name="connsiteX231" fmla="*/ 409802 w 1896522"/>
                <a:gd name="connsiteY231" fmla="*/ 2089508 h 2146690"/>
                <a:gd name="connsiteX232" fmla="*/ 405036 w 1896522"/>
                <a:gd name="connsiteY232" fmla="*/ 2108570 h 2146690"/>
                <a:gd name="connsiteX233" fmla="*/ 390740 w 1896522"/>
                <a:gd name="connsiteY233" fmla="*/ 2127630 h 2146690"/>
                <a:gd name="connsiteX234" fmla="*/ 381210 w 1896522"/>
                <a:gd name="connsiteY234" fmla="*/ 2137160 h 2146690"/>
                <a:gd name="connsiteX235" fmla="*/ 357384 w 1896522"/>
                <a:gd name="connsiteY235" fmla="*/ 2141924 h 2146690"/>
                <a:gd name="connsiteX236" fmla="*/ 324028 w 1896522"/>
                <a:gd name="connsiteY236" fmla="*/ 2146690 h 2146690"/>
                <a:gd name="connsiteX237" fmla="*/ 304968 w 1896522"/>
                <a:gd name="connsiteY237" fmla="*/ 2146690 h 2146690"/>
                <a:gd name="connsiteX238" fmla="*/ 290672 w 1896522"/>
                <a:gd name="connsiteY238" fmla="*/ 2146690 h 2146690"/>
                <a:gd name="connsiteX239" fmla="*/ 285908 w 1896522"/>
                <a:gd name="connsiteY239" fmla="*/ 2141924 h 2146690"/>
                <a:gd name="connsiteX240" fmla="*/ 276378 w 1896522"/>
                <a:gd name="connsiteY240" fmla="*/ 2137160 h 2146690"/>
                <a:gd name="connsiteX241" fmla="*/ 276378 w 1896522"/>
                <a:gd name="connsiteY241" fmla="*/ 2132394 h 2146690"/>
                <a:gd name="connsiteX242" fmla="*/ 276378 w 1896522"/>
                <a:gd name="connsiteY242" fmla="*/ 2122864 h 2146690"/>
                <a:gd name="connsiteX243" fmla="*/ 276378 w 1896522"/>
                <a:gd name="connsiteY243" fmla="*/ 2103804 h 2146690"/>
                <a:gd name="connsiteX244" fmla="*/ 276378 w 1896522"/>
                <a:gd name="connsiteY244" fmla="*/ 2079978 h 2146690"/>
                <a:gd name="connsiteX245" fmla="*/ 266848 w 1896522"/>
                <a:gd name="connsiteY245" fmla="*/ 2056152 h 2146690"/>
                <a:gd name="connsiteX246" fmla="*/ 266848 w 1896522"/>
                <a:gd name="connsiteY246" fmla="*/ 2046622 h 2146690"/>
                <a:gd name="connsiteX247" fmla="*/ 266848 w 1896522"/>
                <a:gd name="connsiteY247" fmla="*/ 2032326 h 2146690"/>
                <a:gd name="connsiteX248" fmla="*/ 257316 w 1896522"/>
                <a:gd name="connsiteY248" fmla="*/ 2008502 h 2146690"/>
                <a:gd name="connsiteX249" fmla="*/ 247786 w 1896522"/>
                <a:gd name="connsiteY249" fmla="*/ 1994206 h 2146690"/>
                <a:gd name="connsiteX250" fmla="*/ 243022 w 1896522"/>
                <a:gd name="connsiteY250" fmla="*/ 1975146 h 2146690"/>
                <a:gd name="connsiteX251" fmla="*/ 238256 w 1896522"/>
                <a:gd name="connsiteY251" fmla="*/ 1956084 h 2146690"/>
                <a:gd name="connsiteX252" fmla="*/ 228726 w 1896522"/>
                <a:gd name="connsiteY252" fmla="*/ 1932260 h 2146690"/>
                <a:gd name="connsiteX253" fmla="*/ 228726 w 1896522"/>
                <a:gd name="connsiteY253" fmla="*/ 1903668 h 2146690"/>
                <a:gd name="connsiteX254" fmla="*/ 228726 w 1896522"/>
                <a:gd name="connsiteY254" fmla="*/ 1879842 h 2146690"/>
                <a:gd name="connsiteX255" fmla="*/ 209666 w 1896522"/>
                <a:gd name="connsiteY255" fmla="*/ 1851252 h 2146690"/>
                <a:gd name="connsiteX256" fmla="*/ 190606 w 1896522"/>
                <a:gd name="connsiteY256" fmla="*/ 1822662 h 2146690"/>
                <a:gd name="connsiteX257" fmla="*/ 176310 w 1896522"/>
                <a:gd name="connsiteY257" fmla="*/ 1817896 h 2146690"/>
                <a:gd name="connsiteX258" fmla="*/ 171544 w 1896522"/>
                <a:gd name="connsiteY258" fmla="*/ 1813132 h 2146690"/>
                <a:gd name="connsiteX259" fmla="*/ 171544 w 1896522"/>
                <a:gd name="connsiteY259" fmla="*/ 1803600 h 2146690"/>
                <a:gd name="connsiteX260" fmla="*/ 166780 w 1896522"/>
                <a:gd name="connsiteY260" fmla="*/ 1789306 h 2146690"/>
                <a:gd name="connsiteX261" fmla="*/ 171544 w 1896522"/>
                <a:gd name="connsiteY261" fmla="*/ 1784540 h 2146690"/>
                <a:gd name="connsiteX262" fmla="*/ 181074 w 1896522"/>
                <a:gd name="connsiteY262" fmla="*/ 1770244 h 2146690"/>
                <a:gd name="connsiteX263" fmla="*/ 181074 w 1896522"/>
                <a:gd name="connsiteY263" fmla="*/ 1765480 h 2146690"/>
                <a:gd name="connsiteX264" fmla="*/ 147718 w 1896522"/>
                <a:gd name="connsiteY264" fmla="*/ 1746420 h 2146690"/>
                <a:gd name="connsiteX265" fmla="*/ 142954 w 1896522"/>
                <a:gd name="connsiteY265" fmla="*/ 1741654 h 2146690"/>
                <a:gd name="connsiteX266" fmla="*/ 138188 w 1896522"/>
                <a:gd name="connsiteY266" fmla="*/ 1732124 h 2146690"/>
                <a:gd name="connsiteX267" fmla="*/ 138188 w 1896522"/>
                <a:gd name="connsiteY267" fmla="*/ 1727358 h 2146690"/>
                <a:gd name="connsiteX268" fmla="*/ 147718 w 1896522"/>
                <a:gd name="connsiteY268" fmla="*/ 1717828 h 2146690"/>
                <a:gd name="connsiteX269" fmla="*/ 152484 w 1896522"/>
                <a:gd name="connsiteY269" fmla="*/ 1713064 h 2146690"/>
                <a:gd name="connsiteX270" fmla="*/ 142954 w 1896522"/>
                <a:gd name="connsiteY270" fmla="*/ 1698768 h 2146690"/>
                <a:gd name="connsiteX271" fmla="*/ 142954 w 1896522"/>
                <a:gd name="connsiteY271" fmla="*/ 1689238 h 2146690"/>
                <a:gd name="connsiteX272" fmla="*/ 138188 w 1896522"/>
                <a:gd name="connsiteY272" fmla="*/ 1684472 h 2146690"/>
                <a:gd name="connsiteX273" fmla="*/ 138188 w 1896522"/>
                <a:gd name="connsiteY273" fmla="*/ 1679708 h 2146690"/>
                <a:gd name="connsiteX274" fmla="*/ 142954 w 1896522"/>
                <a:gd name="connsiteY274" fmla="*/ 1674942 h 2146690"/>
                <a:gd name="connsiteX275" fmla="*/ 162014 w 1896522"/>
                <a:gd name="connsiteY275" fmla="*/ 1670178 h 2146690"/>
                <a:gd name="connsiteX276" fmla="*/ 171544 w 1896522"/>
                <a:gd name="connsiteY276" fmla="*/ 1655882 h 2146690"/>
                <a:gd name="connsiteX277" fmla="*/ 171544 w 1896522"/>
                <a:gd name="connsiteY277" fmla="*/ 1646352 h 2146690"/>
                <a:gd name="connsiteX278" fmla="*/ 166780 w 1896522"/>
                <a:gd name="connsiteY278" fmla="*/ 1641586 h 2146690"/>
                <a:gd name="connsiteX279" fmla="*/ 147718 w 1896522"/>
                <a:gd name="connsiteY279" fmla="*/ 1617760 h 2146690"/>
                <a:gd name="connsiteX280" fmla="*/ 166780 w 1896522"/>
                <a:gd name="connsiteY280" fmla="*/ 1589170 h 2146690"/>
                <a:gd name="connsiteX281" fmla="*/ 181074 w 1896522"/>
                <a:gd name="connsiteY281" fmla="*/ 1574874 h 2146690"/>
                <a:gd name="connsiteX282" fmla="*/ 185840 w 1896522"/>
                <a:gd name="connsiteY282" fmla="*/ 1570110 h 2146690"/>
                <a:gd name="connsiteX283" fmla="*/ 185840 w 1896522"/>
                <a:gd name="connsiteY283" fmla="*/ 1565344 h 2146690"/>
                <a:gd name="connsiteX284" fmla="*/ 181074 w 1896522"/>
                <a:gd name="connsiteY284" fmla="*/ 1560580 h 2146690"/>
                <a:gd name="connsiteX285" fmla="*/ 171544 w 1896522"/>
                <a:gd name="connsiteY285" fmla="*/ 1555814 h 2146690"/>
                <a:gd name="connsiteX286" fmla="*/ 162014 w 1896522"/>
                <a:gd name="connsiteY286" fmla="*/ 1546284 h 2146690"/>
                <a:gd name="connsiteX287" fmla="*/ 152484 w 1896522"/>
                <a:gd name="connsiteY287" fmla="*/ 1536754 h 2146690"/>
                <a:gd name="connsiteX288" fmla="*/ 138188 w 1896522"/>
                <a:gd name="connsiteY288" fmla="*/ 1522458 h 2146690"/>
                <a:gd name="connsiteX289" fmla="*/ 123894 w 1896522"/>
                <a:gd name="connsiteY289" fmla="*/ 1512928 h 2146690"/>
                <a:gd name="connsiteX290" fmla="*/ 114364 w 1896522"/>
                <a:gd name="connsiteY290" fmla="*/ 1503398 h 2146690"/>
                <a:gd name="connsiteX291" fmla="*/ 104832 w 1896522"/>
                <a:gd name="connsiteY291" fmla="*/ 1493868 h 2146690"/>
                <a:gd name="connsiteX292" fmla="*/ 104832 w 1896522"/>
                <a:gd name="connsiteY292" fmla="*/ 1484338 h 2146690"/>
                <a:gd name="connsiteX293" fmla="*/ 104832 w 1896522"/>
                <a:gd name="connsiteY293" fmla="*/ 1465276 h 2146690"/>
                <a:gd name="connsiteX294" fmla="*/ 95302 w 1896522"/>
                <a:gd name="connsiteY294" fmla="*/ 1441452 h 2146690"/>
                <a:gd name="connsiteX295" fmla="*/ 95302 w 1896522"/>
                <a:gd name="connsiteY295" fmla="*/ 1422390 h 2146690"/>
                <a:gd name="connsiteX296" fmla="*/ 90538 w 1896522"/>
                <a:gd name="connsiteY296" fmla="*/ 1403330 h 2146690"/>
                <a:gd name="connsiteX297" fmla="*/ 90538 w 1896522"/>
                <a:gd name="connsiteY297" fmla="*/ 1393800 h 2146690"/>
                <a:gd name="connsiteX298" fmla="*/ 85772 w 1896522"/>
                <a:gd name="connsiteY298" fmla="*/ 1379504 h 2146690"/>
                <a:gd name="connsiteX299" fmla="*/ 81008 w 1896522"/>
                <a:gd name="connsiteY299" fmla="*/ 1365210 h 2146690"/>
                <a:gd name="connsiteX300" fmla="*/ 81008 w 1896522"/>
                <a:gd name="connsiteY300" fmla="*/ 1355678 h 2146690"/>
                <a:gd name="connsiteX301" fmla="*/ 81008 w 1896522"/>
                <a:gd name="connsiteY301" fmla="*/ 1350914 h 2146690"/>
                <a:gd name="connsiteX302" fmla="*/ 85772 w 1896522"/>
                <a:gd name="connsiteY302" fmla="*/ 1346148 h 2146690"/>
                <a:gd name="connsiteX303" fmla="*/ 85772 w 1896522"/>
                <a:gd name="connsiteY303" fmla="*/ 1341384 h 2146690"/>
                <a:gd name="connsiteX304" fmla="*/ 57182 w 1896522"/>
                <a:gd name="connsiteY304" fmla="*/ 1327088 h 2146690"/>
                <a:gd name="connsiteX305" fmla="*/ 52416 w 1896522"/>
                <a:gd name="connsiteY305" fmla="*/ 1322322 h 2146690"/>
                <a:gd name="connsiteX306" fmla="*/ 47652 w 1896522"/>
                <a:gd name="connsiteY306" fmla="*/ 1293732 h 2146690"/>
                <a:gd name="connsiteX307" fmla="*/ 23826 w 1896522"/>
                <a:gd name="connsiteY307" fmla="*/ 1269906 h 2146690"/>
                <a:gd name="connsiteX308" fmla="*/ 23826 w 1896522"/>
                <a:gd name="connsiteY308" fmla="*/ 1250846 h 2146690"/>
                <a:gd name="connsiteX309" fmla="*/ 23826 w 1896522"/>
                <a:gd name="connsiteY309" fmla="*/ 1246080 h 2146690"/>
                <a:gd name="connsiteX310" fmla="*/ 19060 w 1896522"/>
                <a:gd name="connsiteY310" fmla="*/ 1231786 h 2146690"/>
                <a:gd name="connsiteX311" fmla="*/ 14296 w 1896522"/>
                <a:gd name="connsiteY311" fmla="*/ 1222256 h 2146690"/>
                <a:gd name="connsiteX312" fmla="*/ 4766 w 1896522"/>
                <a:gd name="connsiteY312" fmla="*/ 1217490 h 2146690"/>
                <a:gd name="connsiteX313" fmla="*/ 0 w 1896522"/>
                <a:gd name="connsiteY313" fmla="*/ 1207960 h 2146690"/>
                <a:gd name="connsiteX314" fmla="*/ 4766 w 1896522"/>
                <a:gd name="connsiteY314" fmla="*/ 1203194 h 2146690"/>
                <a:gd name="connsiteX315" fmla="*/ 23826 w 1896522"/>
                <a:gd name="connsiteY315" fmla="*/ 1184134 h 2146690"/>
                <a:gd name="connsiteX316" fmla="*/ 33356 w 1896522"/>
                <a:gd name="connsiteY316" fmla="*/ 1184134 h 2146690"/>
                <a:gd name="connsiteX317" fmla="*/ 38122 w 1896522"/>
                <a:gd name="connsiteY317" fmla="*/ 1174604 h 2146690"/>
                <a:gd name="connsiteX318" fmla="*/ 42886 w 1896522"/>
                <a:gd name="connsiteY318" fmla="*/ 1169838 h 2146690"/>
                <a:gd name="connsiteX319" fmla="*/ 61946 w 1896522"/>
                <a:gd name="connsiteY319" fmla="*/ 1146014 h 2146690"/>
                <a:gd name="connsiteX320" fmla="*/ 71476 w 1896522"/>
                <a:gd name="connsiteY320" fmla="*/ 1131718 h 2146690"/>
                <a:gd name="connsiteX321" fmla="*/ 81008 w 1896522"/>
                <a:gd name="connsiteY321" fmla="*/ 1122188 h 2146690"/>
                <a:gd name="connsiteX322" fmla="*/ 95302 w 1896522"/>
                <a:gd name="connsiteY322" fmla="*/ 1117422 h 2146690"/>
                <a:gd name="connsiteX323" fmla="*/ 100068 w 1896522"/>
                <a:gd name="connsiteY323" fmla="*/ 1112658 h 2146690"/>
                <a:gd name="connsiteX324" fmla="*/ 95302 w 1896522"/>
                <a:gd name="connsiteY324" fmla="*/ 1093596 h 2146690"/>
                <a:gd name="connsiteX325" fmla="*/ 100068 w 1896522"/>
                <a:gd name="connsiteY325" fmla="*/ 1098362 h 2146690"/>
                <a:gd name="connsiteX326" fmla="*/ 109598 w 1896522"/>
                <a:gd name="connsiteY326" fmla="*/ 1103126 h 2146690"/>
                <a:gd name="connsiteX327" fmla="*/ 114364 w 1896522"/>
                <a:gd name="connsiteY327" fmla="*/ 1103126 h 2146690"/>
                <a:gd name="connsiteX328" fmla="*/ 123894 w 1896522"/>
                <a:gd name="connsiteY328" fmla="*/ 1103126 h 2146690"/>
                <a:gd name="connsiteX329" fmla="*/ 123894 w 1896522"/>
                <a:gd name="connsiteY329" fmla="*/ 1098362 h 2146690"/>
                <a:gd name="connsiteX330" fmla="*/ 123894 w 1896522"/>
                <a:gd name="connsiteY330" fmla="*/ 1093596 h 2146690"/>
                <a:gd name="connsiteX331" fmla="*/ 123894 w 1896522"/>
                <a:gd name="connsiteY331" fmla="*/ 1088832 h 2146690"/>
                <a:gd name="connsiteX332" fmla="*/ 119128 w 1896522"/>
                <a:gd name="connsiteY332" fmla="*/ 1084066 h 2146690"/>
                <a:gd name="connsiteX333" fmla="*/ 114364 w 1896522"/>
                <a:gd name="connsiteY333" fmla="*/ 1079302 h 2146690"/>
                <a:gd name="connsiteX334" fmla="*/ 114364 w 1896522"/>
                <a:gd name="connsiteY334" fmla="*/ 1074536 h 2146690"/>
                <a:gd name="connsiteX335" fmla="*/ 123894 w 1896522"/>
                <a:gd name="connsiteY335" fmla="*/ 1074536 h 2146690"/>
                <a:gd name="connsiteX336" fmla="*/ 133424 w 1896522"/>
                <a:gd name="connsiteY336" fmla="*/ 1069772 h 2146690"/>
                <a:gd name="connsiteX337" fmla="*/ 142954 w 1896522"/>
                <a:gd name="connsiteY337" fmla="*/ 1069772 h 2146690"/>
                <a:gd name="connsiteX338" fmla="*/ 147718 w 1896522"/>
                <a:gd name="connsiteY338" fmla="*/ 1065006 h 2146690"/>
                <a:gd name="connsiteX339" fmla="*/ 147718 w 1896522"/>
                <a:gd name="connsiteY339" fmla="*/ 1060240 h 2146690"/>
                <a:gd name="connsiteX340" fmla="*/ 162014 w 1896522"/>
                <a:gd name="connsiteY340" fmla="*/ 1055476 h 2146690"/>
                <a:gd name="connsiteX341" fmla="*/ 166780 w 1896522"/>
                <a:gd name="connsiteY341" fmla="*/ 1055476 h 2146690"/>
                <a:gd name="connsiteX342" fmla="*/ 166780 w 1896522"/>
                <a:gd name="connsiteY342" fmla="*/ 1050710 h 2146690"/>
                <a:gd name="connsiteX343" fmla="*/ 166780 w 1896522"/>
                <a:gd name="connsiteY343" fmla="*/ 1045946 h 2146690"/>
                <a:gd name="connsiteX344" fmla="*/ 157250 w 1896522"/>
                <a:gd name="connsiteY344" fmla="*/ 1041180 h 2146690"/>
                <a:gd name="connsiteX345" fmla="*/ 147718 w 1896522"/>
                <a:gd name="connsiteY345" fmla="*/ 1041180 h 2146690"/>
                <a:gd name="connsiteX346" fmla="*/ 138188 w 1896522"/>
                <a:gd name="connsiteY346" fmla="*/ 1041180 h 2146690"/>
                <a:gd name="connsiteX347" fmla="*/ 128658 w 1896522"/>
                <a:gd name="connsiteY347" fmla="*/ 1036416 h 2146690"/>
                <a:gd name="connsiteX348" fmla="*/ 123894 w 1896522"/>
                <a:gd name="connsiteY348" fmla="*/ 1026886 h 2146690"/>
                <a:gd name="connsiteX349" fmla="*/ 119128 w 1896522"/>
                <a:gd name="connsiteY349" fmla="*/ 1022120 h 2146690"/>
                <a:gd name="connsiteX350" fmla="*/ 123894 w 1896522"/>
                <a:gd name="connsiteY350" fmla="*/ 1012590 h 2146690"/>
                <a:gd name="connsiteX351" fmla="*/ 128658 w 1896522"/>
                <a:gd name="connsiteY351" fmla="*/ 1007824 h 2146690"/>
                <a:gd name="connsiteX352" fmla="*/ 133424 w 1896522"/>
                <a:gd name="connsiteY352" fmla="*/ 1003060 h 2146690"/>
                <a:gd name="connsiteX353" fmla="*/ 128658 w 1896522"/>
                <a:gd name="connsiteY353" fmla="*/ 998294 h 2146690"/>
                <a:gd name="connsiteX354" fmla="*/ 114364 w 1896522"/>
                <a:gd name="connsiteY354" fmla="*/ 998294 h 2146690"/>
                <a:gd name="connsiteX355" fmla="*/ 100068 w 1896522"/>
                <a:gd name="connsiteY355" fmla="*/ 993530 h 2146690"/>
                <a:gd name="connsiteX356" fmla="*/ 100068 w 1896522"/>
                <a:gd name="connsiteY356" fmla="*/ 983998 h 2146690"/>
                <a:gd name="connsiteX357" fmla="*/ 95302 w 1896522"/>
                <a:gd name="connsiteY357" fmla="*/ 974468 h 2146690"/>
                <a:gd name="connsiteX358" fmla="*/ 85772 w 1896522"/>
                <a:gd name="connsiteY358" fmla="*/ 969704 h 2146690"/>
                <a:gd name="connsiteX359" fmla="*/ 71476 w 1896522"/>
                <a:gd name="connsiteY359" fmla="*/ 955408 h 2146690"/>
                <a:gd name="connsiteX360" fmla="*/ 66712 w 1896522"/>
                <a:gd name="connsiteY360" fmla="*/ 950642 h 2146690"/>
                <a:gd name="connsiteX361" fmla="*/ 57182 w 1896522"/>
                <a:gd name="connsiteY361" fmla="*/ 945878 h 2146690"/>
                <a:gd name="connsiteX362" fmla="*/ 42886 w 1896522"/>
                <a:gd name="connsiteY362" fmla="*/ 926818 h 2146690"/>
                <a:gd name="connsiteX363" fmla="*/ 52416 w 1896522"/>
                <a:gd name="connsiteY363" fmla="*/ 907756 h 2146690"/>
                <a:gd name="connsiteX364" fmla="*/ 61946 w 1896522"/>
                <a:gd name="connsiteY364" fmla="*/ 898226 h 2146690"/>
                <a:gd name="connsiteX365" fmla="*/ 76242 w 1896522"/>
                <a:gd name="connsiteY365" fmla="*/ 883932 h 2146690"/>
                <a:gd name="connsiteX366" fmla="*/ 71476 w 1896522"/>
                <a:gd name="connsiteY366" fmla="*/ 874400 h 2146690"/>
                <a:gd name="connsiteX367" fmla="*/ 52416 w 1896522"/>
                <a:gd name="connsiteY367" fmla="*/ 850576 h 2146690"/>
                <a:gd name="connsiteX368" fmla="*/ 42886 w 1896522"/>
                <a:gd name="connsiteY368" fmla="*/ 836280 h 2146690"/>
                <a:gd name="connsiteX369" fmla="*/ 42886 w 1896522"/>
                <a:gd name="connsiteY369" fmla="*/ 826750 h 2146690"/>
                <a:gd name="connsiteX370" fmla="*/ 47652 w 1896522"/>
                <a:gd name="connsiteY370" fmla="*/ 812454 h 2146690"/>
                <a:gd name="connsiteX371" fmla="*/ 57182 w 1896522"/>
                <a:gd name="connsiteY371" fmla="*/ 802924 h 2146690"/>
                <a:gd name="connsiteX372" fmla="*/ 61946 w 1896522"/>
                <a:gd name="connsiteY372" fmla="*/ 788628 h 2146690"/>
                <a:gd name="connsiteX373" fmla="*/ 66712 w 1896522"/>
                <a:gd name="connsiteY373" fmla="*/ 779098 h 2146690"/>
                <a:gd name="connsiteX374" fmla="*/ 71476 w 1896522"/>
                <a:gd name="connsiteY374" fmla="*/ 774334 h 2146690"/>
                <a:gd name="connsiteX375" fmla="*/ 76242 w 1896522"/>
                <a:gd name="connsiteY375" fmla="*/ 769568 h 2146690"/>
                <a:gd name="connsiteX376" fmla="*/ 81008 w 1896522"/>
                <a:gd name="connsiteY376" fmla="*/ 760038 h 2146690"/>
                <a:gd name="connsiteX377" fmla="*/ 95302 w 1896522"/>
                <a:gd name="connsiteY377" fmla="*/ 750508 h 2146690"/>
                <a:gd name="connsiteX378" fmla="*/ 100068 w 1896522"/>
                <a:gd name="connsiteY378" fmla="*/ 740978 h 2146690"/>
                <a:gd name="connsiteX379" fmla="*/ 100068 w 1896522"/>
                <a:gd name="connsiteY379" fmla="*/ 726682 h 2146690"/>
                <a:gd name="connsiteX380" fmla="*/ 104832 w 1896522"/>
                <a:gd name="connsiteY380" fmla="*/ 721916 h 2146690"/>
                <a:gd name="connsiteX381" fmla="*/ 119128 w 1896522"/>
                <a:gd name="connsiteY381" fmla="*/ 712386 h 2146690"/>
                <a:gd name="connsiteX382" fmla="*/ 123894 w 1896522"/>
                <a:gd name="connsiteY382" fmla="*/ 712386 h 2146690"/>
                <a:gd name="connsiteX383" fmla="*/ 119128 w 1896522"/>
                <a:gd name="connsiteY383" fmla="*/ 698092 h 2146690"/>
                <a:gd name="connsiteX384" fmla="*/ 109598 w 1896522"/>
                <a:gd name="connsiteY384" fmla="*/ 683796 h 2146690"/>
                <a:gd name="connsiteX385" fmla="*/ 104832 w 1896522"/>
                <a:gd name="connsiteY385" fmla="*/ 679030 h 2146690"/>
                <a:gd name="connsiteX386" fmla="*/ 100068 w 1896522"/>
                <a:gd name="connsiteY386" fmla="*/ 645674 h 2146690"/>
                <a:gd name="connsiteX387" fmla="*/ 90538 w 1896522"/>
                <a:gd name="connsiteY387" fmla="*/ 631380 h 2146690"/>
                <a:gd name="connsiteX388" fmla="*/ 95302 w 1896522"/>
                <a:gd name="connsiteY388" fmla="*/ 626614 h 2146690"/>
                <a:gd name="connsiteX389" fmla="*/ 100068 w 1896522"/>
                <a:gd name="connsiteY389" fmla="*/ 617084 h 2146690"/>
                <a:gd name="connsiteX390" fmla="*/ 104832 w 1896522"/>
                <a:gd name="connsiteY390" fmla="*/ 602788 h 2146690"/>
                <a:gd name="connsiteX391" fmla="*/ 104832 w 1896522"/>
                <a:gd name="connsiteY391" fmla="*/ 583728 h 2146690"/>
                <a:gd name="connsiteX392" fmla="*/ 104832 w 1896522"/>
                <a:gd name="connsiteY392" fmla="*/ 519398 h 2146690"/>
                <a:gd name="connsiteX393" fmla="*/ 104832 w 1896522"/>
                <a:gd name="connsiteY393" fmla="*/ 505104 h 2146690"/>
                <a:gd name="connsiteX394" fmla="*/ 114364 w 1896522"/>
                <a:gd name="connsiteY394" fmla="*/ 495574 h 2146690"/>
                <a:gd name="connsiteX395" fmla="*/ 123894 w 1896522"/>
                <a:gd name="connsiteY395" fmla="*/ 486044 h 2146690"/>
                <a:gd name="connsiteX396" fmla="*/ 133424 w 1896522"/>
                <a:gd name="connsiteY396" fmla="*/ 481278 h 2146690"/>
                <a:gd name="connsiteX397" fmla="*/ 138188 w 1896522"/>
                <a:gd name="connsiteY397" fmla="*/ 476512 h 2146690"/>
                <a:gd name="connsiteX398" fmla="*/ 138188 w 1896522"/>
                <a:gd name="connsiteY398" fmla="*/ 462218 h 2146690"/>
                <a:gd name="connsiteX399" fmla="*/ 142954 w 1896522"/>
                <a:gd name="connsiteY399" fmla="*/ 452688 h 2146690"/>
                <a:gd name="connsiteX400" fmla="*/ 152484 w 1896522"/>
                <a:gd name="connsiteY400" fmla="*/ 443156 h 2146690"/>
                <a:gd name="connsiteX401" fmla="*/ 128658 w 1896522"/>
                <a:gd name="connsiteY401" fmla="*/ 409800 h 2146690"/>
                <a:gd name="connsiteX402" fmla="*/ 109598 w 1896522"/>
                <a:gd name="connsiteY402" fmla="*/ 376446 h 2146690"/>
                <a:gd name="connsiteX403" fmla="*/ 95302 w 1896522"/>
                <a:gd name="connsiteY403" fmla="*/ 343090 h 2146690"/>
                <a:gd name="connsiteX404" fmla="*/ 76242 w 1896522"/>
                <a:gd name="connsiteY404" fmla="*/ 309734 h 2146690"/>
                <a:gd name="connsiteX405" fmla="*/ 61946 w 1896522"/>
                <a:gd name="connsiteY405" fmla="*/ 285908 h 2146690"/>
                <a:gd name="connsiteX406" fmla="*/ 42886 w 1896522"/>
                <a:gd name="connsiteY406" fmla="*/ 257316 h 2146690"/>
                <a:gd name="connsiteX407" fmla="*/ 9530 w 1896522"/>
                <a:gd name="connsiteY407" fmla="*/ 200136 h 2146690"/>
                <a:gd name="connsiteX408" fmla="*/ 28590 w 1896522"/>
                <a:gd name="connsiteY408" fmla="*/ 195370 h 2146690"/>
                <a:gd name="connsiteX409" fmla="*/ 66712 w 1896522"/>
                <a:gd name="connsiteY409" fmla="*/ 200136 h 2146690"/>
                <a:gd name="connsiteX410" fmla="*/ 100068 w 1896522"/>
                <a:gd name="connsiteY410" fmla="*/ 204900 h 2146690"/>
                <a:gd name="connsiteX411" fmla="*/ 123894 w 1896522"/>
                <a:gd name="connsiteY411" fmla="*/ 204900 h 2146690"/>
                <a:gd name="connsiteX412" fmla="*/ 133424 w 1896522"/>
                <a:gd name="connsiteY412" fmla="*/ 214430 h 2146690"/>
                <a:gd name="connsiteX413" fmla="*/ 138188 w 1896522"/>
                <a:gd name="connsiteY413" fmla="*/ 219196 h 2146690"/>
                <a:gd name="connsiteX414" fmla="*/ 142954 w 1896522"/>
                <a:gd name="connsiteY414" fmla="*/ 223962 h 2146690"/>
                <a:gd name="connsiteX415" fmla="*/ 152484 w 1896522"/>
                <a:gd name="connsiteY415" fmla="*/ 223962 h 2146690"/>
                <a:gd name="connsiteX416" fmla="*/ 162014 w 1896522"/>
                <a:gd name="connsiteY416" fmla="*/ 223962 h 2146690"/>
                <a:gd name="connsiteX417" fmla="*/ 181074 w 1896522"/>
                <a:gd name="connsiteY417" fmla="*/ 214430 h 2146690"/>
                <a:gd name="connsiteX418" fmla="*/ 195370 w 1896522"/>
                <a:gd name="connsiteY418" fmla="*/ 209666 h 2146690"/>
                <a:gd name="connsiteX419" fmla="*/ 209666 w 1896522"/>
                <a:gd name="connsiteY419" fmla="*/ 200136 h 2146690"/>
                <a:gd name="connsiteX420" fmla="*/ 214430 w 1896522"/>
                <a:gd name="connsiteY420" fmla="*/ 195370 h 2146690"/>
                <a:gd name="connsiteX421" fmla="*/ 233492 w 1896522"/>
                <a:gd name="connsiteY421" fmla="*/ 171544 h 2146690"/>
                <a:gd name="connsiteX422" fmla="*/ 247786 w 1896522"/>
                <a:gd name="connsiteY422" fmla="*/ 157250 h 2146690"/>
                <a:gd name="connsiteX423" fmla="*/ 257316 w 1896522"/>
                <a:gd name="connsiteY423" fmla="*/ 152484 h 2146690"/>
                <a:gd name="connsiteX424" fmla="*/ 285908 w 1896522"/>
                <a:gd name="connsiteY424" fmla="*/ 152484 h 2146690"/>
                <a:gd name="connsiteX425" fmla="*/ 290672 w 1896522"/>
                <a:gd name="connsiteY425" fmla="*/ 157250 h 2146690"/>
                <a:gd name="connsiteX426" fmla="*/ 300204 w 1896522"/>
                <a:gd name="connsiteY426" fmla="*/ 152484 h 2146690"/>
                <a:gd name="connsiteX427" fmla="*/ 309734 w 1896522"/>
                <a:gd name="connsiteY427" fmla="*/ 142954 h 2146690"/>
                <a:gd name="connsiteX428" fmla="*/ 324028 w 1896522"/>
                <a:gd name="connsiteY428" fmla="*/ 128658 h 2146690"/>
                <a:gd name="connsiteX429" fmla="*/ 347854 w 1896522"/>
                <a:gd name="connsiteY429" fmla="*/ 109598 h 2146690"/>
                <a:gd name="connsiteX430" fmla="*/ 362150 w 1896522"/>
                <a:gd name="connsiteY430" fmla="*/ 104832 h 2146690"/>
                <a:gd name="connsiteX431" fmla="*/ 371680 w 1896522"/>
                <a:gd name="connsiteY431" fmla="*/ 95302 h 2146690"/>
                <a:gd name="connsiteX432" fmla="*/ 385976 w 1896522"/>
                <a:gd name="connsiteY432" fmla="*/ 95302 h 2146690"/>
                <a:gd name="connsiteX433" fmla="*/ 395506 w 1896522"/>
                <a:gd name="connsiteY433" fmla="*/ 90538 h 2146690"/>
                <a:gd name="connsiteX434" fmla="*/ 457452 w 1896522"/>
                <a:gd name="connsiteY434" fmla="*/ 42886 h 2146690"/>
                <a:gd name="connsiteX435" fmla="*/ 481278 w 1896522"/>
                <a:gd name="connsiteY435" fmla="*/ 28590 h 2146690"/>
                <a:gd name="connsiteX436" fmla="*/ 495574 w 1896522"/>
                <a:gd name="connsiteY436" fmla="*/ 28590 h 2146690"/>
                <a:gd name="connsiteX437" fmla="*/ 509868 w 1896522"/>
                <a:gd name="connsiteY437" fmla="*/ 23826 h 2146690"/>
                <a:gd name="connsiteX438" fmla="*/ 528930 w 1896522"/>
                <a:gd name="connsiteY438" fmla="*/ 19060 h 2146690"/>
                <a:gd name="connsiteX439" fmla="*/ 581346 w 1896522"/>
                <a:gd name="connsiteY439" fmla="*/ 14296 h 2146690"/>
                <a:gd name="connsiteX440" fmla="*/ 614702 w 1896522"/>
                <a:gd name="connsiteY440" fmla="*/ 9530 h 2146690"/>
                <a:gd name="connsiteX441" fmla="*/ 628996 w 1896522"/>
                <a:gd name="connsiteY441" fmla="*/ 14296 h 2146690"/>
                <a:gd name="connsiteX442" fmla="*/ 638528 w 1896522"/>
                <a:gd name="connsiteY442" fmla="*/ 14296 h 2146690"/>
                <a:gd name="connsiteX443" fmla="*/ 648058 w 1896522"/>
                <a:gd name="connsiteY443" fmla="*/ 4766 h 2146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</a:cxnLst>
              <a:rect l="l" t="t" r="r" b="b"/>
              <a:pathLst>
                <a:path w="1896522" h="2146690">
                  <a:moveTo>
                    <a:pt x="90538" y="1017354"/>
                  </a:moveTo>
                  <a:lnTo>
                    <a:pt x="100068" y="1022120"/>
                  </a:lnTo>
                  <a:lnTo>
                    <a:pt x="109598" y="1036416"/>
                  </a:lnTo>
                  <a:lnTo>
                    <a:pt x="119128" y="1041180"/>
                  </a:lnTo>
                  <a:lnTo>
                    <a:pt x="119128" y="1045946"/>
                  </a:lnTo>
                  <a:lnTo>
                    <a:pt x="114362" y="1045946"/>
                  </a:lnTo>
                  <a:lnTo>
                    <a:pt x="109598" y="1041180"/>
                  </a:lnTo>
                  <a:lnTo>
                    <a:pt x="104832" y="1045946"/>
                  </a:lnTo>
                  <a:lnTo>
                    <a:pt x="95302" y="1041180"/>
                  </a:lnTo>
                  <a:lnTo>
                    <a:pt x="81006" y="1041180"/>
                  </a:lnTo>
                  <a:lnTo>
                    <a:pt x="81006" y="1036416"/>
                  </a:lnTo>
                  <a:lnTo>
                    <a:pt x="85772" y="1026886"/>
                  </a:lnTo>
                  <a:lnTo>
                    <a:pt x="85772" y="1022120"/>
                  </a:lnTo>
                  <a:close/>
                  <a:moveTo>
                    <a:pt x="657588" y="0"/>
                  </a:moveTo>
                  <a:lnTo>
                    <a:pt x="662352" y="0"/>
                  </a:lnTo>
                  <a:lnTo>
                    <a:pt x="671884" y="14296"/>
                  </a:lnTo>
                  <a:lnTo>
                    <a:pt x="676648" y="28590"/>
                  </a:lnTo>
                  <a:lnTo>
                    <a:pt x="676648" y="38122"/>
                  </a:lnTo>
                  <a:lnTo>
                    <a:pt x="676648" y="52416"/>
                  </a:lnTo>
                  <a:lnTo>
                    <a:pt x="681414" y="71476"/>
                  </a:lnTo>
                  <a:lnTo>
                    <a:pt x="676648" y="85772"/>
                  </a:lnTo>
                  <a:lnTo>
                    <a:pt x="662352" y="109598"/>
                  </a:lnTo>
                  <a:lnTo>
                    <a:pt x="657588" y="119128"/>
                  </a:lnTo>
                  <a:lnTo>
                    <a:pt x="657588" y="128658"/>
                  </a:lnTo>
                  <a:lnTo>
                    <a:pt x="657588" y="138188"/>
                  </a:lnTo>
                  <a:lnTo>
                    <a:pt x="662352" y="162014"/>
                  </a:lnTo>
                  <a:lnTo>
                    <a:pt x="671884" y="185840"/>
                  </a:lnTo>
                  <a:lnTo>
                    <a:pt x="676648" y="209666"/>
                  </a:lnTo>
                  <a:lnTo>
                    <a:pt x="667118" y="223962"/>
                  </a:lnTo>
                  <a:lnTo>
                    <a:pt x="667118" y="233492"/>
                  </a:lnTo>
                  <a:lnTo>
                    <a:pt x="667118" y="243022"/>
                  </a:lnTo>
                  <a:lnTo>
                    <a:pt x="667118" y="252552"/>
                  </a:lnTo>
                  <a:lnTo>
                    <a:pt x="671884" y="257316"/>
                  </a:lnTo>
                  <a:lnTo>
                    <a:pt x="676648" y="262082"/>
                  </a:lnTo>
                  <a:lnTo>
                    <a:pt x="676648" y="276378"/>
                  </a:lnTo>
                  <a:lnTo>
                    <a:pt x="681414" y="285908"/>
                  </a:lnTo>
                  <a:lnTo>
                    <a:pt x="695708" y="300204"/>
                  </a:lnTo>
                  <a:lnTo>
                    <a:pt x="700474" y="309734"/>
                  </a:lnTo>
                  <a:lnTo>
                    <a:pt x="695708" y="319264"/>
                  </a:lnTo>
                  <a:lnTo>
                    <a:pt x="695708" y="324028"/>
                  </a:lnTo>
                  <a:lnTo>
                    <a:pt x="700474" y="328794"/>
                  </a:lnTo>
                  <a:lnTo>
                    <a:pt x="705238" y="324028"/>
                  </a:lnTo>
                  <a:lnTo>
                    <a:pt x="710004" y="324028"/>
                  </a:lnTo>
                  <a:lnTo>
                    <a:pt x="719534" y="338324"/>
                  </a:lnTo>
                  <a:lnTo>
                    <a:pt x="724300" y="352620"/>
                  </a:lnTo>
                  <a:lnTo>
                    <a:pt x="729064" y="362150"/>
                  </a:lnTo>
                  <a:lnTo>
                    <a:pt x="738594" y="366914"/>
                  </a:lnTo>
                  <a:lnTo>
                    <a:pt x="752890" y="366914"/>
                  </a:lnTo>
                  <a:lnTo>
                    <a:pt x="762420" y="376446"/>
                  </a:lnTo>
                  <a:lnTo>
                    <a:pt x="776716" y="385976"/>
                  </a:lnTo>
                  <a:lnTo>
                    <a:pt x="786246" y="395506"/>
                  </a:lnTo>
                  <a:lnTo>
                    <a:pt x="800542" y="405036"/>
                  </a:lnTo>
                  <a:lnTo>
                    <a:pt x="805306" y="414566"/>
                  </a:lnTo>
                  <a:lnTo>
                    <a:pt x="814836" y="433626"/>
                  </a:lnTo>
                  <a:lnTo>
                    <a:pt x="843428" y="443156"/>
                  </a:lnTo>
                  <a:lnTo>
                    <a:pt x="872018" y="443156"/>
                  </a:lnTo>
                  <a:lnTo>
                    <a:pt x="891078" y="447922"/>
                  </a:lnTo>
                  <a:lnTo>
                    <a:pt x="914904" y="438392"/>
                  </a:lnTo>
                  <a:lnTo>
                    <a:pt x="929200" y="443156"/>
                  </a:lnTo>
                  <a:lnTo>
                    <a:pt x="948260" y="447922"/>
                  </a:lnTo>
                  <a:lnTo>
                    <a:pt x="953026" y="452688"/>
                  </a:lnTo>
                  <a:lnTo>
                    <a:pt x="967322" y="462218"/>
                  </a:lnTo>
                  <a:lnTo>
                    <a:pt x="986382" y="471748"/>
                  </a:lnTo>
                  <a:lnTo>
                    <a:pt x="1000676" y="476512"/>
                  </a:lnTo>
                  <a:lnTo>
                    <a:pt x="1010208" y="471748"/>
                  </a:lnTo>
                  <a:lnTo>
                    <a:pt x="1019738" y="466982"/>
                  </a:lnTo>
                  <a:lnTo>
                    <a:pt x="1029268" y="471748"/>
                  </a:lnTo>
                  <a:lnTo>
                    <a:pt x="1034032" y="486044"/>
                  </a:lnTo>
                  <a:lnTo>
                    <a:pt x="1038798" y="495574"/>
                  </a:lnTo>
                  <a:lnTo>
                    <a:pt x="1043564" y="500338"/>
                  </a:lnTo>
                  <a:lnTo>
                    <a:pt x="1062624" y="519398"/>
                  </a:lnTo>
                  <a:lnTo>
                    <a:pt x="1076918" y="521782"/>
                  </a:lnTo>
                  <a:lnTo>
                    <a:pt x="1086450" y="521782"/>
                  </a:lnTo>
                  <a:lnTo>
                    <a:pt x="1115040" y="531312"/>
                  </a:lnTo>
                  <a:lnTo>
                    <a:pt x="1138866" y="540842"/>
                  </a:lnTo>
                  <a:lnTo>
                    <a:pt x="1153162" y="545608"/>
                  </a:lnTo>
                  <a:lnTo>
                    <a:pt x="1167456" y="545608"/>
                  </a:lnTo>
                  <a:lnTo>
                    <a:pt x="1176986" y="550372"/>
                  </a:lnTo>
                  <a:lnTo>
                    <a:pt x="1181752" y="559902"/>
                  </a:lnTo>
                  <a:lnTo>
                    <a:pt x="1205578" y="588494"/>
                  </a:lnTo>
                  <a:lnTo>
                    <a:pt x="1215108" y="598024"/>
                  </a:lnTo>
                  <a:lnTo>
                    <a:pt x="1229402" y="607554"/>
                  </a:lnTo>
                  <a:lnTo>
                    <a:pt x="1262758" y="607554"/>
                  </a:lnTo>
                  <a:lnTo>
                    <a:pt x="1272290" y="607554"/>
                  </a:lnTo>
                  <a:lnTo>
                    <a:pt x="1286584" y="607554"/>
                  </a:lnTo>
                  <a:lnTo>
                    <a:pt x="1329470" y="602788"/>
                  </a:lnTo>
                  <a:lnTo>
                    <a:pt x="1339002" y="602788"/>
                  </a:lnTo>
                  <a:lnTo>
                    <a:pt x="1362826" y="612318"/>
                  </a:lnTo>
                  <a:lnTo>
                    <a:pt x="1396182" y="631380"/>
                  </a:lnTo>
                  <a:lnTo>
                    <a:pt x="1415242" y="640910"/>
                  </a:lnTo>
                  <a:lnTo>
                    <a:pt x="1429538" y="650440"/>
                  </a:lnTo>
                  <a:lnTo>
                    <a:pt x="1434304" y="659970"/>
                  </a:lnTo>
                  <a:lnTo>
                    <a:pt x="1443834" y="674266"/>
                  </a:lnTo>
                  <a:lnTo>
                    <a:pt x="1443834" y="683796"/>
                  </a:lnTo>
                  <a:lnTo>
                    <a:pt x="1439068" y="698092"/>
                  </a:lnTo>
                  <a:lnTo>
                    <a:pt x="1434304" y="702856"/>
                  </a:lnTo>
                  <a:lnTo>
                    <a:pt x="1434304" y="712386"/>
                  </a:lnTo>
                  <a:lnTo>
                    <a:pt x="1434304" y="726682"/>
                  </a:lnTo>
                  <a:lnTo>
                    <a:pt x="1443834" y="736212"/>
                  </a:lnTo>
                  <a:lnTo>
                    <a:pt x="1448598" y="750508"/>
                  </a:lnTo>
                  <a:lnTo>
                    <a:pt x="1453364" y="774334"/>
                  </a:lnTo>
                  <a:lnTo>
                    <a:pt x="1462894" y="783864"/>
                  </a:lnTo>
                  <a:lnTo>
                    <a:pt x="1462894" y="860106"/>
                  </a:lnTo>
                  <a:lnTo>
                    <a:pt x="1443834" y="860106"/>
                  </a:lnTo>
                  <a:lnTo>
                    <a:pt x="1415242" y="860106"/>
                  </a:lnTo>
                  <a:lnTo>
                    <a:pt x="1424774" y="869636"/>
                  </a:lnTo>
                  <a:lnTo>
                    <a:pt x="1448598" y="893462"/>
                  </a:lnTo>
                  <a:lnTo>
                    <a:pt x="1467660" y="922052"/>
                  </a:lnTo>
                  <a:lnTo>
                    <a:pt x="1472424" y="964938"/>
                  </a:lnTo>
                  <a:lnTo>
                    <a:pt x="1477190" y="988764"/>
                  </a:lnTo>
                  <a:lnTo>
                    <a:pt x="1477190" y="1026886"/>
                  </a:lnTo>
                  <a:lnTo>
                    <a:pt x="1481954" y="1050710"/>
                  </a:lnTo>
                  <a:lnTo>
                    <a:pt x="1534372" y="1050710"/>
                  </a:lnTo>
                  <a:lnTo>
                    <a:pt x="1596318" y="1055476"/>
                  </a:lnTo>
                  <a:lnTo>
                    <a:pt x="1667794" y="1055476"/>
                  </a:lnTo>
                  <a:lnTo>
                    <a:pt x="1734506" y="1060240"/>
                  </a:lnTo>
                  <a:lnTo>
                    <a:pt x="1744036" y="1060240"/>
                  </a:lnTo>
                  <a:lnTo>
                    <a:pt x="1753568" y="1055476"/>
                  </a:lnTo>
                  <a:lnTo>
                    <a:pt x="1763098" y="1050710"/>
                  </a:lnTo>
                  <a:lnTo>
                    <a:pt x="1767862" y="1050710"/>
                  </a:lnTo>
                  <a:lnTo>
                    <a:pt x="1767862" y="1060240"/>
                  </a:lnTo>
                  <a:lnTo>
                    <a:pt x="1763098" y="1074536"/>
                  </a:lnTo>
                  <a:lnTo>
                    <a:pt x="1763098" y="1084066"/>
                  </a:lnTo>
                  <a:lnTo>
                    <a:pt x="1744036" y="1112658"/>
                  </a:lnTo>
                  <a:lnTo>
                    <a:pt x="1744036" y="1122188"/>
                  </a:lnTo>
                  <a:lnTo>
                    <a:pt x="1748802" y="1155544"/>
                  </a:lnTo>
                  <a:lnTo>
                    <a:pt x="1753568" y="1184134"/>
                  </a:lnTo>
                  <a:lnTo>
                    <a:pt x="1758332" y="1207960"/>
                  </a:lnTo>
                  <a:lnTo>
                    <a:pt x="1763098" y="1217490"/>
                  </a:lnTo>
                  <a:lnTo>
                    <a:pt x="1786922" y="1227020"/>
                  </a:lnTo>
                  <a:lnTo>
                    <a:pt x="1820278" y="1255612"/>
                  </a:lnTo>
                  <a:lnTo>
                    <a:pt x="1834574" y="1255612"/>
                  </a:lnTo>
                  <a:lnTo>
                    <a:pt x="1844104" y="1250846"/>
                  </a:lnTo>
                  <a:lnTo>
                    <a:pt x="1853634" y="1265142"/>
                  </a:lnTo>
                  <a:lnTo>
                    <a:pt x="1853634" y="1279436"/>
                  </a:lnTo>
                  <a:lnTo>
                    <a:pt x="1872696" y="1322322"/>
                  </a:lnTo>
                  <a:lnTo>
                    <a:pt x="1882226" y="1350914"/>
                  </a:lnTo>
                  <a:lnTo>
                    <a:pt x="1886990" y="1365210"/>
                  </a:lnTo>
                  <a:lnTo>
                    <a:pt x="1896522" y="1369974"/>
                  </a:lnTo>
                  <a:lnTo>
                    <a:pt x="1886990" y="1374740"/>
                  </a:lnTo>
                  <a:lnTo>
                    <a:pt x="1886990" y="1379504"/>
                  </a:lnTo>
                  <a:lnTo>
                    <a:pt x="1877460" y="1412860"/>
                  </a:lnTo>
                  <a:lnTo>
                    <a:pt x="1863166" y="1455746"/>
                  </a:lnTo>
                  <a:lnTo>
                    <a:pt x="1853634" y="1484338"/>
                  </a:lnTo>
                  <a:lnTo>
                    <a:pt x="1863166" y="1484338"/>
                  </a:lnTo>
                  <a:lnTo>
                    <a:pt x="1863166" y="1493868"/>
                  </a:lnTo>
                  <a:lnTo>
                    <a:pt x="1863166" y="1503398"/>
                  </a:lnTo>
                  <a:lnTo>
                    <a:pt x="1853634" y="1508162"/>
                  </a:lnTo>
                  <a:lnTo>
                    <a:pt x="1848870" y="1512928"/>
                  </a:lnTo>
                  <a:lnTo>
                    <a:pt x="1839340" y="1536754"/>
                  </a:lnTo>
                  <a:lnTo>
                    <a:pt x="1825044" y="1570110"/>
                  </a:lnTo>
                  <a:lnTo>
                    <a:pt x="1805984" y="1598700"/>
                  </a:lnTo>
                  <a:lnTo>
                    <a:pt x="1801218" y="1622526"/>
                  </a:lnTo>
                  <a:lnTo>
                    <a:pt x="1815514" y="1636822"/>
                  </a:lnTo>
                  <a:lnTo>
                    <a:pt x="1839340" y="1660646"/>
                  </a:lnTo>
                  <a:lnTo>
                    <a:pt x="1839340" y="1665412"/>
                  </a:lnTo>
                  <a:lnTo>
                    <a:pt x="1825044" y="1670178"/>
                  </a:lnTo>
                  <a:lnTo>
                    <a:pt x="1815514" y="1670178"/>
                  </a:lnTo>
                  <a:lnTo>
                    <a:pt x="1810748" y="1679708"/>
                  </a:lnTo>
                  <a:lnTo>
                    <a:pt x="1805984" y="1689238"/>
                  </a:lnTo>
                  <a:lnTo>
                    <a:pt x="1796454" y="1689238"/>
                  </a:lnTo>
                  <a:lnTo>
                    <a:pt x="1796454" y="1665412"/>
                  </a:lnTo>
                  <a:lnTo>
                    <a:pt x="1796454" y="1636822"/>
                  </a:lnTo>
                  <a:lnTo>
                    <a:pt x="1791688" y="1632056"/>
                  </a:lnTo>
                  <a:lnTo>
                    <a:pt x="1744036" y="1603466"/>
                  </a:lnTo>
                  <a:lnTo>
                    <a:pt x="1705916" y="1579640"/>
                  </a:lnTo>
                  <a:lnTo>
                    <a:pt x="1648734" y="1546284"/>
                  </a:lnTo>
                  <a:lnTo>
                    <a:pt x="1577258" y="1546284"/>
                  </a:lnTo>
                  <a:lnTo>
                    <a:pt x="1505780" y="1546284"/>
                  </a:lnTo>
                  <a:lnTo>
                    <a:pt x="1434304" y="1560580"/>
                  </a:lnTo>
                  <a:lnTo>
                    <a:pt x="1367592" y="1574874"/>
                  </a:lnTo>
                  <a:lnTo>
                    <a:pt x="1334236" y="1584406"/>
                  </a:lnTo>
                  <a:lnTo>
                    <a:pt x="1272290" y="1598700"/>
                  </a:lnTo>
                  <a:lnTo>
                    <a:pt x="1234168" y="1603466"/>
                  </a:lnTo>
                  <a:lnTo>
                    <a:pt x="1224638" y="1632056"/>
                  </a:lnTo>
                  <a:lnTo>
                    <a:pt x="1210342" y="1670178"/>
                  </a:lnTo>
                  <a:lnTo>
                    <a:pt x="1191282" y="1694002"/>
                  </a:lnTo>
                  <a:lnTo>
                    <a:pt x="1176986" y="1722594"/>
                  </a:lnTo>
                  <a:lnTo>
                    <a:pt x="1153162" y="1755950"/>
                  </a:lnTo>
                  <a:lnTo>
                    <a:pt x="1153162" y="1841722"/>
                  </a:lnTo>
                  <a:lnTo>
                    <a:pt x="1134100" y="1898904"/>
                  </a:lnTo>
                  <a:lnTo>
                    <a:pt x="1119806" y="1946554"/>
                  </a:lnTo>
                  <a:lnTo>
                    <a:pt x="1105510" y="1994206"/>
                  </a:lnTo>
                  <a:lnTo>
                    <a:pt x="1095980" y="2027562"/>
                  </a:lnTo>
                  <a:lnTo>
                    <a:pt x="1091214" y="2037092"/>
                  </a:lnTo>
                  <a:lnTo>
                    <a:pt x="1076918" y="2022796"/>
                  </a:lnTo>
                  <a:lnTo>
                    <a:pt x="1067388" y="2008502"/>
                  </a:lnTo>
                  <a:lnTo>
                    <a:pt x="1062624" y="1998970"/>
                  </a:lnTo>
                  <a:lnTo>
                    <a:pt x="995912" y="1998970"/>
                  </a:lnTo>
                  <a:lnTo>
                    <a:pt x="933966" y="1998970"/>
                  </a:lnTo>
                  <a:lnTo>
                    <a:pt x="924434" y="2003736"/>
                  </a:lnTo>
                  <a:lnTo>
                    <a:pt x="919670" y="2003736"/>
                  </a:lnTo>
                  <a:lnTo>
                    <a:pt x="910140" y="1998970"/>
                  </a:lnTo>
                  <a:lnTo>
                    <a:pt x="905374" y="1998970"/>
                  </a:lnTo>
                  <a:lnTo>
                    <a:pt x="895844" y="2003736"/>
                  </a:lnTo>
                  <a:lnTo>
                    <a:pt x="886314" y="2008502"/>
                  </a:lnTo>
                  <a:lnTo>
                    <a:pt x="862488" y="2060918"/>
                  </a:lnTo>
                  <a:lnTo>
                    <a:pt x="848192" y="2079978"/>
                  </a:lnTo>
                  <a:lnTo>
                    <a:pt x="838662" y="2099038"/>
                  </a:lnTo>
                  <a:lnTo>
                    <a:pt x="833898" y="2132394"/>
                  </a:lnTo>
                  <a:lnTo>
                    <a:pt x="829132" y="2137160"/>
                  </a:lnTo>
                  <a:lnTo>
                    <a:pt x="824368" y="2127630"/>
                  </a:lnTo>
                  <a:lnTo>
                    <a:pt x="814836" y="2099038"/>
                  </a:lnTo>
                  <a:lnTo>
                    <a:pt x="810072" y="2079978"/>
                  </a:lnTo>
                  <a:lnTo>
                    <a:pt x="800542" y="2060918"/>
                  </a:lnTo>
                  <a:lnTo>
                    <a:pt x="786246" y="2037092"/>
                  </a:lnTo>
                  <a:lnTo>
                    <a:pt x="771950" y="2027562"/>
                  </a:lnTo>
                  <a:lnTo>
                    <a:pt x="762420" y="2027562"/>
                  </a:lnTo>
                  <a:lnTo>
                    <a:pt x="752890" y="2022796"/>
                  </a:lnTo>
                  <a:lnTo>
                    <a:pt x="729064" y="2018032"/>
                  </a:lnTo>
                  <a:lnTo>
                    <a:pt x="719534" y="2013266"/>
                  </a:lnTo>
                  <a:lnTo>
                    <a:pt x="652822" y="2013266"/>
                  </a:lnTo>
                  <a:lnTo>
                    <a:pt x="643292" y="2013266"/>
                  </a:lnTo>
                  <a:lnTo>
                    <a:pt x="619466" y="2018032"/>
                  </a:lnTo>
                  <a:lnTo>
                    <a:pt x="605172" y="2013266"/>
                  </a:lnTo>
                  <a:lnTo>
                    <a:pt x="590876" y="2003736"/>
                  </a:lnTo>
                  <a:lnTo>
                    <a:pt x="562286" y="1979910"/>
                  </a:lnTo>
                  <a:lnTo>
                    <a:pt x="552754" y="1970380"/>
                  </a:lnTo>
                  <a:lnTo>
                    <a:pt x="543224" y="1965616"/>
                  </a:lnTo>
                  <a:lnTo>
                    <a:pt x="533694" y="1965616"/>
                  </a:lnTo>
                  <a:lnTo>
                    <a:pt x="533694" y="1970380"/>
                  </a:lnTo>
                  <a:lnTo>
                    <a:pt x="524164" y="1989440"/>
                  </a:lnTo>
                  <a:lnTo>
                    <a:pt x="519398" y="2008502"/>
                  </a:lnTo>
                  <a:lnTo>
                    <a:pt x="514634" y="2018032"/>
                  </a:lnTo>
                  <a:lnTo>
                    <a:pt x="490808" y="2022796"/>
                  </a:lnTo>
                  <a:lnTo>
                    <a:pt x="471748" y="2032326"/>
                  </a:lnTo>
                  <a:lnTo>
                    <a:pt x="457452" y="2037092"/>
                  </a:lnTo>
                  <a:lnTo>
                    <a:pt x="452688" y="2041858"/>
                  </a:lnTo>
                  <a:lnTo>
                    <a:pt x="452688" y="2056152"/>
                  </a:lnTo>
                  <a:lnTo>
                    <a:pt x="443156" y="2065682"/>
                  </a:lnTo>
                  <a:lnTo>
                    <a:pt x="414566" y="2084744"/>
                  </a:lnTo>
                  <a:lnTo>
                    <a:pt x="409802" y="2089508"/>
                  </a:lnTo>
                  <a:lnTo>
                    <a:pt x="405036" y="2108570"/>
                  </a:lnTo>
                  <a:lnTo>
                    <a:pt x="390740" y="2127630"/>
                  </a:lnTo>
                  <a:lnTo>
                    <a:pt x="381210" y="2137160"/>
                  </a:lnTo>
                  <a:lnTo>
                    <a:pt x="357384" y="2141924"/>
                  </a:lnTo>
                  <a:lnTo>
                    <a:pt x="324028" y="2146690"/>
                  </a:lnTo>
                  <a:lnTo>
                    <a:pt x="304968" y="2146690"/>
                  </a:lnTo>
                  <a:lnTo>
                    <a:pt x="290672" y="2146690"/>
                  </a:lnTo>
                  <a:lnTo>
                    <a:pt x="285908" y="2141924"/>
                  </a:lnTo>
                  <a:lnTo>
                    <a:pt x="276378" y="2137160"/>
                  </a:lnTo>
                  <a:lnTo>
                    <a:pt x="276378" y="2132394"/>
                  </a:lnTo>
                  <a:lnTo>
                    <a:pt x="276378" y="2122864"/>
                  </a:lnTo>
                  <a:lnTo>
                    <a:pt x="276378" y="2103804"/>
                  </a:lnTo>
                  <a:lnTo>
                    <a:pt x="276378" y="2079978"/>
                  </a:lnTo>
                  <a:lnTo>
                    <a:pt x="266848" y="2056152"/>
                  </a:lnTo>
                  <a:lnTo>
                    <a:pt x="266848" y="2046622"/>
                  </a:lnTo>
                  <a:lnTo>
                    <a:pt x="266848" y="2032326"/>
                  </a:lnTo>
                  <a:lnTo>
                    <a:pt x="257316" y="2008502"/>
                  </a:lnTo>
                  <a:lnTo>
                    <a:pt x="247786" y="1994206"/>
                  </a:lnTo>
                  <a:lnTo>
                    <a:pt x="243022" y="1975146"/>
                  </a:lnTo>
                  <a:lnTo>
                    <a:pt x="238256" y="1956084"/>
                  </a:lnTo>
                  <a:lnTo>
                    <a:pt x="228726" y="1932260"/>
                  </a:lnTo>
                  <a:lnTo>
                    <a:pt x="228726" y="1903668"/>
                  </a:lnTo>
                  <a:lnTo>
                    <a:pt x="228726" y="1879842"/>
                  </a:lnTo>
                  <a:lnTo>
                    <a:pt x="209666" y="1851252"/>
                  </a:lnTo>
                  <a:lnTo>
                    <a:pt x="190606" y="1822662"/>
                  </a:lnTo>
                  <a:lnTo>
                    <a:pt x="176310" y="1817896"/>
                  </a:lnTo>
                  <a:lnTo>
                    <a:pt x="171544" y="1813132"/>
                  </a:lnTo>
                  <a:lnTo>
                    <a:pt x="171544" y="1803600"/>
                  </a:lnTo>
                  <a:lnTo>
                    <a:pt x="166780" y="1789306"/>
                  </a:lnTo>
                  <a:lnTo>
                    <a:pt x="171544" y="1784540"/>
                  </a:lnTo>
                  <a:lnTo>
                    <a:pt x="181074" y="1770244"/>
                  </a:lnTo>
                  <a:lnTo>
                    <a:pt x="181074" y="1765480"/>
                  </a:lnTo>
                  <a:lnTo>
                    <a:pt x="147718" y="1746420"/>
                  </a:lnTo>
                  <a:lnTo>
                    <a:pt x="142954" y="1741654"/>
                  </a:lnTo>
                  <a:lnTo>
                    <a:pt x="138188" y="1732124"/>
                  </a:lnTo>
                  <a:lnTo>
                    <a:pt x="138188" y="1727358"/>
                  </a:lnTo>
                  <a:lnTo>
                    <a:pt x="147718" y="1717828"/>
                  </a:lnTo>
                  <a:lnTo>
                    <a:pt x="152484" y="1713064"/>
                  </a:lnTo>
                  <a:lnTo>
                    <a:pt x="142954" y="1698768"/>
                  </a:lnTo>
                  <a:lnTo>
                    <a:pt x="142954" y="1689238"/>
                  </a:lnTo>
                  <a:lnTo>
                    <a:pt x="138188" y="1684472"/>
                  </a:lnTo>
                  <a:lnTo>
                    <a:pt x="138188" y="1679708"/>
                  </a:lnTo>
                  <a:lnTo>
                    <a:pt x="142954" y="1674942"/>
                  </a:lnTo>
                  <a:lnTo>
                    <a:pt x="162014" y="1670178"/>
                  </a:lnTo>
                  <a:lnTo>
                    <a:pt x="171544" y="1655882"/>
                  </a:lnTo>
                  <a:lnTo>
                    <a:pt x="171544" y="1646352"/>
                  </a:lnTo>
                  <a:lnTo>
                    <a:pt x="166780" y="1641586"/>
                  </a:lnTo>
                  <a:lnTo>
                    <a:pt x="147718" y="1617760"/>
                  </a:lnTo>
                  <a:lnTo>
                    <a:pt x="166780" y="1589170"/>
                  </a:lnTo>
                  <a:lnTo>
                    <a:pt x="181074" y="1574874"/>
                  </a:lnTo>
                  <a:lnTo>
                    <a:pt x="185840" y="1570110"/>
                  </a:lnTo>
                  <a:lnTo>
                    <a:pt x="185840" y="1565344"/>
                  </a:lnTo>
                  <a:lnTo>
                    <a:pt x="181074" y="1560580"/>
                  </a:lnTo>
                  <a:lnTo>
                    <a:pt x="171544" y="1555814"/>
                  </a:lnTo>
                  <a:lnTo>
                    <a:pt x="162014" y="1546284"/>
                  </a:lnTo>
                  <a:lnTo>
                    <a:pt x="152484" y="1536754"/>
                  </a:lnTo>
                  <a:lnTo>
                    <a:pt x="138188" y="1522458"/>
                  </a:lnTo>
                  <a:lnTo>
                    <a:pt x="123894" y="1512928"/>
                  </a:lnTo>
                  <a:lnTo>
                    <a:pt x="114364" y="1503398"/>
                  </a:lnTo>
                  <a:lnTo>
                    <a:pt x="104832" y="1493868"/>
                  </a:lnTo>
                  <a:lnTo>
                    <a:pt x="104832" y="1484338"/>
                  </a:lnTo>
                  <a:lnTo>
                    <a:pt x="104832" y="1465276"/>
                  </a:lnTo>
                  <a:lnTo>
                    <a:pt x="95302" y="1441452"/>
                  </a:lnTo>
                  <a:lnTo>
                    <a:pt x="95302" y="1422390"/>
                  </a:lnTo>
                  <a:lnTo>
                    <a:pt x="90538" y="1403330"/>
                  </a:lnTo>
                  <a:lnTo>
                    <a:pt x="90538" y="1393800"/>
                  </a:lnTo>
                  <a:lnTo>
                    <a:pt x="85772" y="1379504"/>
                  </a:lnTo>
                  <a:lnTo>
                    <a:pt x="81008" y="1365210"/>
                  </a:lnTo>
                  <a:lnTo>
                    <a:pt x="81008" y="1355678"/>
                  </a:lnTo>
                  <a:lnTo>
                    <a:pt x="81008" y="1350914"/>
                  </a:lnTo>
                  <a:lnTo>
                    <a:pt x="85772" y="1346148"/>
                  </a:lnTo>
                  <a:lnTo>
                    <a:pt x="85772" y="1341384"/>
                  </a:lnTo>
                  <a:lnTo>
                    <a:pt x="57182" y="1327088"/>
                  </a:lnTo>
                  <a:lnTo>
                    <a:pt x="52416" y="1322322"/>
                  </a:lnTo>
                  <a:lnTo>
                    <a:pt x="47652" y="1293732"/>
                  </a:lnTo>
                  <a:lnTo>
                    <a:pt x="23826" y="1269906"/>
                  </a:lnTo>
                  <a:lnTo>
                    <a:pt x="23826" y="1250846"/>
                  </a:lnTo>
                  <a:lnTo>
                    <a:pt x="23826" y="1246080"/>
                  </a:lnTo>
                  <a:lnTo>
                    <a:pt x="19060" y="1231786"/>
                  </a:lnTo>
                  <a:lnTo>
                    <a:pt x="14296" y="1222256"/>
                  </a:lnTo>
                  <a:lnTo>
                    <a:pt x="4766" y="1217490"/>
                  </a:lnTo>
                  <a:lnTo>
                    <a:pt x="0" y="1207960"/>
                  </a:lnTo>
                  <a:lnTo>
                    <a:pt x="4766" y="1203194"/>
                  </a:lnTo>
                  <a:lnTo>
                    <a:pt x="23826" y="1184134"/>
                  </a:lnTo>
                  <a:lnTo>
                    <a:pt x="33356" y="1184134"/>
                  </a:lnTo>
                  <a:lnTo>
                    <a:pt x="38122" y="1174604"/>
                  </a:lnTo>
                  <a:lnTo>
                    <a:pt x="42886" y="1169838"/>
                  </a:lnTo>
                  <a:lnTo>
                    <a:pt x="61946" y="1146014"/>
                  </a:lnTo>
                  <a:lnTo>
                    <a:pt x="71476" y="1131718"/>
                  </a:lnTo>
                  <a:lnTo>
                    <a:pt x="81008" y="1122188"/>
                  </a:lnTo>
                  <a:lnTo>
                    <a:pt x="95302" y="1117422"/>
                  </a:lnTo>
                  <a:lnTo>
                    <a:pt x="100068" y="1112658"/>
                  </a:lnTo>
                  <a:lnTo>
                    <a:pt x="95302" y="1093596"/>
                  </a:lnTo>
                  <a:lnTo>
                    <a:pt x="100068" y="1098362"/>
                  </a:lnTo>
                  <a:lnTo>
                    <a:pt x="109598" y="1103126"/>
                  </a:lnTo>
                  <a:lnTo>
                    <a:pt x="114364" y="1103126"/>
                  </a:lnTo>
                  <a:lnTo>
                    <a:pt x="123894" y="1103126"/>
                  </a:lnTo>
                  <a:lnTo>
                    <a:pt x="123894" y="1098362"/>
                  </a:lnTo>
                  <a:lnTo>
                    <a:pt x="123894" y="1093596"/>
                  </a:lnTo>
                  <a:lnTo>
                    <a:pt x="123894" y="1088832"/>
                  </a:lnTo>
                  <a:lnTo>
                    <a:pt x="119128" y="1084066"/>
                  </a:lnTo>
                  <a:lnTo>
                    <a:pt x="114364" y="1079302"/>
                  </a:lnTo>
                  <a:lnTo>
                    <a:pt x="114364" y="1074536"/>
                  </a:lnTo>
                  <a:lnTo>
                    <a:pt x="123894" y="1074536"/>
                  </a:lnTo>
                  <a:lnTo>
                    <a:pt x="133424" y="1069772"/>
                  </a:lnTo>
                  <a:lnTo>
                    <a:pt x="142954" y="1069772"/>
                  </a:lnTo>
                  <a:lnTo>
                    <a:pt x="147718" y="1065006"/>
                  </a:lnTo>
                  <a:lnTo>
                    <a:pt x="147718" y="1060240"/>
                  </a:lnTo>
                  <a:lnTo>
                    <a:pt x="162014" y="1055476"/>
                  </a:lnTo>
                  <a:lnTo>
                    <a:pt x="166780" y="1055476"/>
                  </a:lnTo>
                  <a:lnTo>
                    <a:pt x="166780" y="1050710"/>
                  </a:lnTo>
                  <a:lnTo>
                    <a:pt x="166780" y="1045946"/>
                  </a:lnTo>
                  <a:lnTo>
                    <a:pt x="157250" y="1041180"/>
                  </a:lnTo>
                  <a:lnTo>
                    <a:pt x="147718" y="1041180"/>
                  </a:lnTo>
                  <a:lnTo>
                    <a:pt x="138188" y="1041180"/>
                  </a:lnTo>
                  <a:lnTo>
                    <a:pt x="128658" y="1036416"/>
                  </a:lnTo>
                  <a:lnTo>
                    <a:pt x="123894" y="1026886"/>
                  </a:lnTo>
                  <a:lnTo>
                    <a:pt x="119128" y="1022120"/>
                  </a:lnTo>
                  <a:lnTo>
                    <a:pt x="123894" y="1012590"/>
                  </a:lnTo>
                  <a:lnTo>
                    <a:pt x="128658" y="1007824"/>
                  </a:lnTo>
                  <a:lnTo>
                    <a:pt x="133424" y="1003060"/>
                  </a:lnTo>
                  <a:lnTo>
                    <a:pt x="128658" y="998294"/>
                  </a:lnTo>
                  <a:lnTo>
                    <a:pt x="114364" y="998294"/>
                  </a:lnTo>
                  <a:lnTo>
                    <a:pt x="100068" y="993530"/>
                  </a:lnTo>
                  <a:lnTo>
                    <a:pt x="100068" y="983998"/>
                  </a:lnTo>
                  <a:lnTo>
                    <a:pt x="95302" y="974468"/>
                  </a:lnTo>
                  <a:lnTo>
                    <a:pt x="85772" y="969704"/>
                  </a:lnTo>
                  <a:lnTo>
                    <a:pt x="71476" y="955408"/>
                  </a:lnTo>
                  <a:lnTo>
                    <a:pt x="66712" y="950642"/>
                  </a:lnTo>
                  <a:lnTo>
                    <a:pt x="57182" y="945878"/>
                  </a:lnTo>
                  <a:lnTo>
                    <a:pt x="42886" y="926818"/>
                  </a:lnTo>
                  <a:lnTo>
                    <a:pt x="52416" y="907756"/>
                  </a:lnTo>
                  <a:lnTo>
                    <a:pt x="61946" y="898226"/>
                  </a:lnTo>
                  <a:lnTo>
                    <a:pt x="76242" y="883932"/>
                  </a:lnTo>
                  <a:lnTo>
                    <a:pt x="71476" y="874400"/>
                  </a:lnTo>
                  <a:lnTo>
                    <a:pt x="52416" y="850576"/>
                  </a:lnTo>
                  <a:lnTo>
                    <a:pt x="42886" y="836280"/>
                  </a:lnTo>
                  <a:lnTo>
                    <a:pt x="42886" y="826750"/>
                  </a:lnTo>
                  <a:lnTo>
                    <a:pt x="47652" y="812454"/>
                  </a:lnTo>
                  <a:lnTo>
                    <a:pt x="57182" y="802924"/>
                  </a:lnTo>
                  <a:lnTo>
                    <a:pt x="61946" y="788628"/>
                  </a:lnTo>
                  <a:lnTo>
                    <a:pt x="66712" y="779098"/>
                  </a:lnTo>
                  <a:lnTo>
                    <a:pt x="71476" y="774334"/>
                  </a:lnTo>
                  <a:lnTo>
                    <a:pt x="76242" y="769568"/>
                  </a:lnTo>
                  <a:lnTo>
                    <a:pt x="81008" y="760038"/>
                  </a:lnTo>
                  <a:lnTo>
                    <a:pt x="95302" y="750508"/>
                  </a:lnTo>
                  <a:lnTo>
                    <a:pt x="100068" y="740978"/>
                  </a:lnTo>
                  <a:lnTo>
                    <a:pt x="100068" y="726682"/>
                  </a:lnTo>
                  <a:lnTo>
                    <a:pt x="104832" y="721916"/>
                  </a:lnTo>
                  <a:lnTo>
                    <a:pt x="119128" y="712386"/>
                  </a:lnTo>
                  <a:lnTo>
                    <a:pt x="123894" y="712386"/>
                  </a:lnTo>
                  <a:lnTo>
                    <a:pt x="119128" y="698092"/>
                  </a:lnTo>
                  <a:lnTo>
                    <a:pt x="109598" y="683796"/>
                  </a:lnTo>
                  <a:lnTo>
                    <a:pt x="104832" y="679030"/>
                  </a:lnTo>
                  <a:lnTo>
                    <a:pt x="100068" y="645674"/>
                  </a:lnTo>
                  <a:lnTo>
                    <a:pt x="90538" y="631380"/>
                  </a:lnTo>
                  <a:lnTo>
                    <a:pt x="95302" y="626614"/>
                  </a:lnTo>
                  <a:lnTo>
                    <a:pt x="100068" y="617084"/>
                  </a:lnTo>
                  <a:lnTo>
                    <a:pt x="104832" y="602788"/>
                  </a:lnTo>
                  <a:lnTo>
                    <a:pt x="104832" y="583728"/>
                  </a:lnTo>
                  <a:lnTo>
                    <a:pt x="104832" y="519398"/>
                  </a:lnTo>
                  <a:lnTo>
                    <a:pt x="104832" y="505104"/>
                  </a:lnTo>
                  <a:lnTo>
                    <a:pt x="114364" y="495574"/>
                  </a:lnTo>
                  <a:lnTo>
                    <a:pt x="123894" y="486044"/>
                  </a:lnTo>
                  <a:lnTo>
                    <a:pt x="133424" y="481278"/>
                  </a:lnTo>
                  <a:lnTo>
                    <a:pt x="138188" y="476512"/>
                  </a:lnTo>
                  <a:lnTo>
                    <a:pt x="138188" y="462218"/>
                  </a:lnTo>
                  <a:lnTo>
                    <a:pt x="142954" y="452688"/>
                  </a:lnTo>
                  <a:lnTo>
                    <a:pt x="152484" y="443156"/>
                  </a:lnTo>
                  <a:lnTo>
                    <a:pt x="128658" y="409800"/>
                  </a:lnTo>
                  <a:lnTo>
                    <a:pt x="109598" y="376446"/>
                  </a:lnTo>
                  <a:lnTo>
                    <a:pt x="95302" y="343090"/>
                  </a:lnTo>
                  <a:lnTo>
                    <a:pt x="76242" y="309734"/>
                  </a:lnTo>
                  <a:lnTo>
                    <a:pt x="61946" y="285908"/>
                  </a:lnTo>
                  <a:lnTo>
                    <a:pt x="42886" y="257316"/>
                  </a:lnTo>
                  <a:lnTo>
                    <a:pt x="9530" y="200136"/>
                  </a:lnTo>
                  <a:lnTo>
                    <a:pt x="28590" y="195370"/>
                  </a:lnTo>
                  <a:lnTo>
                    <a:pt x="66712" y="200136"/>
                  </a:lnTo>
                  <a:lnTo>
                    <a:pt x="100068" y="204900"/>
                  </a:lnTo>
                  <a:lnTo>
                    <a:pt x="123894" y="204900"/>
                  </a:lnTo>
                  <a:lnTo>
                    <a:pt x="133424" y="214430"/>
                  </a:lnTo>
                  <a:lnTo>
                    <a:pt x="138188" y="219196"/>
                  </a:lnTo>
                  <a:lnTo>
                    <a:pt x="142954" y="223962"/>
                  </a:lnTo>
                  <a:lnTo>
                    <a:pt x="152484" y="223962"/>
                  </a:lnTo>
                  <a:lnTo>
                    <a:pt x="162014" y="223962"/>
                  </a:lnTo>
                  <a:lnTo>
                    <a:pt x="181074" y="214430"/>
                  </a:lnTo>
                  <a:lnTo>
                    <a:pt x="195370" y="209666"/>
                  </a:lnTo>
                  <a:lnTo>
                    <a:pt x="209666" y="200136"/>
                  </a:lnTo>
                  <a:lnTo>
                    <a:pt x="214430" y="195370"/>
                  </a:lnTo>
                  <a:lnTo>
                    <a:pt x="233492" y="171544"/>
                  </a:lnTo>
                  <a:lnTo>
                    <a:pt x="247786" y="157250"/>
                  </a:lnTo>
                  <a:lnTo>
                    <a:pt x="257316" y="152484"/>
                  </a:lnTo>
                  <a:lnTo>
                    <a:pt x="285908" y="152484"/>
                  </a:lnTo>
                  <a:lnTo>
                    <a:pt x="290672" y="157250"/>
                  </a:lnTo>
                  <a:lnTo>
                    <a:pt x="300204" y="152484"/>
                  </a:lnTo>
                  <a:lnTo>
                    <a:pt x="309734" y="142954"/>
                  </a:lnTo>
                  <a:lnTo>
                    <a:pt x="324028" y="128658"/>
                  </a:lnTo>
                  <a:lnTo>
                    <a:pt x="347854" y="109598"/>
                  </a:lnTo>
                  <a:lnTo>
                    <a:pt x="362150" y="104832"/>
                  </a:lnTo>
                  <a:lnTo>
                    <a:pt x="371680" y="95302"/>
                  </a:lnTo>
                  <a:lnTo>
                    <a:pt x="385976" y="95302"/>
                  </a:lnTo>
                  <a:lnTo>
                    <a:pt x="395506" y="90538"/>
                  </a:lnTo>
                  <a:lnTo>
                    <a:pt x="457452" y="42886"/>
                  </a:lnTo>
                  <a:lnTo>
                    <a:pt x="481278" y="28590"/>
                  </a:lnTo>
                  <a:lnTo>
                    <a:pt x="495574" y="28590"/>
                  </a:lnTo>
                  <a:lnTo>
                    <a:pt x="509868" y="23826"/>
                  </a:lnTo>
                  <a:lnTo>
                    <a:pt x="528930" y="19060"/>
                  </a:lnTo>
                  <a:lnTo>
                    <a:pt x="581346" y="14296"/>
                  </a:lnTo>
                  <a:lnTo>
                    <a:pt x="614702" y="9530"/>
                  </a:lnTo>
                  <a:lnTo>
                    <a:pt x="628996" y="14296"/>
                  </a:lnTo>
                  <a:lnTo>
                    <a:pt x="638528" y="14296"/>
                  </a:lnTo>
                  <a:lnTo>
                    <a:pt x="648058" y="476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2" name="Line 4010">
              <a:extLst>
                <a:ext uri="{FF2B5EF4-FFF2-40B4-BE49-F238E27FC236}">
                  <a16:creationId xmlns:a16="http://schemas.microsoft.com/office/drawing/2014/main" id="{5C5DD5B3-B3AC-4328-A929-8A875D2E8C7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47235" y="5658405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3" name="Line 4013">
              <a:extLst>
                <a:ext uri="{FF2B5EF4-FFF2-40B4-BE49-F238E27FC236}">
                  <a16:creationId xmlns:a16="http://schemas.microsoft.com/office/drawing/2014/main" id="{757788B0-E3D5-4A61-A290-454116AB142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47235" y="5658405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4" name="Freeform 4050">
              <a:extLst>
                <a:ext uri="{FF2B5EF4-FFF2-40B4-BE49-F238E27FC236}">
                  <a16:creationId xmlns:a16="http://schemas.microsoft.com/office/drawing/2014/main" id="{2FA298D8-394A-46CC-8D54-1E49611D0BE3}"/>
                </a:ext>
              </a:extLst>
            </p:cNvPr>
            <p:cNvSpPr/>
            <p:nvPr/>
          </p:nvSpPr>
          <p:spPr bwMode="auto">
            <a:xfrm>
              <a:off x="3791389" y="5070226"/>
              <a:ext cx="5396" cy="6167"/>
            </a:xfrm>
            <a:custGeom>
              <a:avLst/>
              <a:gdLst>
                <a:gd name="T0" fmla="*/ 10 w 14"/>
                <a:gd name="T1" fmla="*/ 16 h 16"/>
                <a:gd name="T2" fmla="*/ 14 w 14"/>
                <a:gd name="T3" fmla="*/ 10 h 16"/>
                <a:gd name="T4" fmla="*/ 10 w 14"/>
                <a:gd name="T5" fmla="*/ 8 h 16"/>
                <a:gd name="T6" fmla="*/ 4 w 14"/>
                <a:gd name="T7" fmla="*/ 0 h 16"/>
                <a:gd name="T8" fmla="*/ 0 w 14"/>
                <a:gd name="T9" fmla="*/ 0 h 16"/>
                <a:gd name="T10" fmla="*/ 0 w 14"/>
                <a:gd name="T11" fmla="*/ 10 h 16"/>
                <a:gd name="T12" fmla="*/ 2 w 14"/>
                <a:gd name="T13" fmla="*/ 14 h 16"/>
                <a:gd name="T14" fmla="*/ 8 w 14"/>
                <a:gd name="T15" fmla="*/ 16 h 16"/>
                <a:gd name="T16" fmla="*/ 10 w 14"/>
                <a:gd name="T1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6">
                  <a:moveTo>
                    <a:pt x="10" y="16"/>
                  </a:moveTo>
                  <a:lnTo>
                    <a:pt x="14" y="10"/>
                  </a:lnTo>
                  <a:lnTo>
                    <a:pt x="10" y="8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" y="14"/>
                  </a:lnTo>
                  <a:lnTo>
                    <a:pt x="8" y="16"/>
                  </a:lnTo>
                  <a:lnTo>
                    <a:pt x="10" y="1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5" name="Line 4051">
              <a:extLst>
                <a:ext uri="{FF2B5EF4-FFF2-40B4-BE49-F238E27FC236}">
                  <a16:creationId xmlns:a16="http://schemas.microsoft.com/office/drawing/2014/main" id="{BF85A961-F32F-490E-ADE3-3605CDAD606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95244" y="5076393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6" name="Line 4053">
              <a:extLst>
                <a:ext uri="{FF2B5EF4-FFF2-40B4-BE49-F238E27FC236}">
                  <a16:creationId xmlns:a16="http://schemas.microsoft.com/office/drawing/2014/main" id="{D5A75FAB-CAC5-48F0-B8AA-42544F32553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95244" y="5076393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7" name="Freeform 55">
              <a:extLst>
                <a:ext uri="{FF2B5EF4-FFF2-40B4-BE49-F238E27FC236}">
                  <a16:creationId xmlns:a16="http://schemas.microsoft.com/office/drawing/2014/main" id="{10491D16-4C25-47A7-B017-25D13565CD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81147" y="5282217"/>
              <a:ext cx="30835" cy="25439"/>
            </a:xfrm>
            <a:custGeom>
              <a:avLst/>
              <a:gdLst>
                <a:gd name="connsiteX0" fmla="*/ 142952 w 190604"/>
                <a:gd name="connsiteY0" fmla="*/ 19060 h 157248"/>
                <a:gd name="connsiteX1" fmla="*/ 162016 w 190604"/>
                <a:gd name="connsiteY1" fmla="*/ 19060 h 157248"/>
                <a:gd name="connsiteX2" fmla="*/ 166780 w 190604"/>
                <a:gd name="connsiteY2" fmla="*/ 28590 h 157248"/>
                <a:gd name="connsiteX3" fmla="*/ 176308 w 190604"/>
                <a:gd name="connsiteY3" fmla="*/ 42886 h 157248"/>
                <a:gd name="connsiteX4" fmla="*/ 181076 w 190604"/>
                <a:gd name="connsiteY4" fmla="*/ 61946 h 157248"/>
                <a:gd name="connsiteX5" fmla="*/ 185840 w 190604"/>
                <a:gd name="connsiteY5" fmla="*/ 90536 h 157248"/>
                <a:gd name="connsiteX6" fmla="*/ 190604 w 190604"/>
                <a:gd name="connsiteY6" fmla="*/ 104832 h 157248"/>
                <a:gd name="connsiteX7" fmla="*/ 185840 w 190604"/>
                <a:gd name="connsiteY7" fmla="*/ 104832 h 157248"/>
                <a:gd name="connsiteX8" fmla="*/ 181076 w 190604"/>
                <a:gd name="connsiteY8" fmla="*/ 109596 h 157248"/>
                <a:gd name="connsiteX9" fmla="*/ 166780 w 190604"/>
                <a:gd name="connsiteY9" fmla="*/ 104832 h 157248"/>
                <a:gd name="connsiteX10" fmla="*/ 157248 w 190604"/>
                <a:gd name="connsiteY10" fmla="*/ 100066 h 157248"/>
                <a:gd name="connsiteX11" fmla="*/ 147720 w 190604"/>
                <a:gd name="connsiteY11" fmla="*/ 71476 h 157248"/>
                <a:gd name="connsiteX12" fmla="*/ 142952 w 190604"/>
                <a:gd name="connsiteY12" fmla="*/ 52416 h 157248"/>
                <a:gd name="connsiteX13" fmla="*/ 138188 w 190604"/>
                <a:gd name="connsiteY13" fmla="*/ 0 h 157248"/>
                <a:gd name="connsiteX14" fmla="*/ 147720 w 190604"/>
                <a:gd name="connsiteY14" fmla="*/ 4764 h 157248"/>
                <a:gd name="connsiteX15" fmla="*/ 147720 w 190604"/>
                <a:gd name="connsiteY15" fmla="*/ 9530 h 157248"/>
                <a:gd name="connsiteX16" fmla="*/ 142952 w 190604"/>
                <a:gd name="connsiteY16" fmla="*/ 19060 h 157248"/>
                <a:gd name="connsiteX17" fmla="*/ 133424 w 190604"/>
                <a:gd name="connsiteY17" fmla="*/ 28590 h 157248"/>
                <a:gd name="connsiteX18" fmla="*/ 119128 w 190604"/>
                <a:gd name="connsiteY18" fmla="*/ 38120 h 157248"/>
                <a:gd name="connsiteX19" fmla="*/ 104832 w 190604"/>
                <a:gd name="connsiteY19" fmla="*/ 42886 h 157248"/>
                <a:gd name="connsiteX20" fmla="*/ 100068 w 190604"/>
                <a:gd name="connsiteY20" fmla="*/ 47650 h 157248"/>
                <a:gd name="connsiteX21" fmla="*/ 104832 w 190604"/>
                <a:gd name="connsiteY21" fmla="*/ 57180 h 157248"/>
                <a:gd name="connsiteX22" fmla="*/ 104832 w 190604"/>
                <a:gd name="connsiteY22" fmla="*/ 76240 h 157248"/>
                <a:gd name="connsiteX23" fmla="*/ 109600 w 190604"/>
                <a:gd name="connsiteY23" fmla="*/ 90536 h 157248"/>
                <a:gd name="connsiteX24" fmla="*/ 114364 w 190604"/>
                <a:gd name="connsiteY24" fmla="*/ 95302 h 157248"/>
                <a:gd name="connsiteX25" fmla="*/ 114364 w 190604"/>
                <a:gd name="connsiteY25" fmla="*/ 100066 h 157248"/>
                <a:gd name="connsiteX26" fmla="*/ 114364 w 190604"/>
                <a:gd name="connsiteY26" fmla="*/ 104832 h 157248"/>
                <a:gd name="connsiteX27" fmla="*/ 104832 w 190604"/>
                <a:gd name="connsiteY27" fmla="*/ 119128 h 157248"/>
                <a:gd name="connsiteX28" fmla="*/ 109600 w 190604"/>
                <a:gd name="connsiteY28" fmla="*/ 119128 h 157248"/>
                <a:gd name="connsiteX29" fmla="*/ 104832 w 190604"/>
                <a:gd name="connsiteY29" fmla="*/ 133422 h 157248"/>
                <a:gd name="connsiteX30" fmla="*/ 100068 w 190604"/>
                <a:gd name="connsiteY30" fmla="*/ 147718 h 157248"/>
                <a:gd name="connsiteX31" fmla="*/ 85772 w 190604"/>
                <a:gd name="connsiteY31" fmla="*/ 157248 h 157248"/>
                <a:gd name="connsiteX32" fmla="*/ 81008 w 190604"/>
                <a:gd name="connsiteY32" fmla="*/ 157248 h 157248"/>
                <a:gd name="connsiteX33" fmla="*/ 76244 w 190604"/>
                <a:gd name="connsiteY33" fmla="*/ 152482 h 157248"/>
                <a:gd name="connsiteX34" fmla="*/ 66712 w 190604"/>
                <a:gd name="connsiteY34" fmla="*/ 142952 h 157248"/>
                <a:gd name="connsiteX35" fmla="*/ 52416 w 190604"/>
                <a:gd name="connsiteY35" fmla="*/ 128658 h 157248"/>
                <a:gd name="connsiteX36" fmla="*/ 52416 w 190604"/>
                <a:gd name="connsiteY36" fmla="*/ 123892 h 157248"/>
                <a:gd name="connsiteX37" fmla="*/ 33356 w 190604"/>
                <a:gd name="connsiteY37" fmla="*/ 119128 h 157248"/>
                <a:gd name="connsiteX38" fmla="*/ 28592 w 190604"/>
                <a:gd name="connsiteY38" fmla="*/ 114362 h 157248"/>
                <a:gd name="connsiteX39" fmla="*/ 28592 w 190604"/>
                <a:gd name="connsiteY39" fmla="*/ 104832 h 157248"/>
                <a:gd name="connsiteX40" fmla="*/ 23824 w 190604"/>
                <a:gd name="connsiteY40" fmla="*/ 95302 h 157248"/>
                <a:gd name="connsiteX41" fmla="*/ 19060 w 190604"/>
                <a:gd name="connsiteY41" fmla="*/ 85772 h 157248"/>
                <a:gd name="connsiteX42" fmla="*/ 9532 w 190604"/>
                <a:gd name="connsiteY42" fmla="*/ 81006 h 157248"/>
                <a:gd name="connsiteX43" fmla="*/ 0 w 190604"/>
                <a:gd name="connsiteY43" fmla="*/ 71476 h 157248"/>
                <a:gd name="connsiteX44" fmla="*/ 14296 w 190604"/>
                <a:gd name="connsiteY44" fmla="*/ 71476 h 157248"/>
                <a:gd name="connsiteX45" fmla="*/ 33356 w 190604"/>
                <a:gd name="connsiteY45" fmla="*/ 66710 h 157248"/>
                <a:gd name="connsiteX46" fmla="*/ 52416 w 190604"/>
                <a:gd name="connsiteY46" fmla="*/ 57180 h 157248"/>
                <a:gd name="connsiteX47" fmla="*/ 71476 w 190604"/>
                <a:gd name="connsiteY47" fmla="*/ 47650 h 157248"/>
                <a:gd name="connsiteX48" fmla="*/ 85772 w 190604"/>
                <a:gd name="connsiteY48" fmla="*/ 38120 h 157248"/>
                <a:gd name="connsiteX49" fmla="*/ 100068 w 190604"/>
                <a:gd name="connsiteY49" fmla="*/ 23824 h 157248"/>
                <a:gd name="connsiteX50" fmla="*/ 114364 w 190604"/>
                <a:gd name="connsiteY50" fmla="*/ 14294 h 1572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190604" h="157248">
                  <a:moveTo>
                    <a:pt x="142952" y="19060"/>
                  </a:moveTo>
                  <a:lnTo>
                    <a:pt x="162016" y="19060"/>
                  </a:lnTo>
                  <a:lnTo>
                    <a:pt x="166780" y="28590"/>
                  </a:lnTo>
                  <a:lnTo>
                    <a:pt x="176308" y="42886"/>
                  </a:lnTo>
                  <a:lnTo>
                    <a:pt x="181076" y="61946"/>
                  </a:lnTo>
                  <a:lnTo>
                    <a:pt x="185840" y="90536"/>
                  </a:lnTo>
                  <a:lnTo>
                    <a:pt x="190604" y="104832"/>
                  </a:lnTo>
                  <a:lnTo>
                    <a:pt x="185840" y="104832"/>
                  </a:lnTo>
                  <a:lnTo>
                    <a:pt x="181076" y="109596"/>
                  </a:lnTo>
                  <a:lnTo>
                    <a:pt x="166780" y="104832"/>
                  </a:lnTo>
                  <a:lnTo>
                    <a:pt x="157248" y="100066"/>
                  </a:lnTo>
                  <a:lnTo>
                    <a:pt x="147720" y="71476"/>
                  </a:lnTo>
                  <a:lnTo>
                    <a:pt x="142952" y="52416"/>
                  </a:lnTo>
                  <a:close/>
                  <a:moveTo>
                    <a:pt x="138188" y="0"/>
                  </a:moveTo>
                  <a:lnTo>
                    <a:pt x="147720" y="4764"/>
                  </a:lnTo>
                  <a:lnTo>
                    <a:pt x="147720" y="9530"/>
                  </a:lnTo>
                  <a:lnTo>
                    <a:pt x="142952" y="19060"/>
                  </a:lnTo>
                  <a:lnTo>
                    <a:pt x="133424" y="28590"/>
                  </a:lnTo>
                  <a:lnTo>
                    <a:pt x="119128" y="38120"/>
                  </a:lnTo>
                  <a:lnTo>
                    <a:pt x="104832" y="42886"/>
                  </a:lnTo>
                  <a:lnTo>
                    <a:pt x="100068" y="47650"/>
                  </a:lnTo>
                  <a:lnTo>
                    <a:pt x="104832" y="57180"/>
                  </a:lnTo>
                  <a:lnTo>
                    <a:pt x="104832" y="76240"/>
                  </a:lnTo>
                  <a:lnTo>
                    <a:pt x="109600" y="90536"/>
                  </a:lnTo>
                  <a:lnTo>
                    <a:pt x="114364" y="95302"/>
                  </a:lnTo>
                  <a:lnTo>
                    <a:pt x="114364" y="100066"/>
                  </a:lnTo>
                  <a:lnTo>
                    <a:pt x="114364" y="104832"/>
                  </a:lnTo>
                  <a:lnTo>
                    <a:pt x="104832" y="119128"/>
                  </a:lnTo>
                  <a:lnTo>
                    <a:pt x="109600" y="119128"/>
                  </a:lnTo>
                  <a:lnTo>
                    <a:pt x="104832" y="133422"/>
                  </a:lnTo>
                  <a:lnTo>
                    <a:pt x="100068" y="147718"/>
                  </a:lnTo>
                  <a:lnTo>
                    <a:pt x="85772" y="157248"/>
                  </a:lnTo>
                  <a:lnTo>
                    <a:pt x="81008" y="157248"/>
                  </a:lnTo>
                  <a:lnTo>
                    <a:pt x="76244" y="152482"/>
                  </a:lnTo>
                  <a:lnTo>
                    <a:pt x="66712" y="142952"/>
                  </a:lnTo>
                  <a:lnTo>
                    <a:pt x="52416" y="128658"/>
                  </a:lnTo>
                  <a:lnTo>
                    <a:pt x="52416" y="123892"/>
                  </a:lnTo>
                  <a:lnTo>
                    <a:pt x="33356" y="119128"/>
                  </a:lnTo>
                  <a:lnTo>
                    <a:pt x="28592" y="114362"/>
                  </a:lnTo>
                  <a:lnTo>
                    <a:pt x="28592" y="104832"/>
                  </a:lnTo>
                  <a:lnTo>
                    <a:pt x="23824" y="95302"/>
                  </a:lnTo>
                  <a:lnTo>
                    <a:pt x="19060" y="85772"/>
                  </a:lnTo>
                  <a:lnTo>
                    <a:pt x="9532" y="81006"/>
                  </a:lnTo>
                  <a:lnTo>
                    <a:pt x="0" y="71476"/>
                  </a:lnTo>
                  <a:lnTo>
                    <a:pt x="14296" y="71476"/>
                  </a:lnTo>
                  <a:lnTo>
                    <a:pt x="33356" y="66710"/>
                  </a:lnTo>
                  <a:lnTo>
                    <a:pt x="52416" y="57180"/>
                  </a:lnTo>
                  <a:lnTo>
                    <a:pt x="71476" y="47650"/>
                  </a:lnTo>
                  <a:lnTo>
                    <a:pt x="85772" y="38120"/>
                  </a:lnTo>
                  <a:lnTo>
                    <a:pt x="100068" y="23824"/>
                  </a:lnTo>
                  <a:lnTo>
                    <a:pt x="114364" y="1429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8" name="Freeform 4064">
              <a:extLst>
                <a:ext uri="{FF2B5EF4-FFF2-40B4-BE49-F238E27FC236}">
                  <a16:creationId xmlns:a16="http://schemas.microsoft.com/office/drawing/2014/main" id="{E2D14CA6-F705-4165-8EA0-96D4CC2406BC}"/>
                </a:ext>
              </a:extLst>
            </p:cNvPr>
            <p:cNvSpPr/>
            <p:nvPr/>
          </p:nvSpPr>
          <p:spPr bwMode="auto">
            <a:xfrm>
              <a:off x="5803378" y="5866156"/>
              <a:ext cx="237430" cy="248222"/>
            </a:xfrm>
            <a:custGeom>
              <a:avLst/>
              <a:gdLst>
                <a:gd name="T0" fmla="*/ 316 w 616"/>
                <a:gd name="T1" fmla="*/ 6 h 644"/>
                <a:gd name="T2" fmla="*/ 288 w 616"/>
                <a:gd name="T3" fmla="*/ 14 h 644"/>
                <a:gd name="T4" fmla="*/ 256 w 616"/>
                <a:gd name="T5" fmla="*/ 30 h 644"/>
                <a:gd name="T6" fmla="*/ 238 w 616"/>
                <a:gd name="T7" fmla="*/ 46 h 644"/>
                <a:gd name="T8" fmla="*/ 218 w 616"/>
                <a:gd name="T9" fmla="*/ 16 h 644"/>
                <a:gd name="T10" fmla="*/ 182 w 616"/>
                <a:gd name="T11" fmla="*/ 18 h 644"/>
                <a:gd name="T12" fmla="*/ 82 w 616"/>
                <a:gd name="T13" fmla="*/ 36 h 644"/>
                <a:gd name="T14" fmla="*/ 66 w 616"/>
                <a:gd name="T15" fmla="*/ 278 h 644"/>
                <a:gd name="T16" fmla="*/ 0 w 616"/>
                <a:gd name="T17" fmla="*/ 492 h 644"/>
                <a:gd name="T18" fmla="*/ 32 w 616"/>
                <a:gd name="T19" fmla="*/ 524 h 644"/>
                <a:gd name="T20" fmla="*/ 54 w 616"/>
                <a:gd name="T21" fmla="*/ 580 h 644"/>
                <a:gd name="T22" fmla="*/ 50 w 616"/>
                <a:gd name="T23" fmla="*/ 600 h 644"/>
                <a:gd name="T24" fmla="*/ 44 w 616"/>
                <a:gd name="T25" fmla="*/ 634 h 644"/>
                <a:gd name="T26" fmla="*/ 64 w 616"/>
                <a:gd name="T27" fmla="*/ 640 h 644"/>
                <a:gd name="T28" fmla="*/ 110 w 616"/>
                <a:gd name="T29" fmla="*/ 644 h 644"/>
                <a:gd name="T30" fmla="*/ 122 w 616"/>
                <a:gd name="T31" fmla="*/ 630 h 644"/>
                <a:gd name="T32" fmla="*/ 146 w 616"/>
                <a:gd name="T33" fmla="*/ 610 h 644"/>
                <a:gd name="T34" fmla="*/ 174 w 616"/>
                <a:gd name="T35" fmla="*/ 586 h 644"/>
                <a:gd name="T36" fmla="*/ 190 w 616"/>
                <a:gd name="T37" fmla="*/ 542 h 644"/>
                <a:gd name="T38" fmla="*/ 208 w 616"/>
                <a:gd name="T39" fmla="*/ 528 h 644"/>
                <a:gd name="T40" fmla="*/ 242 w 616"/>
                <a:gd name="T41" fmla="*/ 540 h 644"/>
                <a:gd name="T42" fmla="*/ 270 w 616"/>
                <a:gd name="T43" fmla="*/ 554 h 644"/>
                <a:gd name="T44" fmla="*/ 300 w 616"/>
                <a:gd name="T45" fmla="*/ 564 h 644"/>
                <a:gd name="T46" fmla="*/ 334 w 616"/>
                <a:gd name="T47" fmla="*/ 562 h 644"/>
                <a:gd name="T48" fmla="*/ 364 w 616"/>
                <a:gd name="T49" fmla="*/ 556 h 644"/>
                <a:gd name="T50" fmla="*/ 380 w 616"/>
                <a:gd name="T51" fmla="*/ 518 h 644"/>
                <a:gd name="T52" fmla="*/ 396 w 616"/>
                <a:gd name="T53" fmla="*/ 486 h 644"/>
                <a:gd name="T54" fmla="*/ 428 w 616"/>
                <a:gd name="T55" fmla="*/ 474 h 644"/>
                <a:gd name="T56" fmla="*/ 458 w 616"/>
                <a:gd name="T57" fmla="*/ 420 h 644"/>
                <a:gd name="T58" fmla="*/ 472 w 616"/>
                <a:gd name="T59" fmla="*/ 402 h 644"/>
                <a:gd name="T60" fmla="*/ 492 w 616"/>
                <a:gd name="T61" fmla="*/ 390 h 644"/>
                <a:gd name="T62" fmla="*/ 508 w 616"/>
                <a:gd name="T63" fmla="*/ 380 h 644"/>
                <a:gd name="T64" fmla="*/ 518 w 616"/>
                <a:gd name="T65" fmla="*/ 370 h 644"/>
                <a:gd name="T66" fmla="*/ 540 w 616"/>
                <a:gd name="T67" fmla="*/ 342 h 644"/>
                <a:gd name="T68" fmla="*/ 580 w 616"/>
                <a:gd name="T69" fmla="*/ 328 h 644"/>
                <a:gd name="T70" fmla="*/ 616 w 616"/>
                <a:gd name="T71" fmla="*/ 308 h 644"/>
                <a:gd name="T72" fmla="*/ 596 w 616"/>
                <a:gd name="T73" fmla="*/ 296 h 644"/>
                <a:gd name="T74" fmla="*/ 594 w 616"/>
                <a:gd name="T75" fmla="*/ 280 h 644"/>
                <a:gd name="T76" fmla="*/ 574 w 616"/>
                <a:gd name="T77" fmla="*/ 272 h 644"/>
                <a:gd name="T78" fmla="*/ 526 w 616"/>
                <a:gd name="T79" fmla="*/ 262 h 644"/>
                <a:gd name="T80" fmla="*/ 506 w 616"/>
                <a:gd name="T81" fmla="*/ 230 h 644"/>
                <a:gd name="T82" fmla="*/ 506 w 616"/>
                <a:gd name="T83" fmla="*/ 206 h 644"/>
                <a:gd name="T84" fmla="*/ 504 w 616"/>
                <a:gd name="T85" fmla="*/ 188 h 644"/>
                <a:gd name="T86" fmla="*/ 478 w 616"/>
                <a:gd name="T87" fmla="*/ 180 h 644"/>
                <a:gd name="T88" fmla="*/ 466 w 616"/>
                <a:gd name="T89" fmla="*/ 156 h 644"/>
                <a:gd name="T90" fmla="*/ 410 w 616"/>
                <a:gd name="T91" fmla="*/ 124 h 644"/>
                <a:gd name="T92" fmla="*/ 392 w 616"/>
                <a:gd name="T93" fmla="*/ 82 h 644"/>
                <a:gd name="T94" fmla="*/ 380 w 616"/>
                <a:gd name="T95" fmla="*/ 60 h 644"/>
                <a:gd name="T96" fmla="*/ 354 w 616"/>
                <a:gd name="T97" fmla="*/ 24 h 644"/>
                <a:gd name="T98" fmla="*/ 344 w 616"/>
                <a:gd name="T99" fmla="*/ 8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16" h="644">
                  <a:moveTo>
                    <a:pt x="346" y="0"/>
                  </a:moveTo>
                  <a:lnTo>
                    <a:pt x="344" y="0"/>
                  </a:lnTo>
                  <a:lnTo>
                    <a:pt x="324" y="2"/>
                  </a:lnTo>
                  <a:lnTo>
                    <a:pt x="316" y="6"/>
                  </a:lnTo>
                  <a:lnTo>
                    <a:pt x="298" y="18"/>
                  </a:lnTo>
                  <a:lnTo>
                    <a:pt x="294" y="16"/>
                  </a:lnTo>
                  <a:lnTo>
                    <a:pt x="290" y="14"/>
                  </a:lnTo>
                  <a:lnTo>
                    <a:pt x="288" y="14"/>
                  </a:lnTo>
                  <a:lnTo>
                    <a:pt x="280" y="16"/>
                  </a:lnTo>
                  <a:lnTo>
                    <a:pt x="272" y="20"/>
                  </a:lnTo>
                  <a:lnTo>
                    <a:pt x="264" y="26"/>
                  </a:lnTo>
                  <a:lnTo>
                    <a:pt x="256" y="30"/>
                  </a:lnTo>
                  <a:lnTo>
                    <a:pt x="254" y="34"/>
                  </a:lnTo>
                  <a:lnTo>
                    <a:pt x="244" y="44"/>
                  </a:lnTo>
                  <a:lnTo>
                    <a:pt x="240" y="46"/>
                  </a:lnTo>
                  <a:lnTo>
                    <a:pt x="238" y="46"/>
                  </a:lnTo>
                  <a:lnTo>
                    <a:pt x="236" y="46"/>
                  </a:lnTo>
                  <a:lnTo>
                    <a:pt x="234" y="42"/>
                  </a:lnTo>
                  <a:lnTo>
                    <a:pt x="228" y="30"/>
                  </a:lnTo>
                  <a:lnTo>
                    <a:pt x="218" y="16"/>
                  </a:lnTo>
                  <a:lnTo>
                    <a:pt x="214" y="16"/>
                  </a:lnTo>
                  <a:lnTo>
                    <a:pt x="212" y="14"/>
                  </a:lnTo>
                  <a:lnTo>
                    <a:pt x="204" y="16"/>
                  </a:lnTo>
                  <a:lnTo>
                    <a:pt x="182" y="18"/>
                  </a:lnTo>
                  <a:lnTo>
                    <a:pt x="162" y="22"/>
                  </a:lnTo>
                  <a:lnTo>
                    <a:pt x="134" y="28"/>
                  </a:lnTo>
                  <a:lnTo>
                    <a:pt x="102" y="32"/>
                  </a:lnTo>
                  <a:lnTo>
                    <a:pt x="82" y="36"/>
                  </a:lnTo>
                  <a:lnTo>
                    <a:pt x="66" y="36"/>
                  </a:lnTo>
                  <a:lnTo>
                    <a:pt x="66" y="50"/>
                  </a:lnTo>
                  <a:lnTo>
                    <a:pt x="66" y="78"/>
                  </a:lnTo>
                  <a:lnTo>
                    <a:pt x="66" y="278"/>
                  </a:lnTo>
                  <a:lnTo>
                    <a:pt x="66" y="292"/>
                  </a:lnTo>
                  <a:lnTo>
                    <a:pt x="66" y="294"/>
                  </a:lnTo>
                  <a:lnTo>
                    <a:pt x="0" y="294"/>
                  </a:lnTo>
                  <a:lnTo>
                    <a:pt x="0" y="492"/>
                  </a:lnTo>
                  <a:lnTo>
                    <a:pt x="4" y="494"/>
                  </a:lnTo>
                  <a:lnTo>
                    <a:pt x="24" y="510"/>
                  </a:lnTo>
                  <a:lnTo>
                    <a:pt x="30" y="518"/>
                  </a:lnTo>
                  <a:lnTo>
                    <a:pt x="32" y="524"/>
                  </a:lnTo>
                  <a:lnTo>
                    <a:pt x="42" y="544"/>
                  </a:lnTo>
                  <a:lnTo>
                    <a:pt x="48" y="562"/>
                  </a:lnTo>
                  <a:lnTo>
                    <a:pt x="54" y="574"/>
                  </a:lnTo>
                  <a:lnTo>
                    <a:pt x="54" y="580"/>
                  </a:lnTo>
                  <a:lnTo>
                    <a:pt x="54" y="586"/>
                  </a:lnTo>
                  <a:lnTo>
                    <a:pt x="56" y="590"/>
                  </a:lnTo>
                  <a:lnTo>
                    <a:pt x="54" y="592"/>
                  </a:lnTo>
                  <a:lnTo>
                    <a:pt x="50" y="600"/>
                  </a:lnTo>
                  <a:lnTo>
                    <a:pt x="46" y="606"/>
                  </a:lnTo>
                  <a:lnTo>
                    <a:pt x="42" y="614"/>
                  </a:lnTo>
                  <a:lnTo>
                    <a:pt x="42" y="624"/>
                  </a:lnTo>
                  <a:lnTo>
                    <a:pt x="44" y="634"/>
                  </a:lnTo>
                  <a:lnTo>
                    <a:pt x="46" y="640"/>
                  </a:lnTo>
                  <a:lnTo>
                    <a:pt x="50" y="642"/>
                  </a:lnTo>
                  <a:lnTo>
                    <a:pt x="58" y="640"/>
                  </a:lnTo>
                  <a:lnTo>
                    <a:pt x="64" y="640"/>
                  </a:lnTo>
                  <a:lnTo>
                    <a:pt x="72" y="642"/>
                  </a:lnTo>
                  <a:lnTo>
                    <a:pt x="96" y="642"/>
                  </a:lnTo>
                  <a:lnTo>
                    <a:pt x="100" y="642"/>
                  </a:lnTo>
                  <a:lnTo>
                    <a:pt x="110" y="644"/>
                  </a:lnTo>
                  <a:lnTo>
                    <a:pt x="112" y="642"/>
                  </a:lnTo>
                  <a:lnTo>
                    <a:pt x="116" y="640"/>
                  </a:lnTo>
                  <a:lnTo>
                    <a:pt x="118" y="632"/>
                  </a:lnTo>
                  <a:lnTo>
                    <a:pt x="122" y="630"/>
                  </a:lnTo>
                  <a:lnTo>
                    <a:pt x="126" y="628"/>
                  </a:lnTo>
                  <a:lnTo>
                    <a:pt x="134" y="628"/>
                  </a:lnTo>
                  <a:lnTo>
                    <a:pt x="138" y="624"/>
                  </a:lnTo>
                  <a:lnTo>
                    <a:pt x="146" y="610"/>
                  </a:lnTo>
                  <a:lnTo>
                    <a:pt x="164" y="596"/>
                  </a:lnTo>
                  <a:lnTo>
                    <a:pt x="168" y="594"/>
                  </a:lnTo>
                  <a:lnTo>
                    <a:pt x="172" y="590"/>
                  </a:lnTo>
                  <a:lnTo>
                    <a:pt x="174" y="586"/>
                  </a:lnTo>
                  <a:lnTo>
                    <a:pt x="180" y="570"/>
                  </a:lnTo>
                  <a:lnTo>
                    <a:pt x="184" y="558"/>
                  </a:lnTo>
                  <a:lnTo>
                    <a:pt x="186" y="552"/>
                  </a:lnTo>
                  <a:lnTo>
                    <a:pt x="190" y="542"/>
                  </a:lnTo>
                  <a:lnTo>
                    <a:pt x="194" y="534"/>
                  </a:lnTo>
                  <a:lnTo>
                    <a:pt x="200" y="532"/>
                  </a:lnTo>
                  <a:lnTo>
                    <a:pt x="202" y="530"/>
                  </a:lnTo>
                  <a:lnTo>
                    <a:pt x="208" y="528"/>
                  </a:lnTo>
                  <a:lnTo>
                    <a:pt x="216" y="528"/>
                  </a:lnTo>
                  <a:lnTo>
                    <a:pt x="224" y="530"/>
                  </a:lnTo>
                  <a:lnTo>
                    <a:pt x="232" y="534"/>
                  </a:lnTo>
                  <a:lnTo>
                    <a:pt x="242" y="540"/>
                  </a:lnTo>
                  <a:lnTo>
                    <a:pt x="252" y="548"/>
                  </a:lnTo>
                  <a:lnTo>
                    <a:pt x="256" y="552"/>
                  </a:lnTo>
                  <a:lnTo>
                    <a:pt x="262" y="554"/>
                  </a:lnTo>
                  <a:lnTo>
                    <a:pt x="270" y="554"/>
                  </a:lnTo>
                  <a:lnTo>
                    <a:pt x="276" y="554"/>
                  </a:lnTo>
                  <a:lnTo>
                    <a:pt x="286" y="562"/>
                  </a:lnTo>
                  <a:lnTo>
                    <a:pt x="290" y="562"/>
                  </a:lnTo>
                  <a:lnTo>
                    <a:pt x="300" y="564"/>
                  </a:lnTo>
                  <a:lnTo>
                    <a:pt x="312" y="568"/>
                  </a:lnTo>
                  <a:lnTo>
                    <a:pt x="320" y="568"/>
                  </a:lnTo>
                  <a:lnTo>
                    <a:pt x="330" y="562"/>
                  </a:lnTo>
                  <a:lnTo>
                    <a:pt x="334" y="562"/>
                  </a:lnTo>
                  <a:lnTo>
                    <a:pt x="342" y="562"/>
                  </a:lnTo>
                  <a:lnTo>
                    <a:pt x="352" y="562"/>
                  </a:lnTo>
                  <a:lnTo>
                    <a:pt x="358" y="560"/>
                  </a:lnTo>
                  <a:lnTo>
                    <a:pt x="364" y="556"/>
                  </a:lnTo>
                  <a:lnTo>
                    <a:pt x="368" y="552"/>
                  </a:lnTo>
                  <a:lnTo>
                    <a:pt x="372" y="540"/>
                  </a:lnTo>
                  <a:lnTo>
                    <a:pt x="376" y="530"/>
                  </a:lnTo>
                  <a:lnTo>
                    <a:pt x="380" y="518"/>
                  </a:lnTo>
                  <a:lnTo>
                    <a:pt x="384" y="504"/>
                  </a:lnTo>
                  <a:lnTo>
                    <a:pt x="386" y="492"/>
                  </a:lnTo>
                  <a:lnTo>
                    <a:pt x="388" y="490"/>
                  </a:lnTo>
                  <a:lnTo>
                    <a:pt x="396" y="486"/>
                  </a:lnTo>
                  <a:lnTo>
                    <a:pt x="404" y="484"/>
                  </a:lnTo>
                  <a:lnTo>
                    <a:pt x="420" y="480"/>
                  </a:lnTo>
                  <a:lnTo>
                    <a:pt x="424" y="478"/>
                  </a:lnTo>
                  <a:lnTo>
                    <a:pt x="428" y="474"/>
                  </a:lnTo>
                  <a:lnTo>
                    <a:pt x="436" y="464"/>
                  </a:lnTo>
                  <a:lnTo>
                    <a:pt x="444" y="458"/>
                  </a:lnTo>
                  <a:lnTo>
                    <a:pt x="450" y="454"/>
                  </a:lnTo>
                  <a:lnTo>
                    <a:pt x="458" y="420"/>
                  </a:lnTo>
                  <a:lnTo>
                    <a:pt x="460" y="414"/>
                  </a:lnTo>
                  <a:lnTo>
                    <a:pt x="466" y="406"/>
                  </a:lnTo>
                  <a:lnTo>
                    <a:pt x="470" y="402"/>
                  </a:lnTo>
                  <a:lnTo>
                    <a:pt x="472" y="402"/>
                  </a:lnTo>
                  <a:lnTo>
                    <a:pt x="476" y="400"/>
                  </a:lnTo>
                  <a:lnTo>
                    <a:pt x="480" y="394"/>
                  </a:lnTo>
                  <a:lnTo>
                    <a:pt x="486" y="392"/>
                  </a:lnTo>
                  <a:lnTo>
                    <a:pt x="492" y="390"/>
                  </a:lnTo>
                  <a:lnTo>
                    <a:pt x="498" y="388"/>
                  </a:lnTo>
                  <a:lnTo>
                    <a:pt x="498" y="382"/>
                  </a:lnTo>
                  <a:lnTo>
                    <a:pt x="502" y="380"/>
                  </a:lnTo>
                  <a:lnTo>
                    <a:pt x="508" y="380"/>
                  </a:lnTo>
                  <a:lnTo>
                    <a:pt x="510" y="378"/>
                  </a:lnTo>
                  <a:lnTo>
                    <a:pt x="510" y="376"/>
                  </a:lnTo>
                  <a:lnTo>
                    <a:pt x="514" y="372"/>
                  </a:lnTo>
                  <a:lnTo>
                    <a:pt x="518" y="370"/>
                  </a:lnTo>
                  <a:lnTo>
                    <a:pt x="522" y="368"/>
                  </a:lnTo>
                  <a:lnTo>
                    <a:pt x="522" y="364"/>
                  </a:lnTo>
                  <a:lnTo>
                    <a:pt x="528" y="356"/>
                  </a:lnTo>
                  <a:lnTo>
                    <a:pt x="540" y="342"/>
                  </a:lnTo>
                  <a:lnTo>
                    <a:pt x="550" y="336"/>
                  </a:lnTo>
                  <a:lnTo>
                    <a:pt x="562" y="334"/>
                  </a:lnTo>
                  <a:lnTo>
                    <a:pt x="572" y="332"/>
                  </a:lnTo>
                  <a:lnTo>
                    <a:pt x="580" y="328"/>
                  </a:lnTo>
                  <a:lnTo>
                    <a:pt x="588" y="322"/>
                  </a:lnTo>
                  <a:lnTo>
                    <a:pt x="592" y="314"/>
                  </a:lnTo>
                  <a:lnTo>
                    <a:pt x="600" y="308"/>
                  </a:lnTo>
                  <a:lnTo>
                    <a:pt x="616" y="308"/>
                  </a:lnTo>
                  <a:lnTo>
                    <a:pt x="612" y="304"/>
                  </a:lnTo>
                  <a:lnTo>
                    <a:pt x="606" y="300"/>
                  </a:lnTo>
                  <a:lnTo>
                    <a:pt x="598" y="298"/>
                  </a:lnTo>
                  <a:lnTo>
                    <a:pt x="596" y="296"/>
                  </a:lnTo>
                  <a:lnTo>
                    <a:pt x="594" y="294"/>
                  </a:lnTo>
                  <a:lnTo>
                    <a:pt x="592" y="292"/>
                  </a:lnTo>
                  <a:lnTo>
                    <a:pt x="592" y="290"/>
                  </a:lnTo>
                  <a:lnTo>
                    <a:pt x="594" y="280"/>
                  </a:lnTo>
                  <a:lnTo>
                    <a:pt x="592" y="280"/>
                  </a:lnTo>
                  <a:lnTo>
                    <a:pt x="590" y="278"/>
                  </a:lnTo>
                  <a:lnTo>
                    <a:pt x="586" y="278"/>
                  </a:lnTo>
                  <a:lnTo>
                    <a:pt x="574" y="272"/>
                  </a:lnTo>
                  <a:lnTo>
                    <a:pt x="560" y="270"/>
                  </a:lnTo>
                  <a:lnTo>
                    <a:pt x="538" y="264"/>
                  </a:lnTo>
                  <a:lnTo>
                    <a:pt x="528" y="264"/>
                  </a:lnTo>
                  <a:lnTo>
                    <a:pt x="526" y="262"/>
                  </a:lnTo>
                  <a:lnTo>
                    <a:pt x="524" y="258"/>
                  </a:lnTo>
                  <a:lnTo>
                    <a:pt x="520" y="248"/>
                  </a:lnTo>
                  <a:lnTo>
                    <a:pt x="516" y="242"/>
                  </a:lnTo>
                  <a:lnTo>
                    <a:pt x="506" y="230"/>
                  </a:lnTo>
                  <a:lnTo>
                    <a:pt x="504" y="228"/>
                  </a:lnTo>
                  <a:lnTo>
                    <a:pt x="504" y="220"/>
                  </a:lnTo>
                  <a:lnTo>
                    <a:pt x="506" y="212"/>
                  </a:lnTo>
                  <a:lnTo>
                    <a:pt x="506" y="206"/>
                  </a:lnTo>
                  <a:lnTo>
                    <a:pt x="506" y="202"/>
                  </a:lnTo>
                  <a:lnTo>
                    <a:pt x="506" y="194"/>
                  </a:lnTo>
                  <a:lnTo>
                    <a:pt x="506" y="190"/>
                  </a:lnTo>
                  <a:lnTo>
                    <a:pt x="504" y="188"/>
                  </a:lnTo>
                  <a:lnTo>
                    <a:pt x="502" y="186"/>
                  </a:lnTo>
                  <a:lnTo>
                    <a:pt x="490" y="186"/>
                  </a:lnTo>
                  <a:lnTo>
                    <a:pt x="478" y="186"/>
                  </a:lnTo>
                  <a:lnTo>
                    <a:pt x="478" y="180"/>
                  </a:lnTo>
                  <a:lnTo>
                    <a:pt x="478" y="170"/>
                  </a:lnTo>
                  <a:lnTo>
                    <a:pt x="474" y="164"/>
                  </a:lnTo>
                  <a:lnTo>
                    <a:pt x="472" y="160"/>
                  </a:lnTo>
                  <a:lnTo>
                    <a:pt x="466" y="156"/>
                  </a:lnTo>
                  <a:lnTo>
                    <a:pt x="454" y="152"/>
                  </a:lnTo>
                  <a:lnTo>
                    <a:pt x="440" y="146"/>
                  </a:lnTo>
                  <a:lnTo>
                    <a:pt x="426" y="136"/>
                  </a:lnTo>
                  <a:lnTo>
                    <a:pt x="410" y="124"/>
                  </a:lnTo>
                  <a:lnTo>
                    <a:pt x="406" y="122"/>
                  </a:lnTo>
                  <a:lnTo>
                    <a:pt x="400" y="110"/>
                  </a:lnTo>
                  <a:lnTo>
                    <a:pt x="392" y="90"/>
                  </a:lnTo>
                  <a:lnTo>
                    <a:pt x="392" y="82"/>
                  </a:lnTo>
                  <a:lnTo>
                    <a:pt x="390" y="80"/>
                  </a:lnTo>
                  <a:lnTo>
                    <a:pt x="382" y="70"/>
                  </a:lnTo>
                  <a:lnTo>
                    <a:pt x="380" y="64"/>
                  </a:lnTo>
                  <a:lnTo>
                    <a:pt x="380" y="60"/>
                  </a:lnTo>
                  <a:lnTo>
                    <a:pt x="366" y="44"/>
                  </a:lnTo>
                  <a:lnTo>
                    <a:pt x="360" y="38"/>
                  </a:lnTo>
                  <a:lnTo>
                    <a:pt x="358" y="30"/>
                  </a:lnTo>
                  <a:lnTo>
                    <a:pt x="354" y="24"/>
                  </a:lnTo>
                  <a:lnTo>
                    <a:pt x="352" y="22"/>
                  </a:lnTo>
                  <a:lnTo>
                    <a:pt x="348" y="18"/>
                  </a:lnTo>
                  <a:lnTo>
                    <a:pt x="346" y="12"/>
                  </a:lnTo>
                  <a:lnTo>
                    <a:pt x="344" y="8"/>
                  </a:lnTo>
                  <a:lnTo>
                    <a:pt x="344" y="4"/>
                  </a:lnTo>
                  <a:lnTo>
                    <a:pt x="346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9" name="Freeform 4068">
              <a:extLst>
                <a:ext uri="{FF2B5EF4-FFF2-40B4-BE49-F238E27FC236}">
                  <a16:creationId xmlns:a16="http://schemas.microsoft.com/office/drawing/2014/main" id="{D5439DFB-5208-49DC-8457-AFA47CF01546}"/>
                </a:ext>
              </a:extLst>
            </p:cNvPr>
            <p:cNvSpPr/>
            <p:nvPr/>
          </p:nvSpPr>
          <p:spPr bwMode="auto">
            <a:xfrm>
              <a:off x="5663078" y="5130354"/>
              <a:ext cx="327623" cy="222013"/>
            </a:xfrm>
            <a:custGeom>
              <a:avLst/>
              <a:gdLst>
                <a:gd name="T0" fmla="*/ 520 w 850"/>
                <a:gd name="T1" fmla="*/ 2 h 576"/>
                <a:gd name="T2" fmla="*/ 498 w 850"/>
                <a:gd name="T3" fmla="*/ 14 h 576"/>
                <a:gd name="T4" fmla="*/ 478 w 850"/>
                <a:gd name="T5" fmla="*/ 34 h 576"/>
                <a:gd name="T6" fmla="*/ 464 w 850"/>
                <a:gd name="T7" fmla="*/ 54 h 576"/>
                <a:gd name="T8" fmla="*/ 424 w 850"/>
                <a:gd name="T9" fmla="*/ 96 h 576"/>
                <a:gd name="T10" fmla="*/ 388 w 850"/>
                <a:gd name="T11" fmla="*/ 124 h 576"/>
                <a:gd name="T12" fmla="*/ 326 w 850"/>
                <a:gd name="T13" fmla="*/ 132 h 576"/>
                <a:gd name="T14" fmla="*/ 292 w 850"/>
                <a:gd name="T15" fmla="*/ 142 h 576"/>
                <a:gd name="T16" fmla="*/ 302 w 850"/>
                <a:gd name="T17" fmla="*/ 160 h 576"/>
                <a:gd name="T18" fmla="*/ 272 w 850"/>
                <a:gd name="T19" fmla="*/ 194 h 576"/>
                <a:gd name="T20" fmla="*/ 212 w 850"/>
                <a:gd name="T21" fmla="*/ 200 h 576"/>
                <a:gd name="T22" fmla="*/ 174 w 850"/>
                <a:gd name="T23" fmla="*/ 220 h 576"/>
                <a:gd name="T24" fmla="*/ 140 w 850"/>
                <a:gd name="T25" fmla="*/ 210 h 576"/>
                <a:gd name="T26" fmla="*/ 116 w 850"/>
                <a:gd name="T27" fmla="*/ 224 h 576"/>
                <a:gd name="T28" fmla="*/ 70 w 850"/>
                <a:gd name="T29" fmla="*/ 230 h 576"/>
                <a:gd name="T30" fmla="*/ 42 w 850"/>
                <a:gd name="T31" fmla="*/ 270 h 576"/>
                <a:gd name="T32" fmla="*/ 20 w 850"/>
                <a:gd name="T33" fmla="*/ 312 h 576"/>
                <a:gd name="T34" fmla="*/ 0 w 850"/>
                <a:gd name="T35" fmla="*/ 328 h 576"/>
                <a:gd name="T36" fmla="*/ 12 w 850"/>
                <a:gd name="T37" fmla="*/ 340 h 576"/>
                <a:gd name="T38" fmla="*/ 10 w 850"/>
                <a:gd name="T39" fmla="*/ 380 h 576"/>
                <a:gd name="T40" fmla="*/ 22 w 850"/>
                <a:gd name="T41" fmla="*/ 426 h 576"/>
                <a:gd name="T42" fmla="*/ 46 w 850"/>
                <a:gd name="T43" fmla="*/ 460 h 576"/>
                <a:gd name="T44" fmla="*/ 54 w 850"/>
                <a:gd name="T45" fmla="*/ 482 h 576"/>
                <a:gd name="T46" fmla="*/ 92 w 850"/>
                <a:gd name="T47" fmla="*/ 522 h 576"/>
                <a:gd name="T48" fmla="*/ 108 w 850"/>
                <a:gd name="T49" fmla="*/ 538 h 576"/>
                <a:gd name="T50" fmla="*/ 110 w 850"/>
                <a:gd name="T51" fmla="*/ 562 h 576"/>
                <a:gd name="T52" fmla="*/ 134 w 850"/>
                <a:gd name="T53" fmla="*/ 538 h 576"/>
                <a:gd name="T54" fmla="*/ 140 w 850"/>
                <a:gd name="T55" fmla="*/ 498 h 576"/>
                <a:gd name="T56" fmla="*/ 188 w 850"/>
                <a:gd name="T57" fmla="*/ 488 h 576"/>
                <a:gd name="T58" fmla="*/ 228 w 850"/>
                <a:gd name="T59" fmla="*/ 492 h 576"/>
                <a:gd name="T60" fmla="*/ 246 w 850"/>
                <a:gd name="T61" fmla="*/ 494 h 576"/>
                <a:gd name="T62" fmla="*/ 274 w 850"/>
                <a:gd name="T63" fmla="*/ 496 h 576"/>
                <a:gd name="T64" fmla="*/ 280 w 850"/>
                <a:gd name="T65" fmla="*/ 438 h 576"/>
                <a:gd name="T66" fmla="*/ 352 w 850"/>
                <a:gd name="T67" fmla="*/ 390 h 576"/>
                <a:gd name="T68" fmla="*/ 402 w 850"/>
                <a:gd name="T69" fmla="*/ 432 h 576"/>
                <a:gd name="T70" fmla="*/ 448 w 850"/>
                <a:gd name="T71" fmla="*/ 440 h 576"/>
                <a:gd name="T72" fmla="*/ 526 w 850"/>
                <a:gd name="T73" fmla="*/ 452 h 576"/>
                <a:gd name="T74" fmla="*/ 554 w 850"/>
                <a:gd name="T75" fmla="*/ 414 h 576"/>
                <a:gd name="T76" fmla="*/ 596 w 850"/>
                <a:gd name="T77" fmla="*/ 416 h 576"/>
                <a:gd name="T78" fmla="*/ 656 w 850"/>
                <a:gd name="T79" fmla="*/ 396 h 576"/>
                <a:gd name="T80" fmla="*/ 720 w 850"/>
                <a:gd name="T81" fmla="*/ 380 h 576"/>
                <a:gd name="T82" fmla="*/ 808 w 850"/>
                <a:gd name="T83" fmla="*/ 392 h 576"/>
                <a:gd name="T84" fmla="*/ 850 w 850"/>
                <a:gd name="T85" fmla="*/ 390 h 576"/>
                <a:gd name="T86" fmla="*/ 836 w 850"/>
                <a:gd name="T87" fmla="*/ 352 h 576"/>
                <a:gd name="T88" fmla="*/ 798 w 850"/>
                <a:gd name="T89" fmla="*/ 330 h 576"/>
                <a:gd name="T90" fmla="*/ 778 w 850"/>
                <a:gd name="T91" fmla="*/ 300 h 576"/>
                <a:gd name="T92" fmla="*/ 752 w 850"/>
                <a:gd name="T93" fmla="*/ 260 h 576"/>
                <a:gd name="T94" fmla="*/ 708 w 850"/>
                <a:gd name="T95" fmla="*/ 222 h 576"/>
                <a:gd name="T96" fmla="*/ 658 w 850"/>
                <a:gd name="T97" fmla="*/ 182 h 576"/>
                <a:gd name="T98" fmla="*/ 640 w 850"/>
                <a:gd name="T99" fmla="*/ 154 h 576"/>
                <a:gd name="T100" fmla="*/ 598 w 850"/>
                <a:gd name="T101" fmla="*/ 144 h 576"/>
                <a:gd name="T102" fmla="*/ 600 w 850"/>
                <a:gd name="T103" fmla="*/ 114 h 576"/>
                <a:gd name="T104" fmla="*/ 592 w 850"/>
                <a:gd name="T105" fmla="*/ 5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50" h="576">
                  <a:moveTo>
                    <a:pt x="552" y="4"/>
                  </a:moveTo>
                  <a:lnTo>
                    <a:pt x="550" y="4"/>
                  </a:lnTo>
                  <a:lnTo>
                    <a:pt x="544" y="2"/>
                  </a:lnTo>
                  <a:lnTo>
                    <a:pt x="538" y="0"/>
                  </a:lnTo>
                  <a:lnTo>
                    <a:pt x="528" y="0"/>
                  </a:lnTo>
                  <a:lnTo>
                    <a:pt x="520" y="2"/>
                  </a:lnTo>
                  <a:lnTo>
                    <a:pt x="512" y="6"/>
                  </a:lnTo>
                  <a:lnTo>
                    <a:pt x="508" y="10"/>
                  </a:lnTo>
                  <a:lnTo>
                    <a:pt x="506" y="10"/>
                  </a:lnTo>
                  <a:lnTo>
                    <a:pt x="502" y="10"/>
                  </a:lnTo>
                  <a:lnTo>
                    <a:pt x="500" y="10"/>
                  </a:lnTo>
                  <a:lnTo>
                    <a:pt x="498" y="14"/>
                  </a:lnTo>
                  <a:lnTo>
                    <a:pt x="494" y="16"/>
                  </a:lnTo>
                  <a:lnTo>
                    <a:pt x="482" y="22"/>
                  </a:lnTo>
                  <a:lnTo>
                    <a:pt x="478" y="26"/>
                  </a:lnTo>
                  <a:lnTo>
                    <a:pt x="478" y="28"/>
                  </a:lnTo>
                  <a:lnTo>
                    <a:pt x="478" y="30"/>
                  </a:lnTo>
                  <a:lnTo>
                    <a:pt x="478" y="34"/>
                  </a:lnTo>
                  <a:lnTo>
                    <a:pt x="478" y="42"/>
                  </a:lnTo>
                  <a:lnTo>
                    <a:pt x="476" y="46"/>
                  </a:lnTo>
                  <a:lnTo>
                    <a:pt x="472" y="50"/>
                  </a:lnTo>
                  <a:lnTo>
                    <a:pt x="468" y="50"/>
                  </a:lnTo>
                  <a:lnTo>
                    <a:pt x="466" y="52"/>
                  </a:lnTo>
                  <a:lnTo>
                    <a:pt x="464" y="54"/>
                  </a:lnTo>
                  <a:lnTo>
                    <a:pt x="456" y="66"/>
                  </a:lnTo>
                  <a:lnTo>
                    <a:pt x="454" y="68"/>
                  </a:lnTo>
                  <a:lnTo>
                    <a:pt x="448" y="68"/>
                  </a:lnTo>
                  <a:lnTo>
                    <a:pt x="432" y="84"/>
                  </a:lnTo>
                  <a:lnTo>
                    <a:pt x="430" y="90"/>
                  </a:lnTo>
                  <a:lnTo>
                    <a:pt x="424" y="96"/>
                  </a:lnTo>
                  <a:lnTo>
                    <a:pt x="416" y="106"/>
                  </a:lnTo>
                  <a:lnTo>
                    <a:pt x="410" y="110"/>
                  </a:lnTo>
                  <a:lnTo>
                    <a:pt x="408" y="110"/>
                  </a:lnTo>
                  <a:lnTo>
                    <a:pt x="406" y="112"/>
                  </a:lnTo>
                  <a:lnTo>
                    <a:pt x="402" y="114"/>
                  </a:lnTo>
                  <a:lnTo>
                    <a:pt x="388" y="124"/>
                  </a:lnTo>
                  <a:lnTo>
                    <a:pt x="370" y="124"/>
                  </a:lnTo>
                  <a:lnTo>
                    <a:pt x="362" y="128"/>
                  </a:lnTo>
                  <a:lnTo>
                    <a:pt x="354" y="128"/>
                  </a:lnTo>
                  <a:lnTo>
                    <a:pt x="344" y="130"/>
                  </a:lnTo>
                  <a:lnTo>
                    <a:pt x="340" y="130"/>
                  </a:lnTo>
                  <a:lnTo>
                    <a:pt x="326" y="132"/>
                  </a:lnTo>
                  <a:lnTo>
                    <a:pt x="310" y="130"/>
                  </a:lnTo>
                  <a:lnTo>
                    <a:pt x="302" y="132"/>
                  </a:lnTo>
                  <a:lnTo>
                    <a:pt x="296" y="136"/>
                  </a:lnTo>
                  <a:lnTo>
                    <a:pt x="292" y="140"/>
                  </a:lnTo>
                  <a:lnTo>
                    <a:pt x="292" y="140"/>
                  </a:lnTo>
                  <a:lnTo>
                    <a:pt x="292" y="142"/>
                  </a:lnTo>
                  <a:lnTo>
                    <a:pt x="292" y="144"/>
                  </a:lnTo>
                  <a:lnTo>
                    <a:pt x="304" y="152"/>
                  </a:lnTo>
                  <a:lnTo>
                    <a:pt x="306" y="154"/>
                  </a:lnTo>
                  <a:lnTo>
                    <a:pt x="304" y="158"/>
                  </a:lnTo>
                  <a:lnTo>
                    <a:pt x="302" y="160"/>
                  </a:lnTo>
                  <a:lnTo>
                    <a:pt x="302" y="160"/>
                  </a:lnTo>
                  <a:lnTo>
                    <a:pt x="300" y="162"/>
                  </a:lnTo>
                  <a:lnTo>
                    <a:pt x="294" y="172"/>
                  </a:lnTo>
                  <a:lnTo>
                    <a:pt x="284" y="182"/>
                  </a:lnTo>
                  <a:lnTo>
                    <a:pt x="278" y="186"/>
                  </a:lnTo>
                  <a:lnTo>
                    <a:pt x="276" y="188"/>
                  </a:lnTo>
                  <a:lnTo>
                    <a:pt x="272" y="194"/>
                  </a:lnTo>
                  <a:lnTo>
                    <a:pt x="272" y="196"/>
                  </a:lnTo>
                  <a:lnTo>
                    <a:pt x="264" y="196"/>
                  </a:lnTo>
                  <a:lnTo>
                    <a:pt x="250" y="196"/>
                  </a:lnTo>
                  <a:lnTo>
                    <a:pt x="230" y="200"/>
                  </a:lnTo>
                  <a:lnTo>
                    <a:pt x="218" y="200"/>
                  </a:lnTo>
                  <a:lnTo>
                    <a:pt x="212" y="200"/>
                  </a:lnTo>
                  <a:lnTo>
                    <a:pt x="200" y="204"/>
                  </a:lnTo>
                  <a:lnTo>
                    <a:pt x="198" y="206"/>
                  </a:lnTo>
                  <a:lnTo>
                    <a:pt x="194" y="206"/>
                  </a:lnTo>
                  <a:lnTo>
                    <a:pt x="184" y="210"/>
                  </a:lnTo>
                  <a:lnTo>
                    <a:pt x="176" y="218"/>
                  </a:lnTo>
                  <a:lnTo>
                    <a:pt x="174" y="220"/>
                  </a:lnTo>
                  <a:lnTo>
                    <a:pt x="162" y="222"/>
                  </a:lnTo>
                  <a:lnTo>
                    <a:pt x="156" y="228"/>
                  </a:lnTo>
                  <a:lnTo>
                    <a:pt x="154" y="228"/>
                  </a:lnTo>
                  <a:lnTo>
                    <a:pt x="146" y="222"/>
                  </a:lnTo>
                  <a:lnTo>
                    <a:pt x="142" y="216"/>
                  </a:lnTo>
                  <a:lnTo>
                    <a:pt x="140" y="210"/>
                  </a:lnTo>
                  <a:lnTo>
                    <a:pt x="138" y="208"/>
                  </a:lnTo>
                  <a:lnTo>
                    <a:pt x="138" y="208"/>
                  </a:lnTo>
                  <a:lnTo>
                    <a:pt x="134" y="210"/>
                  </a:lnTo>
                  <a:lnTo>
                    <a:pt x="130" y="214"/>
                  </a:lnTo>
                  <a:lnTo>
                    <a:pt x="128" y="220"/>
                  </a:lnTo>
                  <a:lnTo>
                    <a:pt x="116" y="224"/>
                  </a:lnTo>
                  <a:lnTo>
                    <a:pt x="106" y="226"/>
                  </a:lnTo>
                  <a:lnTo>
                    <a:pt x="100" y="230"/>
                  </a:lnTo>
                  <a:lnTo>
                    <a:pt x="92" y="234"/>
                  </a:lnTo>
                  <a:lnTo>
                    <a:pt x="84" y="232"/>
                  </a:lnTo>
                  <a:lnTo>
                    <a:pt x="76" y="230"/>
                  </a:lnTo>
                  <a:lnTo>
                    <a:pt x="70" y="230"/>
                  </a:lnTo>
                  <a:lnTo>
                    <a:pt x="62" y="240"/>
                  </a:lnTo>
                  <a:lnTo>
                    <a:pt x="54" y="246"/>
                  </a:lnTo>
                  <a:lnTo>
                    <a:pt x="52" y="250"/>
                  </a:lnTo>
                  <a:lnTo>
                    <a:pt x="50" y="256"/>
                  </a:lnTo>
                  <a:lnTo>
                    <a:pt x="48" y="260"/>
                  </a:lnTo>
                  <a:lnTo>
                    <a:pt x="42" y="270"/>
                  </a:lnTo>
                  <a:lnTo>
                    <a:pt x="40" y="278"/>
                  </a:lnTo>
                  <a:lnTo>
                    <a:pt x="36" y="282"/>
                  </a:lnTo>
                  <a:lnTo>
                    <a:pt x="28" y="294"/>
                  </a:lnTo>
                  <a:lnTo>
                    <a:pt x="24" y="306"/>
                  </a:lnTo>
                  <a:lnTo>
                    <a:pt x="22" y="310"/>
                  </a:lnTo>
                  <a:lnTo>
                    <a:pt x="20" y="312"/>
                  </a:lnTo>
                  <a:lnTo>
                    <a:pt x="18" y="314"/>
                  </a:lnTo>
                  <a:lnTo>
                    <a:pt x="8" y="318"/>
                  </a:lnTo>
                  <a:lnTo>
                    <a:pt x="6" y="320"/>
                  </a:lnTo>
                  <a:lnTo>
                    <a:pt x="4" y="322"/>
                  </a:lnTo>
                  <a:lnTo>
                    <a:pt x="0" y="324"/>
                  </a:lnTo>
                  <a:lnTo>
                    <a:pt x="0" y="328"/>
                  </a:lnTo>
                  <a:lnTo>
                    <a:pt x="2" y="332"/>
                  </a:lnTo>
                  <a:lnTo>
                    <a:pt x="4" y="336"/>
                  </a:lnTo>
                  <a:lnTo>
                    <a:pt x="8" y="336"/>
                  </a:lnTo>
                  <a:lnTo>
                    <a:pt x="10" y="336"/>
                  </a:lnTo>
                  <a:lnTo>
                    <a:pt x="12" y="338"/>
                  </a:lnTo>
                  <a:lnTo>
                    <a:pt x="12" y="340"/>
                  </a:lnTo>
                  <a:lnTo>
                    <a:pt x="12" y="364"/>
                  </a:lnTo>
                  <a:lnTo>
                    <a:pt x="10" y="368"/>
                  </a:lnTo>
                  <a:lnTo>
                    <a:pt x="10" y="368"/>
                  </a:lnTo>
                  <a:lnTo>
                    <a:pt x="10" y="374"/>
                  </a:lnTo>
                  <a:lnTo>
                    <a:pt x="8" y="378"/>
                  </a:lnTo>
                  <a:lnTo>
                    <a:pt x="10" y="380"/>
                  </a:lnTo>
                  <a:lnTo>
                    <a:pt x="12" y="382"/>
                  </a:lnTo>
                  <a:lnTo>
                    <a:pt x="14" y="384"/>
                  </a:lnTo>
                  <a:lnTo>
                    <a:pt x="16" y="392"/>
                  </a:lnTo>
                  <a:lnTo>
                    <a:pt x="18" y="418"/>
                  </a:lnTo>
                  <a:lnTo>
                    <a:pt x="20" y="422"/>
                  </a:lnTo>
                  <a:lnTo>
                    <a:pt x="22" y="426"/>
                  </a:lnTo>
                  <a:lnTo>
                    <a:pt x="30" y="432"/>
                  </a:lnTo>
                  <a:lnTo>
                    <a:pt x="38" y="438"/>
                  </a:lnTo>
                  <a:lnTo>
                    <a:pt x="42" y="444"/>
                  </a:lnTo>
                  <a:lnTo>
                    <a:pt x="44" y="452"/>
                  </a:lnTo>
                  <a:lnTo>
                    <a:pt x="46" y="458"/>
                  </a:lnTo>
                  <a:lnTo>
                    <a:pt x="46" y="460"/>
                  </a:lnTo>
                  <a:lnTo>
                    <a:pt x="46" y="460"/>
                  </a:lnTo>
                  <a:lnTo>
                    <a:pt x="42" y="460"/>
                  </a:lnTo>
                  <a:lnTo>
                    <a:pt x="40" y="462"/>
                  </a:lnTo>
                  <a:lnTo>
                    <a:pt x="42" y="466"/>
                  </a:lnTo>
                  <a:lnTo>
                    <a:pt x="46" y="474"/>
                  </a:lnTo>
                  <a:lnTo>
                    <a:pt x="54" y="482"/>
                  </a:lnTo>
                  <a:lnTo>
                    <a:pt x="62" y="490"/>
                  </a:lnTo>
                  <a:lnTo>
                    <a:pt x="68" y="498"/>
                  </a:lnTo>
                  <a:lnTo>
                    <a:pt x="76" y="506"/>
                  </a:lnTo>
                  <a:lnTo>
                    <a:pt x="82" y="512"/>
                  </a:lnTo>
                  <a:lnTo>
                    <a:pt x="88" y="520"/>
                  </a:lnTo>
                  <a:lnTo>
                    <a:pt x="92" y="522"/>
                  </a:lnTo>
                  <a:lnTo>
                    <a:pt x="96" y="522"/>
                  </a:lnTo>
                  <a:lnTo>
                    <a:pt x="98" y="522"/>
                  </a:lnTo>
                  <a:lnTo>
                    <a:pt x="100" y="526"/>
                  </a:lnTo>
                  <a:lnTo>
                    <a:pt x="104" y="530"/>
                  </a:lnTo>
                  <a:lnTo>
                    <a:pt x="108" y="534"/>
                  </a:lnTo>
                  <a:lnTo>
                    <a:pt x="108" y="538"/>
                  </a:lnTo>
                  <a:lnTo>
                    <a:pt x="106" y="542"/>
                  </a:lnTo>
                  <a:lnTo>
                    <a:pt x="108" y="548"/>
                  </a:lnTo>
                  <a:lnTo>
                    <a:pt x="108" y="550"/>
                  </a:lnTo>
                  <a:lnTo>
                    <a:pt x="110" y="552"/>
                  </a:lnTo>
                  <a:lnTo>
                    <a:pt x="110" y="554"/>
                  </a:lnTo>
                  <a:lnTo>
                    <a:pt x="110" y="562"/>
                  </a:lnTo>
                  <a:lnTo>
                    <a:pt x="112" y="570"/>
                  </a:lnTo>
                  <a:lnTo>
                    <a:pt x="114" y="576"/>
                  </a:lnTo>
                  <a:lnTo>
                    <a:pt x="120" y="566"/>
                  </a:lnTo>
                  <a:lnTo>
                    <a:pt x="124" y="558"/>
                  </a:lnTo>
                  <a:lnTo>
                    <a:pt x="130" y="548"/>
                  </a:lnTo>
                  <a:lnTo>
                    <a:pt x="134" y="538"/>
                  </a:lnTo>
                  <a:lnTo>
                    <a:pt x="134" y="534"/>
                  </a:lnTo>
                  <a:lnTo>
                    <a:pt x="134" y="528"/>
                  </a:lnTo>
                  <a:lnTo>
                    <a:pt x="134" y="522"/>
                  </a:lnTo>
                  <a:lnTo>
                    <a:pt x="134" y="516"/>
                  </a:lnTo>
                  <a:lnTo>
                    <a:pt x="136" y="514"/>
                  </a:lnTo>
                  <a:lnTo>
                    <a:pt x="140" y="498"/>
                  </a:lnTo>
                  <a:lnTo>
                    <a:pt x="144" y="494"/>
                  </a:lnTo>
                  <a:lnTo>
                    <a:pt x="148" y="492"/>
                  </a:lnTo>
                  <a:lnTo>
                    <a:pt x="154" y="492"/>
                  </a:lnTo>
                  <a:lnTo>
                    <a:pt x="168" y="492"/>
                  </a:lnTo>
                  <a:lnTo>
                    <a:pt x="184" y="488"/>
                  </a:lnTo>
                  <a:lnTo>
                    <a:pt x="188" y="488"/>
                  </a:lnTo>
                  <a:lnTo>
                    <a:pt x="198" y="482"/>
                  </a:lnTo>
                  <a:lnTo>
                    <a:pt x="200" y="482"/>
                  </a:lnTo>
                  <a:lnTo>
                    <a:pt x="204" y="484"/>
                  </a:lnTo>
                  <a:lnTo>
                    <a:pt x="222" y="490"/>
                  </a:lnTo>
                  <a:lnTo>
                    <a:pt x="226" y="492"/>
                  </a:lnTo>
                  <a:lnTo>
                    <a:pt x="228" y="492"/>
                  </a:lnTo>
                  <a:lnTo>
                    <a:pt x="230" y="492"/>
                  </a:lnTo>
                  <a:lnTo>
                    <a:pt x="234" y="492"/>
                  </a:lnTo>
                  <a:lnTo>
                    <a:pt x="238" y="490"/>
                  </a:lnTo>
                  <a:lnTo>
                    <a:pt x="242" y="492"/>
                  </a:lnTo>
                  <a:lnTo>
                    <a:pt x="244" y="496"/>
                  </a:lnTo>
                  <a:lnTo>
                    <a:pt x="246" y="494"/>
                  </a:lnTo>
                  <a:lnTo>
                    <a:pt x="250" y="492"/>
                  </a:lnTo>
                  <a:lnTo>
                    <a:pt x="254" y="490"/>
                  </a:lnTo>
                  <a:lnTo>
                    <a:pt x="266" y="486"/>
                  </a:lnTo>
                  <a:lnTo>
                    <a:pt x="266" y="488"/>
                  </a:lnTo>
                  <a:lnTo>
                    <a:pt x="270" y="494"/>
                  </a:lnTo>
                  <a:lnTo>
                    <a:pt x="274" y="496"/>
                  </a:lnTo>
                  <a:lnTo>
                    <a:pt x="274" y="484"/>
                  </a:lnTo>
                  <a:lnTo>
                    <a:pt x="276" y="466"/>
                  </a:lnTo>
                  <a:lnTo>
                    <a:pt x="274" y="454"/>
                  </a:lnTo>
                  <a:lnTo>
                    <a:pt x="272" y="446"/>
                  </a:lnTo>
                  <a:lnTo>
                    <a:pt x="272" y="440"/>
                  </a:lnTo>
                  <a:lnTo>
                    <a:pt x="280" y="438"/>
                  </a:lnTo>
                  <a:lnTo>
                    <a:pt x="288" y="428"/>
                  </a:lnTo>
                  <a:lnTo>
                    <a:pt x="304" y="404"/>
                  </a:lnTo>
                  <a:lnTo>
                    <a:pt x="320" y="392"/>
                  </a:lnTo>
                  <a:lnTo>
                    <a:pt x="332" y="388"/>
                  </a:lnTo>
                  <a:lnTo>
                    <a:pt x="344" y="388"/>
                  </a:lnTo>
                  <a:lnTo>
                    <a:pt x="352" y="390"/>
                  </a:lnTo>
                  <a:lnTo>
                    <a:pt x="356" y="394"/>
                  </a:lnTo>
                  <a:lnTo>
                    <a:pt x="366" y="400"/>
                  </a:lnTo>
                  <a:lnTo>
                    <a:pt x="380" y="408"/>
                  </a:lnTo>
                  <a:lnTo>
                    <a:pt x="392" y="416"/>
                  </a:lnTo>
                  <a:lnTo>
                    <a:pt x="398" y="426"/>
                  </a:lnTo>
                  <a:lnTo>
                    <a:pt x="402" y="432"/>
                  </a:lnTo>
                  <a:lnTo>
                    <a:pt x="408" y="434"/>
                  </a:lnTo>
                  <a:lnTo>
                    <a:pt x="418" y="432"/>
                  </a:lnTo>
                  <a:lnTo>
                    <a:pt x="428" y="434"/>
                  </a:lnTo>
                  <a:lnTo>
                    <a:pt x="440" y="440"/>
                  </a:lnTo>
                  <a:lnTo>
                    <a:pt x="446" y="442"/>
                  </a:lnTo>
                  <a:lnTo>
                    <a:pt x="448" y="440"/>
                  </a:lnTo>
                  <a:lnTo>
                    <a:pt x="454" y="442"/>
                  </a:lnTo>
                  <a:lnTo>
                    <a:pt x="466" y="446"/>
                  </a:lnTo>
                  <a:lnTo>
                    <a:pt x="476" y="444"/>
                  </a:lnTo>
                  <a:lnTo>
                    <a:pt x="490" y="446"/>
                  </a:lnTo>
                  <a:lnTo>
                    <a:pt x="524" y="454"/>
                  </a:lnTo>
                  <a:lnTo>
                    <a:pt x="526" y="452"/>
                  </a:lnTo>
                  <a:lnTo>
                    <a:pt x="526" y="452"/>
                  </a:lnTo>
                  <a:lnTo>
                    <a:pt x="530" y="448"/>
                  </a:lnTo>
                  <a:lnTo>
                    <a:pt x="536" y="432"/>
                  </a:lnTo>
                  <a:lnTo>
                    <a:pt x="542" y="424"/>
                  </a:lnTo>
                  <a:lnTo>
                    <a:pt x="546" y="420"/>
                  </a:lnTo>
                  <a:lnTo>
                    <a:pt x="554" y="414"/>
                  </a:lnTo>
                  <a:lnTo>
                    <a:pt x="562" y="414"/>
                  </a:lnTo>
                  <a:lnTo>
                    <a:pt x="570" y="414"/>
                  </a:lnTo>
                  <a:lnTo>
                    <a:pt x="576" y="416"/>
                  </a:lnTo>
                  <a:lnTo>
                    <a:pt x="582" y="418"/>
                  </a:lnTo>
                  <a:lnTo>
                    <a:pt x="590" y="418"/>
                  </a:lnTo>
                  <a:lnTo>
                    <a:pt x="596" y="416"/>
                  </a:lnTo>
                  <a:lnTo>
                    <a:pt x="606" y="412"/>
                  </a:lnTo>
                  <a:lnTo>
                    <a:pt x="618" y="408"/>
                  </a:lnTo>
                  <a:lnTo>
                    <a:pt x="628" y="406"/>
                  </a:lnTo>
                  <a:lnTo>
                    <a:pt x="642" y="400"/>
                  </a:lnTo>
                  <a:lnTo>
                    <a:pt x="648" y="396"/>
                  </a:lnTo>
                  <a:lnTo>
                    <a:pt x="656" y="396"/>
                  </a:lnTo>
                  <a:lnTo>
                    <a:pt x="678" y="400"/>
                  </a:lnTo>
                  <a:lnTo>
                    <a:pt x="692" y="398"/>
                  </a:lnTo>
                  <a:lnTo>
                    <a:pt x="698" y="398"/>
                  </a:lnTo>
                  <a:lnTo>
                    <a:pt x="710" y="394"/>
                  </a:lnTo>
                  <a:lnTo>
                    <a:pt x="712" y="392"/>
                  </a:lnTo>
                  <a:lnTo>
                    <a:pt x="720" y="380"/>
                  </a:lnTo>
                  <a:lnTo>
                    <a:pt x="728" y="376"/>
                  </a:lnTo>
                  <a:lnTo>
                    <a:pt x="740" y="378"/>
                  </a:lnTo>
                  <a:lnTo>
                    <a:pt x="746" y="380"/>
                  </a:lnTo>
                  <a:lnTo>
                    <a:pt x="770" y="384"/>
                  </a:lnTo>
                  <a:lnTo>
                    <a:pt x="800" y="390"/>
                  </a:lnTo>
                  <a:lnTo>
                    <a:pt x="808" y="392"/>
                  </a:lnTo>
                  <a:lnTo>
                    <a:pt x="812" y="392"/>
                  </a:lnTo>
                  <a:lnTo>
                    <a:pt x="816" y="392"/>
                  </a:lnTo>
                  <a:lnTo>
                    <a:pt x="826" y="384"/>
                  </a:lnTo>
                  <a:lnTo>
                    <a:pt x="828" y="384"/>
                  </a:lnTo>
                  <a:lnTo>
                    <a:pt x="832" y="384"/>
                  </a:lnTo>
                  <a:lnTo>
                    <a:pt x="850" y="390"/>
                  </a:lnTo>
                  <a:lnTo>
                    <a:pt x="846" y="384"/>
                  </a:lnTo>
                  <a:lnTo>
                    <a:pt x="842" y="378"/>
                  </a:lnTo>
                  <a:lnTo>
                    <a:pt x="840" y="368"/>
                  </a:lnTo>
                  <a:lnTo>
                    <a:pt x="840" y="360"/>
                  </a:lnTo>
                  <a:lnTo>
                    <a:pt x="838" y="356"/>
                  </a:lnTo>
                  <a:lnTo>
                    <a:pt x="836" y="352"/>
                  </a:lnTo>
                  <a:lnTo>
                    <a:pt x="834" y="348"/>
                  </a:lnTo>
                  <a:lnTo>
                    <a:pt x="830" y="346"/>
                  </a:lnTo>
                  <a:lnTo>
                    <a:pt x="820" y="340"/>
                  </a:lnTo>
                  <a:lnTo>
                    <a:pt x="810" y="334"/>
                  </a:lnTo>
                  <a:lnTo>
                    <a:pt x="806" y="330"/>
                  </a:lnTo>
                  <a:lnTo>
                    <a:pt x="798" y="330"/>
                  </a:lnTo>
                  <a:lnTo>
                    <a:pt x="792" y="326"/>
                  </a:lnTo>
                  <a:lnTo>
                    <a:pt x="788" y="318"/>
                  </a:lnTo>
                  <a:lnTo>
                    <a:pt x="786" y="312"/>
                  </a:lnTo>
                  <a:lnTo>
                    <a:pt x="782" y="308"/>
                  </a:lnTo>
                  <a:lnTo>
                    <a:pt x="780" y="304"/>
                  </a:lnTo>
                  <a:lnTo>
                    <a:pt x="778" y="300"/>
                  </a:lnTo>
                  <a:lnTo>
                    <a:pt x="782" y="288"/>
                  </a:lnTo>
                  <a:lnTo>
                    <a:pt x="778" y="284"/>
                  </a:lnTo>
                  <a:lnTo>
                    <a:pt x="770" y="278"/>
                  </a:lnTo>
                  <a:lnTo>
                    <a:pt x="764" y="274"/>
                  </a:lnTo>
                  <a:lnTo>
                    <a:pt x="762" y="268"/>
                  </a:lnTo>
                  <a:lnTo>
                    <a:pt x="752" y="260"/>
                  </a:lnTo>
                  <a:lnTo>
                    <a:pt x="730" y="250"/>
                  </a:lnTo>
                  <a:lnTo>
                    <a:pt x="718" y="242"/>
                  </a:lnTo>
                  <a:lnTo>
                    <a:pt x="712" y="236"/>
                  </a:lnTo>
                  <a:lnTo>
                    <a:pt x="706" y="230"/>
                  </a:lnTo>
                  <a:lnTo>
                    <a:pt x="704" y="228"/>
                  </a:lnTo>
                  <a:lnTo>
                    <a:pt x="708" y="222"/>
                  </a:lnTo>
                  <a:lnTo>
                    <a:pt x="710" y="216"/>
                  </a:lnTo>
                  <a:lnTo>
                    <a:pt x="706" y="212"/>
                  </a:lnTo>
                  <a:lnTo>
                    <a:pt x="694" y="200"/>
                  </a:lnTo>
                  <a:lnTo>
                    <a:pt x="684" y="190"/>
                  </a:lnTo>
                  <a:lnTo>
                    <a:pt x="676" y="186"/>
                  </a:lnTo>
                  <a:lnTo>
                    <a:pt x="658" y="182"/>
                  </a:lnTo>
                  <a:lnTo>
                    <a:pt x="652" y="182"/>
                  </a:lnTo>
                  <a:lnTo>
                    <a:pt x="646" y="180"/>
                  </a:lnTo>
                  <a:lnTo>
                    <a:pt x="642" y="174"/>
                  </a:lnTo>
                  <a:lnTo>
                    <a:pt x="640" y="168"/>
                  </a:lnTo>
                  <a:lnTo>
                    <a:pt x="642" y="158"/>
                  </a:lnTo>
                  <a:lnTo>
                    <a:pt x="640" y="154"/>
                  </a:lnTo>
                  <a:lnTo>
                    <a:pt x="638" y="154"/>
                  </a:lnTo>
                  <a:lnTo>
                    <a:pt x="630" y="152"/>
                  </a:lnTo>
                  <a:lnTo>
                    <a:pt x="622" y="152"/>
                  </a:lnTo>
                  <a:lnTo>
                    <a:pt x="606" y="150"/>
                  </a:lnTo>
                  <a:lnTo>
                    <a:pt x="600" y="148"/>
                  </a:lnTo>
                  <a:lnTo>
                    <a:pt x="598" y="144"/>
                  </a:lnTo>
                  <a:lnTo>
                    <a:pt x="598" y="136"/>
                  </a:lnTo>
                  <a:lnTo>
                    <a:pt x="596" y="134"/>
                  </a:lnTo>
                  <a:lnTo>
                    <a:pt x="594" y="132"/>
                  </a:lnTo>
                  <a:lnTo>
                    <a:pt x="592" y="128"/>
                  </a:lnTo>
                  <a:lnTo>
                    <a:pt x="592" y="124"/>
                  </a:lnTo>
                  <a:lnTo>
                    <a:pt x="600" y="114"/>
                  </a:lnTo>
                  <a:lnTo>
                    <a:pt x="602" y="110"/>
                  </a:lnTo>
                  <a:lnTo>
                    <a:pt x="604" y="92"/>
                  </a:lnTo>
                  <a:lnTo>
                    <a:pt x="604" y="84"/>
                  </a:lnTo>
                  <a:lnTo>
                    <a:pt x="604" y="78"/>
                  </a:lnTo>
                  <a:lnTo>
                    <a:pt x="598" y="64"/>
                  </a:lnTo>
                  <a:lnTo>
                    <a:pt x="592" y="54"/>
                  </a:lnTo>
                  <a:lnTo>
                    <a:pt x="582" y="40"/>
                  </a:lnTo>
                  <a:lnTo>
                    <a:pt x="578" y="36"/>
                  </a:lnTo>
                  <a:lnTo>
                    <a:pt x="560" y="16"/>
                  </a:lnTo>
                  <a:lnTo>
                    <a:pt x="558" y="12"/>
                  </a:lnTo>
                  <a:lnTo>
                    <a:pt x="552" y="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0" name="Freeform 58">
              <a:extLst>
                <a:ext uri="{FF2B5EF4-FFF2-40B4-BE49-F238E27FC236}">
                  <a16:creationId xmlns:a16="http://schemas.microsoft.com/office/drawing/2014/main" id="{132A394B-DC3A-416A-8282-52A59BEE2B7B}"/>
                </a:ext>
              </a:extLst>
            </p:cNvPr>
            <p:cNvSpPr/>
            <p:nvPr/>
          </p:nvSpPr>
          <p:spPr bwMode="auto">
            <a:xfrm>
              <a:off x="1735846" y="1340339"/>
              <a:ext cx="2232073" cy="2906590"/>
            </a:xfrm>
            <a:custGeom>
              <a:avLst/>
              <a:gdLst>
                <a:gd name="connsiteX0" fmla="*/ 9113306 w 13797425"/>
                <a:gd name="connsiteY0" fmla="*/ 17947847 h 17966907"/>
                <a:gd name="connsiteX1" fmla="*/ 9113306 w 13797425"/>
                <a:gd name="connsiteY1" fmla="*/ 17952611 h 17966907"/>
                <a:gd name="connsiteX2" fmla="*/ 9118071 w 13797425"/>
                <a:gd name="connsiteY2" fmla="*/ 17962143 h 17966907"/>
                <a:gd name="connsiteX3" fmla="*/ 9113306 w 13797425"/>
                <a:gd name="connsiteY3" fmla="*/ 17966907 h 17966907"/>
                <a:gd name="connsiteX4" fmla="*/ 9108541 w 13797425"/>
                <a:gd name="connsiteY4" fmla="*/ 17966907 h 17966907"/>
                <a:gd name="connsiteX5" fmla="*/ 9108541 w 13797425"/>
                <a:gd name="connsiteY5" fmla="*/ 17962143 h 17966907"/>
                <a:gd name="connsiteX6" fmla="*/ 9108541 w 13797425"/>
                <a:gd name="connsiteY6" fmla="*/ 17952611 h 17966907"/>
                <a:gd name="connsiteX7" fmla="*/ 9237199 w 13797425"/>
                <a:gd name="connsiteY7" fmla="*/ 17847779 h 17966907"/>
                <a:gd name="connsiteX8" fmla="*/ 9237199 w 13797425"/>
                <a:gd name="connsiteY8" fmla="*/ 17857311 h 17966907"/>
                <a:gd name="connsiteX9" fmla="*/ 9232433 w 13797425"/>
                <a:gd name="connsiteY9" fmla="*/ 17857311 h 17966907"/>
                <a:gd name="connsiteX10" fmla="*/ 9232433 w 13797425"/>
                <a:gd name="connsiteY10" fmla="*/ 17852547 h 17966907"/>
                <a:gd name="connsiteX11" fmla="*/ 12691917 w 13797425"/>
                <a:gd name="connsiteY11" fmla="*/ 17485631 h 17966907"/>
                <a:gd name="connsiteX12" fmla="*/ 12682385 w 13797425"/>
                <a:gd name="connsiteY12" fmla="*/ 17499927 h 17966907"/>
                <a:gd name="connsiteX13" fmla="*/ 12663325 w 13797425"/>
                <a:gd name="connsiteY13" fmla="*/ 17504691 h 17966907"/>
                <a:gd name="connsiteX14" fmla="*/ 12644265 w 13797425"/>
                <a:gd name="connsiteY14" fmla="*/ 17504691 h 17966907"/>
                <a:gd name="connsiteX15" fmla="*/ 12634737 w 13797425"/>
                <a:gd name="connsiteY15" fmla="*/ 17499927 h 17966907"/>
                <a:gd name="connsiteX16" fmla="*/ 12629969 w 13797425"/>
                <a:gd name="connsiteY16" fmla="*/ 17495159 h 17966907"/>
                <a:gd name="connsiteX17" fmla="*/ 12658561 w 13797425"/>
                <a:gd name="connsiteY17" fmla="*/ 17499927 h 17966907"/>
                <a:gd name="connsiteX18" fmla="*/ 12672857 w 13797425"/>
                <a:gd name="connsiteY18" fmla="*/ 17495159 h 17966907"/>
                <a:gd name="connsiteX19" fmla="*/ 10052037 w 13797425"/>
                <a:gd name="connsiteY19" fmla="*/ 17442743 h 17966907"/>
                <a:gd name="connsiteX20" fmla="*/ 10052037 w 13797425"/>
                <a:gd name="connsiteY20" fmla="*/ 17447511 h 17966907"/>
                <a:gd name="connsiteX21" fmla="*/ 10042507 w 13797425"/>
                <a:gd name="connsiteY21" fmla="*/ 17457039 h 17966907"/>
                <a:gd name="connsiteX22" fmla="*/ 10037741 w 13797425"/>
                <a:gd name="connsiteY22" fmla="*/ 17457039 h 17966907"/>
                <a:gd name="connsiteX23" fmla="*/ 10028211 w 13797425"/>
                <a:gd name="connsiteY23" fmla="*/ 17457039 h 17966907"/>
                <a:gd name="connsiteX24" fmla="*/ 10023446 w 13797425"/>
                <a:gd name="connsiteY24" fmla="*/ 17457039 h 17966907"/>
                <a:gd name="connsiteX25" fmla="*/ 10028211 w 13797425"/>
                <a:gd name="connsiteY25" fmla="*/ 17452275 h 17966907"/>
                <a:gd name="connsiteX26" fmla="*/ 10032976 w 13797425"/>
                <a:gd name="connsiteY26" fmla="*/ 17447511 h 17966907"/>
                <a:gd name="connsiteX27" fmla="*/ 10113983 w 13797425"/>
                <a:gd name="connsiteY27" fmla="*/ 17428451 h 17966907"/>
                <a:gd name="connsiteX28" fmla="*/ 10113983 w 13797425"/>
                <a:gd name="connsiteY28" fmla="*/ 17433215 h 17966907"/>
                <a:gd name="connsiteX29" fmla="*/ 10099688 w 13797425"/>
                <a:gd name="connsiteY29" fmla="*/ 17437979 h 17966907"/>
                <a:gd name="connsiteX30" fmla="*/ 10094923 w 13797425"/>
                <a:gd name="connsiteY30" fmla="*/ 17452275 h 17966907"/>
                <a:gd name="connsiteX31" fmla="*/ 10085392 w 13797425"/>
                <a:gd name="connsiteY31" fmla="*/ 17457039 h 17966907"/>
                <a:gd name="connsiteX32" fmla="*/ 10080627 w 13797425"/>
                <a:gd name="connsiteY32" fmla="*/ 17457039 h 17966907"/>
                <a:gd name="connsiteX33" fmla="*/ 10075862 w 13797425"/>
                <a:gd name="connsiteY33" fmla="*/ 17457039 h 17966907"/>
                <a:gd name="connsiteX34" fmla="*/ 10075862 w 13797425"/>
                <a:gd name="connsiteY34" fmla="*/ 17452275 h 17966907"/>
                <a:gd name="connsiteX35" fmla="*/ 10075862 w 13797425"/>
                <a:gd name="connsiteY35" fmla="*/ 17447511 h 17966907"/>
                <a:gd name="connsiteX36" fmla="*/ 10080627 w 13797425"/>
                <a:gd name="connsiteY36" fmla="*/ 17442743 h 17966907"/>
                <a:gd name="connsiteX37" fmla="*/ 10085392 w 13797425"/>
                <a:gd name="connsiteY37" fmla="*/ 17437979 h 17966907"/>
                <a:gd name="connsiteX38" fmla="*/ 10109218 w 13797425"/>
                <a:gd name="connsiteY38" fmla="*/ 17433215 h 17966907"/>
                <a:gd name="connsiteX39" fmla="*/ 11681709 w 13797425"/>
                <a:gd name="connsiteY39" fmla="*/ 17399859 h 17966907"/>
                <a:gd name="connsiteX40" fmla="*/ 11672181 w 13797425"/>
                <a:gd name="connsiteY40" fmla="*/ 17423683 h 17966907"/>
                <a:gd name="connsiteX41" fmla="*/ 11662649 w 13797425"/>
                <a:gd name="connsiteY41" fmla="*/ 17428451 h 17966907"/>
                <a:gd name="connsiteX42" fmla="*/ 11662649 w 13797425"/>
                <a:gd name="connsiteY42" fmla="*/ 17423683 h 17966907"/>
                <a:gd name="connsiteX43" fmla="*/ 11672181 w 13797425"/>
                <a:gd name="connsiteY43" fmla="*/ 17404623 h 17966907"/>
                <a:gd name="connsiteX44" fmla="*/ 11586405 w 13797425"/>
                <a:gd name="connsiteY44" fmla="*/ 17309319 h 17966907"/>
                <a:gd name="connsiteX45" fmla="*/ 11595937 w 13797425"/>
                <a:gd name="connsiteY45" fmla="*/ 17314087 h 17966907"/>
                <a:gd name="connsiteX46" fmla="*/ 11595937 w 13797425"/>
                <a:gd name="connsiteY46" fmla="*/ 17328379 h 17966907"/>
                <a:gd name="connsiteX47" fmla="*/ 11595937 w 13797425"/>
                <a:gd name="connsiteY47" fmla="*/ 17337911 h 17966907"/>
                <a:gd name="connsiteX48" fmla="*/ 11572113 w 13797425"/>
                <a:gd name="connsiteY48" fmla="*/ 17347443 h 17966907"/>
                <a:gd name="connsiteX49" fmla="*/ 11581641 w 13797425"/>
                <a:gd name="connsiteY49" fmla="*/ 17318851 h 17966907"/>
                <a:gd name="connsiteX50" fmla="*/ 9489751 w 13797425"/>
                <a:gd name="connsiteY50" fmla="*/ 17295027 h 17966907"/>
                <a:gd name="connsiteX51" fmla="*/ 9494516 w 13797425"/>
                <a:gd name="connsiteY51" fmla="*/ 17295027 h 17966907"/>
                <a:gd name="connsiteX52" fmla="*/ 9499281 w 13797425"/>
                <a:gd name="connsiteY52" fmla="*/ 17295027 h 17966907"/>
                <a:gd name="connsiteX53" fmla="*/ 9504046 w 13797425"/>
                <a:gd name="connsiteY53" fmla="*/ 17299791 h 17966907"/>
                <a:gd name="connsiteX54" fmla="*/ 9499281 w 13797425"/>
                <a:gd name="connsiteY54" fmla="*/ 17309319 h 17966907"/>
                <a:gd name="connsiteX55" fmla="*/ 9494516 w 13797425"/>
                <a:gd name="connsiteY55" fmla="*/ 17304555 h 17966907"/>
                <a:gd name="connsiteX56" fmla="*/ 9489751 w 13797425"/>
                <a:gd name="connsiteY56" fmla="*/ 17299791 h 17966907"/>
                <a:gd name="connsiteX57" fmla="*/ 9256260 w 13797425"/>
                <a:gd name="connsiteY57" fmla="*/ 17147307 h 17966907"/>
                <a:gd name="connsiteX58" fmla="*/ 9261025 w 13797425"/>
                <a:gd name="connsiteY58" fmla="*/ 17147307 h 17966907"/>
                <a:gd name="connsiteX59" fmla="*/ 9256260 w 13797425"/>
                <a:gd name="connsiteY59" fmla="*/ 17156835 h 17966907"/>
                <a:gd name="connsiteX60" fmla="*/ 9246729 w 13797425"/>
                <a:gd name="connsiteY60" fmla="*/ 17161603 h 17966907"/>
                <a:gd name="connsiteX61" fmla="*/ 9241964 w 13797425"/>
                <a:gd name="connsiteY61" fmla="*/ 17161603 h 17966907"/>
                <a:gd name="connsiteX62" fmla="*/ 9241964 w 13797425"/>
                <a:gd name="connsiteY62" fmla="*/ 17156835 h 17966907"/>
                <a:gd name="connsiteX63" fmla="*/ 12491781 w 13797425"/>
                <a:gd name="connsiteY63" fmla="*/ 17137779 h 17966907"/>
                <a:gd name="connsiteX64" fmla="*/ 12506077 w 13797425"/>
                <a:gd name="connsiteY64" fmla="*/ 17142543 h 17966907"/>
                <a:gd name="connsiteX65" fmla="*/ 12501313 w 13797425"/>
                <a:gd name="connsiteY65" fmla="*/ 17152075 h 17966907"/>
                <a:gd name="connsiteX66" fmla="*/ 12501313 w 13797425"/>
                <a:gd name="connsiteY66" fmla="*/ 17156839 h 17966907"/>
                <a:gd name="connsiteX67" fmla="*/ 12491781 w 13797425"/>
                <a:gd name="connsiteY67" fmla="*/ 17161603 h 17966907"/>
                <a:gd name="connsiteX68" fmla="*/ 12491781 w 13797425"/>
                <a:gd name="connsiteY68" fmla="*/ 17156839 h 17966907"/>
                <a:gd name="connsiteX69" fmla="*/ 12482253 w 13797425"/>
                <a:gd name="connsiteY69" fmla="*/ 17147307 h 17966907"/>
                <a:gd name="connsiteX70" fmla="*/ 12482253 w 13797425"/>
                <a:gd name="connsiteY70" fmla="*/ 17142543 h 17966907"/>
                <a:gd name="connsiteX71" fmla="*/ 10533313 w 13797425"/>
                <a:gd name="connsiteY71" fmla="*/ 17113951 h 17966907"/>
                <a:gd name="connsiteX72" fmla="*/ 10509489 w 13797425"/>
                <a:gd name="connsiteY72" fmla="*/ 17137775 h 17966907"/>
                <a:gd name="connsiteX73" fmla="*/ 10495193 w 13797425"/>
                <a:gd name="connsiteY73" fmla="*/ 17142543 h 17966907"/>
                <a:gd name="connsiteX74" fmla="*/ 10485661 w 13797425"/>
                <a:gd name="connsiteY74" fmla="*/ 17137775 h 17966907"/>
                <a:gd name="connsiteX75" fmla="*/ 10504721 w 13797425"/>
                <a:gd name="connsiteY75" fmla="*/ 17118715 h 17966907"/>
                <a:gd name="connsiteX76" fmla="*/ 10538077 w 13797425"/>
                <a:gd name="connsiteY76" fmla="*/ 17109187 h 17966907"/>
                <a:gd name="connsiteX77" fmla="*/ 10547609 w 13797425"/>
                <a:gd name="connsiteY77" fmla="*/ 17109187 h 17966907"/>
                <a:gd name="connsiteX78" fmla="*/ 10538077 w 13797425"/>
                <a:gd name="connsiteY78" fmla="*/ 17142543 h 17966907"/>
                <a:gd name="connsiteX79" fmla="*/ 10533313 w 13797425"/>
                <a:gd name="connsiteY79" fmla="*/ 17156835 h 17966907"/>
                <a:gd name="connsiteX80" fmla="*/ 10533313 w 13797425"/>
                <a:gd name="connsiteY80" fmla="*/ 17161603 h 17966907"/>
                <a:gd name="connsiteX81" fmla="*/ 10519017 w 13797425"/>
                <a:gd name="connsiteY81" fmla="*/ 17166367 h 17966907"/>
                <a:gd name="connsiteX82" fmla="*/ 10499957 w 13797425"/>
                <a:gd name="connsiteY82" fmla="*/ 17161603 h 17966907"/>
                <a:gd name="connsiteX83" fmla="*/ 10476133 w 13797425"/>
                <a:gd name="connsiteY83" fmla="*/ 17166367 h 17966907"/>
                <a:gd name="connsiteX84" fmla="*/ 10471369 w 13797425"/>
                <a:gd name="connsiteY84" fmla="*/ 17171131 h 17966907"/>
                <a:gd name="connsiteX85" fmla="*/ 10485661 w 13797425"/>
                <a:gd name="connsiteY85" fmla="*/ 17152071 h 17966907"/>
                <a:gd name="connsiteX86" fmla="*/ 10514253 w 13797425"/>
                <a:gd name="connsiteY86" fmla="*/ 17142543 h 17966907"/>
                <a:gd name="connsiteX87" fmla="*/ 9075184 w 13797425"/>
                <a:gd name="connsiteY87" fmla="*/ 17047239 h 17966907"/>
                <a:gd name="connsiteX88" fmla="*/ 9084715 w 13797425"/>
                <a:gd name="connsiteY88" fmla="*/ 17047239 h 17966907"/>
                <a:gd name="connsiteX89" fmla="*/ 9084715 w 13797425"/>
                <a:gd name="connsiteY89" fmla="*/ 17056767 h 17966907"/>
                <a:gd name="connsiteX90" fmla="*/ 9084715 w 13797425"/>
                <a:gd name="connsiteY90" fmla="*/ 17061535 h 17966907"/>
                <a:gd name="connsiteX91" fmla="*/ 9089480 w 13797425"/>
                <a:gd name="connsiteY91" fmla="*/ 17066299 h 17966907"/>
                <a:gd name="connsiteX92" fmla="*/ 9094245 w 13797425"/>
                <a:gd name="connsiteY92" fmla="*/ 17071063 h 17966907"/>
                <a:gd name="connsiteX93" fmla="*/ 9094245 w 13797425"/>
                <a:gd name="connsiteY93" fmla="*/ 17075827 h 17966907"/>
                <a:gd name="connsiteX94" fmla="*/ 9099010 w 13797425"/>
                <a:gd name="connsiteY94" fmla="*/ 17075827 h 17966907"/>
                <a:gd name="connsiteX95" fmla="*/ 9108540 w 13797425"/>
                <a:gd name="connsiteY95" fmla="*/ 17075827 h 17966907"/>
                <a:gd name="connsiteX96" fmla="*/ 9113305 w 13797425"/>
                <a:gd name="connsiteY96" fmla="*/ 17075827 h 17966907"/>
                <a:gd name="connsiteX97" fmla="*/ 9113305 w 13797425"/>
                <a:gd name="connsiteY97" fmla="*/ 17080595 h 17966907"/>
                <a:gd name="connsiteX98" fmla="*/ 9118071 w 13797425"/>
                <a:gd name="connsiteY98" fmla="*/ 17080595 h 17966907"/>
                <a:gd name="connsiteX99" fmla="*/ 9118071 w 13797425"/>
                <a:gd name="connsiteY99" fmla="*/ 17075827 h 17966907"/>
                <a:gd name="connsiteX100" fmla="*/ 9122836 w 13797425"/>
                <a:gd name="connsiteY100" fmla="*/ 17080595 h 17966907"/>
                <a:gd name="connsiteX101" fmla="*/ 9127601 w 13797425"/>
                <a:gd name="connsiteY101" fmla="*/ 17085359 h 17966907"/>
                <a:gd name="connsiteX102" fmla="*/ 9132366 w 13797425"/>
                <a:gd name="connsiteY102" fmla="*/ 17085359 h 17966907"/>
                <a:gd name="connsiteX103" fmla="*/ 9132366 w 13797425"/>
                <a:gd name="connsiteY103" fmla="*/ 17080595 h 17966907"/>
                <a:gd name="connsiteX104" fmla="*/ 9132366 w 13797425"/>
                <a:gd name="connsiteY104" fmla="*/ 17075827 h 17966907"/>
                <a:gd name="connsiteX105" fmla="*/ 9127601 w 13797425"/>
                <a:gd name="connsiteY105" fmla="*/ 17075827 h 17966907"/>
                <a:gd name="connsiteX106" fmla="*/ 9127601 w 13797425"/>
                <a:gd name="connsiteY106" fmla="*/ 17071063 h 17966907"/>
                <a:gd name="connsiteX107" fmla="*/ 9122836 w 13797425"/>
                <a:gd name="connsiteY107" fmla="*/ 17066299 h 17966907"/>
                <a:gd name="connsiteX108" fmla="*/ 9127601 w 13797425"/>
                <a:gd name="connsiteY108" fmla="*/ 17061535 h 17966907"/>
                <a:gd name="connsiteX109" fmla="*/ 9132366 w 13797425"/>
                <a:gd name="connsiteY109" fmla="*/ 17056767 h 17966907"/>
                <a:gd name="connsiteX110" fmla="*/ 9137131 w 13797425"/>
                <a:gd name="connsiteY110" fmla="*/ 17056767 h 17966907"/>
                <a:gd name="connsiteX111" fmla="*/ 9141896 w 13797425"/>
                <a:gd name="connsiteY111" fmla="*/ 17061535 h 17966907"/>
                <a:gd name="connsiteX112" fmla="*/ 9141896 w 13797425"/>
                <a:gd name="connsiteY112" fmla="*/ 17056767 h 17966907"/>
                <a:gd name="connsiteX113" fmla="*/ 9146661 w 13797425"/>
                <a:gd name="connsiteY113" fmla="*/ 17052003 h 17966907"/>
                <a:gd name="connsiteX114" fmla="*/ 9151426 w 13797425"/>
                <a:gd name="connsiteY114" fmla="*/ 17052003 h 17966907"/>
                <a:gd name="connsiteX115" fmla="*/ 9160957 w 13797425"/>
                <a:gd name="connsiteY115" fmla="*/ 17047239 h 17966907"/>
                <a:gd name="connsiteX116" fmla="*/ 9170487 w 13797425"/>
                <a:gd name="connsiteY116" fmla="*/ 17047239 h 17966907"/>
                <a:gd name="connsiteX117" fmla="*/ 9170487 w 13797425"/>
                <a:gd name="connsiteY117" fmla="*/ 17056767 h 17966907"/>
                <a:gd name="connsiteX118" fmla="*/ 9180017 w 13797425"/>
                <a:gd name="connsiteY118" fmla="*/ 17056767 h 17966907"/>
                <a:gd name="connsiteX119" fmla="*/ 9184782 w 13797425"/>
                <a:gd name="connsiteY119" fmla="*/ 17061535 h 17966907"/>
                <a:gd name="connsiteX120" fmla="*/ 9184782 w 13797425"/>
                <a:gd name="connsiteY120" fmla="*/ 17071063 h 17966907"/>
                <a:gd name="connsiteX121" fmla="*/ 9189548 w 13797425"/>
                <a:gd name="connsiteY121" fmla="*/ 17071063 h 17966907"/>
                <a:gd name="connsiteX122" fmla="*/ 9199078 w 13797425"/>
                <a:gd name="connsiteY122" fmla="*/ 17061535 h 17966907"/>
                <a:gd name="connsiteX123" fmla="*/ 9203843 w 13797425"/>
                <a:gd name="connsiteY123" fmla="*/ 17052003 h 17966907"/>
                <a:gd name="connsiteX124" fmla="*/ 9218138 w 13797425"/>
                <a:gd name="connsiteY124" fmla="*/ 17047239 h 17966907"/>
                <a:gd name="connsiteX125" fmla="*/ 9222903 w 13797425"/>
                <a:gd name="connsiteY125" fmla="*/ 17047239 h 17966907"/>
                <a:gd name="connsiteX126" fmla="*/ 9227669 w 13797425"/>
                <a:gd name="connsiteY126" fmla="*/ 17052003 h 17966907"/>
                <a:gd name="connsiteX127" fmla="*/ 9232434 w 13797425"/>
                <a:gd name="connsiteY127" fmla="*/ 17056767 h 17966907"/>
                <a:gd name="connsiteX128" fmla="*/ 9232434 w 13797425"/>
                <a:gd name="connsiteY128" fmla="*/ 17061535 h 17966907"/>
                <a:gd name="connsiteX129" fmla="*/ 9232434 w 13797425"/>
                <a:gd name="connsiteY129" fmla="*/ 17066299 h 17966907"/>
                <a:gd name="connsiteX130" fmla="*/ 9237199 w 13797425"/>
                <a:gd name="connsiteY130" fmla="*/ 17071063 h 17966907"/>
                <a:gd name="connsiteX131" fmla="*/ 9241964 w 13797425"/>
                <a:gd name="connsiteY131" fmla="*/ 17075827 h 17966907"/>
                <a:gd name="connsiteX132" fmla="*/ 9237199 w 13797425"/>
                <a:gd name="connsiteY132" fmla="*/ 17085359 h 17966907"/>
                <a:gd name="connsiteX133" fmla="*/ 9241964 w 13797425"/>
                <a:gd name="connsiteY133" fmla="*/ 17090123 h 17966907"/>
                <a:gd name="connsiteX134" fmla="*/ 9246729 w 13797425"/>
                <a:gd name="connsiteY134" fmla="*/ 17099655 h 17966907"/>
                <a:gd name="connsiteX135" fmla="*/ 9251494 w 13797425"/>
                <a:gd name="connsiteY135" fmla="*/ 17085359 h 17966907"/>
                <a:gd name="connsiteX136" fmla="*/ 9256259 w 13797425"/>
                <a:gd name="connsiteY136" fmla="*/ 17075827 h 17966907"/>
                <a:gd name="connsiteX137" fmla="*/ 9261024 w 13797425"/>
                <a:gd name="connsiteY137" fmla="*/ 17066299 h 17966907"/>
                <a:gd name="connsiteX138" fmla="*/ 9265790 w 13797425"/>
                <a:gd name="connsiteY138" fmla="*/ 17066299 h 17966907"/>
                <a:gd name="connsiteX139" fmla="*/ 9265790 w 13797425"/>
                <a:gd name="connsiteY139" fmla="*/ 17071063 h 17966907"/>
                <a:gd name="connsiteX140" fmla="*/ 9265790 w 13797425"/>
                <a:gd name="connsiteY140" fmla="*/ 17080595 h 17966907"/>
                <a:gd name="connsiteX141" fmla="*/ 9261024 w 13797425"/>
                <a:gd name="connsiteY141" fmla="*/ 17085359 h 17966907"/>
                <a:gd name="connsiteX142" fmla="*/ 9265790 w 13797425"/>
                <a:gd name="connsiteY142" fmla="*/ 17090123 h 17966907"/>
                <a:gd name="connsiteX143" fmla="*/ 9275320 w 13797425"/>
                <a:gd name="connsiteY143" fmla="*/ 17090123 h 17966907"/>
                <a:gd name="connsiteX144" fmla="*/ 9280085 w 13797425"/>
                <a:gd name="connsiteY144" fmla="*/ 17090123 h 17966907"/>
                <a:gd name="connsiteX145" fmla="*/ 9265790 w 13797425"/>
                <a:gd name="connsiteY145" fmla="*/ 17118715 h 17966907"/>
                <a:gd name="connsiteX146" fmla="*/ 9251494 w 13797425"/>
                <a:gd name="connsiteY146" fmla="*/ 17133011 h 17966907"/>
                <a:gd name="connsiteX147" fmla="*/ 9241964 w 13797425"/>
                <a:gd name="connsiteY147" fmla="*/ 17142539 h 17966907"/>
                <a:gd name="connsiteX148" fmla="*/ 9232434 w 13797425"/>
                <a:gd name="connsiteY148" fmla="*/ 17147307 h 17966907"/>
                <a:gd name="connsiteX149" fmla="*/ 9227669 w 13797425"/>
                <a:gd name="connsiteY149" fmla="*/ 17142539 h 17966907"/>
                <a:gd name="connsiteX150" fmla="*/ 9222903 w 13797425"/>
                <a:gd name="connsiteY150" fmla="*/ 17142539 h 17966907"/>
                <a:gd name="connsiteX151" fmla="*/ 9218138 w 13797425"/>
                <a:gd name="connsiteY151" fmla="*/ 17142539 h 17966907"/>
                <a:gd name="connsiteX152" fmla="*/ 9218138 w 13797425"/>
                <a:gd name="connsiteY152" fmla="*/ 17137775 h 17966907"/>
                <a:gd name="connsiteX153" fmla="*/ 9227669 w 13797425"/>
                <a:gd name="connsiteY153" fmla="*/ 17133011 h 17966907"/>
                <a:gd name="connsiteX154" fmla="*/ 9237199 w 13797425"/>
                <a:gd name="connsiteY154" fmla="*/ 17133011 h 17966907"/>
                <a:gd name="connsiteX155" fmla="*/ 9251494 w 13797425"/>
                <a:gd name="connsiteY155" fmla="*/ 17113951 h 17966907"/>
                <a:gd name="connsiteX156" fmla="*/ 9251494 w 13797425"/>
                <a:gd name="connsiteY156" fmla="*/ 17109183 h 17966907"/>
                <a:gd name="connsiteX157" fmla="*/ 9241964 w 13797425"/>
                <a:gd name="connsiteY157" fmla="*/ 17113951 h 17966907"/>
                <a:gd name="connsiteX158" fmla="*/ 9208608 w 13797425"/>
                <a:gd name="connsiteY158" fmla="*/ 17142539 h 17966907"/>
                <a:gd name="connsiteX159" fmla="*/ 9203843 w 13797425"/>
                <a:gd name="connsiteY159" fmla="*/ 17142539 h 17966907"/>
                <a:gd name="connsiteX160" fmla="*/ 9203843 w 13797425"/>
                <a:gd name="connsiteY160" fmla="*/ 17137775 h 17966907"/>
                <a:gd name="connsiteX161" fmla="*/ 9199078 w 13797425"/>
                <a:gd name="connsiteY161" fmla="*/ 17133011 h 17966907"/>
                <a:gd name="connsiteX162" fmla="*/ 9180017 w 13797425"/>
                <a:gd name="connsiteY162" fmla="*/ 17128247 h 17966907"/>
                <a:gd name="connsiteX163" fmla="*/ 9175252 w 13797425"/>
                <a:gd name="connsiteY163" fmla="*/ 17118715 h 17966907"/>
                <a:gd name="connsiteX164" fmla="*/ 9165722 w 13797425"/>
                <a:gd name="connsiteY164" fmla="*/ 17113951 h 17966907"/>
                <a:gd name="connsiteX165" fmla="*/ 9151426 w 13797425"/>
                <a:gd name="connsiteY165" fmla="*/ 17109183 h 17966907"/>
                <a:gd name="connsiteX166" fmla="*/ 9132366 w 13797425"/>
                <a:gd name="connsiteY166" fmla="*/ 17104419 h 17966907"/>
                <a:gd name="connsiteX167" fmla="*/ 9118071 w 13797425"/>
                <a:gd name="connsiteY167" fmla="*/ 17094891 h 17966907"/>
                <a:gd name="connsiteX168" fmla="*/ 9099010 w 13797425"/>
                <a:gd name="connsiteY168" fmla="*/ 17090123 h 17966907"/>
                <a:gd name="connsiteX169" fmla="*/ 9070419 w 13797425"/>
                <a:gd name="connsiteY169" fmla="*/ 17085359 h 17966907"/>
                <a:gd name="connsiteX170" fmla="*/ 9065654 w 13797425"/>
                <a:gd name="connsiteY170" fmla="*/ 17080595 h 17966907"/>
                <a:gd name="connsiteX171" fmla="*/ 9032298 w 13797425"/>
                <a:gd name="connsiteY171" fmla="*/ 17071063 h 17966907"/>
                <a:gd name="connsiteX172" fmla="*/ 9022768 w 13797425"/>
                <a:gd name="connsiteY172" fmla="*/ 17066299 h 17966907"/>
                <a:gd name="connsiteX173" fmla="*/ 9022768 w 13797425"/>
                <a:gd name="connsiteY173" fmla="*/ 17056767 h 17966907"/>
                <a:gd name="connsiteX174" fmla="*/ 9027533 w 13797425"/>
                <a:gd name="connsiteY174" fmla="*/ 17052003 h 17966907"/>
                <a:gd name="connsiteX175" fmla="*/ 9032298 w 13797425"/>
                <a:gd name="connsiteY175" fmla="*/ 17052003 h 17966907"/>
                <a:gd name="connsiteX176" fmla="*/ 9037063 w 13797425"/>
                <a:gd name="connsiteY176" fmla="*/ 17056767 h 17966907"/>
                <a:gd name="connsiteX177" fmla="*/ 9041829 w 13797425"/>
                <a:gd name="connsiteY177" fmla="*/ 17056767 h 17966907"/>
                <a:gd name="connsiteX178" fmla="*/ 9046594 w 13797425"/>
                <a:gd name="connsiteY178" fmla="*/ 17052003 h 17966907"/>
                <a:gd name="connsiteX179" fmla="*/ 9051359 w 13797425"/>
                <a:gd name="connsiteY179" fmla="*/ 17052003 h 17966907"/>
                <a:gd name="connsiteX180" fmla="*/ 9060889 w 13797425"/>
                <a:gd name="connsiteY180" fmla="*/ 17056767 h 17966907"/>
                <a:gd name="connsiteX181" fmla="*/ 9065654 w 13797425"/>
                <a:gd name="connsiteY181" fmla="*/ 17056767 h 17966907"/>
                <a:gd name="connsiteX182" fmla="*/ 9065654 w 13797425"/>
                <a:gd name="connsiteY182" fmla="*/ 17052003 h 17966907"/>
                <a:gd name="connsiteX183" fmla="*/ 8998942 w 13797425"/>
                <a:gd name="connsiteY183" fmla="*/ 17047239 h 17966907"/>
                <a:gd name="connsiteX184" fmla="*/ 9003708 w 13797425"/>
                <a:gd name="connsiteY184" fmla="*/ 17047239 h 17966907"/>
                <a:gd name="connsiteX185" fmla="*/ 9013238 w 13797425"/>
                <a:gd name="connsiteY185" fmla="*/ 17047239 h 17966907"/>
                <a:gd name="connsiteX186" fmla="*/ 9018003 w 13797425"/>
                <a:gd name="connsiteY186" fmla="*/ 17052003 h 17966907"/>
                <a:gd name="connsiteX187" fmla="*/ 9018003 w 13797425"/>
                <a:gd name="connsiteY187" fmla="*/ 17056767 h 17966907"/>
                <a:gd name="connsiteX188" fmla="*/ 9008473 w 13797425"/>
                <a:gd name="connsiteY188" fmla="*/ 17071063 h 17966907"/>
                <a:gd name="connsiteX189" fmla="*/ 8998942 w 13797425"/>
                <a:gd name="connsiteY189" fmla="*/ 17071063 h 17966907"/>
                <a:gd name="connsiteX190" fmla="*/ 8989412 w 13797425"/>
                <a:gd name="connsiteY190" fmla="*/ 17071063 h 17966907"/>
                <a:gd name="connsiteX191" fmla="*/ 8984647 w 13797425"/>
                <a:gd name="connsiteY191" fmla="*/ 17066299 h 17966907"/>
                <a:gd name="connsiteX192" fmla="*/ 8984647 w 13797425"/>
                <a:gd name="connsiteY192" fmla="*/ 17056767 h 17966907"/>
                <a:gd name="connsiteX193" fmla="*/ 8989412 w 13797425"/>
                <a:gd name="connsiteY193" fmla="*/ 17052003 h 17966907"/>
                <a:gd name="connsiteX194" fmla="*/ 8894110 w 13797425"/>
                <a:gd name="connsiteY194" fmla="*/ 16975763 h 17966907"/>
                <a:gd name="connsiteX195" fmla="*/ 8908405 w 13797425"/>
                <a:gd name="connsiteY195" fmla="*/ 16975763 h 17966907"/>
                <a:gd name="connsiteX196" fmla="*/ 8917936 w 13797425"/>
                <a:gd name="connsiteY196" fmla="*/ 16980527 h 17966907"/>
                <a:gd name="connsiteX197" fmla="*/ 8932231 w 13797425"/>
                <a:gd name="connsiteY197" fmla="*/ 16985291 h 17966907"/>
                <a:gd name="connsiteX198" fmla="*/ 8932231 w 13797425"/>
                <a:gd name="connsiteY198" fmla="*/ 16994823 h 17966907"/>
                <a:gd name="connsiteX199" fmla="*/ 8932231 w 13797425"/>
                <a:gd name="connsiteY199" fmla="*/ 17004351 h 17966907"/>
                <a:gd name="connsiteX200" fmla="*/ 8927466 w 13797425"/>
                <a:gd name="connsiteY200" fmla="*/ 17009119 h 17966907"/>
                <a:gd name="connsiteX201" fmla="*/ 8922701 w 13797425"/>
                <a:gd name="connsiteY201" fmla="*/ 17009119 h 17966907"/>
                <a:gd name="connsiteX202" fmla="*/ 8917936 w 13797425"/>
                <a:gd name="connsiteY202" fmla="*/ 17018647 h 17966907"/>
                <a:gd name="connsiteX203" fmla="*/ 8917936 w 13797425"/>
                <a:gd name="connsiteY203" fmla="*/ 17023415 h 17966907"/>
                <a:gd name="connsiteX204" fmla="*/ 8913171 w 13797425"/>
                <a:gd name="connsiteY204" fmla="*/ 17023415 h 17966907"/>
                <a:gd name="connsiteX205" fmla="*/ 8903640 w 13797425"/>
                <a:gd name="connsiteY205" fmla="*/ 17018647 h 17966907"/>
                <a:gd name="connsiteX206" fmla="*/ 8894110 w 13797425"/>
                <a:gd name="connsiteY206" fmla="*/ 17004351 h 17966907"/>
                <a:gd name="connsiteX207" fmla="*/ 8889345 w 13797425"/>
                <a:gd name="connsiteY207" fmla="*/ 16990059 h 17966907"/>
                <a:gd name="connsiteX208" fmla="*/ 8889345 w 13797425"/>
                <a:gd name="connsiteY208" fmla="*/ 16980527 h 17966907"/>
                <a:gd name="connsiteX209" fmla="*/ 13244673 w 13797425"/>
                <a:gd name="connsiteY209" fmla="*/ 16861399 h 17966907"/>
                <a:gd name="connsiteX210" fmla="*/ 13249437 w 13797425"/>
                <a:gd name="connsiteY210" fmla="*/ 16861399 h 17966907"/>
                <a:gd name="connsiteX211" fmla="*/ 13254201 w 13797425"/>
                <a:gd name="connsiteY211" fmla="*/ 16861399 h 17966907"/>
                <a:gd name="connsiteX212" fmla="*/ 13254201 w 13797425"/>
                <a:gd name="connsiteY212" fmla="*/ 16866167 h 17966907"/>
                <a:gd name="connsiteX213" fmla="*/ 13254201 w 13797425"/>
                <a:gd name="connsiteY213" fmla="*/ 16870931 h 17966907"/>
                <a:gd name="connsiteX214" fmla="*/ 13249437 w 13797425"/>
                <a:gd name="connsiteY214" fmla="*/ 16870931 h 17966907"/>
                <a:gd name="connsiteX215" fmla="*/ 13235141 w 13797425"/>
                <a:gd name="connsiteY215" fmla="*/ 16870931 h 17966907"/>
                <a:gd name="connsiteX216" fmla="*/ 10952645 w 13797425"/>
                <a:gd name="connsiteY216" fmla="*/ 16818511 h 17966907"/>
                <a:gd name="connsiteX217" fmla="*/ 10962177 w 13797425"/>
                <a:gd name="connsiteY217" fmla="*/ 16818511 h 17966907"/>
                <a:gd name="connsiteX218" fmla="*/ 10947881 w 13797425"/>
                <a:gd name="connsiteY218" fmla="*/ 16832807 h 17966907"/>
                <a:gd name="connsiteX219" fmla="*/ 10928821 w 13797425"/>
                <a:gd name="connsiteY219" fmla="*/ 16847103 h 17966907"/>
                <a:gd name="connsiteX220" fmla="*/ 10914525 w 13797425"/>
                <a:gd name="connsiteY220" fmla="*/ 16847103 h 17966907"/>
                <a:gd name="connsiteX221" fmla="*/ 10919289 w 13797425"/>
                <a:gd name="connsiteY221" fmla="*/ 16837571 h 17966907"/>
                <a:gd name="connsiteX222" fmla="*/ 10938349 w 13797425"/>
                <a:gd name="connsiteY222" fmla="*/ 16823279 h 17966907"/>
                <a:gd name="connsiteX223" fmla="*/ 12572789 w 13797425"/>
                <a:gd name="connsiteY223" fmla="*/ 16813747 h 17966907"/>
                <a:gd name="connsiteX224" fmla="*/ 12587085 w 13797425"/>
                <a:gd name="connsiteY224" fmla="*/ 16813747 h 17966907"/>
                <a:gd name="connsiteX225" fmla="*/ 12582317 w 13797425"/>
                <a:gd name="connsiteY225" fmla="*/ 16823279 h 17966907"/>
                <a:gd name="connsiteX226" fmla="*/ 12582317 w 13797425"/>
                <a:gd name="connsiteY226" fmla="*/ 16832811 h 17966907"/>
                <a:gd name="connsiteX227" fmla="*/ 12596613 w 13797425"/>
                <a:gd name="connsiteY227" fmla="*/ 16870931 h 17966907"/>
                <a:gd name="connsiteX228" fmla="*/ 12596613 w 13797425"/>
                <a:gd name="connsiteY228" fmla="*/ 16875695 h 17966907"/>
                <a:gd name="connsiteX229" fmla="*/ 12591849 w 13797425"/>
                <a:gd name="connsiteY229" fmla="*/ 16904287 h 17966907"/>
                <a:gd name="connsiteX230" fmla="*/ 12572789 w 13797425"/>
                <a:gd name="connsiteY230" fmla="*/ 16951939 h 17966907"/>
                <a:gd name="connsiteX231" fmla="*/ 12572789 w 13797425"/>
                <a:gd name="connsiteY231" fmla="*/ 16975763 h 17966907"/>
                <a:gd name="connsiteX232" fmla="*/ 12572789 w 13797425"/>
                <a:gd name="connsiteY232" fmla="*/ 16980527 h 17966907"/>
                <a:gd name="connsiteX233" fmla="*/ 12568025 w 13797425"/>
                <a:gd name="connsiteY233" fmla="*/ 16994823 h 17966907"/>
                <a:gd name="connsiteX234" fmla="*/ 12558493 w 13797425"/>
                <a:gd name="connsiteY234" fmla="*/ 17004355 h 17966907"/>
                <a:gd name="connsiteX235" fmla="*/ 12534669 w 13797425"/>
                <a:gd name="connsiteY235" fmla="*/ 17023415 h 17966907"/>
                <a:gd name="connsiteX236" fmla="*/ 12520373 w 13797425"/>
                <a:gd name="connsiteY236" fmla="*/ 17028179 h 17966907"/>
                <a:gd name="connsiteX237" fmla="*/ 12506077 w 13797425"/>
                <a:gd name="connsiteY237" fmla="*/ 17032947 h 17966907"/>
                <a:gd name="connsiteX238" fmla="*/ 12477485 w 13797425"/>
                <a:gd name="connsiteY238" fmla="*/ 17056771 h 17966907"/>
                <a:gd name="connsiteX239" fmla="*/ 12482249 w 13797425"/>
                <a:gd name="connsiteY239" fmla="*/ 17056771 h 17966907"/>
                <a:gd name="connsiteX240" fmla="*/ 12506077 w 13797425"/>
                <a:gd name="connsiteY240" fmla="*/ 17047239 h 17966907"/>
                <a:gd name="connsiteX241" fmla="*/ 12515605 w 13797425"/>
                <a:gd name="connsiteY241" fmla="*/ 17047239 h 17966907"/>
                <a:gd name="connsiteX242" fmla="*/ 12515605 w 13797425"/>
                <a:gd name="connsiteY242" fmla="*/ 17056771 h 17966907"/>
                <a:gd name="connsiteX243" fmla="*/ 12496545 w 13797425"/>
                <a:gd name="connsiteY243" fmla="*/ 17061535 h 17966907"/>
                <a:gd name="connsiteX244" fmla="*/ 12487017 w 13797425"/>
                <a:gd name="connsiteY244" fmla="*/ 17071067 h 17966907"/>
                <a:gd name="connsiteX245" fmla="*/ 12496545 w 13797425"/>
                <a:gd name="connsiteY245" fmla="*/ 17075831 h 17966907"/>
                <a:gd name="connsiteX246" fmla="*/ 12496545 w 13797425"/>
                <a:gd name="connsiteY246" fmla="*/ 17080595 h 17966907"/>
                <a:gd name="connsiteX247" fmla="*/ 12487017 w 13797425"/>
                <a:gd name="connsiteY247" fmla="*/ 17090127 h 17966907"/>
                <a:gd name="connsiteX248" fmla="*/ 12477485 w 13797425"/>
                <a:gd name="connsiteY248" fmla="*/ 17099655 h 17966907"/>
                <a:gd name="connsiteX249" fmla="*/ 12487017 w 13797425"/>
                <a:gd name="connsiteY249" fmla="*/ 17109187 h 17966907"/>
                <a:gd name="connsiteX250" fmla="*/ 12506077 w 13797425"/>
                <a:gd name="connsiteY250" fmla="*/ 17099655 h 17966907"/>
                <a:gd name="connsiteX251" fmla="*/ 12515605 w 13797425"/>
                <a:gd name="connsiteY251" fmla="*/ 17099655 h 17966907"/>
                <a:gd name="connsiteX252" fmla="*/ 12525137 w 13797425"/>
                <a:gd name="connsiteY252" fmla="*/ 17104423 h 17966907"/>
                <a:gd name="connsiteX253" fmla="*/ 12534669 w 13797425"/>
                <a:gd name="connsiteY253" fmla="*/ 17099655 h 17966907"/>
                <a:gd name="connsiteX254" fmla="*/ 12544197 w 13797425"/>
                <a:gd name="connsiteY254" fmla="*/ 17094891 h 17966907"/>
                <a:gd name="connsiteX255" fmla="*/ 12577553 w 13797425"/>
                <a:gd name="connsiteY255" fmla="*/ 17056771 h 17966907"/>
                <a:gd name="connsiteX256" fmla="*/ 12577553 w 13797425"/>
                <a:gd name="connsiteY256" fmla="*/ 17052007 h 17966907"/>
                <a:gd name="connsiteX257" fmla="*/ 12539433 w 13797425"/>
                <a:gd name="connsiteY257" fmla="*/ 17056771 h 17966907"/>
                <a:gd name="connsiteX258" fmla="*/ 12534669 w 13797425"/>
                <a:gd name="connsiteY258" fmla="*/ 17052007 h 17966907"/>
                <a:gd name="connsiteX259" fmla="*/ 12558493 w 13797425"/>
                <a:gd name="connsiteY259" fmla="*/ 17028179 h 17966907"/>
                <a:gd name="connsiteX260" fmla="*/ 12558493 w 13797425"/>
                <a:gd name="connsiteY260" fmla="*/ 17018651 h 17966907"/>
                <a:gd name="connsiteX261" fmla="*/ 12572789 w 13797425"/>
                <a:gd name="connsiteY261" fmla="*/ 16999591 h 17966907"/>
                <a:gd name="connsiteX262" fmla="*/ 12582317 w 13797425"/>
                <a:gd name="connsiteY262" fmla="*/ 16985295 h 17966907"/>
                <a:gd name="connsiteX263" fmla="*/ 12591849 w 13797425"/>
                <a:gd name="connsiteY263" fmla="*/ 16980527 h 17966907"/>
                <a:gd name="connsiteX264" fmla="*/ 12606145 w 13797425"/>
                <a:gd name="connsiteY264" fmla="*/ 16975763 h 17966907"/>
                <a:gd name="connsiteX265" fmla="*/ 12610909 w 13797425"/>
                <a:gd name="connsiteY265" fmla="*/ 16980527 h 17966907"/>
                <a:gd name="connsiteX266" fmla="*/ 12615673 w 13797425"/>
                <a:gd name="connsiteY266" fmla="*/ 16999591 h 17966907"/>
                <a:gd name="connsiteX267" fmla="*/ 12634733 w 13797425"/>
                <a:gd name="connsiteY267" fmla="*/ 16999591 h 17966907"/>
                <a:gd name="connsiteX268" fmla="*/ 12658561 w 13797425"/>
                <a:gd name="connsiteY268" fmla="*/ 16999591 h 17966907"/>
                <a:gd name="connsiteX269" fmla="*/ 12672857 w 13797425"/>
                <a:gd name="connsiteY269" fmla="*/ 17009119 h 17966907"/>
                <a:gd name="connsiteX270" fmla="*/ 12672857 w 13797425"/>
                <a:gd name="connsiteY270" fmla="*/ 17013883 h 17966907"/>
                <a:gd name="connsiteX271" fmla="*/ 12672857 w 13797425"/>
                <a:gd name="connsiteY271" fmla="*/ 17018651 h 17966907"/>
                <a:gd name="connsiteX272" fmla="*/ 12668089 w 13797425"/>
                <a:gd name="connsiteY272" fmla="*/ 17028179 h 17966907"/>
                <a:gd name="connsiteX273" fmla="*/ 12663325 w 13797425"/>
                <a:gd name="connsiteY273" fmla="*/ 17037711 h 17966907"/>
                <a:gd name="connsiteX274" fmla="*/ 12677621 w 13797425"/>
                <a:gd name="connsiteY274" fmla="*/ 17052007 h 17966907"/>
                <a:gd name="connsiteX275" fmla="*/ 12672857 w 13797425"/>
                <a:gd name="connsiteY275" fmla="*/ 17056771 h 17966907"/>
                <a:gd name="connsiteX276" fmla="*/ 12649029 w 13797425"/>
                <a:gd name="connsiteY276" fmla="*/ 17071067 h 17966907"/>
                <a:gd name="connsiteX277" fmla="*/ 12634733 w 13797425"/>
                <a:gd name="connsiteY277" fmla="*/ 17085363 h 17966907"/>
                <a:gd name="connsiteX278" fmla="*/ 12620441 w 13797425"/>
                <a:gd name="connsiteY278" fmla="*/ 17099655 h 17966907"/>
                <a:gd name="connsiteX279" fmla="*/ 12591849 w 13797425"/>
                <a:gd name="connsiteY279" fmla="*/ 17118719 h 17966907"/>
                <a:gd name="connsiteX280" fmla="*/ 12544197 w 13797425"/>
                <a:gd name="connsiteY280" fmla="*/ 17133011 h 17966907"/>
                <a:gd name="connsiteX281" fmla="*/ 12529901 w 13797425"/>
                <a:gd name="connsiteY281" fmla="*/ 17133011 h 17966907"/>
                <a:gd name="connsiteX282" fmla="*/ 12515605 w 13797425"/>
                <a:gd name="connsiteY282" fmla="*/ 17133011 h 17966907"/>
                <a:gd name="connsiteX283" fmla="*/ 12496545 w 13797425"/>
                <a:gd name="connsiteY283" fmla="*/ 17133011 h 17966907"/>
                <a:gd name="connsiteX284" fmla="*/ 12482249 w 13797425"/>
                <a:gd name="connsiteY284" fmla="*/ 17137779 h 17966907"/>
                <a:gd name="connsiteX285" fmla="*/ 12467957 w 13797425"/>
                <a:gd name="connsiteY285" fmla="*/ 17137779 h 17966907"/>
                <a:gd name="connsiteX286" fmla="*/ 12458425 w 13797425"/>
                <a:gd name="connsiteY286" fmla="*/ 17137779 h 17966907"/>
                <a:gd name="connsiteX287" fmla="*/ 12448893 w 13797425"/>
                <a:gd name="connsiteY287" fmla="*/ 17137779 h 17966907"/>
                <a:gd name="connsiteX288" fmla="*/ 12444129 w 13797425"/>
                <a:gd name="connsiteY288" fmla="*/ 17133011 h 17966907"/>
                <a:gd name="connsiteX289" fmla="*/ 12429833 w 13797425"/>
                <a:gd name="connsiteY289" fmla="*/ 17118719 h 17966907"/>
                <a:gd name="connsiteX290" fmla="*/ 12425069 w 13797425"/>
                <a:gd name="connsiteY290" fmla="*/ 17109187 h 17966907"/>
                <a:gd name="connsiteX291" fmla="*/ 12415541 w 13797425"/>
                <a:gd name="connsiteY291" fmla="*/ 17056771 h 17966907"/>
                <a:gd name="connsiteX292" fmla="*/ 12420305 w 13797425"/>
                <a:gd name="connsiteY292" fmla="*/ 17028179 h 17966907"/>
                <a:gd name="connsiteX293" fmla="*/ 12429833 w 13797425"/>
                <a:gd name="connsiteY293" fmla="*/ 17004355 h 17966907"/>
                <a:gd name="connsiteX294" fmla="*/ 12448893 w 13797425"/>
                <a:gd name="connsiteY294" fmla="*/ 16990059 h 17966907"/>
                <a:gd name="connsiteX295" fmla="*/ 12458425 w 13797425"/>
                <a:gd name="connsiteY295" fmla="*/ 16975763 h 17966907"/>
                <a:gd name="connsiteX296" fmla="*/ 12496545 w 13797425"/>
                <a:gd name="connsiteY296" fmla="*/ 16894755 h 17966907"/>
                <a:gd name="connsiteX297" fmla="*/ 12506077 w 13797425"/>
                <a:gd name="connsiteY297" fmla="*/ 16880459 h 17966907"/>
                <a:gd name="connsiteX298" fmla="*/ 12515605 w 13797425"/>
                <a:gd name="connsiteY298" fmla="*/ 16861399 h 17966907"/>
                <a:gd name="connsiteX299" fmla="*/ 12529901 w 13797425"/>
                <a:gd name="connsiteY299" fmla="*/ 16847103 h 17966907"/>
                <a:gd name="connsiteX300" fmla="*/ 12553729 w 13797425"/>
                <a:gd name="connsiteY300" fmla="*/ 16823279 h 17966907"/>
                <a:gd name="connsiteX301" fmla="*/ 12563257 w 13797425"/>
                <a:gd name="connsiteY301" fmla="*/ 16818515 h 17966907"/>
                <a:gd name="connsiteX302" fmla="*/ 12024797 w 13797425"/>
                <a:gd name="connsiteY302" fmla="*/ 16804219 h 17966907"/>
                <a:gd name="connsiteX303" fmla="*/ 12024797 w 13797425"/>
                <a:gd name="connsiteY303" fmla="*/ 16823279 h 17966907"/>
                <a:gd name="connsiteX304" fmla="*/ 12029565 w 13797425"/>
                <a:gd name="connsiteY304" fmla="*/ 16837575 h 17966907"/>
                <a:gd name="connsiteX305" fmla="*/ 12010505 w 13797425"/>
                <a:gd name="connsiteY305" fmla="*/ 16866167 h 17966907"/>
                <a:gd name="connsiteX306" fmla="*/ 12039093 w 13797425"/>
                <a:gd name="connsiteY306" fmla="*/ 16899523 h 17966907"/>
                <a:gd name="connsiteX307" fmla="*/ 12043861 w 13797425"/>
                <a:gd name="connsiteY307" fmla="*/ 16904287 h 17966907"/>
                <a:gd name="connsiteX308" fmla="*/ 12048625 w 13797425"/>
                <a:gd name="connsiteY308" fmla="*/ 16913819 h 17966907"/>
                <a:gd name="connsiteX309" fmla="*/ 12043861 w 13797425"/>
                <a:gd name="connsiteY309" fmla="*/ 16923347 h 17966907"/>
                <a:gd name="connsiteX310" fmla="*/ 12039093 w 13797425"/>
                <a:gd name="connsiteY310" fmla="*/ 16928111 h 17966907"/>
                <a:gd name="connsiteX311" fmla="*/ 12053389 w 13797425"/>
                <a:gd name="connsiteY311" fmla="*/ 16932879 h 17966907"/>
                <a:gd name="connsiteX312" fmla="*/ 12053389 w 13797425"/>
                <a:gd name="connsiteY312" fmla="*/ 16937643 h 17966907"/>
                <a:gd name="connsiteX313" fmla="*/ 12058153 w 13797425"/>
                <a:gd name="connsiteY313" fmla="*/ 16942407 h 17966907"/>
                <a:gd name="connsiteX314" fmla="*/ 12067685 w 13797425"/>
                <a:gd name="connsiteY314" fmla="*/ 16937643 h 17966907"/>
                <a:gd name="connsiteX315" fmla="*/ 12077217 w 13797425"/>
                <a:gd name="connsiteY315" fmla="*/ 16918583 h 17966907"/>
                <a:gd name="connsiteX316" fmla="*/ 12101041 w 13797425"/>
                <a:gd name="connsiteY316" fmla="*/ 16923347 h 17966907"/>
                <a:gd name="connsiteX317" fmla="*/ 12110569 w 13797425"/>
                <a:gd name="connsiteY317" fmla="*/ 16928111 h 17966907"/>
                <a:gd name="connsiteX318" fmla="*/ 12115337 w 13797425"/>
                <a:gd name="connsiteY318" fmla="*/ 16928111 h 17966907"/>
                <a:gd name="connsiteX319" fmla="*/ 12124865 w 13797425"/>
                <a:gd name="connsiteY319" fmla="*/ 16928111 h 17966907"/>
                <a:gd name="connsiteX320" fmla="*/ 12139161 w 13797425"/>
                <a:gd name="connsiteY320" fmla="*/ 16937643 h 17966907"/>
                <a:gd name="connsiteX321" fmla="*/ 12162989 w 13797425"/>
                <a:gd name="connsiteY321" fmla="*/ 16947175 h 17966907"/>
                <a:gd name="connsiteX322" fmla="*/ 12186813 w 13797425"/>
                <a:gd name="connsiteY322" fmla="*/ 16947175 h 17966907"/>
                <a:gd name="connsiteX323" fmla="*/ 12224933 w 13797425"/>
                <a:gd name="connsiteY323" fmla="*/ 16942407 h 17966907"/>
                <a:gd name="connsiteX324" fmla="*/ 12229701 w 13797425"/>
                <a:gd name="connsiteY324" fmla="*/ 16937643 h 17966907"/>
                <a:gd name="connsiteX325" fmla="*/ 12272585 w 13797425"/>
                <a:gd name="connsiteY325" fmla="*/ 16937643 h 17966907"/>
                <a:gd name="connsiteX326" fmla="*/ 12310705 w 13797425"/>
                <a:gd name="connsiteY326" fmla="*/ 16932879 h 17966907"/>
                <a:gd name="connsiteX327" fmla="*/ 12325001 w 13797425"/>
                <a:gd name="connsiteY327" fmla="*/ 16937643 h 17966907"/>
                <a:gd name="connsiteX328" fmla="*/ 12329765 w 13797425"/>
                <a:gd name="connsiteY328" fmla="*/ 16942407 h 17966907"/>
                <a:gd name="connsiteX329" fmla="*/ 12334533 w 13797425"/>
                <a:gd name="connsiteY329" fmla="*/ 16947175 h 17966907"/>
                <a:gd name="connsiteX330" fmla="*/ 12310705 w 13797425"/>
                <a:gd name="connsiteY330" fmla="*/ 16961467 h 17966907"/>
                <a:gd name="connsiteX331" fmla="*/ 12286881 w 13797425"/>
                <a:gd name="connsiteY331" fmla="*/ 16980527 h 17966907"/>
                <a:gd name="connsiteX332" fmla="*/ 12258289 w 13797425"/>
                <a:gd name="connsiteY332" fmla="*/ 16999591 h 17966907"/>
                <a:gd name="connsiteX333" fmla="*/ 12253525 w 13797425"/>
                <a:gd name="connsiteY333" fmla="*/ 17004355 h 17966907"/>
                <a:gd name="connsiteX334" fmla="*/ 12253525 w 13797425"/>
                <a:gd name="connsiteY334" fmla="*/ 17023415 h 17966907"/>
                <a:gd name="connsiteX335" fmla="*/ 12253525 w 13797425"/>
                <a:gd name="connsiteY335" fmla="*/ 17037711 h 17966907"/>
                <a:gd name="connsiteX336" fmla="*/ 12258289 w 13797425"/>
                <a:gd name="connsiteY336" fmla="*/ 17037711 h 17966907"/>
                <a:gd name="connsiteX337" fmla="*/ 12263057 w 13797425"/>
                <a:gd name="connsiteY337" fmla="*/ 17042475 h 17966907"/>
                <a:gd name="connsiteX338" fmla="*/ 12253525 w 13797425"/>
                <a:gd name="connsiteY338" fmla="*/ 17047239 h 17966907"/>
                <a:gd name="connsiteX339" fmla="*/ 12220169 w 13797425"/>
                <a:gd name="connsiteY339" fmla="*/ 17052007 h 17966907"/>
                <a:gd name="connsiteX340" fmla="*/ 12210637 w 13797425"/>
                <a:gd name="connsiteY340" fmla="*/ 17047239 h 17966907"/>
                <a:gd name="connsiteX341" fmla="*/ 12201109 w 13797425"/>
                <a:gd name="connsiteY341" fmla="*/ 17042475 h 17966907"/>
                <a:gd name="connsiteX342" fmla="*/ 12196345 w 13797425"/>
                <a:gd name="connsiteY342" fmla="*/ 17028179 h 17966907"/>
                <a:gd name="connsiteX343" fmla="*/ 12182049 w 13797425"/>
                <a:gd name="connsiteY343" fmla="*/ 17028179 h 17966907"/>
                <a:gd name="connsiteX344" fmla="*/ 12177281 w 13797425"/>
                <a:gd name="connsiteY344" fmla="*/ 17028179 h 17966907"/>
                <a:gd name="connsiteX345" fmla="*/ 12196345 w 13797425"/>
                <a:gd name="connsiteY345" fmla="*/ 17013883 h 17966907"/>
                <a:gd name="connsiteX346" fmla="*/ 12186813 w 13797425"/>
                <a:gd name="connsiteY346" fmla="*/ 16999591 h 17966907"/>
                <a:gd name="connsiteX347" fmla="*/ 12182049 w 13797425"/>
                <a:gd name="connsiteY347" fmla="*/ 16999591 h 17966907"/>
                <a:gd name="connsiteX348" fmla="*/ 12172517 w 13797425"/>
                <a:gd name="connsiteY348" fmla="*/ 16994823 h 17966907"/>
                <a:gd name="connsiteX349" fmla="*/ 12172517 w 13797425"/>
                <a:gd name="connsiteY349" fmla="*/ 16980527 h 17966907"/>
                <a:gd name="connsiteX350" fmla="*/ 12182049 w 13797425"/>
                <a:gd name="connsiteY350" fmla="*/ 16975763 h 17966907"/>
                <a:gd name="connsiteX351" fmla="*/ 12186813 w 13797425"/>
                <a:gd name="connsiteY351" fmla="*/ 16970999 h 17966907"/>
                <a:gd name="connsiteX352" fmla="*/ 12172517 w 13797425"/>
                <a:gd name="connsiteY352" fmla="*/ 16975763 h 17966907"/>
                <a:gd name="connsiteX353" fmla="*/ 12162989 w 13797425"/>
                <a:gd name="connsiteY353" fmla="*/ 16985295 h 17966907"/>
                <a:gd name="connsiteX354" fmla="*/ 12153457 w 13797425"/>
                <a:gd name="connsiteY354" fmla="*/ 16990059 h 17966907"/>
                <a:gd name="connsiteX355" fmla="*/ 12139161 w 13797425"/>
                <a:gd name="connsiteY355" fmla="*/ 16999591 h 17966907"/>
                <a:gd name="connsiteX356" fmla="*/ 12158221 w 13797425"/>
                <a:gd name="connsiteY356" fmla="*/ 16999591 h 17966907"/>
                <a:gd name="connsiteX357" fmla="*/ 12148693 w 13797425"/>
                <a:gd name="connsiteY357" fmla="*/ 17009119 h 17966907"/>
                <a:gd name="connsiteX358" fmla="*/ 12139161 w 13797425"/>
                <a:gd name="connsiteY358" fmla="*/ 17009119 h 17966907"/>
                <a:gd name="connsiteX359" fmla="*/ 12091509 w 13797425"/>
                <a:gd name="connsiteY359" fmla="*/ 16994823 h 17966907"/>
                <a:gd name="connsiteX360" fmla="*/ 12081981 w 13797425"/>
                <a:gd name="connsiteY360" fmla="*/ 16990059 h 17966907"/>
                <a:gd name="connsiteX361" fmla="*/ 12067685 w 13797425"/>
                <a:gd name="connsiteY361" fmla="*/ 16980527 h 17966907"/>
                <a:gd name="connsiteX362" fmla="*/ 12058153 w 13797425"/>
                <a:gd name="connsiteY362" fmla="*/ 16961467 h 17966907"/>
                <a:gd name="connsiteX363" fmla="*/ 12062921 w 13797425"/>
                <a:gd name="connsiteY363" fmla="*/ 16961467 h 17966907"/>
                <a:gd name="connsiteX364" fmla="*/ 12062921 w 13797425"/>
                <a:gd name="connsiteY364" fmla="*/ 16956703 h 17966907"/>
                <a:gd name="connsiteX365" fmla="*/ 12062921 w 13797425"/>
                <a:gd name="connsiteY365" fmla="*/ 16951939 h 17966907"/>
                <a:gd name="connsiteX366" fmla="*/ 12048625 w 13797425"/>
                <a:gd name="connsiteY366" fmla="*/ 16951939 h 17966907"/>
                <a:gd name="connsiteX367" fmla="*/ 12024797 w 13797425"/>
                <a:gd name="connsiteY367" fmla="*/ 16951939 h 17966907"/>
                <a:gd name="connsiteX368" fmla="*/ 12010505 w 13797425"/>
                <a:gd name="connsiteY368" fmla="*/ 16947175 h 17966907"/>
                <a:gd name="connsiteX369" fmla="*/ 12010505 w 13797425"/>
                <a:gd name="connsiteY369" fmla="*/ 16918583 h 17966907"/>
                <a:gd name="connsiteX370" fmla="*/ 12005737 w 13797425"/>
                <a:gd name="connsiteY370" fmla="*/ 16909051 h 17966907"/>
                <a:gd name="connsiteX371" fmla="*/ 11986677 w 13797425"/>
                <a:gd name="connsiteY371" fmla="*/ 16899523 h 17966907"/>
                <a:gd name="connsiteX372" fmla="*/ 11967617 w 13797425"/>
                <a:gd name="connsiteY372" fmla="*/ 16899523 h 17966907"/>
                <a:gd name="connsiteX373" fmla="*/ 11962853 w 13797425"/>
                <a:gd name="connsiteY373" fmla="*/ 16885227 h 17966907"/>
                <a:gd name="connsiteX374" fmla="*/ 11972381 w 13797425"/>
                <a:gd name="connsiteY374" fmla="*/ 16870931 h 17966907"/>
                <a:gd name="connsiteX375" fmla="*/ 11981913 w 13797425"/>
                <a:gd name="connsiteY375" fmla="*/ 16851871 h 17966907"/>
                <a:gd name="connsiteX376" fmla="*/ 11991441 w 13797425"/>
                <a:gd name="connsiteY376" fmla="*/ 16837575 h 17966907"/>
                <a:gd name="connsiteX377" fmla="*/ 12000973 w 13797425"/>
                <a:gd name="connsiteY377" fmla="*/ 16828043 h 17966907"/>
                <a:gd name="connsiteX378" fmla="*/ 13216081 w 13797425"/>
                <a:gd name="connsiteY378" fmla="*/ 16794687 h 17966907"/>
                <a:gd name="connsiteX379" fmla="*/ 13230377 w 13797425"/>
                <a:gd name="connsiteY379" fmla="*/ 16799455 h 17966907"/>
                <a:gd name="connsiteX380" fmla="*/ 13230377 w 13797425"/>
                <a:gd name="connsiteY380" fmla="*/ 16808983 h 17966907"/>
                <a:gd name="connsiteX381" fmla="*/ 13225609 w 13797425"/>
                <a:gd name="connsiteY381" fmla="*/ 16828043 h 17966907"/>
                <a:gd name="connsiteX382" fmla="*/ 13230377 w 13797425"/>
                <a:gd name="connsiteY382" fmla="*/ 16837575 h 17966907"/>
                <a:gd name="connsiteX383" fmla="*/ 13235141 w 13797425"/>
                <a:gd name="connsiteY383" fmla="*/ 16847107 h 17966907"/>
                <a:gd name="connsiteX384" fmla="*/ 13235141 w 13797425"/>
                <a:gd name="connsiteY384" fmla="*/ 16851871 h 17966907"/>
                <a:gd name="connsiteX385" fmla="*/ 13220845 w 13797425"/>
                <a:gd name="connsiteY385" fmla="*/ 16861399 h 17966907"/>
                <a:gd name="connsiteX386" fmla="*/ 13216081 w 13797425"/>
                <a:gd name="connsiteY386" fmla="*/ 16856635 h 17966907"/>
                <a:gd name="connsiteX387" fmla="*/ 13216081 w 13797425"/>
                <a:gd name="connsiteY387" fmla="*/ 16851871 h 17966907"/>
                <a:gd name="connsiteX388" fmla="*/ 13225609 w 13797425"/>
                <a:gd name="connsiteY388" fmla="*/ 16837575 h 17966907"/>
                <a:gd name="connsiteX389" fmla="*/ 13220845 w 13797425"/>
                <a:gd name="connsiteY389" fmla="*/ 16832811 h 17966907"/>
                <a:gd name="connsiteX390" fmla="*/ 13216081 w 13797425"/>
                <a:gd name="connsiteY390" fmla="*/ 16799455 h 17966907"/>
                <a:gd name="connsiteX391" fmla="*/ 13568701 w 13797425"/>
                <a:gd name="connsiteY391" fmla="*/ 16666031 h 17966907"/>
                <a:gd name="connsiteX392" fmla="*/ 13563933 w 13797425"/>
                <a:gd name="connsiteY392" fmla="*/ 16685091 h 17966907"/>
                <a:gd name="connsiteX393" fmla="*/ 13554405 w 13797425"/>
                <a:gd name="connsiteY393" fmla="*/ 16713683 h 17966907"/>
                <a:gd name="connsiteX394" fmla="*/ 13544873 w 13797425"/>
                <a:gd name="connsiteY394" fmla="*/ 16723211 h 17966907"/>
                <a:gd name="connsiteX395" fmla="*/ 13535345 w 13797425"/>
                <a:gd name="connsiteY395" fmla="*/ 16723211 h 17966907"/>
                <a:gd name="connsiteX396" fmla="*/ 13535345 w 13797425"/>
                <a:gd name="connsiteY396" fmla="*/ 16713683 h 17966907"/>
                <a:gd name="connsiteX397" fmla="*/ 13549641 w 13797425"/>
                <a:gd name="connsiteY397" fmla="*/ 16704151 h 17966907"/>
                <a:gd name="connsiteX398" fmla="*/ 13554405 w 13797425"/>
                <a:gd name="connsiteY398" fmla="*/ 16689855 h 17966907"/>
                <a:gd name="connsiteX399" fmla="*/ 13554405 w 13797425"/>
                <a:gd name="connsiteY399" fmla="*/ 16685091 h 17966907"/>
                <a:gd name="connsiteX400" fmla="*/ 13554405 w 13797425"/>
                <a:gd name="connsiteY400" fmla="*/ 16680327 h 17966907"/>
                <a:gd name="connsiteX401" fmla="*/ 13563933 w 13797425"/>
                <a:gd name="connsiteY401" fmla="*/ 16675559 h 17966907"/>
                <a:gd name="connsiteX402" fmla="*/ 12420305 w 13797425"/>
                <a:gd name="connsiteY402" fmla="*/ 16666031 h 17966907"/>
                <a:gd name="connsiteX403" fmla="*/ 12434601 w 13797425"/>
                <a:gd name="connsiteY403" fmla="*/ 16670795 h 17966907"/>
                <a:gd name="connsiteX404" fmla="*/ 12420305 w 13797425"/>
                <a:gd name="connsiteY404" fmla="*/ 16685091 h 17966907"/>
                <a:gd name="connsiteX405" fmla="*/ 12401245 w 13797425"/>
                <a:gd name="connsiteY405" fmla="*/ 16689855 h 17966907"/>
                <a:gd name="connsiteX406" fmla="*/ 12386949 w 13797425"/>
                <a:gd name="connsiteY406" fmla="*/ 16704151 h 17966907"/>
                <a:gd name="connsiteX407" fmla="*/ 12377417 w 13797425"/>
                <a:gd name="connsiteY407" fmla="*/ 16718447 h 17966907"/>
                <a:gd name="connsiteX408" fmla="*/ 12363121 w 13797425"/>
                <a:gd name="connsiteY408" fmla="*/ 16727975 h 17966907"/>
                <a:gd name="connsiteX409" fmla="*/ 12358357 w 13797425"/>
                <a:gd name="connsiteY409" fmla="*/ 16737507 h 17966907"/>
                <a:gd name="connsiteX410" fmla="*/ 12353593 w 13797425"/>
                <a:gd name="connsiteY410" fmla="*/ 16751803 h 17966907"/>
                <a:gd name="connsiteX411" fmla="*/ 12358357 w 13797425"/>
                <a:gd name="connsiteY411" fmla="*/ 16756567 h 17966907"/>
                <a:gd name="connsiteX412" fmla="*/ 12367889 w 13797425"/>
                <a:gd name="connsiteY412" fmla="*/ 16756567 h 17966907"/>
                <a:gd name="connsiteX413" fmla="*/ 12372653 w 13797425"/>
                <a:gd name="connsiteY413" fmla="*/ 16756567 h 17966907"/>
                <a:gd name="connsiteX414" fmla="*/ 12363121 w 13797425"/>
                <a:gd name="connsiteY414" fmla="*/ 16766099 h 17966907"/>
                <a:gd name="connsiteX415" fmla="*/ 12344061 w 13797425"/>
                <a:gd name="connsiteY415" fmla="*/ 16766099 h 17966907"/>
                <a:gd name="connsiteX416" fmla="*/ 12339297 w 13797425"/>
                <a:gd name="connsiteY416" fmla="*/ 16761331 h 17966907"/>
                <a:gd name="connsiteX417" fmla="*/ 12348829 w 13797425"/>
                <a:gd name="connsiteY417" fmla="*/ 16718447 h 17966907"/>
                <a:gd name="connsiteX418" fmla="*/ 12363121 w 13797425"/>
                <a:gd name="connsiteY418" fmla="*/ 16708915 h 17966907"/>
                <a:gd name="connsiteX419" fmla="*/ 12396477 w 13797425"/>
                <a:gd name="connsiteY419" fmla="*/ 16680327 h 17966907"/>
                <a:gd name="connsiteX420" fmla="*/ 12410773 w 13797425"/>
                <a:gd name="connsiteY420" fmla="*/ 16670795 h 17966907"/>
                <a:gd name="connsiteX421" fmla="*/ 8608202 w 13797425"/>
                <a:gd name="connsiteY421" fmla="*/ 16632673 h 17966907"/>
                <a:gd name="connsiteX422" fmla="*/ 8617732 w 13797425"/>
                <a:gd name="connsiteY422" fmla="*/ 16632673 h 17966907"/>
                <a:gd name="connsiteX423" fmla="*/ 8627263 w 13797425"/>
                <a:gd name="connsiteY423" fmla="*/ 16632673 h 17966907"/>
                <a:gd name="connsiteX424" fmla="*/ 8646323 w 13797425"/>
                <a:gd name="connsiteY424" fmla="*/ 16637439 h 17966907"/>
                <a:gd name="connsiteX425" fmla="*/ 8651088 w 13797425"/>
                <a:gd name="connsiteY425" fmla="*/ 16642203 h 17966907"/>
                <a:gd name="connsiteX426" fmla="*/ 8651088 w 13797425"/>
                <a:gd name="connsiteY426" fmla="*/ 16646969 h 17966907"/>
                <a:gd name="connsiteX427" fmla="*/ 8641558 w 13797425"/>
                <a:gd name="connsiteY427" fmla="*/ 16646969 h 17966907"/>
                <a:gd name="connsiteX428" fmla="*/ 8612967 w 13797425"/>
                <a:gd name="connsiteY428" fmla="*/ 16651735 h 17966907"/>
                <a:gd name="connsiteX429" fmla="*/ 8598672 w 13797425"/>
                <a:gd name="connsiteY429" fmla="*/ 16646969 h 17966907"/>
                <a:gd name="connsiteX430" fmla="*/ 8598672 w 13797425"/>
                <a:gd name="connsiteY430" fmla="*/ 16642203 h 17966907"/>
                <a:gd name="connsiteX431" fmla="*/ 8598672 w 13797425"/>
                <a:gd name="connsiteY431" fmla="*/ 16637439 h 17966907"/>
                <a:gd name="connsiteX432" fmla="*/ 11934261 w 13797425"/>
                <a:gd name="connsiteY432" fmla="*/ 16613615 h 17966907"/>
                <a:gd name="connsiteX433" fmla="*/ 11939025 w 13797425"/>
                <a:gd name="connsiteY433" fmla="*/ 16618379 h 17966907"/>
                <a:gd name="connsiteX434" fmla="*/ 11948557 w 13797425"/>
                <a:gd name="connsiteY434" fmla="*/ 16613615 h 17966907"/>
                <a:gd name="connsiteX435" fmla="*/ 11943793 w 13797425"/>
                <a:gd name="connsiteY435" fmla="*/ 16627911 h 17966907"/>
                <a:gd name="connsiteX436" fmla="*/ 11929497 w 13797425"/>
                <a:gd name="connsiteY436" fmla="*/ 16642203 h 17966907"/>
                <a:gd name="connsiteX437" fmla="*/ 11919965 w 13797425"/>
                <a:gd name="connsiteY437" fmla="*/ 16642203 h 17966907"/>
                <a:gd name="connsiteX438" fmla="*/ 11924733 w 13797425"/>
                <a:gd name="connsiteY438" fmla="*/ 16632675 h 17966907"/>
                <a:gd name="connsiteX439" fmla="*/ 11924733 w 13797425"/>
                <a:gd name="connsiteY439" fmla="*/ 16618379 h 17966907"/>
                <a:gd name="connsiteX440" fmla="*/ 11948557 w 13797425"/>
                <a:gd name="connsiteY440" fmla="*/ 16580259 h 17966907"/>
                <a:gd name="connsiteX441" fmla="*/ 11948557 w 13797425"/>
                <a:gd name="connsiteY441" fmla="*/ 16585023 h 17966907"/>
                <a:gd name="connsiteX442" fmla="*/ 11953321 w 13797425"/>
                <a:gd name="connsiteY442" fmla="*/ 16594555 h 17966907"/>
                <a:gd name="connsiteX443" fmla="*/ 11934261 w 13797425"/>
                <a:gd name="connsiteY443" fmla="*/ 16608847 h 17966907"/>
                <a:gd name="connsiteX444" fmla="*/ 11943793 w 13797425"/>
                <a:gd name="connsiteY444" fmla="*/ 16589787 h 17966907"/>
                <a:gd name="connsiteX445" fmla="*/ 11943793 w 13797425"/>
                <a:gd name="connsiteY445" fmla="*/ 16585023 h 17966907"/>
                <a:gd name="connsiteX446" fmla="*/ 8319911 w 13797425"/>
                <a:gd name="connsiteY446" fmla="*/ 16384887 h 17966907"/>
                <a:gd name="connsiteX447" fmla="*/ 8324676 w 13797425"/>
                <a:gd name="connsiteY447" fmla="*/ 16384887 h 17966907"/>
                <a:gd name="connsiteX448" fmla="*/ 8329442 w 13797425"/>
                <a:gd name="connsiteY448" fmla="*/ 16394417 h 17966907"/>
                <a:gd name="connsiteX449" fmla="*/ 8338972 w 13797425"/>
                <a:gd name="connsiteY449" fmla="*/ 16403947 h 17966907"/>
                <a:gd name="connsiteX450" fmla="*/ 8338972 w 13797425"/>
                <a:gd name="connsiteY450" fmla="*/ 16408713 h 17966907"/>
                <a:gd name="connsiteX451" fmla="*/ 8329442 w 13797425"/>
                <a:gd name="connsiteY451" fmla="*/ 16408713 h 17966907"/>
                <a:gd name="connsiteX452" fmla="*/ 8319911 w 13797425"/>
                <a:gd name="connsiteY452" fmla="*/ 16408713 h 17966907"/>
                <a:gd name="connsiteX453" fmla="*/ 8319911 w 13797425"/>
                <a:gd name="connsiteY453" fmla="*/ 16403947 h 17966907"/>
                <a:gd name="connsiteX454" fmla="*/ 8319911 w 13797425"/>
                <a:gd name="connsiteY454" fmla="*/ 16399183 h 17966907"/>
                <a:gd name="connsiteX455" fmla="*/ 8319911 w 13797425"/>
                <a:gd name="connsiteY455" fmla="*/ 16389653 h 17966907"/>
                <a:gd name="connsiteX456" fmla="*/ 8291320 w 13797425"/>
                <a:gd name="connsiteY456" fmla="*/ 16380123 h 17966907"/>
                <a:gd name="connsiteX457" fmla="*/ 8310381 w 13797425"/>
                <a:gd name="connsiteY457" fmla="*/ 16384887 h 17966907"/>
                <a:gd name="connsiteX458" fmla="*/ 8315146 w 13797425"/>
                <a:gd name="connsiteY458" fmla="*/ 16384887 h 17966907"/>
                <a:gd name="connsiteX459" fmla="*/ 8315146 w 13797425"/>
                <a:gd name="connsiteY459" fmla="*/ 16394417 h 17966907"/>
                <a:gd name="connsiteX460" fmla="*/ 8315146 w 13797425"/>
                <a:gd name="connsiteY460" fmla="*/ 16399183 h 17966907"/>
                <a:gd name="connsiteX461" fmla="*/ 8310381 w 13797425"/>
                <a:gd name="connsiteY461" fmla="*/ 16399183 h 17966907"/>
                <a:gd name="connsiteX462" fmla="*/ 8310381 w 13797425"/>
                <a:gd name="connsiteY462" fmla="*/ 16403947 h 17966907"/>
                <a:gd name="connsiteX463" fmla="*/ 8300851 w 13797425"/>
                <a:gd name="connsiteY463" fmla="*/ 16408713 h 17966907"/>
                <a:gd name="connsiteX464" fmla="*/ 8286555 w 13797425"/>
                <a:gd name="connsiteY464" fmla="*/ 16408713 h 17966907"/>
                <a:gd name="connsiteX465" fmla="*/ 8281790 w 13797425"/>
                <a:gd name="connsiteY465" fmla="*/ 16408713 h 17966907"/>
                <a:gd name="connsiteX466" fmla="*/ 8272260 w 13797425"/>
                <a:gd name="connsiteY466" fmla="*/ 16418243 h 17966907"/>
                <a:gd name="connsiteX467" fmla="*/ 8267495 w 13797425"/>
                <a:gd name="connsiteY467" fmla="*/ 16413477 h 17966907"/>
                <a:gd name="connsiteX468" fmla="*/ 8267495 w 13797425"/>
                <a:gd name="connsiteY468" fmla="*/ 16394417 h 17966907"/>
                <a:gd name="connsiteX469" fmla="*/ 8272260 w 13797425"/>
                <a:gd name="connsiteY469" fmla="*/ 16389653 h 17966907"/>
                <a:gd name="connsiteX470" fmla="*/ 8281790 w 13797425"/>
                <a:gd name="connsiteY470" fmla="*/ 16384887 h 17966907"/>
                <a:gd name="connsiteX471" fmla="*/ 2720887 w 13797425"/>
                <a:gd name="connsiteY471" fmla="*/ 16365827 h 17966907"/>
                <a:gd name="connsiteX472" fmla="*/ 2725652 w 13797425"/>
                <a:gd name="connsiteY472" fmla="*/ 16370591 h 17966907"/>
                <a:gd name="connsiteX473" fmla="*/ 2739948 w 13797425"/>
                <a:gd name="connsiteY473" fmla="*/ 16380119 h 17966907"/>
                <a:gd name="connsiteX474" fmla="*/ 2735182 w 13797425"/>
                <a:gd name="connsiteY474" fmla="*/ 16384887 h 17966907"/>
                <a:gd name="connsiteX475" fmla="*/ 2744713 w 13797425"/>
                <a:gd name="connsiteY475" fmla="*/ 16399179 h 17966907"/>
                <a:gd name="connsiteX476" fmla="*/ 2749478 w 13797425"/>
                <a:gd name="connsiteY476" fmla="*/ 16408711 h 17966907"/>
                <a:gd name="connsiteX477" fmla="*/ 2744713 w 13797425"/>
                <a:gd name="connsiteY477" fmla="*/ 16408711 h 17966907"/>
                <a:gd name="connsiteX478" fmla="*/ 2739948 w 13797425"/>
                <a:gd name="connsiteY478" fmla="*/ 16413475 h 17966907"/>
                <a:gd name="connsiteX479" fmla="*/ 2735182 w 13797425"/>
                <a:gd name="connsiteY479" fmla="*/ 16413475 h 17966907"/>
                <a:gd name="connsiteX480" fmla="*/ 2730417 w 13797425"/>
                <a:gd name="connsiteY480" fmla="*/ 16408711 h 17966907"/>
                <a:gd name="connsiteX481" fmla="*/ 2706591 w 13797425"/>
                <a:gd name="connsiteY481" fmla="*/ 16327703 h 17966907"/>
                <a:gd name="connsiteX482" fmla="*/ 2735182 w 13797425"/>
                <a:gd name="connsiteY482" fmla="*/ 16361059 h 17966907"/>
                <a:gd name="connsiteX483" fmla="*/ 2754242 w 13797425"/>
                <a:gd name="connsiteY483" fmla="*/ 16370591 h 17966907"/>
                <a:gd name="connsiteX484" fmla="*/ 2754242 w 13797425"/>
                <a:gd name="connsiteY484" fmla="*/ 16375355 h 17966907"/>
                <a:gd name="connsiteX485" fmla="*/ 2754242 w 13797425"/>
                <a:gd name="connsiteY485" fmla="*/ 16380119 h 17966907"/>
                <a:gd name="connsiteX486" fmla="*/ 2730416 w 13797425"/>
                <a:gd name="connsiteY486" fmla="*/ 16361059 h 17966907"/>
                <a:gd name="connsiteX487" fmla="*/ 2711356 w 13797425"/>
                <a:gd name="connsiteY487" fmla="*/ 16341999 h 17966907"/>
                <a:gd name="connsiteX488" fmla="*/ 11786541 w 13797425"/>
                <a:gd name="connsiteY488" fmla="*/ 16284819 h 17966907"/>
                <a:gd name="connsiteX489" fmla="*/ 11805601 w 13797425"/>
                <a:gd name="connsiteY489" fmla="*/ 16284819 h 17966907"/>
                <a:gd name="connsiteX490" fmla="*/ 11896141 w 13797425"/>
                <a:gd name="connsiteY490" fmla="*/ 16303879 h 17966907"/>
                <a:gd name="connsiteX491" fmla="*/ 11939025 w 13797425"/>
                <a:gd name="connsiteY491" fmla="*/ 16322943 h 17966907"/>
                <a:gd name="connsiteX492" fmla="*/ 11986677 w 13797425"/>
                <a:gd name="connsiteY492" fmla="*/ 16370591 h 17966907"/>
                <a:gd name="connsiteX493" fmla="*/ 11991441 w 13797425"/>
                <a:gd name="connsiteY493" fmla="*/ 16380123 h 17966907"/>
                <a:gd name="connsiteX494" fmla="*/ 11991441 w 13797425"/>
                <a:gd name="connsiteY494" fmla="*/ 16394419 h 17966907"/>
                <a:gd name="connsiteX495" fmla="*/ 11967617 w 13797425"/>
                <a:gd name="connsiteY495" fmla="*/ 16389651 h 17966907"/>
                <a:gd name="connsiteX496" fmla="*/ 11943793 w 13797425"/>
                <a:gd name="connsiteY496" fmla="*/ 16384887 h 17966907"/>
                <a:gd name="connsiteX497" fmla="*/ 11962853 w 13797425"/>
                <a:gd name="connsiteY497" fmla="*/ 16394419 h 17966907"/>
                <a:gd name="connsiteX498" fmla="*/ 11986677 w 13797425"/>
                <a:gd name="connsiteY498" fmla="*/ 16423007 h 17966907"/>
                <a:gd name="connsiteX499" fmla="*/ 11986677 w 13797425"/>
                <a:gd name="connsiteY499" fmla="*/ 16456363 h 17966907"/>
                <a:gd name="connsiteX500" fmla="*/ 11972381 w 13797425"/>
                <a:gd name="connsiteY500" fmla="*/ 16484955 h 17966907"/>
                <a:gd name="connsiteX501" fmla="*/ 11924729 w 13797425"/>
                <a:gd name="connsiteY501" fmla="*/ 16499251 h 17966907"/>
                <a:gd name="connsiteX502" fmla="*/ 11915201 w 13797425"/>
                <a:gd name="connsiteY502" fmla="*/ 16513547 h 17966907"/>
                <a:gd name="connsiteX503" fmla="*/ 11905669 w 13797425"/>
                <a:gd name="connsiteY503" fmla="*/ 16532607 h 17966907"/>
                <a:gd name="connsiteX504" fmla="*/ 11896141 w 13797425"/>
                <a:gd name="connsiteY504" fmla="*/ 16537371 h 17966907"/>
                <a:gd name="connsiteX505" fmla="*/ 11877081 w 13797425"/>
                <a:gd name="connsiteY505" fmla="*/ 16546903 h 17966907"/>
                <a:gd name="connsiteX506" fmla="*/ 11862785 w 13797425"/>
                <a:gd name="connsiteY506" fmla="*/ 16561199 h 17966907"/>
                <a:gd name="connsiteX507" fmla="*/ 11829429 w 13797425"/>
                <a:gd name="connsiteY507" fmla="*/ 16580259 h 17966907"/>
                <a:gd name="connsiteX508" fmla="*/ 11815133 w 13797425"/>
                <a:gd name="connsiteY508" fmla="*/ 16585023 h 17966907"/>
                <a:gd name="connsiteX509" fmla="*/ 11796073 w 13797425"/>
                <a:gd name="connsiteY509" fmla="*/ 16575491 h 17966907"/>
                <a:gd name="connsiteX510" fmla="*/ 11753185 w 13797425"/>
                <a:gd name="connsiteY510" fmla="*/ 16561199 h 17966907"/>
                <a:gd name="connsiteX511" fmla="*/ 11724597 w 13797425"/>
                <a:gd name="connsiteY511" fmla="*/ 16542135 h 17966907"/>
                <a:gd name="connsiteX512" fmla="*/ 11710301 w 13797425"/>
                <a:gd name="connsiteY512" fmla="*/ 16551667 h 17966907"/>
                <a:gd name="connsiteX513" fmla="*/ 11700769 w 13797425"/>
                <a:gd name="connsiteY513" fmla="*/ 16561199 h 17966907"/>
                <a:gd name="connsiteX514" fmla="*/ 11672181 w 13797425"/>
                <a:gd name="connsiteY514" fmla="*/ 16556431 h 17966907"/>
                <a:gd name="connsiteX515" fmla="*/ 11662649 w 13797425"/>
                <a:gd name="connsiteY515" fmla="*/ 16561199 h 17966907"/>
                <a:gd name="connsiteX516" fmla="*/ 11643589 w 13797425"/>
                <a:gd name="connsiteY516" fmla="*/ 16556431 h 17966907"/>
                <a:gd name="connsiteX517" fmla="*/ 11605469 w 13797425"/>
                <a:gd name="connsiteY517" fmla="*/ 16580259 h 17966907"/>
                <a:gd name="connsiteX518" fmla="*/ 11614997 w 13797425"/>
                <a:gd name="connsiteY518" fmla="*/ 16585023 h 17966907"/>
                <a:gd name="connsiteX519" fmla="*/ 11648353 w 13797425"/>
                <a:gd name="connsiteY519" fmla="*/ 16570727 h 17966907"/>
                <a:gd name="connsiteX520" fmla="*/ 11657885 w 13797425"/>
                <a:gd name="connsiteY520" fmla="*/ 16570727 h 17966907"/>
                <a:gd name="connsiteX521" fmla="*/ 11681709 w 13797425"/>
                <a:gd name="connsiteY521" fmla="*/ 16589787 h 17966907"/>
                <a:gd name="connsiteX522" fmla="*/ 11738893 w 13797425"/>
                <a:gd name="connsiteY522" fmla="*/ 16604083 h 17966907"/>
                <a:gd name="connsiteX523" fmla="*/ 11753185 w 13797425"/>
                <a:gd name="connsiteY523" fmla="*/ 16618379 h 17966907"/>
                <a:gd name="connsiteX524" fmla="*/ 11767481 w 13797425"/>
                <a:gd name="connsiteY524" fmla="*/ 16656499 h 17966907"/>
                <a:gd name="connsiteX525" fmla="*/ 11777013 w 13797425"/>
                <a:gd name="connsiteY525" fmla="*/ 16661267 h 17966907"/>
                <a:gd name="connsiteX526" fmla="*/ 11796073 w 13797425"/>
                <a:gd name="connsiteY526" fmla="*/ 16656499 h 17966907"/>
                <a:gd name="connsiteX527" fmla="*/ 11815133 w 13797425"/>
                <a:gd name="connsiteY527" fmla="*/ 16637439 h 17966907"/>
                <a:gd name="connsiteX528" fmla="*/ 11834193 w 13797425"/>
                <a:gd name="connsiteY528" fmla="*/ 16627911 h 17966907"/>
                <a:gd name="connsiteX529" fmla="*/ 11867549 w 13797425"/>
                <a:gd name="connsiteY529" fmla="*/ 16618379 h 17966907"/>
                <a:gd name="connsiteX530" fmla="*/ 11862785 w 13797425"/>
                <a:gd name="connsiteY530" fmla="*/ 16632675 h 17966907"/>
                <a:gd name="connsiteX531" fmla="*/ 11891377 w 13797425"/>
                <a:gd name="connsiteY531" fmla="*/ 16632675 h 17966907"/>
                <a:gd name="connsiteX532" fmla="*/ 11915201 w 13797425"/>
                <a:gd name="connsiteY532" fmla="*/ 16651735 h 17966907"/>
                <a:gd name="connsiteX533" fmla="*/ 11905669 w 13797425"/>
                <a:gd name="connsiteY533" fmla="*/ 16661267 h 17966907"/>
                <a:gd name="connsiteX534" fmla="*/ 11891377 w 13797425"/>
                <a:gd name="connsiteY534" fmla="*/ 16685091 h 17966907"/>
                <a:gd name="connsiteX535" fmla="*/ 11881845 w 13797425"/>
                <a:gd name="connsiteY535" fmla="*/ 16732743 h 17966907"/>
                <a:gd name="connsiteX536" fmla="*/ 11858021 w 13797425"/>
                <a:gd name="connsiteY536" fmla="*/ 16761331 h 17966907"/>
                <a:gd name="connsiteX537" fmla="*/ 11819897 w 13797425"/>
                <a:gd name="connsiteY537" fmla="*/ 16794687 h 17966907"/>
                <a:gd name="connsiteX538" fmla="*/ 11829429 w 13797425"/>
                <a:gd name="connsiteY538" fmla="*/ 16799455 h 17966907"/>
                <a:gd name="connsiteX539" fmla="*/ 11838957 w 13797425"/>
                <a:gd name="connsiteY539" fmla="*/ 16804219 h 17966907"/>
                <a:gd name="connsiteX540" fmla="*/ 11862785 w 13797425"/>
                <a:gd name="connsiteY540" fmla="*/ 16794687 h 17966907"/>
                <a:gd name="connsiteX541" fmla="*/ 11877081 w 13797425"/>
                <a:gd name="connsiteY541" fmla="*/ 16794687 h 17966907"/>
                <a:gd name="connsiteX542" fmla="*/ 11896141 w 13797425"/>
                <a:gd name="connsiteY542" fmla="*/ 16804219 h 17966907"/>
                <a:gd name="connsiteX543" fmla="*/ 11891377 w 13797425"/>
                <a:gd name="connsiteY543" fmla="*/ 16828043 h 17966907"/>
                <a:gd name="connsiteX544" fmla="*/ 11886609 w 13797425"/>
                <a:gd name="connsiteY544" fmla="*/ 16842339 h 17966907"/>
                <a:gd name="connsiteX545" fmla="*/ 11886609 w 13797425"/>
                <a:gd name="connsiteY545" fmla="*/ 16856635 h 17966907"/>
                <a:gd name="connsiteX546" fmla="*/ 11900905 w 13797425"/>
                <a:gd name="connsiteY546" fmla="*/ 16885227 h 17966907"/>
                <a:gd name="connsiteX547" fmla="*/ 11910437 w 13797425"/>
                <a:gd name="connsiteY547" fmla="*/ 16889991 h 17966907"/>
                <a:gd name="connsiteX548" fmla="*/ 11919965 w 13797425"/>
                <a:gd name="connsiteY548" fmla="*/ 16928111 h 17966907"/>
                <a:gd name="connsiteX549" fmla="*/ 11924729 w 13797425"/>
                <a:gd name="connsiteY549" fmla="*/ 16947171 h 17966907"/>
                <a:gd name="connsiteX550" fmla="*/ 11924729 w 13797425"/>
                <a:gd name="connsiteY550" fmla="*/ 16961467 h 17966907"/>
                <a:gd name="connsiteX551" fmla="*/ 11939025 w 13797425"/>
                <a:gd name="connsiteY551" fmla="*/ 16975763 h 17966907"/>
                <a:gd name="connsiteX552" fmla="*/ 11943793 w 13797425"/>
                <a:gd name="connsiteY552" fmla="*/ 16990059 h 17966907"/>
                <a:gd name="connsiteX553" fmla="*/ 11991441 w 13797425"/>
                <a:gd name="connsiteY553" fmla="*/ 16994823 h 17966907"/>
                <a:gd name="connsiteX554" fmla="*/ 12000973 w 13797425"/>
                <a:gd name="connsiteY554" fmla="*/ 16999591 h 17966907"/>
                <a:gd name="connsiteX555" fmla="*/ 12039093 w 13797425"/>
                <a:gd name="connsiteY555" fmla="*/ 17004355 h 17966907"/>
                <a:gd name="connsiteX556" fmla="*/ 12043861 w 13797425"/>
                <a:gd name="connsiteY556" fmla="*/ 17009119 h 17966907"/>
                <a:gd name="connsiteX557" fmla="*/ 12053389 w 13797425"/>
                <a:gd name="connsiteY557" fmla="*/ 17018651 h 17966907"/>
                <a:gd name="connsiteX558" fmla="*/ 12015269 w 13797425"/>
                <a:gd name="connsiteY558" fmla="*/ 17037711 h 17966907"/>
                <a:gd name="connsiteX559" fmla="*/ 12043861 w 13797425"/>
                <a:gd name="connsiteY559" fmla="*/ 17052007 h 17966907"/>
                <a:gd name="connsiteX560" fmla="*/ 12072449 w 13797425"/>
                <a:gd name="connsiteY560" fmla="*/ 17075831 h 17966907"/>
                <a:gd name="connsiteX561" fmla="*/ 12091509 w 13797425"/>
                <a:gd name="connsiteY561" fmla="*/ 17071067 h 17966907"/>
                <a:gd name="connsiteX562" fmla="*/ 12101041 w 13797425"/>
                <a:gd name="connsiteY562" fmla="*/ 17071067 h 17966907"/>
                <a:gd name="connsiteX563" fmla="*/ 12124865 w 13797425"/>
                <a:gd name="connsiteY563" fmla="*/ 17085363 h 17966907"/>
                <a:gd name="connsiteX564" fmla="*/ 12134397 w 13797425"/>
                <a:gd name="connsiteY564" fmla="*/ 17094891 h 17966907"/>
                <a:gd name="connsiteX565" fmla="*/ 12134397 w 13797425"/>
                <a:gd name="connsiteY565" fmla="*/ 17099655 h 17966907"/>
                <a:gd name="connsiteX566" fmla="*/ 12148693 w 13797425"/>
                <a:gd name="connsiteY566" fmla="*/ 17099655 h 17966907"/>
                <a:gd name="connsiteX567" fmla="*/ 12162989 w 13797425"/>
                <a:gd name="connsiteY567" fmla="*/ 17094891 h 17966907"/>
                <a:gd name="connsiteX568" fmla="*/ 12196345 w 13797425"/>
                <a:gd name="connsiteY568" fmla="*/ 17094891 h 17966907"/>
                <a:gd name="connsiteX569" fmla="*/ 12229701 w 13797425"/>
                <a:gd name="connsiteY569" fmla="*/ 17099655 h 17966907"/>
                <a:gd name="connsiteX570" fmla="*/ 12224933 w 13797425"/>
                <a:gd name="connsiteY570" fmla="*/ 17113951 h 17966907"/>
                <a:gd name="connsiteX571" fmla="*/ 12220169 w 13797425"/>
                <a:gd name="connsiteY571" fmla="*/ 17123483 h 17966907"/>
                <a:gd name="connsiteX572" fmla="*/ 12248761 w 13797425"/>
                <a:gd name="connsiteY572" fmla="*/ 17118719 h 17966907"/>
                <a:gd name="connsiteX573" fmla="*/ 12263053 w 13797425"/>
                <a:gd name="connsiteY573" fmla="*/ 17128247 h 17966907"/>
                <a:gd name="connsiteX574" fmla="*/ 12267821 w 13797425"/>
                <a:gd name="connsiteY574" fmla="*/ 17123483 h 17966907"/>
                <a:gd name="connsiteX575" fmla="*/ 12272585 w 13797425"/>
                <a:gd name="connsiteY575" fmla="*/ 17118719 h 17966907"/>
                <a:gd name="connsiteX576" fmla="*/ 12305941 w 13797425"/>
                <a:gd name="connsiteY576" fmla="*/ 17104423 h 17966907"/>
                <a:gd name="connsiteX577" fmla="*/ 12344061 w 13797425"/>
                <a:gd name="connsiteY577" fmla="*/ 17071067 h 17966907"/>
                <a:gd name="connsiteX578" fmla="*/ 12348829 w 13797425"/>
                <a:gd name="connsiteY578" fmla="*/ 17075831 h 17966907"/>
                <a:gd name="connsiteX579" fmla="*/ 12353593 w 13797425"/>
                <a:gd name="connsiteY579" fmla="*/ 17090127 h 17966907"/>
                <a:gd name="connsiteX580" fmla="*/ 12358357 w 13797425"/>
                <a:gd name="connsiteY580" fmla="*/ 17109187 h 17966907"/>
                <a:gd name="connsiteX581" fmla="*/ 12372653 w 13797425"/>
                <a:gd name="connsiteY581" fmla="*/ 17118719 h 17966907"/>
                <a:gd name="connsiteX582" fmla="*/ 12391713 w 13797425"/>
                <a:gd name="connsiteY582" fmla="*/ 17123483 h 17966907"/>
                <a:gd name="connsiteX583" fmla="*/ 12415541 w 13797425"/>
                <a:gd name="connsiteY583" fmla="*/ 17113951 h 17966907"/>
                <a:gd name="connsiteX584" fmla="*/ 12429833 w 13797425"/>
                <a:gd name="connsiteY584" fmla="*/ 17123483 h 17966907"/>
                <a:gd name="connsiteX585" fmla="*/ 12439365 w 13797425"/>
                <a:gd name="connsiteY585" fmla="*/ 17137779 h 17966907"/>
                <a:gd name="connsiteX586" fmla="*/ 12453661 w 13797425"/>
                <a:gd name="connsiteY586" fmla="*/ 17161603 h 17966907"/>
                <a:gd name="connsiteX587" fmla="*/ 12448893 w 13797425"/>
                <a:gd name="connsiteY587" fmla="*/ 17171135 h 17966907"/>
                <a:gd name="connsiteX588" fmla="*/ 12434601 w 13797425"/>
                <a:gd name="connsiteY588" fmla="*/ 17175899 h 17966907"/>
                <a:gd name="connsiteX589" fmla="*/ 12420305 w 13797425"/>
                <a:gd name="connsiteY589" fmla="*/ 17185431 h 17966907"/>
                <a:gd name="connsiteX590" fmla="*/ 12477485 w 13797425"/>
                <a:gd name="connsiteY590" fmla="*/ 17190195 h 17966907"/>
                <a:gd name="connsiteX591" fmla="*/ 12482249 w 13797425"/>
                <a:gd name="connsiteY591" fmla="*/ 17194959 h 17966907"/>
                <a:gd name="connsiteX592" fmla="*/ 12491781 w 13797425"/>
                <a:gd name="connsiteY592" fmla="*/ 17199723 h 17966907"/>
                <a:gd name="connsiteX593" fmla="*/ 12482249 w 13797425"/>
                <a:gd name="connsiteY593" fmla="*/ 17209255 h 17966907"/>
                <a:gd name="connsiteX594" fmla="*/ 12477485 w 13797425"/>
                <a:gd name="connsiteY594" fmla="*/ 17214019 h 17966907"/>
                <a:gd name="connsiteX595" fmla="*/ 12467957 w 13797425"/>
                <a:gd name="connsiteY595" fmla="*/ 17209255 h 17966907"/>
                <a:gd name="connsiteX596" fmla="*/ 12448893 w 13797425"/>
                <a:gd name="connsiteY596" fmla="*/ 17214019 h 17966907"/>
                <a:gd name="connsiteX597" fmla="*/ 12434601 w 13797425"/>
                <a:gd name="connsiteY597" fmla="*/ 17223551 h 17966907"/>
                <a:gd name="connsiteX598" fmla="*/ 12415541 w 13797425"/>
                <a:gd name="connsiteY598" fmla="*/ 17233079 h 17966907"/>
                <a:gd name="connsiteX599" fmla="*/ 12406009 w 13797425"/>
                <a:gd name="connsiteY599" fmla="*/ 17233079 h 17966907"/>
                <a:gd name="connsiteX600" fmla="*/ 12391713 w 13797425"/>
                <a:gd name="connsiteY600" fmla="*/ 17237847 h 17966907"/>
                <a:gd name="connsiteX601" fmla="*/ 12382185 w 13797425"/>
                <a:gd name="connsiteY601" fmla="*/ 17247375 h 17966907"/>
                <a:gd name="connsiteX602" fmla="*/ 12372653 w 13797425"/>
                <a:gd name="connsiteY602" fmla="*/ 17247375 h 17966907"/>
                <a:gd name="connsiteX603" fmla="*/ 12334533 w 13797425"/>
                <a:gd name="connsiteY603" fmla="*/ 17266435 h 17966907"/>
                <a:gd name="connsiteX604" fmla="*/ 12296409 w 13797425"/>
                <a:gd name="connsiteY604" fmla="*/ 17280731 h 17966907"/>
                <a:gd name="connsiteX605" fmla="*/ 12258289 w 13797425"/>
                <a:gd name="connsiteY605" fmla="*/ 17299791 h 17966907"/>
                <a:gd name="connsiteX606" fmla="*/ 12220169 w 13797425"/>
                <a:gd name="connsiteY606" fmla="*/ 17314087 h 17966907"/>
                <a:gd name="connsiteX607" fmla="*/ 12177281 w 13797425"/>
                <a:gd name="connsiteY607" fmla="*/ 17328383 h 17966907"/>
                <a:gd name="connsiteX608" fmla="*/ 12167753 w 13797425"/>
                <a:gd name="connsiteY608" fmla="*/ 17328383 h 17966907"/>
                <a:gd name="connsiteX609" fmla="*/ 12158221 w 13797425"/>
                <a:gd name="connsiteY609" fmla="*/ 17328383 h 17966907"/>
                <a:gd name="connsiteX610" fmla="*/ 12134397 w 13797425"/>
                <a:gd name="connsiteY610" fmla="*/ 17342679 h 17966907"/>
                <a:gd name="connsiteX611" fmla="*/ 12124865 w 13797425"/>
                <a:gd name="connsiteY611" fmla="*/ 17342679 h 17966907"/>
                <a:gd name="connsiteX612" fmla="*/ 12110569 w 13797425"/>
                <a:gd name="connsiteY612" fmla="*/ 17347443 h 17966907"/>
                <a:gd name="connsiteX613" fmla="*/ 12096277 w 13797425"/>
                <a:gd name="connsiteY613" fmla="*/ 17342679 h 17966907"/>
                <a:gd name="connsiteX614" fmla="*/ 12086745 w 13797425"/>
                <a:gd name="connsiteY614" fmla="*/ 17337915 h 17966907"/>
                <a:gd name="connsiteX615" fmla="*/ 12096277 w 13797425"/>
                <a:gd name="connsiteY615" fmla="*/ 17352207 h 17966907"/>
                <a:gd name="connsiteX616" fmla="*/ 12096277 w 13797425"/>
                <a:gd name="connsiteY616" fmla="*/ 17366503 h 17966907"/>
                <a:gd name="connsiteX617" fmla="*/ 12091509 w 13797425"/>
                <a:gd name="connsiteY617" fmla="*/ 17371271 h 17966907"/>
                <a:gd name="connsiteX618" fmla="*/ 12086745 w 13797425"/>
                <a:gd name="connsiteY618" fmla="*/ 17380799 h 17966907"/>
                <a:gd name="connsiteX619" fmla="*/ 12062921 w 13797425"/>
                <a:gd name="connsiteY619" fmla="*/ 17380799 h 17966907"/>
                <a:gd name="connsiteX620" fmla="*/ 12053389 w 13797425"/>
                <a:gd name="connsiteY620" fmla="*/ 17376035 h 17966907"/>
                <a:gd name="connsiteX621" fmla="*/ 12043861 w 13797425"/>
                <a:gd name="connsiteY621" fmla="*/ 17366503 h 17966907"/>
                <a:gd name="connsiteX622" fmla="*/ 12039093 w 13797425"/>
                <a:gd name="connsiteY622" fmla="*/ 17352207 h 17966907"/>
                <a:gd name="connsiteX623" fmla="*/ 12024797 w 13797425"/>
                <a:gd name="connsiteY623" fmla="*/ 17342679 h 17966907"/>
                <a:gd name="connsiteX624" fmla="*/ 12020033 w 13797425"/>
                <a:gd name="connsiteY624" fmla="*/ 17356975 h 17966907"/>
                <a:gd name="connsiteX625" fmla="*/ 12020033 w 13797425"/>
                <a:gd name="connsiteY625" fmla="*/ 17366503 h 17966907"/>
                <a:gd name="connsiteX626" fmla="*/ 12010505 w 13797425"/>
                <a:gd name="connsiteY626" fmla="*/ 17380799 h 17966907"/>
                <a:gd name="connsiteX627" fmla="*/ 12000973 w 13797425"/>
                <a:gd name="connsiteY627" fmla="*/ 17356975 h 17966907"/>
                <a:gd name="connsiteX628" fmla="*/ 11981913 w 13797425"/>
                <a:gd name="connsiteY628" fmla="*/ 17366503 h 17966907"/>
                <a:gd name="connsiteX629" fmla="*/ 11972381 w 13797425"/>
                <a:gd name="connsiteY629" fmla="*/ 17390331 h 17966907"/>
                <a:gd name="connsiteX630" fmla="*/ 11977149 w 13797425"/>
                <a:gd name="connsiteY630" fmla="*/ 17395095 h 17966907"/>
                <a:gd name="connsiteX631" fmla="*/ 11981913 w 13797425"/>
                <a:gd name="connsiteY631" fmla="*/ 17414155 h 17966907"/>
                <a:gd name="connsiteX632" fmla="*/ 11972381 w 13797425"/>
                <a:gd name="connsiteY632" fmla="*/ 17423687 h 17966907"/>
                <a:gd name="connsiteX633" fmla="*/ 11967617 w 13797425"/>
                <a:gd name="connsiteY633" fmla="*/ 17418919 h 17966907"/>
                <a:gd name="connsiteX634" fmla="*/ 11953321 w 13797425"/>
                <a:gd name="connsiteY634" fmla="*/ 17447511 h 17966907"/>
                <a:gd name="connsiteX635" fmla="*/ 11934261 w 13797425"/>
                <a:gd name="connsiteY635" fmla="*/ 17452275 h 17966907"/>
                <a:gd name="connsiteX636" fmla="*/ 11915201 w 13797425"/>
                <a:gd name="connsiteY636" fmla="*/ 17480867 h 17966907"/>
                <a:gd name="connsiteX637" fmla="*/ 11896141 w 13797425"/>
                <a:gd name="connsiteY637" fmla="*/ 17499927 h 17966907"/>
                <a:gd name="connsiteX638" fmla="*/ 11891377 w 13797425"/>
                <a:gd name="connsiteY638" fmla="*/ 17514223 h 17966907"/>
                <a:gd name="connsiteX639" fmla="*/ 11858021 w 13797425"/>
                <a:gd name="connsiteY639" fmla="*/ 17542815 h 17966907"/>
                <a:gd name="connsiteX640" fmla="*/ 11843725 w 13797425"/>
                <a:gd name="connsiteY640" fmla="*/ 17542815 h 17966907"/>
                <a:gd name="connsiteX641" fmla="*/ 11834193 w 13797425"/>
                <a:gd name="connsiteY641" fmla="*/ 17542815 h 17966907"/>
                <a:gd name="connsiteX642" fmla="*/ 11819897 w 13797425"/>
                <a:gd name="connsiteY642" fmla="*/ 17557111 h 17966907"/>
                <a:gd name="connsiteX643" fmla="*/ 11815133 w 13797425"/>
                <a:gd name="connsiteY643" fmla="*/ 17580935 h 17966907"/>
                <a:gd name="connsiteX644" fmla="*/ 11810369 w 13797425"/>
                <a:gd name="connsiteY644" fmla="*/ 17580935 h 17966907"/>
                <a:gd name="connsiteX645" fmla="*/ 11800837 w 13797425"/>
                <a:gd name="connsiteY645" fmla="*/ 17580935 h 17966907"/>
                <a:gd name="connsiteX646" fmla="*/ 11800837 w 13797425"/>
                <a:gd name="connsiteY646" fmla="*/ 17590463 h 17966907"/>
                <a:gd name="connsiteX647" fmla="*/ 11796073 w 13797425"/>
                <a:gd name="connsiteY647" fmla="*/ 17590463 h 17966907"/>
                <a:gd name="connsiteX648" fmla="*/ 11781777 w 13797425"/>
                <a:gd name="connsiteY648" fmla="*/ 17580935 h 17966907"/>
                <a:gd name="connsiteX649" fmla="*/ 11767481 w 13797425"/>
                <a:gd name="connsiteY649" fmla="*/ 17585699 h 17966907"/>
                <a:gd name="connsiteX650" fmla="*/ 11753185 w 13797425"/>
                <a:gd name="connsiteY650" fmla="*/ 17580935 h 17966907"/>
                <a:gd name="connsiteX651" fmla="*/ 11738893 w 13797425"/>
                <a:gd name="connsiteY651" fmla="*/ 17542815 h 17966907"/>
                <a:gd name="connsiteX652" fmla="*/ 11729361 w 13797425"/>
                <a:gd name="connsiteY652" fmla="*/ 17528519 h 17966907"/>
                <a:gd name="connsiteX653" fmla="*/ 11715065 w 13797425"/>
                <a:gd name="connsiteY653" fmla="*/ 17523755 h 17966907"/>
                <a:gd name="connsiteX654" fmla="*/ 11715065 w 13797425"/>
                <a:gd name="connsiteY654" fmla="*/ 17533283 h 17966907"/>
                <a:gd name="connsiteX655" fmla="*/ 11705537 w 13797425"/>
                <a:gd name="connsiteY655" fmla="*/ 17542815 h 17966907"/>
                <a:gd name="connsiteX656" fmla="*/ 11696005 w 13797425"/>
                <a:gd name="connsiteY656" fmla="*/ 17523755 h 17966907"/>
                <a:gd name="connsiteX657" fmla="*/ 11681709 w 13797425"/>
                <a:gd name="connsiteY657" fmla="*/ 17466571 h 17966907"/>
                <a:gd name="connsiteX658" fmla="*/ 11681709 w 13797425"/>
                <a:gd name="connsiteY658" fmla="*/ 17452275 h 17966907"/>
                <a:gd name="connsiteX659" fmla="*/ 11696005 w 13797425"/>
                <a:gd name="connsiteY659" fmla="*/ 17404623 h 17966907"/>
                <a:gd name="connsiteX660" fmla="*/ 11734125 w 13797425"/>
                <a:gd name="connsiteY660" fmla="*/ 17361739 h 17966907"/>
                <a:gd name="connsiteX661" fmla="*/ 11719829 w 13797425"/>
                <a:gd name="connsiteY661" fmla="*/ 17361739 h 17966907"/>
                <a:gd name="connsiteX662" fmla="*/ 11691241 w 13797425"/>
                <a:gd name="connsiteY662" fmla="*/ 17390331 h 17966907"/>
                <a:gd name="connsiteX663" fmla="*/ 11696005 w 13797425"/>
                <a:gd name="connsiteY663" fmla="*/ 17380799 h 17966907"/>
                <a:gd name="connsiteX664" fmla="*/ 11700769 w 13797425"/>
                <a:gd name="connsiteY664" fmla="*/ 17376035 h 17966907"/>
                <a:gd name="connsiteX665" fmla="*/ 11710301 w 13797425"/>
                <a:gd name="connsiteY665" fmla="*/ 17361739 h 17966907"/>
                <a:gd name="connsiteX666" fmla="*/ 11724597 w 13797425"/>
                <a:gd name="connsiteY666" fmla="*/ 17352207 h 17966907"/>
                <a:gd name="connsiteX667" fmla="*/ 11748421 w 13797425"/>
                <a:gd name="connsiteY667" fmla="*/ 17342679 h 17966907"/>
                <a:gd name="connsiteX668" fmla="*/ 11762717 w 13797425"/>
                <a:gd name="connsiteY668" fmla="*/ 17342679 h 17966907"/>
                <a:gd name="connsiteX669" fmla="*/ 11772245 w 13797425"/>
                <a:gd name="connsiteY669" fmla="*/ 17337915 h 17966907"/>
                <a:gd name="connsiteX670" fmla="*/ 11786541 w 13797425"/>
                <a:gd name="connsiteY670" fmla="*/ 17323619 h 17966907"/>
                <a:gd name="connsiteX671" fmla="*/ 11791309 w 13797425"/>
                <a:gd name="connsiteY671" fmla="*/ 17318851 h 17966907"/>
                <a:gd name="connsiteX672" fmla="*/ 11777013 w 13797425"/>
                <a:gd name="connsiteY672" fmla="*/ 17328383 h 17966907"/>
                <a:gd name="connsiteX673" fmla="*/ 11757953 w 13797425"/>
                <a:gd name="connsiteY673" fmla="*/ 17333147 h 17966907"/>
                <a:gd name="connsiteX674" fmla="*/ 11762717 w 13797425"/>
                <a:gd name="connsiteY674" fmla="*/ 17323619 h 17966907"/>
                <a:gd name="connsiteX675" fmla="*/ 11767481 w 13797425"/>
                <a:gd name="connsiteY675" fmla="*/ 17318851 h 17966907"/>
                <a:gd name="connsiteX676" fmla="*/ 11886609 w 13797425"/>
                <a:gd name="connsiteY676" fmla="*/ 17237847 h 17966907"/>
                <a:gd name="connsiteX677" fmla="*/ 11910437 w 13797425"/>
                <a:gd name="connsiteY677" fmla="*/ 17228315 h 17966907"/>
                <a:gd name="connsiteX678" fmla="*/ 11953321 w 13797425"/>
                <a:gd name="connsiteY678" fmla="*/ 17209255 h 17966907"/>
                <a:gd name="connsiteX679" fmla="*/ 11962853 w 13797425"/>
                <a:gd name="connsiteY679" fmla="*/ 17199723 h 17966907"/>
                <a:gd name="connsiteX680" fmla="*/ 11953321 w 13797425"/>
                <a:gd name="connsiteY680" fmla="*/ 17190195 h 17966907"/>
                <a:gd name="connsiteX681" fmla="*/ 11972381 w 13797425"/>
                <a:gd name="connsiteY681" fmla="*/ 17199723 h 17966907"/>
                <a:gd name="connsiteX682" fmla="*/ 11972381 w 13797425"/>
                <a:gd name="connsiteY682" fmla="*/ 17209255 h 17966907"/>
                <a:gd name="connsiteX683" fmla="*/ 11967617 w 13797425"/>
                <a:gd name="connsiteY683" fmla="*/ 17214019 h 17966907"/>
                <a:gd name="connsiteX684" fmla="*/ 11967617 w 13797425"/>
                <a:gd name="connsiteY684" fmla="*/ 17223551 h 17966907"/>
                <a:gd name="connsiteX685" fmla="*/ 11972381 w 13797425"/>
                <a:gd name="connsiteY685" fmla="*/ 17237847 h 17966907"/>
                <a:gd name="connsiteX686" fmla="*/ 11986677 w 13797425"/>
                <a:gd name="connsiteY686" fmla="*/ 17242611 h 17966907"/>
                <a:gd name="connsiteX687" fmla="*/ 12005737 w 13797425"/>
                <a:gd name="connsiteY687" fmla="*/ 17261671 h 17966907"/>
                <a:gd name="connsiteX688" fmla="*/ 11996209 w 13797425"/>
                <a:gd name="connsiteY688" fmla="*/ 17233079 h 17966907"/>
                <a:gd name="connsiteX689" fmla="*/ 12010505 w 13797425"/>
                <a:gd name="connsiteY689" fmla="*/ 17218787 h 17966907"/>
                <a:gd name="connsiteX690" fmla="*/ 12062921 w 13797425"/>
                <a:gd name="connsiteY690" fmla="*/ 17199723 h 17966907"/>
                <a:gd name="connsiteX691" fmla="*/ 12110569 w 13797425"/>
                <a:gd name="connsiteY691" fmla="*/ 17194959 h 17966907"/>
                <a:gd name="connsiteX692" fmla="*/ 12124865 w 13797425"/>
                <a:gd name="connsiteY692" fmla="*/ 17185431 h 17966907"/>
                <a:gd name="connsiteX693" fmla="*/ 12086745 w 13797425"/>
                <a:gd name="connsiteY693" fmla="*/ 17180663 h 17966907"/>
                <a:gd name="connsiteX694" fmla="*/ 12039093 w 13797425"/>
                <a:gd name="connsiteY694" fmla="*/ 17180663 h 17966907"/>
                <a:gd name="connsiteX695" fmla="*/ 12010505 w 13797425"/>
                <a:gd name="connsiteY695" fmla="*/ 17175899 h 17966907"/>
                <a:gd name="connsiteX696" fmla="*/ 11972381 w 13797425"/>
                <a:gd name="connsiteY696" fmla="*/ 17180663 h 17966907"/>
                <a:gd name="connsiteX697" fmla="*/ 11934261 w 13797425"/>
                <a:gd name="connsiteY697" fmla="*/ 17175899 h 17966907"/>
                <a:gd name="connsiteX698" fmla="*/ 11919965 w 13797425"/>
                <a:gd name="connsiteY698" fmla="*/ 17180663 h 17966907"/>
                <a:gd name="connsiteX699" fmla="*/ 11910437 w 13797425"/>
                <a:gd name="connsiteY699" fmla="*/ 17194959 h 17966907"/>
                <a:gd name="connsiteX700" fmla="*/ 11896141 w 13797425"/>
                <a:gd name="connsiteY700" fmla="*/ 17190195 h 17966907"/>
                <a:gd name="connsiteX701" fmla="*/ 11891377 w 13797425"/>
                <a:gd name="connsiteY701" fmla="*/ 17185431 h 17966907"/>
                <a:gd name="connsiteX702" fmla="*/ 11881845 w 13797425"/>
                <a:gd name="connsiteY702" fmla="*/ 17185431 h 17966907"/>
                <a:gd name="connsiteX703" fmla="*/ 11896141 w 13797425"/>
                <a:gd name="connsiteY703" fmla="*/ 17161603 h 17966907"/>
                <a:gd name="connsiteX704" fmla="*/ 11939025 w 13797425"/>
                <a:gd name="connsiteY704" fmla="*/ 17128247 h 17966907"/>
                <a:gd name="connsiteX705" fmla="*/ 11962853 w 13797425"/>
                <a:gd name="connsiteY705" fmla="*/ 17099655 h 17966907"/>
                <a:gd name="connsiteX706" fmla="*/ 11972381 w 13797425"/>
                <a:gd name="connsiteY706" fmla="*/ 17090127 h 17966907"/>
                <a:gd name="connsiteX707" fmla="*/ 11977149 w 13797425"/>
                <a:gd name="connsiteY707" fmla="*/ 17080595 h 17966907"/>
                <a:gd name="connsiteX708" fmla="*/ 11962853 w 13797425"/>
                <a:gd name="connsiteY708" fmla="*/ 17080595 h 17966907"/>
                <a:gd name="connsiteX709" fmla="*/ 11948557 w 13797425"/>
                <a:gd name="connsiteY709" fmla="*/ 17085363 h 17966907"/>
                <a:gd name="connsiteX710" fmla="*/ 11943793 w 13797425"/>
                <a:gd name="connsiteY710" fmla="*/ 17075831 h 17966907"/>
                <a:gd name="connsiteX711" fmla="*/ 11924729 w 13797425"/>
                <a:gd name="connsiteY711" fmla="*/ 17056771 h 17966907"/>
                <a:gd name="connsiteX712" fmla="*/ 11924729 w 13797425"/>
                <a:gd name="connsiteY712" fmla="*/ 17061535 h 17966907"/>
                <a:gd name="connsiteX713" fmla="*/ 11934261 w 13797425"/>
                <a:gd name="connsiteY713" fmla="*/ 17085363 h 17966907"/>
                <a:gd name="connsiteX714" fmla="*/ 11905669 w 13797425"/>
                <a:gd name="connsiteY714" fmla="*/ 17123483 h 17966907"/>
                <a:gd name="connsiteX715" fmla="*/ 11886609 w 13797425"/>
                <a:gd name="connsiteY715" fmla="*/ 17128247 h 17966907"/>
                <a:gd name="connsiteX716" fmla="*/ 11862785 w 13797425"/>
                <a:gd name="connsiteY716" fmla="*/ 17147307 h 17966907"/>
                <a:gd name="connsiteX717" fmla="*/ 11824665 w 13797425"/>
                <a:gd name="connsiteY717" fmla="*/ 17161603 h 17966907"/>
                <a:gd name="connsiteX718" fmla="*/ 11786541 w 13797425"/>
                <a:gd name="connsiteY718" fmla="*/ 17190195 h 17966907"/>
                <a:gd name="connsiteX719" fmla="*/ 11729361 w 13797425"/>
                <a:gd name="connsiteY719" fmla="*/ 17218787 h 17966907"/>
                <a:gd name="connsiteX720" fmla="*/ 11719829 w 13797425"/>
                <a:gd name="connsiteY720" fmla="*/ 17218787 h 17966907"/>
                <a:gd name="connsiteX721" fmla="*/ 11696005 w 13797425"/>
                <a:gd name="connsiteY721" fmla="*/ 17194959 h 17966907"/>
                <a:gd name="connsiteX722" fmla="*/ 11705537 w 13797425"/>
                <a:gd name="connsiteY722" fmla="*/ 17185431 h 17966907"/>
                <a:gd name="connsiteX723" fmla="*/ 11710301 w 13797425"/>
                <a:gd name="connsiteY723" fmla="*/ 17175899 h 17966907"/>
                <a:gd name="connsiteX724" fmla="*/ 11705537 w 13797425"/>
                <a:gd name="connsiteY724" fmla="*/ 17175899 h 17966907"/>
                <a:gd name="connsiteX725" fmla="*/ 11700769 w 13797425"/>
                <a:gd name="connsiteY725" fmla="*/ 17180663 h 17966907"/>
                <a:gd name="connsiteX726" fmla="*/ 11686473 w 13797425"/>
                <a:gd name="connsiteY726" fmla="*/ 17190195 h 17966907"/>
                <a:gd name="connsiteX727" fmla="*/ 11696005 w 13797425"/>
                <a:gd name="connsiteY727" fmla="*/ 17209255 h 17966907"/>
                <a:gd name="connsiteX728" fmla="*/ 11691241 w 13797425"/>
                <a:gd name="connsiteY728" fmla="*/ 17214019 h 17966907"/>
                <a:gd name="connsiteX729" fmla="*/ 11672181 w 13797425"/>
                <a:gd name="connsiteY729" fmla="*/ 17223551 h 17966907"/>
                <a:gd name="connsiteX730" fmla="*/ 11657885 w 13797425"/>
                <a:gd name="connsiteY730" fmla="*/ 17237847 h 17966907"/>
                <a:gd name="connsiteX731" fmla="*/ 11643589 w 13797425"/>
                <a:gd name="connsiteY731" fmla="*/ 17242611 h 17966907"/>
                <a:gd name="connsiteX732" fmla="*/ 11634057 w 13797425"/>
                <a:gd name="connsiteY732" fmla="*/ 17233079 h 17966907"/>
                <a:gd name="connsiteX733" fmla="*/ 11600701 w 13797425"/>
                <a:gd name="connsiteY733" fmla="*/ 17247375 h 17966907"/>
                <a:gd name="connsiteX734" fmla="*/ 11576877 w 13797425"/>
                <a:gd name="connsiteY734" fmla="*/ 17252139 h 17966907"/>
                <a:gd name="connsiteX735" fmla="*/ 11572113 w 13797425"/>
                <a:gd name="connsiteY735" fmla="*/ 17242611 h 17966907"/>
                <a:gd name="connsiteX736" fmla="*/ 11572113 w 13797425"/>
                <a:gd name="connsiteY736" fmla="*/ 17233079 h 17966907"/>
                <a:gd name="connsiteX737" fmla="*/ 11562581 w 13797425"/>
                <a:gd name="connsiteY737" fmla="*/ 17233079 h 17966907"/>
                <a:gd name="connsiteX738" fmla="*/ 11543521 w 13797425"/>
                <a:gd name="connsiteY738" fmla="*/ 17233079 h 17966907"/>
                <a:gd name="connsiteX739" fmla="*/ 11538757 w 13797425"/>
                <a:gd name="connsiteY739" fmla="*/ 17228315 h 17966907"/>
                <a:gd name="connsiteX740" fmla="*/ 11529225 w 13797425"/>
                <a:gd name="connsiteY740" fmla="*/ 17223551 h 17966907"/>
                <a:gd name="connsiteX741" fmla="*/ 11524461 w 13797425"/>
                <a:gd name="connsiteY741" fmla="*/ 17223551 h 17966907"/>
                <a:gd name="connsiteX742" fmla="*/ 11519697 w 13797425"/>
                <a:gd name="connsiteY742" fmla="*/ 17223551 h 17966907"/>
                <a:gd name="connsiteX743" fmla="*/ 11514929 w 13797425"/>
                <a:gd name="connsiteY743" fmla="*/ 17223551 h 17966907"/>
                <a:gd name="connsiteX744" fmla="*/ 11510165 w 13797425"/>
                <a:gd name="connsiteY744" fmla="*/ 17228315 h 17966907"/>
                <a:gd name="connsiteX745" fmla="*/ 11510165 w 13797425"/>
                <a:gd name="connsiteY745" fmla="*/ 17233079 h 17966907"/>
                <a:gd name="connsiteX746" fmla="*/ 11500633 w 13797425"/>
                <a:gd name="connsiteY746" fmla="*/ 17228315 h 17966907"/>
                <a:gd name="connsiteX747" fmla="*/ 11495869 w 13797425"/>
                <a:gd name="connsiteY747" fmla="*/ 17218787 h 17966907"/>
                <a:gd name="connsiteX748" fmla="*/ 11486341 w 13797425"/>
                <a:gd name="connsiteY748" fmla="*/ 17214019 h 17966907"/>
                <a:gd name="connsiteX749" fmla="*/ 11481573 w 13797425"/>
                <a:gd name="connsiteY749" fmla="*/ 17204491 h 17966907"/>
                <a:gd name="connsiteX750" fmla="*/ 11486341 w 13797425"/>
                <a:gd name="connsiteY750" fmla="*/ 17199723 h 17966907"/>
                <a:gd name="connsiteX751" fmla="*/ 11491105 w 13797425"/>
                <a:gd name="connsiteY751" fmla="*/ 17190195 h 17966907"/>
                <a:gd name="connsiteX752" fmla="*/ 11491105 w 13797425"/>
                <a:gd name="connsiteY752" fmla="*/ 17180663 h 17966907"/>
                <a:gd name="connsiteX753" fmla="*/ 11486341 w 13797425"/>
                <a:gd name="connsiteY753" fmla="*/ 17171135 h 17966907"/>
                <a:gd name="connsiteX754" fmla="*/ 11481573 w 13797425"/>
                <a:gd name="connsiteY754" fmla="*/ 17166367 h 17966907"/>
                <a:gd name="connsiteX755" fmla="*/ 11481573 w 13797425"/>
                <a:gd name="connsiteY755" fmla="*/ 17161603 h 17966907"/>
                <a:gd name="connsiteX756" fmla="*/ 11481573 w 13797425"/>
                <a:gd name="connsiteY756" fmla="*/ 17156839 h 17966907"/>
                <a:gd name="connsiteX757" fmla="*/ 11486341 w 13797425"/>
                <a:gd name="connsiteY757" fmla="*/ 17152075 h 17966907"/>
                <a:gd name="connsiteX758" fmla="*/ 11491105 w 13797425"/>
                <a:gd name="connsiteY758" fmla="*/ 17147307 h 17966907"/>
                <a:gd name="connsiteX759" fmla="*/ 11491105 w 13797425"/>
                <a:gd name="connsiteY759" fmla="*/ 17142543 h 17966907"/>
                <a:gd name="connsiteX760" fmla="*/ 11491105 w 13797425"/>
                <a:gd name="connsiteY760" fmla="*/ 17133011 h 17966907"/>
                <a:gd name="connsiteX761" fmla="*/ 11486341 w 13797425"/>
                <a:gd name="connsiteY761" fmla="*/ 17133011 h 17966907"/>
                <a:gd name="connsiteX762" fmla="*/ 11486341 w 13797425"/>
                <a:gd name="connsiteY762" fmla="*/ 17123483 h 17966907"/>
                <a:gd name="connsiteX763" fmla="*/ 11481573 w 13797425"/>
                <a:gd name="connsiteY763" fmla="*/ 17113951 h 17966907"/>
                <a:gd name="connsiteX764" fmla="*/ 11472045 w 13797425"/>
                <a:gd name="connsiteY764" fmla="*/ 17123483 h 17966907"/>
                <a:gd name="connsiteX765" fmla="*/ 11462513 w 13797425"/>
                <a:gd name="connsiteY765" fmla="*/ 17123483 h 17966907"/>
                <a:gd name="connsiteX766" fmla="*/ 11448217 w 13797425"/>
                <a:gd name="connsiteY766" fmla="*/ 17113951 h 17966907"/>
                <a:gd name="connsiteX767" fmla="*/ 11433921 w 13797425"/>
                <a:gd name="connsiteY767" fmla="*/ 17099655 h 17966907"/>
                <a:gd name="connsiteX768" fmla="*/ 11433921 w 13797425"/>
                <a:gd name="connsiteY768" fmla="*/ 17094891 h 17966907"/>
                <a:gd name="connsiteX769" fmla="*/ 11433921 w 13797425"/>
                <a:gd name="connsiteY769" fmla="*/ 17090127 h 17966907"/>
                <a:gd name="connsiteX770" fmla="*/ 11433921 w 13797425"/>
                <a:gd name="connsiteY770" fmla="*/ 17085363 h 17966907"/>
                <a:gd name="connsiteX771" fmla="*/ 11438689 w 13797425"/>
                <a:gd name="connsiteY771" fmla="*/ 17080595 h 17966907"/>
                <a:gd name="connsiteX772" fmla="*/ 11433921 w 13797425"/>
                <a:gd name="connsiteY772" fmla="*/ 17075831 h 17966907"/>
                <a:gd name="connsiteX773" fmla="*/ 11433921 w 13797425"/>
                <a:gd name="connsiteY773" fmla="*/ 17071067 h 17966907"/>
                <a:gd name="connsiteX774" fmla="*/ 11433921 w 13797425"/>
                <a:gd name="connsiteY774" fmla="*/ 17066299 h 17966907"/>
                <a:gd name="connsiteX775" fmla="*/ 11438689 w 13797425"/>
                <a:gd name="connsiteY775" fmla="*/ 17061535 h 17966907"/>
                <a:gd name="connsiteX776" fmla="*/ 11433921 w 13797425"/>
                <a:gd name="connsiteY776" fmla="*/ 17052007 h 17966907"/>
                <a:gd name="connsiteX777" fmla="*/ 11433921 w 13797425"/>
                <a:gd name="connsiteY777" fmla="*/ 17032947 h 17966907"/>
                <a:gd name="connsiteX778" fmla="*/ 11433921 w 13797425"/>
                <a:gd name="connsiteY778" fmla="*/ 16994823 h 17966907"/>
                <a:gd name="connsiteX779" fmla="*/ 11433921 w 13797425"/>
                <a:gd name="connsiteY779" fmla="*/ 16966235 h 17966907"/>
                <a:gd name="connsiteX780" fmla="*/ 11433921 w 13797425"/>
                <a:gd name="connsiteY780" fmla="*/ 16932879 h 17966907"/>
                <a:gd name="connsiteX781" fmla="*/ 11433921 w 13797425"/>
                <a:gd name="connsiteY781" fmla="*/ 16904287 h 17966907"/>
                <a:gd name="connsiteX782" fmla="*/ 11433921 w 13797425"/>
                <a:gd name="connsiteY782" fmla="*/ 16866167 h 17966907"/>
                <a:gd name="connsiteX783" fmla="*/ 11433921 w 13797425"/>
                <a:gd name="connsiteY783" fmla="*/ 16832811 h 17966907"/>
                <a:gd name="connsiteX784" fmla="*/ 11429157 w 13797425"/>
                <a:gd name="connsiteY784" fmla="*/ 16799455 h 17966907"/>
                <a:gd name="connsiteX785" fmla="*/ 11410097 w 13797425"/>
                <a:gd name="connsiteY785" fmla="*/ 16780395 h 17966907"/>
                <a:gd name="connsiteX786" fmla="*/ 11386273 w 13797425"/>
                <a:gd name="connsiteY786" fmla="*/ 16751803 h 17966907"/>
                <a:gd name="connsiteX787" fmla="*/ 11362445 w 13797425"/>
                <a:gd name="connsiteY787" fmla="*/ 16737507 h 17966907"/>
                <a:gd name="connsiteX788" fmla="*/ 11352917 w 13797425"/>
                <a:gd name="connsiteY788" fmla="*/ 16732743 h 17966907"/>
                <a:gd name="connsiteX789" fmla="*/ 11343385 w 13797425"/>
                <a:gd name="connsiteY789" fmla="*/ 16737507 h 17966907"/>
                <a:gd name="connsiteX790" fmla="*/ 11343385 w 13797425"/>
                <a:gd name="connsiteY790" fmla="*/ 16742271 h 17966907"/>
                <a:gd name="connsiteX791" fmla="*/ 11324325 w 13797425"/>
                <a:gd name="connsiteY791" fmla="*/ 16751803 h 17966907"/>
                <a:gd name="connsiteX792" fmla="*/ 11295733 w 13797425"/>
                <a:gd name="connsiteY792" fmla="*/ 16756567 h 17966907"/>
                <a:gd name="connsiteX793" fmla="*/ 11271909 w 13797425"/>
                <a:gd name="connsiteY793" fmla="*/ 16770863 h 17966907"/>
                <a:gd name="connsiteX794" fmla="*/ 11262377 w 13797425"/>
                <a:gd name="connsiteY794" fmla="*/ 16770863 h 17966907"/>
                <a:gd name="connsiteX795" fmla="*/ 11252849 w 13797425"/>
                <a:gd name="connsiteY795" fmla="*/ 16766099 h 17966907"/>
                <a:gd name="connsiteX796" fmla="*/ 11243317 w 13797425"/>
                <a:gd name="connsiteY796" fmla="*/ 16761331 h 17966907"/>
                <a:gd name="connsiteX797" fmla="*/ 11238553 w 13797425"/>
                <a:gd name="connsiteY797" fmla="*/ 16751803 h 17966907"/>
                <a:gd name="connsiteX798" fmla="*/ 11233789 w 13797425"/>
                <a:gd name="connsiteY798" fmla="*/ 16737507 h 17966907"/>
                <a:gd name="connsiteX799" fmla="*/ 11238553 w 13797425"/>
                <a:gd name="connsiteY799" fmla="*/ 16718447 h 17966907"/>
                <a:gd name="connsiteX800" fmla="*/ 11224257 w 13797425"/>
                <a:gd name="connsiteY800" fmla="*/ 16713683 h 17966907"/>
                <a:gd name="connsiteX801" fmla="*/ 11205197 w 13797425"/>
                <a:gd name="connsiteY801" fmla="*/ 16708915 h 17966907"/>
                <a:gd name="connsiteX802" fmla="*/ 11195665 w 13797425"/>
                <a:gd name="connsiteY802" fmla="*/ 16723211 h 17966907"/>
                <a:gd name="connsiteX803" fmla="*/ 11190901 w 13797425"/>
                <a:gd name="connsiteY803" fmla="*/ 16737507 h 17966907"/>
                <a:gd name="connsiteX804" fmla="*/ 11171841 w 13797425"/>
                <a:gd name="connsiteY804" fmla="*/ 16761331 h 17966907"/>
                <a:gd name="connsiteX805" fmla="*/ 11148017 w 13797425"/>
                <a:gd name="connsiteY805" fmla="*/ 16799455 h 17966907"/>
                <a:gd name="connsiteX806" fmla="*/ 11133721 w 13797425"/>
                <a:gd name="connsiteY806" fmla="*/ 16818515 h 17966907"/>
                <a:gd name="connsiteX807" fmla="*/ 11109893 w 13797425"/>
                <a:gd name="connsiteY807" fmla="*/ 16851871 h 17966907"/>
                <a:gd name="connsiteX808" fmla="*/ 11086069 w 13797425"/>
                <a:gd name="connsiteY808" fmla="*/ 16885227 h 17966907"/>
                <a:gd name="connsiteX809" fmla="*/ 11081305 w 13797425"/>
                <a:gd name="connsiteY809" fmla="*/ 16913815 h 17966907"/>
                <a:gd name="connsiteX810" fmla="*/ 11076537 w 13797425"/>
                <a:gd name="connsiteY810" fmla="*/ 16942407 h 17966907"/>
                <a:gd name="connsiteX811" fmla="*/ 11062241 w 13797425"/>
                <a:gd name="connsiteY811" fmla="*/ 16966235 h 17966907"/>
                <a:gd name="connsiteX812" fmla="*/ 11047949 w 13797425"/>
                <a:gd name="connsiteY812" fmla="*/ 16985295 h 17966907"/>
                <a:gd name="connsiteX813" fmla="*/ 11043181 w 13797425"/>
                <a:gd name="connsiteY813" fmla="*/ 17009119 h 17966907"/>
                <a:gd name="connsiteX814" fmla="*/ 11043181 w 13797425"/>
                <a:gd name="connsiteY814" fmla="*/ 17028179 h 17966907"/>
                <a:gd name="connsiteX815" fmla="*/ 11043181 w 13797425"/>
                <a:gd name="connsiteY815" fmla="*/ 17047239 h 17966907"/>
                <a:gd name="connsiteX816" fmla="*/ 11043181 w 13797425"/>
                <a:gd name="connsiteY816" fmla="*/ 17056771 h 17966907"/>
                <a:gd name="connsiteX817" fmla="*/ 11043181 w 13797425"/>
                <a:gd name="connsiteY817" fmla="*/ 17066299 h 17966907"/>
                <a:gd name="connsiteX818" fmla="*/ 11038417 w 13797425"/>
                <a:gd name="connsiteY818" fmla="*/ 17071067 h 17966907"/>
                <a:gd name="connsiteX819" fmla="*/ 11024121 w 13797425"/>
                <a:gd name="connsiteY819" fmla="*/ 17085363 h 17966907"/>
                <a:gd name="connsiteX820" fmla="*/ 11024121 w 13797425"/>
                <a:gd name="connsiteY820" fmla="*/ 17104423 h 17966907"/>
                <a:gd name="connsiteX821" fmla="*/ 11014593 w 13797425"/>
                <a:gd name="connsiteY821" fmla="*/ 17109187 h 17966907"/>
                <a:gd name="connsiteX822" fmla="*/ 10995533 w 13797425"/>
                <a:gd name="connsiteY822" fmla="*/ 17123483 h 17966907"/>
                <a:gd name="connsiteX823" fmla="*/ 10976469 w 13797425"/>
                <a:gd name="connsiteY823" fmla="*/ 17142543 h 17966907"/>
                <a:gd name="connsiteX824" fmla="*/ 10976469 w 13797425"/>
                <a:gd name="connsiteY824" fmla="*/ 17156839 h 17966907"/>
                <a:gd name="connsiteX825" fmla="*/ 10981237 w 13797425"/>
                <a:gd name="connsiteY825" fmla="*/ 17166367 h 17966907"/>
                <a:gd name="connsiteX826" fmla="*/ 10981237 w 13797425"/>
                <a:gd name="connsiteY826" fmla="*/ 17171135 h 17966907"/>
                <a:gd name="connsiteX827" fmla="*/ 10976469 w 13797425"/>
                <a:gd name="connsiteY827" fmla="*/ 17175899 h 17966907"/>
                <a:gd name="connsiteX828" fmla="*/ 10971705 w 13797425"/>
                <a:gd name="connsiteY828" fmla="*/ 17175899 h 17966907"/>
                <a:gd name="connsiteX829" fmla="*/ 10962177 w 13797425"/>
                <a:gd name="connsiteY829" fmla="*/ 17175899 h 17966907"/>
                <a:gd name="connsiteX830" fmla="*/ 10957409 w 13797425"/>
                <a:gd name="connsiteY830" fmla="*/ 17185431 h 17966907"/>
                <a:gd name="connsiteX831" fmla="*/ 10957409 w 13797425"/>
                <a:gd name="connsiteY831" fmla="*/ 17199723 h 17966907"/>
                <a:gd name="connsiteX832" fmla="*/ 10952645 w 13797425"/>
                <a:gd name="connsiteY832" fmla="*/ 17204491 h 17966907"/>
                <a:gd name="connsiteX833" fmla="*/ 10947881 w 13797425"/>
                <a:gd name="connsiteY833" fmla="*/ 17209255 h 17966907"/>
                <a:gd name="connsiteX834" fmla="*/ 10943113 w 13797425"/>
                <a:gd name="connsiteY834" fmla="*/ 17199723 h 17966907"/>
                <a:gd name="connsiteX835" fmla="*/ 10938349 w 13797425"/>
                <a:gd name="connsiteY835" fmla="*/ 17194959 h 17966907"/>
                <a:gd name="connsiteX836" fmla="*/ 10933585 w 13797425"/>
                <a:gd name="connsiteY836" fmla="*/ 17190195 h 17966907"/>
                <a:gd name="connsiteX837" fmla="*/ 10924053 w 13797425"/>
                <a:gd name="connsiteY837" fmla="*/ 17199723 h 17966907"/>
                <a:gd name="connsiteX838" fmla="*/ 10909757 w 13797425"/>
                <a:gd name="connsiteY838" fmla="*/ 17209255 h 17966907"/>
                <a:gd name="connsiteX839" fmla="*/ 10900229 w 13797425"/>
                <a:gd name="connsiteY839" fmla="*/ 17209255 h 17966907"/>
                <a:gd name="connsiteX840" fmla="*/ 10881169 w 13797425"/>
                <a:gd name="connsiteY840" fmla="*/ 17199723 h 17966907"/>
                <a:gd name="connsiteX841" fmla="*/ 10866873 w 13797425"/>
                <a:gd name="connsiteY841" fmla="*/ 17223551 h 17966907"/>
                <a:gd name="connsiteX842" fmla="*/ 10852577 w 13797425"/>
                <a:gd name="connsiteY842" fmla="*/ 17266435 h 17966907"/>
                <a:gd name="connsiteX843" fmla="*/ 10657209 w 13797425"/>
                <a:gd name="connsiteY843" fmla="*/ 17266435 h 17966907"/>
                <a:gd name="connsiteX844" fmla="*/ 10590497 w 13797425"/>
                <a:gd name="connsiteY844" fmla="*/ 17266435 h 17966907"/>
                <a:gd name="connsiteX845" fmla="*/ 10352241 w 13797425"/>
                <a:gd name="connsiteY845" fmla="*/ 17266435 h 17966907"/>
                <a:gd name="connsiteX846" fmla="*/ 10376065 w 13797425"/>
                <a:gd name="connsiteY846" fmla="*/ 17256907 h 17966907"/>
                <a:gd name="connsiteX847" fmla="*/ 10423717 w 13797425"/>
                <a:gd name="connsiteY847" fmla="*/ 17223551 h 17966907"/>
                <a:gd name="connsiteX848" fmla="*/ 10457073 w 13797425"/>
                <a:gd name="connsiteY848" fmla="*/ 17214019 h 17966907"/>
                <a:gd name="connsiteX849" fmla="*/ 10499957 w 13797425"/>
                <a:gd name="connsiteY849" fmla="*/ 17180663 h 17966907"/>
                <a:gd name="connsiteX850" fmla="*/ 10533313 w 13797425"/>
                <a:gd name="connsiteY850" fmla="*/ 17171135 h 17966907"/>
                <a:gd name="connsiteX851" fmla="*/ 10538077 w 13797425"/>
                <a:gd name="connsiteY851" fmla="*/ 17166367 h 17966907"/>
                <a:gd name="connsiteX852" fmla="*/ 10542845 w 13797425"/>
                <a:gd name="connsiteY852" fmla="*/ 17137779 h 17966907"/>
                <a:gd name="connsiteX853" fmla="*/ 10547609 w 13797425"/>
                <a:gd name="connsiteY853" fmla="*/ 17123483 h 17966907"/>
                <a:gd name="connsiteX854" fmla="*/ 10561905 w 13797425"/>
                <a:gd name="connsiteY854" fmla="*/ 17099655 h 17966907"/>
                <a:gd name="connsiteX855" fmla="*/ 10580965 w 13797425"/>
                <a:gd name="connsiteY855" fmla="*/ 17075831 h 17966907"/>
                <a:gd name="connsiteX856" fmla="*/ 10595261 w 13797425"/>
                <a:gd name="connsiteY856" fmla="*/ 17042475 h 17966907"/>
                <a:gd name="connsiteX857" fmla="*/ 10619085 w 13797425"/>
                <a:gd name="connsiteY857" fmla="*/ 17018651 h 17966907"/>
                <a:gd name="connsiteX858" fmla="*/ 10661973 w 13797425"/>
                <a:gd name="connsiteY858" fmla="*/ 17004355 h 17966907"/>
                <a:gd name="connsiteX859" fmla="*/ 10700093 w 13797425"/>
                <a:gd name="connsiteY859" fmla="*/ 16966235 h 17966907"/>
                <a:gd name="connsiteX860" fmla="*/ 10719153 w 13797425"/>
                <a:gd name="connsiteY860" fmla="*/ 16951939 h 17966907"/>
                <a:gd name="connsiteX861" fmla="*/ 10738213 w 13797425"/>
                <a:gd name="connsiteY861" fmla="*/ 16942407 h 17966907"/>
                <a:gd name="connsiteX862" fmla="*/ 10747745 w 13797425"/>
                <a:gd name="connsiteY862" fmla="*/ 16928111 h 17966907"/>
                <a:gd name="connsiteX863" fmla="*/ 10757273 w 13797425"/>
                <a:gd name="connsiteY863" fmla="*/ 16918583 h 17966907"/>
                <a:gd name="connsiteX864" fmla="*/ 10790629 w 13797425"/>
                <a:gd name="connsiteY864" fmla="*/ 16899523 h 17966907"/>
                <a:gd name="connsiteX865" fmla="*/ 10828753 w 13797425"/>
                <a:gd name="connsiteY865" fmla="*/ 16894755 h 17966907"/>
                <a:gd name="connsiteX866" fmla="*/ 10862109 w 13797425"/>
                <a:gd name="connsiteY866" fmla="*/ 16880459 h 17966907"/>
                <a:gd name="connsiteX867" fmla="*/ 10890697 w 13797425"/>
                <a:gd name="connsiteY867" fmla="*/ 16870931 h 17966907"/>
                <a:gd name="connsiteX868" fmla="*/ 10909757 w 13797425"/>
                <a:gd name="connsiteY868" fmla="*/ 16856635 h 17966907"/>
                <a:gd name="connsiteX869" fmla="*/ 10933585 w 13797425"/>
                <a:gd name="connsiteY869" fmla="*/ 16851871 h 17966907"/>
                <a:gd name="connsiteX870" fmla="*/ 11009825 w 13797425"/>
                <a:gd name="connsiteY870" fmla="*/ 16808983 h 17966907"/>
                <a:gd name="connsiteX871" fmla="*/ 11028889 w 13797425"/>
                <a:gd name="connsiteY871" fmla="*/ 16789923 h 17966907"/>
                <a:gd name="connsiteX872" fmla="*/ 11052713 w 13797425"/>
                <a:gd name="connsiteY872" fmla="*/ 16751803 h 17966907"/>
                <a:gd name="connsiteX873" fmla="*/ 11076537 w 13797425"/>
                <a:gd name="connsiteY873" fmla="*/ 16727975 h 17966907"/>
                <a:gd name="connsiteX874" fmla="*/ 11086069 w 13797425"/>
                <a:gd name="connsiteY874" fmla="*/ 16708915 h 17966907"/>
                <a:gd name="connsiteX875" fmla="*/ 11119425 w 13797425"/>
                <a:gd name="connsiteY875" fmla="*/ 16670795 h 17966907"/>
                <a:gd name="connsiteX876" fmla="*/ 11152781 w 13797425"/>
                <a:gd name="connsiteY876" fmla="*/ 16627911 h 17966907"/>
                <a:gd name="connsiteX877" fmla="*/ 11171841 w 13797425"/>
                <a:gd name="connsiteY877" fmla="*/ 16594555 h 17966907"/>
                <a:gd name="connsiteX878" fmla="*/ 11195665 w 13797425"/>
                <a:gd name="connsiteY878" fmla="*/ 16575491 h 17966907"/>
                <a:gd name="connsiteX879" fmla="*/ 11248081 w 13797425"/>
                <a:gd name="connsiteY879" fmla="*/ 16523075 h 17966907"/>
                <a:gd name="connsiteX880" fmla="*/ 11271909 w 13797425"/>
                <a:gd name="connsiteY880" fmla="*/ 16499251 h 17966907"/>
                <a:gd name="connsiteX881" fmla="*/ 11286205 w 13797425"/>
                <a:gd name="connsiteY881" fmla="*/ 16499251 h 17966907"/>
                <a:gd name="connsiteX882" fmla="*/ 11314793 w 13797425"/>
                <a:gd name="connsiteY882" fmla="*/ 16480191 h 17966907"/>
                <a:gd name="connsiteX883" fmla="*/ 11333857 w 13797425"/>
                <a:gd name="connsiteY883" fmla="*/ 16456363 h 17966907"/>
                <a:gd name="connsiteX884" fmla="*/ 11362445 w 13797425"/>
                <a:gd name="connsiteY884" fmla="*/ 16437303 h 17966907"/>
                <a:gd name="connsiteX885" fmla="*/ 11419629 w 13797425"/>
                <a:gd name="connsiteY885" fmla="*/ 16413479 h 17966907"/>
                <a:gd name="connsiteX886" fmla="*/ 11472045 w 13797425"/>
                <a:gd name="connsiteY886" fmla="*/ 16384887 h 17966907"/>
                <a:gd name="connsiteX887" fmla="*/ 11538757 w 13797425"/>
                <a:gd name="connsiteY887" fmla="*/ 16356295 h 17966907"/>
                <a:gd name="connsiteX888" fmla="*/ 11619761 w 13797425"/>
                <a:gd name="connsiteY888" fmla="*/ 16318175 h 17966907"/>
                <a:gd name="connsiteX889" fmla="*/ 11686473 w 13797425"/>
                <a:gd name="connsiteY889" fmla="*/ 16299115 h 17966907"/>
                <a:gd name="connsiteX890" fmla="*/ 11729361 w 13797425"/>
                <a:gd name="connsiteY890" fmla="*/ 16294351 h 17966907"/>
                <a:gd name="connsiteX891" fmla="*/ 2311086 w 13797425"/>
                <a:gd name="connsiteY891" fmla="*/ 16260995 h 17966907"/>
                <a:gd name="connsiteX892" fmla="*/ 2325382 w 13797425"/>
                <a:gd name="connsiteY892" fmla="*/ 16260995 h 17966907"/>
                <a:gd name="connsiteX893" fmla="*/ 2330147 w 13797425"/>
                <a:gd name="connsiteY893" fmla="*/ 16265759 h 17966907"/>
                <a:gd name="connsiteX894" fmla="*/ 2334912 w 13797425"/>
                <a:gd name="connsiteY894" fmla="*/ 16284819 h 17966907"/>
                <a:gd name="connsiteX895" fmla="*/ 2315851 w 13797425"/>
                <a:gd name="connsiteY895" fmla="*/ 16284819 h 17966907"/>
                <a:gd name="connsiteX896" fmla="*/ 2306321 w 13797425"/>
                <a:gd name="connsiteY896" fmla="*/ 16280055 h 17966907"/>
                <a:gd name="connsiteX897" fmla="*/ 2306321 w 13797425"/>
                <a:gd name="connsiteY897" fmla="*/ 16270523 h 17966907"/>
                <a:gd name="connsiteX898" fmla="*/ 13492457 w 13797425"/>
                <a:gd name="connsiteY898" fmla="*/ 16199047 h 17966907"/>
                <a:gd name="connsiteX899" fmla="*/ 13501989 w 13797425"/>
                <a:gd name="connsiteY899" fmla="*/ 16199047 h 17966907"/>
                <a:gd name="connsiteX900" fmla="*/ 13501989 w 13797425"/>
                <a:gd name="connsiteY900" fmla="*/ 16208579 h 17966907"/>
                <a:gd name="connsiteX901" fmla="*/ 13478161 w 13797425"/>
                <a:gd name="connsiteY901" fmla="*/ 16222875 h 17966907"/>
                <a:gd name="connsiteX902" fmla="*/ 13473397 w 13797425"/>
                <a:gd name="connsiteY902" fmla="*/ 16227639 h 17966907"/>
                <a:gd name="connsiteX903" fmla="*/ 13463869 w 13797425"/>
                <a:gd name="connsiteY903" fmla="*/ 16232403 h 17966907"/>
                <a:gd name="connsiteX904" fmla="*/ 13459101 w 13797425"/>
                <a:gd name="connsiteY904" fmla="*/ 16227639 h 17966907"/>
                <a:gd name="connsiteX905" fmla="*/ 13454337 w 13797425"/>
                <a:gd name="connsiteY905" fmla="*/ 16213343 h 17966907"/>
                <a:gd name="connsiteX906" fmla="*/ 13454337 w 13797425"/>
                <a:gd name="connsiteY906" fmla="*/ 16208579 h 17966907"/>
                <a:gd name="connsiteX907" fmla="*/ 13459101 w 13797425"/>
                <a:gd name="connsiteY907" fmla="*/ 16203815 h 17966907"/>
                <a:gd name="connsiteX908" fmla="*/ 13463869 w 13797425"/>
                <a:gd name="connsiteY908" fmla="*/ 16208579 h 17966907"/>
                <a:gd name="connsiteX909" fmla="*/ 13463869 w 13797425"/>
                <a:gd name="connsiteY909" fmla="*/ 16213343 h 17966907"/>
                <a:gd name="connsiteX910" fmla="*/ 13468633 w 13797425"/>
                <a:gd name="connsiteY910" fmla="*/ 16213343 h 17966907"/>
                <a:gd name="connsiteX911" fmla="*/ 13473397 w 13797425"/>
                <a:gd name="connsiteY911" fmla="*/ 16213343 h 17966907"/>
                <a:gd name="connsiteX912" fmla="*/ 13568701 w 13797425"/>
                <a:gd name="connsiteY912" fmla="*/ 16170455 h 17966907"/>
                <a:gd name="connsiteX913" fmla="*/ 13573465 w 13797425"/>
                <a:gd name="connsiteY913" fmla="*/ 16170455 h 17966907"/>
                <a:gd name="connsiteX914" fmla="*/ 13582993 w 13797425"/>
                <a:gd name="connsiteY914" fmla="*/ 16184751 h 17966907"/>
                <a:gd name="connsiteX915" fmla="*/ 13592525 w 13797425"/>
                <a:gd name="connsiteY915" fmla="*/ 16189519 h 17966907"/>
                <a:gd name="connsiteX916" fmla="*/ 13549641 w 13797425"/>
                <a:gd name="connsiteY916" fmla="*/ 16208579 h 17966907"/>
                <a:gd name="connsiteX917" fmla="*/ 13544873 w 13797425"/>
                <a:gd name="connsiteY917" fmla="*/ 16208579 h 17966907"/>
                <a:gd name="connsiteX918" fmla="*/ 13540109 w 13797425"/>
                <a:gd name="connsiteY918" fmla="*/ 16189519 h 17966907"/>
                <a:gd name="connsiteX919" fmla="*/ 13544873 w 13797425"/>
                <a:gd name="connsiteY919" fmla="*/ 16179987 h 17966907"/>
                <a:gd name="connsiteX920" fmla="*/ 13549641 w 13797425"/>
                <a:gd name="connsiteY920" fmla="*/ 16175223 h 17966907"/>
                <a:gd name="connsiteX921" fmla="*/ 13554405 w 13797425"/>
                <a:gd name="connsiteY921" fmla="*/ 16184751 h 17966907"/>
                <a:gd name="connsiteX922" fmla="*/ 2554107 w 13797425"/>
                <a:gd name="connsiteY922" fmla="*/ 16165691 h 17966907"/>
                <a:gd name="connsiteX923" fmla="*/ 2558872 w 13797425"/>
                <a:gd name="connsiteY923" fmla="*/ 16165691 h 17966907"/>
                <a:gd name="connsiteX924" fmla="*/ 2573167 w 13797425"/>
                <a:gd name="connsiteY924" fmla="*/ 16165691 h 17966907"/>
                <a:gd name="connsiteX925" fmla="*/ 2592228 w 13797425"/>
                <a:gd name="connsiteY925" fmla="*/ 16175219 h 17966907"/>
                <a:gd name="connsiteX926" fmla="*/ 2606523 w 13797425"/>
                <a:gd name="connsiteY926" fmla="*/ 16189515 h 17966907"/>
                <a:gd name="connsiteX927" fmla="*/ 2630349 w 13797425"/>
                <a:gd name="connsiteY927" fmla="*/ 16222871 h 17966907"/>
                <a:gd name="connsiteX928" fmla="*/ 2635114 w 13797425"/>
                <a:gd name="connsiteY928" fmla="*/ 16227639 h 17966907"/>
                <a:gd name="connsiteX929" fmla="*/ 2601758 w 13797425"/>
                <a:gd name="connsiteY929" fmla="*/ 16208575 h 17966907"/>
                <a:gd name="connsiteX930" fmla="*/ 2582698 w 13797425"/>
                <a:gd name="connsiteY930" fmla="*/ 16199047 h 17966907"/>
                <a:gd name="connsiteX931" fmla="*/ 2577933 w 13797425"/>
                <a:gd name="connsiteY931" fmla="*/ 16189515 h 17966907"/>
                <a:gd name="connsiteX932" fmla="*/ 2577933 w 13797425"/>
                <a:gd name="connsiteY932" fmla="*/ 16184751 h 17966907"/>
                <a:gd name="connsiteX933" fmla="*/ 2558872 w 13797425"/>
                <a:gd name="connsiteY933" fmla="*/ 16175219 h 17966907"/>
                <a:gd name="connsiteX934" fmla="*/ 2215783 w 13797425"/>
                <a:gd name="connsiteY934" fmla="*/ 16141863 h 17966907"/>
                <a:gd name="connsiteX935" fmla="*/ 2230079 w 13797425"/>
                <a:gd name="connsiteY935" fmla="*/ 16146631 h 17966907"/>
                <a:gd name="connsiteX936" fmla="*/ 2234844 w 13797425"/>
                <a:gd name="connsiteY936" fmla="*/ 16156159 h 17966907"/>
                <a:gd name="connsiteX937" fmla="*/ 2244374 w 13797425"/>
                <a:gd name="connsiteY937" fmla="*/ 16170455 h 17966907"/>
                <a:gd name="connsiteX938" fmla="*/ 2244374 w 13797425"/>
                <a:gd name="connsiteY938" fmla="*/ 16189515 h 17966907"/>
                <a:gd name="connsiteX939" fmla="*/ 2244374 w 13797425"/>
                <a:gd name="connsiteY939" fmla="*/ 16199047 h 17966907"/>
                <a:gd name="connsiteX940" fmla="*/ 2244374 w 13797425"/>
                <a:gd name="connsiteY940" fmla="*/ 16203811 h 17966907"/>
                <a:gd name="connsiteX941" fmla="*/ 2239609 w 13797425"/>
                <a:gd name="connsiteY941" fmla="*/ 16203811 h 17966907"/>
                <a:gd name="connsiteX942" fmla="*/ 2230079 w 13797425"/>
                <a:gd name="connsiteY942" fmla="*/ 16203811 h 17966907"/>
                <a:gd name="connsiteX943" fmla="*/ 2215783 w 13797425"/>
                <a:gd name="connsiteY943" fmla="*/ 16194279 h 17966907"/>
                <a:gd name="connsiteX944" fmla="*/ 2196723 w 13797425"/>
                <a:gd name="connsiteY944" fmla="*/ 16175219 h 17966907"/>
                <a:gd name="connsiteX945" fmla="*/ 2196723 w 13797425"/>
                <a:gd name="connsiteY945" fmla="*/ 16170455 h 17966907"/>
                <a:gd name="connsiteX946" fmla="*/ 2201488 w 13797425"/>
                <a:gd name="connsiteY946" fmla="*/ 16165691 h 17966907"/>
                <a:gd name="connsiteX947" fmla="*/ 2206253 w 13797425"/>
                <a:gd name="connsiteY947" fmla="*/ 16160923 h 17966907"/>
                <a:gd name="connsiteX948" fmla="*/ 2201488 w 13797425"/>
                <a:gd name="connsiteY948" fmla="*/ 16146631 h 17966907"/>
                <a:gd name="connsiteX949" fmla="*/ 11986677 w 13797425"/>
                <a:gd name="connsiteY949" fmla="*/ 16122807 h 17966907"/>
                <a:gd name="connsiteX950" fmla="*/ 12005737 w 13797425"/>
                <a:gd name="connsiteY950" fmla="*/ 16122807 h 17966907"/>
                <a:gd name="connsiteX951" fmla="*/ 12062921 w 13797425"/>
                <a:gd name="connsiteY951" fmla="*/ 16141867 h 17966907"/>
                <a:gd name="connsiteX952" fmla="*/ 12134397 w 13797425"/>
                <a:gd name="connsiteY952" fmla="*/ 16156163 h 17966907"/>
                <a:gd name="connsiteX953" fmla="*/ 12167753 w 13797425"/>
                <a:gd name="connsiteY953" fmla="*/ 16165691 h 17966907"/>
                <a:gd name="connsiteX954" fmla="*/ 12205873 w 13797425"/>
                <a:gd name="connsiteY954" fmla="*/ 16179987 h 17966907"/>
                <a:gd name="connsiteX955" fmla="*/ 12239229 w 13797425"/>
                <a:gd name="connsiteY955" fmla="*/ 16199047 h 17966907"/>
                <a:gd name="connsiteX956" fmla="*/ 12315473 w 13797425"/>
                <a:gd name="connsiteY956" fmla="*/ 16251463 h 17966907"/>
                <a:gd name="connsiteX957" fmla="*/ 12329765 w 13797425"/>
                <a:gd name="connsiteY957" fmla="*/ 16256231 h 17966907"/>
                <a:gd name="connsiteX958" fmla="*/ 12367889 w 13797425"/>
                <a:gd name="connsiteY958" fmla="*/ 16280055 h 17966907"/>
                <a:gd name="connsiteX959" fmla="*/ 12377417 w 13797425"/>
                <a:gd name="connsiteY959" fmla="*/ 16299115 h 17966907"/>
                <a:gd name="connsiteX960" fmla="*/ 12386949 w 13797425"/>
                <a:gd name="connsiteY960" fmla="*/ 16318175 h 17966907"/>
                <a:gd name="connsiteX961" fmla="*/ 12377417 w 13797425"/>
                <a:gd name="connsiteY961" fmla="*/ 16322943 h 17966907"/>
                <a:gd name="connsiteX962" fmla="*/ 12367889 w 13797425"/>
                <a:gd name="connsiteY962" fmla="*/ 16327707 h 17966907"/>
                <a:gd name="connsiteX963" fmla="*/ 12305941 w 13797425"/>
                <a:gd name="connsiteY963" fmla="*/ 16332471 h 17966907"/>
                <a:gd name="connsiteX964" fmla="*/ 12253525 w 13797425"/>
                <a:gd name="connsiteY964" fmla="*/ 16318175 h 17966907"/>
                <a:gd name="connsiteX965" fmla="*/ 12215405 w 13797425"/>
                <a:gd name="connsiteY965" fmla="*/ 16308647 h 17966907"/>
                <a:gd name="connsiteX966" fmla="*/ 12177281 w 13797425"/>
                <a:gd name="connsiteY966" fmla="*/ 16294351 h 17966907"/>
                <a:gd name="connsiteX967" fmla="*/ 12096277 w 13797425"/>
                <a:gd name="connsiteY967" fmla="*/ 16256231 h 17966907"/>
                <a:gd name="connsiteX968" fmla="*/ 12081981 w 13797425"/>
                <a:gd name="connsiteY968" fmla="*/ 16241935 h 17966907"/>
                <a:gd name="connsiteX969" fmla="*/ 12077213 w 13797425"/>
                <a:gd name="connsiteY969" fmla="*/ 16222875 h 17966907"/>
                <a:gd name="connsiteX970" fmla="*/ 12062921 w 13797425"/>
                <a:gd name="connsiteY970" fmla="*/ 16203815 h 17966907"/>
                <a:gd name="connsiteX971" fmla="*/ 12043857 w 13797425"/>
                <a:gd name="connsiteY971" fmla="*/ 16189519 h 17966907"/>
                <a:gd name="connsiteX972" fmla="*/ 11958085 w 13797425"/>
                <a:gd name="connsiteY972" fmla="*/ 16151395 h 17966907"/>
                <a:gd name="connsiteX973" fmla="*/ 11948557 w 13797425"/>
                <a:gd name="connsiteY973" fmla="*/ 16137103 h 17966907"/>
                <a:gd name="connsiteX974" fmla="*/ 11967617 w 13797425"/>
                <a:gd name="connsiteY974" fmla="*/ 16127571 h 17966907"/>
                <a:gd name="connsiteX975" fmla="*/ 2501691 w 13797425"/>
                <a:gd name="connsiteY975" fmla="*/ 16056091 h 17966907"/>
                <a:gd name="connsiteX976" fmla="*/ 2511222 w 13797425"/>
                <a:gd name="connsiteY976" fmla="*/ 16070387 h 17966907"/>
                <a:gd name="connsiteX977" fmla="*/ 2515987 w 13797425"/>
                <a:gd name="connsiteY977" fmla="*/ 16075151 h 17966907"/>
                <a:gd name="connsiteX978" fmla="*/ 2515987 w 13797425"/>
                <a:gd name="connsiteY978" fmla="*/ 16089447 h 17966907"/>
                <a:gd name="connsiteX979" fmla="*/ 2501691 w 13797425"/>
                <a:gd name="connsiteY979" fmla="*/ 16103743 h 17966907"/>
                <a:gd name="connsiteX980" fmla="*/ 2496926 w 13797425"/>
                <a:gd name="connsiteY980" fmla="*/ 16075151 h 17966907"/>
                <a:gd name="connsiteX981" fmla="*/ 2501691 w 13797425"/>
                <a:gd name="connsiteY981" fmla="*/ 16065623 h 17966907"/>
                <a:gd name="connsiteX982" fmla="*/ 2501691 w 13797425"/>
                <a:gd name="connsiteY982" fmla="*/ 16060859 h 17966907"/>
                <a:gd name="connsiteX983" fmla="*/ 2454039 w 13797425"/>
                <a:gd name="connsiteY983" fmla="*/ 16008443 h 17966907"/>
                <a:gd name="connsiteX984" fmla="*/ 2458804 w 13797425"/>
                <a:gd name="connsiteY984" fmla="*/ 16008443 h 17966907"/>
                <a:gd name="connsiteX985" fmla="*/ 2468335 w 13797425"/>
                <a:gd name="connsiteY985" fmla="*/ 16013207 h 17966907"/>
                <a:gd name="connsiteX986" fmla="*/ 2477865 w 13797425"/>
                <a:gd name="connsiteY986" fmla="*/ 16027503 h 17966907"/>
                <a:gd name="connsiteX987" fmla="*/ 2482630 w 13797425"/>
                <a:gd name="connsiteY987" fmla="*/ 16032267 h 17966907"/>
                <a:gd name="connsiteX988" fmla="*/ 2487395 w 13797425"/>
                <a:gd name="connsiteY988" fmla="*/ 16041795 h 17966907"/>
                <a:gd name="connsiteX989" fmla="*/ 2487395 w 13797425"/>
                <a:gd name="connsiteY989" fmla="*/ 16056091 h 17966907"/>
                <a:gd name="connsiteX990" fmla="*/ 2482630 w 13797425"/>
                <a:gd name="connsiteY990" fmla="*/ 16070387 h 17966907"/>
                <a:gd name="connsiteX991" fmla="*/ 2473100 w 13797425"/>
                <a:gd name="connsiteY991" fmla="*/ 16084683 h 17966907"/>
                <a:gd name="connsiteX992" fmla="*/ 2468335 w 13797425"/>
                <a:gd name="connsiteY992" fmla="*/ 16098979 h 17966907"/>
                <a:gd name="connsiteX993" fmla="*/ 2458804 w 13797425"/>
                <a:gd name="connsiteY993" fmla="*/ 16079919 h 17966907"/>
                <a:gd name="connsiteX994" fmla="*/ 2444509 w 13797425"/>
                <a:gd name="connsiteY994" fmla="*/ 16032267 h 17966907"/>
                <a:gd name="connsiteX995" fmla="*/ 2444509 w 13797425"/>
                <a:gd name="connsiteY995" fmla="*/ 16022735 h 17966907"/>
                <a:gd name="connsiteX996" fmla="*/ 13349505 w 13797425"/>
                <a:gd name="connsiteY996" fmla="*/ 15913139 h 17966907"/>
                <a:gd name="connsiteX997" fmla="*/ 13359033 w 13797425"/>
                <a:gd name="connsiteY997" fmla="*/ 15913139 h 17966907"/>
                <a:gd name="connsiteX998" fmla="*/ 13359033 w 13797425"/>
                <a:gd name="connsiteY998" fmla="*/ 15917907 h 17966907"/>
                <a:gd name="connsiteX999" fmla="*/ 13354269 w 13797425"/>
                <a:gd name="connsiteY999" fmla="*/ 15927435 h 17966907"/>
                <a:gd name="connsiteX1000" fmla="*/ 13349505 w 13797425"/>
                <a:gd name="connsiteY1000" fmla="*/ 15932199 h 17966907"/>
                <a:gd name="connsiteX1001" fmla="*/ 13339973 w 13797425"/>
                <a:gd name="connsiteY1001" fmla="*/ 15936967 h 17966907"/>
                <a:gd name="connsiteX1002" fmla="*/ 13335209 w 13797425"/>
                <a:gd name="connsiteY1002" fmla="*/ 15932199 h 17966907"/>
                <a:gd name="connsiteX1003" fmla="*/ 13330445 w 13797425"/>
                <a:gd name="connsiteY1003" fmla="*/ 15927435 h 17966907"/>
                <a:gd name="connsiteX1004" fmla="*/ 13335209 w 13797425"/>
                <a:gd name="connsiteY1004" fmla="*/ 15917907 h 17966907"/>
                <a:gd name="connsiteX1005" fmla="*/ 2015648 w 13797425"/>
                <a:gd name="connsiteY1005" fmla="*/ 15898843 h 17966907"/>
                <a:gd name="connsiteX1006" fmla="*/ 2044239 w 13797425"/>
                <a:gd name="connsiteY1006" fmla="*/ 15898843 h 17966907"/>
                <a:gd name="connsiteX1007" fmla="*/ 2077595 w 13797425"/>
                <a:gd name="connsiteY1007" fmla="*/ 15908375 h 17966907"/>
                <a:gd name="connsiteX1008" fmla="*/ 2158602 w 13797425"/>
                <a:gd name="connsiteY1008" fmla="*/ 15951259 h 17966907"/>
                <a:gd name="connsiteX1009" fmla="*/ 2234844 w 13797425"/>
                <a:gd name="connsiteY1009" fmla="*/ 15984615 h 17966907"/>
                <a:gd name="connsiteX1010" fmla="*/ 2311086 w 13797425"/>
                <a:gd name="connsiteY1010" fmla="*/ 15998911 h 17966907"/>
                <a:gd name="connsiteX1011" fmla="*/ 2368267 w 13797425"/>
                <a:gd name="connsiteY1011" fmla="*/ 16017971 h 17966907"/>
                <a:gd name="connsiteX1012" fmla="*/ 2406388 w 13797425"/>
                <a:gd name="connsiteY1012" fmla="*/ 16022735 h 17966907"/>
                <a:gd name="connsiteX1013" fmla="*/ 2415919 w 13797425"/>
                <a:gd name="connsiteY1013" fmla="*/ 16027503 h 17966907"/>
                <a:gd name="connsiteX1014" fmla="*/ 2425449 w 13797425"/>
                <a:gd name="connsiteY1014" fmla="*/ 16032267 h 17966907"/>
                <a:gd name="connsiteX1015" fmla="*/ 2434979 w 13797425"/>
                <a:gd name="connsiteY1015" fmla="*/ 16046563 h 17966907"/>
                <a:gd name="connsiteX1016" fmla="*/ 2449275 w 13797425"/>
                <a:gd name="connsiteY1016" fmla="*/ 16084683 h 17966907"/>
                <a:gd name="connsiteX1017" fmla="*/ 2463570 w 13797425"/>
                <a:gd name="connsiteY1017" fmla="*/ 16103743 h 17966907"/>
                <a:gd name="connsiteX1018" fmla="*/ 2492161 w 13797425"/>
                <a:gd name="connsiteY1018" fmla="*/ 16146631 h 17966907"/>
                <a:gd name="connsiteX1019" fmla="*/ 2511221 w 13797425"/>
                <a:gd name="connsiteY1019" fmla="*/ 16175219 h 17966907"/>
                <a:gd name="connsiteX1020" fmla="*/ 2515986 w 13797425"/>
                <a:gd name="connsiteY1020" fmla="*/ 16184751 h 17966907"/>
                <a:gd name="connsiteX1021" fmla="*/ 2511221 w 13797425"/>
                <a:gd name="connsiteY1021" fmla="*/ 16189515 h 17966907"/>
                <a:gd name="connsiteX1022" fmla="*/ 2511221 w 13797425"/>
                <a:gd name="connsiteY1022" fmla="*/ 16194279 h 17966907"/>
                <a:gd name="connsiteX1023" fmla="*/ 2525517 w 13797425"/>
                <a:gd name="connsiteY1023" fmla="*/ 16222871 h 17966907"/>
                <a:gd name="connsiteX1024" fmla="*/ 2554107 w 13797425"/>
                <a:gd name="connsiteY1024" fmla="*/ 16246699 h 17966907"/>
                <a:gd name="connsiteX1025" fmla="*/ 2577933 w 13797425"/>
                <a:gd name="connsiteY1025" fmla="*/ 16260991 h 17966907"/>
                <a:gd name="connsiteX1026" fmla="*/ 2625584 w 13797425"/>
                <a:gd name="connsiteY1026" fmla="*/ 16280055 h 17966907"/>
                <a:gd name="connsiteX1027" fmla="*/ 2658940 w 13797425"/>
                <a:gd name="connsiteY1027" fmla="*/ 16294347 h 17966907"/>
                <a:gd name="connsiteX1028" fmla="*/ 2668470 w 13797425"/>
                <a:gd name="connsiteY1028" fmla="*/ 16308643 h 17966907"/>
                <a:gd name="connsiteX1029" fmla="*/ 2678001 w 13797425"/>
                <a:gd name="connsiteY1029" fmla="*/ 16322939 h 17966907"/>
                <a:gd name="connsiteX1030" fmla="*/ 2682766 w 13797425"/>
                <a:gd name="connsiteY1030" fmla="*/ 16327703 h 17966907"/>
                <a:gd name="connsiteX1031" fmla="*/ 2697061 w 13797425"/>
                <a:gd name="connsiteY1031" fmla="*/ 16361059 h 17966907"/>
                <a:gd name="connsiteX1032" fmla="*/ 2716122 w 13797425"/>
                <a:gd name="connsiteY1032" fmla="*/ 16389651 h 17966907"/>
                <a:gd name="connsiteX1033" fmla="*/ 2735182 w 13797425"/>
                <a:gd name="connsiteY1033" fmla="*/ 16446831 h 17966907"/>
                <a:gd name="connsiteX1034" fmla="*/ 2739947 w 13797425"/>
                <a:gd name="connsiteY1034" fmla="*/ 16442067 h 17966907"/>
                <a:gd name="connsiteX1035" fmla="*/ 2739947 w 13797425"/>
                <a:gd name="connsiteY1035" fmla="*/ 16427771 h 17966907"/>
                <a:gd name="connsiteX1036" fmla="*/ 2744712 w 13797425"/>
                <a:gd name="connsiteY1036" fmla="*/ 16423007 h 17966907"/>
                <a:gd name="connsiteX1037" fmla="*/ 2749478 w 13797425"/>
                <a:gd name="connsiteY1037" fmla="*/ 16423007 h 17966907"/>
                <a:gd name="connsiteX1038" fmla="*/ 2754243 w 13797425"/>
                <a:gd name="connsiteY1038" fmla="*/ 16427771 h 17966907"/>
                <a:gd name="connsiteX1039" fmla="*/ 2754243 w 13797425"/>
                <a:gd name="connsiteY1039" fmla="*/ 16442067 h 17966907"/>
                <a:gd name="connsiteX1040" fmla="*/ 2768538 w 13797425"/>
                <a:gd name="connsiteY1040" fmla="*/ 16480187 h 17966907"/>
                <a:gd name="connsiteX1041" fmla="*/ 2763773 w 13797425"/>
                <a:gd name="connsiteY1041" fmla="*/ 16489719 h 17966907"/>
                <a:gd name="connsiteX1042" fmla="*/ 2759008 w 13797425"/>
                <a:gd name="connsiteY1042" fmla="*/ 16489719 h 17966907"/>
                <a:gd name="connsiteX1043" fmla="*/ 2744712 w 13797425"/>
                <a:gd name="connsiteY1043" fmla="*/ 16484955 h 17966907"/>
                <a:gd name="connsiteX1044" fmla="*/ 2735182 w 13797425"/>
                <a:gd name="connsiteY1044" fmla="*/ 16489719 h 17966907"/>
                <a:gd name="connsiteX1045" fmla="*/ 2730417 w 13797425"/>
                <a:gd name="connsiteY1045" fmla="*/ 16504015 h 17966907"/>
                <a:gd name="connsiteX1046" fmla="*/ 2720887 w 13797425"/>
                <a:gd name="connsiteY1046" fmla="*/ 16508779 h 17966907"/>
                <a:gd name="connsiteX1047" fmla="*/ 2668470 w 13797425"/>
                <a:gd name="connsiteY1047" fmla="*/ 16494483 h 17966907"/>
                <a:gd name="connsiteX1048" fmla="*/ 2639880 w 13797425"/>
                <a:gd name="connsiteY1048" fmla="*/ 16484955 h 17966907"/>
                <a:gd name="connsiteX1049" fmla="*/ 2596993 w 13797425"/>
                <a:gd name="connsiteY1049" fmla="*/ 16465891 h 17966907"/>
                <a:gd name="connsiteX1050" fmla="*/ 2549342 w 13797425"/>
                <a:gd name="connsiteY1050" fmla="*/ 16446831 h 17966907"/>
                <a:gd name="connsiteX1051" fmla="*/ 2520751 w 13797425"/>
                <a:gd name="connsiteY1051" fmla="*/ 16432539 h 17966907"/>
                <a:gd name="connsiteX1052" fmla="*/ 2496926 w 13797425"/>
                <a:gd name="connsiteY1052" fmla="*/ 16418243 h 17966907"/>
                <a:gd name="connsiteX1053" fmla="*/ 2482630 w 13797425"/>
                <a:gd name="connsiteY1053" fmla="*/ 16408711 h 17966907"/>
                <a:gd name="connsiteX1054" fmla="*/ 2477865 w 13797425"/>
                <a:gd name="connsiteY1054" fmla="*/ 16394415 h 17966907"/>
                <a:gd name="connsiteX1055" fmla="*/ 2477865 w 13797425"/>
                <a:gd name="connsiteY1055" fmla="*/ 16389651 h 17966907"/>
                <a:gd name="connsiteX1056" fmla="*/ 2511221 w 13797425"/>
                <a:gd name="connsiteY1056" fmla="*/ 16361059 h 17966907"/>
                <a:gd name="connsiteX1057" fmla="*/ 2525517 w 13797425"/>
                <a:gd name="connsiteY1057" fmla="*/ 16341999 h 17966907"/>
                <a:gd name="connsiteX1058" fmla="*/ 2530282 w 13797425"/>
                <a:gd name="connsiteY1058" fmla="*/ 16327703 h 17966907"/>
                <a:gd name="connsiteX1059" fmla="*/ 2530282 w 13797425"/>
                <a:gd name="connsiteY1059" fmla="*/ 16318175 h 17966907"/>
                <a:gd name="connsiteX1060" fmla="*/ 2530282 w 13797425"/>
                <a:gd name="connsiteY1060" fmla="*/ 16299115 h 17966907"/>
                <a:gd name="connsiteX1061" fmla="*/ 2525517 w 13797425"/>
                <a:gd name="connsiteY1061" fmla="*/ 16318175 h 17966907"/>
                <a:gd name="connsiteX1062" fmla="*/ 2520751 w 13797425"/>
                <a:gd name="connsiteY1062" fmla="*/ 16332471 h 17966907"/>
                <a:gd name="connsiteX1063" fmla="*/ 2515986 w 13797425"/>
                <a:gd name="connsiteY1063" fmla="*/ 16341999 h 17966907"/>
                <a:gd name="connsiteX1064" fmla="*/ 2511221 w 13797425"/>
                <a:gd name="connsiteY1064" fmla="*/ 16346763 h 17966907"/>
                <a:gd name="connsiteX1065" fmla="*/ 2473100 w 13797425"/>
                <a:gd name="connsiteY1065" fmla="*/ 16351531 h 17966907"/>
                <a:gd name="connsiteX1066" fmla="*/ 2444509 w 13797425"/>
                <a:gd name="connsiteY1066" fmla="*/ 16351531 h 17966907"/>
                <a:gd name="connsiteX1067" fmla="*/ 2430214 w 13797425"/>
                <a:gd name="connsiteY1067" fmla="*/ 16361059 h 17966907"/>
                <a:gd name="connsiteX1068" fmla="*/ 2425449 w 13797425"/>
                <a:gd name="connsiteY1068" fmla="*/ 16365827 h 17966907"/>
                <a:gd name="connsiteX1069" fmla="*/ 2415919 w 13797425"/>
                <a:gd name="connsiteY1069" fmla="*/ 16361059 h 17966907"/>
                <a:gd name="connsiteX1070" fmla="*/ 2396858 w 13797425"/>
                <a:gd name="connsiteY1070" fmla="*/ 16341999 h 17966907"/>
                <a:gd name="connsiteX1071" fmla="*/ 2373032 w 13797425"/>
                <a:gd name="connsiteY1071" fmla="*/ 16327703 h 17966907"/>
                <a:gd name="connsiteX1072" fmla="*/ 2373032 w 13797425"/>
                <a:gd name="connsiteY1072" fmla="*/ 16322939 h 17966907"/>
                <a:gd name="connsiteX1073" fmla="*/ 2392093 w 13797425"/>
                <a:gd name="connsiteY1073" fmla="*/ 16318175 h 17966907"/>
                <a:gd name="connsiteX1074" fmla="*/ 2401623 w 13797425"/>
                <a:gd name="connsiteY1074" fmla="*/ 16303879 h 17966907"/>
                <a:gd name="connsiteX1075" fmla="*/ 2396858 w 13797425"/>
                <a:gd name="connsiteY1075" fmla="*/ 16303879 h 17966907"/>
                <a:gd name="connsiteX1076" fmla="*/ 2392093 w 13797425"/>
                <a:gd name="connsiteY1076" fmla="*/ 16303879 h 17966907"/>
                <a:gd name="connsiteX1077" fmla="*/ 2387328 w 13797425"/>
                <a:gd name="connsiteY1077" fmla="*/ 16303879 h 17966907"/>
                <a:gd name="connsiteX1078" fmla="*/ 2377798 w 13797425"/>
                <a:gd name="connsiteY1078" fmla="*/ 16289583 h 17966907"/>
                <a:gd name="connsiteX1079" fmla="*/ 2368267 w 13797425"/>
                <a:gd name="connsiteY1079" fmla="*/ 16284819 h 17966907"/>
                <a:gd name="connsiteX1080" fmla="*/ 2358737 w 13797425"/>
                <a:gd name="connsiteY1080" fmla="*/ 16289583 h 17966907"/>
                <a:gd name="connsiteX1081" fmla="*/ 2349207 w 13797425"/>
                <a:gd name="connsiteY1081" fmla="*/ 16289583 h 17966907"/>
                <a:gd name="connsiteX1082" fmla="*/ 2344442 w 13797425"/>
                <a:gd name="connsiteY1082" fmla="*/ 16280055 h 17966907"/>
                <a:gd name="connsiteX1083" fmla="*/ 2353972 w 13797425"/>
                <a:gd name="connsiteY1083" fmla="*/ 16260991 h 17966907"/>
                <a:gd name="connsiteX1084" fmla="*/ 2353972 w 13797425"/>
                <a:gd name="connsiteY1084" fmla="*/ 16256227 h 17966907"/>
                <a:gd name="connsiteX1085" fmla="*/ 2339677 w 13797425"/>
                <a:gd name="connsiteY1085" fmla="*/ 16260991 h 17966907"/>
                <a:gd name="connsiteX1086" fmla="*/ 2334912 w 13797425"/>
                <a:gd name="connsiteY1086" fmla="*/ 16260991 h 17966907"/>
                <a:gd name="connsiteX1087" fmla="*/ 2334912 w 13797425"/>
                <a:gd name="connsiteY1087" fmla="*/ 16251463 h 17966907"/>
                <a:gd name="connsiteX1088" fmla="*/ 2330146 w 13797425"/>
                <a:gd name="connsiteY1088" fmla="*/ 16246699 h 17966907"/>
                <a:gd name="connsiteX1089" fmla="*/ 2315851 w 13797425"/>
                <a:gd name="connsiteY1089" fmla="*/ 16251463 h 17966907"/>
                <a:gd name="connsiteX1090" fmla="*/ 2306321 w 13797425"/>
                <a:gd name="connsiteY1090" fmla="*/ 16241931 h 17966907"/>
                <a:gd name="connsiteX1091" fmla="*/ 2301556 w 13797425"/>
                <a:gd name="connsiteY1091" fmla="*/ 16246699 h 17966907"/>
                <a:gd name="connsiteX1092" fmla="*/ 2301556 w 13797425"/>
                <a:gd name="connsiteY1092" fmla="*/ 16256227 h 17966907"/>
                <a:gd name="connsiteX1093" fmla="*/ 2296790 w 13797425"/>
                <a:gd name="connsiteY1093" fmla="*/ 16256227 h 17966907"/>
                <a:gd name="connsiteX1094" fmla="*/ 2277730 w 13797425"/>
                <a:gd name="connsiteY1094" fmla="*/ 16241931 h 17966907"/>
                <a:gd name="connsiteX1095" fmla="*/ 2272965 w 13797425"/>
                <a:gd name="connsiteY1095" fmla="*/ 16241931 h 17966907"/>
                <a:gd name="connsiteX1096" fmla="*/ 2268200 w 13797425"/>
                <a:gd name="connsiteY1096" fmla="*/ 16256227 h 17966907"/>
                <a:gd name="connsiteX1097" fmla="*/ 2263435 w 13797425"/>
                <a:gd name="connsiteY1097" fmla="*/ 16256227 h 17966907"/>
                <a:gd name="connsiteX1098" fmla="*/ 2258669 w 13797425"/>
                <a:gd name="connsiteY1098" fmla="*/ 16251463 h 17966907"/>
                <a:gd name="connsiteX1099" fmla="*/ 2258669 w 13797425"/>
                <a:gd name="connsiteY1099" fmla="*/ 16218107 h 17966907"/>
                <a:gd name="connsiteX1100" fmla="*/ 2258669 w 13797425"/>
                <a:gd name="connsiteY1100" fmla="*/ 16213343 h 17966907"/>
                <a:gd name="connsiteX1101" fmla="*/ 2258669 w 13797425"/>
                <a:gd name="connsiteY1101" fmla="*/ 16208575 h 17966907"/>
                <a:gd name="connsiteX1102" fmla="*/ 2272965 w 13797425"/>
                <a:gd name="connsiteY1102" fmla="*/ 16199047 h 17966907"/>
                <a:gd name="connsiteX1103" fmla="*/ 2320616 w 13797425"/>
                <a:gd name="connsiteY1103" fmla="*/ 16194279 h 17966907"/>
                <a:gd name="connsiteX1104" fmla="*/ 2325381 w 13797425"/>
                <a:gd name="connsiteY1104" fmla="*/ 16189515 h 17966907"/>
                <a:gd name="connsiteX1105" fmla="*/ 2292025 w 13797425"/>
                <a:gd name="connsiteY1105" fmla="*/ 16189515 h 17966907"/>
                <a:gd name="connsiteX1106" fmla="*/ 2282495 w 13797425"/>
                <a:gd name="connsiteY1106" fmla="*/ 16184751 h 17966907"/>
                <a:gd name="connsiteX1107" fmla="*/ 2272965 w 13797425"/>
                <a:gd name="connsiteY1107" fmla="*/ 16175219 h 17966907"/>
                <a:gd name="connsiteX1108" fmla="*/ 2263435 w 13797425"/>
                <a:gd name="connsiteY1108" fmla="*/ 16175219 h 17966907"/>
                <a:gd name="connsiteX1109" fmla="*/ 2258669 w 13797425"/>
                <a:gd name="connsiteY1109" fmla="*/ 16175219 h 17966907"/>
                <a:gd name="connsiteX1110" fmla="*/ 2249139 w 13797425"/>
                <a:gd name="connsiteY1110" fmla="*/ 16165691 h 17966907"/>
                <a:gd name="connsiteX1111" fmla="*/ 2239609 w 13797425"/>
                <a:gd name="connsiteY1111" fmla="*/ 16137099 h 17966907"/>
                <a:gd name="connsiteX1112" fmla="*/ 2230079 w 13797425"/>
                <a:gd name="connsiteY1112" fmla="*/ 16132335 h 17966907"/>
                <a:gd name="connsiteX1113" fmla="*/ 2211018 w 13797425"/>
                <a:gd name="connsiteY1113" fmla="*/ 16127571 h 17966907"/>
                <a:gd name="connsiteX1114" fmla="*/ 2201488 w 13797425"/>
                <a:gd name="connsiteY1114" fmla="*/ 16122803 h 17966907"/>
                <a:gd name="connsiteX1115" fmla="*/ 2196723 w 13797425"/>
                <a:gd name="connsiteY1115" fmla="*/ 16132335 h 17966907"/>
                <a:gd name="connsiteX1116" fmla="*/ 2191958 w 13797425"/>
                <a:gd name="connsiteY1116" fmla="*/ 16137099 h 17966907"/>
                <a:gd name="connsiteX1117" fmla="*/ 2182427 w 13797425"/>
                <a:gd name="connsiteY1117" fmla="*/ 16141863 h 17966907"/>
                <a:gd name="connsiteX1118" fmla="*/ 2168132 w 13797425"/>
                <a:gd name="connsiteY1118" fmla="*/ 16137099 h 17966907"/>
                <a:gd name="connsiteX1119" fmla="*/ 2163367 w 13797425"/>
                <a:gd name="connsiteY1119" fmla="*/ 16132335 h 17966907"/>
                <a:gd name="connsiteX1120" fmla="*/ 2158602 w 13797425"/>
                <a:gd name="connsiteY1120" fmla="*/ 16122803 h 17966907"/>
                <a:gd name="connsiteX1121" fmla="*/ 2153837 w 13797425"/>
                <a:gd name="connsiteY1121" fmla="*/ 16108507 h 17966907"/>
                <a:gd name="connsiteX1122" fmla="*/ 2158602 w 13797425"/>
                <a:gd name="connsiteY1122" fmla="*/ 16098979 h 17966907"/>
                <a:gd name="connsiteX1123" fmla="*/ 2158602 w 13797425"/>
                <a:gd name="connsiteY1123" fmla="*/ 16089447 h 17966907"/>
                <a:gd name="connsiteX1124" fmla="*/ 2158602 w 13797425"/>
                <a:gd name="connsiteY1124" fmla="*/ 16084683 h 17966907"/>
                <a:gd name="connsiteX1125" fmla="*/ 2153837 w 13797425"/>
                <a:gd name="connsiteY1125" fmla="*/ 16079919 h 17966907"/>
                <a:gd name="connsiteX1126" fmla="*/ 2149072 w 13797425"/>
                <a:gd name="connsiteY1126" fmla="*/ 16075151 h 17966907"/>
                <a:gd name="connsiteX1127" fmla="*/ 2144306 w 13797425"/>
                <a:gd name="connsiteY1127" fmla="*/ 16079919 h 17966907"/>
                <a:gd name="connsiteX1128" fmla="*/ 2144306 w 13797425"/>
                <a:gd name="connsiteY1128" fmla="*/ 16084683 h 17966907"/>
                <a:gd name="connsiteX1129" fmla="*/ 2144306 w 13797425"/>
                <a:gd name="connsiteY1129" fmla="*/ 16089447 h 17966907"/>
                <a:gd name="connsiteX1130" fmla="*/ 2134776 w 13797425"/>
                <a:gd name="connsiteY1130" fmla="*/ 16098979 h 17966907"/>
                <a:gd name="connsiteX1131" fmla="*/ 2125246 w 13797425"/>
                <a:gd name="connsiteY1131" fmla="*/ 16089447 h 17966907"/>
                <a:gd name="connsiteX1132" fmla="*/ 2120481 w 13797425"/>
                <a:gd name="connsiteY1132" fmla="*/ 16075151 h 17966907"/>
                <a:gd name="connsiteX1133" fmla="*/ 2115716 w 13797425"/>
                <a:gd name="connsiteY1133" fmla="*/ 16070387 h 17966907"/>
                <a:gd name="connsiteX1134" fmla="*/ 2082360 w 13797425"/>
                <a:gd name="connsiteY1134" fmla="*/ 16070387 h 17966907"/>
                <a:gd name="connsiteX1135" fmla="*/ 2068064 w 13797425"/>
                <a:gd name="connsiteY1135" fmla="*/ 16079919 h 17966907"/>
                <a:gd name="connsiteX1136" fmla="*/ 2058534 w 13797425"/>
                <a:gd name="connsiteY1136" fmla="*/ 16079919 h 17966907"/>
                <a:gd name="connsiteX1137" fmla="*/ 2053769 w 13797425"/>
                <a:gd name="connsiteY1137" fmla="*/ 16079919 h 17966907"/>
                <a:gd name="connsiteX1138" fmla="*/ 2053769 w 13797425"/>
                <a:gd name="connsiteY1138" fmla="*/ 16070387 h 17966907"/>
                <a:gd name="connsiteX1139" fmla="*/ 2058534 w 13797425"/>
                <a:gd name="connsiteY1139" fmla="*/ 16056091 h 17966907"/>
                <a:gd name="connsiteX1140" fmla="*/ 2058534 w 13797425"/>
                <a:gd name="connsiteY1140" fmla="*/ 16037031 h 17966907"/>
                <a:gd name="connsiteX1141" fmla="*/ 2053769 w 13797425"/>
                <a:gd name="connsiteY1141" fmla="*/ 16032267 h 17966907"/>
                <a:gd name="connsiteX1142" fmla="*/ 2039474 w 13797425"/>
                <a:gd name="connsiteY1142" fmla="*/ 16027503 h 17966907"/>
                <a:gd name="connsiteX1143" fmla="*/ 2039474 w 13797425"/>
                <a:gd name="connsiteY1143" fmla="*/ 16022735 h 17966907"/>
                <a:gd name="connsiteX1144" fmla="*/ 2044239 w 13797425"/>
                <a:gd name="connsiteY1144" fmla="*/ 15998911 h 17966907"/>
                <a:gd name="connsiteX1145" fmla="*/ 2053769 w 13797425"/>
                <a:gd name="connsiteY1145" fmla="*/ 15994147 h 17966907"/>
                <a:gd name="connsiteX1146" fmla="*/ 2058534 w 13797425"/>
                <a:gd name="connsiteY1146" fmla="*/ 15994147 h 17966907"/>
                <a:gd name="connsiteX1147" fmla="*/ 2087125 w 13797425"/>
                <a:gd name="connsiteY1147" fmla="*/ 15994147 h 17966907"/>
                <a:gd name="connsiteX1148" fmla="*/ 2096655 w 13797425"/>
                <a:gd name="connsiteY1148" fmla="*/ 15994147 h 17966907"/>
                <a:gd name="connsiteX1149" fmla="*/ 2110951 w 13797425"/>
                <a:gd name="connsiteY1149" fmla="*/ 16008439 h 17966907"/>
                <a:gd name="connsiteX1150" fmla="*/ 2110951 w 13797425"/>
                <a:gd name="connsiteY1150" fmla="*/ 16003675 h 17966907"/>
                <a:gd name="connsiteX1151" fmla="*/ 2106185 w 13797425"/>
                <a:gd name="connsiteY1151" fmla="*/ 15989379 h 17966907"/>
                <a:gd name="connsiteX1152" fmla="*/ 2106185 w 13797425"/>
                <a:gd name="connsiteY1152" fmla="*/ 15979851 h 17966907"/>
                <a:gd name="connsiteX1153" fmla="*/ 2115716 w 13797425"/>
                <a:gd name="connsiteY1153" fmla="*/ 15965555 h 17966907"/>
                <a:gd name="connsiteX1154" fmla="*/ 2106185 w 13797425"/>
                <a:gd name="connsiteY1154" fmla="*/ 15965555 h 17966907"/>
                <a:gd name="connsiteX1155" fmla="*/ 2072830 w 13797425"/>
                <a:gd name="connsiteY1155" fmla="*/ 15960791 h 17966907"/>
                <a:gd name="connsiteX1156" fmla="*/ 2072830 w 13797425"/>
                <a:gd name="connsiteY1156" fmla="*/ 15965555 h 17966907"/>
                <a:gd name="connsiteX1157" fmla="*/ 2072830 w 13797425"/>
                <a:gd name="connsiteY1157" fmla="*/ 15979851 h 17966907"/>
                <a:gd name="connsiteX1158" fmla="*/ 2053769 w 13797425"/>
                <a:gd name="connsiteY1158" fmla="*/ 15989379 h 17966907"/>
                <a:gd name="connsiteX1159" fmla="*/ 2039474 w 13797425"/>
                <a:gd name="connsiteY1159" fmla="*/ 15989379 h 17966907"/>
                <a:gd name="connsiteX1160" fmla="*/ 2025178 w 13797425"/>
                <a:gd name="connsiteY1160" fmla="*/ 15989379 h 17966907"/>
                <a:gd name="connsiteX1161" fmla="*/ 2010883 w 13797425"/>
                <a:gd name="connsiteY1161" fmla="*/ 15979851 h 17966907"/>
                <a:gd name="connsiteX1162" fmla="*/ 1991822 w 13797425"/>
                <a:gd name="connsiteY1162" fmla="*/ 15960791 h 17966907"/>
                <a:gd name="connsiteX1163" fmla="*/ 1977527 w 13797425"/>
                <a:gd name="connsiteY1163" fmla="*/ 15936963 h 17966907"/>
                <a:gd name="connsiteX1164" fmla="*/ 1977527 w 13797425"/>
                <a:gd name="connsiteY1164" fmla="*/ 15927435 h 17966907"/>
                <a:gd name="connsiteX1165" fmla="*/ 1987057 w 13797425"/>
                <a:gd name="connsiteY1165" fmla="*/ 15913139 h 17966907"/>
                <a:gd name="connsiteX1166" fmla="*/ 1991822 w 13797425"/>
                <a:gd name="connsiteY1166" fmla="*/ 15908375 h 17966907"/>
                <a:gd name="connsiteX1167" fmla="*/ 13349505 w 13797425"/>
                <a:gd name="connsiteY1167" fmla="*/ 15713003 h 17966907"/>
                <a:gd name="connsiteX1168" fmla="*/ 13354269 w 13797425"/>
                <a:gd name="connsiteY1168" fmla="*/ 15717771 h 17966907"/>
                <a:gd name="connsiteX1169" fmla="*/ 13359033 w 13797425"/>
                <a:gd name="connsiteY1169" fmla="*/ 15722535 h 17966907"/>
                <a:gd name="connsiteX1170" fmla="*/ 13359033 w 13797425"/>
                <a:gd name="connsiteY1170" fmla="*/ 15727299 h 17966907"/>
                <a:gd name="connsiteX1171" fmla="*/ 13349505 w 13797425"/>
                <a:gd name="connsiteY1171" fmla="*/ 15755891 h 17966907"/>
                <a:gd name="connsiteX1172" fmla="*/ 13339973 w 13797425"/>
                <a:gd name="connsiteY1172" fmla="*/ 15765423 h 17966907"/>
                <a:gd name="connsiteX1173" fmla="*/ 13335209 w 13797425"/>
                <a:gd name="connsiteY1173" fmla="*/ 15770187 h 17966907"/>
                <a:gd name="connsiteX1174" fmla="*/ 13316149 w 13797425"/>
                <a:gd name="connsiteY1174" fmla="*/ 15774951 h 17966907"/>
                <a:gd name="connsiteX1175" fmla="*/ 13282793 w 13797425"/>
                <a:gd name="connsiteY1175" fmla="*/ 15779715 h 17966907"/>
                <a:gd name="connsiteX1176" fmla="*/ 13268497 w 13797425"/>
                <a:gd name="connsiteY1176" fmla="*/ 15779715 h 17966907"/>
                <a:gd name="connsiteX1177" fmla="*/ 13268497 w 13797425"/>
                <a:gd name="connsiteY1177" fmla="*/ 15798779 h 17966907"/>
                <a:gd name="connsiteX1178" fmla="*/ 13268497 w 13797425"/>
                <a:gd name="connsiteY1178" fmla="*/ 15808307 h 17966907"/>
                <a:gd name="connsiteX1179" fmla="*/ 13273261 w 13797425"/>
                <a:gd name="connsiteY1179" fmla="*/ 15813071 h 17966907"/>
                <a:gd name="connsiteX1180" fmla="*/ 13282793 w 13797425"/>
                <a:gd name="connsiteY1180" fmla="*/ 15817839 h 17966907"/>
                <a:gd name="connsiteX1181" fmla="*/ 13297089 w 13797425"/>
                <a:gd name="connsiteY1181" fmla="*/ 15813071 h 17966907"/>
                <a:gd name="connsiteX1182" fmla="*/ 13301853 w 13797425"/>
                <a:gd name="connsiteY1182" fmla="*/ 15813071 h 17966907"/>
                <a:gd name="connsiteX1183" fmla="*/ 13301853 w 13797425"/>
                <a:gd name="connsiteY1183" fmla="*/ 15817839 h 17966907"/>
                <a:gd name="connsiteX1184" fmla="*/ 13306617 w 13797425"/>
                <a:gd name="connsiteY1184" fmla="*/ 15822603 h 17966907"/>
                <a:gd name="connsiteX1185" fmla="*/ 13311385 w 13797425"/>
                <a:gd name="connsiteY1185" fmla="*/ 15832135 h 17966907"/>
                <a:gd name="connsiteX1186" fmla="*/ 13311385 w 13797425"/>
                <a:gd name="connsiteY1186" fmla="*/ 15841663 h 17966907"/>
                <a:gd name="connsiteX1187" fmla="*/ 13306617 w 13797425"/>
                <a:gd name="connsiteY1187" fmla="*/ 15855959 h 17966907"/>
                <a:gd name="connsiteX1188" fmla="*/ 13297089 w 13797425"/>
                <a:gd name="connsiteY1188" fmla="*/ 15884551 h 17966907"/>
                <a:gd name="connsiteX1189" fmla="*/ 13282793 w 13797425"/>
                <a:gd name="connsiteY1189" fmla="*/ 15903611 h 17966907"/>
                <a:gd name="connsiteX1190" fmla="*/ 13263733 w 13797425"/>
                <a:gd name="connsiteY1190" fmla="*/ 15917907 h 17966907"/>
                <a:gd name="connsiteX1191" fmla="*/ 13258965 w 13797425"/>
                <a:gd name="connsiteY1191" fmla="*/ 15922671 h 17966907"/>
                <a:gd name="connsiteX1192" fmla="*/ 13254201 w 13797425"/>
                <a:gd name="connsiteY1192" fmla="*/ 15927435 h 17966907"/>
                <a:gd name="connsiteX1193" fmla="*/ 13254201 w 13797425"/>
                <a:gd name="connsiteY1193" fmla="*/ 15951263 h 17966907"/>
                <a:gd name="connsiteX1194" fmla="*/ 13244673 w 13797425"/>
                <a:gd name="connsiteY1194" fmla="*/ 15965555 h 17966907"/>
                <a:gd name="connsiteX1195" fmla="*/ 13216081 w 13797425"/>
                <a:gd name="connsiteY1195" fmla="*/ 16008443 h 17966907"/>
                <a:gd name="connsiteX1196" fmla="*/ 13206549 w 13797425"/>
                <a:gd name="connsiteY1196" fmla="*/ 16017975 h 17966907"/>
                <a:gd name="connsiteX1197" fmla="*/ 13201785 w 13797425"/>
                <a:gd name="connsiteY1197" fmla="*/ 16022739 h 17966907"/>
                <a:gd name="connsiteX1198" fmla="*/ 13201785 w 13797425"/>
                <a:gd name="connsiteY1198" fmla="*/ 16041799 h 17966907"/>
                <a:gd name="connsiteX1199" fmla="*/ 13192253 w 13797425"/>
                <a:gd name="connsiteY1199" fmla="*/ 16060859 h 17966907"/>
                <a:gd name="connsiteX1200" fmla="*/ 13168429 w 13797425"/>
                <a:gd name="connsiteY1200" fmla="*/ 16094215 h 17966907"/>
                <a:gd name="connsiteX1201" fmla="*/ 13158897 w 13797425"/>
                <a:gd name="connsiteY1201" fmla="*/ 16108511 h 17966907"/>
                <a:gd name="connsiteX1202" fmla="*/ 13158897 w 13797425"/>
                <a:gd name="connsiteY1202" fmla="*/ 16118039 h 17966907"/>
                <a:gd name="connsiteX1203" fmla="*/ 13158897 w 13797425"/>
                <a:gd name="connsiteY1203" fmla="*/ 16132335 h 17966907"/>
                <a:gd name="connsiteX1204" fmla="*/ 13158897 w 13797425"/>
                <a:gd name="connsiteY1204" fmla="*/ 16137103 h 17966907"/>
                <a:gd name="connsiteX1205" fmla="*/ 13154133 w 13797425"/>
                <a:gd name="connsiteY1205" fmla="*/ 16151395 h 17966907"/>
                <a:gd name="connsiteX1206" fmla="*/ 13144605 w 13797425"/>
                <a:gd name="connsiteY1206" fmla="*/ 16160927 h 17966907"/>
                <a:gd name="connsiteX1207" fmla="*/ 13144605 w 13797425"/>
                <a:gd name="connsiteY1207" fmla="*/ 16165691 h 17966907"/>
                <a:gd name="connsiteX1208" fmla="*/ 13144605 w 13797425"/>
                <a:gd name="connsiteY1208" fmla="*/ 16175223 h 17966907"/>
                <a:gd name="connsiteX1209" fmla="*/ 13149369 w 13797425"/>
                <a:gd name="connsiteY1209" fmla="*/ 16179987 h 17966907"/>
                <a:gd name="connsiteX1210" fmla="*/ 13149369 w 13797425"/>
                <a:gd name="connsiteY1210" fmla="*/ 16189519 h 17966907"/>
                <a:gd name="connsiteX1211" fmla="*/ 13144605 w 13797425"/>
                <a:gd name="connsiteY1211" fmla="*/ 16203815 h 17966907"/>
                <a:gd name="connsiteX1212" fmla="*/ 13158897 w 13797425"/>
                <a:gd name="connsiteY1212" fmla="*/ 16194283 h 17966907"/>
                <a:gd name="connsiteX1213" fmla="*/ 13177961 w 13797425"/>
                <a:gd name="connsiteY1213" fmla="*/ 16160927 h 17966907"/>
                <a:gd name="connsiteX1214" fmla="*/ 13197021 w 13797425"/>
                <a:gd name="connsiteY1214" fmla="*/ 16141867 h 17966907"/>
                <a:gd name="connsiteX1215" fmla="*/ 13206549 w 13797425"/>
                <a:gd name="connsiteY1215" fmla="*/ 16132335 h 17966907"/>
                <a:gd name="connsiteX1216" fmla="*/ 13216081 w 13797425"/>
                <a:gd name="connsiteY1216" fmla="*/ 16122807 h 17966907"/>
                <a:gd name="connsiteX1217" fmla="*/ 13225609 w 13797425"/>
                <a:gd name="connsiteY1217" fmla="*/ 16103747 h 17966907"/>
                <a:gd name="connsiteX1218" fmla="*/ 13235141 w 13797425"/>
                <a:gd name="connsiteY1218" fmla="*/ 16089451 h 17966907"/>
                <a:gd name="connsiteX1219" fmla="*/ 13249437 w 13797425"/>
                <a:gd name="connsiteY1219" fmla="*/ 16079919 h 17966907"/>
                <a:gd name="connsiteX1220" fmla="*/ 13254201 w 13797425"/>
                <a:gd name="connsiteY1220" fmla="*/ 16084687 h 17966907"/>
                <a:gd name="connsiteX1221" fmla="*/ 13254201 w 13797425"/>
                <a:gd name="connsiteY1221" fmla="*/ 16094215 h 17966907"/>
                <a:gd name="connsiteX1222" fmla="*/ 13254201 w 13797425"/>
                <a:gd name="connsiteY1222" fmla="*/ 16103747 h 17966907"/>
                <a:gd name="connsiteX1223" fmla="*/ 13249437 w 13797425"/>
                <a:gd name="connsiteY1223" fmla="*/ 16118039 h 17966907"/>
                <a:gd name="connsiteX1224" fmla="*/ 13249437 w 13797425"/>
                <a:gd name="connsiteY1224" fmla="*/ 16122807 h 17966907"/>
                <a:gd name="connsiteX1225" fmla="*/ 13263733 w 13797425"/>
                <a:gd name="connsiteY1225" fmla="*/ 16113275 h 17966907"/>
                <a:gd name="connsiteX1226" fmla="*/ 13287557 w 13797425"/>
                <a:gd name="connsiteY1226" fmla="*/ 16103747 h 17966907"/>
                <a:gd name="connsiteX1227" fmla="*/ 13297089 w 13797425"/>
                <a:gd name="connsiteY1227" fmla="*/ 16103747 h 17966907"/>
                <a:gd name="connsiteX1228" fmla="*/ 13311385 w 13797425"/>
                <a:gd name="connsiteY1228" fmla="*/ 16118039 h 17966907"/>
                <a:gd name="connsiteX1229" fmla="*/ 13325677 w 13797425"/>
                <a:gd name="connsiteY1229" fmla="*/ 16118039 h 17966907"/>
                <a:gd name="connsiteX1230" fmla="*/ 13349505 w 13797425"/>
                <a:gd name="connsiteY1230" fmla="*/ 16108511 h 17966907"/>
                <a:gd name="connsiteX1231" fmla="*/ 13354269 w 13797425"/>
                <a:gd name="connsiteY1231" fmla="*/ 16113275 h 17966907"/>
                <a:gd name="connsiteX1232" fmla="*/ 13349505 w 13797425"/>
                <a:gd name="connsiteY1232" fmla="*/ 16122807 h 17966907"/>
                <a:gd name="connsiteX1233" fmla="*/ 13339973 w 13797425"/>
                <a:gd name="connsiteY1233" fmla="*/ 16137103 h 17966907"/>
                <a:gd name="connsiteX1234" fmla="*/ 13320913 w 13797425"/>
                <a:gd name="connsiteY1234" fmla="*/ 16151395 h 17966907"/>
                <a:gd name="connsiteX1235" fmla="*/ 13268497 w 13797425"/>
                <a:gd name="connsiteY1235" fmla="*/ 16179987 h 17966907"/>
                <a:gd name="connsiteX1236" fmla="*/ 13254201 w 13797425"/>
                <a:gd name="connsiteY1236" fmla="*/ 16199047 h 17966907"/>
                <a:gd name="connsiteX1237" fmla="*/ 13268497 w 13797425"/>
                <a:gd name="connsiteY1237" fmla="*/ 16189519 h 17966907"/>
                <a:gd name="connsiteX1238" fmla="*/ 13278029 w 13797425"/>
                <a:gd name="connsiteY1238" fmla="*/ 16184751 h 17966907"/>
                <a:gd name="connsiteX1239" fmla="*/ 13292321 w 13797425"/>
                <a:gd name="connsiteY1239" fmla="*/ 16184751 h 17966907"/>
                <a:gd name="connsiteX1240" fmla="*/ 13297089 w 13797425"/>
                <a:gd name="connsiteY1240" fmla="*/ 16189519 h 17966907"/>
                <a:gd name="connsiteX1241" fmla="*/ 13292321 w 13797425"/>
                <a:gd name="connsiteY1241" fmla="*/ 16194283 h 17966907"/>
                <a:gd name="connsiteX1242" fmla="*/ 13292321 w 13797425"/>
                <a:gd name="connsiteY1242" fmla="*/ 16213343 h 17966907"/>
                <a:gd name="connsiteX1243" fmla="*/ 13263733 w 13797425"/>
                <a:gd name="connsiteY1243" fmla="*/ 16241935 h 17966907"/>
                <a:gd name="connsiteX1244" fmla="*/ 13268497 w 13797425"/>
                <a:gd name="connsiteY1244" fmla="*/ 16241935 h 17966907"/>
                <a:gd name="connsiteX1245" fmla="*/ 13301853 w 13797425"/>
                <a:gd name="connsiteY1245" fmla="*/ 16227639 h 17966907"/>
                <a:gd name="connsiteX1246" fmla="*/ 13325677 w 13797425"/>
                <a:gd name="connsiteY1246" fmla="*/ 16246699 h 17966907"/>
                <a:gd name="connsiteX1247" fmla="*/ 13354269 w 13797425"/>
                <a:gd name="connsiteY1247" fmla="*/ 16237171 h 17966907"/>
                <a:gd name="connsiteX1248" fmla="*/ 13373329 w 13797425"/>
                <a:gd name="connsiteY1248" fmla="*/ 16232403 h 17966907"/>
                <a:gd name="connsiteX1249" fmla="*/ 13373329 w 13797425"/>
                <a:gd name="connsiteY1249" fmla="*/ 16237171 h 17966907"/>
                <a:gd name="connsiteX1250" fmla="*/ 13378093 w 13797425"/>
                <a:gd name="connsiteY1250" fmla="*/ 16246699 h 17966907"/>
                <a:gd name="connsiteX1251" fmla="*/ 13378093 w 13797425"/>
                <a:gd name="connsiteY1251" fmla="*/ 16260995 h 17966907"/>
                <a:gd name="connsiteX1252" fmla="*/ 13387625 w 13797425"/>
                <a:gd name="connsiteY1252" fmla="*/ 16256231 h 17966907"/>
                <a:gd name="connsiteX1253" fmla="*/ 13387625 w 13797425"/>
                <a:gd name="connsiteY1253" fmla="*/ 16251463 h 17966907"/>
                <a:gd name="connsiteX1254" fmla="*/ 13387625 w 13797425"/>
                <a:gd name="connsiteY1254" fmla="*/ 16227639 h 17966907"/>
                <a:gd name="connsiteX1255" fmla="*/ 13392389 w 13797425"/>
                <a:gd name="connsiteY1255" fmla="*/ 16222875 h 17966907"/>
                <a:gd name="connsiteX1256" fmla="*/ 13397157 w 13797425"/>
                <a:gd name="connsiteY1256" fmla="*/ 16227639 h 17966907"/>
                <a:gd name="connsiteX1257" fmla="*/ 13397157 w 13797425"/>
                <a:gd name="connsiteY1257" fmla="*/ 16232403 h 17966907"/>
                <a:gd name="connsiteX1258" fmla="*/ 13401921 w 13797425"/>
                <a:gd name="connsiteY1258" fmla="*/ 16251463 h 17966907"/>
                <a:gd name="connsiteX1259" fmla="*/ 13397157 w 13797425"/>
                <a:gd name="connsiteY1259" fmla="*/ 16270527 h 17966907"/>
                <a:gd name="connsiteX1260" fmla="*/ 13392389 w 13797425"/>
                <a:gd name="connsiteY1260" fmla="*/ 16284819 h 17966907"/>
                <a:gd name="connsiteX1261" fmla="*/ 13378093 w 13797425"/>
                <a:gd name="connsiteY1261" fmla="*/ 16308647 h 17966907"/>
                <a:gd name="connsiteX1262" fmla="*/ 13378093 w 13797425"/>
                <a:gd name="connsiteY1262" fmla="*/ 16318175 h 17966907"/>
                <a:gd name="connsiteX1263" fmla="*/ 13378093 w 13797425"/>
                <a:gd name="connsiteY1263" fmla="*/ 16332471 h 17966907"/>
                <a:gd name="connsiteX1264" fmla="*/ 13392389 w 13797425"/>
                <a:gd name="connsiteY1264" fmla="*/ 16322943 h 17966907"/>
                <a:gd name="connsiteX1265" fmla="*/ 13392389 w 13797425"/>
                <a:gd name="connsiteY1265" fmla="*/ 16318175 h 17966907"/>
                <a:gd name="connsiteX1266" fmla="*/ 13392389 w 13797425"/>
                <a:gd name="connsiteY1266" fmla="*/ 16308647 h 17966907"/>
                <a:gd name="connsiteX1267" fmla="*/ 13392389 w 13797425"/>
                <a:gd name="connsiteY1267" fmla="*/ 16303879 h 17966907"/>
                <a:gd name="connsiteX1268" fmla="*/ 13406685 w 13797425"/>
                <a:gd name="connsiteY1268" fmla="*/ 16289587 h 17966907"/>
                <a:gd name="connsiteX1269" fmla="*/ 13420981 w 13797425"/>
                <a:gd name="connsiteY1269" fmla="*/ 16280055 h 17966907"/>
                <a:gd name="connsiteX1270" fmla="*/ 13425745 w 13797425"/>
                <a:gd name="connsiteY1270" fmla="*/ 16275291 h 17966907"/>
                <a:gd name="connsiteX1271" fmla="*/ 13430513 w 13797425"/>
                <a:gd name="connsiteY1271" fmla="*/ 16280055 h 17966907"/>
                <a:gd name="connsiteX1272" fmla="*/ 13430513 w 13797425"/>
                <a:gd name="connsiteY1272" fmla="*/ 16284819 h 17966907"/>
                <a:gd name="connsiteX1273" fmla="*/ 13435277 w 13797425"/>
                <a:gd name="connsiteY1273" fmla="*/ 16284819 h 17966907"/>
                <a:gd name="connsiteX1274" fmla="*/ 13444805 w 13797425"/>
                <a:gd name="connsiteY1274" fmla="*/ 16275291 h 17966907"/>
                <a:gd name="connsiteX1275" fmla="*/ 13454337 w 13797425"/>
                <a:gd name="connsiteY1275" fmla="*/ 16265759 h 17966907"/>
                <a:gd name="connsiteX1276" fmla="*/ 13463869 w 13797425"/>
                <a:gd name="connsiteY1276" fmla="*/ 16265759 h 17966907"/>
                <a:gd name="connsiteX1277" fmla="*/ 13473397 w 13797425"/>
                <a:gd name="connsiteY1277" fmla="*/ 16256231 h 17966907"/>
                <a:gd name="connsiteX1278" fmla="*/ 13487693 w 13797425"/>
                <a:gd name="connsiteY1278" fmla="*/ 16241935 h 17966907"/>
                <a:gd name="connsiteX1279" fmla="*/ 13497225 w 13797425"/>
                <a:gd name="connsiteY1279" fmla="*/ 16232403 h 17966907"/>
                <a:gd name="connsiteX1280" fmla="*/ 13511517 w 13797425"/>
                <a:gd name="connsiteY1280" fmla="*/ 16222875 h 17966907"/>
                <a:gd name="connsiteX1281" fmla="*/ 13516285 w 13797425"/>
                <a:gd name="connsiteY1281" fmla="*/ 16222875 h 17966907"/>
                <a:gd name="connsiteX1282" fmla="*/ 13511517 w 13797425"/>
                <a:gd name="connsiteY1282" fmla="*/ 16237171 h 17966907"/>
                <a:gd name="connsiteX1283" fmla="*/ 13516285 w 13797425"/>
                <a:gd name="connsiteY1283" fmla="*/ 16256231 h 17966907"/>
                <a:gd name="connsiteX1284" fmla="*/ 13516285 w 13797425"/>
                <a:gd name="connsiteY1284" fmla="*/ 16265759 h 17966907"/>
                <a:gd name="connsiteX1285" fmla="*/ 13516285 w 13797425"/>
                <a:gd name="connsiteY1285" fmla="*/ 16270527 h 17966907"/>
                <a:gd name="connsiteX1286" fmla="*/ 13525813 w 13797425"/>
                <a:gd name="connsiteY1286" fmla="*/ 16256231 h 17966907"/>
                <a:gd name="connsiteX1287" fmla="*/ 13530577 w 13797425"/>
                <a:gd name="connsiteY1287" fmla="*/ 16251463 h 17966907"/>
                <a:gd name="connsiteX1288" fmla="*/ 13540109 w 13797425"/>
                <a:gd name="connsiteY1288" fmla="*/ 16246699 h 17966907"/>
                <a:gd name="connsiteX1289" fmla="*/ 13544873 w 13797425"/>
                <a:gd name="connsiteY1289" fmla="*/ 16246699 h 17966907"/>
                <a:gd name="connsiteX1290" fmla="*/ 13592525 w 13797425"/>
                <a:gd name="connsiteY1290" fmla="*/ 16241935 h 17966907"/>
                <a:gd name="connsiteX1291" fmla="*/ 13611585 w 13797425"/>
                <a:gd name="connsiteY1291" fmla="*/ 16246699 h 17966907"/>
                <a:gd name="connsiteX1292" fmla="*/ 13625881 w 13797425"/>
                <a:gd name="connsiteY1292" fmla="*/ 16256231 h 17966907"/>
                <a:gd name="connsiteX1293" fmla="*/ 13644941 w 13797425"/>
                <a:gd name="connsiteY1293" fmla="*/ 16275291 h 17966907"/>
                <a:gd name="connsiteX1294" fmla="*/ 13654473 w 13797425"/>
                <a:gd name="connsiteY1294" fmla="*/ 16284819 h 17966907"/>
                <a:gd name="connsiteX1295" fmla="*/ 13654473 w 13797425"/>
                <a:gd name="connsiteY1295" fmla="*/ 16303879 h 17966907"/>
                <a:gd name="connsiteX1296" fmla="*/ 13654473 w 13797425"/>
                <a:gd name="connsiteY1296" fmla="*/ 16318175 h 17966907"/>
                <a:gd name="connsiteX1297" fmla="*/ 13640177 w 13797425"/>
                <a:gd name="connsiteY1297" fmla="*/ 16332471 h 17966907"/>
                <a:gd name="connsiteX1298" fmla="*/ 13625881 w 13797425"/>
                <a:gd name="connsiteY1298" fmla="*/ 16342003 h 17966907"/>
                <a:gd name="connsiteX1299" fmla="*/ 13616353 w 13797425"/>
                <a:gd name="connsiteY1299" fmla="*/ 16351531 h 17966907"/>
                <a:gd name="connsiteX1300" fmla="*/ 13616353 w 13797425"/>
                <a:gd name="connsiteY1300" fmla="*/ 16361063 h 17966907"/>
                <a:gd name="connsiteX1301" fmla="*/ 13611585 w 13797425"/>
                <a:gd name="connsiteY1301" fmla="*/ 16365827 h 17966907"/>
                <a:gd name="connsiteX1302" fmla="*/ 13602057 w 13797425"/>
                <a:gd name="connsiteY1302" fmla="*/ 16375359 h 17966907"/>
                <a:gd name="connsiteX1303" fmla="*/ 13563933 w 13797425"/>
                <a:gd name="connsiteY1303" fmla="*/ 16399183 h 17966907"/>
                <a:gd name="connsiteX1304" fmla="*/ 13573465 w 13797425"/>
                <a:gd name="connsiteY1304" fmla="*/ 16399183 h 17966907"/>
                <a:gd name="connsiteX1305" fmla="*/ 13597289 w 13797425"/>
                <a:gd name="connsiteY1305" fmla="*/ 16394419 h 17966907"/>
                <a:gd name="connsiteX1306" fmla="*/ 13611585 w 13797425"/>
                <a:gd name="connsiteY1306" fmla="*/ 16394419 h 17966907"/>
                <a:gd name="connsiteX1307" fmla="*/ 13611585 w 13797425"/>
                <a:gd name="connsiteY1307" fmla="*/ 16399183 h 17966907"/>
                <a:gd name="connsiteX1308" fmla="*/ 13606821 w 13797425"/>
                <a:gd name="connsiteY1308" fmla="*/ 16403947 h 17966907"/>
                <a:gd name="connsiteX1309" fmla="*/ 13592525 w 13797425"/>
                <a:gd name="connsiteY1309" fmla="*/ 16413479 h 17966907"/>
                <a:gd name="connsiteX1310" fmla="*/ 13592525 w 13797425"/>
                <a:gd name="connsiteY1310" fmla="*/ 16418243 h 17966907"/>
                <a:gd name="connsiteX1311" fmla="*/ 13606821 w 13797425"/>
                <a:gd name="connsiteY1311" fmla="*/ 16423011 h 17966907"/>
                <a:gd name="connsiteX1312" fmla="*/ 13621117 w 13797425"/>
                <a:gd name="connsiteY1312" fmla="*/ 16423011 h 17966907"/>
                <a:gd name="connsiteX1313" fmla="*/ 13635413 w 13797425"/>
                <a:gd name="connsiteY1313" fmla="*/ 16423011 h 17966907"/>
                <a:gd name="connsiteX1314" fmla="*/ 13635413 w 13797425"/>
                <a:gd name="connsiteY1314" fmla="*/ 16432539 h 17966907"/>
                <a:gd name="connsiteX1315" fmla="*/ 13621117 w 13797425"/>
                <a:gd name="connsiteY1315" fmla="*/ 16451599 h 17966907"/>
                <a:gd name="connsiteX1316" fmla="*/ 13621117 w 13797425"/>
                <a:gd name="connsiteY1316" fmla="*/ 16461131 h 17966907"/>
                <a:gd name="connsiteX1317" fmla="*/ 13606821 w 13797425"/>
                <a:gd name="connsiteY1317" fmla="*/ 16470659 h 17966907"/>
                <a:gd name="connsiteX1318" fmla="*/ 13578229 w 13797425"/>
                <a:gd name="connsiteY1318" fmla="*/ 16489719 h 17966907"/>
                <a:gd name="connsiteX1319" fmla="*/ 13568701 w 13797425"/>
                <a:gd name="connsiteY1319" fmla="*/ 16494487 h 17966907"/>
                <a:gd name="connsiteX1320" fmla="*/ 13573465 w 13797425"/>
                <a:gd name="connsiteY1320" fmla="*/ 16494487 h 17966907"/>
                <a:gd name="connsiteX1321" fmla="*/ 13597289 w 13797425"/>
                <a:gd name="connsiteY1321" fmla="*/ 16484955 h 17966907"/>
                <a:gd name="connsiteX1322" fmla="*/ 13611585 w 13797425"/>
                <a:gd name="connsiteY1322" fmla="*/ 16480191 h 17966907"/>
                <a:gd name="connsiteX1323" fmla="*/ 13621117 w 13797425"/>
                <a:gd name="connsiteY1323" fmla="*/ 16480191 h 17966907"/>
                <a:gd name="connsiteX1324" fmla="*/ 13630645 w 13797425"/>
                <a:gd name="connsiteY1324" fmla="*/ 16470659 h 17966907"/>
                <a:gd name="connsiteX1325" fmla="*/ 13644941 w 13797425"/>
                <a:gd name="connsiteY1325" fmla="*/ 16465895 h 17966907"/>
                <a:gd name="connsiteX1326" fmla="*/ 13659237 w 13797425"/>
                <a:gd name="connsiteY1326" fmla="*/ 16470659 h 17966907"/>
                <a:gd name="connsiteX1327" fmla="*/ 13678297 w 13797425"/>
                <a:gd name="connsiteY1327" fmla="*/ 16451599 h 17966907"/>
                <a:gd name="connsiteX1328" fmla="*/ 13687829 w 13797425"/>
                <a:gd name="connsiteY1328" fmla="*/ 16451599 h 17966907"/>
                <a:gd name="connsiteX1329" fmla="*/ 13702125 w 13797425"/>
                <a:gd name="connsiteY1329" fmla="*/ 16451599 h 17966907"/>
                <a:gd name="connsiteX1330" fmla="*/ 13711653 w 13797425"/>
                <a:gd name="connsiteY1330" fmla="*/ 16451599 h 17966907"/>
                <a:gd name="connsiteX1331" fmla="*/ 13725949 w 13797425"/>
                <a:gd name="connsiteY1331" fmla="*/ 16437303 h 17966907"/>
                <a:gd name="connsiteX1332" fmla="*/ 13735481 w 13797425"/>
                <a:gd name="connsiteY1332" fmla="*/ 16432539 h 17966907"/>
                <a:gd name="connsiteX1333" fmla="*/ 13740245 w 13797425"/>
                <a:gd name="connsiteY1333" fmla="*/ 16437303 h 17966907"/>
                <a:gd name="connsiteX1334" fmla="*/ 13740245 w 13797425"/>
                <a:gd name="connsiteY1334" fmla="*/ 16451599 h 17966907"/>
                <a:gd name="connsiteX1335" fmla="*/ 13735481 w 13797425"/>
                <a:gd name="connsiteY1335" fmla="*/ 16465895 h 17966907"/>
                <a:gd name="connsiteX1336" fmla="*/ 13735481 w 13797425"/>
                <a:gd name="connsiteY1336" fmla="*/ 16470659 h 17966907"/>
                <a:gd name="connsiteX1337" fmla="*/ 13721185 w 13797425"/>
                <a:gd name="connsiteY1337" fmla="*/ 16489719 h 17966907"/>
                <a:gd name="connsiteX1338" fmla="*/ 13716417 w 13797425"/>
                <a:gd name="connsiteY1338" fmla="*/ 16499251 h 17966907"/>
                <a:gd name="connsiteX1339" fmla="*/ 13706889 w 13797425"/>
                <a:gd name="connsiteY1339" fmla="*/ 16499251 h 17966907"/>
                <a:gd name="connsiteX1340" fmla="*/ 13697357 w 13797425"/>
                <a:gd name="connsiteY1340" fmla="*/ 16499251 h 17966907"/>
                <a:gd name="connsiteX1341" fmla="*/ 13692593 w 13797425"/>
                <a:gd name="connsiteY1341" fmla="*/ 16504015 h 17966907"/>
                <a:gd name="connsiteX1342" fmla="*/ 13683061 w 13797425"/>
                <a:gd name="connsiteY1342" fmla="*/ 16518311 h 17966907"/>
                <a:gd name="connsiteX1343" fmla="*/ 13659237 w 13797425"/>
                <a:gd name="connsiteY1343" fmla="*/ 16532607 h 17966907"/>
                <a:gd name="connsiteX1344" fmla="*/ 13649709 w 13797425"/>
                <a:gd name="connsiteY1344" fmla="*/ 16537371 h 17966907"/>
                <a:gd name="connsiteX1345" fmla="*/ 13654473 w 13797425"/>
                <a:gd name="connsiteY1345" fmla="*/ 16546903 h 17966907"/>
                <a:gd name="connsiteX1346" fmla="*/ 13659237 w 13797425"/>
                <a:gd name="connsiteY1346" fmla="*/ 16561199 h 17966907"/>
                <a:gd name="connsiteX1347" fmla="*/ 13654473 w 13797425"/>
                <a:gd name="connsiteY1347" fmla="*/ 16565963 h 17966907"/>
                <a:gd name="connsiteX1348" fmla="*/ 13635413 w 13797425"/>
                <a:gd name="connsiteY1348" fmla="*/ 16570727 h 17966907"/>
                <a:gd name="connsiteX1349" fmla="*/ 13630645 w 13797425"/>
                <a:gd name="connsiteY1349" fmla="*/ 16570727 h 17966907"/>
                <a:gd name="connsiteX1350" fmla="*/ 13625881 w 13797425"/>
                <a:gd name="connsiteY1350" fmla="*/ 16575495 h 17966907"/>
                <a:gd name="connsiteX1351" fmla="*/ 13606821 w 13797425"/>
                <a:gd name="connsiteY1351" fmla="*/ 16580259 h 17966907"/>
                <a:gd name="connsiteX1352" fmla="*/ 13621117 w 13797425"/>
                <a:gd name="connsiteY1352" fmla="*/ 16585023 h 17966907"/>
                <a:gd name="connsiteX1353" fmla="*/ 13640177 w 13797425"/>
                <a:gd name="connsiteY1353" fmla="*/ 16580259 h 17966907"/>
                <a:gd name="connsiteX1354" fmla="*/ 13644941 w 13797425"/>
                <a:gd name="connsiteY1354" fmla="*/ 16580259 h 17966907"/>
                <a:gd name="connsiteX1355" fmla="*/ 13640177 w 13797425"/>
                <a:gd name="connsiteY1355" fmla="*/ 16594555 h 17966907"/>
                <a:gd name="connsiteX1356" fmla="*/ 13635413 w 13797425"/>
                <a:gd name="connsiteY1356" fmla="*/ 16604083 h 17966907"/>
                <a:gd name="connsiteX1357" fmla="*/ 13611585 w 13797425"/>
                <a:gd name="connsiteY1357" fmla="*/ 16632675 h 17966907"/>
                <a:gd name="connsiteX1358" fmla="*/ 13606821 w 13797425"/>
                <a:gd name="connsiteY1358" fmla="*/ 16632675 h 17966907"/>
                <a:gd name="connsiteX1359" fmla="*/ 13611585 w 13797425"/>
                <a:gd name="connsiteY1359" fmla="*/ 16646971 h 17966907"/>
                <a:gd name="connsiteX1360" fmla="*/ 13616353 w 13797425"/>
                <a:gd name="connsiteY1360" fmla="*/ 16661267 h 17966907"/>
                <a:gd name="connsiteX1361" fmla="*/ 13625881 w 13797425"/>
                <a:gd name="connsiteY1361" fmla="*/ 16666031 h 17966907"/>
                <a:gd name="connsiteX1362" fmla="*/ 13640177 w 13797425"/>
                <a:gd name="connsiteY1362" fmla="*/ 16666031 h 17966907"/>
                <a:gd name="connsiteX1363" fmla="*/ 13649709 w 13797425"/>
                <a:gd name="connsiteY1363" fmla="*/ 16666031 h 17966907"/>
                <a:gd name="connsiteX1364" fmla="*/ 13664001 w 13797425"/>
                <a:gd name="connsiteY1364" fmla="*/ 16646971 h 17966907"/>
                <a:gd name="connsiteX1365" fmla="*/ 13702125 w 13797425"/>
                <a:gd name="connsiteY1365" fmla="*/ 16585023 h 17966907"/>
                <a:gd name="connsiteX1366" fmla="*/ 13730713 w 13797425"/>
                <a:gd name="connsiteY1366" fmla="*/ 16570727 h 17966907"/>
                <a:gd name="connsiteX1367" fmla="*/ 13754541 w 13797425"/>
                <a:gd name="connsiteY1367" fmla="*/ 16551667 h 17966907"/>
                <a:gd name="connsiteX1368" fmla="*/ 13764069 w 13797425"/>
                <a:gd name="connsiteY1368" fmla="*/ 16556431 h 17966907"/>
                <a:gd name="connsiteX1369" fmla="*/ 13764069 w 13797425"/>
                <a:gd name="connsiteY1369" fmla="*/ 16565963 h 17966907"/>
                <a:gd name="connsiteX1370" fmla="*/ 13749773 w 13797425"/>
                <a:gd name="connsiteY1370" fmla="*/ 16580259 h 17966907"/>
                <a:gd name="connsiteX1371" fmla="*/ 13745009 w 13797425"/>
                <a:gd name="connsiteY1371" fmla="*/ 16589787 h 17966907"/>
                <a:gd name="connsiteX1372" fmla="*/ 13725949 w 13797425"/>
                <a:gd name="connsiteY1372" fmla="*/ 16627911 h 17966907"/>
                <a:gd name="connsiteX1373" fmla="*/ 13721185 w 13797425"/>
                <a:gd name="connsiteY1373" fmla="*/ 16646971 h 17966907"/>
                <a:gd name="connsiteX1374" fmla="*/ 13716417 w 13797425"/>
                <a:gd name="connsiteY1374" fmla="*/ 16666031 h 17966907"/>
                <a:gd name="connsiteX1375" fmla="*/ 13716417 w 13797425"/>
                <a:gd name="connsiteY1375" fmla="*/ 16699387 h 17966907"/>
                <a:gd name="connsiteX1376" fmla="*/ 13721185 w 13797425"/>
                <a:gd name="connsiteY1376" fmla="*/ 16704151 h 17966907"/>
                <a:gd name="connsiteX1377" fmla="*/ 13725949 w 13797425"/>
                <a:gd name="connsiteY1377" fmla="*/ 16713683 h 17966907"/>
                <a:gd name="connsiteX1378" fmla="*/ 13735481 w 13797425"/>
                <a:gd name="connsiteY1378" fmla="*/ 16704151 h 17966907"/>
                <a:gd name="connsiteX1379" fmla="*/ 13754541 w 13797425"/>
                <a:gd name="connsiteY1379" fmla="*/ 16689855 h 17966907"/>
                <a:gd name="connsiteX1380" fmla="*/ 13764069 w 13797425"/>
                <a:gd name="connsiteY1380" fmla="*/ 16675559 h 17966907"/>
                <a:gd name="connsiteX1381" fmla="*/ 13773601 w 13797425"/>
                <a:gd name="connsiteY1381" fmla="*/ 16646971 h 17966907"/>
                <a:gd name="connsiteX1382" fmla="*/ 13778365 w 13797425"/>
                <a:gd name="connsiteY1382" fmla="*/ 16637439 h 17966907"/>
                <a:gd name="connsiteX1383" fmla="*/ 13783129 w 13797425"/>
                <a:gd name="connsiteY1383" fmla="*/ 16637439 h 17966907"/>
                <a:gd name="connsiteX1384" fmla="*/ 13787897 w 13797425"/>
                <a:gd name="connsiteY1384" fmla="*/ 16646971 h 17966907"/>
                <a:gd name="connsiteX1385" fmla="*/ 13787897 w 13797425"/>
                <a:gd name="connsiteY1385" fmla="*/ 16656499 h 17966907"/>
                <a:gd name="connsiteX1386" fmla="*/ 13797425 w 13797425"/>
                <a:gd name="connsiteY1386" fmla="*/ 16675559 h 17966907"/>
                <a:gd name="connsiteX1387" fmla="*/ 13797425 w 13797425"/>
                <a:gd name="connsiteY1387" fmla="*/ 16689855 h 17966907"/>
                <a:gd name="connsiteX1388" fmla="*/ 13797425 w 13797425"/>
                <a:gd name="connsiteY1388" fmla="*/ 16708915 h 17966907"/>
                <a:gd name="connsiteX1389" fmla="*/ 13792661 w 13797425"/>
                <a:gd name="connsiteY1389" fmla="*/ 16718447 h 17966907"/>
                <a:gd name="connsiteX1390" fmla="*/ 13759305 w 13797425"/>
                <a:gd name="connsiteY1390" fmla="*/ 16794691 h 17966907"/>
                <a:gd name="connsiteX1391" fmla="*/ 13759305 w 13797425"/>
                <a:gd name="connsiteY1391" fmla="*/ 16804219 h 17966907"/>
                <a:gd name="connsiteX1392" fmla="*/ 13764069 w 13797425"/>
                <a:gd name="connsiteY1392" fmla="*/ 16813751 h 17966907"/>
                <a:gd name="connsiteX1393" fmla="*/ 13759305 w 13797425"/>
                <a:gd name="connsiteY1393" fmla="*/ 16823279 h 17966907"/>
                <a:gd name="connsiteX1394" fmla="*/ 13749773 w 13797425"/>
                <a:gd name="connsiteY1394" fmla="*/ 16856635 h 17966907"/>
                <a:gd name="connsiteX1395" fmla="*/ 13740245 w 13797425"/>
                <a:gd name="connsiteY1395" fmla="*/ 16880463 h 17966907"/>
                <a:gd name="connsiteX1396" fmla="*/ 13730713 w 13797425"/>
                <a:gd name="connsiteY1396" fmla="*/ 16889991 h 17966907"/>
                <a:gd name="connsiteX1397" fmla="*/ 13725949 w 13797425"/>
                <a:gd name="connsiteY1397" fmla="*/ 16894755 h 17966907"/>
                <a:gd name="connsiteX1398" fmla="*/ 13716417 w 13797425"/>
                <a:gd name="connsiteY1398" fmla="*/ 16899523 h 17966907"/>
                <a:gd name="connsiteX1399" fmla="*/ 13711653 w 13797425"/>
                <a:gd name="connsiteY1399" fmla="*/ 16894755 h 17966907"/>
                <a:gd name="connsiteX1400" fmla="*/ 13702125 w 13797425"/>
                <a:gd name="connsiteY1400" fmla="*/ 16885227 h 17966907"/>
                <a:gd name="connsiteX1401" fmla="*/ 13697357 w 13797425"/>
                <a:gd name="connsiteY1401" fmla="*/ 16880463 h 17966907"/>
                <a:gd name="connsiteX1402" fmla="*/ 13692593 w 13797425"/>
                <a:gd name="connsiteY1402" fmla="*/ 16880463 h 17966907"/>
                <a:gd name="connsiteX1403" fmla="*/ 13683061 w 13797425"/>
                <a:gd name="connsiteY1403" fmla="*/ 16880463 h 17966907"/>
                <a:gd name="connsiteX1404" fmla="*/ 13659237 w 13797425"/>
                <a:gd name="connsiteY1404" fmla="*/ 16899523 h 17966907"/>
                <a:gd name="connsiteX1405" fmla="*/ 13654473 w 13797425"/>
                <a:gd name="connsiteY1405" fmla="*/ 16899523 h 17966907"/>
                <a:gd name="connsiteX1406" fmla="*/ 13649709 w 13797425"/>
                <a:gd name="connsiteY1406" fmla="*/ 16899523 h 17966907"/>
                <a:gd name="connsiteX1407" fmla="*/ 13649709 w 13797425"/>
                <a:gd name="connsiteY1407" fmla="*/ 16889991 h 17966907"/>
                <a:gd name="connsiteX1408" fmla="*/ 13649709 w 13797425"/>
                <a:gd name="connsiteY1408" fmla="*/ 16842339 h 17966907"/>
                <a:gd name="connsiteX1409" fmla="*/ 13654473 w 13797425"/>
                <a:gd name="connsiteY1409" fmla="*/ 16828047 h 17966907"/>
                <a:gd name="connsiteX1410" fmla="*/ 13649709 w 13797425"/>
                <a:gd name="connsiteY1410" fmla="*/ 16813751 h 17966907"/>
                <a:gd name="connsiteX1411" fmla="*/ 13654473 w 13797425"/>
                <a:gd name="connsiteY1411" fmla="*/ 16794691 h 17966907"/>
                <a:gd name="connsiteX1412" fmla="*/ 13654473 w 13797425"/>
                <a:gd name="connsiteY1412" fmla="*/ 16785159 h 17966907"/>
                <a:gd name="connsiteX1413" fmla="*/ 13649709 w 13797425"/>
                <a:gd name="connsiteY1413" fmla="*/ 16785159 h 17966907"/>
                <a:gd name="connsiteX1414" fmla="*/ 13644941 w 13797425"/>
                <a:gd name="connsiteY1414" fmla="*/ 16785159 h 17966907"/>
                <a:gd name="connsiteX1415" fmla="*/ 13635413 w 13797425"/>
                <a:gd name="connsiteY1415" fmla="*/ 16794691 h 17966907"/>
                <a:gd name="connsiteX1416" fmla="*/ 13621117 w 13797425"/>
                <a:gd name="connsiteY1416" fmla="*/ 16813751 h 17966907"/>
                <a:gd name="connsiteX1417" fmla="*/ 13611585 w 13797425"/>
                <a:gd name="connsiteY1417" fmla="*/ 16828047 h 17966907"/>
                <a:gd name="connsiteX1418" fmla="*/ 13587761 w 13797425"/>
                <a:gd name="connsiteY1418" fmla="*/ 16851871 h 17966907"/>
                <a:gd name="connsiteX1419" fmla="*/ 13573465 w 13797425"/>
                <a:gd name="connsiteY1419" fmla="*/ 16856635 h 17966907"/>
                <a:gd name="connsiteX1420" fmla="*/ 13568701 w 13797425"/>
                <a:gd name="connsiteY1420" fmla="*/ 16851871 h 17966907"/>
                <a:gd name="connsiteX1421" fmla="*/ 13559169 w 13797425"/>
                <a:gd name="connsiteY1421" fmla="*/ 16842339 h 17966907"/>
                <a:gd name="connsiteX1422" fmla="*/ 13559169 w 13797425"/>
                <a:gd name="connsiteY1422" fmla="*/ 16837575 h 17966907"/>
                <a:gd name="connsiteX1423" fmla="*/ 13563933 w 13797425"/>
                <a:gd name="connsiteY1423" fmla="*/ 16823279 h 17966907"/>
                <a:gd name="connsiteX1424" fmla="*/ 13573465 w 13797425"/>
                <a:gd name="connsiteY1424" fmla="*/ 16794691 h 17966907"/>
                <a:gd name="connsiteX1425" fmla="*/ 13592525 w 13797425"/>
                <a:gd name="connsiteY1425" fmla="*/ 16756567 h 17966907"/>
                <a:gd name="connsiteX1426" fmla="*/ 13606821 w 13797425"/>
                <a:gd name="connsiteY1426" fmla="*/ 16727979 h 17966907"/>
                <a:gd name="connsiteX1427" fmla="*/ 13611585 w 13797425"/>
                <a:gd name="connsiteY1427" fmla="*/ 16713683 h 17966907"/>
                <a:gd name="connsiteX1428" fmla="*/ 13606821 w 13797425"/>
                <a:gd name="connsiteY1428" fmla="*/ 16708915 h 17966907"/>
                <a:gd name="connsiteX1429" fmla="*/ 13602057 w 13797425"/>
                <a:gd name="connsiteY1429" fmla="*/ 16699387 h 17966907"/>
                <a:gd name="connsiteX1430" fmla="*/ 13597289 w 13797425"/>
                <a:gd name="connsiteY1430" fmla="*/ 16666031 h 17966907"/>
                <a:gd name="connsiteX1431" fmla="*/ 13587761 w 13797425"/>
                <a:gd name="connsiteY1431" fmla="*/ 16642207 h 17966907"/>
                <a:gd name="connsiteX1432" fmla="*/ 13578229 w 13797425"/>
                <a:gd name="connsiteY1432" fmla="*/ 16632675 h 17966907"/>
                <a:gd name="connsiteX1433" fmla="*/ 13559169 w 13797425"/>
                <a:gd name="connsiteY1433" fmla="*/ 16618379 h 17966907"/>
                <a:gd name="connsiteX1434" fmla="*/ 13554405 w 13797425"/>
                <a:gd name="connsiteY1434" fmla="*/ 16618379 h 17966907"/>
                <a:gd name="connsiteX1435" fmla="*/ 13549641 w 13797425"/>
                <a:gd name="connsiteY1435" fmla="*/ 16637439 h 17966907"/>
                <a:gd name="connsiteX1436" fmla="*/ 13525813 w 13797425"/>
                <a:gd name="connsiteY1436" fmla="*/ 16689855 h 17966907"/>
                <a:gd name="connsiteX1437" fmla="*/ 13521049 w 13797425"/>
                <a:gd name="connsiteY1437" fmla="*/ 16708915 h 17966907"/>
                <a:gd name="connsiteX1438" fmla="*/ 13516285 w 13797425"/>
                <a:gd name="connsiteY1438" fmla="*/ 16718447 h 17966907"/>
                <a:gd name="connsiteX1439" fmla="*/ 13511517 w 13797425"/>
                <a:gd name="connsiteY1439" fmla="*/ 16723211 h 17966907"/>
                <a:gd name="connsiteX1440" fmla="*/ 13501989 w 13797425"/>
                <a:gd name="connsiteY1440" fmla="*/ 16727979 h 17966907"/>
                <a:gd name="connsiteX1441" fmla="*/ 13501989 w 13797425"/>
                <a:gd name="connsiteY1441" fmla="*/ 16718447 h 17966907"/>
                <a:gd name="connsiteX1442" fmla="*/ 13516285 w 13797425"/>
                <a:gd name="connsiteY1442" fmla="*/ 16694623 h 17966907"/>
                <a:gd name="connsiteX1443" fmla="*/ 13511517 w 13797425"/>
                <a:gd name="connsiteY1443" fmla="*/ 16689855 h 17966907"/>
                <a:gd name="connsiteX1444" fmla="*/ 13497225 w 13797425"/>
                <a:gd name="connsiteY1444" fmla="*/ 16708915 h 17966907"/>
                <a:gd name="connsiteX1445" fmla="*/ 13487693 w 13797425"/>
                <a:gd name="connsiteY1445" fmla="*/ 16723211 h 17966907"/>
                <a:gd name="connsiteX1446" fmla="*/ 13473397 w 13797425"/>
                <a:gd name="connsiteY1446" fmla="*/ 16727979 h 17966907"/>
                <a:gd name="connsiteX1447" fmla="*/ 13463869 w 13797425"/>
                <a:gd name="connsiteY1447" fmla="*/ 16723211 h 17966907"/>
                <a:gd name="connsiteX1448" fmla="*/ 13454337 w 13797425"/>
                <a:gd name="connsiteY1448" fmla="*/ 16727979 h 17966907"/>
                <a:gd name="connsiteX1449" fmla="*/ 13416217 w 13797425"/>
                <a:gd name="connsiteY1449" fmla="*/ 16775627 h 17966907"/>
                <a:gd name="connsiteX1450" fmla="*/ 13416217 w 13797425"/>
                <a:gd name="connsiteY1450" fmla="*/ 16794691 h 17966907"/>
                <a:gd name="connsiteX1451" fmla="*/ 13411449 w 13797425"/>
                <a:gd name="connsiteY1451" fmla="*/ 16804219 h 17966907"/>
                <a:gd name="connsiteX1452" fmla="*/ 13392389 w 13797425"/>
                <a:gd name="connsiteY1452" fmla="*/ 16828047 h 17966907"/>
                <a:gd name="connsiteX1453" fmla="*/ 13382861 w 13797425"/>
                <a:gd name="connsiteY1453" fmla="*/ 16837575 h 17966907"/>
                <a:gd name="connsiteX1454" fmla="*/ 13368565 w 13797425"/>
                <a:gd name="connsiteY1454" fmla="*/ 16837575 h 17966907"/>
                <a:gd name="connsiteX1455" fmla="*/ 13359033 w 13797425"/>
                <a:gd name="connsiteY1455" fmla="*/ 16837575 h 17966907"/>
                <a:gd name="connsiteX1456" fmla="*/ 13349505 w 13797425"/>
                <a:gd name="connsiteY1456" fmla="*/ 16837575 h 17966907"/>
                <a:gd name="connsiteX1457" fmla="*/ 13330445 w 13797425"/>
                <a:gd name="connsiteY1457" fmla="*/ 16842339 h 17966907"/>
                <a:gd name="connsiteX1458" fmla="*/ 13306617 w 13797425"/>
                <a:gd name="connsiteY1458" fmla="*/ 16847107 h 17966907"/>
                <a:gd name="connsiteX1459" fmla="*/ 13301853 w 13797425"/>
                <a:gd name="connsiteY1459" fmla="*/ 16847107 h 17966907"/>
                <a:gd name="connsiteX1460" fmla="*/ 13292321 w 13797425"/>
                <a:gd name="connsiteY1460" fmla="*/ 16842339 h 17966907"/>
                <a:gd name="connsiteX1461" fmla="*/ 13282793 w 13797425"/>
                <a:gd name="connsiteY1461" fmla="*/ 16832811 h 17966907"/>
                <a:gd name="connsiteX1462" fmla="*/ 13282793 w 13797425"/>
                <a:gd name="connsiteY1462" fmla="*/ 16828047 h 17966907"/>
                <a:gd name="connsiteX1463" fmla="*/ 13282793 w 13797425"/>
                <a:gd name="connsiteY1463" fmla="*/ 16823279 h 17966907"/>
                <a:gd name="connsiteX1464" fmla="*/ 13287557 w 13797425"/>
                <a:gd name="connsiteY1464" fmla="*/ 16813751 h 17966907"/>
                <a:gd name="connsiteX1465" fmla="*/ 13301853 w 13797425"/>
                <a:gd name="connsiteY1465" fmla="*/ 16799455 h 17966907"/>
                <a:gd name="connsiteX1466" fmla="*/ 13311385 w 13797425"/>
                <a:gd name="connsiteY1466" fmla="*/ 16794691 h 17966907"/>
                <a:gd name="connsiteX1467" fmla="*/ 13335209 w 13797425"/>
                <a:gd name="connsiteY1467" fmla="*/ 16789923 h 17966907"/>
                <a:gd name="connsiteX1468" fmla="*/ 13354269 w 13797425"/>
                <a:gd name="connsiteY1468" fmla="*/ 16780395 h 17966907"/>
                <a:gd name="connsiteX1469" fmla="*/ 13368565 w 13797425"/>
                <a:gd name="connsiteY1469" fmla="*/ 16766099 h 17966907"/>
                <a:gd name="connsiteX1470" fmla="*/ 13373329 w 13797425"/>
                <a:gd name="connsiteY1470" fmla="*/ 16756567 h 17966907"/>
                <a:gd name="connsiteX1471" fmla="*/ 13401921 w 13797425"/>
                <a:gd name="connsiteY1471" fmla="*/ 16713683 h 17966907"/>
                <a:gd name="connsiteX1472" fmla="*/ 13435277 w 13797425"/>
                <a:gd name="connsiteY1472" fmla="*/ 16699387 h 17966907"/>
                <a:gd name="connsiteX1473" fmla="*/ 13454337 w 13797425"/>
                <a:gd name="connsiteY1473" fmla="*/ 16685091 h 17966907"/>
                <a:gd name="connsiteX1474" fmla="*/ 13463869 w 13797425"/>
                <a:gd name="connsiteY1474" fmla="*/ 16670795 h 17966907"/>
                <a:gd name="connsiteX1475" fmla="*/ 13463869 w 13797425"/>
                <a:gd name="connsiteY1475" fmla="*/ 16661267 h 17966907"/>
                <a:gd name="connsiteX1476" fmla="*/ 13449573 w 13797425"/>
                <a:gd name="connsiteY1476" fmla="*/ 16670795 h 17966907"/>
                <a:gd name="connsiteX1477" fmla="*/ 13440041 w 13797425"/>
                <a:gd name="connsiteY1477" fmla="*/ 16675559 h 17966907"/>
                <a:gd name="connsiteX1478" fmla="*/ 13425745 w 13797425"/>
                <a:gd name="connsiteY1478" fmla="*/ 16670795 h 17966907"/>
                <a:gd name="connsiteX1479" fmla="*/ 13420981 w 13797425"/>
                <a:gd name="connsiteY1479" fmla="*/ 16666031 h 17966907"/>
                <a:gd name="connsiteX1480" fmla="*/ 13401921 w 13797425"/>
                <a:gd name="connsiteY1480" fmla="*/ 16666031 h 17966907"/>
                <a:gd name="connsiteX1481" fmla="*/ 13373329 w 13797425"/>
                <a:gd name="connsiteY1481" fmla="*/ 16666031 h 17966907"/>
                <a:gd name="connsiteX1482" fmla="*/ 13368565 w 13797425"/>
                <a:gd name="connsiteY1482" fmla="*/ 16670795 h 17966907"/>
                <a:gd name="connsiteX1483" fmla="*/ 13368565 w 13797425"/>
                <a:gd name="connsiteY1483" fmla="*/ 16689855 h 17966907"/>
                <a:gd name="connsiteX1484" fmla="*/ 13363801 w 13797425"/>
                <a:gd name="connsiteY1484" fmla="*/ 16699387 h 17966907"/>
                <a:gd name="connsiteX1485" fmla="*/ 13359033 w 13797425"/>
                <a:gd name="connsiteY1485" fmla="*/ 16704151 h 17966907"/>
                <a:gd name="connsiteX1486" fmla="*/ 13354269 w 13797425"/>
                <a:gd name="connsiteY1486" fmla="*/ 16708915 h 17966907"/>
                <a:gd name="connsiteX1487" fmla="*/ 13339973 w 13797425"/>
                <a:gd name="connsiteY1487" fmla="*/ 16708915 h 17966907"/>
                <a:gd name="connsiteX1488" fmla="*/ 13311385 w 13797425"/>
                <a:gd name="connsiteY1488" fmla="*/ 16704151 h 17966907"/>
                <a:gd name="connsiteX1489" fmla="*/ 13306617 w 13797425"/>
                <a:gd name="connsiteY1489" fmla="*/ 16699387 h 17966907"/>
                <a:gd name="connsiteX1490" fmla="*/ 13297089 w 13797425"/>
                <a:gd name="connsiteY1490" fmla="*/ 16694623 h 17966907"/>
                <a:gd name="connsiteX1491" fmla="*/ 13263733 w 13797425"/>
                <a:gd name="connsiteY1491" fmla="*/ 16704151 h 17966907"/>
                <a:gd name="connsiteX1492" fmla="*/ 13254201 w 13797425"/>
                <a:gd name="connsiteY1492" fmla="*/ 16699387 h 17966907"/>
                <a:gd name="connsiteX1493" fmla="*/ 13263733 w 13797425"/>
                <a:gd name="connsiteY1493" fmla="*/ 16694623 h 17966907"/>
                <a:gd name="connsiteX1494" fmla="*/ 13297089 w 13797425"/>
                <a:gd name="connsiteY1494" fmla="*/ 16680327 h 17966907"/>
                <a:gd name="connsiteX1495" fmla="*/ 13301853 w 13797425"/>
                <a:gd name="connsiteY1495" fmla="*/ 16632675 h 17966907"/>
                <a:gd name="connsiteX1496" fmla="*/ 13297089 w 13797425"/>
                <a:gd name="connsiteY1496" fmla="*/ 16627911 h 17966907"/>
                <a:gd name="connsiteX1497" fmla="*/ 13287557 w 13797425"/>
                <a:gd name="connsiteY1497" fmla="*/ 16632675 h 17966907"/>
                <a:gd name="connsiteX1498" fmla="*/ 13273261 w 13797425"/>
                <a:gd name="connsiteY1498" fmla="*/ 16642207 h 17966907"/>
                <a:gd name="connsiteX1499" fmla="*/ 13258965 w 13797425"/>
                <a:gd name="connsiteY1499" fmla="*/ 16637439 h 17966907"/>
                <a:gd name="connsiteX1500" fmla="*/ 13254201 w 13797425"/>
                <a:gd name="connsiteY1500" fmla="*/ 16632675 h 17966907"/>
                <a:gd name="connsiteX1501" fmla="*/ 13254201 w 13797425"/>
                <a:gd name="connsiteY1501" fmla="*/ 16637439 h 17966907"/>
                <a:gd name="connsiteX1502" fmla="*/ 13239905 w 13797425"/>
                <a:gd name="connsiteY1502" fmla="*/ 16661267 h 17966907"/>
                <a:gd name="connsiteX1503" fmla="*/ 13235141 w 13797425"/>
                <a:gd name="connsiteY1503" fmla="*/ 16666031 h 17966907"/>
                <a:gd name="connsiteX1504" fmla="*/ 13225609 w 13797425"/>
                <a:gd name="connsiteY1504" fmla="*/ 16666031 h 17966907"/>
                <a:gd name="connsiteX1505" fmla="*/ 13201785 w 13797425"/>
                <a:gd name="connsiteY1505" fmla="*/ 16675559 h 17966907"/>
                <a:gd name="connsiteX1506" fmla="*/ 13163665 w 13797425"/>
                <a:gd name="connsiteY1506" fmla="*/ 16680327 h 17966907"/>
                <a:gd name="connsiteX1507" fmla="*/ 13154133 w 13797425"/>
                <a:gd name="connsiteY1507" fmla="*/ 16685091 h 17966907"/>
                <a:gd name="connsiteX1508" fmla="*/ 13125545 w 13797425"/>
                <a:gd name="connsiteY1508" fmla="*/ 16685091 h 17966907"/>
                <a:gd name="connsiteX1509" fmla="*/ 13044537 w 13797425"/>
                <a:gd name="connsiteY1509" fmla="*/ 16670795 h 17966907"/>
                <a:gd name="connsiteX1510" fmla="*/ 13015945 w 13797425"/>
                <a:gd name="connsiteY1510" fmla="*/ 16670795 h 17966907"/>
                <a:gd name="connsiteX1511" fmla="*/ 12982589 w 13797425"/>
                <a:gd name="connsiteY1511" fmla="*/ 16666031 h 17966907"/>
                <a:gd name="connsiteX1512" fmla="*/ 12973057 w 13797425"/>
                <a:gd name="connsiteY1512" fmla="*/ 16661267 h 17966907"/>
                <a:gd name="connsiteX1513" fmla="*/ 12925409 w 13797425"/>
                <a:gd name="connsiteY1513" fmla="*/ 16661267 h 17966907"/>
                <a:gd name="connsiteX1514" fmla="*/ 12911113 w 13797425"/>
                <a:gd name="connsiteY1514" fmla="*/ 16661267 h 17966907"/>
                <a:gd name="connsiteX1515" fmla="*/ 12911113 w 13797425"/>
                <a:gd name="connsiteY1515" fmla="*/ 16651735 h 17966907"/>
                <a:gd name="connsiteX1516" fmla="*/ 12911113 w 13797425"/>
                <a:gd name="connsiteY1516" fmla="*/ 16646971 h 17966907"/>
                <a:gd name="connsiteX1517" fmla="*/ 12896817 w 13797425"/>
                <a:gd name="connsiteY1517" fmla="*/ 16656499 h 17966907"/>
                <a:gd name="connsiteX1518" fmla="*/ 12882521 w 13797425"/>
                <a:gd name="connsiteY1518" fmla="*/ 16666031 h 17966907"/>
                <a:gd name="connsiteX1519" fmla="*/ 12868225 w 13797425"/>
                <a:gd name="connsiteY1519" fmla="*/ 16670795 h 17966907"/>
                <a:gd name="connsiteX1520" fmla="*/ 12815809 w 13797425"/>
                <a:gd name="connsiteY1520" fmla="*/ 16685091 h 17966907"/>
                <a:gd name="connsiteX1521" fmla="*/ 12787221 w 13797425"/>
                <a:gd name="connsiteY1521" fmla="*/ 16685091 h 17966907"/>
                <a:gd name="connsiteX1522" fmla="*/ 12772925 w 13797425"/>
                <a:gd name="connsiteY1522" fmla="*/ 16675559 h 17966907"/>
                <a:gd name="connsiteX1523" fmla="*/ 12768157 w 13797425"/>
                <a:gd name="connsiteY1523" fmla="*/ 16670795 h 17966907"/>
                <a:gd name="connsiteX1524" fmla="*/ 12758629 w 13797425"/>
                <a:gd name="connsiteY1524" fmla="*/ 16646971 h 17966907"/>
                <a:gd name="connsiteX1525" fmla="*/ 12749097 w 13797425"/>
                <a:gd name="connsiteY1525" fmla="*/ 16618379 h 17966907"/>
                <a:gd name="connsiteX1526" fmla="*/ 12749097 w 13797425"/>
                <a:gd name="connsiteY1526" fmla="*/ 16613615 h 17966907"/>
                <a:gd name="connsiteX1527" fmla="*/ 12753865 w 13797425"/>
                <a:gd name="connsiteY1527" fmla="*/ 16599319 h 17966907"/>
                <a:gd name="connsiteX1528" fmla="*/ 12763393 w 13797425"/>
                <a:gd name="connsiteY1528" fmla="*/ 16585023 h 17966907"/>
                <a:gd name="connsiteX1529" fmla="*/ 12811045 w 13797425"/>
                <a:gd name="connsiteY1529" fmla="*/ 16546903 h 17966907"/>
                <a:gd name="connsiteX1530" fmla="*/ 12853929 w 13797425"/>
                <a:gd name="connsiteY1530" fmla="*/ 16508783 h 17966907"/>
                <a:gd name="connsiteX1531" fmla="*/ 12868225 w 13797425"/>
                <a:gd name="connsiteY1531" fmla="*/ 16489719 h 17966907"/>
                <a:gd name="connsiteX1532" fmla="*/ 12882521 w 13797425"/>
                <a:gd name="connsiteY1532" fmla="*/ 16480191 h 17966907"/>
                <a:gd name="connsiteX1533" fmla="*/ 12911113 w 13797425"/>
                <a:gd name="connsiteY1533" fmla="*/ 16465895 h 17966907"/>
                <a:gd name="connsiteX1534" fmla="*/ 12911113 w 13797425"/>
                <a:gd name="connsiteY1534" fmla="*/ 16461131 h 17966907"/>
                <a:gd name="connsiteX1535" fmla="*/ 12887285 w 13797425"/>
                <a:gd name="connsiteY1535" fmla="*/ 16465895 h 17966907"/>
                <a:gd name="connsiteX1536" fmla="*/ 12868225 w 13797425"/>
                <a:gd name="connsiteY1536" fmla="*/ 16461131 h 17966907"/>
                <a:gd name="connsiteX1537" fmla="*/ 12849165 w 13797425"/>
                <a:gd name="connsiteY1537" fmla="*/ 16456367 h 17966907"/>
                <a:gd name="connsiteX1538" fmla="*/ 12815809 w 13797425"/>
                <a:gd name="connsiteY1538" fmla="*/ 16461131 h 17966907"/>
                <a:gd name="connsiteX1539" fmla="*/ 12782453 w 13797425"/>
                <a:gd name="connsiteY1539" fmla="*/ 16461131 h 17966907"/>
                <a:gd name="connsiteX1540" fmla="*/ 12782453 w 13797425"/>
                <a:gd name="connsiteY1540" fmla="*/ 16456367 h 17966907"/>
                <a:gd name="connsiteX1541" fmla="*/ 12796749 w 13797425"/>
                <a:gd name="connsiteY1541" fmla="*/ 16437303 h 17966907"/>
                <a:gd name="connsiteX1542" fmla="*/ 12830105 w 13797425"/>
                <a:gd name="connsiteY1542" fmla="*/ 16408715 h 17966907"/>
                <a:gd name="connsiteX1543" fmla="*/ 12834869 w 13797425"/>
                <a:gd name="connsiteY1543" fmla="*/ 16408715 h 17966907"/>
                <a:gd name="connsiteX1544" fmla="*/ 12825341 w 13797425"/>
                <a:gd name="connsiteY1544" fmla="*/ 16423011 h 17966907"/>
                <a:gd name="connsiteX1545" fmla="*/ 12820573 w 13797425"/>
                <a:gd name="connsiteY1545" fmla="*/ 16432539 h 17966907"/>
                <a:gd name="connsiteX1546" fmla="*/ 12825341 w 13797425"/>
                <a:gd name="connsiteY1546" fmla="*/ 16437303 h 17966907"/>
                <a:gd name="connsiteX1547" fmla="*/ 12830105 w 13797425"/>
                <a:gd name="connsiteY1547" fmla="*/ 16442071 h 17966907"/>
                <a:gd name="connsiteX1548" fmla="*/ 12849165 w 13797425"/>
                <a:gd name="connsiteY1548" fmla="*/ 16446835 h 17966907"/>
                <a:gd name="connsiteX1549" fmla="*/ 12853929 w 13797425"/>
                <a:gd name="connsiteY1549" fmla="*/ 16437303 h 17966907"/>
                <a:gd name="connsiteX1550" fmla="*/ 12863461 w 13797425"/>
                <a:gd name="connsiteY1550" fmla="*/ 16408715 h 17966907"/>
                <a:gd name="connsiteX1551" fmla="*/ 12877757 w 13797425"/>
                <a:gd name="connsiteY1551" fmla="*/ 16375359 h 17966907"/>
                <a:gd name="connsiteX1552" fmla="*/ 12887285 w 13797425"/>
                <a:gd name="connsiteY1552" fmla="*/ 16351531 h 17966907"/>
                <a:gd name="connsiteX1553" fmla="*/ 12901581 w 13797425"/>
                <a:gd name="connsiteY1553" fmla="*/ 16327707 h 17966907"/>
                <a:gd name="connsiteX1554" fmla="*/ 12906349 w 13797425"/>
                <a:gd name="connsiteY1554" fmla="*/ 16327707 h 17966907"/>
                <a:gd name="connsiteX1555" fmla="*/ 12911113 w 13797425"/>
                <a:gd name="connsiteY1555" fmla="*/ 16332471 h 17966907"/>
                <a:gd name="connsiteX1556" fmla="*/ 12934937 w 13797425"/>
                <a:gd name="connsiteY1556" fmla="*/ 16337235 h 17966907"/>
                <a:gd name="connsiteX1557" fmla="*/ 12953997 w 13797425"/>
                <a:gd name="connsiteY1557" fmla="*/ 16351531 h 17966907"/>
                <a:gd name="connsiteX1558" fmla="*/ 12963529 w 13797425"/>
                <a:gd name="connsiteY1558" fmla="*/ 16356299 h 17966907"/>
                <a:gd name="connsiteX1559" fmla="*/ 12963529 w 13797425"/>
                <a:gd name="connsiteY1559" fmla="*/ 16351531 h 17966907"/>
                <a:gd name="connsiteX1560" fmla="*/ 12958765 w 13797425"/>
                <a:gd name="connsiteY1560" fmla="*/ 16346767 h 17966907"/>
                <a:gd name="connsiteX1561" fmla="*/ 12949233 w 13797425"/>
                <a:gd name="connsiteY1561" fmla="*/ 16337235 h 17966907"/>
                <a:gd name="connsiteX1562" fmla="*/ 12949233 w 13797425"/>
                <a:gd name="connsiteY1562" fmla="*/ 16332471 h 17966907"/>
                <a:gd name="connsiteX1563" fmla="*/ 12953997 w 13797425"/>
                <a:gd name="connsiteY1563" fmla="*/ 16308647 h 17966907"/>
                <a:gd name="connsiteX1564" fmla="*/ 12963529 w 13797425"/>
                <a:gd name="connsiteY1564" fmla="*/ 16299115 h 17966907"/>
                <a:gd name="connsiteX1565" fmla="*/ 12968293 w 13797425"/>
                <a:gd name="connsiteY1565" fmla="*/ 16294351 h 17966907"/>
                <a:gd name="connsiteX1566" fmla="*/ 12949233 w 13797425"/>
                <a:gd name="connsiteY1566" fmla="*/ 16294351 h 17966907"/>
                <a:gd name="connsiteX1567" fmla="*/ 12934937 w 13797425"/>
                <a:gd name="connsiteY1567" fmla="*/ 16289587 h 17966907"/>
                <a:gd name="connsiteX1568" fmla="*/ 12930173 w 13797425"/>
                <a:gd name="connsiteY1568" fmla="*/ 16275291 h 17966907"/>
                <a:gd name="connsiteX1569" fmla="*/ 12930173 w 13797425"/>
                <a:gd name="connsiteY1569" fmla="*/ 16256231 h 17966907"/>
                <a:gd name="connsiteX1570" fmla="*/ 12934937 w 13797425"/>
                <a:gd name="connsiteY1570" fmla="*/ 16246699 h 17966907"/>
                <a:gd name="connsiteX1571" fmla="*/ 12944469 w 13797425"/>
                <a:gd name="connsiteY1571" fmla="*/ 16227639 h 17966907"/>
                <a:gd name="connsiteX1572" fmla="*/ 12958765 w 13797425"/>
                <a:gd name="connsiteY1572" fmla="*/ 16218107 h 17966907"/>
                <a:gd name="connsiteX1573" fmla="*/ 12968293 w 13797425"/>
                <a:gd name="connsiteY1573" fmla="*/ 16222875 h 17966907"/>
                <a:gd name="connsiteX1574" fmla="*/ 12987353 w 13797425"/>
                <a:gd name="connsiteY1574" fmla="*/ 16237171 h 17966907"/>
                <a:gd name="connsiteX1575" fmla="*/ 12996885 w 13797425"/>
                <a:gd name="connsiteY1575" fmla="*/ 16232403 h 17966907"/>
                <a:gd name="connsiteX1576" fmla="*/ 12996885 w 13797425"/>
                <a:gd name="connsiteY1576" fmla="*/ 16227639 h 17966907"/>
                <a:gd name="connsiteX1577" fmla="*/ 12977825 w 13797425"/>
                <a:gd name="connsiteY1577" fmla="*/ 16203815 h 17966907"/>
                <a:gd name="connsiteX1578" fmla="*/ 12973057 w 13797425"/>
                <a:gd name="connsiteY1578" fmla="*/ 16189519 h 17966907"/>
                <a:gd name="connsiteX1579" fmla="*/ 12973057 w 13797425"/>
                <a:gd name="connsiteY1579" fmla="*/ 16179987 h 17966907"/>
                <a:gd name="connsiteX1580" fmla="*/ 13006413 w 13797425"/>
                <a:gd name="connsiteY1580" fmla="*/ 16103747 h 17966907"/>
                <a:gd name="connsiteX1581" fmla="*/ 13025477 w 13797425"/>
                <a:gd name="connsiteY1581" fmla="*/ 16060859 h 17966907"/>
                <a:gd name="connsiteX1582" fmla="*/ 13044537 w 13797425"/>
                <a:gd name="connsiteY1582" fmla="*/ 15994147 h 17966907"/>
                <a:gd name="connsiteX1583" fmla="*/ 13054065 w 13797425"/>
                <a:gd name="connsiteY1583" fmla="*/ 15984619 h 17966907"/>
                <a:gd name="connsiteX1584" fmla="*/ 13063597 w 13797425"/>
                <a:gd name="connsiteY1584" fmla="*/ 15965555 h 17966907"/>
                <a:gd name="connsiteX1585" fmla="*/ 13068361 w 13797425"/>
                <a:gd name="connsiteY1585" fmla="*/ 15960791 h 17966907"/>
                <a:gd name="connsiteX1586" fmla="*/ 13082657 w 13797425"/>
                <a:gd name="connsiteY1586" fmla="*/ 15960791 h 17966907"/>
                <a:gd name="connsiteX1587" fmla="*/ 13092189 w 13797425"/>
                <a:gd name="connsiteY1587" fmla="*/ 15956027 h 17966907"/>
                <a:gd name="connsiteX1588" fmla="*/ 13077893 w 13797425"/>
                <a:gd name="connsiteY1588" fmla="*/ 15951263 h 17966907"/>
                <a:gd name="connsiteX1589" fmla="*/ 13073125 w 13797425"/>
                <a:gd name="connsiteY1589" fmla="*/ 15946495 h 17966907"/>
                <a:gd name="connsiteX1590" fmla="*/ 13073125 w 13797425"/>
                <a:gd name="connsiteY1590" fmla="*/ 15936967 h 17966907"/>
                <a:gd name="connsiteX1591" fmla="*/ 13077893 w 13797425"/>
                <a:gd name="connsiteY1591" fmla="*/ 15932199 h 17966907"/>
                <a:gd name="connsiteX1592" fmla="*/ 13082657 w 13797425"/>
                <a:gd name="connsiteY1592" fmla="*/ 15927435 h 17966907"/>
                <a:gd name="connsiteX1593" fmla="*/ 13096953 w 13797425"/>
                <a:gd name="connsiteY1593" fmla="*/ 15917907 h 17966907"/>
                <a:gd name="connsiteX1594" fmla="*/ 13111249 w 13797425"/>
                <a:gd name="connsiteY1594" fmla="*/ 15898847 h 17966907"/>
                <a:gd name="connsiteX1595" fmla="*/ 13116013 w 13797425"/>
                <a:gd name="connsiteY1595" fmla="*/ 15879783 h 17966907"/>
                <a:gd name="connsiteX1596" fmla="*/ 13116013 w 13797425"/>
                <a:gd name="connsiteY1596" fmla="*/ 15870255 h 17966907"/>
                <a:gd name="connsiteX1597" fmla="*/ 13111249 w 13797425"/>
                <a:gd name="connsiteY1597" fmla="*/ 15865491 h 17966907"/>
                <a:gd name="connsiteX1598" fmla="*/ 13116013 w 13797425"/>
                <a:gd name="connsiteY1598" fmla="*/ 15860723 h 17966907"/>
                <a:gd name="connsiteX1599" fmla="*/ 13120777 w 13797425"/>
                <a:gd name="connsiteY1599" fmla="*/ 15855959 h 17966907"/>
                <a:gd name="connsiteX1600" fmla="*/ 13144605 w 13797425"/>
                <a:gd name="connsiteY1600" fmla="*/ 15832135 h 17966907"/>
                <a:gd name="connsiteX1601" fmla="*/ 13149369 w 13797425"/>
                <a:gd name="connsiteY1601" fmla="*/ 15827367 h 17966907"/>
                <a:gd name="connsiteX1602" fmla="*/ 13158897 w 13797425"/>
                <a:gd name="connsiteY1602" fmla="*/ 15794011 h 17966907"/>
                <a:gd name="connsiteX1603" fmla="*/ 13168429 w 13797425"/>
                <a:gd name="connsiteY1603" fmla="*/ 15779715 h 17966907"/>
                <a:gd name="connsiteX1604" fmla="*/ 13177961 w 13797425"/>
                <a:gd name="connsiteY1604" fmla="*/ 15774951 h 17966907"/>
                <a:gd name="connsiteX1605" fmla="*/ 13192253 w 13797425"/>
                <a:gd name="connsiteY1605" fmla="*/ 15765423 h 17966907"/>
                <a:gd name="connsiteX1606" fmla="*/ 13244673 w 13797425"/>
                <a:gd name="connsiteY1606" fmla="*/ 15741595 h 17966907"/>
                <a:gd name="connsiteX1607" fmla="*/ 13273261 w 13797425"/>
                <a:gd name="connsiteY1607" fmla="*/ 15722535 h 17966907"/>
                <a:gd name="connsiteX1608" fmla="*/ 13292321 w 13797425"/>
                <a:gd name="connsiteY1608" fmla="*/ 15722535 h 17966907"/>
                <a:gd name="connsiteX1609" fmla="*/ 13297089 w 13797425"/>
                <a:gd name="connsiteY1609" fmla="*/ 15736831 h 17966907"/>
                <a:gd name="connsiteX1610" fmla="*/ 13325677 w 13797425"/>
                <a:gd name="connsiteY1610" fmla="*/ 15746359 h 17966907"/>
                <a:gd name="connsiteX1611" fmla="*/ 13330445 w 13797425"/>
                <a:gd name="connsiteY1611" fmla="*/ 15736831 h 17966907"/>
                <a:gd name="connsiteX1612" fmla="*/ 13320913 w 13797425"/>
                <a:gd name="connsiteY1612" fmla="*/ 15722535 h 17966907"/>
                <a:gd name="connsiteX1613" fmla="*/ 13325677 w 13797425"/>
                <a:gd name="connsiteY1613" fmla="*/ 15717771 h 17966907"/>
                <a:gd name="connsiteX1614" fmla="*/ 2025178 w 13797425"/>
                <a:gd name="connsiteY1614" fmla="*/ 15684415 h 17966907"/>
                <a:gd name="connsiteX1615" fmla="*/ 2029944 w 13797425"/>
                <a:gd name="connsiteY1615" fmla="*/ 15689179 h 17966907"/>
                <a:gd name="connsiteX1616" fmla="*/ 2034709 w 13797425"/>
                <a:gd name="connsiteY1616" fmla="*/ 15693943 h 17966907"/>
                <a:gd name="connsiteX1617" fmla="*/ 2044239 w 13797425"/>
                <a:gd name="connsiteY1617" fmla="*/ 15713003 h 17966907"/>
                <a:gd name="connsiteX1618" fmla="*/ 2044239 w 13797425"/>
                <a:gd name="connsiteY1618" fmla="*/ 15717771 h 17966907"/>
                <a:gd name="connsiteX1619" fmla="*/ 2044239 w 13797425"/>
                <a:gd name="connsiteY1619" fmla="*/ 15736831 h 17966907"/>
                <a:gd name="connsiteX1620" fmla="*/ 2044239 w 13797425"/>
                <a:gd name="connsiteY1620" fmla="*/ 15746359 h 17966907"/>
                <a:gd name="connsiteX1621" fmla="*/ 2039474 w 13797425"/>
                <a:gd name="connsiteY1621" fmla="*/ 15751127 h 17966907"/>
                <a:gd name="connsiteX1622" fmla="*/ 2034709 w 13797425"/>
                <a:gd name="connsiteY1622" fmla="*/ 15751127 h 17966907"/>
                <a:gd name="connsiteX1623" fmla="*/ 2025178 w 13797425"/>
                <a:gd name="connsiteY1623" fmla="*/ 15746359 h 17966907"/>
                <a:gd name="connsiteX1624" fmla="*/ 2015648 w 13797425"/>
                <a:gd name="connsiteY1624" fmla="*/ 15736831 h 17966907"/>
                <a:gd name="connsiteX1625" fmla="*/ 2010883 w 13797425"/>
                <a:gd name="connsiteY1625" fmla="*/ 15708239 h 17966907"/>
                <a:gd name="connsiteX1626" fmla="*/ 2010883 w 13797425"/>
                <a:gd name="connsiteY1626" fmla="*/ 15703475 h 17966907"/>
                <a:gd name="connsiteX1627" fmla="*/ 2010883 w 13797425"/>
                <a:gd name="connsiteY1627" fmla="*/ 15698711 h 17966907"/>
                <a:gd name="connsiteX1628" fmla="*/ 13387625 w 13797425"/>
                <a:gd name="connsiteY1628" fmla="*/ 15612935 h 17966907"/>
                <a:gd name="connsiteX1629" fmla="*/ 13387625 w 13797425"/>
                <a:gd name="connsiteY1629" fmla="*/ 15631999 h 17966907"/>
                <a:gd name="connsiteX1630" fmla="*/ 13373329 w 13797425"/>
                <a:gd name="connsiteY1630" fmla="*/ 15641527 h 17966907"/>
                <a:gd name="connsiteX1631" fmla="*/ 13368565 w 13797425"/>
                <a:gd name="connsiteY1631" fmla="*/ 15641527 h 17966907"/>
                <a:gd name="connsiteX1632" fmla="*/ 13368565 w 13797425"/>
                <a:gd name="connsiteY1632" fmla="*/ 15636763 h 17966907"/>
                <a:gd name="connsiteX1633" fmla="*/ 13368565 w 13797425"/>
                <a:gd name="connsiteY1633" fmla="*/ 15627231 h 17966907"/>
                <a:gd name="connsiteX1634" fmla="*/ 13378093 w 13797425"/>
                <a:gd name="connsiteY1634" fmla="*/ 15617703 h 17966907"/>
                <a:gd name="connsiteX1635" fmla="*/ 9627940 w 13797425"/>
                <a:gd name="connsiteY1635" fmla="*/ 15589111 h 17966907"/>
                <a:gd name="connsiteX1636" fmla="*/ 9642235 w 13797425"/>
                <a:gd name="connsiteY1636" fmla="*/ 15589111 h 17966907"/>
                <a:gd name="connsiteX1637" fmla="*/ 9642235 w 13797425"/>
                <a:gd name="connsiteY1637" fmla="*/ 15593879 h 17966907"/>
                <a:gd name="connsiteX1638" fmla="*/ 9632705 w 13797425"/>
                <a:gd name="connsiteY1638" fmla="*/ 15608171 h 17966907"/>
                <a:gd name="connsiteX1639" fmla="*/ 9632705 w 13797425"/>
                <a:gd name="connsiteY1639" fmla="*/ 15612939 h 17966907"/>
                <a:gd name="connsiteX1640" fmla="*/ 9627940 w 13797425"/>
                <a:gd name="connsiteY1640" fmla="*/ 15622467 h 17966907"/>
                <a:gd name="connsiteX1641" fmla="*/ 9623174 w 13797425"/>
                <a:gd name="connsiteY1641" fmla="*/ 15627231 h 17966907"/>
                <a:gd name="connsiteX1642" fmla="*/ 9618409 w 13797425"/>
                <a:gd name="connsiteY1642" fmla="*/ 15627231 h 17966907"/>
                <a:gd name="connsiteX1643" fmla="*/ 9599349 w 13797425"/>
                <a:gd name="connsiteY1643" fmla="*/ 15627231 h 17966907"/>
                <a:gd name="connsiteX1644" fmla="*/ 9589818 w 13797425"/>
                <a:gd name="connsiteY1644" fmla="*/ 15617703 h 17966907"/>
                <a:gd name="connsiteX1645" fmla="*/ 9580288 w 13797425"/>
                <a:gd name="connsiteY1645" fmla="*/ 15608171 h 17966907"/>
                <a:gd name="connsiteX1646" fmla="*/ 1548667 w 13797425"/>
                <a:gd name="connsiteY1646" fmla="*/ 15574815 h 17966907"/>
                <a:gd name="connsiteX1647" fmla="*/ 1562962 w 13797425"/>
                <a:gd name="connsiteY1647" fmla="*/ 15589111 h 17966907"/>
                <a:gd name="connsiteX1648" fmla="*/ 1558197 w 13797425"/>
                <a:gd name="connsiteY1648" fmla="*/ 15622467 h 17966907"/>
                <a:gd name="connsiteX1649" fmla="*/ 1548667 w 13797425"/>
                <a:gd name="connsiteY1649" fmla="*/ 15617703 h 17966907"/>
                <a:gd name="connsiteX1650" fmla="*/ 1548667 w 13797425"/>
                <a:gd name="connsiteY1650" fmla="*/ 15608171 h 17966907"/>
                <a:gd name="connsiteX1651" fmla="*/ 1543900 w 13797425"/>
                <a:gd name="connsiteY1651" fmla="*/ 15589111 h 17966907"/>
                <a:gd name="connsiteX1652" fmla="*/ 1548667 w 13797425"/>
                <a:gd name="connsiteY1652" fmla="*/ 15579583 h 17966907"/>
                <a:gd name="connsiteX1653" fmla="*/ 1972762 w 13797425"/>
                <a:gd name="connsiteY1653" fmla="*/ 15412803 h 17966907"/>
                <a:gd name="connsiteX1654" fmla="*/ 1991823 w 13797425"/>
                <a:gd name="connsiteY1654" fmla="*/ 15412803 h 17966907"/>
                <a:gd name="connsiteX1655" fmla="*/ 1991823 w 13797425"/>
                <a:gd name="connsiteY1655" fmla="*/ 15422331 h 17966907"/>
                <a:gd name="connsiteX1656" fmla="*/ 1987058 w 13797425"/>
                <a:gd name="connsiteY1656" fmla="*/ 15474747 h 17966907"/>
                <a:gd name="connsiteX1657" fmla="*/ 1982293 w 13797425"/>
                <a:gd name="connsiteY1657" fmla="*/ 15493811 h 17966907"/>
                <a:gd name="connsiteX1658" fmla="*/ 1977528 w 13797425"/>
                <a:gd name="connsiteY1658" fmla="*/ 15503339 h 17966907"/>
                <a:gd name="connsiteX1659" fmla="*/ 1972762 w 13797425"/>
                <a:gd name="connsiteY1659" fmla="*/ 15512871 h 17966907"/>
                <a:gd name="connsiteX1660" fmla="*/ 1963232 w 13797425"/>
                <a:gd name="connsiteY1660" fmla="*/ 15512871 h 17966907"/>
                <a:gd name="connsiteX1661" fmla="*/ 1967997 w 13797425"/>
                <a:gd name="connsiteY1661" fmla="*/ 15498575 h 17966907"/>
                <a:gd name="connsiteX1662" fmla="*/ 1967997 w 13797425"/>
                <a:gd name="connsiteY1662" fmla="*/ 15493811 h 17966907"/>
                <a:gd name="connsiteX1663" fmla="*/ 1963232 w 13797425"/>
                <a:gd name="connsiteY1663" fmla="*/ 15484279 h 17966907"/>
                <a:gd name="connsiteX1664" fmla="*/ 1963232 w 13797425"/>
                <a:gd name="connsiteY1664" fmla="*/ 15469983 h 17966907"/>
                <a:gd name="connsiteX1665" fmla="*/ 1963232 w 13797425"/>
                <a:gd name="connsiteY1665" fmla="*/ 15436627 h 17966907"/>
                <a:gd name="connsiteX1666" fmla="*/ 1839338 w 13797425"/>
                <a:gd name="connsiteY1666" fmla="*/ 15403271 h 17966907"/>
                <a:gd name="connsiteX1667" fmla="*/ 1844103 w 13797425"/>
                <a:gd name="connsiteY1667" fmla="*/ 15408039 h 17966907"/>
                <a:gd name="connsiteX1668" fmla="*/ 1848868 w 13797425"/>
                <a:gd name="connsiteY1668" fmla="*/ 15408039 h 17966907"/>
                <a:gd name="connsiteX1669" fmla="*/ 1877459 w 13797425"/>
                <a:gd name="connsiteY1669" fmla="*/ 15441391 h 17966907"/>
                <a:gd name="connsiteX1670" fmla="*/ 1882224 w 13797425"/>
                <a:gd name="connsiteY1670" fmla="*/ 15460455 h 17966907"/>
                <a:gd name="connsiteX1671" fmla="*/ 1886989 w 13797425"/>
                <a:gd name="connsiteY1671" fmla="*/ 15484279 h 17966907"/>
                <a:gd name="connsiteX1672" fmla="*/ 1882224 w 13797425"/>
                <a:gd name="connsiteY1672" fmla="*/ 15493807 h 17966907"/>
                <a:gd name="connsiteX1673" fmla="*/ 1858398 w 13797425"/>
                <a:gd name="connsiteY1673" fmla="*/ 15465219 h 17966907"/>
                <a:gd name="connsiteX1674" fmla="*/ 1853633 w 13797425"/>
                <a:gd name="connsiteY1674" fmla="*/ 15455687 h 17966907"/>
                <a:gd name="connsiteX1675" fmla="*/ 1834573 w 13797425"/>
                <a:gd name="connsiteY1675" fmla="*/ 15427099 h 17966907"/>
                <a:gd name="connsiteX1676" fmla="*/ 1834573 w 13797425"/>
                <a:gd name="connsiteY1676" fmla="*/ 15412803 h 17966907"/>
                <a:gd name="connsiteX1677" fmla="*/ 1834573 w 13797425"/>
                <a:gd name="connsiteY1677" fmla="*/ 15408039 h 17966907"/>
                <a:gd name="connsiteX1678" fmla="*/ 1796452 w 13797425"/>
                <a:gd name="connsiteY1678" fmla="*/ 15307967 h 17966907"/>
                <a:gd name="connsiteX1679" fmla="*/ 1801217 w 13797425"/>
                <a:gd name="connsiteY1679" fmla="*/ 15307967 h 17966907"/>
                <a:gd name="connsiteX1680" fmla="*/ 1805982 w 13797425"/>
                <a:gd name="connsiteY1680" fmla="*/ 15312735 h 17966907"/>
                <a:gd name="connsiteX1681" fmla="*/ 1820278 w 13797425"/>
                <a:gd name="connsiteY1681" fmla="*/ 15341323 h 17966907"/>
                <a:gd name="connsiteX1682" fmla="*/ 1825043 w 13797425"/>
                <a:gd name="connsiteY1682" fmla="*/ 15360383 h 17966907"/>
                <a:gd name="connsiteX1683" fmla="*/ 1815513 w 13797425"/>
                <a:gd name="connsiteY1683" fmla="*/ 15355619 h 17966907"/>
                <a:gd name="connsiteX1684" fmla="*/ 1810748 w 13797425"/>
                <a:gd name="connsiteY1684" fmla="*/ 15350855 h 17966907"/>
                <a:gd name="connsiteX1685" fmla="*/ 1801217 w 13797425"/>
                <a:gd name="connsiteY1685" fmla="*/ 15331795 h 17966907"/>
                <a:gd name="connsiteX1686" fmla="*/ 1796452 w 13797425"/>
                <a:gd name="connsiteY1686" fmla="*/ 15322263 h 17966907"/>
                <a:gd name="connsiteX1687" fmla="*/ 9318206 w 13797425"/>
                <a:gd name="connsiteY1687" fmla="*/ 15298439 h 17966907"/>
                <a:gd name="connsiteX1688" fmla="*/ 9351562 w 13797425"/>
                <a:gd name="connsiteY1688" fmla="*/ 15303203 h 17966907"/>
                <a:gd name="connsiteX1689" fmla="*/ 9384918 w 13797425"/>
                <a:gd name="connsiteY1689" fmla="*/ 15346091 h 17966907"/>
                <a:gd name="connsiteX1690" fmla="*/ 9408744 w 13797425"/>
                <a:gd name="connsiteY1690" fmla="*/ 15374679 h 17966907"/>
                <a:gd name="connsiteX1691" fmla="*/ 9418274 w 13797425"/>
                <a:gd name="connsiteY1691" fmla="*/ 15398507 h 17966907"/>
                <a:gd name="connsiteX1692" fmla="*/ 9418274 w 13797425"/>
                <a:gd name="connsiteY1692" fmla="*/ 15412803 h 17966907"/>
                <a:gd name="connsiteX1693" fmla="*/ 9413509 w 13797425"/>
                <a:gd name="connsiteY1693" fmla="*/ 15422331 h 17966907"/>
                <a:gd name="connsiteX1694" fmla="*/ 9399213 w 13797425"/>
                <a:gd name="connsiteY1694" fmla="*/ 15422331 h 17966907"/>
                <a:gd name="connsiteX1695" fmla="*/ 9370623 w 13797425"/>
                <a:gd name="connsiteY1695" fmla="*/ 15417567 h 17966907"/>
                <a:gd name="connsiteX1696" fmla="*/ 9356327 w 13797425"/>
                <a:gd name="connsiteY1696" fmla="*/ 15412803 h 17966907"/>
                <a:gd name="connsiteX1697" fmla="*/ 9313441 w 13797425"/>
                <a:gd name="connsiteY1697" fmla="*/ 15393743 h 17966907"/>
                <a:gd name="connsiteX1698" fmla="*/ 9241964 w 13797425"/>
                <a:gd name="connsiteY1698" fmla="*/ 15365151 h 17966907"/>
                <a:gd name="connsiteX1699" fmla="*/ 9213373 w 13797425"/>
                <a:gd name="connsiteY1699" fmla="*/ 15355619 h 17966907"/>
                <a:gd name="connsiteX1700" fmla="*/ 9208608 w 13797425"/>
                <a:gd name="connsiteY1700" fmla="*/ 15341327 h 17966907"/>
                <a:gd name="connsiteX1701" fmla="*/ 9222903 w 13797425"/>
                <a:gd name="connsiteY1701" fmla="*/ 15322263 h 17966907"/>
                <a:gd name="connsiteX1702" fmla="*/ 9227669 w 13797425"/>
                <a:gd name="connsiteY1702" fmla="*/ 15312735 h 17966907"/>
                <a:gd name="connsiteX1703" fmla="*/ 9237199 w 13797425"/>
                <a:gd name="connsiteY1703" fmla="*/ 15307971 h 17966907"/>
                <a:gd name="connsiteX1704" fmla="*/ 1424773 w 13797425"/>
                <a:gd name="connsiteY1704" fmla="*/ 15293675 h 17966907"/>
                <a:gd name="connsiteX1705" fmla="*/ 1429539 w 13797425"/>
                <a:gd name="connsiteY1705" fmla="*/ 15298439 h 17966907"/>
                <a:gd name="connsiteX1706" fmla="*/ 1443834 w 13797425"/>
                <a:gd name="connsiteY1706" fmla="*/ 15303203 h 17966907"/>
                <a:gd name="connsiteX1707" fmla="*/ 1462894 w 13797425"/>
                <a:gd name="connsiteY1707" fmla="*/ 15327031 h 17966907"/>
                <a:gd name="connsiteX1708" fmla="*/ 1467660 w 13797425"/>
                <a:gd name="connsiteY1708" fmla="*/ 15350855 h 17966907"/>
                <a:gd name="connsiteX1709" fmla="*/ 1462894 w 13797425"/>
                <a:gd name="connsiteY1709" fmla="*/ 15374683 h 17966907"/>
                <a:gd name="connsiteX1710" fmla="*/ 1439068 w 13797425"/>
                <a:gd name="connsiteY1710" fmla="*/ 15384211 h 17966907"/>
                <a:gd name="connsiteX1711" fmla="*/ 1424773 w 13797425"/>
                <a:gd name="connsiteY1711" fmla="*/ 15379447 h 17966907"/>
                <a:gd name="connsiteX1712" fmla="*/ 1420006 w 13797425"/>
                <a:gd name="connsiteY1712" fmla="*/ 15379447 h 17966907"/>
                <a:gd name="connsiteX1713" fmla="*/ 1410477 w 13797425"/>
                <a:gd name="connsiteY1713" fmla="*/ 15388975 h 17966907"/>
                <a:gd name="connsiteX1714" fmla="*/ 1420006 w 13797425"/>
                <a:gd name="connsiteY1714" fmla="*/ 15388975 h 17966907"/>
                <a:gd name="connsiteX1715" fmla="*/ 1439068 w 13797425"/>
                <a:gd name="connsiteY1715" fmla="*/ 15403271 h 17966907"/>
                <a:gd name="connsiteX1716" fmla="*/ 1448598 w 13797425"/>
                <a:gd name="connsiteY1716" fmla="*/ 15417567 h 17966907"/>
                <a:gd name="connsiteX1717" fmla="*/ 1467660 w 13797425"/>
                <a:gd name="connsiteY1717" fmla="*/ 15422331 h 17966907"/>
                <a:gd name="connsiteX1718" fmla="*/ 1491484 w 13797425"/>
                <a:gd name="connsiteY1718" fmla="*/ 15431863 h 17966907"/>
                <a:gd name="connsiteX1719" fmla="*/ 1472424 w 13797425"/>
                <a:gd name="connsiteY1719" fmla="*/ 15455687 h 17966907"/>
                <a:gd name="connsiteX1720" fmla="*/ 1472424 w 13797425"/>
                <a:gd name="connsiteY1720" fmla="*/ 15465219 h 17966907"/>
                <a:gd name="connsiteX1721" fmla="*/ 1496248 w 13797425"/>
                <a:gd name="connsiteY1721" fmla="*/ 15498575 h 17966907"/>
                <a:gd name="connsiteX1722" fmla="*/ 1496248 w 13797425"/>
                <a:gd name="connsiteY1722" fmla="*/ 15503339 h 17966907"/>
                <a:gd name="connsiteX1723" fmla="*/ 1501015 w 13797425"/>
                <a:gd name="connsiteY1723" fmla="*/ 15508103 h 17966907"/>
                <a:gd name="connsiteX1724" fmla="*/ 1520074 w 13797425"/>
                <a:gd name="connsiteY1724" fmla="*/ 15503339 h 17966907"/>
                <a:gd name="connsiteX1725" fmla="*/ 1524840 w 13797425"/>
                <a:gd name="connsiteY1725" fmla="*/ 15508103 h 17966907"/>
                <a:gd name="connsiteX1726" fmla="*/ 1524840 w 13797425"/>
                <a:gd name="connsiteY1726" fmla="*/ 15512871 h 17966907"/>
                <a:gd name="connsiteX1727" fmla="*/ 1510545 w 13797425"/>
                <a:gd name="connsiteY1727" fmla="*/ 15531931 h 17966907"/>
                <a:gd name="connsiteX1728" fmla="*/ 1515310 w 13797425"/>
                <a:gd name="connsiteY1728" fmla="*/ 15536695 h 17966907"/>
                <a:gd name="connsiteX1729" fmla="*/ 1524840 w 13797425"/>
                <a:gd name="connsiteY1729" fmla="*/ 15536695 h 17966907"/>
                <a:gd name="connsiteX1730" fmla="*/ 1539136 w 13797425"/>
                <a:gd name="connsiteY1730" fmla="*/ 15536695 h 17966907"/>
                <a:gd name="connsiteX1731" fmla="*/ 1543900 w 13797425"/>
                <a:gd name="connsiteY1731" fmla="*/ 15555755 h 17966907"/>
                <a:gd name="connsiteX1732" fmla="*/ 1529605 w 13797425"/>
                <a:gd name="connsiteY1732" fmla="*/ 15574815 h 17966907"/>
                <a:gd name="connsiteX1733" fmla="*/ 1496248 w 13797425"/>
                <a:gd name="connsiteY1733" fmla="*/ 15550991 h 17966907"/>
                <a:gd name="connsiteX1734" fmla="*/ 1481953 w 13797425"/>
                <a:gd name="connsiteY1734" fmla="*/ 15531931 h 17966907"/>
                <a:gd name="connsiteX1735" fmla="*/ 1477189 w 13797425"/>
                <a:gd name="connsiteY1735" fmla="*/ 15512871 h 17966907"/>
                <a:gd name="connsiteX1736" fmla="*/ 1467660 w 13797425"/>
                <a:gd name="connsiteY1736" fmla="*/ 15498575 h 17966907"/>
                <a:gd name="connsiteX1737" fmla="*/ 1439068 w 13797425"/>
                <a:gd name="connsiteY1737" fmla="*/ 15474747 h 17966907"/>
                <a:gd name="connsiteX1738" fmla="*/ 1391416 w 13797425"/>
                <a:gd name="connsiteY1738" fmla="*/ 15422331 h 17966907"/>
                <a:gd name="connsiteX1739" fmla="*/ 1381887 w 13797425"/>
                <a:gd name="connsiteY1739" fmla="*/ 15412803 h 17966907"/>
                <a:gd name="connsiteX1740" fmla="*/ 1367592 w 13797425"/>
                <a:gd name="connsiteY1740" fmla="*/ 15388975 h 17966907"/>
                <a:gd name="connsiteX1741" fmla="*/ 1367592 w 13797425"/>
                <a:gd name="connsiteY1741" fmla="*/ 15379447 h 17966907"/>
                <a:gd name="connsiteX1742" fmla="*/ 1367592 w 13797425"/>
                <a:gd name="connsiteY1742" fmla="*/ 15374683 h 17966907"/>
                <a:gd name="connsiteX1743" fmla="*/ 1372356 w 13797425"/>
                <a:gd name="connsiteY1743" fmla="*/ 15369915 h 17966907"/>
                <a:gd name="connsiteX1744" fmla="*/ 1386651 w 13797425"/>
                <a:gd name="connsiteY1744" fmla="*/ 15365151 h 17966907"/>
                <a:gd name="connsiteX1745" fmla="*/ 1386651 w 13797425"/>
                <a:gd name="connsiteY1745" fmla="*/ 15355619 h 17966907"/>
                <a:gd name="connsiteX1746" fmla="*/ 1334235 w 13797425"/>
                <a:gd name="connsiteY1746" fmla="*/ 15336559 h 17966907"/>
                <a:gd name="connsiteX1747" fmla="*/ 1329470 w 13797425"/>
                <a:gd name="connsiteY1747" fmla="*/ 15331795 h 17966907"/>
                <a:gd name="connsiteX1748" fmla="*/ 1319941 w 13797425"/>
                <a:gd name="connsiteY1748" fmla="*/ 15322263 h 17966907"/>
                <a:gd name="connsiteX1749" fmla="*/ 1324705 w 13797425"/>
                <a:gd name="connsiteY1749" fmla="*/ 15317499 h 17966907"/>
                <a:gd name="connsiteX1750" fmla="*/ 1353297 w 13797425"/>
                <a:gd name="connsiteY1750" fmla="*/ 15322263 h 17966907"/>
                <a:gd name="connsiteX1751" fmla="*/ 1381887 w 13797425"/>
                <a:gd name="connsiteY1751" fmla="*/ 15312735 h 17966907"/>
                <a:gd name="connsiteX1752" fmla="*/ 1400949 w 13797425"/>
                <a:gd name="connsiteY1752" fmla="*/ 15307971 h 17966907"/>
                <a:gd name="connsiteX1753" fmla="*/ 1410477 w 13797425"/>
                <a:gd name="connsiteY1753" fmla="*/ 15303203 h 17966907"/>
                <a:gd name="connsiteX1754" fmla="*/ 1872694 w 13797425"/>
                <a:gd name="connsiteY1754" fmla="*/ 15284143 h 17966907"/>
                <a:gd name="connsiteX1755" fmla="*/ 1882224 w 13797425"/>
                <a:gd name="connsiteY1755" fmla="*/ 15284143 h 17966907"/>
                <a:gd name="connsiteX1756" fmla="*/ 1896519 w 13797425"/>
                <a:gd name="connsiteY1756" fmla="*/ 15298439 h 17966907"/>
                <a:gd name="connsiteX1757" fmla="*/ 1915580 w 13797425"/>
                <a:gd name="connsiteY1757" fmla="*/ 15307971 h 17966907"/>
                <a:gd name="connsiteX1758" fmla="*/ 1934640 w 13797425"/>
                <a:gd name="connsiteY1758" fmla="*/ 15327031 h 17966907"/>
                <a:gd name="connsiteX1759" fmla="*/ 1944171 w 13797425"/>
                <a:gd name="connsiteY1759" fmla="*/ 15369915 h 17966907"/>
                <a:gd name="connsiteX1760" fmla="*/ 1953701 w 13797425"/>
                <a:gd name="connsiteY1760" fmla="*/ 15455687 h 17966907"/>
                <a:gd name="connsiteX1761" fmla="*/ 1953701 w 13797425"/>
                <a:gd name="connsiteY1761" fmla="*/ 15479515 h 17966907"/>
                <a:gd name="connsiteX1762" fmla="*/ 1944171 w 13797425"/>
                <a:gd name="connsiteY1762" fmla="*/ 15498575 h 17966907"/>
                <a:gd name="connsiteX1763" fmla="*/ 1934640 w 13797425"/>
                <a:gd name="connsiteY1763" fmla="*/ 15527167 h 17966907"/>
                <a:gd name="connsiteX1764" fmla="*/ 1925110 w 13797425"/>
                <a:gd name="connsiteY1764" fmla="*/ 15536695 h 17966907"/>
                <a:gd name="connsiteX1765" fmla="*/ 1915580 w 13797425"/>
                <a:gd name="connsiteY1765" fmla="*/ 15522399 h 17966907"/>
                <a:gd name="connsiteX1766" fmla="*/ 1915580 w 13797425"/>
                <a:gd name="connsiteY1766" fmla="*/ 15493811 h 17966907"/>
                <a:gd name="connsiteX1767" fmla="*/ 1915580 w 13797425"/>
                <a:gd name="connsiteY1767" fmla="*/ 15469983 h 17966907"/>
                <a:gd name="connsiteX1768" fmla="*/ 1910815 w 13797425"/>
                <a:gd name="connsiteY1768" fmla="*/ 15460455 h 17966907"/>
                <a:gd name="connsiteX1769" fmla="*/ 1915580 w 13797425"/>
                <a:gd name="connsiteY1769" fmla="*/ 15417567 h 17966907"/>
                <a:gd name="connsiteX1770" fmla="*/ 1910815 w 13797425"/>
                <a:gd name="connsiteY1770" fmla="*/ 15422331 h 17966907"/>
                <a:gd name="connsiteX1771" fmla="*/ 1901284 w 13797425"/>
                <a:gd name="connsiteY1771" fmla="*/ 15441395 h 17966907"/>
                <a:gd name="connsiteX1772" fmla="*/ 1891754 w 13797425"/>
                <a:gd name="connsiteY1772" fmla="*/ 15441395 h 17966907"/>
                <a:gd name="connsiteX1773" fmla="*/ 1872694 w 13797425"/>
                <a:gd name="connsiteY1773" fmla="*/ 15417567 h 17966907"/>
                <a:gd name="connsiteX1774" fmla="*/ 1863163 w 13797425"/>
                <a:gd name="connsiteY1774" fmla="*/ 15403271 h 17966907"/>
                <a:gd name="connsiteX1775" fmla="*/ 1858398 w 13797425"/>
                <a:gd name="connsiteY1775" fmla="*/ 15384211 h 17966907"/>
                <a:gd name="connsiteX1776" fmla="*/ 1848868 w 13797425"/>
                <a:gd name="connsiteY1776" fmla="*/ 15365151 h 17966907"/>
                <a:gd name="connsiteX1777" fmla="*/ 1848868 w 13797425"/>
                <a:gd name="connsiteY1777" fmla="*/ 15360387 h 17966907"/>
                <a:gd name="connsiteX1778" fmla="*/ 1848868 w 13797425"/>
                <a:gd name="connsiteY1778" fmla="*/ 15350855 h 17966907"/>
                <a:gd name="connsiteX1779" fmla="*/ 1858398 w 13797425"/>
                <a:gd name="connsiteY1779" fmla="*/ 15331795 h 17966907"/>
                <a:gd name="connsiteX1780" fmla="*/ 1863163 w 13797425"/>
                <a:gd name="connsiteY1780" fmla="*/ 15317499 h 17966907"/>
                <a:gd name="connsiteX1781" fmla="*/ 1867929 w 13797425"/>
                <a:gd name="connsiteY1781" fmla="*/ 15293675 h 17966907"/>
                <a:gd name="connsiteX1782" fmla="*/ 1839339 w 13797425"/>
                <a:gd name="connsiteY1782" fmla="*/ 15269847 h 17966907"/>
                <a:gd name="connsiteX1783" fmla="*/ 1844104 w 13797425"/>
                <a:gd name="connsiteY1783" fmla="*/ 15279379 h 17966907"/>
                <a:gd name="connsiteX1784" fmla="*/ 1848869 w 13797425"/>
                <a:gd name="connsiteY1784" fmla="*/ 15288907 h 17966907"/>
                <a:gd name="connsiteX1785" fmla="*/ 1848869 w 13797425"/>
                <a:gd name="connsiteY1785" fmla="*/ 15327031 h 17966907"/>
                <a:gd name="connsiteX1786" fmla="*/ 1834573 w 13797425"/>
                <a:gd name="connsiteY1786" fmla="*/ 15327031 h 17966907"/>
                <a:gd name="connsiteX1787" fmla="*/ 1829808 w 13797425"/>
                <a:gd name="connsiteY1787" fmla="*/ 15322263 h 17966907"/>
                <a:gd name="connsiteX1788" fmla="*/ 1825043 w 13797425"/>
                <a:gd name="connsiteY1788" fmla="*/ 15317499 h 17966907"/>
                <a:gd name="connsiteX1789" fmla="*/ 1825043 w 13797425"/>
                <a:gd name="connsiteY1789" fmla="*/ 15312735 h 17966907"/>
                <a:gd name="connsiteX1790" fmla="*/ 1825043 w 13797425"/>
                <a:gd name="connsiteY1790" fmla="*/ 15298439 h 17966907"/>
                <a:gd name="connsiteX1791" fmla="*/ 1834573 w 13797425"/>
                <a:gd name="connsiteY1791" fmla="*/ 15279379 h 17966907"/>
                <a:gd name="connsiteX1792" fmla="*/ 1834573 w 13797425"/>
                <a:gd name="connsiteY1792" fmla="*/ 15274615 h 17966907"/>
                <a:gd name="connsiteX1793" fmla="*/ 9518341 w 13797425"/>
                <a:gd name="connsiteY1793" fmla="*/ 15260319 h 17966907"/>
                <a:gd name="connsiteX1794" fmla="*/ 9532637 w 13797425"/>
                <a:gd name="connsiteY1794" fmla="*/ 15265083 h 17966907"/>
                <a:gd name="connsiteX1795" fmla="*/ 9537402 w 13797425"/>
                <a:gd name="connsiteY1795" fmla="*/ 15274615 h 17966907"/>
                <a:gd name="connsiteX1796" fmla="*/ 9537402 w 13797425"/>
                <a:gd name="connsiteY1796" fmla="*/ 15284143 h 17966907"/>
                <a:gd name="connsiteX1797" fmla="*/ 9527872 w 13797425"/>
                <a:gd name="connsiteY1797" fmla="*/ 15284143 h 17966907"/>
                <a:gd name="connsiteX1798" fmla="*/ 9518341 w 13797425"/>
                <a:gd name="connsiteY1798" fmla="*/ 15279379 h 17966907"/>
                <a:gd name="connsiteX1799" fmla="*/ 9518341 w 13797425"/>
                <a:gd name="connsiteY1799" fmla="*/ 15269847 h 17966907"/>
                <a:gd name="connsiteX1800" fmla="*/ 9513576 w 13797425"/>
                <a:gd name="connsiteY1800" fmla="*/ 15265083 h 17966907"/>
                <a:gd name="connsiteX1801" fmla="*/ 1648733 w 13797425"/>
                <a:gd name="connsiteY1801" fmla="*/ 15188839 h 17966907"/>
                <a:gd name="connsiteX1802" fmla="*/ 1658267 w 13797425"/>
                <a:gd name="connsiteY1802" fmla="*/ 15193607 h 17966907"/>
                <a:gd name="connsiteX1803" fmla="*/ 1686857 w 13797425"/>
                <a:gd name="connsiteY1803" fmla="*/ 15212667 h 17966907"/>
                <a:gd name="connsiteX1804" fmla="*/ 1715447 w 13797425"/>
                <a:gd name="connsiteY1804" fmla="*/ 15231727 h 17966907"/>
                <a:gd name="connsiteX1805" fmla="*/ 1729742 w 13797425"/>
                <a:gd name="connsiteY1805" fmla="*/ 15241259 h 17966907"/>
                <a:gd name="connsiteX1806" fmla="*/ 1758332 w 13797425"/>
                <a:gd name="connsiteY1806" fmla="*/ 15293675 h 17966907"/>
                <a:gd name="connsiteX1807" fmla="*/ 1753567 w 13797425"/>
                <a:gd name="connsiteY1807" fmla="*/ 15298439 h 17966907"/>
                <a:gd name="connsiteX1808" fmla="*/ 1744037 w 13797425"/>
                <a:gd name="connsiteY1808" fmla="*/ 15312735 h 17966907"/>
                <a:gd name="connsiteX1809" fmla="*/ 1739273 w 13797425"/>
                <a:gd name="connsiteY1809" fmla="*/ 15312735 h 17966907"/>
                <a:gd name="connsiteX1810" fmla="*/ 1729742 w 13797425"/>
                <a:gd name="connsiteY1810" fmla="*/ 15312735 h 17966907"/>
                <a:gd name="connsiteX1811" fmla="*/ 1696387 w 13797425"/>
                <a:gd name="connsiteY1811" fmla="*/ 15265083 h 17966907"/>
                <a:gd name="connsiteX1812" fmla="*/ 1672562 w 13797425"/>
                <a:gd name="connsiteY1812" fmla="*/ 15250787 h 17966907"/>
                <a:gd name="connsiteX1813" fmla="*/ 1653500 w 13797425"/>
                <a:gd name="connsiteY1813" fmla="*/ 15226963 h 17966907"/>
                <a:gd name="connsiteX1814" fmla="*/ 1639204 w 13797425"/>
                <a:gd name="connsiteY1814" fmla="*/ 15212667 h 17966907"/>
                <a:gd name="connsiteX1815" fmla="*/ 1648733 w 13797425"/>
                <a:gd name="connsiteY1815" fmla="*/ 15069711 h 17966907"/>
                <a:gd name="connsiteX1816" fmla="*/ 1658267 w 13797425"/>
                <a:gd name="connsiteY1816" fmla="*/ 15069711 h 17966907"/>
                <a:gd name="connsiteX1817" fmla="*/ 1672562 w 13797425"/>
                <a:gd name="connsiteY1817" fmla="*/ 15079243 h 17966907"/>
                <a:gd name="connsiteX1818" fmla="*/ 1672562 w 13797425"/>
                <a:gd name="connsiteY1818" fmla="*/ 15084007 h 17966907"/>
                <a:gd name="connsiteX1819" fmla="*/ 1682090 w 13797425"/>
                <a:gd name="connsiteY1819" fmla="*/ 15103067 h 17966907"/>
                <a:gd name="connsiteX1820" fmla="*/ 1677325 w 13797425"/>
                <a:gd name="connsiteY1820" fmla="*/ 15112599 h 17966907"/>
                <a:gd name="connsiteX1821" fmla="*/ 1667795 w 13797425"/>
                <a:gd name="connsiteY1821" fmla="*/ 15126895 h 17966907"/>
                <a:gd name="connsiteX1822" fmla="*/ 1658267 w 13797425"/>
                <a:gd name="connsiteY1822" fmla="*/ 15136423 h 17966907"/>
                <a:gd name="connsiteX1823" fmla="*/ 1658267 w 13797425"/>
                <a:gd name="connsiteY1823" fmla="*/ 15131659 h 17966907"/>
                <a:gd name="connsiteX1824" fmla="*/ 1643968 w 13797425"/>
                <a:gd name="connsiteY1824" fmla="*/ 15131659 h 17966907"/>
                <a:gd name="connsiteX1825" fmla="*/ 1634440 w 13797425"/>
                <a:gd name="connsiteY1825" fmla="*/ 15117363 h 17966907"/>
                <a:gd name="connsiteX1826" fmla="*/ 1629673 w 13797425"/>
                <a:gd name="connsiteY1826" fmla="*/ 15107835 h 17966907"/>
                <a:gd name="connsiteX1827" fmla="*/ 1620142 w 13797425"/>
                <a:gd name="connsiteY1827" fmla="*/ 15107835 h 17966907"/>
                <a:gd name="connsiteX1828" fmla="*/ 1620142 w 13797425"/>
                <a:gd name="connsiteY1828" fmla="*/ 15112599 h 17966907"/>
                <a:gd name="connsiteX1829" fmla="*/ 1620142 w 13797425"/>
                <a:gd name="connsiteY1829" fmla="*/ 15122131 h 17966907"/>
                <a:gd name="connsiteX1830" fmla="*/ 1620142 w 13797425"/>
                <a:gd name="connsiteY1830" fmla="*/ 15131659 h 17966907"/>
                <a:gd name="connsiteX1831" fmla="*/ 1620142 w 13797425"/>
                <a:gd name="connsiteY1831" fmla="*/ 15136423 h 17966907"/>
                <a:gd name="connsiteX1832" fmla="*/ 1615378 w 13797425"/>
                <a:gd name="connsiteY1832" fmla="*/ 15131659 h 17966907"/>
                <a:gd name="connsiteX1833" fmla="*/ 1610614 w 13797425"/>
                <a:gd name="connsiteY1833" fmla="*/ 15131659 h 17966907"/>
                <a:gd name="connsiteX1834" fmla="*/ 1610614 w 13797425"/>
                <a:gd name="connsiteY1834" fmla="*/ 15122131 h 17966907"/>
                <a:gd name="connsiteX1835" fmla="*/ 1610614 w 13797425"/>
                <a:gd name="connsiteY1835" fmla="*/ 15112599 h 17966907"/>
                <a:gd name="connsiteX1836" fmla="*/ 1610614 w 13797425"/>
                <a:gd name="connsiteY1836" fmla="*/ 15107835 h 17966907"/>
                <a:gd name="connsiteX1837" fmla="*/ 1620142 w 13797425"/>
                <a:gd name="connsiteY1837" fmla="*/ 15093539 h 17966907"/>
                <a:gd name="connsiteX1838" fmla="*/ 1643968 w 13797425"/>
                <a:gd name="connsiteY1838" fmla="*/ 15074479 h 17966907"/>
                <a:gd name="connsiteX1839" fmla="*/ 1243698 w 13797425"/>
                <a:gd name="connsiteY1839" fmla="*/ 15050651 h 17966907"/>
                <a:gd name="connsiteX1840" fmla="*/ 1253228 w 13797425"/>
                <a:gd name="connsiteY1840" fmla="*/ 15050651 h 17966907"/>
                <a:gd name="connsiteX1841" fmla="*/ 1267525 w 13797425"/>
                <a:gd name="connsiteY1841" fmla="*/ 15055419 h 17966907"/>
                <a:gd name="connsiteX1842" fmla="*/ 1305645 w 13797425"/>
                <a:gd name="connsiteY1842" fmla="*/ 15060183 h 17966907"/>
                <a:gd name="connsiteX1843" fmla="*/ 1319941 w 13797425"/>
                <a:gd name="connsiteY1843" fmla="*/ 15074479 h 17966907"/>
                <a:gd name="connsiteX1844" fmla="*/ 1353297 w 13797425"/>
                <a:gd name="connsiteY1844" fmla="*/ 15064947 h 17966907"/>
                <a:gd name="connsiteX1845" fmla="*/ 1358061 w 13797425"/>
                <a:gd name="connsiteY1845" fmla="*/ 15064947 h 17966907"/>
                <a:gd name="connsiteX1846" fmla="*/ 1367592 w 13797425"/>
                <a:gd name="connsiteY1846" fmla="*/ 15074479 h 17966907"/>
                <a:gd name="connsiteX1847" fmla="*/ 1372356 w 13797425"/>
                <a:gd name="connsiteY1847" fmla="*/ 15084007 h 17966907"/>
                <a:gd name="connsiteX1848" fmla="*/ 1381888 w 13797425"/>
                <a:gd name="connsiteY1848" fmla="*/ 15103067 h 17966907"/>
                <a:gd name="connsiteX1849" fmla="*/ 1381888 w 13797425"/>
                <a:gd name="connsiteY1849" fmla="*/ 15126895 h 17966907"/>
                <a:gd name="connsiteX1850" fmla="*/ 1381888 w 13797425"/>
                <a:gd name="connsiteY1850" fmla="*/ 15131659 h 17966907"/>
                <a:gd name="connsiteX1851" fmla="*/ 1372356 w 13797425"/>
                <a:gd name="connsiteY1851" fmla="*/ 15141191 h 17966907"/>
                <a:gd name="connsiteX1852" fmla="*/ 1319941 w 13797425"/>
                <a:gd name="connsiteY1852" fmla="*/ 15174547 h 17966907"/>
                <a:gd name="connsiteX1853" fmla="*/ 1319941 w 13797425"/>
                <a:gd name="connsiteY1853" fmla="*/ 15179311 h 17966907"/>
                <a:gd name="connsiteX1854" fmla="*/ 1319941 w 13797425"/>
                <a:gd name="connsiteY1854" fmla="*/ 15184075 h 17966907"/>
                <a:gd name="connsiteX1855" fmla="*/ 1324705 w 13797425"/>
                <a:gd name="connsiteY1855" fmla="*/ 15184075 h 17966907"/>
                <a:gd name="connsiteX1856" fmla="*/ 1334235 w 13797425"/>
                <a:gd name="connsiteY1856" fmla="*/ 15184075 h 17966907"/>
                <a:gd name="connsiteX1857" fmla="*/ 1377121 w 13797425"/>
                <a:gd name="connsiteY1857" fmla="*/ 15179311 h 17966907"/>
                <a:gd name="connsiteX1858" fmla="*/ 1381888 w 13797425"/>
                <a:gd name="connsiteY1858" fmla="*/ 15169779 h 17966907"/>
                <a:gd name="connsiteX1859" fmla="*/ 1381888 w 13797425"/>
                <a:gd name="connsiteY1859" fmla="*/ 15145955 h 17966907"/>
                <a:gd name="connsiteX1860" fmla="*/ 1391416 w 13797425"/>
                <a:gd name="connsiteY1860" fmla="*/ 15131659 h 17966907"/>
                <a:gd name="connsiteX1861" fmla="*/ 1391416 w 13797425"/>
                <a:gd name="connsiteY1861" fmla="*/ 15122127 h 17966907"/>
                <a:gd name="connsiteX1862" fmla="*/ 1386651 w 13797425"/>
                <a:gd name="connsiteY1862" fmla="*/ 15093539 h 17966907"/>
                <a:gd name="connsiteX1863" fmla="*/ 1386651 w 13797425"/>
                <a:gd name="connsiteY1863" fmla="*/ 15084007 h 17966907"/>
                <a:gd name="connsiteX1864" fmla="*/ 1415244 w 13797425"/>
                <a:gd name="connsiteY1864" fmla="*/ 15084007 h 17966907"/>
                <a:gd name="connsiteX1865" fmla="*/ 1434303 w 13797425"/>
                <a:gd name="connsiteY1865" fmla="*/ 15074479 h 17966907"/>
                <a:gd name="connsiteX1866" fmla="*/ 1453363 w 13797425"/>
                <a:gd name="connsiteY1866" fmla="*/ 15055419 h 17966907"/>
                <a:gd name="connsiteX1867" fmla="*/ 1458129 w 13797425"/>
                <a:gd name="connsiteY1867" fmla="*/ 15055419 h 17966907"/>
                <a:gd name="connsiteX1868" fmla="*/ 1458129 w 13797425"/>
                <a:gd name="connsiteY1868" fmla="*/ 15088775 h 17966907"/>
                <a:gd name="connsiteX1869" fmla="*/ 1453363 w 13797425"/>
                <a:gd name="connsiteY1869" fmla="*/ 15098303 h 17966907"/>
                <a:gd name="connsiteX1870" fmla="*/ 1434303 w 13797425"/>
                <a:gd name="connsiteY1870" fmla="*/ 15136423 h 17966907"/>
                <a:gd name="connsiteX1871" fmla="*/ 1424773 w 13797425"/>
                <a:gd name="connsiteY1871" fmla="*/ 15169779 h 17966907"/>
                <a:gd name="connsiteX1872" fmla="*/ 1420008 w 13797425"/>
                <a:gd name="connsiteY1872" fmla="*/ 15203135 h 17966907"/>
                <a:gd name="connsiteX1873" fmla="*/ 1420008 w 13797425"/>
                <a:gd name="connsiteY1873" fmla="*/ 15255551 h 17966907"/>
                <a:gd name="connsiteX1874" fmla="*/ 1415244 w 13797425"/>
                <a:gd name="connsiteY1874" fmla="*/ 15274615 h 17966907"/>
                <a:gd name="connsiteX1875" fmla="*/ 1405711 w 13797425"/>
                <a:gd name="connsiteY1875" fmla="*/ 15288907 h 17966907"/>
                <a:gd name="connsiteX1876" fmla="*/ 1353297 w 13797425"/>
                <a:gd name="connsiteY1876" fmla="*/ 15307967 h 17966907"/>
                <a:gd name="connsiteX1877" fmla="*/ 1324705 w 13797425"/>
                <a:gd name="connsiteY1877" fmla="*/ 15303203 h 17966907"/>
                <a:gd name="connsiteX1878" fmla="*/ 1300879 w 13797425"/>
                <a:gd name="connsiteY1878" fmla="*/ 15288907 h 17966907"/>
                <a:gd name="connsiteX1879" fmla="*/ 1291350 w 13797425"/>
                <a:gd name="connsiteY1879" fmla="*/ 15274615 h 17966907"/>
                <a:gd name="connsiteX1880" fmla="*/ 1300879 w 13797425"/>
                <a:gd name="connsiteY1880" fmla="*/ 15260319 h 17966907"/>
                <a:gd name="connsiteX1881" fmla="*/ 1305645 w 13797425"/>
                <a:gd name="connsiteY1881" fmla="*/ 15260319 h 17966907"/>
                <a:gd name="connsiteX1882" fmla="*/ 1319941 w 13797425"/>
                <a:gd name="connsiteY1882" fmla="*/ 15260319 h 17966907"/>
                <a:gd name="connsiteX1883" fmla="*/ 1334235 w 13797425"/>
                <a:gd name="connsiteY1883" fmla="*/ 15269847 h 17966907"/>
                <a:gd name="connsiteX1884" fmla="*/ 1339002 w 13797425"/>
                <a:gd name="connsiteY1884" fmla="*/ 15269847 h 17966907"/>
                <a:gd name="connsiteX1885" fmla="*/ 1339002 w 13797425"/>
                <a:gd name="connsiteY1885" fmla="*/ 15265083 h 17966907"/>
                <a:gd name="connsiteX1886" fmla="*/ 1300879 w 13797425"/>
                <a:gd name="connsiteY1886" fmla="*/ 15236491 h 17966907"/>
                <a:gd name="connsiteX1887" fmla="*/ 1277055 w 13797425"/>
                <a:gd name="connsiteY1887" fmla="*/ 15222195 h 17966907"/>
                <a:gd name="connsiteX1888" fmla="*/ 1267525 w 13797425"/>
                <a:gd name="connsiteY1888" fmla="*/ 15207903 h 17966907"/>
                <a:gd name="connsiteX1889" fmla="*/ 1267525 w 13797425"/>
                <a:gd name="connsiteY1889" fmla="*/ 15198371 h 17966907"/>
                <a:gd name="connsiteX1890" fmla="*/ 1262760 w 13797425"/>
                <a:gd name="connsiteY1890" fmla="*/ 15193607 h 17966907"/>
                <a:gd name="connsiteX1891" fmla="*/ 1243698 w 13797425"/>
                <a:gd name="connsiteY1891" fmla="*/ 15150719 h 17966907"/>
                <a:gd name="connsiteX1892" fmla="*/ 1238933 w 13797425"/>
                <a:gd name="connsiteY1892" fmla="*/ 15136423 h 17966907"/>
                <a:gd name="connsiteX1893" fmla="*/ 1234170 w 13797425"/>
                <a:gd name="connsiteY1893" fmla="*/ 15112599 h 17966907"/>
                <a:gd name="connsiteX1894" fmla="*/ 1234170 w 13797425"/>
                <a:gd name="connsiteY1894" fmla="*/ 15093539 h 17966907"/>
                <a:gd name="connsiteX1895" fmla="*/ 1238933 w 13797425"/>
                <a:gd name="connsiteY1895" fmla="*/ 15055419 h 17966907"/>
                <a:gd name="connsiteX1896" fmla="*/ 1577257 w 13797425"/>
                <a:gd name="connsiteY1896" fmla="*/ 14926759 h 17966907"/>
                <a:gd name="connsiteX1897" fmla="*/ 1596319 w 13797425"/>
                <a:gd name="connsiteY1897" fmla="*/ 14926759 h 17966907"/>
                <a:gd name="connsiteX1898" fmla="*/ 1601083 w 13797425"/>
                <a:gd name="connsiteY1898" fmla="*/ 14926759 h 17966907"/>
                <a:gd name="connsiteX1899" fmla="*/ 1601083 w 13797425"/>
                <a:gd name="connsiteY1899" fmla="*/ 14931523 h 17966907"/>
                <a:gd name="connsiteX1900" fmla="*/ 1601083 w 13797425"/>
                <a:gd name="connsiteY1900" fmla="*/ 14941055 h 17966907"/>
                <a:gd name="connsiteX1901" fmla="*/ 1591553 w 13797425"/>
                <a:gd name="connsiteY1901" fmla="*/ 14945819 h 17966907"/>
                <a:gd name="connsiteX1902" fmla="*/ 1572492 w 13797425"/>
                <a:gd name="connsiteY1902" fmla="*/ 14964879 h 17966907"/>
                <a:gd name="connsiteX1903" fmla="*/ 1567729 w 13797425"/>
                <a:gd name="connsiteY1903" fmla="*/ 14960115 h 17966907"/>
                <a:gd name="connsiteX1904" fmla="*/ 1572492 w 13797425"/>
                <a:gd name="connsiteY1904" fmla="*/ 14950583 h 17966907"/>
                <a:gd name="connsiteX1905" fmla="*/ 1686857 w 13797425"/>
                <a:gd name="connsiteY1905" fmla="*/ 14817159 h 17966907"/>
                <a:gd name="connsiteX1906" fmla="*/ 1686857 w 13797425"/>
                <a:gd name="connsiteY1906" fmla="*/ 14836220 h 17966907"/>
                <a:gd name="connsiteX1907" fmla="*/ 1663030 w 13797425"/>
                <a:gd name="connsiteY1907" fmla="*/ 14874340 h 17966907"/>
                <a:gd name="connsiteX1908" fmla="*/ 1634440 w 13797425"/>
                <a:gd name="connsiteY1908" fmla="*/ 14893403 h 17966907"/>
                <a:gd name="connsiteX1909" fmla="*/ 1629673 w 13797425"/>
                <a:gd name="connsiteY1909" fmla="*/ 14888636 h 17966907"/>
                <a:gd name="connsiteX1910" fmla="*/ 1643969 w 13797425"/>
                <a:gd name="connsiteY1910" fmla="*/ 14869575 h 17966907"/>
                <a:gd name="connsiteX1911" fmla="*/ 1672562 w 13797425"/>
                <a:gd name="connsiteY1911" fmla="*/ 14840985 h 17966907"/>
                <a:gd name="connsiteX1912" fmla="*/ 12482249 w 13797425"/>
                <a:gd name="connsiteY1912" fmla="*/ 14507426 h 17966907"/>
                <a:gd name="connsiteX1913" fmla="*/ 12487017 w 13797425"/>
                <a:gd name="connsiteY1913" fmla="*/ 14512191 h 17966907"/>
                <a:gd name="connsiteX1914" fmla="*/ 12501313 w 13797425"/>
                <a:gd name="connsiteY1914" fmla="*/ 14521721 h 17966907"/>
                <a:gd name="connsiteX1915" fmla="*/ 12501313 w 13797425"/>
                <a:gd name="connsiteY1915" fmla="*/ 14526486 h 17966907"/>
                <a:gd name="connsiteX1916" fmla="*/ 12496545 w 13797425"/>
                <a:gd name="connsiteY1916" fmla="*/ 14536017 h 17966907"/>
                <a:gd name="connsiteX1917" fmla="*/ 12496545 w 13797425"/>
                <a:gd name="connsiteY1917" fmla="*/ 14545547 h 17966907"/>
                <a:gd name="connsiteX1918" fmla="*/ 12472721 w 13797425"/>
                <a:gd name="connsiteY1918" fmla="*/ 14540782 h 17966907"/>
                <a:gd name="connsiteX1919" fmla="*/ 12463189 w 13797425"/>
                <a:gd name="connsiteY1919" fmla="*/ 14536017 h 17966907"/>
                <a:gd name="connsiteX1920" fmla="*/ 12463189 w 13797425"/>
                <a:gd name="connsiteY1920" fmla="*/ 14531252 h 17966907"/>
                <a:gd name="connsiteX1921" fmla="*/ 12463189 w 13797425"/>
                <a:gd name="connsiteY1921" fmla="*/ 14521721 h 17966907"/>
                <a:gd name="connsiteX1922" fmla="*/ 12467957 w 13797425"/>
                <a:gd name="connsiteY1922" fmla="*/ 14516956 h 17966907"/>
                <a:gd name="connsiteX1923" fmla="*/ 9728007 w 13797425"/>
                <a:gd name="connsiteY1923" fmla="*/ 14426419 h 17966907"/>
                <a:gd name="connsiteX1924" fmla="*/ 9732772 w 13797425"/>
                <a:gd name="connsiteY1924" fmla="*/ 14426419 h 17966907"/>
                <a:gd name="connsiteX1925" fmla="*/ 9737537 w 13797425"/>
                <a:gd name="connsiteY1925" fmla="*/ 14459775 h 17966907"/>
                <a:gd name="connsiteX1926" fmla="*/ 9732772 w 13797425"/>
                <a:gd name="connsiteY1926" fmla="*/ 14474070 h 17966907"/>
                <a:gd name="connsiteX1927" fmla="*/ 9728007 w 13797425"/>
                <a:gd name="connsiteY1927" fmla="*/ 14488365 h 17966907"/>
                <a:gd name="connsiteX1928" fmla="*/ 9718477 w 13797425"/>
                <a:gd name="connsiteY1928" fmla="*/ 14497896 h 17966907"/>
                <a:gd name="connsiteX1929" fmla="*/ 9708946 w 13797425"/>
                <a:gd name="connsiteY1929" fmla="*/ 14507426 h 17966907"/>
                <a:gd name="connsiteX1930" fmla="*/ 9704181 w 13797425"/>
                <a:gd name="connsiteY1930" fmla="*/ 14512191 h 17966907"/>
                <a:gd name="connsiteX1931" fmla="*/ 9694651 w 13797425"/>
                <a:gd name="connsiteY1931" fmla="*/ 14512191 h 17966907"/>
                <a:gd name="connsiteX1932" fmla="*/ 9699416 w 13797425"/>
                <a:gd name="connsiteY1932" fmla="*/ 14502661 h 17966907"/>
                <a:gd name="connsiteX1933" fmla="*/ 9704181 w 13797425"/>
                <a:gd name="connsiteY1933" fmla="*/ 14483600 h 17966907"/>
                <a:gd name="connsiteX1934" fmla="*/ 9708946 w 13797425"/>
                <a:gd name="connsiteY1934" fmla="*/ 14469305 h 17966907"/>
                <a:gd name="connsiteX1935" fmla="*/ 9708946 w 13797425"/>
                <a:gd name="connsiteY1935" fmla="*/ 14455010 h 17966907"/>
                <a:gd name="connsiteX1936" fmla="*/ 9713711 w 13797425"/>
                <a:gd name="connsiteY1936" fmla="*/ 14440714 h 17966907"/>
                <a:gd name="connsiteX1937" fmla="*/ 9718477 w 13797425"/>
                <a:gd name="connsiteY1937" fmla="*/ 14431184 h 17966907"/>
                <a:gd name="connsiteX1938" fmla="*/ 9594583 w 13797425"/>
                <a:gd name="connsiteY1938" fmla="*/ 14416888 h 17966907"/>
                <a:gd name="connsiteX1939" fmla="*/ 9585053 w 13797425"/>
                <a:gd name="connsiteY1939" fmla="*/ 14440714 h 17966907"/>
                <a:gd name="connsiteX1940" fmla="*/ 9575523 w 13797425"/>
                <a:gd name="connsiteY1940" fmla="*/ 14455009 h 17966907"/>
                <a:gd name="connsiteX1941" fmla="*/ 9532636 w 13797425"/>
                <a:gd name="connsiteY1941" fmla="*/ 14493130 h 17966907"/>
                <a:gd name="connsiteX1942" fmla="*/ 9523106 w 13797425"/>
                <a:gd name="connsiteY1942" fmla="*/ 14493130 h 17966907"/>
                <a:gd name="connsiteX1943" fmla="*/ 9513576 w 13797425"/>
                <a:gd name="connsiteY1943" fmla="*/ 14488365 h 17966907"/>
                <a:gd name="connsiteX1944" fmla="*/ 9518341 w 13797425"/>
                <a:gd name="connsiteY1944" fmla="*/ 14469304 h 17966907"/>
                <a:gd name="connsiteX1945" fmla="*/ 9527871 w 13797425"/>
                <a:gd name="connsiteY1945" fmla="*/ 14459774 h 17966907"/>
                <a:gd name="connsiteX1946" fmla="*/ 9546932 w 13797425"/>
                <a:gd name="connsiteY1946" fmla="*/ 14450244 h 17966907"/>
                <a:gd name="connsiteX1947" fmla="*/ 9551697 w 13797425"/>
                <a:gd name="connsiteY1947" fmla="*/ 14445479 h 17966907"/>
                <a:gd name="connsiteX1948" fmla="*/ 9556462 w 13797425"/>
                <a:gd name="connsiteY1948" fmla="*/ 14440714 h 17966907"/>
                <a:gd name="connsiteX1949" fmla="*/ 9565992 w 13797425"/>
                <a:gd name="connsiteY1949" fmla="*/ 14440714 h 17966907"/>
                <a:gd name="connsiteX1950" fmla="*/ 9575523 w 13797425"/>
                <a:gd name="connsiteY1950" fmla="*/ 14435948 h 17966907"/>
                <a:gd name="connsiteX1951" fmla="*/ 9589818 w 13797425"/>
                <a:gd name="connsiteY1951" fmla="*/ 14421653 h 17966907"/>
                <a:gd name="connsiteX1952" fmla="*/ 9642235 w 13797425"/>
                <a:gd name="connsiteY1952" fmla="*/ 14378767 h 17966907"/>
                <a:gd name="connsiteX1953" fmla="*/ 9642235 w 13797425"/>
                <a:gd name="connsiteY1953" fmla="*/ 14388297 h 17966907"/>
                <a:gd name="connsiteX1954" fmla="*/ 9651766 w 13797425"/>
                <a:gd name="connsiteY1954" fmla="*/ 14393062 h 17966907"/>
                <a:gd name="connsiteX1955" fmla="*/ 9656531 w 13797425"/>
                <a:gd name="connsiteY1955" fmla="*/ 14397828 h 17966907"/>
                <a:gd name="connsiteX1956" fmla="*/ 9661296 w 13797425"/>
                <a:gd name="connsiteY1956" fmla="*/ 14402593 h 17966907"/>
                <a:gd name="connsiteX1957" fmla="*/ 9666061 w 13797425"/>
                <a:gd name="connsiteY1957" fmla="*/ 14416888 h 17966907"/>
                <a:gd name="connsiteX1958" fmla="*/ 9670826 w 13797425"/>
                <a:gd name="connsiteY1958" fmla="*/ 14421653 h 17966907"/>
                <a:gd name="connsiteX1959" fmla="*/ 9685122 w 13797425"/>
                <a:gd name="connsiteY1959" fmla="*/ 14426418 h 17966907"/>
                <a:gd name="connsiteX1960" fmla="*/ 9689887 w 13797425"/>
                <a:gd name="connsiteY1960" fmla="*/ 14431183 h 17966907"/>
                <a:gd name="connsiteX1961" fmla="*/ 9694652 w 13797425"/>
                <a:gd name="connsiteY1961" fmla="*/ 14445479 h 17966907"/>
                <a:gd name="connsiteX1962" fmla="*/ 9689887 w 13797425"/>
                <a:gd name="connsiteY1962" fmla="*/ 14450244 h 17966907"/>
                <a:gd name="connsiteX1963" fmla="*/ 9694652 w 13797425"/>
                <a:gd name="connsiteY1963" fmla="*/ 14455009 h 17966907"/>
                <a:gd name="connsiteX1964" fmla="*/ 9699417 w 13797425"/>
                <a:gd name="connsiteY1964" fmla="*/ 14459774 h 17966907"/>
                <a:gd name="connsiteX1965" fmla="*/ 9694652 w 13797425"/>
                <a:gd name="connsiteY1965" fmla="*/ 14474070 h 17966907"/>
                <a:gd name="connsiteX1966" fmla="*/ 9680356 w 13797425"/>
                <a:gd name="connsiteY1966" fmla="*/ 14502660 h 17966907"/>
                <a:gd name="connsiteX1967" fmla="*/ 9670826 w 13797425"/>
                <a:gd name="connsiteY1967" fmla="*/ 14531251 h 17966907"/>
                <a:gd name="connsiteX1968" fmla="*/ 9656531 w 13797425"/>
                <a:gd name="connsiteY1968" fmla="*/ 14578902 h 17966907"/>
                <a:gd name="connsiteX1969" fmla="*/ 9647001 w 13797425"/>
                <a:gd name="connsiteY1969" fmla="*/ 14583667 h 17966907"/>
                <a:gd name="connsiteX1970" fmla="*/ 9642235 w 13797425"/>
                <a:gd name="connsiteY1970" fmla="*/ 14569372 h 17966907"/>
                <a:gd name="connsiteX1971" fmla="*/ 9661296 w 13797425"/>
                <a:gd name="connsiteY1971" fmla="*/ 14512191 h 17966907"/>
                <a:gd name="connsiteX1972" fmla="*/ 9661296 w 13797425"/>
                <a:gd name="connsiteY1972" fmla="*/ 14502660 h 17966907"/>
                <a:gd name="connsiteX1973" fmla="*/ 9661296 w 13797425"/>
                <a:gd name="connsiteY1973" fmla="*/ 14497895 h 17966907"/>
                <a:gd name="connsiteX1974" fmla="*/ 9656531 w 13797425"/>
                <a:gd name="connsiteY1974" fmla="*/ 14488365 h 17966907"/>
                <a:gd name="connsiteX1975" fmla="*/ 9647001 w 13797425"/>
                <a:gd name="connsiteY1975" fmla="*/ 14497895 h 17966907"/>
                <a:gd name="connsiteX1976" fmla="*/ 9618410 w 13797425"/>
                <a:gd name="connsiteY1976" fmla="*/ 14564607 h 17966907"/>
                <a:gd name="connsiteX1977" fmla="*/ 9613645 w 13797425"/>
                <a:gd name="connsiteY1977" fmla="*/ 14578902 h 17966907"/>
                <a:gd name="connsiteX1978" fmla="*/ 9604114 w 13797425"/>
                <a:gd name="connsiteY1978" fmla="*/ 14583667 h 17966907"/>
                <a:gd name="connsiteX1979" fmla="*/ 9599349 w 13797425"/>
                <a:gd name="connsiteY1979" fmla="*/ 14583667 h 17966907"/>
                <a:gd name="connsiteX1980" fmla="*/ 9589819 w 13797425"/>
                <a:gd name="connsiteY1980" fmla="*/ 14583667 h 17966907"/>
                <a:gd name="connsiteX1981" fmla="*/ 9561228 w 13797425"/>
                <a:gd name="connsiteY1981" fmla="*/ 14602728 h 17966907"/>
                <a:gd name="connsiteX1982" fmla="*/ 9604114 w 13797425"/>
                <a:gd name="connsiteY1982" fmla="*/ 14521721 h 17966907"/>
                <a:gd name="connsiteX1983" fmla="*/ 9604114 w 13797425"/>
                <a:gd name="connsiteY1983" fmla="*/ 14516956 h 17966907"/>
                <a:gd name="connsiteX1984" fmla="*/ 9599349 w 13797425"/>
                <a:gd name="connsiteY1984" fmla="*/ 14512191 h 17966907"/>
                <a:gd name="connsiteX1985" fmla="*/ 9594584 w 13797425"/>
                <a:gd name="connsiteY1985" fmla="*/ 14516956 h 17966907"/>
                <a:gd name="connsiteX1986" fmla="*/ 9561228 w 13797425"/>
                <a:gd name="connsiteY1986" fmla="*/ 14564607 h 17966907"/>
                <a:gd name="connsiteX1987" fmla="*/ 9542168 w 13797425"/>
                <a:gd name="connsiteY1987" fmla="*/ 14583667 h 17966907"/>
                <a:gd name="connsiteX1988" fmla="*/ 9527872 w 13797425"/>
                <a:gd name="connsiteY1988" fmla="*/ 14578902 h 17966907"/>
                <a:gd name="connsiteX1989" fmla="*/ 9523107 w 13797425"/>
                <a:gd name="connsiteY1989" fmla="*/ 14574137 h 17966907"/>
                <a:gd name="connsiteX1990" fmla="*/ 9527872 w 13797425"/>
                <a:gd name="connsiteY1990" fmla="*/ 14569372 h 17966907"/>
                <a:gd name="connsiteX1991" fmla="*/ 9561228 w 13797425"/>
                <a:gd name="connsiteY1991" fmla="*/ 14516956 h 17966907"/>
                <a:gd name="connsiteX1992" fmla="*/ 9589819 w 13797425"/>
                <a:gd name="connsiteY1992" fmla="*/ 14478835 h 17966907"/>
                <a:gd name="connsiteX1993" fmla="*/ 9604114 w 13797425"/>
                <a:gd name="connsiteY1993" fmla="*/ 14455009 h 17966907"/>
                <a:gd name="connsiteX1994" fmla="*/ 9608879 w 13797425"/>
                <a:gd name="connsiteY1994" fmla="*/ 14435949 h 17966907"/>
                <a:gd name="connsiteX1995" fmla="*/ 9608879 w 13797425"/>
                <a:gd name="connsiteY1995" fmla="*/ 14421653 h 17966907"/>
                <a:gd name="connsiteX1996" fmla="*/ 9608879 w 13797425"/>
                <a:gd name="connsiteY1996" fmla="*/ 14402593 h 17966907"/>
                <a:gd name="connsiteX1997" fmla="*/ 9613645 w 13797425"/>
                <a:gd name="connsiteY1997" fmla="*/ 14397828 h 17966907"/>
                <a:gd name="connsiteX1998" fmla="*/ 9613645 w 13797425"/>
                <a:gd name="connsiteY1998" fmla="*/ 14402593 h 17966907"/>
                <a:gd name="connsiteX1999" fmla="*/ 9613645 w 13797425"/>
                <a:gd name="connsiteY1999" fmla="*/ 14421653 h 17966907"/>
                <a:gd name="connsiteX2000" fmla="*/ 9608879 w 13797425"/>
                <a:gd name="connsiteY2000" fmla="*/ 14459774 h 17966907"/>
                <a:gd name="connsiteX2001" fmla="*/ 9604114 w 13797425"/>
                <a:gd name="connsiteY2001" fmla="*/ 14478835 h 17966907"/>
                <a:gd name="connsiteX2002" fmla="*/ 9594584 w 13797425"/>
                <a:gd name="connsiteY2002" fmla="*/ 14493130 h 17966907"/>
                <a:gd name="connsiteX2003" fmla="*/ 9599349 w 13797425"/>
                <a:gd name="connsiteY2003" fmla="*/ 14497895 h 17966907"/>
                <a:gd name="connsiteX2004" fmla="*/ 9613645 w 13797425"/>
                <a:gd name="connsiteY2004" fmla="*/ 14488365 h 17966907"/>
                <a:gd name="connsiteX2005" fmla="*/ 9623175 w 13797425"/>
                <a:gd name="connsiteY2005" fmla="*/ 14469304 h 17966907"/>
                <a:gd name="connsiteX2006" fmla="*/ 9627940 w 13797425"/>
                <a:gd name="connsiteY2006" fmla="*/ 14440714 h 17966907"/>
                <a:gd name="connsiteX2007" fmla="*/ 9637470 w 13797425"/>
                <a:gd name="connsiteY2007" fmla="*/ 14416888 h 17966907"/>
                <a:gd name="connsiteX2008" fmla="*/ 9594583 w 13797425"/>
                <a:gd name="connsiteY2008" fmla="*/ 14321586 h 17966907"/>
                <a:gd name="connsiteX2009" fmla="*/ 9604114 w 13797425"/>
                <a:gd name="connsiteY2009" fmla="*/ 14331116 h 17966907"/>
                <a:gd name="connsiteX2010" fmla="*/ 9604114 w 13797425"/>
                <a:gd name="connsiteY2010" fmla="*/ 14340646 h 17966907"/>
                <a:gd name="connsiteX2011" fmla="*/ 9608879 w 13797425"/>
                <a:gd name="connsiteY2011" fmla="*/ 14345412 h 17966907"/>
                <a:gd name="connsiteX2012" fmla="*/ 9608879 w 13797425"/>
                <a:gd name="connsiteY2012" fmla="*/ 14354942 h 17966907"/>
                <a:gd name="connsiteX2013" fmla="*/ 9604114 w 13797425"/>
                <a:gd name="connsiteY2013" fmla="*/ 14359707 h 17966907"/>
                <a:gd name="connsiteX2014" fmla="*/ 9604114 w 13797425"/>
                <a:gd name="connsiteY2014" fmla="*/ 14364472 h 17966907"/>
                <a:gd name="connsiteX2015" fmla="*/ 9594583 w 13797425"/>
                <a:gd name="connsiteY2015" fmla="*/ 14369237 h 17966907"/>
                <a:gd name="connsiteX2016" fmla="*/ 9594583 w 13797425"/>
                <a:gd name="connsiteY2016" fmla="*/ 14364472 h 17966907"/>
                <a:gd name="connsiteX2017" fmla="*/ 9599348 w 13797425"/>
                <a:gd name="connsiteY2017" fmla="*/ 14340646 h 17966907"/>
                <a:gd name="connsiteX2018" fmla="*/ 9594583 w 13797425"/>
                <a:gd name="connsiteY2018" fmla="*/ 14331116 h 17966907"/>
                <a:gd name="connsiteX2019" fmla="*/ 9589818 w 13797425"/>
                <a:gd name="connsiteY2019" fmla="*/ 14326351 h 17966907"/>
                <a:gd name="connsiteX2020" fmla="*/ 9594583 w 13797425"/>
                <a:gd name="connsiteY2020" fmla="*/ 14326351 h 17966907"/>
                <a:gd name="connsiteX2021" fmla="*/ 9542167 w 13797425"/>
                <a:gd name="connsiteY2021" fmla="*/ 14302525 h 17966907"/>
                <a:gd name="connsiteX2022" fmla="*/ 9546932 w 13797425"/>
                <a:gd name="connsiteY2022" fmla="*/ 14302525 h 17966907"/>
                <a:gd name="connsiteX2023" fmla="*/ 9551697 w 13797425"/>
                <a:gd name="connsiteY2023" fmla="*/ 14312055 h 17966907"/>
                <a:gd name="connsiteX2024" fmla="*/ 9551697 w 13797425"/>
                <a:gd name="connsiteY2024" fmla="*/ 14316820 h 17966907"/>
                <a:gd name="connsiteX2025" fmla="*/ 9546932 w 13797425"/>
                <a:gd name="connsiteY2025" fmla="*/ 14331116 h 17966907"/>
                <a:gd name="connsiteX2026" fmla="*/ 9542167 w 13797425"/>
                <a:gd name="connsiteY2026" fmla="*/ 14335881 h 17966907"/>
                <a:gd name="connsiteX2027" fmla="*/ 9537402 w 13797425"/>
                <a:gd name="connsiteY2027" fmla="*/ 14331116 h 17966907"/>
                <a:gd name="connsiteX2028" fmla="*/ 9537402 w 13797425"/>
                <a:gd name="connsiteY2028" fmla="*/ 14316820 h 17966907"/>
                <a:gd name="connsiteX2029" fmla="*/ 12363121 w 13797425"/>
                <a:gd name="connsiteY2029" fmla="*/ 14097625 h 17966907"/>
                <a:gd name="connsiteX2030" fmla="*/ 12377417 w 13797425"/>
                <a:gd name="connsiteY2030" fmla="*/ 14107155 h 17966907"/>
                <a:gd name="connsiteX2031" fmla="*/ 12391713 w 13797425"/>
                <a:gd name="connsiteY2031" fmla="*/ 14111920 h 17966907"/>
                <a:gd name="connsiteX2032" fmla="*/ 12396481 w 13797425"/>
                <a:gd name="connsiteY2032" fmla="*/ 14145276 h 17966907"/>
                <a:gd name="connsiteX2033" fmla="*/ 12372653 w 13797425"/>
                <a:gd name="connsiteY2033" fmla="*/ 14145276 h 17966907"/>
                <a:gd name="connsiteX2034" fmla="*/ 12344061 w 13797425"/>
                <a:gd name="connsiteY2034" fmla="*/ 14121450 h 17966907"/>
                <a:gd name="connsiteX2035" fmla="*/ 12334533 w 13797425"/>
                <a:gd name="connsiteY2035" fmla="*/ 14107155 h 17966907"/>
                <a:gd name="connsiteX2036" fmla="*/ 12339297 w 13797425"/>
                <a:gd name="connsiteY2036" fmla="*/ 14102390 h 17966907"/>
                <a:gd name="connsiteX2037" fmla="*/ 12348829 w 13797425"/>
                <a:gd name="connsiteY2037" fmla="*/ 14107155 h 17966907"/>
                <a:gd name="connsiteX2038" fmla="*/ 12353593 w 13797425"/>
                <a:gd name="connsiteY2038" fmla="*/ 14102390 h 17966907"/>
                <a:gd name="connsiteX2039" fmla="*/ 9565993 w 13797425"/>
                <a:gd name="connsiteY2039" fmla="*/ 14088095 h 17966907"/>
                <a:gd name="connsiteX2040" fmla="*/ 9570758 w 13797425"/>
                <a:gd name="connsiteY2040" fmla="*/ 14092860 h 17966907"/>
                <a:gd name="connsiteX2041" fmla="*/ 9570758 w 13797425"/>
                <a:gd name="connsiteY2041" fmla="*/ 14107155 h 17966907"/>
                <a:gd name="connsiteX2042" fmla="*/ 9570758 w 13797425"/>
                <a:gd name="connsiteY2042" fmla="*/ 14116686 h 17966907"/>
                <a:gd name="connsiteX2043" fmla="*/ 9570758 w 13797425"/>
                <a:gd name="connsiteY2043" fmla="*/ 14121451 h 17966907"/>
                <a:gd name="connsiteX2044" fmla="*/ 9561228 w 13797425"/>
                <a:gd name="connsiteY2044" fmla="*/ 14116686 h 17966907"/>
                <a:gd name="connsiteX2045" fmla="*/ 9561228 w 13797425"/>
                <a:gd name="connsiteY2045" fmla="*/ 14135746 h 17966907"/>
                <a:gd name="connsiteX2046" fmla="*/ 9556462 w 13797425"/>
                <a:gd name="connsiteY2046" fmla="*/ 14135746 h 17966907"/>
                <a:gd name="connsiteX2047" fmla="*/ 9551697 w 13797425"/>
                <a:gd name="connsiteY2047" fmla="*/ 14126216 h 17966907"/>
                <a:gd name="connsiteX2048" fmla="*/ 9556462 w 13797425"/>
                <a:gd name="connsiteY2048" fmla="*/ 14116686 h 17966907"/>
                <a:gd name="connsiteX2049" fmla="*/ 9556462 w 13797425"/>
                <a:gd name="connsiteY2049" fmla="*/ 14107155 h 17966907"/>
                <a:gd name="connsiteX2050" fmla="*/ 9556462 w 13797425"/>
                <a:gd name="connsiteY2050" fmla="*/ 14102390 h 17966907"/>
                <a:gd name="connsiteX2051" fmla="*/ 9561228 w 13797425"/>
                <a:gd name="connsiteY2051" fmla="*/ 14092860 h 17966907"/>
                <a:gd name="connsiteX2052" fmla="*/ 11195665 w 13797425"/>
                <a:gd name="connsiteY2052" fmla="*/ 13630643 h 17966907"/>
                <a:gd name="connsiteX2053" fmla="*/ 11214725 w 13797425"/>
                <a:gd name="connsiteY2053" fmla="*/ 13630643 h 17966907"/>
                <a:gd name="connsiteX2054" fmla="*/ 11214725 w 13797425"/>
                <a:gd name="connsiteY2054" fmla="*/ 13649704 h 17966907"/>
                <a:gd name="connsiteX2055" fmla="*/ 11214725 w 13797425"/>
                <a:gd name="connsiteY2055" fmla="*/ 13654469 h 17966907"/>
                <a:gd name="connsiteX2056" fmla="*/ 11219493 w 13797425"/>
                <a:gd name="connsiteY2056" fmla="*/ 13654469 h 17966907"/>
                <a:gd name="connsiteX2057" fmla="*/ 11219493 w 13797425"/>
                <a:gd name="connsiteY2057" fmla="*/ 13663999 h 17966907"/>
                <a:gd name="connsiteX2058" fmla="*/ 11209961 w 13797425"/>
                <a:gd name="connsiteY2058" fmla="*/ 13687825 h 17966907"/>
                <a:gd name="connsiteX2059" fmla="*/ 11195665 w 13797425"/>
                <a:gd name="connsiteY2059" fmla="*/ 13683060 h 17966907"/>
                <a:gd name="connsiteX2060" fmla="*/ 11195665 w 13797425"/>
                <a:gd name="connsiteY2060" fmla="*/ 13687825 h 17966907"/>
                <a:gd name="connsiteX2061" fmla="*/ 11190901 w 13797425"/>
                <a:gd name="connsiteY2061" fmla="*/ 13687825 h 17966907"/>
                <a:gd name="connsiteX2062" fmla="*/ 11195665 w 13797425"/>
                <a:gd name="connsiteY2062" fmla="*/ 13668764 h 17966907"/>
                <a:gd name="connsiteX2063" fmla="*/ 11195665 w 13797425"/>
                <a:gd name="connsiteY2063" fmla="*/ 13654469 h 17966907"/>
                <a:gd name="connsiteX2064" fmla="*/ 11195665 w 13797425"/>
                <a:gd name="connsiteY2064" fmla="*/ 13640173 h 17966907"/>
                <a:gd name="connsiteX2065" fmla="*/ 9494516 w 13797425"/>
                <a:gd name="connsiteY2065" fmla="*/ 13454333 h 17966907"/>
                <a:gd name="connsiteX2066" fmla="*/ 9499281 w 13797425"/>
                <a:gd name="connsiteY2066" fmla="*/ 13459098 h 17966907"/>
                <a:gd name="connsiteX2067" fmla="*/ 9499281 w 13797425"/>
                <a:gd name="connsiteY2067" fmla="*/ 13468628 h 17966907"/>
                <a:gd name="connsiteX2068" fmla="*/ 9489751 w 13797425"/>
                <a:gd name="connsiteY2068" fmla="*/ 13478159 h 17966907"/>
                <a:gd name="connsiteX2069" fmla="*/ 9480220 w 13797425"/>
                <a:gd name="connsiteY2069" fmla="*/ 13482924 h 17966907"/>
                <a:gd name="connsiteX2070" fmla="*/ 9475455 w 13797425"/>
                <a:gd name="connsiteY2070" fmla="*/ 13487689 h 17966907"/>
                <a:gd name="connsiteX2071" fmla="*/ 9475455 w 13797425"/>
                <a:gd name="connsiteY2071" fmla="*/ 13482924 h 17966907"/>
                <a:gd name="connsiteX2072" fmla="*/ 9480220 w 13797425"/>
                <a:gd name="connsiteY2072" fmla="*/ 13468628 h 17966907"/>
                <a:gd name="connsiteX2073" fmla="*/ 9484985 w 13797425"/>
                <a:gd name="connsiteY2073" fmla="*/ 13468628 h 17966907"/>
                <a:gd name="connsiteX2074" fmla="*/ 9518341 w 13797425"/>
                <a:gd name="connsiteY2074" fmla="*/ 13406682 h 17966907"/>
                <a:gd name="connsiteX2075" fmla="*/ 9532637 w 13797425"/>
                <a:gd name="connsiteY2075" fmla="*/ 13406682 h 17966907"/>
                <a:gd name="connsiteX2076" fmla="*/ 9542167 w 13797425"/>
                <a:gd name="connsiteY2076" fmla="*/ 13416212 h 17966907"/>
                <a:gd name="connsiteX2077" fmla="*/ 9532637 w 13797425"/>
                <a:gd name="connsiteY2077" fmla="*/ 13425743 h 17966907"/>
                <a:gd name="connsiteX2078" fmla="*/ 9518341 w 13797425"/>
                <a:gd name="connsiteY2078" fmla="*/ 13440038 h 17966907"/>
                <a:gd name="connsiteX2079" fmla="*/ 9499281 w 13797425"/>
                <a:gd name="connsiteY2079" fmla="*/ 13440038 h 17966907"/>
                <a:gd name="connsiteX2080" fmla="*/ 9508811 w 13797425"/>
                <a:gd name="connsiteY2080" fmla="*/ 13420977 h 17966907"/>
                <a:gd name="connsiteX2081" fmla="*/ 9513576 w 13797425"/>
                <a:gd name="connsiteY2081" fmla="*/ 13416212 h 17966907"/>
                <a:gd name="connsiteX2082" fmla="*/ 11905669 w 13797425"/>
                <a:gd name="connsiteY2082" fmla="*/ 13206546 h 17966907"/>
                <a:gd name="connsiteX2083" fmla="*/ 11924729 w 13797425"/>
                <a:gd name="connsiteY2083" fmla="*/ 13206546 h 17966907"/>
                <a:gd name="connsiteX2084" fmla="*/ 11943793 w 13797425"/>
                <a:gd name="connsiteY2084" fmla="*/ 13230372 h 17966907"/>
                <a:gd name="connsiteX2085" fmla="*/ 11948557 w 13797425"/>
                <a:gd name="connsiteY2085" fmla="*/ 13230372 h 17966907"/>
                <a:gd name="connsiteX2086" fmla="*/ 11962853 w 13797425"/>
                <a:gd name="connsiteY2086" fmla="*/ 13254197 h 17966907"/>
                <a:gd name="connsiteX2087" fmla="*/ 11958085 w 13797425"/>
                <a:gd name="connsiteY2087" fmla="*/ 13273258 h 17966907"/>
                <a:gd name="connsiteX2088" fmla="*/ 11939025 w 13797425"/>
                <a:gd name="connsiteY2088" fmla="*/ 13268493 h 17966907"/>
                <a:gd name="connsiteX2089" fmla="*/ 11910437 w 13797425"/>
                <a:gd name="connsiteY2089" fmla="*/ 13249432 h 17966907"/>
                <a:gd name="connsiteX2090" fmla="*/ 11900905 w 13797425"/>
                <a:gd name="connsiteY2090" fmla="*/ 13239902 h 17966907"/>
                <a:gd name="connsiteX2091" fmla="*/ 11896141 w 13797425"/>
                <a:gd name="connsiteY2091" fmla="*/ 13225607 h 17966907"/>
                <a:gd name="connsiteX2092" fmla="*/ 11896141 w 13797425"/>
                <a:gd name="connsiteY2092" fmla="*/ 13211311 h 17966907"/>
                <a:gd name="connsiteX2093" fmla="*/ 11386273 w 13797425"/>
                <a:gd name="connsiteY2093" fmla="*/ 13182721 h 17966907"/>
                <a:gd name="connsiteX2094" fmla="*/ 11405333 w 13797425"/>
                <a:gd name="connsiteY2094" fmla="*/ 13187486 h 17966907"/>
                <a:gd name="connsiteX2095" fmla="*/ 11414861 w 13797425"/>
                <a:gd name="connsiteY2095" fmla="*/ 13197016 h 17966907"/>
                <a:gd name="connsiteX2096" fmla="*/ 11424393 w 13797425"/>
                <a:gd name="connsiteY2096" fmla="*/ 13216077 h 17966907"/>
                <a:gd name="connsiteX2097" fmla="*/ 11429157 w 13797425"/>
                <a:gd name="connsiteY2097" fmla="*/ 13225607 h 17966907"/>
                <a:gd name="connsiteX2098" fmla="*/ 11424393 w 13797425"/>
                <a:gd name="connsiteY2098" fmla="*/ 13244668 h 17966907"/>
                <a:gd name="connsiteX2099" fmla="*/ 11414861 w 13797425"/>
                <a:gd name="connsiteY2099" fmla="*/ 13263728 h 17966907"/>
                <a:gd name="connsiteX2100" fmla="*/ 11400565 w 13797425"/>
                <a:gd name="connsiteY2100" fmla="*/ 13273258 h 17966907"/>
                <a:gd name="connsiteX2101" fmla="*/ 11362445 w 13797425"/>
                <a:gd name="connsiteY2101" fmla="*/ 13292319 h 17966907"/>
                <a:gd name="connsiteX2102" fmla="*/ 11352917 w 13797425"/>
                <a:gd name="connsiteY2102" fmla="*/ 13297084 h 17966907"/>
                <a:gd name="connsiteX2103" fmla="*/ 11343385 w 13797425"/>
                <a:gd name="connsiteY2103" fmla="*/ 13287554 h 17966907"/>
                <a:gd name="connsiteX2104" fmla="*/ 11343385 w 13797425"/>
                <a:gd name="connsiteY2104" fmla="*/ 13268493 h 17966907"/>
                <a:gd name="connsiteX2105" fmla="*/ 11348149 w 13797425"/>
                <a:gd name="connsiteY2105" fmla="*/ 13254198 h 17966907"/>
                <a:gd name="connsiteX2106" fmla="*/ 11362445 w 13797425"/>
                <a:gd name="connsiteY2106" fmla="*/ 13225607 h 17966907"/>
                <a:gd name="connsiteX2107" fmla="*/ 11376741 w 13797425"/>
                <a:gd name="connsiteY2107" fmla="*/ 13192251 h 17966907"/>
                <a:gd name="connsiteX2108" fmla="*/ 9775658 w 13797425"/>
                <a:gd name="connsiteY2108" fmla="*/ 13111244 h 17966907"/>
                <a:gd name="connsiteX2109" fmla="*/ 9799484 w 13797425"/>
                <a:gd name="connsiteY2109" fmla="*/ 13111244 h 17966907"/>
                <a:gd name="connsiteX2110" fmla="*/ 9794719 w 13797425"/>
                <a:gd name="connsiteY2110" fmla="*/ 13120774 h 17966907"/>
                <a:gd name="connsiteX2111" fmla="*/ 9780423 w 13797425"/>
                <a:gd name="connsiteY2111" fmla="*/ 13130305 h 17966907"/>
                <a:gd name="connsiteX2112" fmla="*/ 9756598 w 13797425"/>
                <a:gd name="connsiteY2112" fmla="*/ 13139835 h 17966907"/>
                <a:gd name="connsiteX2113" fmla="*/ 9732772 w 13797425"/>
                <a:gd name="connsiteY2113" fmla="*/ 13139835 h 17966907"/>
                <a:gd name="connsiteX2114" fmla="*/ 9732772 w 13797425"/>
                <a:gd name="connsiteY2114" fmla="*/ 13135070 h 17966907"/>
                <a:gd name="connsiteX2115" fmla="*/ 9742302 w 13797425"/>
                <a:gd name="connsiteY2115" fmla="*/ 13125540 h 17966907"/>
                <a:gd name="connsiteX2116" fmla="*/ 11848489 w 13797425"/>
                <a:gd name="connsiteY2116" fmla="*/ 12830101 h 17966907"/>
                <a:gd name="connsiteX2117" fmla="*/ 11877077 w 13797425"/>
                <a:gd name="connsiteY2117" fmla="*/ 12830101 h 17966907"/>
                <a:gd name="connsiteX2118" fmla="*/ 11900905 w 13797425"/>
                <a:gd name="connsiteY2118" fmla="*/ 12834866 h 17966907"/>
                <a:gd name="connsiteX2119" fmla="*/ 11905669 w 13797425"/>
                <a:gd name="connsiteY2119" fmla="*/ 12844396 h 17966907"/>
                <a:gd name="connsiteX2120" fmla="*/ 11919965 w 13797425"/>
                <a:gd name="connsiteY2120" fmla="*/ 12858692 h 17966907"/>
                <a:gd name="connsiteX2121" fmla="*/ 11915201 w 13797425"/>
                <a:gd name="connsiteY2121" fmla="*/ 12877752 h 17966907"/>
                <a:gd name="connsiteX2122" fmla="*/ 11915201 w 13797425"/>
                <a:gd name="connsiteY2122" fmla="*/ 12896813 h 17966907"/>
                <a:gd name="connsiteX2123" fmla="*/ 11910433 w 13797425"/>
                <a:gd name="connsiteY2123" fmla="*/ 12911108 h 17966907"/>
                <a:gd name="connsiteX2124" fmla="*/ 11900905 w 13797425"/>
                <a:gd name="connsiteY2124" fmla="*/ 12915873 h 17966907"/>
                <a:gd name="connsiteX2125" fmla="*/ 11896141 w 13797425"/>
                <a:gd name="connsiteY2125" fmla="*/ 12930169 h 17966907"/>
                <a:gd name="connsiteX2126" fmla="*/ 11891373 w 13797425"/>
                <a:gd name="connsiteY2126" fmla="*/ 12934934 h 17966907"/>
                <a:gd name="connsiteX2127" fmla="*/ 11886609 w 13797425"/>
                <a:gd name="connsiteY2127" fmla="*/ 12934934 h 17966907"/>
                <a:gd name="connsiteX2128" fmla="*/ 11877077 w 13797425"/>
                <a:gd name="connsiteY2128" fmla="*/ 12915873 h 17966907"/>
                <a:gd name="connsiteX2129" fmla="*/ 11862785 w 13797425"/>
                <a:gd name="connsiteY2129" fmla="*/ 12911108 h 17966907"/>
                <a:gd name="connsiteX2130" fmla="*/ 11853253 w 13797425"/>
                <a:gd name="connsiteY2130" fmla="*/ 12906343 h 17966907"/>
                <a:gd name="connsiteX2131" fmla="*/ 11810369 w 13797425"/>
                <a:gd name="connsiteY2131" fmla="*/ 12868222 h 17966907"/>
                <a:gd name="connsiteX2132" fmla="*/ 11800837 w 13797425"/>
                <a:gd name="connsiteY2132" fmla="*/ 12853927 h 17966907"/>
                <a:gd name="connsiteX2133" fmla="*/ 11800837 w 13797425"/>
                <a:gd name="connsiteY2133" fmla="*/ 12839631 h 17966907"/>
                <a:gd name="connsiteX2134" fmla="*/ 11819897 w 13797425"/>
                <a:gd name="connsiteY2134" fmla="*/ 12834866 h 17966907"/>
                <a:gd name="connsiteX2135" fmla="*/ 11843725 w 13797425"/>
                <a:gd name="connsiteY2135" fmla="*/ 12744329 h 17966907"/>
                <a:gd name="connsiteX2136" fmla="*/ 11848489 w 13797425"/>
                <a:gd name="connsiteY2136" fmla="*/ 12744329 h 17966907"/>
                <a:gd name="connsiteX2137" fmla="*/ 11858017 w 13797425"/>
                <a:gd name="connsiteY2137" fmla="*/ 12749094 h 17966907"/>
                <a:gd name="connsiteX2138" fmla="*/ 11862785 w 13797425"/>
                <a:gd name="connsiteY2138" fmla="*/ 12763390 h 17966907"/>
                <a:gd name="connsiteX2139" fmla="*/ 11867549 w 13797425"/>
                <a:gd name="connsiteY2139" fmla="*/ 12768155 h 17966907"/>
                <a:gd name="connsiteX2140" fmla="*/ 11872313 w 13797425"/>
                <a:gd name="connsiteY2140" fmla="*/ 12763390 h 17966907"/>
                <a:gd name="connsiteX2141" fmla="*/ 11877081 w 13797425"/>
                <a:gd name="connsiteY2141" fmla="*/ 12768155 h 17966907"/>
                <a:gd name="connsiteX2142" fmla="*/ 11877081 w 13797425"/>
                <a:gd name="connsiteY2142" fmla="*/ 12777685 h 17966907"/>
                <a:gd name="connsiteX2143" fmla="*/ 11881845 w 13797425"/>
                <a:gd name="connsiteY2143" fmla="*/ 12782450 h 17966907"/>
                <a:gd name="connsiteX2144" fmla="*/ 11891377 w 13797425"/>
                <a:gd name="connsiteY2144" fmla="*/ 12791980 h 17966907"/>
                <a:gd name="connsiteX2145" fmla="*/ 11891377 w 13797425"/>
                <a:gd name="connsiteY2145" fmla="*/ 12796746 h 17966907"/>
                <a:gd name="connsiteX2146" fmla="*/ 11891377 w 13797425"/>
                <a:gd name="connsiteY2146" fmla="*/ 12801511 h 17966907"/>
                <a:gd name="connsiteX2147" fmla="*/ 11886609 w 13797425"/>
                <a:gd name="connsiteY2147" fmla="*/ 12811041 h 17966907"/>
                <a:gd name="connsiteX2148" fmla="*/ 11881845 w 13797425"/>
                <a:gd name="connsiteY2148" fmla="*/ 12811041 h 17966907"/>
                <a:gd name="connsiteX2149" fmla="*/ 11843725 w 13797425"/>
                <a:gd name="connsiteY2149" fmla="*/ 12791980 h 17966907"/>
                <a:gd name="connsiteX2150" fmla="*/ 11834193 w 13797425"/>
                <a:gd name="connsiteY2150" fmla="*/ 12768155 h 17966907"/>
                <a:gd name="connsiteX2151" fmla="*/ 11834193 w 13797425"/>
                <a:gd name="connsiteY2151" fmla="*/ 12758624 h 17966907"/>
                <a:gd name="connsiteX2152" fmla="*/ 11834193 w 13797425"/>
                <a:gd name="connsiteY2152" fmla="*/ 12749094 h 17966907"/>
                <a:gd name="connsiteX2153" fmla="*/ 7486014 w 13797425"/>
                <a:gd name="connsiteY2153" fmla="*/ 12744329 h 17966907"/>
                <a:gd name="connsiteX2154" fmla="*/ 7500309 w 13797425"/>
                <a:gd name="connsiteY2154" fmla="*/ 12758624 h 17966907"/>
                <a:gd name="connsiteX2155" fmla="*/ 7500309 w 13797425"/>
                <a:gd name="connsiteY2155" fmla="*/ 12768155 h 17966907"/>
                <a:gd name="connsiteX2156" fmla="*/ 7490779 w 13797425"/>
                <a:gd name="connsiteY2156" fmla="*/ 12777685 h 17966907"/>
                <a:gd name="connsiteX2157" fmla="*/ 7486014 w 13797425"/>
                <a:gd name="connsiteY2157" fmla="*/ 12777685 h 17966907"/>
                <a:gd name="connsiteX2158" fmla="*/ 7471718 w 13797425"/>
                <a:gd name="connsiteY2158" fmla="*/ 12758624 h 17966907"/>
                <a:gd name="connsiteX2159" fmla="*/ 7466953 w 13797425"/>
                <a:gd name="connsiteY2159" fmla="*/ 12749094 h 17966907"/>
                <a:gd name="connsiteX2160" fmla="*/ 9546933 w 13797425"/>
                <a:gd name="connsiteY2160" fmla="*/ 12587080 h 17966907"/>
                <a:gd name="connsiteX2161" fmla="*/ 9570758 w 13797425"/>
                <a:gd name="connsiteY2161" fmla="*/ 12591845 h 17966907"/>
                <a:gd name="connsiteX2162" fmla="*/ 9580288 w 13797425"/>
                <a:gd name="connsiteY2162" fmla="*/ 12591845 h 17966907"/>
                <a:gd name="connsiteX2163" fmla="*/ 9589819 w 13797425"/>
                <a:gd name="connsiteY2163" fmla="*/ 12587080 h 17966907"/>
                <a:gd name="connsiteX2164" fmla="*/ 9599349 w 13797425"/>
                <a:gd name="connsiteY2164" fmla="*/ 12587080 h 17966907"/>
                <a:gd name="connsiteX2165" fmla="*/ 9608879 w 13797425"/>
                <a:gd name="connsiteY2165" fmla="*/ 12596610 h 17966907"/>
                <a:gd name="connsiteX2166" fmla="*/ 9627940 w 13797425"/>
                <a:gd name="connsiteY2166" fmla="*/ 12625201 h 17966907"/>
                <a:gd name="connsiteX2167" fmla="*/ 9637470 w 13797425"/>
                <a:gd name="connsiteY2167" fmla="*/ 12639496 h 17966907"/>
                <a:gd name="connsiteX2168" fmla="*/ 9642235 w 13797425"/>
                <a:gd name="connsiteY2168" fmla="*/ 12663322 h 17966907"/>
                <a:gd name="connsiteX2169" fmla="*/ 9637470 w 13797425"/>
                <a:gd name="connsiteY2169" fmla="*/ 12687148 h 17966907"/>
                <a:gd name="connsiteX2170" fmla="*/ 9632705 w 13797425"/>
                <a:gd name="connsiteY2170" fmla="*/ 12715738 h 17966907"/>
                <a:gd name="connsiteX2171" fmla="*/ 9623175 w 13797425"/>
                <a:gd name="connsiteY2171" fmla="*/ 12734799 h 17966907"/>
                <a:gd name="connsiteX2172" fmla="*/ 9608879 w 13797425"/>
                <a:gd name="connsiteY2172" fmla="*/ 12758624 h 17966907"/>
                <a:gd name="connsiteX2173" fmla="*/ 9599349 w 13797425"/>
                <a:gd name="connsiteY2173" fmla="*/ 12787215 h 17966907"/>
                <a:gd name="connsiteX2174" fmla="*/ 9585054 w 13797425"/>
                <a:gd name="connsiteY2174" fmla="*/ 12820571 h 17966907"/>
                <a:gd name="connsiteX2175" fmla="*/ 9580288 w 13797425"/>
                <a:gd name="connsiteY2175" fmla="*/ 12839632 h 17966907"/>
                <a:gd name="connsiteX2176" fmla="*/ 9570758 w 13797425"/>
                <a:gd name="connsiteY2176" fmla="*/ 12853927 h 17966907"/>
                <a:gd name="connsiteX2177" fmla="*/ 9561228 w 13797425"/>
                <a:gd name="connsiteY2177" fmla="*/ 12858692 h 17966907"/>
                <a:gd name="connsiteX2178" fmla="*/ 9556463 w 13797425"/>
                <a:gd name="connsiteY2178" fmla="*/ 12858692 h 17966907"/>
                <a:gd name="connsiteX2179" fmla="*/ 9542167 w 13797425"/>
                <a:gd name="connsiteY2179" fmla="*/ 12844397 h 17966907"/>
                <a:gd name="connsiteX2180" fmla="*/ 9527872 w 13797425"/>
                <a:gd name="connsiteY2180" fmla="*/ 12820571 h 17966907"/>
                <a:gd name="connsiteX2181" fmla="*/ 9513577 w 13797425"/>
                <a:gd name="connsiteY2181" fmla="*/ 12806276 h 17966907"/>
                <a:gd name="connsiteX2182" fmla="*/ 9494516 w 13797425"/>
                <a:gd name="connsiteY2182" fmla="*/ 12796745 h 17966907"/>
                <a:gd name="connsiteX2183" fmla="*/ 9484986 w 13797425"/>
                <a:gd name="connsiteY2183" fmla="*/ 12782450 h 17966907"/>
                <a:gd name="connsiteX2184" fmla="*/ 9484986 w 13797425"/>
                <a:gd name="connsiteY2184" fmla="*/ 12772920 h 17966907"/>
                <a:gd name="connsiteX2185" fmla="*/ 9484986 w 13797425"/>
                <a:gd name="connsiteY2185" fmla="*/ 12725269 h 17966907"/>
                <a:gd name="connsiteX2186" fmla="*/ 9484986 w 13797425"/>
                <a:gd name="connsiteY2186" fmla="*/ 12706208 h 17966907"/>
                <a:gd name="connsiteX2187" fmla="*/ 9484986 w 13797425"/>
                <a:gd name="connsiteY2187" fmla="*/ 12687148 h 17966907"/>
                <a:gd name="connsiteX2188" fmla="*/ 9489751 w 13797425"/>
                <a:gd name="connsiteY2188" fmla="*/ 12672852 h 17966907"/>
                <a:gd name="connsiteX2189" fmla="*/ 9499281 w 13797425"/>
                <a:gd name="connsiteY2189" fmla="*/ 12653792 h 17966907"/>
                <a:gd name="connsiteX2190" fmla="*/ 9523107 w 13797425"/>
                <a:gd name="connsiteY2190" fmla="*/ 12610906 h 17966907"/>
                <a:gd name="connsiteX2191" fmla="*/ 9537402 w 13797425"/>
                <a:gd name="connsiteY2191" fmla="*/ 12591845 h 17966907"/>
                <a:gd name="connsiteX2192" fmla="*/ 11896141 w 13797425"/>
                <a:gd name="connsiteY2192" fmla="*/ 12534663 h 17966907"/>
                <a:gd name="connsiteX2193" fmla="*/ 11929497 w 13797425"/>
                <a:gd name="connsiteY2193" fmla="*/ 12539428 h 17966907"/>
                <a:gd name="connsiteX2194" fmla="*/ 11943789 w 13797425"/>
                <a:gd name="connsiteY2194" fmla="*/ 12539428 h 17966907"/>
                <a:gd name="connsiteX2195" fmla="*/ 11953321 w 13797425"/>
                <a:gd name="connsiteY2195" fmla="*/ 12544193 h 17966907"/>
                <a:gd name="connsiteX2196" fmla="*/ 11962853 w 13797425"/>
                <a:gd name="connsiteY2196" fmla="*/ 12558489 h 17966907"/>
                <a:gd name="connsiteX2197" fmla="*/ 11953321 w 13797425"/>
                <a:gd name="connsiteY2197" fmla="*/ 12582315 h 17966907"/>
                <a:gd name="connsiteX2198" fmla="*/ 11939025 w 13797425"/>
                <a:gd name="connsiteY2198" fmla="*/ 12591845 h 17966907"/>
                <a:gd name="connsiteX2199" fmla="*/ 11924729 w 13797425"/>
                <a:gd name="connsiteY2199" fmla="*/ 12596610 h 17966907"/>
                <a:gd name="connsiteX2200" fmla="*/ 11896141 w 13797425"/>
                <a:gd name="connsiteY2200" fmla="*/ 12587080 h 17966907"/>
                <a:gd name="connsiteX2201" fmla="*/ 11886609 w 13797425"/>
                <a:gd name="connsiteY2201" fmla="*/ 12582315 h 17966907"/>
                <a:gd name="connsiteX2202" fmla="*/ 11877081 w 13797425"/>
                <a:gd name="connsiteY2202" fmla="*/ 12568019 h 17966907"/>
                <a:gd name="connsiteX2203" fmla="*/ 11881845 w 13797425"/>
                <a:gd name="connsiteY2203" fmla="*/ 12563254 h 17966907"/>
                <a:gd name="connsiteX2204" fmla="*/ 11896141 w 13797425"/>
                <a:gd name="connsiteY2204" fmla="*/ 12558489 h 17966907"/>
                <a:gd name="connsiteX2205" fmla="*/ 11896141 w 13797425"/>
                <a:gd name="connsiteY2205" fmla="*/ 12553724 h 17966907"/>
                <a:gd name="connsiteX2206" fmla="*/ 11891373 w 13797425"/>
                <a:gd name="connsiteY2206" fmla="*/ 12548958 h 17966907"/>
                <a:gd name="connsiteX2207" fmla="*/ 11891373 w 13797425"/>
                <a:gd name="connsiteY2207" fmla="*/ 12539428 h 17966907"/>
                <a:gd name="connsiteX2208" fmla="*/ 10366533 w 13797425"/>
                <a:gd name="connsiteY2208" fmla="*/ 12477482 h 17966907"/>
                <a:gd name="connsiteX2209" fmla="*/ 10376065 w 13797425"/>
                <a:gd name="connsiteY2209" fmla="*/ 12477482 h 17966907"/>
                <a:gd name="connsiteX2210" fmla="*/ 10385593 w 13797425"/>
                <a:gd name="connsiteY2210" fmla="*/ 12477482 h 17966907"/>
                <a:gd name="connsiteX2211" fmla="*/ 10399889 w 13797425"/>
                <a:gd name="connsiteY2211" fmla="*/ 12487012 h 17966907"/>
                <a:gd name="connsiteX2212" fmla="*/ 10447541 w 13797425"/>
                <a:gd name="connsiteY2212" fmla="*/ 12496542 h 17966907"/>
                <a:gd name="connsiteX2213" fmla="*/ 10461837 w 13797425"/>
                <a:gd name="connsiteY2213" fmla="*/ 12501308 h 17966907"/>
                <a:gd name="connsiteX2214" fmla="*/ 10466601 w 13797425"/>
                <a:gd name="connsiteY2214" fmla="*/ 12510838 h 17966907"/>
                <a:gd name="connsiteX2215" fmla="*/ 10461837 w 13797425"/>
                <a:gd name="connsiteY2215" fmla="*/ 12515603 h 17966907"/>
                <a:gd name="connsiteX2216" fmla="*/ 10457073 w 13797425"/>
                <a:gd name="connsiteY2216" fmla="*/ 12520368 h 17966907"/>
                <a:gd name="connsiteX2217" fmla="*/ 10423717 w 13797425"/>
                <a:gd name="connsiteY2217" fmla="*/ 12515603 h 17966907"/>
                <a:gd name="connsiteX2218" fmla="*/ 10385593 w 13797425"/>
                <a:gd name="connsiteY2218" fmla="*/ 12496542 h 17966907"/>
                <a:gd name="connsiteX2219" fmla="*/ 10366533 w 13797425"/>
                <a:gd name="connsiteY2219" fmla="*/ 12482247 h 17966907"/>
                <a:gd name="connsiteX2220" fmla="*/ 10909757 w 13797425"/>
                <a:gd name="connsiteY2220" fmla="*/ 12425065 h 17966907"/>
                <a:gd name="connsiteX2221" fmla="*/ 10928817 w 13797425"/>
                <a:gd name="connsiteY2221" fmla="*/ 12429830 h 17966907"/>
                <a:gd name="connsiteX2222" fmla="*/ 10957409 w 13797425"/>
                <a:gd name="connsiteY2222" fmla="*/ 12439360 h 17966907"/>
                <a:gd name="connsiteX2223" fmla="*/ 10981237 w 13797425"/>
                <a:gd name="connsiteY2223" fmla="*/ 12448891 h 17966907"/>
                <a:gd name="connsiteX2224" fmla="*/ 11019357 w 13797425"/>
                <a:gd name="connsiteY2224" fmla="*/ 12477481 h 17966907"/>
                <a:gd name="connsiteX2225" fmla="*/ 11028885 w 13797425"/>
                <a:gd name="connsiteY2225" fmla="*/ 12501307 h 17966907"/>
                <a:gd name="connsiteX2226" fmla="*/ 11043181 w 13797425"/>
                <a:gd name="connsiteY2226" fmla="*/ 12515602 h 17966907"/>
                <a:gd name="connsiteX2227" fmla="*/ 11047949 w 13797425"/>
                <a:gd name="connsiteY2227" fmla="*/ 12529898 h 17966907"/>
                <a:gd name="connsiteX2228" fmla="*/ 11043181 w 13797425"/>
                <a:gd name="connsiteY2228" fmla="*/ 12534663 h 17966907"/>
                <a:gd name="connsiteX2229" fmla="*/ 11038417 w 13797425"/>
                <a:gd name="connsiteY2229" fmla="*/ 12539428 h 17966907"/>
                <a:gd name="connsiteX2230" fmla="*/ 11024121 w 13797425"/>
                <a:gd name="connsiteY2230" fmla="*/ 12539428 h 17966907"/>
                <a:gd name="connsiteX2231" fmla="*/ 11005061 w 13797425"/>
                <a:gd name="connsiteY2231" fmla="*/ 12539428 h 17966907"/>
                <a:gd name="connsiteX2232" fmla="*/ 10981237 w 13797425"/>
                <a:gd name="connsiteY2232" fmla="*/ 12529898 h 17966907"/>
                <a:gd name="connsiteX2233" fmla="*/ 10966941 w 13797425"/>
                <a:gd name="connsiteY2233" fmla="*/ 12525133 h 17966907"/>
                <a:gd name="connsiteX2234" fmla="*/ 10957409 w 13797425"/>
                <a:gd name="connsiteY2234" fmla="*/ 12506072 h 17966907"/>
                <a:gd name="connsiteX2235" fmla="*/ 10957409 w 13797425"/>
                <a:gd name="connsiteY2235" fmla="*/ 12487012 h 17966907"/>
                <a:gd name="connsiteX2236" fmla="*/ 10933585 w 13797425"/>
                <a:gd name="connsiteY2236" fmla="*/ 12458421 h 17966907"/>
                <a:gd name="connsiteX2237" fmla="*/ 10909757 w 13797425"/>
                <a:gd name="connsiteY2237" fmla="*/ 12448891 h 17966907"/>
                <a:gd name="connsiteX2238" fmla="*/ 10895465 w 13797425"/>
                <a:gd name="connsiteY2238" fmla="*/ 12429830 h 17966907"/>
                <a:gd name="connsiteX2239" fmla="*/ 9180017 w 13797425"/>
                <a:gd name="connsiteY2239" fmla="*/ 12391710 h 17966907"/>
                <a:gd name="connsiteX2240" fmla="*/ 9194312 w 13797425"/>
                <a:gd name="connsiteY2240" fmla="*/ 12391710 h 17966907"/>
                <a:gd name="connsiteX2241" fmla="*/ 9208608 w 13797425"/>
                <a:gd name="connsiteY2241" fmla="*/ 12396475 h 17966907"/>
                <a:gd name="connsiteX2242" fmla="*/ 9213373 w 13797425"/>
                <a:gd name="connsiteY2242" fmla="*/ 12401240 h 17966907"/>
                <a:gd name="connsiteX2243" fmla="*/ 9222903 w 13797425"/>
                <a:gd name="connsiteY2243" fmla="*/ 12410770 h 17966907"/>
                <a:gd name="connsiteX2244" fmla="*/ 9222903 w 13797425"/>
                <a:gd name="connsiteY2244" fmla="*/ 12425066 h 17966907"/>
                <a:gd name="connsiteX2245" fmla="*/ 9218138 w 13797425"/>
                <a:gd name="connsiteY2245" fmla="*/ 12444126 h 17966907"/>
                <a:gd name="connsiteX2246" fmla="*/ 9218138 w 13797425"/>
                <a:gd name="connsiteY2246" fmla="*/ 12463187 h 17966907"/>
                <a:gd name="connsiteX2247" fmla="*/ 9208608 w 13797425"/>
                <a:gd name="connsiteY2247" fmla="*/ 12477482 h 17966907"/>
                <a:gd name="connsiteX2248" fmla="*/ 9194312 w 13797425"/>
                <a:gd name="connsiteY2248" fmla="*/ 12506073 h 17966907"/>
                <a:gd name="connsiteX2249" fmla="*/ 9151426 w 13797425"/>
                <a:gd name="connsiteY2249" fmla="*/ 12548959 h 17966907"/>
                <a:gd name="connsiteX2250" fmla="*/ 9137131 w 13797425"/>
                <a:gd name="connsiteY2250" fmla="*/ 12572785 h 17966907"/>
                <a:gd name="connsiteX2251" fmla="*/ 9127600 w 13797425"/>
                <a:gd name="connsiteY2251" fmla="*/ 12587080 h 17966907"/>
                <a:gd name="connsiteX2252" fmla="*/ 9056124 w 13797425"/>
                <a:gd name="connsiteY2252" fmla="*/ 12653792 h 17966907"/>
                <a:gd name="connsiteX2253" fmla="*/ 9046593 w 13797425"/>
                <a:gd name="connsiteY2253" fmla="*/ 12658557 h 17966907"/>
                <a:gd name="connsiteX2254" fmla="*/ 9037063 w 13797425"/>
                <a:gd name="connsiteY2254" fmla="*/ 12653792 h 17966907"/>
                <a:gd name="connsiteX2255" fmla="*/ 9018003 w 13797425"/>
                <a:gd name="connsiteY2255" fmla="*/ 12644261 h 17966907"/>
                <a:gd name="connsiteX2256" fmla="*/ 8998942 w 13797425"/>
                <a:gd name="connsiteY2256" fmla="*/ 12644261 h 17966907"/>
                <a:gd name="connsiteX2257" fmla="*/ 8951291 w 13797425"/>
                <a:gd name="connsiteY2257" fmla="*/ 12668087 h 17966907"/>
                <a:gd name="connsiteX2258" fmla="*/ 8946526 w 13797425"/>
                <a:gd name="connsiteY2258" fmla="*/ 12663322 h 17966907"/>
                <a:gd name="connsiteX2259" fmla="*/ 8946526 w 13797425"/>
                <a:gd name="connsiteY2259" fmla="*/ 12639496 h 17966907"/>
                <a:gd name="connsiteX2260" fmla="*/ 8936996 w 13797425"/>
                <a:gd name="connsiteY2260" fmla="*/ 12620436 h 17966907"/>
                <a:gd name="connsiteX2261" fmla="*/ 8917935 w 13797425"/>
                <a:gd name="connsiteY2261" fmla="*/ 12587080 h 17966907"/>
                <a:gd name="connsiteX2262" fmla="*/ 8917935 w 13797425"/>
                <a:gd name="connsiteY2262" fmla="*/ 12582315 h 17966907"/>
                <a:gd name="connsiteX2263" fmla="*/ 8917935 w 13797425"/>
                <a:gd name="connsiteY2263" fmla="*/ 12572785 h 17966907"/>
                <a:gd name="connsiteX2264" fmla="*/ 8917935 w 13797425"/>
                <a:gd name="connsiteY2264" fmla="*/ 12563254 h 17966907"/>
                <a:gd name="connsiteX2265" fmla="*/ 8941761 w 13797425"/>
                <a:gd name="connsiteY2265" fmla="*/ 12529898 h 17966907"/>
                <a:gd name="connsiteX2266" fmla="*/ 8998942 w 13797425"/>
                <a:gd name="connsiteY2266" fmla="*/ 12420301 h 17966907"/>
                <a:gd name="connsiteX2267" fmla="*/ 9013238 w 13797425"/>
                <a:gd name="connsiteY2267" fmla="*/ 12410770 h 17966907"/>
                <a:gd name="connsiteX2268" fmla="*/ 9041828 w 13797425"/>
                <a:gd name="connsiteY2268" fmla="*/ 12425066 h 17966907"/>
                <a:gd name="connsiteX2269" fmla="*/ 9056124 w 13797425"/>
                <a:gd name="connsiteY2269" fmla="*/ 12429831 h 17966907"/>
                <a:gd name="connsiteX2270" fmla="*/ 9065654 w 13797425"/>
                <a:gd name="connsiteY2270" fmla="*/ 12429831 h 17966907"/>
                <a:gd name="connsiteX2271" fmla="*/ 9103775 w 13797425"/>
                <a:gd name="connsiteY2271" fmla="*/ 12406005 h 17966907"/>
                <a:gd name="connsiteX2272" fmla="*/ 9141896 w 13797425"/>
                <a:gd name="connsiteY2272" fmla="*/ 12406005 h 17966907"/>
                <a:gd name="connsiteX2273" fmla="*/ 9804249 w 13797425"/>
                <a:gd name="connsiteY2273" fmla="*/ 12215400 h 17966907"/>
                <a:gd name="connsiteX2274" fmla="*/ 9851900 w 13797425"/>
                <a:gd name="connsiteY2274" fmla="*/ 12220165 h 17966907"/>
                <a:gd name="connsiteX2275" fmla="*/ 9856666 w 13797425"/>
                <a:gd name="connsiteY2275" fmla="*/ 12220165 h 17966907"/>
                <a:gd name="connsiteX2276" fmla="*/ 9870961 w 13797425"/>
                <a:gd name="connsiteY2276" fmla="*/ 12234460 h 17966907"/>
                <a:gd name="connsiteX2277" fmla="*/ 9885256 w 13797425"/>
                <a:gd name="connsiteY2277" fmla="*/ 12234460 h 17966907"/>
                <a:gd name="connsiteX2278" fmla="*/ 9894787 w 13797425"/>
                <a:gd name="connsiteY2278" fmla="*/ 12248756 h 17966907"/>
                <a:gd name="connsiteX2279" fmla="*/ 9909082 w 13797425"/>
                <a:gd name="connsiteY2279" fmla="*/ 12286877 h 17966907"/>
                <a:gd name="connsiteX2280" fmla="*/ 9913847 w 13797425"/>
                <a:gd name="connsiteY2280" fmla="*/ 12291642 h 17966907"/>
                <a:gd name="connsiteX2281" fmla="*/ 9913847 w 13797425"/>
                <a:gd name="connsiteY2281" fmla="*/ 12305937 h 17966907"/>
                <a:gd name="connsiteX2282" fmla="*/ 9904317 w 13797425"/>
                <a:gd name="connsiteY2282" fmla="*/ 12320232 h 17966907"/>
                <a:gd name="connsiteX2283" fmla="*/ 9894787 w 13797425"/>
                <a:gd name="connsiteY2283" fmla="*/ 12329763 h 17966907"/>
                <a:gd name="connsiteX2284" fmla="*/ 9870961 w 13797425"/>
                <a:gd name="connsiteY2284" fmla="*/ 12339293 h 17966907"/>
                <a:gd name="connsiteX2285" fmla="*/ 9847135 w 13797425"/>
                <a:gd name="connsiteY2285" fmla="*/ 12344058 h 17966907"/>
                <a:gd name="connsiteX2286" fmla="*/ 9837605 w 13797425"/>
                <a:gd name="connsiteY2286" fmla="*/ 12339293 h 17966907"/>
                <a:gd name="connsiteX2287" fmla="*/ 9799484 w 13797425"/>
                <a:gd name="connsiteY2287" fmla="*/ 12301172 h 17966907"/>
                <a:gd name="connsiteX2288" fmla="*/ 9766128 w 13797425"/>
                <a:gd name="connsiteY2288" fmla="*/ 12263051 h 17966907"/>
                <a:gd name="connsiteX2289" fmla="*/ 9756598 w 13797425"/>
                <a:gd name="connsiteY2289" fmla="*/ 12239226 h 17966907"/>
                <a:gd name="connsiteX2290" fmla="*/ 9761363 w 13797425"/>
                <a:gd name="connsiteY2290" fmla="*/ 12229695 h 17966907"/>
                <a:gd name="connsiteX2291" fmla="*/ 9775658 w 13797425"/>
                <a:gd name="connsiteY2291" fmla="*/ 12220165 h 17966907"/>
                <a:gd name="connsiteX2292" fmla="*/ 9975794 w 13797425"/>
                <a:gd name="connsiteY2292" fmla="*/ 12148688 h 17966907"/>
                <a:gd name="connsiteX2293" fmla="*/ 10032976 w 13797425"/>
                <a:gd name="connsiteY2293" fmla="*/ 12186809 h 17966907"/>
                <a:gd name="connsiteX2294" fmla="*/ 10047271 w 13797425"/>
                <a:gd name="connsiteY2294" fmla="*/ 12210635 h 17966907"/>
                <a:gd name="connsiteX2295" fmla="*/ 10047271 w 13797425"/>
                <a:gd name="connsiteY2295" fmla="*/ 12248756 h 17966907"/>
                <a:gd name="connsiteX2296" fmla="*/ 10028210 w 13797425"/>
                <a:gd name="connsiteY2296" fmla="*/ 12253521 h 17966907"/>
                <a:gd name="connsiteX2297" fmla="*/ 10009150 w 13797425"/>
                <a:gd name="connsiteY2297" fmla="*/ 12243991 h 17966907"/>
                <a:gd name="connsiteX2298" fmla="*/ 9985324 w 13797425"/>
                <a:gd name="connsiteY2298" fmla="*/ 12229695 h 17966907"/>
                <a:gd name="connsiteX2299" fmla="*/ 9937673 w 13797425"/>
                <a:gd name="connsiteY2299" fmla="*/ 12182044 h 17966907"/>
                <a:gd name="connsiteX2300" fmla="*/ 9885256 w 13797425"/>
                <a:gd name="connsiteY2300" fmla="*/ 12020030 h 17966907"/>
                <a:gd name="connsiteX2301" fmla="*/ 9899552 w 13797425"/>
                <a:gd name="connsiteY2301" fmla="*/ 12020030 h 17966907"/>
                <a:gd name="connsiteX2302" fmla="*/ 9904317 w 13797425"/>
                <a:gd name="connsiteY2302" fmla="*/ 12024795 h 17966907"/>
                <a:gd name="connsiteX2303" fmla="*/ 9909082 w 13797425"/>
                <a:gd name="connsiteY2303" fmla="*/ 12029560 h 17966907"/>
                <a:gd name="connsiteX2304" fmla="*/ 9894787 w 13797425"/>
                <a:gd name="connsiteY2304" fmla="*/ 12039091 h 17966907"/>
                <a:gd name="connsiteX2305" fmla="*/ 9885256 w 13797425"/>
                <a:gd name="connsiteY2305" fmla="*/ 12053386 h 17966907"/>
                <a:gd name="connsiteX2306" fmla="*/ 9851900 w 13797425"/>
                <a:gd name="connsiteY2306" fmla="*/ 12048621 h 17966907"/>
                <a:gd name="connsiteX2307" fmla="*/ 9847135 w 13797425"/>
                <a:gd name="connsiteY2307" fmla="*/ 12043856 h 17966907"/>
                <a:gd name="connsiteX2308" fmla="*/ 9842370 w 13797425"/>
                <a:gd name="connsiteY2308" fmla="*/ 12039091 h 17966907"/>
                <a:gd name="connsiteX2309" fmla="*/ 9851900 w 13797425"/>
                <a:gd name="connsiteY2309" fmla="*/ 12029560 h 17966907"/>
                <a:gd name="connsiteX2310" fmla="*/ 8660618 w 13797425"/>
                <a:gd name="connsiteY2310" fmla="*/ 11329086 h 17966907"/>
                <a:gd name="connsiteX2311" fmla="*/ 8665384 w 13797425"/>
                <a:gd name="connsiteY2311" fmla="*/ 11329086 h 17966907"/>
                <a:gd name="connsiteX2312" fmla="*/ 8670149 w 13797425"/>
                <a:gd name="connsiteY2312" fmla="*/ 11333851 h 17966907"/>
                <a:gd name="connsiteX2313" fmla="*/ 8674914 w 13797425"/>
                <a:gd name="connsiteY2313" fmla="*/ 11352912 h 17966907"/>
                <a:gd name="connsiteX2314" fmla="*/ 8708270 w 13797425"/>
                <a:gd name="connsiteY2314" fmla="*/ 11371972 h 17966907"/>
                <a:gd name="connsiteX2315" fmla="*/ 8717800 w 13797425"/>
                <a:gd name="connsiteY2315" fmla="*/ 11391033 h 17966907"/>
                <a:gd name="connsiteX2316" fmla="*/ 8727330 w 13797425"/>
                <a:gd name="connsiteY2316" fmla="*/ 11414858 h 17966907"/>
                <a:gd name="connsiteX2317" fmla="*/ 8727330 w 13797425"/>
                <a:gd name="connsiteY2317" fmla="*/ 11438684 h 17966907"/>
                <a:gd name="connsiteX2318" fmla="*/ 8727330 w 13797425"/>
                <a:gd name="connsiteY2318" fmla="*/ 11452979 h 17966907"/>
                <a:gd name="connsiteX2319" fmla="*/ 8713035 w 13797425"/>
                <a:gd name="connsiteY2319" fmla="*/ 11467275 h 17966907"/>
                <a:gd name="connsiteX2320" fmla="*/ 8708270 w 13797425"/>
                <a:gd name="connsiteY2320" fmla="*/ 11476805 h 17966907"/>
                <a:gd name="connsiteX2321" fmla="*/ 8708270 w 13797425"/>
                <a:gd name="connsiteY2321" fmla="*/ 11481570 h 17966907"/>
                <a:gd name="connsiteX2322" fmla="*/ 8736861 w 13797425"/>
                <a:gd name="connsiteY2322" fmla="*/ 11510161 h 17966907"/>
                <a:gd name="connsiteX2323" fmla="*/ 8755921 w 13797425"/>
                <a:gd name="connsiteY2323" fmla="*/ 11576873 h 17966907"/>
                <a:gd name="connsiteX2324" fmla="*/ 8765451 w 13797425"/>
                <a:gd name="connsiteY2324" fmla="*/ 11581638 h 17966907"/>
                <a:gd name="connsiteX2325" fmla="*/ 8770216 w 13797425"/>
                <a:gd name="connsiteY2325" fmla="*/ 11576873 h 17966907"/>
                <a:gd name="connsiteX2326" fmla="*/ 8779747 w 13797425"/>
                <a:gd name="connsiteY2326" fmla="*/ 11557812 h 17966907"/>
                <a:gd name="connsiteX2327" fmla="*/ 8803572 w 13797425"/>
                <a:gd name="connsiteY2327" fmla="*/ 11505396 h 17966907"/>
                <a:gd name="connsiteX2328" fmla="*/ 8813103 w 13797425"/>
                <a:gd name="connsiteY2328" fmla="*/ 11500631 h 17966907"/>
                <a:gd name="connsiteX2329" fmla="*/ 8822633 w 13797425"/>
                <a:gd name="connsiteY2329" fmla="*/ 11500631 h 17966907"/>
                <a:gd name="connsiteX2330" fmla="*/ 8860754 w 13797425"/>
                <a:gd name="connsiteY2330" fmla="*/ 11533986 h 17966907"/>
                <a:gd name="connsiteX2331" fmla="*/ 8875049 w 13797425"/>
                <a:gd name="connsiteY2331" fmla="*/ 11553047 h 17966907"/>
                <a:gd name="connsiteX2332" fmla="*/ 8879814 w 13797425"/>
                <a:gd name="connsiteY2332" fmla="*/ 11581638 h 17966907"/>
                <a:gd name="connsiteX2333" fmla="*/ 8889345 w 13797425"/>
                <a:gd name="connsiteY2333" fmla="*/ 11591168 h 17966907"/>
                <a:gd name="connsiteX2334" fmla="*/ 8917936 w 13797425"/>
                <a:gd name="connsiteY2334" fmla="*/ 11605463 h 17966907"/>
                <a:gd name="connsiteX2335" fmla="*/ 8946526 w 13797425"/>
                <a:gd name="connsiteY2335" fmla="*/ 11610228 h 17966907"/>
                <a:gd name="connsiteX2336" fmla="*/ 8979882 w 13797425"/>
                <a:gd name="connsiteY2336" fmla="*/ 11624524 h 17966907"/>
                <a:gd name="connsiteX2337" fmla="*/ 8994178 w 13797425"/>
                <a:gd name="connsiteY2337" fmla="*/ 11634054 h 17966907"/>
                <a:gd name="connsiteX2338" fmla="*/ 9022768 w 13797425"/>
                <a:gd name="connsiteY2338" fmla="*/ 11681705 h 17966907"/>
                <a:gd name="connsiteX2339" fmla="*/ 9027534 w 13797425"/>
                <a:gd name="connsiteY2339" fmla="*/ 11686470 h 17966907"/>
                <a:gd name="connsiteX2340" fmla="*/ 9060889 w 13797425"/>
                <a:gd name="connsiteY2340" fmla="*/ 11705531 h 17966907"/>
                <a:gd name="connsiteX2341" fmla="*/ 9108541 w 13797425"/>
                <a:gd name="connsiteY2341" fmla="*/ 11753182 h 17966907"/>
                <a:gd name="connsiteX2342" fmla="*/ 9122836 w 13797425"/>
                <a:gd name="connsiteY2342" fmla="*/ 11757947 h 17966907"/>
                <a:gd name="connsiteX2343" fmla="*/ 9170487 w 13797425"/>
                <a:gd name="connsiteY2343" fmla="*/ 11777008 h 17966907"/>
                <a:gd name="connsiteX2344" fmla="*/ 9189548 w 13797425"/>
                <a:gd name="connsiteY2344" fmla="*/ 11786538 h 17966907"/>
                <a:gd name="connsiteX2345" fmla="*/ 9208608 w 13797425"/>
                <a:gd name="connsiteY2345" fmla="*/ 11800834 h 17966907"/>
                <a:gd name="connsiteX2346" fmla="*/ 9227669 w 13797425"/>
                <a:gd name="connsiteY2346" fmla="*/ 11834189 h 17966907"/>
                <a:gd name="connsiteX2347" fmla="*/ 9246730 w 13797425"/>
                <a:gd name="connsiteY2347" fmla="*/ 11881841 h 17966907"/>
                <a:gd name="connsiteX2348" fmla="*/ 9265790 w 13797425"/>
                <a:gd name="connsiteY2348" fmla="*/ 11958083 h 17966907"/>
                <a:gd name="connsiteX2349" fmla="*/ 9265790 w 13797425"/>
                <a:gd name="connsiteY2349" fmla="*/ 11972378 h 17966907"/>
                <a:gd name="connsiteX2350" fmla="*/ 9265790 w 13797425"/>
                <a:gd name="connsiteY2350" fmla="*/ 11981908 h 17966907"/>
                <a:gd name="connsiteX2351" fmla="*/ 9256260 w 13797425"/>
                <a:gd name="connsiteY2351" fmla="*/ 11991439 h 17966907"/>
                <a:gd name="connsiteX2352" fmla="*/ 9227669 w 13797425"/>
                <a:gd name="connsiteY2352" fmla="*/ 12024794 h 17966907"/>
                <a:gd name="connsiteX2353" fmla="*/ 9232434 w 13797425"/>
                <a:gd name="connsiteY2353" fmla="*/ 12029560 h 17966907"/>
                <a:gd name="connsiteX2354" fmla="*/ 9261025 w 13797425"/>
                <a:gd name="connsiteY2354" fmla="*/ 12029560 h 17966907"/>
                <a:gd name="connsiteX2355" fmla="*/ 9318206 w 13797425"/>
                <a:gd name="connsiteY2355" fmla="*/ 12010499 h 17966907"/>
                <a:gd name="connsiteX2356" fmla="*/ 9351562 w 13797425"/>
                <a:gd name="connsiteY2356" fmla="*/ 12020029 h 17966907"/>
                <a:gd name="connsiteX2357" fmla="*/ 9365858 w 13797425"/>
                <a:gd name="connsiteY2357" fmla="*/ 12024794 h 17966907"/>
                <a:gd name="connsiteX2358" fmla="*/ 9370623 w 13797425"/>
                <a:gd name="connsiteY2358" fmla="*/ 12024794 h 17966907"/>
                <a:gd name="connsiteX2359" fmla="*/ 9384918 w 13797425"/>
                <a:gd name="connsiteY2359" fmla="*/ 12000969 h 17966907"/>
                <a:gd name="connsiteX2360" fmla="*/ 9399214 w 13797425"/>
                <a:gd name="connsiteY2360" fmla="*/ 12000969 h 17966907"/>
                <a:gd name="connsiteX2361" fmla="*/ 9418274 w 13797425"/>
                <a:gd name="connsiteY2361" fmla="*/ 12024794 h 17966907"/>
                <a:gd name="connsiteX2362" fmla="*/ 9432570 w 13797425"/>
                <a:gd name="connsiteY2362" fmla="*/ 12043855 h 17966907"/>
                <a:gd name="connsiteX2363" fmla="*/ 9437335 w 13797425"/>
                <a:gd name="connsiteY2363" fmla="*/ 12058150 h 17966907"/>
                <a:gd name="connsiteX2364" fmla="*/ 9437335 w 13797425"/>
                <a:gd name="connsiteY2364" fmla="*/ 12067681 h 17966907"/>
                <a:gd name="connsiteX2365" fmla="*/ 9423039 w 13797425"/>
                <a:gd name="connsiteY2365" fmla="*/ 12072446 h 17966907"/>
                <a:gd name="connsiteX2366" fmla="*/ 9456395 w 13797425"/>
                <a:gd name="connsiteY2366" fmla="*/ 12081976 h 17966907"/>
                <a:gd name="connsiteX2367" fmla="*/ 9484986 w 13797425"/>
                <a:gd name="connsiteY2367" fmla="*/ 12105802 h 17966907"/>
                <a:gd name="connsiteX2368" fmla="*/ 9480221 w 13797425"/>
                <a:gd name="connsiteY2368" fmla="*/ 12120097 h 17966907"/>
                <a:gd name="connsiteX2369" fmla="*/ 9446865 w 13797425"/>
                <a:gd name="connsiteY2369" fmla="*/ 12148688 h 17966907"/>
                <a:gd name="connsiteX2370" fmla="*/ 9413509 w 13797425"/>
                <a:gd name="connsiteY2370" fmla="*/ 12177279 h 17966907"/>
                <a:gd name="connsiteX2371" fmla="*/ 9380153 w 13797425"/>
                <a:gd name="connsiteY2371" fmla="*/ 12220165 h 17966907"/>
                <a:gd name="connsiteX2372" fmla="*/ 9365858 w 13797425"/>
                <a:gd name="connsiteY2372" fmla="*/ 12224930 h 17966907"/>
                <a:gd name="connsiteX2373" fmla="*/ 9361093 w 13797425"/>
                <a:gd name="connsiteY2373" fmla="*/ 12224930 h 17966907"/>
                <a:gd name="connsiteX2374" fmla="*/ 9342032 w 13797425"/>
                <a:gd name="connsiteY2374" fmla="*/ 12215400 h 17966907"/>
                <a:gd name="connsiteX2375" fmla="*/ 9313441 w 13797425"/>
                <a:gd name="connsiteY2375" fmla="*/ 12196339 h 17966907"/>
                <a:gd name="connsiteX2376" fmla="*/ 9218139 w 13797425"/>
                <a:gd name="connsiteY2376" fmla="*/ 12153453 h 17966907"/>
                <a:gd name="connsiteX2377" fmla="*/ 9189548 w 13797425"/>
                <a:gd name="connsiteY2377" fmla="*/ 12143923 h 17966907"/>
                <a:gd name="connsiteX2378" fmla="*/ 9156192 w 13797425"/>
                <a:gd name="connsiteY2378" fmla="*/ 12139158 h 17966907"/>
                <a:gd name="connsiteX2379" fmla="*/ 9151427 w 13797425"/>
                <a:gd name="connsiteY2379" fmla="*/ 12129627 h 17966907"/>
                <a:gd name="connsiteX2380" fmla="*/ 9141897 w 13797425"/>
                <a:gd name="connsiteY2380" fmla="*/ 12062916 h 17966907"/>
                <a:gd name="connsiteX2381" fmla="*/ 9127601 w 13797425"/>
                <a:gd name="connsiteY2381" fmla="*/ 12048620 h 17966907"/>
                <a:gd name="connsiteX2382" fmla="*/ 9070420 w 13797425"/>
                <a:gd name="connsiteY2382" fmla="*/ 12034325 h 17966907"/>
                <a:gd name="connsiteX2383" fmla="*/ 9051359 w 13797425"/>
                <a:gd name="connsiteY2383" fmla="*/ 12024794 h 17966907"/>
                <a:gd name="connsiteX2384" fmla="*/ 9051359 w 13797425"/>
                <a:gd name="connsiteY2384" fmla="*/ 12015264 h 17966907"/>
                <a:gd name="connsiteX2385" fmla="*/ 9056124 w 13797425"/>
                <a:gd name="connsiteY2385" fmla="*/ 11991439 h 17966907"/>
                <a:gd name="connsiteX2386" fmla="*/ 9046594 w 13797425"/>
                <a:gd name="connsiteY2386" fmla="*/ 11977143 h 17966907"/>
                <a:gd name="connsiteX2387" fmla="*/ 9027534 w 13797425"/>
                <a:gd name="connsiteY2387" fmla="*/ 11977143 h 17966907"/>
                <a:gd name="connsiteX2388" fmla="*/ 9008473 w 13797425"/>
                <a:gd name="connsiteY2388" fmla="*/ 11981908 h 17966907"/>
                <a:gd name="connsiteX2389" fmla="*/ 8979882 w 13797425"/>
                <a:gd name="connsiteY2389" fmla="*/ 12000969 h 17966907"/>
                <a:gd name="connsiteX2390" fmla="*/ 8965587 w 13797425"/>
                <a:gd name="connsiteY2390" fmla="*/ 12015264 h 17966907"/>
                <a:gd name="connsiteX2391" fmla="*/ 8960822 w 13797425"/>
                <a:gd name="connsiteY2391" fmla="*/ 12029560 h 17966907"/>
                <a:gd name="connsiteX2392" fmla="*/ 8956057 w 13797425"/>
                <a:gd name="connsiteY2392" fmla="*/ 12062916 h 17966907"/>
                <a:gd name="connsiteX2393" fmla="*/ 8956057 w 13797425"/>
                <a:gd name="connsiteY2393" fmla="*/ 12081976 h 17966907"/>
                <a:gd name="connsiteX2394" fmla="*/ 8946526 w 13797425"/>
                <a:gd name="connsiteY2394" fmla="*/ 12101037 h 17966907"/>
                <a:gd name="connsiteX2395" fmla="*/ 8898875 w 13797425"/>
                <a:gd name="connsiteY2395" fmla="*/ 12153453 h 17966907"/>
                <a:gd name="connsiteX2396" fmla="*/ 8879814 w 13797425"/>
                <a:gd name="connsiteY2396" fmla="*/ 12172513 h 17966907"/>
                <a:gd name="connsiteX2397" fmla="*/ 8860754 w 13797425"/>
                <a:gd name="connsiteY2397" fmla="*/ 12177279 h 17966907"/>
                <a:gd name="connsiteX2398" fmla="*/ 8855989 w 13797425"/>
                <a:gd name="connsiteY2398" fmla="*/ 12182044 h 17966907"/>
                <a:gd name="connsiteX2399" fmla="*/ 8841693 w 13797425"/>
                <a:gd name="connsiteY2399" fmla="*/ 12201104 h 17966907"/>
                <a:gd name="connsiteX2400" fmla="*/ 8822633 w 13797425"/>
                <a:gd name="connsiteY2400" fmla="*/ 12248755 h 17966907"/>
                <a:gd name="connsiteX2401" fmla="*/ 8813103 w 13797425"/>
                <a:gd name="connsiteY2401" fmla="*/ 12263051 h 17966907"/>
                <a:gd name="connsiteX2402" fmla="*/ 8803572 w 13797425"/>
                <a:gd name="connsiteY2402" fmla="*/ 12277346 h 17966907"/>
                <a:gd name="connsiteX2403" fmla="*/ 8779747 w 13797425"/>
                <a:gd name="connsiteY2403" fmla="*/ 12301172 h 17966907"/>
                <a:gd name="connsiteX2404" fmla="*/ 8751156 w 13797425"/>
                <a:gd name="connsiteY2404" fmla="*/ 12315467 h 17966907"/>
                <a:gd name="connsiteX2405" fmla="*/ 8708270 w 13797425"/>
                <a:gd name="connsiteY2405" fmla="*/ 12339293 h 17966907"/>
                <a:gd name="connsiteX2406" fmla="*/ 8684444 w 13797425"/>
                <a:gd name="connsiteY2406" fmla="*/ 12344058 h 17966907"/>
                <a:gd name="connsiteX2407" fmla="*/ 8670149 w 13797425"/>
                <a:gd name="connsiteY2407" fmla="*/ 12339293 h 17966907"/>
                <a:gd name="connsiteX2408" fmla="*/ 8655853 w 13797425"/>
                <a:gd name="connsiteY2408" fmla="*/ 12291642 h 17966907"/>
                <a:gd name="connsiteX2409" fmla="*/ 8636793 w 13797425"/>
                <a:gd name="connsiteY2409" fmla="*/ 12158218 h 17966907"/>
                <a:gd name="connsiteX2410" fmla="*/ 8632028 w 13797425"/>
                <a:gd name="connsiteY2410" fmla="*/ 12148688 h 17966907"/>
                <a:gd name="connsiteX2411" fmla="*/ 8627263 w 13797425"/>
                <a:gd name="connsiteY2411" fmla="*/ 12143923 h 17966907"/>
                <a:gd name="connsiteX2412" fmla="*/ 8617732 w 13797425"/>
                <a:gd name="connsiteY2412" fmla="*/ 12139158 h 17966907"/>
                <a:gd name="connsiteX2413" fmla="*/ 8543873 w 13797425"/>
                <a:gd name="connsiteY2413" fmla="*/ 12158218 h 17966907"/>
                <a:gd name="connsiteX2414" fmla="*/ 8500987 w 13797425"/>
                <a:gd name="connsiteY2414" fmla="*/ 12153453 h 17966907"/>
                <a:gd name="connsiteX2415" fmla="*/ 8458100 w 13797425"/>
                <a:gd name="connsiteY2415" fmla="*/ 12186809 h 17966907"/>
                <a:gd name="connsiteX2416" fmla="*/ 8448570 w 13797425"/>
                <a:gd name="connsiteY2416" fmla="*/ 12186809 h 17966907"/>
                <a:gd name="connsiteX2417" fmla="*/ 8429510 w 13797425"/>
                <a:gd name="connsiteY2417" fmla="*/ 12186809 h 17966907"/>
                <a:gd name="connsiteX2418" fmla="*/ 8410449 w 13797425"/>
                <a:gd name="connsiteY2418" fmla="*/ 12182044 h 17966907"/>
                <a:gd name="connsiteX2419" fmla="*/ 8410449 w 13797425"/>
                <a:gd name="connsiteY2419" fmla="*/ 12177279 h 17966907"/>
                <a:gd name="connsiteX2420" fmla="*/ 8405684 w 13797425"/>
                <a:gd name="connsiteY2420" fmla="*/ 12162983 h 17966907"/>
                <a:gd name="connsiteX2421" fmla="*/ 8405684 w 13797425"/>
                <a:gd name="connsiteY2421" fmla="*/ 12153453 h 17966907"/>
                <a:gd name="connsiteX2422" fmla="*/ 8410449 w 13797425"/>
                <a:gd name="connsiteY2422" fmla="*/ 12134392 h 17966907"/>
                <a:gd name="connsiteX2423" fmla="*/ 8429510 w 13797425"/>
                <a:gd name="connsiteY2423" fmla="*/ 12096271 h 17966907"/>
                <a:gd name="connsiteX2424" fmla="*/ 8448570 w 13797425"/>
                <a:gd name="connsiteY2424" fmla="*/ 12072446 h 17966907"/>
                <a:gd name="connsiteX2425" fmla="*/ 8453335 w 13797425"/>
                <a:gd name="connsiteY2425" fmla="*/ 12062916 h 17966907"/>
                <a:gd name="connsiteX2426" fmla="*/ 8524812 w 13797425"/>
                <a:gd name="connsiteY2426" fmla="*/ 12015264 h 17966907"/>
                <a:gd name="connsiteX2427" fmla="*/ 8543873 w 13797425"/>
                <a:gd name="connsiteY2427" fmla="*/ 12000969 h 17966907"/>
                <a:gd name="connsiteX2428" fmla="*/ 8553403 w 13797425"/>
                <a:gd name="connsiteY2428" fmla="*/ 11986674 h 17966907"/>
                <a:gd name="connsiteX2429" fmla="*/ 8553403 w 13797425"/>
                <a:gd name="connsiteY2429" fmla="*/ 11972378 h 17966907"/>
                <a:gd name="connsiteX2430" fmla="*/ 8548638 w 13797425"/>
                <a:gd name="connsiteY2430" fmla="*/ 11948552 h 17966907"/>
                <a:gd name="connsiteX2431" fmla="*/ 8539108 w 13797425"/>
                <a:gd name="connsiteY2431" fmla="*/ 11900901 h 17966907"/>
                <a:gd name="connsiteX2432" fmla="*/ 8534343 w 13797425"/>
                <a:gd name="connsiteY2432" fmla="*/ 11853250 h 17966907"/>
                <a:gd name="connsiteX2433" fmla="*/ 8534343 w 13797425"/>
                <a:gd name="connsiteY2433" fmla="*/ 11829424 h 17966907"/>
                <a:gd name="connsiteX2434" fmla="*/ 8539108 w 13797425"/>
                <a:gd name="connsiteY2434" fmla="*/ 11796068 h 17966907"/>
                <a:gd name="connsiteX2435" fmla="*/ 8558168 w 13797425"/>
                <a:gd name="connsiteY2435" fmla="*/ 11710296 h 17966907"/>
                <a:gd name="connsiteX2436" fmla="*/ 8562933 w 13797425"/>
                <a:gd name="connsiteY2436" fmla="*/ 11667410 h 17966907"/>
                <a:gd name="connsiteX2437" fmla="*/ 8572464 w 13797425"/>
                <a:gd name="connsiteY2437" fmla="*/ 11514926 h 17966907"/>
                <a:gd name="connsiteX2438" fmla="*/ 8579611 w 13797425"/>
                <a:gd name="connsiteY2438" fmla="*/ 11472040 h 17966907"/>
                <a:gd name="connsiteX2439" fmla="*/ 8584376 w 13797425"/>
                <a:gd name="connsiteY2439" fmla="*/ 11433919 h 17966907"/>
                <a:gd name="connsiteX2440" fmla="*/ 8593907 w 13797425"/>
                <a:gd name="connsiteY2440" fmla="*/ 11410093 h 17966907"/>
                <a:gd name="connsiteX2441" fmla="*/ 8617732 w 13797425"/>
                <a:gd name="connsiteY2441" fmla="*/ 11362442 h 17966907"/>
                <a:gd name="connsiteX2442" fmla="*/ 8636793 w 13797425"/>
                <a:gd name="connsiteY2442" fmla="*/ 11338616 h 17966907"/>
                <a:gd name="connsiteX2443" fmla="*/ 8741626 w 13797425"/>
                <a:gd name="connsiteY2443" fmla="*/ 11286200 h 17966907"/>
                <a:gd name="connsiteX2444" fmla="*/ 8755921 w 13797425"/>
                <a:gd name="connsiteY2444" fmla="*/ 11290965 h 17966907"/>
                <a:gd name="connsiteX2445" fmla="*/ 8755921 w 13797425"/>
                <a:gd name="connsiteY2445" fmla="*/ 11295730 h 17966907"/>
                <a:gd name="connsiteX2446" fmla="*/ 8760686 w 13797425"/>
                <a:gd name="connsiteY2446" fmla="*/ 11305261 h 17966907"/>
                <a:gd name="connsiteX2447" fmla="*/ 8765451 w 13797425"/>
                <a:gd name="connsiteY2447" fmla="*/ 11319556 h 17966907"/>
                <a:gd name="connsiteX2448" fmla="*/ 8784511 w 13797425"/>
                <a:gd name="connsiteY2448" fmla="*/ 11348147 h 17966907"/>
                <a:gd name="connsiteX2449" fmla="*/ 8794042 w 13797425"/>
                <a:gd name="connsiteY2449" fmla="*/ 11376738 h 17966907"/>
                <a:gd name="connsiteX2450" fmla="*/ 8808337 w 13797425"/>
                <a:gd name="connsiteY2450" fmla="*/ 11424389 h 17966907"/>
                <a:gd name="connsiteX2451" fmla="*/ 8808337 w 13797425"/>
                <a:gd name="connsiteY2451" fmla="*/ 11438684 h 17966907"/>
                <a:gd name="connsiteX2452" fmla="*/ 8803572 w 13797425"/>
                <a:gd name="connsiteY2452" fmla="*/ 11448215 h 17966907"/>
                <a:gd name="connsiteX2453" fmla="*/ 8798807 w 13797425"/>
                <a:gd name="connsiteY2453" fmla="*/ 11457745 h 17966907"/>
                <a:gd name="connsiteX2454" fmla="*/ 8789277 w 13797425"/>
                <a:gd name="connsiteY2454" fmla="*/ 11462510 h 17966907"/>
                <a:gd name="connsiteX2455" fmla="*/ 8779746 w 13797425"/>
                <a:gd name="connsiteY2455" fmla="*/ 11457745 h 17966907"/>
                <a:gd name="connsiteX2456" fmla="*/ 8770216 w 13797425"/>
                <a:gd name="connsiteY2456" fmla="*/ 11448215 h 17966907"/>
                <a:gd name="connsiteX2457" fmla="*/ 8765451 w 13797425"/>
                <a:gd name="connsiteY2457" fmla="*/ 11429154 h 17966907"/>
                <a:gd name="connsiteX2458" fmla="*/ 8755921 w 13797425"/>
                <a:gd name="connsiteY2458" fmla="*/ 11414859 h 17966907"/>
                <a:gd name="connsiteX2459" fmla="*/ 8736860 w 13797425"/>
                <a:gd name="connsiteY2459" fmla="*/ 11395798 h 17966907"/>
                <a:gd name="connsiteX2460" fmla="*/ 8732095 w 13797425"/>
                <a:gd name="connsiteY2460" fmla="*/ 11391033 h 17966907"/>
                <a:gd name="connsiteX2461" fmla="*/ 8722565 w 13797425"/>
                <a:gd name="connsiteY2461" fmla="*/ 11362442 h 17966907"/>
                <a:gd name="connsiteX2462" fmla="*/ 8722565 w 13797425"/>
                <a:gd name="connsiteY2462" fmla="*/ 11338616 h 17966907"/>
                <a:gd name="connsiteX2463" fmla="*/ 8717800 w 13797425"/>
                <a:gd name="connsiteY2463" fmla="*/ 11314791 h 17966907"/>
                <a:gd name="connsiteX2464" fmla="*/ 8717800 w 13797425"/>
                <a:gd name="connsiteY2464" fmla="*/ 11305261 h 17966907"/>
                <a:gd name="connsiteX2465" fmla="*/ 8722565 w 13797425"/>
                <a:gd name="connsiteY2465" fmla="*/ 11290965 h 17966907"/>
                <a:gd name="connsiteX2466" fmla="*/ 8836928 w 13797425"/>
                <a:gd name="connsiteY2466" fmla="*/ 11243314 h 17966907"/>
                <a:gd name="connsiteX2467" fmla="*/ 8884579 w 13797425"/>
                <a:gd name="connsiteY2467" fmla="*/ 11267140 h 17966907"/>
                <a:gd name="connsiteX2468" fmla="*/ 8908405 w 13797425"/>
                <a:gd name="connsiteY2468" fmla="*/ 11286200 h 17966907"/>
                <a:gd name="connsiteX2469" fmla="*/ 8936996 w 13797425"/>
                <a:gd name="connsiteY2469" fmla="*/ 11310026 h 17966907"/>
                <a:gd name="connsiteX2470" fmla="*/ 8946526 w 13797425"/>
                <a:gd name="connsiteY2470" fmla="*/ 11324321 h 17966907"/>
                <a:gd name="connsiteX2471" fmla="*/ 8951291 w 13797425"/>
                <a:gd name="connsiteY2471" fmla="*/ 11338616 h 17966907"/>
                <a:gd name="connsiteX2472" fmla="*/ 8946526 w 13797425"/>
                <a:gd name="connsiteY2472" fmla="*/ 11348147 h 17966907"/>
                <a:gd name="connsiteX2473" fmla="*/ 8936996 w 13797425"/>
                <a:gd name="connsiteY2473" fmla="*/ 11362442 h 17966907"/>
                <a:gd name="connsiteX2474" fmla="*/ 8946526 w 13797425"/>
                <a:gd name="connsiteY2474" fmla="*/ 11371972 h 17966907"/>
                <a:gd name="connsiteX2475" fmla="*/ 8965587 w 13797425"/>
                <a:gd name="connsiteY2475" fmla="*/ 11386268 h 17966907"/>
                <a:gd name="connsiteX2476" fmla="*/ 8984647 w 13797425"/>
                <a:gd name="connsiteY2476" fmla="*/ 11395798 h 17966907"/>
                <a:gd name="connsiteX2477" fmla="*/ 9018003 w 13797425"/>
                <a:gd name="connsiteY2477" fmla="*/ 11400563 h 17966907"/>
                <a:gd name="connsiteX2478" fmla="*/ 9022768 w 13797425"/>
                <a:gd name="connsiteY2478" fmla="*/ 11405328 h 17966907"/>
                <a:gd name="connsiteX2479" fmla="*/ 9022768 w 13797425"/>
                <a:gd name="connsiteY2479" fmla="*/ 11410093 h 17966907"/>
                <a:gd name="connsiteX2480" fmla="*/ 9018003 w 13797425"/>
                <a:gd name="connsiteY2480" fmla="*/ 11424389 h 17966907"/>
                <a:gd name="connsiteX2481" fmla="*/ 9008473 w 13797425"/>
                <a:gd name="connsiteY2481" fmla="*/ 11438684 h 17966907"/>
                <a:gd name="connsiteX2482" fmla="*/ 8998942 w 13797425"/>
                <a:gd name="connsiteY2482" fmla="*/ 11438684 h 17966907"/>
                <a:gd name="connsiteX2483" fmla="*/ 8979882 w 13797425"/>
                <a:gd name="connsiteY2483" fmla="*/ 11429154 h 17966907"/>
                <a:gd name="connsiteX2484" fmla="*/ 8975117 w 13797425"/>
                <a:gd name="connsiteY2484" fmla="*/ 11424389 h 17966907"/>
                <a:gd name="connsiteX2485" fmla="*/ 8965587 w 13797425"/>
                <a:gd name="connsiteY2485" fmla="*/ 11410093 h 17966907"/>
                <a:gd name="connsiteX2486" fmla="*/ 8960821 w 13797425"/>
                <a:gd name="connsiteY2486" fmla="*/ 11410093 h 17966907"/>
                <a:gd name="connsiteX2487" fmla="*/ 8960821 w 13797425"/>
                <a:gd name="connsiteY2487" fmla="*/ 11414858 h 17966907"/>
                <a:gd name="connsiteX2488" fmla="*/ 8956056 w 13797425"/>
                <a:gd name="connsiteY2488" fmla="*/ 11419624 h 17966907"/>
                <a:gd name="connsiteX2489" fmla="*/ 8960821 w 13797425"/>
                <a:gd name="connsiteY2489" fmla="*/ 11424389 h 17966907"/>
                <a:gd name="connsiteX2490" fmla="*/ 8956056 w 13797425"/>
                <a:gd name="connsiteY2490" fmla="*/ 11424389 h 17966907"/>
                <a:gd name="connsiteX2491" fmla="*/ 8936996 w 13797425"/>
                <a:gd name="connsiteY2491" fmla="*/ 11424389 h 17966907"/>
                <a:gd name="connsiteX2492" fmla="*/ 8932231 w 13797425"/>
                <a:gd name="connsiteY2492" fmla="*/ 11419624 h 17966907"/>
                <a:gd name="connsiteX2493" fmla="*/ 8932231 w 13797425"/>
                <a:gd name="connsiteY2493" fmla="*/ 11405328 h 17966907"/>
                <a:gd name="connsiteX2494" fmla="*/ 8946526 w 13797425"/>
                <a:gd name="connsiteY2494" fmla="*/ 11391033 h 17966907"/>
                <a:gd name="connsiteX2495" fmla="*/ 8936996 w 13797425"/>
                <a:gd name="connsiteY2495" fmla="*/ 11381503 h 17966907"/>
                <a:gd name="connsiteX2496" fmla="*/ 8932231 w 13797425"/>
                <a:gd name="connsiteY2496" fmla="*/ 11376737 h 17966907"/>
                <a:gd name="connsiteX2497" fmla="*/ 8913170 w 13797425"/>
                <a:gd name="connsiteY2497" fmla="*/ 11386268 h 17966907"/>
                <a:gd name="connsiteX2498" fmla="*/ 8898875 w 13797425"/>
                <a:gd name="connsiteY2498" fmla="*/ 11391033 h 17966907"/>
                <a:gd name="connsiteX2499" fmla="*/ 8884579 w 13797425"/>
                <a:gd name="connsiteY2499" fmla="*/ 11381503 h 17966907"/>
                <a:gd name="connsiteX2500" fmla="*/ 8879814 w 13797425"/>
                <a:gd name="connsiteY2500" fmla="*/ 11343382 h 17966907"/>
                <a:gd name="connsiteX2501" fmla="*/ 8879814 w 13797425"/>
                <a:gd name="connsiteY2501" fmla="*/ 11329086 h 17966907"/>
                <a:gd name="connsiteX2502" fmla="*/ 8870284 w 13797425"/>
                <a:gd name="connsiteY2502" fmla="*/ 11319556 h 17966907"/>
                <a:gd name="connsiteX2503" fmla="*/ 8865519 w 13797425"/>
                <a:gd name="connsiteY2503" fmla="*/ 11305261 h 17966907"/>
                <a:gd name="connsiteX2504" fmla="*/ 8860754 w 13797425"/>
                <a:gd name="connsiteY2504" fmla="*/ 11300495 h 17966907"/>
                <a:gd name="connsiteX2505" fmla="*/ 8841693 w 13797425"/>
                <a:gd name="connsiteY2505" fmla="*/ 11290965 h 17966907"/>
                <a:gd name="connsiteX2506" fmla="*/ 8832163 w 13797425"/>
                <a:gd name="connsiteY2506" fmla="*/ 11271905 h 17966907"/>
                <a:gd name="connsiteX2507" fmla="*/ 8827398 w 13797425"/>
                <a:gd name="connsiteY2507" fmla="*/ 11262374 h 17966907"/>
                <a:gd name="connsiteX2508" fmla="*/ 8832163 w 13797425"/>
                <a:gd name="connsiteY2508" fmla="*/ 11252844 h 17966907"/>
                <a:gd name="connsiteX2509" fmla="*/ 9022768 w 13797425"/>
                <a:gd name="connsiteY2509" fmla="*/ 11167072 h 17966907"/>
                <a:gd name="connsiteX2510" fmla="*/ 9037063 w 13797425"/>
                <a:gd name="connsiteY2510" fmla="*/ 11186132 h 17966907"/>
                <a:gd name="connsiteX2511" fmla="*/ 9056124 w 13797425"/>
                <a:gd name="connsiteY2511" fmla="*/ 11190897 h 17966907"/>
                <a:gd name="connsiteX2512" fmla="*/ 9065654 w 13797425"/>
                <a:gd name="connsiteY2512" fmla="*/ 11190897 h 17966907"/>
                <a:gd name="connsiteX2513" fmla="*/ 9070419 w 13797425"/>
                <a:gd name="connsiteY2513" fmla="*/ 11195663 h 17966907"/>
                <a:gd name="connsiteX2514" fmla="*/ 9056124 w 13797425"/>
                <a:gd name="connsiteY2514" fmla="*/ 11214723 h 17966907"/>
                <a:gd name="connsiteX2515" fmla="*/ 9046594 w 13797425"/>
                <a:gd name="connsiteY2515" fmla="*/ 11219488 h 17966907"/>
                <a:gd name="connsiteX2516" fmla="*/ 9037063 w 13797425"/>
                <a:gd name="connsiteY2516" fmla="*/ 11205193 h 17966907"/>
                <a:gd name="connsiteX2517" fmla="*/ 9022768 w 13797425"/>
                <a:gd name="connsiteY2517" fmla="*/ 11190897 h 17966907"/>
                <a:gd name="connsiteX2518" fmla="*/ 9022768 w 13797425"/>
                <a:gd name="connsiteY2518" fmla="*/ 11176602 h 17966907"/>
                <a:gd name="connsiteX2519" fmla="*/ 5141571 w 13797425"/>
                <a:gd name="connsiteY2519" fmla="*/ 10900225 h 17966907"/>
                <a:gd name="connsiteX2520" fmla="*/ 5160631 w 13797425"/>
                <a:gd name="connsiteY2520" fmla="*/ 10904990 h 17966907"/>
                <a:gd name="connsiteX2521" fmla="*/ 5184457 w 13797425"/>
                <a:gd name="connsiteY2521" fmla="*/ 10904990 h 17966907"/>
                <a:gd name="connsiteX2522" fmla="*/ 5179692 w 13797425"/>
                <a:gd name="connsiteY2522" fmla="*/ 10933581 h 17966907"/>
                <a:gd name="connsiteX2523" fmla="*/ 5170162 w 13797425"/>
                <a:gd name="connsiteY2523" fmla="*/ 10957407 h 17966907"/>
                <a:gd name="connsiteX2524" fmla="*/ 5165397 w 13797425"/>
                <a:gd name="connsiteY2524" fmla="*/ 10962172 h 17966907"/>
                <a:gd name="connsiteX2525" fmla="*/ 5160631 w 13797425"/>
                <a:gd name="connsiteY2525" fmla="*/ 10947877 h 17966907"/>
                <a:gd name="connsiteX2526" fmla="*/ 5146336 w 13797425"/>
                <a:gd name="connsiteY2526" fmla="*/ 10924051 h 17966907"/>
                <a:gd name="connsiteX2527" fmla="*/ 12263053 w 13797425"/>
                <a:gd name="connsiteY2527" fmla="*/ 10828748 h 17966907"/>
                <a:gd name="connsiteX2528" fmla="*/ 12272585 w 13797425"/>
                <a:gd name="connsiteY2528" fmla="*/ 10828748 h 17966907"/>
                <a:gd name="connsiteX2529" fmla="*/ 12277349 w 13797425"/>
                <a:gd name="connsiteY2529" fmla="*/ 10833513 h 17966907"/>
                <a:gd name="connsiteX2530" fmla="*/ 12263053 w 13797425"/>
                <a:gd name="connsiteY2530" fmla="*/ 10852574 h 17966907"/>
                <a:gd name="connsiteX2531" fmla="*/ 12229697 w 13797425"/>
                <a:gd name="connsiteY2531" fmla="*/ 10881165 h 17966907"/>
                <a:gd name="connsiteX2532" fmla="*/ 12210637 w 13797425"/>
                <a:gd name="connsiteY2532" fmla="*/ 10890695 h 17966907"/>
                <a:gd name="connsiteX2533" fmla="*/ 12201109 w 13797425"/>
                <a:gd name="connsiteY2533" fmla="*/ 10881165 h 17966907"/>
                <a:gd name="connsiteX2534" fmla="*/ 12210637 w 13797425"/>
                <a:gd name="connsiteY2534" fmla="*/ 10876400 h 17966907"/>
                <a:gd name="connsiteX2535" fmla="*/ 12220169 w 13797425"/>
                <a:gd name="connsiteY2535" fmla="*/ 10857339 h 17966907"/>
                <a:gd name="connsiteX2536" fmla="*/ 12234465 w 13797425"/>
                <a:gd name="connsiteY2536" fmla="*/ 10843043 h 17966907"/>
                <a:gd name="connsiteX2537" fmla="*/ 12239229 w 13797425"/>
                <a:gd name="connsiteY2537" fmla="*/ 10833513 h 17966907"/>
                <a:gd name="connsiteX2538" fmla="*/ 5146336 w 13797425"/>
                <a:gd name="connsiteY2538" fmla="*/ 10633378 h 17966907"/>
                <a:gd name="connsiteX2539" fmla="*/ 5155867 w 13797425"/>
                <a:gd name="connsiteY2539" fmla="*/ 10652439 h 17966907"/>
                <a:gd name="connsiteX2540" fmla="*/ 5160632 w 13797425"/>
                <a:gd name="connsiteY2540" fmla="*/ 10681029 h 17966907"/>
                <a:gd name="connsiteX2541" fmla="*/ 5155867 w 13797425"/>
                <a:gd name="connsiteY2541" fmla="*/ 10695325 h 17966907"/>
                <a:gd name="connsiteX2542" fmla="*/ 5165397 w 13797425"/>
                <a:gd name="connsiteY2542" fmla="*/ 10709620 h 17966907"/>
                <a:gd name="connsiteX2543" fmla="*/ 5170162 w 13797425"/>
                <a:gd name="connsiteY2543" fmla="*/ 10714385 h 17966907"/>
                <a:gd name="connsiteX2544" fmla="*/ 5174927 w 13797425"/>
                <a:gd name="connsiteY2544" fmla="*/ 10728681 h 17966907"/>
                <a:gd name="connsiteX2545" fmla="*/ 5170162 w 13797425"/>
                <a:gd name="connsiteY2545" fmla="*/ 10742976 h 17966907"/>
                <a:gd name="connsiteX2546" fmla="*/ 5165397 w 13797425"/>
                <a:gd name="connsiteY2546" fmla="*/ 10776332 h 17966907"/>
                <a:gd name="connsiteX2547" fmla="*/ 5160632 w 13797425"/>
                <a:gd name="connsiteY2547" fmla="*/ 10771567 h 17966907"/>
                <a:gd name="connsiteX2548" fmla="*/ 5155867 w 13797425"/>
                <a:gd name="connsiteY2548" fmla="*/ 10757271 h 17966907"/>
                <a:gd name="connsiteX2549" fmla="*/ 5146336 w 13797425"/>
                <a:gd name="connsiteY2549" fmla="*/ 10747741 h 17966907"/>
                <a:gd name="connsiteX2550" fmla="*/ 5132041 w 13797425"/>
                <a:gd name="connsiteY2550" fmla="*/ 10728681 h 17966907"/>
                <a:gd name="connsiteX2551" fmla="*/ 5132041 w 13797425"/>
                <a:gd name="connsiteY2551" fmla="*/ 10690560 h 17966907"/>
                <a:gd name="connsiteX2552" fmla="*/ 5136806 w 13797425"/>
                <a:gd name="connsiteY2552" fmla="*/ 10676264 h 17966907"/>
                <a:gd name="connsiteX2553" fmla="*/ 5136806 w 13797425"/>
                <a:gd name="connsiteY2553" fmla="*/ 10647673 h 17966907"/>
                <a:gd name="connsiteX2554" fmla="*/ 4970027 w 13797425"/>
                <a:gd name="connsiteY2554" fmla="*/ 10504719 h 17966907"/>
                <a:gd name="connsiteX2555" fmla="*/ 4974792 w 13797425"/>
                <a:gd name="connsiteY2555" fmla="*/ 10504719 h 17966907"/>
                <a:gd name="connsiteX2556" fmla="*/ 4989087 w 13797425"/>
                <a:gd name="connsiteY2556" fmla="*/ 10509484 h 17966907"/>
                <a:gd name="connsiteX2557" fmla="*/ 5003383 w 13797425"/>
                <a:gd name="connsiteY2557" fmla="*/ 10504719 h 17966907"/>
                <a:gd name="connsiteX2558" fmla="*/ 5012913 w 13797425"/>
                <a:gd name="connsiteY2558" fmla="*/ 10519014 h 17966907"/>
                <a:gd name="connsiteX2559" fmla="*/ 5017678 w 13797425"/>
                <a:gd name="connsiteY2559" fmla="*/ 10538075 h 17966907"/>
                <a:gd name="connsiteX2560" fmla="*/ 5017678 w 13797425"/>
                <a:gd name="connsiteY2560" fmla="*/ 10542840 h 17966907"/>
                <a:gd name="connsiteX2561" fmla="*/ 5012913 w 13797425"/>
                <a:gd name="connsiteY2561" fmla="*/ 10547605 h 17966907"/>
                <a:gd name="connsiteX2562" fmla="*/ 4984322 w 13797425"/>
                <a:gd name="connsiteY2562" fmla="*/ 10528545 h 17966907"/>
                <a:gd name="connsiteX2563" fmla="*/ 4974792 w 13797425"/>
                <a:gd name="connsiteY2563" fmla="*/ 10514249 h 17966907"/>
                <a:gd name="connsiteX2564" fmla="*/ 10404657 w 13797425"/>
                <a:gd name="connsiteY2564" fmla="*/ 10457068 h 17966907"/>
                <a:gd name="connsiteX2565" fmla="*/ 10447541 w 13797425"/>
                <a:gd name="connsiteY2565" fmla="*/ 10471363 h 17966907"/>
                <a:gd name="connsiteX2566" fmla="*/ 10480897 w 13797425"/>
                <a:gd name="connsiteY2566" fmla="*/ 10485659 h 17966907"/>
                <a:gd name="connsiteX2567" fmla="*/ 10528549 w 13797425"/>
                <a:gd name="connsiteY2567" fmla="*/ 10490424 h 17966907"/>
                <a:gd name="connsiteX2568" fmla="*/ 10542845 w 13797425"/>
                <a:gd name="connsiteY2568" fmla="*/ 10495189 h 17966907"/>
                <a:gd name="connsiteX2569" fmla="*/ 10547609 w 13797425"/>
                <a:gd name="connsiteY2569" fmla="*/ 10499954 h 17966907"/>
                <a:gd name="connsiteX2570" fmla="*/ 10552373 w 13797425"/>
                <a:gd name="connsiteY2570" fmla="*/ 10509484 h 17966907"/>
                <a:gd name="connsiteX2571" fmla="*/ 10557141 w 13797425"/>
                <a:gd name="connsiteY2571" fmla="*/ 10547605 h 17966907"/>
                <a:gd name="connsiteX2572" fmla="*/ 10557141 w 13797425"/>
                <a:gd name="connsiteY2572" fmla="*/ 10566666 h 17966907"/>
                <a:gd name="connsiteX2573" fmla="*/ 10557141 w 13797425"/>
                <a:gd name="connsiteY2573" fmla="*/ 10580961 h 17966907"/>
                <a:gd name="connsiteX2574" fmla="*/ 10523785 w 13797425"/>
                <a:gd name="connsiteY2574" fmla="*/ 10585726 h 17966907"/>
                <a:gd name="connsiteX2575" fmla="*/ 10447541 w 13797425"/>
                <a:gd name="connsiteY2575" fmla="*/ 10585726 h 17966907"/>
                <a:gd name="connsiteX2576" fmla="*/ 10404657 w 13797425"/>
                <a:gd name="connsiteY2576" fmla="*/ 10580961 h 17966907"/>
                <a:gd name="connsiteX2577" fmla="*/ 10390361 w 13797425"/>
                <a:gd name="connsiteY2577" fmla="*/ 10576196 h 17966907"/>
                <a:gd name="connsiteX2578" fmla="*/ 10376065 w 13797425"/>
                <a:gd name="connsiteY2578" fmla="*/ 10566666 h 17966907"/>
                <a:gd name="connsiteX2579" fmla="*/ 10357005 w 13797425"/>
                <a:gd name="connsiteY2579" fmla="*/ 10533310 h 17966907"/>
                <a:gd name="connsiteX2580" fmla="*/ 10347473 w 13797425"/>
                <a:gd name="connsiteY2580" fmla="*/ 10499954 h 17966907"/>
                <a:gd name="connsiteX2581" fmla="*/ 10347473 w 13797425"/>
                <a:gd name="connsiteY2581" fmla="*/ 10485659 h 17966907"/>
                <a:gd name="connsiteX2582" fmla="*/ 10347473 w 13797425"/>
                <a:gd name="connsiteY2582" fmla="*/ 10476128 h 17966907"/>
                <a:gd name="connsiteX2583" fmla="*/ 10352241 w 13797425"/>
                <a:gd name="connsiteY2583" fmla="*/ 10466598 h 17966907"/>
                <a:gd name="connsiteX2584" fmla="*/ 4927141 w 13797425"/>
                <a:gd name="connsiteY2584" fmla="*/ 10452303 h 17966907"/>
                <a:gd name="connsiteX2585" fmla="*/ 4946202 w 13797425"/>
                <a:gd name="connsiteY2585" fmla="*/ 10476128 h 17966907"/>
                <a:gd name="connsiteX2586" fmla="*/ 4950967 w 13797425"/>
                <a:gd name="connsiteY2586" fmla="*/ 10490424 h 17966907"/>
                <a:gd name="connsiteX2587" fmla="*/ 4950967 w 13797425"/>
                <a:gd name="connsiteY2587" fmla="*/ 10499954 h 17966907"/>
                <a:gd name="connsiteX2588" fmla="*/ 4941437 w 13797425"/>
                <a:gd name="connsiteY2588" fmla="*/ 10499954 h 17966907"/>
                <a:gd name="connsiteX2589" fmla="*/ 4922376 w 13797425"/>
                <a:gd name="connsiteY2589" fmla="*/ 10476128 h 17966907"/>
                <a:gd name="connsiteX2590" fmla="*/ 8481926 w 13797425"/>
                <a:gd name="connsiteY2590" fmla="*/ 10366531 h 17966907"/>
                <a:gd name="connsiteX2591" fmla="*/ 8500986 w 13797425"/>
                <a:gd name="connsiteY2591" fmla="*/ 10376061 h 17966907"/>
                <a:gd name="connsiteX2592" fmla="*/ 8520047 w 13797425"/>
                <a:gd name="connsiteY2592" fmla="*/ 10399887 h 17966907"/>
                <a:gd name="connsiteX2593" fmla="*/ 8524812 w 13797425"/>
                <a:gd name="connsiteY2593" fmla="*/ 10418947 h 17966907"/>
                <a:gd name="connsiteX2594" fmla="*/ 8524812 w 13797425"/>
                <a:gd name="connsiteY2594" fmla="*/ 10438008 h 17966907"/>
                <a:gd name="connsiteX2595" fmla="*/ 8524812 w 13797425"/>
                <a:gd name="connsiteY2595" fmla="*/ 10466599 h 17966907"/>
                <a:gd name="connsiteX2596" fmla="*/ 8529577 w 13797425"/>
                <a:gd name="connsiteY2596" fmla="*/ 10499954 h 17966907"/>
                <a:gd name="connsiteX2597" fmla="*/ 8534342 w 13797425"/>
                <a:gd name="connsiteY2597" fmla="*/ 10523780 h 17966907"/>
                <a:gd name="connsiteX2598" fmla="*/ 8529577 w 13797425"/>
                <a:gd name="connsiteY2598" fmla="*/ 10542840 h 17966907"/>
                <a:gd name="connsiteX2599" fmla="*/ 8520047 w 13797425"/>
                <a:gd name="connsiteY2599" fmla="*/ 10571431 h 17966907"/>
                <a:gd name="connsiteX2600" fmla="*/ 8515282 w 13797425"/>
                <a:gd name="connsiteY2600" fmla="*/ 10585727 h 17966907"/>
                <a:gd name="connsiteX2601" fmla="*/ 8505751 w 13797425"/>
                <a:gd name="connsiteY2601" fmla="*/ 10600022 h 17966907"/>
                <a:gd name="connsiteX2602" fmla="*/ 8500986 w 13797425"/>
                <a:gd name="connsiteY2602" fmla="*/ 10604787 h 17966907"/>
                <a:gd name="connsiteX2603" fmla="*/ 8491456 w 13797425"/>
                <a:gd name="connsiteY2603" fmla="*/ 10604787 h 17966907"/>
                <a:gd name="connsiteX2604" fmla="*/ 8481926 w 13797425"/>
                <a:gd name="connsiteY2604" fmla="*/ 10600022 h 17966907"/>
                <a:gd name="connsiteX2605" fmla="*/ 8458100 w 13797425"/>
                <a:gd name="connsiteY2605" fmla="*/ 10576196 h 17966907"/>
                <a:gd name="connsiteX2606" fmla="*/ 8453335 w 13797425"/>
                <a:gd name="connsiteY2606" fmla="*/ 10561901 h 17966907"/>
                <a:gd name="connsiteX2607" fmla="*/ 8448570 w 13797425"/>
                <a:gd name="connsiteY2607" fmla="*/ 10552371 h 17966907"/>
                <a:gd name="connsiteX2608" fmla="*/ 8448570 w 13797425"/>
                <a:gd name="connsiteY2608" fmla="*/ 10538075 h 17966907"/>
                <a:gd name="connsiteX2609" fmla="*/ 8453335 w 13797425"/>
                <a:gd name="connsiteY2609" fmla="*/ 10523780 h 17966907"/>
                <a:gd name="connsiteX2610" fmla="*/ 8458100 w 13797425"/>
                <a:gd name="connsiteY2610" fmla="*/ 10490424 h 17966907"/>
                <a:gd name="connsiteX2611" fmla="*/ 8443805 w 13797425"/>
                <a:gd name="connsiteY2611" fmla="*/ 10466599 h 17966907"/>
                <a:gd name="connsiteX2612" fmla="*/ 8443805 w 13797425"/>
                <a:gd name="connsiteY2612" fmla="*/ 10452303 h 17966907"/>
                <a:gd name="connsiteX2613" fmla="*/ 8443805 w 13797425"/>
                <a:gd name="connsiteY2613" fmla="*/ 10447538 h 17966907"/>
                <a:gd name="connsiteX2614" fmla="*/ 8453335 w 13797425"/>
                <a:gd name="connsiteY2614" fmla="*/ 10428478 h 17966907"/>
                <a:gd name="connsiteX2615" fmla="*/ 8453335 w 13797425"/>
                <a:gd name="connsiteY2615" fmla="*/ 10414182 h 17966907"/>
                <a:gd name="connsiteX2616" fmla="*/ 8462865 w 13797425"/>
                <a:gd name="connsiteY2616" fmla="*/ 10399887 h 17966907"/>
                <a:gd name="connsiteX2617" fmla="*/ 10171164 w 13797425"/>
                <a:gd name="connsiteY2617" fmla="*/ 10352235 h 17966907"/>
                <a:gd name="connsiteX2618" fmla="*/ 10204521 w 13797425"/>
                <a:gd name="connsiteY2618" fmla="*/ 10361765 h 17966907"/>
                <a:gd name="connsiteX2619" fmla="*/ 10285525 w 13797425"/>
                <a:gd name="connsiteY2619" fmla="*/ 10395121 h 17966907"/>
                <a:gd name="connsiteX2620" fmla="*/ 10290293 w 13797425"/>
                <a:gd name="connsiteY2620" fmla="*/ 10409416 h 17966907"/>
                <a:gd name="connsiteX2621" fmla="*/ 10295057 w 13797425"/>
                <a:gd name="connsiteY2621" fmla="*/ 10423712 h 17966907"/>
                <a:gd name="connsiteX2622" fmla="*/ 10299821 w 13797425"/>
                <a:gd name="connsiteY2622" fmla="*/ 10438007 h 17966907"/>
                <a:gd name="connsiteX2623" fmla="*/ 10299821 w 13797425"/>
                <a:gd name="connsiteY2623" fmla="*/ 10466598 h 17966907"/>
                <a:gd name="connsiteX2624" fmla="*/ 10295057 w 13797425"/>
                <a:gd name="connsiteY2624" fmla="*/ 10476128 h 17966907"/>
                <a:gd name="connsiteX2625" fmla="*/ 10290293 w 13797425"/>
                <a:gd name="connsiteY2625" fmla="*/ 10499954 h 17966907"/>
                <a:gd name="connsiteX2626" fmla="*/ 10285525 w 13797425"/>
                <a:gd name="connsiteY2626" fmla="*/ 10509484 h 17966907"/>
                <a:gd name="connsiteX2627" fmla="*/ 10295057 w 13797425"/>
                <a:gd name="connsiteY2627" fmla="*/ 10600022 h 17966907"/>
                <a:gd name="connsiteX2628" fmla="*/ 10295057 w 13797425"/>
                <a:gd name="connsiteY2628" fmla="*/ 10647673 h 17966907"/>
                <a:gd name="connsiteX2629" fmla="*/ 10285525 w 13797425"/>
                <a:gd name="connsiteY2629" fmla="*/ 10685794 h 17966907"/>
                <a:gd name="connsiteX2630" fmla="*/ 10275997 w 13797425"/>
                <a:gd name="connsiteY2630" fmla="*/ 10719150 h 17966907"/>
                <a:gd name="connsiteX2631" fmla="*/ 10256937 w 13797425"/>
                <a:gd name="connsiteY2631" fmla="*/ 10742975 h 17966907"/>
                <a:gd name="connsiteX2632" fmla="*/ 10247405 w 13797425"/>
                <a:gd name="connsiteY2632" fmla="*/ 10757271 h 17966907"/>
                <a:gd name="connsiteX2633" fmla="*/ 10185461 w 13797425"/>
                <a:gd name="connsiteY2633" fmla="*/ 10790626 h 17966907"/>
                <a:gd name="connsiteX2634" fmla="*/ 10142573 w 13797425"/>
                <a:gd name="connsiteY2634" fmla="*/ 10800157 h 17966907"/>
                <a:gd name="connsiteX2635" fmla="*/ 10099687 w 13797425"/>
                <a:gd name="connsiteY2635" fmla="*/ 10800157 h 17966907"/>
                <a:gd name="connsiteX2636" fmla="*/ 10042505 w 13797425"/>
                <a:gd name="connsiteY2636" fmla="*/ 10809687 h 17966907"/>
                <a:gd name="connsiteX2637" fmla="*/ 10018680 w 13797425"/>
                <a:gd name="connsiteY2637" fmla="*/ 10804922 h 17966907"/>
                <a:gd name="connsiteX2638" fmla="*/ 10004384 w 13797425"/>
                <a:gd name="connsiteY2638" fmla="*/ 10804922 h 17966907"/>
                <a:gd name="connsiteX2639" fmla="*/ 9994854 w 13797425"/>
                <a:gd name="connsiteY2639" fmla="*/ 10795392 h 17966907"/>
                <a:gd name="connsiteX2640" fmla="*/ 9985324 w 13797425"/>
                <a:gd name="connsiteY2640" fmla="*/ 10776331 h 17966907"/>
                <a:gd name="connsiteX2641" fmla="*/ 9971029 w 13797425"/>
                <a:gd name="connsiteY2641" fmla="*/ 10738210 h 17966907"/>
                <a:gd name="connsiteX2642" fmla="*/ 9961498 w 13797425"/>
                <a:gd name="connsiteY2642" fmla="*/ 10700089 h 17966907"/>
                <a:gd name="connsiteX2643" fmla="*/ 9947203 w 13797425"/>
                <a:gd name="connsiteY2643" fmla="*/ 10623847 h 17966907"/>
                <a:gd name="connsiteX2644" fmla="*/ 9947203 w 13797425"/>
                <a:gd name="connsiteY2644" fmla="*/ 10619082 h 17966907"/>
                <a:gd name="connsiteX2645" fmla="*/ 9961498 w 13797425"/>
                <a:gd name="connsiteY2645" fmla="*/ 10557135 h 17966907"/>
                <a:gd name="connsiteX2646" fmla="*/ 9975794 w 13797425"/>
                <a:gd name="connsiteY2646" fmla="*/ 10519014 h 17966907"/>
                <a:gd name="connsiteX2647" fmla="*/ 10004384 w 13797425"/>
                <a:gd name="connsiteY2647" fmla="*/ 10457068 h 17966907"/>
                <a:gd name="connsiteX2648" fmla="*/ 10037740 w 13797425"/>
                <a:gd name="connsiteY2648" fmla="*/ 10399886 h 17966907"/>
                <a:gd name="connsiteX2649" fmla="*/ 10042505 w 13797425"/>
                <a:gd name="connsiteY2649" fmla="*/ 10390356 h 17966907"/>
                <a:gd name="connsiteX2650" fmla="*/ 10056801 w 13797425"/>
                <a:gd name="connsiteY2650" fmla="*/ 10376061 h 17966907"/>
                <a:gd name="connsiteX2651" fmla="*/ 10094922 w 13797425"/>
                <a:gd name="connsiteY2651" fmla="*/ 10361765 h 17966907"/>
                <a:gd name="connsiteX2652" fmla="*/ 10123512 w 13797425"/>
                <a:gd name="connsiteY2652" fmla="*/ 10366530 h 17966907"/>
                <a:gd name="connsiteX2653" fmla="*/ 10137808 w 13797425"/>
                <a:gd name="connsiteY2653" fmla="*/ 10361765 h 17966907"/>
                <a:gd name="connsiteX2654" fmla="*/ 10152103 w 13797425"/>
                <a:gd name="connsiteY2654" fmla="*/ 10357000 h 17966907"/>
                <a:gd name="connsiteX2655" fmla="*/ 9689886 w 13797425"/>
                <a:gd name="connsiteY2655" fmla="*/ 10347470 h 17966907"/>
                <a:gd name="connsiteX2656" fmla="*/ 9704181 w 13797425"/>
                <a:gd name="connsiteY2656" fmla="*/ 10366531 h 17966907"/>
                <a:gd name="connsiteX2657" fmla="*/ 9708946 w 13797425"/>
                <a:gd name="connsiteY2657" fmla="*/ 10385591 h 17966907"/>
                <a:gd name="connsiteX2658" fmla="*/ 9685121 w 13797425"/>
                <a:gd name="connsiteY2658" fmla="*/ 10414182 h 17966907"/>
                <a:gd name="connsiteX2659" fmla="*/ 9670825 w 13797425"/>
                <a:gd name="connsiteY2659" fmla="*/ 10418947 h 17966907"/>
                <a:gd name="connsiteX2660" fmla="*/ 9656530 w 13797425"/>
                <a:gd name="connsiteY2660" fmla="*/ 10395121 h 17966907"/>
                <a:gd name="connsiteX2661" fmla="*/ 9656530 w 13797425"/>
                <a:gd name="connsiteY2661" fmla="*/ 10385591 h 17966907"/>
                <a:gd name="connsiteX2662" fmla="*/ 9656530 w 13797425"/>
                <a:gd name="connsiteY2662" fmla="*/ 10357000 h 17966907"/>
                <a:gd name="connsiteX2663" fmla="*/ 5627614 w 13797425"/>
                <a:gd name="connsiteY2663" fmla="*/ 10252168 h 17966907"/>
                <a:gd name="connsiteX2664" fmla="*/ 5637145 w 13797425"/>
                <a:gd name="connsiteY2664" fmla="*/ 10252168 h 17966907"/>
                <a:gd name="connsiteX2665" fmla="*/ 5670501 w 13797425"/>
                <a:gd name="connsiteY2665" fmla="*/ 10252168 h 17966907"/>
                <a:gd name="connsiteX2666" fmla="*/ 5684796 w 13797425"/>
                <a:gd name="connsiteY2666" fmla="*/ 10256933 h 17966907"/>
                <a:gd name="connsiteX2667" fmla="*/ 5708622 w 13797425"/>
                <a:gd name="connsiteY2667" fmla="*/ 10285524 h 17966907"/>
                <a:gd name="connsiteX2668" fmla="*/ 5708622 w 13797425"/>
                <a:gd name="connsiteY2668" fmla="*/ 10295054 h 17966907"/>
                <a:gd name="connsiteX2669" fmla="*/ 5713387 w 13797425"/>
                <a:gd name="connsiteY2669" fmla="*/ 10304584 h 17966907"/>
                <a:gd name="connsiteX2670" fmla="*/ 5708622 w 13797425"/>
                <a:gd name="connsiteY2670" fmla="*/ 10314115 h 17966907"/>
                <a:gd name="connsiteX2671" fmla="*/ 5694326 w 13797425"/>
                <a:gd name="connsiteY2671" fmla="*/ 10323645 h 17966907"/>
                <a:gd name="connsiteX2672" fmla="*/ 5689561 w 13797425"/>
                <a:gd name="connsiteY2672" fmla="*/ 10328410 h 17966907"/>
                <a:gd name="connsiteX2673" fmla="*/ 5670501 w 13797425"/>
                <a:gd name="connsiteY2673" fmla="*/ 10318880 h 17966907"/>
                <a:gd name="connsiteX2674" fmla="*/ 5646675 w 13797425"/>
                <a:gd name="connsiteY2674" fmla="*/ 10304584 h 17966907"/>
                <a:gd name="connsiteX2675" fmla="*/ 5627614 w 13797425"/>
                <a:gd name="connsiteY2675" fmla="*/ 10290289 h 17966907"/>
                <a:gd name="connsiteX2676" fmla="*/ 5618084 w 13797425"/>
                <a:gd name="connsiteY2676" fmla="*/ 10271228 h 17966907"/>
                <a:gd name="connsiteX2677" fmla="*/ 5618084 w 13797425"/>
                <a:gd name="connsiteY2677" fmla="*/ 10261698 h 17966907"/>
                <a:gd name="connsiteX2678" fmla="*/ 10275997 w 13797425"/>
                <a:gd name="connsiteY2678" fmla="*/ 10199751 h 17966907"/>
                <a:gd name="connsiteX2679" fmla="*/ 10295057 w 13797425"/>
                <a:gd name="connsiteY2679" fmla="*/ 10204516 h 17966907"/>
                <a:gd name="connsiteX2680" fmla="*/ 10309353 w 13797425"/>
                <a:gd name="connsiteY2680" fmla="*/ 10223577 h 17966907"/>
                <a:gd name="connsiteX2681" fmla="*/ 10323649 w 13797425"/>
                <a:gd name="connsiteY2681" fmla="*/ 10266463 h 17966907"/>
                <a:gd name="connsiteX2682" fmla="*/ 10337945 w 13797425"/>
                <a:gd name="connsiteY2682" fmla="*/ 10285523 h 17966907"/>
                <a:gd name="connsiteX2683" fmla="*/ 10337945 w 13797425"/>
                <a:gd name="connsiteY2683" fmla="*/ 10304584 h 17966907"/>
                <a:gd name="connsiteX2684" fmla="*/ 10333177 w 13797425"/>
                <a:gd name="connsiteY2684" fmla="*/ 10309349 h 17966907"/>
                <a:gd name="connsiteX2685" fmla="*/ 10333177 w 13797425"/>
                <a:gd name="connsiteY2685" fmla="*/ 10318879 h 17966907"/>
                <a:gd name="connsiteX2686" fmla="*/ 10337945 w 13797425"/>
                <a:gd name="connsiteY2686" fmla="*/ 10323644 h 17966907"/>
                <a:gd name="connsiteX2687" fmla="*/ 10337945 w 13797425"/>
                <a:gd name="connsiteY2687" fmla="*/ 10328409 h 17966907"/>
                <a:gd name="connsiteX2688" fmla="*/ 10333177 w 13797425"/>
                <a:gd name="connsiteY2688" fmla="*/ 10342705 h 17966907"/>
                <a:gd name="connsiteX2689" fmla="*/ 10328413 w 13797425"/>
                <a:gd name="connsiteY2689" fmla="*/ 10347470 h 17966907"/>
                <a:gd name="connsiteX2690" fmla="*/ 10314117 w 13797425"/>
                <a:gd name="connsiteY2690" fmla="*/ 10352235 h 17966907"/>
                <a:gd name="connsiteX2691" fmla="*/ 10295057 w 13797425"/>
                <a:gd name="connsiteY2691" fmla="*/ 10323644 h 17966907"/>
                <a:gd name="connsiteX2692" fmla="*/ 10261701 w 13797425"/>
                <a:gd name="connsiteY2692" fmla="*/ 10295054 h 17966907"/>
                <a:gd name="connsiteX2693" fmla="*/ 10247405 w 13797425"/>
                <a:gd name="connsiteY2693" fmla="*/ 10275993 h 17966907"/>
                <a:gd name="connsiteX2694" fmla="*/ 10242641 w 13797425"/>
                <a:gd name="connsiteY2694" fmla="*/ 10261698 h 17966907"/>
                <a:gd name="connsiteX2695" fmla="*/ 10247405 w 13797425"/>
                <a:gd name="connsiteY2695" fmla="*/ 10247402 h 17966907"/>
                <a:gd name="connsiteX2696" fmla="*/ 10247405 w 13797425"/>
                <a:gd name="connsiteY2696" fmla="*/ 10228342 h 17966907"/>
                <a:gd name="connsiteX2697" fmla="*/ 10261701 w 13797425"/>
                <a:gd name="connsiteY2697" fmla="*/ 10204516 h 17966907"/>
                <a:gd name="connsiteX2698" fmla="*/ 6089832 w 13797425"/>
                <a:gd name="connsiteY2698" fmla="*/ 10142570 h 17966907"/>
                <a:gd name="connsiteX2699" fmla="*/ 6118423 w 13797425"/>
                <a:gd name="connsiteY2699" fmla="*/ 10156865 h 17966907"/>
                <a:gd name="connsiteX2700" fmla="*/ 6132718 w 13797425"/>
                <a:gd name="connsiteY2700" fmla="*/ 10166396 h 17966907"/>
                <a:gd name="connsiteX2701" fmla="*/ 6132718 w 13797425"/>
                <a:gd name="connsiteY2701" fmla="*/ 10175926 h 17966907"/>
                <a:gd name="connsiteX2702" fmla="*/ 6137483 w 13797425"/>
                <a:gd name="connsiteY2702" fmla="*/ 10190221 h 17966907"/>
                <a:gd name="connsiteX2703" fmla="*/ 6132718 w 13797425"/>
                <a:gd name="connsiteY2703" fmla="*/ 10218812 h 17966907"/>
                <a:gd name="connsiteX2704" fmla="*/ 6123188 w 13797425"/>
                <a:gd name="connsiteY2704" fmla="*/ 10223577 h 17966907"/>
                <a:gd name="connsiteX2705" fmla="*/ 6118423 w 13797425"/>
                <a:gd name="connsiteY2705" fmla="*/ 10247403 h 17966907"/>
                <a:gd name="connsiteX2706" fmla="*/ 6108892 w 13797425"/>
                <a:gd name="connsiteY2706" fmla="*/ 10247403 h 17966907"/>
                <a:gd name="connsiteX2707" fmla="*/ 6099362 w 13797425"/>
                <a:gd name="connsiteY2707" fmla="*/ 10242638 h 17966907"/>
                <a:gd name="connsiteX2708" fmla="*/ 6051711 w 13797425"/>
                <a:gd name="connsiteY2708" fmla="*/ 10214047 h 17966907"/>
                <a:gd name="connsiteX2709" fmla="*/ 6046946 w 13797425"/>
                <a:gd name="connsiteY2709" fmla="*/ 10209282 h 17966907"/>
                <a:gd name="connsiteX2710" fmla="*/ 6051711 w 13797425"/>
                <a:gd name="connsiteY2710" fmla="*/ 10194986 h 17966907"/>
                <a:gd name="connsiteX2711" fmla="*/ 6070772 w 13797425"/>
                <a:gd name="connsiteY2711" fmla="*/ 10180691 h 17966907"/>
                <a:gd name="connsiteX2712" fmla="*/ 6080302 w 13797425"/>
                <a:gd name="connsiteY2712" fmla="*/ 10166396 h 17966907"/>
                <a:gd name="connsiteX2713" fmla="*/ 6323323 w 13797425"/>
                <a:gd name="connsiteY2713" fmla="*/ 10052032 h 17966907"/>
                <a:gd name="connsiteX2714" fmla="*/ 6342384 w 13797425"/>
                <a:gd name="connsiteY2714" fmla="*/ 10056797 h 17966907"/>
                <a:gd name="connsiteX2715" fmla="*/ 6351914 w 13797425"/>
                <a:gd name="connsiteY2715" fmla="*/ 10071093 h 17966907"/>
                <a:gd name="connsiteX2716" fmla="*/ 6361445 w 13797425"/>
                <a:gd name="connsiteY2716" fmla="*/ 10090153 h 17966907"/>
                <a:gd name="connsiteX2717" fmla="*/ 6370975 w 13797425"/>
                <a:gd name="connsiteY2717" fmla="*/ 10099683 h 17966907"/>
                <a:gd name="connsiteX2718" fmla="*/ 6375740 w 13797425"/>
                <a:gd name="connsiteY2718" fmla="*/ 10109214 h 17966907"/>
                <a:gd name="connsiteX2719" fmla="*/ 6370975 w 13797425"/>
                <a:gd name="connsiteY2719" fmla="*/ 10152100 h 17966907"/>
                <a:gd name="connsiteX2720" fmla="*/ 6366210 w 13797425"/>
                <a:gd name="connsiteY2720" fmla="*/ 10166395 h 17966907"/>
                <a:gd name="connsiteX2721" fmla="*/ 6361445 w 13797425"/>
                <a:gd name="connsiteY2721" fmla="*/ 10171160 h 17966907"/>
                <a:gd name="connsiteX2722" fmla="*/ 6347149 w 13797425"/>
                <a:gd name="connsiteY2722" fmla="*/ 10185456 h 17966907"/>
                <a:gd name="connsiteX2723" fmla="*/ 6342384 w 13797425"/>
                <a:gd name="connsiteY2723" fmla="*/ 10190221 h 17966907"/>
                <a:gd name="connsiteX2724" fmla="*/ 6337619 w 13797425"/>
                <a:gd name="connsiteY2724" fmla="*/ 10180691 h 17966907"/>
                <a:gd name="connsiteX2725" fmla="*/ 6328089 w 13797425"/>
                <a:gd name="connsiteY2725" fmla="*/ 10161630 h 17966907"/>
                <a:gd name="connsiteX2726" fmla="*/ 6323323 w 13797425"/>
                <a:gd name="connsiteY2726" fmla="*/ 10161630 h 17966907"/>
                <a:gd name="connsiteX2727" fmla="*/ 6313793 w 13797425"/>
                <a:gd name="connsiteY2727" fmla="*/ 10171160 h 17966907"/>
                <a:gd name="connsiteX2728" fmla="*/ 6309028 w 13797425"/>
                <a:gd name="connsiteY2728" fmla="*/ 10161630 h 17966907"/>
                <a:gd name="connsiteX2729" fmla="*/ 6309028 w 13797425"/>
                <a:gd name="connsiteY2729" fmla="*/ 10147335 h 17966907"/>
                <a:gd name="connsiteX2730" fmla="*/ 6309028 w 13797425"/>
                <a:gd name="connsiteY2730" fmla="*/ 10128274 h 17966907"/>
                <a:gd name="connsiteX2731" fmla="*/ 6313793 w 13797425"/>
                <a:gd name="connsiteY2731" fmla="*/ 10094918 h 17966907"/>
                <a:gd name="connsiteX2732" fmla="*/ 6313793 w 13797425"/>
                <a:gd name="connsiteY2732" fmla="*/ 10080623 h 17966907"/>
                <a:gd name="connsiteX2733" fmla="*/ 6309028 w 13797425"/>
                <a:gd name="connsiteY2733" fmla="*/ 10075858 h 17966907"/>
                <a:gd name="connsiteX2734" fmla="*/ 6313793 w 13797425"/>
                <a:gd name="connsiteY2734" fmla="*/ 10066327 h 17966907"/>
                <a:gd name="connsiteX2735" fmla="*/ 6318558 w 13797425"/>
                <a:gd name="connsiteY2735" fmla="*/ 10056797 h 17966907"/>
                <a:gd name="connsiteX2736" fmla="*/ 6380504 w 13797425"/>
                <a:gd name="connsiteY2736" fmla="*/ 10013911 h 17966907"/>
                <a:gd name="connsiteX2737" fmla="*/ 6394800 w 13797425"/>
                <a:gd name="connsiteY2737" fmla="*/ 10018676 h 17966907"/>
                <a:gd name="connsiteX2738" fmla="*/ 6399565 w 13797425"/>
                <a:gd name="connsiteY2738" fmla="*/ 10032972 h 17966907"/>
                <a:gd name="connsiteX2739" fmla="*/ 6404330 w 13797425"/>
                <a:gd name="connsiteY2739" fmla="*/ 10047267 h 17966907"/>
                <a:gd name="connsiteX2740" fmla="*/ 6404330 w 13797425"/>
                <a:gd name="connsiteY2740" fmla="*/ 10061562 h 17966907"/>
                <a:gd name="connsiteX2741" fmla="*/ 6404330 w 13797425"/>
                <a:gd name="connsiteY2741" fmla="*/ 10090153 h 17966907"/>
                <a:gd name="connsiteX2742" fmla="*/ 6380504 w 13797425"/>
                <a:gd name="connsiteY2742" fmla="*/ 10080623 h 17966907"/>
                <a:gd name="connsiteX2743" fmla="*/ 6375739 w 13797425"/>
                <a:gd name="connsiteY2743" fmla="*/ 10071092 h 17966907"/>
                <a:gd name="connsiteX2744" fmla="*/ 6366209 w 13797425"/>
                <a:gd name="connsiteY2744" fmla="*/ 10052032 h 17966907"/>
                <a:gd name="connsiteX2745" fmla="*/ 6366209 w 13797425"/>
                <a:gd name="connsiteY2745" fmla="*/ 10047267 h 17966907"/>
                <a:gd name="connsiteX2746" fmla="*/ 6366209 w 13797425"/>
                <a:gd name="connsiteY2746" fmla="*/ 10037737 h 17966907"/>
                <a:gd name="connsiteX2747" fmla="*/ 6375739 w 13797425"/>
                <a:gd name="connsiteY2747" fmla="*/ 10018676 h 17966907"/>
                <a:gd name="connsiteX2748" fmla="*/ 7862459 w 13797425"/>
                <a:gd name="connsiteY2748" fmla="*/ 9904313 h 17966907"/>
                <a:gd name="connsiteX2749" fmla="*/ 7871990 w 13797425"/>
                <a:gd name="connsiteY2749" fmla="*/ 9909078 h 17966907"/>
                <a:gd name="connsiteX2750" fmla="*/ 7881520 w 13797425"/>
                <a:gd name="connsiteY2750" fmla="*/ 9928139 h 17966907"/>
                <a:gd name="connsiteX2751" fmla="*/ 7886285 w 13797425"/>
                <a:gd name="connsiteY2751" fmla="*/ 9942434 h 17966907"/>
                <a:gd name="connsiteX2752" fmla="*/ 7891050 w 13797425"/>
                <a:gd name="connsiteY2752" fmla="*/ 9961495 h 17966907"/>
                <a:gd name="connsiteX2753" fmla="*/ 7891050 w 13797425"/>
                <a:gd name="connsiteY2753" fmla="*/ 9971025 h 17966907"/>
                <a:gd name="connsiteX2754" fmla="*/ 7876755 w 13797425"/>
                <a:gd name="connsiteY2754" fmla="*/ 9975790 h 17966907"/>
                <a:gd name="connsiteX2755" fmla="*/ 7871990 w 13797425"/>
                <a:gd name="connsiteY2755" fmla="*/ 9961495 h 17966907"/>
                <a:gd name="connsiteX2756" fmla="*/ 7862459 w 13797425"/>
                <a:gd name="connsiteY2756" fmla="*/ 9956729 h 17966907"/>
                <a:gd name="connsiteX2757" fmla="*/ 7857694 w 13797425"/>
                <a:gd name="connsiteY2757" fmla="*/ 9942434 h 17966907"/>
                <a:gd name="connsiteX2758" fmla="*/ 7848164 w 13797425"/>
                <a:gd name="connsiteY2758" fmla="*/ 9942434 h 17966907"/>
                <a:gd name="connsiteX2759" fmla="*/ 7848164 w 13797425"/>
                <a:gd name="connsiteY2759" fmla="*/ 9923374 h 17966907"/>
                <a:gd name="connsiteX2760" fmla="*/ 7852929 w 13797425"/>
                <a:gd name="connsiteY2760" fmla="*/ 9913843 h 17966907"/>
                <a:gd name="connsiteX2761" fmla="*/ 9766128 w 13797425"/>
                <a:gd name="connsiteY2761" fmla="*/ 9899548 h 17966907"/>
                <a:gd name="connsiteX2762" fmla="*/ 9785188 w 13797425"/>
                <a:gd name="connsiteY2762" fmla="*/ 9899548 h 17966907"/>
                <a:gd name="connsiteX2763" fmla="*/ 9789954 w 13797425"/>
                <a:gd name="connsiteY2763" fmla="*/ 9904313 h 17966907"/>
                <a:gd name="connsiteX2764" fmla="*/ 9794719 w 13797425"/>
                <a:gd name="connsiteY2764" fmla="*/ 9909078 h 17966907"/>
                <a:gd name="connsiteX2765" fmla="*/ 9804249 w 13797425"/>
                <a:gd name="connsiteY2765" fmla="*/ 9932904 h 17966907"/>
                <a:gd name="connsiteX2766" fmla="*/ 9804249 w 13797425"/>
                <a:gd name="connsiteY2766" fmla="*/ 9937669 h 17966907"/>
                <a:gd name="connsiteX2767" fmla="*/ 9794719 w 13797425"/>
                <a:gd name="connsiteY2767" fmla="*/ 9956729 h 17966907"/>
                <a:gd name="connsiteX2768" fmla="*/ 9770893 w 13797425"/>
                <a:gd name="connsiteY2768" fmla="*/ 9980555 h 17966907"/>
                <a:gd name="connsiteX2769" fmla="*/ 9756598 w 13797425"/>
                <a:gd name="connsiteY2769" fmla="*/ 10004381 h 17966907"/>
                <a:gd name="connsiteX2770" fmla="*/ 9751833 w 13797425"/>
                <a:gd name="connsiteY2770" fmla="*/ 10013911 h 17966907"/>
                <a:gd name="connsiteX2771" fmla="*/ 9751833 w 13797425"/>
                <a:gd name="connsiteY2771" fmla="*/ 10023441 h 17966907"/>
                <a:gd name="connsiteX2772" fmla="*/ 9747067 w 13797425"/>
                <a:gd name="connsiteY2772" fmla="*/ 10032971 h 17966907"/>
                <a:gd name="connsiteX2773" fmla="*/ 9728007 w 13797425"/>
                <a:gd name="connsiteY2773" fmla="*/ 10061562 h 17966907"/>
                <a:gd name="connsiteX2774" fmla="*/ 9718477 w 13797425"/>
                <a:gd name="connsiteY2774" fmla="*/ 10090153 h 17966907"/>
                <a:gd name="connsiteX2775" fmla="*/ 9704181 w 13797425"/>
                <a:gd name="connsiteY2775" fmla="*/ 10104448 h 17966907"/>
                <a:gd name="connsiteX2776" fmla="*/ 9675591 w 13797425"/>
                <a:gd name="connsiteY2776" fmla="*/ 10118744 h 17966907"/>
                <a:gd name="connsiteX2777" fmla="*/ 9651765 w 13797425"/>
                <a:gd name="connsiteY2777" fmla="*/ 10137804 h 17966907"/>
                <a:gd name="connsiteX2778" fmla="*/ 9637470 w 13797425"/>
                <a:gd name="connsiteY2778" fmla="*/ 10137804 h 17966907"/>
                <a:gd name="connsiteX2779" fmla="*/ 9627939 w 13797425"/>
                <a:gd name="connsiteY2779" fmla="*/ 10133039 h 17966907"/>
                <a:gd name="connsiteX2780" fmla="*/ 9623174 w 13797425"/>
                <a:gd name="connsiteY2780" fmla="*/ 10118744 h 17966907"/>
                <a:gd name="connsiteX2781" fmla="*/ 9618409 w 13797425"/>
                <a:gd name="connsiteY2781" fmla="*/ 10104448 h 17966907"/>
                <a:gd name="connsiteX2782" fmla="*/ 9623174 w 13797425"/>
                <a:gd name="connsiteY2782" fmla="*/ 10094918 h 17966907"/>
                <a:gd name="connsiteX2783" fmla="*/ 9627939 w 13797425"/>
                <a:gd name="connsiteY2783" fmla="*/ 10090153 h 17966907"/>
                <a:gd name="connsiteX2784" fmla="*/ 9637470 w 13797425"/>
                <a:gd name="connsiteY2784" fmla="*/ 10071092 h 17966907"/>
                <a:gd name="connsiteX2785" fmla="*/ 9647000 w 13797425"/>
                <a:gd name="connsiteY2785" fmla="*/ 10047267 h 17966907"/>
                <a:gd name="connsiteX2786" fmla="*/ 9661295 w 13797425"/>
                <a:gd name="connsiteY2786" fmla="*/ 10032971 h 17966907"/>
                <a:gd name="connsiteX2787" fmla="*/ 9694651 w 13797425"/>
                <a:gd name="connsiteY2787" fmla="*/ 10013911 h 17966907"/>
                <a:gd name="connsiteX2788" fmla="*/ 9699416 w 13797425"/>
                <a:gd name="connsiteY2788" fmla="*/ 10009146 h 17966907"/>
                <a:gd name="connsiteX2789" fmla="*/ 9713712 w 13797425"/>
                <a:gd name="connsiteY2789" fmla="*/ 9966260 h 17966907"/>
                <a:gd name="connsiteX2790" fmla="*/ 9718477 w 13797425"/>
                <a:gd name="connsiteY2790" fmla="*/ 9956729 h 17966907"/>
                <a:gd name="connsiteX2791" fmla="*/ 9737537 w 13797425"/>
                <a:gd name="connsiteY2791" fmla="*/ 9956729 h 17966907"/>
                <a:gd name="connsiteX2792" fmla="*/ 9737537 w 13797425"/>
                <a:gd name="connsiteY2792" fmla="*/ 9947199 h 17966907"/>
                <a:gd name="connsiteX2793" fmla="*/ 9732772 w 13797425"/>
                <a:gd name="connsiteY2793" fmla="*/ 9937669 h 17966907"/>
                <a:gd name="connsiteX2794" fmla="*/ 9732772 w 13797425"/>
                <a:gd name="connsiteY2794" fmla="*/ 9928139 h 17966907"/>
                <a:gd name="connsiteX2795" fmla="*/ 9737537 w 13797425"/>
                <a:gd name="connsiteY2795" fmla="*/ 9913843 h 17966907"/>
                <a:gd name="connsiteX2796" fmla="*/ 9747067 w 13797425"/>
                <a:gd name="connsiteY2796" fmla="*/ 9904313 h 17966907"/>
                <a:gd name="connsiteX2797" fmla="*/ 9966264 w 13797425"/>
                <a:gd name="connsiteY2797" fmla="*/ 9875723 h 17966907"/>
                <a:gd name="connsiteX2798" fmla="*/ 9975794 w 13797425"/>
                <a:gd name="connsiteY2798" fmla="*/ 9875723 h 17966907"/>
                <a:gd name="connsiteX2799" fmla="*/ 9994855 w 13797425"/>
                <a:gd name="connsiteY2799" fmla="*/ 9890018 h 17966907"/>
                <a:gd name="connsiteX2800" fmla="*/ 10032976 w 13797425"/>
                <a:gd name="connsiteY2800" fmla="*/ 9890018 h 17966907"/>
                <a:gd name="connsiteX2801" fmla="*/ 10042506 w 13797425"/>
                <a:gd name="connsiteY2801" fmla="*/ 9904314 h 17966907"/>
                <a:gd name="connsiteX2802" fmla="*/ 10047271 w 13797425"/>
                <a:gd name="connsiteY2802" fmla="*/ 9909079 h 17966907"/>
                <a:gd name="connsiteX2803" fmla="*/ 10047271 w 13797425"/>
                <a:gd name="connsiteY2803" fmla="*/ 9918609 h 17966907"/>
                <a:gd name="connsiteX2804" fmla="*/ 10042506 w 13797425"/>
                <a:gd name="connsiteY2804" fmla="*/ 9923374 h 17966907"/>
                <a:gd name="connsiteX2805" fmla="*/ 10023445 w 13797425"/>
                <a:gd name="connsiteY2805" fmla="*/ 9951965 h 17966907"/>
                <a:gd name="connsiteX2806" fmla="*/ 10013915 w 13797425"/>
                <a:gd name="connsiteY2806" fmla="*/ 9971026 h 17966907"/>
                <a:gd name="connsiteX2807" fmla="*/ 10009150 w 13797425"/>
                <a:gd name="connsiteY2807" fmla="*/ 9994851 h 17966907"/>
                <a:gd name="connsiteX2808" fmla="*/ 9994855 w 13797425"/>
                <a:gd name="connsiteY2808" fmla="*/ 10004382 h 17966907"/>
                <a:gd name="connsiteX2809" fmla="*/ 9975794 w 13797425"/>
                <a:gd name="connsiteY2809" fmla="*/ 10013912 h 17966907"/>
                <a:gd name="connsiteX2810" fmla="*/ 9961499 w 13797425"/>
                <a:gd name="connsiteY2810" fmla="*/ 10009147 h 17966907"/>
                <a:gd name="connsiteX2811" fmla="*/ 9951968 w 13797425"/>
                <a:gd name="connsiteY2811" fmla="*/ 9999617 h 17966907"/>
                <a:gd name="connsiteX2812" fmla="*/ 9947203 w 13797425"/>
                <a:gd name="connsiteY2812" fmla="*/ 9985321 h 17966907"/>
                <a:gd name="connsiteX2813" fmla="*/ 9937673 w 13797425"/>
                <a:gd name="connsiteY2813" fmla="*/ 9947200 h 17966907"/>
                <a:gd name="connsiteX2814" fmla="*/ 9937673 w 13797425"/>
                <a:gd name="connsiteY2814" fmla="*/ 9932905 h 17966907"/>
                <a:gd name="connsiteX2815" fmla="*/ 9942438 w 13797425"/>
                <a:gd name="connsiteY2815" fmla="*/ 9904314 h 17966907"/>
                <a:gd name="connsiteX2816" fmla="*/ 9942438 w 13797425"/>
                <a:gd name="connsiteY2816" fmla="*/ 9890018 h 17966907"/>
                <a:gd name="connsiteX2817" fmla="*/ 9947203 w 13797425"/>
                <a:gd name="connsiteY2817" fmla="*/ 9885253 h 17966907"/>
                <a:gd name="connsiteX2818" fmla="*/ 7933936 w 13797425"/>
                <a:gd name="connsiteY2818" fmla="*/ 9875723 h 17966907"/>
                <a:gd name="connsiteX2819" fmla="*/ 7933936 w 13797425"/>
                <a:gd name="connsiteY2819" fmla="*/ 9885253 h 17966907"/>
                <a:gd name="connsiteX2820" fmla="*/ 7938701 w 13797425"/>
                <a:gd name="connsiteY2820" fmla="*/ 9913844 h 17966907"/>
                <a:gd name="connsiteX2821" fmla="*/ 7924406 w 13797425"/>
                <a:gd name="connsiteY2821" fmla="*/ 9947200 h 17966907"/>
                <a:gd name="connsiteX2822" fmla="*/ 7919641 w 13797425"/>
                <a:gd name="connsiteY2822" fmla="*/ 9956730 h 17966907"/>
                <a:gd name="connsiteX2823" fmla="*/ 7914876 w 13797425"/>
                <a:gd name="connsiteY2823" fmla="*/ 9956730 h 17966907"/>
                <a:gd name="connsiteX2824" fmla="*/ 7910110 w 13797425"/>
                <a:gd name="connsiteY2824" fmla="*/ 9956730 h 17966907"/>
                <a:gd name="connsiteX2825" fmla="*/ 7895815 w 13797425"/>
                <a:gd name="connsiteY2825" fmla="*/ 9923374 h 17966907"/>
                <a:gd name="connsiteX2826" fmla="*/ 7891050 w 13797425"/>
                <a:gd name="connsiteY2826" fmla="*/ 9904314 h 17966907"/>
                <a:gd name="connsiteX2827" fmla="*/ 7895815 w 13797425"/>
                <a:gd name="connsiteY2827" fmla="*/ 9899549 h 17966907"/>
                <a:gd name="connsiteX2828" fmla="*/ 7910110 w 13797425"/>
                <a:gd name="connsiteY2828" fmla="*/ 9885253 h 17966907"/>
                <a:gd name="connsiteX2829" fmla="*/ 7914876 w 13797425"/>
                <a:gd name="connsiteY2829" fmla="*/ 9880488 h 17966907"/>
                <a:gd name="connsiteX2830" fmla="*/ 7929171 w 13797425"/>
                <a:gd name="connsiteY2830" fmla="*/ 9885253 h 17966907"/>
                <a:gd name="connsiteX2831" fmla="*/ 6199429 w 13797425"/>
                <a:gd name="connsiteY2831" fmla="*/ 9813776 h 17966907"/>
                <a:gd name="connsiteX2832" fmla="*/ 6208959 w 13797425"/>
                <a:gd name="connsiteY2832" fmla="*/ 9818541 h 17966907"/>
                <a:gd name="connsiteX2833" fmla="*/ 6232785 w 13797425"/>
                <a:gd name="connsiteY2833" fmla="*/ 9832836 h 17966907"/>
                <a:gd name="connsiteX2834" fmla="*/ 6242315 w 13797425"/>
                <a:gd name="connsiteY2834" fmla="*/ 9851897 h 17966907"/>
                <a:gd name="connsiteX2835" fmla="*/ 6247080 w 13797425"/>
                <a:gd name="connsiteY2835" fmla="*/ 9866192 h 17966907"/>
                <a:gd name="connsiteX2836" fmla="*/ 6242315 w 13797425"/>
                <a:gd name="connsiteY2836" fmla="*/ 9866192 h 17966907"/>
                <a:gd name="connsiteX2837" fmla="*/ 6237550 w 13797425"/>
                <a:gd name="connsiteY2837" fmla="*/ 9875722 h 17966907"/>
                <a:gd name="connsiteX2838" fmla="*/ 6228020 w 13797425"/>
                <a:gd name="connsiteY2838" fmla="*/ 9885253 h 17966907"/>
                <a:gd name="connsiteX2839" fmla="*/ 6223255 w 13797425"/>
                <a:gd name="connsiteY2839" fmla="*/ 9894783 h 17966907"/>
                <a:gd name="connsiteX2840" fmla="*/ 6208959 w 13797425"/>
                <a:gd name="connsiteY2840" fmla="*/ 9899548 h 17966907"/>
                <a:gd name="connsiteX2841" fmla="*/ 6208959 w 13797425"/>
                <a:gd name="connsiteY2841" fmla="*/ 9885253 h 17966907"/>
                <a:gd name="connsiteX2842" fmla="*/ 6208959 w 13797425"/>
                <a:gd name="connsiteY2842" fmla="*/ 9880488 h 17966907"/>
                <a:gd name="connsiteX2843" fmla="*/ 6204194 w 13797425"/>
                <a:gd name="connsiteY2843" fmla="*/ 9875722 h 17966907"/>
                <a:gd name="connsiteX2844" fmla="*/ 6213724 w 13797425"/>
                <a:gd name="connsiteY2844" fmla="*/ 9866192 h 17966907"/>
                <a:gd name="connsiteX2845" fmla="*/ 6218489 w 13797425"/>
                <a:gd name="connsiteY2845" fmla="*/ 9856662 h 17966907"/>
                <a:gd name="connsiteX2846" fmla="*/ 6213724 w 13797425"/>
                <a:gd name="connsiteY2846" fmla="*/ 9851897 h 17966907"/>
                <a:gd name="connsiteX2847" fmla="*/ 6199429 w 13797425"/>
                <a:gd name="connsiteY2847" fmla="*/ 9842367 h 17966907"/>
                <a:gd name="connsiteX2848" fmla="*/ 6194664 w 13797425"/>
                <a:gd name="connsiteY2848" fmla="*/ 9832836 h 17966907"/>
                <a:gd name="connsiteX2849" fmla="*/ 6194664 w 13797425"/>
                <a:gd name="connsiteY2849" fmla="*/ 9823306 h 17966907"/>
                <a:gd name="connsiteX2850" fmla="*/ 7061918 w 13797425"/>
                <a:gd name="connsiteY2850" fmla="*/ 9794715 h 17966907"/>
                <a:gd name="connsiteX2851" fmla="*/ 7076213 w 13797425"/>
                <a:gd name="connsiteY2851" fmla="*/ 9794715 h 17966907"/>
                <a:gd name="connsiteX2852" fmla="*/ 7090509 w 13797425"/>
                <a:gd name="connsiteY2852" fmla="*/ 9804245 h 17966907"/>
                <a:gd name="connsiteX2853" fmla="*/ 7104804 w 13797425"/>
                <a:gd name="connsiteY2853" fmla="*/ 9818541 h 17966907"/>
                <a:gd name="connsiteX2854" fmla="*/ 7128630 w 13797425"/>
                <a:gd name="connsiteY2854" fmla="*/ 9847131 h 17966907"/>
                <a:gd name="connsiteX2855" fmla="*/ 7128630 w 13797425"/>
                <a:gd name="connsiteY2855" fmla="*/ 9861427 h 17966907"/>
                <a:gd name="connsiteX2856" fmla="*/ 7123865 w 13797425"/>
                <a:gd name="connsiteY2856" fmla="*/ 9885252 h 17966907"/>
                <a:gd name="connsiteX2857" fmla="*/ 7119100 w 13797425"/>
                <a:gd name="connsiteY2857" fmla="*/ 9904313 h 17966907"/>
                <a:gd name="connsiteX2858" fmla="*/ 7109569 w 13797425"/>
                <a:gd name="connsiteY2858" fmla="*/ 9913843 h 17966907"/>
                <a:gd name="connsiteX2859" fmla="*/ 7095274 w 13797425"/>
                <a:gd name="connsiteY2859" fmla="*/ 9923373 h 17966907"/>
                <a:gd name="connsiteX2860" fmla="*/ 7080978 w 13797425"/>
                <a:gd name="connsiteY2860" fmla="*/ 9923373 h 17966907"/>
                <a:gd name="connsiteX2861" fmla="*/ 7071448 w 13797425"/>
                <a:gd name="connsiteY2861" fmla="*/ 9918608 h 17966907"/>
                <a:gd name="connsiteX2862" fmla="*/ 7076213 w 13797425"/>
                <a:gd name="connsiteY2862" fmla="*/ 9899547 h 17966907"/>
                <a:gd name="connsiteX2863" fmla="*/ 7080978 w 13797425"/>
                <a:gd name="connsiteY2863" fmla="*/ 9894782 h 17966907"/>
                <a:gd name="connsiteX2864" fmla="*/ 7080978 w 13797425"/>
                <a:gd name="connsiteY2864" fmla="*/ 9875722 h 17966907"/>
                <a:gd name="connsiteX2865" fmla="*/ 7080978 w 13797425"/>
                <a:gd name="connsiteY2865" fmla="*/ 9847131 h 17966907"/>
                <a:gd name="connsiteX2866" fmla="*/ 7076213 w 13797425"/>
                <a:gd name="connsiteY2866" fmla="*/ 9832836 h 17966907"/>
                <a:gd name="connsiteX2867" fmla="*/ 7066683 w 13797425"/>
                <a:gd name="connsiteY2867" fmla="*/ 9823306 h 17966907"/>
                <a:gd name="connsiteX2868" fmla="*/ 7061918 w 13797425"/>
                <a:gd name="connsiteY2868" fmla="*/ 9823306 h 17966907"/>
                <a:gd name="connsiteX2869" fmla="*/ 7057153 w 13797425"/>
                <a:gd name="connsiteY2869" fmla="*/ 9832836 h 17966907"/>
                <a:gd name="connsiteX2870" fmla="*/ 7061918 w 13797425"/>
                <a:gd name="connsiteY2870" fmla="*/ 9847131 h 17966907"/>
                <a:gd name="connsiteX2871" fmla="*/ 7057153 w 13797425"/>
                <a:gd name="connsiteY2871" fmla="*/ 9870957 h 17966907"/>
                <a:gd name="connsiteX2872" fmla="*/ 7052388 w 13797425"/>
                <a:gd name="connsiteY2872" fmla="*/ 9899547 h 17966907"/>
                <a:gd name="connsiteX2873" fmla="*/ 7047622 w 13797425"/>
                <a:gd name="connsiteY2873" fmla="*/ 9913843 h 17966907"/>
                <a:gd name="connsiteX2874" fmla="*/ 7038092 w 13797425"/>
                <a:gd name="connsiteY2874" fmla="*/ 9909078 h 17966907"/>
                <a:gd name="connsiteX2875" fmla="*/ 7033327 w 13797425"/>
                <a:gd name="connsiteY2875" fmla="*/ 9899547 h 17966907"/>
                <a:gd name="connsiteX2876" fmla="*/ 7033327 w 13797425"/>
                <a:gd name="connsiteY2876" fmla="*/ 9880487 h 17966907"/>
                <a:gd name="connsiteX2877" fmla="*/ 7033327 w 13797425"/>
                <a:gd name="connsiteY2877" fmla="*/ 9861427 h 17966907"/>
                <a:gd name="connsiteX2878" fmla="*/ 7033327 w 13797425"/>
                <a:gd name="connsiteY2878" fmla="*/ 9847131 h 17966907"/>
                <a:gd name="connsiteX2879" fmla="*/ 7038092 w 13797425"/>
                <a:gd name="connsiteY2879" fmla="*/ 9818541 h 17966907"/>
                <a:gd name="connsiteX2880" fmla="*/ 7047622 w 13797425"/>
                <a:gd name="connsiteY2880" fmla="*/ 9799480 h 17966907"/>
                <a:gd name="connsiteX2881" fmla="*/ 290673 w 13797425"/>
                <a:gd name="connsiteY2881" fmla="*/ 9780421 h 17966907"/>
                <a:gd name="connsiteX2882" fmla="*/ 300203 w 13797425"/>
                <a:gd name="connsiteY2882" fmla="*/ 9785186 h 17966907"/>
                <a:gd name="connsiteX2883" fmla="*/ 324029 w 13797425"/>
                <a:gd name="connsiteY2883" fmla="*/ 9794716 h 17966907"/>
                <a:gd name="connsiteX2884" fmla="*/ 333560 w 13797425"/>
                <a:gd name="connsiteY2884" fmla="*/ 9809012 h 17966907"/>
                <a:gd name="connsiteX2885" fmla="*/ 304969 w 13797425"/>
                <a:gd name="connsiteY2885" fmla="*/ 9813777 h 17966907"/>
                <a:gd name="connsiteX2886" fmla="*/ 295438 w 13797425"/>
                <a:gd name="connsiteY2886" fmla="*/ 9832837 h 17966907"/>
                <a:gd name="connsiteX2887" fmla="*/ 271613 w 13797425"/>
                <a:gd name="connsiteY2887" fmla="*/ 9813777 h 17966907"/>
                <a:gd name="connsiteX2888" fmla="*/ 266847 w 13797425"/>
                <a:gd name="connsiteY2888" fmla="*/ 9804246 h 17966907"/>
                <a:gd name="connsiteX2889" fmla="*/ 11414861 w 13797425"/>
                <a:gd name="connsiteY2889" fmla="*/ 9766125 h 17966907"/>
                <a:gd name="connsiteX2890" fmla="*/ 11429157 w 13797425"/>
                <a:gd name="connsiteY2890" fmla="*/ 9770890 h 17966907"/>
                <a:gd name="connsiteX2891" fmla="*/ 11438689 w 13797425"/>
                <a:gd name="connsiteY2891" fmla="*/ 9789951 h 17966907"/>
                <a:gd name="connsiteX2892" fmla="*/ 11424393 w 13797425"/>
                <a:gd name="connsiteY2892" fmla="*/ 9809011 h 17966907"/>
                <a:gd name="connsiteX2893" fmla="*/ 11414861 w 13797425"/>
                <a:gd name="connsiteY2893" fmla="*/ 9828072 h 17966907"/>
                <a:gd name="connsiteX2894" fmla="*/ 11410097 w 13797425"/>
                <a:gd name="connsiteY2894" fmla="*/ 9832837 h 17966907"/>
                <a:gd name="connsiteX2895" fmla="*/ 11367213 w 13797425"/>
                <a:gd name="connsiteY2895" fmla="*/ 9813776 h 17966907"/>
                <a:gd name="connsiteX2896" fmla="*/ 11367213 w 13797425"/>
                <a:gd name="connsiteY2896" fmla="*/ 9794716 h 17966907"/>
                <a:gd name="connsiteX2897" fmla="*/ 11386273 w 13797425"/>
                <a:gd name="connsiteY2897" fmla="*/ 9780420 h 17966907"/>
                <a:gd name="connsiteX2898" fmla="*/ 11400565 w 13797425"/>
                <a:gd name="connsiteY2898" fmla="*/ 9770890 h 17966907"/>
                <a:gd name="connsiteX2899" fmla="*/ 9809014 w 13797425"/>
                <a:gd name="connsiteY2899" fmla="*/ 9742299 h 17966907"/>
                <a:gd name="connsiteX2900" fmla="*/ 9818544 w 13797425"/>
                <a:gd name="connsiteY2900" fmla="*/ 9742299 h 17966907"/>
                <a:gd name="connsiteX2901" fmla="*/ 9832840 w 13797425"/>
                <a:gd name="connsiteY2901" fmla="*/ 9751829 h 17966907"/>
                <a:gd name="connsiteX2902" fmla="*/ 9842370 w 13797425"/>
                <a:gd name="connsiteY2902" fmla="*/ 9775655 h 17966907"/>
                <a:gd name="connsiteX2903" fmla="*/ 9842370 w 13797425"/>
                <a:gd name="connsiteY2903" fmla="*/ 9785185 h 17966907"/>
                <a:gd name="connsiteX2904" fmla="*/ 9832840 w 13797425"/>
                <a:gd name="connsiteY2904" fmla="*/ 9799480 h 17966907"/>
                <a:gd name="connsiteX2905" fmla="*/ 9789953 w 13797425"/>
                <a:gd name="connsiteY2905" fmla="*/ 9828071 h 17966907"/>
                <a:gd name="connsiteX2906" fmla="*/ 9766128 w 13797425"/>
                <a:gd name="connsiteY2906" fmla="*/ 9847132 h 17966907"/>
                <a:gd name="connsiteX2907" fmla="*/ 9751832 w 13797425"/>
                <a:gd name="connsiteY2907" fmla="*/ 9851897 h 17966907"/>
                <a:gd name="connsiteX2908" fmla="*/ 9737537 w 13797425"/>
                <a:gd name="connsiteY2908" fmla="*/ 9847132 h 17966907"/>
                <a:gd name="connsiteX2909" fmla="*/ 9713711 w 13797425"/>
                <a:gd name="connsiteY2909" fmla="*/ 9856662 h 17966907"/>
                <a:gd name="connsiteX2910" fmla="*/ 9704181 w 13797425"/>
                <a:gd name="connsiteY2910" fmla="*/ 9856662 h 17966907"/>
                <a:gd name="connsiteX2911" fmla="*/ 9713711 w 13797425"/>
                <a:gd name="connsiteY2911" fmla="*/ 9837602 h 17966907"/>
                <a:gd name="connsiteX2912" fmla="*/ 9747067 w 13797425"/>
                <a:gd name="connsiteY2912" fmla="*/ 9785185 h 17966907"/>
                <a:gd name="connsiteX2913" fmla="*/ 9775658 w 13797425"/>
                <a:gd name="connsiteY2913" fmla="*/ 9780420 h 17966907"/>
                <a:gd name="connsiteX2914" fmla="*/ 9785188 w 13797425"/>
                <a:gd name="connsiteY2914" fmla="*/ 9770890 h 17966907"/>
                <a:gd name="connsiteX2915" fmla="*/ 9794719 w 13797425"/>
                <a:gd name="connsiteY2915" fmla="*/ 9775655 h 17966907"/>
                <a:gd name="connsiteX2916" fmla="*/ 9799484 w 13797425"/>
                <a:gd name="connsiteY2916" fmla="*/ 9766125 h 17966907"/>
                <a:gd name="connsiteX2917" fmla="*/ 9799484 w 13797425"/>
                <a:gd name="connsiteY2917" fmla="*/ 9751829 h 17966907"/>
                <a:gd name="connsiteX2918" fmla="*/ 9589818 w 13797425"/>
                <a:gd name="connsiteY2918" fmla="*/ 9708943 h 17966907"/>
                <a:gd name="connsiteX2919" fmla="*/ 9613644 w 13797425"/>
                <a:gd name="connsiteY2919" fmla="*/ 9718473 h 17966907"/>
                <a:gd name="connsiteX2920" fmla="*/ 9623174 w 13797425"/>
                <a:gd name="connsiteY2920" fmla="*/ 9747064 h 17966907"/>
                <a:gd name="connsiteX2921" fmla="*/ 9627939 w 13797425"/>
                <a:gd name="connsiteY2921" fmla="*/ 9751829 h 17966907"/>
                <a:gd name="connsiteX2922" fmla="*/ 9618409 w 13797425"/>
                <a:gd name="connsiteY2922" fmla="*/ 9766125 h 17966907"/>
                <a:gd name="connsiteX2923" fmla="*/ 9594583 w 13797425"/>
                <a:gd name="connsiteY2923" fmla="*/ 9789950 h 17966907"/>
                <a:gd name="connsiteX2924" fmla="*/ 9546932 w 13797425"/>
                <a:gd name="connsiteY2924" fmla="*/ 9799481 h 17966907"/>
                <a:gd name="connsiteX2925" fmla="*/ 9518341 w 13797425"/>
                <a:gd name="connsiteY2925" fmla="*/ 9789950 h 17966907"/>
                <a:gd name="connsiteX2926" fmla="*/ 9532636 w 13797425"/>
                <a:gd name="connsiteY2926" fmla="*/ 9823306 h 17966907"/>
                <a:gd name="connsiteX2927" fmla="*/ 9532636 w 13797425"/>
                <a:gd name="connsiteY2927" fmla="*/ 9837602 h 17966907"/>
                <a:gd name="connsiteX2928" fmla="*/ 9532636 w 13797425"/>
                <a:gd name="connsiteY2928" fmla="*/ 9842367 h 17966907"/>
                <a:gd name="connsiteX2929" fmla="*/ 9518341 w 13797425"/>
                <a:gd name="connsiteY2929" fmla="*/ 9842367 h 17966907"/>
                <a:gd name="connsiteX2930" fmla="*/ 9499281 w 13797425"/>
                <a:gd name="connsiteY2930" fmla="*/ 9832837 h 17966907"/>
                <a:gd name="connsiteX2931" fmla="*/ 9489750 w 13797425"/>
                <a:gd name="connsiteY2931" fmla="*/ 9823306 h 17966907"/>
                <a:gd name="connsiteX2932" fmla="*/ 9489750 w 13797425"/>
                <a:gd name="connsiteY2932" fmla="*/ 9809011 h 17966907"/>
                <a:gd name="connsiteX2933" fmla="*/ 9484985 w 13797425"/>
                <a:gd name="connsiteY2933" fmla="*/ 9804246 h 17966907"/>
                <a:gd name="connsiteX2934" fmla="*/ 9480220 w 13797425"/>
                <a:gd name="connsiteY2934" fmla="*/ 9813776 h 17966907"/>
                <a:gd name="connsiteX2935" fmla="*/ 9475455 w 13797425"/>
                <a:gd name="connsiteY2935" fmla="*/ 9809011 h 17966907"/>
                <a:gd name="connsiteX2936" fmla="*/ 9465925 w 13797425"/>
                <a:gd name="connsiteY2936" fmla="*/ 9789950 h 17966907"/>
                <a:gd name="connsiteX2937" fmla="*/ 9456394 w 13797425"/>
                <a:gd name="connsiteY2937" fmla="*/ 9780420 h 17966907"/>
                <a:gd name="connsiteX2938" fmla="*/ 9403978 w 13797425"/>
                <a:gd name="connsiteY2938" fmla="*/ 9770890 h 17966907"/>
                <a:gd name="connsiteX2939" fmla="*/ 9403978 w 13797425"/>
                <a:gd name="connsiteY2939" fmla="*/ 9766125 h 17966907"/>
                <a:gd name="connsiteX2940" fmla="*/ 9403978 w 13797425"/>
                <a:gd name="connsiteY2940" fmla="*/ 9756594 h 17966907"/>
                <a:gd name="connsiteX2941" fmla="*/ 9413508 w 13797425"/>
                <a:gd name="connsiteY2941" fmla="*/ 9742299 h 17966907"/>
                <a:gd name="connsiteX2942" fmla="*/ 9423039 w 13797425"/>
                <a:gd name="connsiteY2942" fmla="*/ 9737534 h 17966907"/>
                <a:gd name="connsiteX2943" fmla="*/ 9456394 w 13797425"/>
                <a:gd name="connsiteY2943" fmla="*/ 9742299 h 17966907"/>
                <a:gd name="connsiteX2944" fmla="*/ 9456394 w 13797425"/>
                <a:gd name="connsiteY2944" fmla="*/ 9737534 h 17966907"/>
                <a:gd name="connsiteX2945" fmla="*/ 9456394 w 13797425"/>
                <a:gd name="connsiteY2945" fmla="*/ 9723238 h 17966907"/>
                <a:gd name="connsiteX2946" fmla="*/ 9461160 w 13797425"/>
                <a:gd name="connsiteY2946" fmla="*/ 9713708 h 17966907"/>
                <a:gd name="connsiteX2947" fmla="*/ 9480220 w 13797425"/>
                <a:gd name="connsiteY2947" fmla="*/ 9718473 h 17966907"/>
                <a:gd name="connsiteX2948" fmla="*/ 9494515 w 13797425"/>
                <a:gd name="connsiteY2948" fmla="*/ 9713708 h 17966907"/>
                <a:gd name="connsiteX2949" fmla="*/ 9499281 w 13797425"/>
                <a:gd name="connsiteY2949" fmla="*/ 9723238 h 17966907"/>
                <a:gd name="connsiteX2950" fmla="*/ 9508811 w 13797425"/>
                <a:gd name="connsiteY2950" fmla="*/ 9742299 h 17966907"/>
                <a:gd name="connsiteX2951" fmla="*/ 9518341 w 13797425"/>
                <a:gd name="connsiteY2951" fmla="*/ 9737534 h 17966907"/>
                <a:gd name="connsiteX2952" fmla="*/ 9532636 w 13797425"/>
                <a:gd name="connsiteY2952" fmla="*/ 9742299 h 17966907"/>
                <a:gd name="connsiteX2953" fmla="*/ 9546932 w 13797425"/>
                <a:gd name="connsiteY2953" fmla="*/ 9732769 h 17966907"/>
                <a:gd name="connsiteX2954" fmla="*/ 9570757 w 13797425"/>
                <a:gd name="connsiteY2954" fmla="*/ 9713708 h 17966907"/>
                <a:gd name="connsiteX2955" fmla="*/ 6752185 w 13797425"/>
                <a:gd name="connsiteY2955" fmla="*/ 9685117 h 17966907"/>
                <a:gd name="connsiteX2956" fmla="*/ 6766480 w 13797425"/>
                <a:gd name="connsiteY2956" fmla="*/ 9694647 h 17966907"/>
                <a:gd name="connsiteX2957" fmla="*/ 6780775 w 13797425"/>
                <a:gd name="connsiteY2957" fmla="*/ 9713708 h 17966907"/>
                <a:gd name="connsiteX2958" fmla="*/ 6809366 w 13797425"/>
                <a:gd name="connsiteY2958" fmla="*/ 9742298 h 17966907"/>
                <a:gd name="connsiteX2959" fmla="*/ 6814131 w 13797425"/>
                <a:gd name="connsiteY2959" fmla="*/ 9751829 h 17966907"/>
                <a:gd name="connsiteX2960" fmla="*/ 6814131 w 13797425"/>
                <a:gd name="connsiteY2960" fmla="*/ 9761359 h 17966907"/>
                <a:gd name="connsiteX2961" fmla="*/ 6799836 w 13797425"/>
                <a:gd name="connsiteY2961" fmla="*/ 9766124 h 17966907"/>
                <a:gd name="connsiteX2962" fmla="*/ 6799836 w 13797425"/>
                <a:gd name="connsiteY2962" fmla="*/ 9775654 h 17966907"/>
                <a:gd name="connsiteX2963" fmla="*/ 6804601 w 13797425"/>
                <a:gd name="connsiteY2963" fmla="*/ 9785185 h 17966907"/>
                <a:gd name="connsiteX2964" fmla="*/ 6809366 w 13797425"/>
                <a:gd name="connsiteY2964" fmla="*/ 9789950 h 17966907"/>
                <a:gd name="connsiteX2965" fmla="*/ 6818896 w 13797425"/>
                <a:gd name="connsiteY2965" fmla="*/ 9785185 h 17966907"/>
                <a:gd name="connsiteX2966" fmla="*/ 6823661 w 13797425"/>
                <a:gd name="connsiteY2966" fmla="*/ 9770889 h 17966907"/>
                <a:gd name="connsiteX2967" fmla="*/ 6828427 w 13797425"/>
                <a:gd name="connsiteY2967" fmla="*/ 9766124 h 17966907"/>
                <a:gd name="connsiteX2968" fmla="*/ 6837957 w 13797425"/>
                <a:gd name="connsiteY2968" fmla="*/ 9770889 h 17966907"/>
                <a:gd name="connsiteX2969" fmla="*/ 6857017 w 13797425"/>
                <a:gd name="connsiteY2969" fmla="*/ 9799480 h 17966907"/>
                <a:gd name="connsiteX2970" fmla="*/ 6876078 w 13797425"/>
                <a:gd name="connsiteY2970" fmla="*/ 9823306 h 17966907"/>
                <a:gd name="connsiteX2971" fmla="*/ 6895138 w 13797425"/>
                <a:gd name="connsiteY2971" fmla="*/ 9842366 h 17966907"/>
                <a:gd name="connsiteX2972" fmla="*/ 6923729 w 13797425"/>
                <a:gd name="connsiteY2972" fmla="*/ 9861427 h 17966907"/>
                <a:gd name="connsiteX2973" fmla="*/ 6980911 w 13797425"/>
                <a:gd name="connsiteY2973" fmla="*/ 9918608 h 17966907"/>
                <a:gd name="connsiteX2974" fmla="*/ 6999971 w 13797425"/>
                <a:gd name="connsiteY2974" fmla="*/ 9956729 h 17966907"/>
                <a:gd name="connsiteX2975" fmla="*/ 7019032 w 13797425"/>
                <a:gd name="connsiteY2975" fmla="*/ 10013911 h 17966907"/>
                <a:gd name="connsiteX2976" fmla="*/ 7038092 w 13797425"/>
                <a:gd name="connsiteY2976" fmla="*/ 10056797 h 17966907"/>
                <a:gd name="connsiteX2977" fmla="*/ 7052388 w 13797425"/>
                <a:gd name="connsiteY2977" fmla="*/ 10090153 h 17966907"/>
                <a:gd name="connsiteX2978" fmla="*/ 7071448 w 13797425"/>
                <a:gd name="connsiteY2978" fmla="*/ 10113978 h 17966907"/>
                <a:gd name="connsiteX2979" fmla="*/ 7095274 w 13797425"/>
                <a:gd name="connsiteY2979" fmla="*/ 10142569 h 17966907"/>
                <a:gd name="connsiteX2980" fmla="*/ 7119099 w 13797425"/>
                <a:gd name="connsiteY2980" fmla="*/ 10118743 h 17966907"/>
                <a:gd name="connsiteX2981" fmla="*/ 7128630 w 13797425"/>
                <a:gd name="connsiteY2981" fmla="*/ 10113978 h 17966907"/>
                <a:gd name="connsiteX2982" fmla="*/ 7138160 w 13797425"/>
                <a:gd name="connsiteY2982" fmla="*/ 10123508 h 17966907"/>
                <a:gd name="connsiteX2983" fmla="*/ 7142925 w 13797425"/>
                <a:gd name="connsiteY2983" fmla="*/ 10142569 h 17966907"/>
                <a:gd name="connsiteX2984" fmla="*/ 7138160 w 13797425"/>
                <a:gd name="connsiteY2984" fmla="*/ 10152099 h 17966907"/>
                <a:gd name="connsiteX2985" fmla="*/ 7128630 w 13797425"/>
                <a:gd name="connsiteY2985" fmla="*/ 10166395 h 17966907"/>
                <a:gd name="connsiteX2986" fmla="*/ 7114334 w 13797425"/>
                <a:gd name="connsiteY2986" fmla="*/ 10180690 h 17966907"/>
                <a:gd name="connsiteX2987" fmla="*/ 7090509 w 13797425"/>
                <a:gd name="connsiteY2987" fmla="*/ 10180690 h 17966907"/>
                <a:gd name="connsiteX2988" fmla="*/ 7080978 w 13797425"/>
                <a:gd name="connsiteY2988" fmla="*/ 10185455 h 17966907"/>
                <a:gd name="connsiteX2989" fmla="*/ 7061918 w 13797425"/>
                <a:gd name="connsiteY2989" fmla="*/ 10204516 h 17966907"/>
                <a:gd name="connsiteX2990" fmla="*/ 7047622 w 13797425"/>
                <a:gd name="connsiteY2990" fmla="*/ 10228341 h 17966907"/>
                <a:gd name="connsiteX2991" fmla="*/ 7023797 w 13797425"/>
                <a:gd name="connsiteY2991" fmla="*/ 10237871 h 17966907"/>
                <a:gd name="connsiteX2992" fmla="*/ 6985676 w 13797425"/>
                <a:gd name="connsiteY2992" fmla="*/ 10280758 h 17966907"/>
                <a:gd name="connsiteX2993" fmla="*/ 6966615 w 13797425"/>
                <a:gd name="connsiteY2993" fmla="*/ 10295053 h 17966907"/>
                <a:gd name="connsiteX2994" fmla="*/ 6938024 w 13797425"/>
                <a:gd name="connsiteY2994" fmla="*/ 10299818 h 17966907"/>
                <a:gd name="connsiteX2995" fmla="*/ 6871313 w 13797425"/>
                <a:gd name="connsiteY2995" fmla="*/ 10266462 h 17966907"/>
                <a:gd name="connsiteX2996" fmla="*/ 6833192 w 13797425"/>
                <a:gd name="connsiteY2996" fmla="*/ 10271227 h 17966907"/>
                <a:gd name="connsiteX2997" fmla="*/ 6799836 w 13797425"/>
                <a:gd name="connsiteY2997" fmla="*/ 10266462 h 17966907"/>
                <a:gd name="connsiteX2998" fmla="*/ 6761715 w 13797425"/>
                <a:gd name="connsiteY2998" fmla="*/ 10233106 h 17966907"/>
                <a:gd name="connsiteX2999" fmla="*/ 6737889 w 13797425"/>
                <a:gd name="connsiteY2999" fmla="*/ 10209281 h 17966907"/>
                <a:gd name="connsiteX3000" fmla="*/ 6680708 w 13797425"/>
                <a:gd name="connsiteY3000" fmla="*/ 10180690 h 17966907"/>
                <a:gd name="connsiteX3001" fmla="*/ 6675942 w 13797425"/>
                <a:gd name="connsiteY3001" fmla="*/ 10175925 h 17966907"/>
                <a:gd name="connsiteX3002" fmla="*/ 6675942 w 13797425"/>
                <a:gd name="connsiteY3002" fmla="*/ 10166395 h 17966907"/>
                <a:gd name="connsiteX3003" fmla="*/ 6675942 w 13797425"/>
                <a:gd name="connsiteY3003" fmla="*/ 10152099 h 17966907"/>
                <a:gd name="connsiteX3004" fmla="*/ 6671177 w 13797425"/>
                <a:gd name="connsiteY3004" fmla="*/ 10142569 h 17966907"/>
                <a:gd name="connsiteX3005" fmla="*/ 6666412 w 13797425"/>
                <a:gd name="connsiteY3005" fmla="*/ 10137804 h 17966907"/>
                <a:gd name="connsiteX3006" fmla="*/ 6656882 w 13797425"/>
                <a:gd name="connsiteY3006" fmla="*/ 10137804 h 17966907"/>
                <a:gd name="connsiteX3007" fmla="*/ 6652117 w 13797425"/>
                <a:gd name="connsiteY3007" fmla="*/ 10147334 h 17966907"/>
                <a:gd name="connsiteX3008" fmla="*/ 6633056 w 13797425"/>
                <a:gd name="connsiteY3008" fmla="*/ 10156864 h 17966907"/>
                <a:gd name="connsiteX3009" fmla="*/ 6609231 w 13797425"/>
                <a:gd name="connsiteY3009" fmla="*/ 10156864 h 17966907"/>
                <a:gd name="connsiteX3010" fmla="*/ 6594935 w 13797425"/>
                <a:gd name="connsiteY3010" fmla="*/ 10147334 h 17966907"/>
                <a:gd name="connsiteX3011" fmla="*/ 6590170 w 13797425"/>
                <a:gd name="connsiteY3011" fmla="*/ 10137804 h 17966907"/>
                <a:gd name="connsiteX3012" fmla="*/ 6585405 w 13797425"/>
                <a:gd name="connsiteY3012" fmla="*/ 10128274 h 17966907"/>
                <a:gd name="connsiteX3013" fmla="*/ 6580640 w 13797425"/>
                <a:gd name="connsiteY3013" fmla="*/ 10113978 h 17966907"/>
                <a:gd name="connsiteX3014" fmla="*/ 6580640 w 13797425"/>
                <a:gd name="connsiteY3014" fmla="*/ 10104448 h 17966907"/>
                <a:gd name="connsiteX3015" fmla="*/ 6575875 w 13797425"/>
                <a:gd name="connsiteY3015" fmla="*/ 10099683 h 17966907"/>
                <a:gd name="connsiteX3016" fmla="*/ 6566345 w 13797425"/>
                <a:gd name="connsiteY3016" fmla="*/ 10099683 h 17966907"/>
                <a:gd name="connsiteX3017" fmla="*/ 6552049 w 13797425"/>
                <a:gd name="connsiteY3017" fmla="*/ 10104448 h 17966907"/>
                <a:gd name="connsiteX3018" fmla="*/ 6547284 w 13797425"/>
                <a:gd name="connsiteY3018" fmla="*/ 10113978 h 17966907"/>
                <a:gd name="connsiteX3019" fmla="*/ 6552049 w 13797425"/>
                <a:gd name="connsiteY3019" fmla="*/ 10123508 h 17966907"/>
                <a:gd name="connsiteX3020" fmla="*/ 6547284 w 13797425"/>
                <a:gd name="connsiteY3020" fmla="*/ 10128274 h 17966907"/>
                <a:gd name="connsiteX3021" fmla="*/ 6523458 w 13797425"/>
                <a:gd name="connsiteY3021" fmla="*/ 10128274 h 17966907"/>
                <a:gd name="connsiteX3022" fmla="*/ 6513928 w 13797425"/>
                <a:gd name="connsiteY3022" fmla="*/ 10123508 h 17966907"/>
                <a:gd name="connsiteX3023" fmla="*/ 6494868 w 13797425"/>
                <a:gd name="connsiteY3023" fmla="*/ 10104448 h 17966907"/>
                <a:gd name="connsiteX3024" fmla="*/ 6485337 w 13797425"/>
                <a:gd name="connsiteY3024" fmla="*/ 10085387 h 17966907"/>
                <a:gd name="connsiteX3025" fmla="*/ 6471042 w 13797425"/>
                <a:gd name="connsiteY3025" fmla="*/ 10056797 h 17966907"/>
                <a:gd name="connsiteX3026" fmla="*/ 6475807 w 13797425"/>
                <a:gd name="connsiteY3026" fmla="*/ 10047266 h 17966907"/>
                <a:gd name="connsiteX3027" fmla="*/ 6480572 w 13797425"/>
                <a:gd name="connsiteY3027" fmla="*/ 10023441 h 17966907"/>
                <a:gd name="connsiteX3028" fmla="*/ 6490103 w 13797425"/>
                <a:gd name="connsiteY3028" fmla="*/ 10013911 h 17966907"/>
                <a:gd name="connsiteX3029" fmla="*/ 6547284 w 13797425"/>
                <a:gd name="connsiteY3029" fmla="*/ 10004380 h 17966907"/>
                <a:gd name="connsiteX3030" fmla="*/ 6575875 w 13797425"/>
                <a:gd name="connsiteY3030" fmla="*/ 9994850 h 17966907"/>
                <a:gd name="connsiteX3031" fmla="*/ 6604466 w 13797425"/>
                <a:gd name="connsiteY3031" fmla="*/ 9975790 h 17966907"/>
                <a:gd name="connsiteX3032" fmla="*/ 6637821 w 13797425"/>
                <a:gd name="connsiteY3032" fmla="*/ 9932903 h 17966907"/>
                <a:gd name="connsiteX3033" fmla="*/ 6647352 w 13797425"/>
                <a:gd name="connsiteY3033" fmla="*/ 9923373 h 17966907"/>
                <a:gd name="connsiteX3034" fmla="*/ 6647352 w 13797425"/>
                <a:gd name="connsiteY3034" fmla="*/ 9913843 h 17966907"/>
                <a:gd name="connsiteX3035" fmla="*/ 6642587 w 13797425"/>
                <a:gd name="connsiteY3035" fmla="*/ 9904313 h 17966907"/>
                <a:gd name="connsiteX3036" fmla="*/ 6633056 w 13797425"/>
                <a:gd name="connsiteY3036" fmla="*/ 9880487 h 17966907"/>
                <a:gd name="connsiteX3037" fmla="*/ 6628291 w 13797425"/>
                <a:gd name="connsiteY3037" fmla="*/ 9866192 h 17966907"/>
                <a:gd name="connsiteX3038" fmla="*/ 6633056 w 13797425"/>
                <a:gd name="connsiteY3038" fmla="*/ 9856661 h 17966907"/>
                <a:gd name="connsiteX3039" fmla="*/ 6647352 w 13797425"/>
                <a:gd name="connsiteY3039" fmla="*/ 9856661 h 17966907"/>
                <a:gd name="connsiteX3040" fmla="*/ 6642587 w 13797425"/>
                <a:gd name="connsiteY3040" fmla="*/ 9847131 h 17966907"/>
                <a:gd name="connsiteX3041" fmla="*/ 6633056 w 13797425"/>
                <a:gd name="connsiteY3041" fmla="*/ 9837601 h 17966907"/>
                <a:gd name="connsiteX3042" fmla="*/ 6633056 w 13797425"/>
                <a:gd name="connsiteY3042" fmla="*/ 9828071 h 17966907"/>
                <a:gd name="connsiteX3043" fmla="*/ 6633056 w 13797425"/>
                <a:gd name="connsiteY3043" fmla="*/ 9818540 h 17966907"/>
                <a:gd name="connsiteX3044" fmla="*/ 6642587 w 13797425"/>
                <a:gd name="connsiteY3044" fmla="*/ 9813775 h 17966907"/>
                <a:gd name="connsiteX3045" fmla="*/ 6656882 w 13797425"/>
                <a:gd name="connsiteY3045" fmla="*/ 9818540 h 17966907"/>
                <a:gd name="connsiteX3046" fmla="*/ 6680708 w 13797425"/>
                <a:gd name="connsiteY3046" fmla="*/ 9856661 h 17966907"/>
                <a:gd name="connsiteX3047" fmla="*/ 6695003 w 13797425"/>
                <a:gd name="connsiteY3047" fmla="*/ 9861427 h 17966907"/>
                <a:gd name="connsiteX3048" fmla="*/ 6709298 w 13797425"/>
                <a:gd name="connsiteY3048" fmla="*/ 9866192 h 17966907"/>
                <a:gd name="connsiteX3049" fmla="*/ 6690238 w 13797425"/>
                <a:gd name="connsiteY3049" fmla="*/ 9842366 h 17966907"/>
                <a:gd name="connsiteX3050" fmla="*/ 6671177 w 13797425"/>
                <a:gd name="connsiteY3050" fmla="*/ 9789950 h 17966907"/>
                <a:gd name="connsiteX3051" fmla="*/ 6671177 w 13797425"/>
                <a:gd name="connsiteY3051" fmla="*/ 9775654 h 17966907"/>
                <a:gd name="connsiteX3052" fmla="*/ 6671177 w 13797425"/>
                <a:gd name="connsiteY3052" fmla="*/ 9761359 h 17966907"/>
                <a:gd name="connsiteX3053" fmla="*/ 6675942 w 13797425"/>
                <a:gd name="connsiteY3053" fmla="*/ 9732768 h 17966907"/>
                <a:gd name="connsiteX3054" fmla="*/ 6680708 w 13797425"/>
                <a:gd name="connsiteY3054" fmla="*/ 9723238 h 17966907"/>
                <a:gd name="connsiteX3055" fmla="*/ 6685473 w 13797425"/>
                <a:gd name="connsiteY3055" fmla="*/ 9713708 h 17966907"/>
                <a:gd name="connsiteX3056" fmla="*/ 6704533 w 13797425"/>
                <a:gd name="connsiteY3056" fmla="*/ 9699412 h 17966907"/>
                <a:gd name="connsiteX3057" fmla="*/ 6733124 w 13797425"/>
                <a:gd name="connsiteY3057" fmla="*/ 9689882 h 17966907"/>
                <a:gd name="connsiteX3058" fmla="*/ 8419979 w 13797425"/>
                <a:gd name="connsiteY3058" fmla="*/ 9556459 h 17966907"/>
                <a:gd name="connsiteX3059" fmla="*/ 8448570 w 13797425"/>
                <a:gd name="connsiteY3059" fmla="*/ 9570754 h 17966907"/>
                <a:gd name="connsiteX3060" fmla="*/ 8467630 w 13797425"/>
                <a:gd name="connsiteY3060" fmla="*/ 9575520 h 17966907"/>
                <a:gd name="connsiteX3061" fmla="*/ 8481925 w 13797425"/>
                <a:gd name="connsiteY3061" fmla="*/ 9570754 h 17966907"/>
                <a:gd name="connsiteX3062" fmla="*/ 8496221 w 13797425"/>
                <a:gd name="connsiteY3062" fmla="*/ 9575520 h 17966907"/>
                <a:gd name="connsiteX3063" fmla="*/ 8505751 w 13797425"/>
                <a:gd name="connsiteY3063" fmla="*/ 9589815 h 17966907"/>
                <a:gd name="connsiteX3064" fmla="*/ 8510516 w 13797425"/>
                <a:gd name="connsiteY3064" fmla="*/ 9604110 h 17966907"/>
                <a:gd name="connsiteX3065" fmla="*/ 8510516 w 13797425"/>
                <a:gd name="connsiteY3065" fmla="*/ 9613640 h 17966907"/>
                <a:gd name="connsiteX3066" fmla="*/ 8505751 w 13797425"/>
                <a:gd name="connsiteY3066" fmla="*/ 9623171 h 17966907"/>
                <a:gd name="connsiteX3067" fmla="*/ 8477160 w 13797425"/>
                <a:gd name="connsiteY3067" fmla="*/ 9632701 h 17966907"/>
                <a:gd name="connsiteX3068" fmla="*/ 8458100 w 13797425"/>
                <a:gd name="connsiteY3068" fmla="*/ 9627936 h 17966907"/>
                <a:gd name="connsiteX3069" fmla="*/ 8439039 w 13797425"/>
                <a:gd name="connsiteY3069" fmla="*/ 9618406 h 17966907"/>
                <a:gd name="connsiteX3070" fmla="*/ 8429509 w 13797425"/>
                <a:gd name="connsiteY3070" fmla="*/ 9623171 h 17966907"/>
                <a:gd name="connsiteX3071" fmla="*/ 8405683 w 13797425"/>
                <a:gd name="connsiteY3071" fmla="*/ 9613640 h 17966907"/>
                <a:gd name="connsiteX3072" fmla="*/ 8396153 w 13797425"/>
                <a:gd name="connsiteY3072" fmla="*/ 9604110 h 17966907"/>
                <a:gd name="connsiteX3073" fmla="*/ 8386623 w 13797425"/>
                <a:gd name="connsiteY3073" fmla="*/ 9585050 h 17966907"/>
                <a:gd name="connsiteX3074" fmla="*/ 8386623 w 13797425"/>
                <a:gd name="connsiteY3074" fmla="*/ 9575520 h 17966907"/>
                <a:gd name="connsiteX3075" fmla="*/ 8410449 w 13797425"/>
                <a:gd name="connsiteY3075" fmla="*/ 9565989 h 17966907"/>
                <a:gd name="connsiteX3076" fmla="*/ 6304262 w 13797425"/>
                <a:gd name="connsiteY3076" fmla="*/ 9313438 h 17966907"/>
                <a:gd name="connsiteX3077" fmla="*/ 6323323 w 13797425"/>
                <a:gd name="connsiteY3077" fmla="*/ 9313438 h 17966907"/>
                <a:gd name="connsiteX3078" fmla="*/ 6337618 w 13797425"/>
                <a:gd name="connsiteY3078" fmla="*/ 9322968 h 17966907"/>
                <a:gd name="connsiteX3079" fmla="*/ 6361444 w 13797425"/>
                <a:gd name="connsiteY3079" fmla="*/ 9346794 h 17966907"/>
                <a:gd name="connsiteX3080" fmla="*/ 6356679 w 13797425"/>
                <a:gd name="connsiteY3080" fmla="*/ 9356324 h 17966907"/>
                <a:gd name="connsiteX3081" fmla="*/ 6356679 w 13797425"/>
                <a:gd name="connsiteY3081" fmla="*/ 9370619 h 17966907"/>
                <a:gd name="connsiteX3082" fmla="*/ 6356679 w 13797425"/>
                <a:gd name="connsiteY3082" fmla="*/ 9389680 h 17966907"/>
                <a:gd name="connsiteX3083" fmla="*/ 6356679 w 13797425"/>
                <a:gd name="connsiteY3083" fmla="*/ 9394445 h 17966907"/>
                <a:gd name="connsiteX3084" fmla="*/ 6356679 w 13797425"/>
                <a:gd name="connsiteY3084" fmla="*/ 9399210 h 17966907"/>
                <a:gd name="connsiteX3085" fmla="*/ 6323323 w 13797425"/>
                <a:gd name="connsiteY3085" fmla="*/ 9380150 h 17966907"/>
                <a:gd name="connsiteX3086" fmla="*/ 6309027 w 13797425"/>
                <a:gd name="connsiteY3086" fmla="*/ 9370619 h 17966907"/>
                <a:gd name="connsiteX3087" fmla="*/ 6304262 w 13797425"/>
                <a:gd name="connsiteY3087" fmla="*/ 9361089 h 17966907"/>
                <a:gd name="connsiteX3088" fmla="*/ 6299497 w 13797425"/>
                <a:gd name="connsiteY3088" fmla="*/ 9346794 h 17966907"/>
                <a:gd name="connsiteX3089" fmla="*/ 6299497 w 13797425"/>
                <a:gd name="connsiteY3089" fmla="*/ 9322968 h 17966907"/>
                <a:gd name="connsiteX3090" fmla="*/ 7228698 w 13797425"/>
                <a:gd name="connsiteY3090" fmla="*/ 8670145 h 17966907"/>
                <a:gd name="connsiteX3091" fmla="*/ 7247758 w 13797425"/>
                <a:gd name="connsiteY3091" fmla="*/ 8670145 h 17966907"/>
                <a:gd name="connsiteX3092" fmla="*/ 7257288 w 13797425"/>
                <a:gd name="connsiteY3092" fmla="*/ 8674910 h 17966907"/>
                <a:gd name="connsiteX3093" fmla="*/ 7266818 w 13797425"/>
                <a:gd name="connsiteY3093" fmla="*/ 8703501 h 17966907"/>
                <a:gd name="connsiteX3094" fmla="*/ 7266818 w 13797425"/>
                <a:gd name="connsiteY3094" fmla="*/ 8741622 h 17966907"/>
                <a:gd name="connsiteX3095" fmla="*/ 7295409 w 13797425"/>
                <a:gd name="connsiteY3095" fmla="*/ 8779743 h 17966907"/>
                <a:gd name="connsiteX3096" fmla="*/ 7314470 w 13797425"/>
                <a:gd name="connsiteY3096" fmla="*/ 8784508 h 17966907"/>
                <a:gd name="connsiteX3097" fmla="*/ 7328765 w 13797425"/>
                <a:gd name="connsiteY3097" fmla="*/ 8779743 h 17966907"/>
                <a:gd name="connsiteX3098" fmla="*/ 7371651 w 13797425"/>
                <a:gd name="connsiteY3098" fmla="*/ 8779743 h 17966907"/>
                <a:gd name="connsiteX3099" fmla="*/ 7381182 w 13797425"/>
                <a:gd name="connsiteY3099" fmla="*/ 8794038 h 17966907"/>
                <a:gd name="connsiteX3100" fmla="*/ 7381182 w 13797425"/>
                <a:gd name="connsiteY3100" fmla="*/ 8803569 h 17966907"/>
                <a:gd name="connsiteX3101" fmla="*/ 7376416 w 13797425"/>
                <a:gd name="connsiteY3101" fmla="*/ 8827394 h 17966907"/>
                <a:gd name="connsiteX3102" fmla="*/ 7381182 w 13797425"/>
                <a:gd name="connsiteY3102" fmla="*/ 8846455 h 17966907"/>
                <a:gd name="connsiteX3103" fmla="*/ 7409772 w 13797425"/>
                <a:gd name="connsiteY3103" fmla="*/ 8879811 h 17966907"/>
                <a:gd name="connsiteX3104" fmla="*/ 7433598 w 13797425"/>
                <a:gd name="connsiteY3104" fmla="*/ 8903636 h 17966907"/>
                <a:gd name="connsiteX3105" fmla="*/ 7457424 w 13797425"/>
                <a:gd name="connsiteY3105" fmla="*/ 8932227 h 17966907"/>
                <a:gd name="connsiteX3106" fmla="*/ 7495544 w 13797425"/>
                <a:gd name="connsiteY3106" fmla="*/ 8994174 h 17966907"/>
                <a:gd name="connsiteX3107" fmla="*/ 7500310 w 13797425"/>
                <a:gd name="connsiteY3107" fmla="*/ 9008469 h 17966907"/>
                <a:gd name="connsiteX3108" fmla="*/ 7505075 w 13797425"/>
                <a:gd name="connsiteY3108" fmla="*/ 9027530 h 17966907"/>
                <a:gd name="connsiteX3109" fmla="*/ 7514605 w 13797425"/>
                <a:gd name="connsiteY3109" fmla="*/ 9094241 h 17966907"/>
                <a:gd name="connsiteX3110" fmla="*/ 7519370 w 13797425"/>
                <a:gd name="connsiteY3110" fmla="*/ 9122832 h 17966907"/>
                <a:gd name="connsiteX3111" fmla="*/ 7514605 w 13797425"/>
                <a:gd name="connsiteY3111" fmla="*/ 9194309 h 17966907"/>
                <a:gd name="connsiteX3112" fmla="*/ 7509840 w 13797425"/>
                <a:gd name="connsiteY3112" fmla="*/ 9208604 h 17966907"/>
                <a:gd name="connsiteX3113" fmla="*/ 7500310 w 13797425"/>
                <a:gd name="connsiteY3113" fmla="*/ 9227665 h 17966907"/>
                <a:gd name="connsiteX3114" fmla="*/ 7505075 w 13797425"/>
                <a:gd name="connsiteY3114" fmla="*/ 9232430 h 17966907"/>
                <a:gd name="connsiteX3115" fmla="*/ 7533666 w 13797425"/>
                <a:gd name="connsiteY3115" fmla="*/ 9251490 h 17966907"/>
                <a:gd name="connsiteX3116" fmla="*/ 7552726 w 13797425"/>
                <a:gd name="connsiteY3116" fmla="*/ 9289611 h 17966907"/>
                <a:gd name="connsiteX3117" fmla="*/ 7567022 w 13797425"/>
                <a:gd name="connsiteY3117" fmla="*/ 9299142 h 17966907"/>
                <a:gd name="connsiteX3118" fmla="*/ 7595612 w 13797425"/>
                <a:gd name="connsiteY3118" fmla="*/ 9322967 h 17966907"/>
                <a:gd name="connsiteX3119" fmla="*/ 7600378 w 13797425"/>
                <a:gd name="connsiteY3119" fmla="*/ 9327732 h 17966907"/>
                <a:gd name="connsiteX3120" fmla="*/ 7605142 w 13797425"/>
                <a:gd name="connsiteY3120" fmla="*/ 9342028 h 17966907"/>
                <a:gd name="connsiteX3121" fmla="*/ 7619438 w 13797425"/>
                <a:gd name="connsiteY3121" fmla="*/ 9394444 h 17966907"/>
                <a:gd name="connsiteX3122" fmla="*/ 7648028 w 13797425"/>
                <a:gd name="connsiteY3122" fmla="*/ 9442096 h 17966907"/>
                <a:gd name="connsiteX3123" fmla="*/ 7648028 w 13797425"/>
                <a:gd name="connsiteY3123" fmla="*/ 9451626 h 17966907"/>
                <a:gd name="connsiteX3124" fmla="*/ 7643264 w 13797425"/>
                <a:gd name="connsiteY3124" fmla="*/ 9475451 h 17966907"/>
                <a:gd name="connsiteX3125" fmla="*/ 7648028 w 13797425"/>
                <a:gd name="connsiteY3125" fmla="*/ 9484982 h 17966907"/>
                <a:gd name="connsiteX3126" fmla="*/ 7657559 w 13797425"/>
                <a:gd name="connsiteY3126" fmla="*/ 9489747 h 17966907"/>
                <a:gd name="connsiteX3127" fmla="*/ 7667089 w 13797425"/>
                <a:gd name="connsiteY3127" fmla="*/ 9489747 h 17966907"/>
                <a:gd name="connsiteX3128" fmla="*/ 7676620 w 13797425"/>
                <a:gd name="connsiteY3128" fmla="*/ 9470686 h 17966907"/>
                <a:gd name="connsiteX3129" fmla="*/ 7681384 w 13797425"/>
                <a:gd name="connsiteY3129" fmla="*/ 9465921 h 17966907"/>
                <a:gd name="connsiteX3130" fmla="*/ 7690915 w 13797425"/>
                <a:gd name="connsiteY3130" fmla="*/ 9470686 h 17966907"/>
                <a:gd name="connsiteX3131" fmla="*/ 7700445 w 13797425"/>
                <a:gd name="connsiteY3131" fmla="*/ 9484982 h 17966907"/>
                <a:gd name="connsiteX3132" fmla="*/ 7709976 w 13797425"/>
                <a:gd name="connsiteY3132" fmla="*/ 9518338 h 17966907"/>
                <a:gd name="connsiteX3133" fmla="*/ 7724270 w 13797425"/>
                <a:gd name="connsiteY3133" fmla="*/ 9542163 h 17966907"/>
                <a:gd name="connsiteX3134" fmla="*/ 7719506 w 13797425"/>
                <a:gd name="connsiteY3134" fmla="*/ 9546928 h 17966907"/>
                <a:gd name="connsiteX3135" fmla="*/ 7714740 w 13797425"/>
                <a:gd name="connsiteY3135" fmla="*/ 9556459 h 17966907"/>
                <a:gd name="connsiteX3136" fmla="*/ 7676620 w 13797425"/>
                <a:gd name="connsiteY3136" fmla="*/ 9561224 h 17966907"/>
                <a:gd name="connsiteX3137" fmla="*/ 7657559 w 13797425"/>
                <a:gd name="connsiteY3137" fmla="*/ 9556459 h 17966907"/>
                <a:gd name="connsiteX3138" fmla="*/ 7638498 w 13797425"/>
                <a:gd name="connsiteY3138" fmla="*/ 9546928 h 17966907"/>
                <a:gd name="connsiteX3139" fmla="*/ 7624203 w 13797425"/>
                <a:gd name="connsiteY3139" fmla="*/ 9532633 h 17966907"/>
                <a:gd name="connsiteX3140" fmla="*/ 7609908 w 13797425"/>
                <a:gd name="connsiteY3140" fmla="*/ 9513572 h 17966907"/>
                <a:gd name="connsiteX3141" fmla="*/ 7605142 w 13797425"/>
                <a:gd name="connsiteY3141" fmla="*/ 9513572 h 17966907"/>
                <a:gd name="connsiteX3142" fmla="*/ 7600378 w 13797425"/>
                <a:gd name="connsiteY3142" fmla="*/ 9532633 h 17966907"/>
                <a:gd name="connsiteX3143" fmla="*/ 7586082 w 13797425"/>
                <a:gd name="connsiteY3143" fmla="*/ 9556459 h 17966907"/>
                <a:gd name="connsiteX3144" fmla="*/ 7576552 w 13797425"/>
                <a:gd name="connsiteY3144" fmla="*/ 9575519 h 17966907"/>
                <a:gd name="connsiteX3145" fmla="*/ 7586082 w 13797425"/>
                <a:gd name="connsiteY3145" fmla="*/ 9585049 h 17966907"/>
                <a:gd name="connsiteX3146" fmla="*/ 7633733 w 13797425"/>
                <a:gd name="connsiteY3146" fmla="*/ 9585049 h 17966907"/>
                <a:gd name="connsiteX3147" fmla="*/ 7648028 w 13797425"/>
                <a:gd name="connsiteY3147" fmla="*/ 9589814 h 17966907"/>
                <a:gd name="connsiteX3148" fmla="*/ 7657559 w 13797425"/>
                <a:gd name="connsiteY3148" fmla="*/ 9604110 h 17966907"/>
                <a:gd name="connsiteX3149" fmla="*/ 7643264 w 13797425"/>
                <a:gd name="connsiteY3149" fmla="*/ 9632701 h 17966907"/>
                <a:gd name="connsiteX3150" fmla="*/ 7609908 w 13797425"/>
                <a:gd name="connsiteY3150" fmla="*/ 9670822 h 17966907"/>
                <a:gd name="connsiteX3151" fmla="*/ 7538430 w 13797425"/>
                <a:gd name="connsiteY3151" fmla="*/ 9751829 h 17966907"/>
                <a:gd name="connsiteX3152" fmla="*/ 7514605 w 13797425"/>
                <a:gd name="connsiteY3152" fmla="*/ 9775654 h 17966907"/>
                <a:gd name="connsiteX3153" fmla="*/ 7519370 w 13797425"/>
                <a:gd name="connsiteY3153" fmla="*/ 9780420 h 17966907"/>
                <a:gd name="connsiteX3154" fmla="*/ 7528900 w 13797425"/>
                <a:gd name="connsiteY3154" fmla="*/ 9780420 h 17966907"/>
                <a:gd name="connsiteX3155" fmla="*/ 7552726 w 13797425"/>
                <a:gd name="connsiteY3155" fmla="*/ 9775654 h 17966907"/>
                <a:gd name="connsiteX3156" fmla="*/ 7576552 w 13797425"/>
                <a:gd name="connsiteY3156" fmla="*/ 9766124 h 17966907"/>
                <a:gd name="connsiteX3157" fmla="*/ 7605142 w 13797425"/>
                <a:gd name="connsiteY3157" fmla="*/ 9770889 h 17966907"/>
                <a:gd name="connsiteX3158" fmla="*/ 7619438 w 13797425"/>
                <a:gd name="connsiteY3158" fmla="*/ 9780420 h 17966907"/>
                <a:gd name="connsiteX3159" fmla="*/ 7614672 w 13797425"/>
                <a:gd name="connsiteY3159" fmla="*/ 9789950 h 17966907"/>
                <a:gd name="connsiteX3160" fmla="*/ 7624203 w 13797425"/>
                <a:gd name="connsiteY3160" fmla="*/ 9804245 h 17966907"/>
                <a:gd name="connsiteX3161" fmla="*/ 7667089 w 13797425"/>
                <a:gd name="connsiteY3161" fmla="*/ 9837601 h 17966907"/>
                <a:gd name="connsiteX3162" fmla="*/ 7700445 w 13797425"/>
                <a:gd name="connsiteY3162" fmla="*/ 9828071 h 17966907"/>
                <a:gd name="connsiteX3163" fmla="*/ 7729036 w 13797425"/>
                <a:gd name="connsiteY3163" fmla="*/ 9799480 h 17966907"/>
                <a:gd name="connsiteX3164" fmla="*/ 7752862 w 13797425"/>
                <a:gd name="connsiteY3164" fmla="*/ 9780420 h 17966907"/>
                <a:gd name="connsiteX3165" fmla="*/ 7781452 w 13797425"/>
                <a:gd name="connsiteY3165" fmla="*/ 9785185 h 17966907"/>
                <a:gd name="connsiteX3166" fmla="*/ 7786218 w 13797425"/>
                <a:gd name="connsiteY3166" fmla="*/ 9785185 h 17966907"/>
                <a:gd name="connsiteX3167" fmla="*/ 7786218 w 13797425"/>
                <a:gd name="connsiteY3167" fmla="*/ 9794715 h 17966907"/>
                <a:gd name="connsiteX3168" fmla="*/ 7762392 w 13797425"/>
                <a:gd name="connsiteY3168" fmla="*/ 9813775 h 17966907"/>
                <a:gd name="connsiteX3169" fmla="*/ 7743331 w 13797425"/>
                <a:gd name="connsiteY3169" fmla="*/ 9832836 h 17966907"/>
                <a:gd name="connsiteX3170" fmla="*/ 7743331 w 13797425"/>
                <a:gd name="connsiteY3170" fmla="*/ 9837601 h 17966907"/>
                <a:gd name="connsiteX3171" fmla="*/ 7767157 w 13797425"/>
                <a:gd name="connsiteY3171" fmla="*/ 9828071 h 17966907"/>
                <a:gd name="connsiteX3172" fmla="*/ 7819573 w 13797425"/>
                <a:gd name="connsiteY3172" fmla="*/ 9842366 h 17966907"/>
                <a:gd name="connsiteX3173" fmla="*/ 7843399 w 13797425"/>
                <a:gd name="connsiteY3173" fmla="*/ 9847131 h 17966907"/>
                <a:gd name="connsiteX3174" fmla="*/ 7862460 w 13797425"/>
                <a:gd name="connsiteY3174" fmla="*/ 9842366 h 17966907"/>
                <a:gd name="connsiteX3175" fmla="*/ 7881520 w 13797425"/>
                <a:gd name="connsiteY3175" fmla="*/ 9847131 h 17966907"/>
                <a:gd name="connsiteX3176" fmla="*/ 7895815 w 13797425"/>
                <a:gd name="connsiteY3176" fmla="*/ 9861427 h 17966907"/>
                <a:gd name="connsiteX3177" fmla="*/ 7900580 w 13797425"/>
                <a:gd name="connsiteY3177" fmla="*/ 9866192 h 17966907"/>
                <a:gd name="connsiteX3178" fmla="*/ 7886285 w 13797425"/>
                <a:gd name="connsiteY3178" fmla="*/ 9870957 h 17966907"/>
                <a:gd name="connsiteX3179" fmla="*/ 7871990 w 13797425"/>
                <a:gd name="connsiteY3179" fmla="*/ 9870957 h 17966907"/>
                <a:gd name="connsiteX3180" fmla="*/ 7862460 w 13797425"/>
                <a:gd name="connsiteY3180" fmla="*/ 9880487 h 17966907"/>
                <a:gd name="connsiteX3181" fmla="*/ 7848164 w 13797425"/>
                <a:gd name="connsiteY3181" fmla="*/ 9894782 h 17966907"/>
                <a:gd name="connsiteX3182" fmla="*/ 7843399 w 13797425"/>
                <a:gd name="connsiteY3182" fmla="*/ 9918608 h 17966907"/>
                <a:gd name="connsiteX3183" fmla="*/ 7838634 w 13797425"/>
                <a:gd name="connsiteY3183" fmla="*/ 9942434 h 17966907"/>
                <a:gd name="connsiteX3184" fmla="*/ 7829104 w 13797425"/>
                <a:gd name="connsiteY3184" fmla="*/ 9951964 h 17966907"/>
                <a:gd name="connsiteX3185" fmla="*/ 7810043 w 13797425"/>
                <a:gd name="connsiteY3185" fmla="*/ 9947199 h 17966907"/>
                <a:gd name="connsiteX3186" fmla="*/ 7805278 w 13797425"/>
                <a:gd name="connsiteY3186" fmla="*/ 9942434 h 17966907"/>
                <a:gd name="connsiteX3187" fmla="*/ 7805278 w 13797425"/>
                <a:gd name="connsiteY3187" fmla="*/ 9932904 h 17966907"/>
                <a:gd name="connsiteX3188" fmla="*/ 7800512 w 13797425"/>
                <a:gd name="connsiteY3188" fmla="*/ 9928138 h 17966907"/>
                <a:gd name="connsiteX3189" fmla="*/ 7786218 w 13797425"/>
                <a:gd name="connsiteY3189" fmla="*/ 9937669 h 17966907"/>
                <a:gd name="connsiteX3190" fmla="*/ 7776687 w 13797425"/>
                <a:gd name="connsiteY3190" fmla="*/ 9937669 h 17966907"/>
                <a:gd name="connsiteX3191" fmla="*/ 7771922 w 13797425"/>
                <a:gd name="connsiteY3191" fmla="*/ 9942434 h 17966907"/>
                <a:gd name="connsiteX3192" fmla="*/ 7848164 w 13797425"/>
                <a:gd name="connsiteY3192" fmla="*/ 10023441 h 17966907"/>
                <a:gd name="connsiteX3193" fmla="*/ 7876754 w 13797425"/>
                <a:gd name="connsiteY3193" fmla="*/ 10094918 h 17966907"/>
                <a:gd name="connsiteX3194" fmla="*/ 7891050 w 13797425"/>
                <a:gd name="connsiteY3194" fmla="*/ 10118744 h 17966907"/>
                <a:gd name="connsiteX3195" fmla="*/ 7895815 w 13797425"/>
                <a:gd name="connsiteY3195" fmla="*/ 10128274 h 17966907"/>
                <a:gd name="connsiteX3196" fmla="*/ 7881520 w 13797425"/>
                <a:gd name="connsiteY3196" fmla="*/ 10147334 h 17966907"/>
                <a:gd name="connsiteX3197" fmla="*/ 7881520 w 13797425"/>
                <a:gd name="connsiteY3197" fmla="*/ 10161630 h 17966907"/>
                <a:gd name="connsiteX3198" fmla="*/ 7886285 w 13797425"/>
                <a:gd name="connsiteY3198" fmla="*/ 10204516 h 17966907"/>
                <a:gd name="connsiteX3199" fmla="*/ 7886285 w 13797425"/>
                <a:gd name="connsiteY3199" fmla="*/ 10237872 h 17966907"/>
                <a:gd name="connsiteX3200" fmla="*/ 7876754 w 13797425"/>
                <a:gd name="connsiteY3200" fmla="*/ 10295053 h 17966907"/>
                <a:gd name="connsiteX3201" fmla="*/ 7886285 w 13797425"/>
                <a:gd name="connsiteY3201" fmla="*/ 10314114 h 17966907"/>
                <a:gd name="connsiteX3202" fmla="*/ 7900580 w 13797425"/>
                <a:gd name="connsiteY3202" fmla="*/ 10328409 h 17966907"/>
                <a:gd name="connsiteX3203" fmla="*/ 7910110 w 13797425"/>
                <a:gd name="connsiteY3203" fmla="*/ 10352235 h 17966907"/>
                <a:gd name="connsiteX3204" fmla="*/ 7919641 w 13797425"/>
                <a:gd name="connsiteY3204" fmla="*/ 10357000 h 17966907"/>
                <a:gd name="connsiteX3205" fmla="*/ 7924406 w 13797425"/>
                <a:gd name="connsiteY3205" fmla="*/ 10371295 h 17966907"/>
                <a:gd name="connsiteX3206" fmla="*/ 7929171 w 13797425"/>
                <a:gd name="connsiteY3206" fmla="*/ 10385591 h 17966907"/>
                <a:gd name="connsiteX3207" fmla="*/ 7933936 w 13797425"/>
                <a:gd name="connsiteY3207" fmla="*/ 10385591 h 17966907"/>
                <a:gd name="connsiteX3208" fmla="*/ 7938702 w 13797425"/>
                <a:gd name="connsiteY3208" fmla="*/ 10380826 h 17966907"/>
                <a:gd name="connsiteX3209" fmla="*/ 7943466 w 13797425"/>
                <a:gd name="connsiteY3209" fmla="*/ 10366530 h 17966907"/>
                <a:gd name="connsiteX3210" fmla="*/ 7948232 w 13797425"/>
                <a:gd name="connsiteY3210" fmla="*/ 10352235 h 17966907"/>
                <a:gd name="connsiteX3211" fmla="*/ 7967292 w 13797425"/>
                <a:gd name="connsiteY3211" fmla="*/ 10328409 h 17966907"/>
                <a:gd name="connsiteX3212" fmla="*/ 7981588 w 13797425"/>
                <a:gd name="connsiteY3212" fmla="*/ 10290288 h 17966907"/>
                <a:gd name="connsiteX3213" fmla="*/ 7986352 w 13797425"/>
                <a:gd name="connsiteY3213" fmla="*/ 10275993 h 17966907"/>
                <a:gd name="connsiteX3214" fmla="*/ 7981588 w 13797425"/>
                <a:gd name="connsiteY3214" fmla="*/ 10242637 h 17966907"/>
                <a:gd name="connsiteX3215" fmla="*/ 7986352 w 13797425"/>
                <a:gd name="connsiteY3215" fmla="*/ 10233106 h 17966907"/>
                <a:gd name="connsiteX3216" fmla="*/ 8000648 w 13797425"/>
                <a:gd name="connsiteY3216" fmla="*/ 10185455 h 17966907"/>
                <a:gd name="connsiteX3217" fmla="*/ 8005413 w 13797425"/>
                <a:gd name="connsiteY3217" fmla="*/ 10152099 h 17966907"/>
                <a:gd name="connsiteX3218" fmla="*/ 8010178 w 13797425"/>
                <a:gd name="connsiteY3218" fmla="*/ 10099683 h 17966907"/>
                <a:gd name="connsiteX3219" fmla="*/ 8019708 w 13797425"/>
                <a:gd name="connsiteY3219" fmla="*/ 10061562 h 17966907"/>
                <a:gd name="connsiteX3220" fmla="*/ 8038769 w 13797425"/>
                <a:gd name="connsiteY3220" fmla="*/ 10032971 h 17966907"/>
                <a:gd name="connsiteX3221" fmla="*/ 8067360 w 13797425"/>
                <a:gd name="connsiteY3221" fmla="*/ 9971025 h 17966907"/>
                <a:gd name="connsiteX3222" fmla="*/ 8081655 w 13797425"/>
                <a:gd name="connsiteY3222" fmla="*/ 9956729 h 17966907"/>
                <a:gd name="connsiteX3223" fmla="*/ 8091186 w 13797425"/>
                <a:gd name="connsiteY3223" fmla="*/ 9951964 h 17966907"/>
                <a:gd name="connsiteX3224" fmla="*/ 8115011 w 13797425"/>
                <a:gd name="connsiteY3224" fmla="*/ 9951964 h 17966907"/>
                <a:gd name="connsiteX3225" fmla="*/ 8129306 w 13797425"/>
                <a:gd name="connsiteY3225" fmla="*/ 9971025 h 17966907"/>
                <a:gd name="connsiteX3226" fmla="*/ 8153132 w 13797425"/>
                <a:gd name="connsiteY3226" fmla="*/ 10009146 h 17966907"/>
                <a:gd name="connsiteX3227" fmla="*/ 8181723 w 13797425"/>
                <a:gd name="connsiteY3227" fmla="*/ 10042502 h 17966907"/>
                <a:gd name="connsiteX3228" fmla="*/ 8229374 w 13797425"/>
                <a:gd name="connsiteY3228" fmla="*/ 10090153 h 17966907"/>
                <a:gd name="connsiteX3229" fmla="*/ 8243670 w 13797425"/>
                <a:gd name="connsiteY3229" fmla="*/ 10104448 h 17966907"/>
                <a:gd name="connsiteX3230" fmla="*/ 8272260 w 13797425"/>
                <a:gd name="connsiteY3230" fmla="*/ 10152099 h 17966907"/>
                <a:gd name="connsiteX3231" fmla="*/ 8286556 w 13797425"/>
                <a:gd name="connsiteY3231" fmla="*/ 10194986 h 17966907"/>
                <a:gd name="connsiteX3232" fmla="*/ 8291321 w 13797425"/>
                <a:gd name="connsiteY3232" fmla="*/ 10256932 h 17966907"/>
                <a:gd name="connsiteX3233" fmla="*/ 8300851 w 13797425"/>
                <a:gd name="connsiteY3233" fmla="*/ 10295053 h 17966907"/>
                <a:gd name="connsiteX3234" fmla="*/ 8305616 w 13797425"/>
                <a:gd name="connsiteY3234" fmla="*/ 10309348 h 17966907"/>
                <a:gd name="connsiteX3235" fmla="*/ 8310382 w 13797425"/>
                <a:gd name="connsiteY3235" fmla="*/ 10323644 h 17966907"/>
                <a:gd name="connsiteX3236" fmla="*/ 8310382 w 13797425"/>
                <a:gd name="connsiteY3236" fmla="*/ 10352235 h 17966907"/>
                <a:gd name="connsiteX3237" fmla="*/ 8305616 w 13797425"/>
                <a:gd name="connsiteY3237" fmla="*/ 10371295 h 17966907"/>
                <a:gd name="connsiteX3238" fmla="*/ 8300851 w 13797425"/>
                <a:gd name="connsiteY3238" fmla="*/ 10385591 h 17966907"/>
                <a:gd name="connsiteX3239" fmla="*/ 8296086 w 13797425"/>
                <a:gd name="connsiteY3239" fmla="*/ 10390356 h 17966907"/>
                <a:gd name="connsiteX3240" fmla="*/ 8281790 w 13797425"/>
                <a:gd name="connsiteY3240" fmla="*/ 10395121 h 17966907"/>
                <a:gd name="connsiteX3241" fmla="*/ 8262730 w 13797425"/>
                <a:gd name="connsiteY3241" fmla="*/ 10390356 h 17966907"/>
                <a:gd name="connsiteX3242" fmla="*/ 8257965 w 13797425"/>
                <a:gd name="connsiteY3242" fmla="*/ 10385591 h 17966907"/>
                <a:gd name="connsiteX3243" fmla="*/ 8248434 w 13797425"/>
                <a:gd name="connsiteY3243" fmla="*/ 10357000 h 17966907"/>
                <a:gd name="connsiteX3244" fmla="*/ 8243670 w 13797425"/>
                <a:gd name="connsiteY3244" fmla="*/ 10352235 h 17966907"/>
                <a:gd name="connsiteX3245" fmla="*/ 8224609 w 13797425"/>
                <a:gd name="connsiteY3245" fmla="*/ 10376060 h 17966907"/>
                <a:gd name="connsiteX3246" fmla="*/ 8224609 w 13797425"/>
                <a:gd name="connsiteY3246" fmla="*/ 10385591 h 17966907"/>
                <a:gd name="connsiteX3247" fmla="*/ 8229374 w 13797425"/>
                <a:gd name="connsiteY3247" fmla="*/ 10428477 h 17966907"/>
                <a:gd name="connsiteX3248" fmla="*/ 8229374 w 13797425"/>
                <a:gd name="connsiteY3248" fmla="*/ 10499954 h 17966907"/>
                <a:gd name="connsiteX3249" fmla="*/ 8229374 w 13797425"/>
                <a:gd name="connsiteY3249" fmla="*/ 10514249 h 17966907"/>
                <a:gd name="connsiteX3250" fmla="*/ 8248434 w 13797425"/>
                <a:gd name="connsiteY3250" fmla="*/ 10590491 h 17966907"/>
                <a:gd name="connsiteX3251" fmla="*/ 8281790 w 13797425"/>
                <a:gd name="connsiteY3251" fmla="*/ 10652438 h 17966907"/>
                <a:gd name="connsiteX3252" fmla="*/ 8358032 w 13797425"/>
                <a:gd name="connsiteY3252" fmla="*/ 10762036 h 17966907"/>
                <a:gd name="connsiteX3253" fmla="*/ 8362798 w 13797425"/>
                <a:gd name="connsiteY3253" fmla="*/ 10771566 h 17966907"/>
                <a:gd name="connsiteX3254" fmla="*/ 8372328 w 13797425"/>
                <a:gd name="connsiteY3254" fmla="*/ 10819217 h 17966907"/>
                <a:gd name="connsiteX3255" fmla="*/ 8372328 w 13797425"/>
                <a:gd name="connsiteY3255" fmla="*/ 10828747 h 17966907"/>
                <a:gd name="connsiteX3256" fmla="*/ 8381858 w 13797425"/>
                <a:gd name="connsiteY3256" fmla="*/ 10833512 h 17966907"/>
                <a:gd name="connsiteX3257" fmla="*/ 8386624 w 13797425"/>
                <a:gd name="connsiteY3257" fmla="*/ 10833512 h 17966907"/>
                <a:gd name="connsiteX3258" fmla="*/ 8396154 w 13797425"/>
                <a:gd name="connsiteY3258" fmla="*/ 10828747 h 17966907"/>
                <a:gd name="connsiteX3259" fmla="*/ 8424744 w 13797425"/>
                <a:gd name="connsiteY3259" fmla="*/ 10795392 h 17966907"/>
                <a:gd name="connsiteX3260" fmla="*/ 8448570 w 13797425"/>
                <a:gd name="connsiteY3260" fmla="*/ 10762036 h 17966907"/>
                <a:gd name="connsiteX3261" fmla="*/ 8462865 w 13797425"/>
                <a:gd name="connsiteY3261" fmla="*/ 10742975 h 17966907"/>
                <a:gd name="connsiteX3262" fmla="*/ 8472396 w 13797425"/>
                <a:gd name="connsiteY3262" fmla="*/ 10738210 h 17966907"/>
                <a:gd name="connsiteX3263" fmla="*/ 8486691 w 13797425"/>
                <a:gd name="connsiteY3263" fmla="*/ 10733445 h 17966907"/>
                <a:gd name="connsiteX3264" fmla="*/ 8496221 w 13797425"/>
                <a:gd name="connsiteY3264" fmla="*/ 10723915 h 17966907"/>
                <a:gd name="connsiteX3265" fmla="*/ 8505752 w 13797425"/>
                <a:gd name="connsiteY3265" fmla="*/ 10709619 h 17966907"/>
                <a:gd name="connsiteX3266" fmla="*/ 8505752 w 13797425"/>
                <a:gd name="connsiteY3266" fmla="*/ 10695324 h 17966907"/>
                <a:gd name="connsiteX3267" fmla="*/ 8515282 w 13797425"/>
                <a:gd name="connsiteY3267" fmla="*/ 10642907 h 17966907"/>
                <a:gd name="connsiteX3268" fmla="*/ 8520047 w 13797425"/>
                <a:gd name="connsiteY3268" fmla="*/ 10614317 h 17966907"/>
                <a:gd name="connsiteX3269" fmla="*/ 8529577 w 13797425"/>
                <a:gd name="connsiteY3269" fmla="*/ 10580961 h 17966907"/>
                <a:gd name="connsiteX3270" fmla="*/ 8534342 w 13797425"/>
                <a:gd name="connsiteY3270" fmla="*/ 10566665 h 17966907"/>
                <a:gd name="connsiteX3271" fmla="*/ 8593906 w 13797425"/>
                <a:gd name="connsiteY3271" fmla="*/ 10476128 h 17966907"/>
                <a:gd name="connsiteX3272" fmla="*/ 8598672 w 13797425"/>
                <a:gd name="connsiteY3272" fmla="*/ 10466598 h 17966907"/>
                <a:gd name="connsiteX3273" fmla="*/ 8622497 w 13797425"/>
                <a:gd name="connsiteY3273" fmla="*/ 10357000 h 17966907"/>
                <a:gd name="connsiteX3274" fmla="*/ 8632027 w 13797425"/>
                <a:gd name="connsiteY3274" fmla="*/ 10309348 h 17966907"/>
                <a:gd name="connsiteX3275" fmla="*/ 8632027 w 13797425"/>
                <a:gd name="connsiteY3275" fmla="*/ 10275993 h 17966907"/>
                <a:gd name="connsiteX3276" fmla="*/ 8632027 w 13797425"/>
                <a:gd name="connsiteY3276" fmla="*/ 10252167 h 17966907"/>
                <a:gd name="connsiteX3277" fmla="*/ 8632027 w 13797425"/>
                <a:gd name="connsiteY3277" fmla="*/ 10228341 h 17966907"/>
                <a:gd name="connsiteX3278" fmla="*/ 8636793 w 13797425"/>
                <a:gd name="connsiteY3278" fmla="*/ 10214046 h 17966907"/>
                <a:gd name="connsiteX3279" fmla="*/ 8646323 w 13797425"/>
                <a:gd name="connsiteY3279" fmla="*/ 10199751 h 17966907"/>
                <a:gd name="connsiteX3280" fmla="*/ 8655853 w 13797425"/>
                <a:gd name="connsiteY3280" fmla="*/ 10185455 h 17966907"/>
                <a:gd name="connsiteX3281" fmla="*/ 8665383 w 13797425"/>
                <a:gd name="connsiteY3281" fmla="*/ 10171160 h 17966907"/>
                <a:gd name="connsiteX3282" fmla="*/ 8670148 w 13797425"/>
                <a:gd name="connsiteY3282" fmla="*/ 10166395 h 17966907"/>
                <a:gd name="connsiteX3283" fmla="*/ 8679679 w 13797425"/>
                <a:gd name="connsiteY3283" fmla="*/ 10166395 h 17966907"/>
                <a:gd name="connsiteX3284" fmla="*/ 8693974 w 13797425"/>
                <a:gd name="connsiteY3284" fmla="*/ 10180690 h 17966907"/>
                <a:gd name="connsiteX3285" fmla="*/ 8703504 w 13797425"/>
                <a:gd name="connsiteY3285" fmla="*/ 10180690 h 17966907"/>
                <a:gd name="connsiteX3286" fmla="*/ 8765451 w 13797425"/>
                <a:gd name="connsiteY3286" fmla="*/ 10166395 h 17966907"/>
                <a:gd name="connsiteX3287" fmla="*/ 8765451 w 13797425"/>
                <a:gd name="connsiteY3287" fmla="*/ 10161630 h 17966907"/>
                <a:gd name="connsiteX3288" fmla="*/ 8727330 w 13797425"/>
                <a:gd name="connsiteY3288" fmla="*/ 10137804 h 17966907"/>
                <a:gd name="connsiteX3289" fmla="*/ 8732095 w 13797425"/>
                <a:gd name="connsiteY3289" fmla="*/ 10123509 h 17966907"/>
                <a:gd name="connsiteX3290" fmla="*/ 8732095 w 13797425"/>
                <a:gd name="connsiteY3290" fmla="*/ 10109213 h 17966907"/>
                <a:gd name="connsiteX3291" fmla="*/ 8746390 w 13797425"/>
                <a:gd name="connsiteY3291" fmla="*/ 10090153 h 17966907"/>
                <a:gd name="connsiteX3292" fmla="*/ 8760686 w 13797425"/>
                <a:gd name="connsiteY3292" fmla="*/ 10085388 h 17966907"/>
                <a:gd name="connsiteX3293" fmla="*/ 8760686 w 13797425"/>
                <a:gd name="connsiteY3293" fmla="*/ 10075857 h 17966907"/>
                <a:gd name="connsiteX3294" fmla="*/ 8760686 w 13797425"/>
                <a:gd name="connsiteY3294" fmla="*/ 10061562 h 17966907"/>
                <a:gd name="connsiteX3295" fmla="*/ 8765451 w 13797425"/>
                <a:gd name="connsiteY3295" fmla="*/ 10037736 h 17966907"/>
                <a:gd name="connsiteX3296" fmla="*/ 8760686 w 13797425"/>
                <a:gd name="connsiteY3296" fmla="*/ 10028206 h 17966907"/>
                <a:gd name="connsiteX3297" fmla="*/ 8727330 w 13797425"/>
                <a:gd name="connsiteY3297" fmla="*/ 9994850 h 17966907"/>
                <a:gd name="connsiteX3298" fmla="*/ 8708269 w 13797425"/>
                <a:gd name="connsiteY3298" fmla="*/ 9999615 h 17966907"/>
                <a:gd name="connsiteX3299" fmla="*/ 8703504 w 13797425"/>
                <a:gd name="connsiteY3299" fmla="*/ 9994850 h 17966907"/>
                <a:gd name="connsiteX3300" fmla="*/ 8684444 w 13797425"/>
                <a:gd name="connsiteY3300" fmla="*/ 9966259 h 17966907"/>
                <a:gd name="connsiteX3301" fmla="*/ 8679679 w 13797425"/>
                <a:gd name="connsiteY3301" fmla="*/ 9928138 h 17966907"/>
                <a:gd name="connsiteX3302" fmla="*/ 8679679 w 13797425"/>
                <a:gd name="connsiteY3302" fmla="*/ 9913843 h 17966907"/>
                <a:gd name="connsiteX3303" fmla="*/ 8679679 w 13797425"/>
                <a:gd name="connsiteY3303" fmla="*/ 9890017 h 17966907"/>
                <a:gd name="connsiteX3304" fmla="*/ 8684444 w 13797425"/>
                <a:gd name="connsiteY3304" fmla="*/ 9880487 h 17966907"/>
                <a:gd name="connsiteX3305" fmla="*/ 8679679 w 13797425"/>
                <a:gd name="connsiteY3305" fmla="*/ 9870957 h 17966907"/>
                <a:gd name="connsiteX3306" fmla="*/ 8679679 w 13797425"/>
                <a:gd name="connsiteY3306" fmla="*/ 9856662 h 17966907"/>
                <a:gd name="connsiteX3307" fmla="*/ 8674914 w 13797425"/>
                <a:gd name="connsiteY3307" fmla="*/ 9842366 h 17966907"/>
                <a:gd name="connsiteX3308" fmla="*/ 8679679 w 13797425"/>
                <a:gd name="connsiteY3308" fmla="*/ 9828071 h 17966907"/>
                <a:gd name="connsiteX3309" fmla="*/ 8679679 w 13797425"/>
                <a:gd name="connsiteY3309" fmla="*/ 9813775 h 17966907"/>
                <a:gd name="connsiteX3310" fmla="*/ 8670148 w 13797425"/>
                <a:gd name="connsiteY3310" fmla="*/ 9794715 h 17966907"/>
                <a:gd name="connsiteX3311" fmla="*/ 8665383 w 13797425"/>
                <a:gd name="connsiteY3311" fmla="*/ 9780420 h 17966907"/>
                <a:gd name="connsiteX3312" fmla="*/ 8674914 w 13797425"/>
                <a:gd name="connsiteY3312" fmla="*/ 9737533 h 17966907"/>
                <a:gd name="connsiteX3313" fmla="*/ 8674914 w 13797425"/>
                <a:gd name="connsiteY3313" fmla="*/ 9723238 h 17966907"/>
                <a:gd name="connsiteX3314" fmla="*/ 8670148 w 13797425"/>
                <a:gd name="connsiteY3314" fmla="*/ 9704178 h 17966907"/>
                <a:gd name="connsiteX3315" fmla="*/ 8660618 w 13797425"/>
                <a:gd name="connsiteY3315" fmla="*/ 9699412 h 17966907"/>
                <a:gd name="connsiteX3316" fmla="*/ 8665383 w 13797425"/>
                <a:gd name="connsiteY3316" fmla="*/ 9694647 h 17966907"/>
                <a:gd name="connsiteX3317" fmla="*/ 8679679 w 13797425"/>
                <a:gd name="connsiteY3317" fmla="*/ 9689882 h 17966907"/>
                <a:gd name="connsiteX3318" fmla="*/ 8698739 w 13797425"/>
                <a:gd name="connsiteY3318" fmla="*/ 9699412 h 17966907"/>
                <a:gd name="connsiteX3319" fmla="*/ 8717800 w 13797425"/>
                <a:gd name="connsiteY3319" fmla="*/ 9713708 h 17966907"/>
                <a:gd name="connsiteX3320" fmla="*/ 8741625 w 13797425"/>
                <a:gd name="connsiteY3320" fmla="*/ 9713708 h 17966907"/>
                <a:gd name="connsiteX3321" fmla="*/ 8770216 w 13797425"/>
                <a:gd name="connsiteY3321" fmla="*/ 9699412 h 17966907"/>
                <a:gd name="connsiteX3322" fmla="*/ 8798807 w 13797425"/>
                <a:gd name="connsiteY3322" fmla="*/ 9689882 h 17966907"/>
                <a:gd name="connsiteX3323" fmla="*/ 8851223 w 13797425"/>
                <a:gd name="connsiteY3323" fmla="*/ 9694647 h 17966907"/>
                <a:gd name="connsiteX3324" fmla="*/ 8865519 w 13797425"/>
                <a:gd name="connsiteY3324" fmla="*/ 9699412 h 17966907"/>
                <a:gd name="connsiteX3325" fmla="*/ 8913170 w 13797425"/>
                <a:gd name="connsiteY3325" fmla="*/ 9737533 h 17966907"/>
                <a:gd name="connsiteX3326" fmla="*/ 8956056 w 13797425"/>
                <a:gd name="connsiteY3326" fmla="*/ 9761359 h 17966907"/>
                <a:gd name="connsiteX3327" fmla="*/ 8970351 w 13797425"/>
                <a:gd name="connsiteY3327" fmla="*/ 9756594 h 17966907"/>
                <a:gd name="connsiteX3328" fmla="*/ 9060889 w 13797425"/>
                <a:gd name="connsiteY3328" fmla="*/ 9766124 h 17966907"/>
                <a:gd name="connsiteX3329" fmla="*/ 9099010 w 13797425"/>
                <a:gd name="connsiteY3329" fmla="*/ 9761359 h 17966907"/>
                <a:gd name="connsiteX3330" fmla="*/ 9118070 w 13797425"/>
                <a:gd name="connsiteY3330" fmla="*/ 9761359 h 17966907"/>
                <a:gd name="connsiteX3331" fmla="*/ 9156191 w 13797425"/>
                <a:gd name="connsiteY3331" fmla="*/ 9785185 h 17966907"/>
                <a:gd name="connsiteX3332" fmla="*/ 9151426 w 13797425"/>
                <a:gd name="connsiteY3332" fmla="*/ 9804245 h 17966907"/>
                <a:gd name="connsiteX3333" fmla="*/ 9137131 w 13797425"/>
                <a:gd name="connsiteY3333" fmla="*/ 9832836 h 17966907"/>
                <a:gd name="connsiteX3334" fmla="*/ 9113305 w 13797425"/>
                <a:gd name="connsiteY3334" fmla="*/ 9842366 h 17966907"/>
                <a:gd name="connsiteX3335" fmla="*/ 9094245 w 13797425"/>
                <a:gd name="connsiteY3335" fmla="*/ 9851896 h 17966907"/>
                <a:gd name="connsiteX3336" fmla="*/ 9113305 w 13797425"/>
                <a:gd name="connsiteY3336" fmla="*/ 9866192 h 17966907"/>
                <a:gd name="connsiteX3337" fmla="*/ 9165722 w 13797425"/>
                <a:gd name="connsiteY3337" fmla="*/ 9890017 h 17966907"/>
                <a:gd name="connsiteX3338" fmla="*/ 9180017 w 13797425"/>
                <a:gd name="connsiteY3338" fmla="*/ 9923373 h 17966907"/>
                <a:gd name="connsiteX3339" fmla="*/ 9180017 w 13797425"/>
                <a:gd name="connsiteY3339" fmla="*/ 9937669 h 17966907"/>
                <a:gd name="connsiteX3340" fmla="*/ 9175252 w 13797425"/>
                <a:gd name="connsiteY3340" fmla="*/ 9951964 h 17966907"/>
                <a:gd name="connsiteX3341" fmla="*/ 9180017 w 13797425"/>
                <a:gd name="connsiteY3341" fmla="*/ 9961494 h 17966907"/>
                <a:gd name="connsiteX3342" fmla="*/ 9189547 w 13797425"/>
                <a:gd name="connsiteY3342" fmla="*/ 9961494 h 17966907"/>
                <a:gd name="connsiteX3343" fmla="*/ 9222903 w 13797425"/>
                <a:gd name="connsiteY3343" fmla="*/ 9947199 h 17966907"/>
                <a:gd name="connsiteX3344" fmla="*/ 9256259 w 13797425"/>
                <a:gd name="connsiteY3344" fmla="*/ 9956729 h 17966907"/>
                <a:gd name="connsiteX3345" fmla="*/ 9303910 w 13797425"/>
                <a:gd name="connsiteY3345" fmla="*/ 9980555 h 17966907"/>
                <a:gd name="connsiteX3346" fmla="*/ 9313441 w 13797425"/>
                <a:gd name="connsiteY3346" fmla="*/ 9990085 h 17966907"/>
                <a:gd name="connsiteX3347" fmla="*/ 9318206 w 13797425"/>
                <a:gd name="connsiteY3347" fmla="*/ 10009146 h 17966907"/>
                <a:gd name="connsiteX3348" fmla="*/ 9318206 w 13797425"/>
                <a:gd name="connsiteY3348" fmla="*/ 10018676 h 17966907"/>
                <a:gd name="connsiteX3349" fmla="*/ 9275320 w 13797425"/>
                <a:gd name="connsiteY3349" fmla="*/ 10066327 h 17966907"/>
                <a:gd name="connsiteX3350" fmla="*/ 9251494 w 13797425"/>
                <a:gd name="connsiteY3350" fmla="*/ 10090153 h 17966907"/>
                <a:gd name="connsiteX3351" fmla="*/ 9222903 w 13797425"/>
                <a:gd name="connsiteY3351" fmla="*/ 10109213 h 17966907"/>
                <a:gd name="connsiteX3352" fmla="*/ 9222903 w 13797425"/>
                <a:gd name="connsiteY3352" fmla="*/ 10118744 h 17966907"/>
                <a:gd name="connsiteX3353" fmla="*/ 9261024 w 13797425"/>
                <a:gd name="connsiteY3353" fmla="*/ 10123509 h 17966907"/>
                <a:gd name="connsiteX3354" fmla="*/ 9294380 w 13797425"/>
                <a:gd name="connsiteY3354" fmla="*/ 10128274 h 17966907"/>
                <a:gd name="connsiteX3355" fmla="*/ 9308676 w 13797425"/>
                <a:gd name="connsiteY3355" fmla="*/ 10133039 h 17966907"/>
                <a:gd name="connsiteX3356" fmla="*/ 9318206 w 13797425"/>
                <a:gd name="connsiteY3356" fmla="*/ 10142569 h 17966907"/>
                <a:gd name="connsiteX3357" fmla="*/ 9327736 w 13797425"/>
                <a:gd name="connsiteY3357" fmla="*/ 10166395 h 17966907"/>
                <a:gd name="connsiteX3358" fmla="*/ 9332501 w 13797425"/>
                <a:gd name="connsiteY3358" fmla="*/ 10180690 h 17966907"/>
                <a:gd name="connsiteX3359" fmla="*/ 9327736 w 13797425"/>
                <a:gd name="connsiteY3359" fmla="*/ 10204516 h 17966907"/>
                <a:gd name="connsiteX3360" fmla="*/ 9327736 w 13797425"/>
                <a:gd name="connsiteY3360" fmla="*/ 10218811 h 17966907"/>
                <a:gd name="connsiteX3361" fmla="*/ 9289615 w 13797425"/>
                <a:gd name="connsiteY3361" fmla="*/ 10261697 h 17966907"/>
                <a:gd name="connsiteX3362" fmla="*/ 9270555 w 13797425"/>
                <a:gd name="connsiteY3362" fmla="*/ 10275993 h 17966907"/>
                <a:gd name="connsiteX3363" fmla="*/ 9241964 w 13797425"/>
                <a:gd name="connsiteY3363" fmla="*/ 10290288 h 17966907"/>
                <a:gd name="connsiteX3364" fmla="*/ 9227668 w 13797425"/>
                <a:gd name="connsiteY3364" fmla="*/ 10299818 h 17966907"/>
                <a:gd name="connsiteX3365" fmla="*/ 9213373 w 13797425"/>
                <a:gd name="connsiteY3365" fmla="*/ 10299818 h 17966907"/>
                <a:gd name="connsiteX3366" fmla="*/ 9199078 w 13797425"/>
                <a:gd name="connsiteY3366" fmla="*/ 10285523 h 17966907"/>
                <a:gd name="connsiteX3367" fmla="*/ 9180017 w 13797425"/>
                <a:gd name="connsiteY3367" fmla="*/ 10280758 h 17966907"/>
                <a:gd name="connsiteX3368" fmla="*/ 9151426 w 13797425"/>
                <a:gd name="connsiteY3368" fmla="*/ 10295053 h 17966907"/>
                <a:gd name="connsiteX3369" fmla="*/ 9137131 w 13797425"/>
                <a:gd name="connsiteY3369" fmla="*/ 10295053 h 17966907"/>
                <a:gd name="connsiteX3370" fmla="*/ 9127601 w 13797425"/>
                <a:gd name="connsiteY3370" fmla="*/ 10299818 h 17966907"/>
                <a:gd name="connsiteX3371" fmla="*/ 9127601 w 13797425"/>
                <a:gd name="connsiteY3371" fmla="*/ 10309348 h 17966907"/>
                <a:gd name="connsiteX3372" fmla="*/ 9141896 w 13797425"/>
                <a:gd name="connsiteY3372" fmla="*/ 10333174 h 17966907"/>
                <a:gd name="connsiteX3373" fmla="*/ 9151426 w 13797425"/>
                <a:gd name="connsiteY3373" fmla="*/ 10347470 h 17966907"/>
                <a:gd name="connsiteX3374" fmla="*/ 9151426 w 13797425"/>
                <a:gd name="connsiteY3374" fmla="*/ 10352235 h 17966907"/>
                <a:gd name="connsiteX3375" fmla="*/ 9146661 w 13797425"/>
                <a:gd name="connsiteY3375" fmla="*/ 10366530 h 17966907"/>
                <a:gd name="connsiteX3376" fmla="*/ 9146661 w 13797425"/>
                <a:gd name="connsiteY3376" fmla="*/ 10371295 h 17966907"/>
                <a:gd name="connsiteX3377" fmla="*/ 9151426 w 13797425"/>
                <a:gd name="connsiteY3377" fmla="*/ 10376060 h 17966907"/>
                <a:gd name="connsiteX3378" fmla="*/ 9180017 w 13797425"/>
                <a:gd name="connsiteY3378" fmla="*/ 10433242 h 17966907"/>
                <a:gd name="connsiteX3379" fmla="*/ 9184782 w 13797425"/>
                <a:gd name="connsiteY3379" fmla="*/ 10438007 h 17966907"/>
                <a:gd name="connsiteX3380" fmla="*/ 9189547 w 13797425"/>
                <a:gd name="connsiteY3380" fmla="*/ 10438007 h 17966907"/>
                <a:gd name="connsiteX3381" fmla="*/ 9203843 w 13797425"/>
                <a:gd name="connsiteY3381" fmla="*/ 10418946 h 17966907"/>
                <a:gd name="connsiteX3382" fmla="*/ 9208608 w 13797425"/>
                <a:gd name="connsiteY3382" fmla="*/ 10414181 h 17966907"/>
                <a:gd name="connsiteX3383" fmla="*/ 9213373 w 13797425"/>
                <a:gd name="connsiteY3383" fmla="*/ 10414181 h 17966907"/>
                <a:gd name="connsiteX3384" fmla="*/ 9213373 w 13797425"/>
                <a:gd name="connsiteY3384" fmla="*/ 10423712 h 17966907"/>
                <a:gd name="connsiteX3385" fmla="*/ 9199078 w 13797425"/>
                <a:gd name="connsiteY3385" fmla="*/ 10476128 h 17966907"/>
                <a:gd name="connsiteX3386" fmla="*/ 9199078 w 13797425"/>
                <a:gd name="connsiteY3386" fmla="*/ 10485658 h 17966907"/>
                <a:gd name="connsiteX3387" fmla="*/ 9199078 w 13797425"/>
                <a:gd name="connsiteY3387" fmla="*/ 10499954 h 17966907"/>
                <a:gd name="connsiteX3388" fmla="*/ 9203843 w 13797425"/>
                <a:gd name="connsiteY3388" fmla="*/ 10523779 h 17966907"/>
                <a:gd name="connsiteX3389" fmla="*/ 9218138 w 13797425"/>
                <a:gd name="connsiteY3389" fmla="*/ 10552370 h 17966907"/>
                <a:gd name="connsiteX3390" fmla="*/ 9232433 w 13797425"/>
                <a:gd name="connsiteY3390" fmla="*/ 10576196 h 17966907"/>
                <a:gd name="connsiteX3391" fmla="*/ 9261024 w 13797425"/>
                <a:gd name="connsiteY3391" fmla="*/ 10609552 h 17966907"/>
                <a:gd name="connsiteX3392" fmla="*/ 9294380 w 13797425"/>
                <a:gd name="connsiteY3392" fmla="*/ 10647672 h 17966907"/>
                <a:gd name="connsiteX3393" fmla="*/ 9303910 w 13797425"/>
                <a:gd name="connsiteY3393" fmla="*/ 10661968 h 17966907"/>
                <a:gd name="connsiteX3394" fmla="*/ 9322971 w 13797425"/>
                <a:gd name="connsiteY3394" fmla="*/ 10704854 h 17966907"/>
                <a:gd name="connsiteX3395" fmla="*/ 9327736 w 13797425"/>
                <a:gd name="connsiteY3395" fmla="*/ 10719150 h 17966907"/>
                <a:gd name="connsiteX3396" fmla="*/ 9322971 w 13797425"/>
                <a:gd name="connsiteY3396" fmla="*/ 10762036 h 17966907"/>
                <a:gd name="connsiteX3397" fmla="*/ 9308676 w 13797425"/>
                <a:gd name="connsiteY3397" fmla="*/ 10828747 h 17966907"/>
                <a:gd name="connsiteX3398" fmla="*/ 9299145 w 13797425"/>
                <a:gd name="connsiteY3398" fmla="*/ 10866868 h 17966907"/>
                <a:gd name="connsiteX3399" fmla="*/ 9299145 w 13797425"/>
                <a:gd name="connsiteY3399" fmla="*/ 10876398 h 17966907"/>
                <a:gd name="connsiteX3400" fmla="*/ 9270555 w 13797425"/>
                <a:gd name="connsiteY3400" fmla="*/ 10904990 h 17966907"/>
                <a:gd name="connsiteX3401" fmla="*/ 9256259 w 13797425"/>
                <a:gd name="connsiteY3401" fmla="*/ 10909754 h 17966907"/>
                <a:gd name="connsiteX3402" fmla="*/ 9232433 w 13797425"/>
                <a:gd name="connsiteY3402" fmla="*/ 10909754 h 17966907"/>
                <a:gd name="connsiteX3403" fmla="*/ 9227668 w 13797425"/>
                <a:gd name="connsiteY3403" fmla="*/ 10914520 h 17966907"/>
                <a:gd name="connsiteX3404" fmla="*/ 9213373 w 13797425"/>
                <a:gd name="connsiteY3404" fmla="*/ 10933580 h 17966907"/>
                <a:gd name="connsiteX3405" fmla="*/ 9194312 w 13797425"/>
                <a:gd name="connsiteY3405" fmla="*/ 10971701 h 17966907"/>
                <a:gd name="connsiteX3406" fmla="*/ 9184782 w 13797425"/>
                <a:gd name="connsiteY3406" fmla="*/ 10995527 h 17966907"/>
                <a:gd name="connsiteX3407" fmla="*/ 9175252 w 13797425"/>
                <a:gd name="connsiteY3407" fmla="*/ 11009822 h 17966907"/>
                <a:gd name="connsiteX3408" fmla="*/ 9156191 w 13797425"/>
                <a:gd name="connsiteY3408" fmla="*/ 11019352 h 17966907"/>
                <a:gd name="connsiteX3409" fmla="*/ 9127601 w 13797425"/>
                <a:gd name="connsiteY3409" fmla="*/ 11052708 h 17966907"/>
                <a:gd name="connsiteX3410" fmla="*/ 9113305 w 13797425"/>
                <a:gd name="connsiteY3410" fmla="*/ 11067004 h 17966907"/>
                <a:gd name="connsiteX3411" fmla="*/ 9065654 w 13797425"/>
                <a:gd name="connsiteY3411" fmla="*/ 11081299 h 17966907"/>
                <a:gd name="connsiteX3412" fmla="*/ 9027533 w 13797425"/>
                <a:gd name="connsiteY3412" fmla="*/ 11128950 h 17966907"/>
                <a:gd name="connsiteX3413" fmla="*/ 9013238 w 13797425"/>
                <a:gd name="connsiteY3413" fmla="*/ 11143246 h 17966907"/>
                <a:gd name="connsiteX3414" fmla="*/ 8994177 w 13797425"/>
                <a:gd name="connsiteY3414" fmla="*/ 11152776 h 17966907"/>
                <a:gd name="connsiteX3415" fmla="*/ 8975117 w 13797425"/>
                <a:gd name="connsiteY3415" fmla="*/ 11152776 h 17966907"/>
                <a:gd name="connsiteX3416" fmla="*/ 8965586 w 13797425"/>
                <a:gd name="connsiteY3416" fmla="*/ 11148011 h 17966907"/>
                <a:gd name="connsiteX3417" fmla="*/ 8960821 w 13797425"/>
                <a:gd name="connsiteY3417" fmla="*/ 11114655 h 17966907"/>
                <a:gd name="connsiteX3418" fmla="*/ 8956056 w 13797425"/>
                <a:gd name="connsiteY3418" fmla="*/ 11109890 h 17966907"/>
                <a:gd name="connsiteX3419" fmla="*/ 8941761 w 13797425"/>
                <a:gd name="connsiteY3419" fmla="*/ 11090829 h 17966907"/>
                <a:gd name="connsiteX3420" fmla="*/ 8913170 w 13797425"/>
                <a:gd name="connsiteY3420" fmla="*/ 11033648 h 17966907"/>
                <a:gd name="connsiteX3421" fmla="*/ 8903640 w 13797425"/>
                <a:gd name="connsiteY3421" fmla="*/ 11009822 h 17966907"/>
                <a:gd name="connsiteX3422" fmla="*/ 8894109 w 13797425"/>
                <a:gd name="connsiteY3422" fmla="*/ 11009822 h 17966907"/>
                <a:gd name="connsiteX3423" fmla="*/ 8879814 w 13797425"/>
                <a:gd name="connsiteY3423" fmla="*/ 11009822 h 17966907"/>
                <a:gd name="connsiteX3424" fmla="*/ 8870284 w 13797425"/>
                <a:gd name="connsiteY3424" fmla="*/ 11009822 h 17966907"/>
                <a:gd name="connsiteX3425" fmla="*/ 8851223 w 13797425"/>
                <a:gd name="connsiteY3425" fmla="*/ 10990762 h 17966907"/>
                <a:gd name="connsiteX3426" fmla="*/ 8846458 w 13797425"/>
                <a:gd name="connsiteY3426" fmla="*/ 10981232 h 17966907"/>
                <a:gd name="connsiteX3427" fmla="*/ 8846458 w 13797425"/>
                <a:gd name="connsiteY3427" fmla="*/ 10976466 h 17966907"/>
                <a:gd name="connsiteX3428" fmla="*/ 8860754 w 13797425"/>
                <a:gd name="connsiteY3428" fmla="*/ 10966936 h 17966907"/>
                <a:gd name="connsiteX3429" fmla="*/ 8851223 w 13797425"/>
                <a:gd name="connsiteY3429" fmla="*/ 10957406 h 17966907"/>
                <a:gd name="connsiteX3430" fmla="*/ 8827398 w 13797425"/>
                <a:gd name="connsiteY3430" fmla="*/ 10933580 h 17966907"/>
                <a:gd name="connsiteX3431" fmla="*/ 8817867 w 13797425"/>
                <a:gd name="connsiteY3431" fmla="*/ 10919285 h 17966907"/>
                <a:gd name="connsiteX3432" fmla="*/ 8817867 w 13797425"/>
                <a:gd name="connsiteY3432" fmla="*/ 10914520 h 17966907"/>
                <a:gd name="connsiteX3433" fmla="*/ 8794042 w 13797425"/>
                <a:gd name="connsiteY3433" fmla="*/ 10895459 h 17966907"/>
                <a:gd name="connsiteX3434" fmla="*/ 8770216 w 13797425"/>
                <a:gd name="connsiteY3434" fmla="*/ 10890694 h 17966907"/>
                <a:gd name="connsiteX3435" fmla="*/ 8741625 w 13797425"/>
                <a:gd name="connsiteY3435" fmla="*/ 10919285 h 17966907"/>
                <a:gd name="connsiteX3436" fmla="*/ 8727330 w 13797425"/>
                <a:gd name="connsiteY3436" fmla="*/ 10943110 h 17966907"/>
                <a:gd name="connsiteX3437" fmla="*/ 8727330 w 13797425"/>
                <a:gd name="connsiteY3437" fmla="*/ 10947876 h 17966907"/>
                <a:gd name="connsiteX3438" fmla="*/ 8741625 w 13797425"/>
                <a:gd name="connsiteY3438" fmla="*/ 10952641 h 17966907"/>
                <a:gd name="connsiteX3439" fmla="*/ 8751156 w 13797425"/>
                <a:gd name="connsiteY3439" fmla="*/ 10952641 h 17966907"/>
                <a:gd name="connsiteX3440" fmla="*/ 8760686 w 13797425"/>
                <a:gd name="connsiteY3440" fmla="*/ 10933580 h 17966907"/>
                <a:gd name="connsiteX3441" fmla="*/ 8770216 w 13797425"/>
                <a:gd name="connsiteY3441" fmla="*/ 10928815 h 17966907"/>
                <a:gd name="connsiteX3442" fmla="*/ 8789277 w 13797425"/>
                <a:gd name="connsiteY3442" fmla="*/ 10928815 h 17966907"/>
                <a:gd name="connsiteX3443" fmla="*/ 8803572 w 13797425"/>
                <a:gd name="connsiteY3443" fmla="*/ 10943110 h 17966907"/>
                <a:gd name="connsiteX3444" fmla="*/ 8808337 w 13797425"/>
                <a:gd name="connsiteY3444" fmla="*/ 10952641 h 17966907"/>
                <a:gd name="connsiteX3445" fmla="*/ 8808337 w 13797425"/>
                <a:gd name="connsiteY3445" fmla="*/ 10962171 h 17966907"/>
                <a:gd name="connsiteX3446" fmla="*/ 8851223 w 13797425"/>
                <a:gd name="connsiteY3446" fmla="*/ 11019352 h 17966907"/>
                <a:gd name="connsiteX3447" fmla="*/ 8865519 w 13797425"/>
                <a:gd name="connsiteY3447" fmla="*/ 11028883 h 17966907"/>
                <a:gd name="connsiteX3448" fmla="*/ 8875049 w 13797425"/>
                <a:gd name="connsiteY3448" fmla="*/ 11043178 h 17966907"/>
                <a:gd name="connsiteX3449" fmla="*/ 8879814 w 13797425"/>
                <a:gd name="connsiteY3449" fmla="*/ 11067004 h 17966907"/>
                <a:gd name="connsiteX3450" fmla="*/ 8889344 w 13797425"/>
                <a:gd name="connsiteY3450" fmla="*/ 11090829 h 17966907"/>
                <a:gd name="connsiteX3451" fmla="*/ 8908405 w 13797425"/>
                <a:gd name="connsiteY3451" fmla="*/ 11133716 h 17966907"/>
                <a:gd name="connsiteX3452" fmla="*/ 8927465 w 13797425"/>
                <a:gd name="connsiteY3452" fmla="*/ 11186132 h 17966907"/>
                <a:gd name="connsiteX3453" fmla="*/ 8932230 w 13797425"/>
                <a:gd name="connsiteY3453" fmla="*/ 11205192 h 17966907"/>
                <a:gd name="connsiteX3454" fmla="*/ 8922700 w 13797425"/>
                <a:gd name="connsiteY3454" fmla="*/ 11214722 h 17966907"/>
                <a:gd name="connsiteX3455" fmla="*/ 8917935 w 13797425"/>
                <a:gd name="connsiteY3455" fmla="*/ 11214722 h 17966907"/>
                <a:gd name="connsiteX3456" fmla="*/ 8898875 w 13797425"/>
                <a:gd name="connsiteY3456" fmla="*/ 11205192 h 17966907"/>
                <a:gd name="connsiteX3457" fmla="*/ 8855988 w 13797425"/>
                <a:gd name="connsiteY3457" fmla="*/ 11181367 h 17966907"/>
                <a:gd name="connsiteX3458" fmla="*/ 8851223 w 13797425"/>
                <a:gd name="connsiteY3458" fmla="*/ 11181367 h 17966907"/>
                <a:gd name="connsiteX3459" fmla="*/ 8841693 w 13797425"/>
                <a:gd name="connsiteY3459" fmla="*/ 11195662 h 17966907"/>
                <a:gd name="connsiteX3460" fmla="*/ 8832163 w 13797425"/>
                <a:gd name="connsiteY3460" fmla="*/ 11224253 h 17966907"/>
                <a:gd name="connsiteX3461" fmla="*/ 8827398 w 13797425"/>
                <a:gd name="connsiteY3461" fmla="*/ 11229018 h 17966907"/>
                <a:gd name="connsiteX3462" fmla="*/ 8803572 w 13797425"/>
                <a:gd name="connsiteY3462" fmla="*/ 11214722 h 17966907"/>
                <a:gd name="connsiteX3463" fmla="*/ 8760686 w 13797425"/>
                <a:gd name="connsiteY3463" fmla="*/ 11190897 h 17966907"/>
                <a:gd name="connsiteX3464" fmla="*/ 8732095 w 13797425"/>
                <a:gd name="connsiteY3464" fmla="*/ 11171836 h 17966907"/>
                <a:gd name="connsiteX3465" fmla="*/ 8717800 w 13797425"/>
                <a:gd name="connsiteY3465" fmla="*/ 11152776 h 17966907"/>
                <a:gd name="connsiteX3466" fmla="*/ 8698739 w 13797425"/>
                <a:gd name="connsiteY3466" fmla="*/ 11124185 h 17966907"/>
                <a:gd name="connsiteX3467" fmla="*/ 8674914 w 13797425"/>
                <a:gd name="connsiteY3467" fmla="*/ 11086064 h 17966907"/>
                <a:gd name="connsiteX3468" fmla="*/ 8651088 w 13797425"/>
                <a:gd name="connsiteY3468" fmla="*/ 11076534 h 17966907"/>
                <a:gd name="connsiteX3469" fmla="*/ 8622497 w 13797425"/>
                <a:gd name="connsiteY3469" fmla="*/ 11090829 h 17966907"/>
                <a:gd name="connsiteX3470" fmla="*/ 8579611 w 13797425"/>
                <a:gd name="connsiteY3470" fmla="*/ 11095594 h 17966907"/>
                <a:gd name="connsiteX3471" fmla="*/ 8491456 w 13797425"/>
                <a:gd name="connsiteY3471" fmla="*/ 11090829 h 17966907"/>
                <a:gd name="connsiteX3472" fmla="*/ 8481926 w 13797425"/>
                <a:gd name="connsiteY3472" fmla="*/ 11090829 h 17966907"/>
                <a:gd name="connsiteX3473" fmla="*/ 8477161 w 13797425"/>
                <a:gd name="connsiteY3473" fmla="*/ 11095594 h 17966907"/>
                <a:gd name="connsiteX3474" fmla="*/ 8486691 w 13797425"/>
                <a:gd name="connsiteY3474" fmla="*/ 11119420 h 17966907"/>
                <a:gd name="connsiteX3475" fmla="*/ 8481926 w 13797425"/>
                <a:gd name="connsiteY3475" fmla="*/ 11124185 h 17966907"/>
                <a:gd name="connsiteX3476" fmla="*/ 8477161 w 13797425"/>
                <a:gd name="connsiteY3476" fmla="*/ 11128950 h 17966907"/>
                <a:gd name="connsiteX3477" fmla="*/ 8477161 w 13797425"/>
                <a:gd name="connsiteY3477" fmla="*/ 11133716 h 17966907"/>
                <a:gd name="connsiteX3478" fmla="*/ 8486691 w 13797425"/>
                <a:gd name="connsiteY3478" fmla="*/ 11157541 h 17966907"/>
                <a:gd name="connsiteX3479" fmla="*/ 8500986 w 13797425"/>
                <a:gd name="connsiteY3479" fmla="*/ 11171836 h 17966907"/>
                <a:gd name="connsiteX3480" fmla="*/ 8543873 w 13797425"/>
                <a:gd name="connsiteY3480" fmla="*/ 11190897 h 17966907"/>
                <a:gd name="connsiteX3481" fmla="*/ 8572463 w 13797425"/>
                <a:gd name="connsiteY3481" fmla="*/ 11209958 h 17966907"/>
                <a:gd name="connsiteX3482" fmla="*/ 8589141 w 13797425"/>
                <a:gd name="connsiteY3482" fmla="*/ 11224253 h 17966907"/>
                <a:gd name="connsiteX3483" fmla="*/ 8593906 w 13797425"/>
                <a:gd name="connsiteY3483" fmla="*/ 11233783 h 17966907"/>
                <a:gd name="connsiteX3484" fmla="*/ 8593906 w 13797425"/>
                <a:gd name="connsiteY3484" fmla="*/ 11248078 h 17966907"/>
                <a:gd name="connsiteX3485" fmla="*/ 8589141 w 13797425"/>
                <a:gd name="connsiteY3485" fmla="*/ 11276669 h 17966907"/>
                <a:gd name="connsiteX3486" fmla="*/ 8584376 w 13797425"/>
                <a:gd name="connsiteY3486" fmla="*/ 11286200 h 17966907"/>
                <a:gd name="connsiteX3487" fmla="*/ 8481926 w 13797425"/>
                <a:gd name="connsiteY3487" fmla="*/ 11419623 h 17966907"/>
                <a:gd name="connsiteX3488" fmla="*/ 8443805 w 13797425"/>
                <a:gd name="connsiteY3488" fmla="*/ 11476804 h 17966907"/>
                <a:gd name="connsiteX3489" fmla="*/ 8424744 w 13797425"/>
                <a:gd name="connsiteY3489" fmla="*/ 11510160 h 17966907"/>
                <a:gd name="connsiteX3490" fmla="*/ 8405684 w 13797425"/>
                <a:gd name="connsiteY3490" fmla="*/ 11529221 h 17966907"/>
                <a:gd name="connsiteX3491" fmla="*/ 8391388 w 13797425"/>
                <a:gd name="connsiteY3491" fmla="*/ 11538751 h 17966907"/>
                <a:gd name="connsiteX3492" fmla="*/ 8362798 w 13797425"/>
                <a:gd name="connsiteY3492" fmla="*/ 11548282 h 17966907"/>
                <a:gd name="connsiteX3493" fmla="*/ 8329442 w 13797425"/>
                <a:gd name="connsiteY3493" fmla="*/ 11548282 h 17966907"/>
                <a:gd name="connsiteX3494" fmla="*/ 8286556 w 13797425"/>
                <a:gd name="connsiteY3494" fmla="*/ 11543516 h 17966907"/>
                <a:gd name="connsiteX3495" fmla="*/ 8257965 w 13797425"/>
                <a:gd name="connsiteY3495" fmla="*/ 11524456 h 17966907"/>
                <a:gd name="connsiteX3496" fmla="*/ 8219844 w 13797425"/>
                <a:gd name="connsiteY3496" fmla="*/ 11481570 h 17966907"/>
                <a:gd name="connsiteX3497" fmla="*/ 8186488 w 13797425"/>
                <a:gd name="connsiteY3497" fmla="*/ 11452979 h 17966907"/>
                <a:gd name="connsiteX3498" fmla="*/ 8172192 w 13797425"/>
                <a:gd name="connsiteY3498" fmla="*/ 11443449 h 17966907"/>
                <a:gd name="connsiteX3499" fmla="*/ 8162662 w 13797425"/>
                <a:gd name="connsiteY3499" fmla="*/ 11419623 h 17966907"/>
                <a:gd name="connsiteX3500" fmla="*/ 8153132 w 13797425"/>
                <a:gd name="connsiteY3500" fmla="*/ 11414858 h 17966907"/>
                <a:gd name="connsiteX3501" fmla="*/ 8134072 w 13797425"/>
                <a:gd name="connsiteY3501" fmla="*/ 11410093 h 17966907"/>
                <a:gd name="connsiteX3502" fmla="*/ 8110246 w 13797425"/>
                <a:gd name="connsiteY3502" fmla="*/ 11395798 h 17966907"/>
                <a:gd name="connsiteX3503" fmla="*/ 8057830 w 13797425"/>
                <a:gd name="connsiteY3503" fmla="*/ 11348146 h 17966907"/>
                <a:gd name="connsiteX3504" fmla="*/ 8029239 w 13797425"/>
                <a:gd name="connsiteY3504" fmla="*/ 11329086 h 17966907"/>
                <a:gd name="connsiteX3505" fmla="*/ 8005413 w 13797425"/>
                <a:gd name="connsiteY3505" fmla="*/ 11319556 h 17966907"/>
                <a:gd name="connsiteX3506" fmla="*/ 7986352 w 13797425"/>
                <a:gd name="connsiteY3506" fmla="*/ 11319556 h 17966907"/>
                <a:gd name="connsiteX3507" fmla="*/ 7976822 w 13797425"/>
                <a:gd name="connsiteY3507" fmla="*/ 11319556 h 17966907"/>
                <a:gd name="connsiteX3508" fmla="*/ 7991118 w 13797425"/>
                <a:gd name="connsiteY3508" fmla="*/ 11343381 h 17966907"/>
                <a:gd name="connsiteX3509" fmla="*/ 7986352 w 13797425"/>
                <a:gd name="connsiteY3509" fmla="*/ 11348146 h 17966907"/>
                <a:gd name="connsiteX3510" fmla="*/ 7967292 w 13797425"/>
                <a:gd name="connsiteY3510" fmla="*/ 11338616 h 17966907"/>
                <a:gd name="connsiteX3511" fmla="*/ 7948232 w 13797425"/>
                <a:gd name="connsiteY3511" fmla="*/ 11338616 h 17966907"/>
                <a:gd name="connsiteX3512" fmla="*/ 7919641 w 13797425"/>
                <a:gd name="connsiteY3512" fmla="*/ 11324320 h 17966907"/>
                <a:gd name="connsiteX3513" fmla="*/ 7886285 w 13797425"/>
                <a:gd name="connsiteY3513" fmla="*/ 11324320 h 17966907"/>
                <a:gd name="connsiteX3514" fmla="*/ 7862460 w 13797425"/>
                <a:gd name="connsiteY3514" fmla="*/ 11324320 h 17966907"/>
                <a:gd name="connsiteX3515" fmla="*/ 7838634 w 13797425"/>
                <a:gd name="connsiteY3515" fmla="*/ 11314790 h 17966907"/>
                <a:gd name="connsiteX3516" fmla="*/ 7810043 w 13797425"/>
                <a:gd name="connsiteY3516" fmla="*/ 11310025 h 17966907"/>
                <a:gd name="connsiteX3517" fmla="*/ 7762392 w 13797425"/>
                <a:gd name="connsiteY3517" fmla="*/ 11310025 h 17966907"/>
                <a:gd name="connsiteX3518" fmla="*/ 7748096 w 13797425"/>
                <a:gd name="connsiteY3518" fmla="*/ 11310025 h 17966907"/>
                <a:gd name="connsiteX3519" fmla="*/ 7743331 w 13797425"/>
                <a:gd name="connsiteY3519" fmla="*/ 11314790 h 17966907"/>
                <a:gd name="connsiteX3520" fmla="*/ 7767157 w 13797425"/>
                <a:gd name="connsiteY3520" fmla="*/ 11333851 h 17966907"/>
                <a:gd name="connsiteX3521" fmla="*/ 7805278 w 13797425"/>
                <a:gd name="connsiteY3521" fmla="*/ 11362442 h 17966907"/>
                <a:gd name="connsiteX3522" fmla="*/ 7800512 w 13797425"/>
                <a:gd name="connsiteY3522" fmla="*/ 11338616 h 17966907"/>
                <a:gd name="connsiteX3523" fmla="*/ 7800512 w 13797425"/>
                <a:gd name="connsiteY3523" fmla="*/ 11333851 h 17966907"/>
                <a:gd name="connsiteX3524" fmla="*/ 7814808 w 13797425"/>
                <a:gd name="connsiteY3524" fmla="*/ 11324320 h 17966907"/>
                <a:gd name="connsiteX3525" fmla="*/ 7871990 w 13797425"/>
                <a:gd name="connsiteY3525" fmla="*/ 11338616 h 17966907"/>
                <a:gd name="connsiteX3526" fmla="*/ 7943466 w 13797425"/>
                <a:gd name="connsiteY3526" fmla="*/ 11367207 h 17966907"/>
                <a:gd name="connsiteX3527" fmla="*/ 7957762 w 13797425"/>
                <a:gd name="connsiteY3527" fmla="*/ 11371972 h 17966907"/>
                <a:gd name="connsiteX3528" fmla="*/ 7976822 w 13797425"/>
                <a:gd name="connsiteY3528" fmla="*/ 11381502 h 17966907"/>
                <a:gd name="connsiteX3529" fmla="*/ 8000648 w 13797425"/>
                <a:gd name="connsiteY3529" fmla="*/ 11395798 h 17966907"/>
                <a:gd name="connsiteX3530" fmla="*/ 8029239 w 13797425"/>
                <a:gd name="connsiteY3530" fmla="*/ 11429153 h 17966907"/>
                <a:gd name="connsiteX3531" fmla="*/ 8086420 w 13797425"/>
                <a:gd name="connsiteY3531" fmla="*/ 11505395 h 17966907"/>
                <a:gd name="connsiteX3532" fmla="*/ 8105481 w 13797425"/>
                <a:gd name="connsiteY3532" fmla="*/ 11524456 h 17966907"/>
                <a:gd name="connsiteX3533" fmla="*/ 8129306 w 13797425"/>
                <a:gd name="connsiteY3533" fmla="*/ 11543516 h 17966907"/>
                <a:gd name="connsiteX3534" fmla="*/ 8248434 w 13797425"/>
                <a:gd name="connsiteY3534" fmla="*/ 11567342 h 17966907"/>
                <a:gd name="connsiteX3535" fmla="*/ 8291321 w 13797425"/>
                <a:gd name="connsiteY3535" fmla="*/ 11567342 h 17966907"/>
                <a:gd name="connsiteX3536" fmla="*/ 8372328 w 13797425"/>
                <a:gd name="connsiteY3536" fmla="*/ 11576872 h 17966907"/>
                <a:gd name="connsiteX3537" fmla="*/ 8419979 w 13797425"/>
                <a:gd name="connsiteY3537" fmla="*/ 11586402 h 17966907"/>
                <a:gd name="connsiteX3538" fmla="*/ 8429510 w 13797425"/>
                <a:gd name="connsiteY3538" fmla="*/ 11600698 h 17966907"/>
                <a:gd name="connsiteX3539" fmla="*/ 8434275 w 13797425"/>
                <a:gd name="connsiteY3539" fmla="*/ 11634054 h 17966907"/>
                <a:gd name="connsiteX3540" fmla="*/ 8429510 w 13797425"/>
                <a:gd name="connsiteY3540" fmla="*/ 11648349 h 17966907"/>
                <a:gd name="connsiteX3541" fmla="*/ 8405684 w 13797425"/>
                <a:gd name="connsiteY3541" fmla="*/ 11700766 h 17966907"/>
                <a:gd name="connsiteX3542" fmla="*/ 8391388 w 13797425"/>
                <a:gd name="connsiteY3542" fmla="*/ 11734122 h 17966907"/>
                <a:gd name="connsiteX3543" fmla="*/ 8296086 w 13797425"/>
                <a:gd name="connsiteY3543" fmla="*/ 11891370 h 17966907"/>
                <a:gd name="connsiteX3544" fmla="*/ 8286556 w 13797425"/>
                <a:gd name="connsiteY3544" fmla="*/ 11924726 h 17966907"/>
                <a:gd name="connsiteX3545" fmla="*/ 8281790 w 13797425"/>
                <a:gd name="connsiteY3545" fmla="*/ 11948552 h 17966907"/>
                <a:gd name="connsiteX3546" fmla="*/ 8262730 w 13797425"/>
                <a:gd name="connsiteY3546" fmla="*/ 11967612 h 17966907"/>
                <a:gd name="connsiteX3547" fmla="*/ 8219844 w 13797425"/>
                <a:gd name="connsiteY3547" fmla="*/ 12000968 h 17966907"/>
                <a:gd name="connsiteX3548" fmla="*/ 8176958 w 13797425"/>
                <a:gd name="connsiteY3548" fmla="*/ 12029559 h 17966907"/>
                <a:gd name="connsiteX3549" fmla="*/ 8153132 w 13797425"/>
                <a:gd name="connsiteY3549" fmla="*/ 12039090 h 17966907"/>
                <a:gd name="connsiteX3550" fmla="*/ 8129306 w 13797425"/>
                <a:gd name="connsiteY3550" fmla="*/ 12029559 h 17966907"/>
                <a:gd name="connsiteX3551" fmla="*/ 8115011 w 13797425"/>
                <a:gd name="connsiteY3551" fmla="*/ 12024794 h 17966907"/>
                <a:gd name="connsiteX3552" fmla="*/ 8091186 w 13797425"/>
                <a:gd name="connsiteY3552" fmla="*/ 11996203 h 17966907"/>
                <a:gd name="connsiteX3553" fmla="*/ 8105481 w 13797425"/>
                <a:gd name="connsiteY3553" fmla="*/ 12043855 h 17966907"/>
                <a:gd name="connsiteX3554" fmla="*/ 8100716 w 13797425"/>
                <a:gd name="connsiteY3554" fmla="*/ 12048620 h 17966907"/>
                <a:gd name="connsiteX3555" fmla="*/ 8091186 w 13797425"/>
                <a:gd name="connsiteY3555" fmla="*/ 12039090 h 17966907"/>
                <a:gd name="connsiteX3556" fmla="*/ 8057830 w 13797425"/>
                <a:gd name="connsiteY3556" fmla="*/ 12020029 h 17966907"/>
                <a:gd name="connsiteX3557" fmla="*/ 8053064 w 13797425"/>
                <a:gd name="connsiteY3557" fmla="*/ 12024794 h 17966907"/>
                <a:gd name="connsiteX3558" fmla="*/ 8043534 w 13797425"/>
                <a:gd name="connsiteY3558" fmla="*/ 12029559 h 17966907"/>
                <a:gd name="connsiteX3559" fmla="*/ 8038769 w 13797425"/>
                <a:gd name="connsiteY3559" fmla="*/ 12029559 h 17966907"/>
                <a:gd name="connsiteX3560" fmla="*/ 8029239 w 13797425"/>
                <a:gd name="connsiteY3560" fmla="*/ 12024794 h 17966907"/>
                <a:gd name="connsiteX3561" fmla="*/ 8010178 w 13797425"/>
                <a:gd name="connsiteY3561" fmla="*/ 12005734 h 17966907"/>
                <a:gd name="connsiteX3562" fmla="*/ 8005413 w 13797425"/>
                <a:gd name="connsiteY3562" fmla="*/ 12000968 h 17966907"/>
                <a:gd name="connsiteX3563" fmla="*/ 8000648 w 13797425"/>
                <a:gd name="connsiteY3563" fmla="*/ 11977143 h 17966907"/>
                <a:gd name="connsiteX3564" fmla="*/ 7995883 w 13797425"/>
                <a:gd name="connsiteY3564" fmla="*/ 11972378 h 17966907"/>
                <a:gd name="connsiteX3565" fmla="*/ 7962527 w 13797425"/>
                <a:gd name="connsiteY3565" fmla="*/ 11986673 h 17966907"/>
                <a:gd name="connsiteX3566" fmla="*/ 7952997 w 13797425"/>
                <a:gd name="connsiteY3566" fmla="*/ 11991438 h 17966907"/>
                <a:gd name="connsiteX3567" fmla="*/ 7972058 w 13797425"/>
                <a:gd name="connsiteY3567" fmla="*/ 12000968 h 17966907"/>
                <a:gd name="connsiteX3568" fmla="*/ 7976822 w 13797425"/>
                <a:gd name="connsiteY3568" fmla="*/ 12005734 h 17966907"/>
                <a:gd name="connsiteX3569" fmla="*/ 7991118 w 13797425"/>
                <a:gd name="connsiteY3569" fmla="*/ 12043855 h 17966907"/>
                <a:gd name="connsiteX3570" fmla="*/ 7991118 w 13797425"/>
                <a:gd name="connsiteY3570" fmla="*/ 12048620 h 17966907"/>
                <a:gd name="connsiteX3571" fmla="*/ 7981588 w 13797425"/>
                <a:gd name="connsiteY3571" fmla="*/ 12053385 h 17966907"/>
                <a:gd name="connsiteX3572" fmla="*/ 7943466 w 13797425"/>
                <a:gd name="connsiteY3572" fmla="*/ 12039090 h 17966907"/>
                <a:gd name="connsiteX3573" fmla="*/ 7938702 w 13797425"/>
                <a:gd name="connsiteY3573" fmla="*/ 12043855 h 17966907"/>
                <a:gd name="connsiteX3574" fmla="*/ 7957762 w 13797425"/>
                <a:gd name="connsiteY3574" fmla="*/ 12077210 h 17966907"/>
                <a:gd name="connsiteX3575" fmla="*/ 7962527 w 13797425"/>
                <a:gd name="connsiteY3575" fmla="*/ 12096271 h 17966907"/>
                <a:gd name="connsiteX3576" fmla="*/ 7962527 w 13797425"/>
                <a:gd name="connsiteY3576" fmla="*/ 12105801 h 17966907"/>
                <a:gd name="connsiteX3577" fmla="*/ 7943466 w 13797425"/>
                <a:gd name="connsiteY3577" fmla="*/ 12143922 h 17966907"/>
                <a:gd name="connsiteX3578" fmla="*/ 7929171 w 13797425"/>
                <a:gd name="connsiteY3578" fmla="*/ 12162983 h 17966907"/>
                <a:gd name="connsiteX3579" fmla="*/ 7910110 w 13797425"/>
                <a:gd name="connsiteY3579" fmla="*/ 12167748 h 17966907"/>
                <a:gd name="connsiteX3580" fmla="*/ 7895815 w 13797425"/>
                <a:gd name="connsiteY3580" fmla="*/ 12162983 h 17966907"/>
                <a:gd name="connsiteX3581" fmla="*/ 7881520 w 13797425"/>
                <a:gd name="connsiteY3581" fmla="*/ 12153452 h 17966907"/>
                <a:gd name="connsiteX3582" fmla="*/ 7871990 w 13797425"/>
                <a:gd name="connsiteY3582" fmla="*/ 12153452 h 17966907"/>
                <a:gd name="connsiteX3583" fmla="*/ 7867224 w 13797425"/>
                <a:gd name="connsiteY3583" fmla="*/ 12167748 h 17966907"/>
                <a:gd name="connsiteX3584" fmla="*/ 7857694 w 13797425"/>
                <a:gd name="connsiteY3584" fmla="*/ 12177278 h 17966907"/>
                <a:gd name="connsiteX3585" fmla="*/ 7838634 w 13797425"/>
                <a:gd name="connsiteY3585" fmla="*/ 12182043 h 17966907"/>
                <a:gd name="connsiteX3586" fmla="*/ 7819573 w 13797425"/>
                <a:gd name="connsiteY3586" fmla="*/ 12182043 h 17966907"/>
                <a:gd name="connsiteX3587" fmla="*/ 7795748 w 13797425"/>
                <a:gd name="connsiteY3587" fmla="*/ 12172513 h 17966907"/>
                <a:gd name="connsiteX3588" fmla="*/ 7729036 w 13797425"/>
                <a:gd name="connsiteY3588" fmla="*/ 12134392 h 17966907"/>
                <a:gd name="connsiteX3589" fmla="*/ 7705210 w 13797425"/>
                <a:gd name="connsiteY3589" fmla="*/ 12124862 h 17966907"/>
                <a:gd name="connsiteX3590" fmla="*/ 7667089 w 13797425"/>
                <a:gd name="connsiteY3590" fmla="*/ 12120097 h 17966907"/>
                <a:gd name="connsiteX3591" fmla="*/ 7662324 w 13797425"/>
                <a:gd name="connsiteY3591" fmla="*/ 12115332 h 17966907"/>
                <a:gd name="connsiteX3592" fmla="*/ 7662324 w 13797425"/>
                <a:gd name="connsiteY3592" fmla="*/ 12110566 h 17966907"/>
                <a:gd name="connsiteX3593" fmla="*/ 7667089 w 13797425"/>
                <a:gd name="connsiteY3593" fmla="*/ 12105801 h 17966907"/>
                <a:gd name="connsiteX3594" fmla="*/ 7667089 w 13797425"/>
                <a:gd name="connsiteY3594" fmla="*/ 12101036 h 17966907"/>
                <a:gd name="connsiteX3595" fmla="*/ 7657559 w 13797425"/>
                <a:gd name="connsiteY3595" fmla="*/ 12096271 h 17966907"/>
                <a:gd name="connsiteX3596" fmla="*/ 7648028 w 13797425"/>
                <a:gd name="connsiteY3596" fmla="*/ 12101036 h 17966907"/>
                <a:gd name="connsiteX3597" fmla="*/ 7638498 w 13797425"/>
                <a:gd name="connsiteY3597" fmla="*/ 12110566 h 17966907"/>
                <a:gd name="connsiteX3598" fmla="*/ 7624203 w 13797425"/>
                <a:gd name="connsiteY3598" fmla="*/ 12115332 h 17966907"/>
                <a:gd name="connsiteX3599" fmla="*/ 7600378 w 13797425"/>
                <a:gd name="connsiteY3599" fmla="*/ 12110566 h 17966907"/>
                <a:gd name="connsiteX3600" fmla="*/ 7567022 w 13797425"/>
                <a:gd name="connsiteY3600" fmla="*/ 12096271 h 17966907"/>
                <a:gd name="connsiteX3601" fmla="*/ 7505075 w 13797425"/>
                <a:gd name="connsiteY3601" fmla="*/ 12058150 h 17966907"/>
                <a:gd name="connsiteX3602" fmla="*/ 7433598 w 13797425"/>
                <a:gd name="connsiteY3602" fmla="*/ 12024794 h 17966907"/>
                <a:gd name="connsiteX3603" fmla="*/ 7390712 w 13797425"/>
                <a:gd name="connsiteY3603" fmla="*/ 11981908 h 17966907"/>
                <a:gd name="connsiteX3604" fmla="*/ 7405007 w 13797425"/>
                <a:gd name="connsiteY3604" fmla="*/ 12020029 h 17966907"/>
                <a:gd name="connsiteX3605" fmla="*/ 7405007 w 13797425"/>
                <a:gd name="connsiteY3605" fmla="*/ 12034324 h 17966907"/>
                <a:gd name="connsiteX3606" fmla="*/ 7395477 w 13797425"/>
                <a:gd name="connsiteY3606" fmla="*/ 12043855 h 17966907"/>
                <a:gd name="connsiteX3607" fmla="*/ 7395477 w 13797425"/>
                <a:gd name="connsiteY3607" fmla="*/ 12058150 h 17966907"/>
                <a:gd name="connsiteX3608" fmla="*/ 7409772 w 13797425"/>
                <a:gd name="connsiteY3608" fmla="*/ 12081976 h 17966907"/>
                <a:gd name="connsiteX3609" fmla="*/ 7433598 w 13797425"/>
                <a:gd name="connsiteY3609" fmla="*/ 12091506 h 17966907"/>
                <a:gd name="connsiteX3610" fmla="*/ 7457424 w 13797425"/>
                <a:gd name="connsiteY3610" fmla="*/ 12091506 h 17966907"/>
                <a:gd name="connsiteX3611" fmla="*/ 7457424 w 13797425"/>
                <a:gd name="connsiteY3611" fmla="*/ 12086741 h 17966907"/>
                <a:gd name="connsiteX3612" fmla="*/ 7447894 w 13797425"/>
                <a:gd name="connsiteY3612" fmla="*/ 12081976 h 17966907"/>
                <a:gd name="connsiteX3613" fmla="*/ 7438363 w 13797425"/>
                <a:gd name="connsiteY3613" fmla="*/ 12072446 h 17966907"/>
                <a:gd name="connsiteX3614" fmla="*/ 7433598 w 13797425"/>
                <a:gd name="connsiteY3614" fmla="*/ 12058150 h 17966907"/>
                <a:gd name="connsiteX3615" fmla="*/ 7438363 w 13797425"/>
                <a:gd name="connsiteY3615" fmla="*/ 12053385 h 17966907"/>
                <a:gd name="connsiteX3616" fmla="*/ 7457424 w 13797425"/>
                <a:gd name="connsiteY3616" fmla="*/ 12062915 h 17966907"/>
                <a:gd name="connsiteX3617" fmla="*/ 7471719 w 13797425"/>
                <a:gd name="connsiteY3617" fmla="*/ 12072446 h 17966907"/>
                <a:gd name="connsiteX3618" fmla="*/ 7571786 w 13797425"/>
                <a:gd name="connsiteY3618" fmla="*/ 12120097 h 17966907"/>
                <a:gd name="connsiteX3619" fmla="*/ 7600378 w 13797425"/>
                <a:gd name="connsiteY3619" fmla="*/ 12129627 h 17966907"/>
                <a:gd name="connsiteX3620" fmla="*/ 7624203 w 13797425"/>
                <a:gd name="connsiteY3620" fmla="*/ 12139157 h 17966907"/>
                <a:gd name="connsiteX3621" fmla="*/ 7628968 w 13797425"/>
                <a:gd name="connsiteY3621" fmla="*/ 12143922 h 17966907"/>
                <a:gd name="connsiteX3622" fmla="*/ 7624203 w 13797425"/>
                <a:gd name="connsiteY3622" fmla="*/ 12158218 h 17966907"/>
                <a:gd name="connsiteX3623" fmla="*/ 7581317 w 13797425"/>
                <a:gd name="connsiteY3623" fmla="*/ 12186808 h 17966907"/>
                <a:gd name="connsiteX3624" fmla="*/ 7581317 w 13797425"/>
                <a:gd name="connsiteY3624" fmla="*/ 12191574 h 17966907"/>
                <a:gd name="connsiteX3625" fmla="*/ 7609908 w 13797425"/>
                <a:gd name="connsiteY3625" fmla="*/ 12191574 h 17966907"/>
                <a:gd name="connsiteX3626" fmla="*/ 7643264 w 13797425"/>
                <a:gd name="connsiteY3626" fmla="*/ 12162983 h 17966907"/>
                <a:gd name="connsiteX3627" fmla="*/ 7662324 w 13797425"/>
                <a:gd name="connsiteY3627" fmla="*/ 12148688 h 17966907"/>
                <a:gd name="connsiteX3628" fmla="*/ 7681384 w 13797425"/>
                <a:gd name="connsiteY3628" fmla="*/ 12143922 h 17966907"/>
                <a:gd name="connsiteX3629" fmla="*/ 7705210 w 13797425"/>
                <a:gd name="connsiteY3629" fmla="*/ 12153452 h 17966907"/>
                <a:gd name="connsiteX3630" fmla="*/ 7733801 w 13797425"/>
                <a:gd name="connsiteY3630" fmla="*/ 12191574 h 17966907"/>
                <a:gd name="connsiteX3631" fmla="*/ 7757626 w 13797425"/>
                <a:gd name="connsiteY3631" fmla="*/ 12210634 h 17966907"/>
                <a:gd name="connsiteX3632" fmla="*/ 7795748 w 13797425"/>
                <a:gd name="connsiteY3632" fmla="*/ 12220164 h 17966907"/>
                <a:gd name="connsiteX3633" fmla="*/ 7814808 w 13797425"/>
                <a:gd name="connsiteY3633" fmla="*/ 12229694 h 17966907"/>
                <a:gd name="connsiteX3634" fmla="*/ 7848164 w 13797425"/>
                <a:gd name="connsiteY3634" fmla="*/ 12263050 h 17966907"/>
                <a:gd name="connsiteX3635" fmla="*/ 7857694 w 13797425"/>
                <a:gd name="connsiteY3635" fmla="*/ 12277346 h 17966907"/>
                <a:gd name="connsiteX3636" fmla="*/ 7857694 w 13797425"/>
                <a:gd name="connsiteY3636" fmla="*/ 12348823 h 17966907"/>
                <a:gd name="connsiteX3637" fmla="*/ 7857694 w 13797425"/>
                <a:gd name="connsiteY3637" fmla="*/ 12363118 h 17966907"/>
                <a:gd name="connsiteX3638" fmla="*/ 7852929 w 13797425"/>
                <a:gd name="connsiteY3638" fmla="*/ 12377414 h 17966907"/>
                <a:gd name="connsiteX3639" fmla="*/ 7843399 w 13797425"/>
                <a:gd name="connsiteY3639" fmla="*/ 12396474 h 17966907"/>
                <a:gd name="connsiteX3640" fmla="*/ 7829104 w 13797425"/>
                <a:gd name="connsiteY3640" fmla="*/ 12406004 h 17966907"/>
                <a:gd name="connsiteX3641" fmla="*/ 7810043 w 13797425"/>
                <a:gd name="connsiteY3641" fmla="*/ 12406004 h 17966907"/>
                <a:gd name="connsiteX3642" fmla="*/ 7790982 w 13797425"/>
                <a:gd name="connsiteY3642" fmla="*/ 12410770 h 17966907"/>
                <a:gd name="connsiteX3643" fmla="*/ 7757626 w 13797425"/>
                <a:gd name="connsiteY3643" fmla="*/ 12448890 h 17966907"/>
                <a:gd name="connsiteX3644" fmla="*/ 7738566 w 13797425"/>
                <a:gd name="connsiteY3644" fmla="*/ 12453656 h 17966907"/>
                <a:gd name="connsiteX3645" fmla="*/ 7676620 w 13797425"/>
                <a:gd name="connsiteY3645" fmla="*/ 12444125 h 17966907"/>
                <a:gd name="connsiteX3646" fmla="*/ 7648028 w 13797425"/>
                <a:gd name="connsiteY3646" fmla="*/ 12429830 h 17966907"/>
                <a:gd name="connsiteX3647" fmla="*/ 7638498 w 13797425"/>
                <a:gd name="connsiteY3647" fmla="*/ 12434595 h 17966907"/>
                <a:gd name="connsiteX3648" fmla="*/ 7628968 w 13797425"/>
                <a:gd name="connsiteY3648" fmla="*/ 12439360 h 17966907"/>
                <a:gd name="connsiteX3649" fmla="*/ 7624203 w 13797425"/>
                <a:gd name="connsiteY3649" fmla="*/ 12444125 h 17966907"/>
                <a:gd name="connsiteX3650" fmla="*/ 7600378 w 13797425"/>
                <a:gd name="connsiteY3650" fmla="*/ 12448890 h 17966907"/>
                <a:gd name="connsiteX3651" fmla="*/ 7595612 w 13797425"/>
                <a:gd name="connsiteY3651" fmla="*/ 12453656 h 17966907"/>
                <a:gd name="connsiteX3652" fmla="*/ 7595612 w 13797425"/>
                <a:gd name="connsiteY3652" fmla="*/ 12463186 h 17966907"/>
                <a:gd name="connsiteX3653" fmla="*/ 7600378 w 13797425"/>
                <a:gd name="connsiteY3653" fmla="*/ 12477481 h 17966907"/>
                <a:gd name="connsiteX3654" fmla="*/ 7605142 w 13797425"/>
                <a:gd name="connsiteY3654" fmla="*/ 12482246 h 17966907"/>
                <a:gd name="connsiteX3655" fmla="*/ 7614672 w 13797425"/>
                <a:gd name="connsiteY3655" fmla="*/ 12491776 h 17966907"/>
                <a:gd name="connsiteX3656" fmla="*/ 7628968 w 13797425"/>
                <a:gd name="connsiteY3656" fmla="*/ 12501307 h 17966907"/>
                <a:gd name="connsiteX3657" fmla="*/ 7662324 w 13797425"/>
                <a:gd name="connsiteY3657" fmla="*/ 12506072 h 17966907"/>
                <a:gd name="connsiteX3658" fmla="*/ 7667089 w 13797425"/>
                <a:gd name="connsiteY3658" fmla="*/ 12525132 h 17966907"/>
                <a:gd name="connsiteX3659" fmla="*/ 7662324 w 13797425"/>
                <a:gd name="connsiteY3659" fmla="*/ 12529898 h 17966907"/>
                <a:gd name="connsiteX3660" fmla="*/ 7652794 w 13797425"/>
                <a:gd name="connsiteY3660" fmla="*/ 12544193 h 17966907"/>
                <a:gd name="connsiteX3661" fmla="*/ 7643264 w 13797425"/>
                <a:gd name="connsiteY3661" fmla="*/ 12539428 h 17966907"/>
                <a:gd name="connsiteX3662" fmla="*/ 7624203 w 13797425"/>
                <a:gd name="connsiteY3662" fmla="*/ 12525132 h 17966907"/>
                <a:gd name="connsiteX3663" fmla="*/ 7614672 w 13797425"/>
                <a:gd name="connsiteY3663" fmla="*/ 12525132 h 17966907"/>
                <a:gd name="connsiteX3664" fmla="*/ 7605142 w 13797425"/>
                <a:gd name="connsiteY3664" fmla="*/ 12534663 h 17966907"/>
                <a:gd name="connsiteX3665" fmla="*/ 7590847 w 13797425"/>
                <a:gd name="connsiteY3665" fmla="*/ 12534663 h 17966907"/>
                <a:gd name="connsiteX3666" fmla="*/ 7576552 w 13797425"/>
                <a:gd name="connsiteY3666" fmla="*/ 12534663 h 17966907"/>
                <a:gd name="connsiteX3667" fmla="*/ 7567022 w 13797425"/>
                <a:gd name="connsiteY3667" fmla="*/ 12539428 h 17966907"/>
                <a:gd name="connsiteX3668" fmla="*/ 7567022 w 13797425"/>
                <a:gd name="connsiteY3668" fmla="*/ 12553723 h 17966907"/>
                <a:gd name="connsiteX3669" fmla="*/ 7562256 w 13797425"/>
                <a:gd name="connsiteY3669" fmla="*/ 12568018 h 17966907"/>
                <a:gd name="connsiteX3670" fmla="*/ 7543196 w 13797425"/>
                <a:gd name="connsiteY3670" fmla="*/ 12582314 h 17966907"/>
                <a:gd name="connsiteX3671" fmla="*/ 7533666 w 13797425"/>
                <a:gd name="connsiteY3671" fmla="*/ 12596609 h 17966907"/>
                <a:gd name="connsiteX3672" fmla="*/ 7533666 w 13797425"/>
                <a:gd name="connsiteY3672" fmla="*/ 12606140 h 17966907"/>
                <a:gd name="connsiteX3673" fmla="*/ 7543196 w 13797425"/>
                <a:gd name="connsiteY3673" fmla="*/ 12615670 h 17966907"/>
                <a:gd name="connsiteX3674" fmla="*/ 7557491 w 13797425"/>
                <a:gd name="connsiteY3674" fmla="*/ 12629965 h 17966907"/>
                <a:gd name="connsiteX3675" fmla="*/ 7571786 w 13797425"/>
                <a:gd name="connsiteY3675" fmla="*/ 12658556 h 17966907"/>
                <a:gd name="connsiteX3676" fmla="*/ 7571786 w 13797425"/>
                <a:gd name="connsiteY3676" fmla="*/ 12668086 h 17966907"/>
                <a:gd name="connsiteX3677" fmla="*/ 7562256 w 13797425"/>
                <a:gd name="connsiteY3677" fmla="*/ 12663321 h 17966907"/>
                <a:gd name="connsiteX3678" fmla="*/ 7552726 w 13797425"/>
                <a:gd name="connsiteY3678" fmla="*/ 12653791 h 17966907"/>
                <a:gd name="connsiteX3679" fmla="*/ 7538430 w 13797425"/>
                <a:gd name="connsiteY3679" fmla="*/ 12634730 h 17966907"/>
                <a:gd name="connsiteX3680" fmla="*/ 7519370 w 13797425"/>
                <a:gd name="connsiteY3680" fmla="*/ 12620435 h 17966907"/>
                <a:gd name="connsiteX3681" fmla="*/ 7476484 w 13797425"/>
                <a:gd name="connsiteY3681" fmla="*/ 12601374 h 17966907"/>
                <a:gd name="connsiteX3682" fmla="*/ 7466954 w 13797425"/>
                <a:gd name="connsiteY3682" fmla="*/ 12601374 h 17966907"/>
                <a:gd name="connsiteX3683" fmla="*/ 7471719 w 13797425"/>
                <a:gd name="connsiteY3683" fmla="*/ 12606140 h 17966907"/>
                <a:gd name="connsiteX3684" fmla="*/ 7500310 w 13797425"/>
                <a:gd name="connsiteY3684" fmla="*/ 12629965 h 17966907"/>
                <a:gd name="connsiteX3685" fmla="*/ 7509840 w 13797425"/>
                <a:gd name="connsiteY3685" fmla="*/ 12639496 h 17966907"/>
                <a:gd name="connsiteX3686" fmla="*/ 7514605 w 13797425"/>
                <a:gd name="connsiteY3686" fmla="*/ 12653791 h 17966907"/>
                <a:gd name="connsiteX3687" fmla="*/ 7486014 w 13797425"/>
                <a:gd name="connsiteY3687" fmla="*/ 12672851 h 17966907"/>
                <a:gd name="connsiteX3688" fmla="*/ 7486014 w 13797425"/>
                <a:gd name="connsiteY3688" fmla="*/ 12682382 h 17966907"/>
                <a:gd name="connsiteX3689" fmla="*/ 7495544 w 13797425"/>
                <a:gd name="connsiteY3689" fmla="*/ 12687147 h 17966907"/>
                <a:gd name="connsiteX3690" fmla="*/ 7495544 w 13797425"/>
                <a:gd name="connsiteY3690" fmla="*/ 12691912 h 17966907"/>
                <a:gd name="connsiteX3691" fmla="*/ 7486014 w 13797425"/>
                <a:gd name="connsiteY3691" fmla="*/ 12701442 h 17966907"/>
                <a:gd name="connsiteX3692" fmla="*/ 7471719 w 13797425"/>
                <a:gd name="connsiteY3692" fmla="*/ 12710972 h 17966907"/>
                <a:gd name="connsiteX3693" fmla="*/ 7443128 w 13797425"/>
                <a:gd name="connsiteY3693" fmla="*/ 12715738 h 17966907"/>
                <a:gd name="connsiteX3694" fmla="*/ 7443128 w 13797425"/>
                <a:gd name="connsiteY3694" fmla="*/ 12720502 h 17966907"/>
                <a:gd name="connsiteX3695" fmla="*/ 7452658 w 13797425"/>
                <a:gd name="connsiteY3695" fmla="*/ 12730033 h 17966907"/>
                <a:gd name="connsiteX3696" fmla="*/ 7457424 w 13797425"/>
                <a:gd name="connsiteY3696" fmla="*/ 12734798 h 17966907"/>
                <a:gd name="connsiteX3697" fmla="*/ 7447894 w 13797425"/>
                <a:gd name="connsiteY3697" fmla="*/ 12744328 h 17966907"/>
                <a:gd name="connsiteX3698" fmla="*/ 7443128 w 13797425"/>
                <a:gd name="connsiteY3698" fmla="*/ 12749094 h 17966907"/>
                <a:gd name="connsiteX3699" fmla="*/ 7409772 w 13797425"/>
                <a:gd name="connsiteY3699" fmla="*/ 12744328 h 17966907"/>
                <a:gd name="connsiteX3700" fmla="*/ 7414538 w 13797425"/>
                <a:gd name="connsiteY3700" fmla="*/ 12768154 h 17966907"/>
                <a:gd name="connsiteX3701" fmla="*/ 7419302 w 13797425"/>
                <a:gd name="connsiteY3701" fmla="*/ 12772919 h 17966907"/>
                <a:gd name="connsiteX3702" fmla="*/ 7433598 w 13797425"/>
                <a:gd name="connsiteY3702" fmla="*/ 12787214 h 17966907"/>
                <a:gd name="connsiteX3703" fmla="*/ 7447894 w 13797425"/>
                <a:gd name="connsiteY3703" fmla="*/ 12796745 h 17966907"/>
                <a:gd name="connsiteX3704" fmla="*/ 7447894 w 13797425"/>
                <a:gd name="connsiteY3704" fmla="*/ 12801510 h 17966907"/>
                <a:gd name="connsiteX3705" fmla="*/ 7443128 w 13797425"/>
                <a:gd name="connsiteY3705" fmla="*/ 12811040 h 17966907"/>
                <a:gd name="connsiteX3706" fmla="*/ 7433598 w 13797425"/>
                <a:gd name="connsiteY3706" fmla="*/ 12820570 h 17966907"/>
                <a:gd name="connsiteX3707" fmla="*/ 7385946 w 13797425"/>
                <a:gd name="connsiteY3707" fmla="*/ 12853926 h 17966907"/>
                <a:gd name="connsiteX3708" fmla="*/ 7357356 w 13797425"/>
                <a:gd name="connsiteY3708" fmla="*/ 12896812 h 17966907"/>
                <a:gd name="connsiteX3709" fmla="*/ 7352590 w 13797425"/>
                <a:gd name="connsiteY3709" fmla="*/ 12906342 h 17966907"/>
                <a:gd name="connsiteX3710" fmla="*/ 7362121 w 13797425"/>
                <a:gd name="connsiteY3710" fmla="*/ 12934934 h 17966907"/>
                <a:gd name="connsiteX3711" fmla="*/ 7362121 w 13797425"/>
                <a:gd name="connsiteY3711" fmla="*/ 12939698 h 17966907"/>
                <a:gd name="connsiteX3712" fmla="*/ 7352590 w 13797425"/>
                <a:gd name="connsiteY3712" fmla="*/ 12949228 h 17966907"/>
                <a:gd name="connsiteX3713" fmla="*/ 7333530 w 13797425"/>
                <a:gd name="connsiteY3713" fmla="*/ 12949228 h 17966907"/>
                <a:gd name="connsiteX3714" fmla="*/ 7328765 w 13797425"/>
                <a:gd name="connsiteY3714" fmla="*/ 12953994 h 17966907"/>
                <a:gd name="connsiteX3715" fmla="*/ 7333530 w 13797425"/>
                <a:gd name="connsiteY3715" fmla="*/ 12963524 h 17966907"/>
                <a:gd name="connsiteX3716" fmla="*/ 7333530 w 13797425"/>
                <a:gd name="connsiteY3716" fmla="*/ 12982584 h 17966907"/>
                <a:gd name="connsiteX3717" fmla="*/ 7333530 w 13797425"/>
                <a:gd name="connsiteY3717" fmla="*/ 13006410 h 17966907"/>
                <a:gd name="connsiteX3718" fmla="*/ 7319235 w 13797425"/>
                <a:gd name="connsiteY3718" fmla="*/ 13044531 h 17966907"/>
                <a:gd name="connsiteX3719" fmla="*/ 7295409 w 13797425"/>
                <a:gd name="connsiteY3719" fmla="*/ 13092182 h 17966907"/>
                <a:gd name="connsiteX3720" fmla="*/ 7276348 w 13797425"/>
                <a:gd name="connsiteY3720" fmla="*/ 13135068 h 17966907"/>
                <a:gd name="connsiteX3721" fmla="*/ 7262054 w 13797425"/>
                <a:gd name="connsiteY3721" fmla="*/ 13177955 h 17966907"/>
                <a:gd name="connsiteX3722" fmla="*/ 7252523 w 13797425"/>
                <a:gd name="connsiteY3722" fmla="*/ 13197016 h 17966907"/>
                <a:gd name="connsiteX3723" fmla="*/ 7238228 w 13797425"/>
                <a:gd name="connsiteY3723" fmla="*/ 13197016 h 17966907"/>
                <a:gd name="connsiteX3724" fmla="*/ 7223932 w 13797425"/>
                <a:gd name="connsiteY3724" fmla="*/ 13211310 h 17966907"/>
                <a:gd name="connsiteX3725" fmla="*/ 7233462 w 13797425"/>
                <a:gd name="connsiteY3725" fmla="*/ 13216076 h 17966907"/>
                <a:gd name="connsiteX3726" fmla="*/ 7238228 w 13797425"/>
                <a:gd name="connsiteY3726" fmla="*/ 13225606 h 17966907"/>
                <a:gd name="connsiteX3727" fmla="*/ 7242993 w 13797425"/>
                <a:gd name="connsiteY3727" fmla="*/ 13235136 h 17966907"/>
                <a:gd name="connsiteX3728" fmla="*/ 7238228 w 13797425"/>
                <a:gd name="connsiteY3728" fmla="*/ 13273258 h 17966907"/>
                <a:gd name="connsiteX3729" fmla="*/ 7228698 w 13797425"/>
                <a:gd name="connsiteY3729" fmla="*/ 13335204 h 17966907"/>
                <a:gd name="connsiteX3730" fmla="*/ 7219167 w 13797425"/>
                <a:gd name="connsiteY3730" fmla="*/ 13382855 h 17966907"/>
                <a:gd name="connsiteX3731" fmla="*/ 7219167 w 13797425"/>
                <a:gd name="connsiteY3731" fmla="*/ 13530574 h 17966907"/>
                <a:gd name="connsiteX3732" fmla="*/ 7219167 w 13797425"/>
                <a:gd name="connsiteY3732" fmla="*/ 13592521 h 17966907"/>
                <a:gd name="connsiteX3733" fmla="*/ 7214402 w 13797425"/>
                <a:gd name="connsiteY3733" fmla="*/ 13630642 h 17966907"/>
                <a:gd name="connsiteX3734" fmla="*/ 7204872 w 13797425"/>
                <a:gd name="connsiteY3734" fmla="*/ 13649702 h 17966907"/>
                <a:gd name="connsiteX3735" fmla="*/ 7190576 w 13797425"/>
                <a:gd name="connsiteY3735" fmla="*/ 13654468 h 17966907"/>
                <a:gd name="connsiteX3736" fmla="*/ 7209637 w 13797425"/>
                <a:gd name="connsiteY3736" fmla="*/ 13659232 h 17966907"/>
                <a:gd name="connsiteX3737" fmla="*/ 7219167 w 13797425"/>
                <a:gd name="connsiteY3737" fmla="*/ 13668763 h 17966907"/>
                <a:gd name="connsiteX3738" fmla="*/ 7228698 w 13797425"/>
                <a:gd name="connsiteY3738" fmla="*/ 13683058 h 17966907"/>
                <a:gd name="connsiteX3739" fmla="*/ 7228698 w 13797425"/>
                <a:gd name="connsiteY3739" fmla="*/ 13706884 h 17966907"/>
                <a:gd name="connsiteX3740" fmla="*/ 7238228 w 13797425"/>
                <a:gd name="connsiteY3740" fmla="*/ 13716414 h 17966907"/>
                <a:gd name="connsiteX3741" fmla="*/ 7242993 w 13797425"/>
                <a:gd name="connsiteY3741" fmla="*/ 13711649 h 17966907"/>
                <a:gd name="connsiteX3742" fmla="*/ 7252523 w 13797425"/>
                <a:gd name="connsiteY3742" fmla="*/ 13716414 h 17966907"/>
                <a:gd name="connsiteX3743" fmla="*/ 7257288 w 13797425"/>
                <a:gd name="connsiteY3743" fmla="*/ 13721179 h 17966907"/>
                <a:gd name="connsiteX3744" fmla="*/ 7276348 w 13797425"/>
                <a:gd name="connsiteY3744" fmla="*/ 13754535 h 17966907"/>
                <a:gd name="connsiteX3745" fmla="*/ 7295409 w 13797425"/>
                <a:gd name="connsiteY3745" fmla="*/ 13759300 h 17966907"/>
                <a:gd name="connsiteX3746" fmla="*/ 7300174 w 13797425"/>
                <a:gd name="connsiteY3746" fmla="*/ 13778360 h 17966907"/>
                <a:gd name="connsiteX3747" fmla="*/ 7290644 w 13797425"/>
                <a:gd name="connsiteY3747" fmla="*/ 13873664 h 17966907"/>
                <a:gd name="connsiteX3748" fmla="*/ 7290644 w 13797425"/>
                <a:gd name="connsiteY3748" fmla="*/ 13887958 h 17966907"/>
                <a:gd name="connsiteX3749" fmla="*/ 7300174 w 13797425"/>
                <a:gd name="connsiteY3749" fmla="*/ 13864133 h 17966907"/>
                <a:gd name="connsiteX3750" fmla="*/ 7309704 w 13797425"/>
                <a:gd name="connsiteY3750" fmla="*/ 13787891 h 17966907"/>
                <a:gd name="connsiteX3751" fmla="*/ 7324000 w 13797425"/>
                <a:gd name="connsiteY3751" fmla="*/ 13754535 h 17966907"/>
                <a:gd name="connsiteX3752" fmla="*/ 7333530 w 13797425"/>
                <a:gd name="connsiteY3752" fmla="*/ 13749770 h 17966907"/>
                <a:gd name="connsiteX3753" fmla="*/ 7376416 w 13797425"/>
                <a:gd name="connsiteY3753" fmla="*/ 13745005 h 17966907"/>
                <a:gd name="connsiteX3754" fmla="*/ 7424068 w 13797425"/>
                <a:gd name="connsiteY3754" fmla="*/ 13754535 h 17966907"/>
                <a:gd name="connsiteX3755" fmla="*/ 7438363 w 13797425"/>
                <a:gd name="connsiteY3755" fmla="*/ 13754535 h 17966907"/>
                <a:gd name="connsiteX3756" fmla="*/ 7452658 w 13797425"/>
                <a:gd name="connsiteY3756" fmla="*/ 13749770 h 17966907"/>
                <a:gd name="connsiteX3757" fmla="*/ 7471719 w 13797425"/>
                <a:gd name="connsiteY3757" fmla="*/ 13759300 h 17966907"/>
                <a:gd name="connsiteX3758" fmla="*/ 7476484 w 13797425"/>
                <a:gd name="connsiteY3758" fmla="*/ 13768830 h 17966907"/>
                <a:gd name="connsiteX3759" fmla="*/ 7481249 w 13797425"/>
                <a:gd name="connsiteY3759" fmla="*/ 13806952 h 17966907"/>
                <a:gd name="connsiteX3760" fmla="*/ 7481249 w 13797425"/>
                <a:gd name="connsiteY3760" fmla="*/ 13830777 h 17966907"/>
                <a:gd name="connsiteX3761" fmla="*/ 7509840 w 13797425"/>
                <a:gd name="connsiteY3761" fmla="*/ 13907019 h 17966907"/>
                <a:gd name="connsiteX3762" fmla="*/ 7524136 w 13797425"/>
                <a:gd name="connsiteY3762" fmla="*/ 13954670 h 17966907"/>
                <a:gd name="connsiteX3763" fmla="*/ 7538430 w 13797425"/>
                <a:gd name="connsiteY3763" fmla="*/ 14021382 h 17966907"/>
                <a:gd name="connsiteX3764" fmla="*/ 7543196 w 13797425"/>
                <a:gd name="connsiteY3764" fmla="*/ 14040442 h 17966907"/>
                <a:gd name="connsiteX3765" fmla="*/ 7576552 w 13797425"/>
                <a:gd name="connsiteY3765" fmla="*/ 14130980 h 17966907"/>
                <a:gd name="connsiteX3766" fmla="*/ 7586082 w 13797425"/>
                <a:gd name="connsiteY3766" fmla="*/ 14154806 h 17966907"/>
                <a:gd name="connsiteX3767" fmla="*/ 7586082 w 13797425"/>
                <a:gd name="connsiteY3767" fmla="*/ 14173866 h 17966907"/>
                <a:gd name="connsiteX3768" fmla="*/ 7586082 w 13797425"/>
                <a:gd name="connsiteY3768" fmla="*/ 14188162 h 17966907"/>
                <a:gd name="connsiteX3769" fmla="*/ 7581317 w 13797425"/>
                <a:gd name="connsiteY3769" fmla="*/ 14207222 h 17966907"/>
                <a:gd name="connsiteX3770" fmla="*/ 7567022 w 13797425"/>
                <a:gd name="connsiteY3770" fmla="*/ 14235813 h 17966907"/>
                <a:gd name="connsiteX3771" fmla="*/ 7557491 w 13797425"/>
                <a:gd name="connsiteY3771" fmla="*/ 14254874 h 17966907"/>
                <a:gd name="connsiteX3772" fmla="*/ 7547961 w 13797425"/>
                <a:gd name="connsiteY3772" fmla="*/ 14269169 h 17966907"/>
                <a:gd name="connsiteX3773" fmla="*/ 7538430 w 13797425"/>
                <a:gd name="connsiteY3773" fmla="*/ 14278699 h 17966907"/>
                <a:gd name="connsiteX3774" fmla="*/ 7528900 w 13797425"/>
                <a:gd name="connsiteY3774" fmla="*/ 14288230 h 17966907"/>
                <a:gd name="connsiteX3775" fmla="*/ 7543196 w 13797425"/>
                <a:gd name="connsiteY3775" fmla="*/ 14283464 h 17966907"/>
                <a:gd name="connsiteX3776" fmla="*/ 7552726 w 13797425"/>
                <a:gd name="connsiteY3776" fmla="*/ 14278699 h 17966907"/>
                <a:gd name="connsiteX3777" fmla="*/ 7576552 w 13797425"/>
                <a:gd name="connsiteY3777" fmla="*/ 14259638 h 17966907"/>
                <a:gd name="connsiteX3778" fmla="*/ 7581317 w 13797425"/>
                <a:gd name="connsiteY3778" fmla="*/ 14254874 h 17966907"/>
                <a:gd name="connsiteX3779" fmla="*/ 7605142 w 13797425"/>
                <a:gd name="connsiteY3779" fmla="*/ 14250108 h 17966907"/>
                <a:gd name="connsiteX3780" fmla="*/ 7609908 w 13797425"/>
                <a:gd name="connsiteY3780" fmla="*/ 14259638 h 17966907"/>
                <a:gd name="connsiteX3781" fmla="*/ 7595612 w 13797425"/>
                <a:gd name="connsiteY3781" fmla="*/ 14273934 h 17966907"/>
                <a:gd name="connsiteX3782" fmla="*/ 7600378 w 13797425"/>
                <a:gd name="connsiteY3782" fmla="*/ 14273934 h 17966907"/>
                <a:gd name="connsiteX3783" fmla="*/ 7614672 w 13797425"/>
                <a:gd name="connsiteY3783" fmla="*/ 14264404 h 17966907"/>
                <a:gd name="connsiteX3784" fmla="*/ 7652794 w 13797425"/>
                <a:gd name="connsiteY3784" fmla="*/ 14245343 h 17966907"/>
                <a:gd name="connsiteX3785" fmla="*/ 7795748 w 13797425"/>
                <a:gd name="connsiteY3785" fmla="*/ 14197692 h 17966907"/>
                <a:gd name="connsiteX3786" fmla="*/ 7829104 w 13797425"/>
                <a:gd name="connsiteY3786" fmla="*/ 14192926 h 17966907"/>
                <a:gd name="connsiteX3787" fmla="*/ 7876754 w 13797425"/>
                <a:gd name="connsiteY3787" fmla="*/ 14202457 h 17966907"/>
                <a:gd name="connsiteX3788" fmla="*/ 7914876 w 13797425"/>
                <a:gd name="connsiteY3788" fmla="*/ 14221518 h 17966907"/>
                <a:gd name="connsiteX3789" fmla="*/ 7957762 w 13797425"/>
                <a:gd name="connsiteY3789" fmla="*/ 14250108 h 17966907"/>
                <a:gd name="connsiteX3790" fmla="*/ 8000648 w 13797425"/>
                <a:gd name="connsiteY3790" fmla="*/ 14269169 h 17966907"/>
                <a:gd name="connsiteX3791" fmla="*/ 8072125 w 13797425"/>
                <a:gd name="connsiteY3791" fmla="*/ 14288230 h 17966907"/>
                <a:gd name="connsiteX3792" fmla="*/ 8091186 w 13797425"/>
                <a:gd name="connsiteY3792" fmla="*/ 14297760 h 17966907"/>
                <a:gd name="connsiteX3793" fmla="*/ 8129306 w 13797425"/>
                <a:gd name="connsiteY3793" fmla="*/ 14307290 h 17966907"/>
                <a:gd name="connsiteX3794" fmla="*/ 8148367 w 13797425"/>
                <a:gd name="connsiteY3794" fmla="*/ 14316820 h 17966907"/>
                <a:gd name="connsiteX3795" fmla="*/ 8172192 w 13797425"/>
                <a:gd name="connsiteY3795" fmla="*/ 14345411 h 17966907"/>
                <a:gd name="connsiteX3796" fmla="*/ 8210314 w 13797425"/>
                <a:gd name="connsiteY3796" fmla="*/ 14378766 h 17966907"/>
                <a:gd name="connsiteX3797" fmla="*/ 8238904 w 13797425"/>
                <a:gd name="connsiteY3797" fmla="*/ 14397827 h 17966907"/>
                <a:gd name="connsiteX3798" fmla="*/ 8267495 w 13797425"/>
                <a:gd name="connsiteY3798" fmla="*/ 14416888 h 17966907"/>
                <a:gd name="connsiteX3799" fmla="*/ 8296086 w 13797425"/>
                <a:gd name="connsiteY3799" fmla="*/ 14455008 h 17966907"/>
                <a:gd name="connsiteX3800" fmla="*/ 8348502 w 13797425"/>
                <a:gd name="connsiteY3800" fmla="*/ 14531250 h 17966907"/>
                <a:gd name="connsiteX3801" fmla="*/ 8362798 w 13797425"/>
                <a:gd name="connsiteY3801" fmla="*/ 14540781 h 17966907"/>
                <a:gd name="connsiteX3802" fmla="*/ 8391388 w 13797425"/>
                <a:gd name="connsiteY3802" fmla="*/ 14555076 h 17966907"/>
                <a:gd name="connsiteX3803" fmla="*/ 8448570 w 13797425"/>
                <a:gd name="connsiteY3803" fmla="*/ 14574137 h 17966907"/>
                <a:gd name="connsiteX3804" fmla="*/ 8534342 w 13797425"/>
                <a:gd name="connsiteY3804" fmla="*/ 14612258 h 17966907"/>
                <a:gd name="connsiteX3805" fmla="*/ 8567698 w 13797425"/>
                <a:gd name="connsiteY3805" fmla="*/ 14626554 h 17966907"/>
                <a:gd name="connsiteX3806" fmla="*/ 8593906 w 13797425"/>
                <a:gd name="connsiteY3806" fmla="*/ 14631318 h 17966907"/>
                <a:gd name="connsiteX3807" fmla="*/ 8617732 w 13797425"/>
                <a:gd name="connsiteY3807" fmla="*/ 14645614 h 17966907"/>
                <a:gd name="connsiteX3808" fmla="*/ 8641558 w 13797425"/>
                <a:gd name="connsiteY3808" fmla="*/ 14659909 h 17966907"/>
                <a:gd name="connsiteX3809" fmla="*/ 8660618 w 13797425"/>
                <a:gd name="connsiteY3809" fmla="*/ 14674204 h 17966907"/>
                <a:gd name="connsiteX3810" fmla="*/ 8670148 w 13797425"/>
                <a:gd name="connsiteY3810" fmla="*/ 14693265 h 17966907"/>
                <a:gd name="connsiteX3811" fmla="*/ 8679679 w 13797425"/>
                <a:gd name="connsiteY3811" fmla="*/ 14707560 h 17966907"/>
                <a:gd name="connsiteX3812" fmla="*/ 8703504 w 13797425"/>
                <a:gd name="connsiteY3812" fmla="*/ 14717090 h 17966907"/>
                <a:gd name="connsiteX3813" fmla="*/ 8713035 w 13797425"/>
                <a:gd name="connsiteY3813" fmla="*/ 14731386 h 17966907"/>
                <a:gd name="connsiteX3814" fmla="*/ 8713035 w 13797425"/>
                <a:gd name="connsiteY3814" fmla="*/ 14740916 h 17966907"/>
                <a:gd name="connsiteX3815" fmla="*/ 8689209 w 13797425"/>
                <a:gd name="connsiteY3815" fmla="*/ 14798098 h 17966907"/>
                <a:gd name="connsiteX3816" fmla="*/ 8689209 w 13797425"/>
                <a:gd name="connsiteY3816" fmla="*/ 14802863 h 17966907"/>
                <a:gd name="connsiteX3817" fmla="*/ 8713035 w 13797425"/>
                <a:gd name="connsiteY3817" fmla="*/ 14764742 h 17966907"/>
                <a:gd name="connsiteX3818" fmla="*/ 8727330 w 13797425"/>
                <a:gd name="connsiteY3818" fmla="*/ 14750446 h 17966907"/>
                <a:gd name="connsiteX3819" fmla="*/ 8736860 w 13797425"/>
                <a:gd name="connsiteY3819" fmla="*/ 14745682 h 17966907"/>
                <a:gd name="connsiteX3820" fmla="*/ 8755921 w 13797425"/>
                <a:gd name="connsiteY3820" fmla="*/ 14745682 h 17966907"/>
                <a:gd name="connsiteX3821" fmla="*/ 8794042 w 13797425"/>
                <a:gd name="connsiteY3821" fmla="*/ 14755212 h 17966907"/>
                <a:gd name="connsiteX3822" fmla="*/ 8822633 w 13797425"/>
                <a:gd name="connsiteY3822" fmla="*/ 14755212 h 17966907"/>
                <a:gd name="connsiteX3823" fmla="*/ 8846458 w 13797425"/>
                <a:gd name="connsiteY3823" fmla="*/ 14745682 h 17966907"/>
                <a:gd name="connsiteX3824" fmla="*/ 8870284 w 13797425"/>
                <a:gd name="connsiteY3824" fmla="*/ 14745682 h 17966907"/>
                <a:gd name="connsiteX3825" fmla="*/ 8884579 w 13797425"/>
                <a:gd name="connsiteY3825" fmla="*/ 14745682 h 17966907"/>
                <a:gd name="connsiteX3826" fmla="*/ 8898875 w 13797425"/>
                <a:gd name="connsiteY3826" fmla="*/ 14740916 h 17966907"/>
                <a:gd name="connsiteX3827" fmla="*/ 8908405 w 13797425"/>
                <a:gd name="connsiteY3827" fmla="*/ 14736151 h 17966907"/>
                <a:gd name="connsiteX3828" fmla="*/ 8917935 w 13797425"/>
                <a:gd name="connsiteY3828" fmla="*/ 14736151 h 17966907"/>
                <a:gd name="connsiteX3829" fmla="*/ 8956056 w 13797425"/>
                <a:gd name="connsiteY3829" fmla="*/ 14750446 h 17966907"/>
                <a:gd name="connsiteX3830" fmla="*/ 8970351 w 13797425"/>
                <a:gd name="connsiteY3830" fmla="*/ 14755212 h 17966907"/>
                <a:gd name="connsiteX3831" fmla="*/ 9022768 w 13797425"/>
                <a:gd name="connsiteY3831" fmla="*/ 14764742 h 17966907"/>
                <a:gd name="connsiteX3832" fmla="*/ 9060889 w 13797425"/>
                <a:gd name="connsiteY3832" fmla="*/ 14759977 h 17966907"/>
                <a:gd name="connsiteX3833" fmla="*/ 9065654 w 13797425"/>
                <a:gd name="connsiteY3833" fmla="*/ 14764742 h 17966907"/>
                <a:gd name="connsiteX3834" fmla="*/ 9079949 w 13797425"/>
                <a:gd name="connsiteY3834" fmla="*/ 14779038 h 17966907"/>
                <a:gd name="connsiteX3835" fmla="*/ 9089480 w 13797425"/>
                <a:gd name="connsiteY3835" fmla="*/ 14783802 h 17966907"/>
                <a:gd name="connsiteX3836" fmla="*/ 9108540 w 13797425"/>
                <a:gd name="connsiteY3836" fmla="*/ 14779038 h 17966907"/>
                <a:gd name="connsiteX3837" fmla="*/ 9122836 w 13797425"/>
                <a:gd name="connsiteY3837" fmla="*/ 14783802 h 17966907"/>
                <a:gd name="connsiteX3838" fmla="*/ 9151426 w 13797425"/>
                <a:gd name="connsiteY3838" fmla="*/ 14807628 h 17966907"/>
                <a:gd name="connsiteX3839" fmla="*/ 9165722 w 13797425"/>
                <a:gd name="connsiteY3839" fmla="*/ 14826688 h 17966907"/>
                <a:gd name="connsiteX3840" fmla="*/ 9180017 w 13797425"/>
                <a:gd name="connsiteY3840" fmla="*/ 14864810 h 17966907"/>
                <a:gd name="connsiteX3841" fmla="*/ 9180017 w 13797425"/>
                <a:gd name="connsiteY3841" fmla="*/ 14874340 h 17966907"/>
                <a:gd name="connsiteX3842" fmla="*/ 9156191 w 13797425"/>
                <a:gd name="connsiteY3842" fmla="*/ 14964879 h 17966907"/>
                <a:gd name="connsiteX3843" fmla="*/ 9146661 w 13797425"/>
                <a:gd name="connsiteY3843" fmla="*/ 14998235 h 17966907"/>
                <a:gd name="connsiteX3844" fmla="*/ 9146661 w 13797425"/>
                <a:gd name="connsiteY3844" fmla="*/ 15026827 h 17966907"/>
                <a:gd name="connsiteX3845" fmla="*/ 9151426 w 13797425"/>
                <a:gd name="connsiteY3845" fmla="*/ 15045887 h 17966907"/>
                <a:gd name="connsiteX3846" fmla="*/ 9175252 w 13797425"/>
                <a:gd name="connsiteY3846" fmla="*/ 15074475 h 17966907"/>
                <a:gd name="connsiteX3847" fmla="*/ 9175252 w 13797425"/>
                <a:gd name="connsiteY3847" fmla="*/ 15084007 h 17966907"/>
                <a:gd name="connsiteX3848" fmla="*/ 9189547 w 13797425"/>
                <a:gd name="connsiteY3848" fmla="*/ 15122127 h 17966907"/>
                <a:gd name="connsiteX3849" fmla="*/ 9194312 w 13797425"/>
                <a:gd name="connsiteY3849" fmla="*/ 15141187 h 17966907"/>
                <a:gd name="connsiteX3850" fmla="*/ 9189547 w 13797425"/>
                <a:gd name="connsiteY3850" fmla="*/ 15160251 h 17966907"/>
                <a:gd name="connsiteX3851" fmla="*/ 9184782 w 13797425"/>
                <a:gd name="connsiteY3851" fmla="*/ 15198371 h 17966907"/>
                <a:gd name="connsiteX3852" fmla="*/ 9184782 w 13797425"/>
                <a:gd name="connsiteY3852" fmla="*/ 15222195 h 17966907"/>
                <a:gd name="connsiteX3853" fmla="*/ 9189547 w 13797425"/>
                <a:gd name="connsiteY3853" fmla="*/ 15260315 h 17966907"/>
                <a:gd name="connsiteX3854" fmla="*/ 9189547 w 13797425"/>
                <a:gd name="connsiteY3854" fmla="*/ 15288907 h 17966907"/>
                <a:gd name="connsiteX3855" fmla="*/ 9180017 w 13797425"/>
                <a:gd name="connsiteY3855" fmla="*/ 15303203 h 17966907"/>
                <a:gd name="connsiteX3856" fmla="*/ 9175252 w 13797425"/>
                <a:gd name="connsiteY3856" fmla="*/ 15312735 h 17966907"/>
                <a:gd name="connsiteX3857" fmla="*/ 9170487 w 13797425"/>
                <a:gd name="connsiteY3857" fmla="*/ 15336559 h 17966907"/>
                <a:gd name="connsiteX3858" fmla="*/ 9170487 w 13797425"/>
                <a:gd name="connsiteY3858" fmla="*/ 15346091 h 17966907"/>
                <a:gd name="connsiteX3859" fmla="*/ 9175252 w 13797425"/>
                <a:gd name="connsiteY3859" fmla="*/ 15365151 h 17966907"/>
                <a:gd name="connsiteX3860" fmla="*/ 9184782 w 13797425"/>
                <a:gd name="connsiteY3860" fmla="*/ 15374679 h 17966907"/>
                <a:gd name="connsiteX3861" fmla="*/ 9199078 w 13797425"/>
                <a:gd name="connsiteY3861" fmla="*/ 15388975 h 17966907"/>
                <a:gd name="connsiteX3862" fmla="*/ 9213373 w 13797425"/>
                <a:gd name="connsiteY3862" fmla="*/ 15403271 h 17966907"/>
                <a:gd name="connsiteX3863" fmla="*/ 9237199 w 13797425"/>
                <a:gd name="connsiteY3863" fmla="*/ 15446155 h 17966907"/>
                <a:gd name="connsiteX3864" fmla="*/ 9256259 w 13797425"/>
                <a:gd name="connsiteY3864" fmla="*/ 15469983 h 17966907"/>
                <a:gd name="connsiteX3865" fmla="*/ 9275320 w 13797425"/>
                <a:gd name="connsiteY3865" fmla="*/ 15503339 h 17966907"/>
                <a:gd name="connsiteX3866" fmla="*/ 9280085 w 13797425"/>
                <a:gd name="connsiteY3866" fmla="*/ 15517635 h 17966907"/>
                <a:gd name="connsiteX3867" fmla="*/ 9275320 w 13797425"/>
                <a:gd name="connsiteY3867" fmla="*/ 15531931 h 17966907"/>
                <a:gd name="connsiteX3868" fmla="*/ 9265789 w 13797425"/>
                <a:gd name="connsiteY3868" fmla="*/ 15536695 h 17966907"/>
                <a:gd name="connsiteX3869" fmla="*/ 9251494 w 13797425"/>
                <a:gd name="connsiteY3869" fmla="*/ 15546223 h 17966907"/>
                <a:gd name="connsiteX3870" fmla="*/ 9241964 w 13797425"/>
                <a:gd name="connsiteY3870" fmla="*/ 15555755 h 17966907"/>
                <a:gd name="connsiteX3871" fmla="*/ 9270555 w 13797425"/>
                <a:gd name="connsiteY3871" fmla="*/ 15550991 h 17966907"/>
                <a:gd name="connsiteX3872" fmla="*/ 9284850 w 13797425"/>
                <a:gd name="connsiteY3872" fmla="*/ 15550991 h 17966907"/>
                <a:gd name="connsiteX3873" fmla="*/ 9299145 w 13797425"/>
                <a:gd name="connsiteY3873" fmla="*/ 15560519 h 17966907"/>
                <a:gd name="connsiteX3874" fmla="*/ 9308676 w 13797425"/>
                <a:gd name="connsiteY3874" fmla="*/ 15574815 h 17966907"/>
                <a:gd name="connsiteX3875" fmla="*/ 9327736 w 13797425"/>
                <a:gd name="connsiteY3875" fmla="*/ 15589111 h 17966907"/>
                <a:gd name="connsiteX3876" fmla="*/ 9351562 w 13797425"/>
                <a:gd name="connsiteY3876" fmla="*/ 15598639 h 17966907"/>
                <a:gd name="connsiteX3877" fmla="*/ 9375387 w 13797425"/>
                <a:gd name="connsiteY3877" fmla="*/ 15617703 h 17966907"/>
                <a:gd name="connsiteX3878" fmla="*/ 9418273 w 13797425"/>
                <a:gd name="connsiteY3878" fmla="*/ 15665351 h 17966907"/>
                <a:gd name="connsiteX3879" fmla="*/ 9423039 w 13797425"/>
                <a:gd name="connsiteY3879" fmla="*/ 15674883 h 17966907"/>
                <a:gd name="connsiteX3880" fmla="*/ 9437334 w 13797425"/>
                <a:gd name="connsiteY3880" fmla="*/ 15698707 h 17966907"/>
                <a:gd name="connsiteX3881" fmla="*/ 9446864 w 13797425"/>
                <a:gd name="connsiteY3881" fmla="*/ 15732063 h 17966907"/>
                <a:gd name="connsiteX3882" fmla="*/ 9456394 w 13797425"/>
                <a:gd name="connsiteY3882" fmla="*/ 15755891 h 17966907"/>
                <a:gd name="connsiteX3883" fmla="*/ 9456394 w 13797425"/>
                <a:gd name="connsiteY3883" fmla="*/ 15765419 h 17966907"/>
                <a:gd name="connsiteX3884" fmla="*/ 9446864 w 13797425"/>
                <a:gd name="connsiteY3884" fmla="*/ 15779715 h 17966907"/>
                <a:gd name="connsiteX3885" fmla="*/ 9423039 w 13797425"/>
                <a:gd name="connsiteY3885" fmla="*/ 15798775 h 17966907"/>
                <a:gd name="connsiteX3886" fmla="*/ 9394448 w 13797425"/>
                <a:gd name="connsiteY3886" fmla="*/ 15832131 h 17966907"/>
                <a:gd name="connsiteX3887" fmla="*/ 9403978 w 13797425"/>
                <a:gd name="connsiteY3887" fmla="*/ 15832131 h 17966907"/>
                <a:gd name="connsiteX3888" fmla="*/ 9423039 w 13797425"/>
                <a:gd name="connsiteY3888" fmla="*/ 15817835 h 17966907"/>
                <a:gd name="connsiteX3889" fmla="*/ 9451629 w 13797425"/>
                <a:gd name="connsiteY3889" fmla="*/ 15789247 h 17966907"/>
                <a:gd name="connsiteX3890" fmla="*/ 9470690 w 13797425"/>
                <a:gd name="connsiteY3890" fmla="*/ 15779715 h 17966907"/>
                <a:gd name="connsiteX3891" fmla="*/ 9484985 w 13797425"/>
                <a:gd name="connsiteY3891" fmla="*/ 15784479 h 17966907"/>
                <a:gd name="connsiteX3892" fmla="*/ 9508811 w 13797425"/>
                <a:gd name="connsiteY3892" fmla="*/ 15794011 h 17966907"/>
                <a:gd name="connsiteX3893" fmla="*/ 9532637 w 13797425"/>
                <a:gd name="connsiteY3893" fmla="*/ 15803543 h 17966907"/>
                <a:gd name="connsiteX3894" fmla="*/ 9551697 w 13797425"/>
                <a:gd name="connsiteY3894" fmla="*/ 15822603 h 17966907"/>
                <a:gd name="connsiteX3895" fmla="*/ 9580288 w 13797425"/>
                <a:gd name="connsiteY3895" fmla="*/ 15860723 h 17966907"/>
                <a:gd name="connsiteX3896" fmla="*/ 9613644 w 13797425"/>
                <a:gd name="connsiteY3896" fmla="*/ 15894079 h 17966907"/>
                <a:gd name="connsiteX3897" fmla="*/ 9627939 w 13797425"/>
                <a:gd name="connsiteY3897" fmla="*/ 15922671 h 17966907"/>
                <a:gd name="connsiteX3898" fmla="*/ 9623174 w 13797425"/>
                <a:gd name="connsiteY3898" fmla="*/ 15903607 h 17966907"/>
                <a:gd name="connsiteX3899" fmla="*/ 9613644 w 13797425"/>
                <a:gd name="connsiteY3899" fmla="*/ 15884547 h 17966907"/>
                <a:gd name="connsiteX3900" fmla="*/ 9585053 w 13797425"/>
                <a:gd name="connsiteY3900" fmla="*/ 15851191 h 17966907"/>
                <a:gd name="connsiteX3901" fmla="*/ 9570758 w 13797425"/>
                <a:gd name="connsiteY3901" fmla="*/ 15832131 h 17966907"/>
                <a:gd name="connsiteX3902" fmla="*/ 9570758 w 13797425"/>
                <a:gd name="connsiteY3902" fmla="*/ 15827367 h 17966907"/>
                <a:gd name="connsiteX3903" fmla="*/ 9565992 w 13797425"/>
                <a:gd name="connsiteY3903" fmla="*/ 15817835 h 17966907"/>
                <a:gd name="connsiteX3904" fmla="*/ 9570758 w 13797425"/>
                <a:gd name="connsiteY3904" fmla="*/ 15798775 h 17966907"/>
                <a:gd name="connsiteX3905" fmla="*/ 9575523 w 13797425"/>
                <a:gd name="connsiteY3905" fmla="*/ 15774951 h 17966907"/>
                <a:gd name="connsiteX3906" fmla="*/ 9580288 w 13797425"/>
                <a:gd name="connsiteY3906" fmla="*/ 15760655 h 17966907"/>
                <a:gd name="connsiteX3907" fmla="*/ 9589818 w 13797425"/>
                <a:gd name="connsiteY3907" fmla="*/ 15751123 h 17966907"/>
                <a:gd name="connsiteX3908" fmla="*/ 9599348 w 13797425"/>
                <a:gd name="connsiteY3908" fmla="*/ 15741595 h 17966907"/>
                <a:gd name="connsiteX3909" fmla="*/ 9599348 w 13797425"/>
                <a:gd name="connsiteY3909" fmla="*/ 15727299 h 17966907"/>
                <a:gd name="connsiteX3910" fmla="*/ 9604113 w 13797425"/>
                <a:gd name="connsiteY3910" fmla="*/ 15722535 h 17966907"/>
                <a:gd name="connsiteX3911" fmla="*/ 9627939 w 13797425"/>
                <a:gd name="connsiteY3911" fmla="*/ 15708239 h 17966907"/>
                <a:gd name="connsiteX3912" fmla="*/ 9637469 w 13797425"/>
                <a:gd name="connsiteY3912" fmla="*/ 15708239 h 17966907"/>
                <a:gd name="connsiteX3913" fmla="*/ 9642234 w 13797425"/>
                <a:gd name="connsiteY3913" fmla="*/ 15727299 h 17966907"/>
                <a:gd name="connsiteX3914" fmla="*/ 9647000 w 13797425"/>
                <a:gd name="connsiteY3914" fmla="*/ 15727299 h 17966907"/>
                <a:gd name="connsiteX3915" fmla="*/ 9661295 w 13797425"/>
                <a:gd name="connsiteY3915" fmla="*/ 15732063 h 17966907"/>
                <a:gd name="connsiteX3916" fmla="*/ 9666060 w 13797425"/>
                <a:gd name="connsiteY3916" fmla="*/ 15736831 h 17966907"/>
                <a:gd name="connsiteX3917" fmla="*/ 9675590 w 13797425"/>
                <a:gd name="connsiteY3917" fmla="*/ 15746359 h 17966907"/>
                <a:gd name="connsiteX3918" fmla="*/ 9680355 w 13797425"/>
                <a:gd name="connsiteY3918" fmla="*/ 15755891 h 17966907"/>
                <a:gd name="connsiteX3919" fmla="*/ 9685121 w 13797425"/>
                <a:gd name="connsiteY3919" fmla="*/ 15765419 h 17966907"/>
                <a:gd name="connsiteX3920" fmla="*/ 9694651 w 13797425"/>
                <a:gd name="connsiteY3920" fmla="*/ 15798775 h 17966907"/>
                <a:gd name="connsiteX3921" fmla="*/ 9699416 w 13797425"/>
                <a:gd name="connsiteY3921" fmla="*/ 15813071 h 17966907"/>
                <a:gd name="connsiteX3922" fmla="*/ 9699416 w 13797425"/>
                <a:gd name="connsiteY3922" fmla="*/ 15794011 h 17966907"/>
                <a:gd name="connsiteX3923" fmla="*/ 9704181 w 13797425"/>
                <a:gd name="connsiteY3923" fmla="*/ 15770187 h 17966907"/>
                <a:gd name="connsiteX3924" fmla="*/ 9708946 w 13797425"/>
                <a:gd name="connsiteY3924" fmla="*/ 15755891 h 17966907"/>
                <a:gd name="connsiteX3925" fmla="*/ 9723242 w 13797425"/>
                <a:gd name="connsiteY3925" fmla="*/ 15736831 h 17966907"/>
                <a:gd name="connsiteX3926" fmla="*/ 9723242 w 13797425"/>
                <a:gd name="connsiteY3926" fmla="*/ 15732063 h 17966907"/>
                <a:gd name="connsiteX3927" fmla="*/ 9718476 w 13797425"/>
                <a:gd name="connsiteY3927" fmla="*/ 15722535 h 17966907"/>
                <a:gd name="connsiteX3928" fmla="*/ 9685121 w 13797425"/>
                <a:gd name="connsiteY3928" fmla="*/ 15679647 h 17966907"/>
                <a:gd name="connsiteX3929" fmla="*/ 9685121 w 13797425"/>
                <a:gd name="connsiteY3929" fmla="*/ 15670119 h 17966907"/>
                <a:gd name="connsiteX3930" fmla="*/ 9694651 w 13797425"/>
                <a:gd name="connsiteY3930" fmla="*/ 15665351 h 17966907"/>
                <a:gd name="connsiteX3931" fmla="*/ 9699416 w 13797425"/>
                <a:gd name="connsiteY3931" fmla="*/ 15651059 h 17966907"/>
                <a:gd name="connsiteX3932" fmla="*/ 9704181 w 13797425"/>
                <a:gd name="connsiteY3932" fmla="*/ 15636763 h 17966907"/>
                <a:gd name="connsiteX3933" fmla="*/ 9708946 w 13797425"/>
                <a:gd name="connsiteY3933" fmla="*/ 15622467 h 17966907"/>
                <a:gd name="connsiteX3934" fmla="*/ 9728007 w 13797425"/>
                <a:gd name="connsiteY3934" fmla="*/ 15603407 h 17966907"/>
                <a:gd name="connsiteX3935" fmla="*/ 9747067 w 13797425"/>
                <a:gd name="connsiteY3935" fmla="*/ 15574815 h 17966907"/>
                <a:gd name="connsiteX3936" fmla="*/ 9756598 w 13797425"/>
                <a:gd name="connsiteY3936" fmla="*/ 15560519 h 17966907"/>
                <a:gd name="connsiteX3937" fmla="*/ 9761363 w 13797425"/>
                <a:gd name="connsiteY3937" fmla="*/ 15550991 h 17966907"/>
                <a:gd name="connsiteX3938" fmla="*/ 9770893 w 13797425"/>
                <a:gd name="connsiteY3938" fmla="*/ 15546223 h 17966907"/>
                <a:gd name="connsiteX3939" fmla="*/ 9756598 w 13797425"/>
                <a:gd name="connsiteY3939" fmla="*/ 15536695 h 17966907"/>
                <a:gd name="connsiteX3940" fmla="*/ 9756598 w 13797425"/>
                <a:gd name="connsiteY3940" fmla="*/ 15531931 h 17966907"/>
                <a:gd name="connsiteX3941" fmla="*/ 9756598 w 13797425"/>
                <a:gd name="connsiteY3941" fmla="*/ 15512867 h 17966907"/>
                <a:gd name="connsiteX3942" fmla="*/ 9751832 w 13797425"/>
                <a:gd name="connsiteY3942" fmla="*/ 15489043 h 17966907"/>
                <a:gd name="connsiteX3943" fmla="*/ 9747067 w 13797425"/>
                <a:gd name="connsiteY3943" fmla="*/ 15474747 h 17966907"/>
                <a:gd name="connsiteX3944" fmla="*/ 9728007 w 13797425"/>
                <a:gd name="connsiteY3944" fmla="*/ 15450923 h 17966907"/>
                <a:gd name="connsiteX3945" fmla="*/ 9723242 w 13797425"/>
                <a:gd name="connsiteY3945" fmla="*/ 15446155 h 17966907"/>
                <a:gd name="connsiteX3946" fmla="*/ 9718476 w 13797425"/>
                <a:gd name="connsiteY3946" fmla="*/ 15417567 h 17966907"/>
                <a:gd name="connsiteX3947" fmla="*/ 9723242 w 13797425"/>
                <a:gd name="connsiteY3947" fmla="*/ 15403271 h 17966907"/>
                <a:gd name="connsiteX3948" fmla="*/ 9728007 w 13797425"/>
                <a:gd name="connsiteY3948" fmla="*/ 15393739 h 17966907"/>
                <a:gd name="connsiteX3949" fmla="*/ 9723242 w 13797425"/>
                <a:gd name="connsiteY3949" fmla="*/ 15384211 h 17966907"/>
                <a:gd name="connsiteX3950" fmla="*/ 9704181 w 13797425"/>
                <a:gd name="connsiteY3950" fmla="*/ 15360383 h 17966907"/>
                <a:gd name="connsiteX3951" fmla="*/ 9699416 w 13797425"/>
                <a:gd name="connsiteY3951" fmla="*/ 15346091 h 17966907"/>
                <a:gd name="connsiteX3952" fmla="*/ 9689886 w 13797425"/>
                <a:gd name="connsiteY3952" fmla="*/ 15303203 h 17966907"/>
                <a:gd name="connsiteX3953" fmla="*/ 9685121 w 13797425"/>
                <a:gd name="connsiteY3953" fmla="*/ 15250787 h 17966907"/>
                <a:gd name="connsiteX3954" fmla="*/ 9675590 w 13797425"/>
                <a:gd name="connsiteY3954" fmla="*/ 15207899 h 17966907"/>
                <a:gd name="connsiteX3955" fmla="*/ 9666060 w 13797425"/>
                <a:gd name="connsiteY3955" fmla="*/ 15184075 h 17966907"/>
                <a:gd name="connsiteX3956" fmla="*/ 9666060 w 13797425"/>
                <a:gd name="connsiteY3956" fmla="*/ 15169779 h 17966907"/>
                <a:gd name="connsiteX3957" fmla="*/ 9670825 w 13797425"/>
                <a:gd name="connsiteY3957" fmla="*/ 15160251 h 17966907"/>
                <a:gd name="connsiteX3958" fmla="*/ 9675590 w 13797425"/>
                <a:gd name="connsiteY3958" fmla="*/ 15141187 h 17966907"/>
                <a:gd name="connsiteX3959" fmla="*/ 9680355 w 13797425"/>
                <a:gd name="connsiteY3959" fmla="*/ 15136423 h 17966907"/>
                <a:gd name="connsiteX3960" fmla="*/ 9689886 w 13797425"/>
                <a:gd name="connsiteY3960" fmla="*/ 15136423 h 17966907"/>
                <a:gd name="connsiteX3961" fmla="*/ 9675590 w 13797425"/>
                <a:gd name="connsiteY3961" fmla="*/ 15126895 h 17966907"/>
                <a:gd name="connsiteX3962" fmla="*/ 9670825 w 13797425"/>
                <a:gd name="connsiteY3962" fmla="*/ 15112599 h 17966907"/>
                <a:gd name="connsiteX3963" fmla="*/ 9670825 w 13797425"/>
                <a:gd name="connsiteY3963" fmla="*/ 15107831 h 17966907"/>
                <a:gd name="connsiteX3964" fmla="*/ 9685121 w 13797425"/>
                <a:gd name="connsiteY3964" fmla="*/ 15093539 h 17966907"/>
                <a:gd name="connsiteX3965" fmla="*/ 9680355 w 13797425"/>
                <a:gd name="connsiteY3965" fmla="*/ 15088771 h 17966907"/>
                <a:gd name="connsiteX3966" fmla="*/ 9670825 w 13797425"/>
                <a:gd name="connsiteY3966" fmla="*/ 15079243 h 17966907"/>
                <a:gd name="connsiteX3967" fmla="*/ 9647000 w 13797425"/>
                <a:gd name="connsiteY3967" fmla="*/ 15064947 h 17966907"/>
                <a:gd name="connsiteX3968" fmla="*/ 9656530 w 13797425"/>
                <a:gd name="connsiteY3968" fmla="*/ 15060183 h 17966907"/>
                <a:gd name="connsiteX3969" fmla="*/ 9661295 w 13797425"/>
                <a:gd name="connsiteY3969" fmla="*/ 15050651 h 17966907"/>
                <a:gd name="connsiteX3970" fmla="*/ 9651765 w 13797425"/>
                <a:gd name="connsiteY3970" fmla="*/ 15045887 h 17966907"/>
                <a:gd name="connsiteX3971" fmla="*/ 9637469 w 13797425"/>
                <a:gd name="connsiteY3971" fmla="*/ 15036355 h 17966907"/>
                <a:gd name="connsiteX3972" fmla="*/ 9627939 w 13797425"/>
                <a:gd name="connsiteY3972" fmla="*/ 15022059 h 17966907"/>
                <a:gd name="connsiteX3973" fmla="*/ 9613644 w 13797425"/>
                <a:gd name="connsiteY3973" fmla="*/ 15002999 h 17966907"/>
                <a:gd name="connsiteX3974" fmla="*/ 9608879 w 13797425"/>
                <a:gd name="connsiteY3974" fmla="*/ 14988703 h 17966907"/>
                <a:gd name="connsiteX3975" fmla="*/ 9599348 w 13797425"/>
                <a:gd name="connsiteY3975" fmla="*/ 14960115 h 17966907"/>
                <a:gd name="connsiteX3976" fmla="*/ 9589818 w 13797425"/>
                <a:gd name="connsiteY3976" fmla="*/ 14931523 h 17966907"/>
                <a:gd name="connsiteX3977" fmla="*/ 9585053 w 13797425"/>
                <a:gd name="connsiteY3977" fmla="*/ 14926759 h 17966907"/>
                <a:gd name="connsiteX3978" fmla="*/ 9580288 w 13797425"/>
                <a:gd name="connsiteY3978" fmla="*/ 14921991 h 17966907"/>
                <a:gd name="connsiteX3979" fmla="*/ 9570758 w 13797425"/>
                <a:gd name="connsiteY3979" fmla="*/ 14917227 h 17966907"/>
                <a:gd name="connsiteX3980" fmla="*/ 9570758 w 13797425"/>
                <a:gd name="connsiteY3980" fmla="*/ 14912463 h 17966907"/>
                <a:gd name="connsiteX3981" fmla="*/ 9580288 w 13797425"/>
                <a:gd name="connsiteY3981" fmla="*/ 14907699 h 17966907"/>
                <a:gd name="connsiteX3982" fmla="*/ 9699416 w 13797425"/>
                <a:gd name="connsiteY3982" fmla="*/ 14855280 h 17966907"/>
                <a:gd name="connsiteX3983" fmla="*/ 9708946 w 13797425"/>
                <a:gd name="connsiteY3983" fmla="*/ 14850514 h 17966907"/>
                <a:gd name="connsiteX3984" fmla="*/ 9766128 w 13797425"/>
                <a:gd name="connsiteY3984" fmla="*/ 14821924 h 17966907"/>
                <a:gd name="connsiteX3985" fmla="*/ 9789953 w 13797425"/>
                <a:gd name="connsiteY3985" fmla="*/ 14807628 h 17966907"/>
                <a:gd name="connsiteX3986" fmla="*/ 9818544 w 13797425"/>
                <a:gd name="connsiteY3986" fmla="*/ 14783802 h 17966907"/>
                <a:gd name="connsiteX3987" fmla="*/ 9856665 w 13797425"/>
                <a:gd name="connsiteY3987" fmla="*/ 14759977 h 17966907"/>
                <a:gd name="connsiteX3988" fmla="*/ 9875726 w 13797425"/>
                <a:gd name="connsiteY3988" fmla="*/ 14745682 h 17966907"/>
                <a:gd name="connsiteX3989" fmla="*/ 9885256 w 13797425"/>
                <a:gd name="connsiteY3989" fmla="*/ 14731386 h 17966907"/>
                <a:gd name="connsiteX3990" fmla="*/ 9942437 w 13797425"/>
                <a:gd name="connsiteY3990" fmla="*/ 14674204 h 17966907"/>
                <a:gd name="connsiteX3991" fmla="*/ 9971028 w 13797425"/>
                <a:gd name="connsiteY3991" fmla="*/ 14640848 h 17966907"/>
                <a:gd name="connsiteX3992" fmla="*/ 9985324 w 13797425"/>
                <a:gd name="connsiteY3992" fmla="*/ 14617023 h 17966907"/>
                <a:gd name="connsiteX3993" fmla="*/ 10004384 w 13797425"/>
                <a:gd name="connsiteY3993" fmla="*/ 14583667 h 17966907"/>
                <a:gd name="connsiteX3994" fmla="*/ 10032975 w 13797425"/>
                <a:gd name="connsiteY3994" fmla="*/ 14550311 h 17966907"/>
                <a:gd name="connsiteX3995" fmla="*/ 10052035 w 13797425"/>
                <a:gd name="connsiteY3995" fmla="*/ 14516956 h 17966907"/>
                <a:gd name="connsiteX3996" fmla="*/ 10056801 w 13797425"/>
                <a:gd name="connsiteY3996" fmla="*/ 14493130 h 17966907"/>
                <a:gd name="connsiteX3997" fmla="*/ 10066331 w 13797425"/>
                <a:gd name="connsiteY3997" fmla="*/ 14445478 h 17966907"/>
                <a:gd name="connsiteX3998" fmla="*/ 10071096 w 13797425"/>
                <a:gd name="connsiteY3998" fmla="*/ 14407358 h 17966907"/>
                <a:gd name="connsiteX3999" fmla="*/ 10071096 w 13797425"/>
                <a:gd name="connsiteY3999" fmla="*/ 14350176 h 17966907"/>
                <a:gd name="connsiteX4000" fmla="*/ 10071096 w 13797425"/>
                <a:gd name="connsiteY4000" fmla="*/ 14297760 h 17966907"/>
                <a:gd name="connsiteX4001" fmla="*/ 10061566 w 13797425"/>
                <a:gd name="connsiteY4001" fmla="*/ 14211987 h 17966907"/>
                <a:gd name="connsiteX4002" fmla="*/ 10056801 w 13797425"/>
                <a:gd name="connsiteY4002" fmla="*/ 14188162 h 17966907"/>
                <a:gd name="connsiteX4003" fmla="*/ 10047270 w 13797425"/>
                <a:gd name="connsiteY4003" fmla="*/ 14154806 h 17966907"/>
                <a:gd name="connsiteX4004" fmla="*/ 10028210 w 13797425"/>
                <a:gd name="connsiteY4004" fmla="*/ 14092859 h 17966907"/>
                <a:gd name="connsiteX4005" fmla="*/ 10023445 w 13797425"/>
                <a:gd name="connsiteY4005" fmla="*/ 14073798 h 17966907"/>
                <a:gd name="connsiteX4006" fmla="*/ 10013914 w 13797425"/>
                <a:gd name="connsiteY4006" fmla="*/ 14045208 h 17966907"/>
                <a:gd name="connsiteX4007" fmla="*/ 9971028 w 13797425"/>
                <a:gd name="connsiteY4007" fmla="*/ 13968966 h 17966907"/>
                <a:gd name="connsiteX4008" fmla="*/ 9918612 w 13797425"/>
                <a:gd name="connsiteY4008" fmla="*/ 13916550 h 17966907"/>
                <a:gd name="connsiteX4009" fmla="*/ 9909082 w 13797425"/>
                <a:gd name="connsiteY4009" fmla="*/ 13902254 h 17966907"/>
                <a:gd name="connsiteX4010" fmla="*/ 9890021 w 13797425"/>
                <a:gd name="connsiteY4010" fmla="*/ 13887958 h 17966907"/>
                <a:gd name="connsiteX4011" fmla="*/ 9856665 w 13797425"/>
                <a:gd name="connsiteY4011" fmla="*/ 13868898 h 17966907"/>
                <a:gd name="connsiteX4012" fmla="*/ 9837605 w 13797425"/>
                <a:gd name="connsiteY4012" fmla="*/ 13854602 h 17966907"/>
                <a:gd name="connsiteX4013" fmla="*/ 9785188 w 13797425"/>
                <a:gd name="connsiteY4013" fmla="*/ 13802186 h 17966907"/>
                <a:gd name="connsiteX4014" fmla="*/ 9766128 w 13797425"/>
                <a:gd name="connsiteY4014" fmla="*/ 13797421 h 17966907"/>
                <a:gd name="connsiteX4015" fmla="*/ 9761363 w 13797425"/>
                <a:gd name="connsiteY4015" fmla="*/ 13783126 h 17966907"/>
                <a:gd name="connsiteX4016" fmla="*/ 9756598 w 13797425"/>
                <a:gd name="connsiteY4016" fmla="*/ 13773596 h 17966907"/>
                <a:gd name="connsiteX4017" fmla="*/ 9761363 w 13797425"/>
                <a:gd name="connsiteY4017" fmla="*/ 13745005 h 17966907"/>
                <a:gd name="connsiteX4018" fmla="*/ 9766128 w 13797425"/>
                <a:gd name="connsiteY4018" fmla="*/ 13725944 h 17966907"/>
                <a:gd name="connsiteX4019" fmla="*/ 9766128 w 13797425"/>
                <a:gd name="connsiteY4019" fmla="*/ 13716414 h 17966907"/>
                <a:gd name="connsiteX4020" fmla="*/ 9770893 w 13797425"/>
                <a:gd name="connsiteY4020" fmla="*/ 13706884 h 17966907"/>
                <a:gd name="connsiteX4021" fmla="*/ 9799484 w 13797425"/>
                <a:gd name="connsiteY4021" fmla="*/ 13663998 h 17966907"/>
                <a:gd name="connsiteX4022" fmla="*/ 9818544 w 13797425"/>
                <a:gd name="connsiteY4022" fmla="*/ 13635407 h 17966907"/>
                <a:gd name="connsiteX4023" fmla="*/ 9828074 w 13797425"/>
                <a:gd name="connsiteY4023" fmla="*/ 13616346 h 17966907"/>
                <a:gd name="connsiteX4024" fmla="*/ 9842370 w 13797425"/>
                <a:gd name="connsiteY4024" fmla="*/ 13602051 h 17966907"/>
                <a:gd name="connsiteX4025" fmla="*/ 9861430 w 13797425"/>
                <a:gd name="connsiteY4025" fmla="*/ 13582990 h 17966907"/>
                <a:gd name="connsiteX4026" fmla="*/ 9875726 w 13797425"/>
                <a:gd name="connsiteY4026" fmla="*/ 13559165 h 17966907"/>
                <a:gd name="connsiteX4027" fmla="*/ 9875726 w 13797425"/>
                <a:gd name="connsiteY4027" fmla="*/ 13549634 h 17966907"/>
                <a:gd name="connsiteX4028" fmla="*/ 9861430 w 13797425"/>
                <a:gd name="connsiteY4028" fmla="*/ 13540104 h 17966907"/>
                <a:gd name="connsiteX4029" fmla="*/ 9861430 w 13797425"/>
                <a:gd name="connsiteY4029" fmla="*/ 13530574 h 17966907"/>
                <a:gd name="connsiteX4030" fmla="*/ 9880491 w 13797425"/>
                <a:gd name="connsiteY4030" fmla="*/ 13506748 h 17966907"/>
                <a:gd name="connsiteX4031" fmla="*/ 9880491 w 13797425"/>
                <a:gd name="connsiteY4031" fmla="*/ 13497218 h 17966907"/>
                <a:gd name="connsiteX4032" fmla="*/ 9880491 w 13797425"/>
                <a:gd name="connsiteY4032" fmla="*/ 13473392 h 17966907"/>
                <a:gd name="connsiteX4033" fmla="*/ 9880491 w 13797425"/>
                <a:gd name="connsiteY4033" fmla="*/ 13468628 h 17966907"/>
                <a:gd name="connsiteX4034" fmla="*/ 9904316 w 13797425"/>
                <a:gd name="connsiteY4034" fmla="*/ 13468628 h 17966907"/>
                <a:gd name="connsiteX4035" fmla="*/ 9932907 w 13797425"/>
                <a:gd name="connsiteY4035" fmla="*/ 13501984 h 17966907"/>
                <a:gd name="connsiteX4036" fmla="*/ 9942437 w 13797425"/>
                <a:gd name="connsiteY4036" fmla="*/ 13497218 h 17966907"/>
                <a:gd name="connsiteX4037" fmla="*/ 9932907 w 13797425"/>
                <a:gd name="connsiteY4037" fmla="*/ 13487688 h 17966907"/>
                <a:gd name="connsiteX4038" fmla="*/ 9918612 w 13797425"/>
                <a:gd name="connsiteY4038" fmla="*/ 13463862 h 17966907"/>
                <a:gd name="connsiteX4039" fmla="*/ 9923377 w 13797425"/>
                <a:gd name="connsiteY4039" fmla="*/ 13459097 h 17966907"/>
                <a:gd name="connsiteX4040" fmla="*/ 9942437 w 13797425"/>
                <a:gd name="connsiteY4040" fmla="*/ 13430506 h 17966907"/>
                <a:gd name="connsiteX4041" fmla="*/ 9942437 w 13797425"/>
                <a:gd name="connsiteY4041" fmla="*/ 13420976 h 17966907"/>
                <a:gd name="connsiteX4042" fmla="*/ 9937672 w 13797425"/>
                <a:gd name="connsiteY4042" fmla="*/ 13401916 h 17966907"/>
                <a:gd name="connsiteX4043" fmla="*/ 9937672 w 13797425"/>
                <a:gd name="connsiteY4043" fmla="*/ 13392386 h 17966907"/>
                <a:gd name="connsiteX4044" fmla="*/ 9951968 w 13797425"/>
                <a:gd name="connsiteY4044" fmla="*/ 13359030 h 17966907"/>
                <a:gd name="connsiteX4045" fmla="*/ 9947203 w 13797425"/>
                <a:gd name="connsiteY4045" fmla="*/ 13354264 h 17966907"/>
                <a:gd name="connsiteX4046" fmla="*/ 9909082 w 13797425"/>
                <a:gd name="connsiteY4046" fmla="*/ 13349500 h 17966907"/>
                <a:gd name="connsiteX4047" fmla="*/ 9904316 w 13797425"/>
                <a:gd name="connsiteY4047" fmla="*/ 13339969 h 17966907"/>
                <a:gd name="connsiteX4048" fmla="*/ 9904316 w 13797425"/>
                <a:gd name="connsiteY4048" fmla="*/ 13335204 h 17966907"/>
                <a:gd name="connsiteX4049" fmla="*/ 9923377 w 13797425"/>
                <a:gd name="connsiteY4049" fmla="*/ 13325674 h 17966907"/>
                <a:gd name="connsiteX4050" fmla="*/ 9923377 w 13797425"/>
                <a:gd name="connsiteY4050" fmla="*/ 13320908 h 17966907"/>
                <a:gd name="connsiteX4051" fmla="*/ 9894786 w 13797425"/>
                <a:gd name="connsiteY4051" fmla="*/ 13254197 h 17966907"/>
                <a:gd name="connsiteX4052" fmla="*/ 9890021 w 13797425"/>
                <a:gd name="connsiteY4052" fmla="*/ 13235136 h 17966907"/>
                <a:gd name="connsiteX4053" fmla="*/ 9899551 w 13797425"/>
                <a:gd name="connsiteY4053" fmla="*/ 13206546 h 17966907"/>
                <a:gd name="connsiteX4054" fmla="*/ 9918612 w 13797425"/>
                <a:gd name="connsiteY4054" fmla="*/ 13197016 h 17966907"/>
                <a:gd name="connsiteX4055" fmla="*/ 9913847 w 13797425"/>
                <a:gd name="connsiteY4055" fmla="*/ 13192250 h 17966907"/>
                <a:gd name="connsiteX4056" fmla="*/ 9894786 w 13797425"/>
                <a:gd name="connsiteY4056" fmla="*/ 13187485 h 17966907"/>
                <a:gd name="connsiteX4057" fmla="*/ 9885256 w 13797425"/>
                <a:gd name="connsiteY4057" fmla="*/ 13187485 h 17966907"/>
                <a:gd name="connsiteX4058" fmla="*/ 9870961 w 13797425"/>
                <a:gd name="connsiteY4058" fmla="*/ 13168424 h 17966907"/>
                <a:gd name="connsiteX4059" fmla="*/ 9875726 w 13797425"/>
                <a:gd name="connsiteY4059" fmla="*/ 13154129 h 17966907"/>
                <a:gd name="connsiteX4060" fmla="*/ 9880491 w 13797425"/>
                <a:gd name="connsiteY4060" fmla="*/ 13149364 h 17966907"/>
                <a:gd name="connsiteX4061" fmla="*/ 9890021 w 13797425"/>
                <a:gd name="connsiteY4061" fmla="*/ 13116008 h 17966907"/>
                <a:gd name="connsiteX4062" fmla="*/ 9904316 w 13797425"/>
                <a:gd name="connsiteY4062" fmla="*/ 13111243 h 17966907"/>
                <a:gd name="connsiteX4063" fmla="*/ 9899551 w 13797425"/>
                <a:gd name="connsiteY4063" fmla="*/ 13106478 h 17966907"/>
                <a:gd name="connsiteX4064" fmla="*/ 9856665 w 13797425"/>
                <a:gd name="connsiteY4064" fmla="*/ 13120774 h 17966907"/>
                <a:gd name="connsiteX4065" fmla="*/ 9837605 w 13797425"/>
                <a:gd name="connsiteY4065" fmla="*/ 13111243 h 17966907"/>
                <a:gd name="connsiteX4066" fmla="*/ 9818544 w 13797425"/>
                <a:gd name="connsiteY4066" fmla="*/ 13111243 h 17966907"/>
                <a:gd name="connsiteX4067" fmla="*/ 9809014 w 13797425"/>
                <a:gd name="connsiteY4067" fmla="*/ 13111243 h 17966907"/>
                <a:gd name="connsiteX4068" fmla="*/ 9813779 w 13797425"/>
                <a:gd name="connsiteY4068" fmla="*/ 13096948 h 17966907"/>
                <a:gd name="connsiteX4069" fmla="*/ 9851900 w 13797425"/>
                <a:gd name="connsiteY4069" fmla="*/ 13049296 h 17966907"/>
                <a:gd name="connsiteX4070" fmla="*/ 9866195 w 13797425"/>
                <a:gd name="connsiteY4070" fmla="*/ 13025470 h 17966907"/>
                <a:gd name="connsiteX4071" fmla="*/ 9875726 w 13797425"/>
                <a:gd name="connsiteY4071" fmla="*/ 13001645 h 17966907"/>
                <a:gd name="connsiteX4072" fmla="*/ 9880491 w 13797425"/>
                <a:gd name="connsiteY4072" fmla="*/ 12982584 h 17966907"/>
                <a:gd name="connsiteX4073" fmla="*/ 9880491 w 13797425"/>
                <a:gd name="connsiteY4073" fmla="*/ 12977820 h 17966907"/>
                <a:gd name="connsiteX4074" fmla="*/ 9875726 w 13797425"/>
                <a:gd name="connsiteY4074" fmla="*/ 12925403 h 17966907"/>
                <a:gd name="connsiteX4075" fmla="*/ 9880491 w 13797425"/>
                <a:gd name="connsiteY4075" fmla="*/ 12911108 h 17966907"/>
                <a:gd name="connsiteX4076" fmla="*/ 9894786 w 13797425"/>
                <a:gd name="connsiteY4076" fmla="*/ 12896812 h 17966907"/>
                <a:gd name="connsiteX4077" fmla="*/ 9913847 w 13797425"/>
                <a:gd name="connsiteY4077" fmla="*/ 12868222 h 17966907"/>
                <a:gd name="connsiteX4078" fmla="*/ 9885256 w 13797425"/>
                <a:gd name="connsiteY4078" fmla="*/ 12849161 h 17966907"/>
                <a:gd name="connsiteX4079" fmla="*/ 9866195 w 13797425"/>
                <a:gd name="connsiteY4079" fmla="*/ 12825336 h 17966907"/>
                <a:gd name="connsiteX4080" fmla="*/ 9856665 w 13797425"/>
                <a:gd name="connsiteY4080" fmla="*/ 12815805 h 17966907"/>
                <a:gd name="connsiteX4081" fmla="*/ 9847135 w 13797425"/>
                <a:gd name="connsiteY4081" fmla="*/ 12801510 h 17966907"/>
                <a:gd name="connsiteX4082" fmla="*/ 9837605 w 13797425"/>
                <a:gd name="connsiteY4082" fmla="*/ 12777684 h 17966907"/>
                <a:gd name="connsiteX4083" fmla="*/ 9828074 w 13797425"/>
                <a:gd name="connsiteY4083" fmla="*/ 12749094 h 17966907"/>
                <a:gd name="connsiteX4084" fmla="*/ 9818544 w 13797425"/>
                <a:gd name="connsiteY4084" fmla="*/ 12687147 h 17966907"/>
                <a:gd name="connsiteX4085" fmla="*/ 9813779 w 13797425"/>
                <a:gd name="connsiteY4085" fmla="*/ 12653791 h 17966907"/>
                <a:gd name="connsiteX4086" fmla="*/ 9818544 w 13797425"/>
                <a:gd name="connsiteY4086" fmla="*/ 12629965 h 17966907"/>
                <a:gd name="connsiteX4087" fmla="*/ 9823309 w 13797425"/>
                <a:gd name="connsiteY4087" fmla="*/ 12615670 h 17966907"/>
                <a:gd name="connsiteX4088" fmla="*/ 9828074 w 13797425"/>
                <a:gd name="connsiteY4088" fmla="*/ 12606140 h 17966907"/>
                <a:gd name="connsiteX4089" fmla="*/ 9856665 w 13797425"/>
                <a:gd name="connsiteY4089" fmla="*/ 12582314 h 17966907"/>
                <a:gd name="connsiteX4090" fmla="*/ 9899551 w 13797425"/>
                <a:gd name="connsiteY4090" fmla="*/ 12544193 h 17966907"/>
                <a:gd name="connsiteX4091" fmla="*/ 9937672 w 13797425"/>
                <a:gd name="connsiteY4091" fmla="*/ 12529898 h 17966907"/>
                <a:gd name="connsiteX4092" fmla="*/ 9961498 w 13797425"/>
                <a:gd name="connsiteY4092" fmla="*/ 12539428 h 17966907"/>
                <a:gd name="connsiteX4093" fmla="*/ 10013914 w 13797425"/>
                <a:gd name="connsiteY4093" fmla="*/ 12548958 h 17966907"/>
                <a:gd name="connsiteX4094" fmla="*/ 10056801 w 13797425"/>
                <a:gd name="connsiteY4094" fmla="*/ 12568018 h 17966907"/>
                <a:gd name="connsiteX4095" fmla="*/ 10180693 w 13797425"/>
                <a:gd name="connsiteY4095" fmla="*/ 12615670 h 17966907"/>
                <a:gd name="connsiteX4096" fmla="*/ 10204521 w 13797425"/>
                <a:gd name="connsiteY4096" fmla="*/ 12639496 h 17966907"/>
                <a:gd name="connsiteX4097" fmla="*/ 10180693 w 13797425"/>
                <a:gd name="connsiteY4097" fmla="*/ 12658556 h 17966907"/>
                <a:gd name="connsiteX4098" fmla="*/ 10185461 w 13797425"/>
                <a:gd name="connsiteY4098" fmla="*/ 12663321 h 17966907"/>
                <a:gd name="connsiteX4099" fmla="*/ 10233109 w 13797425"/>
                <a:gd name="connsiteY4099" fmla="*/ 12629965 h 17966907"/>
                <a:gd name="connsiteX4100" fmla="*/ 10242641 w 13797425"/>
                <a:gd name="connsiteY4100" fmla="*/ 12620435 h 17966907"/>
                <a:gd name="connsiteX4101" fmla="*/ 10256937 w 13797425"/>
                <a:gd name="connsiteY4101" fmla="*/ 12620435 h 17966907"/>
                <a:gd name="connsiteX4102" fmla="*/ 10290293 w 13797425"/>
                <a:gd name="connsiteY4102" fmla="*/ 12634730 h 17966907"/>
                <a:gd name="connsiteX4103" fmla="*/ 10304589 w 13797425"/>
                <a:gd name="connsiteY4103" fmla="*/ 12634730 h 17966907"/>
                <a:gd name="connsiteX4104" fmla="*/ 10323649 w 13797425"/>
                <a:gd name="connsiteY4104" fmla="*/ 12644260 h 17966907"/>
                <a:gd name="connsiteX4105" fmla="*/ 10366533 w 13797425"/>
                <a:gd name="connsiteY4105" fmla="*/ 12687147 h 17966907"/>
                <a:gd name="connsiteX4106" fmla="*/ 10366533 w 13797425"/>
                <a:gd name="connsiteY4106" fmla="*/ 12682382 h 17966907"/>
                <a:gd name="connsiteX4107" fmla="*/ 10357005 w 13797425"/>
                <a:gd name="connsiteY4107" fmla="*/ 12663321 h 17966907"/>
                <a:gd name="connsiteX4108" fmla="*/ 10361769 w 13797425"/>
                <a:gd name="connsiteY4108" fmla="*/ 12653791 h 17966907"/>
                <a:gd name="connsiteX4109" fmla="*/ 10395125 w 13797425"/>
                <a:gd name="connsiteY4109" fmla="*/ 12634730 h 17966907"/>
                <a:gd name="connsiteX4110" fmla="*/ 10433245 w 13797425"/>
                <a:gd name="connsiteY4110" fmla="*/ 12615670 h 17966907"/>
                <a:gd name="connsiteX4111" fmla="*/ 10457073 w 13797425"/>
                <a:gd name="connsiteY4111" fmla="*/ 12601374 h 17966907"/>
                <a:gd name="connsiteX4112" fmla="*/ 10480897 w 13797425"/>
                <a:gd name="connsiteY4112" fmla="*/ 12577549 h 17966907"/>
                <a:gd name="connsiteX4113" fmla="*/ 10499957 w 13797425"/>
                <a:gd name="connsiteY4113" fmla="*/ 12568018 h 17966907"/>
                <a:gd name="connsiteX4114" fmla="*/ 10509489 w 13797425"/>
                <a:gd name="connsiteY4114" fmla="*/ 12563254 h 17966907"/>
                <a:gd name="connsiteX4115" fmla="*/ 10523785 w 13797425"/>
                <a:gd name="connsiteY4115" fmla="*/ 12572784 h 17966907"/>
                <a:gd name="connsiteX4116" fmla="*/ 10552373 w 13797425"/>
                <a:gd name="connsiteY4116" fmla="*/ 12601374 h 17966907"/>
                <a:gd name="connsiteX4117" fmla="*/ 10571433 w 13797425"/>
                <a:gd name="connsiteY4117" fmla="*/ 12615670 h 17966907"/>
                <a:gd name="connsiteX4118" fmla="*/ 10590497 w 13797425"/>
                <a:gd name="connsiteY4118" fmla="*/ 12629965 h 17966907"/>
                <a:gd name="connsiteX4119" fmla="*/ 10614321 w 13797425"/>
                <a:gd name="connsiteY4119" fmla="*/ 12658556 h 17966907"/>
                <a:gd name="connsiteX4120" fmla="*/ 10619085 w 13797425"/>
                <a:gd name="connsiteY4120" fmla="*/ 12663321 h 17966907"/>
                <a:gd name="connsiteX4121" fmla="*/ 10638145 w 13797425"/>
                <a:gd name="connsiteY4121" fmla="*/ 12682382 h 17966907"/>
                <a:gd name="connsiteX4122" fmla="*/ 10661973 w 13797425"/>
                <a:gd name="connsiteY4122" fmla="*/ 12677616 h 17966907"/>
                <a:gd name="connsiteX4123" fmla="*/ 10671501 w 13797425"/>
                <a:gd name="connsiteY4123" fmla="*/ 12682382 h 17966907"/>
                <a:gd name="connsiteX4124" fmla="*/ 10671501 w 13797425"/>
                <a:gd name="connsiteY4124" fmla="*/ 12687147 h 17966907"/>
                <a:gd name="connsiteX4125" fmla="*/ 10676269 w 13797425"/>
                <a:gd name="connsiteY4125" fmla="*/ 12696677 h 17966907"/>
                <a:gd name="connsiteX4126" fmla="*/ 10676269 w 13797425"/>
                <a:gd name="connsiteY4126" fmla="*/ 12706207 h 17966907"/>
                <a:gd name="connsiteX4127" fmla="*/ 10676269 w 13797425"/>
                <a:gd name="connsiteY4127" fmla="*/ 12715738 h 17966907"/>
                <a:gd name="connsiteX4128" fmla="*/ 10671501 w 13797425"/>
                <a:gd name="connsiteY4128" fmla="*/ 12739563 h 17966907"/>
                <a:gd name="connsiteX4129" fmla="*/ 10657209 w 13797425"/>
                <a:gd name="connsiteY4129" fmla="*/ 12777684 h 17966907"/>
                <a:gd name="connsiteX4130" fmla="*/ 10661973 w 13797425"/>
                <a:gd name="connsiteY4130" fmla="*/ 12777684 h 17966907"/>
                <a:gd name="connsiteX4131" fmla="*/ 10671501 w 13797425"/>
                <a:gd name="connsiteY4131" fmla="*/ 12768154 h 17966907"/>
                <a:gd name="connsiteX4132" fmla="*/ 10685797 w 13797425"/>
                <a:gd name="connsiteY4132" fmla="*/ 12753858 h 17966907"/>
                <a:gd name="connsiteX4133" fmla="*/ 10695329 w 13797425"/>
                <a:gd name="connsiteY4133" fmla="*/ 12749094 h 17966907"/>
                <a:gd name="connsiteX4134" fmla="*/ 10719153 w 13797425"/>
                <a:gd name="connsiteY4134" fmla="*/ 12758624 h 17966907"/>
                <a:gd name="connsiteX4135" fmla="*/ 10742981 w 13797425"/>
                <a:gd name="connsiteY4135" fmla="*/ 12777684 h 17966907"/>
                <a:gd name="connsiteX4136" fmla="*/ 10747745 w 13797425"/>
                <a:gd name="connsiteY4136" fmla="*/ 12787214 h 17966907"/>
                <a:gd name="connsiteX4137" fmla="*/ 10757273 w 13797425"/>
                <a:gd name="connsiteY4137" fmla="*/ 12806275 h 17966907"/>
                <a:gd name="connsiteX4138" fmla="*/ 10762041 w 13797425"/>
                <a:gd name="connsiteY4138" fmla="*/ 12815805 h 17966907"/>
                <a:gd name="connsiteX4139" fmla="*/ 10771569 w 13797425"/>
                <a:gd name="connsiteY4139" fmla="*/ 12830100 h 17966907"/>
                <a:gd name="connsiteX4140" fmla="*/ 10771569 w 13797425"/>
                <a:gd name="connsiteY4140" fmla="*/ 12834866 h 17966907"/>
                <a:gd name="connsiteX4141" fmla="*/ 10762041 w 13797425"/>
                <a:gd name="connsiteY4141" fmla="*/ 12839631 h 17966907"/>
                <a:gd name="connsiteX4142" fmla="*/ 10738213 w 13797425"/>
                <a:gd name="connsiteY4142" fmla="*/ 12853926 h 17966907"/>
                <a:gd name="connsiteX4143" fmla="*/ 10742981 w 13797425"/>
                <a:gd name="connsiteY4143" fmla="*/ 12858691 h 17966907"/>
                <a:gd name="connsiteX4144" fmla="*/ 10771569 w 13797425"/>
                <a:gd name="connsiteY4144" fmla="*/ 12853926 h 17966907"/>
                <a:gd name="connsiteX4145" fmla="*/ 10781101 w 13797425"/>
                <a:gd name="connsiteY4145" fmla="*/ 12844396 h 17966907"/>
                <a:gd name="connsiteX4146" fmla="*/ 10790629 w 13797425"/>
                <a:gd name="connsiteY4146" fmla="*/ 12830100 h 17966907"/>
                <a:gd name="connsiteX4147" fmla="*/ 10795397 w 13797425"/>
                <a:gd name="connsiteY4147" fmla="*/ 12825336 h 17966907"/>
                <a:gd name="connsiteX4148" fmla="*/ 10833517 w 13797425"/>
                <a:gd name="connsiteY4148" fmla="*/ 12849161 h 17966907"/>
                <a:gd name="connsiteX4149" fmla="*/ 10838281 w 13797425"/>
                <a:gd name="connsiteY4149" fmla="*/ 12858691 h 17966907"/>
                <a:gd name="connsiteX4150" fmla="*/ 10833517 w 13797425"/>
                <a:gd name="connsiteY4150" fmla="*/ 12863456 h 17966907"/>
                <a:gd name="connsiteX4151" fmla="*/ 10828753 w 13797425"/>
                <a:gd name="connsiteY4151" fmla="*/ 12872986 h 17966907"/>
                <a:gd name="connsiteX4152" fmla="*/ 10814457 w 13797425"/>
                <a:gd name="connsiteY4152" fmla="*/ 12877752 h 17966907"/>
                <a:gd name="connsiteX4153" fmla="*/ 10800161 w 13797425"/>
                <a:gd name="connsiteY4153" fmla="*/ 12901578 h 17966907"/>
                <a:gd name="connsiteX4154" fmla="*/ 10800161 w 13797425"/>
                <a:gd name="connsiteY4154" fmla="*/ 12906342 h 17966907"/>
                <a:gd name="connsiteX4155" fmla="*/ 10809693 w 13797425"/>
                <a:gd name="connsiteY4155" fmla="*/ 12915873 h 17966907"/>
                <a:gd name="connsiteX4156" fmla="*/ 10833517 w 13797425"/>
                <a:gd name="connsiteY4156" fmla="*/ 12915873 h 17966907"/>
                <a:gd name="connsiteX4157" fmla="*/ 10833517 w 13797425"/>
                <a:gd name="connsiteY4157" fmla="*/ 12920638 h 17966907"/>
                <a:gd name="connsiteX4158" fmla="*/ 10819221 w 13797425"/>
                <a:gd name="connsiteY4158" fmla="*/ 12930168 h 17966907"/>
                <a:gd name="connsiteX4159" fmla="*/ 10814457 w 13797425"/>
                <a:gd name="connsiteY4159" fmla="*/ 12939698 h 17966907"/>
                <a:gd name="connsiteX4160" fmla="*/ 10847813 w 13797425"/>
                <a:gd name="connsiteY4160" fmla="*/ 12982584 h 17966907"/>
                <a:gd name="connsiteX4161" fmla="*/ 10866873 w 13797425"/>
                <a:gd name="connsiteY4161" fmla="*/ 13001645 h 17966907"/>
                <a:gd name="connsiteX4162" fmla="*/ 10876401 w 13797425"/>
                <a:gd name="connsiteY4162" fmla="*/ 13001645 h 17966907"/>
                <a:gd name="connsiteX4163" fmla="*/ 10904993 w 13797425"/>
                <a:gd name="connsiteY4163" fmla="*/ 13001645 h 17966907"/>
                <a:gd name="connsiteX4164" fmla="*/ 10928821 w 13797425"/>
                <a:gd name="connsiteY4164" fmla="*/ 13011176 h 17966907"/>
                <a:gd name="connsiteX4165" fmla="*/ 10976469 w 13797425"/>
                <a:gd name="connsiteY4165" fmla="*/ 13035001 h 17966907"/>
                <a:gd name="connsiteX4166" fmla="*/ 11005061 w 13797425"/>
                <a:gd name="connsiteY4166" fmla="*/ 13035001 h 17966907"/>
                <a:gd name="connsiteX4167" fmla="*/ 11028889 w 13797425"/>
                <a:gd name="connsiteY4167" fmla="*/ 13030236 h 17966907"/>
                <a:gd name="connsiteX4168" fmla="*/ 11043181 w 13797425"/>
                <a:gd name="connsiteY4168" fmla="*/ 13030236 h 17966907"/>
                <a:gd name="connsiteX4169" fmla="*/ 11057477 w 13797425"/>
                <a:gd name="connsiteY4169" fmla="*/ 13039766 h 17966907"/>
                <a:gd name="connsiteX4170" fmla="*/ 11062241 w 13797425"/>
                <a:gd name="connsiteY4170" fmla="*/ 13044531 h 17966907"/>
                <a:gd name="connsiteX4171" fmla="*/ 11067009 w 13797425"/>
                <a:gd name="connsiteY4171" fmla="*/ 13058826 h 17966907"/>
                <a:gd name="connsiteX4172" fmla="*/ 11067009 w 13797425"/>
                <a:gd name="connsiteY4172" fmla="*/ 13077887 h 17966907"/>
                <a:gd name="connsiteX4173" fmla="*/ 11076537 w 13797425"/>
                <a:gd name="connsiteY4173" fmla="*/ 13087418 h 17966907"/>
                <a:gd name="connsiteX4174" fmla="*/ 11090833 w 13797425"/>
                <a:gd name="connsiteY4174" fmla="*/ 13096948 h 17966907"/>
                <a:gd name="connsiteX4175" fmla="*/ 11105129 w 13797425"/>
                <a:gd name="connsiteY4175" fmla="*/ 13096948 h 17966907"/>
                <a:gd name="connsiteX4176" fmla="*/ 11119425 w 13797425"/>
                <a:gd name="connsiteY4176" fmla="*/ 13082652 h 17966907"/>
                <a:gd name="connsiteX4177" fmla="*/ 11133721 w 13797425"/>
                <a:gd name="connsiteY4177" fmla="*/ 13077887 h 17966907"/>
                <a:gd name="connsiteX4178" fmla="*/ 11138485 w 13797425"/>
                <a:gd name="connsiteY4178" fmla="*/ 13068357 h 17966907"/>
                <a:gd name="connsiteX4179" fmla="*/ 11143249 w 13797425"/>
                <a:gd name="connsiteY4179" fmla="*/ 13044531 h 17966907"/>
                <a:gd name="connsiteX4180" fmla="*/ 11148017 w 13797425"/>
                <a:gd name="connsiteY4180" fmla="*/ 13035001 h 17966907"/>
                <a:gd name="connsiteX4181" fmla="*/ 11157545 w 13797425"/>
                <a:gd name="connsiteY4181" fmla="*/ 13030236 h 17966907"/>
                <a:gd name="connsiteX4182" fmla="*/ 11167077 w 13797425"/>
                <a:gd name="connsiteY4182" fmla="*/ 13039766 h 17966907"/>
                <a:gd name="connsiteX4183" fmla="*/ 11171841 w 13797425"/>
                <a:gd name="connsiteY4183" fmla="*/ 13049296 h 17966907"/>
                <a:gd name="connsiteX4184" fmla="*/ 11181373 w 13797425"/>
                <a:gd name="connsiteY4184" fmla="*/ 13077887 h 17966907"/>
                <a:gd name="connsiteX4185" fmla="*/ 11181373 w 13797425"/>
                <a:gd name="connsiteY4185" fmla="*/ 13087418 h 17966907"/>
                <a:gd name="connsiteX4186" fmla="*/ 11181373 w 13797425"/>
                <a:gd name="connsiteY4186" fmla="*/ 13101712 h 17966907"/>
                <a:gd name="connsiteX4187" fmla="*/ 11176605 w 13797425"/>
                <a:gd name="connsiteY4187" fmla="*/ 13111243 h 17966907"/>
                <a:gd name="connsiteX4188" fmla="*/ 11167077 w 13797425"/>
                <a:gd name="connsiteY4188" fmla="*/ 13120774 h 17966907"/>
                <a:gd name="connsiteX4189" fmla="*/ 11157545 w 13797425"/>
                <a:gd name="connsiteY4189" fmla="*/ 13135068 h 17966907"/>
                <a:gd name="connsiteX4190" fmla="*/ 11143249 w 13797425"/>
                <a:gd name="connsiteY4190" fmla="*/ 13149364 h 17966907"/>
                <a:gd name="connsiteX4191" fmla="*/ 11133721 w 13797425"/>
                <a:gd name="connsiteY4191" fmla="*/ 13187485 h 17966907"/>
                <a:gd name="connsiteX4192" fmla="*/ 11128953 w 13797425"/>
                <a:gd name="connsiteY4192" fmla="*/ 13216076 h 17966907"/>
                <a:gd name="connsiteX4193" fmla="*/ 11124189 w 13797425"/>
                <a:gd name="connsiteY4193" fmla="*/ 13230371 h 17966907"/>
                <a:gd name="connsiteX4194" fmla="*/ 11128953 w 13797425"/>
                <a:gd name="connsiteY4194" fmla="*/ 13244666 h 17966907"/>
                <a:gd name="connsiteX4195" fmla="*/ 11128953 w 13797425"/>
                <a:gd name="connsiteY4195" fmla="*/ 13263727 h 17966907"/>
                <a:gd name="connsiteX4196" fmla="*/ 11133721 w 13797425"/>
                <a:gd name="connsiteY4196" fmla="*/ 13278022 h 17966907"/>
                <a:gd name="connsiteX4197" fmla="*/ 11148017 w 13797425"/>
                <a:gd name="connsiteY4197" fmla="*/ 13297083 h 17966907"/>
                <a:gd name="connsiteX4198" fmla="*/ 11148017 w 13797425"/>
                <a:gd name="connsiteY4198" fmla="*/ 13306613 h 17966907"/>
                <a:gd name="connsiteX4199" fmla="*/ 11148017 w 13797425"/>
                <a:gd name="connsiteY4199" fmla="*/ 13320908 h 17966907"/>
                <a:gd name="connsiteX4200" fmla="*/ 11148017 w 13797425"/>
                <a:gd name="connsiteY4200" fmla="*/ 13330439 h 17966907"/>
                <a:gd name="connsiteX4201" fmla="*/ 11138485 w 13797425"/>
                <a:gd name="connsiteY4201" fmla="*/ 13344734 h 17966907"/>
                <a:gd name="connsiteX4202" fmla="*/ 11119425 w 13797425"/>
                <a:gd name="connsiteY4202" fmla="*/ 13359030 h 17966907"/>
                <a:gd name="connsiteX4203" fmla="*/ 11095597 w 13797425"/>
                <a:gd name="connsiteY4203" fmla="*/ 13363794 h 17966907"/>
                <a:gd name="connsiteX4204" fmla="*/ 11009825 w 13797425"/>
                <a:gd name="connsiteY4204" fmla="*/ 13363794 h 17966907"/>
                <a:gd name="connsiteX4205" fmla="*/ 10986001 w 13797425"/>
                <a:gd name="connsiteY4205" fmla="*/ 13359030 h 17966907"/>
                <a:gd name="connsiteX4206" fmla="*/ 10990765 w 13797425"/>
                <a:gd name="connsiteY4206" fmla="*/ 13373325 h 17966907"/>
                <a:gd name="connsiteX4207" fmla="*/ 11014593 w 13797425"/>
                <a:gd name="connsiteY4207" fmla="*/ 13378090 h 17966907"/>
                <a:gd name="connsiteX4208" fmla="*/ 11038417 w 13797425"/>
                <a:gd name="connsiteY4208" fmla="*/ 13378090 h 17966907"/>
                <a:gd name="connsiteX4209" fmla="*/ 11119425 w 13797425"/>
                <a:gd name="connsiteY4209" fmla="*/ 13387620 h 17966907"/>
                <a:gd name="connsiteX4210" fmla="*/ 11128953 w 13797425"/>
                <a:gd name="connsiteY4210" fmla="*/ 13392386 h 17966907"/>
                <a:gd name="connsiteX4211" fmla="*/ 11138485 w 13797425"/>
                <a:gd name="connsiteY4211" fmla="*/ 13406681 h 17966907"/>
                <a:gd name="connsiteX4212" fmla="*/ 11148017 w 13797425"/>
                <a:gd name="connsiteY4212" fmla="*/ 13425742 h 17966907"/>
                <a:gd name="connsiteX4213" fmla="*/ 11152781 w 13797425"/>
                <a:gd name="connsiteY4213" fmla="*/ 13454332 h 17966907"/>
                <a:gd name="connsiteX4214" fmla="*/ 11152781 w 13797425"/>
                <a:gd name="connsiteY4214" fmla="*/ 13468628 h 17966907"/>
                <a:gd name="connsiteX4215" fmla="*/ 11152781 w 13797425"/>
                <a:gd name="connsiteY4215" fmla="*/ 13482923 h 17966907"/>
                <a:gd name="connsiteX4216" fmla="*/ 11143249 w 13797425"/>
                <a:gd name="connsiteY4216" fmla="*/ 13501984 h 17966907"/>
                <a:gd name="connsiteX4217" fmla="*/ 11138485 w 13797425"/>
                <a:gd name="connsiteY4217" fmla="*/ 13525809 h 17966907"/>
                <a:gd name="connsiteX4218" fmla="*/ 11133721 w 13797425"/>
                <a:gd name="connsiteY4218" fmla="*/ 13554400 h 17966907"/>
                <a:gd name="connsiteX4219" fmla="*/ 11138485 w 13797425"/>
                <a:gd name="connsiteY4219" fmla="*/ 13573460 h 17966907"/>
                <a:gd name="connsiteX4220" fmla="*/ 11181373 w 13797425"/>
                <a:gd name="connsiteY4220" fmla="*/ 13573460 h 17966907"/>
                <a:gd name="connsiteX4221" fmla="*/ 11190901 w 13797425"/>
                <a:gd name="connsiteY4221" fmla="*/ 13582990 h 17966907"/>
                <a:gd name="connsiteX4222" fmla="*/ 11190901 w 13797425"/>
                <a:gd name="connsiteY4222" fmla="*/ 13592521 h 17966907"/>
                <a:gd name="connsiteX4223" fmla="*/ 11171841 w 13797425"/>
                <a:gd name="connsiteY4223" fmla="*/ 13621112 h 17966907"/>
                <a:gd name="connsiteX4224" fmla="*/ 11171841 w 13797425"/>
                <a:gd name="connsiteY4224" fmla="*/ 13630642 h 17966907"/>
                <a:gd name="connsiteX4225" fmla="*/ 11181373 w 13797425"/>
                <a:gd name="connsiteY4225" fmla="*/ 13649702 h 17966907"/>
                <a:gd name="connsiteX4226" fmla="*/ 11181373 w 13797425"/>
                <a:gd name="connsiteY4226" fmla="*/ 13654468 h 17966907"/>
                <a:gd name="connsiteX4227" fmla="*/ 11176605 w 13797425"/>
                <a:gd name="connsiteY4227" fmla="*/ 13659232 h 17966907"/>
                <a:gd name="connsiteX4228" fmla="*/ 11171841 w 13797425"/>
                <a:gd name="connsiteY4228" fmla="*/ 13678293 h 17966907"/>
                <a:gd name="connsiteX4229" fmla="*/ 11167077 w 13797425"/>
                <a:gd name="connsiteY4229" fmla="*/ 13702118 h 17966907"/>
                <a:gd name="connsiteX4230" fmla="*/ 11162309 w 13797425"/>
                <a:gd name="connsiteY4230" fmla="*/ 13716414 h 17966907"/>
                <a:gd name="connsiteX4231" fmla="*/ 11148017 w 13797425"/>
                <a:gd name="connsiteY4231" fmla="*/ 13725944 h 17966907"/>
                <a:gd name="connsiteX4232" fmla="*/ 11143249 w 13797425"/>
                <a:gd name="connsiteY4232" fmla="*/ 13730710 h 17966907"/>
                <a:gd name="connsiteX4233" fmla="*/ 11138485 w 13797425"/>
                <a:gd name="connsiteY4233" fmla="*/ 13725944 h 17966907"/>
                <a:gd name="connsiteX4234" fmla="*/ 11128953 w 13797425"/>
                <a:gd name="connsiteY4234" fmla="*/ 13692588 h 17966907"/>
                <a:gd name="connsiteX4235" fmla="*/ 11124189 w 13797425"/>
                <a:gd name="connsiteY4235" fmla="*/ 13687824 h 17966907"/>
                <a:gd name="connsiteX4236" fmla="*/ 11119425 w 13797425"/>
                <a:gd name="connsiteY4236" fmla="*/ 13692588 h 17966907"/>
                <a:gd name="connsiteX4237" fmla="*/ 11114661 w 13797425"/>
                <a:gd name="connsiteY4237" fmla="*/ 13697354 h 17966907"/>
                <a:gd name="connsiteX4238" fmla="*/ 11114661 w 13797425"/>
                <a:gd name="connsiteY4238" fmla="*/ 13702118 h 17966907"/>
                <a:gd name="connsiteX4239" fmla="*/ 11114661 w 13797425"/>
                <a:gd name="connsiteY4239" fmla="*/ 13711649 h 17966907"/>
                <a:gd name="connsiteX4240" fmla="*/ 11109893 w 13797425"/>
                <a:gd name="connsiteY4240" fmla="*/ 13721179 h 17966907"/>
                <a:gd name="connsiteX4241" fmla="*/ 11090833 w 13797425"/>
                <a:gd name="connsiteY4241" fmla="*/ 13730710 h 17966907"/>
                <a:gd name="connsiteX4242" fmla="*/ 11062241 w 13797425"/>
                <a:gd name="connsiteY4242" fmla="*/ 13740240 h 17966907"/>
                <a:gd name="connsiteX4243" fmla="*/ 11062241 w 13797425"/>
                <a:gd name="connsiteY4243" fmla="*/ 13749770 h 17966907"/>
                <a:gd name="connsiteX4244" fmla="*/ 11081305 w 13797425"/>
                <a:gd name="connsiteY4244" fmla="*/ 13754535 h 17966907"/>
                <a:gd name="connsiteX4245" fmla="*/ 11109893 w 13797425"/>
                <a:gd name="connsiteY4245" fmla="*/ 13768830 h 17966907"/>
                <a:gd name="connsiteX4246" fmla="*/ 11119425 w 13797425"/>
                <a:gd name="connsiteY4246" fmla="*/ 13768830 h 17966907"/>
                <a:gd name="connsiteX4247" fmla="*/ 11143249 w 13797425"/>
                <a:gd name="connsiteY4247" fmla="*/ 13759300 h 17966907"/>
                <a:gd name="connsiteX4248" fmla="*/ 11186137 w 13797425"/>
                <a:gd name="connsiteY4248" fmla="*/ 13721179 h 17966907"/>
                <a:gd name="connsiteX4249" fmla="*/ 11200433 w 13797425"/>
                <a:gd name="connsiteY4249" fmla="*/ 13711649 h 17966907"/>
                <a:gd name="connsiteX4250" fmla="*/ 11219493 w 13797425"/>
                <a:gd name="connsiteY4250" fmla="*/ 13706884 h 17966907"/>
                <a:gd name="connsiteX4251" fmla="*/ 11233789 w 13797425"/>
                <a:gd name="connsiteY4251" fmla="*/ 13706884 h 17966907"/>
                <a:gd name="connsiteX4252" fmla="*/ 11252849 w 13797425"/>
                <a:gd name="connsiteY4252" fmla="*/ 13711649 h 17966907"/>
                <a:gd name="connsiteX4253" fmla="*/ 11290969 w 13797425"/>
                <a:gd name="connsiteY4253" fmla="*/ 13706884 h 17966907"/>
                <a:gd name="connsiteX4254" fmla="*/ 11300501 w 13797425"/>
                <a:gd name="connsiteY4254" fmla="*/ 13706884 h 17966907"/>
                <a:gd name="connsiteX4255" fmla="*/ 11314793 w 13797425"/>
                <a:gd name="connsiteY4255" fmla="*/ 13716414 h 17966907"/>
                <a:gd name="connsiteX4256" fmla="*/ 11324325 w 13797425"/>
                <a:gd name="connsiteY4256" fmla="*/ 13730710 h 17966907"/>
                <a:gd name="connsiteX4257" fmla="*/ 11338621 w 13797425"/>
                <a:gd name="connsiteY4257" fmla="*/ 13740240 h 17966907"/>
                <a:gd name="connsiteX4258" fmla="*/ 11343385 w 13797425"/>
                <a:gd name="connsiteY4258" fmla="*/ 13754535 h 17966907"/>
                <a:gd name="connsiteX4259" fmla="*/ 11348149 w 13797425"/>
                <a:gd name="connsiteY4259" fmla="*/ 13797421 h 17966907"/>
                <a:gd name="connsiteX4260" fmla="*/ 11362445 w 13797425"/>
                <a:gd name="connsiteY4260" fmla="*/ 13811716 h 17966907"/>
                <a:gd name="connsiteX4261" fmla="*/ 11362445 w 13797425"/>
                <a:gd name="connsiteY4261" fmla="*/ 13816482 h 17966907"/>
                <a:gd name="connsiteX4262" fmla="*/ 11367213 w 13797425"/>
                <a:gd name="connsiteY4262" fmla="*/ 13830777 h 17966907"/>
                <a:gd name="connsiteX4263" fmla="*/ 11362445 w 13797425"/>
                <a:gd name="connsiteY4263" fmla="*/ 13854602 h 17966907"/>
                <a:gd name="connsiteX4264" fmla="*/ 11352917 w 13797425"/>
                <a:gd name="connsiteY4264" fmla="*/ 13907019 h 17966907"/>
                <a:gd name="connsiteX4265" fmla="*/ 11343385 w 13797425"/>
                <a:gd name="connsiteY4265" fmla="*/ 13926080 h 17966907"/>
                <a:gd name="connsiteX4266" fmla="*/ 11329089 w 13797425"/>
                <a:gd name="connsiteY4266" fmla="*/ 13954670 h 17966907"/>
                <a:gd name="connsiteX4267" fmla="*/ 11305265 w 13797425"/>
                <a:gd name="connsiteY4267" fmla="*/ 13964200 h 17966907"/>
                <a:gd name="connsiteX4268" fmla="*/ 11271909 w 13797425"/>
                <a:gd name="connsiteY4268" fmla="*/ 13973731 h 17966907"/>
                <a:gd name="connsiteX4269" fmla="*/ 11252849 w 13797425"/>
                <a:gd name="connsiteY4269" fmla="*/ 13983261 h 17966907"/>
                <a:gd name="connsiteX4270" fmla="*/ 11238553 w 13797425"/>
                <a:gd name="connsiteY4270" fmla="*/ 13997556 h 17966907"/>
                <a:gd name="connsiteX4271" fmla="*/ 11238553 w 13797425"/>
                <a:gd name="connsiteY4271" fmla="*/ 14002322 h 17966907"/>
                <a:gd name="connsiteX4272" fmla="*/ 11281437 w 13797425"/>
                <a:gd name="connsiteY4272" fmla="*/ 13983261 h 17966907"/>
                <a:gd name="connsiteX4273" fmla="*/ 11324325 w 13797425"/>
                <a:gd name="connsiteY4273" fmla="*/ 13973731 h 17966907"/>
                <a:gd name="connsiteX4274" fmla="*/ 11338621 w 13797425"/>
                <a:gd name="connsiteY4274" fmla="*/ 13959436 h 17966907"/>
                <a:gd name="connsiteX4275" fmla="*/ 11348149 w 13797425"/>
                <a:gd name="connsiteY4275" fmla="*/ 13949906 h 17966907"/>
                <a:gd name="connsiteX4276" fmla="*/ 11357681 w 13797425"/>
                <a:gd name="connsiteY4276" fmla="*/ 13921314 h 17966907"/>
                <a:gd name="connsiteX4277" fmla="*/ 11371977 w 13797425"/>
                <a:gd name="connsiteY4277" fmla="*/ 13854602 h 17966907"/>
                <a:gd name="connsiteX4278" fmla="*/ 11381505 w 13797425"/>
                <a:gd name="connsiteY4278" fmla="*/ 13835542 h 17966907"/>
                <a:gd name="connsiteX4279" fmla="*/ 11395801 w 13797425"/>
                <a:gd name="connsiteY4279" fmla="*/ 13830777 h 17966907"/>
                <a:gd name="connsiteX4280" fmla="*/ 11405333 w 13797425"/>
                <a:gd name="connsiteY4280" fmla="*/ 13840308 h 17966907"/>
                <a:gd name="connsiteX4281" fmla="*/ 11419629 w 13797425"/>
                <a:gd name="connsiteY4281" fmla="*/ 13878428 h 17966907"/>
                <a:gd name="connsiteX4282" fmla="*/ 11419629 w 13797425"/>
                <a:gd name="connsiteY4282" fmla="*/ 13887958 h 17966907"/>
                <a:gd name="connsiteX4283" fmla="*/ 11414861 w 13797425"/>
                <a:gd name="connsiteY4283" fmla="*/ 13897489 h 17966907"/>
                <a:gd name="connsiteX4284" fmla="*/ 11391037 w 13797425"/>
                <a:gd name="connsiteY4284" fmla="*/ 13935610 h 17966907"/>
                <a:gd name="connsiteX4285" fmla="*/ 11400565 w 13797425"/>
                <a:gd name="connsiteY4285" fmla="*/ 13930845 h 17966907"/>
                <a:gd name="connsiteX4286" fmla="*/ 11424393 w 13797425"/>
                <a:gd name="connsiteY4286" fmla="*/ 13892724 h 17966907"/>
                <a:gd name="connsiteX4287" fmla="*/ 11429157 w 13797425"/>
                <a:gd name="connsiteY4287" fmla="*/ 13883194 h 17966907"/>
                <a:gd name="connsiteX4288" fmla="*/ 11433921 w 13797425"/>
                <a:gd name="connsiteY4288" fmla="*/ 13868898 h 17966907"/>
                <a:gd name="connsiteX4289" fmla="*/ 11438689 w 13797425"/>
                <a:gd name="connsiteY4289" fmla="*/ 13854602 h 17966907"/>
                <a:gd name="connsiteX4290" fmla="*/ 11443453 w 13797425"/>
                <a:gd name="connsiteY4290" fmla="*/ 13859368 h 17966907"/>
                <a:gd name="connsiteX4291" fmla="*/ 11448217 w 13797425"/>
                <a:gd name="connsiteY4291" fmla="*/ 13902254 h 17966907"/>
                <a:gd name="connsiteX4292" fmla="*/ 11448217 w 13797425"/>
                <a:gd name="connsiteY4292" fmla="*/ 13935610 h 17966907"/>
                <a:gd name="connsiteX4293" fmla="*/ 11452985 w 13797425"/>
                <a:gd name="connsiteY4293" fmla="*/ 13945140 h 17966907"/>
                <a:gd name="connsiteX4294" fmla="*/ 11448217 w 13797425"/>
                <a:gd name="connsiteY4294" fmla="*/ 13973731 h 17966907"/>
                <a:gd name="connsiteX4295" fmla="*/ 11452985 w 13797425"/>
                <a:gd name="connsiteY4295" fmla="*/ 13978496 h 17966907"/>
                <a:gd name="connsiteX4296" fmla="*/ 11457749 w 13797425"/>
                <a:gd name="connsiteY4296" fmla="*/ 13954670 h 17966907"/>
                <a:gd name="connsiteX4297" fmla="*/ 11462513 w 13797425"/>
                <a:gd name="connsiteY4297" fmla="*/ 13935610 h 17966907"/>
                <a:gd name="connsiteX4298" fmla="*/ 11462513 w 13797425"/>
                <a:gd name="connsiteY4298" fmla="*/ 13921314 h 17966907"/>
                <a:gd name="connsiteX4299" fmla="*/ 11467277 w 13797425"/>
                <a:gd name="connsiteY4299" fmla="*/ 13911784 h 17966907"/>
                <a:gd name="connsiteX4300" fmla="*/ 11495869 w 13797425"/>
                <a:gd name="connsiteY4300" fmla="*/ 13887958 h 17966907"/>
                <a:gd name="connsiteX4301" fmla="*/ 11533989 w 13797425"/>
                <a:gd name="connsiteY4301" fmla="*/ 13864133 h 17966907"/>
                <a:gd name="connsiteX4302" fmla="*/ 11553053 w 13797425"/>
                <a:gd name="connsiteY4302" fmla="*/ 13845072 h 17966907"/>
                <a:gd name="connsiteX4303" fmla="*/ 11572113 w 13797425"/>
                <a:gd name="connsiteY4303" fmla="*/ 13835542 h 17966907"/>
                <a:gd name="connsiteX4304" fmla="*/ 11600701 w 13797425"/>
                <a:gd name="connsiteY4304" fmla="*/ 13830777 h 17966907"/>
                <a:gd name="connsiteX4305" fmla="*/ 11619761 w 13797425"/>
                <a:gd name="connsiteY4305" fmla="*/ 13811716 h 17966907"/>
                <a:gd name="connsiteX4306" fmla="*/ 11624529 w 13797425"/>
                <a:gd name="connsiteY4306" fmla="*/ 13783126 h 17966907"/>
                <a:gd name="connsiteX4307" fmla="*/ 11634057 w 13797425"/>
                <a:gd name="connsiteY4307" fmla="*/ 13768830 h 17966907"/>
                <a:gd name="connsiteX4308" fmla="*/ 11638825 w 13797425"/>
                <a:gd name="connsiteY4308" fmla="*/ 13759300 h 17966907"/>
                <a:gd name="connsiteX4309" fmla="*/ 11657885 w 13797425"/>
                <a:gd name="connsiteY4309" fmla="*/ 13740240 h 17966907"/>
                <a:gd name="connsiteX4310" fmla="*/ 11667413 w 13797425"/>
                <a:gd name="connsiteY4310" fmla="*/ 13740240 h 17966907"/>
                <a:gd name="connsiteX4311" fmla="*/ 11676945 w 13797425"/>
                <a:gd name="connsiteY4311" fmla="*/ 13745005 h 17966907"/>
                <a:gd name="connsiteX4312" fmla="*/ 11686473 w 13797425"/>
                <a:gd name="connsiteY4312" fmla="*/ 13759300 h 17966907"/>
                <a:gd name="connsiteX4313" fmla="*/ 11700769 w 13797425"/>
                <a:gd name="connsiteY4313" fmla="*/ 13778360 h 17966907"/>
                <a:gd name="connsiteX4314" fmla="*/ 11705537 w 13797425"/>
                <a:gd name="connsiteY4314" fmla="*/ 13792656 h 17966907"/>
                <a:gd name="connsiteX4315" fmla="*/ 11710301 w 13797425"/>
                <a:gd name="connsiteY4315" fmla="*/ 13806952 h 17966907"/>
                <a:gd name="connsiteX4316" fmla="*/ 11710301 w 13797425"/>
                <a:gd name="connsiteY4316" fmla="*/ 13845072 h 17966907"/>
                <a:gd name="connsiteX4317" fmla="*/ 11715065 w 13797425"/>
                <a:gd name="connsiteY4317" fmla="*/ 13845072 h 17966907"/>
                <a:gd name="connsiteX4318" fmla="*/ 11724597 w 13797425"/>
                <a:gd name="connsiteY4318" fmla="*/ 13816482 h 17966907"/>
                <a:gd name="connsiteX4319" fmla="*/ 11724597 w 13797425"/>
                <a:gd name="connsiteY4319" fmla="*/ 13806952 h 17966907"/>
                <a:gd name="connsiteX4320" fmla="*/ 11724597 w 13797425"/>
                <a:gd name="connsiteY4320" fmla="*/ 13792656 h 17966907"/>
                <a:gd name="connsiteX4321" fmla="*/ 11719829 w 13797425"/>
                <a:gd name="connsiteY4321" fmla="*/ 13783126 h 17966907"/>
                <a:gd name="connsiteX4322" fmla="*/ 11710301 w 13797425"/>
                <a:gd name="connsiteY4322" fmla="*/ 13754535 h 17966907"/>
                <a:gd name="connsiteX4323" fmla="*/ 11705537 w 13797425"/>
                <a:gd name="connsiteY4323" fmla="*/ 13740240 h 17966907"/>
                <a:gd name="connsiteX4324" fmla="*/ 11705537 w 13797425"/>
                <a:gd name="connsiteY4324" fmla="*/ 13730710 h 17966907"/>
                <a:gd name="connsiteX4325" fmla="*/ 11719829 w 13797425"/>
                <a:gd name="connsiteY4325" fmla="*/ 13725944 h 17966907"/>
                <a:gd name="connsiteX4326" fmla="*/ 11734125 w 13797425"/>
                <a:gd name="connsiteY4326" fmla="*/ 13721179 h 17966907"/>
                <a:gd name="connsiteX4327" fmla="*/ 11738893 w 13797425"/>
                <a:gd name="connsiteY4327" fmla="*/ 13716414 h 17966907"/>
                <a:gd name="connsiteX4328" fmla="*/ 11724597 w 13797425"/>
                <a:gd name="connsiteY4328" fmla="*/ 13706884 h 17966907"/>
                <a:gd name="connsiteX4329" fmla="*/ 11724597 w 13797425"/>
                <a:gd name="connsiteY4329" fmla="*/ 13702118 h 17966907"/>
                <a:gd name="connsiteX4330" fmla="*/ 11738893 w 13797425"/>
                <a:gd name="connsiteY4330" fmla="*/ 13683058 h 17966907"/>
                <a:gd name="connsiteX4331" fmla="*/ 11743657 w 13797425"/>
                <a:gd name="connsiteY4331" fmla="*/ 13683058 h 17966907"/>
                <a:gd name="connsiteX4332" fmla="*/ 11757953 w 13797425"/>
                <a:gd name="connsiteY4332" fmla="*/ 13683058 h 17966907"/>
                <a:gd name="connsiteX4333" fmla="*/ 11757953 w 13797425"/>
                <a:gd name="connsiteY4333" fmla="*/ 13673528 h 17966907"/>
                <a:gd name="connsiteX4334" fmla="*/ 11757953 w 13797425"/>
                <a:gd name="connsiteY4334" fmla="*/ 13668763 h 17966907"/>
                <a:gd name="connsiteX4335" fmla="*/ 11762717 w 13797425"/>
                <a:gd name="connsiteY4335" fmla="*/ 13663998 h 17966907"/>
                <a:gd name="connsiteX4336" fmla="*/ 11786541 w 13797425"/>
                <a:gd name="connsiteY4336" fmla="*/ 13673528 h 17966907"/>
                <a:gd name="connsiteX4337" fmla="*/ 11786541 w 13797425"/>
                <a:gd name="connsiteY4337" fmla="*/ 13663998 h 17966907"/>
                <a:gd name="connsiteX4338" fmla="*/ 11805601 w 13797425"/>
                <a:gd name="connsiteY4338" fmla="*/ 13663998 h 17966907"/>
                <a:gd name="connsiteX4339" fmla="*/ 11810369 w 13797425"/>
                <a:gd name="connsiteY4339" fmla="*/ 13659232 h 17966907"/>
                <a:gd name="connsiteX4340" fmla="*/ 11791309 w 13797425"/>
                <a:gd name="connsiteY4340" fmla="*/ 13649702 h 17966907"/>
                <a:gd name="connsiteX4341" fmla="*/ 11777013 w 13797425"/>
                <a:gd name="connsiteY4341" fmla="*/ 13640172 h 17966907"/>
                <a:gd name="connsiteX4342" fmla="*/ 11767481 w 13797425"/>
                <a:gd name="connsiteY4342" fmla="*/ 13635407 h 17966907"/>
                <a:gd name="connsiteX4343" fmla="*/ 11767481 w 13797425"/>
                <a:gd name="connsiteY4343" fmla="*/ 13630642 h 17966907"/>
                <a:gd name="connsiteX4344" fmla="*/ 11757953 w 13797425"/>
                <a:gd name="connsiteY4344" fmla="*/ 13611582 h 17966907"/>
                <a:gd name="connsiteX4345" fmla="*/ 11762717 w 13797425"/>
                <a:gd name="connsiteY4345" fmla="*/ 13606816 h 17966907"/>
                <a:gd name="connsiteX4346" fmla="*/ 11767481 w 13797425"/>
                <a:gd name="connsiteY4346" fmla="*/ 13606816 h 17966907"/>
                <a:gd name="connsiteX4347" fmla="*/ 11777013 w 13797425"/>
                <a:gd name="connsiteY4347" fmla="*/ 13611582 h 17966907"/>
                <a:gd name="connsiteX4348" fmla="*/ 11781777 w 13797425"/>
                <a:gd name="connsiteY4348" fmla="*/ 13602051 h 17966907"/>
                <a:gd name="connsiteX4349" fmla="*/ 11786541 w 13797425"/>
                <a:gd name="connsiteY4349" fmla="*/ 13578226 h 17966907"/>
                <a:gd name="connsiteX4350" fmla="*/ 11791309 w 13797425"/>
                <a:gd name="connsiteY4350" fmla="*/ 13568695 h 17966907"/>
                <a:gd name="connsiteX4351" fmla="*/ 11805601 w 13797425"/>
                <a:gd name="connsiteY4351" fmla="*/ 13578226 h 17966907"/>
                <a:gd name="connsiteX4352" fmla="*/ 11805601 w 13797425"/>
                <a:gd name="connsiteY4352" fmla="*/ 13573460 h 17966907"/>
                <a:gd name="connsiteX4353" fmla="*/ 11791309 w 13797425"/>
                <a:gd name="connsiteY4353" fmla="*/ 13540104 h 17966907"/>
                <a:gd name="connsiteX4354" fmla="*/ 11796073 w 13797425"/>
                <a:gd name="connsiteY4354" fmla="*/ 13530574 h 17966907"/>
                <a:gd name="connsiteX4355" fmla="*/ 11815133 w 13797425"/>
                <a:gd name="connsiteY4355" fmla="*/ 13530574 h 17966907"/>
                <a:gd name="connsiteX4356" fmla="*/ 11824665 w 13797425"/>
                <a:gd name="connsiteY4356" fmla="*/ 13535340 h 17966907"/>
                <a:gd name="connsiteX4357" fmla="*/ 11858021 w 13797425"/>
                <a:gd name="connsiteY4357" fmla="*/ 13559165 h 17966907"/>
                <a:gd name="connsiteX4358" fmla="*/ 11862785 w 13797425"/>
                <a:gd name="connsiteY4358" fmla="*/ 13559165 h 17966907"/>
                <a:gd name="connsiteX4359" fmla="*/ 11858021 w 13797425"/>
                <a:gd name="connsiteY4359" fmla="*/ 13549634 h 17966907"/>
                <a:gd name="connsiteX4360" fmla="*/ 11843725 w 13797425"/>
                <a:gd name="connsiteY4360" fmla="*/ 13535340 h 17966907"/>
                <a:gd name="connsiteX4361" fmla="*/ 11829429 w 13797425"/>
                <a:gd name="connsiteY4361" fmla="*/ 13525809 h 17966907"/>
                <a:gd name="connsiteX4362" fmla="*/ 11815133 w 13797425"/>
                <a:gd name="connsiteY4362" fmla="*/ 13521044 h 17966907"/>
                <a:gd name="connsiteX4363" fmla="*/ 11805601 w 13797425"/>
                <a:gd name="connsiteY4363" fmla="*/ 13511514 h 17966907"/>
                <a:gd name="connsiteX4364" fmla="*/ 11796073 w 13797425"/>
                <a:gd name="connsiteY4364" fmla="*/ 13487688 h 17966907"/>
                <a:gd name="connsiteX4365" fmla="*/ 11791309 w 13797425"/>
                <a:gd name="connsiteY4365" fmla="*/ 13478158 h 17966907"/>
                <a:gd name="connsiteX4366" fmla="*/ 11796073 w 13797425"/>
                <a:gd name="connsiteY4366" fmla="*/ 13463862 h 17966907"/>
                <a:gd name="connsiteX4367" fmla="*/ 11800837 w 13797425"/>
                <a:gd name="connsiteY4367" fmla="*/ 13440036 h 17966907"/>
                <a:gd name="connsiteX4368" fmla="*/ 11805601 w 13797425"/>
                <a:gd name="connsiteY4368" fmla="*/ 13430506 h 17966907"/>
                <a:gd name="connsiteX4369" fmla="*/ 11815133 w 13797425"/>
                <a:gd name="connsiteY4369" fmla="*/ 13425742 h 17966907"/>
                <a:gd name="connsiteX4370" fmla="*/ 11824665 w 13797425"/>
                <a:gd name="connsiteY4370" fmla="*/ 13425742 h 17966907"/>
                <a:gd name="connsiteX4371" fmla="*/ 11834193 w 13797425"/>
                <a:gd name="connsiteY4371" fmla="*/ 13425742 h 17966907"/>
                <a:gd name="connsiteX4372" fmla="*/ 11862785 w 13797425"/>
                <a:gd name="connsiteY4372" fmla="*/ 13444802 h 17966907"/>
                <a:gd name="connsiteX4373" fmla="*/ 11867549 w 13797425"/>
                <a:gd name="connsiteY4373" fmla="*/ 13440036 h 17966907"/>
                <a:gd name="connsiteX4374" fmla="*/ 11853253 w 13797425"/>
                <a:gd name="connsiteY4374" fmla="*/ 13430506 h 17966907"/>
                <a:gd name="connsiteX4375" fmla="*/ 11843725 w 13797425"/>
                <a:gd name="connsiteY4375" fmla="*/ 13420976 h 17966907"/>
                <a:gd name="connsiteX4376" fmla="*/ 11843725 w 13797425"/>
                <a:gd name="connsiteY4376" fmla="*/ 13411446 h 17966907"/>
                <a:gd name="connsiteX4377" fmla="*/ 11843725 w 13797425"/>
                <a:gd name="connsiteY4377" fmla="*/ 13397150 h 17966907"/>
                <a:gd name="connsiteX4378" fmla="*/ 11853253 w 13797425"/>
                <a:gd name="connsiteY4378" fmla="*/ 13368560 h 17966907"/>
                <a:gd name="connsiteX4379" fmla="*/ 11858021 w 13797425"/>
                <a:gd name="connsiteY4379" fmla="*/ 13349500 h 17966907"/>
                <a:gd name="connsiteX4380" fmla="*/ 11881845 w 13797425"/>
                <a:gd name="connsiteY4380" fmla="*/ 13287552 h 17966907"/>
                <a:gd name="connsiteX4381" fmla="*/ 11886609 w 13797425"/>
                <a:gd name="connsiteY4381" fmla="*/ 13278022 h 17966907"/>
                <a:gd name="connsiteX4382" fmla="*/ 11891377 w 13797425"/>
                <a:gd name="connsiteY4382" fmla="*/ 13273258 h 17966907"/>
                <a:gd name="connsiteX4383" fmla="*/ 11896141 w 13797425"/>
                <a:gd name="connsiteY4383" fmla="*/ 13263727 h 17966907"/>
                <a:gd name="connsiteX4384" fmla="*/ 11915201 w 13797425"/>
                <a:gd name="connsiteY4384" fmla="*/ 13263727 h 17966907"/>
                <a:gd name="connsiteX4385" fmla="*/ 11948557 w 13797425"/>
                <a:gd name="connsiteY4385" fmla="*/ 13282788 h 17966907"/>
                <a:gd name="connsiteX4386" fmla="*/ 11958085 w 13797425"/>
                <a:gd name="connsiteY4386" fmla="*/ 13297083 h 17966907"/>
                <a:gd name="connsiteX4387" fmla="*/ 11962853 w 13797425"/>
                <a:gd name="connsiteY4387" fmla="*/ 13316144 h 17966907"/>
                <a:gd name="connsiteX4388" fmla="*/ 11943793 w 13797425"/>
                <a:gd name="connsiteY4388" fmla="*/ 13339969 h 17966907"/>
                <a:gd name="connsiteX4389" fmla="*/ 11915201 w 13797425"/>
                <a:gd name="connsiteY4389" fmla="*/ 13359030 h 17966907"/>
                <a:gd name="connsiteX4390" fmla="*/ 11905669 w 13797425"/>
                <a:gd name="connsiteY4390" fmla="*/ 13363794 h 17966907"/>
                <a:gd name="connsiteX4391" fmla="*/ 11910437 w 13797425"/>
                <a:gd name="connsiteY4391" fmla="*/ 13368560 h 17966907"/>
                <a:gd name="connsiteX4392" fmla="*/ 11939025 w 13797425"/>
                <a:gd name="connsiteY4392" fmla="*/ 13354264 h 17966907"/>
                <a:gd name="connsiteX4393" fmla="*/ 11962853 w 13797425"/>
                <a:gd name="connsiteY4393" fmla="*/ 13349500 h 17966907"/>
                <a:gd name="connsiteX4394" fmla="*/ 11981913 w 13797425"/>
                <a:gd name="connsiteY4394" fmla="*/ 13349500 h 17966907"/>
                <a:gd name="connsiteX4395" fmla="*/ 11996209 w 13797425"/>
                <a:gd name="connsiteY4395" fmla="*/ 13378090 h 17966907"/>
                <a:gd name="connsiteX4396" fmla="*/ 12000973 w 13797425"/>
                <a:gd name="connsiteY4396" fmla="*/ 13416211 h 17966907"/>
                <a:gd name="connsiteX4397" fmla="*/ 11991441 w 13797425"/>
                <a:gd name="connsiteY4397" fmla="*/ 13449567 h 17966907"/>
                <a:gd name="connsiteX4398" fmla="*/ 12000973 w 13797425"/>
                <a:gd name="connsiteY4398" fmla="*/ 13430506 h 17966907"/>
                <a:gd name="connsiteX4399" fmla="*/ 12015269 w 13797425"/>
                <a:gd name="connsiteY4399" fmla="*/ 13425742 h 17966907"/>
                <a:gd name="connsiteX4400" fmla="*/ 12029565 w 13797425"/>
                <a:gd name="connsiteY4400" fmla="*/ 13444802 h 17966907"/>
                <a:gd name="connsiteX4401" fmla="*/ 12029565 w 13797425"/>
                <a:gd name="connsiteY4401" fmla="*/ 13463862 h 17966907"/>
                <a:gd name="connsiteX4402" fmla="*/ 12039093 w 13797425"/>
                <a:gd name="connsiteY4402" fmla="*/ 13478158 h 17966907"/>
                <a:gd name="connsiteX4403" fmla="*/ 12048625 w 13797425"/>
                <a:gd name="connsiteY4403" fmla="*/ 13501984 h 17966907"/>
                <a:gd name="connsiteX4404" fmla="*/ 12062921 w 13797425"/>
                <a:gd name="connsiteY4404" fmla="*/ 13521044 h 17966907"/>
                <a:gd name="connsiteX4405" fmla="*/ 12048625 w 13797425"/>
                <a:gd name="connsiteY4405" fmla="*/ 13540104 h 17966907"/>
                <a:gd name="connsiteX4406" fmla="*/ 12029565 w 13797425"/>
                <a:gd name="connsiteY4406" fmla="*/ 13549634 h 17966907"/>
                <a:gd name="connsiteX4407" fmla="*/ 12034329 w 13797425"/>
                <a:gd name="connsiteY4407" fmla="*/ 13559165 h 17966907"/>
                <a:gd name="connsiteX4408" fmla="*/ 12058153 w 13797425"/>
                <a:gd name="connsiteY4408" fmla="*/ 13568695 h 17966907"/>
                <a:gd name="connsiteX4409" fmla="*/ 12062921 w 13797425"/>
                <a:gd name="connsiteY4409" fmla="*/ 13578226 h 17966907"/>
                <a:gd name="connsiteX4410" fmla="*/ 12062921 w 13797425"/>
                <a:gd name="connsiteY4410" fmla="*/ 13592521 h 17966907"/>
                <a:gd name="connsiteX4411" fmla="*/ 12081981 w 13797425"/>
                <a:gd name="connsiteY4411" fmla="*/ 13573460 h 17966907"/>
                <a:gd name="connsiteX4412" fmla="*/ 12096277 w 13797425"/>
                <a:gd name="connsiteY4412" fmla="*/ 13573460 h 17966907"/>
                <a:gd name="connsiteX4413" fmla="*/ 12115337 w 13797425"/>
                <a:gd name="connsiteY4413" fmla="*/ 13616346 h 17966907"/>
                <a:gd name="connsiteX4414" fmla="*/ 12101041 w 13797425"/>
                <a:gd name="connsiteY4414" fmla="*/ 13640172 h 17966907"/>
                <a:gd name="connsiteX4415" fmla="*/ 12081981 w 13797425"/>
                <a:gd name="connsiteY4415" fmla="*/ 13654468 h 17966907"/>
                <a:gd name="connsiteX4416" fmla="*/ 12062921 w 13797425"/>
                <a:gd name="connsiteY4416" fmla="*/ 13654468 h 17966907"/>
                <a:gd name="connsiteX4417" fmla="*/ 12039093 w 13797425"/>
                <a:gd name="connsiteY4417" fmla="*/ 13654468 h 17966907"/>
                <a:gd name="connsiteX4418" fmla="*/ 12029565 w 13797425"/>
                <a:gd name="connsiteY4418" fmla="*/ 13659232 h 17966907"/>
                <a:gd name="connsiteX4419" fmla="*/ 12034329 w 13797425"/>
                <a:gd name="connsiteY4419" fmla="*/ 13668763 h 17966907"/>
                <a:gd name="connsiteX4420" fmla="*/ 12058153 w 13797425"/>
                <a:gd name="connsiteY4420" fmla="*/ 13668763 h 17966907"/>
                <a:gd name="connsiteX4421" fmla="*/ 12091509 w 13797425"/>
                <a:gd name="connsiteY4421" fmla="*/ 13659232 h 17966907"/>
                <a:gd name="connsiteX4422" fmla="*/ 12120101 w 13797425"/>
                <a:gd name="connsiteY4422" fmla="*/ 13649702 h 17966907"/>
                <a:gd name="connsiteX4423" fmla="*/ 12129633 w 13797425"/>
                <a:gd name="connsiteY4423" fmla="*/ 13649702 h 17966907"/>
                <a:gd name="connsiteX4424" fmla="*/ 12143925 w 13797425"/>
                <a:gd name="connsiteY4424" fmla="*/ 13654468 h 17966907"/>
                <a:gd name="connsiteX4425" fmla="*/ 12148693 w 13797425"/>
                <a:gd name="connsiteY4425" fmla="*/ 13659232 h 17966907"/>
                <a:gd name="connsiteX4426" fmla="*/ 12134397 w 13797425"/>
                <a:gd name="connsiteY4426" fmla="*/ 13663998 h 17966907"/>
                <a:gd name="connsiteX4427" fmla="*/ 12134397 w 13797425"/>
                <a:gd name="connsiteY4427" fmla="*/ 13668763 h 17966907"/>
                <a:gd name="connsiteX4428" fmla="*/ 12139161 w 13797425"/>
                <a:gd name="connsiteY4428" fmla="*/ 13673528 h 17966907"/>
                <a:gd name="connsiteX4429" fmla="*/ 12148693 w 13797425"/>
                <a:gd name="connsiteY4429" fmla="*/ 13697354 h 17966907"/>
                <a:gd name="connsiteX4430" fmla="*/ 12148693 w 13797425"/>
                <a:gd name="connsiteY4430" fmla="*/ 13702118 h 17966907"/>
                <a:gd name="connsiteX4431" fmla="*/ 12139161 w 13797425"/>
                <a:gd name="connsiteY4431" fmla="*/ 13716414 h 17966907"/>
                <a:gd name="connsiteX4432" fmla="*/ 12153457 w 13797425"/>
                <a:gd name="connsiteY4432" fmla="*/ 13721179 h 17966907"/>
                <a:gd name="connsiteX4433" fmla="*/ 12172517 w 13797425"/>
                <a:gd name="connsiteY4433" fmla="*/ 13711649 h 17966907"/>
                <a:gd name="connsiteX4434" fmla="*/ 12182049 w 13797425"/>
                <a:gd name="connsiteY4434" fmla="*/ 13721179 h 17966907"/>
                <a:gd name="connsiteX4435" fmla="*/ 12191577 w 13797425"/>
                <a:gd name="connsiteY4435" fmla="*/ 13745005 h 17966907"/>
                <a:gd name="connsiteX4436" fmla="*/ 12201109 w 13797425"/>
                <a:gd name="connsiteY4436" fmla="*/ 13773596 h 17966907"/>
                <a:gd name="connsiteX4437" fmla="*/ 12167753 w 13797425"/>
                <a:gd name="connsiteY4437" fmla="*/ 13811716 h 17966907"/>
                <a:gd name="connsiteX4438" fmla="*/ 12148693 w 13797425"/>
                <a:gd name="connsiteY4438" fmla="*/ 13821247 h 17966907"/>
                <a:gd name="connsiteX4439" fmla="*/ 12120101 w 13797425"/>
                <a:gd name="connsiteY4439" fmla="*/ 13840308 h 17966907"/>
                <a:gd name="connsiteX4440" fmla="*/ 12115337 w 13797425"/>
                <a:gd name="connsiteY4440" fmla="*/ 13854602 h 17966907"/>
                <a:gd name="connsiteX4441" fmla="*/ 12096277 w 13797425"/>
                <a:gd name="connsiteY4441" fmla="*/ 13878428 h 17966907"/>
                <a:gd name="connsiteX4442" fmla="*/ 12105805 w 13797425"/>
                <a:gd name="connsiteY4442" fmla="*/ 13878428 h 17966907"/>
                <a:gd name="connsiteX4443" fmla="*/ 12134397 w 13797425"/>
                <a:gd name="connsiteY4443" fmla="*/ 13845072 h 17966907"/>
                <a:gd name="connsiteX4444" fmla="*/ 12148693 w 13797425"/>
                <a:gd name="connsiteY4444" fmla="*/ 13835542 h 17966907"/>
                <a:gd name="connsiteX4445" fmla="*/ 12158221 w 13797425"/>
                <a:gd name="connsiteY4445" fmla="*/ 13840308 h 17966907"/>
                <a:gd name="connsiteX4446" fmla="*/ 12162989 w 13797425"/>
                <a:gd name="connsiteY4446" fmla="*/ 13845072 h 17966907"/>
                <a:gd name="connsiteX4447" fmla="*/ 12162989 w 13797425"/>
                <a:gd name="connsiteY4447" fmla="*/ 13854602 h 17966907"/>
                <a:gd name="connsiteX4448" fmla="*/ 12167753 w 13797425"/>
                <a:gd name="connsiteY4448" fmla="*/ 13849838 h 17966907"/>
                <a:gd name="connsiteX4449" fmla="*/ 12205873 w 13797425"/>
                <a:gd name="connsiteY4449" fmla="*/ 13830777 h 17966907"/>
                <a:gd name="connsiteX4450" fmla="*/ 12224933 w 13797425"/>
                <a:gd name="connsiteY4450" fmla="*/ 13830777 h 17966907"/>
                <a:gd name="connsiteX4451" fmla="*/ 12243993 w 13797425"/>
                <a:gd name="connsiteY4451" fmla="*/ 13826012 h 17966907"/>
                <a:gd name="connsiteX4452" fmla="*/ 12243993 w 13797425"/>
                <a:gd name="connsiteY4452" fmla="*/ 13835542 h 17966907"/>
                <a:gd name="connsiteX4453" fmla="*/ 12234465 w 13797425"/>
                <a:gd name="connsiteY4453" fmla="*/ 13878428 h 17966907"/>
                <a:gd name="connsiteX4454" fmla="*/ 12210637 w 13797425"/>
                <a:gd name="connsiteY4454" fmla="*/ 13916550 h 17966907"/>
                <a:gd name="connsiteX4455" fmla="*/ 12172517 w 13797425"/>
                <a:gd name="connsiteY4455" fmla="*/ 13935610 h 17966907"/>
                <a:gd name="connsiteX4456" fmla="*/ 12158221 w 13797425"/>
                <a:gd name="connsiteY4456" fmla="*/ 13949906 h 17966907"/>
                <a:gd name="connsiteX4457" fmla="*/ 12139161 w 13797425"/>
                <a:gd name="connsiteY4457" fmla="*/ 13968966 h 17966907"/>
                <a:gd name="connsiteX4458" fmla="*/ 12148693 w 13797425"/>
                <a:gd name="connsiteY4458" fmla="*/ 13973731 h 17966907"/>
                <a:gd name="connsiteX4459" fmla="*/ 12186813 w 13797425"/>
                <a:gd name="connsiteY4459" fmla="*/ 13945140 h 17966907"/>
                <a:gd name="connsiteX4460" fmla="*/ 12210637 w 13797425"/>
                <a:gd name="connsiteY4460" fmla="*/ 13935610 h 17966907"/>
                <a:gd name="connsiteX4461" fmla="*/ 12243993 w 13797425"/>
                <a:gd name="connsiteY4461" fmla="*/ 13926080 h 17966907"/>
                <a:gd name="connsiteX4462" fmla="*/ 12263057 w 13797425"/>
                <a:gd name="connsiteY4462" fmla="*/ 13930845 h 17966907"/>
                <a:gd name="connsiteX4463" fmla="*/ 12291645 w 13797425"/>
                <a:gd name="connsiteY4463" fmla="*/ 13983261 h 17966907"/>
                <a:gd name="connsiteX4464" fmla="*/ 12305941 w 13797425"/>
                <a:gd name="connsiteY4464" fmla="*/ 13988026 h 17966907"/>
                <a:gd name="connsiteX4465" fmla="*/ 12320237 w 13797425"/>
                <a:gd name="connsiteY4465" fmla="*/ 13988026 h 17966907"/>
                <a:gd name="connsiteX4466" fmla="*/ 12344061 w 13797425"/>
                <a:gd name="connsiteY4466" fmla="*/ 14002322 h 17966907"/>
                <a:gd name="connsiteX4467" fmla="*/ 12353593 w 13797425"/>
                <a:gd name="connsiteY4467" fmla="*/ 14016617 h 17966907"/>
                <a:gd name="connsiteX4468" fmla="*/ 12353593 w 13797425"/>
                <a:gd name="connsiteY4468" fmla="*/ 14026148 h 17966907"/>
                <a:gd name="connsiteX4469" fmla="*/ 12344061 w 13797425"/>
                <a:gd name="connsiteY4469" fmla="*/ 14030912 h 17966907"/>
                <a:gd name="connsiteX4470" fmla="*/ 12339297 w 13797425"/>
                <a:gd name="connsiteY4470" fmla="*/ 14045208 h 17966907"/>
                <a:gd name="connsiteX4471" fmla="*/ 12348829 w 13797425"/>
                <a:gd name="connsiteY4471" fmla="*/ 14073798 h 17966907"/>
                <a:gd name="connsiteX4472" fmla="*/ 12344061 w 13797425"/>
                <a:gd name="connsiteY4472" fmla="*/ 14088094 h 17966907"/>
                <a:gd name="connsiteX4473" fmla="*/ 12325001 w 13797425"/>
                <a:gd name="connsiteY4473" fmla="*/ 14102390 h 17966907"/>
                <a:gd name="connsiteX4474" fmla="*/ 12310705 w 13797425"/>
                <a:gd name="connsiteY4474" fmla="*/ 14111920 h 17966907"/>
                <a:gd name="connsiteX4475" fmla="*/ 12296409 w 13797425"/>
                <a:gd name="connsiteY4475" fmla="*/ 14111920 h 17966907"/>
                <a:gd name="connsiteX4476" fmla="*/ 12286881 w 13797425"/>
                <a:gd name="connsiteY4476" fmla="*/ 14126215 h 17966907"/>
                <a:gd name="connsiteX4477" fmla="*/ 12277349 w 13797425"/>
                <a:gd name="connsiteY4477" fmla="*/ 14126215 h 17966907"/>
                <a:gd name="connsiteX4478" fmla="*/ 12263057 w 13797425"/>
                <a:gd name="connsiteY4478" fmla="*/ 14126215 h 17966907"/>
                <a:gd name="connsiteX4479" fmla="*/ 12267821 w 13797425"/>
                <a:gd name="connsiteY4479" fmla="*/ 14130980 h 17966907"/>
                <a:gd name="connsiteX4480" fmla="*/ 12277349 w 13797425"/>
                <a:gd name="connsiteY4480" fmla="*/ 14135745 h 17966907"/>
                <a:gd name="connsiteX4481" fmla="*/ 12291645 w 13797425"/>
                <a:gd name="connsiteY4481" fmla="*/ 14135745 h 17966907"/>
                <a:gd name="connsiteX4482" fmla="*/ 12305941 w 13797425"/>
                <a:gd name="connsiteY4482" fmla="*/ 14135745 h 17966907"/>
                <a:gd name="connsiteX4483" fmla="*/ 12325001 w 13797425"/>
                <a:gd name="connsiteY4483" fmla="*/ 14135745 h 17966907"/>
                <a:gd name="connsiteX4484" fmla="*/ 12348829 w 13797425"/>
                <a:gd name="connsiteY4484" fmla="*/ 14145276 h 17966907"/>
                <a:gd name="connsiteX4485" fmla="*/ 12363121 w 13797425"/>
                <a:gd name="connsiteY4485" fmla="*/ 14154806 h 17966907"/>
                <a:gd name="connsiteX4486" fmla="*/ 12363121 w 13797425"/>
                <a:gd name="connsiteY4486" fmla="*/ 14159571 h 17966907"/>
                <a:gd name="connsiteX4487" fmla="*/ 12358357 w 13797425"/>
                <a:gd name="connsiteY4487" fmla="*/ 14164336 h 17966907"/>
                <a:gd name="connsiteX4488" fmla="*/ 12348829 w 13797425"/>
                <a:gd name="connsiteY4488" fmla="*/ 14188162 h 17966907"/>
                <a:gd name="connsiteX4489" fmla="*/ 12339297 w 13797425"/>
                <a:gd name="connsiteY4489" fmla="*/ 14192926 h 17966907"/>
                <a:gd name="connsiteX4490" fmla="*/ 12348829 w 13797425"/>
                <a:gd name="connsiteY4490" fmla="*/ 14202457 h 17966907"/>
                <a:gd name="connsiteX4491" fmla="*/ 12358357 w 13797425"/>
                <a:gd name="connsiteY4491" fmla="*/ 14207222 h 17966907"/>
                <a:gd name="connsiteX4492" fmla="*/ 12367889 w 13797425"/>
                <a:gd name="connsiteY4492" fmla="*/ 14211987 h 17966907"/>
                <a:gd name="connsiteX4493" fmla="*/ 12382185 w 13797425"/>
                <a:gd name="connsiteY4493" fmla="*/ 14207222 h 17966907"/>
                <a:gd name="connsiteX4494" fmla="*/ 12396477 w 13797425"/>
                <a:gd name="connsiteY4494" fmla="*/ 14211987 h 17966907"/>
                <a:gd name="connsiteX4495" fmla="*/ 12444129 w 13797425"/>
                <a:gd name="connsiteY4495" fmla="*/ 14264404 h 17966907"/>
                <a:gd name="connsiteX4496" fmla="*/ 12439365 w 13797425"/>
                <a:gd name="connsiteY4496" fmla="*/ 14288230 h 17966907"/>
                <a:gd name="connsiteX4497" fmla="*/ 12434601 w 13797425"/>
                <a:gd name="connsiteY4497" fmla="*/ 14307290 h 17966907"/>
                <a:gd name="connsiteX4498" fmla="*/ 12434601 w 13797425"/>
                <a:gd name="connsiteY4498" fmla="*/ 14331116 h 17966907"/>
                <a:gd name="connsiteX4499" fmla="*/ 12434601 w 13797425"/>
                <a:gd name="connsiteY4499" fmla="*/ 14354941 h 17966907"/>
                <a:gd name="connsiteX4500" fmla="*/ 12410773 w 13797425"/>
                <a:gd name="connsiteY4500" fmla="*/ 14364472 h 17966907"/>
                <a:gd name="connsiteX4501" fmla="*/ 12329765 w 13797425"/>
                <a:gd name="connsiteY4501" fmla="*/ 14350176 h 17966907"/>
                <a:gd name="connsiteX4502" fmla="*/ 12282117 w 13797425"/>
                <a:gd name="connsiteY4502" fmla="*/ 14331116 h 17966907"/>
                <a:gd name="connsiteX4503" fmla="*/ 12277349 w 13797425"/>
                <a:gd name="connsiteY4503" fmla="*/ 14326350 h 17966907"/>
                <a:gd name="connsiteX4504" fmla="*/ 12291645 w 13797425"/>
                <a:gd name="connsiteY4504" fmla="*/ 14312055 h 17966907"/>
                <a:gd name="connsiteX4505" fmla="*/ 12282117 w 13797425"/>
                <a:gd name="connsiteY4505" fmla="*/ 14312055 h 17966907"/>
                <a:gd name="connsiteX4506" fmla="*/ 12267821 w 13797425"/>
                <a:gd name="connsiteY4506" fmla="*/ 14316820 h 17966907"/>
                <a:gd name="connsiteX4507" fmla="*/ 12258289 w 13797425"/>
                <a:gd name="connsiteY4507" fmla="*/ 14321585 h 17966907"/>
                <a:gd name="connsiteX4508" fmla="*/ 12277349 w 13797425"/>
                <a:gd name="connsiteY4508" fmla="*/ 14340646 h 17966907"/>
                <a:gd name="connsiteX4509" fmla="*/ 12320237 w 13797425"/>
                <a:gd name="connsiteY4509" fmla="*/ 14359706 h 17966907"/>
                <a:gd name="connsiteX4510" fmla="*/ 12339297 w 13797425"/>
                <a:gd name="connsiteY4510" fmla="*/ 14383532 h 17966907"/>
                <a:gd name="connsiteX4511" fmla="*/ 12363121 w 13797425"/>
                <a:gd name="connsiteY4511" fmla="*/ 14383532 h 17966907"/>
                <a:gd name="connsiteX4512" fmla="*/ 12367889 w 13797425"/>
                <a:gd name="connsiteY4512" fmla="*/ 14388297 h 17966907"/>
                <a:gd name="connsiteX4513" fmla="*/ 12377417 w 13797425"/>
                <a:gd name="connsiteY4513" fmla="*/ 14402592 h 17966907"/>
                <a:gd name="connsiteX4514" fmla="*/ 12353593 w 13797425"/>
                <a:gd name="connsiteY4514" fmla="*/ 14407358 h 17966907"/>
                <a:gd name="connsiteX4515" fmla="*/ 12334533 w 13797425"/>
                <a:gd name="connsiteY4515" fmla="*/ 14421653 h 17966907"/>
                <a:gd name="connsiteX4516" fmla="*/ 12348829 w 13797425"/>
                <a:gd name="connsiteY4516" fmla="*/ 14431183 h 17966907"/>
                <a:gd name="connsiteX4517" fmla="*/ 12386949 w 13797425"/>
                <a:gd name="connsiteY4517" fmla="*/ 14435948 h 17966907"/>
                <a:gd name="connsiteX4518" fmla="*/ 12415541 w 13797425"/>
                <a:gd name="connsiteY4518" fmla="*/ 14440714 h 17966907"/>
                <a:gd name="connsiteX4519" fmla="*/ 12429833 w 13797425"/>
                <a:gd name="connsiteY4519" fmla="*/ 14445478 h 17966907"/>
                <a:gd name="connsiteX4520" fmla="*/ 12415541 w 13797425"/>
                <a:gd name="connsiteY4520" fmla="*/ 14455008 h 17966907"/>
                <a:gd name="connsiteX4521" fmla="*/ 12382185 w 13797425"/>
                <a:gd name="connsiteY4521" fmla="*/ 14469304 h 17966907"/>
                <a:gd name="connsiteX4522" fmla="*/ 12382185 w 13797425"/>
                <a:gd name="connsiteY4522" fmla="*/ 14483600 h 17966907"/>
                <a:gd name="connsiteX4523" fmla="*/ 12406009 w 13797425"/>
                <a:gd name="connsiteY4523" fmla="*/ 14488364 h 17966907"/>
                <a:gd name="connsiteX4524" fmla="*/ 12429833 w 13797425"/>
                <a:gd name="connsiteY4524" fmla="*/ 14488364 h 17966907"/>
                <a:gd name="connsiteX4525" fmla="*/ 12439365 w 13797425"/>
                <a:gd name="connsiteY4525" fmla="*/ 14488364 h 17966907"/>
                <a:gd name="connsiteX4526" fmla="*/ 12444129 w 13797425"/>
                <a:gd name="connsiteY4526" fmla="*/ 14526486 h 17966907"/>
                <a:gd name="connsiteX4527" fmla="*/ 12448897 w 13797425"/>
                <a:gd name="connsiteY4527" fmla="*/ 14536016 h 17966907"/>
                <a:gd name="connsiteX4528" fmla="*/ 12425069 w 13797425"/>
                <a:gd name="connsiteY4528" fmla="*/ 14540781 h 17966907"/>
                <a:gd name="connsiteX4529" fmla="*/ 12425069 w 13797425"/>
                <a:gd name="connsiteY4529" fmla="*/ 14550311 h 17966907"/>
                <a:gd name="connsiteX4530" fmla="*/ 12439365 w 13797425"/>
                <a:gd name="connsiteY4530" fmla="*/ 14555076 h 17966907"/>
                <a:gd name="connsiteX4531" fmla="*/ 12463189 w 13797425"/>
                <a:gd name="connsiteY4531" fmla="*/ 14559842 h 17966907"/>
                <a:gd name="connsiteX4532" fmla="*/ 12472721 w 13797425"/>
                <a:gd name="connsiteY4532" fmla="*/ 14569372 h 17966907"/>
                <a:gd name="connsiteX4533" fmla="*/ 12477485 w 13797425"/>
                <a:gd name="connsiteY4533" fmla="*/ 14578902 h 17966907"/>
                <a:gd name="connsiteX4534" fmla="*/ 12482249 w 13797425"/>
                <a:gd name="connsiteY4534" fmla="*/ 14583667 h 17966907"/>
                <a:gd name="connsiteX4535" fmla="*/ 12496545 w 13797425"/>
                <a:gd name="connsiteY4535" fmla="*/ 14588432 h 17966907"/>
                <a:gd name="connsiteX4536" fmla="*/ 12510841 w 13797425"/>
                <a:gd name="connsiteY4536" fmla="*/ 14574137 h 17966907"/>
                <a:gd name="connsiteX4537" fmla="*/ 12520373 w 13797425"/>
                <a:gd name="connsiteY4537" fmla="*/ 14559842 h 17966907"/>
                <a:gd name="connsiteX4538" fmla="*/ 12534669 w 13797425"/>
                <a:gd name="connsiteY4538" fmla="*/ 14564606 h 17966907"/>
                <a:gd name="connsiteX4539" fmla="*/ 12534669 w 13797425"/>
                <a:gd name="connsiteY4539" fmla="*/ 14578902 h 17966907"/>
                <a:gd name="connsiteX4540" fmla="*/ 12553729 w 13797425"/>
                <a:gd name="connsiteY4540" fmla="*/ 14597962 h 17966907"/>
                <a:gd name="connsiteX4541" fmla="*/ 12558493 w 13797425"/>
                <a:gd name="connsiteY4541" fmla="*/ 14597962 h 17966907"/>
                <a:gd name="connsiteX4542" fmla="*/ 12563257 w 13797425"/>
                <a:gd name="connsiteY4542" fmla="*/ 14626554 h 17966907"/>
                <a:gd name="connsiteX4543" fmla="*/ 12577553 w 13797425"/>
                <a:gd name="connsiteY4543" fmla="*/ 14602728 h 17966907"/>
                <a:gd name="connsiteX4544" fmla="*/ 12587085 w 13797425"/>
                <a:gd name="connsiteY4544" fmla="*/ 14607493 h 17966907"/>
                <a:gd name="connsiteX4545" fmla="*/ 12596613 w 13797425"/>
                <a:gd name="connsiteY4545" fmla="*/ 14607493 h 17966907"/>
                <a:gd name="connsiteX4546" fmla="*/ 12591849 w 13797425"/>
                <a:gd name="connsiteY4546" fmla="*/ 14631318 h 17966907"/>
                <a:gd name="connsiteX4547" fmla="*/ 12587085 w 13797425"/>
                <a:gd name="connsiteY4547" fmla="*/ 14645614 h 17966907"/>
                <a:gd name="connsiteX4548" fmla="*/ 12596613 w 13797425"/>
                <a:gd name="connsiteY4548" fmla="*/ 14655144 h 17966907"/>
                <a:gd name="connsiteX4549" fmla="*/ 12601381 w 13797425"/>
                <a:gd name="connsiteY4549" fmla="*/ 14669440 h 17966907"/>
                <a:gd name="connsiteX4550" fmla="*/ 12620441 w 13797425"/>
                <a:gd name="connsiteY4550" fmla="*/ 14693265 h 17966907"/>
                <a:gd name="connsiteX4551" fmla="*/ 12615673 w 13797425"/>
                <a:gd name="connsiteY4551" fmla="*/ 14702796 h 17966907"/>
                <a:gd name="connsiteX4552" fmla="*/ 12591849 w 13797425"/>
                <a:gd name="connsiteY4552" fmla="*/ 14726621 h 17966907"/>
                <a:gd name="connsiteX4553" fmla="*/ 12582317 w 13797425"/>
                <a:gd name="connsiteY4553" fmla="*/ 14759977 h 17966907"/>
                <a:gd name="connsiteX4554" fmla="*/ 12582317 w 13797425"/>
                <a:gd name="connsiteY4554" fmla="*/ 14769507 h 17966907"/>
                <a:gd name="connsiteX4555" fmla="*/ 12568025 w 13797425"/>
                <a:gd name="connsiteY4555" fmla="*/ 14788568 h 17966907"/>
                <a:gd name="connsiteX4556" fmla="*/ 12553729 w 13797425"/>
                <a:gd name="connsiteY4556" fmla="*/ 14807628 h 17966907"/>
                <a:gd name="connsiteX4557" fmla="*/ 12563257 w 13797425"/>
                <a:gd name="connsiteY4557" fmla="*/ 14807628 h 17966907"/>
                <a:gd name="connsiteX4558" fmla="*/ 12596613 w 13797425"/>
                <a:gd name="connsiteY4558" fmla="*/ 14769507 h 17966907"/>
                <a:gd name="connsiteX4559" fmla="*/ 12615673 w 13797425"/>
                <a:gd name="connsiteY4559" fmla="*/ 14759977 h 17966907"/>
                <a:gd name="connsiteX4560" fmla="*/ 12663325 w 13797425"/>
                <a:gd name="connsiteY4560" fmla="*/ 14755212 h 17966907"/>
                <a:gd name="connsiteX4561" fmla="*/ 12672857 w 13797425"/>
                <a:gd name="connsiteY4561" fmla="*/ 14745682 h 17966907"/>
                <a:gd name="connsiteX4562" fmla="*/ 12687153 w 13797425"/>
                <a:gd name="connsiteY4562" fmla="*/ 14740916 h 17966907"/>
                <a:gd name="connsiteX4563" fmla="*/ 12696681 w 13797425"/>
                <a:gd name="connsiteY4563" fmla="*/ 14750446 h 17966907"/>
                <a:gd name="connsiteX4564" fmla="*/ 12701445 w 13797425"/>
                <a:gd name="connsiteY4564" fmla="*/ 14769507 h 17966907"/>
                <a:gd name="connsiteX4565" fmla="*/ 12710977 w 13797425"/>
                <a:gd name="connsiteY4565" fmla="*/ 14779038 h 17966907"/>
                <a:gd name="connsiteX4566" fmla="*/ 12725273 w 13797425"/>
                <a:gd name="connsiteY4566" fmla="*/ 14769507 h 17966907"/>
                <a:gd name="connsiteX4567" fmla="*/ 12739569 w 13797425"/>
                <a:gd name="connsiteY4567" fmla="*/ 14774272 h 17966907"/>
                <a:gd name="connsiteX4568" fmla="*/ 12730037 w 13797425"/>
                <a:gd name="connsiteY4568" fmla="*/ 14788568 h 17966907"/>
                <a:gd name="connsiteX4569" fmla="*/ 12691917 w 13797425"/>
                <a:gd name="connsiteY4569" fmla="*/ 14840984 h 17966907"/>
                <a:gd name="connsiteX4570" fmla="*/ 12677621 w 13797425"/>
                <a:gd name="connsiteY4570" fmla="*/ 14860044 h 17966907"/>
                <a:gd name="connsiteX4571" fmla="*/ 12677621 w 13797425"/>
                <a:gd name="connsiteY4571" fmla="*/ 14874340 h 17966907"/>
                <a:gd name="connsiteX4572" fmla="*/ 12691917 w 13797425"/>
                <a:gd name="connsiteY4572" fmla="*/ 14855280 h 17966907"/>
                <a:gd name="connsiteX4573" fmla="*/ 12739569 w 13797425"/>
                <a:gd name="connsiteY4573" fmla="*/ 14807628 h 17966907"/>
                <a:gd name="connsiteX4574" fmla="*/ 12744333 w 13797425"/>
                <a:gd name="connsiteY4574" fmla="*/ 14802863 h 17966907"/>
                <a:gd name="connsiteX4575" fmla="*/ 12753865 w 13797425"/>
                <a:gd name="connsiteY4575" fmla="*/ 14783802 h 17966907"/>
                <a:gd name="connsiteX4576" fmla="*/ 12768157 w 13797425"/>
                <a:gd name="connsiteY4576" fmla="*/ 14769507 h 17966907"/>
                <a:gd name="connsiteX4577" fmla="*/ 12791985 w 13797425"/>
                <a:gd name="connsiteY4577" fmla="*/ 14774272 h 17966907"/>
                <a:gd name="connsiteX4578" fmla="*/ 12806281 w 13797425"/>
                <a:gd name="connsiteY4578" fmla="*/ 14783802 h 17966907"/>
                <a:gd name="connsiteX4579" fmla="*/ 12815809 w 13797425"/>
                <a:gd name="connsiteY4579" fmla="*/ 14807628 h 17966907"/>
                <a:gd name="connsiteX4580" fmla="*/ 12825341 w 13797425"/>
                <a:gd name="connsiteY4580" fmla="*/ 14836219 h 17966907"/>
                <a:gd name="connsiteX4581" fmla="*/ 12839637 w 13797425"/>
                <a:gd name="connsiteY4581" fmla="*/ 14869574 h 17966907"/>
                <a:gd name="connsiteX4582" fmla="*/ 12887285 w 13797425"/>
                <a:gd name="connsiteY4582" fmla="*/ 14883870 h 17966907"/>
                <a:gd name="connsiteX4583" fmla="*/ 12901581 w 13797425"/>
                <a:gd name="connsiteY4583" fmla="*/ 14883870 h 17966907"/>
                <a:gd name="connsiteX4584" fmla="*/ 12930173 w 13797425"/>
                <a:gd name="connsiteY4584" fmla="*/ 14874340 h 17966907"/>
                <a:gd name="connsiteX4585" fmla="*/ 12934937 w 13797425"/>
                <a:gd name="connsiteY4585" fmla="*/ 14860044 h 17966907"/>
                <a:gd name="connsiteX4586" fmla="*/ 12953997 w 13797425"/>
                <a:gd name="connsiteY4586" fmla="*/ 14855280 h 17966907"/>
                <a:gd name="connsiteX4587" fmla="*/ 12968293 w 13797425"/>
                <a:gd name="connsiteY4587" fmla="*/ 14860044 h 17966907"/>
                <a:gd name="connsiteX4588" fmla="*/ 12973061 w 13797425"/>
                <a:gd name="connsiteY4588" fmla="*/ 14883870 h 17966907"/>
                <a:gd name="connsiteX4589" fmla="*/ 12992121 w 13797425"/>
                <a:gd name="connsiteY4589" fmla="*/ 14902931 h 17966907"/>
                <a:gd name="connsiteX4590" fmla="*/ 13006413 w 13797425"/>
                <a:gd name="connsiteY4590" fmla="*/ 14912463 h 17966907"/>
                <a:gd name="connsiteX4591" fmla="*/ 13020709 w 13797425"/>
                <a:gd name="connsiteY4591" fmla="*/ 14917227 h 17966907"/>
                <a:gd name="connsiteX4592" fmla="*/ 13044537 w 13797425"/>
                <a:gd name="connsiteY4592" fmla="*/ 14921991 h 17966907"/>
                <a:gd name="connsiteX4593" fmla="*/ 13054065 w 13797425"/>
                <a:gd name="connsiteY4593" fmla="*/ 14936287 h 17966907"/>
                <a:gd name="connsiteX4594" fmla="*/ 13054065 w 13797425"/>
                <a:gd name="connsiteY4594" fmla="*/ 14941055 h 17966907"/>
                <a:gd name="connsiteX4595" fmla="*/ 13044537 w 13797425"/>
                <a:gd name="connsiteY4595" fmla="*/ 14955347 h 17966907"/>
                <a:gd name="connsiteX4596" fmla="*/ 13030241 w 13797425"/>
                <a:gd name="connsiteY4596" fmla="*/ 14974411 h 17966907"/>
                <a:gd name="connsiteX4597" fmla="*/ 13011181 w 13797425"/>
                <a:gd name="connsiteY4597" fmla="*/ 14988703 h 17966907"/>
                <a:gd name="connsiteX4598" fmla="*/ 12982589 w 13797425"/>
                <a:gd name="connsiteY4598" fmla="*/ 14988703 h 17966907"/>
                <a:gd name="connsiteX4599" fmla="*/ 12939705 w 13797425"/>
                <a:gd name="connsiteY4599" fmla="*/ 14998235 h 17966907"/>
                <a:gd name="connsiteX4600" fmla="*/ 12939705 w 13797425"/>
                <a:gd name="connsiteY4600" fmla="*/ 15007767 h 17966907"/>
                <a:gd name="connsiteX4601" fmla="*/ 12930173 w 13797425"/>
                <a:gd name="connsiteY4601" fmla="*/ 15017295 h 17966907"/>
                <a:gd name="connsiteX4602" fmla="*/ 12906349 w 13797425"/>
                <a:gd name="connsiteY4602" fmla="*/ 15026827 h 17966907"/>
                <a:gd name="connsiteX4603" fmla="*/ 12896817 w 13797425"/>
                <a:gd name="connsiteY4603" fmla="*/ 15031591 h 17966907"/>
                <a:gd name="connsiteX4604" fmla="*/ 12877757 w 13797425"/>
                <a:gd name="connsiteY4604" fmla="*/ 15064947 h 17966907"/>
                <a:gd name="connsiteX4605" fmla="*/ 12863461 w 13797425"/>
                <a:gd name="connsiteY4605" fmla="*/ 15079243 h 17966907"/>
                <a:gd name="connsiteX4606" fmla="*/ 12849165 w 13797425"/>
                <a:gd name="connsiteY4606" fmla="*/ 15084007 h 17966907"/>
                <a:gd name="connsiteX4607" fmla="*/ 12830105 w 13797425"/>
                <a:gd name="connsiteY4607" fmla="*/ 15084007 h 17966907"/>
                <a:gd name="connsiteX4608" fmla="*/ 12820573 w 13797425"/>
                <a:gd name="connsiteY4608" fmla="*/ 15084007 h 17966907"/>
                <a:gd name="connsiteX4609" fmla="*/ 12811045 w 13797425"/>
                <a:gd name="connsiteY4609" fmla="*/ 15088771 h 17966907"/>
                <a:gd name="connsiteX4610" fmla="*/ 12806281 w 13797425"/>
                <a:gd name="connsiteY4610" fmla="*/ 15098303 h 17966907"/>
                <a:gd name="connsiteX4611" fmla="*/ 12801513 w 13797425"/>
                <a:gd name="connsiteY4611" fmla="*/ 15103067 h 17966907"/>
                <a:gd name="connsiteX4612" fmla="*/ 12772925 w 13797425"/>
                <a:gd name="connsiteY4612" fmla="*/ 15112599 h 17966907"/>
                <a:gd name="connsiteX4613" fmla="*/ 12730037 w 13797425"/>
                <a:gd name="connsiteY4613" fmla="*/ 15136423 h 17966907"/>
                <a:gd name="connsiteX4614" fmla="*/ 12706213 w 13797425"/>
                <a:gd name="connsiteY4614" fmla="*/ 15136423 h 17966907"/>
                <a:gd name="connsiteX4615" fmla="*/ 12691917 w 13797425"/>
                <a:gd name="connsiteY4615" fmla="*/ 15136423 h 17966907"/>
                <a:gd name="connsiteX4616" fmla="*/ 12677621 w 13797425"/>
                <a:gd name="connsiteY4616" fmla="*/ 15136423 h 17966907"/>
                <a:gd name="connsiteX4617" fmla="*/ 12668089 w 13797425"/>
                <a:gd name="connsiteY4617" fmla="*/ 15145955 h 17966907"/>
                <a:gd name="connsiteX4618" fmla="*/ 12649029 w 13797425"/>
                <a:gd name="connsiteY4618" fmla="*/ 15155483 h 17966907"/>
                <a:gd name="connsiteX4619" fmla="*/ 12644265 w 13797425"/>
                <a:gd name="connsiteY4619" fmla="*/ 15165015 h 17966907"/>
                <a:gd name="connsiteX4620" fmla="*/ 12639501 w 13797425"/>
                <a:gd name="connsiteY4620" fmla="*/ 15174543 h 17966907"/>
                <a:gd name="connsiteX4621" fmla="*/ 12634737 w 13797425"/>
                <a:gd name="connsiteY4621" fmla="*/ 15188839 h 17966907"/>
                <a:gd name="connsiteX4622" fmla="*/ 12629969 w 13797425"/>
                <a:gd name="connsiteY4622" fmla="*/ 15198371 h 17966907"/>
                <a:gd name="connsiteX4623" fmla="*/ 12610909 w 13797425"/>
                <a:gd name="connsiteY4623" fmla="*/ 15198371 h 17966907"/>
                <a:gd name="connsiteX4624" fmla="*/ 12587085 w 13797425"/>
                <a:gd name="connsiteY4624" fmla="*/ 15184075 h 17966907"/>
                <a:gd name="connsiteX4625" fmla="*/ 12591849 w 13797425"/>
                <a:gd name="connsiteY4625" fmla="*/ 15198371 h 17966907"/>
                <a:gd name="connsiteX4626" fmla="*/ 12625205 w 13797425"/>
                <a:gd name="connsiteY4626" fmla="*/ 15217431 h 17966907"/>
                <a:gd name="connsiteX4627" fmla="*/ 12634737 w 13797425"/>
                <a:gd name="connsiteY4627" fmla="*/ 15226959 h 17966907"/>
                <a:gd name="connsiteX4628" fmla="*/ 12625205 w 13797425"/>
                <a:gd name="connsiteY4628" fmla="*/ 15236491 h 17966907"/>
                <a:gd name="connsiteX4629" fmla="*/ 12606145 w 13797425"/>
                <a:gd name="connsiteY4629" fmla="*/ 15255551 h 17966907"/>
                <a:gd name="connsiteX4630" fmla="*/ 12601381 w 13797425"/>
                <a:gd name="connsiteY4630" fmla="*/ 15260315 h 17966907"/>
                <a:gd name="connsiteX4631" fmla="*/ 12610909 w 13797425"/>
                <a:gd name="connsiteY4631" fmla="*/ 15265083 h 17966907"/>
                <a:gd name="connsiteX4632" fmla="*/ 12606145 w 13797425"/>
                <a:gd name="connsiteY4632" fmla="*/ 15274611 h 17966907"/>
                <a:gd name="connsiteX4633" fmla="*/ 12596613 w 13797425"/>
                <a:gd name="connsiteY4633" fmla="*/ 15279379 h 17966907"/>
                <a:gd name="connsiteX4634" fmla="*/ 12596613 w 13797425"/>
                <a:gd name="connsiteY4634" fmla="*/ 15284143 h 17966907"/>
                <a:gd name="connsiteX4635" fmla="*/ 12596613 w 13797425"/>
                <a:gd name="connsiteY4635" fmla="*/ 15288907 h 17966907"/>
                <a:gd name="connsiteX4636" fmla="*/ 12625205 w 13797425"/>
                <a:gd name="connsiteY4636" fmla="*/ 15274611 h 17966907"/>
                <a:gd name="connsiteX4637" fmla="*/ 12653797 w 13797425"/>
                <a:gd name="connsiteY4637" fmla="*/ 15255551 h 17966907"/>
                <a:gd name="connsiteX4638" fmla="*/ 12668089 w 13797425"/>
                <a:gd name="connsiteY4638" fmla="*/ 15231727 h 17966907"/>
                <a:gd name="connsiteX4639" fmla="*/ 12677621 w 13797425"/>
                <a:gd name="connsiteY4639" fmla="*/ 15222195 h 17966907"/>
                <a:gd name="connsiteX4640" fmla="*/ 12710977 w 13797425"/>
                <a:gd name="connsiteY4640" fmla="*/ 15217431 h 17966907"/>
                <a:gd name="connsiteX4641" fmla="*/ 12730037 w 13797425"/>
                <a:gd name="connsiteY4641" fmla="*/ 15207899 h 17966907"/>
                <a:gd name="connsiteX4642" fmla="*/ 12753865 w 13797425"/>
                <a:gd name="connsiteY4642" fmla="*/ 15188839 h 17966907"/>
                <a:gd name="connsiteX4643" fmla="*/ 12787221 w 13797425"/>
                <a:gd name="connsiteY4643" fmla="*/ 15160251 h 17966907"/>
                <a:gd name="connsiteX4644" fmla="*/ 12820573 w 13797425"/>
                <a:gd name="connsiteY4644" fmla="*/ 15126895 h 17966907"/>
                <a:gd name="connsiteX4645" fmla="*/ 12863461 w 13797425"/>
                <a:gd name="connsiteY4645" fmla="*/ 15098303 h 17966907"/>
                <a:gd name="connsiteX4646" fmla="*/ 12911113 w 13797425"/>
                <a:gd name="connsiteY4646" fmla="*/ 15079243 h 17966907"/>
                <a:gd name="connsiteX4647" fmla="*/ 12949233 w 13797425"/>
                <a:gd name="connsiteY4647" fmla="*/ 15069711 h 17966907"/>
                <a:gd name="connsiteX4648" fmla="*/ 12973061 w 13797425"/>
                <a:gd name="connsiteY4648" fmla="*/ 15069711 h 17966907"/>
                <a:gd name="connsiteX4649" fmla="*/ 12973061 w 13797425"/>
                <a:gd name="connsiteY4649" fmla="*/ 15064947 h 17966907"/>
                <a:gd name="connsiteX4650" fmla="*/ 12953997 w 13797425"/>
                <a:gd name="connsiteY4650" fmla="*/ 15060183 h 17966907"/>
                <a:gd name="connsiteX4651" fmla="*/ 12934937 w 13797425"/>
                <a:gd name="connsiteY4651" fmla="*/ 15060183 h 17966907"/>
                <a:gd name="connsiteX4652" fmla="*/ 12911113 w 13797425"/>
                <a:gd name="connsiteY4652" fmla="*/ 15064947 h 17966907"/>
                <a:gd name="connsiteX4653" fmla="*/ 12906349 w 13797425"/>
                <a:gd name="connsiteY4653" fmla="*/ 15050651 h 17966907"/>
                <a:gd name="connsiteX4654" fmla="*/ 12906349 w 13797425"/>
                <a:gd name="connsiteY4654" fmla="*/ 15045887 h 17966907"/>
                <a:gd name="connsiteX4655" fmla="*/ 12915877 w 13797425"/>
                <a:gd name="connsiteY4655" fmla="*/ 15041123 h 17966907"/>
                <a:gd name="connsiteX4656" fmla="*/ 12934937 w 13797425"/>
                <a:gd name="connsiteY4656" fmla="*/ 15031591 h 17966907"/>
                <a:gd name="connsiteX4657" fmla="*/ 13025477 w 13797425"/>
                <a:gd name="connsiteY4657" fmla="*/ 15041123 h 17966907"/>
                <a:gd name="connsiteX4658" fmla="*/ 13054065 w 13797425"/>
                <a:gd name="connsiteY4658" fmla="*/ 15050651 h 17966907"/>
                <a:gd name="connsiteX4659" fmla="*/ 13087421 w 13797425"/>
                <a:gd name="connsiteY4659" fmla="*/ 15112599 h 17966907"/>
                <a:gd name="connsiteX4660" fmla="*/ 13096953 w 13797425"/>
                <a:gd name="connsiteY4660" fmla="*/ 15131659 h 17966907"/>
                <a:gd name="connsiteX4661" fmla="*/ 13096953 w 13797425"/>
                <a:gd name="connsiteY4661" fmla="*/ 15150719 h 17966907"/>
                <a:gd name="connsiteX4662" fmla="*/ 13096953 w 13797425"/>
                <a:gd name="connsiteY4662" fmla="*/ 15160251 h 17966907"/>
                <a:gd name="connsiteX4663" fmla="*/ 13082657 w 13797425"/>
                <a:gd name="connsiteY4663" fmla="*/ 15169779 h 17966907"/>
                <a:gd name="connsiteX4664" fmla="*/ 13044537 w 13797425"/>
                <a:gd name="connsiteY4664" fmla="*/ 15188839 h 17966907"/>
                <a:gd name="connsiteX4665" fmla="*/ 13039769 w 13797425"/>
                <a:gd name="connsiteY4665" fmla="*/ 15198371 h 17966907"/>
                <a:gd name="connsiteX4666" fmla="*/ 13035005 w 13797425"/>
                <a:gd name="connsiteY4666" fmla="*/ 15198371 h 17966907"/>
                <a:gd name="connsiteX4667" fmla="*/ 13054065 w 13797425"/>
                <a:gd name="connsiteY4667" fmla="*/ 15203135 h 17966907"/>
                <a:gd name="connsiteX4668" fmla="*/ 13058833 w 13797425"/>
                <a:gd name="connsiteY4668" fmla="*/ 15207899 h 17966907"/>
                <a:gd name="connsiteX4669" fmla="*/ 13068361 w 13797425"/>
                <a:gd name="connsiteY4669" fmla="*/ 15231727 h 17966907"/>
                <a:gd name="connsiteX4670" fmla="*/ 13082657 w 13797425"/>
                <a:gd name="connsiteY4670" fmla="*/ 15217431 h 17966907"/>
                <a:gd name="connsiteX4671" fmla="*/ 13116013 w 13797425"/>
                <a:gd name="connsiteY4671" fmla="*/ 15179311 h 17966907"/>
                <a:gd name="connsiteX4672" fmla="*/ 13144605 w 13797425"/>
                <a:gd name="connsiteY4672" fmla="*/ 15160251 h 17966907"/>
                <a:gd name="connsiteX4673" fmla="*/ 13168429 w 13797425"/>
                <a:gd name="connsiteY4673" fmla="*/ 15155483 h 17966907"/>
                <a:gd name="connsiteX4674" fmla="*/ 13192253 w 13797425"/>
                <a:gd name="connsiteY4674" fmla="*/ 15155483 h 17966907"/>
                <a:gd name="connsiteX4675" fmla="*/ 13201785 w 13797425"/>
                <a:gd name="connsiteY4675" fmla="*/ 15155483 h 17966907"/>
                <a:gd name="connsiteX4676" fmla="*/ 13206549 w 13797425"/>
                <a:gd name="connsiteY4676" fmla="*/ 15169779 h 17966907"/>
                <a:gd name="connsiteX4677" fmla="*/ 13220845 w 13797425"/>
                <a:gd name="connsiteY4677" fmla="*/ 15193607 h 17966907"/>
                <a:gd name="connsiteX4678" fmla="*/ 13235141 w 13797425"/>
                <a:gd name="connsiteY4678" fmla="*/ 15198371 h 17966907"/>
                <a:gd name="connsiteX4679" fmla="*/ 13258965 w 13797425"/>
                <a:gd name="connsiteY4679" fmla="*/ 15203135 h 17966907"/>
                <a:gd name="connsiteX4680" fmla="*/ 13282793 w 13797425"/>
                <a:gd name="connsiteY4680" fmla="*/ 15231727 h 17966907"/>
                <a:gd name="connsiteX4681" fmla="*/ 13287557 w 13797425"/>
                <a:gd name="connsiteY4681" fmla="*/ 15255551 h 17966907"/>
                <a:gd name="connsiteX4682" fmla="*/ 13297089 w 13797425"/>
                <a:gd name="connsiteY4682" fmla="*/ 15265083 h 17966907"/>
                <a:gd name="connsiteX4683" fmla="*/ 13297089 w 13797425"/>
                <a:gd name="connsiteY4683" fmla="*/ 15274611 h 17966907"/>
                <a:gd name="connsiteX4684" fmla="*/ 13297089 w 13797425"/>
                <a:gd name="connsiteY4684" fmla="*/ 15279379 h 17966907"/>
                <a:gd name="connsiteX4685" fmla="*/ 13301853 w 13797425"/>
                <a:gd name="connsiteY4685" fmla="*/ 15293671 h 17966907"/>
                <a:gd name="connsiteX4686" fmla="*/ 13306617 w 13797425"/>
                <a:gd name="connsiteY4686" fmla="*/ 15303203 h 17966907"/>
                <a:gd name="connsiteX4687" fmla="*/ 13306617 w 13797425"/>
                <a:gd name="connsiteY4687" fmla="*/ 15322263 h 17966907"/>
                <a:gd name="connsiteX4688" fmla="*/ 13292321 w 13797425"/>
                <a:gd name="connsiteY4688" fmla="*/ 15355619 h 17966907"/>
                <a:gd name="connsiteX4689" fmla="*/ 13301853 w 13797425"/>
                <a:gd name="connsiteY4689" fmla="*/ 15388975 h 17966907"/>
                <a:gd name="connsiteX4690" fmla="*/ 13297089 w 13797425"/>
                <a:gd name="connsiteY4690" fmla="*/ 15403271 h 17966907"/>
                <a:gd name="connsiteX4691" fmla="*/ 13297089 w 13797425"/>
                <a:gd name="connsiteY4691" fmla="*/ 15422331 h 17966907"/>
                <a:gd name="connsiteX4692" fmla="*/ 13301853 w 13797425"/>
                <a:gd name="connsiteY4692" fmla="*/ 15441391 h 17966907"/>
                <a:gd name="connsiteX4693" fmla="*/ 13306617 w 13797425"/>
                <a:gd name="connsiteY4693" fmla="*/ 15446155 h 17966907"/>
                <a:gd name="connsiteX4694" fmla="*/ 13297089 w 13797425"/>
                <a:gd name="connsiteY4694" fmla="*/ 15455687 h 17966907"/>
                <a:gd name="connsiteX4695" fmla="*/ 13249437 w 13797425"/>
                <a:gd name="connsiteY4695" fmla="*/ 15465219 h 17966907"/>
                <a:gd name="connsiteX4696" fmla="*/ 13230377 w 13797425"/>
                <a:gd name="connsiteY4696" fmla="*/ 15465219 h 17966907"/>
                <a:gd name="connsiteX4697" fmla="*/ 13225609 w 13797425"/>
                <a:gd name="connsiteY4697" fmla="*/ 15474747 h 17966907"/>
                <a:gd name="connsiteX4698" fmla="*/ 13239905 w 13797425"/>
                <a:gd name="connsiteY4698" fmla="*/ 15474747 h 17966907"/>
                <a:gd name="connsiteX4699" fmla="*/ 13268497 w 13797425"/>
                <a:gd name="connsiteY4699" fmla="*/ 15474747 h 17966907"/>
                <a:gd name="connsiteX4700" fmla="*/ 13301853 w 13797425"/>
                <a:gd name="connsiteY4700" fmla="*/ 15484279 h 17966907"/>
                <a:gd name="connsiteX4701" fmla="*/ 13316149 w 13797425"/>
                <a:gd name="connsiteY4701" fmla="*/ 15493807 h 17966907"/>
                <a:gd name="connsiteX4702" fmla="*/ 13320913 w 13797425"/>
                <a:gd name="connsiteY4702" fmla="*/ 15503339 h 17966907"/>
                <a:gd name="connsiteX4703" fmla="*/ 13320913 w 13797425"/>
                <a:gd name="connsiteY4703" fmla="*/ 15512867 h 17966907"/>
                <a:gd name="connsiteX4704" fmla="*/ 13311385 w 13797425"/>
                <a:gd name="connsiteY4704" fmla="*/ 15517635 h 17966907"/>
                <a:gd name="connsiteX4705" fmla="*/ 13292321 w 13797425"/>
                <a:gd name="connsiteY4705" fmla="*/ 15517635 h 17966907"/>
                <a:gd name="connsiteX4706" fmla="*/ 13273261 w 13797425"/>
                <a:gd name="connsiteY4706" fmla="*/ 15512867 h 17966907"/>
                <a:gd name="connsiteX4707" fmla="*/ 13273261 w 13797425"/>
                <a:gd name="connsiteY4707" fmla="*/ 15517635 h 17966907"/>
                <a:gd name="connsiteX4708" fmla="*/ 13301853 w 13797425"/>
                <a:gd name="connsiteY4708" fmla="*/ 15531931 h 17966907"/>
                <a:gd name="connsiteX4709" fmla="*/ 13311385 w 13797425"/>
                <a:gd name="connsiteY4709" fmla="*/ 15541459 h 17966907"/>
                <a:gd name="connsiteX4710" fmla="*/ 13325677 w 13797425"/>
                <a:gd name="connsiteY4710" fmla="*/ 15550991 h 17966907"/>
                <a:gd name="connsiteX4711" fmla="*/ 13325677 w 13797425"/>
                <a:gd name="connsiteY4711" fmla="*/ 15565283 h 17966907"/>
                <a:gd name="connsiteX4712" fmla="*/ 13320913 w 13797425"/>
                <a:gd name="connsiteY4712" fmla="*/ 15579579 h 17966907"/>
                <a:gd name="connsiteX4713" fmla="*/ 13273261 w 13797425"/>
                <a:gd name="connsiteY4713" fmla="*/ 15631995 h 17966907"/>
                <a:gd name="connsiteX4714" fmla="*/ 13230377 w 13797425"/>
                <a:gd name="connsiteY4714" fmla="*/ 15665351 h 17966907"/>
                <a:gd name="connsiteX4715" fmla="*/ 13187489 w 13797425"/>
                <a:gd name="connsiteY4715" fmla="*/ 15693943 h 17966907"/>
                <a:gd name="connsiteX4716" fmla="*/ 13120777 w 13797425"/>
                <a:gd name="connsiteY4716" fmla="*/ 15751123 h 17966907"/>
                <a:gd name="connsiteX4717" fmla="*/ 13116013 w 13797425"/>
                <a:gd name="connsiteY4717" fmla="*/ 15751123 h 17966907"/>
                <a:gd name="connsiteX4718" fmla="*/ 13106481 w 13797425"/>
                <a:gd name="connsiteY4718" fmla="*/ 15751123 h 17966907"/>
                <a:gd name="connsiteX4719" fmla="*/ 13073125 w 13797425"/>
                <a:gd name="connsiteY4719" fmla="*/ 15746359 h 17966907"/>
                <a:gd name="connsiteX4720" fmla="*/ 13044537 w 13797425"/>
                <a:gd name="connsiteY4720" fmla="*/ 15746359 h 17966907"/>
                <a:gd name="connsiteX4721" fmla="*/ 12996885 w 13797425"/>
                <a:gd name="connsiteY4721" fmla="*/ 15755891 h 17966907"/>
                <a:gd name="connsiteX4722" fmla="*/ 12987353 w 13797425"/>
                <a:gd name="connsiteY4722" fmla="*/ 15765419 h 17966907"/>
                <a:gd name="connsiteX4723" fmla="*/ 12958765 w 13797425"/>
                <a:gd name="connsiteY4723" fmla="*/ 15784479 h 17966907"/>
                <a:gd name="connsiteX4724" fmla="*/ 12949233 w 13797425"/>
                <a:gd name="connsiteY4724" fmla="*/ 15784479 h 17966907"/>
                <a:gd name="connsiteX4725" fmla="*/ 12920641 w 13797425"/>
                <a:gd name="connsiteY4725" fmla="*/ 15789247 h 17966907"/>
                <a:gd name="connsiteX4726" fmla="*/ 12892053 w 13797425"/>
                <a:gd name="connsiteY4726" fmla="*/ 15789247 h 17966907"/>
                <a:gd name="connsiteX4727" fmla="*/ 12882521 w 13797425"/>
                <a:gd name="connsiteY4727" fmla="*/ 15789247 h 17966907"/>
                <a:gd name="connsiteX4728" fmla="*/ 12868225 w 13797425"/>
                <a:gd name="connsiteY4728" fmla="*/ 15798775 h 17966907"/>
                <a:gd name="connsiteX4729" fmla="*/ 12868225 w 13797425"/>
                <a:gd name="connsiteY4729" fmla="*/ 15803543 h 17966907"/>
                <a:gd name="connsiteX4730" fmla="*/ 12863461 w 13797425"/>
                <a:gd name="connsiteY4730" fmla="*/ 15822603 h 17966907"/>
                <a:gd name="connsiteX4731" fmla="*/ 12796749 w 13797425"/>
                <a:gd name="connsiteY4731" fmla="*/ 15894079 h 17966907"/>
                <a:gd name="connsiteX4732" fmla="*/ 12782453 w 13797425"/>
                <a:gd name="connsiteY4732" fmla="*/ 15917903 h 17966907"/>
                <a:gd name="connsiteX4733" fmla="*/ 12749097 w 13797425"/>
                <a:gd name="connsiteY4733" fmla="*/ 15941731 h 17966907"/>
                <a:gd name="connsiteX4734" fmla="*/ 12710977 w 13797425"/>
                <a:gd name="connsiteY4734" fmla="*/ 15989383 h 17966907"/>
                <a:gd name="connsiteX4735" fmla="*/ 12677621 w 13797425"/>
                <a:gd name="connsiteY4735" fmla="*/ 16008443 h 17966907"/>
                <a:gd name="connsiteX4736" fmla="*/ 12668089 w 13797425"/>
                <a:gd name="connsiteY4736" fmla="*/ 16032267 h 17966907"/>
                <a:gd name="connsiteX4737" fmla="*/ 12639501 w 13797425"/>
                <a:gd name="connsiteY4737" fmla="*/ 16046563 h 17966907"/>
                <a:gd name="connsiteX4738" fmla="*/ 12582317 w 13797425"/>
                <a:gd name="connsiteY4738" fmla="*/ 16051327 h 17966907"/>
                <a:gd name="connsiteX4739" fmla="*/ 12553729 w 13797425"/>
                <a:gd name="connsiteY4739" fmla="*/ 16056091 h 17966907"/>
                <a:gd name="connsiteX4740" fmla="*/ 12525137 w 13797425"/>
                <a:gd name="connsiteY4740" fmla="*/ 16046563 h 17966907"/>
                <a:gd name="connsiteX4741" fmla="*/ 12501313 w 13797425"/>
                <a:gd name="connsiteY4741" fmla="*/ 16060859 h 17966907"/>
                <a:gd name="connsiteX4742" fmla="*/ 12467957 w 13797425"/>
                <a:gd name="connsiteY4742" fmla="*/ 16060859 h 17966907"/>
                <a:gd name="connsiteX4743" fmla="*/ 12448897 w 13797425"/>
                <a:gd name="connsiteY4743" fmla="*/ 16060859 h 17966907"/>
                <a:gd name="connsiteX4744" fmla="*/ 12382185 w 13797425"/>
                <a:gd name="connsiteY4744" fmla="*/ 16084683 h 17966907"/>
                <a:gd name="connsiteX4745" fmla="*/ 12363121 w 13797425"/>
                <a:gd name="connsiteY4745" fmla="*/ 16060859 h 17966907"/>
                <a:gd name="connsiteX4746" fmla="*/ 12348829 w 13797425"/>
                <a:gd name="connsiteY4746" fmla="*/ 16051327 h 17966907"/>
                <a:gd name="connsiteX4747" fmla="*/ 12310705 w 13797425"/>
                <a:gd name="connsiteY4747" fmla="*/ 16051327 h 17966907"/>
                <a:gd name="connsiteX4748" fmla="*/ 12282117 w 13797425"/>
                <a:gd name="connsiteY4748" fmla="*/ 16041799 h 17966907"/>
                <a:gd name="connsiteX4749" fmla="*/ 12253525 w 13797425"/>
                <a:gd name="connsiteY4749" fmla="*/ 16041799 h 17966907"/>
                <a:gd name="connsiteX4750" fmla="*/ 12224933 w 13797425"/>
                <a:gd name="connsiteY4750" fmla="*/ 16037031 h 17966907"/>
                <a:gd name="connsiteX4751" fmla="*/ 12210637 w 13797425"/>
                <a:gd name="connsiteY4751" fmla="*/ 16037031 h 17966907"/>
                <a:gd name="connsiteX4752" fmla="*/ 12191577 w 13797425"/>
                <a:gd name="connsiteY4752" fmla="*/ 16037031 h 17966907"/>
                <a:gd name="connsiteX4753" fmla="*/ 12162989 w 13797425"/>
                <a:gd name="connsiteY4753" fmla="*/ 16037031 h 17966907"/>
                <a:gd name="connsiteX4754" fmla="*/ 12143925 w 13797425"/>
                <a:gd name="connsiteY4754" fmla="*/ 16051327 h 17966907"/>
                <a:gd name="connsiteX4755" fmla="*/ 12091509 w 13797425"/>
                <a:gd name="connsiteY4755" fmla="*/ 16046563 h 17966907"/>
                <a:gd name="connsiteX4756" fmla="*/ 12067685 w 13797425"/>
                <a:gd name="connsiteY4756" fmla="*/ 16032267 h 17966907"/>
                <a:gd name="connsiteX4757" fmla="*/ 12048625 w 13797425"/>
                <a:gd name="connsiteY4757" fmla="*/ 16032267 h 17966907"/>
                <a:gd name="connsiteX4758" fmla="*/ 12024797 w 13797425"/>
                <a:gd name="connsiteY4758" fmla="*/ 16037031 h 17966907"/>
                <a:gd name="connsiteX4759" fmla="*/ 12000973 w 13797425"/>
                <a:gd name="connsiteY4759" fmla="*/ 16041799 h 17966907"/>
                <a:gd name="connsiteX4760" fmla="*/ 11948557 w 13797425"/>
                <a:gd name="connsiteY4760" fmla="*/ 16032267 h 17966907"/>
                <a:gd name="connsiteX4761" fmla="*/ 11891377 w 13797425"/>
                <a:gd name="connsiteY4761" fmla="*/ 16041799 h 17966907"/>
                <a:gd name="connsiteX4762" fmla="*/ 11843725 w 13797425"/>
                <a:gd name="connsiteY4762" fmla="*/ 16037031 h 17966907"/>
                <a:gd name="connsiteX4763" fmla="*/ 11829429 w 13797425"/>
                <a:gd name="connsiteY4763" fmla="*/ 16032267 h 17966907"/>
                <a:gd name="connsiteX4764" fmla="*/ 11748421 w 13797425"/>
                <a:gd name="connsiteY4764" fmla="*/ 16046563 h 17966907"/>
                <a:gd name="connsiteX4765" fmla="*/ 11719829 w 13797425"/>
                <a:gd name="connsiteY4765" fmla="*/ 16037031 h 17966907"/>
                <a:gd name="connsiteX4766" fmla="*/ 11696005 w 13797425"/>
                <a:gd name="connsiteY4766" fmla="*/ 16060859 h 17966907"/>
                <a:gd name="connsiteX4767" fmla="*/ 11676945 w 13797425"/>
                <a:gd name="connsiteY4767" fmla="*/ 16056091 h 17966907"/>
                <a:gd name="connsiteX4768" fmla="*/ 11657885 w 13797425"/>
                <a:gd name="connsiteY4768" fmla="*/ 16060859 h 17966907"/>
                <a:gd name="connsiteX4769" fmla="*/ 11648353 w 13797425"/>
                <a:gd name="connsiteY4769" fmla="*/ 16056091 h 17966907"/>
                <a:gd name="connsiteX4770" fmla="*/ 11634057 w 13797425"/>
                <a:gd name="connsiteY4770" fmla="*/ 16056091 h 17966907"/>
                <a:gd name="connsiteX4771" fmla="*/ 11629293 w 13797425"/>
                <a:gd name="connsiteY4771" fmla="*/ 16070387 h 17966907"/>
                <a:gd name="connsiteX4772" fmla="*/ 11614997 w 13797425"/>
                <a:gd name="connsiteY4772" fmla="*/ 16070387 h 17966907"/>
                <a:gd name="connsiteX4773" fmla="*/ 11595937 w 13797425"/>
                <a:gd name="connsiteY4773" fmla="*/ 16094215 h 17966907"/>
                <a:gd name="connsiteX4774" fmla="*/ 11567345 w 13797425"/>
                <a:gd name="connsiteY4774" fmla="*/ 16108511 h 17966907"/>
                <a:gd name="connsiteX4775" fmla="*/ 11519697 w 13797425"/>
                <a:gd name="connsiteY4775" fmla="*/ 16203811 h 17966907"/>
                <a:gd name="connsiteX4776" fmla="*/ 11514929 w 13797425"/>
                <a:gd name="connsiteY4776" fmla="*/ 16241931 h 17966907"/>
                <a:gd name="connsiteX4777" fmla="*/ 11500633 w 13797425"/>
                <a:gd name="connsiteY4777" fmla="*/ 16265759 h 17966907"/>
                <a:gd name="connsiteX4778" fmla="*/ 11481573 w 13797425"/>
                <a:gd name="connsiteY4778" fmla="*/ 16270523 h 17966907"/>
                <a:gd name="connsiteX4779" fmla="*/ 11472045 w 13797425"/>
                <a:gd name="connsiteY4779" fmla="*/ 16270523 h 17966907"/>
                <a:gd name="connsiteX4780" fmla="*/ 11391037 w 13797425"/>
                <a:gd name="connsiteY4780" fmla="*/ 16289583 h 17966907"/>
                <a:gd name="connsiteX4781" fmla="*/ 11357681 w 13797425"/>
                <a:gd name="connsiteY4781" fmla="*/ 16303879 h 17966907"/>
                <a:gd name="connsiteX4782" fmla="*/ 11367213 w 13797425"/>
                <a:gd name="connsiteY4782" fmla="*/ 16313411 h 17966907"/>
                <a:gd name="connsiteX4783" fmla="*/ 11352917 w 13797425"/>
                <a:gd name="connsiteY4783" fmla="*/ 16322939 h 17966907"/>
                <a:gd name="connsiteX4784" fmla="*/ 11338621 w 13797425"/>
                <a:gd name="connsiteY4784" fmla="*/ 16327707 h 17966907"/>
                <a:gd name="connsiteX4785" fmla="*/ 11314793 w 13797425"/>
                <a:gd name="connsiteY4785" fmla="*/ 16337235 h 17966907"/>
                <a:gd name="connsiteX4786" fmla="*/ 11305265 w 13797425"/>
                <a:gd name="connsiteY4786" fmla="*/ 16346767 h 17966907"/>
                <a:gd name="connsiteX4787" fmla="*/ 11295733 w 13797425"/>
                <a:gd name="connsiteY4787" fmla="*/ 16365827 h 17966907"/>
                <a:gd name="connsiteX4788" fmla="*/ 11257613 w 13797425"/>
                <a:gd name="connsiteY4788" fmla="*/ 16389651 h 17966907"/>
                <a:gd name="connsiteX4789" fmla="*/ 11209961 w 13797425"/>
                <a:gd name="connsiteY4789" fmla="*/ 16451599 h 17966907"/>
                <a:gd name="connsiteX4790" fmla="*/ 11186137 w 13797425"/>
                <a:gd name="connsiteY4790" fmla="*/ 16494483 h 17966907"/>
                <a:gd name="connsiteX4791" fmla="*/ 11157545 w 13797425"/>
                <a:gd name="connsiteY4791" fmla="*/ 16527839 h 17966907"/>
                <a:gd name="connsiteX4792" fmla="*/ 11138485 w 13797425"/>
                <a:gd name="connsiteY4792" fmla="*/ 16537371 h 17966907"/>
                <a:gd name="connsiteX4793" fmla="*/ 11124189 w 13797425"/>
                <a:gd name="connsiteY4793" fmla="*/ 16542135 h 17966907"/>
                <a:gd name="connsiteX4794" fmla="*/ 11109893 w 13797425"/>
                <a:gd name="connsiteY4794" fmla="*/ 16537371 h 17966907"/>
                <a:gd name="connsiteX4795" fmla="*/ 11086069 w 13797425"/>
                <a:gd name="connsiteY4795" fmla="*/ 16523075 h 17966907"/>
                <a:gd name="connsiteX4796" fmla="*/ 11071773 w 13797425"/>
                <a:gd name="connsiteY4796" fmla="*/ 16518311 h 17966907"/>
                <a:gd name="connsiteX4797" fmla="*/ 11028889 w 13797425"/>
                <a:gd name="connsiteY4797" fmla="*/ 16499251 h 17966907"/>
                <a:gd name="connsiteX4798" fmla="*/ 10928821 w 13797425"/>
                <a:gd name="connsiteY4798" fmla="*/ 16480191 h 17966907"/>
                <a:gd name="connsiteX4799" fmla="*/ 10943113 w 13797425"/>
                <a:gd name="connsiteY4799" fmla="*/ 16484955 h 17966907"/>
                <a:gd name="connsiteX4800" fmla="*/ 10957409 w 13797425"/>
                <a:gd name="connsiteY4800" fmla="*/ 16499251 h 17966907"/>
                <a:gd name="connsiteX4801" fmla="*/ 10986001 w 13797425"/>
                <a:gd name="connsiteY4801" fmla="*/ 16504015 h 17966907"/>
                <a:gd name="connsiteX4802" fmla="*/ 11009825 w 13797425"/>
                <a:gd name="connsiteY4802" fmla="*/ 16504015 h 17966907"/>
                <a:gd name="connsiteX4803" fmla="*/ 11067009 w 13797425"/>
                <a:gd name="connsiteY4803" fmla="*/ 16527839 h 17966907"/>
                <a:gd name="connsiteX4804" fmla="*/ 11090833 w 13797425"/>
                <a:gd name="connsiteY4804" fmla="*/ 16537371 h 17966907"/>
                <a:gd name="connsiteX4805" fmla="*/ 11109893 w 13797425"/>
                <a:gd name="connsiteY4805" fmla="*/ 16546903 h 17966907"/>
                <a:gd name="connsiteX4806" fmla="*/ 11124189 w 13797425"/>
                <a:gd name="connsiteY4806" fmla="*/ 16561195 h 17966907"/>
                <a:gd name="connsiteX4807" fmla="*/ 11114661 w 13797425"/>
                <a:gd name="connsiteY4807" fmla="*/ 16594551 h 17966907"/>
                <a:gd name="connsiteX4808" fmla="*/ 11105129 w 13797425"/>
                <a:gd name="connsiteY4808" fmla="*/ 16623143 h 17966907"/>
                <a:gd name="connsiteX4809" fmla="*/ 11090833 w 13797425"/>
                <a:gd name="connsiteY4809" fmla="*/ 16646967 h 17966907"/>
                <a:gd name="connsiteX4810" fmla="*/ 11043181 w 13797425"/>
                <a:gd name="connsiteY4810" fmla="*/ 16699387 h 17966907"/>
                <a:gd name="connsiteX4811" fmla="*/ 11019357 w 13797425"/>
                <a:gd name="connsiteY4811" fmla="*/ 16718447 h 17966907"/>
                <a:gd name="connsiteX4812" fmla="*/ 10976469 w 13797425"/>
                <a:gd name="connsiteY4812" fmla="*/ 16785159 h 17966907"/>
                <a:gd name="connsiteX4813" fmla="*/ 10938349 w 13797425"/>
                <a:gd name="connsiteY4813" fmla="*/ 16813747 h 17966907"/>
                <a:gd name="connsiteX4814" fmla="*/ 10914525 w 13797425"/>
                <a:gd name="connsiteY4814" fmla="*/ 16832807 h 17966907"/>
                <a:gd name="connsiteX4815" fmla="*/ 10890697 w 13797425"/>
                <a:gd name="connsiteY4815" fmla="*/ 16861399 h 17966907"/>
                <a:gd name="connsiteX4816" fmla="*/ 10833517 w 13797425"/>
                <a:gd name="connsiteY4816" fmla="*/ 16885227 h 17966907"/>
                <a:gd name="connsiteX4817" fmla="*/ 10814457 w 13797425"/>
                <a:gd name="connsiteY4817" fmla="*/ 16889991 h 17966907"/>
                <a:gd name="connsiteX4818" fmla="*/ 10795397 w 13797425"/>
                <a:gd name="connsiteY4818" fmla="*/ 16889991 h 17966907"/>
                <a:gd name="connsiteX4819" fmla="*/ 10771569 w 13797425"/>
                <a:gd name="connsiteY4819" fmla="*/ 16904287 h 17966907"/>
                <a:gd name="connsiteX4820" fmla="*/ 10742981 w 13797425"/>
                <a:gd name="connsiteY4820" fmla="*/ 16918579 h 17966907"/>
                <a:gd name="connsiteX4821" fmla="*/ 10738213 w 13797425"/>
                <a:gd name="connsiteY4821" fmla="*/ 16932875 h 17966907"/>
                <a:gd name="connsiteX4822" fmla="*/ 10671501 w 13797425"/>
                <a:gd name="connsiteY4822" fmla="*/ 16980527 h 17966907"/>
                <a:gd name="connsiteX4823" fmla="*/ 10642913 w 13797425"/>
                <a:gd name="connsiteY4823" fmla="*/ 16985291 h 17966907"/>
                <a:gd name="connsiteX4824" fmla="*/ 10623853 w 13797425"/>
                <a:gd name="connsiteY4824" fmla="*/ 16994823 h 17966907"/>
                <a:gd name="connsiteX4825" fmla="*/ 10614321 w 13797425"/>
                <a:gd name="connsiteY4825" fmla="*/ 17018647 h 17966907"/>
                <a:gd name="connsiteX4826" fmla="*/ 10595261 w 13797425"/>
                <a:gd name="connsiteY4826" fmla="*/ 17028179 h 17966907"/>
                <a:gd name="connsiteX4827" fmla="*/ 10590497 w 13797425"/>
                <a:gd name="connsiteY4827" fmla="*/ 17037711 h 17966907"/>
                <a:gd name="connsiteX4828" fmla="*/ 10576201 w 13797425"/>
                <a:gd name="connsiteY4828" fmla="*/ 17066299 h 17966907"/>
                <a:gd name="connsiteX4829" fmla="*/ 10547609 w 13797425"/>
                <a:gd name="connsiteY4829" fmla="*/ 17104419 h 17966907"/>
                <a:gd name="connsiteX4830" fmla="*/ 10509489 w 13797425"/>
                <a:gd name="connsiteY4830" fmla="*/ 17109187 h 17966907"/>
                <a:gd name="connsiteX4831" fmla="*/ 10495193 w 13797425"/>
                <a:gd name="connsiteY4831" fmla="*/ 17118715 h 17966907"/>
                <a:gd name="connsiteX4832" fmla="*/ 10480897 w 13797425"/>
                <a:gd name="connsiteY4832" fmla="*/ 17142543 h 17966907"/>
                <a:gd name="connsiteX4833" fmla="*/ 10457073 w 13797425"/>
                <a:gd name="connsiteY4833" fmla="*/ 17156835 h 17966907"/>
                <a:gd name="connsiteX4834" fmla="*/ 10414185 w 13797425"/>
                <a:gd name="connsiteY4834" fmla="*/ 17147307 h 17966907"/>
                <a:gd name="connsiteX4835" fmla="*/ 10423717 w 13797425"/>
                <a:gd name="connsiteY4835" fmla="*/ 17156835 h 17966907"/>
                <a:gd name="connsiteX4836" fmla="*/ 10461837 w 13797425"/>
                <a:gd name="connsiteY4836" fmla="*/ 17171131 h 17966907"/>
                <a:gd name="connsiteX4837" fmla="*/ 10466601 w 13797425"/>
                <a:gd name="connsiteY4837" fmla="*/ 17190191 h 17966907"/>
                <a:gd name="connsiteX4838" fmla="*/ 10447541 w 13797425"/>
                <a:gd name="connsiteY4838" fmla="*/ 17194959 h 17966907"/>
                <a:gd name="connsiteX4839" fmla="*/ 10409421 w 13797425"/>
                <a:gd name="connsiteY4839" fmla="*/ 17218783 h 17966907"/>
                <a:gd name="connsiteX4840" fmla="*/ 10352237 w 13797425"/>
                <a:gd name="connsiteY4840" fmla="*/ 17266435 h 17966907"/>
                <a:gd name="connsiteX4841" fmla="*/ 10342709 w 13797425"/>
                <a:gd name="connsiteY4841" fmla="*/ 17266435 h 17966907"/>
                <a:gd name="connsiteX4842" fmla="*/ 10328413 w 13797425"/>
                <a:gd name="connsiteY4842" fmla="*/ 17266435 h 17966907"/>
                <a:gd name="connsiteX4843" fmla="*/ 10309353 w 13797425"/>
                <a:gd name="connsiteY4843" fmla="*/ 17271199 h 17966907"/>
                <a:gd name="connsiteX4844" fmla="*/ 10280761 w 13797425"/>
                <a:gd name="connsiteY4844" fmla="*/ 17290259 h 17966907"/>
                <a:gd name="connsiteX4845" fmla="*/ 10242641 w 13797425"/>
                <a:gd name="connsiteY4845" fmla="*/ 17318851 h 17966907"/>
                <a:gd name="connsiteX4846" fmla="*/ 10185461 w 13797425"/>
                <a:gd name="connsiteY4846" fmla="*/ 17376031 h 17966907"/>
                <a:gd name="connsiteX4847" fmla="*/ 10180693 w 13797425"/>
                <a:gd name="connsiteY4847" fmla="*/ 17376031 h 17966907"/>
                <a:gd name="connsiteX4848" fmla="*/ 10175929 w 13797425"/>
                <a:gd name="connsiteY4848" fmla="*/ 17376031 h 17966907"/>
                <a:gd name="connsiteX4849" fmla="*/ 10161633 w 13797425"/>
                <a:gd name="connsiteY4849" fmla="*/ 17395095 h 17966907"/>
                <a:gd name="connsiteX4850" fmla="*/ 10142573 w 13797425"/>
                <a:gd name="connsiteY4850" fmla="*/ 17404623 h 17966907"/>
                <a:gd name="connsiteX4851" fmla="*/ 10099687 w 13797425"/>
                <a:gd name="connsiteY4851" fmla="*/ 17418919 h 17966907"/>
                <a:gd name="connsiteX4852" fmla="*/ 10090156 w 13797425"/>
                <a:gd name="connsiteY4852" fmla="*/ 17428451 h 17966907"/>
                <a:gd name="connsiteX4853" fmla="*/ 10075861 w 13797425"/>
                <a:gd name="connsiteY4853" fmla="*/ 17433215 h 17966907"/>
                <a:gd name="connsiteX4854" fmla="*/ 10061566 w 13797425"/>
                <a:gd name="connsiteY4854" fmla="*/ 17433215 h 17966907"/>
                <a:gd name="connsiteX4855" fmla="*/ 10042505 w 13797425"/>
                <a:gd name="connsiteY4855" fmla="*/ 17437979 h 17966907"/>
                <a:gd name="connsiteX4856" fmla="*/ 10028210 w 13797425"/>
                <a:gd name="connsiteY4856" fmla="*/ 17447511 h 17966907"/>
                <a:gd name="connsiteX4857" fmla="*/ 9994854 w 13797425"/>
                <a:gd name="connsiteY4857" fmla="*/ 17471335 h 17966907"/>
                <a:gd name="connsiteX4858" fmla="*/ 9990089 w 13797425"/>
                <a:gd name="connsiteY4858" fmla="*/ 17471335 h 17966907"/>
                <a:gd name="connsiteX4859" fmla="*/ 9985324 w 13797425"/>
                <a:gd name="connsiteY4859" fmla="*/ 17466571 h 17966907"/>
                <a:gd name="connsiteX4860" fmla="*/ 9985324 w 13797425"/>
                <a:gd name="connsiteY4860" fmla="*/ 17461807 h 17966907"/>
                <a:gd name="connsiteX4861" fmla="*/ 9990089 w 13797425"/>
                <a:gd name="connsiteY4861" fmla="*/ 17457039 h 17966907"/>
                <a:gd name="connsiteX4862" fmla="*/ 10009149 w 13797425"/>
                <a:gd name="connsiteY4862" fmla="*/ 17442743 h 17966907"/>
                <a:gd name="connsiteX4863" fmla="*/ 10004384 w 13797425"/>
                <a:gd name="connsiteY4863" fmla="*/ 17442743 h 17966907"/>
                <a:gd name="connsiteX4864" fmla="*/ 9994854 w 13797425"/>
                <a:gd name="connsiteY4864" fmla="*/ 17452275 h 17966907"/>
                <a:gd name="connsiteX4865" fmla="*/ 9990089 w 13797425"/>
                <a:gd name="connsiteY4865" fmla="*/ 17452275 h 17966907"/>
                <a:gd name="connsiteX4866" fmla="*/ 9990089 w 13797425"/>
                <a:gd name="connsiteY4866" fmla="*/ 17442743 h 17966907"/>
                <a:gd name="connsiteX4867" fmla="*/ 9985324 w 13797425"/>
                <a:gd name="connsiteY4867" fmla="*/ 17442743 h 17966907"/>
                <a:gd name="connsiteX4868" fmla="*/ 9971028 w 13797425"/>
                <a:gd name="connsiteY4868" fmla="*/ 17447511 h 17966907"/>
                <a:gd name="connsiteX4869" fmla="*/ 9961498 w 13797425"/>
                <a:gd name="connsiteY4869" fmla="*/ 17447511 h 17966907"/>
                <a:gd name="connsiteX4870" fmla="*/ 9961498 w 13797425"/>
                <a:gd name="connsiteY4870" fmla="*/ 17442743 h 17966907"/>
                <a:gd name="connsiteX4871" fmla="*/ 9956733 w 13797425"/>
                <a:gd name="connsiteY4871" fmla="*/ 17442743 h 17966907"/>
                <a:gd name="connsiteX4872" fmla="*/ 9951968 w 13797425"/>
                <a:gd name="connsiteY4872" fmla="*/ 17447511 h 17966907"/>
                <a:gd name="connsiteX4873" fmla="*/ 9942437 w 13797425"/>
                <a:gd name="connsiteY4873" fmla="*/ 17447511 h 17966907"/>
                <a:gd name="connsiteX4874" fmla="*/ 9932907 w 13797425"/>
                <a:gd name="connsiteY4874" fmla="*/ 17452275 h 17966907"/>
                <a:gd name="connsiteX4875" fmla="*/ 9909082 w 13797425"/>
                <a:gd name="connsiteY4875" fmla="*/ 17457039 h 17966907"/>
                <a:gd name="connsiteX4876" fmla="*/ 9904316 w 13797425"/>
                <a:gd name="connsiteY4876" fmla="*/ 17466571 h 17966907"/>
                <a:gd name="connsiteX4877" fmla="*/ 9928142 w 13797425"/>
                <a:gd name="connsiteY4877" fmla="*/ 17457039 h 17966907"/>
                <a:gd name="connsiteX4878" fmla="*/ 9937672 w 13797425"/>
                <a:gd name="connsiteY4878" fmla="*/ 17452275 h 17966907"/>
                <a:gd name="connsiteX4879" fmla="*/ 9942437 w 13797425"/>
                <a:gd name="connsiteY4879" fmla="*/ 17452275 h 17966907"/>
                <a:gd name="connsiteX4880" fmla="*/ 9947203 w 13797425"/>
                <a:gd name="connsiteY4880" fmla="*/ 17452275 h 17966907"/>
                <a:gd name="connsiteX4881" fmla="*/ 9942437 w 13797425"/>
                <a:gd name="connsiteY4881" fmla="*/ 17457039 h 17966907"/>
                <a:gd name="connsiteX4882" fmla="*/ 9942437 w 13797425"/>
                <a:gd name="connsiteY4882" fmla="*/ 17461807 h 17966907"/>
                <a:gd name="connsiteX4883" fmla="*/ 9947203 w 13797425"/>
                <a:gd name="connsiteY4883" fmla="*/ 17461807 h 17966907"/>
                <a:gd name="connsiteX4884" fmla="*/ 9951968 w 13797425"/>
                <a:gd name="connsiteY4884" fmla="*/ 17461807 h 17966907"/>
                <a:gd name="connsiteX4885" fmla="*/ 9951968 w 13797425"/>
                <a:gd name="connsiteY4885" fmla="*/ 17457039 h 17966907"/>
                <a:gd name="connsiteX4886" fmla="*/ 9975793 w 13797425"/>
                <a:gd name="connsiteY4886" fmla="*/ 17447511 h 17966907"/>
                <a:gd name="connsiteX4887" fmla="*/ 9980559 w 13797425"/>
                <a:gd name="connsiteY4887" fmla="*/ 17452275 h 17966907"/>
                <a:gd name="connsiteX4888" fmla="*/ 9975793 w 13797425"/>
                <a:gd name="connsiteY4888" fmla="*/ 17466571 h 17966907"/>
                <a:gd name="connsiteX4889" fmla="*/ 9980559 w 13797425"/>
                <a:gd name="connsiteY4889" fmla="*/ 17476099 h 17966907"/>
                <a:gd name="connsiteX4890" fmla="*/ 9990089 w 13797425"/>
                <a:gd name="connsiteY4890" fmla="*/ 17476099 h 17966907"/>
                <a:gd name="connsiteX4891" fmla="*/ 9999619 w 13797425"/>
                <a:gd name="connsiteY4891" fmla="*/ 17471335 h 17966907"/>
                <a:gd name="connsiteX4892" fmla="*/ 10013914 w 13797425"/>
                <a:gd name="connsiteY4892" fmla="*/ 17461807 h 17966907"/>
                <a:gd name="connsiteX4893" fmla="*/ 10018680 w 13797425"/>
                <a:gd name="connsiteY4893" fmla="*/ 17461807 h 17966907"/>
                <a:gd name="connsiteX4894" fmla="*/ 10013914 w 13797425"/>
                <a:gd name="connsiteY4894" fmla="*/ 17471335 h 17966907"/>
                <a:gd name="connsiteX4895" fmla="*/ 10004384 w 13797425"/>
                <a:gd name="connsiteY4895" fmla="*/ 17476099 h 17966907"/>
                <a:gd name="connsiteX4896" fmla="*/ 9990089 w 13797425"/>
                <a:gd name="connsiteY4896" fmla="*/ 17490395 h 17966907"/>
                <a:gd name="connsiteX4897" fmla="*/ 9990089 w 13797425"/>
                <a:gd name="connsiteY4897" fmla="*/ 17495159 h 17966907"/>
                <a:gd name="connsiteX4898" fmla="*/ 9990089 w 13797425"/>
                <a:gd name="connsiteY4898" fmla="*/ 17499927 h 17966907"/>
                <a:gd name="connsiteX4899" fmla="*/ 9994854 w 13797425"/>
                <a:gd name="connsiteY4899" fmla="*/ 17495159 h 17966907"/>
                <a:gd name="connsiteX4900" fmla="*/ 10009149 w 13797425"/>
                <a:gd name="connsiteY4900" fmla="*/ 17495159 h 17966907"/>
                <a:gd name="connsiteX4901" fmla="*/ 10013914 w 13797425"/>
                <a:gd name="connsiteY4901" fmla="*/ 17495159 h 17966907"/>
                <a:gd name="connsiteX4902" fmla="*/ 10004384 w 13797425"/>
                <a:gd name="connsiteY4902" fmla="*/ 17499927 h 17966907"/>
                <a:gd name="connsiteX4903" fmla="*/ 9985324 w 13797425"/>
                <a:gd name="connsiteY4903" fmla="*/ 17509455 h 17966907"/>
                <a:gd name="connsiteX4904" fmla="*/ 9971028 w 13797425"/>
                <a:gd name="connsiteY4904" fmla="*/ 17514223 h 17966907"/>
                <a:gd name="connsiteX4905" fmla="*/ 9961498 w 13797425"/>
                <a:gd name="connsiteY4905" fmla="*/ 17514223 h 17966907"/>
                <a:gd name="connsiteX4906" fmla="*/ 9961498 w 13797425"/>
                <a:gd name="connsiteY4906" fmla="*/ 17509455 h 17966907"/>
                <a:gd name="connsiteX4907" fmla="*/ 9966263 w 13797425"/>
                <a:gd name="connsiteY4907" fmla="*/ 17499927 h 17966907"/>
                <a:gd name="connsiteX4908" fmla="*/ 9966263 w 13797425"/>
                <a:gd name="connsiteY4908" fmla="*/ 17495159 h 17966907"/>
                <a:gd name="connsiteX4909" fmla="*/ 9951968 w 13797425"/>
                <a:gd name="connsiteY4909" fmla="*/ 17499927 h 17966907"/>
                <a:gd name="connsiteX4910" fmla="*/ 9947203 w 13797425"/>
                <a:gd name="connsiteY4910" fmla="*/ 17495159 h 17966907"/>
                <a:gd name="connsiteX4911" fmla="*/ 9951968 w 13797425"/>
                <a:gd name="connsiteY4911" fmla="*/ 17495159 h 17966907"/>
                <a:gd name="connsiteX4912" fmla="*/ 9956733 w 13797425"/>
                <a:gd name="connsiteY4912" fmla="*/ 17495159 h 17966907"/>
                <a:gd name="connsiteX4913" fmla="*/ 9947203 w 13797425"/>
                <a:gd name="connsiteY4913" fmla="*/ 17490395 h 17966907"/>
                <a:gd name="connsiteX4914" fmla="*/ 9928142 w 13797425"/>
                <a:gd name="connsiteY4914" fmla="*/ 17495159 h 17966907"/>
                <a:gd name="connsiteX4915" fmla="*/ 9918612 w 13797425"/>
                <a:gd name="connsiteY4915" fmla="*/ 17495159 h 17966907"/>
                <a:gd name="connsiteX4916" fmla="*/ 9909082 w 13797425"/>
                <a:gd name="connsiteY4916" fmla="*/ 17485631 h 17966907"/>
                <a:gd name="connsiteX4917" fmla="*/ 9909082 w 13797425"/>
                <a:gd name="connsiteY4917" fmla="*/ 17480867 h 17966907"/>
                <a:gd name="connsiteX4918" fmla="*/ 9904316 w 13797425"/>
                <a:gd name="connsiteY4918" fmla="*/ 17476099 h 17966907"/>
                <a:gd name="connsiteX4919" fmla="*/ 9890021 w 13797425"/>
                <a:gd name="connsiteY4919" fmla="*/ 17476099 h 17966907"/>
                <a:gd name="connsiteX4920" fmla="*/ 9885256 w 13797425"/>
                <a:gd name="connsiteY4920" fmla="*/ 17476099 h 17966907"/>
                <a:gd name="connsiteX4921" fmla="*/ 9880491 w 13797425"/>
                <a:gd name="connsiteY4921" fmla="*/ 17485631 h 17966907"/>
                <a:gd name="connsiteX4922" fmla="*/ 9866195 w 13797425"/>
                <a:gd name="connsiteY4922" fmla="*/ 17485631 h 17966907"/>
                <a:gd name="connsiteX4923" fmla="*/ 9856665 w 13797425"/>
                <a:gd name="connsiteY4923" fmla="*/ 17485631 h 17966907"/>
                <a:gd name="connsiteX4924" fmla="*/ 9837605 w 13797425"/>
                <a:gd name="connsiteY4924" fmla="*/ 17490395 h 17966907"/>
                <a:gd name="connsiteX4925" fmla="*/ 9809014 w 13797425"/>
                <a:gd name="connsiteY4925" fmla="*/ 17495159 h 17966907"/>
                <a:gd name="connsiteX4926" fmla="*/ 9785188 w 13797425"/>
                <a:gd name="connsiteY4926" fmla="*/ 17495159 h 17966907"/>
                <a:gd name="connsiteX4927" fmla="*/ 9770893 w 13797425"/>
                <a:gd name="connsiteY4927" fmla="*/ 17504691 h 17966907"/>
                <a:gd name="connsiteX4928" fmla="*/ 9756598 w 13797425"/>
                <a:gd name="connsiteY4928" fmla="*/ 17504691 h 17966907"/>
                <a:gd name="connsiteX4929" fmla="*/ 9747067 w 13797425"/>
                <a:gd name="connsiteY4929" fmla="*/ 17504691 h 17966907"/>
                <a:gd name="connsiteX4930" fmla="*/ 9732772 w 13797425"/>
                <a:gd name="connsiteY4930" fmla="*/ 17504691 h 17966907"/>
                <a:gd name="connsiteX4931" fmla="*/ 9713711 w 13797425"/>
                <a:gd name="connsiteY4931" fmla="*/ 17514223 h 17966907"/>
                <a:gd name="connsiteX4932" fmla="*/ 9685121 w 13797425"/>
                <a:gd name="connsiteY4932" fmla="*/ 17514223 h 17966907"/>
                <a:gd name="connsiteX4933" fmla="*/ 9675590 w 13797425"/>
                <a:gd name="connsiteY4933" fmla="*/ 17523751 h 17966907"/>
                <a:gd name="connsiteX4934" fmla="*/ 9656530 w 13797425"/>
                <a:gd name="connsiteY4934" fmla="*/ 17533283 h 17966907"/>
                <a:gd name="connsiteX4935" fmla="*/ 9637469 w 13797425"/>
                <a:gd name="connsiteY4935" fmla="*/ 17552343 h 17966907"/>
                <a:gd name="connsiteX4936" fmla="*/ 9623174 w 13797425"/>
                <a:gd name="connsiteY4936" fmla="*/ 17561871 h 17966907"/>
                <a:gd name="connsiteX4937" fmla="*/ 9613644 w 13797425"/>
                <a:gd name="connsiteY4937" fmla="*/ 17561871 h 17966907"/>
                <a:gd name="connsiteX4938" fmla="*/ 9608879 w 13797425"/>
                <a:gd name="connsiteY4938" fmla="*/ 17566639 h 17966907"/>
                <a:gd name="connsiteX4939" fmla="*/ 9604113 w 13797425"/>
                <a:gd name="connsiteY4939" fmla="*/ 17571403 h 17966907"/>
                <a:gd name="connsiteX4940" fmla="*/ 9594583 w 13797425"/>
                <a:gd name="connsiteY4940" fmla="*/ 17576167 h 17966907"/>
                <a:gd name="connsiteX4941" fmla="*/ 9589818 w 13797425"/>
                <a:gd name="connsiteY4941" fmla="*/ 17580935 h 17966907"/>
                <a:gd name="connsiteX4942" fmla="*/ 9585053 w 13797425"/>
                <a:gd name="connsiteY4942" fmla="*/ 17590463 h 17966907"/>
                <a:gd name="connsiteX4943" fmla="*/ 9580288 w 13797425"/>
                <a:gd name="connsiteY4943" fmla="*/ 17604759 h 17966907"/>
                <a:gd name="connsiteX4944" fmla="*/ 9561227 w 13797425"/>
                <a:gd name="connsiteY4944" fmla="*/ 17633351 h 17966907"/>
                <a:gd name="connsiteX4945" fmla="*/ 9561227 w 13797425"/>
                <a:gd name="connsiteY4945" fmla="*/ 17638115 h 17966907"/>
                <a:gd name="connsiteX4946" fmla="*/ 9570758 w 13797425"/>
                <a:gd name="connsiteY4946" fmla="*/ 17647647 h 17966907"/>
                <a:gd name="connsiteX4947" fmla="*/ 9585053 w 13797425"/>
                <a:gd name="connsiteY4947" fmla="*/ 17652411 h 17966907"/>
                <a:gd name="connsiteX4948" fmla="*/ 9599348 w 13797425"/>
                <a:gd name="connsiteY4948" fmla="*/ 17657175 h 17966907"/>
                <a:gd name="connsiteX4949" fmla="*/ 9618409 w 13797425"/>
                <a:gd name="connsiteY4949" fmla="*/ 17657175 h 17966907"/>
                <a:gd name="connsiteX4950" fmla="*/ 9627939 w 13797425"/>
                <a:gd name="connsiteY4950" fmla="*/ 17657175 h 17966907"/>
                <a:gd name="connsiteX4951" fmla="*/ 9637469 w 13797425"/>
                <a:gd name="connsiteY4951" fmla="*/ 17657175 h 17966907"/>
                <a:gd name="connsiteX4952" fmla="*/ 9651765 w 13797425"/>
                <a:gd name="connsiteY4952" fmla="*/ 17647647 h 17966907"/>
                <a:gd name="connsiteX4953" fmla="*/ 9675590 w 13797425"/>
                <a:gd name="connsiteY4953" fmla="*/ 17638115 h 17966907"/>
                <a:gd name="connsiteX4954" fmla="*/ 9675590 w 13797425"/>
                <a:gd name="connsiteY4954" fmla="*/ 17642879 h 17966907"/>
                <a:gd name="connsiteX4955" fmla="*/ 9670825 w 13797425"/>
                <a:gd name="connsiteY4955" fmla="*/ 17676235 h 17966907"/>
                <a:gd name="connsiteX4956" fmla="*/ 9670825 w 13797425"/>
                <a:gd name="connsiteY4956" fmla="*/ 17680999 h 17966907"/>
                <a:gd name="connsiteX4957" fmla="*/ 9675590 w 13797425"/>
                <a:gd name="connsiteY4957" fmla="*/ 17685767 h 17966907"/>
                <a:gd name="connsiteX4958" fmla="*/ 9675590 w 13797425"/>
                <a:gd name="connsiteY4958" fmla="*/ 17690531 h 17966907"/>
                <a:gd name="connsiteX4959" fmla="*/ 9675590 w 13797425"/>
                <a:gd name="connsiteY4959" fmla="*/ 17695295 h 17966907"/>
                <a:gd name="connsiteX4960" fmla="*/ 9680355 w 13797425"/>
                <a:gd name="connsiteY4960" fmla="*/ 17704827 h 17966907"/>
                <a:gd name="connsiteX4961" fmla="*/ 9689886 w 13797425"/>
                <a:gd name="connsiteY4961" fmla="*/ 17709591 h 17966907"/>
                <a:gd name="connsiteX4962" fmla="*/ 9694651 w 13797425"/>
                <a:gd name="connsiteY4962" fmla="*/ 17719123 h 17966907"/>
                <a:gd name="connsiteX4963" fmla="*/ 9675590 w 13797425"/>
                <a:gd name="connsiteY4963" fmla="*/ 17728651 h 17966907"/>
                <a:gd name="connsiteX4964" fmla="*/ 9661295 w 13797425"/>
                <a:gd name="connsiteY4964" fmla="*/ 17728651 h 17966907"/>
                <a:gd name="connsiteX4965" fmla="*/ 9656530 w 13797425"/>
                <a:gd name="connsiteY4965" fmla="*/ 17728651 h 17966907"/>
                <a:gd name="connsiteX4966" fmla="*/ 9642234 w 13797425"/>
                <a:gd name="connsiteY4966" fmla="*/ 17723887 h 17966907"/>
                <a:gd name="connsiteX4967" fmla="*/ 9623174 w 13797425"/>
                <a:gd name="connsiteY4967" fmla="*/ 17723887 h 17966907"/>
                <a:gd name="connsiteX4968" fmla="*/ 9589818 w 13797425"/>
                <a:gd name="connsiteY4968" fmla="*/ 17733419 h 17966907"/>
                <a:gd name="connsiteX4969" fmla="*/ 9580288 w 13797425"/>
                <a:gd name="connsiteY4969" fmla="*/ 17733419 h 17966907"/>
                <a:gd name="connsiteX4970" fmla="*/ 9575523 w 13797425"/>
                <a:gd name="connsiteY4970" fmla="*/ 17728651 h 17966907"/>
                <a:gd name="connsiteX4971" fmla="*/ 9565992 w 13797425"/>
                <a:gd name="connsiteY4971" fmla="*/ 17728651 h 17966907"/>
                <a:gd name="connsiteX4972" fmla="*/ 9537402 w 13797425"/>
                <a:gd name="connsiteY4972" fmla="*/ 17738183 h 17966907"/>
                <a:gd name="connsiteX4973" fmla="*/ 9508811 w 13797425"/>
                <a:gd name="connsiteY4973" fmla="*/ 17742947 h 17966907"/>
                <a:gd name="connsiteX4974" fmla="*/ 9494516 w 13797425"/>
                <a:gd name="connsiteY4974" fmla="*/ 17747711 h 17966907"/>
                <a:gd name="connsiteX4975" fmla="*/ 9480220 w 13797425"/>
                <a:gd name="connsiteY4975" fmla="*/ 17757243 h 17966907"/>
                <a:gd name="connsiteX4976" fmla="*/ 9475455 w 13797425"/>
                <a:gd name="connsiteY4976" fmla="*/ 17762007 h 17966907"/>
                <a:gd name="connsiteX4977" fmla="*/ 9470690 w 13797425"/>
                <a:gd name="connsiteY4977" fmla="*/ 17766775 h 17966907"/>
                <a:gd name="connsiteX4978" fmla="*/ 9465925 w 13797425"/>
                <a:gd name="connsiteY4978" fmla="*/ 17771539 h 17966907"/>
                <a:gd name="connsiteX4979" fmla="*/ 9456394 w 13797425"/>
                <a:gd name="connsiteY4979" fmla="*/ 17781067 h 17966907"/>
                <a:gd name="connsiteX4980" fmla="*/ 9456394 w 13797425"/>
                <a:gd name="connsiteY4980" fmla="*/ 17785835 h 17966907"/>
                <a:gd name="connsiteX4981" fmla="*/ 9470690 w 13797425"/>
                <a:gd name="connsiteY4981" fmla="*/ 17785835 h 17966907"/>
                <a:gd name="connsiteX4982" fmla="*/ 9480220 w 13797425"/>
                <a:gd name="connsiteY4982" fmla="*/ 17785835 h 17966907"/>
                <a:gd name="connsiteX4983" fmla="*/ 9508811 w 13797425"/>
                <a:gd name="connsiteY4983" fmla="*/ 17790599 h 17966907"/>
                <a:gd name="connsiteX4984" fmla="*/ 9518341 w 13797425"/>
                <a:gd name="connsiteY4984" fmla="*/ 17795363 h 17966907"/>
                <a:gd name="connsiteX4985" fmla="*/ 9513576 w 13797425"/>
                <a:gd name="connsiteY4985" fmla="*/ 17795363 h 17966907"/>
                <a:gd name="connsiteX4986" fmla="*/ 9465925 w 13797425"/>
                <a:gd name="connsiteY4986" fmla="*/ 17790599 h 17966907"/>
                <a:gd name="connsiteX4987" fmla="*/ 9451629 w 13797425"/>
                <a:gd name="connsiteY4987" fmla="*/ 17790599 h 17966907"/>
                <a:gd name="connsiteX4988" fmla="*/ 9427804 w 13797425"/>
                <a:gd name="connsiteY4988" fmla="*/ 17785835 h 17966907"/>
                <a:gd name="connsiteX4989" fmla="*/ 9399213 w 13797425"/>
                <a:gd name="connsiteY4989" fmla="*/ 17776303 h 17966907"/>
                <a:gd name="connsiteX4990" fmla="*/ 9365857 w 13797425"/>
                <a:gd name="connsiteY4990" fmla="*/ 17771539 h 17966907"/>
                <a:gd name="connsiteX4991" fmla="*/ 9332501 w 13797425"/>
                <a:gd name="connsiteY4991" fmla="*/ 17776303 h 17966907"/>
                <a:gd name="connsiteX4992" fmla="*/ 9308676 w 13797425"/>
                <a:gd name="connsiteY4992" fmla="*/ 17781067 h 17966907"/>
                <a:gd name="connsiteX4993" fmla="*/ 9294380 w 13797425"/>
                <a:gd name="connsiteY4993" fmla="*/ 17785835 h 17966907"/>
                <a:gd name="connsiteX4994" fmla="*/ 9256259 w 13797425"/>
                <a:gd name="connsiteY4994" fmla="*/ 17819191 h 17966907"/>
                <a:gd name="connsiteX4995" fmla="*/ 9241964 w 13797425"/>
                <a:gd name="connsiteY4995" fmla="*/ 17833483 h 17966907"/>
                <a:gd name="connsiteX4996" fmla="*/ 9237199 w 13797425"/>
                <a:gd name="connsiteY4996" fmla="*/ 17847779 h 17966907"/>
                <a:gd name="connsiteX4997" fmla="*/ 9232433 w 13797425"/>
                <a:gd name="connsiteY4997" fmla="*/ 17847779 h 17966907"/>
                <a:gd name="connsiteX4998" fmla="*/ 9227668 w 13797425"/>
                <a:gd name="connsiteY4998" fmla="*/ 17852547 h 17966907"/>
                <a:gd name="connsiteX4999" fmla="*/ 9222903 w 13797425"/>
                <a:gd name="connsiteY4999" fmla="*/ 17857311 h 17966907"/>
                <a:gd name="connsiteX5000" fmla="*/ 9208608 w 13797425"/>
                <a:gd name="connsiteY5000" fmla="*/ 17857311 h 17966907"/>
                <a:gd name="connsiteX5001" fmla="*/ 9189547 w 13797425"/>
                <a:gd name="connsiteY5001" fmla="*/ 17866839 h 17966907"/>
                <a:gd name="connsiteX5002" fmla="*/ 9165722 w 13797425"/>
                <a:gd name="connsiteY5002" fmla="*/ 17881135 h 17966907"/>
                <a:gd name="connsiteX5003" fmla="*/ 9151426 w 13797425"/>
                <a:gd name="connsiteY5003" fmla="*/ 17890667 h 17966907"/>
                <a:gd name="connsiteX5004" fmla="*/ 9141896 w 13797425"/>
                <a:gd name="connsiteY5004" fmla="*/ 17900195 h 17966907"/>
                <a:gd name="connsiteX5005" fmla="*/ 9137131 w 13797425"/>
                <a:gd name="connsiteY5005" fmla="*/ 17909727 h 17966907"/>
                <a:gd name="connsiteX5006" fmla="*/ 9137131 w 13797425"/>
                <a:gd name="connsiteY5006" fmla="*/ 17924023 h 17966907"/>
                <a:gd name="connsiteX5007" fmla="*/ 9132366 w 13797425"/>
                <a:gd name="connsiteY5007" fmla="*/ 17928787 h 17966907"/>
                <a:gd name="connsiteX5008" fmla="*/ 9127601 w 13797425"/>
                <a:gd name="connsiteY5008" fmla="*/ 17914491 h 17966907"/>
                <a:gd name="connsiteX5009" fmla="*/ 9118070 w 13797425"/>
                <a:gd name="connsiteY5009" fmla="*/ 17904963 h 17966907"/>
                <a:gd name="connsiteX5010" fmla="*/ 9113305 w 13797425"/>
                <a:gd name="connsiteY5010" fmla="*/ 17904963 h 17966907"/>
                <a:gd name="connsiteX5011" fmla="*/ 9108540 w 13797425"/>
                <a:gd name="connsiteY5011" fmla="*/ 17904963 h 17966907"/>
                <a:gd name="connsiteX5012" fmla="*/ 9084715 w 13797425"/>
                <a:gd name="connsiteY5012" fmla="*/ 17914491 h 17966907"/>
                <a:gd name="connsiteX5013" fmla="*/ 9070419 w 13797425"/>
                <a:gd name="connsiteY5013" fmla="*/ 17909727 h 17966907"/>
                <a:gd name="connsiteX5014" fmla="*/ 9046594 w 13797425"/>
                <a:gd name="connsiteY5014" fmla="*/ 17900195 h 17966907"/>
                <a:gd name="connsiteX5015" fmla="*/ 9041828 w 13797425"/>
                <a:gd name="connsiteY5015" fmla="*/ 17895431 h 17966907"/>
                <a:gd name="connsiteX5016" fmla="*/ 9041828 w 13797425"/>
                <a:gd name="connsiteY5016" fmla="*/ 17885903 h 17966907"/>
                <a:gd name="connsiteX5017" fmla="*/ 9041828 w 13797425"/>
                <a:gd name="connsiteY5017" fmla="*/ 17866839 h 17966907"/>
                <a:gd name="connsiteX5018" fmla="*/ 9046594 w 13797425"/>
                <a:gd name="connsiteY5018" fmla="*/ 17852547 h 17966907"/>
                <a:gd name="connsiteX5019" fmla="*/ 9051359 w 13797425"/>
                <a:gd name="connsiteY5019" fmla="*/ 17847779 h 17966907"/>
                <a:gd name="connsiteX5020" fmla="*/ 9056124 w 13797425"/>
                <a:gd name="connsiteY5020" fmla="*/ 17847779 h 17966907"/>
                <a:gd name="connsiteX5021" fmla="*/ 9060889 w 13797425"/>
                <a:gd name="connsiteY5021" fmla="*/ 17843015 h 17966907"/>
                <a:gd name="connsiteX5022" fmla="*/ 9079949 w 13797425"/>
                <a:gd name="connsiteY5022" fmla="*/ 17843015 h 17966907"/>
                <a:gd name="connsiteX5023" fmla="*/ 9122836 w 13797425"/>
                <a:gd name="connsiteY5023" fmla="*/ 17847779 h 17966907"/>
                <a:gd name="connsiteX5024" fmla="*/ 9132366 w 13797425"/>
                <a:gd name="connsiteY5024" fmla="*/ 17843015 h 17966907"/>
                <a:gd name="connsiteX5025" fmla="*/ 9141896 w 13797425"/>
                <a:gd name="connsiteY5025" fmla="*/ 17843015 h 17966907"/>
                <a:gd name="connsiteX5026" fmla="*/ 9146661 w 13797425"/>
                <a:gd name="connsiteY5026" fmla="*/ 17833483 h 17966907"/>
                <a:gd name="connsiteX5027" fmla="*/ 9151426 w 13797425"/>
                <a:gd name="connsiteY5027" fmla="*/ 17823955 h 17966907"/>
                <a:gd name="connsiteX5028" fmla="*/ 9146661 w 13797425"/>
                <a:gd name="connsiteY5028" fmla="*/ 17814423 h 17966907"/>
                <a:gd name="connsiteX5029" fmla="*/ 9146661 w 13797425"/>
                <a:gd name="connsiteY5029" fmla="*/ 17809659 h 17966907"/>
                <a:gd name="connsiteX5030" fmla="*/ 9141896 w 13797425"/>
                <a:gd name="connsiteY5030" fmla="*/ 17809659 h 17966907"/>
                <a:gd name="connsiteX5031" fmla="*/ 9141896 w 13797425"/>
                <a:gd name="connsiteY5031" fmla="*/ 17804895 h 17966907"/>
                <a:gd name="connsiteX5032" fmla="*/ 9118070 w 13797425"/>
                <a:gd name="connsiteY5032" fmla="*/ 17800131 h 17966907"/>
                <a:gd name="connsiteX5033" fmla="*/ 9113305 w 13797425"/>
                <a:gd name="connsiteY5033" fmla="*/ 17800131 h 17966907"/>
                <a:gd name="connsiteX5034" fmla="*/ 9113305 w 13797425"/>
                <a:gd name="connsiteY5034" fmla="*/ 17795363 h 17966907"/>
                <a:gd name="connsiteX5035" fmla="*/ 9127601 w 13797425"/>
                <a:gd name="connsiteY5035" fmla="*/ 17781067 h 17966907"/>
                <a:gd name="connsiteX5036" fmla="*/ 9137131 w 13797425"/>
                <a:gd name="connsiteY5036" fmla="*/ 17757243 h 17966907"/>
                <a:gd name="connsiteX5037" fmla="*/ 9151426 w 13797425"/>
                <a:gd name="connsiteY5037" fmla="*/ 17695295 h 17966907"/>
                <a:gd name="connsiteX5038" fmla="*/ 9165722 w 13797425"/>
                <a:gd name="connsiteY5038" fmla="*/ 17690531 h 17966907"/>
                <a:gd name="connsiteX5039" fmla="*/ 9184782 w 13797425"/>
                <a:gd name="connsiteY5039" fmla="*/ 17680999 h 17966907"/>
                <a:gd name="connsiteX5040" fmla="*/ 9199078 w 13797425"/>
                <a:gd name="connsiteY5040" fmla="*/ 17671471 h 17966907"/>
                <a:gd name="connsiteX5041" fmla="*/ 9208608 w 13797425"/>
                <a:gd name="connsiteY5041" fmla="*/ 17661939 h 17966907"/>
                <a:gd name="connsiteX5042" fmla="*/ 9218138 w 13797425"/>
                <a:gd name="connsiteY5042" fmla="*/ 17652411 h 17966907"/>
                <a:gd name="connsiteX5043" fmla="*/ 9227668 w 13797425"/>
                <a:gd name="connsiteY5043" fmla="*/ 17647647 h 17966907"/>
                <a:gd name="connsiteX5044" fmla="*/ 9237199 w 13797425"/>
                <a:gd name="connsiteY5044" fmla="*/ 17642879 h 17966907"/>
                <a:gd name="connsiteX5045" fmla="*/ 9246729 w 13797425"/>
                <a:gd name="connsiteY5045" fmla="*/ 17628583 h 17966907"/>
                <a:gd name="connsiteX5046" fmla="*/ 9256259 w 13797425"/>
                <a:gd name="connsiteY5046" fmla="*/ 17614291 h 17966907"/>
                <a:gd name="connsiteX5047" fmla="*/ 9261024 w 13797425"/>
                <a:gd name="connsiteY5047" fmla="*/ 17599995 h 17966907"/>
                <a:gd name="connsiteX5048" fmla="*/ 9261024 w 13797425"/>
                <a:gd name="connsiteY5048" fmla="*/ 17580935 h 17966907"/>
                <a:gd name="connsiteX5049" fmla="*/ 9261024 w 13797425"/>
                <a:gd name="connsiteY5049" fmla="*/ 17561871 h 17966907"/>
                <a:gd name="connsiteX5050" fmla="*/ 9256259 w 13797425"/>
                <a:gd name="connsiteY5050" fmla="*/ 17490395 h 17966907"/>
                <a:gd name="connsiteX5051" fmla="*/ 9256259 w 13797425"/>
                <a:gd name="connsiteY5051" fmla="*/ 17471335 h 17966907"/>
                <a:gd name="connsiteX5052" fmla="*/ 9261024 w 13797425"/>
                <a:gd name="connsiteY5052" fmla="*/ 17457039 h 17966907"/>
                <a:gd name="connsiteX5053" fmla="*/ 9270555 w 13797425"/>
                <a:gd name="connsiteY5053" fmla="*/ 17442743 h 17966907"/>
                <a:gd name="connsiteX5054" fmla="*/ 9275320 w 13797425"/>
                <a:gd name="connsiteY5054" fmla="*/ 17428451 h 17966907"/>
                <a:gd name="connsiteX5055" fmla="*/ 9280085 w 13797425"/>
                <a:gd name="connsiteY5055" fmla="*/ 17418919 h 17966907"/>
                <a:gd name="connsiteX5056" fmla="*/ 9280085 w 13797425"/>
                <a:gd name="connsiteY5056" fmla="*/ 17409387 h 17966907"/>
                <a:gd name="connsiteX5057" fmla="*/ 9289615 w 13797425"/>
                <a:gd name="connsiteY5057" fmla="*/ 17399859 h 17966907"/>
                <a:gd name="connsiteX5058" fmla="*/ 9294380 w 13797425"/>
                <a:gd name="connsiteY5058" fmla="*/ 17395095 h 17966907"/>
                <a:gd name="connsiteX5059" fmla="*/ 9303910 w 13797425"/>
                <a:gd name="connsiteY5059" fmla="*/ 17390327 h 17966907"/>
                <a:gd name="connsiteX5060" fmla="*/ 9308676 w 13797425"/>
                <a:gd name="connsiteY5060" fmla="*/ 17385563 h 17966907"/>
                <a:gd name="connsiteX5061" fmla="*/ 9308676 w 13797425"/>
                <a:gd name="connsiteY5061" fmla="*/ 17376031 h 17966907"/>
                <a:gd name="connsiteX5062" fmla="*/ 9313441 w 13797425"/>
                <a:gd name="connsiteY5062" fmla="*/ 17366503 h 17966907"/>
                <a:gd name="connsiteX5063" fmla="*/ 9322971 w 13797425"/>
                <a:gd name="connsiteY5063" fmla="*/ 17356971 h 17966907"/>
                <a:gd name="connsiteX5064" fmla="*/ 9327736 w 13797425"/>
                <a:gd name="connsiteY5064" fmla="*/ 17342675 h 17966907"/>
                <a:gd name="connsiteX5065" fmla="*/ 9327736 w 13797425"/>
                <a:gd name="connsiteY5065" fmla="*/ 17328383 h 17966907"/>
                <a:gd name="connsiteX5066" fmla="*/ 9327736 w 13797425"/>
                <a:gd name="connsiteY5066" fmla="*/ 17314087 h 17966907"/>
                <a:gd name="connsiteX5067" fmla="*/ 9322971 w 13797425"/>
                <a:gd name="connsiteY5067" fmla="*/ 17304555 h 17966907"/>
                <a:gd name="connsiteX5068" fmla="*/ 9318206 w 13797425"/>
                <a:gd name="connsiteY5068" fmla="*/ 17295027 h 17966907"/>
                <a:gd name="connsiteX5069" fmla="*/ 9313441 w 13797425"/>
                <a:gd name="connsiteY5069" fmla="*/ 17285495 h 17966907"/>
                <a:gd name="connsiteX5070" fmla="*/ 9313441 w 13797425"/>
                <a:gd name="connsiteY5070" fmla="*/ 17271199 h 17966907"/>
                <a:gd name="connsiteX5071" fmla="*/ 9303910 w 13797425"/>
                <a:gd name="connsiteY5071" fmla="*/ 17271199 h 17966907"/>
                <a:gd name="connsiteX5072" fmla="*/ 9299145 w 13797425"/>
                <a:gd name="connsiteY5072" fmla="*/ 17261671 h 17966907"/>
                <a:gd name="connsiteX5073" fmla="*/ 9294380 w 13797425"/>
                <a:gd name="connsiteY5073" fmla="*/ 17247375 h 17966907"/>
                <a:gd name="connsiteX5074" fmla="*/ 9284850 w 13797425"/>
                <a:gd name="connsiteY5074" fmla="*/ 17237843 h 17966907"/>
                <a:gd name="connsiteX5075" fmla="*/ 9280085 w 13797425"/>
                <a:gd name="connsiteY5075" fmla="*/ 17233079 h 17966907"/>
                <a:gd name="connsiteX5076" fmla="*/ 9280085 w 13797425"/>
                <a:gd name="connsiteY5076" fmla="*/ 17228315 h 17966907"/>
                <a:gd name="connsiteX5077" fmla="*/ 9270555 w 13797425"/>
                <a:gd name="connsiteY5077" fmla="*/ 17223547 h 17966907"/>
                <a:gd name="connsiteX5078" fmla="*/ 9265789 w 13797425"/>
                <a:gd name="connsiteY5078" fmla="*/ 17223547 h 17966907"/>
                <a:gd name="connsiteX5079" fmla="*/ 9261024 w 13797425"/>
                <a:gd name="connsiteY5079" fmla="*/ 17218783 h 17966907"/>
                <a:gd name="connsiteX5080" fmla="*/ 9261024 w 13797425"/>
                <a:gd name="connsiteY5080" fmla="*/ 17209255 h 17966907"/>
                <a:gd name="connsiteX5081" fmla="*/ 9280085 w 13797425"/>
                <a:gd name="connsiteY5081" fmla="*/ 17209255 h 17966907"/>
                <a:gd name="connsiteX5082" fmla="*/ 9308676 w 13797425"/>
                <a:gd name="connsiteY5082" fmla="*/ 17209255 h 17966907"/>
                <a:gd name="connsiteX5083" fmla="*/ 9322971 w 13797425"/>
                <a:gd name="connsiteY5083" fmla="*/ 17209255 h 17966907"/>
                <a:gd name="connsiteX5084" fmla="*/ 9327736 w 13797425"/>
                <a:gd name="connsiteY5084" fmla="*/ 17214019 h 17966907"/>
                <a:gd name="connsiteX5085" fmla="*/ 9322971 w 13797425"/>
                <a:gd name="connsiteY5085" fmla="*/ 17223547 h 17966907"/>
                <a:gd name="connsiteX5086" fmla="*/ 9322971 w 13797425"/>
                <a:gd name="connsiteY5086" fmla="*/ 17233079 h 17966907"/>
                <a:gd name="connsiteX5087" fmla="*/ 9327736 w 13797425"/>
                <a:gd name="connsiteY5087" fmla="*/ 17237843 h 17966907"/>
                <a:gd name="connsiteX5088" fmla="*/ 9327736 w 13797425"/>
                <a:gd name="connsiteY5088" fmla="*/ 17247375 h 17966907"/>
                <a:gd name="connsiteX5089" fmla="*/ 9327736 w 13797425"/>
                <a:gd name="connsiteY5089" fmla="*/ 17261671 h 17966907"/>
                <a:gd name="connsiteX5090" fmla="*/ 9337266 w 13797425"/>
                <a:gd name="connsiteY5090" fmla="*/ 17266435 h 17966907"/>
                <a:gd name="connsiteX5091" fmla="*/ 9342031 w 13797425"/>
                <a:gd name="connsiteY5091" fmla="*/ 17266435 h 17966907"/>
                <a:gd name="connsiteX5092" fmla="*/ 9342031 w 13797425"/>
                <a:gd name="connsiteY5092" fmla="*/ 17271199 h 17966907"/>
                <a:gd name="connsiteX5093" fmla="*/ 9346797 w 13797425"/>
                <a:gd name="connsiteY5093" fmla="*/ 17271199 h 17966907"/>
                <a:gd name="connsiteX5094" fmla="*/ 9351562 w 13797425"/>
                <a:gd name="connsiteY5094" fmla="*/ 17275967 h 17966907"/>
                <a:gd name="connsiteX5095" fmla="*/ 9346797 w 13797425"/>
                <a:gd name="connsiteY5095" fmla="*/ 17280731 h 17966907"/>
                <a:gd name="connsiteX5096" fmla="*/ 9351562 w 13797425"/>
                <a:gd name="connsiteY5096" fmla="*/ 17285495 h 17966907"/>
                <a:gd name="connsiteX5097" fmla="*/ 9361092 w 13797425"/>
                <a:gd name="connsiteY5097" fmla="*/ 17285495 h 17966907"/>
                <a:gd name="connsiteX5098" fmla="*/ 9365857 w 13797425"/>
                <a:gd name="connsiteY5098" fmla="*/ 17275967 h 17966907"/>
                <a:gd name="connsiteX5099" fmla="*/ 9370622 w 13797425"/>
                <a:gd name="connsiteY5099" fmla="*/ 17275967 h 17966907"/>
                <a:gd name="connsiteX5100" fmla="*/ 9375387 w 13797425"/>
                <a:gd name="connsiteY5100" fmla="*/ 17271199 h 17966907"/>
                <a:gd name="connsiteX5101" fmla="*/ 9375387 w 13797425"/>
                <a:gd name="connsiteY5101" fmla="*/ 17275967 h 17966907"/>
                <a:gd name="connsiteX5102" fmla="*/ 9370622 w 13797425"/>
                <a:gd name="connsiteY5102" fmla="*/ 17280731 h 17966907"/>
                <a:gd name="connsiteX5103" fmla="*/ 9370622 w 13797425"/>
                <a:gd name="connsiteY5103" fmla="*/ 17285495 h 17966907"/>
                <a:gd name="connsiteX5104" fmla="*/ 9370622 w 13797425"/>
                <a:gd name="connsiteY5104" fmla="*/ 17295027 h 17966907"/>
                <a:gd name="connsiteX5105" fmla="*/ 9365857 w 13797425"/>
                <a:gd name="connsiteY5105" fmla="*/ 17299791 h 17966907"/>
                <a:gd name="connsiteX5106" fmla="*/ 9351562 w 13797425"/>
                <a:gd name="connsiteY5106" fmla="*/ 17314087 h 17966907"/>
                <a:gd name="connsiteX5107" fmla="*/ 9351562 w 13797425"/>
                <a:gd name="connsiteY5107" fmla="*/ 17318851 h 17966907"/>
                <a:gd name="connsiteX5108" fmla="*/ 9365857 w 13797425"/>
                <a:gd name="connsiteY5108" fmla="*/ 17309323 h 17966907"/>
                <a:gd name="connsiteX5109" fmla="*/ 9375387 w 13797425"/>
                <a:gd name="connsiteY5109" fmla="*/ 17309323 h 17966907"/>
                <a:gd name="connsiteX5110" fmla="*/ 9384918 w 13797425"/>
                <a:gd name="connsiteY5110" fmla="*/ 17309323 h 17966907"/>
                <a:gd name="connsiteX5111" fmla="*/ 9384918 w 13797425"/>
                <a:gd name="connsiteY5111" fmla="*/ 17314087 h 17966907"/>
                <a:gd name="connsiteX5112" fmla="*/ 9389683 w 13797425"/>
                <a:gd name="connsiteY5112" fmla="*/ 17318851 h 17966907"/>
                <a:gd name="connsiteX5113" fmla="*/ 9380152 w 13797425"/>
                <a:gd name="connsiteY5113" fmla="*/ 17347443 h 17966907"/>
                <a:gd name="connsiteX5114" fmla="*/ 9384918 w 13797425"/>
                <a:gd name="connsiteY5114" fmla="*/ 17352207 h 17966907"/>
                <a:gd name="connsiteX5115" fmla="*/ 9394448 w 13797425"/>
                <a:gd name="connsiteY5115" fmla="*/ 17337911 h 17966907"/>
                <a:gd name="connsiteX5116" fmla="*/ 9403978 w 13797425"/>
                <a:gd name="connsiteY5116" fmla="*/ 17333147 h 17966907"/>
                <a:gd name="connsiteX5117" fmla="*/ 9423039 w 13797425"/>
                <a:gd name="connsiteY5117" fmla="*/ 17328383 h 17966907"/>
                <a:gd name="connsiteX5118" fmla="*/ 9432569 w 13797425"/>
                <a:gd name="connsiteY5118" fmla="*/ 17347443 h 17966907"/>
                <a:gd name="connsiteX5119" fmla="*/ 9456394 w 13797425"/>
                <a:gd name="connsiteY5119" fmla="*/ 17356971 h 17966907"/>
                <a:gd name="connsiteX5120" fmla="*/ 9489750 w 13797425"/>
                <a:gd name="connsiteY5120" fmla="*/ 17376031 h 17966907"/>
                <a:gd name="connsiteX5121" fmla="*/ 9513576 w 13797425"/>
                <a:gd name="connsiteY5121" fmla="*/ 17380799 h 17966907"/>
                <a:gd name="connsiteX5122" fmla="*/ 9523106 w 13797425"/>
                <a:gd name="connsiteY5122" fmla="*/ 17371267 h 17966907"/>
                <a:gd name="connsiteX5123" fmla="*/ 9523106 w 13797425"/>
                <a:gd name="connsiteY5123" fmla="*/ 17361739 h 17966907"/>
                <a:gd name="connsiteX5124" fmla="*/ 9527871 w 13797425"/>
                <a:gd name="connsiteY5124" fmla="*/ 17342675 h 17966907"/>
                <a:gd name="connsiteX5125" fmla="*/ 9523106 w 13797425"/>
                <a:gd name="connsiteY5125" fmla="*/ 17328383 h 17966907"/>
                <a:gd name="connsiteX5126" fmla="*/ 9513576 w 13797425"/>
                <a:gd name="connsiteY5126" fmla="*/ 17323615 h 17966907"/>
                <a:gd name="connsiteX5127" fmla="*/ 9508811 w 13797425"/>
                <a:gd name="connsiteY5127" fmla="*/ 17314087 h 17966907"/>
                <a:gd name="connsiteX5128" fmla="*/ 9508811 w 13797425"/>
                <a:gd name="connsiteY5128" fmla="*/ 17309323 h 17966907"/>
                <a:gd name="connsiteX5129" fmla="*/ 9518341 w 13797425"/>
                <a:gd name="connsiteY5129" fmla="*/ 17304555 h 17966907"/>
                <a:gd name="connsiteX5130" fmla="*/ 9527871 w 13797425"/>
                <a:gd name="connsiteY5130" fmla="*/ 17299791 h 17966907"/>
                <a:gd name="connsiteX5131" fmla="*/ 9537402 w 13797425"/>
                <a:gd name="connsiteY5131" fmla="*/ 17295027 h 17966907"/>
                <a:gd name="connsiteX5132" fmla="*/ 9537402 w 13797425"/>
                <a:gd name="connsiteY5132" fmla="*/ 17299791 h 17966907"/>
                <a:gd name="connsiteX5133" fmla="*/ 9537402 w 13797425"/>
                <a:gd name="connsiteY5133" fmla="*/ 17304555 h 17966907"/>
                <a:gd name="connsiteX5134" fmla="*/ 9537402 w 13797425"/>
                <a:gd name="connsiteY5134" fmla="*/ 17309323 h 17966907"/>
                <a:gd name="connsiteX5135" fmla="*/ 9542167 w 13797425"/>
                <a:gd name="connsiteY5135" fmla="*/ 17309323 h 17966907"/>
                <a:gd name="connsiteX5136" fmla="*/ 9546932 w 13797425"/>
                <a:gd name="connsiteY5136" fmla="*/ 17309323 h 17966907"/>
                <a:gd name="connsiteX5137" fmla="*/ 9551697 w 13797425"/>
                <a:gd name="connsiteY5137" fmla="*/ 17318851 h 17966907"/>
                <a:gd name="connsiteX5138" fmla="*/ 9570758 w 13797425"/>
                <a:gd name="connsiteY5138" fmla="*/ 17318851 h 17966907"/>
                <a:gd name="connsiteX5139" fmla="*/ 9575523 w 13797425"/>
                <a:gd name="connsiteY5139" fmla="*/ 17318851 h 17966907"/>
                <a:gd name="connsiteX5140" fmla="*/ 9570758 w 13797425"/>
                <a:gd name="connsiteY5140" fmla="*/ 17314087 h 17966907"/>
                <a:gd name="connsiteX5141" fmla="*/ 9570758 w 13797425"/>
                <a:gd name="connsiteY5141" fmla="*/ 17304555 h 17966907"/>
                <a:gd name="connsiteX5142" fmla="*/ 9575523 w 13797425"/>
                <a:gd name="connsiteY5142" fmla="*/ 17299791 h 17966907"/>
                <a:gd name="connsiteX5143" fmla="*/ 9575523 w 13797425"/>
                <a:gd name="connsiteY5143" fmla="*/ 17295027 h 17966907"/>
                <a:gd name="connsiteX5144" fmla="*/ 9570758 w 13797425"/>
                <a:gd name="connsiteY5144" fmla="*/ 17295027 h 17966907"/>
                <a:gd name="connsiteX5145" fmla="*/ 9570758 w 13797425"/>
                <a:gd name="connsiteY5145" fmla="*/ 17304555 h 17966907"/>
                <a:gd name="connsiteX5146" fmla="*/ 9565992 w 13797425"/>
                <a:gd name="connsiteY5146" fmla="*/ 17304555 h 17966907"/>
                <a:gd name="connsiteX5147" fmla="*/ 9561227 w 13797425"/>
                <a:gd name="connsiteY5147" fmla="*/ 17304555 h 17966907"/>
                <a:gd name="connsiteX5148" fmla="*/ 9561227 w 13797425"/>
                <a:gd name="connsiteY5148" fmla="*/ 17299791 h 17966907"/>
                <a:gd name="connsiteX5149" fmla="*/ 9556462 w 13797425"/>
                <a:gd name="connsiteY5149" fmla="*/ 17290259 h 17966907"/>
                <a:gd name="connsiteX5150" fmla="*/ 9551697 w 13797425"/>
                <a:gd name="connsiteY5150" fmla="*/ 17280731 h 17966907"/>
                <a:gd name="connsiteX5151" fmla="*/ 9542167 w 13797425"/>
                <a:gd name="connsiteY5151" fmla="*/ 17275967 h 17966907"/>
                <a:gd name="connsiteX5152" fmla="*/ 9537402 w 13797425"/>
                <a:gd name="connsiteY5152" fmla="*/ 17271199 h 17966907"/>
                <a:gd name="connsiteX5153" fmla="*/ 9537402 w 13797425"/>
                <a:gd name="connsiteY5153" fmla="*/ 17266435 h 17966907"/>
                <a:gd name="connsiteX5154" fmla="*/ 9537402 w 13797425"/>
                <a:gd name="connsiteY5154" fmla="*/ 17261671 h 17966907"/>
                <a:gd name="connsiteX5155" fmla="*/ 9532637 w 13797425"/>
                <a:gd name="connsiteY5155" fmla="*/ 17261671 h 17966907"/>
                <a:gd name="connsiteX5156" fmla="*/ 9523106 w 13797425"/>
                <a:gd name="connsiteY5156" fmla="*/ 17252139 h 17966907"/>
                <a:gd name="connsiteX5157" fmla="*/ 9513576 w 13797425"/>
                <a:gd name="connsiteY5157" fmla="*/ 17242611 h 17966907"/>
                <a:gd name="connsiteX5158" fmla="*/ 9513576 w 13797425"/>
                <a:gd name="connsiteY5158" fmla="*/ 17237843 h 17966907"/>
                <a:gd name="connsiteX5159" fmla="*/ 9523106 w 13797425"/>
                <a:gd name="connsiteY5159" fmla="*/ 17237843 h 17966907"/>
                <a:gd name="connsiteX5160" fmla="*/ 9527871 w 13797425"/>
                <a:gd name="connsiteY5160" fmla="*/ 17233079 h 17966907"/>
                <a:gd name="connsiteX5161" fmla="*/ 9523106 w 13797425"/>
                <a:gd name="connsiteY5161" fmla="*/ 17228315 h 17966907"/>
                <a:gd name="connsiteX5162" fmla="*/ 9518341 w 13797425"/>
                <a:gd name="connsiteY5162" fmla="*/ 17218783 h 17966907"/>
                <a:gd name="connsiteX5163" fmla="*/ 9513576 w 13797425"/>
                <a:gd name="connsiteY5163" fmla="*/ 17218783 h 17966907"/>
                <a:gd name="connsiteX5164" fmla="*/ 9513576 w 13797425"/>
                <a:gd name="connsiteY5164" fmla="*/ 17223547 h 17966907"/>
                <a:gd name="connsiteX5165" fmla="*/ 9508811 w 13797425"/>
                <a:gd name="connsiteY5165" fmla="*/ 17223547 h 17966907"/>
                <a:gd name="connsiteX5166" fmla="*/ 9508811 w 13797425"/>
                <a:gd name="connsiteY5166" fmla="*/ 17218783 h 17966907"/>
                <a:gd name="connsiteX5167" fmla="*/ 9508811 w 13797425"/>
                <a:gd name="connsiteY5167" fmla="*/ 17209255 h 17966907"/>
                <a:gd name="connsiteX5168" fmla="*/ 9518341 w 13797425"/>
                <a:gd name="connsiteY5168" fmla="*/ 17199723 h 17966907"/>
                <a:gd name="connsiteX5169" fmla="*/ 9518341 w 13797425"/>
                <a:gd name="connsiteY5169" fmla="*/ 17190191 h 17966907"/>
                <a:gd name="connsiteX5170" fmla="*/ 9518341 w 13797425"/>
                <a:gd name="connsiteY5170" fmla="*/ 17185427 h 17966907"/>
                <a:gd name="connsiteX5171" fmla="*/ 9513576 w 13797425"/>
                <a:gd name="connsiteY5171" fmla="*/ 17180663 h 17966907"/>
                <a:gd name="connsiteX5172" fmla="*/ 9504046 w 13797425"/>
                <a:gd name="connsiteY5172" fmla="*/ 17175899 h 17966907"/>
                <a:gd name="connsiteX5173" fmla="*/ 9499281 w 13797425"/>
                <a:gd name="connsiteY5173" fmla="*/ 17180663 h 17966907"/>
                <a:gd name="connsiteX5174" fmla="*/ 9499281 w 13797425"/>
                <a:gd name="connsiteY5174" fmla="*/ 17190191 h 17966907"/>
                <a:gd name="connsiteX5175" fmla="*/ 9484985 w 13797425"/>
                <a:gd name="connsiteY5175" fmla="*/ 17185427 h 17966907"/>
                <a:gd name="connsiteX5176" fmla="*/ 9480220 w 13797425"/>
                <a:gd name="connsiteY5176" fmla="*/ 17180663 h 17966907"/>
                <a:gd name="connsiteX5177" fmla="*/ 9470690 w 13797425"/>
                <a:gd name="connsiteY5177" fmla="*/ 17175899 h 17966907"/>
                <a:gd name="connsiteX5178" fmla="*/ 9465925 w 13797425"/>
                <a:gd name="connsiteY5178" fmla="*/ 17166367 h 17966907"/>
                <a:gd name="connsiteX5179" fmla="*/ 9465925 w 13797425"/>
                <a:gd name="connsiteY5179" fmla="*/ 17156835 h 17966907"/>
                <a:gd name="connsiteX5180" fmla="*/ 9465925 w 13797425"/>
                <a:gd name="connsiteY5180" fmla="*/ 17137775 h 17966907"/>
                <a:gd name="connsiteX5181" fmla="*/ 9461160 w 13797425"/>
                <a:gd name="connsiteY5181" fmla="*/ 17128247 h 17966907"/>
                <a:gd name="connsiteX5182" fmla="*/ 9461160 w 13797425"/>
                <a:gd name="connsiteY5182" fmla="*/ 17133011 h 17966907"/>
                <a:gd name="connsiteX5183" fmla="*/ 9456394 w 13797425"/>
                <a:gd name="connsiteY5183" fmla="*/ 17137775 h 17966907"/>
                <a:gd name="connsiteX5184" fmla="*/ 9451629 w 13797425"/>
                <a:gd name="connsiteY5184" fmla="*/ 17137775 h 17966907"/>
                <a:gd name="connsiteX5185" fmla="*/ 9446864 w 13797425"/>
                <a:gd name="connsiteY5185" fmla="*/ 17137775 h 17966907"/>
                <a:gd name="connsiteX5186" fmla="*/ 9446864 w 13797425"/>
                <a:gd name="connsiteY5186" fmla="*/ 17128247 h 17966907"/>
                <a:gd name="connsiteX5187" fmla="*/ 9442099 w 13797425"/>
                <a:gd name="connsiteY5187" fmla="*/ 17123483 h 17966907"/>
                <a:gd name="connsiteX5188" fmla="*/ 9432569 w 13797425"/>
                <a:gd name="connsiteY5188" fmla="*/ 17113951 h 17966907"/>
                <a:gd name="connsiteX5189" fmla="*/ 9427804 w 13797425"/>
                <a:gd name="connsiteY5189" fmla="*/ 17104419 h 17966907"/>
                <a:gd name="connsiteX5190" fmla="*/ 9427804 w 13797425"/>
                <a:gd name="connsiteY5190" fmla="*/ 17099655 h 17966907"/>
                <a:gd name="connsiteX5191" fmla="*/ 9427804 w 13797425"/>
                <a:gd name="connsiteY5191" fmla="*/ 17094891 h 17966907"/>
                <a:gd name="connsiteX5192" fmla="*/ 9423039 w 13797425"/>
                <a:gd name="connsiteY5192" fmla="*/ 17090127 h 17966907"/>
                <a:gd name="connsiteX5193" fmla="*/ 9418273 w 13797425"/>
                <a:gd name="connsiteY5193" fmla="*/ 17085359 h 17966907"/>
                <a:gd name="connsiteX5194" fmla="*/ 9413508 w 13797425"/>
                <a:gd name="connsiteY5194" fmla="*/ 17075831 h 17966907"/>
                <a:gd name="connsiteX5195" fmla="*/ 9413508 w 13797425"/>
                <a:gd name="connsiteY5195" fmla="*/ 17071063 h 17966907"/>
                <a:gd name="connsiteX5196" fmla="*/ 9403978 w 13797425"/>
                <a:gd name="connsiteY5196" fmla="*/ 17061535 h 17966907"/>
                <a:gd name="connsiteX5197" fmla="*/ 9399213 w 13797425"/>
                <a:gd name="connsiteY5197" fmla="*/ 17056771 h 17966907"/>
                <a:gd name="connsiteX5198" fmla="*/ 9375387 w 13797425"/>
                <a:gd name="connsiteY5198" fmla="*/ 17056771 h 17966907"/>
                <a:gd name="connsiteX5199" fmla="*/ 9356327 w 13797425"/>
                <a:gd name="connsiteY5199" fmla="*/ 17056771 h 17966907"/>
                <a:gd name="connsiteX5200" fmla="*/ 9346797 w 13797425"/>
                <a:gd name="connsiteY5200" fmla="*/ 17052003 h 17966907"/>
                <a:gd name="connsiteX5201" fmla="*/ 9346797 w 13797425"/>
                <a:gd name="connsiteY5201" fmla="*/ 17047239 h 17966907"/>
                <a:gd name="connsiteX5202" fmla="*/ 9346797 w 13797425"/>
                <a:gd name="connsiteY5202" fmla="*/ 17042475 h 17966907"/>
                <a:gd name="connsiteX5203" fmla="*/ 9342031 w 13797425"/>
                <a:gd name="connsiteY5203" fmla="*/ 17037711 h 17966907"/>
                <a:gd name="connsiteX5204" fmla="*/ 9342031 w 13797425"/>
                <a:gd name="connsiteY5204" fmla="*/ 17042475 h 17966907"/>
                <a:gd name="connsiteX5205" fmla="*/ 9342031 w 13797425"/>
                <a:gd name="connsiteY5205" fmla="*/ 17047239 h 17966907"/>
                <a:gd name="connsiteX5206" fmla="*/ 9332501 w 13797425"/>
                <a:gd name="connsiteY5206" fmla="*/ 17047239 h 17966907"/>
                <a:gd name="connsiteX5207" fmla="*/ 9322971 w 13797425"/>
                <a:gd name="connsiteY5207" fmla="*/ 17047239 h 17966907"/>
                <a:gd name="connsiteX5208" fmla="*/ 9299145 w 13797425"/>
                <a:gd name="connsiteY5208" fmla="*/ 17042475 h 17966907"/>
                <a:gd name="connsiteX5209" fmla="*/ 9289615 w 13797425"/>
                <a:gd name="connsiteY5209" fmla="*/ 17047239 h 17966907"/>
                <a:gd name="connsiteX5210" fmla="*/ 9275320 w 13797425"/>
                <a:gd name="connsiteY5210" fmla="*/ 17052003 h 17966907"/>
                <a:gd name="connsiteX5211" fmla="*/ 9270555 w 13797425"/>
                <a:gd name="connsiteY5211" fmla="*/ 17047239 h 17966907"/>
                <a:gd name="connsiteX5212" fmla="*/ 9280085 w 13797425"/>
                <a:gd name="connsiteY5212" fmla="*/ 17042475 h 17966907"/>
                <a:gd name="connsiteX5213" fmla="*/ 9275320 w 13797425"/>
                <a:gd name="connsiteY5213" fmla="*/ 17042475 h 17966907"/>
                <a:gd name="connsiteX5214" fmla="*/ 9270555 w 13797425"/>
                <a:gd name="connsiteY5214" fmla="*/ 17037711 h 17966907"/>
                <a:gd name="connsiteX5215" fmla="*/ 9270555 w 13797425"/>
                <a:gd name="connsiteY5215" fmla="*/ 17032943 h 17966907"/>
                <a:gd name="connsiteX5216" fmla="*/ 9284850 w 13797425"/>
                <a:gd name="connsiteY5216" fmla="*/ 17028179 h 17966907"/>
                <a:gd name="connsiteX5217" fmla="*/ 9284850 w 13797425"/>
                <a:gd name="connsiteY5217" fmla="*/ 17023415 h 17966907"/>
                <a:gd name="connsiteX5218" fmla="*/ 9275320 w 13797425"/>
                <a:gd name="connsiteY5218" fmla="*/ 17018647 h 17966907"/>
                <a:gd name="connsiteX5219" fmla="*/ 9270555 w 13797425"/>
                <a:gd name="connsiteY5219" fmla="*/ 17018647 h 17966907"/>
                <a:gd name="connsiteX5220" fmla="*/ 9265789 w 13797425"/>
                <a:gd name="connsiteY5220" fmla="*/ 17023415 h 17966907"/>
                <a:gd name="connsiteX5221" fmla="*/ 9261024 w 13797425"/>
                <a:gd name="connsiteY5221" fmla="*/ 17023415 h 17966907"/>
                <a:gd name="connsiteX5222" fmla="*/ 9256259 w 13797425"/>
                <a:gd name="connsiteY5222" fmla="*/ 17028179 h 17966907"/>
                <a:gd name="connsiteX5223" fmla="*/ 9251494 w 13797425"/>
                <a:gd name="connsiteY5223" fmla="*/ 17028179 h 17966907"/>
                <a:gd name="connsiteX5224" fmla="*/ 9251494 w 13797425"/>
                <a:gd name="connsiteY5224" fmla="*/ 17018647 h 17966907"/>
                <a:gd name="connsiteX5225" fmla="*/ 9241964 w 13797425"/>
                <a:gd name="connsiteY5225" fmla="*/ 17018647 h 17966907"/>
                <a:gd name="connsiteX5226" fmla="*/ 9213373 w 13797425"/>
                <a:gd name="connsiteY5226" fmla="*/ 17013883 h 17966907"/>
                <a:gd name="connsiteX5227" fmla="*/ 9194312 w 13797425"/>
                <a:gd name="connsiteY5227" fmla="*/ 17013883 h 17966907"/>
                <a:gd name="connsiteX5228" fmla="*/ 9184782 w 13797425"/>
                <a:gd name="connsiteY5228" fmla="*/ 17013883 h 17966907"/>
                <a:gd name="connsiteX5229" fmla="*/ 9165722 w 13797425"/>
                <a:gd name="connsiteY5229" fmla="*/ 17004355 h 17966907"/>
                <a:gd name="connsiteX5230" fmla="*/ 9160957 w 13797425"/>
                <a:gd name="connsiteY5230" fmla="*/ 16999587 h 17966907"/>
                <a:gd name="connsiteX5231" fmla="*/ 9122836 w 13797425"/>
                <a:gd name="connsiteY5231" fmla="*/ 17004355 h 17966907"/>
                <a:gd name="connsiteX5232" fmla="*/ 9113305 w 13797425"/>
                <a:gd name="connsiteY5232" fmla="*/ 17004355 h 17966907"/>
                <a:gd name="connsiteX5233" fmla="*/ 9108540 w 13797425"/>
                <a:gd name="connsiteY5233" fmla="*/ 17004355 h 17966907"/>
                <a:gd name="connsiteX5234" fmla="*/ 9103775 w 13797425"/>
                <a:gd name="connsiteY5234" fmla="*/ 16994823 h 17966907"/>
                <a:gd name="connsiteX5235" fmla="*/ 9075184 w 13797425"/>
                <a:gd name="connsiteY5235" fmla="*/ 16999587 h 17966907"/>
                <a:gd name="connsiteX5236" fmla="*/ 9056124 w 13797425"/>
                <a:gd name="connsiteY5236" fmla="*/ 17004355 h 17966907"/>
                <a:gd name="connsiteX5237" fmla="*/ 8984647 w 13797425"/>
                <a:gd name="connsiteY5237" fmla="*/ 16990059 h 17966907"/>
                <a:gd name="connsiteX5238" fmla="*/ 8970351 w 13797425"/>
                <a:gd name="connsiteY5238" fmla="*/ 16985291 h 17966907"/>
                <a:gd name="connsiteX5239" fmla="*/ 8965586 w 13797425"/>
                <a:gd name="connsiteY5239" fmla="*/ 16980527 h 17966907"/>
                <a:gd name="connsiteX5240" fmla="*/ 8956056 w 13797425"/>
                <a:gd name="connsiteY5240" fmla="*/ 16980527 h 17966907"/>
                <a:gd name="connsiteX5241" fmla="*/ 8927465 w 13797425"/>
                <a:gd name="connsiteY5241" fmla="*/ 16975763 h 17966907"/>
                <a:gd name="connsiteX5242" fmla="*/ 8922700 w 13797425"/>
                <a:gd name="connsiteY5242" fmla="*/ 16975763 h 17966907"/>
                <a:gd name="connsiteX5243" fmla="*/ 8917935 w 13797425"/>
                <a:gd name="connsiteY5243" fmla="*/ 16966231 h 17966907"/>
                <a:gd name="connsiteX5244" fmla="*/ 8913170 w 13797425"/>
                <a:gd name="connsiteY5244" fmla="*/ 16966231 h 17966907"/>
                <a:gd name="connsiteX5245" fmla="*/ 8898875 w 13797425"/>
                <a:gd name="connsiteY5245" fmla="*/ 16966231 h 17966907"/>
                <a:gd name="connsiteX5246" fmla="*/ 8889344 w 13797425"/>
                <a:gd name="connsiteY5246" fmla="*/ 16961467 h 17966907"/>
                <a:gd name="connsiteX5247" fmla="*/ 8884579 w 13797425"/>
                <a:gd name="connsiteY5247" fmla="*/ 16956703 h 17966907"/>
                <a:gd name="connsiteX5248" fmla="*/ 8884579 w 13797425"/>
                <a:gd name="connsiteY5248" fmla="*/ 16947171 h 17966907"/>
                <a:gd name="connsiteX5249" fmla="*/ 8889344 w 13797425"/>
                <a:gd name="connsiteY5249" fmla="*/ 16937643 h 17966907"/>
                <a:gd name="connsiteX5250" fmla="*/ 8889344 w 13797425"/>
                <a:gd name="connsiteY5250" fmla="*/ 16928111 h 17966907"/>
                <a:gd name="connsiteX5251" fmla="*/ 8884579 w 13797425"/>
                <a:gd name="connsiteY5251" fmla="*/ 16923347 h 17966907"/>
                <a:gd name="connsiteX5252" fmla="*/ 8875049 w 13797425"/>
                <a:gd name="connsiteY5252" fmla="*/ 16918579 h 17966907"/>
                <a:gd name="connsiteX5253" fmla="*/ 8865519 w 13797425"/>
                <a:gd name="connsiteY5253" fmla="*/ 16918579 h 17966907"/>
                <a:gd name="connsiteX5254" fmla="*/ 8846458 w 13797425"/>
                <a:gd name="connsiteY5254" fmla="*/ 16923347 h 17966907"/>
                <a:gd name="connsiteX5255" fmla="*/ 8832163 w 13797425"/>
                <a:gd name="connsiteY5255" fmla="*/ 16923347 h 17966907"/>
                <a:gd name="connsiteX5256" fmla="*/ 8832163 w 13797425"/>
                <a:gd name="connsiteY5256" fmla="*/ 16928111 h 17966907"/>
                <a:gd name="connsiteX5257" fmla="*/ 8827398 w 13797425"/>
                <a:gd name="connsiteY5257" fmla="*/ 16932875 h 17966907"/>
                <a:gd name="connsiteX5258" fmla="*/ 8822633 w 13797425"/>
                <a:gd name="connsiteY5258" fmla="*/ 16932875 h 17966907"/>
                <a:gd name="connsiteX5259" fmla="*/ 8813102 w 13797425"/>
                <a:gd name="connsiteY5259" fmla="*/ 16918579 h 17966907"/>
                <a:gd name="connsiteX5260" fmla="*/ 8813102 w 13797425"/>
                <a:gd name="connsiteY5260" fmla="*/ 16913815 h 17966907"/>
                <a:gd name="connsiteX5261" fmla="*/ 8817867 w 13797425"/>
                <a:gd name="connsiteY5261" fmla="*/ 16909051 h 17966907"/>
                <a:gd name="connsiteX5262" fmla="*/ 8827398 w 13797425"/>
                <a:gd name="connsiteY5262" fmla="*/ 16889991 h 17966907"/>
                <a:gd name="connsiteX5263" fmla="*/ 8832163 w 13797425"/>
                <a:gd name="connsiteY5263" fmla="*/ 16880459 h 17966907"/>
                <a:gd name="connsiteX5264" fmla="*/ 8827398 w 13797425"/>
                <a:gd name="connsiteY5264" fmla="*/ 16875695 h 17966907"/>
                <a:gd name="connsiteX5265" fmla="*/ 8822633 w 13797425"/>
                <a:gd name="connsiteY5265" fmla="*/ 16880459 h 17966907"/>
                <a:gd name="connsiteX5266" fmla="*/ 8817867 w 13797425"/>
                <a:gd name="connsiteY5266" fmla="*/ 16885227 h 17966907"/>
                <a:gd name="connsiteX5267" fmla="*/ 8813102 w 13797425"/>
                <a:gd name="connsiteY5267" fmla="*/ 16880459 h 17966907"/>
                <a:gd name="connsiteX5268" fmla="*/ 8817867 w 13797425"/>
                <a:gd name="connsiteY5268" fmla="*/ 16861399 h 17966907"/>
                <a:gd name="connsiteX5269" fmla="*/ 8817867 w 13797425"/>
                <a:gd name="connsiteY5269" fmla="*/ 16851871 h 17966907"/>
                <a:gd name="connsiteX5270" fmla="*/ 8827398 w 13797425"/>
                <a:gd name="connsiteY5270" fmla="*/ 16851871 h 17966907"/>
                <a:gd name="connsiteX5271" fmla="*/ 8836928 w 13797425"/>
                <a:gd name="connsiteY5271" fmla="*/ 16851871 h 17966907"/>
                <a:gd name="connsiteX5272" fmla="*/ 8841693 w 13797425"/>
                <a:gd name="connsiteY5272" fmla="*/ 16851871 h 17966907"/>
                <a:gd name="connsiteX5273" fmla="*/ 8846458 w 13797425"/>
                <a:gd name="connsiteY5273" fmla="*/ 16842339 h 17966907"/>
                <a:gd name="connsiteX5274" fmla="*/ 8841693 w 13797425"/>
                <a:gd name="connsiteY5274" fmla="*/ 16837575 h 17966907"/>
                <a:gd name="connsiteX5275" fmla="*/ 8832163 w 13797425"/>
                <a:gd name="connsiteY5275" fmla="*/ 16832807 h 17966907"/>
                <a:gd name="connsiteX5276" fmla="*/ 8827398 w 13797425"/>
                <a:gd name="connsiteY5276" fmla="*/ 16828043 h 17966907"/>
                <a:gd name="connsiteX5277" fmla="*/ 8817867 w 13797425"/>
                <a:gd name="connsiteY5277" fmla="*/ 16828043 h 17966907"/>
                <a:gd name="connsiteX5278" fmla="*/ 8813102 w 13797425"/>
                <a:gd name="connsiteY5278" fmla="*/ 16832807 h 17966907"/>
                <a:gd name="connsiteX5279" fmla="*/ 8808337 w 13797425"/>
                <a:gd name="connsiteY5279" fmla="*/ 16832807 h 17966907"/>
                <a:gd name="connsiteX5280" fmla="*/ 8803572 w 13797425"/>
                <a:gd name="connsiteY5280" fmla="*/ 16832807 h 17966907"/>
                <a:gd name="connsiteX5281" fmla="*/ 8798807 w 13797425"/>
                <a:gd name="connsiteY5281" fmla="*/ 16828043 h 17966907"/>
                <a:gd name="connsiteX5282" fmla="*/ 8784512 w 13797425"/>
                <a:gd name="connsiteY5282" fmla="*/ 16823279 h 17966907"/>
                <a:gd name="connsiteX5283" fmla="*/ 8779746 w 13797425"/>
                <a:gd name="connsiteY5283" fmla="*/ 16813747 h 17966907"/>
                <a:gd name="connsiteX5284" fmla="*/ 8779746 w 13797425"/>
                <a:gd name="connsiteY5284" fmla="*/ 16808983 h 17966907"/>
                <a:gd name="connsiteX5285" fmla="*/ 8789277 w 13797425"/>
                <a:gd name="connsiteY5285" fmla="*/ 16789923 h 17966907"/>
                <a:gd name="connsiteX5286" fmla="*/ 8789277 w 13797425"/>
                <a:gd name="connsiteY5286" fmla="*/ 16785159 h 17966907"/>
                <a:gd name="connsiteX5287" fmla="*/ 8794042 w 13797425"/>
                <a:gd name="connsiteY5287" fmla="*/ 16770863 h 17966907"/>
                <a:gd name="connsiteX5288" fmla="*/ 8803572 w 13797425"/>
                <a:gd name="connsiteY5288" fmla="*/ 16756567 h 17966907"/>
                <a:gd name="connsiteX5289" fmla="*/ 8808337 w 13797425"/>
                <a:gd name="connsiteY5289" fmla="*/ 16742271 h 17966907"/>
                <a:gd name="connsiteX5290" fmla="*/ 8803572 w 13797425"/>
                <a:gd name="connsiteY5290" fmla="*/ 16737507 h 17966907"/>
                <a:gd name="connsiteX5291" fmla="*/ 8803572 w 13797425"/>
                <a:gd name="connsiteY5291" fmla="*/ 16732739 h 17966907"/>
                <a:gd name="connsiteX5292" fmla="*/ 8798807 w 13797425"/>
                <a:gd name="connsiteY5292" fmla="*/ 16732739 h 17966907"/>
                <a:gd name="connsiteX5293" fmla="*/ 8794042 w 13797425"/>
                <a:gd name="connsiteY5293" fmla="*/ 16727975 h 17966907"/>
                <a:gd name="connsiteX5294" fmla="*/ 8789277 w 13797425"/>
                <a:gd name="connsiteY5294" fmla="*/ 16718447 h 17966907"/>
                <a:gd name="connsiteX5295" fmla="*/ 8779746 w 13797425"/>
                <a:gd name="connsiteY5295" fmla="*/ 16708915 h 17966907"/>
                <a:gd name="connsiteX5296" fmla="*/ 8770216 w 13797425"/>
                <a:gd name="connsiteY5296" fmla="*/ 16704151 h 17966907"/>
                <a:gd name="connsiteX5297" fmla="*/ 8755921 w 13797425"/>
                <a:gd name="connsiteY5297" fmla="*/ 16689855 h 17966907"/>
                <a:gd name="connsiteX5298" fmla="*/ 8746390 w 13797425"/>
                <a:gd name="connsiteY5298" fmla="*/ 16680323 h 17966907"/>
                <a:gd name="connsiteX5299" fmla="*/ 8741625 w 13797425"/>
                <a:gd name="connsiteY5299" fmla="*/ 16670795 h 17966907"/>
                <a:gd name="connsiteX5300" fmla="*/ 8746390 w 13797425"/>
                <a:gd name="connsiteY5300" fmla="*/ 16661263 h 17966907"/>
                <a:gd name="connsiteX5301" fmla="*/ 8751156 w 13797425"/>
                <a:gd name="connsiteY5301" fmla="*/ 16656499 h 17966907"/>
                <a:gd name="connsiteX5302" fmla="*/ 8751156 w 13797425"/>
                <a:gd name="connsiteY5302" fmla="*/ 16651735 h 17966907"/>
                <a:gd name="connsiteX5303" fmla="*/ 8751156 w 13797425"/>
                <a:gd name="connsiteY5303" fmla="*/ 16646967 h 17966907"/>
                <a:gd name="connsiteX5304" fmla="*/ 8755921 w 13797425"/>
                <a:gd name="connsiteY5304" fmla="*/ 16632675 h 17966907"/>
                <a:gd name="connsiteX5305" fmla="*/ 8755921 w 13797425"/>
                <a:gd name="connsiteY5305" fmla="*/ 16627907 h 17966907"/>
                <a:gd name="connsiteX5306" fmla="*/ 8760686 w 13797425"/>
                <a:gd name="connsiteY5306" fmla="*/ 16618379 h 17966907"/>
                <a:gd name="connsiteX5307" fmla="*/ 8765451 w 13797425"/>
                <a:gd name="connsiteY5307" fmla="*/ 16608847 h 17966907"/>
                <a:gd name="connsiteX5308" fmla="*/ 8770216 w 13797425"/>
                <a:gd name="connsiteY5308" fmla="*/ 16604083 h 17966907"/>
                <a:gd name="connsiteX5309" fmla="*/ 8770216 w 13797425"/>
                <a:gd name="connsiteY5309" fmla="*/ 16594551 h 17966907"/>
                <a:gd name="connsiteX5310" fmla="*/ 8751156 w 13797425"/>
                <a:gd name="connsiteY5310" fmla="*/ 16594551 h 17966907"/>
                <a:gd name="connsiteX5311" fmla="*/ 8717800 w 13797425"/>
                <a:gd name="connsiteY5311" fmla="*/ 16594551 h 17966907"/>
                <a:gd name="connsiteX5312" fmla="*/ 8693974 w 13797425"/>
                <a:gd name="connsiteY5312" fmla="*/ 16594551 h 17966907"/>
                <a:gd name="connsiteX5313" fmla="*/ 8674914 w 13797425"/>
                <a:gd name="connsiteY5313" fmla="*/ 16599319 h 17966907"/>
                <a:gd name="connsiteX5314" fmla="*/ 8651088 w 13797425"/>
                <a:gd name="connsiteY5314" fmla="*/ 16599319 h 17966907"/>
                <a:gd name="connsiteX5315" fmla="*/ 8622497 w 13797425"/>
                <a:gd name="connsiteY5315" fmla="*/ 16594551 h 17966907"/>
                <a:gd name="connsiteX5316" fmla="*/ 8603437 w 13797425"/>
                <a:gd name="connsiteY5316" fmla="*/ 16580255 h 17966907"/>
                <a:gd name="connsiteX5317" fmla="*/ 8584376 w 13797425"/>
                <a:gd name="connsiteY5317" fmla="*/ 16556431 h 17966907"/>
                <a:gd name="connsiteX5318" fmla="*/ 8574846 w 13797425"/>
                <a:gd name="connsiteY5318" fmla="*/ 16537371 h 17966907"/>
                <a:gd name="connsiteX5319" fmla="*/ 8567698 w 13797425"/>
                <a:gd name="connsiteY5319" fmla="*/ 16513547 h 17966907"/>
                <a:gd name="connsiteX5320" fmla="*/ 8562933 w 13797425"/>
                <a:gd name="connsiteY5320" fmla="*/ 16494483 h 17966907"/>
                <a:gd name="connsiteX5321" fmla="*/ 8562933 w 13797425"/>
                <a:gd name="connsiteY5321" fmla="*/ 16489719 h 17966907"/>
                <a:gd name="connsiteX5322" fmla="*/ 8558168 w 13797425"/>
                <a:gd name="connsiteY5322" fmla="*/ 16484955 h 17966907"/>
                <a:gd name="connsiteX5323" fmla="*/ 8553403 w 13797425"/>
                <a:gd name="connsiteY5323" fmla="*/ 16475423 h 17966907"/>
                <a:gd name="connsiteX5324" fmla="*/ 8553403 w 13797425"/>
                <a:gd name="connsiteY5324" fmla="*/ 16456363 h 17966907"/>
                <a:gd name="connsiteX5325" fmla="*/ 8548638 w 13797425"/>
                <a:gd name="connsiteY5325" fmla="*/ 16446835 h 17966907"/>
                <a:gd name="connsiteX5326" fmla="*/ 8543873 w 13797425"/>
                <a:gd name="connsiteY5326" fmla="*/ 16442067 h 17966907"/>
                <a:gd name="connsiteX5327" fmla="*/ 8539107 w 13797425"/>
                <a:gd name="connsiteY5327" fmla="*/ 16437303 h 17966907"/>
                <a:gd name="connsiteX5328" fmla="*/ 8534342 w 13797425"/>
                <a:gd name="connsiteY5328" fmla="*/ 16423007 h 17966907"/>
                <a:gd name="connsiteX5329" fmla="*/ 8529577 w 13797425"/>
                <a:gd name="connsiteY5329" fmla="*/ 16418243 h 17966907"/>
                <a:gd name="connsiteX5330" fmla="*/ 8529577 w 13797425"/>
                <a:gd name="connsiteY5330" fmla="*/ 16413479 h 17966907"/>
                <a:gd name="connsiteX5331" fmla="*/ 8524812 w 13797425"/>
                <a:gd name="connsiteY5331" fmla="*/ 16408711 h 17966907"/>
                <a:gd name="connsiteX5332" fmla="*/ 8520047 w 13797425"/>
                <a:gd name="connsiteY5332" fmla="*/ 16403947 h 17966907"/>
                <a:gd name="connsiteX5333" fmla="*/ 8500986 w 13797425"/>
                <a:gd name="connsiteY5333" fmla="*/ 16408711 h 17966907"/>
                <a:gd name="connsiteX5334" fmla="*/ 8496221 w 13797425"/>
                <a:gd name="connsiteY5334" fmla="*/ 16403947 h 17966907"/>
                <a:gd name="connsiteX5335" fmla="*/ 8491456 w 13797425"/>
                <a:gd name="connsiteY5335" fmla="*/ 16399183 h 17966907"/>
                <a:gd name="connsiteX5336" fmla="*/ 8481926 w 13797425"/>
                <a:gd name="connsiteY5336" fmla="*/ 16394415 h 17966907"/>
                <a:gd name="connsiteX5337" fmla="*/ 8472396 w 13797425"/>
                <a:gd name="connsiteY5337" fmla="*/ 16399183 h 17966907"/>
                <a:gd name="connsiteX5338" fmla="*/ 8462865 w 13797425"/>
                <a:gd name="connsiteY5338" fmla="*/ 16403947 h 17966907"/>
                <a:gd name="connsiteX5339" fmla="*/ 8453335 w 13797425"/>
                <a:gd name="connsiteY5339" fmla="*/ 16403947 h 17966907"/>
                <a:gd name="connsiteX5340" fmla="*/ 8434275 w 13797425"/>
                <a:gd name="connsiteY5340" fmla="*/ 16399183 h 17966907"/>
                <a:gd name="connsiteX5341" fmla="*/ 8424744 w 13797425"/>
                <a:gd name="connsiteY5341" fmla="*/ 16403947 h 17966907"/>
                <a:gd name="connsiteX5342" fmla="*/ 8400919 w 13797425"/>
                <a:gd name="connsiteY5342" fmla="*/ 16403947 h 17966907"/>
                <a:gd name="connsiteX5343" fmla="*/ 8386624 w 13797425"/>
                <a:gd name="connsiteY5343" fmla="*/ 16399183 h 17966907"/>
                <a:gd name="connsiteX5344" fmla="*/ 8372328 w 13797425"/>
                <a:gd name="connsiteY5344" fmla="*/ 16389651 h 17966907"/>
                <a:gd name="connsiteX5345" fmla="*/ 8362798 w 13797425"/>
                <a:gd name="connsiteY5345" fmla="*/ 16384887 h 17966907"/>
                <a:gd name="connsiteX5346" fmla="*/ 8353268 w 13797425"/>
                <a:gd name="connsiteY5346" fmla="*/ 16389651 h 17966907"/>
                <a:gd name="connsiteX5347" fmla="*/ 8348502 w 13797425"/>
                <a:gd name="connsiteY5347" fmla="*/ 16384887 h 17966907"/>
                <a:gd name="connsiteX5348" fmla="*/ 8348502 w 13797425"/>
                <a:gd name="connsiteY5348" fmla="*/ 16380123 h 17966907"/>
                <a:gd name="connsiteX5349" fmla="*/ 8343737 w 13797425"/>
                <a:gd name="connsiteY5349" fmla="*/ 16380123 h 17966907"/>
                <a:gd name="connsiteX5350" fmla="*/ 8329442 w 13797425"/>
                <a:gd name="connsiteY5350" fmla="*/ 16375355 h 17966907"/>
                <a:gd name="connsiteX5351" fmla="*/ 8315146 w 13797425"/>
                <a:gd name="connsiteY5351" fmla="*/ 16370591 h 17966907"/>
                <a:gd name="connsiteX5352" fmla="*/ 8286556 w 13797425"/>
                <a:gd name="connsiteY5352" fmla="*/ 16361063 h 17966907"/>
                <a:gd name="connsiteX5353" fmla="*/ 8277026 w 13797425"/>
                <a:gd name="connsiteY5353" fmla="*/ 16351531 h 17966907"/>
                <a:gd name="connsiteX5354" fmla="*/ 8267495 w 13797425"/>
                <a:gd name="connsiteY5354" fmla="*/ 16351531 h 17966907"/>
                <a:gd name="connsiteX5355" fmla="*/ 8257965 w 13797425"/>
                <a:gd name="connsiteY5355" fmla="*/ 16351531 h 17966907"/>
                <a:gd name="connsiteX5356" fmla="*/ 8253200 w 13797425"/>
                <a:gd name="connsiteY5356" fmla="*/ 16356295 h 17966907"/>
                <a:gd name="connsiteX5357" fmla="*/ 8248434 w 13797425"/>
                <a:gd name="connsiteY5357" fmla="*/ 16356295 h 17966907"/>
                <a:gd name="connsiteX5358" fmla="*/ 8238904 w 13797425"/>
                <a:gd name="connsiteY5358" fmla="*/ 16351531 h 17966907"/>
                <a:gd name="connsiteX5359" fmla="*/ 8238904 w 13797425"/>
                <a:gd name="connsiteY5359" fmla="*/ 16356295 h 17966907"/>
                <a:gd name="connsiteX5360" fmla="*/ 8238904 w 13797425"/>
                <a:gd name="connsiteY5360" fmla="*/ 16361063 h 17966907"/>
                <a:gd name="connsiteX5361" fmla="*/ 8238904 w 13797425"/>
                <a:gd name="connsiteY5361" fmla="*/ 16370591 h 17966907"/>
                <a:gd name="connsiteX5362" fmla="*/ 8243670 w 13797425"/>
                <a:gd name="connsiteY5362" fmla="*/ 16380123 h 17966907"/>
                <a:gd name="connsiteX5363" fmla="*/ 8257965 w 13797425"/>
                <a:gd name="connsiteY5363" fmla="*/ 16394415 h 17966907"/>
                <a:gd name="connsiteX5364" fmla="*/ 8262730 w 13797425"/>
                <a:gd name="connsiteY5364" fmla="*/ 16403947 h 17966907"/>
                <a:gd name="connsiteX5365" fmla="*/ 8262730 w 13797425"/>
                <a:gd name="connsiteY5365" fmla="*/ 16413479 h 17966907"/>
                <a:gd name="connsiteX5366" fmla="*/ 8257965 w 13797425"/>
                <a:gd name="connsiteY5366" fmla="*/ 16423007 h 17966907"/>
                <a:gd name="connsiteX5367" fmla="*/ 8243670 w 13797425"/>
                <a:gd name="connsiteY5367" fmla="*/ 16446835 h 17966907"/>
                <a:gd name="connsiteX5368" fmla="*/ 8238904 w 13797425"/>
                <a:gd name="connsiteY5368" fmla="*/ 16446835 h 17966907"/>
                <a:gd name="connsiteX5369" fmla="*/ 8229374 w 13797425"/>
                <a:gd name="connsiteY5369" fmla="*/ 16446835 h 17966907"/>
                <a:gd name="connsiteX5370" fmla="*/ 8224609 w 13797425"/>
                <a:gd name="connsiteY5370" fmla="*/ 16451599 h 17966907"/>
                <a:gd name="connsiteX5371" fmla="*/ 8215079 w 13797425"/>
                <a:gd name="connsiteY5371" fmla="*/ 16456363 h 17966907"/>
                <a:gd name="connsiteX5372" fmla="*/ 8215079 w 13797425"/>
                <a:gd name="connsiteY5372" fmla="*/ 16451599 h 17966907"/>
                <a:gd name="connsiteX5373" fmla="*/ 8210314 w 13797425"/>
                <a:gd name="connsiteY5373" fmla="*/ 16451599 h 17966907"/>
                <a:gd name="connsiteX5374" fmla="*/ 8205548 w 13797425"/>
                <a:gd name="connsiteY5374" fmla="*/ 16461127 h 17966907"/>
                <a:gd name="connsiteX5375" fmla="*/ 8205548 w 13797425"/>
                <a:gd name="connsiteY5375" fmla="*/ 16465895 h 17966907"/>
                <a:gd name="connsiteX5376" fmla="*/ 8205548 w 13797425"/>
                <a:gd name="connsiteY5376" fmla="*/ 16470659 h 17966907"/>
                <a:gd name="connsiteX5377" fmla="*/ 8200784 w 13797425"/>
                <a:gd name="connsiteY5377" fmla="*/ 16475423 h 17966907"/>
                <a:gd name="connsiteX5378" fmla="*/ 8196018 w 13797425"/>
                <a:gd name="connsiteY5378" fmla="*/ 16480191 h 17966907"/>
                <a:gd name="connsiteX5379" fmla="*/ 8191253 w 13797425"/>
                <a:gd name="connsiteY5379" fmla="*/ 16480191 h 17966907"/>
                <a:gd name="connsiteX5380" fmla="*/ 8191253 w 13797425"/>
                <a:gd name="connsiteY5380" fmla="*/ 16475423 h 17966907"/>
                <a:gd name="connsiteX5381" fmla="*/ 8186488 w 13797425"/>
                <a:gd name="connsiteY5381" fmla="*/ 16470659 h 17966907"/>
                <a:gd name="connsiteX5382" fmla="*/ 8191253 w 13797425"/>
                <a:gd name="connsiteY5382" fmla="*/ 16461127 h 17966907"/>
                <a:gd name="connsiteX5383" fmla="*/ 8219844 w 13797425"/>
                <a:gd name="connsiteY5383" fmla="*/ 16432539 h 17966907"/>
                <a:gd name="connsiteX5384" fmla="*/ 8229374 w 13797425"/>
                <a:gd name="connsiteY5384" fmla="*/ 16418243 h 17966907"/>
                <a:gd name="connsiteX5385" fmla="*/ 8229374 w 13797425"/>
                <a:gd name="connsiteY5385" fmla="*/ 16413479 h 17966907"/>
                <a:gd name="connsiteX5386" fmla="*/ 8229374 w 13797425"/>
                <a:gd name="connsiteY5386" fmla="*/ 16403947 h 17966907"/>
                <a:gd name="connsiteX5387" fmla="*/ 8224609 w 13797425"/>
                <a:gd name="connsiteY5387" fmla="*/ 16394415 h 17966907"/>
                <a:gd name="connsiteX5388" fmla="*/ 8219844 w 13797425"/>
                <a:gd name="connsiteY5388" fmla="*/ 16384887 h 17966907"/>
                <a:gd name="connsiteX5389" fmla="*/ 8210314 w 13797425"/>
                <a:gd name="connsiteY5389" fmla="*/ 16384887 h 17966907"/>
                <a:gd name="connsiteX5390" fmla="*/ 8200784 w 13797425"/>
                <a:gd name="connsiteY5390" fmla="*/ 16389651 h 17966907"/>
                <a:gd name="connsiteX5391" fmla="*/ 8196018 w 13797425"/>
                <a:gd name="connsiteY5391" fmla="*/ 16399183 h 17966907"/>
                <a:gd name="connsiteX5392" fmla="*/ 8196018 w 13797425"/>
                <a:gd name="connsiteY5392" fmla="*/ 16408711 h 17966907"/>
                <a:gd name="connsiteX5393" fmla="*/ 8191253 w 13797425"/>
                <a:gd name="connsiteY5393" fmla="*/ 16423007 h 17966907"/>
                <a:gd name="connsiteX5394" fmla="*/ 8196018 w 13797425"/>
                <a:gd name="connsiteY5394" fmla="*/ 16432539 h 17966907"/>
                <a:gd name="connsiteX5395" fmla="*/ 8191253 w 13797425"/>
                <a:gd name="connsiteY5395" fmla="*/ 16437303 h 17966907"/>
                <a:gd name="connsiteX5396" fmla="*/ 8186488 w 13797425"/>
                <a:gd name="connsiteY5396" fmla="*/ 16437303 h 17966907"/>
                <a:gd name="connsiteX5397" fmla="*/ 8181723 w 13797425"/>
                <a:gd name="connsiteY5397" fmla="*/ 16446835 h 17966907"/>
                <a:gd name="connsiteX5398" fmla="*/ 8181723 w 13797425"/>
                <a:gd name="connsiteY5398" fmla="*/ 16456363 h 17966907"/>
                <a:gd name="connsiteX5399" fmla="*/ 8176958 w 13797425"/>
                <a:gd name="connsiteY5399" fmla="*/ 16465895 h 17966907"/>
                <a:gd name="connsiteX5400" fmla="*/ 8172192 w 13797425"/>
                <a:gd name="connsiteY5400" fmla="*/ 16465895 h 17966907"/>
                <a:gd name="connsiteX5401" fmla="*/ 8167428 w 13797425"/>
                <a:gd name="connsiteY5401" fmla="*/ 16475423 h 17966907"/>
                <a:gd name="connsiteX5402" fmla="*/ 8167428 w 13797425"/>
                <a:gd name="connsiteY5402" fmla="*/ 16494483 h 17966907"/>
                <a:gd name="connsiteX5403" fmla="*/ 8157897 w 13797425"/>
                <a:gd name="connsiteY5403" fmla="*/ 16499251 h 17966907"/>
                <a:gd name="connsiteX5404" fmla="*/ 8138836 w 13797425"/>
                <a:gd name="connsiteY5404" fmla="*/ 16508779 h 17966907"/>
                <a:gd name="connsiteX5405" fmla="*/ 8134072 w 13797425"/>
                <a:gd name="connsiteY5405" fmla="*/ 16508779 h 17966907"/>
                <a:gd name="connsiteX5406" fmla="*/ 8134072 w 13797425"/>
                <a:gd name="connsiteY5406" fmla="*/ 16499251 h 17966907"/>
                <a:gd name="connsiteX5407" fmla="*/ 8138836 w 13797425"/>
                <a:gd name="connsiteY5407" fmla="*/ 16494483 h 17966907"/>
                <a:gd name="connsiteX5408" fmla="*/ 8143602 w 13797425"/>
                <a:gd name="connsiteY5408" fmla="*/ 16494483 h 17966907"/>
                <a:gd name="connsiteX5409" fmla="*/ 8153132 w 13797425"/>
                <a:gd name="connsiteY5409" fmla="*/ 16465895 h 17966907"/>
                <a:gd name="connsiteX5410" fmla="*/ 8157897 w 13797425"/>
                <a:gd name="connsiteY5410" fmla="*/ 16451599 h 17966907"/>
                <a:gd name="connsiteX5411" fmla="*/ 8157897 w 13797425"/>
                <a:gd name="connsiteY5411" fmla="*/ 16446835 h 17966907"/>
                <a:gd name="connsiteX5412" fmla="*/ 8110246 w 13797425"/>
                <a:gd name="connsiteY5412" fmla="*/ 16470659 h 17966907"/>
                <a:gd name="connsiteX5413" fmla="*/ 8091186 w 13797425"/>
                <a:gd name="connsiteY5413" fmla="*/ 16480191 h 17966907"/>
                <a:gd name="connsiteX5414" fmla="*/ 8086420 w 13797425"/>
                <a:gd name="connsiteY5414" fmla="*/ 16489719 h 17966907"/>
                <a:gd name="connsiteX5415" fmla="*/ 8086420 w 13797425"/>
                <a:gd name="connsiteY5415" fmla="*/ 16494483 h 17966907"/>
                <a:gd name="connsiteX5416" fmla="*/ 8091186 w 13797425"/>
                <a:gd name="connsiteY5416" fmla="*/ 16504015 h 17966907"/>
                <a:gd name="connsiteX5417" fmla="*/ 8091186 w 13797425"/>
                <a:gd name="connsiteY5417" fmla="*/ 16513547 h 17966907"/>
                <a:gd name="connsiteX5418" fmla="*/ 8081655 w 13797425"/>
                <a:gd name="connsiteY5418" fmla="*/ 16518311 h 17966907"/>
                <a:gd name="connsiteX5419" fmla="*/ 8076890 w 13797425"/>
                <a:gd name="connsiteY5419" fmla="*/ 16537371 h 17966907"/>
                <a:gd name="connsiteX5420" fmla="*/ 8072125 w 13797425"/>
                <a:gd name="connsiteY5420" fmla="*/ 16546903 h 17966907"/>
                <a:gd name="connsiteX5421" fmla="*/ 8067360 w 13797425"/>
                <a:gd name="connsiteY5421" fmla="*/ 16556431 h 17966907"/>
                <a:gd name="connsiteX5422" fmla="*/ 8053064 w 13797425"/>
                <a:gd name="connsiteY5422" fmla="*/ 16561195 h 17966907"/>
                <a:gd name="connsiteX5423" fmla="*/ 8053064 w 13797425"/>
                <a:gd name="connsiteY5423" fmla="*/ 16565963 h 17966907"/>
                <a:gd name="connsiteX5424" fmla="*/ 8038769 w 13797425"/>
                <a:gd name="connsiteY5424" fmla="*/ 16585023 h 17966907"/>
                <a:gd name="connsiteX5425" fmla="*/ 8034004 w 13797425"/>
                <a:gd name="connsiteY5425" fmla="*/ 16585023 h 17966907"/>
                <a:gd name="connsiteX5426" fmla="*/ 8000648 w 13797425"/>
                <a:gd name="connsiteY5426" fmla="*/ 16580255 h 17966907"/>
                <a:gd name="connsiteX5427" fmla="*/ 7981588 w 13797425"/>
                <a:gd name="connsiteY5427" fmla="*/ 16585023 h 17966907"/>
                <a:gd name="connsiteX5428" fmla="*/ 7967292 w 13797425"/>
                <a:gd name="connsiteY5428" fmla="*/ 16580255 h 17966907"/>
                <a:gd name="connsiteX5429" fmla="*/ 7962527 w 13797425"/>
                <a:gd name="connsiteY5429" fmla="*/ 16565963 h 17966907"/>
                <a:gd name="connsiteX5430" fmla="*/ 7952997 w 13797425"/>
                <a:gd name="connsiteY5430" fmla="*/ 16556431 h 17966907"/>
                <a:gd name="connsiteX5431" fmla="*/ 7914876 w 13797425"/>
                <a:gd name="connsiteY5431" fmla="*/ 16561195 h 17966907"/>
                <a:gd name="connsiteX5432" fmla="*/ 7871990 w 13797425"/>
                <a:gd name="connsiteY5432" fmla="*/ 16561195 h 17966907"/>
                <a:gd name="connsiteX5433" fmla="*/ 7848164 w 13797425"/>
                <a:gd name="connsiteY5433" fmla="*/ 16561195 h 17966907"/>
                <a:gd name="connsiteX5434" fmla="*/ 7843399 w 13797425"/>
                <a:gd name="connsiteY5434" fmla="*/ 16556431 h 17966907"/>
                <a:gd name="connsiteX5435" fmla="*/ 7833868 w 13797425"/>
                <a:gd name="connsiteY5435" fmla="*/ 16537371 h 17966907"/>
                <a:gd name="connsiteX5436" fmla="*/ 7824338 w 13797425"/>
                <a:gd name="connsiteY5436" fmla="*/ 16537371 h 17966907"/>
                <a:gd name="connsiteX5437" fmla="*/ 7805278 w 13797425"/>
                <a:gd name="connsiteY5437" fmla="*/ 16542135 h 17966907"/>
                <a:gd name="connsiteX5438" fmla="*/ 7776687 w 13797425"/>
                <a:gd name="connsiteY5438" fmla="*/ 16561195 h 17966907"/>
                <a:gd name="connsiteX5439" fmla="*/ 7748096 w 13797425"/>
                <a:gd name="connsiteY5439" fmla="*/ 16570727 h 17966907"/>
                <a:gd name="connsiteX5440" fmla="*/ 7729036 w 13797425"/>
                <a:gd name="connsiteY5440" fmla="*/ 16570727 h 17966907"/>
                <a:gd name="connsiteX5441" fmla="*/ 7709976 w 13797425"/>
                <a:gd name="connsiteY5441" fmla="*/ 16561195 h 17966907"/>
                <a:gd name="connsiteX5442" fmla="*/ 7676620 w 13797425"/>
                <a:gd name="connsiteY5442" fmla="*/ 16537371 h 17966907"/>
                <a:gd name="connsiteX5443" fmla="*/ 7652794 w 13797425"/>
                <a:gd name="connsiteY5443" fmla="*/ 16513547 h 17966907"/>
                <a:gd name="connsiteX5444" fmla="*/ 7628968 w 13797425"/>
                <a:gd name="connsiteY5444" fmla="*/ 16504015 h 17966907"/>
                <a:gd name="connsiteX5445" fmla="*/ 7609908 w 13797425"/>
                <a:gd name="connsiteY5445" fmla="*/ 16508779 h 17966907"/>
                <a:gd name="connsiteX5446" fmla="*/ 7600378 w 13797425"/>
                <a:gd name="connsiteY5446" fmla="*/ 16518311 h 17966907"/>
                <a:gd name="connsiteX5447" fmla="*/ 7590847 w 13797425"/>
                <a:gd name="connsiteY5447" fmla="*/ 16518311 h 17966907"/>
                <a:gd name="connsiteX5448" fmla="*/ 7581317 w 13797425"/>
                <a:gd name="connsiteY5448" fmla="*/ 16499251 h 17966907"/>
                <a:gd name="connsiteX5449" fmla="*/ 7576552 w 13797425"/>
                <a:gd name="connsiteY5449" fmla="*/ 16484955 h 17966907"/>
                <a:gd name="connsiteX5450" fmla="*/ 7562256 w 13797425"/>
                <a:gd name="connsiteY5450" fmla="*/ 16475423 h 17966907"/>
                <a:gd name="connsiteX5451" fmla="*/ 7538430 w 13797425"/>
                <a:gd name="connsiteY5451" fmla="*/ 16461127 h 17966907"/>
                <a:gd name="connsiteX5452" fmla="*/ 7524136 w 13797425"/>
                <a:gd name="connsiteY5452" fmla="*/ 16451599 h 17966907"/>
                <a:gd name="connsiteX5453" fmla="*/ 7500310 w 13797425"/>
                <a:gd name="connsiteY5453" fmla="*/ 16442067 h 17966907"/>
                <a:gd name="connsiteX5454" fmla="*/ 7490780 w 13797425"/>
                <a:gd name="connsiteY5454" fmla="*/ 16437303 h 17966907"/>
                <a:gd name="connsiteX5455" fmla="*/ 7476484 w 13797425"/>
                <a:gd name="connsiteY5455" fmla="*/ 16437303 h 17966907"/>
                <a:gd name="connsiteX5456" fmla="*/ 7457424 w 13797425"/>
                <a:gd name="connsiteY5456" fmla="*/ 16437303 h 17966907"/>
                <a:gd name="connsiteX5457" fmla="*/ 7438363 w 13797425"/>
                <a:gd name="connsiteY5457" fmla="*/ 16442067 h 17966907"/>
                <a:gd name="connsiteX5458" fmla="*/ 7424068 w 13797425"/>
                <a:gd name="connsiteY5458" fmla="*/ 16451599 h 17966907"/>
                <a:gd name="connsiteX5459" fmla="*/ 7409772 w 13797425"/>
                <a:gd name="connsiteY5459" fmla="*/ 16461127 h 17966907"/>
                <a:gd name="connsiteX5460" fmla="*/ 7385946 w 13797425"/>
                <a:gd name="connsiteY5460" fmla="*/ 16461127 h 17966907"/>
                <a:gd name="connsiteX5461" fmla="*/ 7371651 w 13797425"/>
                <a:gd name="connsiteY5461" fmla="*/ 16456363 h 17966907"/>
                <a:gd name="connsiteX5462" fmla="*/ 7366886 w 13797425"/>
                <a:gd name="connsiteY5462" fmla="*/ 16442067 h 17966907"/>
                <a:gd name="connsiteX5463" fmla="*/ 7333530 w 13797425"/>
                <a:gd name="connsiteY5463" fmla="*/ 16432539 h 17966907"/>
                <a:gd name="connsiteX5464" fmla="*/ 7276348 w 13797425"/>
                <a:gd name="connsiteY5464" fmla="*/ 16418243 h 17966907"/>
                <a:gd name="connsiteX5465" fmla="*/ 7247758 w 13797425"/>
                <a:gd name="connsiteY5465" fmla="*/ 16408711 h 17966907"/>
                <a:gd name="connsiteX5466" fmla="*/ 7238228 w 13797425"/>
                <a:gd name="connsiteY5466" fmla="*/ 16403947 h 17966907"/>
                <a:gd name="connsiteX5467" fmla="*/ 7233462 w 13797425"/>
                <a:gd name="connsiteY5467" fmla="*/ 16394415 h 17966907"/>
                <a:gd name="connsiteX5468" fmla="*/ 7233462 w 13797425"/>
                <a:gd name="connsiteY5468" fmla="*/ 16380123 h 17966907"/>
                <a:gd name="connsiteX5469" fmla="*/ 7219167 w 13797425"/>
                <a:gd name="connsiteY5469" fmla="*/ 16351531 h 17966907"/>
                <a:gd name="connsiteX5470" fmla="*/ 7209637 w 13797425"/>
                <a:gd name="connsiteY5470" fmla="*/ 16322939 h 17966907"/>
                <a:gd name="connsiteX5471" fmla="*/ 7209637 w 13797425"/>
                <a:gd name="connsiteY5471" fmla="*/ 16289583 h 17966907"/>
                <a:gd name="connsiteX5472" fmla="*/ 7209637 w 13797425"/>
                <a:gd name="connsiteY5472" fmla="*/ 16275287 h 17966907"/>
                <a:gd name="connsiteX5473" fmla="*/ 7204872 w 13797425"/>
                <a:gd name="connsiteY5473" fmla="*/ 16275287 h 17966907"/>
                <a:gd name="connsiteX5474" fmla="*/ 7195342 w 13797425"/>
                <a:gd name="connsiteY5474" fmla="*/ 16265759 h 17966907"/>
                <a:gd name="connsiteX5475" fmla="*/ 7161986 w 13797425"/>
                <a:gd name="connsiteY5475" fmla="*/ 16260995 h 17966907"/>
                <a:gd name="connsiteX5476" fmla="*/ 7161986 w 13797425"/>
                <a:gd name="connsiteY5476" fmla="*/ 16299115 h 17966907"/>
                <a:gd name="connsiteX5477" fmla="*/ 7161986 w 13797425"/>
                <a:gd name="connsiteY5477" fmla="*/ 16351531 h 17966907"/>
                <a:gd name="connsiteX5478" fmla="*/ 2844780 w 13797425"/>
                <a:gd name="connsiteY5478" fmla="*/ 16351531 h 17966907"/>
                <a:gd name="connsiteX5479" fmla="*/ 2840015 w 13797425"/>
                <a:gd name="connsiteY5479" fmla="*/ 16341999 h 17966907"/>
                <a:gd name="connsiteX5480" fmla="*/ 2825720 w 13797425"/>
                <a:gd name="connsiteY5480" fmla="*/ 16332471 h 17966907"/>
                <a:gd name="connsiteX5481" fmla="*/ 2816189 w 13797425"/>
                <a:gd name="connsiteY5481" fmla="*/ 16332471 h 17966907"/>
                <a:gd name="connsiteX5482" fmla="*/ 2811424 w 13797425"/>
                <a:gd name="connsiteY5482" fmla="*/ 16337235 h 17966907"/>
                <a:gd name="connsiteX5483" fmla="*/ 2806659 w 13797425"/>
                <a:gd name="connsiteY5483" fmla="*/ 16341999 h 17966907"/>
                <a:gd name="connsiteX5484" fmla="*/ 2806659 w 13797425"/>
                <a:gd name="connsiteY5484" fmla="*/ 16351531 h 17966907"/>
                <a:gd name="connsiteX5485" fmla="*/ 2801894 w 13797425"/>
                <a:gd name="connsiteY5485" fmla="*/ 16356295 h 17966907"/>
                <a:gd name="connsiteX5486" fmla="*/ 2797129 w 13797425"/>
                <a:gd name="connsiteY5486" fmla="*/ 16351531 h 17966907"/>
                <a:gd name="connsiteX5487" fmla="*/ 2792364 w 13797425"/>
                <a:gd name="connsiteY5487" fmla="*/ 16337235 h 17966907"/>
                <a:gd name="connsiteX5488" fmla="*/ 2797129 w 13797425"/>
                <a:gd name="connsiteY5488" fmla="*/ 16327707 h 17966907"/>
                <a:gd name="connsiteX5489" fmla="*/ 2801894 w 13797425"/>
                <a:gd name="connsiteY5489" fmla="*/ 16322939 h 17966907"/>
                <a:gd name="connsiteX5490" fmla="*/ 2801894 w 13797425"/>
                <a:gd name="connsiteY5490" fmla="*/ 16318175 h 17966907"/>
                <a:gd name="connsiteX5491" fmla="*/ 2787598 w 13797425"/>
                <a:gd name="connsiteY5491" fmla="*/ 16322939 h 17966907"/>
                <a:gd name="connsiteX5492" fmla="*/ 2782834 w 13797425"/>
                <a:gd name="connsiteY5492" fmla="*/ 16318175 h 17966907"/>
                <a:gd name="connsiteX5493" fmla="*/ 2782834 w 13797425"/>
                <a:gd name="connsiteY5493" fmla="*/ 16313411 h 17966907"/>
                <a:gd name="connsiteX5494" fmla="*/ 2782834 w 13797425"/>
                <a:gd name="connsiteY5494" fmla="*/ 16299115 h 17966907"/>
                <a:gd name="connsiteX5495" fmla="*/ 2778068 w 13797425"/>
                <a:gd name="connsiteY5495" fmla="*/ 16284819 h 17966907"/>
                <a:gd name="connsiteX5496" fmla="*/ 2782834 w 13797425"/>
                <a:gd name="connsiteY5496" fmla="*/ 16284819 h 17966907"/>
                <a:gd name="connsiteX5497" fmla="*/ 2801894 w 13797425"/>
                <a:gd name="connsiteY5497" fmla="*/ 16280055 h 17966907"/>
                <a:gd name="connsiteX5498" fmla="*/ 2820954 w 13797425"/>
                <a:gd name="connsiteY5498" fmla="*/ 16280055 h 17966907"/>
                <a:gd name="connsiteX5499" fmla="*/ 2825720 w 13797425"/>
                <a:gd name="connsiteY5499" fmla="*/ 16270523 h 17966907"/>
                <a:gd name="connsiteX5500" fmla="*/ 2830485 w 13797425"/>
                <a:gd name="connsiteY5500" fmla="*/ 16256227 h 17966907"/>
                <a:gd name="connsiteX5501" fmla="*/ 2816189 w 13797425"/>
                <a:gd name="connsiteY5501" fmla="*/ 16270523 h 17966907"/>
                <a:gd name="connsiteX5502" fmla="*/ 2811424 w 13797425"/>
                <a:gd name="connsiteY5502" fmla="*/ 16270523 h 17966907"/>
                <a:gd name="connsiteX5503" fmla="*/ 2787598 w 13797425"/>
                <a:gd name="connsiteY5503" fmla="*/ 16265759 h 17966907"/>
                <a:gd name="connsiteX5504" fmla="*/ 2768538 w 13797425"/>
                <a:gd name="connsiteY5504" fmla="*/ 16265759 h 17966907"/>
                <a:gd name="connsiteX5505" fmla="*/ 2768538 w 13797425"/>
                <a:gd name="connsiteY5505" fmla="*/ 16260995 h 17966907"/>
                <a:gd name="connsiteX5506" fmla="*/ 2773303 w 13797425"/>
                <a:gd name="connsiteY5506" fmla="*/ 16256227 h 17966907"/>
                <a:gd name="connsiteX5507" fmla="*/ 2773303 w 13797425"/>
                <a:gd name="connsiteY5507" fmla="*/ 16241931 h 17966907"/>
                <a:gd name="connsiteX5508" fmla="*/ 2778068 w 13797425"/>
                <a:gd name="connsiteY5508" fmla="*/ 16208579 h 17966907"/>
                <a:gd name="connsiteX5509" fmla="*/ 2782834 w 13797425"/>
                <a:gd name="connsiteY5509" fmla="*/ 16194283 h 17966907"/>
                <a:gd name="connsiteX5510" fmla="*/ 2782834 w 13797425"/>
                <a:gd name="connsiteY5510" fmla="*/ 16189515 h 17966907"/>
                <a:gd name="connsiteX5511" fmla="*/ 2782834 w 13797425"/>
                <a:gd name="connsiteY5511" fmla="*/ 16184751 h 17966907"/>
                <a:gd name="connsiteX5512" fmla="*/ 2763773 w 13797425"/>
                <a:gd name="connsiteY5512" fmla="*/ 16213343 h 17966907"/>
                <a:gd name="connsiteX5513" fmla="*/ 2759008 w 13797425"/>
                <a:gd name="connsiteY5513" fmla="*/ 16218107 h 17966907"/>
                <a:gd name="connsiteX5514" fmla="*/ 2763773 w 13797425"/>
                <a:gd name="connsiteY5514" fmla="*/ 16227639 h 17966907"/>
                <a:gd name="connsiteX5515" fmla="*/ 2759008 w 13797425"/>
                <a:gd name="connsiteY5515" fmla="*/ 16241931 h 17966907"/>
                <a:gd name="connsiteX5516" fmla="*/ 2749478 w 13797425"/>
                <a:gd name="connsiteY5516" fmla="*/ 16241931 h 17966907"/>
                <a:gd name="connsiteX5517" fmla="*/ 2744712 w 13797425"/>
                <a:gd name="connsiteY5517" fmla="*/ 16241931 h 17966907"/>
                <a:gd name="connsiteX5518" fmla="*/ 2735182 w 13797425"/>
                <a:gd name="connsiteY5518" fmla="*/ 16251463 h 17966907"/>
                <a:gd name="connsiteX5519" fmla="*/ 2730417 w 13797425"/>
                <a:gd name="connsiteY5519" fmla="*/ 16256227 h 17966907"/>
                <a:gd name="connsiteX5520" fmla="*/ 2678001 w 13797425"/>
                <a:gd name="connsiteY5520" fmla="*/ 16232403 h 17966907"/>
                <a:gd name="connsiteX5521" fmla="*/ 2673236 w 13797425"/>
                <a:gd name="connsiteY5521" fmla="*/ 16232403 h 17966907"/>
                <a:gd name="connsiteX5522" fmla="*/ 2663705 w 13797425"/>
                <a:gd name="connsiteY5522" fmla="*/ 16222871 h 17966907"/>
                <a:gd name="connsiteX5523" fmla="*/ 2654175 w 13797425"/>
                <a:gd name="connsiteY5523" fmla="*/ 16203811 h 17966907"/>
                <a:gd name="connsiteX5524" fmla="*/ 2649410 w 13797425"/>
                <a:gd name="connsiteY5524" fmla="*/ 16189515 h 17966907"/>
                <a:gd name="connsiteX5525" fmla="*/ 2654175 w 13797425"/>
                <a:gd name="connsiteY5525" fmla="*/ 16179987 h 17966907"/>
                <a:gd name="connsiteX5526" fmla="*/ 2658940 w 13797425"/>
                <a:gd name="connsiteY5526" fmla="*/ 16175223 h 17966907"/>
                <a:gd name="connsiteX5527" fmla="*/ 2663705 w 13797425"/>
                <a:gd name="connsiteY5527" fmla="*/ 16175223 h 17966907"/>
                <a:gd name="connsiteX5528" fmla="*/ 2668470 w 13797425"/>
                <a:gd name="connsiteY5528" fmla="*/ 16179987 h 17966907"/>
                <a:gd name="connsiteX5529" fmla="*/ 2678001 w 13797425"/>
                <a:gd name="connsiteY5529" fmla="*/ 16199047 h 17966907"/>
                <a:gd name="connsiteX5530" fmla="*/ 2687531 w 13797425"/>
                <a:gd name="connsiteY5530" fmla="*/ 16208579 h 17966907"/>
                <a:gd name="connsiteX5531" fmla="*/ 2697061 w 13797425"/>
                <a:gd name="connsiteY5531" fmla="*/ 16208579 h 17966907"/>
                <a:gd name="connsiteX5532" fmla="*/ 2716122 w 13797425"/>
                <a:gd name="connsiteY5532" fmla="*/ 16189515 h 17966907"/>
                <a:gd name="connsiteX5533" fmla="*/ 2720887 w 13797425"/>
                <a:gd name="connsiteY5533" fmla="*/ 16184751 h 17966907"/>
                <a:gd name="connsiteX5534" fmla="*/ 2701826 w 13797425"/>
                <a:gd name="connsiteY5534" fmla="*/ 16189515 h 17966907"/>
                <a:gd name="connsiteX5535" fmla="*/ 2692296 w 13797425"/>
                <a:gd name="connsiteY5535" fmla="*/ 16189515 h 17966907"/>
                <a:gd name="connsiteX5536" fmla="*/ 2687531 w 13797425"/>
                <a:gd name="connsiteY5536" fmla="*/ 16184751 h 17966907"/>
                <a:gd name="connsiteX5537" fmla="*/ 2678001 w 13797425"/>
                <a:gd name="connsiteY5537" fmla="*/ 16175223 h 17966907"/>
                <a:gd name="connsiteX5538" fmla="*/ 2673236 w 13797425"/>
                <a:gd name="connsiteY5538" fmla="*/ 16160927 h 17966907"/>
                <a:gd name="connsiteX5539" fmla="*/ 2673236 w 13797425"/>
                <a:gd name="connsiteY5539" fmla="*/ 16113275 h 17966907"/>
                <a:gd name="connsiteX5540" fmla="*/ 2673236 w 13797425"/>
                <a:gd name="connsiteY5540" fmla="*/ 16103743 h 17966907"/>
                <a:gd name="connsiteX5541" fmla="*/ 2682766 w 13797425"/>
                <a:gd name="connsiteY5541" fmla="*/ 16098979 h 17966907"/>
                <a:gd name="connsiteX5542" fmla="*/ 2692296 w 13797425"/>
                <a:gd name="connsiteY5542" fmla="*/ 16089447 h 17966907"/>
                <a:gd name="connsiteX5543" fmla="*/ 2692296 w 13797425"/>
                <a:gd name="connsiteY5543" fmla="*/ 16084683 h 17966907"/>
                <a:gd name="connsiteX5544" fmla="*/ 2682766 w 13797425"/>
                <a:gd name="connsiteY5544" fmla="*/ 16075155 h 17966907"/>
                <a:gd name="connsiteX5545" fmla="*/ 2673236 w 13797425"/>
                <a:gd name="connsiteY5545" fmla="*/ 16065623 h 17966907"/>
                <a:gd name="connsiteX5546" fmla="*/ 2668470 w 13797425"/>
                <a:gd name="connsiteY5546" fmla="*/ 16065623 h 17966907"/>
                <a:gd name="connsiteX5547" fmla="*/ 2663705 w 13797425"/>
                <a:gd name="connsiteY5547" fmla="*/ 16065623 h 17966907"/>
                <a:gd name="connsiteX5548" fmla="*/ 2678001 w 13797425"/>
                <a:gd name="connsiteY5548" fmla="*/ 16084683 h 17966907"/>
                <a:gd name="connsiteX5549" fmla="*/ 2678001 w 13797425"/>
                <a:gd name="connsiteY5549" fmla="*/ 16089447 h 17966907"/>
                <a:gd name="connsiteX5550" fmla="*/ 2663705 w 13797425"/>
                <a:gd name="connsiteY5550" fmla="*/ 16108511 h 17966907"/>
                <a:gd name="connsiteX5551" fmla="*/ 2658940 w 13797425"/>
                <a:gd name="connsiteY5551" fmla="*/ 16118039 h 17966907"/>
                <a:gd name="connsiteX5552" fmla="*/ 2658940 w 13797425"/>
                <a:gd name="connsiteY5552" fmla="*/ 16137099 h 17966907"/>
                <a:gd name="connsiteX5553" fmla="*/ 2649410 w 13797425"/>
                <a:gd name="connsiteY5553" fmla="*/ 16146631 h 17966907"/>
                <a:gd name="connsiteX5554" fmla="*/ 2635114 w 13797425"/>
                <a:gd name="connsiteY5554" fmla="*/ 16160927 h 17966907"/>
                <a:gd name="connsiteX5555" fmla="*/ 2611289 w 13797425"/>
                <a:gd name="connsiteY5555" fmla="*/ 16165691 h 17966907"/>
                <a:gd name="connsiteX5556" fmla="*/ 2592228 w 13797425"/>
                <a:gd name="connsiteY5556" fmla="*/ 16160927 h 17966907"/>
                <a:gd name="connsiteX5557" fmla="*/ 2582698 w 13797425"/>
                <a:gd name="connsiteY5557" fmla="*/ 16156159 h 17966907"/>
                <a:gd name="connsiteX5558" fmla="*/ 2544577 w 13797425"/>
                <a:gd name="connsiteY5558" fmla="*/ 16118039 h 17966907"/>
                <a:gd name="connsiteX5559" fmla="*/ 2535047 w 13797425"/>
                <a:gd name="connsiteY5559" fmla="*/ 16103743 h 17966907"/>
                <a:gd name="connsiteX5560" fmla="*/ 2535047 w 13797425"/>
                <a:gd name="connsiteY5560" fmla="*/ 16089447 h 17966907"/>
                <a:gd name="connsiteX5561" fmla="*/ 2511221 w 13797425"/>
                <a:gd name="connsiteY5561" fmla="*/ 16046563 h 17966907"/>
                <a:gd name="connsiteX5562" fmla="*/ 2511221 w 13797425"/>
                <a:gd name="connsiteY5562" fmla="*/ 16037031 h 17966907"/>
                <a:gd name="connsiteX5563" fmla="*/ 2501691 w 13797425"/>
                <a:gd name="connsiteY5563" fmla="*/ 16022739 h 17966907"/>
                <a:gd name="connsiteX5564" fmla="*/ 2492161 w 13797425"/>
                <a:gd name="connsiteY5564" fmla="*/ 16022739 h 17966907"/>
                <a:gd name="connsiteX5565" fmla="*/ 2492161 w 13797425"/>
                <a:gd name="connsiteY5565" fmla="*/ 16008443 h 17966907"/>
                <a:gd name="connsiteX5566" fmla="*/ 2511221 w 13797425"/>
                <a:gd name="connsiteY5566" fmla="*/ 15979851 h 17966907"/>
                <a:gd name="connsiteX5567" fmla="*/ 2520752 w 13797425"/>
                <a:gd name="connsiteY5567" fmla="*/ 15951259 h 17966907"/>
                <a:gd name="connsiteX5568" fmla="*/ 2520752 w 13797425"/>
                <a:gd name="connsiteY5568" fmla="*/ 15946495 h 17966907"/>
                <a:gd name="connsiteX5569" fmla="*/ 2520752 w 13797425"/>
                <a:gd name="connsiteY5569" fmla="*/ 15932199 h 17966907"/>
                <a:gd name="connsiteX5570" fmla="*/ 2520752 w 13797425"/>
                <a:gd name="connsiteY5570" fmla="*/ 15908375 h 17966907"/>
                <a:gd name="connsiteX5571" fmla="*/ 2520752 w 13797425"/>
                <a:gd name="connsiteY5571" fmla="*/ 15894079 h 17966907"/>
                <a:gd name="connsiteX5572" fmla="*/ 2511221 w 13797425"/>
                <a:gd name="connsiteY5572" fmla="*/ 15908375 h 17966907"/>
                <a:gd name="connsiteX5573" fmla="*/ 2506456 w 13797425"/>
                <a:gd name="connsiteY5573" fmla="*/ 15922671 h 17966907"/>
                <a:gd name="connsiteX5574" fmla="*/ 2511221 w 13797425"/>
                <a:gd name="connsiteY5574" fmla="*/ 15932199 h 17966907"/>
                <a:gd name="connsiteX5575" fmla="*/ 2511221 w 13797425"/>
                <a:gd name="connsiteY5575" fmla="*/ 15946495 h 17966907"/>
                <a:gd name="connsiteX5576" fmla="*/ 2501691 w 13797425"/>
                <a:gd name="connsiteY5576" fmla="*/ 15965555 h 17966907"/>
                <a:gd name="connsiteX5577" fmla="*/ 2492161 w 13797425"/>
                <a:gd name="connsiteY5577" fmla="*/ 15984615 h 17966907"/>
                <a:gd name="connsiteX5578" fmla="*/ 2468335 w 13797425"/>
                <a:gd name="connsiteY5578" fmla="*/ 15994147 h 17966907"/>
                <a:gd name="connsiteX5579" fmla="*/ 2425449 w 13797425"/>
                <a:gd name="connsiteY5579" fmla="*/ 15989383 h 17966907"/>
                <a:gd name="connsiteX5580" fmla="*/ 2420684 w 13797425"/>
                <a:gd name="connsiteY5580" fmla="*/ 15984615 h 17966907"/>
                <a:gd name="connsiteX5581" fmla="*/ 2420684 w 13797425"/>
                <a:gd name="connsiteY5581" fmla="*/ 15979851 h 17966907"/>
                <a:gd name="connsiteX5582" fmla="*/ 2415919 w 13797425"/>
                <a:gd name="connsiteY5582" fmla="*/ 15951259 h 17966907"/>
                <a:gd name="connsiteX5583" fmla="*/ 2406388 w 13797425"/>
                <a:gd name="connsiteY5583" fmla="*/ 15970319 h 17966907"/>
                <a:gd name="connsiteX5584" fmla="*/ 2406388 w 13797425"/>
                <a:gd name="connsiteY5584" fmla="*/ 15989383 h 17966907"/>
                <a:gd name="connsiteX5585" fmla="*/ 2401623 w 13797425"/>
                <a:gd name="connsiteY5585" fmla="*/ 15994147 h 17966907"/>
                <a:gd name="connsiteX5586" fmla="*/ 2392093 w 13797425"/>
                <a:gd name="connsiteY5586" fmla="*/ 15994147 h 17966907"/>
                <a:gd name="connsiteX5587" fmla="*/ 2382563 w 13797425"/>
                <a:gd name="connsiteY5587" fmla="*/ 15994147 h 17966907"/>
                <a:gd name="connsiteX5588" fmla="*/ 2377798 w 13797425"/>
                <a:gd name="connsiteY5588" fmla="*/ 15984615 h 17966907"/>
                <a:gd name="connsiteX5589" fmla="*/ 2368267 w 13797425"/>
                <a:gd name="connsiteY5589" fmla="*/ 15984615 h 17966907"/>
                <a:gd name="connsiteX5590" fmla="*/ 2349207 w 13797425"/>
                <a:gd name="connsiteY5590" fmla="*/ 15989383 h 17966907"/>
                <a:gd name="connsiteX5591" fmla="*/ 2339676 w 13797425"/>
                <a:gd name="connsiteY5591" fmla="*/ 15989383 h 17966907"/>
                <a:gd name="connsiteX5592" fmla="*/ 2330146 w 13797425"/>
                <a:gd name="connsiteY5592" fmla="*/ 15989383 h 17966907"/>
                <a:gd name="connsiteX5593" fmla="*/ 2306321 w 13797425"/>
                <a:gd name="connsiteY5593" fmla="*/ 15979851 h 17966907"/>
                <a:gd name="connsiteX5594" fmla="*/ 2282495 w 13797425"/>
                <a:gd name="connsiteY5594" fmla="*/ 15979851 h 17966907"/>
                <a:gd name="connsiteX5595" fmla="*/ 2272965 w 13797425"/>
                <a:gd name="connsiteY5595" fmla="*/ 15975087 h 17966907"/>
                <a:gd name="connsiteX5596" fmla="*/ 2272965 w 13797425"/>
                <a:gd name="connsiteY5596" fmla="*/ 15965555 h 17966907"/>
                <a:gd name="connsiteX5597" fmla="*/ 2277730 w 13797425"/>
                <a:gd name="connsiteY5597" fmla="*/ 15960791 h 17966907"/>
                <a:gd name="connsiteX5598" fmla="*/ 2306321 w 13797425"/>
                <a:gd name="connsiteY5598" fmla="*/ 15956027 h 17966907"/>
                <a:gd name="connsiteX5599" fmla="*/ 2334912 w 13797425"/>
                <a:gd name="connsiteY5599" fmla="*/ 15946495 h 17966907"/>
                <a:gd name="connsiteX5600" fmla="*/ 2358737 w 13797425"/>
                <a:gd name="connsiteY5600" fmla="*/ 15941731 h 17966907"/>
                <a:gd name="connsiteX5601" fmla="*/ 2358737 w 13797425"/>
                <a:gd name="connsiteY5601" fmla="*/ 15936963 h 17966907"/>
                <a:gd name="connsiteX5602" fmla="*/ 2349207 w 13797425"/>
                <a:gd name="connsiteY5602" fmla="*/ 15936963 h 17966907"/>
                <a:gd name="connsiteX5603" fmla="*/ 2287260 w 13797425"/>
                <a:gd name="connsiteY5603" fmla="*/ 15946495 h 17966907"/>
                <a:gd name="connsiteX5604" fmla="*/ 2268200 w 13797425"/>
                <a:gd name="connsiteY5604" fmla="*/ 15946495 h 17966907"/>
                <a:gd name="connsiteX5605" fmla="*/ 2263434 w 13797425"/>
                <a:gd name="connsiteY5605" fmla="*/ 15941731 h 17966907"/>
                <a:gd name="connsiteX5606" fmla="*/ 2263434 w 13797425"/>
                <a:gd name="connsiteY5606" fmla="*/ 15932199 h 17966907"/>
                <a:gd name="connsiteX5607" fmla="*/ 2268200 w 13797425"/>
                <a:gd name="connsiteY5607" fmla="*/ 15922671 h 17966907"/>
                <a:gd name="connsiteX5608" fmla="*/ 2282495 w 13797425"/>
                <a:gd name="connsiteY5608" fmla="*/ 15913139 h 17966907"/>
                <a:gd name="connsiteX5609" fmla="*/ 2287260 w 13797425"/>
                <a:gd name="connsiteY5609" fmla="*/ 15903607 h 17966907"/>
                <a:gd name="connsiteX5610" fmla="*/ 2277730 w 13797425"/>
                <a:gd name="connsiteY5610" fmla="*/ 15898843 h 17966907"/>
                <a:gd name="connsiteX5611" fmla="*/ 2268200 w 13797425"/>
                <a:gd name="connsiteY5611" fmla="*/ 15903607 h 17966907"/>
                <a:gd name="connsiteX5612" fmla="*/ 2263434 w 13797425"/>
                <a:gd name="connsiteY5612" fmla="*/ 15898843 h 17966907"/>
                <a:gd name="connsiteX5613" fmla="*/ 2268200 w 13797425"/>
                <a:gd name="connsiteY5613" fmla="*/ 15875019 h 17966907"/>
                <a:gd name="connsiteX5614" fmla="*/ 2263434 w 13797425"/>
                <a:gd name="connsiteY5614" fmla="*/ 15851191 h 17966907"/>
                <a:gd name="connsiteX5615" fmla="*/ 2258670 w 13797425"/>
                <a:gd name="connsiteY5615" fmla="*/ 15870255 h 17966907"/>
                <a:gd name="connsiteX5616" fmla="*/ 2244374 w 13797425"/>
                <a:gd name="connsiteY5616" fmla="*/ 15884547 h 17966907"/>
                <a:gd name="connsiteX5617" fmla="*/ 2191958 w 13797425"/>
                <a:gd name="connsiteY5617" fmla="*/ 15889315 h 17966907"/>
                <a:gd name="connsiteX5618" fmla="*/ 2187192 w 13797425"/>
                <a:gd name="connsiteY5618" fmla="*/ 15898843 h 17966907"/>
                <a:gd name="connsiteX5619" fmla="*/ 2177662 w 13797425"/>
                <a:gd name="connsiteY5619" fmla="*/ 15898843 h 17966907"/>
                <a:gd name="connsiteX5620" fmla="*/ 2144306 w 13797425"/>
                <a:gd name="connsiteY5620" fmla="*/ 15884547 h 17966907"/>
                <a:gd name="connsiteX5621" fmla="*/ 2130011 w 13797425"/>
                <a:gd name="connsiteY5621" fmla="*/ 15875019 h 17966907"/>
                <a:gd name="connsiteX5622" fmla="*/ 2120481 w 13797425"/>
                <a:gd name="connsiteY5622" fmla="*/ 15865487 h 17966907"/>
                <a:gd name="connsiteX5623" fmla="*/ 2096655 w 13797425"/>
                <a:gd name="connsiteY5623" fmla="*/ 15841663 h 17966907"/>
                <a:gd name="connsiteX5624" fmla="*/ 2077595 w 13797425"/>
                <a:gd name="connsiteY5624" fmla="*/ 15827367 h 17966907"/>
                <a:gd name="connsiteX5625" fmla="*/ 2077595 w 13797425"/>
                <a:gd name="connsiteY5625" fmla="*/ 15798775 h 17966907"/>
                <a:gd name="connsiteX5626" fmla="*/ 2077595 w 13797425"/>
                <a:gd name="connsiteY5626" fmla="*/ 15779715 h 17966907"/>
                <a:gd name="connsiteX5627" fmla="*/ 2087125 w 13797425"/>
                <a:gd name="connsiteY5627" fmla="*/ 15755891 h 17966907"/>
                <a:gd name="connsiteX5628" fmla="*/ 2120481 w 13797425"/>
                <a:gd name="connsiteY5628" fmla="*/ 15713003 h 17966907"/>
                <a:gd name="connsiteX5629" fmla="*/ 2134776 w 13797425"/>
                <a:gd name="connsiteY5629" fmla="*/ 15703475 h 17966907"/>
                <a:gd name="connsiteX5630" fmla="*/ 2144306 w 13797425"/>
                <a:gd name="connsiteY5630" fmla="*/ 15698707 h 17966907"/>
                <a:gd name="connsiteX5631" fmla="*/ 2191958 w 13797425"/>
                <a:gd name="connsiteY5631" fmla="*/ 15693943 h 17966907"/>
                <a:gd name="connsiteX5632" fmla="*/ 2230079 w 13797425"/>
                <a:gd name="connsiteY5632" fmla="*/ 15689179 h 17966907"/>
                <a:gd name="connsiteX5633" fmla="*/ 2234844 w 13797425"/>
                <a:gd name="connsiteY5633" fmla="*/ 15689179 h 17966907"/>
                <a:gd name="connsiteX5634" fmla="*/ 2182428 w 13797425"/>
                <a:gd name="connsiteY5634" fmla="*/ 15684415 h 17966907"/>
                <a:gd name="connsiteX5635" fmla="*/ 2134776 w 13797425"/>
                <a:gd name="connsiteY5635" fmla="*/ 15689179 h 17966907"/>
                <a:gd name="connsiteX5636" fmla="*/ 2120481 w 13797425"/>
                <a:gd name="connsiteY5636" fmla="*/ 15693943 h 17966907"/>
                <a:gd name="connsiteX5637" fmla="*/ 2096655 w 13797425"/>
                <a:gd name="connsiteY5637" fmla="*/ 15722535 h 17966907"/>
                <a:gd name="connsiteX5638" fmla="*/ 2091890 w 13797425"/>
                <a:gd name="connsiteY5638" fmla="*/ 15736831 h 17966907"/>
                <a:gd name="connsiteX5639" fmla="*/ 2087125 w 13797425"/>
                <a:gd name="connsiteY5639" fmla="*/ 15746359 h 17966907"/>
                <a:gd name="connsiteX5640" fmla="*/ 2082360 w 13797425"/>
                <a:gd name="connsiteY5640" fmla="*/ 15746359 h 17966907"/>
                <a:gd name="connsiteX5641" fmla="*/ 2077595 w 13797425"/>
                <a:gd name="connsiteY5641" fmla="*/ 15741595 h 17966907"/>
                <a:gd name="connsiteX5642" fmla="*/ 2072830 w 13797425"/>
                <a:gd name="connsiteY5642" fmla="*/ 15736831 h 17966907"/>
                <a:gd name="connsiteX5643" fmla="*/ 2072830 w 13797425"/>
                <a:gd name="connsiteY5643" fmla="*/ 15727299 h 17966907"/>
                <a:gd name="connsiteX5644" fmla="*/ 2058534 w 13797425"/>
                <a:gd name="connsiteY5644" fmla="*/ 15713003 h 17966907"/>
                <a:gd name="connsiteX5645" fmla="*/ 2053769 w 13797425"/>
                <a:gd name="connsiteY5645" fmla="*/ 15693943 h 17966907"/>
                <a:gd name="connsiteX5646" fmla="*/ 2053769 w 13797425"/>
                <a:gd name="connsiteY5646" fmla="*/ 15670119 h 17966907"/>
                <a:gd name="connsiteX5647" fmla="*/ 2053769 w 13797425"/>
                <a:gd name="connsiteY5647" fmla="*/ 15655823 h 17966907"/>
                <a:gd name="connsiteX5648" fmla="*/ 2058534 w 13797425"/>
                <a:gd name="connsiteY5648" fmla="*/ 15641527 h 17966907"/>
                <a:gd name="connsiteX5649" fmla="*/ 2072830 w 13797425"/>
                <a:gd name="connsiteY5649" fmla="*/ 15612935 h 17966907"/>
                <a:gd name="connsiteX5650" fmla="*/ 2053769 w 13797425"/>
                <a:gd name="connsiteY5650" fmla="*/ 15612935 h 17966907"/>
                <a:gd name="connsiteX5651" fmla="*/ 2053769 w 13797425"/>
                <a:gd name="connsiteY5651" fmla="*/ 15589111 h 17966907"/>
                <a:gd name="connsiteX5652" fmla="*/ 2063299 w 13797425"/>
                <a:gd name="connsiteY5652" fmla="*/ 15565283 h 17966907"/>
                <a:gd name="connsiteX5653" fmla="*/ 2082360 w 13797425"/>
                <a:gd name="connsiteY5653" fmla="*/ 15546223 h 17966907"/>
                <a:gd name="connsiteX5654" fmla="*/ 2101420 w 13797425"/>
                <a:gd name="connsiteY5654" fmla="*/ 15536695 h 17966907"/>
                <a:gd name="connsiteX5655" fmla="*/ 2120481 w 13797425"/>
                <a:gd name="connsiteY5655" fmla="*/ 15522399 h 17966907"/>
                <a:gd name="connsiteX5656" fmla="*/ 2149072 w 13797425"/>
                <a:gd name="connsiteY5656" fmla="*/ 15512867 h 17966907"/>
                <a:gd name="connsiteX5657" fmla="*/ 2158602 w 13797425"/>
                <a:gd name="connsiteY5657" fmla="*/ 15531931 h 17966907"/>
                <a:gd name="connsiteX5658" fmla="*/ 2187192 w 13797425"/>
                <a:gd name="connsiteY5658" fmla="*/ 15536695 h 17966907"/>
                <a:gd name="connsiteX5659" fmla="*/ 2191958 w 13797425"/>
                <a:gd name="connsiteY5659" fmla="*/ 15546223 h 17966907"/>
                <a:gd name="connsiteX5660" fmla="*/ 2201488 w 13797425"/>
                <a:gd name="connsiteY5660" fmla="*/ 15565283 h 17966907"/>
                <a:gd name="connsiteX5661" fmla="*/ 2215783 w 13797425"/>
                <a:gd name="connsiteY5661" fmla="*/ 15579579 h 17966907"/>
                <a:gd name="connsiteX5662" fmla="*/ 2227697 w 13797425"/>
                <a:gd name="connsiteY5662" fmla="*/ 15591495 h 17966907"/>
                <a:gd name="connsiteX5663" fmla="*/ 2230079 w 13797425"/>
                <a:gd name="connsiteY5663" fmla="*/ 15598639 h 17966907"/>
                <a:gd name="connsiteX5664" fmla="*/ 2230079 w 13797425"/>
                <a:gd name="connsiteY5664" fmla="*/ 15593875 h 17966907"/>
                <a:gd name="connsiteX5665" fmla="*/ 2227697 w 13797425"/>
                <a:gd name="connsiteY5665" fmla="*/ 15591495 h 17966907"/>
                <a:gd name="connsiteX5666" fmla="*/ 2225314 w 13797425"/>
                <a:gd name="connsiteY5666" fmla="*/ 15584347 h 17966907"/>
                <a:gd name="connsiteX5667" fmla="*/ 2206253 w 13797425"/>
                <a:gd name="connsiteY5667" fmla="*/ 15555755 h 17966907"/>
                <a:gd name="connsiteX5668" fmla="*/ 2201488 w 13797425"/>
                <a:gd name="connsiteY5668" fmla="*/ 15546223 h 17966907"/>
                <a:gd name="connsiteX5669" fmla="*/ 2196723 w 13797425"/>
                <a:gd name="connsiteY5669" fmla="*/ 15531931 h 17966907"/>
                <a:gd name="connsiteX5670" fmla="*/ 2168132 w 13797425"/>
                <a:gd name="connsiteY5670" fmla="*/ 15517635 h 17966907"/>
                <a:gd name="connsiteX5671" fmla="*/ 2163367 w 13797425"/>
                <a:gd name="connsiteY5671" fmla="*/ 15512867 h 17966907"/>
                <a:gd name="connsiteX5672" fmla="*/ 2158602 w 13797425"/>
                <a:gd name="connsiteY5672" fmla="*/ 15493807 h 17966907"/>
                <a:gd name="connsiteX5673" fmla="*/ 2153836 w 13797425"/>
                <a:gd name="connsiteY5673" fmla="*/ 15484279 h 17966907"/>
                <a:gd name="connsiteX5674" fmla="*/ 2158602 w 13797425"/>
                <a:gd name="connsiteY5674" fmla="*/ 15474747 h 17966907"/>
                <a:gd name="connsiteX5675" fmla="*/ 2187192 w 13797425"/>
                <a:gd name="connsiteY5675" fmla="*/ 15446155 h 17966907"/>
                <a:gd name="connsiteX5676" fmla="*/ 2196723 w 13797425"/>
                <a:gd name="connsiteY5676" fmla="*/ 15427095 h 17966907"/>
                <a:gd name="connsiteX5677" fmla="*/ 2196723 w 13797425"/>
                <a:gd name="connsiteY5677" fmla="*/ 15422331 h 17966907"/>
                <a:gd name="connsiteX5678" fmla="*/ 2191958 w 13797425"/>
                <a:gd name="connsiteY5678" fmla="*/ 15412799 h 17966907"/>
                <a:gd name="connsiteX5679" fmla="*/ 2187192 w 13797425"/>
                <a:gd name="connsiteY5679" fmla="*/ 15398507 h 17966907"/>
                <a:gd name="connsiteX5680" fmla="*/ 2187192 w 13797425"/>
                <a:gd name="connsiteY5680" fmla="*/ 15417567 h 17966907"/>
                <a:gd name="connsiteX5681" fmla="*/ 2187192 w 13797425"/>
                <a:gd name="connsiteY5681" fmla="*/ 15427095 h 17966907"/>
                <a:gd name="connsiteX5682" fmla="*/ 2182428 w 13797425"/>
                <a:gd name="connsiteY5682" fmla="*/ 15436627 h 17966907"/>
                <a:gd name="connsiteX5683" fmla="*/ 2177662 w 13797425"/>
                <a:gd name="connsiteY5683" fmla="*/ 15446155 h 17966907"/>
                <a:gd name="connsiteX5684" fmla="*/ 2172897 w 13797425"/>
                <a:gd name="connsiteY5684" fmla="*/ 15450923 h 17966907"/>
                <a:gd name="connsiteX5685" fmla="*/ 2106185 w 13797425"/>
                <a:gd name="connsiteY5685" fmla="*/ 15522399 h 17966907"/>
                <a:gd name="connsiteX5686" fmla="*/ 2101420 w 13797425"/>
                <a:gd name="connsiteY5686" fmla="*/ 15527163 h 17966907"/>
                <a:gd name="connsiteX5687" fmla="*/ 2077595 w 13797425"/>
                <a:gd name="connsiteY5687" fmla="*/ 15531931 h 17966907"/>
                <a:gd name="connsiteX5688" fmla="*/ 2063299 w 13797425"/>
                <a:gd name="connsiteY5688" fmla="*/ 15536695 h 17966907"/>
                <a:gd name="connsiteX5689" fmla="*/ 2058534 w 13797425"/>
                <a:gd name="connsiteY5689" fmla="*/ 15550991 h 17966907"/>
                <a:gd name="connsiteX5690" fmla="*/ 2049004 w 13797425"/>
                <a:gd name="connsiteY5690" fmla="*/ 15574815 h 17966907"/>
                <a:gd name="connsiteX5691" fmla="*/ 2034708 w 13797425"/>
                <a:gd name="connsiteY5691" fmla="*/ 15627231 h 17966907"/>
                <a:gd name="connsiteX5692" fmla="*/ 2015648 w 13797425"/>
                <a:gd name="connsiteY5692" fmla="*/ 15665351 h 17966907"/>
                <a:gd name="connsiteX5693" fmla="*/ 2001352 w 13797425"/>
                <a:gd name="connsiteY5693" fmla="*/ 15612935 h 17966907"/>
                <a:gd name="connsiteX5694" fmla="*/ 1977527 w 13797425"/>
                <a:gd name="connsiteY5694" fmla="*/ 15570051 h 17966907"/>
                <a:gd name="connsiteX5695" fmla="*/ 2025178 w 13797425"/>
                <a:gd name="connsiteY5695" fmla="*/ 15531931 h 17966907"/>
                <a:gd name="connsiteX5696" fmla="*/ 2025178 w 13797425"/>
                <a:gd name="connsiteY5696" fmla="*/ 15527163 h 17966907"/>
                <a:gd name="connsiteX5697" fmla="*/ 2020413 w 13797425"/>
                <a:gd name="connsiteY5697" fmla="*/ 15503339 h 17966907"/>
                <a:gd name="connsiteX5698" fmla="*/ 2025178 w 13797425"/>
                <a:gd name="connsiteY5698" fmla="*/ 15498575 h 17966907"/>
                <a:gd name="connsiteX5699" fmla="*/ 2029943 w 13797425"/>
                <a:gd name="connsiteY5699" fmla="*/ 15489043 h 17966907"/>
                <a:gd name="connsiteX5700" fmla="*/ 2039474 w 13797425"/>
                <a:gd name="connsiteY5700" fmla="*/ 15474747 h 17966907"/>
                <a:gd name="connsiteX5701" fmla="*/ 2039474 w 13797425"/>
                <a:gd name="connsiteY5701" fmla="*/ 15469983 h 17966907"/>
                <a:gd name="connsiteX5702" fmla="*/ 2025178 w 13797425"/>
                <a:gd name="connsiteY5702" fmla="*/ 15474747 h 17966907"/>
                <a:gd name="connsiteX5703" fmla="*/ 2001352 w 13797425"/>
                <a:gd name="connsiteY5703" fmla="*/ 15508103 h 17966907"/>
                <a:gd name="connsiteX5704" fmla="*/ 1991822 w 13797425"/>
                <a:gd name="connsiteY5704" fmla="*/ 15517635 h 17966907"/>
                <a:gd name="connsiteX5705" fmla="*/ 1987057 w 13797425"/>
                <a:gd name="connsiteY5705" fmla="*/ 15517635 h 17966907"/>
                <a:gd name="connsiteX5706" fmla="*/ 1987057 w 13797425"/>
                <a:gd name="connsiteY5706" fmla="*/ 15503339 h 17966907"/>
                <a:gd name="connsiteX5707" fmla="*/ 2001352 w 13797425"/>
                <a:gd name="connsiteY5707" fmla="*/ 15455687 h 17966907"/>
                <a:gd name="connsiteX5708" fmla="*/ 2010883 w 13797425"/>
                <a:gd name="connsiteY5708" fmla="*/ 15408035 h 17966907"/>
                <a:gd name="connsiteX5709" fmla="*/ 2015648 w 13797425"/>
                <a:gd name="connsiteY5709" fmla="*/ 15393739 h 17966907"/>
                <a:gd name="connsiteX5710" fmla="*/ 2025178 w 13797425"/>
                <a:gd name="connsiteY5710" fmla="*/ 15379447 h 17966907"/>
                <a:gd name="connsiteX5711" fmla="*/ 2015648 w 13797425"/>
                <a:gd name="connsiteY5711" fmla="*/ 15379447 h 17966907"/>
                <a:gd name="connsiteX5712" fmla="*/ 1972762 w 13797425"/>
                <a:gd name="connsiteY5712" fmla="*/ 15403271 h 17966907"/>
                <a:gd name="connsiteX5713" fmla="*/ 1963232 w 13797425"/>
                <a:gd name="connsiteY5713" fmla="*/ 15388975 h 17966907"/>
                <a:gd name="connsiteX5714" fmla="*/ 1948936 w 13797425"/>
                <a:gd name="connsiteY5714" fmla="*/ 15317499 h 17966907"/>
                <a:gd name="connsiteX5715" fmla="*/ 1929876 w 13797425"/>
                <a:gd name="connsiteY5715" fmla="*/ 15293671 h 17966907"/>
                <a:gd name="connsiteX5716" fmla="*/ 1896520 w 13797425"/>
                <a:gd name="connsiteY5716" fmla="*/ 15269847 h 17966907"/>
                <a:gd name="connsiteX5717" fmla="*/ 1863164 w 13797425"/>
                <a:gd name="connsiteY5717" fmla="*/ 15260315 h 17966907"/>
                <a:gd name="connsiteX5718" fmla="*/ 1853634 w 13797425"/>
                <a:gd name="connsiteY5718" fmla="*/ 15241255 h 17966907"/>
                <a:gd name="connsiteX5719" fmla="*/ 1848868 w 13797425"/>
                <a:gd name="connsiteY5719" fmla="*/ 15217431 h 17966907"/>
                <a:gd name="connsiteX5720" fmla="*/ 1858399 w 13797425"/>
                <a:gd name="connsiteY5720" fmla="*/ 15188839 h 17966907"/>
                <a:gd name="connsiteX5721" fmla="*/ 1872694 w 13797425"/>
                <a:gd name="connsiteY5721" fmla="*/ 15174543 h 17966907"/>
                <a:gd name="connsiteX5722" fmla="*/ 1886990 w 13797425"/>
                <a:gd name="connsiteY5722" fmla="*/ 15169779 h 17966907"/>
                <a:gd name="connsiteX5723" fmla="*/ 1896520 w 13797425"/>
                <a:gd name="connsiteY5723" fmla="*/ 15169779 h 17966907"/>
                <a:gd name="connsiteX5724" fmla="*/ 1896520 w 13797425"/>
                <a:gd name="connsiteY5724" fmla="*/ 15184075 h 17966907"/>
                <a:gd name="connsiteX5725" fmla="*/ 1891755 w 13797425"/>
                <a:gd name="connsiteY5725" fmla="*/ 15207899 h 17966907"/>
                <a:gd name="connsiteX5726" fmla="*/ 1901285 w 13797425"/>
                <a:gd name="connsiteY5726" fmla="*/ 15212667 h 17966907"/>
                <a:gd name="connsiteX5727" fmla="*/ 1948936 w 13797425"/>
                <a:gd name="connsiteY5727" fmla="*/ 15246023 h 17966907"/>
                <a:gd name="connsiteX5728" fmla="*/ 1958466 w 13797425"/>
                <a:gd name="connsiteY5728" fmla="*/ 15250787 h 17966907"/>
                <a:gd name="connsiteX5729" fmla="*/ 1977527 w 13797425"/>
                <a:gd name="connsiteY5729" fmla="*/ 15236491 h 17966907"/>
                <a:gd name="connsiteX5730" fmla="*/ 1987057 w 13797425"/>
                <a:gd name="connsiteY5730" fmla="*/ 15236491 h 17966907"/>
                <a:gd name="connsiteX5731" fmla="*/ 2010883 w 13797425"/>
                <a:gd name="connsiteY5731" fmla="*/ 15246023 h 17966907"/>
                <a:gd name="connsiteX5732" fmla="*/ 2020413 w 13797425"/>
                <a:gd name="connsiteY5732" fmla="*/ 15260315 h 17966907"/>
                <a:gd name="connsiteX5733" fmla="*/ 2044239 w 13797425"/>
                <a:gd name="connsiteY5733" fmla="*/ 15284143 h 17966907"/>
                <a:gd name="connsiteX5734" fmla="*/ 2039474 w 13797425"/>
                <a:gd name="connsiteY5734" fmla="*/ 15269847 h 17966907"/>
                <a:gd name="connsiteX5735" fmla="*/ 2015648 w 13797425"/>
                <a:gd name="connsiteY5735" fmla="*/ 15241255 h 17966907"/>
                <a:gd name="connsiteX5736" fmla="*/ 2001352 w 13797425"/>
                <a:gd name="connsiteY5736" fmla="*/ 15231727 h 17966907"/>
                <a:gd name="connsiteX5737" fmla="*/ 1972762 w 13797425"/>
                <a:gd name="connsiteY5737" fmla="*/ 15226959 h 17966907"/>
                <a:gd name="connsiteX5738" fmla="*/ 1958466 w 13797425"/>
                <a:gd name="connsiteY5738" fmla="*/ 15231727 h 17966907"/>
                <a:gd name="connsiteX5739" fmla="*/ 1953701 w 13797425"/>
                <a:gd name="connsiteY5739" fmla="*/ 15231727 h 17966907"/>
                <a:gd name="connsiteX5740" fmla="*/ 1939406 w 13797425"/>
                <a:gd name="connsiteY5740" fmla="*/ 15222195 h 17966907"/>
                <a:gd name="connsiteX5741" fmla="*/ 1925110 w 13797425"/>
                <a:gd name="connsiteY5741" fmla="*/ 15212667 h 17966907"/>
                <a:gd name="connsiteX5742" fmla="*/ 1915580 w 13797425"/>
                <a:gd name="connsiteY5742" fmla="*/ 15184075 h 17966907"/>
                <a:gd name="connsiteX5743" fmla="*/ 1910815 w 13797425"/>
                <a:gd name="connsiteY5743" fmla="*/ 15169779 h 17966907"/>
                <a:gd name="connsiteX5744" fmla="*/ 1910815 w 13797425"/>
                <a:gd name="connsiteY5744" fmla="*/ 15160251 h 17966907"/>
                <a:gd name="connsiteX5745" fmla="*/ 1915580 w 13797425"/>
                <a:gd name="connsiteY5745" fmla="*/ 15150719 h 17966907"/>
                <a:gd name="connsiteX5746" fmla="*/ 1920345 w 13797425"/>
                <a:gd name="connsiteY5746" fmla="*/ 15145955 h 17966907"/>
                <a:gd name="connsiteX5747" fmla="*/ 1929876 w 13797425"/>
                <a:gd name="connsiteY5747" fmla="*/ 15136423 h 17966907"/>
                <a:gd name="connsiteX5748" fmla="*/ 1944171 w 13797425"/>
                <a:gd name="connsiteY5748" fmla="*/ 15136423 h 17966907"/>
                <a:gd name="connsiteX5749" fmla="*/ 1948936 w 13797425"/>
                <a:gd name="connsiteY5749" fmla="*/ 15131659 h 17966907"/>
                <a:gd name="connsiteX5750" fmla="*/ 1929876 w 13797425"/>
                <a:gd name="connsiteY5750" fmla="*/ 15117363 h 17966907"/>
                <a:gd name="connsiteX5751" fmla="*/ 1920345 w 13797425"/>
                <a:gd name="connsiteY5751" fmla="*/ 15117363 h 17966907"/>
                <a:gd name="connsiteX5752" fmla="*/ 1891755 w 13797425"/>
                <a:gd name="connsiteY5752" fmla="*/ 15136423 h 17966907"/>
                <a:gd name="connsiteX5753" fmla="*/ 1886990 w 13797425"/>
                <a:gd name="connsiteY5753" fmla="*/ 15141187 h 17966907"/>
                <a:gd name="connsiteX5754" fmla="*/ 1882224 w 13797425"/>
                <a:gd name="connsiteY5754" fmla="*/ 15136423 h 17966907"/>
                <a:gd name="connsiteX5755" fmla="*/ 1872694 w 13797425"/>
                <a:gd name="connsiteY5755" fmla="*/ 15145955 h 17966907"/>
                <a:gd name="connsiteX5756" fmla="*/ 1867929 w 13797425"/>
                <a:gd name="connsiteY5756" fmla="*/ 15150719 h 17966907"/>
                <a:gd name="connsiteX5757" fmla="*/ 1844103 w 13797425"/>
                <a:gd name="connsiteY5757" fmla="*/ 15188839 h 17966907"/>
                <a:gd name="connsiteX5758" fmla="*/ 1839338 w 13797425"/>
                <a:gd name="connsiteY5758" fmla="*/ 15203135 h 17966907"/>
                <a:gd name="connsiteX5759" fmla="*/ 1839338 w 13797425"/>
                <a:gd name="connsiteY5759" fmla="*/ 15231727 h 17966907"/>
                <a:gd name="connsiteX5760" fmla="*/ 1834573 w 13797425"/>
                <a:gd name="connsiteY5760" fmla="*/ 15246023 h 17966907"/>
                <a:gd name="connsiteX5761" fmla="*/ 1829808 w 13797425"/>
                <a:gd name="connsiteY5761" fmla="*/ 15255551 h 17966907"/>
                <a:gd name="connsiteX5762" fmla="*/ 1801217 w 13797425"/>
                <a:gd name="connsiteY5762" fmla="*/ 15265083 h 17966907"/>
                <a:gd name="connsiteX5763" fmla="*/ 1786922 w 13797425"/>
                <a:gd name="connsiteY5763" fmla="*/ 15288907 h 17966907"/>
                <a:gd name="connsiteX5764" fmla="*/ 1767862 w 13797425"/>
                <a:gd name="connsiteY5764" fmla="*/ 15269847 h 17966907"/>
                <a:gd name="connsiteX5765" fmla="*/ 1748801 w 13797425"/>
                <a:gd name="connsiteY5765" fmla="*/ 15246023 h 17966907"/>
                <a:gd name="connsiteX5766" fmla="*/ 1734506 w 13797425"/>
                <a:gd name="connsiteY5766" fmla="*/ 15212667 h 17966907"/>
                <a:gd name="connsiteX5767" fmla="*/ 1705916 w 13797425"/>
                <a:gd name="connsiteY5767" fmla="*/ 15207899 h 17966907"/>
                <a:gd name="connsiteX5768" fmla="*/ 1677325 w 13797425"/>
                <a:gd name="connsiteY5768" fmla="*/ 15184075 h 17966907"/>
                <a:gd name="connsiteX5769" fmla="*/ 1667795 w 13797425"/>
                <a:gd name="connsiteY5769" fmla="*/ 15165015 h 17966907"/>
                <a:gd name="connsiteX5770" fmla="*/ 1682090 w 13797425"/>
                <a:gd name="connsiteY5770" fmla="*/ 15126895 h 17966907"/>
                <a:gd name="connsiteX5771" fmla="*/ 1705916 w 13797425"/>
                <a:gd name="connsiteY5771" fmla="*/ 15098303 h 17966907"/>
                <a:gd name="connsiteX5772" fmla="*/ 1710680 w 13797425"/>
                <a:gd name="connsiteY5772" fmla="*/ 15064947 h 17966907"/>
                <a:gd name="connsiteX5773" fmla="*/ 1710680 w 13797425"/>
                <a:gd name="connsiteY5773" fmla="*/ 15060183 h 17966907"/>
                <a:gd name="connsiteX5774" fmla="*/ 1753567 w 13797425"/>
                <a:gd name="connsiteY5774" fmla="*/ 15050651 h 17966907"/>
                <a:gd name="connsiteX5775" fmla="*/ 1777395 w 13797425"/>
                <a:gd name="connsiteY5775" fmla="*/ 15031591 h 17966907"/>
                <a:gd name="connsiteX5776" fmla="*/ 1753567 w 13797425"/>
                <a:gd name="connsiteY5776" fmla="*/ 15031591 h 17966907"/>
                <a:gd name="connsiteX5777" fmla="*/ 1734506 w 13797425"/>
                <a:gd name="connsiteY5777" fmla="*/ 15031591 h 17966907"/>
                <a:gd name="connsiteX5778" fmla="*/ 1705916 w 13797425"/>
                <a:gd name="connsiteY5778" fmla="*/ 15045887 h 17966907"/>
                <a:gd name="connsiteX5779" fmla="*/ 1672562 w 13797425"/>
                <a:gd name="connsiteY5779" fmla="*/ 15022059 h 17966907"/>
                <a:gd name="connsiteX5780" fmla="*/ 1658263 w 13797425"/>
                <a:gd name="connsiteY5780" fmla="*/ 14998235 h 17966907"/>
                <a:gd name="connsiteX5781" fmla="*/ 1653500 w 13797425"/>
                <a:gd name="connsiteY5781" fmla="*/ 14979175 h 17966907"/>
                <a:gd name="connsiteX5782" fmla="*/ 1658263 w 13797425"/>
                <a:gd name="connsiteY5782" fmla="*/ 14964879 h 17966907"/>
                <a:gd name="connsiteX5783" fmla="*/ 1658263 w 13797425"/>
                <a:gd name="connsiteY5783" fmla="*/ 14950583 h 17966907"/>
                <a:gd name="connsiteX5784" fmla="*/ 1663030 w 13797425"/>
                <a:gd name="connsiteY5784" fmla="*/ 14926759 h 17966907"/>
                <a:gd name="connsiteX5785" fmla="*/ 1663030 w 13797425"/>
                <a:gd name="connsiteY5785" fmla="*/ 14917227 h 17966907"/>
                <a:gd name="connsiteX5786" fmla="*/ 1672562 w 13797425"/>
                <a:gd name="connsiteY5786" fmla="*/ 14907699 h 17966907"/>
                <a:gd name="connsiteX5787" fmla="*/ 1686857 w 13797425"/>
                <a:gd name="connsiteY5787" fmla="*/ 14898167 h 17966907"/>
                <a:gd name="connsiteX5788" fmla="*/ 1696385 w 13797425"/>
                <a:gd name="connsiteY5788" fmla="*/ 14874340 h 17966907"/>
                <a:gd name="connsiteX5789" fmla="*/ 1701152 w 13797425"/>
                <a:gd name="connsiteY5789" fmla="*/ 14855280 h 17966907"/>
                <a:gd name="connsiteX5790" fmla="*/ 1724975 w 13797425"/>
                <a:gd name="connsiteY5790" fmla="*/ 14802863 h 17966907"/>
                <a:gd name="connsiteX5791" fmla="*/ 1734506 w 13797425"/>
                <a:gd name="connsiteY5791" fmla="*/ 14779038 h 17966907"/>
                <a:gd name="connsiteX5792" fmla="*/ 1753567 w 13797425"/>
                <a:gd name="connsiteY5792" fmla="*/ 14745682 h 17966907"/>
                <a:gd name="connsiteX5793" fmla="*/ 1786922 w 13797425"/>
                <a:gd name="connsiteY5793" fmla="*/ 14698030 h 17966907"/>
                <a:gd name="connsiteX5794" fmla="*/ 1777395 w 13797425"/>
                <a:gd name="connsiteY5794" fmla="*/ 14698030 h 17966907"/>
                <a:gd name="connsiteX5795" fmla="*/ 1772627 w 13797425"/>
                <a:gd name="connsiteY5795" fmla="*/ 14707560 h 17966907"/>
                <a:gd name="connsiteX5796" fmla="*/ 1767862 w 13797425"/>
                <a:gd name="connsiteY5796" fmla="*/ 14702796 h 17966907"/>
                <a:gd name="connsiteX5797" fmla="*/ 1763096 w 13797425"/>
                <a:gd name="connsiteY5797" fmla="*/ 14698030 h 17966907"/>
                <a:gd name="connsiteX5798" fmla="*/ 1758332 w 13797425"/>
                <a:gd name="connsiteY5798" fmla="*/ 14688500 h 17966907"/>
                <a:gd name="connsiteX5799" fmla="*/ 1753567 w 13797425"/>
                <a:gd name="connsiteY5799" fmla="*/ 14669440 h 17966907"/>
                <a:gd name="connsiteX5800" fmla="*/ 1748801 w 13797425"/>
                <a:gd name="connsiteY5800" fmla="*/ 14678970 h 17966907"/>
                <a:gd name="connsiteX5801" fmla="*/ 1748801 w 13797425"/>
                <a:gd name="connsiteY5801" fmla="*/ 14712326 h 17966907"/>
                <a:gd name="connsiteX5802" fmla="*/ 1744037 w 13797425"/>
                <a:gd name="connsiteY5802" fmla="*/ 14736151 h 17966907"/>
                <a:gd name="connsiteX5803" fmla="*/ 1739272 w 13797425"/>
                <a:gd name="connsiteY5803" fmla="*/ 14755212 h 17966907"/>
                <a:gd name="connsiteX5804" fmla="*/ 1720211 w 13797425"/>
                <a:gd name="connsiteY5804" fmla="*/ 14793332 h 17966907"/>
                <a:gd name="connsiteX5805" fmla="*/ 1710680 w 13797425"/>
                <a:gd name="connsiteY5805" fmla="*/ 14807628 h 17966907"/>
                <a:gd name="connsiteX5806" fmla="*/ 1705916 w 13797425"/>
                <a:gd name="connsiteY5806" fmla="*/ 14793332 h 17966907"/>
                <a:gd name="connsiteX5807" fmla="*/ 1710680 w 13797425"/>
                <a:gd name="connsiteY5807" fmla="*/ 14769507 h 17966907"/>
                <a:gd name="connsiteX5808" fmla="*/ 1720211 w 13797425"/>
                <a:gd name="connsiteY5808" fmla="*/ 14750446 h 17966907"/>
                <a:gd name="connsiteX5809" fmla="*/ 1720211 w 13797425"/>
                <a:gd name="connsiteY5809" fmla="*/ 14726621 h 17966907"/>
                <a:gd name="connsiteX5810" fmla="*/ 1710680 w 13797425"/>
                <a:gd name="connsiteY5810" fmla="*/ 14693265 h 17966907"/>
                <a:gd name="connsiteX5811" fmla="*/ 1705916 w 13797425"/>
                <a:gd name="connsiteY5811" fmla="*/ 14669440 h 17966907"/>
                <a:gd name="connsiteX5812" fmla="*/ 1705916 w 13797425"/>
                <a:gd name="connsiteY5812" fmla="*/ 14650379 h 17966907"/>
                <a:gd name="connsiteX5813" fmla="*/ 1705916 w 13797425"/>
                <a:gd name="connsiteY5813" fmla="*/ 14631318 h 17966907"/>
                <a:gd name="connsiteX5814" fmla="*/ 1705916 w 13797425"/>
                <a:gd name="connsiteY5814" fmla="*/ 14617023 h 17966907"/>
                <a:gd name="connsiteX5815" fmla="*/ 1710680 w 13797425"/>
                <a:gd name="connsiteY5815" fmla="*/ 14602728 h 17966907"/>
                <a:gd name="connsiteX5816" fmla="*/ 1715447 w 13797425"/>
                <a:gd name="connsiteY5816" fmla="*/ 14583667 h 17966907"/>
                <a:gd name="connsiteX5817" fmla="*/ 1715447 w 13797425"/>
                <a:gd name="connsiteY5817" fmla="*/ 14578902 h 17966907"/>
                <a:gd name="connsiteX5818" fmla="*/ 1715447 w 13797425"/>
                <a:gd name="connsiteY5818" fmla="*/ 14564606 h 17966907"/>
                <a:gd name="connsiteX5819" fmla="*/ 1715447 w 13797425"/>
                <a:gd name="connsiteY5819" fmla="*/ 14545546 h 17966907"/>
                <a:gd name="connsiteX5820" fmla="*/ 1710680 w 13797425"/>
                <a:gd name="connsiteY5820" fmla="*/ 14531250 h 17966907"/>
                <a:gd name="connsiteX5821" fmla="*/ 1705916 w 13797425"/>
                <a:gd name="connsiteY5821" fmla="*/ 14516956 h 17966907"/>
                <a:gd name="connsiteX5822" fmla="*/ 1686857 w 13797425"/>
                <a:gd name="connsiteY5822" fmla="*/ 14526486 h 17966907"/>
                <a:gd name="connsiteX5823" fmla="*/ 1653500 w 13797425"/>
                <a:gd name="connsiteY5823" fmla="*/ 14512190 h 17966907"/>
                <a:gd name="connsiteX5824" fmla="*/ 1643968 w 13797425"/>
                <a:gd name="connsiteY5824" fmla="*/ 14483600 h 17966907"/>
                <a:gd name="connsiteX5825" fmla="*/ 1620143 w 13797425"/>
                <a:gd name="connsiteY5825" fmla="*/ 14474069 h 17966907"/>
                <a:gd name="connsiteX5826" fmla="*/ 1601083 w 13797425"/>
                <a:gd name="connsiteY5826" fmla="*/ 14455008 h 17966907"/>
                <a:gd name="connsiteX5827" fmla="*/ 1572492 w 13797425"/>
                <a:gd name="connsiteY5827" fmla="*/ 14440714 h 17966907"/>
                <a:gd name="connsiteX5828" fmla="*/ 1548667 w 13797425"/>
                <a:gd name="connsiteY5828" fmla="*/ 14435948 h 17966907"/>
                <a:gd name="connsiteX5829" fmla="*/ 1529607 w 13797425"/>
                <a:gd name="connsiteY5829" fmla="*/ 14421653 h 17966907"/>
                <a:gd name="connsiteX5830" fmla="*/ 1510545 w 13797425"/>
                <a:gd name="connsiteY5830" fmla="*/ 14407358 h 17966907"/>
                <a:gd name="connsiteX5831" fmla="*/ 1491484 w 13797425"/>
                <a:gd name="connsiteY5831" fmla="*/ 14393062 h 17966907"/>
                <a:gd name="connsiteX5832" fmla="*/ 1472424 w 13797425"/>
                <a:gd name="connsiteY5832" fmla="*/ 14378766 h 17966907"/>
                <a:gd name="connsiteX5833" fmla="*/ 1462894 w 13797425"/>
                <a:gd name="connsiteY5833" fmla="*/ 14378766 h 17966907"/>
                <a:gd name="connsiteX5834" fmla="*/ 1434304 w 13797425"/>
                <a:gd name="connsiteY5834" fmla="*/ 14383532 h 17966907"/>
                <a:gd name="connsiteX5835" fmla="*/ 1434304 w 13797425"/>
                <a:gd name="connsiteY5835" fmla="*/ 14354941 h 17966907"/>
                <a:gd name="connsiteX5836" fmla="*/ 1424773 w 13797425"/>
                <a:gd name="connsiteY5836" fmla="*/ 14340646 h 17966907"/>
                <a:gd name="connsiteX5837" fmla="*/ 1429539 w 13797425"/>
                <a:gd name="connsiteY5837" fmla="*/ 14326350 h 17966907"/>
                <a:gd name="connsiteX5838" fmla="*/ 1410478 w 13797425"/>
                <a:gd name="connsiteY5838" fmla="*/ 14316820 h 17966907"/>
                <a:gd name="connsiteX5839" fmla="*/ 1391416 w 13797425"/>
                <a:gd name="connsiteY5839" fmla="*/ 14307290 h 17966907"/>
                <a:gd name="connsiteX5840" fmla="*/ 1396182 w 13797425"/>
                <a:gd name="connsiteY5840" fmla="*/ 14278699 h 17966907"/>
                <a:gd name="connsiteX5841" fmla="*/ 1400949 w 13797425"/>
                <a:gd name="connsiteY5841" fmla="*/ 14259638 h 17966907"/>
                <a:gd name="connsiteX5842" fmla="*/ 1381888 w 13797425"/>
                <a:gd name="connsiteY5842" fmla="*/ 14250108 h 17966907"/>
                <a:gd name="connsiteX5843" fmla="*/ 1353297 w 13797425"/>
                <a:gd name="connsiteY5843" fmla="*/ 14240578 h 17966907"/>
                <a:gd name="connsiteX5844" fmla="*/ 1362826 w 13797425"/>
                <a:gd name="connsiteY5844" fmla="*/ 14226282 h 17966907"/>
                <a:gd name="connsiteX5845" fmla="*/ 1372356 w 13797425"/>
                <a:gd name="connsiteY5845" fmla="*/ 14207222 h 17966907"/>
                <a:gd name="connsiteX5846" fmla="*/ 1358061 w 13797425"/>
                <a:gd name="connsiteY5846" fmla="*/ 14188162 h 17966907"/>
                <a:gd name="connsiteX5847" fmla="*/ 1339002 w 13797425"/>
                <a:gd name="connsiteY5847" fmla="*/ 14150040 h 17966907"/>
                <a:gd name="connsiteX5848" fmla="*/ 1319941 w 13797425"/>
                <a:gd name="connsiteY5848" fmla="*/ 14121450 h 17966907"/>
                <a:gd name="connsiteX5849" fmla="*/ 1300879 w 13797425"/>
                <a:gd name="connsiteY5849" fmla="*/ 14078564 h 17966907"/>
                <a:gd name="connsiteX5850" fmla="*/ 1281820 w 13797425"/>
                <a:gd name="connsiteY5850" fmla="*/ 14040442 h 17966907"/>
                <a:gd name="connsiteX5851" fmla="*/ 1262760 w 13797425"/>
                <a:gd name="connsiteY5851" fmla="*/ 14011852 h 17966907"/>
                <a:gd name="connsiteX5852" fmla="*/ 1248463 w 13797425"/>
                <a:gd name="connsiteY5852" fmla="*/ 13988026 h 17966907"/>
                <a:gd name="connsiteX5853" fmla="*/ 1234170 w 13797425"/>
                <a:gd name="connsiteY5853" fmla="*/ 13949906 h 17966907"/>
                <a:gd name="connsiteX5854" fmla="*/ 1205578 w 13797425"/>
                <a:gd name="connsiteY5854" fmla="*/ 13907019 h 17966907"/>
                <a:gd name="connsiteX5855" fmla="*/ 1186517 w 13797425"/>
                <a:gd name="connsiteY5855" fmla="*/ 13873664 h 17966907"/>
                <a:gd name="connsiteX5856" fmla="*/ 1186517 w 13797425"/>
                <a:gd name="connsiteY5856" fmla="*/ 13854602 h 17966907"/>
                <a:gd name="connsiteX5857" fmla="*/ 1167456 w 13797425"/>
                <a:gd name="connsiteY5857" fmla="*/ 13826012 h 17966907"/>
                <a:gd name="connsiteX5858" fmla="*/ 1143632 w 13797425"/>
                <a:gd name="connsiteY5858" fmla="*/ 13797421 h 17966907"/>
                <a:gd name="connsiteX5859" fmla="*/ 1124570 w 13797425"/>
                <a:gd name="connsiteY5859" fmla="*/ 13764066 h 17966907"/>
                <a:gd name="connsiteX5860" fmla="*/ 1100747 w 13797425"/>
                <a:gd name="connsiteY5860" fmla="*/ 13749770 h 17966907"/>
                <a:gd name="connsiteX5861" fmla="*/ 1086450 w 13797425"/>
                <a:gd name="connsiteY5861" fmla="*/ 13735474 h 17966907"/>
                <a:gd name="connsiteX5862" fmla="*/ 1057857 w 13797425"/>
                <a:gd name="connsiteY5862" fmla="*/ 13721179 h 17966907"/>
                <a:gd name="connsiteX5863" fmla="*/ 1048327 w 13797425"/>
                <a:gd name="connsiteY5863" fmla="*/ 13706884 h 17966907"/>
                <a:gd name="connsiteX5864" fmla="*/ 1043562 w 13797425"/>
                <a:gd name="connsiteY5864" fmla="*/ 13692588 h 17966907"/>
                <a:gd name="connsiteX5865" fmla="*/ 1038798 w 13797425"/>
                <a:gd name="connsiteY5865" fmla="*/ 13687824 h 17966907"/>
                <a:gd name="connsiteX5866" fmla="*/ 1034032 w 13797425"/>
                <a:gd name="connsiteY5866" fmla="*/ 13673528 h 17966907"/>
                <a:gd name="connsiteX5867" fmla="*/ 1029267 w 13797425"/>
                <a:gd name="connsiteY5867" fmla="*/ 13659232 h 17966907"/>
                <a:gd name="connsiteX5868" fmla="*/ 1024503 w 13797425"/>
                <a:gd name="connsiteY5868" fmla="*/ 13649702 h 17966907"/>
                <a:gd name="connsiteX5869" fmla="*/ 995913 w 13797425"/>
                <a:gd name="connsiteY5869" fmla="*/ 13630642 h 17966907"/>
                <a:gd name="connsiteX5870" fmla="*/ 991148 w 13797425"/>
                <a:gd name="connsiteY5870" fmla="*/ 13616346 h 17966907"/>
                <a:gd name="connsiteX5871" fmla="*/ 967322 w 13797425"/>
                <a:gd name="connsiteY5871" fmla="*/ 13602051 h 17966907"/>
                <a:gd name="connsiteX5872" fmla="*/ 953027 w 13797425"/>
                <a:gd name="connsiteY5872" fmla="*/ 13592521 h 17966907"/>
                <a:gd name="connsiteX5873" fmla="*/ 948263 w 13797425"/>
                <a:gd name="connsiteY5873" fmla="*/ 13587756 h 17966907"/>
                <a:gd name="connsiteX5874" fmla="*/ 929200 w 13797425"/>
                <a:gd name="connsiteY5874" fmla="*/ 13540104 h 17966907"/>
                <a:gd name="connsiteX5875" fmla="*/ 929200 w 13797425"/>
                <a:gd name="connsiteY5875" fmla="*/ 13525809 h 17966907"/>
                <a:gd name="connsiteX5876" fmla="*/ 933968 w 13797425"/>
                <a:gd name="connsiteY5876" fmla="*/ 13506748 h 17966907"/>
                <a:gd name="connsiteX5877" fmla="*/ 929200 w 13797425"/>
                <a:gd name="connsiteY5877" fmla="*/ 13497218 h 17966907"/>
                <a:gd name="connsiteX5878" fmla="*/ 895844 w 13797425"/>
                <a:gd name="connsiteY5878" fmla="*/ 13463862 h 17966907"/>
                <a:gd name="connsiteX5879" fmla="*/ 881548 w 13797425"/>
                <a:gd name="connsiteY5879" fmla="*/ 13449567 h 17966907"/>
                <a:gd name="connsiteX5880" fmla="*/ 862488 w 13797425"/>
                <a:gd name="connsiteY5880" fmla="*/ 13430506 h 17966907"/>
                <a:gd name="connsiteX5881" fmla="*/ 829133 w 13797425"/>
                <a:gd name="connsiteY5881" fmla="*/ 13454332 h 17966907"/>
                <a:gd name="connsiteX5882" fmla="*/ 791010 w 13797425"/>
                <a:gd name="connsiteY5882" fmla="*/ 13473392 h 17966907"/>
                <a:gd name="connsiteX5883" fmla="*/ 767188 w 13797425"/>
                <a:gd name="connsiteY5883" fmla="*/ 13482923 h 17966907"/>
                <a:gd name="connsiteX5884" fmla="*/ 733830 w 13797425"/>
                <a:gd name="connsiteY5884" fmla="*/ 13492453 h 17966907"/>
                <a:gd name="connsiteX5885" fmla="*/ 743360 w 13797425"/>
                <a:gd name="connsiteY5885" fmla="*/ 13511514 h 17966907"/>
                <a:gd name="connsiteX5886" fmla="*/ 738596 w 13797425"/>
                <a:gd name="connsiteY5886" fmla="*/ 13530574 h 17966907"/>
                <a:gd name="connsiteX5887" fmla="*/ 729063 w 13797425"/>
                <a:gd name="connsiteY5887" fmla="*/ 13535340 h 17966907"/>
                <a:gd name="connsiteX5888" fmla="*/ 710005 w 13797425"/>
                <a:gd name="connsiteY5888" fmla="*/ 13535340 h 17966907"/>
                <a:gd name="connsiteX5889" fmla="*/ 710005 w 13797425"/>
                <a:gd name="connsiteY5889" fmla="*/ 13592521 h 17966907"/>
                <a:gd name="connsiteX5890" fmla="*/ 690945 w 13797425"/>
                <a:gd name="connsiteY5890" fmla="*/ 13630642 h 17966907"/>
                <a:gd name="connsiteX5891" fmla="*/ 657588 w 13797425"/>
                <a:gd name="connsiteY5891" fmla="*/ 13630642 h 17966907"/>
                <a:gd name="connsiteX5892" fmla="*/ 633763 w 13797425"/>
                <a:gd name="connsiteY5892" fmla="*/ 13644937 h 17966907"/>
                <a:gd name="connsiteX5893" fmla="*/ 605172 w 13797425"/>
                <a:gd name="connsiteY5893" fmla="*/ 13663998 h 17966907"/>
                <a:gd name="connsiteX5894" fmla="*/ 581346 w 13797425"/>
                <a:gd name="connsiteY5894" fmla="*/ 13678293 h 17966907"/>
                <a:gd name="connsiteX5895" fmla="*/ 557521 w 13797425"/>
                <a:gd name="connsiteY5895" fmla="*/ 13706884 h 17966907"/>
                <a:gd name="connsiteX5896" fmla="*/ 543225 w 13797425"/>
                <a:gd name="connsiteY5896" fmla="*/ 13702118 h 17966907"/>
                <a:gd name="connsiteX5897" fmla="*/ 547988 w 13797425"/>
                <a:gd name="connsiteY5897" fmla="*/ 13678293 h 17966907"/>
                <a:gd name="connsiteX5898" fmla="*/ 543225 w 13797425"/>
                <a:gd name="connsiteY5898" fmla="*/ 13640172 h 17966907"/>
                <a:gd name="connsiteX5899" fmla="*/ 533693 w 13797425"/>
                <a:gd name="connsiteY5899" fmla="*/ 13606816 h 17966907"/>
                <a:gd name="connsiteX5900" fmla="*/ 519398 w 13797425"/>
                <a:gd name="connsiteY5900" fmla="*/ 13587756 h 17966907"/>
                <a:gd name="connsiteX5901" fmla="*/ 490808 w 13797425"/>
                <a:gd name="connsiteY5901" fmla="*/ 13563930 h 17966907"/>
                <a:gd name="connsiteX5902" fmla="*/ 471749 w 13797425"/>
                <a:gd name="connsiteY5902" fmla="*/ 13540104 h 17966907"/>
                <a:gd name="connsiteX5903" fmla="*/ 438392 w 13797425"/>
                <a:gd name="connsiteY5903" fmla="*/ 13511514 h 17966907"/>
                <a:gd name="connsiteX5904" fmla="*/ 419333 w 13797425"/>
                <a:gd name="connsiteY5904" fmla="*/ 13487688 h 17966907"/>
                <a:gd name="connsiteX5905" fmla="*/ 400271 w 13797425"/>
                <a:gd name="connsiteY5905" fmla="*/ 13468628 h 17966907"/>
                <a:gd name="connsiteX5906" fmla="*/ 371681 w 13797425"/>
                <a:gd name="connsiteY5906" fmla="*/ 13435272 h 17966907"/>
                <a:gd name="connsiteX5907" fmla="*/ 362150 w 13797425"/>
                <a:gd name="connsiteY5907" fmla="*/ 13397150 h 17966907"/>
                <a:gd name="connsiteX5908" fmla="*/ 333560 w 13797425"/>
                <a:gd name="connsiteY5908" fmla="*/ 13382855 h 17966907"/>
                <a:gd name="connsiteX5909" fmla="*/ 304967 w 13797425"/>
                <a:gd name="connsiteY5909" fmla="*/ 13368560 h 17966907"/>
                <a:gd name="connsiteX5910" fmla="*/ 285908 w 13797425"/>
                <a:gd name="connsiteY5910" fmla="*/ 13339969 h 17966907"/>
                <a:gd name="connsiteX5911" fmla="*/ 290672 w 13797425"/>
                <a:gd name="connsiteY5911" fmla="*/ 13316144 h 17966907"/>
                <a:gd name="connsiteX5912" fmla="*/ 300203 w 13797425"/>
                <a:gd name="connsiteY5912" fmla="*/ 13282788 h 17966907"/>
                <a:gd name="connsiteX5913" fmla="*/ 300203 w 13797425"/>
                <a:gd name="connsiteY5913" fmla="*/ 13258962 h 17966907"/>
                <a:gd name="connsiteX5914" fmla="*/ 276376 w 13797425"/>
                <a:gd name="connsiteY5914" fmla="*/ 13263727 h 17966907"/>
                <a:gd name="connsiteX5915" fmla="*/ 243022 w 13797425"/>
                <a:gd name="connsiteY5915" fmla="*/ 13263727 h 17966907"/>
                <a:gd name="connsiteX5916" fmla="*/ 209665 w 13797425"/>
                <a:gd name="connsiteY5916" fmla="*/ 13263727 h 17966907"/>
                <a:gd name="connsiteX5917" fmla="*/ 185839 w 13797425"/>
                <a:gd name="connsiteY5917" fmla="*/ 13287552 h 17966907"/>
                <a:gd name="connsiteX5918" fmla="*/ 162016 w 13797425"/>
                <a:gd name="connsiteY5918" fmla="*/ 13311378 h 17966907"/>
                <a:gd name="connsiteX5919" fmla="*/ 128659 w 13797425"/>
                <a:gd name="connsiteY5919" fmla="*/ 13292318 h 17966907"/>
                <a:gd name="connsiteX5920" fmla="*/ 85774 w 13797425"/>
                <a:gd name="connsiteY5920" fmla="*/ 13273258 h 17966907"/>
                <a:gd name="connsiteX5921" fmla="*/ 76241 w 13797425"/>
                <a:gd name="connsiteY5921" fmla="*/ 13301848 h 17966907"/>
                <a:gd name="connsiteX5922" fmla="*/ 0 w 13797425"/>
                <a:gd name="connsiteY5922" fmla="*/ 13273258 h 17966907"/>
                <a:gd name="connsiteX5923" fmla="*/ 0 w 13797425"/>
                <a:gd name="connsiteY5923" fmla="*/ 9780420 h 17966907"/>
                <a:gd name="connsiteX5924" fmla="*/ 23826 w 13797425"/>
                <a:gd name="connsiteY5924" fmla="*/ 9789950 h 17966907"/>
                <a:gd name="connsiteX5925" fmla="*/ 95302 w 13797425"/>
                <a:gd name="connsiteY5925" fmla="*/ 9804245 h 17966907"/>
                <a:gd name="connsiteX5926" fmla="*/ 162016 w 13797425"/>
                <a:gd name="connsiteY5926" fmla="*/ 9794715 h 17966907"/>
                <a:gd name="connsiteX5927" fmla="*/ 285908 w 13797425"/>
                <a:gd name="connsiteY5927" fmla="*/ 9842366 h 17966907"/>
                <a:gd name="connsiteX5928" fmla="*/ 362150 w 13797425"/>
                <a:gd name="connsiteY5928" fmla="*/ 9932904 h 17966907"/>
                <a:gd name="connsiteX5929" fmla="*/ 424097 w 13797425"/>
                <a:gd name="connsiteY5929" fmla="*/ 9975790 h 17966907"/>
                <a:gd name="connsiteX5930" fmla="*/ 447923 w 13797425"/>
                <a:gd name="connsiteY5930" fmla="*/ 10004380 h 17966907"/>
                <a:gd name="connsiteX5931" fmla="*/ 490808 w 13797425"/>
                <a:gd name="connsiteY5931" fmla="*/ 10028206 h 17966907"/>
                <a:gd name="connsiteX5932" fmla="*/ 586111 w 13797425"/>
                <a:gd name="connsiteY5932" fmla="*/ 10085388 h 17966907"/>
                <a:gd name="connsiteX5933" fmla="*/ 614703 w 13797425"/>
                <a:gd name="connsiteY5933" fmla="*/ 10090153 h 17966907"/>
                <a:gd name="connsiteX5934" fmla="*/ 671883 w 13797425"/>
                <a:gd name="connsiteY5934" fmla="*/ 10118744 h 17966907"/>
                <a:gd name="connsiteX5935" fmla="*/ 705240 w 13797425"/>
                <a:gd name="connsiteY5935" fmla="*/ 10113978 h 17966907"/>
                <a:gd name="connsiteX5936" fmla="*/ 762420 w 13797425"/>
                <a:gd name="connsiteY5936" fmla="*/ 10118744 h 17966907"/>
                <a:gd name="connsiteX5937" fmla="*/ 800542 w 13797425"/>
                <a:gd name="connsiteY5937" fmla="*/ 10142569 h 17966907"/>
                <a:gd name="connsiteX5938" fmla="*/ 881548 w 13797425"/>
                <a:gd name="connsiteY5938" fmla="*/ 10199751 h 17966907"/>
                <a:gd name="connsiteX5939" fmla="*/ 895844 w 13797425"/>
                <a:gd name="connsiteY5939" fmla="*/ 10204516 h 17966907"/>
                <a:gd name="connsiteX5940" fmla="*/ 900610 w 13797425"/>
                <a:gd name="connsiteY5940" fmla="*/ 10199751 h 17966907"/>
                <a:gd name="connsiteX5941" fmla="*/ 876783 w 13797425"/>
                <a:gd name="connsiteY5941" fmla="*/ 10142569 h 17966907"/>
                <a:gd name="connsiteX5942" fmla="*/ 872020 w 13797425"/>
                <a:gd name="connsiteY5942" fmla="*/ 10137804 h 17966907"/>
                <a:gd name="connsiteX5943" fmla="*/ 838663 w 13797425"/>
                <a:gd name="connsiteY5943" fmla="*/ 10113978 h 17966907"/>
                <a:gd name="connsiteX5944" fmla="*/ 800542 w 13797425"/>
                <a:gd name="connsiteY5944" fmla="*/ 10104448 h 17966907"/>
                <a:gd name="connsiteX5945" fmla="*/ 800542 w 13797425"/>
                <a:gd name="connsiteY5945" fmla="*/ 10099683 h 17966907"/>
                <a:gd name="connsiteX5946" fmla="*/ 791010 w 13797425"/>
                <a:gd name="connsiteY5946" fmla="*/ 10080622 h 17966907"/>
                <a:gd name="connsiteX5947" fmla="*/ 795778 w 13797425"/>
                <a:gd name="connsiteY5947" fmla="*/ 10071092 h 17966907"/>
                <a:gd name="connsiteX5948" fmla="*/ 800542 w 13797425"/>
                <a:gd name="connsiteY5948" fmla="*/ 10066327 h 17966907"/>
                <a:gd name="connsiteX5949" fmla="*/ 829133 w 13797425"/>
                <a:gd name="connsiteY5949" fmla="*/ 10071092 h 17966907"/>
                <a:gd name="connsiteX5950" fmla="*/ 848193 w 13797425"/>
                <a:gd name="connsiteY5950" fmla="*/ 10066327 h 17966907"/>
                <a:gd name="connsiteX5951" fmla="*/ 848193 w 13797425"/>
                <a:gd name="connsiteY5951" fmla="*/ 10056797 h 17966907"/>
                <a:gd name="connsiteX5952" fmla="*/ 838663 w 13797425"/>
                <a:gd name="connsiteY5952" fmla="*/ 10056797 h 17966907"/>
                <a:gd name="connsiteX5953" fmla="*/ 824368 w 13797425"/>
                <a:gd name="connsiteY5953" fmla="*/ 10047267 h 17966907"/>
                <a:gd name="connsiteX5954" fmla="*/ 805307 w 13797425"/>
                <a:gd name="connsiteY5954" fmla="*/ 10032971 h 17966907"/>
                <a:gd name="connsiteX5955" fmla="*/ 795778 w 13797425"/>
                <a:gd name="connsiteY5955" fmla="*/ 10018676 h 17966907"/>
                <a:gd name="connsiteX5956" fmla="*/ 829133 w 13797425"/>
                <a:gd name="connsiteY5956" fmla="*/ 9932904 h 17966907"/>
                <a:gd name="connsiteX5957" fmla="*/ 843428 w 13797425"/>
                <a:gd name="connsiteY5957" fmla="*/ 9942434 h 17966907"/>
                <a:gd name="connsiteX5958" fmla="*/ 862488 w 13797425"/>
                <a:gd name="connsiteY5958" fmla="*/ 9923373 h 17966907"/>
                <a:gd name="connsiteX5959" fmla="*/ 891080 w 13797425"/>
                <a:gd name="connsiteY5959" fmla="*/ 9932904 h 17966907"/>
                <a:gd name="connsiteX5960" fmla="*/ 900610 w 13797425"/>
                <a:gd name="connsiteY5960" fmla="*/ 9928138 h 17966907"/>
                <a:gd name="connsiteX5961" fmla="*/ 900610 w 13797425"/>
                <a:gd name="connsiteY5961" fmla="*/ 9880487 h 17966907"/>
                <a:gd name="connsiteX5962" fmla="*/ 905375 w 13797425"/>
                <a:gd name="connsiteY5962" fmla="*/ 9870957 h 17966907"/>
                <a:gd name="connsiteX5963" fmla="*/ 914905 w 13797425"/>
                <a:gd name="connsiteY5963" fmla="*/ 9861427 h 17966907"/>
                <a:gd name="connsiteX5964" fmla="*/ 962558 w 13797425"/>
                <a:gd name="connsiteY5964" fmla="*/ 9856662 h 17966907"/>
                <a:gd name="connsiteX5965" fmla="*/ 1014972 w 13797425"/>
                <a:gd name="connsiteY5965" fmla="*/ 9861427 h 17966907"/>
                <a:gd name="connsiteX5966" fmla="*/ 1024503 w 13797425"/>
                <a:gd name="connsiteY5966" fmla="*/ 9856662 h 17966907"/>
                <a:gd name="connsiteX5967" fmla="*/ 1019737 w 13797425"/>
                <a:gd name="connsiteY5967" fmla="*/ 9828071 h 17966907"/>
                <a:gd name="connsiteX5968" fmla="*/ 1014972 w 13797425"/>
                <a:gd name="connsiteY5968" fmla="*/ 9818540 h 17966907"/>
                <a:gd name="connsiteX5969" fmla="*/ 1019737 w 13797425"/>
                <a:gd name="connsiteY5969" fmla="*/ 9789950 h 17966907"/>
                <a:gd name="connsiteX5970" fmla="*/ 1024503 w 13797425"/>
                <a:gd name="connsiteY5970" fmla="*/ 9775654 h 17966907"/>
                <a:gd name="connsiteX5971" fmla="*/ 1029267 w 13797425"/>
                <a:gd name="connsiteY5971" fmla="*/ 9766124 h 17966907"/>
                <a:gd name="connsiteX5972" fmla="*/ 1057857 w 13797425"/>
                <a:gd name="connsiteY5972" fmla="*/ 9775654 h 17966907"/>
                <a:gd name="connsiteX5973" fmla="*/ 1067388 w 13797425"/>
                <a:gd name="connsiteY5973" fmla="*/ 9785185 h 17966907"/>
                <a:gd name="connsiteX5974" fmla="*/ 1072152 w 13797425"/>
                <a:gd name="connsiteY5974" fmla="*/ 9809010 h 17966907"/>
                <a:gd name="connsiteX5975" fmla="*/ 1081685 w 13797425"/>
                <a:gd name="connsiteY5975" fmla="*/ 9823306 h 17966907"/>
                <a:gd name="connsiteX5976" fmla="*/ 1110275 w 13797425"/>
                <a:gd name="connsiteY5976" fmla="*/ 9837601 h 17966907"/>
                <a:gd name="connsiteX5977" fmla="*/ 1115042 w 13797425"/>
                <a:gd name="connsiteY5977" fmla="*/ 9847131 h 17966907"/>
                <a:gd name="connsiteX5978" fmla="*/ 1100747 w 13797425"/>
                <a:gd name="connsiteY5978" fmla="*/ 9880487 h 17966907"/>
                <a:gd name="connsiteX5979" fmla="*/ 1091214 w 13797425"/>
                <a:gd name="connsiteY5979" fmla="*/ 9899548 h 17966907"/>
                <a:gd name="connsiteX5980" fmla="*/ 1067388 w 13797425"/>
                <a:gd name="connsiteY5980" fmla="*/ 9947199 h 17966907"/>
                <a:gd name="connsiteX5981" fmla="*/ 1067388 w 13797425"/>
                <a:gd name="connsiteY5981" fmla="*/ 9956729 h 17966907"/>
                <a:gd name="connsiteX5982" fmla="*/ 1100747 w 13797425"/>
                <a:gd name="connsiteY5982" fmla="*/ 9937669 h 17966907"/>
                <a:gd name="connsiteX5983" fmla="*/ 1143632 w 13797425"/>
                <a:gd name="connsiteY5983" fmla="*/ 9909078 h 17966907"/>
                <a:gd name="connsiteX5984" fmla="*/ 1176986 w 13797425"/>
                <a:gd name="connsiteY5984" fmla="*/ 9890017 h 17966907"/>
                <a:gd name="connsiteX5985" fmla="*/ 1205578 w 13797425"/>
                <a:gd name="connsiteY5985" fmla="*/ 9890017 h 17966907"/>
                <a:gd name="connsiteX5986" fmla="*/ 1224638 w 13797425"/>
                <a:gd name="connsiteY5986" fmla="*/ 9880487 h 17966907"/>
                <a:gd name="connsiteX5987" fmla="*/ 1238933 w 13797425"/>
                <a:gd name="connsiteY5987" fmla="*/ 9861427 h 17966907"/>
                <a:gd name="connsiteX5988" fmla="*/ 1248463 w 13797425"/>
                <a:gd name="connsiteY5988" fmla="*/ 9847131 h 17966907"/>
                <a:gd name="connsiteX5989" fmla="*/ 1262760 w 13797425"/>
                <a:gd name="connsiteY5989" fmla="*/ 9789950 h 17966907"/>
                <a:gd name="connsiteX5990" fmla="*/ 1277055 w 13797425"/>
                <a:gd name="connsiteY5990" fmla="*/ 9780420 h 17966907"/>
                <a:gd name="connsiteX5991" fmla="*/ 1324705 w 13797425"/>
                <a:gd name="connsiteY5991" fmla="*/ 9785185 h 17966907"/>
                <a:gd name="connsiteX5992" fmla="*/ 1339002 w 13797425"/>
                <a:gd name="connsiteY5992" fmla="*/ 9785185 h 17966907"/>
                <a:gd name="connsiteX5993" fmla="*/ 1343766 w 13797425"/>
                <a:gd name="connsiteY5993" fmla="*/ 9780420 h 17966907"/>
                <a:gd name="connsiteX5994" fmla="*/ 1343766 w 13797425"/>
                <a:gd name="connsiteY5994" fmla="*/ 9770889 h 17966907"/>
                <a:gd name="connsiteX5995" fmla="*/ 1334236 w 13797425"/>
                <a:gd name="connsiteY5995" fmla="*/ 9761359 h 17966907"/>
                <a:gd name="connsiteX5996" fmla="*/ 1319941 w 13797425"/>
                <a:gd name="connsiteY5996" fmla="*/ 9761359 h 17966907"/>
                <a:gd name="connsiteX5997" fmla="*/ 1319941 w 13797425"/>
                <a:gd name="connsiteY5997" fmla="*/ 9756594 h 17966907"/>
                <a:gd name="connsiteX5998" fmla="*/ 1324705 w 13797425"/>
                <a:gd name="connsiteY5998" fmla="*/ 9747064 h 17966907"/>
                <a:gd name="connsiteX5999" fmla="*/ 1329471 w 13797425"/>
                <a:gd name="connsiteY5999" fmla="*/ 9742298 h 17966907"/>
                <a:gd name="connsiteX6000" fmla="*/ 1353297 w 13797425"/>
                <a:gd name="connsiteY6000" fmla="*/ 9737533 h 17966907"/>
                <a:gd name="connsiteX6001" fmla="*/ 1372356 w 13797425"/>
                <a:gd name="connsiteY6001" fmla="*/ 9756594 h 17966907"/>
                <a:gd name="connsiteX6002" fmla="*/ 1381888 w 13797425"/>
                <a:gd name="connsiteY6002" fmla="*/ 9756594 h 17966907"/>
                <a:gd name="connsiteX6003" fmla="*/ 1415244 w 13797425"/>
                <a:gd name="connsiteY6003" fmla="*/ 9737533 h 17966907"/>
                <a:gd name="connsiteX6004" fmla="*/ 1472424 w 13797425"/>
                <a:gd name="connsiteY6004" fmla="*/ 9675587 h 17966907"/>
                <a:gd name="connsiteX6005" fmla="*/ 1496250 w 13797425"/>
                <a:gd name="connsiteY6005" fmla="*/ 9661291 h 17966907"/>
                <a:gd name="connsiteX6006" fmla="*/ 1515310 w 13797425"/>
                <a:gd name="connsiteY6006" fmla="*/ 9656526 h 17966907"/>
                <a:gd name="connsiteX6007" fmla="*/ 1529607 w 13797425"/>
                <a:gd name="connsiteY6007" fmla="*/ 9666056 h 17966907"/>
                <a:gd name="connsiteX6008" fmla="*/ 1543900 w 13797425"/>
                <a:gd name="connsiteY6008" fmla="*/ 9666056 h 17966907"/>
                <a:gd name="connsiteX6009" fmla="*/ 1558197 w 13797425"/>
                <a:gd name="connsiteY6009" fmla="*/ 9632701 h 17966907"/>
                <a:gd name="connsiteX6010" fmla="*/ 1562962 w 13797425"/>
                <a:gd name="connsiteY6010" fmla="*/ 9613640 h 17966907"/>
                <a:gd name="connsiteX6011" fmla="*/ 1577257 w 13797425"/>
                <a:gd name="connsiteY6011" fmla="*/ 9599345 h 17966907"/>
                <a:gd name="connsiteX6012" fmla="*/ 1615378 w 13797425"/>
                <a:gd name="connsiteY6012" fmla="*/ 9565989 h 17966907"/>
                <a:gd name="connsiteX6013" fmla="*/ 1639204 w 13797425"/>
                <a:gd name="connsiteY6013" fmla="*/ 9556459 h 17966907"/>
                <a:gd name="connsiteX6014" fmla="*/ 1658263 w 13797425"/>
                <a:gd name="connsiteY6014" fmla="*/ 9565989 h 17966907"/>
                <a:gd name="connsiteX6015" fmla="*/ 1677325 w 13797425"/>
                <a:gd name="connsiteY6015" fmla="*/ 9580284 h 17966907"/>
                <a:gd name="connsiteX6016" fmla="*/ 1691620 w 13797425"/>
                <a:gd name="connsiteY6016" fmla="*/ 9585049 h 17966907"/>
                <a:gd name="connsiteX6017" fmla="*/ 1710680 w 13797425"/>
                <a:gd name="connsiteY6017" fmla="*/ 9580284 h 17966907"/>
                <a:gd name="connsiteX6018" fmla="*/ 1729742 w 13797425"/>
                <a:gd name="connsiteY6018" fmla="*/ 9580284 h 17966907"/>
                <a:gd name="connsiteX6019" fmla="*/ 1734506 w 13797425"/>
                <a:gd name="connsiteY6019" fmla="*/ 9575519 h 17966907"/>
                <a:gd name="connsiteX6020" fmla="*/ 1763096 w 13797425"/>
                <a:gd name="connsiteY6020" fmla="*/ 9532633 h 17966907"/>
                <a:gd name="connsiteX6021" fmla="*/ 1772627 w 13797425"/>
                <a:gd name="connsiteY6021" fmla="*/ 9532633 h 17966907"/>
                <a:gd name="connsiteX6022" fmla="*/ 1777395 w 13797425"/>
                <a:gd name="connsiteY6022" fmla="*/ 9546928 h 17966907"/>
                <a:gd name="connsiteX6023" fmla="*/ 1791687 w 13797425"/>
                <a:gd name="connsiteY6023" fmla="*/ 9575519 h 17966907"/>
                <a:gd name="connsiteX6024" fmla="*/ 1791687 w 13797425"/>
                <a:gd name="connsiteY6024" fmla="*/ 9589814 h 17966907"/>
                <a:gd name="connsiteX6025" fmla="*/ 1772627 w 13797425"/>
                <a:gd name="connsiteY6025" fmla="*/ 9623170 h 17966907"/>
                <a:gd name="connsiteX6026" fmla="*/ 1648733 w 13797425"/>
                <a:gd name="connsiteY6026" fmla="*/ 9723238 h 17966907"/>
                <a:gd name="connsiteX6027" fmla="*/ 1610614 w 13797425"/>
                <a:gd name="connsiteY6027" fmla="*/ 9766124 h 17966907"/>
                <a:gd name="connsiteX6028" fmla="*/ 1591553 w 13797425"/>
                <a:gd name="connsiteY6028" fmla="*/ 9780420 h 17966907"/>
                <a:gd name="connsiteX6029" fmla="*/ 1567729 w 13797425"/>
                <a:gd name="connsiteY6029" fmla="*/ 9789950 h 17966907"/>
                <a:gd name="connsiteX6030" fmla="*/ 1529607 w 13797425"/>
                <a:gd name="connsiteY6030" fmla="*/ 9799480 h 17966907"/>
                <a:gd name="connsiteX6031" fmla="*/ 1515310 w 13797425"/>
                <a:gd name="connsiteY6031" fmla="*/ 9804245 h 17966907"/>
                <a:gd name="connsiteX6032" fmla="*/ 1486720 w 13797425"/>
                <a:gd name="connsiteY6032" fmla="*/ 9813775 h 17966907"/>
                <a:gd name="connsiteX6033" fmla="*/ 1429539 w 13797425"/>
                <a:gd name="connsiteY6033" fmla="*/ 9828071 h 17966907"/>
                <a:gd name="connsiteX6034" fmla="*/ 1415244 w 13797425"/>
                <a:gd name="connsiteY6034" fmla="*/ 9832836 h 17966907"/>
                <a:gd name="connsiteX6035" fmla="*/ 1410478 w 13797425"/>
                <a:gd name="connsiteY6035" fmla="*/ 9842366 h 17966907"/>
                <a:gd name="connsiteX6036" fmla="*/ 1386651 w 13797425"/>
                <a:gd name="connsiteY6036" fmla="*/ 9894782 h 17966907"/>
                <a:gd name="connsiteX6037" fmla="*/ 1377121 w 13797425"/>
                <a:gd name="connsiteY6037" fmla="*/ 9909078 h 17966907"/>
                <a:gd name="connsiteX6038" fmla="*/ 1358061 w 13797425"/>
                <a:gd name="connsiteY6038" fmla="*/ 9932904 h 17966907"/>
                <a:gd name="connsiteX6039" fmla="*/ 1329471 w 13797425"/>
                <a:gd name="connsiteY6039" fmla="*/ 9947199 h 17966907"/>
                <a:gd name="connsiteX6040" fmla="*/ 1300879 w 13797425"/>
                <a:gd name="connsiteY6040" fmla="*/ 9956729 h 17966907"/>
                <a:gd name="connsiteX6041" fmla="*/ 1281820 w 13797425"/>
                <a:gd name="connsiteY6041" fmla="*/ 9980555 h 17966907"/>
                <a:gd name="connsiteX6042" fmla="*/ 1253228 w 13797425"/>
                <a:gd name="connsiteY6042" fmla="*/ 10023441 h 17966907"/>
                <a:gd name="connsiteX6043" fmla="*/ 1238933 w 13797425"/>
                <a:gd name="connsiteY6043" fmla="*/ 10056797 h 17966907"/>
                <a:gd name="connsiteX6044" fmla="*/ 1215107 w 13797425"/>
                <a:gd name="connsiteY6044" fmla="*/ 10085388 h 17966907"/>
                <a:gd name="connsiteX6045" fmla="*/ 1191283 w 13797425"/>
                <a:gd name="connsiteY6045" fmla="*/ 10118744 h 17966907"/>
                <a:gd name="connsiteX6046" fmla="*/ 1186517 w 13797425"/>
                <a:gd name="connsiteY6046" fmla="*/ 10137804 h 17966907"/>
                <a:gd name="connsiteX6047" fmla="*/ 1191283 w 13797425"/>
                <a:gd name="connsiteY6047" fmla="*/ 10161630 h 17966907"/>
                <a:gd name="connsiteX6048" fmla="*/ 1196047 w 13797425"/>
                <a:gd name="connsiteY6048" fmla="*/ 10171160 h 17966907"/>
                <a:gd name="connsiteX6049" fmla="*/ 1219873 w 13797425"/>
                <a:gd name="connsiteY6049" fmla="*/ 10180690 h 17966907"/>
                <a:gd name="connsiteX6050" fmla="*/ 1229403 w 13797425"/>
                <a:gd name="connsiteY6050" fmla="*/ 10180690 h 17966907"/>
                <a:gd name="connsiteX6051" fmla="*/ 1219873 w 13797425"/>
                <a:gd name="connsiteY6051" fmla="*/ 10166395 h 17966907"/>
                <a:gd name="connsiteX6052" fmla="*/ 1200812 w 13797425"/>
                <a:gd name="connsiteY6052" fmla="*/ 10147334 h 17966907"/>
                <a:gd name="connsiteX6053" fmla="*/ 1200812 w 13797425"/>
                <a:gd name="connsiteY6053" fmla="*/ 10142569 h 17966907"/>
                <a:gd name="connsiteX6054" fmla="*/ 1205578 w 13797425"/>
                <a:gd name="connsiteY6054" fmla="*/ 10137804 h 17966907"/>
                <a:gd name="connsiteX6055" fmla="*/ 1296115 w 13797425"/>
                <a:gd name="connsiteY6055" fmla="*/ 10152099 h 17966907"/>
                <a:gd name="connsiteX6056" fmla="*/ 1315174 w 13797425"/>
                <a:gd name="connsiteY6056" fmla="*/ 10137804 h 17966907"/>
                <a:gd name="connsiteX6057" fmla="*/ 1324705 w 13797425"/>
                <a:gd name="connsiteY6057" fmla="*/ 10123509 h 17966907"/>
                <a:gd name="connsiteX6058" fmla="*/ 1324705 w 13797425"/>
                <a:gd name="connsiteY6058" fmla="*/ 10118744 h 17966907"/>
                <a:gd name="connsiteX6059" fmla="*/ 1296115 w 13797425"/>
                <a:gd name="connsiteY6059" fmla="*/ 10113978 h 17966907"/>
                <a:gd name="connsiteX6060" fmla="*/ 1291350 w 13797425"/>
                <a:gd name="connsiteY6060" fmla="*/ 10104448 h 17966907"/>
                <a:gd name="connsiteX6061" fmla="*/ 1286584 w 13797425"/>
                <a:gd name="connsiteY6061" fmla="*/ 10080622 h 17966907"/>
                <a:gd name="connsiteX6062" fmla="*/ 1286584 w 13797425"/>
                <a:gd name="connsiteY6062" fmla="*/ 10061562 h 17966907"/>
                <a:gd name="connsiteX6063" fmla="*/ 1286584 w 13797425"/>
                <a:gd name="connsiteY6063" fmla="*/ 10052032 h 17966907"/>
                <a:gd name="connsiteX6064" fmla="*/ 1296115 w 13797425"/>
                <a:gd name="connsiteY6064" fmla="*/ 10032971 h 17966907"/>
                <a:gd name="connsiteX6065" fmla="*/ 1319941 w 13797425"/>
                <a:gd name="connsiteY6065" fmla="*/ 10009146 h 17966907"/>
                <a:gd name="connsiteX6066" fmla="*/ 1348531 w 13797425"/>
                <a:gd name="connsiteY6066" fmla="*/ 9994850 h 17966907"/>
                <a:gd name="connsiteX6067" fmla="*/ 1372356 w 13797425"/>
                <a:gd name="connsiteY6067" fmla="*/ 9980555 h 17966907"/>
                <a:gd name="connsiteX6068" fmla="*/ 1386651 w 13797425"/>
                <a:gd name="connsiteY6068" fmla="*/ 9966259 h 17966907"/>
                <a:gd name="connsiteX6069" fmla="*/ 1420008 w 13797425"/>
                <a:gd name="connsiteY6069" fmla="*/ 9942434 h 17966907"/>
                <a:gd name="connsiteX6070" fmla="*/ 1434304 w 13797425"/>
                <a:gd name="connsiteY6070" fmla="*/ 9923373 h 17966907"/>
                <a:gd name="connsiteX6071" fmla="*/ 1439068 w 13797425"/>
                <a:gd name="connsiteY6071" fmla="*/ 9904313 h 17966907"/>
                <a:gd name="connsiteX6072" fmla="*/ 1439068 w 13797425"/>
                <a:gd name="connsiteY6072" fmla="*/ 9899548 h 17966907"/>
                <a:gd name="connsiteX6073" fmla="*/ 1434304 w 13797425"/>
                <a:gd name="connsiteY6073" fmla="*/ 9894782 h 17966907"/>
                <a:gd name="connsiteX6074" fmla="*/ 1439068 w 13797425"/>
                <a:gd name="connsiteY6074" fmla="*/ 9880487 h 17966907"/>
                <a:gd name="connsiteX6075" fmla="*/ 1462894 w 13797425"/>
                <a:gd name="connsiteY6075" fmla="*/ 9866192 h 17966907"/>
                <a:gd name="connsiteX6076" fmla="*/ 1477189 w 13797425"/>
                <a:gd name="connsiteY6076" fmla="*/ 9866192 h 17966907"/>
                <a:gd name="connsiteX6077" fmla="*/ 1510545 w 13797425"/>
                <a:gd name="connsiteY6077" fmla="*/ 9875722 h 17966907"/>
                <a:gd name="connsiteX6078" fmla="*/ 1515310 w 13797425"/>
                <a:gd name="connsiteY6078" fmla="*/ 9885252 h 17966907"/>
                <a:gd name="connsiteX6079" fmla="*/ 1510545 w 13797425"/>
                <a:gd name="connsiteY6079" fmla="*/ 9909078 h 17966907"/>
                <a:gd name="connsiteX6080" fmla="*/ 1515310 w 13797425"/>
                <a:gd name="connsiteY6080" fmla="*/ 9909078 h 17966907"/>
                <a:gd name="connsiteX6081" fmla="*/ 1529607 w 13797425"/>
                <a:gd name="connsiteY6081" fmla="*/ 9880487 h 17966907"/>
                <a:gd name="connsiteX6082" fmla="*/ 1539136 w 13797425"/>
                <a:gd name="connsiteY6082" fmla="*/ 9870957 h 17966907"/>
                <a:gd name="connsiteX6083" fmla="*/ 1543900 w 13797425"/>
                <a:gd name="connsiteY6083" fmla="*/ 9866192 h 17966907"/>
                <a:gd name="connsiteX6084" fmla="*/ 1553431 w 13797425"/>
                <a:gd name="connsiteY6084" fmla="*/ 9870957 h 17966907"/>
                <a:gd name="connsiteX6085" fmla="*/ 1562962 w 13797425"/>
                <a:gd name="connsiteY6085" fmla="*/ 9880487 h 17966907"/>
                <a:gd name="connsiteX6086" fmla="*/ 1562962 w 13797425"/>
                <a:gd name="connsiteY6086" fmla="*/ 9909078 h 17966907"/>
                <a:gd name="connsiteX6087" fmla="*/ 1567729 w 13797425"/>
                <a:gd name="connsiteY6087" fmla="*/ 9956729 h 17966907"/>
                <a:gd name="connsiteX6088" fmla="*/ 1567729 w 13797425"/>
                <a:gd name="connsiteY6088" fmla="*/ 9975790 h 17966907"/>
                <a:gd name="connsiteX6089" fmla="*/ 1577257 w 13797425"/>
                <a:gd name="connsiteY6089" fmla="*/ 9942434 h 17966907"/>
                <a:gd name="connsiteX6090" fmla="*/ 1582024 w 13797425"/>
                <a:gd name="connsiteY6090" fmla="*/ 9928138 h 17966907"/>
                <a:gd name="connsiteX6091" fmla="*/ 1615378 w 13797425"/>
                <a:gd name="connsiteY6091" fmla="*/ 9856662 h 17966907"/>
                <a:gd name="connsiteX6092" fmla="*/ 1639204 w 13797425"/>
                <a:gd name="connsiteY6092" fmla="*/ 9818540 h 17966907"/>
                <a:gd name="connsiteX6093" fmla="*/ 1663030 w 13797425"/>
                <a:gd name="connsiteY6093" fmla="*/ 9780420 h 17966907"/>
                <a:gd name="connsiteX6094" fmla="*/ 1701152 w 13797425"/>
                <a:gd name="connsiteY6094" fmla="*/ 9751829 h 17966907"/>
                <a:gd name="connsiteX6095" fmla="*/ 1786922 w 13797425"/>
                <a:gd name="connsiteY6095" fmla="*/ 9704178 h 17966907"/>
                <a:gd name="connsiteX6096" fmla="*/ 1834573 w 13797425"/>
                <a:gd name="connsiteY6096" fmla="*/ 9689882 h 17966907"/>
                <a:gd name="connsiteX6097" fmla="*/ 1858399 w 13797425"/>
                <a:gd name="connsiteY6097" fmla="*/ 9675587 h 17966907"/>
                <a:gd name="connsiteX6098" fmla="*/ 1872694 w 13797425"/>
                <a:gd name="connsiteY6098" fmla="*/ 9666056 h 17966907"/>
                <a:gd name="connsiteX6099" fmla="*/ 1877459 w 13797425"/>
                <a:gd name="connsiteY6099" fmla="*/ 9651761 h 17966907"/>
                <a:gd name="connsiteX6100" fmla="*/ 1891755 w 13797425"/>
                <a:gd name="connsiteY6100" fmla="*/ 9637466 h 17966907"/>
                <a:gd name="connsiteX6101" fmla="*/ 1891755 w 13797425"/>
                <a:gd name="connsiteY6101" fmla="*/ 9642231 h 17966907"/>
                <a:gd name="connsiteX6102" fmla="*/ 1886990 w 13797425"/>
                <a:gd name="connsiteY6102" fmla="*/ 9670822 h 17966907"/>
                <a:gd name="connsiteX6103" fmla="*/ 1886990 w 13797425"/>
                <a:gd name="connsiteY6103" fmla="*/ 9680352 h 17966907"/>
                <a:gd name="connsiteX6104" fmla="*/ 1853634 w 13797425"/>
                <a:gd name="connsiteY6104" fmla="*/ 9699412 h 17966907"/>
                <a:gd name="connsiteX6105" fmla="*/ 1848868 w 13797425"/>
                <a:gd name="connsiteY6105" fmla="*/ 9713708 h 17966907"/>
                <a:gd name="connsiteX6106" fmla="*/ 1853634 w 13797425"/>
                <a:gd name="connsiteY6106" fmla="*/ 9737533 h 17966907"/>
                <a:gd name="connsiteX6107" fmla="*/ 1858399 w 13797425"/>
                <a:gd name="connsiteY6107" fmla="*/ 9751829 h 17966907"/>
                <a:gd name="connsiteX6108" fmla="*/ 1867929 w 13797425"/>
                <a:gd name="connsiteY6108" fmla="*/ 9761359 h 17966907"/>
                <a:gd name="connsiteX6109" fmla="*/ 1877459 w 13797425"/>
                <a:gd name="connsiteY6109" fmla="*/ 9751829 h 17966907"/>
                <a:gd name="connsiteX6110" fmla="*/ 1896520 w 13797425"/>
                <a:gd name="connsiteY6110" fmla="*/ 9737533 h 17966907"/>
                <a:gd name="connsiteX6111" fmla="*/ 1920345 w 13797425"/>
                <a:gd name="connsiteY6111" fmla="*/ 9708943 h 17966907"/>
                <a:gd name="connsiteX6112" fmla="*/ 1972762 w 13797425"/>
                <a:gd name="connsiteY6112" fmla="*/ 9642231 h 17966907"/>
                <a:gd name="connsiteX6113" fmla="*/ 1977527 w 13797425"/>
                <a:gd name="connsiteY6113" fmla="*/ 9627935 h 17966907"/>
                <a:gd name="connsiteX6114" fmla="*/ 1987057 w 13797425"/>
                <a:gd name="connsiteY6114" fmla="*/ 9575519 h 17966907"/>
                <a:gd name="connsiteX6115" fmla="*/ 2015648 w 13797425"/>
                <a:gd name="connsiteY6115" fmla="*/ 9551693 h 17966907"/>
                <a:gd name="connsiteX6116" fmla="*/ 2068064 w 13797425"/>
                <a:gd name="connsiteY6116" fmla="*/ 9523103 h 17966907"/>
                <a:gd name="connsiteX6117" fmla="*/ 2082360 w 13797425"/>
                <a:gd name="connsiteY6117" fmla="*/ 9504042 h 17966907"/>
                <a:gd name="connsiteX6118" fmla="*/ 2034708 w 13797425"/>
                <a:gd name="connsiteY6118" fmla="*/ 9489747 h 17966907"/>
                <a:gd name="connsiteX6119" fmla="*/ 2025178 w 13797425"/>
                <a:gd name="connsiteY6119" fmla="*/ 9480216 h 17966907"/>
                <a:gd name="connsiteX6120" fmla="*/ 2025178 w 13797425"/>
                <a:gd name="connsiteY6120" fmla="*/ 9470686 h 17966907"/>
                <a:gd name="connsiteX6121" fmla="*/ 2034708 w 13797425"/>
                <a:gd name="connsiteY6121" fmla="*/ 9456391 h 17966907"/>
                <a:gd name="connsiteX6122" fmla="*/ 2010883 w 13797425"/>
                <a:gd name="connsiteY6122" fmla="*/ 9442096 h 17966907"/>
                <a:gd name="connsiteX6123" fmla="*/ 2006118 w 13797425"/>
                <a:gd name="connsiteY6123" fmla="*/ 9432565 h 17966907"/>
                <a:gd name="connsiteX6124" fmla="*/ 2006118 w 13797425"/>
                <a:gd name="connsiteY6124" fmla="*/ 9399209 h 17966907"/>
                <a:gd name="connsiteX6125" fmla="*/ 2010883 w 13797425"/>
                <a:gd name="connsiteY6125" fmla="*/ 9380149 h 17966907"/>
                <a:gd name="connsiteX6126" fmla="*/ 2025178 w 13797425"/>
                <a:gd name="connsiteY6126" fmla="*/ 9361088 h 17966907"/>
                <a:gd name="connsiteX6127" fmla="*/ 2034708 w 13797425"/>
                <a:gd name="connsiteY6127" fmla="*/ 9356323 h 17966907"/>
                <a:gd name="connsiteX6128" fmla="*/ 2053769 w 13797425"/>
                <a:gd name="connsiteY6128" fmla="*/ 9370619 h 17966907"/>
                <a:gd name="connsiteX6129" fmla="*/ 2068064 w 13797425"/>
                <a:gd name="connsiteY6129" fmla="*/ 9384914 h 17966907"/>
                <a:gd name="connsiteX6130" fmla="*/ 2130011 w 13797425"/>
                <a:gd name="connsiteY6130" fmla="*/ 9451626 h 17966907"/>
                <a:gd name="connsiteX6131" fmla="*/ 2153836 w 13797425"/>
                <a:gd name="connsiteY6131" fmla="*/ 9484982 h 17966907"/>
                <a:gd name="connsiteX6132" fmla="*/ 2168132 w 13797425"/>
                <a:gd name="connsiteY6132" fmla="*/ 9513572 h 17966907"/>
                <a:gd name="connsiteX6133" fmla="*/ 2201488 w 13797425"/>
                <a:gd name="connsiteY6133" fmla="*/ 9594580 h 17966907"/>
                <a:gd name="connsiteX6134" fmla="*/ 2215783 w 13797425"/>
                <a:gd name="connsiteY6134" fmla="*/ 9642231 h 17966907"/>
                <a:gd name="connsiteX6135" fmla="*/ 2225314 w 13797425"/>
                <a:gd name="connsiteY6135" fmla="*/ 9689882 h 17966907"/>
                <a:gd name="connsiteX6136" fmla="*/ 2239609 w 13797425"/>
                <a:gd name="connsiteY6136" fmla="*/ 9723238 h 17966907"/>
                <a:gd name="connsiteX6137" fmla="*/ 2249139 w 13797425"/>
                <a:gd name="connsiteY6137" fmla="*/ 9747064 h 17966907"/>
                <a:gd name="connsiteX6138" fmla="*/ 2306321 w 13797425"/>
                <a:gd name="connsiteY6138" fmla="*/ 9828071 h 17966907"/>
                <a:gd name="connsiteX6139" fmla="*/ 2334912 w 13797425"/>
                <a:gd name="connsiteY6139" fmla="*/ 9861427 h 17966907"/>
                <a:gd name="connsiteX6140" fmla="*/ 2358737 w 13797425"/>
                <a:gd name="connsiteY6140" fmla="*/ 9885252 h 17966907"/>
                <a:gd name="connsiteX6141" fmla="*/ 2387328 w 13797425"/>
                <a:gd name="connsiteY6141" fmla="*/ 9904313 h 17966907"/>
                <a:gd name="connsiteX6142" fmla="*/ 2420684 w 13797425"/>
                <a:gd name="connsiteY6142" fmla="*/ 9913843 h 17966907"/>
                <a:gd name="connsiteX6143" fmla="*/ 2439744 w 13797425"/>
                <a:gd name="connsiteY6143" fmla="*/ 9913843 h 17966907"/>
                <a:gd name="connsiteX6144" fmla="*/ 2473100 w 13797425"/>
                <a:gd name="connsiteY6144" fmla="*/ 9880487 h 17966907"/>
                <a:gd name="connsiteX6145" fmla="*/ 2473100 w 13797425"/>
                <a:gd name="connsiteY6145" fmla="*/ 9856662 h 17966907"/>
                <a:gd name="connsiteX6146" fmla="*/ 2458805 w 13797425"/>
                <a:gd name="connsiteY6146" fmla="*/ 9818540 h 17966907"/>
                <a:gd name="connsiteX6147" fmla="*/ 2444510 w 13797425"/>
                <a:gd name="connsiteY6147" fmla="*/ 9789950 h 17966907"/>
                <a:gd name="connsiteX6148" fmla="*/ 2444510 w 13797425"/>
                <a:gd name="connsiteY6148" fmla="*/ 9775654 h 17966907"/>
                <a:gd name="connsiteX6149" fmla="*/ 2463570 w 13797425"/>
                <a:gd name="connsiteY6149" fmla="*/ 9747064 h 17966907"/>
                <a:gd name="connsiteX6150" fmla="*/ 2463570 w 13797425"/>
                <a:gd name="connsiteY6150" fmla="*/ 9732768 h 17966907"/>
                <a:gd name="connsiteX6151" fmla="*/ 2468335 w 13797425"/>
                <a:gd name="connsiteY6151" fmla="*/ 9699412 h 17966907"/>
                <a:gd name="connsiteX6152" fmla="*/ 2482630 w 13797425"/>
                <a:gd name="connsiteY6152" fmla="*/ 9708943 h 17966907"/>
                <a:gd name="connsiteX6153" fmla="*/ 2487396 w 13797425"/>
                <a:gd name="connsiteY6153" fmla="*/ 9704178 h 17966907"/>
                <a:gd name="connsiteX6154" fmla="*/ 2496926 w 13797425"/>
                <a:gd name="connsiteY6154" fmla="*/ 9694647 h 17966907"/>
                <a:gd name="connsiteX6155" fmla="*/ 2506456 w 13797425"/>
                <a:gd name="connsiteY6155" fmla="*/ 9670822 h 17966907"/>
                <a:gd name="connsiteX6156" fmla="*/ 2515986 w 13797425"/>
                <a:gd name="connsiteY6156" fmla="*/ 9651761 h 17966907"/>
                <a:gd name="connsiteX6157" fmla="*/ 2535047 w 13797425"/>
                <a:gd name="connsiteY6157" fmla="*/ 9637466 h 17966907"/>
                <a:gd name="connsiteX6158" fmla="*/ 2535047 w 13797425"/>
                <a:gd name="connsiteY6158" fmla="*/ 9627935 h 17966907"/>
                <a:gd name="connsiteX6159" fmla="*/ 2520752 w 13797425"/>
                <a:gd name="connsiteY6159" fmla="*/ 9623170 h 17966907"/>
                <a:gd name="connsiteX6160" fmla="*/ 2511221 w 13797425"/>
                <a:gd name="connsiteY6160" fmla="*/ 9623170 h 17966907"/>
                <a:gd name="connsiteX6161" fmla="*/ 2506456 w 13797425"/>
                <a:gd name="connsiteY6161" fmla="*/ 9618405 h 17966907"/>
                <a:gd name="connsiteX6162" fmla="*/ 2501691 w 13797425"/>
                <a:gd name="connsiteY6162" fmla="*/ 9608875 h 17966907"/>
                <a:gd name="connsiteX6163" fmla="*/ 2506456 w 13797425"/>
                <a:gd name="connsiteY6163" fmla="*/ 9604110 h 17966907"/>
                <a:gd name="connsiteX6164" fmla="*/ 2539812 w 13797425"/>
                <a:gd name="connsiteY6164" fmla="*/ 9585049 h 17966907"/>
                <a:gd name="connsiteX6165" fmla="*/ 2544577 w 13797425"/>
                <a:gd name="connsiteY6165" fmla="*/ 9570754 h 17966907"/>
                <a:gd name="connsiteX6166" fmla="*/ 2558872 w 13797425"/>
                <a:gd name="connsiteY6166" fmla="*/ 9556459 h 17966907"/>
                <a:gd name="connsiteX6167" fmla="*/ 2568403 w 13797425"/>
                <a:gd name="connsiteY6167" fmla="*/ 9551693 h 17966907"/>
                <a:gd name="connsiteX6168" fmla="*/ 2577933 w 13797425"/>
                <a:gd name="connsiteY6168" fmla="*/ 9556459 h 17966907"/>
                <a:gd name="connsiteX6169" fmla="*/ 2587463 w 13797425"/>
                <a:gd name="connsiteY6169" fmla="*/ 9570754 h 17966907"/>
                <a:gd name="connsiteX6170" fmla="*/ 2587463 w 13797425"/>
                <a:gd name="connsiteY6170" fmla="*/ 9594580 h 17966907"/>
                <a:gd name="connsiteX6171" fmla="*/ 2582698 w 13797425"/>
                <a:gd name="connsiteY6171" fmla="*/ 9632701 h 17966907"/>
                <a:gd name="connsiteX6172" fmla="*/ 2582698 w 13797425"/>
                <a:gd name="connsiteY6172" fmla="*/ 9661291 h 17966907"/>
                <a:gd name="connsiteX6173" fmla="*/ 2592228 w 13797425"/>
                <a:gd name="connsiteY6173" fmla="*/ 9728003 h 17966907"/>
                <a:gd name="connsiteX6174" fmla="*/ 2601758 w 13797425"/>
                <a:gd name="connsiteY6174" fmla="*/ 9742298 h 17966907"/>
                <a:gd name="connsiteX6175" fmla="*/ 2635114 w 13797425"/>
                <a:gd name="connsiteY6175" fmla="*/ 9766124 h 17966907"/>
                <a:gd name="connsiteX6176" fmla="*/ 2635114 w 13797425"/>
                <a:gd name="connsiteY6176" fmla="*/ 9780420 h 17966907"/>
                <a:gd name="connsiteX6177" fmla="*/ 2592228 w 13797425"/>
                <a:gd name="connsiteY6177" fmla="*/ 9851896 h 17966907"/>
                <a:gd name="connsiteX6178" fmla="*/ 2587463 w 13797425"/>
                <a:gd name="connsiteY6178" fmla="*/ 9870957 h 17966907"/>
                <a:gd name="connsiteX6179" fmla="*/ 2582698 w 13797425"/>
                <a:gd name="connsiteY6179" fmla="*/ 9880487 h 17966907"/>
                <a:gd name="connsiteX6180" fmla="*/ 2582698 w 13797425"/>
                <a:gd name="connsiteY6180" fmla="*/ 9894782 h 17966907"/>
                <a:gd name="connsiteX6181" fmla="*/ 2592228 w 13797425"/>
                <a:gd name="connsiteY6181" fmla="*/ 9904313 h 17966907"/>
                <a:gd name="connsiteX6182" fmla="*/ 2601758 w 13797425"/>
                <a:gd name="connsiteY6182" fmla="*/ 9909078 h 17966907"/>
                <a:gd name="connsiteX6183" fmla="*/ 2639880 w 13797425"/>
                <a:gd name="connsiteY6183" fmla="*/ 9909078 h 17966907"/>
                <a:gd name="connsiteX6184" fmla="*/ 2649410 w 13797425"/>
                <a:gd name="connsiteY6184" fmla="*/ 9904313 h 17966907"/>
                <a:gd name="connsiteX6185" fmla="*/ 2716122 w 13797425"/>
                <a:gd name="connsiteY6185" fmla="*/ 9904313 h 17966907"/>
                <a:gd name="connsiteX6186" fmla="*/ 2730417 w 13797425"/>
                <a:gd name="connsiteY6186" fmla="*/ 9899548 h 17966907"/>
                <a:gd name="connsiteX6187" fmla="*/ 2739947 w 13797425"/>
                <a:gd name="connsiteY6187" fmla="*/ 9885252 h 17966907"/>
                <a:gd name="connsiteX6188" fmla="*/ 2754243 w 13797425"/>
                <a:gd name="connsiteY6188" fmla="*/ 9851896 h 17966907"/>
                <a:gd name="connsiteX6189" fmla="*/ 2773303 w 13797425"/>
                <a:gd name="connsiteY6189" fmla="*/ 9842366 h 17966907"/>
                <a:gd name="connsiteX6190" fmla="*/ 2778068 w 13797425"/>
                <a:gd name="connsiteY6190" fmla="*/ 9828071 h 17966907"/>
                <a:gd name="connsiteX6191" fmla="*/ 2792364 w 13797425"/>
                <a:gd name="connsiteY6191" fmla="*/ 9789950 h 17966907"/>
                <a:gd name="connsiteX6192" fmla="*/ 2797129 w 13797425"/>
                <a:gd name="connsiteY6192" fmla="*/ 9742298 h 17966907"/>
                <a:gd name="connsiteX6193" fmla="*/ 2801894 w 13797425"/>
                <a:gd name="connsiteY6193" fmla="*/ 9723238 h 17966907"/>
                <a:gd name="connsiteX6194" fmla="*/ 2806659 w 13797425"/>
                <a:gd name="connsiteY6194" fmla="*/ 9708943 h 17966907"/>
                <a:gd name="connsiteX6195" fmla="*/ 2820954 w 13797425"/>
                <a:gd name="connsiteY6195" fmla="*/ 9704178 h 17966907"/>
                <a:gd name="connsiteX6196" fmla="*/ 2844780 w 13797425"/>
                <a:gd name="connsiteY6196" fmla="*/ 9708943 h 17966907"/>
                <a:gd name="connsiteX6197" fmla="*/ 2859076 w 13797425"/>
                <a:gd name="connsiteY6197" fmla="*/ 9704178 h 17966907"/>
                <a:gd name="connsiteX6198" fmla="*/ 2906727 w 13797425"/>
                <a:gd name="connsiteY6198" fmla="*/ 9708943 h 17966907"/>
                <a:gd name="connsiteX6199" fmla="*/ 2959143 w 13797425"/>
                <a:gd name="connsiteY6199" fmla="*/ 9708943 h 17966907"/>
                <a:gd name="connsiteX6200" fmla="*/ 3011560 w 13797425"/>
                <a:gd name="connsiteY6200" fmla="*/ 9713708 h 17966907"/>
                <a:gd name="connsiteX6201" fmla="*/ 3040150 w 13797425"/>
                <a:gd name="connsiteY6201" fmla="*/ 9723238 h 17966907"/>
                <a:gd name="connsiteX6202" fmla="*/ 3073506 w 13797425"/>
                <a:gd name="connsiteY6202" fmla="*/ 9742298 h 17966907"/>
                <a:gd name="connsiteX6203" fmla="*/ 3130688 w 13797425"/>
                <a:gd name="connsiteY6203" fmla="*/ 9775654 h 17966907"/>
                <a:gd name="connsiteX6204" fmla="*/ 3154514 w 13797425"/>
                <a:gd name="connsiteY6204" fmla="*/ 9794715 h 17966907"/>
                <a:gd name="connsiteX6205" fmla="*/ 3235520 w 13797425"/>
                <a:gd name="connsiteY6205" fmla="*/ 9885252 h 17966907"/>
                <a:gd name="connsiteX6206" fmla="*/ 3259346 w 13797425"/>
                <a:gd name="connsiteY6206" fmla="*/ 9904313 h 17966907"/>
                <a:gd name="connsiteX6207" fmla="*/ 3302232 w 13797425"/>
                <a:gd name="connsiteY6207" fmla="*/ 9918608 h 17966907"/>
                <a:gd name="connsiteX6208" fmla="*/ 3459482 w 13797425"/>
                <a:gd name="connsiteY6208" fmla="*/ 9956729 h 17966907"/>
                <a:gd name="connsiteX6209" fmla="*/ 3478542 w 13797425"/>
                <a:gd name="connsiteY6209" fmla="*/ 9966259 h 17966907"/>
                <a:gd name="connsiteX6210" fmla="*/ 3516663 w 13797425"/>
                <a:gd name="connsiteY6210" fmla="*/ 10004380 h 17966907"/>
                <a:gd name="connsiteX6211" fmla="*/ 3545254 w 13797425"/>
                <a:gd name="connsiteY6211" fmla="*/ 10028206 h 17966907"/>
                <a:gd name="connsiteX6212" fmla="*/ 3578610 w 13797425"/>
                <a:gd name="connsiteY6212" fmla="*/ 10052032 h 17966907"/>
                <a:gd name="connsiteX6213" fmla="*/ 3621496 w 13797425"/>
                <a:gd name="connsiteY6213" fmla="*/ 10071092 h 17966907"/>
                <a:gd name="connsiteX6214" fmla="*/ 3702503 w 13797425"/>
                <a:gd name="connsiteY6214" fmla="*/ 10099683 h 17966907"/>
                <a:gd name="connsiteX6215" fmla="*/ 3712033 w 13797425"/>
                <a:gd name="connsiteY6215" fmla="*/ 10104448 h 17966907"/>
                <a:gd name="connsiteX6216" fmla="*/ 3731094 w 13797425"/>
                <a:gd name="connsiteY6216" fmla="*/ 10109213 h 17966907"/>
                <a:gd name="connsiteX6217" fmla="*/ 3745389 w 13797425"/>
                <a:gd name="connsiteY6217" fmla="*/ 10104448 h 17966907"/>
                <a:gd name="connsiteX6218" fmla="*/ 3821631 w 13797425"/>
                <a:gd name="connsiteY6218" fmla="*/ 10123509 h 17966907"/>
                <a:gd name="connsiteX6219" fmla="*/ 3840692 w 13797425"/>
                <a:gd name="connsiteY6219" fmla="*/ 10118744 h 17966907"/>
                <a:gd name="connsiteX6220" fmla="*/ 3854987 w 13797425"/>
                <a:gd name="connsiteY6220" fmla="*/ 10123509 h 17966907"/>
                <a:gd name="connsiteX6221" fmla="*/ 3869282 w 13797425"/>
                <a:gd name="connsiteY6221" fmla="*/ 10137804 h 17966907"/>
                <a:gd name="connsiteX6222" fmla="*/ 3897873 w 13797425"/>
                <a:gd name="connsiteY6222" fmla="*/ 10137804 h 17966907"/>
                <a:gd name="connsiteX6223" fmla="*/ 3897873 w 13797425"/>
                <a:gd name="connsiteY6223" fmla="*/ 10133039 h 17966907"/>
                <a:gd name="connsiteX6224" fmla="*/ 3864518 w 13797425"/>
                <a:gd name="connsiteY6224" fmla="*/ 10090153 h 17966907"/>
                <a:gd name="connsiteX6225" fmla="*/ 3869282 w 13797425"/>
                <a:gd name="connsiteY6225" fmla="*/ 10080622 h 17966907"/>
                <a:gd name="connsiteX6226" fmla="*/ 3878813 w 13797425"/>
                <a:gd name="connsiteY6226" fmla="*/ 10080622 h 17966907"/>
                <a:gd name="connsiteX6227" fmla="*/ 3916934 w 13797425"/>
                <a:gd name="connsiteY6227" fmla="*/ 10090153 h 17966907"/>
                <a:gd name="connsiteX6228" fmla="*/ 3926464 w 13797425"/>
                <a:gd name="connsiteY6228" fmla="*/ 10075857 h 17966907"/>
                <a:gd name="connsiteX6229" fmla="*/ 3935994 w 13797425"/>
                <a:gd name="connsiteY6229" fmla="*/ 10075857 h 17966907"/>
                <a:gd name="connsiteX6230" fmla="*/ 3964585 w 13797425"/>
                <a:gd name="connsiteY6230" fmla="*/ 10080622 h 17966907"/>
                <a:gd name="connsiteX6231" fmla="*/ 3993176 w 13797425"/>
                <a:gd name="connsiteY6231" fmla="*/ 10094918 h 17966907"/>
                <a:gd name="connsiteX6232" fmla="*/ 4026532 w 13797425"/>
                <a:gd name="connsiteY6232" fmla="*/ 10118744 h 17966907"/>
                <a:gd name="connsiteX6233" fmla="*/ 4064653 w 13797425"/>
                <a:gd name="connsiteY6233" fmla="*/ 10133039 h 17966907"/>
                <a:gd name="connsiteX6234" fmla="*/ 4121834 w 13797425"/>
                <a:gd name="connsiteY6234" fmla="*/ 10180690 h 17966907"/>
                <a:gd name="connsiteX6235" fmla="*/ 4155190 w 13797425"/>
                <a:gd name="connsiteY6235" fmla="*/ 10218811 h 17966907"/>
                <a:gd name="connsiteX6236" fmla="*/ 4183781 w 13797425"/>
                <a:gd name="connsiteY6236" fmla="*/ 10261697 h 17966907"/>
                <a:gd name="connsiteX6237" fmla="*/ 4202842 w 13797425"/>
                <a:gd name="connsiteY6237" fmla="*/ 10295053 h 17966907"/>
                <a:gd name="connsiteX6238" fmla="*/ 4202842 w 13797425"/>
                <a:gd name="connsiteY6238" fmla="*/ 10314114 h 17966907"/>
                <a:gd name="connsiteX6239" fmla="*/ 4212372 w 13797425"/>
                <a:gd name="connsiteY6239" fmla="*/ 10323644 h 17966907"/>
                <a:gd name="connsiteX6240" fmla="*/ 4221902 w 13797425"/>
                <a:gd name="connsiteY6240" fmla="*/ 10323644 h 17966907"/>
                <a:gd name="connsiteX6241" fmla="*/ 4221902 w 13797425"/>
                <a:gd name="connsiteY6241" fmla="*/ 10328409 h 17966907"/>
                <a:gd name="connsiteX6242" fmla="*/ 4217137 w 13797425"/>
                <a:gd name="connsiteY6242" fmla="*/ 10366530 h 17966907"/>
                <a:gd name="connsiteX6243" fmla="*/ 4207606 w 13797425"/>
                <a:gd name="connsiteY6243" fmla="*/ 10376060 h 17966907"/>
                <a:gd name="connsiteX6244" fmla="*/ 4202842 w 13797425"/>
                <a:gd name="connsiteY6244" fmla="*/ 10385591 h 17966907"/>
                <a:gd name="connsiteX6245" fmla="*/ 4174251 w 13797425"/>
                <a:gd name="connsiteY6245" fmla="*/ 10390356 h 17966907"/>
                <a:gd name="connsiteX6246" fmla="*/ 4098009 w 13797425"/>
                <a:gd name="connsiteY6246" fmla="*/ 10380826 h 17966907"/>
                <a:gd name="connsiteX6247" fmla="*/ 4083713 w 13797425"/>
                <a:gd name="connsiteY6247" fmla="*/ 10414181 h 17966907"/>
                <a:gd name="connsiteX6248" fmla="*/ 4040827 w 13797425"/>
                <a:gd name="connsiteY6248" fmla="*/ 10442772 h 17966907"/>
                <a:gd name="connsiteX6249" fmla="*/ 4036062 w 13797425"/>
                <a:gd name="connsiteY6249" fmla="*/ 10452302 h 17966907"/>
                <a:gd name="connsiteX6250" fmla="*/ 4031297 w 13797425"/>
                <a:gd name="connsiteY6250" fmla="*/ 10461833 h 17966907"/>
                <a:gd name="connsiteX6251" fmla="*/ 4036062 w 13797425"/>
                <a:gd name="connsiteY6251" fmla="*/ 10485658 h 17966907"/>
                <a:gd name="connsiteX6252" fmla="*/ 4031297 w 13797425"/>
                <a:gd name="connsiteY6252" fmla="*/ 10495188 h 17966907"/>
                <a:gd name="connsiteX6253" fmla="*/ 3997941 w 13797425"/>
                <a:gd name="connsiteY6253" fmla="*/ 10528544 h 17966907"/>
                <a:gd name="connsiteX6254" fmla="*/ 3993176 w 13797425"/>
                <a:gd name="connsiteY6254" fmla="*/ 10538075 h 17966907"/>
                <a:gd name="connsiteX6255" fmla="*/ 4017002 w 13797425"/>
                <a:gd name="connsiteY6255" fmla="*/ 10547605 h 17966907"/>
                <a:gd name="connsiteX6256" fmla="*/ 4040827 w 13797425"/>
                <a:gd name="connsiteY6256" fmla="*/ 10571430 h 17966907"/>
                <a:gd name="connsiteX6257" fmla="*/ 4059888 w 13797425"/>
                <a:gd name="connsiteY6257" fmla="*/ 10576196 h 17966907"/>
                <a:gd name="connsiteX6258" fmla="*/ 4083713 w 13797425"/>
                <a:gd name="connsiteY6258" fmla="*/ 10571430 h 17966907"/>
                <a:gd name="connsiteX6259" fmla="*/ 4117069 w 13797425"/>
                <a:gd name="connsiteY6259" fmla="*/ 10580961 h 17966907"/>
                <a:gd name="connsiteX6260" fmla="*/ 4150425 w 13797425"/>
                <a:gd name="connsiteY6260" fmla="*/ 10600021 h 17966907"/>
                <a:gd name="connsiteX6261" fmla="*/ 4179016 w 13797425"/>
                <a:gd name="connsiteY6261" fmla="*/ 10604786 h 17966907"/>
                <a:gd name="connsiteX6262" fmla="*/ 4193311 w 13797425"/>
                <a:gd name="connsiteY6262" fmla="*/ 10604786 h 17966907"/>
                <a:gd name="connsiteX6263" fmla="*/ 4212372 w 13797425"/>
                <a:gd name="connsiteY6263" fmla="*/ 10609552 h 17966907"/>
                <a:gd name="connsiteX6264" fmla="*/ 4236198 w 13797425"/>
                <a:gd name="connsiteY6264" fmla="*/ 10619082 h 17966907"/>
                <a:gd name="connsiteX6265" fmla="*/ 4269553 w 13797425"/>
                <a:gd name="connsiteY6265" fmla="*/ 10619082 h 17966907"/>
                <a:gd name="connsiteX6266" fmla="*/ 4341030 w 13797425"/>
                <a:gd name="connsiteY6266" fmla="*/ 10619082 h 17966907"/>
                <a:gd name="connsiteX6267" fmla="*/ 4364856 w 13797425"/>
                <a:gd name="connsiteY6267" fmla="*/ 10623847 h 17966907"/>
                <a:gd name="connsiteX6268" fmla="*/ 4393446 w 13797425"/>
                <a:gd name="connsiteY6268" fmla="*/ 10628612 h 17966907"/>
                <a:gd name="connsiteX6269" fmla="*/ 4450628 w 13797425"/>
                <a:gd name="connsiteY6269" fmla="*/ 10628612 h 17966907"/>
                <a:gd name="connsiteX6270" fmla="*/ 4464924 w 13797425"/>
                <a:gd name="connsiteY6270" fmla="*/ 10623847 h 17966907"/>
                <a:gd name="connsiteX6271" fmla="*/ 4479219 w 13797425"/>
                <a:gd name="connsiteY6271" fmla="*/ 10609552 h 17966907"/>
                <a:gd name="connsiteX6272" fmla="*/ 4493514 w 13797425"/>
                <a:gd name="connsiteY6272" fmla="*/ 10604786 h 17966907"/>
                <a:gd name="connsiteX6273" fmla="*/ 4517340 w 13797425"/>
                <a:gd name="connsiteY6273" fmla="*/ 10604786 h 17966907"/>
                <a:gd name="connsiteX6274" fmla="*/ 4574522 w 13797425"/>
                <a:gd name="connsiteY6274" fmla="*/ 10595256 h 17966907"/>
                <a:gd name="connsiteX6275" fmla="*/ 4598347 w 13797425"/>
                <a:gd name="connsiteY6275" fmla="*/ 10595256 h 17966907"/>
                <a:gd name="connsiteX6276" fmla="*/ 4617408 w 13797425"/>
                <a:gd name="connsiteY6276" fmla="*/ 10590491 h 17966907"/>
                <a:gd name="connsiteX6277" fmla="*/ 4641233 w 13797425"/>
                <a:gd name="connsiteY6277" fmla="*/ 10571430 h 17966907"/>
                <a:gd name="connsiteX6278" fmla="*/ 4655528 w 13797425"/>
                <a:gd name="connsiteY6278" fmla="*/ 10571430 h 17966907"/>
                <a:gd name="connsiteX6279" fmla="*/ 4665059 w 13797425"/>
                <a:gd name="connsiteY6279" fmla="*/ 10580961 h 17966907"/>
                <a:gd name="connsiteX6280" fmla="*/ 4674589 w 13797425"/>
                <a:gd name="connsiteY6280" fmla="*/ 10585726 h 17966907"/>
                <a:gd name="connsiteX6281" fmla="*/ 4688884 w 13797425"/>
                <a:gd name="connsiteY6281" fmla="*/ 10580961 h 17966907"/>
                <a:gd name="connsiteX6282" fmla="*/ 4717475 w 13797425"/>
                <a:gd name="connsiteY6282" fmla="*/ 10566665 h 17966907"/>
                <a:gd name="connsiteX6283" fmla="*/ 4784187 w 13797425"/>
                <a:gd name="connsiteY6283" fmla="*/ 10514249 h 17966907"/>
                <a:gd name="connsiteX6284" fmla="*/ 4808012 w 13797425"/>
                <a:gd name="connsiteY6284" fmla="*/ 10514249 h 17966907"/>
                <a:gd name="connsiteX6285" fmla="*/ 4827073 w 13797425"/>
                <a:gd name="connsiteY6285" fmla="*/ 10499954 h 17966907"/>
                <a:gd name="connsiteX6286" fmla="*/ 4831838 w 13797425"/>
                <a:gd name="connsiteY6286" fmla="*/ 10499954 h 17966907"/>
                <a:gd name="connsiteX6287" fmla="*/ 4836604 w 13797425"/>
                <a:gd name="connsiteY6287" fmla="*/ 10504719 h 17966907"/>
                <a:gd name="connsiteX6288" fmla="*/ 4850899 w 13797425"/>
                <a:gd name="connsiteY6288" fmla="*/ 10542840 h 17966907"/>
                <a:gd name="connsiteX6289" fmla="*/ 4860429 w 13797425"/>
                <a:gd name="connsiteY6289" fmla="*/ 10547605 h 17966907"/>
                <a:gd name="connsiteX6290" fmla="*/ 4869960 w 13797425"/>
                <a:gd name="connsiteY6290" fmla="*/ 10552370 h 17966907"/>
                <a:gd name="connsiteX6291" fmla="*/ 4879490 w 13797425"/>
                <a:gd name="connsiteY6291" fmla="*/ 10571430 h 17966907"/>
                <a:gd name="connsiteX6292" fmla="*/ 4893785 w 13797425"/>
                <a:gd name="connsiteY6292" fmla="*/ 10600021 h 17966907"/>
                <a:gd name="connsiteX6293" fmla="*/ 4903315 w 13797425"/>
                <a:gd name="connsiteY6293" fmla="*/ 10604786 h 17966907"/>
                <a:gd name="connsiteX6294" fmla="*/ 4965262 w 13797425"/>
                <a:gd name="connsiteY6294" fmla="*/ 10609552 h 17966907"/>
                <a:gd name="connsiteX6295" fmla="*/ 4984322 w 13797425"/>
                <a:gd name="connsiteY6295" fmla="*/ 10614317 h 17966907"/>
                <a:gd name="connsiteX6296" fmla="*/ 4993852 w 13797425"/>
                <a:gd name="connsiteY6296" fmla="*/ 10623847 h 17966907"/>
                <a:gd name="connsiteX6297" fmla="*/ 4998618 w 13797425"/>
                <a:gd name="connsiteY6297" fmla="*/ 10647672 h 17966907"/>
                <a:gd name="connsiteX6298" fmla="*/ 5003383 w 13797425"/>
                <a:gd name="connsiteY6298" fmla="*/ 10690559 h 17966907"/>
                <a:gd name="connsiteX6299" fmla="*/ 5008148 w 13797425"/>
                <a:gd name="connsiteY6299" fmla="*/ 10704854 h 17966907"/>
                <a:gd name="connsiteX6300" fmla="*/ 5017678 w 13797425"/>
                <a:gd name="connsiteY6300" fmla="*/ 10728680 h 17966907"/>
                <a:gd name="connsiteX6301" fmla="*/ 5022444 w 13797425"/>
                <a:gd name="connsiteY6301" fmla="*/ 10733445 h 17966907"/>
                <a:gd name="connsiteX6302" fmla="*/ 5027208 w 13797425"/>
                <a:gd name="connsiteY6302" fmla="*/ 10728680 h 17966907"/>
                <a:gd name="connsiteX6303" fmla="*/ 5046269 w 13797425"/>
                <a:gd name="connsiteY6303" fmla="*/ 10666733 h 17966907"/>
                <a:gd name="connsiteX6304" fmla="*/ 5051034 w 13797425"/>
                <a:gd name="connsiteY6304" fmla="*/ 10657203 h 17966907"/>
                <a:gd name="connsiteX6305" fmla="*/ 5060564 w 13797425"/>
                <a:gd name="connsiteY6305" fmla="*/ 10661968 h 17966907"/>
                <a:gd name="connsiteX6306" fmla="*/ 5065330 w 13797425"/>
                <a:gd name="connsiteY6306" fmla="*/ 10666733 h 17966907"/>
                <a:gd name="connsiteX6307" fmla="*/ 5079625 w 13797425"/>
                <a:gd name="connsiteY6307" fmla="*/ 10709619 h 17966907"/>
                <a:gd name="connsiteX6308" fmla="*/ 5103450 w 13797425"/>
                <a:gd name="connsiteY6308" fmla="*/ 10742975 h 17966907"/>
                <a:gd name="connsiteX6309" fmla="*/ 5155867 w 13797425"/>
                <a:gd name="connsiteY6309" fmla="*/ 10800156 h 17966907"/>
                <a:gd name="connsiteX6310" fmla="*/ 5165397 w 13797425"/>
                <a:gd name="connsiteY6310" fmla="*/ 10823982 h 17966907"/>
                <a:gd name="connsiteX6311" fmla="*/ 5170162 w 13797425"/>
                <a:gd name="connsiteY6311" fmla="*/ 10838278 h 17966907"/>
                <a:gd name="connsiteX6312" fmla="*/ 5165397 w 13797425"/>
                <a:gd name="connsiteY6312" fmla="*/ 10852573 h 17966907"/>
                <a:gd name="connsiteX6313" fmla="*/ 5155867 w 13797425"/>
                <a:gd name="connsiteY6313" fmla="*/ 10866868 h 17966907"/>
                <a:gd name="connsiteX6314" fmla="*/ 5141572 w 13797425"/>
                <a:gd name="connsiteY6314" fmla="*/ 10876398 h 17966907"/>
                <a:gd name="connsiteX6315" fmla="*/ 5122511 w 13797425"/>
                <a:gd name="connsiteY6315" fmla="*/ 10881164 h 17966907"/>
                <a:gd name="connsiteX6316" fmla="*/ 5103450 w 13797425"/>
                <a:gd name="connsiteY6316" fmla="*/ 10881164 h 17966907"/>
                <a:gd name="connsiteX6317" fmla="*/ 5084390 w 13797425"/>
                <a:gd name="connsiteY6317" fmla="*/ 10866868 h 17966907"/>
                <a:gd name="connsiteX6318" fmla="*/ 5079625 w 13797425"/>
                <a:gd name="connsiteY6318" fmla="*/ 10866868 h 17966907"/>
                <a:gd name="connsiteX6319" fmla="*/ 5084390 w 13797425"/>
                <a:gd name="connsiteY6319" fmla="*/ 10876398 h 17966907"/>
                <a:gd name="connsiteX6320" fmla="*/ 5122511 w 13797425"/>
                <a:gd name="connsiteY6320" fmla="*/ 10928815 h 17966907"/>
                <a:gd name="connsiteX6321" fmla="*/ 5132042 w 13797425"/>
                <a:gd name="connsiteY6321" fmla="*/ 10947876 h 17966907"/>
                <a:gd name="connsiteX6322" fmla="*/ 5141572 w 13797425"/>
                <a:gd name="connsiteY6322" fmla="*/ 10957406 h 17966907"/>
                <a:gd name="connsiteX6323" fmla="*/ 5146336 w 13797425"/>
                <a:gd name="connsiteY6323" fmla="*/ 10966936 h 17966907"/>
                <a:gd name="connsiteX6324" fmla="*/ 5155867 w 13797425"/>
                <a:gd name="connsiteY6324" fmla="*/ 10976466 h 17966907"/>
                <a:gd name="connsiteX6325" fmla="*/ 5160632 w 13797425"/>
                <a:gd name="connsiteY6325" fmla="*/ 10990762 h 17966907"/>
                <a:gd name="connsiteX6326" fmla="*/ 5193988 w 13797425"/>
                <a:gd name="connsiteY6326" fmla="*/ 11028883 h 17966907"/>
                <a:gd name="connsiteX6327" fmla="*/ 5203518 w 13797425"/>
                <a:gd name="connsiteY6327" fmla="*/ 11047943 h 17966907"/>
                <a:gd name="connsiteX6328" fmla="*/ 5236874 w 13797425"/>
                <a:gd name="connsiteY6328" fmla="*/ 11105125 h 17966907"/>
                <a:gd name="connsiteX6329" fmla="*/ 5255934 w 13797425"/>
                <a:gd name="connsiteY6329" fmla="*/ 11128950 h 17966907"/>
                <a:gd name="connsiteX6330" fmla="*/ 5265465 w 13797425"/>
                <a:gd name="connsiteY6330" fmla="*/ 11138480 h 17966907"/>
                <a:gd name="connsiteX6331" fmla="*/ 5270230 w 13797425"/>
                <a:gd name="connsiteY6331" fmla="*/ 11143246 h 17966907"/>
                <a:gd name="connsiteX6332" fmla="*/ 5270230 w 13797425"/>
                <a:gd name="connsiteY6332" fmla="*/ 11128950 h 17966907"/>
                <a:gd name="connsiteX6333" fmla="*/ 5222578 w 13797425"/>
                <a:gd name="connsiteY6333" fmla="*/ 11057474 h 17966907"/>
                <a:gd name="connsiteX6334" fmla="*/ 5198753 w 13797425"/>
                <a:gd name="connsiteY6334" fmla="*/ 11009822 h 17966907"/>
                <a:gd name="connsiteX6335" fmla="*/ 5198753 w 13797425"/>
                <a:gd name="connsiteY6335" fmla="*/ 10995527 h 17966907"/>
                <a:gd name="connsiteX6336" fmla="*/ 5193988 w 13797425"/>
                <a:gd name="connsiteY6336" fmla="*/ 10976466 h 17966907"/>
                <a:gd name="connsiteX6337" fmla="*/ 5193988 w 13797425"/>
                <a:gd name="connsiteY6337" fmla="*/ 10919285 h 17966907"/>
                <a:gd name="connsiteX6338" fmla="*/ 5198753 w 13797425"/>
                <a:gd name="connsiteY6338" fmla="*/ 10909754 h 17966907"/>
                <a:gd name="connsiteX6339" fmla="*/ 5213048 w 13797425"/>
                <a:gd name="connsiteY6339" fmla="*/ 10900224 h 17966907"/>
                <a:gd name="connsiteX6340" fmla="*/ 5232109 w 13797425"/>
                <a:gd name="connsiteY6340" fmla="*/ 10928815 h 17966907"/>
                <a:gd name="connsiteX6341" fmla="*/ 5241639 w 13797425"/>
                <a:gd name="connsiteY6341" fmla="*/ 10933580 h 17966907"/>
                <a:gd name="connsiteX6342" fmla="*/ 5246404 w 13797425"/>
                <a:gd name="connsiteY6342" fmla="*/ 10933580 h 17966907"/>
                <a:gd name="connsiteX6343" fmla="*/ 5246404 w 13797425"/>
                <a:gd name="connsiteY6343" fmla="*/ 10924050 h 17966907"/>
                <a:gd name="connsiteX6344" fmla="*/ 5260700 w 13797425"/>
                <a:gd name="connsiteY6344" fmla="*/ 10933580 h 17966907"/>
                <a:gd name="connsiteX6345" fmla="*/ 5279760 w 13797425"/>
                <a:gd name="connsiteY6345" fmla="*/ 10952641 h 17966907"/>
                <a:gd name="connsiteX6346" fmla="*/ 5289290 w 13797425"/>
                <a:gd name="connsiteY6346" fmla="*/ 10952641 h 17966907"/>
                <a:gd name="connsiteX6347" fmla="*/ 5270230 w 13797425"/>
                <a:gd name="connsiteY6347" fmla="*/ 10914520 h 17966907"/>
                <a:gd name="connsiteX6348" fmla="*/ 5260700 w 13797425"/>
                <a:gd name="connsiteY6348" fmla="*/ 10895459 h 17966907"/>
                <a:gd name="connsiteX6349" fmla="*/ 5255934 w 13797425"/>
                <a:gd name="connsiteY6349" fmla="*/ 10881164 h 17966907"/>
                <a:gd name="connsiteX6350" fmla="*/ 5270230 w 13797425"/>
                <a:gd name="connsiteY6350" fmla="*/ 10862103 h 17966907"/>
                <a:gd name="connsiteX6351" fmla="*/ 5260700 w 13797425"/>
                <a:gd name="connsiteY6351" fmla="*/ 10852573 h 17966907"/>
                <a:gd name="connsiteX6352" fmla="*/ 5236874 w 13797425"/>
                <a:gd name="connsiteY6352" fmla="*/ 10823982 h 17966907"/>
                <a:gd name="connsiteX6353" fmla="*/ 5222578 w 13797425"/>
                <a:gd name="connsiteY6353" fmla="*/ 10795392 h 17966907"/>
                <a:gd name="connsiteX6354" fmla="*/ 5213048 w 13797425"/>
                <a:gd name="connsiteY6354" fmla="*/ 10747740 h 17966907"/>
                <a:gd name="connsiteX6355" fmla="*/ 5208284 w 13797425"/>
                <a:gd name="connsiteY6355" fmla="*/ 10728680 h 17966907"/>
                <a:gd name="connsiteX6356" fmla="*/ 5213048 w 13797425"/>
                <a:gd name="connsiteY6356" fmla="*/ 10714384 h 17966907"/>
                <a:gd name="connsiteX6357" fmla="*/ 5208284 w 13797425"/>
                <a:gd name="connsiteY6357" fmla="*/ 10695324 h 17966907"/>
                <a:gd name="connsiteX6358" fmla="*/ 5193988 w 13797425"/>
                <a:gd name="connsiteY6358" fmla="*/ 10666733 h 17966907"/>
                <a:gd name="connsiteX6359" fmla="*/ 5174928 w 13797425"/>
                <a:gd name="connsiteY6359" fmla="*/ 10642907 h 17966907"/>
                <a:gd name="connsiteX6360" fmla="*/ 5160632 w 13797425"/>
                <a:gd name="connsiteY6360" fmla="*/ 10619082 h 17966907"/>
                <a:gd name="connsiteX6361" fmla="*/ 5160632 w 13797425"/>
                <a:gd name="connsiteY6361" fmla="*/ 10604786 h 17966907"/>
                <a:gd name="connsiteX6362" fmla="*/ 5160632 w 13797425"/>
                <a:gd name="connsiteY6362" fmla="*/ 10571430 h 17966907"/>
                <a:gd name="connsiteX6363" fmla="*/ 5174928 w 13797425"/>
                <a:gd name="connsiteY6363" fmla="*/ 10557135 h 17966907"/>
                <a:gd name="connsiteX6364" fmla="*/ 5193988 w 13797425"/>
                <a:gd name="connsiteY6364" fmla="*/ 10533310 h 17966907"/>
                <a:gd name="connsiteX6365" fmla="*/ 5198753 w 13797425"/>
                <a:gd name="connsiteY6365" fmla="*/ 10514249 h 17966907"/>
                <a:gd name="connsiteX6366" fmla="*/ 5189223 w 13797425"/>
                <a:gd name="connsiteY6366" fmla="*/ 10490423 h 17966907"/>
                <a:gd name="connsiteX6367" fmla="*/ 5189223 w 13797425"/>
                <a:gd name="connsiteY6367" fmla="*/ 10480893 h 17966907"/>
                <a:gd name="connsiteX6368" fmla="*/ 5193988 w 13797425"/>
                <a:gd name="connsiteY6368" fmla="*/ 10480893 h 17966907"/>
                <a:gd name="connsiteX6369" fmla="*/ 5232109 w 13797425"/>
                <a:gd name="connsiteY6369" fmla="*/ 10471363 h 17966907"/>
                <a:gd name="connsiteX6370" fmla="*/ 5241639 w 13797425"/>
                <a:gd name="connsiteY6370" fmla="*/ 10476128 h 17966907"/>
                <a:gd name="connsiteX6371" fmla="*/ 5255934 w 13797425"/>
                <a:gd name="connsiteY6371" fmla="*/ 10471363 h 17966907"/>
                <a:gd name="connsiteX6372" fmla="*/ 5274995 w 13797425"/>
                <a:gd name="connsiteY6372" fmla="*/ 10457068 h 17966907"/>
                <a:gd name="connsiteX6373" fmla="*/ 5294056 w 13797425"/>
                <a:gd name="connsiteY6373" fmla="*/ 10452302 h 17966907"/>
                <a:gd name="connsiteX6374" fmla="*/ 5313116 w 13797425"/>
                <a:gd name="connsiteY6374" fmla="*/ 10452302 h 17966907"/>
                <a:gd name="connsiteX6375" fmla="*/ 5322646 w 13797425"/>
                <a:gd name="connsiteY6375" fmla="*/ 10447537 h 17966907"/>
                <a:gd name="connsiteX6376" fmla="*/ 5336942 w 13797425"/>
                <a:gd name="connsiteY6376" fmla="*/ 10442772 h 17966907"/>
                <a:gd name="connsiteX6377" fmla="*/ 5346472 w 13797425"/>
                <a:gd name="connsiteY6377" fmla="*/ 10433242 h 17966907"/>
                <a:gd name="connsiteX6378" fmla="*/ 5356002 w 13797425"/>
                <a:gd name="connsiteY6378" fmla="*/ 10409416 h 17966907"/>
                <a:gd name="connsiteX6379" fmla="*/ 5365532 w 13797425"/>
                <a:gd name="connsiteY6379" fmla="*/ 10404651 h 17966907"/>
                <a:gd name="connsiteX6380" fmla="*/ 5384593 w 13797425"/>
                <a:gd name="connsiteY6380" fmla="*/ 10409416 h 17966907"/>
                <a:gd name="connsiteX6381" fmla="*/ 5394124 w 13797425"/>
                <a:gd name="connsiteY6381" fmla="*/ 10414181 h 17966907"/>
                <a:gd name="connsiteX6382" fmla="*/ 5403654 w 13797425"/>
                <a:gd name="connsiteY6382" fmla="*/ 10409416 h 17966907"/>
                <a:gd name="connsiteX6383" fmla="*/ 5398888 w 13797425"/>
                <a:gd name="connsiteY6383" fmla="*/ 10376060 h 17966907"/>
                <a:gd name="connsiteX6384" fmla="*/ 5403654 w 13797425"/>
                <a:gd name="connsiteY6384" fmla="*/ 10361765 h 17966907"/>
                <a:gd name="connsiteX6385" fmla="*/ 5427479 w 13797425"/>
                <a:gd name="connsiteY6385" fmla="*/ 10333174 h 17966907"/>
                <a:gd name="connsiteX6386" fmla="*/ 5446540 w 13797425"/>
                <a:gd name="connsiteY6386" fmla="*/ 10333174 h 17966907"/>
                <a:gd name="connsiteX6387" fmla="*/ 5460835 w 13797425"/>
                <a:gd name="connsiteY6387" fmla="*/ 10323644 h 17966907"/>
                <a:gd name="connsiteX6388" fmla="*/ 5479896 w 13797425"/>
                <a:gd name="connsiteY6388" fmla="*/ 10309348 h 17966907"/>
                <a:gd name="connsiteX6389" fmla="*/ 5489426 w 13797425"/>
                <a:gd name="connsiteY6389" fmla="*/ 10295053 h 17966907"/>
                <a:gd name="connsiteX6390" fmla="*/ 5503721 w 13797425"/>
                <a:gd name="connsiteY6390" fmla="*/ 10271228 h 17966907"/>
                <a:gd name="connsiteX6391" fmla="*/ 5508486 w 13797425"/>
                <a:gd name="connsiteY6391" fmla="*/ 10247402 h 17966907"/>
                <a:gd name="connsiteX6392" fmla="*/ 5503721 w 13797425"/>
                <a:gd name="connsiteY6392" fmla="*/ 10237872 h 17966907"/>
                <a:gd name="connsiteX6393" fmla="*/ 5479896 w 13797425"/>
                <a:gd name="connsiteY6393" fmla="*/ 10228341 h 17966907"/>
                <a:gd name="connsiteX6394" fmla="*/ 5465600 w 13797425"/>
                <a:gd name="connsiteY6394" fmla="*/ 10233106 h 17966907"/>
                <a:gd name="connsiteX6395" fmla="*/ 5432244 w 13797425"/>
                <a:gd name="connsiteY6395" fmla="*/ 10252167 h 17966907"/>
                <a:gd name="connsiteX6396" fmla="*/ 5394124 w 13797425"/>
                <a:gd name="connsiteY6396" fmla="*/ 10275993 h 17966907"/>
                <a:gd name="connsiteX6397" fmla="*/ 5384593 w 13797425"/>
                <a:gd name="connsiteY6397" fmla="*/ 10299818 h 17966907"/>
                <a:gd name="connsiteX6398" fmla="*/ 5379828 w 13797425"/>
                <a:gd name="connsiteY6398" fmla="*/ 10333174 h 17966907"/>
                <a:gd name="connsiteX6399" fmla="*/ 5375063 w 13797425"/>
                <a:gd name="connsiteY6399" fmla="*/ 10347470 h 17966907"/>
                <a:gd name="connsiteX6400" fmla="*/ 5346472 w 13797425"/>
                <a:gd name="connsiteY6400" fmla="*/ 10333174 h 17966907"/>
                <a:gd name="connsiteX6401" fmla="*/ 5336942 w 13797425"/>
                <a:gd name="connsiteY6401" fmla="*/ 10333174 h 17966907"/>
                <a:gd name="connsiteX6402" fmla="*/ 5317882 w 13797425"/>
                <a:gd name="connsiteY6402" fmla="*/ 10337939 h 17966907"/>
                <a:gd name="connsiteX6403" fmla="*/ 5303586 w 13797425"/>
                <a:gd name="connsiteY6403" fmla="*/ 10352235 h 17966907"/>
                <a:gd name="connsiteX6404" fmla="*/ 5289290 w 13797425"/>
                <a:gd name="connsiteY6404" fmla="*/ 10366530 h 17966907"/>
                <a:gd name="connsiteX6405" fmla="*/ 5265465 w 13797425"/>
                <a:gd name="connsiteY6405" fmla="*/ 10371295 h 17966907"/>
                <a:gd name="connsiteX6406" fmla="*/ 5232109 w 13797425"/>
                <a:gd name="connsiteY6406" fmla="*/ 10361765 h 17966907"/>
                <a:gd name="connsiteX6407" fmla="*/ 5213048 w 13797425"/>
                <a:gd name="connsiteY6407" fmla="*/ 10357000 h 17966907"/>
                <a:gd name="connsiteX6408" fmla="*/ 5193988 w 13797425"/>
                <a:gd name="connsiteY6408" fmla="*/ 10376060 h 17966907"/>
                <a:gd name="connsiteX6409" fmla="*/ 5198753 w 13797425"/>
                <a:gd name="connsiteY6409" fmla="*/ 10390356 h 17966907"/>
                <a:gd name="connsiteX6410" fmla="*/ 5203518 w 13797425"/>
                <a:gd name="connsiteY6410" fmla="*/ 10409416 h 17966907"/>
                <a:gd name="connsiteX6411" fmla="*/ 5198753 w 13797425"/>
                <a:gd name="connsiteY6411" fmla="*/ 10423712 h 17966907"/>
                <a:gd name="connsiteX6412" fmla="*/ 5151102 w 13797425"/>
                <a:gd name="connsiteY6412" fmla="*/ 10428477 h 17966907"/>
                <a:gd name="connsiteX6413" fmla="*/ 5141572 w 13797425"/>
                <a:gd name="connsiteY6413" fmla="*/ 10423712 h 17966907"/>
                <a:gd name="connsiteX6414" fmla="*/ 5112981 w 13797425"/>
                <a:gd name="connsiteY6414" fmla="*/ 10433242 h 17966907"/>
                <a:gd name="connsiteX6415" fmla="*/ 5103450 w 13797425"/>
                <a:gd name="connsiteY6415" fmla="*/ 10433242 h 17966907"/>
                <a:gd name="connsiteX6416" fmla="*/ 5098686 w 13797425"/>
                <a:gd name="connsiteY6416" fmla="*/ 10423712 h 17966907"/>
                <a:gd name="connsiteX6417" fmla="*/ 5046269 w 13797425"/>
                <a:gd name="connsiteY6417" fmla="*/ 10380826 h 17966907"/>
                <a:gd name="connsiteX6418" fmla="*/ 5041504 w 13797425"/>
                <a:gd name="connsiteY6418" fmla="*/ 10371295 h 17966907"/>
                <a:gd name="connsiteX6419" fmla="*/ 5055800 w 13797425"/>
                <a:gd name="connsiteY6419" fmla="*/ 10337939 h 17966907"/>
                <a:gd name="connsiteX6420" fmla="*/ 5103450 w 13797425"/>
                <a:gd name="connsiteY6420" fmla="*/ 10242637 h 17966907"/>
                <a:gd name="connsiteX6421" fmla="*/ 5108216 w 13797425"/>
                <a:gd name="connsiteY6421" fmla="*/ 10237872 h 17966907"/>
                <a:gd name="connsiteX6422" fmla="*/ 5193988 w 13797425"/>
                <a:gd name="connsiteY6422" fmla="*/ 10218811 h 17966907"/>
                <a:gd name="connsiteX6423" fmla="*/ 5241639 w 13797425"/>
                <a:gd name="connsiteY6423" fmla="*/ 10204516 h 17966907"/>
                <a:gd name="connsiteX6424" fmla="*/ 5336942 w 13797425"/>
                <a:gd name="connsiteY6424" fmla="*/ 10152099 h 17966907"/>
                <a:gd name="connsiteX6425" fmla="*/ 5356002 w 13797425"/>
                <a:gd name="connsiteY6425" fmla="*/ 10147334 h 17966907"/>
                <a:gd name="connsiteX6426" fmla="*/ 5417949 w 13797425"/>
                <a:gd name="connsiteY6426" fmla="*/ 10113978 h 17966907"/>
                <a:gd name="connsiteX6427" fmla="*/ 5441774 w 13797425"/>
                <a:gd name="connsiteY6427" fmla="*/ 10104448 h 17966907"/>
                <a:gd name="connsiteX6428" fmla="*/ 5465600 w 13797425"/>
                <a:gd name="connsiteY6428" fmla="*/ 10109213 h 17966907"/>
                <a:gd name="connsiteX6429" fmla="*/ 5498956 w 13797425"/>
                <a:gd name="connsiteY6429" fmla="*/ 10128274 h 17966907"/>
                <a:gd name="connsiteX6430" fmla="*/ 5518016 w 13797425"/>
                <a:gd name="connsiteY6430" fmla="*/ 10142569 h 17966907"/>
                <a:gd name="connsiteX6431" fmla="*/ 5527547 w 13797425"/>
                <a:gd name="connsiteY6431" fmla="*/ 10161630 h 17966907"/>
                <a:gd name="connsiteX6432" fmla="*/ 5541842 w 13797425"/>
                <a:gd name="connsiteY6432" fmla="*/ 10190220 h 17966907"/>
                <a:gd name="connsiteX6433" fmla="*/ 5551372 w 13797425"/>
                <a:gd name="connsiteY6433" fmla="*/ 10252167 h 17966907"/>
                <a:gd name="connsiteX6434" fmla="*/ 5556138 w 13797425"/>
                <a:gd name="connsiteY6434" fmla="*/ 10304583 h 17966907"/>
                <a:gd name="connsiteX6435" fmla="*/ 5565668 w 13797425"/>
                <a:gd name="connsiteY6435" fmla="*/ 10323644 h 17966907"/>
                <a:gd name="connsiteX6436" fmla="*/ 5594258 w 13797425"/>
                <a:gd name="connsiteY6436" fmla="*/ 10357000 h 17966907"/>
                <a:gd name="connsiteX6437" fmla="*/ 5608554 w 13797425"/>
                <a:gd name="connsiteY6437" fmla="*/ 10371295 h 17966907"/>
                <a:gd name="connsiteX6438" fmla="*/ 5618084 w 13797425"/>
                <a:gd name="connsiteY6438" fmla="*/ 10376060 h 17966907"/>
                <a:gd name="connsiteX6439" fmla="*/ 5627614 w 13797425"/>
                <a:gd name="connsiteY6439" fmla="*/ 10366530 h 17966907"/>
                <a:gd name="connsiteX6440" fmla="*/ 5632380 w 13797425"/>
                <a:gd name="connsiteY6440" fmla="*/ 10366530 h 17966907"/>
                <a:gd name="connsiteX6441" fmla="*/ 5637145 w 13797425"/>
                <a:gd name="connsiteY6441" fmla="*/ 10390356 h 17966907"/>
                <a:gd name="connsiteX6442" fmla="*/ 5641910 w 13797425"/>
                <a:gd name="connsiteY6442" fmla="*/ 10395121 h 17966907"/>
                <a:gd name="connsiteX6443" fmla="*/ 5660970 w 13797425"/>
                <a:gd name="connsiteY6443" fmla="*/ 10390356 h 17966907"/>
                <a:gd name="connsiteX6444" fmla="*/ 5680031 w 13797425"/>
                <a:gd name="connsiteY6444" fmla="*/ 10399886 h 17966907"/>
                <a:gd name="connsiteX6445" fmla="*/ 5680031 w 13797425"/>
                <a:gd name="connsiteY6445" fmla="*/ 10404651 h 17966907"/>
                <a:gd name="connsiteX6446" fmla="*/ 5675266 w 13797425"/>
                <a:gd name="connsiteY6446" fmla="*/ 10433242 h 17966907"/>
                <a:gd name="connsiteX6447" fmla="*/ 5684796 w 13797425"/>
                <a:gd name="connsiteY6447" fmla="*/ 10442772 h 17966907"/>
                <a:gd name="connsiteX6448" fmla="*/ 5703856 w 13797425"/>
                <a:gd name="connsiteY6448" fmla="*/ 10471363 h 17966907"/>
                <a:gd name="connsiteX6449" fmla="*/ 5727682 w 13797425"/>
                <a:gd name="connsiteY6449" fmla="*/ 10480893 h 17966907"/>
                <a:gd name="connsiteX6450" fmla="*/ 5751508 w 13797425"/>
                <a:gd name="connsiteY6450" fmla="*/ 10480893 h 17966907"/>
                <a:gd name="connsiteX6451" fmla="*/ 5794394 w 13797425"/>
                <a:gd name="connsiteY6451" fmla="*/ 10480893 h 17966907"/>
                <a:gd name="connsiteX6452" fmla="*/ 5832515 w 13797425"/>
                <a:gd name="connsiteY6452" fmla="*/ 10466598 h 17966907"/>
                <a:gd name="connsiteX6453" fmla="*/ 5861106 w 13797425"/>
                <a:gd name="connsiteY6453" fmla="*/ 10447537 h 17966907"/>
                <a:gd name="connsiteX6454" fmla="*/ 5884932 w 13797425"/>
                <a:gd name="connsiteY6454" fmla="*/ 10471363 h 17966907"/>
                <a:gd name="connsiteX6455" fmla="*/ 5932582 w 13797425"/>
                <a:gd name="connsiteY6455" fmla="*/ 10519014 h 17966907"/>
                <a:gd name="connsiteX6456" fmla="*/ 5961174 w 13797425"/>
                <a:gd name="connsiteY6456" fmla="*/ 10557135 h 17966907"/>
                <a:gd name="connsiteX6457" fmla="*/ 5984999 w 13797425"/>
                <a:gd name="connsiteY6457" fmla="*/ 10571430 h 17966907"/>
                <a:gd name="connsiteX6458" fmla="*/ 6032650 w 13797425"/>
                <a:gd name="connsiteY6458" fmla="*/ 10595256 h 17966907"/>
                <a:gd name="connsiteX6459" fmla="*/ 6042180 w 13797425"/>
                <a:gd name="connsiteY6459" fmla="*/ 10604786 h 17966907"/>
                <a:gd name="connsiteX6460" fmla="*/ 6061241 w 13797425"/>
                <a:gd name="connsiteY6460" fmla="*/ 10604786 h 17966907"/>
                <a:gd name="connsiteX6461" fmla="*/ 6085067 w 13797425"/>
                <a:gd name="connsiteY6461" fmla="*/ 10600021 h 17966907"/>
                <a:gd name="connsiteX6462" fmla="*/ 6113658 w 13797425"/>
                <a:gd name="connsiteY6462" fmla="*/ 10600021 h 17966907"/>
                <a:gd name="connsiteX6463" fmla="*/ 6142248 w 13797425"/>
                <a:gd name="connsiteY6463" fmla="*/ 10614317 h 17966907"/>
                <a:gd name="connsiteX6464" fmla="*/ 6161309 w 13797425"/>
                <a:gd name="connsiteY6464" fmla="*/ 10623847 h 17966907"/>
                <a:gd name="connsiteX6465" fmla="*/ 6232786 w 13797425"/>
                <a:gd name="connsiteY6465" fmla="*/ 10595256 h 17966907"/>
                <a:gd name="connsiteX6466" fmla="*/ 6242316 w 13797425"/>
                <a:gd name="connsiteY6466" fmla="*/ 10590491 h 17966907"/>
                <a:gd name="connsiteX6467" fmla="*/ 6270907 w 13797425"/>
                <a:gd name="connsiteY6467" fmla="*/ 10580961 h 17966907"/>
                <a:gd name="connsiteX6468" fmla="*/ 6289968 w 13797425"/>
                <a:gd name="connsiteY6468" fmla="*/ 10576196 h 17966907"/>
                <a:gd name="connsiteX6469" fmla="*/ 6309028 w 13797425"/>
                <a:gd name="connsiteY6469" fmla="*/ 10576196 h 17966907"/>
                <a:gd name="connsiteX6470" fmla="*/ 6323323 w 13797425"/>
                <a:gd name="connsiteY6470" fmla="*/ 10571430 h 17966907"/>
                <a:gd name="connsiteX6471" fmla="*/ 6332854 w 13797425"/>
                <a:gd name="connsiteY6471" fmla="*/ 10561900 h 17966907"/>
                <a:gd name="connsiteX6472" fmla="*/ 6370974 w 13797425"/>
                <a:gd name="connsiteY6472" fmla="*/ 10561900 h 17966907"/>
                <a:gd name="connsiteX6473" fmla="*/ 6442452 w 13797425"/>
                <a:gd name="connsiteY6473" fmla="*/ 10571430 h 17966907"/>
                <a:gd name="connsiteX6474" fmla="*/ 6490102 w 13797425"/>
                <a:gd name="connsiteY6474" fmla="*/ 10585726 h 17966907"/>
                <a:gd name="connsiteX6475" fmla="*/ 6513928 w 13797425"/>
                <a:gd name="connsiteY6475" fmla="*/ 10600021 h 17966907"/>
                <a:gd name="connsiteX6476" fmla="*/ 6537754 w 13797425"/>
                <a:gd name="connsiteY6476" fmla="*/ 10609552 h 17966907"/>
                <a:gd name="connsiteX6477" fmla="*/ 6556814 w 13797425"/>
                <a:gd name="connsiteY6477" fmla="*/ 10609552 h 17966907"/>
                <a:gd name="connsiteX6478" fmla="*/ 6575875 w 13797425"/>
                <a:gd name="connsiteY6478" fmla="*/ 10609552 h 17966907"/>
                <a:gd name="connsiteX6479" fmla="*/ 6590170 w 13797425"/>
                <a:gd name="connsiteY6479" fmla="*/ 10600021 h 17966907"/>
                <a:gd name="connsiteX6480" fmla="*/ 6609231 w 13797425"/>
                <a:gd name="connsiteY6480" fmla="*/ 10585726 h 17966907"/>
                <a:gd name="connsiteX6481" fmla="*/ 6647352 w 13797425"/>
                <a:gd name="connsiteY6481" fmla="*/ 10580961 h 17966907"/>
                <a:gd name="connsiteX6482" fmla="*/ 6652117 w 13797425"/>
                <a:gd name="connsiteY6482" fmla="*/ 10576196 h 17966907"/>
                <a:gd name="connsiteX6483" fmla="*/ 6652117 w 13797425"/>
                <a:gd name="connsiteY6483" fmla="*/ 10566665 h 17966907"/>
                <a:gd name="connsiteX6484" fmla="*/ 6642586 w 13797425"/>
                <a:gd name="connsiteY6484" fmla="*/ 10557135 h 17966907"/>
                <a:gd name="connsiteX6485" fmla="*/ 6623526 w 13797425"/>
                <a:gd name="connsiteY6485" fmla="*/ 10533310 h 17966907"/>
                <a:gd name="connsiteX6486" fmla="*/ 6609231 w 13797425"/>
                <a:gd name="connsiteY6486" fmla="*/ 10509484 h 17966907"/>
                <a:gd name="connsiteX6487" fmla="*/ 6604466 w 13797425"/>
                <a:gd name="connsiteY6487" fmla="*/ 10495188 h 17966907"/>
                <a:gd name="connsiteX6488" fmla="*/ 6604466 w 13797425"/>
                <a:gd name="connsiteY6488" fmla="*/ 10476128 h 17966907"/>
                <a:gd name="connsiteX6489" fmla="*/ 6609231 w 13797425"/>
                <a:gd name="connsiteY6489" fmla="*/ 10466598 h 17966907"/>
                <a:gd name="connsiteX6490" fmla="*/ 6618761 w 13797425"/>
                <a:gd name="connsiteY6490" fmla="*/ 10466598 h 17966907"/>
                <a:gd name="connsiteX6491" fmla="*/ 6633056 w 13797425"/>
                <a:gd name="connsiteY6491" fmla="*/ 10476128 h 17966907"/>
                <a:gd name="connsiteX6492" fmla="*/ 6652117 w 13797425"/>
                <a:gd name="connsiteY6492" fmla="*/ 10499954 h 17966907"/>
                <a:gd name="connsiteX6493" fmla="*/ 6709298 w 13797425"/>
                <a:gd name="connsiteY6493" fmla="*/ 10590491 h 17966907"/>
                <a:gd name="connsiteX6494" fmla="*/ 6723594 w 13797425"/>
                <a:gd name="connsiteY6494" fmla="*/ 10604786 h 17966907"/>
                <a:gd name="connsiteX6495" fmla="*/ 6728359 w 13797425"/>
                <a:gd name="connsiteY6495" fmla="*/ 10614317 h 17966907"/>
                <a:gd name="connsiteX6496" fmla="*/ 6780776 w 13797425"/>
                <a:gd name="connsiteY6496" fmla="*/ 10647672 h 17966907"/>
                <a:gd name="connsiteX6497" fmla="*/ 6804601 w 13797425"/>
                <a:gd name="connsiteY6497" fmla="*/ 10652438 h 17966907"/>
                <a:gd name="connsiteX6498" fmla="*/ 6828426 w 13797425"/>
                <a:gd name="connsiteY6498" fmla="*/ 10633377 h 17966907"/>
                <a:gd name="connsiteX6499" fmla="*/ 6842722 w 13797425"/>
                <a:gd name="connsiteY6499" fmla="*/ 10619082 h 17966907"/>
                <a:gd name="connsiteX6500" fmla="*/ 6847487 w 13797425"/>
                <a:gd name="connsiteY6500" fmla="*/ 10609552 h 17966907"/>
                <a:gd name="connsiteX6501" fmla="*/ 6847487 w 13797425"/>
                <a:gd name="connsiteY6501" fmla="*/ 10595256 h 17966907"/>
                <a:gd name="connsiteX6502" fmla="*/ 6852252 w 13797425"/>
                <a:gd name="connsiteY6502" fmla="*/ 10580961 h 17966907"/>
                <a:gd name="connsiteX6503" fmla="*/ 6847487 w 13797425"/>
                <a:gd name="connsiteY6503" fmla="*/ 10571430 h 17966907"/>
                <a:gd name="connsiteX6504" fmla="*/ 6842722 w 13797425"/>
                <a:gd name="connsiteY6504" fmla="*/ 10557135 h 17966907"/>
                <a:gd name="connsiteX6505" fmla="*/ 6823662 w 13797425"/>
                <a:gd name="connsiteY6505" fmla="*/ 10538075 h 17966907"/>
                <a:gd name="connsiteX6506" fmla="*/ 6790306 w 13797425"/>
                <a:gd name="connsiteY6506" fmla="*/ 10509484 h 17966907"/>
                <a:gd name="connsiteX6507" fmla="*/ 6756950 w 13797425"/>
                <a:gd name="connsiteY6507" fmla="*/ 10504719 h 17966907"/>
                <a:gd name="connsiteX6508" fmla="*/ 6733124 w 13797425"/>
                <a:gd name="connsiteY6508" fmla="*/ 10514249 h 17966907"/>
                <a:gd name="connsiteX6509" fmla="*/ 6699768 w 13797425"/>
                <a:gd name="connsiteY6509" fmla="*/ 10533310 h 17966907"/>
                <a:gd name="connsiteX6510" fmla="*/ 6685473 w 13797425"/>
                <a:gd name="connsiteY6510" fmla="*/ 10528544 h 17966907"/>
                <a:gd name="connsiteX6511" fmla="*/ 6647352 w 13797425"/>
                <a:gd name="connsiteY6511" fmla="*/ 10466598 h 17966907"/>
                <a:gd name="connsiteX6512" fmla="*/ 6637822 w 13797425"/>
                <a:gd name="connsiteY6512" fmla="*/ 10447537 h 17966907"/>
                <a:gd name="connsiteX6513" fmla="*/ 6637822 w 13797425"/>
                <a:gd name="connsiteY6513" fmla="*/ 10442772 h 17966907"/>
                <a:gd name="connsiteX6514" fmla="*/ 6656882 w 13797425"/>
                <a:gd name="connsiteY6514" fmla="*/ 10447537 h 17966907"/>
                <a:gd name="connsiteX6515" fmla="*/ 6656882 w 13797425"/>
                <a:gd name="connsiteY6515" fmla="*/ 10442772 h 17966907"/>
                <a:gd name="connsiteX6516" fmla="*/ 6647352 w 13797425"/>
                <a:gd name="connsiteY6516" fmla="*/ 10409416 h 17966907"/>
                <a:gd name="connsiteX6517" fmla="*/ 6642586 w 13797425"/>
                <a:gd name="connsiteY6517" fmla="*/ 10399886 h 17966907"/>
                <a:gd name="connsiteX6518" fmla="*/ 6618761 w 13797425"/>
                <a:gd name="connsiteY6518" fmla="*/ 10357000 h 17966907"/>
                <a:gd name="connsiteX6519" fmla="*/ 6613996 w 13797425"/>
                <a:gd name="connsiteY6519" fmla="*/ 10342704 h 17966907"/>
                <a:gd name="connsiteX6520" fmla="*/ 6628292 w 13797425"/>
                <a:gd name="connsiteY6520" fmla="*/ 10337939 h 17966907"/>
                <a:gd name="connsiteX6521" fmla="*/ 6637822 w 13797425"/>
                <a:gd name="connsiteY6521" fmla="*/ 10333174 h 17966907"/>
                <a:gd name="connsiteX6522" fmla="*/ 6642586 w 13797425"/>
                <a:gd name="connsiteY6522" fmla="*/ 10333174 h 17966907"/>
                <a:gd name="connsiteX6523" fmla="*/ 6685473 w 13797425"/>
                <a:gd name="connsiteY6523" fmla="*/ 10361765 h 17966907"/>
                <a:gd name="connsiteX6524" fmla="*/ 6704534 w 13797425"/>
                <a:gd name="connsiteY6524" fmla="*/ 10352235 h 17966907"/>
                <a:gd name="connsiteX6525" fmla="*/ 6747420 w 13797425"/>
                <a:gd name="connsiteY6525" fmla="*/ 10333174 h 17966907"/>
                <a:gd name="connsiteX6526" fmla="*/ 6733124 w 13797425"/>
                <a:gd name="connsiteY6526" fmla="*/ 10304583 h 17966907"/>
                <a:gd name="connsiteX6527" fmla="*/ 6728359 w 13797425"/>
                <a:gd name="connsiteY6527" fmla="*/ 10280758 h 17966907"/>
                <a:gd name="connsiteX6528" fmla="*/ 6728359 w 13797425"/>
                <a:gd name="connsiteY6528" fmla="*/ 10275993 h 17966907"/>
                <a:gd name="connsiteX6529" fmla="*/ 6742654 w 13797425"/>
                <a:gd name="connsiteY6529" fmla="*/ 10271228 h 17966907"/>
                <a:gd name="connsiteX6530" fmla="*/ 6776010 w 13797425"/>
                <a:gd name="connsiteY6530" fmla="*/ 10290288 h 17966907"/>
                <a:gd name="connsiteX6531" fmla="*/ 6790306 w 13797425"/>
                <a:gd name="connsiteY6531" fmla="*/ 10295053 h 17966907"/>
                <a:gd name="connsiteX6532" fmla="*/ 6799836 w 13797425"/>
                <a:gd name="connsiteY6532" fmla="*/ 10285523 h 17966907"/>
                <a:gd name="connsiteX6533" fmla="*/ 6809366 w 13797425"/>
                <a:gd name="connsiteY6533" fmla="*/ 10285523 h 17966907"/>
                <a:gd name="connsiteX6534" fmla="*/ 6823662 w 13797425"/>
                <a:gd name="connsiteY6534" fmla="*/ 10295053 h 17966907"/>
                <a:gd name="connsiteX6535" fmla="*/ 6833192 w 13797425"/>
                <a:gd name="connsiteY6535" fmla="*/ 10304583 h 17966907"/>
                <a:gd name="connsiteX6536" fmla="*/ 6852252 w 13797425"/>
                <a:gd name="connsiteY6536" fmla="*/ 10337939 h 17966907"/>
                <a:gd name="connsiteX6537" fmla="*/ 6861782 w 13797425"/>
                <a:gd name="connsiteY6537" fmla="*/ 10357000 h 17966907"/>
                <a:gd name="connsiteX6538" fmla="*/ 6876078 w 13797425"/>
                <a:gd name="connsiteY6538" fmla="*/ 10385591 h 17966907"/>
                <a:gd name="connsiteX6539" fmla="*/ 6876078 w 13797425"/>
                <a:gd name="connsiteY6539" fmla="*/ 10390356 h 17966907"/>
                <a:gd name="connsiteX6540" fmla="*/ 6933260 w 13797425"/>
                <a:gd name="connsiteY6540" fmla="*/ 10390356 h 17966907"/>
                <a:gd name="connsiteX6541" fmla="*/ 6961850 w 13797425"/>
                <a:gd name="connsiteY6541" fmla="*/ 10366530 h 17966907"/>
                <a:gd name="connsiteX6542" fmla="*/ 6961850 w 13797425"/>
                <a:gd name="connsiteY6542" fmla="*/ 10376060 h 17966907"/>
                <a:gd name="connsiteX6543" fmla="*/ 6957085 w 13797425"/>
                <a:gd name="connsiteY6543" fmla="*/ 10395121 h 17966907"/>
                <a:gd name="connsiteX6544" fmla="*/ 6918964 w 13797425"/>
                <a:gd name="connsiteY6544" fmla="*/ 10471363 h 17966907"/>
                <a:gd name="connsiteX6545" fmla="*/ 6918964 w 13797425"/>
                <a:gd name="connsiteY6545" fmla="*/ 10480893 h 17966907"/>
                <a:gd name="connsiteX6546" fmla="*/ 6938024 w 13797425"/>
                <a:gd name="connsiteY6546" fmla="*/ 10476128 h 17966907"/>
                <a:gd name="connsiteX6547" fmla="*/ 6947555 w 13797425"/>
                <a:gd name="connsiteY6547" fmla="*/ 10471363 h 17966907"/>
                <a:gd name="connsiteX6548" fmla="*/ 6952320 w 13797425"/>
                <a:gd name="connsiteY6548" fmla="*/ 10461833 h 17966907"/>
                <a:gd name="connsiteX6549" fmla="*/ 6957085 w 13797425"/>
                <a:gd name="connsiteY6549" fmla="*/ 10438007 h 17966907"/>
                <a:gd name="connsiteX6550" fmla="*/ 6961850 w 13797425"/>
                <a:gd name="connsiteY6550" fmla="*/ 10433242 h 17966907"/>
                <a:gd name="connsiteX6551" fmla="*/ 7019032 w 13797425"/>
                <a:gd name="connsiteY6551" fmla="*/ 10395121 h 17966907"/>
                <a:gd name="connsiteX6552" fmla="*/ 7033327 w 13797425"/>
                <a:gd name="connsiteY6552" fmla="*/ 10390356 h 17966907"/>
                <a:gd name="connsiteX6553" fmla="*/ 7023797 w 13797425"/>
                <a:gd name="connsiteY6553" fmla="*/ 10428477 h 17966907"/>
                <a:gd name="connsiteX6554" fmla="*/ 7004736 w 13797425"/>
                <a:gd name="connsiteY6554" fmla="*/ 10566665 h 17966907"/>
                <a:gd name="connsiteX6555" fmla="*/ 6999972 w 13797425"/>
                <a:gd name="connsiteY6555" fmla="*/ 10614317 h 17966907"/>
                <a:gd name="connsiteX6556" fmla="*/ 6995206 w 13797425"/>
                <a:gd name="connsiteY6556" fmla="*/ 10628612 h 17966907"/>
                <a:gd name="connsiteX6557" fmla="*/ 6971380 w 13797425"/>
                <a:gd name="connsiteY6557" fmla="*/ 10681028 h 17966907"/>
                <a:gd name="connsiteX6558" fmla="*/ 6971380 w 13797425"/>
                <a:gd name="connsiteY6558" fmla="*/ 10700089 h 17966907"/>
                <a:gd name="connsiteX6559" fmla="*/ 6995206 w 13797425"/>
                <a:gd name="connsiteY6559" fmla="*/ 10742975 h 17966907"/>
                <a:gd name="connsiteX6560" fmla="*/ 6999972 w 13797425"/>
                <a:gd name="connsiteY6560" fmla="*/ 10752505 h 17966907"/>
                <a:gd name="connsiteX6561" fmla="*/ 7004736 w 13797425"/>
                <a:gd name="connsiteY6561" fmla="*/ 10785861 h 17966907"/>
                <a:gd name="connsiteX6562" fmla="*/ 7009502 w 13797425"/>
                <a:gd name="connsiteY6562" fmla="*/ 10795392 h 17966907"/>
                <a:gd name="connsiteX6563" fmla="*/ 7028562 w 13797425"/>
                <a:gd name="connsiteY6563" fmla="*/ 10795392 h 17966907"/>
                <a:gd name="connsiteX6564" fmla="*/ 7047622 w 13797425"/>
                <a:gd name="connsiteY6564" fmla="*/ 10785861 h 17966907"/>
                <a:gd name="connsiteX6565" fmla="*/ 7076214 w 13797425"/>
                <a:gd name="connsiteY6565" fmla="*/ 10776331 h 17966907"/>
                <a:gd name="connsiteX6566" fmla="*/ 7076214 w 13797425"/>
                <a:gd name="connsiteY6566" fmla="*/ 10785861 h 17966907"/>
                <a:gd name="connsiteX6567" fmla="*/ 7061918 w 13797425"/>
                <a:gd name="connsiteY6567" fmla="*/ 10823982 h 17966907"/>
                <a:gd name="connsiteX6568" fmla="*/ 7066683 w 13797425"/>
                <a:gd name="connsiteY6568" fmla="*/ 10828747 h 17966907"/>
                <a:gd name="connsiteX6569" fmla="*/ 7090508 w 13797425"/>
                <a:gd name="connsiteY6569" fmla="*/ 10819217 h 17966907"/>
                <a:gd name="connsiteX6570" fmla="*/ 7100039 w 13797425"/>
                <a:gd name="connsiteY6570" fmla="*/ 10819217 h 17966907"/>
                <a:gd name="connsiteX6571" fmla="*/ 7104804 w 13797425"/>
                <a:gd name="connsiteY6571" fmla="*/ 10819217 h 17966907"/>
                <a:gd name="connsiteX6572" fmla="*/ 7119100 w 13797425"/>
                <a:gd name="connsiteY6572" fmla="*/ 10843043 h 17966907"/>
                <a:gd name="connsiteX6573" fmla="*/ 7123864 w 13797425"/>
                <a:gd name="connsiteY6573" fmla="*/ 10857338 h 17966907"/>
                <a:gd name="connsiteX6574" fmla="*/ 7123864 w 13797425"/>
                <a:gd name="connsiteY6574" fmla="*/ 10881164 h 17966907"/>
                <a:gd name="connsiteX6575" fmla="*/ 7119100 w 13797425"/>
                <a:gd name="connsiteY6575" fmla="*/ 10900224 h 17966907"/>
                <a:gd name="connsiteX6576" fmla="*/ 7114334 w 13797425"/>
                <a:gd name="connsiteY6576" fmla="*/ 10909754 h 17966907"/>
                <a:gd name="connsiteX6577" fmla="*/ 7109569 w 13797425"/>
                <a:gd name="connsiteY6577" fmla="*/ 10909754 h 17966907"/>
                <a:gd name="connsiteX6578" fmla="*/ 7100039 w 13797425"/>
                <a:gd name="connsiteY6578" fmla="*/ 10914520 h 17966907"/>
                <a:gd name="connsiteX6579" fmla="*/ 7090508 w 13797425"/>
                <a:gd name="connsiteY6579" fmla="*/ 10914520 h 17966907"/>
                <a:gd name="connsiteX6580" fmla="*/ 7066683 w 13797425"/>
                <a:gd name="connsiteY6580" fmla="*/ 10919285 h 17966907"/>
                <a:gd name="connsiteX6581" fmla="*/ 7052388 w 13797425"/>
                <a:gd name="connsiteY6581" fmla="*/ 10914520 h 17966907"/>
                <a:gd name="connsiteX6582" fmla="*/ 7038092 w 13797425"/>
                <a:gd name="connsiteY6582" fmla="*/ 10900224 h 17966907"/>
                <a:gd name="connsiteX6583" fmla="*/ 7028562 w 13797425"/>
                <a:gd name="connsiteY6583" fmla="*/ 10895459 h 17966907"/>
                <a:gd name="connsiteX6584" fmla="*/ 7014266 w 13797425"/>
                <a:gd name="connsiteY6584" fmla="*/ 10904990 h 17966907"/>
                <a:gd name="connsiteX6585" fmla="*/ 6995206 w 13797425"/>
                <a:gd name="connsiteY6585" fmla="*/ 10904990 h 17966907"/>
                <a:gd name="connsiteX6586" fmla="*/ 6976146 w 13797425"/>
                <a:gd name="connsiteY6586" fmla="*/ 10876398 h 17966907"/>
                <a:gd name="connsiteX6587" fmla="*/ 6966616 w 13797425"/>
                <a:gd name="connsiteY6587" fmla="*/ 10876398 h 17966907"/>
                <a:gd name="connsiteX6588" fmla="*/ 6961850 w 13797425"/>
                <a:gd name="connsiteY6588" fmla="*/ 10881164 h 17966907"/>
                <a:gd name="connsiteX6589" fmla="*/ 6961850 w 13797425"/>
                <a:gd name="connsiteY6589" fmla="*/ 10890694 h 17966907"/>
                <a:gd name="connsiteX6590" fmla="*/ 6976146 w 13797425"/>
                <a:gd name="connsiteY6590" fmla="*/ 10909754 h 17966907"/>
                <a:gd name="connsiteX6591" fmla="*/ 7047622 w 13797425"/>
                <a:gd name="connsiteY6591" fmla="*/ 11005057 h 17966907"/>
                <a:gd name="connsiteX6592" fmla="*/ 7057153 w 13797425"/>
                <a:gd name="connsiteY6592" fmla="*/ 11028883 h 17966907"/>
                <a:gd name="connsiteX6593" fmla="*/ 7061918 w 13797425"/>
                <a:gd name="connsiteY6593" fmla="*/ 11057474 h 17966907"/>
                <a:gd name="connsiteX6594" fmla="*/ 7071448 w 13797425"/>
                <a:gd name="connsiteY6594" fmla="*/ 11024118 h 17966907"/>
                <a:gd name="connsiteX6595" fmla="*/ 7066683 w 13797425"/>
                <a:gd name="connsiteY6595" fmla="*/ 11014587 h 17966907"/>
                <a:gd name="connsiteX6596" fmla="*/ 7028562 w 13797425"/>
                <a:gd name="connsiteY6596" fmla="*/ 10957406 h 17966907"/>
                <a:gd name="connsiteX6597" fmla="*/ 7023797 w 13797425"/>
                <a:gd name="connsiteY6597" fmla="*/ 10933580 h 17966907"/>
                <a:gd name="connsiteX6598" fmla="*/ 7023797 w 13797425"/>
                <a:gd name="connsiteY6598" fmla="*/ 10928815 h 17966907"/>
                <a:gd name="connsiteX6599" fmla="*/ 7033327 w 13797425"/>
                <a:gd name="connsiteY6599" fmla="*/ 10924050 h 17966907"/>
                <a:gd name="connsiteX6600" fmla="*/ 7090508 w 13797425"/>
                <a:gd name="connsiteY6600" fmla="*/ 10938345 h 17966907"/>
                <a:gd name="connsiteX6601" fmla="*/ 7109569 w 13797425"/>
                <a:gd name="connsiteY6601" fmla="*/ 10933580 h 17966907"/>
                <a:gd name="connsiteX6602" fmla="*/ 7123864 w 13797425"/>
                <a:gd name="connsiteY6602" fmla="*/ 10924050 h 17966907"/>
                <a:gd name="connsiteX6603" fmla="*/ 7133395 w 13797425"/>
                <a:gd name="connsiteY6603" fmla="*/ 10909754 h 17966907"/>
                <a:gd name="connsiteX6604" fmla="*/ 7138160 w 13797425"/>
                <a:gd name="connsiteY6604" fmla="*/ 10843043 h 17966907"/>
                <a:gd name="connsiteX6605" fmla="*/ 7147690 w 13797425"/>
                <a:gd name="connsiteY6605" fmla="*/ 10800156 h 17966907"/>
                <a:gd name="connsiteX6606" fmla="*/ 7138160 w 13797425"/>
                <a:gd name="connsiteY6606" fmla="*/ 10757270 h 17966907"/>
                <a:gd name="connsiteX6607" fmla="*/ 7123864 w 13797425"/>
                <a:gd name="connsiteY6607" fmla="*/ 10695324 h 17966907"/>
                <a:gd name="connsiteX6608" fmla="*/ 7114334 w 13797425"/>
                <a:gd name="connsiteY6608" fmla="*/ 10657203 h 17966907"/>
                <a:gd name="connsiteX6609" fmla="*/ 7085744 w 13797425"/>
                <a:gd name="connsiteY6609" fmla="*/ 10619082 h 17966907"/>
                <a:gd name="connsiteX6610" fmla="*/ 7085744 w 13797425"/>
                <a:gd name="connsiteY6610" fmla="*/ 10604786 h 17966907"/>
                <a:gd name="connsiteX6611" fmla="*/ 7114334 w 13797425"/>
                <a:gd name="connsiteY6611" fmla="*/ 10485658 h 17966907"/>
                <a:gd name="connsiteX6612" fmla="*/ 7119100 w 13797425"/>
                <a:gd name="connsiteY6612" fmla="*/ 10476128 h 17966907"/>
                <a:gd name="connsiteX6613" fmla="*/ 7128630 w 13797425"/>
                <a:gd name="connsiteY6613" fmla="*/ 10471363 h 17966907"/>
                <a:gd name="connsiteX6614" fmla="*/ 7147690 w 13797425"/>
                <a:gd name="connsiteY6614" fmla="*/ 10471363 h 17966907"/>
                <a:gd name="connsiteX6615" fmla="*/ 7166750 w 13797425"/>
                <a:gd name="connsiteY6615" fmla="*/ 10461833 h 17966907"/>
                <a:gd name="connsiteX6616" fmla="*/ 7195342 w 13797425"/>
                <a:gd name="connsiteY6616" fmla="*/ 10476128 h 17966907"/>
                <a:gd name="connsiteX6617" fmla="*/ 7209637 w 13797425"/>
                <a:gd name="connsiteY6617" fmla="*/ 10480893 h 17966907"/>
                <a:gd name="connsiteX6618" fmla="*/ 7228698 w 13797425"/>
                <a:gd name="connsiteY6618" fmla="*/ 10466598 h 17966907"/>
                <a:gd name="connsiteX6619" fmla="*/ 7266818 w 13797425"/>
                <a:gd name="connsiteY6619" fmla="*/ 10414181 h 17966907"/>
                <a:gd name="connsiteX6620" fmla="*/ 7281114 w 13797425"/>
                <a:gd name="connsiteY6620" fmla="*/ 10399886 h 17966907"/>
                <a:gd name="connsiteX6621" fmla="*/ 7300174 w 13797425"/>
                <a:gd name="connsiteY6621" fmla="*/ 10371295 h 17966907"/>
                <a:gd name="connsiteX6622" fmla="*/ 7328765 w 13797425"/>
                <a:gd name="connsiteY6622" fmla="*/ 10328409 h 17966907"/>
                <a:gd name="connsiteX6623" fmla="*/ 7352590 w 13797425"/>
                <a:gd name="connsiteY6623" fmla="*/ 10295053 h 17966907"/>
                <a:gd name="connsiteX6624" fmla="*/ 7395477 w 13797425"/>
                <a:gd name="connsiteY6624" fmla="*/ 10266462 h 17966907"/>
                <a:gd name="connsiteX6625" fmla="*/ 7424068 w 13797425"/>
                <a:gd name="connsiteY6625" fmla="*/ 10242637 h 17966907"/>
                <a:gd name="connsiteX6626" fmla="*/ 7428832 w 13797425"/>
                <a:gd name="connsiteY6626" fmla="*/ 10233106 h 17966907"/>
                <a:gd name="connsiteX6627" fmla="*/ 7405007 w 13797425"/>
                <a:gd name="connsiteY6627" fmla="*/ 10233106 h 17966907"/>
                <a:gd name="connsiteX6628" fmla="*/ 7395477 w 13797425"/>
                <a:gd name="connsiteY6628" fmla="*/ 10228341 h 17966907"/>
                <a:gd name="connsiteX6629" fmla="*/ 7390712 w 13797425"/>
                <a:gd name="connsiteY6629" fmla="*/ 10204516 h 17966907"/>
                <a:gd name="connsiteX6630" fmla="*/ 7395477 w 13797425"/>
                <a:gd name="connsiteY6630" fmla="*/ 10161630 h 17966907"/>
                <a:gd name="connsiteX6631" fmla="*/ 7395477 w 13797425"/>
                <a:gd name="connsiteY6631" fmla="*/ 10137804 h 17966907"/>
                <a:gd name="connsiteX6632" fmla="*/ 7390712 w 13797425"/>
                <a:gd name="connsiteY6632" fmla="*/ 10118744 h 17966907"/>
                <a:gd name="connsiteX6633" fmla="*/ 7385946 w 13797425"/>
                <a:gd name="connsiteY6633" fmla="*/ 10099683 h 17966907"/>
                <a:gd name="connsiteX6634" fmla="*/ 7376416 w 13797425"/>
                <a:gd name="connsiteY6634" fmla="*/ 10080622 h 17966907"/>
                <a:gd name="connsiteX6635" fmla="*/ 7371651 w 13797425"/>
                <a:gd name="connsiteY6635" fmla="*/ 10071092 h 17966907"/>
                <a:gd name="connsiteX6636" fmla="*/ 7366886 w 13797425"/>
                <a:gd name="connsiteY6636" fmla="*/ 10071092 h 17966907"/>
                <a:gd name="connsiteX6637" fmla="*/ 7362121 w 13797425"/>
                <a:gd name="connsiteY6637" fmla="*/ 10071092 h 17966907"/>
                <a:gd name="connsiteX6638" fmla="*/ 7357356 w 13797425"/>
                <a:gd name="connsiteY6638" fmla="*/ 10075857 h 17966907"/>
                <a:gd name="connsiteX6639" fmla="*/ 7352590 w 13797425"/>
                <a:gd name="connsiteY6639" fmla="*/ 10118744 h 17966907"/>
                <a:gd name="connsiteX6640" fmla="*/ 7343060 w 13797425"/>
                <a:gd name="connsiteY6640" fmla="*/ 10147334 h 17966907"/>
                <a:gd name="connsiteX6641" fmla="*/ 7333530 w 13797425"/>
                <a:gd name="connsiteY6641" fmla="*/ 10161630 h 17966907"/>
                <a:gd name="connsiteX6642" fmla="*/ 7309704 w 13797425"/>
                <a:gd name="connsiteY6642" fmla="*/ 10171160 h 17966907"/>
                <a:gd name="connsiteX6643" fmla="*/ 7266818 w 13797425"/>
                <a:gd name="connsiteY6643" fmla="*/ 10180690 h 17966907"/>
                <a:gd name="connsiteX6644" fmla="*/ 7252523 w 13797425"/>
                <a:gd name="connsiteY6644" fmla="*/ 10166395 h 17966907"/>
                <a:gd name="connsiteX6645" fmla="*/ 7247758 w 13797425"/>
                <a:gd name="connsiteY6645" fmla="*/ 10156864 h 17966907"/>
                <a:gd name="connsiteX6646" fmla="*/ 7252523 w 13797425"/>
                <a:gd name="connsiteY6646" fmla="*/ 10109213 h 17966907"/>
                <a:gd name="connsiteX6647" fmla="*/ 7266818 w 13797425"/>
                <a:gd name="connsiteY6647" fmla="*/ 10090153 h 17966907"/>
                <a:gd name="connsiteX6648" fmla="*/ 7304940 w 13797425"/>
                <a:gd name="connsiteY6648" fmla="*/ 10047267 h 17966907"/>
                <a:gd name="connsiteX6649" fmla="*/ 7328765 w 13797425"/>
                <a:gd name="connsiteY6649" fmla="*/ 10013911 h 17966907"/>
                <a:gd name="connsiteX6650" fmla="*/ 7328765 w 13797425"/>
                <a:gd name="connsiteY6650" fmla="*/ 10009146 h 17966907"/>
                <a:gd name="connsiteX6651" fmla="*/ 7309704 w 13797425"/>
                <a:gd name="connsiteY6651" fmla="*/ 10009146 h 17966907"/>
                <a:gd name="connsiteX6652" fmla="*/ 7300174 w 13797425"/>
                <a:gd name="connsiteY6652" fmla="*/ 10004380 h 17966907"/>
                <a:gd name="connsiteX6653" fmla="*/ 7295409 w 13797425"/>
                <a:gd name="connsiteY6653" fmla="*/ 9961494 h 17966907"/>
                <a:gd name="connsiteX6654" fmla="*/ 7300174 w 13797425"/>
                <a:gd name="connsiteY6654" fmla="*/ 9947199 h 17966907"/>
                <a:gd name="connsiteX6655" fmla="*/ 7300174 w 13797425"/>
                <a:gd name="connsiteY6655" fmla="*/ 9932904 h 17966907"/>
                <a:gd name="connsiteX6656" fmla="*/ 7319235 w 13797425"/>
                <a:gd name="connsiteY6656" fmla="*/ 9918608 h 17966907"/>
                <a:gd name="connsiteX6657" fmla="*/ 7366886 w 13797425"/>
                <a:gd name="connsiteY6657" fmla="*/ 9904313 h 17966907"/>
                <a:gd name="connsiteX6658" fmla="*/ 7400242 w 13797425"/>
                <a:gd name="connsiteY6658" fmla="*/ 9885252 h 17966907"/>
                <a:gd name="connsiteX6659" fmla="*/ 7405007 w 13797425"/>
                <a:gd name="connsiteY6659" fmla="*/ 9894782 h 17966907"/>
                <a:gd name="connsiteX6660" fmla="*/ 7371651 w 13797425"/>
                <a:gd name="connsiteY6660" fmla="*/ 9947199 h 17966907"/>
                <a:gd name="connsiteX6661" fmla="*/ 7371651 w 13797425"/>
                <a:gd name="connsiteY6661" fmla="*/ 9956729 h 17966907"/>
                <a:gd name="connsiteX6662" fmla="*/ 7381182 w 13797425"/>
                <a:gd name="connsiteY6662" fmla="*/ 9971025 h 17966907"/>
                <a:gd name="connsiteX6663" fmla="*/ 7409772 w 13797425"/>
                <a:gd name="connsiteY6663" fmla="*/ 9937669 h 17966907"/>
                <a:gd name="connsiteX6664" fmla="*/ 7428832 w 13797425"/>
                <a:gd name="connsiteY6664" fmla="*/ 9913843 h 17966907"/>
                <a:gd name="connsiteX6665" fmla="*/ 7433598 w 13797425"/>
                <a:gd name="connsiteY6665" fmla="*/ 9904313 h 17966907"/>
                <a:gd name="connsiteX6666" fmla="*/ 7414538 w 13797425"/>
                <a:gd name="connsiteY6666" fmla="*/ 9899548 h 17966907"/>
                <a:gd name="connsiteX6667" fmla="*/ 7414538 w 13797425"/>
                <a:gd name="connsiteY6667" fmla="*/ 9890017 h 17966907"/>
                <a:gd name="connsiteX6668" fmla="*/ 7414538 w 13797425"/>
                <a:gd name="connsiteY6668" fmla="*/ 9870957 h 17966907"/>
                <a:gd name="connsiteX6669" fmla="*/ 7414538 w 13797425"/>
                <a:gd name="connsiteY6669" fmla="*/ 9856662 h 17966907"/>
                <a:gd name="connsiteX6670" fmla="*/ 7395477 w 13797425"/>
                <a:gd name="connsiteY6670" fmla="*/ 9842366 h 17966907"/>
                <a:gd name="connsiteX6671" fmla="*/ 7376416 w 13797425"/>
                <a:gd name="connsiteY6671" fmla="*/ 9851896 h 17966907"/>
                <a:gd name="connsiteX6672" fmla="*/ 7357356 w 13797425"/>
                <a:gd name="connsiteY6672" fmla="*/ 9866192 h 17966907"/>
                <a:gd name="connsiteX6673" fmla="*/ 7338296 w 13797425"/>
                <a:gd name="connsiteY6673" fmla="*/ 9870957 h 17966907"/>
                <a:gd name="connsiteX6674" fmla="*/ 7314470 w 13797425"/>
                <a:gd name="connsiteY6674" fmla="*/ 9870957 h 17966907"/>
                <a:gd name="connsiteX6675" fmla="*/ 7300174 w 13797425"/>
                <a:gd name="connsiteY6675" fmla="*/ 9870957 h 17966907"/>
                <a:gd name="connsiteX6676" fmla="*/ 7290644 w 13797425"/>
                <a:gd name="connsiteY6676" fmla="*/ 9861427 h 17966907"/>
                <a:gd name="connsiteX6677" fmla="*/ 7276348 w 13797425"/>
                <a:gd name="connsiteY6677" fmla="*/ 9842366 h 17966907"/>
                <a:gd name="connsiteX6678" fmla="*/ 7262054 w 13797425"/>
                <a:gd name="connsiteY6678" fmla="*/ 9813775 h 17966907"/>
                <a:gd name="connsiteX6679" fmla="*/ 7242993 w 13797425"/>
                <a:gd name="connsiteY6679" fmla="*/ 9780420 h 17966907"/>
                <a:gd name="connsiteX6680" fmla="*/ 7238228 w 13797425"/>
                <a:gd name="connsiteY6680" fmla="*/ 9780420 h 17966907"/>
                <a:gd name="connsiteX6681" fmla="*/ 7233462 w 13797425"/>
                <a:gd name="connsiteY6681" fmla="*/ 9780420 h 17966907"/>
                <a:gd name="connsiteX6682" fmla="*/ 7219167 w 13797425"/>
                <a:gd name="connsiteY6682" fmla="*/ 9809010 h 17966907"/>
                <a:gd name="connsiteX6683" fmla="*/ 7214402 w 13797425"/>
                <a:gd name="connsiteY6683" fmla="*/ 9813775 h 17966907"/>
                <a:gd name="connsiteX6684" fmla="*/ 7138160 w 13797425"/>
                <a:gd name="connsiteY6684" fmla="*/ 9775654 h 17966907"/>
                <a:gd name="connsiteX6685" fmla="*/ 7109569 w 13797425"/>
                <a:gd name="connsiteY6685" fmla="*/ 9751829 h 17966907"/>
                <a:gd name="connsiteX6686" fmla="*/ 7095274 w 13797425"/>
                <a:gd name="connsiteY6686" fmla="*/ 9732768 h 17966907"/>
                <a:gd name="connsiteX6687" fmla="*/ 7076214 w 13797425"/>
                <a:gd name="connsiteY6687" fmla="*/ 9723238 h 17966907"/>
                <a:gd name="connsiteX6688" fmla="*/ 7052388 w 13797425"/>
                <a:gd name="connsiteY6688" fmla="*/ 9723238 h 17966907"/>
                <a:gd name="connsiteX6689" fmla="*/ 7033327 w 13797425"/>
                <a:gd name="connsiteY6689" fmla="*/ 9713708 h 17966907"/>
                <a:gd name="connsiteX6690" fmla="*/ 7023797 w 13797425"/>
                <a:gd name="connsiteY6690" fmla="*/ 9699412 h 17966907"/>
                <a:gd name="connsiteX6691" fmla="*/ 7009502 w 13797425"/>
                <a:gd name="connsiteY6691" fmla="*/ 9680352 h 17966907"/>
                <a:gd name="connsiteX6692" fmla="*/ 7004736 w 13797425"/>
                <a:gd name="connsiteY6692" fmla="*/ 9656526 h 17966907"/>
                <a:gd name="connsiteX6693" fmla="*/ 6985676 w 13797425"/>
                <a:gd name="connsiteY6693" fmla="*/ 9627935 h 17966907"/>
                <a:gd name="connsiteX6694" fmla="*/ 6952320 w 13797425"/>
                <a:gd name="connsiteY6694" fmla="*/ 9565989 h 17966907"/>
                <a:gd name="connsiteX6695" fmla="*/ 6942790 w 13797425"/>
                <a:gd name="connsiteY6695" fmla="*/ 9527868 h 17966907"/>
                <a:gd name="connsiteX6696" fmla="*/ 6942790 w 13797425"/>
                <a:gd name="connsiteY6696" fmla="*/ 9513572 h 17966907"/>
                <a:gd name="connsiteX6697" fmla="*/ 6942790 w 13797425"/>
                <a:gd name="connsiteY6697" fmla="*/ 9470686 h 17966907"/>
                <a:gd name="connsiteX6698" fmla="*/ 6976146 w 13797425"/>
                <a:gd name="connsiteY6698" fmla="*/ 9403974 h 17966907"/>
                <a:gd name="connsiteX6699" fmla="*/ 6985676 w 13797425"/>
                <a:gd name="connsiteY6699" fmla="*/ 9384914 h 17966907"/>
                <a:gd name="connsiteX6700" fmla="*/ 6995206 w 13797425"/>
                <a:gd name="connsiteY6700" fmla="*/ 9370619 h 17966907"/>
                <a:gd name="connsiteX6701" fmla="*/ 7009502 w 13797425"/>
                <a:gd name="connsiteY6701" fmla="*/ 9361088 h 17966907"/>
                <a:gd name="connsiteX6702" fmla="*/ 7023797 w 13797425"/>
                <a:gd name="connsiteY6702" fmla="*/ 9361088 h 17966907"/>
                <a:gd name="connsiteX6703" fmla="*/ 7047622 w 13797425"/>
                <a:gd name="connsiteY6703" fmla="*/ 9370619 h 17966907"/>
                <a:gd name="connsiteX6704" fmla="*/ 7033327 w 13797425"/>
                <a:gd name="connsiteY6704" fmla="*/ 9346793 h 17966907"/>
                <a:gd name="connsiteX6705" fmla="*/ 7033327 w 13797425"/>
                <a:gd name="connsiteY6705" fmla="*/ 9337263 h 17966907"/>
                <a:gd name="connsiteX6706" fmla="*/ 7047622 w 13797425"/>
                <a:gd name="connsiteY6706" fmla="*/ 9299142 h 17966907"/>
                <a:gd name="connsiteX6707" fmla="*/ 7042858 w 13797425"/>
                <a:gd name="connsiteY6707" fmla="*/ 9299142 h 17966907"/>
                <a:gd name="connsiteX6708" fmla="*/ 6999972 w 13797425"/>
                <a:gd name="connsiteY6708" fmla="*/ 9327732 h 17966907"/>
                <a:gd name="connsiteX6709" fmla="*/ 6990441 w 13797425"/>
                <a:gd name="connsiteY6709" fmla="*/ 9327732 h 17966907"/>
                <a:gd name="connsiteX6710" fmla="*/ 6976146 w 13797425"/>
                <a:gd name="connsiteY6710" fmla="*/ 9308672 h 17966907"/>
                <a:gd name="connsiteX6711" fmla="*/ 6942790 w 13797425"/>
                <a:gd name="connsiteY6711" fmla="*/ 9246725 h 17966907"/>
                <a:gd name="connsiteX6712" fmla="*/ 6942790 w 13797425"/>
                <a:gd name="connsiteY6712" fmla="*/ 9208604 h 17966907"/>
                <a:gd name="connsiteX6713" fmla="*/ 6952320 w 13797425"/>
                <a:gd name="connsiteY6713" fmla="*/ 9156188 h 17966907"/>
                <a:gd name="connsiteX6714" fmla="*/ 6957085 w 13797425"/>
                <a:gd name="connsiteY6714" fmla="*/ 9122832 h 17966907"/>
                <a:gd name="connsiteX6715" fmla="*/ 6947555 w 13797425"/>
                <a:gd name="connsiteY6715" fmla="*/ 9094241 h 17966907"/>
                <a:gd name="connsiteX6716" fmla="*/ 6952320 w 13797425"/>
                <a:gd name="connsiteY6716" fmla="*/ 9084711 h 17966907"/>
                <a:gd name="connsiteX6717" fmla="*/ 6961850 w 13797425"/>
                <a:gd name="connsiteY6717" fmla="*/ 9079946 h 17966907"/>
                <a:gd name="connsiteX6718" fmla="*/ 6961850 w 13797425"/>
                <a:gd name="connsiteY6718" fmla="*/ 9070416 h 17966907"/>
                <a:gd name="connsiteX6719" fmla="*/ 6961850 w 13797425"/>
                <a:gd name="connsiteY6719" fmla="*/ 9041825 h 17966907"/>
                <a:gd name="connsiteX6720" fmla="*/ 6966616 w 13797425"/>
                <a:gd name="connsiteY6720" fmla="*/ 9022764 h 17966907"/>
                <a:gd name="connsiteX6721" fmla="*/ 6985676 w 13797425"/>
                <a:gd name="connsiteY6721" fmla="*/ 8989408 h 17966907"/>
                <a:gd name="connsiteX6722" fmla="*/ 7009502 w 13797425"/>
                <a:gd name="connsiteY6722" fmla="*/ 8960818 h 17966907"/>
                <a:gd name="connsiteX6723" fmla="*/ 7019032 w 13797425"/>
                <a:gd name="connsiteY6723" fmla="*/ 8956053 h 17966907"/>
                <a:gd name="connsiteX6724" fmla="*/ 7033327 w 13797425"/>
                <a:gd name="connsiteY6724" fmla="*/ 8956053 h 17966907"/>
                <a:gd name="connsiteX6725" fmla="*/ 7042858 w 13797425"/>
                <a:gd name="connsiteY6725" fmla="*/ 8965583 h 17966907"/>
                <a:gd name="connsiteX6726" fmla="*/ 7052388 w 13797425"/>
                <a:gd name="connsiteY6726" fmla="*/ 8979878 h 17966907"/>
                <a:gd name="connsiteX6727" fmla="*/ 7071448 w 13797425"/>
                <a:gd name="connsiteY6727" fmla="*/ 8998939 h 17966907"/>
                <a:gd name="connsiteX6728" fmla="*/ 7085744 w 13797425"/>
                <a:gd name="connsiteY6728" fmla="*/ 8998939 h 17966907"/>
                <a:gd name="connsiteX6729" fmla="*/ 7100039 w 13797425"/>
                <a:gd name="connsiteY6729" fmla="*/ 8994174 h 17966907"/>
                <a:gd name="connsiteX6730" fmla="*/ 7114334 w 13797425"/>
                <a:gd name="connsiteY6730" fmla="*/ 8932227 h 17966907"/>
                <a:gd name="connsiteX6731" fmla="*/ 7123864 w 13797425"/>
                <a:gd name="connsiteY6731" fmla="*/ 8917932 h 17966907"/>
                <a:gd name="connsiteX6732" fmla="*/ 7114334 w 13797425"/>
                <a:gd name="connsiteY6732" fmla="*/ 8908401 h 17966907"/>
                <a:gd name="connsiteX6733" fmla="*/ 7080978 w 13797425"/>
                <a:gd name="connsiteY6733" fmla="*/ 8908401 h 17966907"/>
                <a:gd name="connsiteX6734" fmla="*/ 7066683 w 13797425"/>
                <a:gd name="connsiteY6734" fmla="*/ 8903636 h 17966907"/>
                <a:gd name="connsiteX6735" fmla="*/ 7057153 w 13797425"/>
                <a:gd name="connsiteY6735" fmla="*/ 8898871 h 17966907"/>
                <a:gd name="connsiteX6736" fmla="*/ 7052388 w 13797425"/>
                <a:gd name="connsiteY6736" fmla="*/ 8875045 h 17966907"/>
                <a:gd name="connsiteX6737" fmla="*/ 7057153 w 13797425"/>
                <a:gd name="connsiteY6737" fmla="*/ 8865515 h 17966907"/>
                <a:gd name="connsiteX6738" fmla="*/ 7090508 w 13797425"/>
                <a:gd name="connsiteY6738" fmla="*/ 8822629 h 17966907"/>
                <a:gd name="connsiteX6739" fmla="*/ 7104804 w 13797425"/>
                <a:gd name="connsiteY6739" fmla="*/ 8774978 h 17966907"/>
                <a:gd name="connsiteX6740" fmla="*/ 7152456 w 13797425"/>
                <a:gd name="connsiteY6740" fmla="*/ 8713031 h 17966907"/>
                <a:gd name="connsiteX6741" fmla="*/ 7204872 w 13797425"/>
                <a:gd name="connsiteY6741" fmla="*/ 8679675 h 17966907"/>
                <a:gd name="connsiteX6742" fmla="*/ 6895138 w 13797425"/>
                <a:gd name="connsiteY6742" fmla="*/ 8043531 h 17966907"/>
                <a:gd name="connsiteX6743" fmla="*/ 6904668 w 13797425"/>
                <a:gd name="connsiteY6743" fmla="*/ 8057826 h 17966907"/>
                <a:gd name="connsiteX6744" fmla="*/ 6909433 w 13797425"/>
                <a:gd name="connsiteY6744" fmla="*/ 8072122 h 17966907"/>
                <a:gd name="connsiteX6745" fmla="*/ 6914198 w 13797425"/>
                <a:gd name="connsiteY6745" fmla="*/ 8076887 h 17966907"/>
                <a:gd name="connsiteX6746" fmla="*/ 6928494 w 13797425"/>
                <a:gd name="connsiteY6746" fmla="*/ 8091182 h 17966907"/>
                <a:gd name="connsiteX6747" fmla="*/ 6938024 w 13797425"/>
                <a:gd name="connsiteY6747" fmla="*/ 8105478 h 17966907"/>
                <a:gd name="connsiteX6748" fmla="*/ 6938024 w 13797425"/>
                <a:gd name="connsiteY6748" fmla="*/ 8124538 h 17966907"/>
                <a:gd name="connsiteX6749" fmla="*/ 6933259 w 13797425"/>
                <a:gd name="connsiteY6749" fmla="*/ 8148364 h 17966907"/>
                <a:gd name="connsiteX6750" fmla="*/ 6923729 w 13797425"/>
                <a:gd name="connsiteY6750" fmla="*/ 8167424 h 17966907"/>
                <a:gd name="connsiteX6751" fmla="*/ 6918964 w 13797425"/>
                <a:gd name="connsiteY6751" fmla="*/ 8172190 h 17966907"/>
                <a:gd name="connsiteX6752" fmla="*/ 6909433 w 13797425"/>
                <a:gd name="connsiteY6752" fmla="*/ 8181720 h 17966907"/>
                <a:gd name="connsiteX6753" fmla="*/ 6880843 w 13797425"/>
                <a:gd name="connsiteY6753" fmla="*/ 8186485 h 17966907"/>
                <a:gd name="connsiteX6754" fmla="*/ 6861782 w 13797425"/>
                <a:gd name="connsiteY6754" fmla="*/ 8148364 h 17966907"/>
                <a:gd name="connsiteX6755" fmla="*/ 6857017 w 13797425"/>
                <a:gd name="connsiteY6755" fmla="*/ 8115008 h 17966907"/>
                <a:gd name="connsiteX6756" fmla="*/ 6861782 w 13797425"/>
                <a:gd name="connsiteY6756" fmla="*/ 8091182 h 17966907"/>
                <a:gd name="connsiteX6757" fmla="*/ 6861782 w 13797425"/>
                <a:gd name="connsiteY6757" fmla="*/ 8076887 h 17966907"/>
                <a:gd name="connsiteX6758" fmla="*/ 6871312 w 13797425"/>
                <a:gd name="connsiteY6758" fmla="*/ 8062592 h 17966907"/>
                <a:gd name="connsiteX6759" fmla="*/ 4117069 w 13797425"/>
                <a:gd name="connsiteY6759" fmla="*/ 7943463 h 17966907"/>
                <a:gd name="connsiteX6760" fmla="*/ 4169485 w 13797425"/>
                <a:gd name="connsiteY6760" fmla="*/ 7967289 h 17966907"/>
                <a:gd name="connsiteX6761" fmla="*/ 4183781 w 13797425"/>
                <a:gd name="connsiteY6761" fmla="*/ 7986349 h 17966907"/>
                <a:gd name="connsiteX6762" fmla="*/ 4193311 w 13797425"/>
                <a:gd name="connsiteY6762" fmla="*/ 8000645 h 17966907"/>
                <a:gd name="connsiteX6763" fmla="*/ 4198076 w 13797425"/>
                <a:gd name="connsiteY6763" fmla="*/ 8019705 h 17966907"/>
                <a:gd name="connsiteX6764" fmla="*/ 4202841 w 13797425"/>
                <a:gd name="connsiteY6764" fmla="*/ 8048296 h 17966907"/>
                <a:gd name="connsiteX6765" fmla="*/ 4212372 w 13797425"/>
                <a:gd name="connsiteY6765" fmla="*/ 8105477 h 17966907"/>
                <a:gd name="connsiteX6766" fmla="*/ 4212372 w 13797425"/>
                <a:gd name="connsiteY6766" fmla="*/ 8138833 h 17966907"/>
                <a:gd name="connsiteX6767" fmla="*/ 4207606 w 13797425"/>
                <a:gd name="connsiteY6767" fmla="*/ 8167424 h 17966907"/>
                <a:gd name="connsiteX6768" fmla="*/ 4207606 w 13797425"/>
                <a:gd name="connsiteY6768" fmla="*/ 8196015 h 17966907"/>
                <a:gd name="connsiteX6769" fmla="*/ 4202841 w 13797425"/>
                <a:gd name="connsiteY6769" fmla="*/ 8219840 h 17966907"/>
                <a:gd name="connsiteX6770" fmla="*/ 4193311 w 13797425"/>
                <a:gd name="connsiteY6770" fmla="*/ 8248431 h 17966907"/>
                <a:gd name="connsiteX6771" fmla="*/ 4174250 w 13797425"/>
                <a:gd name="connsiteY6771" fmla="*/ 8281787 h 17966907"/>
                <a:gd name="connsiteX6772" fmla="*/ 4140895 w 13797425"/>
                <a:gd name="connsiteY6772" fmla="*/ 8343734 h 17966907"/>
                <a:gd name="connsiteX6773" fmla="*/ 4136130 w 13797425"/>
                <a:gd name="connsiteY6773" fmla="*/ 8362794 h 17966907"/>
                <a:gd name="connsiteX6774" fmla="*/ 4145660 w 13797425"/>
                <a:gd name="connsiteY6774" fmla="*/ 8367559 h 17966907"/>
                <a:gd name="connsiteX6775" fmla="*/ 4164720 w 13797425"/>
                <a:gd name="connsiteY6775" fmla="*/ 8362794 h 17966907"/>
                <a:gd name="connsiteX6776" fmla="*/ 4193311 w 13797425"/>
                <a:gd name="connsiteY6776" fmla="*/ 8343734 h 17966907"/>
                <a:gd name="connsiteX6777" fmla="*/ 4226667 w 13797425"/>
                <a:gd name="connsiteY6777" fmla="*/ 8329438 h 17966907"/>
                <a:gd name="connsiteX6778" fmla="*/ 4264788 w 13797425"/>
                <a:gd name="connsiteY6778" fmla="*/ 8319908 h 17966907"/>
                <a:gd name="connsiteX6779" fmla="*/ 4279083 w 13797425"/>
                <a:gd name="connsiteY6779" fmla="*/ 8334204 h 17966907"/>
                <a:gd name="connsiteX6780" fmla="*/ 4283848 w 13797425"/>
                <a:gd name="connsiteY6780" fmla="*/ 8329438 h 17966907"/>
                <a:gd name="connsiteX6781" fmla="*/ 4298144 w 13797425"/>
                <a:gd name="connsiteY6781" fmla="*/ 8305613 h 17966907"/>
                <a:gd name="connsiteX6782" fmla="*/ 4298144 w 13797425"/>
                <a:gd name="connsiteY6782" fmla="*/ 8291317 h 17966907"/>
                <a:gd name="connsiteX6783" fmla="*/ 4298144 w 13797425"/>
                <a:gd name="connsiteY6783" fmla="*/ 8277022 h 17966907"/>
                <a:gd name="connsiteX6784" fmla="*/ 4298144 w 13797425"/>
                <a:gd name="connsiteY6784" fmla="*/ 8238901 h 17966907"/>
                <a:gd name="connsiteX6785" fmla="*/ 4302909 w 13797425"/>
                <a:gd name="connsiteY6785" fmla="*/ 8219840 h 17966907"/>
                <a:gd name="connsiteX6786" fmla="*/ 4331500 w 13797425"/>
                <a:gd name="connsiteY6786" fmla="*/ 8172189 h 17966907"/>
                <a:gd name="connsiteX6787" fmla="*/ 4341030 w 13797425"/>
                <a:gd name="connsiteY6787" fmla="*/ 8157894 h 17966907"/>
                <a:gd name="connsiteX6788" fmla="*/ 4364856 w 13797425"/>
                <a:gd name="connsiteY6788" fmla="*/ 8148364 h 17966907"/>
                <a:gd name="connsiteX6789" fmla="*/ 4412507 w 13797425"/>
                <a:gd name="connsiteY6789" fmla="*/ 8153129 h 17966907"/>
                <a:gd name="connsiteX6790" fmla="*/ 4460158 w 13797425"/>
                <a:gd name="connsiteY6790" fmla="*/ 8181719 h 17966907"/>
                <a:gd name="connsiteX6791" fmla="*/ 4522105 w 13797425"/>
                <a:gd name="connsiteY6791" fmla="*/ 8205545 h 17966907"/>
                <a:gd name="connsiteX6792" fmla="*/ 4617407 w 13797425"/>
                <a:gd name="connsiteY6792" fmla="*/ 8272257 h 17966907"/>
                <a:gd name="connsiteX6793" fmla="*/ 4645998 w 13797425"/>
                <a:gd name="connsiteY6793" fmla="*/ 8296083 h 17966907"/>
                <a:gd name="connsiteX6794" fmla="*/ 4645998 w 13797425"/>
                <a:gd name="connsiteY6794" fmla="*/ 8319908 h 17966907"/>
                <a:gd name="connsiteX6795" fmla="*/ 4631703 w 13797425"/>
                <a:gd name="connsiteY6795" fmla="*/ 8372325 h 17966907"/>
                <a:gd name="connsiteX6796" fmla="*/ 4593582 w 13797425"/>
                <a:gd name="connsiteY6796" fmla="*/ 8443802 h 17966907"/>
                <a:gd name="connsiteX6797" fmla="*/ 4560226 w 13797425"/>
                <a:gd name="connsiteY6797" fmla="*/ 8467627 h 17966907"/>
                <a:gd name="connsiteX6798" fmla="*/ 4545930 w 13797425"/>
                <a:gd name="connsiteY6798" fmla="*/ 8481923 h 17966907"/>
                <a:gd name="connsiteX6799" fmla="*/ 4569756 w 13797425"/>
                <a:gd name="connsiteY6799" fmla="*/ 8496218 h 17966907"/>
                <a:gd name="connsiteX6800" fmla="*/ 4579286 w 13797425"/>
                <a:gd name="connsiteY6800" fmla="*/ 8510513 h 17966907"/>
                <a:gd name="connsiteX6801" fmla="*/ 4603112 w 13797425"/>
                <a:gd name="connsiteY6801" fmla="*/ 8486688 h 17966907"/>
                <a:gd name="connsiteX6802" fmla="*/ 4617407 w 13797425"/>
                <a:gd name="connsiteY6802" fmla="*/ 8458097 h 17966907"/>
                <a:gd name="connsiteX6803" fmla="*/ 4636468 w 13797425"/>
                <a:gd name="connsiteY6803" fmla="*/ 8434271 h 17966907"/>
                <a:gd name="connsiteX6804" fmla="*/ 4645998 w 13797425"/>
                <a:gd name="connsiteY6804" fmla="*/ 8429506 h 17966907"/>
                <a:gd name="connsiteX6805" fmla="*/ 4645998 w 13797425"/>
                <a:gd name="connsiteY6805" fmla="*/ 8434271 h 17966907"/>
                <a:gd name="connsiteX6806" fmla="*/ 4645998 w 13797425"/>
                <a:gd name="connsiteY6806" fmla="*/ 8448567 h 17966907"/>
                <a:gd name="connsiteX6807" fmla="*/ 4641233 w 13797425"/>
                <a:gd name="connsiteY6807" fmla="*/ 8458097 h 17966907"/>
                <a:gd name="connsiteX6808" fmla="*/ 4641233 w 13797425"/>
                <a:gd name="connsiteY6808" fmla="*/ 8472392 h 17966907"/>
                <a:gd name="connsiteX6809" fmla="*/ 4645998 w 13797425"/>
                <a:gd name="connsiteY6809" fmla="*/ 8477157 h 17966907"/>
                <a:gd name="connsiteX6810" fmla="*/ 4660293 w 13797425"/>
                <a:gd name="connsiteY6810" fmla="*/ 8481923 h 17966907"/>
                <a:gd name="connsiteX6811" fmla="*/ 4665058 w 13797425"/>
                <a:gd name="connsiteY6811" fmla="*/ 8477157 h 17966907"/>
                <a:gd name="connsiteX6812" fmla="*/ 4693649 w 13797425"/>
                <a:gd name="connsiteY6812" fmla="*/ 8443802 h 17966907"/>
                <a:gd name="connsiteX6813" fmla="*/ 4722240 w 13797425"/>
                <a:gd name="connsiteY6813" fmla="*/ 8391385 h 17966907"/>
                <a:gd name="connsiteX6814" fmla="*/ 4765126 w 13797425"/>
                <a:gd name="connsiteY6814" fmla="*/ 8358029 h 17966907"/>
                <a:gd name="connsiteX6815" fmla="*/ 4774656 w 13797425"/>
                <a:gd name="connsiteY6815" fmla="*/ 8338969 h 17966907"/>
                <a:gd name="connsiteX6816" fmla="*/ 4812778 w 13797425"/>
                <a:gd name="connsiteY6816" fmla="*/ 8324673 h 17966907"/>
                <a:gd name="connsiteX6817" fmla="*/ 4812778 w 13797425"/>
                <a:gd name="connsiteY6817" fmla="*/ 8315143 h 17966907"/>
                <a:gd name="connsiteX6818" fmla="*/ 4812778 w 13797425"/>
                <a:gd name="connsiteY6818" fmla="*/ 8272257 h 17966907"/>
                <a:gd name="connsiteX6819" fmla="*/ 4798482 w 13797425"/>
                <a:gd name="connsiteY6819" fmla="*/ 8257962 h 17966907"/>
                <a:gd name="connsiteX6820" fmla="*/ 4755596 w 13797425"/>
                <a:gd name="connsiteY6820" fmla="*/ 8219840 h 17966907"/>
                <a:gd name="connsiteX6821" fmla="*/ 4736536 w 13797425"/>
                <a:gd name="connsiteY6821" fmla="*/ 8176954 h 17966907"/>
                <a:gd name="connsiteX6822" fmla="*/ 4741301 w 13797425"/>
                <a:gd name="connsiteY6822" fmla="*/ 8143598 h 17966907"/>
                <a:gd name="connsiteX6823" fmla="*/ 4765126 w 13797425"/>
                <a:gd name="connsiteY6823" fmla="*/ 8148364 h 17966907"/>
                <a:gd name="connsiteX6824" fmla="*/ 4827073 w 13797425"/>
                <a:gd name="connsiteY6824" fmla="*/ 8148364 h 17966907"/>
                <a:gd name="connsiteX6825" fmla="*/ 4841368 w 13797425"/>
                <a:gd name="connsiteY6825" fmla="*/ 8153129 h 17966907"/>
                <a:gd name="connsiteX6826" fmla="*/ 4903315 w 13797425"/>
                <a:gd name="connsiteY6826" fmla="*/ 8210310 h 17966907"/>
                <a:gd name="connsiteX6827" fmla="*/ 4927140 w 13797425"/>
                <a:gd name="connsiteY6827" fmla="*/ 8248431 h 17966907"/>
                <a:gd name="connsiteX6828" fmla="*/ 4941436 w 13797425"/>
                <a:gd name="connsiteY6828" fmla="*/ 8262727 h 17966907"/>
                <a:gd name="connsiteX6829" fmla="*/ 4979557 w 13797425"/>
                <a:gd name="connsiteY6829" fmla="*/ 8291317 h 17966907"/>
                <a:gd name="connsiteX6830" fmla="*/ 4993852 w 13797425"/>
                <a:gd name="connsiteY6830" fmla="*/ 8310378 h 17966907"/>
                <a:gd name="connsiteX6831" fmla="*/ 5003382 w 13797425"/>
                <a:gd name="connsiteY6831" fmla="*/ 8319908 h 17966907"/>
                <a:gd name="connsiteX6832" fmla="*/ 5003382 w 13797425"/>
                <a:gd name="connsiteY6832" fmla="*/ 8329438 h 17966907"/>
                <a:gd name="connsiteX6833" fmla="*/ 5003382 w 13797425"/>
                <a:gd name="connsiteY6833" fmla="*/ 8338969 h 17966907"/>
                <a:gd name="connsiteX6834" fmla="*/ 4998617 w 13797425"/>
                <a:gd name="connsiteY6834" fmla="*/ 8358029 h 17966907"/>
                <a:gd name="connsiteX6835" fmla="*/ 5008148 w 13797425"/>
                <a:gd name="connsiteY6835" fmla="*/ 8367559 h 17966907"/>
                <a:gd name="connsiteX6836" fmla="*/ 5031973 w 13797425"/>
                <a:gd name="connsiteY6836" fmla="*/ 8372325 h 17966907"/>
                <a:gd name="connsiteX6837" fmla="*/ 5036738 w 13797425"/>
                <a:gd name="connsiteY6837" fmla="*/ 8381855 h 17966907"/>
                <a:gd name="connsiteX6838" fmla="*/ 5046269 w 13797425"/>
                <a:gd name="connsiteY6838" fmla="*/ 8410446 h 17966907"/>
                <a:gd name="connsiteX6839" fmla="*/ 5055799 w 13797425"/>
                <a:gd name="connsiteY6839" fmla="*/ 8453332 h 17966907"/>
                <a:gd name="connsiteX6840" fmla="*/ 5065329 w 13797425"/>
                <a:gd name="connsiteY6840" fmla="*/ 8500983 h 17966907"/>
                <a:gd name="connsiteX6841" fmla="*/ 5084390 w 13797425"/>
                <a:gd name="connsiteY6841" fmla="*/ 8596286 h 17966907"/>
                <a:gd name="connsiteX6842" fmla="*/ 5112980 w 13797425"/>
                <a:gd name="connsiteY6842" fmla="*/ 8713031 h 17966907"/>
                <a:gd name="connsiteX6843" fmla="*/ 5122511 w 13797425"/>
                <a:gd name="connsiteY6843" fmla="*/ 8789273 h 17966907"/>
                <a:gd name="connsiteX6844" fmla="*/ 5127276 w 13797425"/>
                <a:gd name="connsiteY6844" fmla="*/ 8803569 h 17966907"/>
                <a:gd name="connsiteX6845" fmla="*/ 5132041 w 13797425"/>
                <a:gd name="connsiteY6845" fmla="*/ 8808334 h 17966907"/>
                <a:gd name="connsiteX6846" fmla="*/ 5151102 w 13797425"/>
                <a:gd name="connsiteY6846" fmla="*/ 8822629 h 17966907"/>
                <a:gd name="connsiteX6847" fmla="*/ 5165397 w 13797425"/>
                <a:gd name="connsiteY6847" fmla="*/ 8841690 h 17966907"/>
                <a:gd name="connsiteX6848" fmla="*/ 5184457 w 13797425"/>
                <a:gd name="connsiteY6848" fmla="*/ 8851220 h 17966907"/>
                <a:gd name="connsiteX6849" fmla="*/ 5189222 w 13797425"/>
                <a:gd name="connsiteY6849" fmla="*/ 8846455 h 17966907"/>
                <a:gd name="connsiteX6850" fmla="*/ 5193988 w 13797425"/>
                <a:gd name="connsiteY6850" fmla="*/ 8832160 h 17966907"/>
                <a:gd name="connsiteX6851" fmla="*/ 5203518 w 13797425"/>
                <a:gd name="connsiteY6851" fmla="*/ 8803569 h 17966907"/>
                <a:gd name="connsiteX6852" fmla="*/ 5255934 w 13797425"/>
                <a:gd name="connsiteY6852" fmla="*/ 8755917 h 17966907"/>
                <a:gd name="connsiteX6853" fmla="*/ 5260699 w 13797425"/>
                <a:gd name="connsiteY6853" fmla="*/ 8746387 h 17966907"/>
                <a:gd name="connsiteX6854" fmla="*/ 5255934 w 13797425"/>
                <a:gd name="connsiteY6854" fmla="*/ 8732092 h 17966907"/>
                <a:gd name="connsiteX6855" fmla="*/ 5251169 w 13797425"/>
                <a:gd name="connsiteY6855" fmla="*/ 8727327 h 17966907"/>
                <a:gd name="connsiteX6856" fmla="*/ 5251169 w 13797425"/>
                <a:gd name="connsiteY6856" fmla="*/ 8722562 h 17966907"/>
                <a:gd name="connsiteX6857" fmla="*/ 5265464 w 13797425"/>
                <a:gd name="connsiteY6857" fmla="*/ 8717796 h 17966907"/>
                <a:gd name="connsiteX6858" fmla="*/ 5227344 w 13797425"/>
                <a:gd name="connsiteY6858" fmla="*/ 8651085 h 17966907"/>
                <a:gd name="connsiteX6859" fmla="*/ 5203518 w 13797425"/>
                <a:gd name="connsiteY6859" fmla="*/ 8591520 h 17966907"/>
                <a:gd name="connsiteX6860" fmla="*/ 5189222 w 13797425"/>
                <a:gd name="connsiteY6860" fmla="*/ 8510513 h 17966907"/>
                <a:gd name="connsiteX6861" fmla="*/ 5184457 w 13797425"/>
                <a:gd name="connsiteY6861" fmla="*/ 8486688 h 17966907"/>
                <a:gd name="connsiteX6862" fmla="*/ 5184457 w 13797425"/>
                <a:gd name="connsiteY6862" fmla="*/ 8439036 h 17966907"/>
                <a:gd name="connsiteX6863" fmla="*/ 5179692 w 13797425"/>
                <a:gd name="connsiteY6863" fmla="*/ 8424741 h 17966907"/>
                <a:gd name="connsiteX6864" fmla="*/ 5170162 w 13797425"/>
                <a:gd name="connsiteY6864" fmla="*/ 8415211 h 17966907"/>
                <a:gd name="connsiteX6865" fmla="*/ 5165397 w 13797425"/>
                <a:gd name="connsiteY6865" fmla="*/ 8396150 h 17966907"/>
                <a:gd name="connsiteX6866" fmla="*/ 5165397 w 13797425"/>
                <a:gd name="connsiteY6866" fmla="*/ 8381855 h 17966907"/>
                <a:gd name="connsiteX6867" fmla="*/ 5165397 w 13797425"/>
                <a:gd name="connsiteY6867" fmla="*/ 8362794 h 17966907"/>
                <a:gd name="connsiteX6868" fmla="*/ 5155867 w 13797425"/>
                <a:gd name="connsiteY6868" fmla="*/ 8329438 h 17966907"/>
                <a:gd name="connsiteX6869" fmla="*/ 5117746 w 13797425"/>
                <a:gd name="connsiteY6869" fmla="*/ 8091182 h 17966907"/>
                <a:gd name="connsiteX6870" fmla="*/ 5117746 w 13797425"/>
                <a:gd name="connsiteY6870" fmla="*/ 8067356 h 17966907"/>
                <a:gd name="connsiteX6871" fmla="*/ 5122511 w 13797425"/>
                <a:gd name="connsiteY6871" fmla="*/ 8048296 h 17966907"/>
                <a:gd name="connsiteX6872" fmla="*/ 5136806 w 13797425"/>
                <a:gd name="connsiteY6872" fmla="*/ 8038766 h 17966907"/>
                <a:gd name="connsiteX6873" fmla="*/ 5160632 w 13797425"/>
                <a:gd name="connsiteY6873" fmla="*/ 8034000 h 17966907"/>
                <a:gd name="connsiteX6874" fmla="*/ 5165397 w 13797425"/>
                <a:gd name="connsiteY6874" fmla="*/ 8029235 h 17966907"/>
                <a:gd name="connsiteX6875" fmla="*/ 5155867 w 13797425"/>
                <a:gd name="connsiteY6875" fmla="*/ 8019705 h 17966907"/>
                <a:gd name="connsiteX6876" fmla="*/ 5141571 w 13797425"/>
                <a:gd name="connsiteY6876" fmla="*/ 7995879 h 17966907"/>
                <a:gd name="connsiteX6877" fmla="*/ 5141571 w 13797425"/>
                <a:gd name="connsiteY6877" fmla="*/ 7981584 h 17966907"/>
                <a:gd name="connsiteX6878" fmla="*/ 5151102 w 13797425"/>
                <a:gd name="connsiteY6878" fmla="*/ 7957758 h 17966907"/>
                <a:gd name="connsiteX6879" fmla="*/ 5198753 w 13797425"/>
                <a:gd name="connsiteY6879" fmla="*/ 7967289 h 17966907"/>
                <a:gd name="connsiteX6880" fmla="*/ 5236874 w 13797425"/>
                <a:gd name="connsiteY6880" fmla="*/ 7991114 h 17966907"/>
                <a:gd name="connsiteX6881" fmla="*/ 5294055 w 13797425"/>
                <a:gd name="connsiteY6881" fmla="*/ 8043531 h 17966907"/>
                <a:gd name="connsiteX6882" fmla="*/ 5298820 w 13797425"/>
                <a:gd name="connsiteY6882" fmla="*/ 8038766 h 17966907"/>
                <a:gd name="connsiteX6883" fmla="*/ 5308351 w 13797425"/>
                <a:gd name="connsiteY6883" fmla="*/ 8014940 h 17966907"/>
                <a:gd name="connsiteX6884" fmla="*/ 5317881 w 13797425"/>
                <a:gd name="connsiteY6884" fmla="*/ 7995879 h 17966907"/>
                <a:gd name="connsiteX6885" fmla="*/ 5336941 w 13797425"/>
                <a:gd name="connsiteY6885" fmla="*/ 8000645 h 17966907"/>
                <a:gd name="connsiteX6886" fmla="*/ 5394123 w 13797425"/>
                <a:gd name="connsiteY6886" fmla="*/ 8038766 h 17966907"/>
                <a:gd name="connsiteX6887" fmla="*/ 5456070 w 13797425"/>
                <a:gd name="connsiteY6887" fmla="*/ 8105477 h 17966907"/>
                <a:gd name="connsiteX6888" fmla="*/ 5498956 w 13797425"/>
                <a:gd name="connsiteY6888" fmla="*/ 8138833 h 17966907"/>
                <a:gd name="connsiteX6889" fmla="*/ 5527546 w 13797425"/>
                <a:gd name="connsiteY6889" fmla="*/ 8186485 h 17966907"/>
                <a:gd name="connsiteX6890" fmla="*/ 5546607 w 13797425"/>
                <a:gd name="connsiteY6890" fmla="*/ 8224606 h 17966907"/>
                <a:gd name="connsiteX6891" fmla="*/ 5560902 w 13797425"/>
                <a:gd name="connsiteY6891" fmla="*/ 8257962 h 17966907"/>
                <a:gd name="connsiteX6892" fmla="*/ 5560902 w 13797425"/>
                <a:gd name="connsiteY6892" fmla="*/ 8272257 h 17966907"/>
                <a:gd name="connsiteX6893" fmla="*/ 5556137 w 13797425"/>
                <a:gd name="connsiteY6893" fmla="*/ 8281787 h 17966907"/>
                <a:gd name="connsiteX6894" fmla="*/ 5560902 w 13797425"/>
                <a:gd name="connsiteY6894" fmla="*/ 8300848 h 17966907"/>
                <a:gd name="connsiteX6895" fmla="*/ 5570433 w 13797425"/>
                <a:gd name="connsiteY6895" fmla="*/ 8319908 h 17966907"/>
                <a:gd name="connsiteX6896" fmla="*/ 5575198 w 13797425"/>
                <a:gd name="connsiteY6896" fmla="*/ 8338969 h 17966907"/>
                <a:gd name="connsiteX6897" fmla="*/ 5575198 w 13797425"/>
                <a:gd name="connsiteY6897" fmla="*/ 8377090 h 17966907"/>
                <a:gd name="connsiteX6898" fmla="*/ 5584728 w 13797425"/>
                <a:gd name="connsiteY6898" fmla="*/ 8429506 h 17966907"/>
                <a:gd name="connsiteX6899" fmla="*/ 5589493 w 13797425"/>
                <a:gd name="connsiteY6899" fmla="*/ 8453332 h 17966907"/>
                <a:gd name="connsiteX6900" fmla="*/ 5641910 w 13797425"/>
                <a:gd name="connsiteY6900" fmla="*/ 8674910 h 17966907"/>
                <a:gd name="connsiteX6901" fmla="*/ 5651440 w 13797425"/>
                <a:gd name="connsiteY6901" fmla="*/ 8713031 h 17966907"/>
                <a:gd name="connsiteX6902" fmla="*/ 5660970 w 13797425"/>
                <a:gd name="connsiteY6902" fmla="*/ 8727327 h 17966907"/>
                <a:gd name="connsiteX6903" fmla="*/ 5699091 w 13797425"/>
                <a:gd name="connsiteY6903" fmla="*/ 8813099 h 17966907"/>
                <a:gd name="connsiteX6904" fmla="*/ 5718152 w 13797425"/>
                <a:gd name="connsiteY6904" fmla="*/ 8875046 h 17966907"/>
                <a:gd name="connsiteX6905" fmla="*/ 5722917 w 13797425"/>
                <a:gd name="connsiteY6905" fmla="*/ 8913167 h 17966907"/>
                <a:gd name="connsiteX6906" fmla="*/ 5722917 w 13797425"/>
                <a:gd name="connsiteY6906" fmla="*/ 8927462 h 17966907"/>
                <a:gd name="connsiteX6907" fmla="*/ 5727682 w 13797425"/>
                <a:gd name="connsiteY6907" fmla="*/ 8946523 h 17966907"/>
                <a:gd name="connsiteX6908" fmla="*/ 5722917 w 13797425"/>
                <a:gd name="connsiteY6908" fmla="*/ 8970348 h 17966907"/>
                <a:gd name="connsiteX6909" fmla="*/ 5722917 w 13797425"/>
                <a:gd name="connsiteY6909" fmla="*/ 8994174 h 17966907"/>
                <a:gd name="connsiteX6910" fmla="*/ 5713386 w 13797425"/>
                <a:gd name="connsiteY6910" fmla="*/ 9008469 h 17966907"/>
                <a:gd name="connsiteX6911" fmla="*/ 5703856 w 13797425"/>
                <a:gd name="connsiteY6911" fmla="*/ 9037060 h 17966907"/>
                <a:gd name="connsiteX6912" fmla="*/ 5694326 w 13797425"/>
                <a:gd name="connsiteY6912" fmla="*/ 9089476 h 17966907"/>
                <a:gd name="connsiteX6913" fmla="*/ 5689561 w 13797425"/>
                <a:gd name="connsiteY6913" fmla="*/ 9103772 h 17966907"/>
                <a:gd name="connsiteX6914" fmla="*/ 5699091 w 13797425"/>
                <a:gd name="connsiteY6914" fmla="*/ 9122832 h 17966907"/>
                <a:gd name="connsiteX6915" fmla="*/ 5756272 w 13797425"/>
                <a:gd name="connsiteY6915" fmla="*/ 9189544 h 17966907"/>
                <a:gd name="connsiteX6916" fmla="*/ 5789628 w 13797425"/>
                <a:gd name="connsiteY6916" fmla="*/ 9270551 h 17966907"/>
                <a:gd name="connsiteX6917" fmla="*/ 5803924 w 13797425"/>
                <a:gd name="connsiteY6917" fmla="*/ 9280082 h 17966907"/>
                <a:gd name="connsiteX6918" fmla="*/ 5846810 w 13797425"/>
                <a:gd name="connsiteY6918" fmla="*/ 9332498 h 17966907"/>
                <a:gd name="connsiteX6919" fmla="*/ 5889696 w 13797425"/>
                <a:gd name="connsiteY6919" fmla="*/ 9356324 h 17966907"/>
                <a:gd name="connsiteX6920" fmla="*/ 5903992 w 13797425"/>
                <a:gd name="connsiteY6920" fmla="*/ 9370619 h 17966907"/>
                <a:gd name="connsiteX6921" fmla="*/ 5918287 w 13797425"/>
                <a:gd name="connsiteY6921" fmla="*/ 9389680 h 17966907"/>
                <a:gd name="connsiteX6922" fmla="*/ 5923052 w 13797425"/>
                <a:gd name="connsiteY6922" fmla="*/ 9389680 h 17966907"/>
                <a:gd name="connsiteX6923" fmla="*/ 5932582 w 13797425"/>
                <a:gd name="connsiteY6923" fmla="*/ 9384914 h 17966907"/>
                <a:gd name="connsiteX6924" fmla="*/ 5937348 w 13797425"/>
                <a:gd name="connsiteY6924" fmla="*/ 9380149 h 17966907"/>
                <a:gd name="connsiteX6925" fmla="*/ 5937348 w 13797425"/>
                <a:gd name="connsiteY6925" fmla="*/ 9370619 h 17966907"/>
                <a:gd name="connsiteX6926" fmla="*/ 5923052 w 13797425"/>
                <a:gd name="connsiteY6926" fmla="*/ 9337263 h 17966907"/>
                <a:gd name="connsiteX6927" fmla="*/ 5923052 w 13797425"/>
                <a:gd name="connsiteY6927" fmla="*/ 9322968 h 17966907"/>
                <a:gd name="connsiteX6928" fmla="*/ 5927817 w 13797425"/>
                <a:gd name="connsiteY6928" fmla="*/ 9318203 h 17966907"/>
                <a:gd name="connsiteX6929" fmla="*/ 5975468 w 13797425"/>
                <a:gd name="connsiteY6929" fmla="*/ 9380149 h 17966907"/>
                <a:gd name="connsiteX6930" fmla="*/ 5999294 w 13797425"/>
                <a:gd name="connsiteY6930" fmla="*/ 9408740 h 17966907"/>
                <a:gd name="connsiteX6931" fmla="*/ 6037415 w 13797425"/>
                <a:gd name="connsiteY6931" fmla="*/ 9432566 h 17966907"/>
                <a:gd name="connsiteX6932" fmla="*/ 6094596 w 13797425"/>
                <a:gd name="connsiteY6932" fmla="*/ 9494512 h 17966907"/>
                <a:gd name="connsiteX6933" fmla="*/ 6104127 w 13797425"/>
                <a:gd name="connsiteY6933" fmla="*/ 9494512 h 17966907"/>
                <a:gd name="connsiteX6934" fmla="*/ 6132718 w 13797425"/>
                <a:gd name="connsiteY6934" fmla="*/ 9489747 h 17966907"/>
                <a:gd name="connsiteX6935" fmla="*/ 6142248 w 13797425"/>
                <a:gd name="connsiteY6935" fmla="*/ 9494512 h 17966907"/>
                <a:gd name="connsiteX6936" fmla="*/ 6147013 w 13797425"/>
                <a:gd name="connsiteY6936" fmla="*/ 9499278 h 17966907"/>
                <a:gd name="connsiteX6937" fmla="*/ 6151778 w 13797425"/>
                <a:gd name="connsiteY6937" fmla="*/ 9508808 h 17966907"/>
                <a:gd name="connsiteX6938" fmla="*/ 6151778 w 13797425"/>
                <a:gd name="connsiteY6938" fmla="*/ 9542164 h 17966907"/>
                <a:gd name="connsiteX6939" fmla="*/ 6161308 w 13797425"/>
                <a:gd name="connsiteY6939" fmla="*/ 9561224 h 17966907"/>
                <a:gd name="connsiteX6940" fmla="*/ 6213725 w 13797425"/>
                <a:gd name="connsiteY6940" fmla="*/ 9551694 h 17966907"/>
                <a:gd name="connsiteX6941" fmla="*/ 6223255 w 13797425"/>
                <a:gd name="connsiteY6941" fmla="*/ 9556459 h 17966907"/>
                <a:gd name="connsiteX6942" fmla="*/ 6232785 w 13797425"/>
                <a:gd name="connsiteY6942" fmla="*/ 9561224 h 17966907"/>
                <a:gd name="connsiteX6943" fmla="*/ 6242316 w 13797425"/>
                <a:gd name="connsiteY6943" fmla="*/ 9570754 h 17966907"/>
                <a:gd name="connsiteX6944" fmla="*/ 6251846 w 13797425"/>
                <a:gd name="connsiteY6944" fmla="*/ 9608876 h 17966907"/>
                <a:gd name="connsiteX6945" fmla="*/ 6261376 w 13797425"/>
                <a:gd name="connsiteY6945" fmla="*/ 9685118 h 17966907"/>
                <a:gd name="connsiteX6946" fmla="*/ 6261376 w 13797425"/>
                <a:gd name="connsiteY6946" fmla="*/ 9708943 h 17966907"/>
                <a:gd name="connsiteX6947" fmla="*/ 6261376 w 13797425"/>
                <a:gd name="connsiteY6947" fmla="*/ 9751829 h 17966907"/>
                <a:gd name="connsiteX6948" fmla="*/ 6251846 w 13797425"/>
                <a:gd name="connsiteY6948" fmla="*/ 9766125 h 17966907"/>
                <a:gd name="connsiteX6949" fmla="*/ 6242316 w 13797425"/>
                <a:gd name="connsiteY6949" fmla="*/ 9775655 h 17966907"/>
                <a:gd name="connsiteX6950" fmla="*/ 6213725 w 13797425"/>
                <a:gd name="connsiteY6950" fmla="*/ 9766125 h 17966907"/>
                <a:gd name="connsiteX6951" fmla="*/ 6194664 w 13797425"/>
                <a:gd name="connsiteY6951" fmla="*/ 9756594 h 17966907"/>
                <a:gd name="connsiteX6952" fmla="*/ 6185134 w 13797425"/>
                <a:gd name="connsiteY6952" fmla="*/ 9737534 h 17966907"/>
                <a:gd name="connsiteX6953" fmla="*/ 6175604 w 13797425"/>
                <a:gd name="connsiteY6953" fmla="*/ 9699413 h 17966907"/>
                <a:gd name="connsiteX6954" fmla="*/ 6175604 w 13797425"/>
                <a:gd name="connsiteY6954" fmla="*/ 9689883 h 17966907"/>
                <a:gd name="connsiteX6955" fmla="*/ 6170838 w 13797425"/>
                <a:gd name="connsiteY6955" fmla="*/ 9699413 h 17966907"/>
                <a:gd name="connsiteX6956" fmla="*/ 6161308 w 13797425"/>
                <a:gd name="connsiteY6956" fmla="*/ 9732769 h 17966907"/>
                <a:gd name="connsiteX6957" fmla="*/ 6156543 w 13797425"/>
                <a:gd name="connsiteY6957" fmla="*/ 9751829 h 17966907"/>
                <a:gd name="connsiteX6958" fmla="*/ 6147013 w 13797425"/>
                <a:gd name="connsiteY6958" fmla="*/ 9761360 h 17966907"/>
                <a:gd name="connsiteX6959" fmla="*/ 6132718 w 13797425"/>
                <a:gd name="connsiteY6959" fmla="*/ 9756594 h 17966907"/>
                <a:gd name="connsiteX6960" fmla="*/ 6113657 w 13797425"/>
                <a:gd name="connsiteY6960" fmla="*/ 9742299 h 17966907"/>
                <a:gd name="connsiteX6961" fmla="*/ 6075536 w 13797425"/>
                <a:gd name="connsiteY6961" fmla="*/ 9704178 h 17966907"/>
                <a:gd name="connsiteX6962" fmla="*/ 6066006 w 13797425"/>
                <a:gd name="connsiteY6962" fmla="*/ 9694648 h 17966907"/>
                <a:gd name="connsiteX6963" fmla="*/ 6056476 w 13797425"/>
                <a:gd name="connsiteY6963" fmla="*/ 9694648 h 17966907"/>
                <a:gd name="connsiteX6964" fmla="*/ 6037415 w 13797425"/>
                <a:gd name="connsiteY6964" fmla="*/ 9708943 h 17966907"/>
                <a:gd name="connsiteX6965" fmla="*/ 6013590 w 13797425"/>
                <a:gd name="connsiteY6965" fmla="*/ 9732769 h 17966907"/>
                <a:gd name="connsiteX6966" fmla="*/ 5999294 w 13797425"/>
                <a:gd name="connsiteY6966" fmla="*/ 9751829 h 17966907"/>
                <a:gd name="connsiteX6967" fmla="*/ 6004059 w 13797425"/>
                <a:gd name="connsiteY6967" fmla="*/ 9761360 h 17966907"/>
                <a:gd name="connsiteX6968" fmla="*/ 6008824 w 13797425"/>
                <a:gd name="connsiteY6968" fmla="*/ 9775655 h 17966907"/>
                <a:gd name="connsiteX6969" fmla="*/ 6008824 w 13797425"/>
                <a:gd name="connsiteY6969" fmla="*/ 9794716 h 17966907"/>
                <a:gd name="connsiteX6970" fmla="*/ 6008824 w 13797425"/>
                <a:gd name="connsiteY6970" fmla="*/ 9809011 h 17966907"/>
                <a:gd name="connsiteX6971" fmla="*/ 6004059 w 13797425"/>
                <a:gd name="connsiteY6971" fmla="*/ 9818541 h 17966907"/>
                <a:gd name="connsiteX6972" fmla="*/ 5994529 w 13797425"/>
                <a:gd name="connsiteY6972" fmla="*/ 9828071 h 17966907"/>
                <a:gd name="connsiteX6973" fmla="*/ 5975468 w 13797425"/>
                <a:gd name="connsiteY6973" fmla="*/ 9828071 h 17966907"/>
                <a:gd name="connsiteX6974" fmla="*/ 5946878 w 13797425"/>
                <a:gd name="connsiteY6974" fmla="*/ 9818541 h 17966907"/>
                <a:gd name="connsiteX6975" fmla="*/ 5927817 w 13797425"/>
                <a:gd name="connsiteY6975" fmla="*/ 9804246 h 17966907"/>
                <a:gd name="connsiteX6976" fmla="*/ 5889696 w 13797425"/>
                <a:gd name="connsiteY6976" fmla="*/ 9770890 h 17966907"/>
                <a:gd name="connsiteX6977" fmla="*/ 5880166 w 13797425"/>
                <a:gd name="connsiteY6977" fmla="*/ 9766125 h 17966907"/>
                <a:gd name="connsiteX6978" fmla="*/ 5870636 w 13797425"/>
                <a:gd name="connsiteY6978" fmla="*/ 9775655 h 17966907"/>
                <a:gd name="connsiteX6979" fmla="*/ 5865870 w 13797425"/>
                <a:gd name="connsiteY6979" fmla="*/ 9785185 h 17966907"/>
                <a:gd name="connsiteX6980" fmla="*/ 5870636 w 13797425"/>
                <a:gd name="connsiteY6980" fmla="*/ 9799481 h 17966907"/>
                <a:gd name="connsiteX6981" fmla="*/ 5889696 w 13797425"/>
                <a:gd name="connsiteY6981" fmla="*/ 9818541 h 17966907"/>
                <a:gd name="connsiteX6982" fmla="*/ 5913522 w 13797425"/>
                <a:gd name="connsiteY6982" fmla="*/ 9851897 h 17966907"/>
                <a:gd name="connsiteX6983" fmla="*/ 5923052 w 13797425"/>
                <a:gd name="connsiteY6983" fmla="*/ 9856662 h 17966907"/>
                <a:gd name="connsiteX6984" fmla="*/ 5927817 w 13797425"/>
                <a:gd name="connsiteY6984" fmla="*/ 9856662 h 17966907"/>
                <a:gd name="connsiteX6985" fmla="*/ 5927817 w 13797425"/>
                <a:gd name="connsiteY6985" fmla="*/ 9861427 h 17966907"/>
                <a:gd name="connsiteX6986" fmla="*/ 5932582 w 13797425"/>
                <a:gd name="connsiteY6986" fmla="*/ 9880488 h 17966907"/>
                <a:gd name="connsiteX6987" fmla="*/ 5927817 w 13797425"/>
                <a:gd name="connsiteY6987" fmla="*/ 9909079 h 17966907"/>
                <a:gd name="connsiteX6988" fmla="*/ 5918287 w 13797425"/>
                <a:gd name="connsiteY6988" fmla="*/ 9966260 h 17966907"/>
                <a:gd name="connsiteX6989" fmla="*/ 5918287 w 13797425"/>
                <a:gd name="connsiteY6989" fmla="*/ 9980556 h 17966907"/>
                <a:gd name="connsiteX6990" fmla="*/ 5923052 w 13797425"/>
                <a:gd name="connsiteY6990" fmla="*/ 9975790 h 17966907"/>
                <a:gd name="connsiteX6991" fmla="*/ 5956408 w 13797425"/>
                <a:gd name="connsiteY6991" fmla="*/ 9918609 h 17966907"/>
                <a:gd name="connsiteX6992" fmla="*/ 5970703 w 13797425"/>
                <a:gd name="connsiteY6992" fmla="*/ 9904314 h 17966907"/>
                <a:gd name="connsiteX6993" fmla="*/ 6008824 w 13797425"/>
                <a:gd name="connsiteY6993" fmla="*/ 9880488 h 17966907"/>
                <a:gd name="connsiteX6994" fmla="*/ 6023120 w 13797425"/>
                <a:gd name="connsiteY6994" fmla="*/ 9861427 h 17966907"/>
                <a:gd name="connsiteX6995" fmla="*/ 6070771 w 13797425"/>
                <a:gd name="connsiteY6995" fmla="*/ 9856662 h 17966907"/>
                <a:gd name="connsiteX6996" fmla="*/ 6085066 w 13797425"/>
                <a:gd name="connsiteY6996" fmla="*/ 9866192 h 17966907"/>
                <a:gd name="connsiteX6997" fmla="*/ 6094596 w 13797425"/>
                <a:gd name="connsiteY6997" fmla="*/ 9880488 h 17966907"/>
                <a:gd name="connsiteX6998" fmla="*/ 6094596 w 13797425"/>
                <a:gd name="connsiteY6998" fmla="*/ 9890018 h 17966907"/>
                <a:gd name="connsiteX6999" fmla="*/ 6085066 w 13797425"/>
                <a:gd name="connsiteY6999" fmla="*/ 9909079 h 17966907"/>
                <a:gd name="connsiteX7000" fmla="*/ 6080301 w 13797425"/>
                <a:gd name="connsiteY7000" fmla="*/ 9923374 h 17966907"/>
                <a:gd name="connsiteX7001" fmla="*/ 6080301 w 13797425"/>
                <a:gd name="connsiteY7001" fmla="*/ 9932904 h 17966907"/>
                <a:gd name="connsiteX7002" fmla="*/ 6085066 w 13797425"/>
                <a:gd name="connsiteY7002" fmla="*/ 9947200 h 17966907"/>
                <a:gd name="connsiteX7003" fmla="*/ 6085066 w 13797425"/>
                <a:gd name="connsiteY7003" fmla="*/ 9956730 h 17966907"/>
                <a:gd name="connsiteX7004" fmla="*/ 6094596 w 13797425"/>
                <a:gd name="connsiteY7004" fmla="*/ 9966260 h 17966907"/>
                <a:gd name="connsiteX7005" fmla="*/ 6108892 w 13797425"/>
                <a:gd name="connsiteY7005" fmla="*/ 9961495 h 17966907"/>
                <a:gd name="connsiteX7006" fmla="*/ 6113657 w 13797425"/>
                <a:gd name="connsiteY7006" fmla="*/ 9966260 h 17966907"/>
                <a:gd name="connsiteX7007" fmla="*/ 6118422 w 13797425"/>
                <a:gd name="connsiteY7007" fmla="*/ 9975790 h 17966907"/>
                <a:gd name="connsiteX7008" fmla="*/ 6123187 w 13797425"/>
                <a:gd name="connsiteY7008" fmla="*/ 9990086 h 17966907"/>
                <a:gd name="connsiteX7009" fmla="*/ 6127952 w 13797425"/>
                <a:gd name="connsiteY7009" fmla="*/ 10013911 h 17966907"/>
                <a:gd name="connsiteX7010" fmla="*/ 6113657 w 13797425"/>
                <a:gd name="connsiteY7010" fmla="*/ 10056798 h 17966907"/>
                <a:gd name="connsiteX7011" fmla="*/ 6094596 w 13797425"/>
                <a:gd name="connsiteY7011" fmla="*/ 10075858 h 17966907"/>
                <a:gd name="connsiteX7012" fmla="*/ 6037415 w 13797425"/>
                <a:gd name="connsiteY7012" fmla="*/ 10104449 h 17966907"/>
                <a:gd name="connsiteX7013" fmla="*/ 6018354 w 13797425"/>
                <a:gd name="connsiteY7013" fmla="*/ 10118744 h 17966907"/>
                <a:gd name="connsiteX7014" fmla="*/ 5975468 w 13797425"/>
                <a:gd name="connsiteY7014" fmla="*/ 10128274 h 17966907"/>
                <a:gd name="connsiteX7015" fmla="*/ 5961173 w 13797425"/>
                <a:gd name="connsiteY7015" fmla="*/ 10142570 h 17966907"/>
                <a:gd name="connsiteX7016" fmla="*/ 5951643 w 13797425"/>
                <a:gd name="connsiteY7016" fmla="*/ 10147335 h 17966907"/>
                <a:gd name="connsiteX7017" fmla="*/ 5908756 w 13797425"/>
                <a:gd name="connsiteY7017" fmla="*/ 10142570 h 17966907"/>
                <a:gd name="connsiteX7018" fmla="*/ 5865870 w 13797425"/>
                <a:gd name="connsiteY7018" fmla="*/ 10152100 h 17966907"/>
                <a:gd name="connsiteX7019" fmla="*/ 5808689 w 13797425"/>
                <a:gd name="connsiteY7019" fmla="*/ 10137805 h 17966907"/>
                <a:gd name="connsiteX7020" fmla="*/ 5770568 w 13797425"/>
                <a:gd name="connsiteY7020" fmla="*/ 10128274 h 17966907"/>
                <a:gd name="connsiteX7021" fmla="*/ 5727682 w 13797425"/>
                <a:gd name="connsiteY7021" fmla="*/ 10099684 h 17966907"/>
                <a:gd name="connsiteX7022" fmla="*/ 5708621 w 13797425"/>
                <a:gd name="connsiteY7022" fmla="*/ 10109214 h 17966907"/>
                <a:gd name="connsiteX7023" fmla="*/ 5689561 w 13797425"/>
                <a:gd name="connsiteY7023" fmla="*/ 10123509 h 17966907"/>
                <a:gd name="connsiteX7024" fmla="*/ 5608554 w 13797425"/>
                <a:gd name="connsiteY7024" fmla="*/ 10104449 h 17966907"/>
                <a:gd name="connsiteX7025" fmla="*/ 5599024 w 13797425"/>
                <a:gd name="connsiteY7025" fmla="*/ 10090154 h 17966907"/>
                <a:gd name="connsiteX7026" fmla="*/ 5599024 w 13797425"/>
                <a:gd name="connsiteY7026" fmla="*/ 10080623 h 17966907"/>
                <a:gd name="connsiteX7027" fmla="*/ 5622849 w 13797425"/>
                <a:gd name="connsiteY7027" fmla="*/ 10047267 h 17966907"/>
                <a:gd name="connsiteX7028" fmla="*/ 5622849 w 13797425"/>
                <a:gd name="connsiteY7028" fmla="*/ 10037737 h 17966907"/>
                <a:gd name="connsiteX7029" fmla="*/ 5622849 w 13797425"/>
                <a:gd name="connsiteY7029" fmla="*/ 10032972 h 17966907"/>
                <a:gd name="connsiteX7030" fmla="*/ 5584728 w 13797425"/>
                <a:gd name="connsiteY7030" fmla="*/ 10028207 h 17966907"/>
                <a:gd name="connsiteX7031" fmla="*/ 5541842 w 13797425"/>
                <a:gd name="connsiteY7031" fmla="*/ 10009146 h 17966907"/>
                <a:gd name="connsiteX7032" fmla="*/ 5498956 w 13797425"/>
                <a:gd name="connsiteY7032" fmla="*/ 10004381 h 17966907"/>
                <a:gd name="connsiteX7033" fmla="*/ 5465600 w 13797425"/>
                <a:gd name="connsiteY7033" fmla="*/ 10004381 h 17966907"/>
                <a:gd name="connsiteX7034" fmla="*/ 5446539 w 13797425"/>
                <a:gd name="connsiteY7034" fmla="*/ 9999616 h 17966907"/>
                <a:gd name="connsiteX7035" fmla="*/ 5427479 w 13797425"/>
                <a:gd name="connsiteY7035" fmla="*/ 9985321 h 17966907"/>
                <a:gd name="connsiteX7036" fmla="*/ 5413184 w 13797425"/>
                <a:gd name="connsiteY7036" fmla="*/ 9971025 h 17966907"/>
                <a:gd name="connsiteX7037" fmla="*/ 5413184 w 13797425"/>
                <a:gd name="connsiteY7037" fmla="*/ 9961495 h 17966907"/>
                <a:gd name="connsiteX7038" fmla="*/ 5413184 w 13797425"/>
                <a:gd name="connsiteY7038" fmla="*/ 9947200 h 17966907"/>
                <a:gd name="connsiteX7039" fmla="*/ 5413184 w 13797425"/>
                <a:gd name="connsiteY7039" fmla="*/ 9918609 h 17966907"/>
                <a:gd name="connsiteX7040" fmla="*/ 5413184 w 13797425"/>
                <a:gd name="connsiteY7040" fmla="*/ 9899548 h 17966907"/>
                <a:gd name="connsiteX7041" fmla="*/ 5403653 w 13797425"/>
                <a:gd name="connsiteY7041" fmla="*/ 9885253 h 17966907"/>
                <a:gd name="connsiteX7042" fmla="*/ 5384593 w 13797425"/>
                <a:gd name="connsiteY7042" fmla="*/ 9875723 h 17966907"/>
                <a:gd name="connsiteX7043" fmla="*/ 5365532 w 13797425"/>
                <a:gd name="connsiteY7043" fmla="*/ 9875723 h 17966907"/>
                <a:gd name="connsiteX7044" fmla="*/ 5351237 w 13797425"/>
                <a:gd name="connsiteY7044" fmla="*/ 9890018 h 17966907"/>
                <a:gd name="connsiteX7045" fmla="*/ 5332176 w 13797425"/>
                <a:gd name="connsiteY7045" fmla="*/ 9918609 h 17966907"/>
                <a:gd name="connsiteX7046" fmla="*/ 5308351 w 13797425"/>
                <a:gd name="connsiteY7046" fmla="*/ 9990086 h 17966907"/>
                <a:gd name="connsiteX7047" fmla="*/ 5294055 w 13797425"/>
                <a:gd name="connsiteY7047" fmla="*/ 10004381 h 17966907"/>
                <a:gd name="connsiteX7048" fmla="*/ 5255934 w 13797425"/>
                <a:gd name="connsiteY7048" fmla="*/ 10056798 h 17966907"/>
                <a:gd name="connsiteX7049" fmla="*/ 5241639 w 13797425"/>
                <a:gd name="connsiteY7049" fmla="*/ 10066328 h 17966907"/>
                <a:gd name="connsiteX7050" fmla="*/ 5174927 w 13797425"/>
                <a:gd name="connsiteY7050" fmla="*/ 10090154 h 17966907"/>
                <a:gd name="connsiteX7051" fmla="*/ 5098685 w 13797425"/>
                <a:gd name="connsiteY7051" fmla="*/ 10099684 h 17966907"/>
                <a:gd name="connsiteX7052" fmla="*/ 5070094 w 13797425"/>
                <a:gd name="connsiteY7052" fmla="*/ 10113979 h 17966907"/>
                <a:gd name="connsiteX7053" fmla="*/ 5041504 w 13797425"/>
                <a:gd name="connsiteY7053" fmla="*/ 10142570 h 17966907"/>
                <a:gd name="connsiteX7054" fmla="*/ 5008148 w 13797425"/>
                <a:gd name="connsiteY7054" fmla="*/ 10175926 h 17966907"/>
                <a:gd name="connsiteX7055" fmla="*/ 4927140 w 13797425"/>
                <a:gd name="connsiteY7055" fmla="*/ 10209282 h 17966907"/>
                <a:gd name="connsiteX7056" fmla="*/ 4850898 w 13797425"/>
                <a:gd name="connsiteY7056" fmla="*/ 10228342 h 17966907"/>
                <a:gd name="connsiteX7057" fmla="*/ 4769891 w 13797425"/>
                <a:gd name="connsiteY7057" fmla="*/ 10237872 h 17966907"/>
                <a:gd name="connsiteX7058" fmla="*/ 4712710 w 13797425"/>
                <a:gd name="connsiteY7058" fmla="*/ 10252168 h 17966907"/>
                <a:gd name="connsiteX7059" fmla="*/ 4693649 w 13797425"/>
                <a:gd name="connsiteY7059" fmla="*/ 10242638 h 17966907"/>
                <a:gd name="connsiteX7060" fmla="*/ 4665058 w 13797425"/>
                <a:gd name="connsiteY7060" fmla="*/ 10247403 h 17966907"/>
                <a:gd name="connsiteX7061" fmla="*/ 4636468 w 13797425"/>
                <a:gd name="connsiteY7061" fmla="*/ 10266463 h 17966907"/>
                <a:gd name="connsiteX7062" fmla="*/ 4607877 w 13797425"/>
                <a:gd name="connsiteY7062" fmla="*/ 10271228 h 17966907"/>
                <a:gd name="connsiteX7063" fmla="*/ 4483984 w 13797425"/>
                <a:gd name="connsiteY7063" fmla="*/ 10275994 h 17966907"/>
                <a:gd name="connsiteX7064" fmla="*/ 4426802 w 13797425"/>
                <a:gd name="connsiteY7064" fmla="*/ 10290289 h 17966907"/>
                <a:gd name="connsiteX7065" fmla="*/ 4398211 w 13797425"/>
                <a:gd name="connsiteY7065" fmla="*/ 10295054 h 17966907"/>
                <a:gd name="connsiteX7066" fmla="*/ 4369621 w 13797425"/>
                <a:gd name="connsiteY7066" fmla="*/ 10295054 h 17966907"/>
                <a:gd name="connsiteX7067" fmla="*/ 4355325 w 13797425"/>
                <a:gd name="connsiteY7067" fmla="*/ 10285524 h 17966907"/>
                <a:gd name="connsiteX7068" fmla="*/ 4336265 w 13797425"/>
                <a:gd name="connsiteY7068" fmla="*/ 10271228 h 17966907"/>
                <a:gd name="connsiteX7069" fmla="*/ 4321969 w 13797425"/>
                <a:gd name="connsiteY7069" fmla="*/ 10242638 h 17966907"/>
                <a:gd name="connsiteX7070" fmla="*/ 4288614 w 13797425"/>
                <a:gd name="connsiteY7070" fmla="*/ 10171161 h 17966907"/>
                <a:gd name="connsiteX7071" fmla="*/ 4279083 w 13797425"/>
                <a:gd name="connsiteY7071" fmla="*/ 10137805 h 17966907"/>
                <a:gd name="connsiteX7072" fmla="*/ 4283848 w 13797425"/>
                <a:gd name="connsiteY7072" fmla="*/ 10085388 h 17966907"/>
                <a:gd name="connsiteX7073" fmla="*/ 4279083 w 13797425"/>
                <a:gd name="connsiteY7073" fmla="*/ 10056798 h 17966907"/>
                <a:gd name="connsiteX7074" fmla="*/ 4269553 w 13797425"/>
                <a:gd name="connsiteY7074" fmla="*/ 9990086 h 17966907"/>
                <a:gd name="connsiteX7075" fmla="*/ 4264788 w 13797425"/>
                <a:gd name="connsiteY7075" fmla="*/ 9985321 h 17966907"/>
                <a:gd name="connsiteX7076" fmla="*/ 4207606 w 13797425"/>
                <a:gd name="connsiteY7076" fmla="*/ 9961495 h 17966907"/>
                <a:gd name="connsiteX7077" fmla="*/ 4169485 w 13797425"/>
                <a:gd name="connsiteY7077" fmla="*/ 9951965 h 17966907"/>
                <a:gd name="connsiteX7078" fmla="*/ 4107539 w 13797425"/>
                <a:gd name="connsiteY7078" fmla="*/ 9947200 h 17966907"/>
                <a:gd name="connsiteX7079" fmla="*/ 4036062 w 13797425"/>
                <a:gd name="connsiteY7079" fmla="*/ 9951965 h 17966907"/>
                <a:gd name="connsiteX7080" fmla="*/ 3964585 w 13797425"/>
                <a:gd name="connsiteY7080" fmla="*/ 9947200 h 17966907"/>
                <a:gd name="connsiteX7081" fmla="*/ 3926464 w 13797425"/>
                <a:gd name="connsiteY7081" fmla="*/ 9937669 h 17966907"/>
                <a:gd name="connsiteX7082" fmla="*/ 3888343 w 13797425"/>
                <a:gd name="connsiteY7082" fmla="*/ 9923374 h 17966907"/>
                <a:gd name="connsiteX7083" fmla="*/ 3826396 w 13797425"/>
                <a:gd name="connsiteY7083" fmla="*/ 9880488 h 17966907"/>
                <a:gd name="connsiteX7084" fmla="*/ 3821631 w 13797425"/>
                <a:gd name="connsiteY7084" fmla="*/ 9880488 h 17966907"/>
                <a:gd name="connsiteX7085" fmla="*/ 3816866 w 13797425"/>
                <a:gd name="connsiteY7085" fmla="*/ 9866192 h 17966907"/>
                <a:gd name="connsiteX7086" fmla="*/ 3812101 w 13797425"/>
                <a:gd name="connsiteY7086" fmla="*/ 9842367 h 17966907"/>
                <a:gd name="connsiteX7087" fmla="*/ 3793040 w 13797425"/>
                <a:gd name="connsiteY7087" fmla="*/ 9813776 h 17966907"/>
                <a:gd name="connsiteX7088" fmla="*/ 3750154 w 13797425"/>
                <a:gd name="connsiteY7088" fmla="*/ 9751829 h 17966907"/>
                <a:gd name="connsiteX7089" fmla="*/ 3735859 w 13797425"/>
                <a:gd name="connsiteY7089" fmla="*/ 9713708 h 17966907"/>
                <a:gd name="connsiteX7090" fmla="*/ 3731094 w 13797425"/>
                <a:gd name="connsiteY7090" fmla="*/ 9704178 h 17966907"/>
                <a:gd name="connsiteX7091" fmla="*/ 3726329 w 13797425"/>
                <a:gd name="connsiteY7091" fmla="*/ 9675587 h 17966907"/>
                <a:gd name="connsiteX7092" fmla="*/ 3721563 w 13797425"/>
                <a:gd name="connsiteY7092" fmla="*/ 9627936 h 17966907"/>
                <a:gd name="connsiteX7093" fmla="*/ 3716798 w 13797425"/>
                <a:gd name="connsiteY7093" fmla="*/ 9599345 h 17966907"/>
                <a:gd name="connsiteX7094" fmla="*/ 3726329 w 13797425"/>
                <a:gd name="connsiteY7094" fmla="*/ 9580285 h 17966907"/>
                <a:gd name="connsiteX7095" fmla="*/ 3731094 w 13797425"/>
                <a:gd name="connsiteY7095" fmla="*/ 9575520 h 17966907"/>
                <a:gd name="connsiteX7096" fmla="*/ 3821631 w 13797425"/>
                <a:gd name="connsiteY7096" fmla="*/ 9542164 h 17966907"/>
                <a:gd name="connsiteX7097" fmla="*/ 3978880 w 13797425"/>
                <a:gd name="connsiteY7097" fmla="*/ 9504043 h 17966907"/>
                <a:gd name="connsiteX7098" fmla="*/ 4126599 w 13797425"/>
                <a:gd name="connsiteY7098" fmla="*/ 9480217 h 17966907"/>
                <a:gd name="connsiteX7099" fmla="*/ 4193311 w 13797425"/>
                <a:gd name="connsiteY7099" fmla="*/ 9480217 h 17966907"/>
                <a:gd name="connsiteX7100" fmla="*/ 4231432 w 13797425"/>
                <a:gd name="connsiteY7100" fmla="*/ 9494512 h 17966907"/>
                <a:gd name="connsiteX7101" fmla="*/ 4269553 w 13797425"/>
                <a:gd name="connsiteY7101" fmla="*/ 9499278 h 17966907"/>
                <a:gd name="connsiteX7102" fmla="*/ 4341030 w 13797425"/>
                <a:gd name="connsiteY7102" fmla="*/ 9504043 h 17966907"/>
                <a:gd name="connsiteX7103" fmla="*/ 4431567 w 13797425"/>
                <a:gd name="connsiteY7103" fmla="*/ 9518338 h 17966907"/>
                <a:gd name="connsiteX7104" fmla="*/ 4450628 w 13797425"/>
                <a:gd name="connsiteY7104" fmla="*/ 9518338 h 17966907"/>
                <a:gd name="connsiteX7105" fmla="*/ 4488749 w 13797425"/>
                <a:gd name="connsiteY7105" fmla="*/ 9504043 h 17966907"/>
                <a:gd name="connsiteX7106" fmla="*/ 4503044 w 13797425"/>
                <a:gd name="connsiteY7106" fmla="*/ 9494512 h 17966907"/>
                <a:gd name="connsiteX7107" fmla="*/ 4564991 w 13797425"/>
                <a:gd name="connsiteY7107" fmla="*/ 9499278 h 17966907"/>
                <a:gd name="connsiteX7108" fmla="*/ 4574521 w 13797425"/>
                <a:gd name="connsiteY7108" fmla="*/ 9489747 h 17966907"/>
                <a:gd name="connsiteX7109" fmla="*/ 4588816 w 13797425"/>
                <a:gd name="connsiteY7109" fmla="*/ 9480217 h 17966907"/>
                <a:gd name="connsiteX7110" fmla="*/ 4574521 w 13797425"/>
                <a:gd name="connsiteY7110" fmla="*/ 9461156 h 17966907"/>
                <a:gd name="connsiteX7111" fmla="*/ 4512574 w 13797425"/>
                <a:gd name="connsiteY7111" fmla="*/ 9418270 h 17966907"/>
                <a:gd name="connsiteX7112" fmla="*/ 4350560 w 13797425"/>
                <a:gd name="connsiteY7112" fmla="*/ 9337263 h 17966907"/>
                <a:gd name="connsiteX7113" fmla="*/ 4312439 w 13797425"/>
                <a:gd name="connsiteY7113" fmla="*/ 9318203 h 17966907"/>
                <a:gd name="connsiteX7114" fmla="*/ 4255258 w 13797425"/>
                <a:gd name="connsiteY7114" fmla="*/ 9303907 h 17966907"/>
                <a:gd name="connsiteX7115" fmla="*/ 4221902 w 13797425"/>
                <a:gd name="connsiteY7115" fmla="*/ 9299142 h 17966907"/>
                <a:gd name="connsiteX7116" fmla="*/ 4183781 w 13797425"/>
                <a:gd name="connsiteY7116" fmla="*/ 9308672 h 17966907"/>
                <a:gd name="connsiteX7117" fmla="*/ 4164720 w 13797425"/>
                <a:gd name="connsiteY7117" fmla="*/ 9308672 h 17966907"/>
                <a:gd name="connsiteX7118" fmla="*/ 4126599 w 13797425"/>
                <a:gd name="connsiteY7118" fmla="*/ 9327733 h 17966907"/>
                <a:gd name="connsiteX7119" fmla="*/ 4088478 w 13797425"/>
                <a:gd name="connsiteY7119" fmla="*/ 9337263 h 17966907"/>
                <a:gd name="connsiteX7120" fmla="*/ 4012236 w 13797425"/>
                <a:gd name="connsiteY7120" fmla="*/ 9346793 h 17966907"/>
                <a:gd name="connsiteX7121" fmla="*/ 3907403 w 13797425"/>
                <a:gd name="connsiteY7121" fmla="*/ 9351558 h 17966907"/>
                <a:gd name="connsiteX7122" fmla="*/ 3893108 w 13797425"/>
                <a:gd name="connsiteY7122" fmla="*/ 9351558 h 17966907"/>
                <a:gd name="connsiteX7123" fmla="*/ 3869282 w 13797425"/>
                <a:gd name="connsiteY7123" fmla="*/ 9337263 h 17966907"/>
                <a:gd name="connsiteX7124" fmla="*/ 3854987 w 13797425"/>
                <a:gd name="connsiteY7124" fmla="*/ 9332498 h 17966907"/>
                <a:gd name="connsiteX7125" fmla="*/ 3750154 w 13797425"/>
                <a:gd name="connsiteY7125" fmla="*/ 9342028 h 17966907"/>
                <a:gd name="connsiteX7126" fmla="*/ 3659617 w 13797425"/>
                <a:gd name="connsiteY7126" fmla="*/ 9332498 h 17966907"/>
                <a:gd name="connsiteX7127" fmla="*/ 3554784 w 13797425"/>
                <a:gd name="connsiteY7127" fmla="*/ 9208605 h 17966907"/>
                <a:gd name="connsiteX7128" fmla="*/ 3535724 w 13797425"/>
                <a:gd name="connsiteY7128" fmla="*/ 9170484 h 17966907"/>
                <a:gd name="connsiteX7129" fmla="*/ 3540489 w 13797425"/>
                <a:gd name="connsiteY7129" fmla="*/ 9156188 h 17966907"/>
                <a:gd name="connsiteX7130" fmla="*/ 3550019 w 13797425"/>
                <a:gd name="connsiteY7130" fmla="*/ 9137128 h 17966907"/>
                <a:gd name="connsiteX7131" fmla="*/ 3602435 w 13797425"/>
                <a:gd name="connsiteY7131" fmla="*/ 9089476 h 17966907"/>
                <a:gd name="connsiteX7132" fmla="*/ 3621496 w 13797425"/>
                <a:gd name="connsiteY7132" fmla="*/ 9079946 h 17966907"/>
                <a:gd name="connsiteX7133" fmla="*/ 3702503 w 13797425"/>
                <a:gd name="connsiteY7133" fmla="*/ 9051355 h 17966907"/>
                <a:gd name="connsiteX7134" fmla="*/ 3778745 w 13797425"/>
                <a:gd name="connsiteY7134" fmla="*/ 9022765 h 17966907"/>
                <a:gd name="connsiteX7135" fmla="*/ 3840692 w 13797425"/>
                <a:gd name="connsiteY7135" fmla="*/ 8994174 h 17966907"/>
                <a:gd name="connsiteX7136" fmla="*/ 3869282 w 13797425"/>
                <a:gd name="connsiteY7136" fmla="*/ 8979878 h 17966907"/>
                <a:gd name="connsiteX7137" fmla="*/ 3897873 w 13797425"/>
                <a:gd name="connsiteY7137" fmla="*/ 8979878 h 17966907"/>
                <a:gd name="connsiteX7138" fmla="*/ 3921699 w 13797425"/>
                <a:gd name="connsiteY7138" fmla="*/ 8970348 h 17966907"/>
                <a:gd name="connsiteX7139" fmla="*/ 3916934 w 13797425"/>
                <a:gd name="connsiteY7139" fmla="*/ 8960818 h 17966907"/>
                <a:gd name="connsiteX7140" fmla="*/ 3897873 w 13797425"/>
                <a:gd name="connsiteY7140" fmla="*/ 8951288 h 17966907"/>
                <a:gd name="connsiteX7141" fmla="*/ 3897873 w 13797425"/>
                <a:gd name="connsiteY7141" fmla="*/ 8936992 h 17966907"/>
                <a:gd name="connsiteX7142" fmla="*/ 3907403 w 13797425"/>
                <a:gd name="connsiteY7142" fmla="*/ 8927462 h 17966907"/>
                <a:gd name="connsiteX7143" fmla="*/ 3945524 w 13797425"/>
                <a:gd name="connsiteY7143" fmla="*/ 8917932 h 17966907"/>
                <a:gd name="connsiteX7144" fmla="*/ 3988411 w 13797425"/>
                <a:gd name="connsiteY7144" fmla="*/ 8927462 h 17966907"/>
                <a:gd name="connsiteX7145" fmla="*/ 4007471 w 13797425"/>
                <a:gd name="connsiteY7145" fmla="*/ 8927462 h 17966907"/>
                <a:gd name="connsiteX7146" fmla="*/ 4012236 w 13797425"/>
                <a:gd name="connsiteY7146" fmla="*/ 8917932 h 17966907"/>
                <a:gd name="connsiteX7147" fmla="*/ 4007471 w 13797425"/>
                <a:gd name="connsiteY7147" fmla="*/ 8908402 h 17966907"/>
                <a:gd name="connsiteX7148" fmla="*/ 3969350 w 13797425"/>
                <a:gd name="connsiteY7148" fmla="*/ 8889341 h 17966907"/>
                <a:gd name="connsiteX7149" fmla="*/ 3783510 w 13797425"/>
                <a:gd name="connsiteY7149" fmla="*/ 8941757 h 17966907"/>
                <a:gd name="connsiteX7150" fmla="*/ 3697738 w 13797425"/>
                <a:gd name="connsiteY7150" fmla="*/ 8946523 h 17966907"/>
                <a:gd name="connsiteX7151" fmla="*/ 3635791 w 13797425"/>
                <a:gd name="connsiteY7151" fmla="*/ 8965583 h 17966907"/>
                <a:gd name="connsiteX7152" fmla="*/ 3602435 w 13797425"/>
                <a:gd name="connsiteY7152" fmla="*/ 8965583 h 17966907"/>
                <a:gd name="connsiteX7153" fmla="*/ 3564314 w 13797425"/>
                <a:gd name="connsiteY7153" fmla="*/ 8941757 h 17966907"/>
                <a:gd name="connsiteX7154" fmla="*/ 3559549 w 13797425"/>
                <a:gd name="connsiteY7154" fmla="*/ 8936992 h 17966907"/>
                <a:gd name="connsiteX7155" fmla="*/ 3559549 w 13797425"/>
                <a:gd name="connsiteY7155" fmla="*/ 8927462 h 17966907"/>
                <a:gd name="connsiteX7156" fmla="*/ 3569079 w 13797425"/>
                <a:gd name="connsiteY7156" fmla="*/ 8898871 h 17966907"/>
                <a:gd name="connsiteX7157" fmla="*/ 3611966 w 13797425"/>
                <a:gd name="connsiteY7157" fmla="*/ 8884576 h 17966907"/>
                <a:gd name="connsiteX7158" fmla="*/ 3635791 w 13797425"/>
                <a:gd name="connsiteY7158" fmla="*/ 8832160 h 17966907"/>
                <a:gd name="connsiteX7159" fmla="*/ 3611966 w 13797425"/>
                <a:gd name="connsiteY7159" fmla="*/ 8832160 h 17966907"/>
                <a:gd name="connsiteX7160" fmla="*/ 3535724 w 13797425"/>
                <a:gd name="connsiteY7160" fmla="*/ 8841690 h 17966907"/>
                <a:gd name="connsiteX7161" fmla="*/ 3502368 w 13797425"/>
                <a:gd name="connsiteY7161" fmla="*/ 8836925 h 17966907"/>
                <a:gd name="connsiteX7162" fmla="*/ 3459482 w 13797425"/>
                <a:gd name="connsiteY7162" fmla="*/ 8817864 h 17966907"/>
                <a:gd name="connsiteX7163" fmla="*/ 3445186 w 13797425"/>
                <a:gd name="connsiteY7163" fmla="*/ 8798804 h 17966907"/>
                <a:gd name="connsiteX7164" fmla="*/ 3440421 w 13797425"/>
                <a:gd name="connsiteY7164" fmla="*/ 8779743 h 17966907"/>
                <a:gd name="connsiteX7165" fmla="*/ 3440421 w 13797425"/>
                <a:gd name="connsiteY7165" fmla="*/ 8760683 h 17966907"/>
                <a:gd name="connsiteX7166" fmla="*/ 3440421 w 13797425"/>
                <a:gd name="connsiteY7166" fmla="*/ 8708266 h 17966907"/>
                <a:gd name="connsiteX7167" fmla="*/ 3445186 w 13797425"/>
                <a:gd name="connsiteY7167" fmla="*/ 8674910 h 17966907"/>
                <a:gd name="connsiteX7168" fmla="*/ 3445186 w 13797425"/>
                <a:gd name="connsiteY7168" fmla="*/ 8670145 h 17966907"/>
                <a:gd name="connsiteX7169" fmla="*/ 3502368 w 13797425"/>
                <a:gd name="connsiteY7169" fmla="*/ 8581990 h 17966907"/>
                <a:gd name="connsiteX7170" fmla="*/ 3535724 w 13797425"/>
                <a:gd name="connsiteY7170" fmla="*/ 8562930 h 17966907"/>
                <a:gd name="connsiteX7171" fmla="*/ 3559549 w 13797425"/>
                <a:gd name="connsiteY7171" fmla="*/ 8529574 h 17966907"/>
                <a:gd name="connsiteX7172" fmla="*/ 3559549 w 13797425"/>
                <a:gd name="connsiteY7172" fmla="*/ 8520044 h 17966907"/>
                <a:gd name="connsiteX7173" fmla="*/ 3554784 w 13797425"/>
                <a:gd name="connsiteY7173" fmla="*/ 8505748 h 17966907"/>
                <a:gd name="connsiteX7174" fmla="*/ 3530958 w 13797425"/>
                <a:gd name="connsiteY7174" fmla="*/ 8477157 h 17966907"/>
                <a:gd name="connsiteX7175" fmla="*/ 3521428 w 13797425"/>
                <a:gd name="connsiteY7175" fmla="*/ 8462862 h 17966907"/>
                <a:gd name="connsiteX7176" fmla="*/ 3516663 w 13797425"/>
                <a:gd name="connsiteY7176" fmla="*/ 8448567 h 17966907"/>
                <a:gd name="connsiteX7177" fmla="*/ 3521428 w 13797425"/>
                <a:gd name="connsiteY7177" fmla="*/ 8424741 h 17966907"/>
                <a:gd name="connsiteX7178" fmla="*/ 3535724 w 13797425"/>
                <a:gd name="connsiteY7178" fmla="*/ 8391385 h 17966907"/>
                <a:gd name="connsiteX7179" fmla="*/ 3573845 w 13797425"/>
                <a:gd name="connsiteY7179" fmla="*/ 8338969 h 17966907"/>
                <a:gd name="connsiteX7180" fmla="*/ 3664382 w 13797425"/>
                <a:gd name="connsiteY7180" fmla="*/ 8234136 h 17966907"/>
                <a:gd name="connsiteX7181" fmla="*/ 3712033 w 13797425"/>
                <a:gd name="connsiteY7181" fmla="*/ 8191250 h 17966907"/>
                <a:gd name="connsiteX7182" fmla="*/ 3754919 w 13797425"/>
                <a:gd name="connsiteY7182" fmla="*/ 8167424 h 17966907"/>
                <a:gd name="connsiteX7183" fmla="*/ 3816866 w 13797425"/>
                <a:gd name="connsiteY7183" fmla="*/ 8115008 h 17966907"/>
                <a:gd name="connsiteX7184" fmla="*/ 3974115 w 13797425"/>
                <a:gd name="connsiteY7184" fmla="*/ 8029235 h 17966907"/>
                <a:gd name="connsiteX7185" fmla="*/ 9427804 w 13797425"/>
                <a:gd name="connsiteY7185" fmla="*/ 7729032 h 17966907"/>
                <a:gd name="connsiteX7186" fmla="*/ 9461160 w 13797425"/>
                <a:gd name="connsiteY7186" fmla="*/ 7729032 h 17966907"/>
                <a:gd name="connsiteX7187" fmla="*/ 9508811 w 13797425"/>
                <a:gd name="connsiteY7187" fmla="*/ 7762388 h 17966907"/>
                <a:gd name="connsiteX7188" fmla="*/ 9542167 w 13797425"/>
                <a:gd name="connsiteY7188" fmla="*/ 7762388 h 17966907"/>
                <a:gd name="connsiteX7189" fmla="*/ 9599349 w 13797425"/>
                <a:gd name="connsiteY7189" fmla="*/ 7790979 h 17966907"/>
                <a:gd name="connsiteX7190" fmla="*/ 9623174 w 13797425"/>
                <a:gd name="connsiteY7190" fmla="*/ 7795744 h 17966907"/>
                <a:gd name="connsiteX7191" fmla="*/ 9794719 w 13797425"/>
                <a:gd name="connsiteY7191" fmla="*/ 7781448 h 17966907"/>
                <a:gd name="connsiteX7192" fmla="*/ 9828075 w 13797425"/>
                <a:gd name="connsiteY7192" fmla="*/ 7790979 h 17966907"/>
                <a:gd name="connsiteX7193" fmla="*/ 9937673 w 13797425"/>
                <a:gd name="connsiteY7193" fmla="*/ 7852925 h 17966907"/>
                <a:gd name="connsiteX7194" fmla="*/ 9961498 w 13797425"/>
                <a:gd name="connsiteY7194" fmla="*/ 7876751 h 17966907"/>
                <a:gd name="connsiteX7195" fmla="*/ 9975794 w 13797425"/>
                <a:gd name="connsiteY7195" fmla="*/ 7900577 h 17966907"/>
                <a:gd name="connsiteX7196" fmla="*/ 9990089 w 13797425"/>
                <a:gd name="connsiteY7196" fmla="*/ 7943463 h 17966907"/>
                <a:gd name="connsiteX7197" fmla="*/ 9994854 w 13797425"/>
                <a:gd name="connsiteY7197" fmla="*/ 7952993 h 17966907"/>
                <a:gd name="connsiteX7198" fmla="*/ 10032975 w 13797425"/>
                <a:gd name="connsiteY7198" fmla="*/ 7976819 h 17966907"/>
                <a:gd name="connsiteX7199" fmla="*/ 10047271 w 13797425"/>
                <a:gd name="connsiteY7199" fmla="*/ 8010175 h 17966907"/>
                <a:gd name="connsiteX7200" fmla="*/ 10052036 w 13797425"/>
                <a:gd name="connsiteY7200" fmla="*/ 8024470 h 17966907"/>
                <a:gd name="connsiteX7201" fmla="*/ 10061566 w 13797425"/>
                <a:gd name="connsiteY7201" fmla="*/ 8062591 h 17966907"/>
                <a:gd name="connsiteX7202" fmla="*/ 10080626 w 13797425"/>
                <a:gd name="connsiteY7202" fmla="*/ 8081652 h 17966907"/>
                <a:gd name="connsiteX7203" fmla="*/ 10099687 w 13797425"/>
                <a:gd name="connsiteY7203" fmla="*/ 8091182 h 17966907"/>
                <a:gd name="connsiteX7204" fmla="*/ 10104452 w 13797425"/>
                <a:gd name="connsiteY7204" fmla="*/ 8100712 h 17966907"/>
                <a:gd name="connsiteX7205" fmla="*/ 10104452 w 13797425"/>
                <a:gd name="connsiteY7205" fmla="*/ 8148363 h 17966907"/>
                <a:gd name="connsiteX7206" fmla="*/ 10109217 w 13797425"/>
                <a:gd name="connsiteY7206" fmla="*/ 8167424 h 17966907"/>
                <a:gd name="connsiteX7207" fmla="*/ 10128278 w 13797425"/>
                <a:gd name="connsiteY7207" fmla="*/ 8191250 h 17966907"/>
                <a:gd name="connsiteX7208" fmla="*/ 10137808 w 13797425"/>
                <a:gd name="connsiteY7208" fmla="*/ 8210310 h 17966907"/>
                <a:gd name="connsiteX7209" fmla="*/ 10123513 w 13797425"/>
                <a:gd name="connsiteY7209" fmla="*/ 8229371 h 17966907"/>
                <a:gd name="connsiteX7210" fmla="*/ 10090157 w 13797425"/>
                <a:gd name="connsiteY7210" fmla="*/ 8238901 h 17966907"/>
                <a:gd name="connsiteX7211" fmla="*/ 9994854 w 13797425"/>
                <a:gd name="connsiteY7211" fmla="*/ 8229371 h 17966907"/>
                <a:gd name="connsiteX7212" fmla="*/ 9866196 w 13797425"/>
                <a:gd name="connsiteY7212" fmla="*/ 8200780 h 17966907"/>
                <a:gd name="connsiteX7213" fmla="*/ 9789954 w 13797425"/>
                <a:gd name="connsiteY7213" fmla="*/ 8210310 h 17966907"/>
                <a:gd name="connsiteX7214" fmla="*/ 9751833 w 13797425"/>
                <a:gd name="connsiteY7214" fmla="*/ 8219840 h 17966907"/>
                <a:gd name="connsiteX7215" fmla="*/ 9661295 w 13797425"/>
                <a:gd name="connsiteY7215" fmla="*/ 8267492 h 17966907"/>
                <a:gd name="connsiteX7216" fmla="*/ 9632704 w 13797425"/>
                <a:gd name="connsiteY7216" fmla="*/ 8272257 h 17966907"/>
                <a:gd name="connsiteX7217" fmla="*/ 9604114 w 13797425"/>
                <a:gd name="connsiteY7217" fmla="*/ 8277022 h 17966907"/>
                <a:gd name="connsiteX7218" fmla="*/ 9556462 w 13797425"/>
                <a:gd name="connsiteY7218" fmla="*/ 8238901 h 17966907"/>
                <a:gd name="connsiteX7219" fmla="*/ 9537402 w 13797425"/>
                <a:gd name="connsiteY7219" fmla="*/ 8219840 h 17966907"/>
                <a:gd name="connsiteX7220" fmla="*/ 9532637 w 13797425"/>
                <a:gd name="connsiteY7220" fmla="*/ 8200780 h 17966907"/>
                <a:gd name="connsiteX7221" fmla="*/ 9518341 w 13797425"/>
                <a:gd name="connsiteY7221" fmla="*/ 8157894 h 17966907"/>
                <a:gd name="connsiteX7222" fmla="*/ 9508811 w 13797425"/>
                <a:gd name="connsiteY7222" fmla="*/ 8105477 h 17966907"/>
                <a:gd name="connsiteX7223" fmla="*/ 9504046 w 13797425"/>
                <a:gd name="connsiteY7223" fmla="*/ 8057826 h 17966907"/>
                <a:gd name="connsiteX7224" fmla="*/ 9499281 w 13797425"/>
                <a:gd name="connsiteY7224" fmla="*/ 8024470 h 17966907"/>
                <a:gd name="connsiteX7225" fmla="*/ 9480220 w 13797425"/>
                <a:gd name="connsiteY7225" fmla="*/ 8014940 h 17966907"/>
                <a:gd name="connsiteX7226" fmla="*/ 9427804 w 13797425"/>
                <a:gd name="connsiteY7226" fmla="*/ 8000644 h 17966907"/>
                <a:gd name="connsiteX7227" fmla="*/ 9413509 w 13797425"/>
                <a:gd name="connsiteY7227" fmla="*/ 7981584 h 17966907"/>
                <a:gd name="connsiteX7228" fmla="*/ 9403978 w 13797425"/>
                <a:gd name="connsiteY7228" fmla="*/ 7967289 h 17966907"/>
                <a:gd name="connsiteX7229" fmla="*/ 9399213 w 13797425"/>
                <a:gd name="connsiteY7229" fmla="*/ 7938698 h 17966907"/>
                <a:gd name="connsiteX7230" fmla="*/ 9399213 w 13797425"/>
                <a:gd name="connsiteY7230" fmla="*/ 7914872 h 17966907"/>
                <a:gd name="connsiteX7231" fmla="*/ 9403978 w 13797425"/>
                <a:gd name="connsiteY7231" fmla="*/ 7891046 h 17966907"/>
                <a:gd name="connsiteX7232" fmla="*/ 9403978 w 13797425"/>
                <a:gd name="connsiteY7232" fmla="*/ 7886281 h 17966907"/>
                <a:gd name="connsiteX7233" fmla="*/ 9413509 w 13797425"/>
                <a:gd name="connsiteY7233" fmla="*/ 7886281 h 17966907"/>
                <a:gd name="connsiteX7234" fmla="*/ 9399213 w 13797425"/>
                <a:gd name="connsiteY7234" fmla="*/ 7857691 h 17966907"/>
                <a:gd name="connsiteX7235" fmla="*/ 9394448 w 13797425"/>
                <a:gd name="connsiteY7235" fmla="*/ 7824335 h 17966907"/>
                <a:gd name="connsiteX7236" fmla="*/ 9389683 w 13797425"/>
                <a:gd name="connsiteY7236" fmla="*/ 7781448 h 17966907"/>
                <a:gd name="connsiteX7237" fmla="*/ 9394448 w 13797425"/>
                <a:gd name="connsiteY7237" fmla="*/ 7752858 h 17966907"/>
                <a:gd name="connsiteX7238" fmla="*/ 9399213 w 13797425"/>
                <a:gd name="connsiteY7238" fmla="*/ 7738562 h 17966907"/>
                <a:gd name="connsiteX7239" fmla="*/ 9408744 w 13797425"/>
                <a:gd name="connsiteY7239" fmla="*/ 7733797 h 17966907"/>
                <a:gd name="connsiteX7240" fmla="*/ 5546607 w 13797425"/>
                <a:gd name="connsiteY7240" fmla="*/ 7729032 h 17966907"/>
                <a:gd name="connsiteX7241" fmla="*/ 5575198 w 13797425"/>
                <a:gd name="connsiteY7241" fmla="*/ 7729032 h 17966907"/>
                <a:gd name="connsiteX7242" fmla="*/ 5608554 w 13797425"/>
                <a:gd name="connsiteY7242" fmla="*/ 7738562 h 17966907"/>
                <a:gd name="connsiteX7243" fmla="*/ 5651440 w 13797425"/>
                <a:gd name="connsiteY7243" fmla="*/ 7790979 h 17966907"/>
                <a:gd name="connsiteX7244" fmla="*/ 5670500 w 13797425"/>
                <a:gd name="connsiteY7244" fmla="*/ 7800509 h 17966907"/>
                <a:gd name="connsiteX7245" fmla="*/ 5680031 w 13797425"/>
                <a:gd name="connsiteY7245" fmla="*/ 7810039 h 17966907"/>
                <a:gd name="connsiteX7246" fmla="*/ 5689561 w 13797425"/>
                <a:gd name="connsiteY7246" fmla="*/ 7833865 h 17966907"/>
                <a:gd name="connsiteX7247" fmla="*/ 5694326 w 13797425"/>
                <a:gd name="connsiteY7247" fmla="*/ 7852925 h 17966907"/>
                <a:gd name="connsiteX7248" fmla="*/ 5694326 w 13797425"/>
                <a:gd name="connsiteY7248" fmla="*/ 7895811 h 17966907"/>
                <a:gd name="connsiteX7249" fmla="*/ 5689561 w 13797425"/>
                <a:gd name="connsiteY7249" fmla="*/ 7952993 h 17966907"/>
                <a:gd name="connsiteX7250" fmla="*/ 5684796 w 13797425"/>
                <a:gd name="connsiteY7250" fmla="*/ 7976818 h 17966907"/>
                <a:gd name="connsiteX7251" fmla="*/ 5656205 w 13797425"/>
                <a:gd name="connsiteY7251" fmla="*/ 8053060 h 17966907"/>
                <a:gd name="connsiteX7252" fmla="*/ 5627614 w 13797425"/>
                <a:gd name="connsiteY7252" fmla="*/ 8100712 h 17966907"/>
                <a:gd name="connsiteX7253" fmla="*/ 5622849 w 13797425"/>
                <a:gd name="connsiteY7253" fmla="*/ 8124537 h 17966907"/>
                <a:gd name="connsiteX7254" fmla="*/ 5613319 w 13797425"/>
                <a:gd name="connsiteY7254" fmla="*/ 8148363 h 17966907"/>
                <a:gd name="connsiteX7255" fmla="*/ 5594258 w 13797425"/>
                <a:gd name="connsiteY7255" fmla="*/ 8172188 h 17966907"/>
                <a:gd name="connsiteX7256" fmla="*/ 5579963 w 13797425"/>
                <a:gd name="connsiteY7256" fmla="*/ 8186484 h 17966907"/>
                <a:gd name="connsiteX7257" fmla="*/ 5570433 w 13797425"/>
                <a:gd name="connsiteY7257" fmla="*/ 8191249 h 17966907"/>
                <a:gd name="connsiteX7258" fmla="*/ 5556137 w 13797425"/>
                <a:gd name="connsiteY7258" fmla="*/ 8176954 h 17966907"/>
                <a:gd name="connsiteX7259" fmla="*/ 5532312 w 13797425"/>
                <a:gd name="connsiteY7259" fmla="*/ 8153128 h 17966907"/>
                <a:gd name="connsiteX7260" fmla="*/ 5498956 w 13797425"/>
                <a:gd name="connsiteY7260" fmla="*/ 8095947 h 17966907"/>
                <a:gd name="connsiteX7261" fmla="*/ 5456070 w 13797425"/>
                <a:gd name="connsiteY7261" fmla="*/ 8038765 h 17966907"/>
                <a:gd name="connsiteX7262" fmla="*/ 5451305 w 13797425"/>
                <a:gd name="connsiteY7262" fmla="*/ 8005409 h 17966907"/>
                <a:gd name="connsiteX7263" fmla="*/ 5441774 w 13797425"/>
                <a:gd name="connsiteY7263" fmla="*/ 7981584 h 17966907"/>
                <a:gd name="connsiteX7264" fmla="*/ 5384593 w 13797425"/>
                <a:gd name="connsiteY7264" fmla="*/ 7924402 h 17966907"/>
                <a:gd name="connsiteX7265" fmla="*/ 5351237 w 13797425"/>
                <a:gd name="connsiteY7265" fmla="*/ 7895811 h 17966907"/>
                <a:gd name="connsiteX7266" fmla="*/ 5322646 w 13797425"/>
                <a:gd name="connsiteY7266" fmla="*/ 7886281 h 17966907"/>
                <a:gd name="connsiteX7267" fmla="*/ 5317881 w 13797425"/>
                <a:gd name="connsiteY7267" fmla="*/ 7867221 h 17966907"/>
                <a:gd name="connsiteX7268" fmla="*/ 5336942 w 13797425"/>
                <a:gd name="connsiteY7268" fmla="*/ 7819569 h 17966907"/>
                <a:gd name="connsiteX7269" fmla="*/ 5360767 w 13797425"/>
                <a:gd name="connsiteY7269" fmla="*/ 7781448 h 17966907"/>
                <a:gd name="connsiteX7270" fmla="*/ 5370297 w 13797425"/>
                <a:gd name="connsiteY7270" fmla="*/ 7767153 h 17966907"/>
                <a:gd name="connsiteX7271" fmla="*/ 5413184 w 13797425"/>
                <a:gd name="connsiteY7271" fmla="*/ 7752858 h 17966907"/>
                <a:gd name="connsiteX7272" fmla="*/ 8529577 w 13797425"/>
                <a:gd name="connsiteY7272" fmla="*/ 7676616 h 17966907"/>
                <a:gd name="connsiteX7273" fmla="*/ 8598672 w 13797425"/>
                <a:gd name="connsiteY7273" fmla="*/ 7681381 h 17966907"/>
                <a:gd name="connsiteX7274" fmla="*/ 8727330 w 13797425"/>
                <a:gd name="connsiteY7274" fmla="*/ 7705207 h 17966907"/>
                <a:gd name="connsiteX7275" fmla="*/ 8746391 w 13797425"/>
                <a:gd name="connsiteY7275" fmla="*/ 7719502 h 17966907"/>
                <a:gd name="connsiteX7276" fmla="*/ 8746391 w 13797425"/>
                <a:gd name="connsiteY7276" fmla="*/ 7729032 h 17966907"/>
                <a:gd name="connsiteX7277" fmla="*/ 8755921 w 13797425"/>
                <a:gd name="connsiteY7277" fmla="*/ 7752858 h 17966907"/>
                <a:gd name="connsiteX7278" fmla="*/ 8751156 w 13797425"/>
                <a:gd name="connsiteY7278" fmla="*/ 7767153 h 17966907"/>
                <a:gd name="connsiteX7279" fmla="*/ 8713035 w 13797425"/>
                <a:gd name="connsiteY7279" fmla="*/ 7819570 h 17966907"/>
                <a:gd name="connsiteX7280" fmla="*/ 8670148 w 13797425"/>
                <a:gd name="connsiteY7280" fmla="*/ 7857691 h 17966907"/>
                <a:gd name="connsiteX7281" fmla="*/ 8641558 w 13797425"/>
                <a:gd name="connsiteY7281" fmla="*/ 7895812 h 17966907"/>
                <a:gd name="connsiteX7282" fmla="*/ 8589141 w 13797425"/>
                <a:gd name="connsiteY7282" fmla="*/ 7976819 h 17966907"/>
                <a:gd name="connsiteX7283" fmla="*/ 8574846 w 13797425"/>
                <a:gd name="connsiteY7283" fmla="*/ 8005410 h 17966907"/>
                <a:gd name="connsiteX7284" fmla="*/ 8515282 w 13797425"/>
                <a:gd name="connsiteY7284" fmla="*/ 8167424 h 17966907"/>
                <a:gd name="connsiteX7285" fmla="*/ 8500986 w 13797425"/>
                <a:gd name="connsiteY7285" fmla="*/ 8196015 h 17966907"/>
                <a:gd name="connsiteX7286" fmla="*/ 8491456 w 13797425"/>
                <a:gd name="connsiteY7286" fmla="*/ 8215075 h 17966907"/>
                <a:gd name="connsiteX7287" fmla="*/ 8486691 w 13797425"/>
                <a:gd name="connsiteY7287" fmla="*/ 8272257 h 17966907"/>
                <a:gd name="connsiteX7288" fmla="*/ 8491456 w 13797425"/>
                <a:gd name="connsiteY7288" fmla="*/ 8291318 h 17966907"/>
                <a:gd name="connsiteX7289" fmla="*/ 8500986 w 13797425"/>
                <a:gd name="connsiteY7289" fmla="*/ 8324673 h 17966907"/>
                <a:gd name="connsiteX7290" fmla="*/ 8534342 w 13797425"/>
                <a:gd name="connsiteY7290" fmla="*/ 8396150 h 17966907"/>
                <a:gd name="connsiteX7291" fmla="*/ 8543873 w 13797425"/>
                <a:gd name="connsiteY7291" fmla="*/ 8429506 h 17966907"/>
                <a:gd name="connsiteX7292" fmla="*/ 8539108 w 13797425"/>
                <a:gd name="connsiteY7292" fmla="*/ 8458097 h 17966907"/>
                <a:gd name="connsiteX7293" fmla="*/ 8539108 w 13797425"/>
                <a:gd name="connsiteY7293" fmla="*/ 8529574 h 17966907"/>
                <a:gd name="connsiteX7294" fmla="*/ 8539108 w 13797425"/>
                <a:gd name="connsiteY7294" fmla="*/ 8567695 h 17966907"/>
                <a:gd name="connsiteX7295" fmla="*/ 8539108 w 13797425"/>
                <a:gd name="connsiteY7295" fmla="*/ 8601051 h 17966907"/>
                <a:gd name="connsiteX7296" fmla="*/ 8543873 w 13797425"/>
                <a:gd name="connsiteY7296" fmla="*/ 8651085 h 17966907"/>
                <a:gd name="connsiteX7297" fmla="*/ 8558168 w 13797425"/>
                <a:gd name="connsiteY7297" fmla="*/ 8713031 h 17966907"/>
                <a:gd name="connsiteX7298" fmla="*/ 8584376 w 13797425"/>
                <a:gd name="connsiteY7298" fmla="*/ 8779743 h 17966907"/>
                <a:gd name="connsiteX7299" fmla="*/ 8627262 w 13797425"/>
                <a:gd name="connsiteY7299" fmla="*/ 8841690 h 17966907"/>
                <a:gd name="connsiteX7300" fmla="*/ 8660618 w 13797425"/>
                <a:gd name="connsiteY7300" fmla="*/ 8884576 h 17966907"/>
                <a:gd name="connsiteX7301" fmla="*/ 8693974 w 13797425"/>
                <a:gd name="connsiteY7301" fmla="*/ 8917932 h 17966907"/>
                <a:gd name="connsiteX7302" fmla="*/ 8732095 w 13797425"/>
                <a:gd name="connsiteY7302" fmla="*/ 8960818 h 17966907"/>
                <a:gd name="connsiteX7303" fmla="*/ 8741625 w 13797425"/>
                <a:gd name="connsiteY7303" fmla="*/ 8984644 h 17966907"/>
                <a:gd name="connsiteX7304" fmla="*/ 8722565 w 13797425"/>
                <a:gd name="connsiteY7304" fmla="*/ 9008469 h 17966907"/>
                <a:gd name="connsiteX7305" fmla="*/ 8684444 w 13797425"/>
                <a:gd name="connsiteY7305" fmla="*/ 9046590 h 17966907"/>
                <a:gd name="connsiteX7306" fmla="*/ 8627262 w 13797425"/>
                <a:gd name="connsiteY7306" fmla="*/ 9060886 h 17966907"/>
                <a:gd name="connsiteX7307" fmla="*/ 8598672 w 13797425"/>
                <a:gd name="connsiteY7307" fmla="*/ 9075181 h 17966907"/>
                <a:gd name="connsiteX7308" fmla="*/ 8562933 w 13797425"/>
                <a:gd name="connsiteY7308" fmla="*/ 9108537 h 17966907"/>
                <a:gd name="connsiteX7309" fmla="*/ 8520047 w 13797425"/>
                <a:gd name="connsiteY7309" fmla="*/ 9137128 h 17966907"/>
                <a:gd name="connsiteX7310" fmla="*/ 8500986 w 13797425"/>
                <a:gd name="connsiteY7310" fmla="*/ 9151423 h 17966907"/>
                <a:gd name="connsiteX7311" fmla="*/ 8505752 w 13797425"/>
                <a:gd name="connsiteY7311" fmla="*/ 9160953 h 17966907"/>
                <a:gd name="connsiteX7312" fmla="*/ 8543873 w 13797425"/>
                <a:gd name="connsiteY7312" fmla="*/ 9146658 h 17966907"/>
                <a:gd name="connsiteX7313" fmla="*/ 8572463 w 13797425"/>
                <a:gd name="connsiteY7313" fmla="*/ 9132362 h 17966907"/>
                <a:gd name="connsiteX7314" fmla="*/ 8617732 w 13797425"/>
                <a:gd name="connsiteY7314" fmla="*/ 9094242 h 17966907"/>
                <a:gd name="connsiteX7315" fmla="*/ 8646323 w 13797425"/>
                <a:gd name="connsiteY7315" fmla="*/ 9079946 h 17966907"/>
                <a:gd name="connsiteX7316" fmla="*/ 8732095 w 13797425"/>
                <a:gd name="connsiteY7316" fmla="*/ 9079946 h 17966907"/>
                <a:gd name="connsiteX7317" fmla="*/ 8746391 w 13797425"/>
                <a:gd name="connsiteY7317" fmla="*/ 9089476 h 17966907"/>
                <a:gd name="connsiteX7318" fmla="*/ 8736860 w 13797425"/>
                <a:gd name="connsiteY7318" fmla="*/ 9113302 h 17966907"/>
                <a:gd name="connsiteX7319" fmla="*/ 8736860 w 13797425"/>
                <a:gd name="connsiteY7319" fmla="*/ 9118067 h 17966907"/>
                <a:gd name="connsiteX7320" fmla="*/ 8736860 w 13797425"/>
                <a:gd name="connsiteY7320" fmla="*/ 9127597 h 17966907"/>
                <a:gd name="connsiteX7321" fmla="*/ 8746391 w 13797425"/>
                <a:gd name="connsiteY7321" fmla="*/ 9141893 h 17966907"/>
                <a:gd name="connsiteX7322" fmla="*/ 8765451 w 13797425"/>
                <a:gd name="connsiteY7322" fmla="*/ 9156188 h 17966907"/>
                <a:gd name="connsiteX7323" fmla="*/ 8774981 w 13797425"/>
                <a:gd name="connsiteY7323" fmla="*/ 9141893 h 17966907"/>
                <a:gd name="connsiteX7324" fmla="*/ 8779746 w 13797425"/>
                <a:gd name="connsiteY7324" fmla="*/ 9108537 h 17966907"/>
                <a:gd name="connsiteX7325" fmla="*/ 8789277 w 13797425"/>
                <a:gd name="connsiteY7325" fmla="*/ 8979878 h 17966907"/>
                <a:gd name="connsiteX7326" fmla="*/ 8798807 w 13797425"/>
                <a:gd name="connsiteY7326" fmla="*/ 8941757 h 17966907"/>
                <a:gd name="connsiteX7327" fmla="*/ 8798807 w 13797425"/>
                <a:gd name="connsiteY7327" fmla="*/ 8903636 h 17966907"/>
                <a:gd name="connsiteX7328" fmla="*/ 8798807 w 13797425"/>
                <a:gd name="connsiteY7328" fmla="*/ 8870280 h 17966907"/>
                <a:gd name="connsiteX7329" fmla="*/ 8794042 w 13797425"/>
                <a:gd name="connsiteY7329" fmla="*/ 8846455 h 17966907"/>
                <a:gd name="connsiteX7330" fmla="*/ 8770216 w 13797425"/>
                <a:gd name="connsiteY7330" fmla="*/ 8832160 h 17966907"/>
                <a:gd name="connsiteX7331" fmla="*/ 8741625 w 13797425"/>
                <a:gd name="connsiteY7331" fmla="*/ 8836925 h 17966907"/>
                <a:gd name="connsiteX7332" fmla="*/ 8727330 w 13797425"/>
                <a:gd name="connsiteY7332" fmla="*/ 8832160 h 17966907"/>
                <a:gd name="connsiteX7333" fmla="*/ 8708270 w 13797425"/>
                <a:gd name="connsiteY7333" fmla="*/ 8827394 h 17966907"/>
                <a:gd name="connsiteX7334" fmla="*/ 8693974 w 13797425"/>
                <a:gd name="connsiteY7334" fmla="*/ 8813099 h 17966907"/>
                <a:gd name="connsiteX7335" fmla="*/ 8684444 w 13797425"/>
                <a:gd name="connsiteY7335" fmla="*/ 8798804 h 17966907"/>
                <a:gd name="connsiteX7336" fmla="*/ 8665383 w 13797425"/>
                <a:gd name="connsiteY7336" fmla="*/ 8755917 h 17966907"/>
                <a:gd name="connsiteX7337" fmla="*/ 8651088 w 13797425"/>
                <a:gd name="connsiteY7337" fmla="*/ 8732092 h 17966907"/>
                <a:gd name="connsiteX7338" fmla="*/ 8617732 w 13797425"/>
                <a:gd name="connsiteY7338" fmla="*/ 8684440 h 17966907"/>
                <a:gd name="connsiteX7339" fmla="*/ 8603437 w 13797425"/>
                <a:gd name="connsiteY7339" fmla="*/ 8670145 h 17966907"/>
                <a:gd name="connsiteX7340" fmla="*/ 8612967 w 13797425"/>
                <a:gd name="connsiteY7340" fmla="*/ 8651085 h 17966907"/>
                <a:gd name="connsiteX7341" fmla="*/ 8641558 w 13797425"/>
                <a:gd name="connsiteY7341" fmla="*/ 8632024 h 17966907"/>
                <a:gd name="connsiteX7342" fmla="*/ 8660618 w 13797425"/>
                <a:gd name="connsiteY7342" fmla="*/ 8615346 h 17966907"/>
                <a:gd name="connsiteX7343" fmla="*/ 8684444 w 13797425"/>
                <a:gd name="connsiteY7343" fmla="*/ 8558165 h 17966907"/>
                <a:gd name="connsiteX7344" fmla="*/ 8693974 w 13797425"/>
                <a:gd name="connsiteY7344" fmla="*/ 8548634 h 17966907"/>
                <a:gd name="connsiteX7345" fmla="*/ 8741625 w 13797425"/>
                <a:gd name="connsiteY7345" fmla="*/ 8553400 h 17966907"/>
                <a:gd name="connsiteX7346" fmla="*/ 8808337 w 13797425"/>
                <a:gd name="connsiteY7346" fmla="*/ 8601051 h 17966907"/>
                <a:gd name="connsiteX7347" fmla="*/ 8846458 w 13797425"/>
                <a:gd name="connsiteY7347" fmla="*/ 8636789 h 17966907"/>
                <a:gd name="connsiteX7348" fmla="*/ 8855988 w 13797425"/>
                <a:gd name="connsiteY7348" fmla="*/ 8641554 h 17966907"/>
                <a:gd name="connsiteX7349" fmla="*/ 8855988 w 13797425"/>
                <a:gd name="connsiteY7349" fmla="*/ 8632024 h 17966907"/>
                <a:gd name="connsiteX7350" fmla="*/ 8846458 w 13797425"/>
                <a:gd name="connsiteY7350" fmla="*/ 8615346 h 17966907"/>
                <a:gd name="connsiteX7351" fmla="*/ 8803572 w 13797425"/>
                <a:gd name="connsiteY7351" fmla="*/ 8567695 h 17966907"/>
                <a:gd name="connsiteX7352" fmla="*/ 8779746 w 13797425"/>
                <a:gd name="connsiteY7352" fmla="*/ 8534339 h 17966907"/>
                <a:gd name="connsiteX7353" fmla="*/ 8770216 w 13797425"/>
                <a:gd name="connsiteY7353" fmla="*/ 8510513 h 17966907"/>
                <a:gd name="connsiteX7354" fmla="*/ 8774981 w 13797425"/>
                <a:gd name="connsiteY7354" fmla="*/ 8496218 h 17966907"/>
                <a:gd name="connsiteX7355" fmla="*/ 8798807 w 13797425"/>
                <a:gd name="connsiteY7355" fmla="*/ 8486688 h 17966907"/>
                <a:gd name="connsiteX7356" fmla="*/ 8803572 w 13797425"/>
                <a:gd name="connsiteY7356" fmla="*/ 8472392 h 17966907"/>
                <a:gd name="connsiteX7357" fmla="*/ 8770216 w 13797425"/>
                <a:gd name="connsiteY7357" fmla="*/ 8458097 h 17966907"/>
                <a:gd name="connsiteX7358" fmla="*/ 8751156 w 13797425"/>
                <a:gd name="connsiteY7358" fmla="*/ 8458097 h 17966907"/>
                <a:gd name="connsiteX7359" fmla="*/ 8736860 w 13797425"/>
                <a:gd name="connsiteY7359" fmla="*/ 8467627 h 17966907"/>
                <a:gd name="connsiteX7360" fmla="*/ 8722565 w 13797425"/>
                <a:gd name="connsiteY7360" fmla="*/ 8467627 h 17966907"/>
                <a:gd name="connsiteX7361" fmla="*/ 8693974 w 13797425"/>
                <a:gd name="connsiteY7361" fmla="*/ 8448567 h 17966907"/>
                <a:gd name="connsiteX7362" fmla="*/ 8684444 w 13797425"/>
                <a:gd name="connsiteY7362" fmla="*/ 8439036 h 17966907"/>
                <a:gd name="connsiteX7363" fmla="*/ 8665383 w 13797425"/>
                <a:gd name="connsiteY7363" fmla="*/ 8405681 h 17966907"/>
                <a:gd name="connsiteX7364" fmla="*/ 8660618 w 13797425"/>
                <a:gd name="connsiteY7364" fmla="*/ 8372325 h 17966907"/>
                <a:gd name="connsiteX7365" fmla="*/ 8651088 w 13797425"/>
                <a:gd name="connsiteY7365" fmla="*/ 8353264 h 17966907"/>
                <a:gd name="connsiteX7366" fmla="*/ 8646323 w 13797425"/>
                <a:gd name="connsiteY7366" fmla="*/ 8338969 h 17966907"/>
                <a:gd name="connsiteX7367" fmla="*/ 8646323 w 13797425"/>
                <a:gd name="connsiteY7367" fmla="*/ 8291318 h 17966907"/>
                <a:gd name="connsiteX7368" fmla="*/ 8646323 w 13797425"/>
                <a:gd name="connsiteY7368" fmla="*/ 8267492 h 17966907"/>
                <a:gd name="connsiteX7369" fmla="*/ 8646323 w 13797425"/>
                <a:gd name="connsiteY7369" fmla="*/ 8243666 h 17966907"/>
                <a:gd name="connsiteX7370" fmla="*/ 8655853 w 13797425"/>
                <a:gd name="connsiteY7370" fmla="*/ 8219841 h 17966907"/>
                <a:gd name="connsiteX7371" fmla="*/ 8674914 w 13797425"/>
                <a:gd name="connsiteY7371" fmla="*/ 8186485 h 17966907"/>
                <a:gd name="connsiteX7372" fmla="*/ 8684444 w 13797425"/>
                <a:gd name="connsiteY7372" fmla="*/ 8176954 h 17966907"/>
                <a:gd name="connsiteX7373" fmla="*/ 8703504 w 13797425"/>
                <a:gd name="connsiteY7373" fmla="*/ 8172189 h 17966907"/>
                <a:gd name="connsiteX7374" fmla="*/ 8746391 w 13797425"/>
                <a:gd name="connsiteY7374" fmla="*/ 8186485 h 17966907"/>
                <a:gd name="connsiteX7375" fmla="*/ 8860754 w 13797425"/>
                <a:gd name="connsiteY7375" fmla="*/ 8253196 h 17966907"/>
                <a:gd name="connsiteX7376" fmla="*/ 8860754 w 13797425"/>
                <a:gd name="connsiteY7376" fmla="*/ 8234136 h 17966907"/>
                <a:gd name="connsiteX7377" fmla="*/ 8732095 w 13797425"/>
                <a:gd name="connsiteY7377" fmla="*/ 8143599 h 17966907"/>
                <a:gd name="connsiteX7378" fmla="*/ 8684444 w 13797425"/>
                <a:gd name="connsiteY7378" fmla="*/ 8119773 h 17966907"/>
                <a:gd name="connsiteX7379" fmla="*/ 8674914 w 13797425"/>
                <a:gd name="connsiteY7379" fmla="*/ 8091182 h 17966907"/>
                <a:gd name="connsiteX7380" fmla="*/ 8741625 w 13797425"/>
                <a:gd name="connsiteY7380" fmla="*/ 7962524 h 17966907"/>
                <a:gd name="connsiteX7381" fmla="*/ 8803572 w 13797425"/>
                <a:gd name="connsiteY7381" fmla="*/ 7933933 h 17966907"/>
                <a:gd name="connsiteX7382" fmla="*/ 8836928 w 13797425"/>
                <a:gd name="connsiteY7382" fmla="*/ 7900577 h 17966907"/>
                <a:gd name="connsiteX7383" fmla="*/ 8889344 w 13797425"/>
                <a:gd name="connsiteY7383" fmla="*/ 7895812 h 17966907"/>
                <a:gd name="connsiteX7384" fmla="*/ 8936996 w 13797425"/>
                <a:gd name="connsiteY7384" fmla="*/ 7919638 h 17966907"/>
                <a:gd name="connsiteX7385" fmla="*/ 8936996 w 13797425"/>
                <a:gd name="connsiteY7385" fmla="*/ 7914872 h 17966907"/>
                <a:gd name="connsiteX7386" fmla="*/ 8913170 w 13797425"/>
                <a:gd name="connsiteY7386" fmla="*/ 7871986 h 17966907"/>
                <a:gd name="connsiteX7387" fmla="*/ 8917935 w 13797425"/>
                <a:gd name="connsiteY7387" fmla="*/ 7857691 h 17966907"/>
                <a:gd name="connsiteX7388" fmla="*/ 8946526 w 13797425"/>
                <a:gd name="connsiteY7388" fmla="*/ 7833865 h 17966907"/>
                <a:gd name="connsiteX7389" fmla="*/ 8994177 w 13797425"/>
                <a:gd name="connsiteY7389" fmla="*/ 7800509 h 17966907"/>
                <a:gd name="connsiteX7390" fmla="*/ 9056124 w 13797425"/>
                <a:gd name="connsiteY7390" fmla="*/ 7776684 h 17966907"/>
                <a:gd name="connsiteX7391" fmla="*/ 9065654 w 13797425"/>
                <a:gd name="connsiteY7391" fmla="*/ 7767153 h 17966907"/>
                <a:gd name="connsiteX7392" fmla="*/ 9084715 w 13797425"/>
                <a:gd name="connsiteY7392" fmla="*/ 7757623 h 17966907"/>
                <a:gd name="connsiteX7393" fmla="*/ 9113305 w 13797425"/>
                <a:gd name="connsiteY7393" fmla="*/ 7748093 h 17966907"/>
                <a:gd name="connsiteX7394" fmla="*/ 9184782 w 13797425"/>
                <a:gd name="connsiteY7394" fmla="*/ 7743328 h 17966907"/>
                <a:gd name="connsiteX7395" fmla="*/ 9222903 w 13797425"/>
                <a:gd name="connsiteY7395" fmla="*/ 7748093 h 17966907"/>
                <a:gd name="connsiteX7396" fmla="*/ 9275320 w 13797425"/>
                <a:gd name="connsiteY7396" fmla="*/ 7767153 h 17966907"/>
                <a:gd name="connsiteX7397" fmla="*/ 9308676 w 13797425"/>
                <a:gd name="connsiteY7397" fmla="*/ 7800509 h 17966907"/>
                <a:gd name="connsiteX7398" fmla="*/ 9318206 w 13797425"/>
                <a:gd name="connsiteY7398" fmla="*/ 7819570 h 17966907"/>
                <a:gd name="connsiteX7399" fmla="*/ 9332501 w 13797425"/>
                <a:gd name="connsiteY7399" fmla="*/ 7886282 h 17966907"/>
                <a:gd name="connsiteX7400" fmla="*/ 9346797 w 13797425"/>
                <a:gd name="connsiteY7400" fmla="*/ 7976819 h 17966907"/>
                <a:gd name="connsiteX7401" fmla="*/ 9365857 w 13797425"/>
                <a:gd name="connsiteY7401" fmla="*/ 8014940 h 17966907"/>
                <a:gd name="connsiteX7402" fmla="*/ 9399213 w 13797425"/>
                <a:gd name="connsiteY7402" fmla="*/ 8034001 h 17966907"/>
                <a:gd name="connsiteX7403" fmla="*/ 9418274 w 13797425"/>
                <a:gd name="connsiteY7403" fmla="*/ 8057826 h 17966907"/>
                <a:gd name="connsiteX7404" fmla="*/ 9432569 w 13797425"/>
                <a:gd name="connsiteY7404" fmla="*/ 8081652 h 17966907"/>
                <a:gd name="connsiteX7405" fmla="*/ 9437334 w 13797425"/>
                <a:gd name="connsiteY7405" fmla="*/ 8110243 h 17966907"/>
                <a:gd name="connsiteX7406" fmla="*/ 9427804 w 13797425"/>
                <a:gd name="connsiteY7406" fmla="*/ 8148364 h 17966907"/>
                <a:gd name="connsiteX7407" fmla="*/ 9432569 w 13797425"/>
                <a:gd name="connsiteY7407" fmla="*/ 8186485 h 17966907"/>
                <a:gd name="connsiteX7408" fmla="*/ 9446864 w 13797425"/>
                <a:gd name="connsiteY7408" fmla="*/ 8219841 h 17966907"/>
                <a:gd name="connsiteX7409" fmla="*/ 9461160 w 13797425"/>
                <a:gd name="connsiteY7409" fmla="*/ 8243666 h 17966907"/>
                <a:gd name="connsiteX7410" fmla="*/ 9484985 w 13797425"/>
                <a:gd name="connsiteY7410" fmla="*/ 8267492 h 17966907"/>
                <a:gd name="connsiteX7411" fmla="*/ 9484985 w 13797425"/>
                <a:gd name="connsiteY7411" fmla="*/ 8281787 h 17966907"/>
                <a:gd name="connsiteX7412" fmla="*/ 9475455 w 13797425"/>
                <a:gd name="connsiteY7412" fmla="*/ 8296083 h 17966907"/>
                <a:gd name="connsiteX7413" fmla="*/ 9461160 w 13797425"/>
                <a:gd name="connsiteY7413" fmla="*/ 8315143 h 17966907"/>
                <a:gd name="connsiteX7414" fmla="*/ 9423039 w 13797425"/>
                <a:gd name="connsiteY7414" fmla="*/ 8377090 h 17966907"/>
                <a:gd name="connsiteX7415" fmla="*/ 9370622 w 13797425"/>
                <a:gd name="connsiteY7415" fmla="*/ 8448567 h 17966907"/>
                <a:gd name="connsiteX7416" fmla="*/ 9337266 w 13797425"/>
                <a:gd name="connsiteY7416" fmla="*/ 8505748 h 17966907"/>
                <a:gd name="connsiteX7417" fmla="*/ 9332501 w 13797425"/>
                <a:gd name="connsiteY7417" fmla="*/ 8524809 h 17966907"/>
                <a:gd name="connsiteX7418" fmla="*/ 9408743 w 13797425"/>
                <a:gd name="connsiteY7418" fmla="*/ 8429506 h 17966907"/>
                <a:gd name="connsiteX7419" fmla="*/ 9432569 w 13797425"/>
                <a:gd name="connsiteY7419" fmla="*/ 8434271 h 17966907"/>
                <a:gd name="connsiteX7420" fmla="*/ 9432569 w 13797425"/>
                <a:gd name="connsiteY7420" fmla="*/ 8448567 h 17966907"/>
                <a:gd name="connsiteX7421" fmla="*/ 9418274 w 13797425"/>
                <a:gd name="connsiteY7421" fmla="*/ 8491453 h 17966907"/>
                <a:gd name="connsiteX7422" fmla="*/ 9399213 w 13797425"/>
                <a:gd name="connsiteY7422" fmla="*/ 8534339 h 17966907"/>
                <a:gd name="connsiteX7423" fmla="*/ 9380153 w 13797425"/>
                <a:gd name="connsiteY7423" fmla="*/ 8558165 h 17966907"/>
                <a:gd name="connsiteX7424" fmla="*/ 9384918 w 13797425"/>
                <a:gd name="connsiteY7424" fmla="*/ 8567695 h 17966907"/>
                <a:gd name="connsiteX7425" fmla="*/ 9418274 w 13797425"/>
                <a:gd name="connsiteY7425" fmla="*/ 8610581 h 17966907"/>
                <a:gd name="connsiteX7426" fmla="*/ 9413508 w 13797425"/>
                <a:gd name="connsiteY7426" fmla="*/ 8620111 h 17966907"/>
                <a:gd name="connsiteX7427" fmla="*/ 9394448 w 13797425"/>
                <a:gd name="connsiteY7427" fmla="*/ 8615346 h 17966907"/>
                <a:gd name="connsiteX7428" fmla="*/ 9389683 w 13797425"/>
                <a:gd name="connsiteY7428" fmla="*/ 8620111 h 17966907"/>
                <a:gd name="connsiteX7429" fmla="*/ 9384918 w 13797425"/>
                <a:gd name="connsiteY7429" fmla="*/ 8627259 h 17966907"/>
                <a:gd name="connsiteX7430" fmla="*/ 9380153 w 13797425"/>
                <a:gd name="connsiteY7430" fmla="*/ 8636789 h 17966907"/>
                <a:gd name="connsiteX7431" fmla="*/ 9380153 w 13797425"/>
                <a:gd name="connsiteY7431" fmla="*/ 8655850 h 17966907"/>
                <a:gd name="connsiteX7432" fmla="*/ 9380153 w 13797425"/>
                <a:gd name="connsiteY7432" fmla="*/ 8679675 h 17966907"/>
                <a:gd name="connsiteX7433" fmla="*/ 9380153 w 13797425"/>
                <a:gd name="connsiteY7433" fmla="*/ 8693971 h 17966907"/>
                <a:gd name="connsiteX7434" fmla="*/ 9380153 w 13797425"/>
                <a:gd name="connsiteY7434" fmla="*/ 8703501 h 17966907"/>
                <a:gd name="connsiteX7435" fmla="*/ 9380153 w 13797425"/>
                <a:gd name="connsiteY7435" fmla="*/ 8708266 h 17966907"/>
                <a:gd name="connsiteX7436" fmla="*/ 9394448 w 13797425"/>
                <a:gd name="connsiteY7436" fmla="*/ 8708266 h 17966907"/>
                <a:gd name="connsiteX7437" fmla="*/ 9399213 w 13797425"/>
                <a:gd name="connsiteY7437" fmla="*/ 8698736 h 17966907"/>
                <a:gd name="connsiteX7438" fmla="*/ 9418274 w 13797425"/>
                <a:gd name="connsiteY7438" fmla="*/ 8670145 h 17966907"/>
                <a:gd name="connsiteX7439" fmla="*/ 9465925 w 13797425"/>
                <a:gd name="connsiteY7439" fmla="*/ 8591520 h 17966907"/>
                <a:gd name="connsiteX7440" fmla="*/ 9499281 w 13797425"/>
                <a:gd name="connsiteY7440" fmla="*/ 8558165 h 17966907"/>
                <a:gd name="connsiteX7441" fmla="*/ 9508811 w 13797425"/>
                <a:gd name="connsiteY7441" fmla="*/ 8558165 h 17966907"/>
                <a:gd name="connsiteX7442" fmla="*/ 9537402 w 13797425"/>
                <a:gd name="connsiteY7442" fmla="*/ 8577225 h 17966907"/>
                <a:gd name="connsiteX7443" fmla="*/ 9546932 w 13797425"/>
                <a:gd name="connsiteY7443" fmla="*/ 8577225 h 17966907"/>
                <a:gd name="connsiteX7444" fmla="*/ 9513576 w 13797425"/>
                <a:gd name="connsiteY7444" fmla="*/ 8510513 h 17966907"/>
                <a:gd name="connsiteX7445" fmla="*/ 9508811 w 13797425"/>
                <a:gd name="connsiteY7445" fmla="*/ 8496218 h 17966907"/>
                <a:gd name="connsiteX7446" fmla="*/ 9518341 w 13797425"/>
                <a:gd name="connsiteY7446" fmla="*/ 8472392 h 17966907"/>
                <a:gd name="connsiteX7447" fmla="*/ 9518341 w 13797425"/>
                <a:gd name="connsiteY7447" fmla="*/ 8462862 h 17966907"/>
                <a:gd name="connsiteX7448" fmla="*/ 9537402 w 13797425"/>
                <a:gd name="connsiteY7448" fmla="*/ 8443802 h 17966907"/>
                <a:gd name="connsiteX7449" fmla="*/ 9551697 w 13797425"/>
                <a:gd name="connsiteY7449" fmla="*/ 8439036 h 17966907"/>
                <a:gd name="connsiteX7450" fmla="*/ 9561228 w 13797425"/>
                <a:gd name="connsiteY7450" fmla="*/ 8439036 h 17966907"/>
                <a:gd name="connsiteX7451" fmla="*/ 9575523 w 13797425"/>
                <a:gd name="connsiteY7451" fmla="*/ 8472392 h 17966907"/>
                <a:gd name="connsiteX7452" fmla="*/ 9580288 w 13797425"/>
                <a:gd name="connsiteY7452" fmla="*/ 8496218 h 17966907"/>
                <a:gd name="connsiteX7453" fmla="*/ 9589818 w 13797425"/>
                <a:gd name="connsiteY7453" fmla="*/ 8505748 h 17966907"/>
                <a:gd name="connsiteX7454" fmla="*/ 9618409 w 13797425"/>
                <a:gd name="connsiteY7454" fmla="*/ 8491453 h 17966907"/>
                <a:gd name="connsiteX7455" fmla="*/ 9632704 w 13797425"/>
                <a:gd name="connsiteY7455" fmla="*/ 8467627 h 17966907"/>
                <a:gd name="connsiteX7456" fmla="*/ 9651765 w 13797425"/>
                <a:gd name="connsiteY7456" fmla="*/ 8481923 h 17966907"/>
                <a:gd name="connsiteX7457" fmla="*/ 9680356 w 13797425"/>
                <a:gd name="connsiteY7457" fmla="*/ 8524809 h 17966907"/>
                <a:gd name="connsiteX7458" fmla="*/ 9680356 w 13797425"/>
                <a:gd name="connsiteY7458" fmla="*/ 8567695 h 17966907"/>
                <a:gd name="connsiteX7459" fmla="*/ 9680356 w 13797425"/>
                <a:gd name="connsiteY7459" fmla="*/ 8610581 h 17966907"/>
                <a:gd name="connsiteX7460" fmla="*/ 9680356 w 13797425"/>
                <a:gd name="connsiteY7460" fmla="*/ 8641554 h 17966907"/>
                <a:gd name="connsiteX7461" fmla="*/ 9718477 w 13797425"/>
                <a:gd name="connsiteY7461" fmla="*/ 8698736 h 17966907"/>
                <a:gd name="connsiteX7462" fmla="*/ 9742302 w 13797425"/>
                <a:gd name="connsiteY7462" fmla="*/ 8722562 h 17966907"/>
                <a:gd name="connsiteX7463" fmla="*/ 9747067 w 13797425"/>
                <a:gd name="connsiteY7463" fmla="*/ 8722562 h 17966907"/>
                <a:gd name="connsiteX7464" fmla="*/ 9747067 w 13797425"/>
                <a:gd name="connsiteY7464" fmla="*/ 8713031 h 17966907"/>
                <a:gd name="connsiteX7465" fmla="*/ 9742302 w 13797425"/>
                <a:gd name="connsiteY7465" fmla="*/ 8693971 h 17966907"/>
                <a:gd name="connsiteX7466" fmla="*/ 9728007 w 13797425"/>
                <a:gd name="connsiteY7466" fmla="*/ 8674910 h 17966907"/>
                <a:gd name="connsiteX7467" fmla="*/ 9713712 w 13797425"/>
                <a:gd name="connsiteY7467" fmla="*/ 8646320 h 17966907"/>
                <a:gd name="connsiteX7468" fmla="*/ 9704181 w 13797425"/>
                <a:gd name="connsiteY7468" fmla="*/ 8615346 h 17966907"/>
                <a:gd name="connsiteX7469" fmla="*/ 9708946 w 13797425"/>
                <a:gd name="connsiteY7469" fmla="*/ 8529574 h 17966907"/>
                <a:gd name="connsiteX7470" fmla="*/ 9728007 w 13797425"/>
                <a:gd name="connsiteY7470" fmla="*/ 8486688 h 17966907"/>
                <a:gd name="connsiteX7471" fmla="*/ 9747067 w 13797425"/>
                <a:gd name="connsiteY7471" fmla="*/ 8496218 h 17966907"/>
                <a:gd name="connsiteX7472" fmla="*/ 9770893 w 13797425"/>
                <a:gd name="connsiteY7472" fmla="*/ 8524809 h 17966907"/>
                <a:gd name="connsiteX7473" fmla="*/ 9789954 w 13797425"/>
                <a:gd name="connsiteY7473" fmla="*/ 8524809 h 17966907"/>
                <a:gd name="connsiteX7474" fmla="*/ 9818544 w 13797425"/>
                <a:gd name="connsiteY7474" fmla="*/ 8520044 h 17966907"/>
                <a:gd name="connsiteX7475" fmla="*/ 9880491 w 13797425"/>
                <a:gd name="connsiteY7475" fmla="*/ 8572460 h 17966907"/>
                <a:gd name="connsiteX7476" fmla="*/ 9913847 w 13797425"/>
                <a:gd name="connsiteY7476" fmla="*/ 8577225 h 17966907"/>
                <a:gd name="connsiteX7477" fmla="*/ 9913847 w 13797425"/>
                <a:gd name="connsiteY7477" fmla="*/ 8553400 h 17966907"/>
                <a:gd name="connsiteX7478" fmla="*/ 9885256 w 13797425"/>
                <a:gd name="connsiteY7478" fmla="*/ 8543869 h 17966907"/>
                <a:gd name="connsiteX7479" fmla="*/ 9851900 w 13797425"/>
                <a:gd name="connsiteY7479" fmla="*/ 8515278 h 17966907"/>
                <a:gd name="connsiteX7480" fmla="*/ 9794719 w 13797425"/>
                <a:gd name="connsiteY7480" fmla="*/ 8481923 h 17966907"/>
                <a:gd name="connsiteX7481" fmla="*/ 9770893 w 13797425"/>
                <a:gd name="connsiteY7481" fmla="*/ 8443802 h 17966907"/>
                <a:gd name="connsiteX7482" fmla="*/ 9766128 w 13797425"/>
                <a:gd name="connsiteY7482" fmla="*/ 8424741 h 17966907"/>
                <a:gd name="connsiteX7483" fmla="*/ 9766128 w 13797425"/>
                <a:gd name="connsiteY7483" fmla="*/ 8405681 h 17966907"/>
                <a:gd name="connsiteX7484" fmla="*/ 9766128 w 13797425"/>
                <a:gd name="connsiteY7484" fmla="*/ 8386620 h 17966907"/>
                <a:gd name="connsiteX7485" fmla="*/ 9770893 w 13797425"/>
                <a:gd name="connsiteY7485" fmla="*/ 8372325 h 17966907"/>
                <a:gd name="connsiteX7486" fmla="*/ 9785188 w 13797425"/>
                <a:gd name="connsiteY7486" fmla="*/ 8358029 h 17966907"/>
                <a:gd name="connsiteX7487" fmla="*/ 9837605 w 13797425"/>
                <a:gd name="connsiteY7487" fmla="*/ 8310378 h 17966907"/>
                <a:gd name="connsiteX7488" fmla="*/ 9875726 w 13797425"/>
                <a:gd name="connsiteY7488" fmla="*/ 8291318 h 17966907"/>
                <a:gd name="connsiteX7489" fmla="*/ 9909082 w 13797425"/>
                <a:gd name="connsiteY7489" fmla="*/ 8286552 h 17966907"/>
                <a:gd name="connsiteX7490" fmla="*/ 9956733 w 13797425"/>
                <a:gd name="connsiteY7490" fmla="*/ 8286552 h 17966907"/>
                <a:gd name="connsiteX7491" fmla="*/ 10013915 w 13797425"/>
                <a:gd name="connsiteY7491" fmla="*/ 8296083 h 17966907"/>
                <a:gd name="connsiteX7492" fmla="*/ 10042505 w 13797425"/>
                <a:gd name="connsiteY7492" fmla="*/ 8305613 h 17966907"/>
                <a:gd name="connsiteX7493" fmla="*/ 10075861 w 13797425"/>
                <a:gd name="connsiteY7493" fmla="*/ 8338969 h 17966907"/>
                <a:gd name="connsiteX7494" fmla="*/ 10123512 w 13797425"/>
                <a:gd name="connsiteY7494" fmla="*/ 8372325 h 17966907"/>
                <a:gd name="connsiteX7495" fmla="*/ 10137808 w 13797425"/>
                <a:gd name="connsiteY7495" fmla="*/ 8377090 h 17966907"/>
                <a:gd name="connsiteX7496" fmla="*/ 10156868 w 13797425"/>
                <a:gd name="connsiteY7496" fmla="*/ 8377090 h 17966907"/>
                <a:gd name="connsiteX7497" fmla="*/ 10175929 w 13797425"/>
                <a:gd name="connsiteY7497" fmla="*/ 8367560 h 17966907"/>
                <a:gd name="connsiteX7498" fmla="*/ 10199753 w 13797425"/>
                <a:gd name="connsiteY7498" fmla="*/ 8372325 h 17966907"/>
                <a:gd name="connsiteX7499" fmla="*/ 10261701 w 13797425"/>
                <a:gd name="connsiteY7499" fmla="*/ 8419976 h 17966907"/>
                <a:gd name="connsiteX7500" fmla="*/ 10280761 w 13797425"/>
                <a:gd name="connsiteY7500" fmla="*/ 8443802 h 17966907"/>
                <a:gd name="connsiteX7501" fmla="*/ 10290293 w 13797425"/>
                <a:gd name="connsiteY7501" fmla="*/ 8472392 h 17966907"/>
                <a:gd name="connsiteX7502" fmla="*/ 10295057 w 13797425"/>
                <a:gd name="connsiteY7502" fmla="*/ 8500983 h 17966907"/>
                <a:gd name="connsiteX7503" fmla="*/ 10299821 w 13797425"/>
                <a:gd name="connsiteY7503" fmla="*/ 8529574 h 17966907"/>
                <a:gd name="connsiteX7504" fmla="*/ 10299821 w 13797425"/>
                <a:gd name="connsiteY7504" fmla="*/ 8548634 h 17966907"/>
                <a:gd name="connsiteX7505" fmla="*/ 10247405 w 13797425"/>
                <a:gd name="connsiteY7505" fmla="*/ 8641554 h 17966907"/>
                <a:gd name="connsiteX7506" fmla="*/ 10223581 w 13797425"/>
                <a:gd name="connsiteY7506" fmla="*/ 8660615 h 17966907"/>
                <a:gd name="connsiteX7507" fmla="*/ 10209285 w 13797425"/>
                <a:gd name="connsiteY7507" fmla="*/ 8693971 h 17966907"/>
                <a:gd name="connsiteX7508" fmla="*/ 10185461 w 13797425"/>
                <a:gd name="connsiteY7508" fmla="*/ 8760683 h 17966907"/>
                <a:gd name="connsiteX7509" fmla="*/ 10166399 w 13797425"/>
                <a:gd name="connsiteY7509" fmla="*/ 8798804 h 17966907"/>
                <a:gd name="connsiteX7510" fmla="*/ 10161634 w 13797425"/>
                <a:gd name="connsiteY7510" fmla="*/ 8803569 h 17966907"/>
                <a:gd name="connsiteX7511" fmla="*/ 10166399 w 13797425"/>
                <a:gd name="connsiteY7511" fmla="*/ 8808334 h 17966907"/>
                <a:gd name="connsiteX7512" fmla="*/ 10180693 w 13797425"/>
                <a:gd name="connsiteY7512" fmla="*/ 8789273 h 17966907"/>
                <a:gd name="connsiteX7513" fmla="*/ 10199753 w 13797425"/>
                <a:gd name="connsiteY7513" fmla="*/ 8746387 h 17966907"/>
                <a:gd name="connsiteX7514" fmla="*/ 10214049 w 13797425"/>
                <a:gd name="connsiteY7514" fmla="*/ 8703501 h 17966907"/>
                <a:gd name="connsiteX7515" fmla="*/ 10242641 w 13797425"/>
                <a:gd name="connsiteY7515" fmla="*/ 8670145 h 17966907"/>
                <a:gd name="connsiteX7516" fmla="*/ 10285529 w 13797425"/>
                <a:gd name="connsiteY7516" fmla="*/ 8632024 h 17966907"/>
                <a:gd name="connsiteX7517" fmla="*/ 10323649 w 13797425"/>
                <a:gd name="connsiteY7517" fmla="*/ 8615346 h 17966907"/>
                <a:gd name="connsiteX7518" fmla="*/ 10357005 w 13797425"/>
                <a:gd name="connsiteY7518" fmla="*/ 8615346 h 17966907"/>
                <a:gd name="connsiteX7519" fmla="*/ 10380829 w 13797425"/>
                <a:gd name="connsiteY7519" fmla="*/ 8620111 h 17966907"/>
                <a:gd name="connsiteX7520" fmla="*/ 10404657 w 13797425"/>
                <a:gd name="connsiteY7520" fmla="*/ 8627259 h 17966907"/>
                <a:gd name="connsiteX7521" fmla="*/ 10418949 w 13797425"/>
                <a:gd name="connsiteY7521" fmla="*/ 8636789 h 17966907"/>
                <a:gd name="connsiteX7522" fmla="*/ 10423717 w 13797425"/>
                <a:gd name="connsiteY7522" fmla="*/ 8646320 h 17966907"/>
                <a:gd name="connsiteX7523" fmla="*/ 10433245 w 13797425"/>
                <a:gd name="connsiteY7523" fmla="*/ 8674910 h 17966907"/>
                <a:gd name="connsiteX7524" fmla="*/ 10433245 w 13797425"/>
                <a:gd name="connsiteY7524" fmla="*/ 8693971 h 17966907"/>
                <a:gd name="connsiteX7525" fmla="*/ 10423717 w 13797425"/>
                <a:gd name="connsiteY7525" fmla="*/ 8717796 h 17966907"/>
                <a:gd name="connsiteX7526" fmla="*/ 10414185 w 13797425"/>
                <a:gd name="connsiteY7526" fmla="*/ 8741622 h 17966907"/>
                <a:gd name="connsiteX7527" fmla="*/ 10366533 w 13797425"/>
                <a:gd name="connsiteY7527" fmla="*/ 8770213 h 17966907"/>
                <a:gd name="connsiteX7528" fmla="*/ 10342709 w 13797425"/>
                <a:gd name="connsiteY7528" fmla="*/ 8794038 h 17966907"/>
                <a:gd name="connsiteX7529" fmla="*/ 10323649 w 13797425"/>
                <a:gd name="connsiteY7529" fmla="*/ 8798804 h 17966907"/>
                <a:gd name="connsiteX7530" fmla="*/ 10275997 w 13797425"/>
                <a:gd name="connsiteY7530" fmla="*/ 8808334 h 17966907"/>
                <a:gd name="connsiteX7531" fmla="*/ 10275997 w 13797425"/>
                <a:gd name="connsiteY7531" fmla="*/ 8817864 h 17966907"/>
                <a:gd name="connsiteX7532" fmla="*/ 10314117 w 13797425"/>
                <a:gd name="connsiteY7532" fmla="*/ 8827394 h 17966907"/>
                <a:gd name="connsiteX7533" fmla="*/ 10357005 w 13797425"/>
                <a:gd name="connsiteY7533" fmla="*/ 8827394 h 17966907"/>
                <a:gd name="connsiteX7534" fmla="*/ 10352237 w 13797425"/>
                <a:gd name="connsiteY7534" fmla="*/ 8841690 h 17966907"/>
                <a:gd name="connsiteX7535" fmla="*/ 10333177 w 13797425"/>
                <a:gd name="connsiteY7535" fmla="*/ 8879811 h 17966907"/>
                <a:gd name="connsiteX7536" fmla="*/ 10328413 w 13797425"/>
                <a:gd name="connsiteY7536" fmla="*/ 8908402 h 17966907"/>
                <a:gd name="connsiteX7537" fmla="*/ 10333177 w 13797425"/>
                <a:gd name="connsiteY7537" fmla="*/ 8936992 h 17966907"/>
                <a:gd name="connsiteX7538" fmla="*/ 10333177 w 13797425"/>
                <a:gd name="connsiteY7538" fmla="*/ 8956053 h 17966907"/>
                <a:gd name="connsiteX7539" fmla="*/ 10318881 w 13797425"/>
                <a:gd name="connsiteY7539" fmla="*/ 9003704 h 17966907"/>
                <a:gd name="connsiteX7540" fmla="*/ 10304589 w 13797425"/>
                <a:gd name="connsiteY7540" fmla="*/ 9041825 h 17966907"/>
                <a:gd name="connsiteX7541" fmla="*/ 10309353 w 13797425"/>
                <a:gd name="connsiteY7541" fmla="*/ 9051355 h 17966907"/>
                <a:gd name="connsiteX7542" fmla="*/ 10347473 w 13797425"/>
                <a:gd name="connsiteY7542" fmla="*/ 8994174 h 17966907"/>
                <a:gd name="connsiteX7543" fmla="*/ 10357005 w 13797425"/>
                <a:gd name="connsiteY7543" fmla="*/ 8927462 h 17966907"/>
                <a:gd name="connsiteX7544" fmla="*/ 10371301 w 13797425"/>
                <a:gd name="connsiteY7544" fmla="*/ 8870280 h 17966907"/>
                <a:gd name="connsiteX7545" fmla="*/ 10385593 w 13797425"/>
                <a:gd name="connsiteY7545" fmla="*/ 8836925 h 17966907"/>
                <a:gd name="connsiteX7546" fmla="*/ 10399889 w 13797425"/>
                <a:gd name="connsiteY7546" fmla="*/ 8827394 h 17966907"/>
                <a:gd name="connsiteX7547" fmla="*/ 10442777 w 13797425"/>
                <a:gd name="connsiteY7547" fmla="*/ 8822629 h 17966907"/>
                <a:gd name="connsiteX7548" fmla="*/ 10466601 w 13797425"/>
                <a:gd name="connsiteY7548" fmla="*/ 8789273 h 17966907"/>
                <a:gd name="connsiteX7549" fmla="*/ 10485661 w 13797425"/>
                <a:gd name="connsiteY7549" fmla="*/ 8779743 h 17966907"/>
                <a:gd name="connsiteX7550" fmla="*/ 10495193 w 13797425"/>
                <a:gd name="connsiteY7550" fmla="*/ 8779743 h 17966907"/>
                <a:gd name="connsiteX7551" fmla="*/ 10509489 w 13797425"/>
                <a:gd name="connsiteY7551" fmla="*/ 8789273 h 17966907"/>
                <a:gd name="connsiteX7552" fmla="*/ 10509489 w 13797425"/>
                <a:gd name="connsiteY7552" fmla="*/ 8803569 h 17966907"/>
                <a:gd name="connsiteX7553" fmla="*/ 10485661 w 13797425"/>
                <a:gd name="connsiteY7553" fmla="*/ 8865515 h 17966907"/>
                <a:gd name="connsiteX7554" fmla="*/ 10433245 w 13797425"/>
                <a:gd name="connsiteY7554" fmla="*/ 8960818 h 17966907"/>
                <a:gd name="connsiteX7555" fmla="*/ 10452305 w 13797425"/>
                <a:gd name="connsiteY7555" fmla="*/ 8946522 h 17966907"/>
                <a:gd name="connsiteX7556" fmla="*/ 10466601 w 13797425"/>
                <a:gd name="connsiteY7556" fmla="*/ 8927462 h 17966907"/>
                <a:gd name="connsiteX7557" fmla="*/ 10485661 w 13797425"/>
                <a:gd name="connsiteY7557" fmla="*/ 8903636 h 17966907"/>
                <a:gd name="connsiteX7558" fmla="*/ 10509489 w 13797425"/>
                <a:gd name="connsiteY7558" fmla="*/ 8870280 h 17966907"/>
                <a:gd name="connsiteX7559" fmla="*/ 10523785 w 13797425"/>
                <a:gd name="connsiteY7559" fmla="*/ 8898871 h 17966907"/>
                <a:gd name="connsiteX7560" fmla="*/ 10542845 w 13797425"/>
                <a:gd name="connsiteY7560" fmla="*/ 8922697 h 17966907"/>
                <a:gd name="connsiteX7561" fmla="*/ 10557141 w 13797425"/>
                <a:gd name="connsiteY7561" fmla="*/ 8975113 h 17966907"/>
                <a:gd name="connsiteX7562" fmla="*/ 10580965 w 13797425"/>
                <a:gd name="connsiteY7562" fmla="*/ 8998939 h 17966907"/>
                <a:gd name="connsiteX7563" fmla="*/ 10590497 w 13797425"/>
                <a:gd name="connsiteY7563" fmla="*/ 9018000 h 17966907"/>
                <a:gd name="connsiteX7564" fmla="*/ 10590497 w 13797425"/>
                <a:gd name="connsiteY7564" fmla="*/ 8984644 h 17966907"/>
                <a:gd name="connsiteX7565" fmla="*/ 10571433 w 13797425"/>
                <a:gd name="connsiteY7565" fmla="*/ 8917932 h 17966907"/>
                <a:gd name="connsiteX7566" fmla="*/ 10576201 w 13797425"/>
                <a:gd name="connsiteY7566" fmla="*/ 8894106 h 17966907"/>
                <a:gd name="connsiteX7567" fmla="*/ 10590497 w 13797425"/>
                <a:gd name="connsiteY7567" fmla="*/ 8879811 h 17966907"/>
                <a:gd name="connsiteX7568" fmla="*/ 10633381 w 13797425"/>
                <a:gd name="connsiteY7568" fmla="*/ 8822629 h 17966907"/>
                <a:gd name="connsiteX7569" fmla="*/ 10666737 w 13797425"/>
                <a:gd name="connsiteY7569" fmla="*/ 8841690 h 17966907"/>
                <a:gd name="connsiteX7570" fmla="*/ 10685797 w 13797425"/>
                <a:gd name="connsiteY7570" fmla="*/ 8860750 h 17966907"/>
                <a:gd name="connsiteX7571" fmla="*/ 10695329 w 13797425"/>
                <a:gd name="connsiteY7571" fmla="*/ 8855985 h 17966907"/>
                <a:gd name="connsiteX7572" fmla="*/ 10719153 w 13797425"/>
                <a:gd name="connsiteY7572" fmla="*/ 8855985 h 17966907"/>
                <a:gd name="connsiteX7573" fmla="*/ 10757273 w 13797425"/>
                <a:gd name="connsiteY7573" fmla="*/ 8865515 h 17966907"/>
                <a:gd name="connsiteX7574" fmla="*/ 10795397 w 13797425"/>
                <a:gd name="connsiteY7574" fmla="*/ 8879811 h 17966907"/>
                <a:gd name="connsiteX7575" fmla="*/ 10833517 w 13797425"/>
                <a:gd name="connsiteY7575" fmla="*/ 8903636 h 17966907"/>
                <a:gd name="connsiteX7576" fmla="*/ 10862109 w 13797425"/>
                <a:gd name="connsiteY7576" fmla="*/ 8932227 h 17966907"/>
                <a:gd name="connsiteX7577" fmla="*/ 10881169 w 13797425"/>
                <a:gd name="connsiteY7577" fmla="*/ 8960818 h 17966907"/>
                <a:gd name="connsiteX7578" fmla="*/ 10890697 w 13797425"/>
                <a:gd name="connsiteY7578" fmla="*/ 8979878 h 17966907"/>
                <a:gd name="connsiteX7579" fmla="*/ 10895465 w 13797425"/>
                <a:gd name="connsiteY7579" fmla="*/ 8989409 h 17966907"/>
                <a:gd name="connsiteX7580" fmla="*/ 10904993 w 13797425"/>
                <a:gd name="connsiteY7580" fmla="*/ 9022765 h 17966907"/>
                <a:gd name="connsiteX7581" fmla="*/ 10900229 w 13797425"/>
                <a:gd name="connsiteY7581" fmla="*/ 9041825 h 17966907"/>
                <a:gd name="connsiteX7582" fmla="*/ 10871637 w 13797425"/>
                <a:gd name="connsiteY7582" fmla="*/ 9084711 h 17966907"/>
                <a:gd name="connsiteX7583" fmla="*/ 10857341 w 13797425"/>
                <a:gd name="connsiteY7583" fmla="*/ 9103772 h 17966907"/>
                <a:gd name="connsiteX7584" fmla="*/ 10838281 w 13797425"/>
                <a:gd name="connsiteY7584" fmla="*/ 9113302 h 17966907"/>
                <a:gd name="connsiteX7585" fmla="*/ 10800161 w 13797425"/>
                <a:gd name="connsiteY7585" fmla="*/ 9103772 h 17966907"/>
                <a:gd name="connsiteX7586" fmla="*/ 10785865 w 13797425"/>
                <a:gd name="connsiteY7586" fmla="*/ 9108537 h 17966907"/>
                <a:gd name="connsiteX7587" fmla="*/ 10771569 w 13797425"/>
                <a:gd name="connsiteY7587" fmla="*/ 9122832 h 17966907"/>
                <a:gd name="connsiteX7588" fmla="*/ 10728685 w 13797425"/>
                <a:gd name="connsiteY7588" fmla="*/ 9184779 h 17966907"/>
                <a:gd name="connsiteX7589" fmla="*/ 10704857 w 13797425"/>
                <a:gd name="connsiteY7589" fmla="*/ 9208605 h 17966907"/>
                <a:gd name="connsiteX7590" fmla="*/ 10681033 w 13797425"/>
                <a:gd name="connsiteY7590" fmla="*/ 9227665 h 17966907"/>
                <a:gd name="connsiteX7591" fmla="*/ 10676269 w 13797425"/>
                <a:gd name="connsiteY7591" fmla="*/ 9237195 h 17966907"/>
                <a:gd name="connsiteX7592" fmla="*/ 10728685 w 13797425"/>
                <a:gd name="connsiteY7592" fmla="*/ 9237195 h 17966907"/>
                <a:gd name="connsiteX7593" fmla="*/ 10742981 w 13797425"/>
                <a:gd name="connsiteY7593" fmla="*/ 9218135 h 17966907"/>
                <a:gd name="connsiteX7594" fmla="*/ 10752509 w 13797425"/>
                <a:gd name="connsiteY7594" fmla="*/ 9184779 h 17966907"/>
                <a:gd name="connsiteX7595" fmla="*/ 10776337 w 13797425"/>
                <a:gd name="connsiteY7595" fmla="*/ 9151423 h 17966907"/>
                <a:gd name="connsiteX7596" fmla="*/ 10814457 w 13797425"/>
                <a:gd name="connsiteY7596" fmla="*/ 9132362 h 17966907"/>
                <a:gd name="connsiteX7597" fmla="*/ 10876401 w 13797425"/>
                <a:gd name="connsiteY7597" fmla="*/ 9165718 h 17966907"/>
                <a:gd name="connsiteX7598" fmla="*/ 10904993 w 13797425"/>
                <a:gd name="connsiteY7598" fmla="*/ 9165718 h 17966907"/>
                <a:gd name="connsiteX7599" fmla="*/ 10924053 w 13797425"/>
                <a:gd name="connsiteY7599" fmla="*/ 9132362 h 17966907"/>
                <a:gd name="connsiteX7600" fmla="*/ 10947881 w 13797425"/>
                <a:gd name="connsiteY7600" fmla="*/ 9108537 h 17966907"/>
                <a:gd name="connsiteX7601" fmla="*/ 10962177 w 13797425"/>
                <a:gd name="connsiteY7601" fmla="*/ 9103772 h 17966907"/>
                <a:gd name="connsiteX7602" fmla="*/ 10966941 w 13797425"/>
                <a:gd name="connsiteY7602" fmla="*/ 9103772 h 17966907"/>
                <a:gd name="connsiteX7603" fmla="*/ 10986001 w 13797425"/>
                <a:gd name="connsiteY7603" fmla="*/ 9132362 h 17966907"/>
                <a:gd name="connsiteX7604" fmla="*/ 10990765 w 13797425"/>
                <a:gd name="connsiteY7604" fmla="*/ 9151423 h 17966907"/>
                <a:gd name="connsiteX7605" fmla="*/ 10990765 w 13797425"/>
                <a:gd name="connsiteY7605" fmla="*/ 9203840 h 17966907"/>
                <a:gd name="connsiteX7606" fmla="*/ 10986001 w 13797425"/>
                <a:gd name="connsiteY7606" fmla="*/ 9218135 h 17966907"/>
                <a:gd name="connsiteX7607" fmla="*/ 10971705 w 13797425"/>
                <a:gd name="connsiteY7607" fmla="*/ 9256256 h 17966907"/>
                <a:gd name="connsiteX7608" fmla="*/ 10928821 w 13797425"/>
                <a:gd name="connsiteY7608" fmla="*/ 9308672 h 17966907"/>
                <a:gd name="connsiteX7609" fmla="*/ 10904993 w 13797425"/>
                <a:gd name="connsiteY7609" fmla="*/ 9332498 h 17966907"/>
                <a:gd name="connsiteX7610" fmla="*/ 10871637 w 13797425"/>
                <a:gd name="connsiteY7610" fmla="*/ 9342028 h 17966907"/>
                <a:gd name="connsiteX7611" fmla="*/ 10843045 w 13797425"/>
                <a:gd name="connsiteY7611" fmla="*/ 9361089 h 17966907"/>
                <a:gd name="connsiteX7612" fmla="*/ 10828753 w 13797425"/>
                <a:gd name="connsiteY7612" fmla="*/ 9375384 h 17966907"/>
                <a:gd name="connsiteX7613" fmla="*/ 10819221 w 13797425"/>
                <a:gd name="connsiteY7613" fmla="*/ 9399210 h 17966907"/>
                <a:gd name="connsiteX7614" fmla="*/ 10809693 w 13797425"/>
                <a:gd name="connsiteY7614" fmla="*/ 9413505 h 17966907"/>
                <a:gd name="connsiteX7615" fmla="*/ 10795397 w 13797425"/>
                <a:gd name="connsiteY7615" fmla="*/ 9423035 h 17966907"/>
                <a:gd name="connsiteX7616" fmla="*/ 10809693 w 13797425"/>
                <a:gd name="connsiteY7616" fmla="*/ 9442096 h 17966907"/>
                <a:gd name="connsiteX7617" fmla="*/ 10819221 w 13797425"/>
                <a:gd name="connsiteY7617" fmla="*/ 9442096 h 17966907"/>
                <a:gd name="connsiteX7618" fmla="*/ 10823985 w 13797425"/>
                <a:gd name="connsiteY7618" fmla="*/ 9432566 h 17966907"/>
                <a:gd name="connsiteX7619" fmla="*/ 10843045 w 13797425"/>
                <a:gd name="connsiteY7619" fmla="*/ 9389679 h 17966907"/>
                <a:gd name="connsiteX7620" fmla="*/ 10857341 w 13797425"/>
                <a:gd name="connsiteY7620" fmla="*/ 9370619 h 17966907"/>
                <a:gd name="connsiteX7621" fmla="*/ 10866873 w 13797425"/>
                <a:gd name="connsiteY7621" fmla="*/ 9365854 h 17966907"/>
                <a:gd name="connsiteX7622" fmla="*/ 10871637 w 13797425"/>
                <a:gd name="connsiteY7622" fmla="*/ 9370619 h 17966907"/>
                <a:gd name="connsiteX7623" fmla="*/ 10881169 w 13797425"/>
                <a:gd name="connsiteY7623" fmla="*/ 9375384 h 17966907"/>
                <a:gd name="connsiteX7624" fmla="*/ 10890697 w 13797425"/>
                <a:gd name="connsiteY7624" fmla="*/ 9389679 h 17966907"/>
                <a:gd name="connsiteX7625" fmla="*/ 10890697 w 13797425"/>
                <a:gd name="connsiteY7625" fmla="*/ 9427800 h 17966907"/>
                <a:gd name="connsiteX7626" fmla="*/ 10866873 w 13797425"/>
                <a:gd name="connsiteY7626" fmla="*/ 9565989 h 17966907"/>
                <a:gd name="connsiteX7627" fmla="*/ 10885933 w 13797425"/>
                <a:gd name="connsiteY7627" fmla="*/ 9527868 h 17966907"/>
                <a:gd name="connsiteX7628" fmla="*/ 10924053 w 13797425"/>
                <a:gd name="connsiteY7628" fmla="*/ 9384914 h 17966907"/>
                <a:gd name="connsiteX7629" fmla="*/ 10933585 w 13797425"/>
                <a:gd name="connsiteY7629" fmla="*/ 9356324 h 17966907"/>
                <a:gd name="connsiteX7630" fmla="*/ 10957409 w 13797425"/>
                <a:gd name="connsiteY7630" fmla="*/ 9322968 h 17966907"/>
                <a:gd name="connsiteX7631" fmla="*/ 11000297 w 13797425"/>
                <a:gd name="connsiteY7631" fmla="*/ 9280082 h 17966907"/>
                <a:gd name="connsiteX7632" fmla="*/ 11038417 w 13797425"/>
                <a:gd name="connsiteY7632" fmla="*/ 9256256 h 17966907"/>
                <a:gd name="connsiteX7633" fmla="*/ 11076537 w 13797425"/>
                <a:gd name="connsiteY7633" fmla="*/ 9237195 h 17966907"/>
                <a:gd name="connsiteX7634" fmla="*/ 11095597 w 13797425"/>
                <a:gd name="connsiteY7634" fmla="*/ 9227665 h 17966907"/>
                <a:gd name="connsiteX7635" fmla="*/ 11119425 w 13797425"/>
                <a:gd name="connsiteY7635" fmla="*/ 9232430 h 17966907"/>
                <a:gd name="connsiteX7636" fmla="*/ 11138485 w 13797425"/>
                <a:gd name="connsiteY7636" fmla="*/ 9256256 h 17966907"/>
                <a:gd name="connsiteX7637" fmla="*/ 11157545 w 13797425"/>
                <a:gd name="connsiteY7637" fmla="*/ 9261021 h 17966907"/>
                <a:gd name="connsiteX7638" fmla="*/ 11181373 w 13797425"/>
                <a:gd name="connsiteY7638" fmla="*/ 9256256 h 17966907"/>
                <a:gd name="connsiteX7639" fmla="*/ 11200433 w 13797425"/>
                <a:gd name="connsiteY7639" fmla="*/ 9256256 h 17966907"/>
                <a:gd name="connsiteX7640" fmla="*/ 11219493 w 13797425"/>
                <a:gd name="connsiteY7640" fmla="*/ 9265786 h 17966907"/>
                <a:gd name="connsiteX7641" fmla="*/ 11233789 w 13797425"/>
                <a:gd name="connsiteY7641" fmla="*/ 9284847 h 17966907"/>
                <a:gd name="connsiteX7642" fmla="*/ 11262377 w 13797425"/>
                <a:gd name="connsiteY7642" fmla="*/ 9303907 h 17966907"/>
                <a:gd name="connsiteX7643" fmla="*/ 11324325 w 13797425"/>
                <a:gd name="connsiteY7643" fmla="*/ 9342028 h 17966907"/>
                <a:gd name="connsiteX7644" fmla="*/ 11329089 w 13797425"/>
                <a:gd name="connsiteY7644" fmla="*/ 9346793 h 17966907"/>
                <a:gd name="connsiteX7645" fmla="*/ 11338621 w 13797425"/>
                <a:gd name="connsiteY7645" fmla="*/ 9361089 h 17966907"/>
                <a:gd name="connsiteX7646" fmla="*/ 11343385 w 13797425"/>
                <a:gd name="connsiteY7646" fmla="*/ 9380149 h 17966907"/>
                <a:gd name="connsiteX7647" fmla="*/ 11343385 w 13797425"/>
                <a:gd name="connsiteY7647" fmla="*/ 9399210 h 17966907"/>
                <a:gd name="connsiteX7648" fmla="*/ 11333857 w 13797425"/>
                <a:gd name="connsiteY7648" fmla="*/ 9418270 h 17966907"/>
                <a:gd name="connsiteX7649" fmla="*/ 11324325 w 13797425"/>
                <a:gd name="connsiteY7649" fmla="*/ 9432566 h 17966907"/>
                <a:gd name="connsiteX7650" fmla="*/ 11314793 w 13797425"/>
                <a:gd name="connsiteY7650" fmla="*/ 9437331 h 17966907"/>
                <a:gd name="connsiteX7651" fmla="*/ 11300501 w 13797425"/>
                <a:gd name="connsiteY7651" fmla="*/ 9446861 h 17966907"/>
                <a:gd name="connsiteX7652" fmla="*/ 11276673 w 13797425"/>
                <a:gd name="connsiteY7652" fmla="*/ 9475452 h 17966907"/>
                <a:gd name="connsiteX7653" fmla="*/ 11271909 w 13797425"/>
                <a:gd name="connsiteY7653" fmla="*/ 9480217 h 17966907"/>
                <a:gd name="connsiteX7654" fmla="*/ 11233789 w 13797425"/>
                <a:gd name="connsiteY7654" fmla="*/ 9489747 h 17966907"/>
                <a:gd name="connsiteX7655" fmla="*/ 11200433 w 13797425"/>
                <a:gd name="connsiteY7655" fmla="*/ 9494512 h 17966907"/>
                <a:gd name="connsiteX7656" fmla="*/ 11176605 w 13797425"/>
                <a:gd name="connsiteY7656" fmla="*/ 9508808 h 17966907"/>
                <a:gd name="connsiteX7657" fmla="*/ 11133721 w 13797425"/>
                <a:gd name="connsiteY7657" fmla="*/ 9537398 h 17966907"/>
                <a:gd name="connsiteX7658" fmla="*/ 11081305 w 13797425"/>
                <a:gd name="connsiteY7658" fmla="*/ 9589815 h 17966907"/>
                <a:gd name="connsiteX7659" fmla="*/ 11081305 w 13797425"/>
                <a:gd name="connsiteY7659" fmla="*/ 9604110 h 17966907"/>
                <a:gd name="connsiteX7660" fmla="*/ 11100365 w 13797425"/>
                <a:gd name="connsiteY7660" fmla="*/ 9608875 h 17966907"/>
                <a:gd name="connsiteX7661" fmla="*/ 11119425 w 13797425"/>
                <a:gd name="connsiteY7661" fmla="*/ 9604110 h 17966907"/>
                <a:gd name="connsiteX7662" fmla="*/ 11148017 w 13797425"/>
                <a:gd name="connsiteY7662" fmla="*/ 9565989 h 17966907"/>
                <a:gd name="connsiteX7663" fmla="*/ 11167077 w 13797425"/>
                <a:gd name="connsiteY7663" fmla="*/ 9551694 h 17966907"/>
                <a:gd name="connsiteX7664" fmla="*/ 11205197 w 13797425"/>
                <a:gd name="connsiteY7664" fmla="*/ 9537398 h 17966907"/>
                <a:gd name="connsiteX7665" fmla="*/ 11257613 w 13797425"/>
                <a:gd name="connsiteY7665" fmla="*/ 9527868 h 17966907"/>
                <a:gd name="connsiteX7666" fmla="*/ 11281437 w 13797425"/>
                <a:gd name="connsiteY7666" fmla="*/ 9527868 h 17966907"/>
                <a:gd name="connsiteX7667" fmla="*/ 11281437 w 13797425"/>
                <a:gd name="connsiteY7667" fmla="*/ 9532633 h 17966907"/>
                <a:gd name="connsiteX7668" fmla="*/ 11286205 w 13797425"/>
                <a:gd name="connsiteY7668" fmla="*/ 9542164 h 17966907"/>
                <a:gd name="connsiteX7669" fmla="*/ 11286205 w 13797425"/>
                <a:gd name="connsiteY7669" fmla="*/ 9556459 h 17966907"/>
                <a:gd name="connsiteX7670" fmla="*/ 11281437 w 13797425"/>
                <a:gd name="connsiteY7670" fmla="*/ 9575519 h 17966907"/>
                <a:gd name="connsiteX7671" fmla="*/ 11271909 w 13797425"/>
                <a:gd name="connsiteY7671" fmla="*/ 9585050 h 17966907"/>
                <a:gd name="connsiteX7672" fmla="*/ 11243317 w 13797425"/>
                <a:gd name="connsiteY7672" fmla="*/ 9632701 h 17966907"/>
                <a:gd name="connsiteX7673" fmla="*/ 11262377 w 13797425"/>
                <a:gd name="connsiteY7673" fmla="*/ 9646996 h 17966907"/>
                <a:gd name="connsiteX7674" fmla="*/ 11286205 w 13797425"/>
                <a:gd name="connsiteY7674" fmla="*/ 9651762 h 17966907"/>
                <a:gd name="connsiteX7675" fmla="*/ 11300501 w 13797425"/>
                <a:gd name="connsiteY7675" fmla="*/ 9637466 h 17966907"/>
                <a:gd name="connsiteX7676" fmla="*/ 11310029 w 13797425"/>
                <a:gd name="connsiteY7676" fmla="*/ 9608875 h 17966907"/>
                <a:gd name="connsiteX7677" fmla="*/ 11324325 w 13797425"/>
                <a:gd name="connsiteY7677" fmla="*/ 9594580 h 17966907"/>
                <a:gd name="connsiteX7678" fmla="*/ 11338621 w 13797425"/>
                <a:gd name="connsiteY7678" fmla="*/ 9589815 h 17966907"/>
                <a:gd name="connsiteX7679" fmla="*/ 11352917 w 13797425"/>
                <a:gd name="connsiteY7679" fmla="*/ 9585050 h 17966907"/>
                <a:gd name="connsiteX7680" fmla="*/ 11367213 w 13797425"/>
                <a:gd name="connsiteY7680" fmla="*/ 9570754 h 17966907"/>
                <a:gd name="connsiteX7681" fmla="*/ 11367213 w 13797425"/>
                <a:gd name="connsiteY7681" fmla="*/ 9565989 h 17966907"/>
                <a:gd name="connsiteX7682" fmla="*/ 11352917 w 13797425"/>
                <a:gd name="connsiteY7682" fmla="*/ 9551694 h 17966907"/>
                <a:gd name="connsiteX7683" fmla="*/ 11348149 w 13797425"/>
                <a:gd name="connsiteY7683" fmla="*/ 9542164 h 17966907"/>
                <a:gd name="connsiteX7684" fmla="*/ 11357681 w 13797425"/>
                <a:gd name="connsiteY7684" fmla="*/ 9518338 h 17966907"/>
                <a:gd name="connsiteX7685" fmla="*/ 11367213 w 13797425"/>
                <a:gd name="connsiteY7685" fmla="*/ 9494512 h 17966907"/>
                <a:gd name="connsiteX7686" fmla="*/ 11381505 w 13797425"/>
                <a:gd name="connsiteY7686" fmla="*/ 9480217 h 17966907"/>
                <a:gd name="connsiteX7687" fmla="*/ 11391037 w 13797425"/>
                <a:gd name="connsiteY7687" fmla="*/ 9475452 h 17966907"/>
                <a:gd name="connsiteX7688" fmla="*/ 11424393 w 13797425"/>
                <a:gd name="connsiteY7688" fmla="*/ 9494512 h 17966907"/>
                <a:gd name="connsiteX7689" fmla="*/ 11443453 w 13797425"/>
                <a:gd name="connsiteY7689" fmla="*/ 9523103 h 17966907"/>
                <a:gd name="connsiteX7690" fmla="*/ 11500633 w 13797425"/>
                <a:gd name="connsiteY7690" fmla="*/ 9608875 h 17966907"/>
                <a:gd name="connsiteX7691" fmla="*/ 11510165 w 13797425"/>
                <a:gd name="connsiteY7691" fmla="*/ 9623171 h 17966907"/>
                <a:gd name="connsiteX7692" fmla="*/ 11524461 w 13797425"/>
                <a:gd name="connsiteY7692" fmla="*/ 9685117 h 17966907"/>
                <a:gd name="connsiteX7693" fmla="*/ 11529225 w 13797425"/>
                <a:gd name="connsiteY7693" fmla="*/ 9713708 h 17966907"/>
                <a:gd name="connsiteX7694" fmla="*/ 11524461 w 13797425"/>
                <a:gd name="connsiteY7694" fmla="*/ 9732769 h 17966907"/>
                <a:gd name="connsiteX7695" fmla="*/ 11524461 w 13797425"/>
                <a:gd name="connsiteY7695" fmla="*/ 9747064 h 17966907"/>
                <a:gd name="connsiteX7696" fmla="*/ 11514929 w 13797425"/>
                <a:gd name="connsiteY7696" fmla="*/ 9751829 h 17966907"/>
                <a:gd name="connsiteX7697" fmla="*/ 11505401 w 13797425"/>
                <a:gd name="connsiteY7697" fmla="*/ 9751829 h 17966907"/>
                <a:gd name="connsiteX7698" fmla="*/ 11433921 w 13797425"/>
                <a:gd name="connsiteY7698" fmla="*/ 9723238 h 17966907"/>
                <a:gd name="connsiteX7699" fmla="*/ 11395801 w 13797425"/>
                <a:gd name="connsiteY7699" fmla="*/ 9728004 h 17966907"/>
                <a:gd name="connsiteX7700" fmla="*/ 11381505 w 13797425"/>
                <a:gd name="connsiteY7700" fmla="*/ 9737534 h 17966907"/>
                <a:gd name="connsiteX7701" fmla="*/ 11371977 w 13797425"/>
                <a:gd name="connsiteY7701" fmla="*/ 9747064 h 17966907"/>
                <a:gd name="connsiteX7702" fmla="*/ 11362445 w 13797425"/>
                <a:gd name="connsiteY7702" fmla="*/ 9761359 h 17966907"/>
                <a:gd name="connsiteX7703" fmla="*/ 11357681 w 13797425"/>
                <a:gd name="connsiteY7703" fmla="*/ 9775655 h 17966907"/>
                <a:gd name="connsiteX7704" fmla="*/ 11343385 w 13797425"/>
                <a:gd name="connsiteY7704" fmla="*/ 9785185 h 17966907"/>
                <a:gd name="connsiteX7705" fmla="*/ 11295733 w 13797425"/>
                <a:gd name="connsiteY7705" fmla="*/ 9785185 h 17966907"/>
                <a:gd name="connsiteX7706" fmla="*/ 11271909 w 13797425"/>
                <a:gd name="connsiteY7706" fmla="*/ 9794715 h 17966907"/>
                <a:gd name="connsiteX7707" fmla="*/ 11224257 w 13797425"/>
                <a:gd name="connsiteY7707" fmla="*/ 9813776 h 17966907"/>
                <a:gd name="connsiteX7708" fmla="*/ 11209961 w 13797425"/>
                <a:gd name="connsiteY7708" fmla="*/ 9828071 h 17966907"/>
                <a:gd name="connsiteX7709" fmla="*/ 11205197 w 13797425"/>
                <a:gd name="connsiteY7709" fmla="*/ 9842366 h 17966907"/>
                <a:gd name="connsiteX7710" fmla="*/ 11233789 w 13797425"/>
                <a:gd name="connsiteY7710" fmla="*/ 9842366 h 17966907"/>
                <a:gd name="connsiteX7711" fmla="*/ 11276673 w 13797425"/>
                <a:gd name="connsiteY7711" fmla="*/ 9818541 h 17966907"/>
                <a:gd name="connsiteX7712" fmla="*/ 11319561 w 13797425"/>
                <a:gd name="connsiteY7712" fmla="*/ 9813776 h 17966907"/>
                <a:gd name="connsiteX7713" fmla="*/ 11391037 w 13797425"/>
                <a:gd name="connsiteY7713" fmla="*/ 9861427 h 17966907"/>
                <a:gd name="connsiteX7714" fmla="*/ 11414861 w 13797425"/>
                <a:gd name="connsiteY7714" fmla="*/ 9866192 h 17966907"/>
                <a:gd name="connsiteX7715" fmla="*/ 11429157 w 13797425"/>
                <a:gd name="connsiteY7715" fmla="*/ 9861427 h 17966907"/>
                <a:gd name="connsiteX7716" fmla="*/ 11443453 w 13797425"/>
                <a:gd name="connsiteY7716" fmla="*/ 9856662 h 17966907"/>
                <a:gd name="connsiteX7717" fmla="*/ 11500633 w 13797425"/>
                <a:gd name="connsiteY7717" fmla="*/ 9861427 h 17966907"/>
                <a:gd name="connsiteX7718" fmla="*/ 11519697 w 13797425"/>
                <a:gd name="connsiteY7718" fmla="*/ 9866192 h 17966907"/>
                <a:gd name="connsiteX7719" fmla="*/ 11548285 w 13797425"/>
                <a:gd name="connsiteY7719" fmla="*/ 9885253 h 17966907"/>
                <a:gd name="connsiteX7720" fmla="*/ 11591173 w 13797425"/>
                <a:gd name="connsiteY7720" fmla="*/ 9923374 h 17966907"/>
                <a:gd name="connsiteX7721" fmla="*/ 11600701 w 13797425"/>
                <a:gd name="connsiteY7721" fmla="*/ 9932904 h 17966907"/>
                <a:gd name="connsiteX7722" fmla="*/ 11605469 w 13797425"/>
                <a:gd name="connsiteY7722" fmla="*/ 9942434 h 17966907"/>
                <a:gd name="connsiteX7723" fmla="*/ 11610233 w 13797425"/>
                <a:gd name="connsiteY7723" fmla="*/ 9956730 h 17966907"/>
                <a:gd name="connsiteX7724" fmla="*/ 11605469 w 13797425"/>
                <a:gd name="connsiteY7724" fmla="*/ 9985320 h 17966907"/>
                <a:gd name="connsiteX7725" fmla="*/ 11600701 w 13797425"/>
                <a:gd name="connsiteY7725" fmla="*/ 9994851 h 17966907"/>
                <a:gd name="connsiteX7726" fmla="*/ 11586405 w 13797425"/>
                <a:gd name="connsiteY7726" fmla="*/ 10004381 h 17966907"/>
                <a:gd name="connsiteX7727" fmla="*/ 11524461 w 13797425"/>
                <a:gd name="connsiteY7727" fmla="*/ 9994851 h 17966907"/>
                <a:gd name="connsiteX7728" fmla="*/ 11505401 w 13797425"/>
                <a:gd name="connsiteY7728" fmla="*/ 9990086 h 17966907"/>
                <a:gd name="connsiteX7729" fmla="*/ 11481573 w 13797425"/>
                <a:gd name="connsiteY7729" fmla="*/ 9994851 h 17966907"/>
                <a:gd name="connsiteX7730" fmla="*/ 11462513 w 13797425"/>
                <a:gd name="connsiteY7730" fmla="*/ 9994851 h 17966907"/>
                <a:gd name="connsiteX7731" fmla="*/ 11438689 w 13797425"/>
                <a:gd name="connsiteY7731" fmla="*/ 9980555 h 17966907"/>
                <a:gd name="connsiteX7732" fmla="*/ 11410097 w 13797425"/>
                <a:gd name="connsiteY7732" fmla="*/ 9961495 h 17966907"/>
                <a:gd name="connsiteX7733" fmla="*/ 11371977 w 13797425"/>
                <a:gd name="connsiteY7733" fmla="*/ 9980555 h 17966907"/>
                <a:gd name="connsiteX7734" fmla="*/ 11338621 w 13797425"/>
                <a:gd name="connsiteY7734" fmla="*/ 9966260 h 17966907"/>
                <a:gd name="connsiteX7735" fmla="*/ 11305265 w 13797425"/>
                <a:gd name="connsiteY7735" fmla="*/ 9980555 h 17966907"/>
                <a:gd name="connsiteX7736" fmla="*/ 11238553 w 13797425"/>
                <a:gd name="connsiteY7736" fmla="*/ 10028206 h 17966907"/>
                <a:gd name="connsiteX7737" fmla="*/ 11248081 w 13797425"/>
                <a:gd name="connsiteY7737" fmla="*/ 10032972 h 17966907"/>
                <a:gd name="connsiteX7738" fmla="*/ 11338621 w 13797425"/>
                <a:gd name="connsiteY7738" fmla="*/ 9994851 h 17966907"/>
                <a:gd name="connsiteX7739" fmla="*/ 11352917 w 13797425"/>
                <a:gd name="connsiteY7739" fmla="*/ 9994851 h 17966907"/>
                <a:gd name="connsiteX7740" fmla="*/ 11381505 w 13797425"/>
                <a:gd name="connsiteY7740" fmla="*/ 10013911 h 17966907"/>
                <a:gd name="connsiteX7741" fmla="*/ 11429157 w 13797425"/>
                <a:gd name="connsiteY7741" fmla="*/ 10042502 h 17966907"/>
                <a:gd name="connsiteX7742" fmla="*/ 11438689 w 13797425"/>
                <a:gd name="connsiteY7742" fmla="*/ 10052032 h 17966907"/>
                <a:gd name="connsiteX7743" fmla="*/ 11438689 w 13797425"/>
                <a:gd name="connsiteY7743" fmla="*/ 10099684 h 17966907"/>
                <a:gd name="connsiteX7744" fmla="*/ 11433921 w 13797425"/>
                <a:gd name="connsiteY7744" fmla="*/ 10128274 h 17966907"/>
                <a:gd name="connsiteX7745" fmla="*/ 11419629 w 13797425"/>
                <a:gd name="connsiteY7745" fmla="*/ 10161630 h 17966907"/>
                <a:gd name="connsiteX7746" fmla="*/ 11400565 w 13797425"/>
                <a:gd name="connsiteY7746" fmla="*/ 10156865 h 17966907"/>
                <a:gd name="connsiteX7747" fmla="*/ 11352917 w 13797425"/>
                <a:gd name="connsiteY7747" fmla="*/ 10137804 h 17966907"/>
                <a:gd name="connsiteX7748" fmla="*/ 11329089 w 13797425"/>
                <a:gd name="connsiteY7748" fmla="*/ 10133039 h 17966907"/>
                <a:gd name="connsiteX7749" fmla="*/ 11314793 w 13797425"/>
                <a:gd name="connsiteY7749" fmla="*/ 10137804 h 17966907"/>
                <a:gd name="connsiteX7750" fmla="*/ 11295733 w 13797425"/>
                <a:gd name="connsiteY7750" fmla="*/ 10152100 h 17966907"/>
                <a:gd name="connsiteX7751" fmla="*/ 11286205 w 13797425"/>
                <a:gd name="connsiteY7751" fmla="*/ 10152100 h 17966907"/>
                <a:gd name="connsiteX7752" fmla="*/ 11209961 w 13797425"/>
                <a:gd name="connsiteY7752" fmla="*/ 10123509 h 17966907"/>
                <a:gd name="connsiteX7753" fmla="*/ 11195665 w 13797425"/>
                <a:gd name="connsiteY7753" fmla="*/ 10123509 h 17966907"/>
                <a:gd name="connsiteX7754" fmla="*/ 11190901 w 13797425"/>
                <a:gd name="connsiteY7754" fmla="*/ 10128274 h 17966907"/>
                <a:gd name="connsiteX7755" fmla="*/ 11195665 w 13797425"/>
                <a:gd name="connsiteY7755" fmla="*/ 10133039 h 17966907"/>
                <a:gd name="connsiteX7756" fmla="*/ 11267145 w 13797425"/>
                <a:gd name="connsiteY7756" fmla="*/ 10171160 h 17966907"/>
                <a:gd name="connsiteX7757" fmla="*/ 11314793 w 13797425"/>
                <a:gd name="connsiteY7757" fmla="*/ 10175926 h 17966907"/>
                <a:gd name="connsiteX7758" fmla="*/ 11348149 w 13797425"/>
                <a:gd name="connsiteY7758" fmla="*/ 10185456 h 17966907"/>
                <a:gd name="connsiteX7759" fmla="*/ 11367213 w 13797425"/>
                <a:gd name="connsiteY7759" fmla="*/ 10199751 h 17966907"/>
                <a:gd name="connsiteX7760" fmla="*/ 11376741 w 13797425"/>
                <a:gd name="connsiteY7760" fmla="*/ 10209282 h 17966907"/>
                <a:gd name="connsiteX7761" fmla="*/ 11376741 w 13797425"/>
                <a:gd name="connsiteY7761" fmla="*/ 10233107 h 17966907"/>
                <a:gd name="connsiteX7762" fmla="*/ 11395801 w 13797425"/>
                <a:gd name="connsiteY7762" fmla="*/ 10261698 h 17966907"/>
                <a:gd name="connsiteX7763" fmla="*/ 11410097 w 13797425"/>
                <a:gd name="connsiteY7763" fmla="*/ 10275993 h 17966907"/>
                <a:gd name="connsiteX7764" fmla="*/ 11419629 w 13797425"/>
                <a:gd name="connsiteY7764" fmla="*/ 10275993 h 17966907"/>
                <a:gd name="connsiteX7765" fmla="*/ 11438689 w 13797425"/>
                <a:gd name="connsiteY7765" fmla="*/ 10266463 h 17966907"/>
                <a:gd name="connsiteX7766" fmla="*/ 11452985 w 13797425"/>
                <a:gd name="connsiteY7766" fmla="*/ 10261698 h 17966907"/>
                <a:gd name="connsiteX7767" fmla="*/ 11467277 w 13797425"/>
                <a:gd name="connsiteY7767" fmla="*/ 10271228 h 17966907"/>
                <a:gd name="connsiteX7768" fmla="*/ 11486341 w 13797425"/>
                <a:gd name="connsiteY7768" fmla="*/ 10285524 h 17966907"/>
                <a:gd name="connsiteX7769" fmla="*/ 11505401 w 13797425"/>
                <a:gd name="connsiteY7769" fmla="*/ 10290288 h 17966907"/>
                <a:gd name="connsiteX7770" fmla="*/ 11524461 w 13797425"/>
                <a:gd name="connsiteY7770" fmla="*/ 10299819 h 17966907"/>
                <a:gd name="connsiteX7771" fmla="*/ 11538757 w 13797425"/>
                <a:gd name="connsiteY7771" fmla="*/ 10299819 h 17966907"/>
                <a:gd name="connsiteX7772" fmla="*/ 11581641 w 13797425"/>
                <a:gd name="connsiteY7772" fmla="*/ 10295054 h 17966907"/>
                <a:gd name="connsiteX7773" fmla="*/ 11595937 w 13797425"/>
                <a:gd name="connsiteY7773" fmla="*/ 10304584 h 17966907"/>
                <a:gd name="connsiteX7774" fmla="*/ 11600701 w 13797425"/>
                <a:gd name="connsiteY7774" fmla="*/ 10309349 h 17966907"/>
                <a:gd name="connsiteX7775" fmla="*/ 11595937 w 13797425"/>
                <a:gd name="connsiteY7775" fmla="*/ 10318879 h 17966907"/>
                <a:gd name="connsiteX7776" fmla="*/ 11557817 w 13797425"/>
                <a:gd name="connsiteY7776" fmla="*/ 10337940 h 17966907"/>
                <a:gd name="connsiteX7777" fmla="*/ 11553053 w 13797425"/>
                <a:gd name="connsiteY7777" fmla="*/ 10357000 h 17966907"/>
                <a:gd name="connsiteX7778" fmla="*/ 11572113 w 13797425"/>
                <a:gd name="connsiteY7778" fmla="*/ 10385591 h 17966907"/>
                <a:gd name="connsiteX7779" fmla="*/ 11586405 w 13797425"/>
                <a:gd name="connsiteY7779" fmla="*/ 10404652 h 17966907"/>
                <a:gd name="connsiteX7780" fmla="*/ 11581641 w 13797425"/>
                <a:gd name="connsiteY7780" fmla="*/ 10418947 h 17966907"/>
                <a:gd name="connsiteX7781" fmla="*/ 11572113 w 13797425"/>
                <a:gd name="connsiteY7781" fmla="*/ 10452303 h 17966907"/>
                <a:gd name="connsiteX7782" fmla="*/ 11567345 w 13797425"/>
                <a:gd name="connsiteY7782" fmla="*/ 10466598 h 17966907"/>
                <a:gd name="connsiteX7783" fmla="*/ 11572113 w 13797425"/>
                <a:gd name="connsiteY7783" fmla="*/ 10471364 h 17966907"/>
                <a:gd name="connsiteX7784" fmla="*/ 11600701 w 13797425"/>
                <a:gd name="connsiteY7784" fmla="*/ 10442773 h 17966907"/>
                <a:gd name="connsiteX7785" fmla="*/ 11605469 w 13797425"/>
                <a:gd name="connsiteY7785" fmla="*/ 10447538 h 17966907"/>
                <a:gd name="connsiteX7786" fmla="*/ 11605469 w 13797425"/>
                <a:gd name="connsiteY7786" fmla="*/ 10485659 h 17966907"/>
                <a:gd name="connsiteX7787" fmla="*/ 11610233 w 13797425"/>
                <a:gd name="connsiteY7787" fmla="*/ 10480894 h 17966907"/>
                <a:gd name="connsiteX7788" fmla="*/ 11619761 w 13797425"/>
                <a:gd name="connsiteY7788" fmla="*/ 10447538 h 17966907"/>
                <a:gd name="connsiteX7789" fmla="*/ 11614997 w 13797425"/>
                <a:gd name="connsiteY7789" fmla="*/ 10409417 h 17966907"/>
                <a:gd name="connsiteX7790" fmla="*/ 11629293 w 13797425"/>
                <a:gd name="connsiteY7790" fmla="*/ 10390356 h 17966907"/>
                <a:gd name="connsiteX7791" fmla="*/ 11681709 w 13797425"/>
                <a:gd name="connsiteY7791" fmla="*/ 10376061 h 17966907"/>
                <a:gd name="connsiteX7792" fmla="*/ 11672181 w 13797425"/>
                <a:gd name="connsiteY7792" fmla="*/ 10442773 h 17966907"/>
                <a:gd name="connsiteX7793" fmla="*/ 11672181 w 13797425"/>
                <a:gd name="connsiteY7793" fmla="*/ 10480894 h 17966907"/>
                <a:gd name="connsiteX7794" fmla="*/ 11648353 w 13797425"/>
                <a:gd name="connsiteY7794" fmla="*/ 10533310 h 17966907"/>
                <a:gd name="connsiteX7795" fmla="*/ 11629293 w 13797425"/>
                <a:gd name="connsiteY7795" fmla="*/ 10552370 h 17966907"/>
                <a:gd name="connsiteX7796" fmla="*/ 11629293 w 13797425"/>
                <a:gd name="connsiteY7796" fmla="*/ 10557136 h 17966907"/>
                <a:gd name="connsiteX7797" fmla="*/ 11643589 w 13797425"/>
                <a:gd name="connsiteY7797" fmla="*/ 10566666 h 17966907"/>
                <a:gd name="connsiteX7798" fmla="*/ 11653117 w 13797425"/>
                <a:gd name="connsiteY7798" fmla="*/ 10566666 h 17966907"/>
                <a:gd name="connsiteX7799" fmla="*/ 11657885 w 13797425"/>
                <a:gd name="connsiteY7799" fmla="*/ 10557136 h 17966907"/>
                <a:gd name="connsiteX7800" fmla="*/ 11676945 w 13797425"/>
                <a:gd name="connsiteY7800" fmla="*/ 10514250 h 17966907"/>
                <a:gd name="connsiteX7801" fmla="*/ 11715065 w 13797425"/>
                <a:gd name="connsiteY7801" fmla="*/ 10466598 h 17966907"/>
                <a:gd name="connsiteX7802" fmla="*/ 11719829 w 13797425"/>
                <a:gd name="connsiteY7802" fmla="*/ 10466598 h 17966907"/>
                <a:gd name="connsiteX7803" fmla="*/ 11719829 w 13797425"/>
                <a:gd name="connsiteY7803" fmla="*/ 10480894 h 17966907"/>
                <a:gd name="connsiteX7804" fmla="*/ 11715065 w 13797425"/>
                <a:gd name="connsiteY7804" fmla="*/ 10514250 h 17966907"/>
                <a:gd name="connsiteX7805" fmla="*/ 11734125 w 13797425"/>
                <a:gd name="connsiteY7805" fmla="*/ 10528545 h 17966907"/>
                <a:gd name="connsiteX7806" fmla="*/ 11753185 w 13797425"/>
                <a:gd name="connsiteY7806" fmla="*/ 10514250 h 17966907"/>
                <a:gd name="connsiteX7807" fmla="*/ 11757953 w 13797425"/>
                <a:gd name="connsiteY7807" fmla="*/ 10499954 h 17966907"/>
                <a:gd name="connsiteX7808" fmla="*/ 11781777 w 13797425"/>
                <a:gd name="connsiteY7808" fmla="*/ 10504719 h 17966907"/>
                <a:gd name="connsiteX7809" fmla="*/ 11791309 w 13797425"/>
                <a:gd name="connsiteY7809" fmla="*/ 10509484 h 17966907"/>
                <a:gd name="connsiteX7810" fmla="*/ 11791309 w 13797425"/>
                <a:gd name="connsiteY7810" fmla="*/ 10523780 h 17966907"/>
                <a:gd name="connsiteX7811" fmla="*/ 11781777 w 13797425"/>
                <a:gd name="connsiteY7811" fmla="*/ 10580961 h 17966907"/>
                <a:gd name="connsiteX7812" fmla="*/ 11786541 w 13797425"/>
                <a:gd name="connsiteY7812" fmla="*/ 10590492 h 17966907"/>
                <a:gd name="connsiteX7813" fmla="*/ 11805601 w 13797425"/>
                <a:gd name="connsiteY7813" fmla="*/ 10628613 h 17966907"/>
                <a:gd name="connsiteX7814" fmla="*/ 11810369 w 13797425"/>
                <a:gd name="connsiteY7814" fmla="*/ 10628613 h 17966907"/>
                <a:gd name="connsiteX7815" fmla="*/ 11805601 w 13797425"/>
                <a:gd name="connsiteY7815" fmla="*/ 10609552 h 17966907"/>
                <a:gd name="connsiteX7816" fmla="*/ 11800837 w 13797425"/>
                <a:gd name="connsiteY7816" fmla="*/ 10566666 h 17966907"/>
                <a:gd name="connsiteX7817" fmla="*/ 11805601 w 13797425"/>
                <a:gd name="connsiteY7817" fmla="*/ 10547606 h 17966907"/>
                <a:gd name="connsiteX7818" fmla="*/ 11824665 w 13797425"/>
                <a:gd name="connsiteY7818" fmla="*/ 10519015 h 17966907"/>
                <a:gd name="connsiteX7819" fmla="*/ 11858021 w 13797425"/>
                <a:gd name="connsiteY7819" fmla="*/ 10485659 h 17966907"/>
                <a:gd name="connsiteX7820" fmla="*/ 11872313 w 13797425"/>
                <a:gd name="connsiteY7820" fmla="*/ 10476128 h 17966907"/>
                <a:gd name="connsiteX7821" fmla="*/ 11881845 w 13797425"/>
                <a:gd name="connsiteY7821" fmla="*/ 10480894 h 17966907"/>
                <a:gd name="connsiteX7822" fmla="*/ 11896141 w 13797425"/>
                <a:gd name="connsiteY7822" fmla="*/ 10499954 h 17966907"/>
                <a:gd name="connsiteX7823" fmla="*/ 11891377 w 13797425"/>
                <a:gd name="connsiteY7823" fmla="*/ 10509484 h 17966907"/>
                <a:gd name="connsiteX7824" fmla="*/ 11877081 w 13797425"/>
                <a:gd name="connsiteY7824" fmla="*/ 10519015 h 17966907"/>
                <a:gd name="connsiteX7825" fmla="*/ 11867549 w 13797425"/>
                <a:gd name="connsiteY7825" fmla="*/ 10542840 h 17966907"/>
                <a:gd name="connsiteX7826" fmla="*/ 11858021 w 13797425"/>
                <a:gd name="connsiteY7826" fmla="*/ 10566666 h 17966907"/>
                <a:gd name="connsiteX7827" fmla="*/ 11867549 w 13797425"/>
                <a:gd name="connsiteY7827" fmla="*/ 10585726 h 17966907"/>
                <a:gd name="connsiteX7828" fmla="*/ 11896141 w 13797425"/>
                <a:gd name="connsiteY7828" fmla="*/ 10585726 h 17966907"/>
                <a:gd name="connsiteX7829" fmla="*/ 11924733 w 13797425"/>
                <a:gd name="connsiteY7829" fmla="*/ 10561901 h 17966907"/>
                <a:gd name="connsiteX7830" fmla="*/ 11943793 w 13797425"/>
                <a:gd name="connsiteY7830" fmla="*/ 10571431 h 17966907"/>
                <a:gd name="connsiteX7831" fmla="*/ 11962853 w 13797425"/>
                <a:gd name="connsiteY7831" fmla="*/ 10604787 h 17966907"/>
                <a:gd name="connsiteX7832" fmla="*/ 12000973 w 13797425"/>
                <a:gd name="connsiteY7832" fmla="*/ 10652438 h 17966907"/>
                <a:gd name="connsiteX7833" fmla="*/ 12024797 w 13797425"/>
                <a:gd name="connsiteY7833" fmla="*/ 10638143 h 17966907"/>
                <a:gd name="connsiteX7834" fmla="*/ 12048625 w 13797425"/>
                <a:gd name="connsiteY7834" fmla="*/ 10676264 h 17966907"/>
                <a:gd name="connsiteX7835" fmla="*/ 12015269 w 13797425"/>
                <a:gd name="connsiteY7835" fmla="*/ 10704855 h 17966907"/>
                <a:gd name="connsiteX7836" fmla="*/ 12024797 w 13797425"/>
                <a:gd name="connsiteY7836" fmla="*/ 10762036 h 17966907"/>
                <a:gd name="connsiteX7837" fmla="*/ 11977149 w 13797425"/>
                <a:gd name="connsiteY7837" fmla="*/ 10762036 h 17966907"/>
                <a:gd name="connsiteX7838" fmla="*/ 11953321 w 13797425"/>
                <a:gd name="connsiteY7838" fmla="*/ 10766801 h 17966907"/>
                <a:gd name="connsiteX7839" fmla="*/ 11934261 w 13797425"/>
                <a:gd name="connsiteY7839" fmla="*/ 10762036 h 17966907"/>
                <a:gd name="connsiteX7840" fmla="*/ 11915201 w 13797425"/>
                <a:gd name="connsiteY7840" fmla="*/ 10762036 h 17966907"/>
                <a:gd name="connsiteX7841" fmla="*/ 11934261 w 13797425"/>
                <a:gd name="connsiteY7841" fmla="*/ 10776332 h 17966907"/>
                <a:gd name="connsiteX7842" fmla="*/ 11967617 w 13797425"/>
                <a:gd name="connsiteY7842" fmla="*/ 10781097 h 17966907"/>
                <a:gd name="connsiteX7843" fmla="*/ 11972381 w 13797425"/>
                <a:gd name="connsiteY7843" fmla="*/ 10800157 h 17966907"/>
                <a:gd name="connsiteX7844" fmla="*/ 11996209 w 13797425"/>
                <a:gd name="connsiteY7844" fmla="*/ 10800157 h 17966907"/>
                <a:gd name="connsiteX7845" fmla="*/ 12015269 w 13797425"/>
                <a:gd name="connsiteY7845" fmla="*/ 10795392 h 17966907"/>
                <a:gd name="connsiteX7846" fmla="*/ 12053389 w 13797425"/>
                <a:gd name="connsiteY7846" fmla="*/ 10800157 h 17966907"/>
                <a:gd name="connsiteX7847" fmla="*/ 12053389 w 13797425"/>
                <a:gd name="connsiteY7847" fmla="*/ 10776332 h 17966907"/>
                <a:gd name="connsiteX7848" fmla="*/ 12077217 w 13797425"/>
                <a:gd name="connsiteY7848" fmla="*/ 10766801 h 17966907"/>
                <a:gd name="connsiteX7849" fmla="*/ 12091509 w 13797425"/>
                <a:gd name="connsiteY7849" fmla="*/ 10752506 h 17966907"/>
                <a:gd name="connsiteX7850" fmla="*/ 12101041 w 13797425"/>
                <a:gd name="connsiteY7850" fmla="*/ 10757271 h 17966907"/>
                <a:gd name="connsiteX7851" fmla="*/ 12134397 w 13797425"/>
                <a:gd name="connsiteY7851" fmla="*/ 10766801 h 17966907"/>
                <a:gd name="connsiteX7852" fmla="*/ 12177281 w 13797425"/>
                <a:gd name="connsiteY7852" fmla="*/ 10809688 h 17966907"/>
                <a:gd name="connsiteX7853" fmla="*/ 12158221 w 13797425"/>
                <a:gd name="connsiteY7853" fmla="*/ 10833513 h 17966907"/>
                <a:gd name="connsiteX7854" fmla="*/ 12153457 w 13797425"/>
                <a:gd name="connsiteY7854" fmla="*/ 10857339 h 17966907"/>
                <a:gd name="connsiteX7855" fmla="*/ 12143925 w 13797425"/>
                <a:gd name="connsiteY7855" fmla="*/ 10876399 h 17966907"/>
                <a:gd name="connsiteX7856" fmla="*/ 12143925 w 13797425"/>
                <a:gd name="connsiteY7856" fmla="*/ 10895460 h 17966907"/>
                <a:gd name="connsiteX7857" fmla="*/ 12134397 w 13797425"/>
                <a:gd name="connsiteY7857" fmla="*/ 10904990 h 17966907"/>
                <a:gd name="connsiteX7858" fmla="*/ 12072449 w 13797425"/>
                <a:gd name="connsiteY7858" fmla="*/ 10976467 h 17966907"/>
                <a:gd name="connsiteX7859" fmla="*/ 12081981 w 13797425"/>
                <a:gd name="connsiteY7859" fmla="*/ 10976467 h 17966907"/>
                <a:gd name="connsiteX7860" fmla="*/ 12110573 w 13797425"/>
                <a:gd name="connsiteY7860" fmla="*/ 10957406 h 17966907"/>
                <a:gd name="connsiteX7861" fmla="*/ 12158221 w 13797425"/>
                <a:gd name="connsiteY7861" fmla="*/ 10933581 h 17966907"/>
                <a:gd name="connsiteX7862" fmla="*/ 12186813 w 13797425"/>
                <a:gd name="connsiteY7862" fmla="*/ 10924050 h 17966907"/>
                <a:gd name="connsiteX7863" fmla="*/ 12205873 w 13797425"/>
                <a:gd name="connsiteY7863" fmla="*/ 10928816 h 17966907"/>
                <a:gd name="connsiteX7864" fmla="*/ 12220169 w 13797425"/>
                <a:gd name="connsiteY7864" fmla="*/ 10933581 h 17966907"/>
                <a:gd name="connsiteX7865" fmla="*/ 12224933 w 13797425"/>
                <a:gd name="connsiteY7865" fmla="*/ 10924050 h 17966907"/>
                <a:gd name="connsiteX7866" fmla="*/ 12243993 w 13797425"/>
                <a:gd name="connsiteY7866" fmla="*/ 10933581 h 17966907"/>
                <a:gd name="connsiteX7867" fmla="*/ 12277349 w 13797425"/>
                <a:gd name="connsiteY7867" fmla="*/ 10943111 h 17966907"/>
                <a:gd name="connsiteX7868" fmla="*/ 12320237 w 13797425"/>
                <a:gd name="connsiteY7868" fmla="*/ 10885930 h 17966907"/>
                <a:gd name="connsiteX7869" fmla="*/ 12344061 w 13797425"/>
                <a:gd name="connsiteY7869" fmla="*/ 10895460 h 17966907"/>
                <a:gd name="connsiteX7870" fmla="*/ 12363121 w 13797425"/>
                <a:gd name="connsiteY7870" fmla="*/ 10933581 h 17966907"/>
                <a:gd name="connsiteX7871" fmla="*/ 12415541 w 13797425"/>
                <a:gd name="connsiteY7871" fmla="*/ 10990762 h 17966907"/>
                <a:gd name="connsiteX7872" fmla="*/ 12439365 w 13797425"/>
                <a:gd name="connsiteY7872" fmla="*/ 11028883 h 17966907"/>
                <a:gd name="connsiteX7873" fmla="*/ 12448897 w 13797425"/>
                <a:gd name="connsiteY7873" fmla="*/ 11043179 h 17966907"/>
                <a:gd name="connsiteX7874" fmla="*/ 12448897 w 13797425"/>
                <a:gd name="connsiteY7874" fmla="*/ 11057474 h 17966907"/>
                <a:gd name="connsiteX7875" fmla="*/ 12425069 w 13797425"/>
                <a:gd name="connsiteY7875" fmla="*/ 11076535 h 17966907"/>
                <a:gd name="connsiteX7876" fmla="*/ 12410773 w 13797425"/>
                <a:gd name="connsiteY7876" fmla="*/ 11076535 h 17966907"/>
                <a:gd name="connsiteX7877" fmla="*/ 12382185 w 13797425"/>
                <a:gd name="connsiteY7877" fmla="*/ 11047944 h 17966907"/>
                <a:gd name="connsiteX7878" fmla="*/ 12353593 w 13797425"/>
                <a:gd name="connsiteY7878" fmla="*/ 11033648 h 17966907"/>
                <a:gd name="connsiteX7879" fmla="*/ 12334533 w 13797425"/>
                <a:gd name="connsiteY7879" fmla="*/ 11033648 h 17966907"/>
                <a:gd name="connsiteX7880" fmla="*/ 12320237 w 13797425"/>
                <a:gd name="connsiteY7880" fmla="*/ 11047944 h 17966907"/>
                <a:gd name="connsiteX7881" fmla="*/ 12325001 w 13797425"/>
                <a:gd name="connsiteY7881" fmla="*/ 11052709 h 17966907"/>
                <a:gd name="connsiteX7882" fmla="*/ 12391713 w 13797425"/>
                <a:gd name="connsiteY7882" fmla="*/ 11100360 h 17966907"/>
                <a:gd name="connsiteX7883" fmla="*/ 12406009 w 13797425"/>
                <a:gd name="connsiteY7883" fmla="*/ 11133716 h 17966907"/>
                <a:gd name="connsiteX7884" fmla="*/ 12406009 w 13797425"/>
                <a:gd name="connsiteY7884" fmla="*/ 11152777 h 17966907"/>
                <a:gd name="connsiteX7885" fmla="*/ 12358357 w 13797425"/>
                <a:gd name="connsiteY7885" fmla="*/ 11176602 h 17966907"/>
                <a:gd name="connsiteX7886" fmla="*/ 12344061 w 13797425"/>
                <a:gd name="connsiteY7886" fmla="*/ 11176602 h 17966907"/>
                <a:gd name="connsiteX7887" fmla="*/ 12315473 w 13797425"/>
                <a:gd name="connsiteY7887" fmla="*/ 11167072 h 17966907"/>
                <a:gd name="connsiteX7888" fmla="*/ 12296413 w 13797425"/>
                <a:gd name="connsiteY7888" fmla="*/ 11143246 h 17966907"/>
                <a:gd name="connsiteX7889" fmla="*/ 12277349 w 13797425"/>
                <a:gd name="connsiteY7889" fmla="*/ 11138481 h 17966907"/>
                <a:gd name="connsiteX7890" fmla="*/ 12258289 w 13797425"/>
                <a:gd name="connsiteY7890" fmla="*/ 11133716 h 17966907"/>
                <a:gd name="connsiteX7891" fmla="*/ 12253525 w 13797425"/>
                <a:gd name="connsiteY7891" fmla="*/ 11138481 h 17966907"/>
                <a:gd name="connsiteX7892" fmla="*/ 12277349 w 13797425"/>
                <a:gd name="connsiteY7892" fmla="*/ 11171837 h 17966907"/>
                <a:gd name="connsiteX7893" fmla="*/ 12272585 w 13797425"/>
                <a:gd name="connsiteY7893" fmla="*/ 11186132 h 17966907"/>
                <a:gd name="connsiteX7894" fmla="*/ 12263057 w 13797425"/>
                <a:gd name="connsiteY7894" fmla="*/ 11190898 h 17966907"/>
                <a:gd name="connsiteX7895" fmla="*/ 12253525 w 13797425"/>
                <a:gd name="connsiteY7895" fmla="*/ 11209958 h 17966907"/>
                <a:gd name="connsiteX7896" fmla="*/ 12301177 w 13797425"/>
                <a:gd name="connsiteY7896" fmla="*/ 11238549 h 17966907"/>
                <a:gd name="connsiteX7897" fmla="*/ 12334533 w 13797425"/>
                <a:gd name="connsiteY7897" fmla="*/ 11271905 h 17966907"/>
                <a:gd name="connsiteX7898" fmla="*/ 12339297 w 13797425"/>
                <a:gd name="connsiteY7898" fmla="*/ 11281435 h 17966907"/>
                <a:gd name="connsiteX7899" fmla="*/ 12315473 w 13797425"/>
                <a:gd name="connsiteY7899" fmla="*/ 11290966 h 17966907"/>
                <a:gd name="connsiteX7900" fmla="*/ 12301177 w 13797425"/>
                <a:gd name="connsiteY7900" fmla="*/ 11290966 h 17966907"/>
                <a:gd name="connsiteX7901" fmla="*/ 12263057 w 13797425"/>
                <a:gd name="connsiteY7901" fmla="*/ 11290966 h 17966907"/>
                <a:gd name="connsiteX7902" fmla="*/ 12243993 w 13797425"/>
                <a:gd name="connsiteY7902" fmla="*/ 11281435 h 17966907"/>
                <a:gd name="connsiteX7903" fmla="*/ 12239229 w 13797425"/>
                <a:gd name="connsiteY7903" fmla="*/ 11290966 h 17966907"/>
                <a:gd name="connsiteX7904" fmla="*/ 12258289 w 13797425"/>
                <a:gd name="connsiteY7904" fmla="*/ 11305261 h 17966907"/>
                <a:gd name="connsiteX7905" fmla="*/ 12267821 w 13797425"/>
                <a:gd name="connsiteY7905" fmla="*/ 11314791 h 17966907"/>
                <a:gd name="connsiteX7906" fmla="*/ 12272585 w 13797425"/>
                <a:gd name="connsiteY7906" fmla="*/ 11333852 h 17966907"/>
                <a:gd name="connsiteX7907" fmla="*/ 12277349 w 13797425"/>
                <a:gd name="connsiteY7907" fmla="*/ 11348147 h 17966907"/>
                <a:gd name="connsiteX7908" fmla="*/ 12277349 w 13797425"/>
                <a:gd name="connsiteY7908" fmla="*/ 11357677 h 17966907"/>
                <a:gd name="connsiteX7909" fmla="*/ 12263057 w 13797425"/>
                <a:gd name="connsiteY7909" fmla="*/ 11371972 h 17966907"/>
                <a:gd name="connsiteX7910" fmla="*/ 12243993 w 13797425"/>
                <a:gd name="connsiteY7910" fmla="*/ 11400563 h 17966907"/>
                <a:gd name="connsiteX7911" fmla="*/ 12234465 w 13797425"/>
                <a:gd name="connsiteY7911" fmla="*/ 11433919 h 17966907"/>
                <a:gd name="connsiteX7912" fmla="*/ 12215405 w 13797425"/>
                <a:gd name="connsiteY7912" fmla="*/ 11438684 h 17966907"/>
                <a:gd name="connsiteX7913" fmla="*/ 12210637 w 13797425"/>
                <a:gd name="connsiteY7913" fmla="*/ 11429154 h 17966907"/>
                <a:gd name="connsiteX7914" fmla="*/ 12186813 w 13797425"/>
                <a:gd name="connsiteY7914" fmla="*/ 11438684 h 17966907"/>
                <a:gd name="connsiteX7915" fmla="*/ 12158221 w 13797425"/>
                <a:gd name="connsiteY7915" fmla="*/ 11424389 h 17966907"/>
                <a:gd name="connsiteX7916" fmla="*/ 12143925 w 13797425"/>
                <a:gd name="connsiteY7916" fmla="*/ 11410094 h 17966907"/>
                <a:gd name="connsiteX7917" fmla="*/ 12110573 w 13797425"/>
                <a:gd name="connsiteY7917" fmla="*/ 11352912 h 17966907"/>
                <a:gd name="connsiteX7918" fmla="*/ 12110573 w 13797425"/>
                <a:gd name="connsiteY7918" fmla="*/ 11357677 h 17966907"/>
                <a:gd name="connsiteX7919" fmla="*/ 12120101 w 13797425"/>
                <a:gd name="connsiteY7919" fmla="*/ 11391033 h 17966907"/>
                <a:gd name="connsiteX7920" fmla="*/ 12115337 w 13797425"/>
                <a:gd name="connsiteY7920" fmla="*/ 11405328 h 17966907"/>
                <a:gd name="connsiteX7921" fmla="*/ 12081981 w 13797425"/>
                <a:gd name="connsiteY7921" fmla="*/ 11419624 h 17966907"/>
                <a:gd name="connsiteX7922" fmla="*/ 12081981 w 13797425"/>
                <a:gd name="connsiteY7922" fmla="*/ 11424389 h 17966907"/>
                <a:gd name="connsiteX7923" fmla="*/ 12101041 w 13797425"/>
                <a:gd name="connsiteY7923" fmla="*/ 11433919 h 17966907"/>
                <a:gd name="connsiteX7924" fmla="*/ 12129633 w 13797425"/>
                <a:gd name="connsiteY7924" fmla="*/ 11443450 h 17966907"/>
                <a:gd name="connsiteX7925" fmla="*/ 12124865 w 13797425"/>
                <a:gd name="connsiteY7925" fmla="*/ 11467275 h 17966907"/>
                <a:gd name="connsiteX7926" fmla="*/ 12124865 w 13797425"/>
                <a:gd name="connsiteY7926" fmla="*/ 11586403 h 17966907"/>
                <a:gd name="connsiteX7927" fmla="*/ 12120101 w 13797425"/>
                <a:gd name="connsiteY7927" fmla="*/ 11629290 h 17966907"/>
                <a:gd name="connsiteX7928" fmla="*/ 12105805 w 13797425"/>
                <a:gd name="connsiteY7928" fmla="*/ 11662645 h 17966907"/>
                <a:gd name="connsiteX7929" fmla="*/ 12086745 w 13797425"/>
                <a:gd name="connsiteY7929" fmla="*/ 11700766 h 17966907"/>
                <a:gd name="connsiteX7930" fmla="*/ 12067685 w 13797425"/>
                <a:gd name="connsiteY7930" fmla="*/ 11676941 h 17966907"/>
                <a:gd name="connsiteX7931" fmla="*/ 12058153 w 13797425"/>
                <a:gd name="connsiteY7931" fmla="*/ 11653115 h 17966907"/>
                <a:gd name="connsiteX7932" fmla="*/ 12053389 w 13797425"/>
                <a:gd name="connsiteY7932" fmla="*/ 11643585 h 17966907"/>
                <a:gd name="connsiteX7933" fmla="*/ 12043861 w 13797425"/>
                <a:gd name="connsiteY7933" fmla="*/ 11634054 h 17966907"/>
                <a:gd name="connsiteX7934" fmla="*/ 12029565 w 13797425"/>
                <a:gd name="connsiteY7934" fmla="*/ 11629290 h 17966907"/>
                <a:gd name="connsiteX7935" fmla="*/ 12015269 w 13797425"/>
                <a:gd name="connsiteY7935" fmla="*/ 11629290 h 17966907"/>
                <a:gd name="connsiteX7936" fmla="*/ 12000973 w 13797425"/>
                <a:gd name="connsiteY7936" fmla="*/ 11648350 h 17966907"/>
                <a:gd name="connsiteX7937" fmla="*/ 11986677 w 13797425"/>
                <a:gd name="connsiteY7937" fmla="*/ 11629290 h 17966907"/>
                <a:gd name="connsiteX7938" fmla="*/ 11972381 w 13797425"/>
                <a:gd name="connsiteY7938" fmla="*/ 11610229 h 17966907"/>
                <a:gd name="connsiteX7939" fmla="*/ 11977149 w 13797425"/>
                <a:gd name="connsiteY7939" fmla="*/ 11553048 h 17966907"/>
                <a:gd name="connsiteX7940" fmla="*/ 11981913 w 13797425"/>
                <a:gd name="connsiteY7940" fmla="*/ 11524457 h 17966907"/>
                <a:gd name="connsiteX7941" fmla="*/ 11972381 w 13797425"/>
                <a:gd name="connsiteY7941" fmla="*/ 11538752 h 17966907"/>
                <a:gd name="connsiteX7942" fmla="*/ 11953321 w 13797425"/>
                <a:gd name="connsiteY7942" fmla="*/ 11576873 h 17966907"/>
                <a:gd name="connsiteX7943" fmla="*/ 11939025 w 13797425"/>
                <a:gd name="connsiteY7943" fmla="*/ 11629290 h 17966907"/>
                <a:gd name="connsiteX7944" fmla="*/ 11919965 w 13797425"/>
                <a:gd name="connsiteY7944" fmla="*/ 11610229 h 17966907"/>
                <a:gd name="connsiteX7945" fmla="*/ 11905669 w 13797425"/>
                <a:gd name="connsiteY7945" fmla="*/ 11586403 h 17966907"/>
                <a:gd name="connsiteX7946" fmla="*/ 11891377 w 13797425"/>
                <a:gd name="connsiteY7946" fmla="*/ 11562578 h 17966907"/>
                <a:gd name="connsiteX7947" fmla="*/ 11872313 w 13797425"/>
                <a:gd name="connsiteY7947" fmla="*/ 11533987 h 17966907"/>
                <a:gd name="connsiteX7948" fmla="*/ 11853253 w 13797425"/>
                <a:gd name="connsiteY7948" fmla="*/ 11500631 h 17966907"/>
                <a:gd name="connsiteX7949" fmla="*/ 11843725 w 13797425"/>
                <a:gd name="connsiteY7949" fmla="*/ 11462510 h 17966907"/>
                <a:gd name="connsiteX7950" fmla="*/ 11838957 w 13797425"/>
                <a:gd name="connsiteY7950" fmla="*/ 11452980 h 17966907"/>
                <a:gd name="connsiteX7951" fmla="*/ 11824665 w 13797425"/>
                <a:gd name="connsiteY7951" fmla="*/ 11419624 h 17966907"/>
                <a:gd name="connsiteX7952" fmla="*/ 11819897 w 13797425"/>
                <a:gd name="connsiteY7952" fmla="*/ 11410094 h 17966907"/>
                <a:gd name="connsiteX7953" fmla="*/ 11815133 w 13797425"/>
                <a:gd name="connsiteY7953" fmla="*/ 11405328 h 17966907"/>
                <a:gd name="connsiteX7954" fmla="*/ 11805601 w 13797425"/>
                <a:gd name="connsiteY7954" fmla="*/ 11386268 h 17966907"/>
                <a:gd name="connsiteX7955" fmla="*/ 11810369 w 13797425"/>
                <a:gd name="connsiteY7955" fmla="*/ 11362442 h 17966907"/>
                <a:gd name="connsiteX7956" fmla="*/ 11824665 w 13797425"/>
                <a:gd name="connsiteY7956" fmla="*/ 11338617 h 17966907"/>
                <a:gd name="connsiteX7957" fmla="*/ 11838957 w 13797425"/>
                <a:gd name="connsiteY7957" fmla="*/ 11319556 h 17966907"/>
                <a:gd name="connsiteX7958" fmla="*/ 11862785 w 13797425"/>
                <a:gd name="connsiteY7958" fmla="*/ 11300496 h 17966907"/>
                <a:gd name="connsiteX7959" fmla="*/ 11891377 w 13797425"/>
                <a:gd name="connsiteY7959" fmla="*/ 11290966 h 17966907"/>
                <a:gd name="connsiteX7960" fmla="*/ 11905669 w 13797425"/>
                <a:gd name="connsiteY7960" fmla="*/ 11267140 h 17966907"/>
                <a:gd name="connsiteX7961" fmla="*/ 11919965 w 13797425"/>
                <a:gd name="connsiteY7961" fmla="*/ 11219488 h 17966907"/>
                <a:gd name="connsiteX7962" fmla="*/ 11939025 w 13797425"/>
                <a:gd name="connsiteY7962" fmla="*/ 11190898 h 17966907"/>
                <a:gd name="connsiteX7963" fmla="*/ 11958085 w 13797425"/>
                <a:gd name="connsiteY7963" fmla="*/ 11171837 h 17966907"/>
                <a:gd name="connsiteX7964" fmla="*/ 11948557 w 13797425"/>
                <a:gd name="connsiteY7964" fmla="*/ 11171837 h 17966907"/>
                <a:gd name="connsiteX7965" fmla="*/ 11924733 w 13797425"/>
                <a:gd name="connsiteY7965" fmla="*/ 11186132 h 17966907"/>
                <a:gd name="connsiteX7966" fmla="*/ 11905669 w 13797425"/>
                <a:gd name="connsiteY7966" fmla="*/ 11205193 h 17966907"/>
                <a:gd name="connsiteX7967" fmla="*/ 11886609 w 13797425"/>
                <a:gd name="connsiteY7967" fmla="*/ 11243314 h 17966907"/>
                <a:gd name="connsiteX7968" fmla="*/ 11867549 w 13797425"/>
                <a:gd name="connsiteY7968" fmla="*/ 11267140 h 17966907"/>
                <a:gd name="connsiteX7969" fmla="*/ 11819897 w 13797425"/>
                <a:gd name="connsiteY7969" fmla="*/ 11290966 h 17966907"/>
                <a:gd name="connsiteX7970" fmla="*/ 11805601 w 13797425"/>
                <a:gd name="connsiteY7970" fmla="*/ 11295730 h 17966907"/>
                <a:gd name="connsiteX7971" fmla="*/ 11786541 w 13797425"/>
                <a:gd name="connsiteY7971" fmla="*/ 11300496 h 17966907"/>
                <a:gd name="connsiteX7972" fmla="*/ 11738893 w 13797425"/>
                <a:gd name="connsiteY7972" fmla="*/ 11295730 h 17966907"/>
                <a:gd name="connsiteX7973" fmla="*/ 11729361 w 13797425"/>
                <a:gd name="connsiteY7973" fmla="*/ 11286200 h 17966907"/>
                <a:gd name="connsiteX7974" fmla="*/ 11734125 w 13797425"/>
                <a:gd name="connsiteY7974" fmla="*/ 11262375 h 17966907"/>
                <a:gd name="connsiteX7975" fmla="*/ 11767481 w 13797425"/>
                <a:gd name="connsiteY7975" fmla="*/ 11214723 h 17966907"/>
                <a:gd name="connsiteX7976" fmla="*/ 11762717 w 13797425"/>
                <a:gd name="connsiteY7976" fmla="*/ 11214723 h 17966907"/>
                <a:gd name="connsiteX7977" fmla="*/ 11753185 w 13797425"/>
                <a:gd name="connsiteY7977" fmla="*/ 11229019 h 17966907"/>
                <a:gd name="connsiteX7978" fmla="*/ 11734125 w 13797425"/>
                <a:gd name="connsiteY7978" fmla="*/ 11243314 h 17966907"/>
                <a:gd name="connsiteX7979" fmla="*/ 11724597 w 13797425"/>
                <a:gd name="connsiteY7979" fmla="*/ 11248079 h 17966907"/>
                <a:gd name="connsiteX7980" fmla="*/ 11705537 w 13797425"/>
                <a:gd name="connsiteY7980" fmla="*/ 11243314 h 17966907"/>
                <a:gd name="connsiteX7981" fmla="*/ 11681709 w 13797425"/>
                <a:gd name="connsiteY7981" fmla="*/ 11214723 h 17966907"/>
                <a:gd name="connsiteX7982" fmla="*/ 11672181 w 13797425"/>
                <a:gd name="connsiteY7982" fmla="*/ 11205193 h 17966907"/>
                <a:gd name="connsiteX7983" fmla="*/ 11648353 w 13797425"/>
                <a:gd name="connsiteY7983" fmla="*/ 11195663 h 17966907"/>
                <a:gd name="connsiteX7984" fmla="*/ 11638825 w 13797425"/>
                <a:gd name="connsiteY7984" fmla="*/ 11186132 h 17966907"/>
                <a:gd name="connsiteX7985" fmla="*/ 11600701 w 13797425"/>
                <a:gd name="connsiteY7985" fmla="*/ 11119421 h 17966907"/>
                <a:gd name="connsiteX7986" fmla="*/ 11595937 w 13797425"/>
                <a:gd name="connsiteY7986" fmla="*/ 11100360 h 17966907"/>
                <a:gd name="connsiteX7987" fmla="*/ 11591173 w 13797425"/>
                <a:gd name="connsiteY7987" fmla="*/ 11081300 h 17966907"/>
                <a:gd name="connsiteX7988" fmla="*/ 11576877 w 13797425"/>
                <a:gd name="connsiteY7988" fmla="*/ 11062239 h 17966907"/>
                <a:gd name="connsiteX7989" fmla="*/ 11557817 w 13797425"/>
                <a:gd name="connsiteY7989" fmla="*/ 11052709 h 17966907"/>
                <a:gd name="connsiteX7990" fmla="*/ 11553053 w 13797425"/>
                <a:gd name="connsiteY7990" fmla="*/ 11052709 h 17966907"/>
                <a:gd name="connsiteX7991" fmla="*/ 11562581 w 13797425"/>
                <a:gd name="connsiteY7991" fmla="*/ 11071770 h 17966907"/>
                <a:gd name="connsiteX7992" fmla="*/ 11562581 w 13797425"/>
                <a:gd name="connsiteY7992" fmla="*/ 11081300 h 17966907"/>
                <a:gd name="connsiteX7993" fmla="*/ 11543521 w 13797425"/>
                <a:gd name="connsiteY7993" fmla="*/ 11090830 h 17966907"/>
                <a:gd name="connsiteX7994" fmla="*/ 11529225 w 13797425"/>
                <a:gd name="connsiteY7994" fmla="*/ 11090830 h 17966907"/>
                <a:gd name="connsiteX7995" fmla="*/ 11510165 w 13797425"/>
                <a:gd name="connsiteY7995" fmla="*/ 11076535 h 17966907"/>
                <a:gd name="connsiteX7996" fmla="*/ 11510165 w 13797425"/>
                <a:gd name="connsiteY7996" fmla="*/ 11095595 h 17966907"/>
                <a:gd name="connsiteX7997" fmla="*/ 11529225 w 13797425"/>
                <a:gd name="connsiteY7997" fmla="*/ 11128951 h 17966907"/>
                <a:gd name="connsiteX7998" fmla="*/ 11529225 w 13797425"/>
                <a:gd name="connsiteY7998" fmla="*/ 11171837 h 17966907"/>
                <a:gd name="connsiteX7999" fmla="*/ 11519697 w 13797425"/>
                <a:gd name="connsiteY7999" fmla="*/ 11176602 h 17966907"/>
                <a:gd name="connsiteX8000" fmla="*/ 11510165 w 13797425"/>
                <a:gd name="connsiteY8000" fmla="*/ 11176602 h 17966907"/>
                <a:gd name="connsiteX8001" fmla="*/ 11500633 w 13797425"/>
                <a:gd name="connsiteY8001" fmla="*/ 11171837 h 17966907"/>
                <a:gd name="connsiteX8002" fmla="*/ 11472045 w 13797425"/>
                <a:gd name="connsiteY8002" fmla="*/ 11138481 h 17966907"/>
                <a:gd name="connsiteX8003" fmla="*/ 11443453 w 13797425"/>
                <a:gd name="connsiteY8003" fmla="*/ 11119421 h 17966907"/>
                <a:gd name="connsiteX8004" fmla="*/ 11419629 w 13797425"/>
                <a:gd name="connsiteY8004" fmla="*/ 11105126 h 17966907"/>
                <a:gd name="connsiteX8005" fmla="*/ 11419629 w 13797425"/>
                <a:gd name="connsiteY8005" fmla="*/ 11114656 h 17966907"/>
                <a:gd name="connsiteX8006" fmla="*/ 11433921 w 13797425"/>
                <a:gd name="connsiteY8006" fmla="*/ 11152777 h 17966907"/>
                <a:gd name="connsiteX8007" fmla="*/ 11448217 w 13797425"/>
                <a:gd name="connsiteY8007" fmla="*/ 11190898 h 17966907"/>
                <a:gd name="connsiteX8008" fmla="*/ 11472045 w 13797425"/>
                <a:gd name="connsiteY8008" fmla="*/ 11224254 h 17966907"/>
                <a:gd name="connsiteX8009" fmla="*/ 11510165 w 13797425"/>
                <a:gd name="connsiteY8009" fmla="*/ 11262375 h 17966907"/>
                <a:gd name="connsiteX8010" fmla="*/ 11529225 w 13797425"/>
                <a:gd name="connsiteY8010" fmla="*/ 11281435 h 17966907"/>
                <a:gd name="connsiteX8011" fmla="*/ 11514929 w 13797425"/>
                <a:gd name="connsiteY8011" fmla="*/ 11314791 h 17966907"/>
                <a:gd name="connsiteX8012" fmla="*/ 11500633 w 13797425"/>
                <a:gd name="connsiteY8012" fmla="*/ 11324321 h 17966907"/>
                <a:gd name="connsiteX8013" fmla="*/ 11495869 w 13797425"/>
                <a:gd name="connsiteY8013" fmla="*/ 11324321 h 17966907"/>
                <a:gd name="connsiteX8014" fmla="*/ 11472045 w 13797425"/>
                <a:gd name="connsiteY8014" fmla="*/ 11324321 h 17966907"/>
                <a:gd name="connsiteX8015" fmla="*/ 11429157 w 13797425"/>
                <a:gd name="connsiteY8015" fmla="*/ 11310026 h 17966907"/>
                <a:gd name="connsiteX8016" fmla="*/ 11405333 w 13797425"/>
                <a:gd name="connsiteY8016" fmla="*/ 11290966 h 17966907"/>
                <a:gd name="connsiteX8017" fmla="*/ 11376741 w 13797425"/>
                <a:gd name="connsiteY8017" fmla="*/ 11248079 h 17966907"/>
                <a:gd name="connsiteX8018" fmla="*/ 11329089 w 13797425"/>
                <a:gd name="connsiteY8018" fmla="*/ 11200428 h 17966907"/>
                <a:gd name="connsiteX8019" fmla="*/ 11319561 w 13797425"/>
                <a:gd name="connsiteY8019" fmla="*/ 11200428 h 17966907"/>
                <a:gd name="connsiteX8020" fmla="*/ 11286205 w 13797425"/>
                <a:gd name="connsiteY8020" fmla="*/ 11219488 h 17966907"/>
                <a:gd name="connsiteX8021" fmla="*/ 11290969 w 13797425"/>
                <a:gd name="connsiteY8021" fmla="*/ 11219488 h 17966907"/>
                <a:gd name="connsiteX8022" fmla="*/ 11310029 w 13797425"/>
                <a:gd name="connsiteY8022" fmla="*/ 11224254 h 17966907"/>
                <a:gd name="connsiteX8023" fmla="*/ 11329089 w 13797425"/>
                <a:gd name="connsiteY8023" fmla="*/ 11229019 h 17966907"/>
                <a:gd name="connsiteX8024" fmla="*/ 11367213 w 13797425"/>
                <a:gd name="connsiteY8024" fmla="*/ 11267140 h 17966907"/>
                <a:gd name="connsiteX8025" fmla="*/ 11371977 w 13797425"/>
                <a:gd name="connsiteY8025" fmla="*/ 11281435 h 17966907"/>
                <a:gd name="connsiteX8026" fmla="*/ 11362445 w 13797425"/>
                <a:gd name="connsiteY8026" fmla="*/ 11295730 h 17966907"/>
                <a:gd name="connsiteX8027" fmla="*/ 11362445 w 13797425"/>
                <a:gd name="connsiteY8027" fmla="*/ 11319556 h 17966907"/>
                <a:gd name="connsiteX8028" fmla="*/ 11371977 w 13797425"/>
                <a:gd name="connsiteY8028" fmla="*/ 11343382 h 17966907"/>
                <a:gd name="connsiteX8029" fmla="*/ 11381505 w 13797425"/>
                <a:gd name="connsiteY8029" fmla="*/ 11362442 h 17966907"/>
                <a:gd name="connsiteX8030" fmla="*/ 11405333 w 13797425"/>
                <a:gd name="connsiteY8030" fmla="*/ 11371972 h 17966907"/>
                <a:gd name="connsiteX8031" fmla="*/ 11419629 w 13797425"/>
                <a:gd name="connsiteY8031" fmla="*/ 11376738 h 17966907"/>
                <a:gd name="connsiteX8032" fmla="*/ 11419629 w 13797425"/>
                <a:gd name="connsiteY8032" fmla="*/ 11381503 h 17966907"/>
                <a:gd name="connsiteX8033" fmla="*/ 11410097 w 13797425"/>
                <a:gd name="connsiteY8033" fmla="*/ 11438684 h 17966907"/>
                <a:gd name="connsiteX8034" fmla="*/ 11405333 w 13797425"/>
                <a:gd name="connsiteY8034" fmla="*/ 11452980 h 17966907"/>
                <a:gd name="connsiteX8035" fmla="*/ 11410097 w 13797425"/>
                <a:gd name="connsiteY8035" fmla="*/ 11462510 h 17966907"/>
                <a:gd name="connsiteX8036" fmla="*/ 11414861 w 13797425"/>
                <a:gd name="connsiteY8036" fmla="*/ 11462510 h 17966907"/>
                <a:gd name="connsiteX8037" fmla="*/ 11443453 w 13797425"/>
                <a:gd name="connsiteY8037" fmla="*/ 11438684 h 17966907"/>
                <a:gd name="connsiteX8038" fmla="*/ 11457749 w 13797425"/>
                <a:gd name="connsiteY8038" fmla="*/ 11433919 h 17966907"/>
                <a:gd name="connsiteX8039" fmla="*/ 11467277 w 13797425"/>
                <a:gd name="connsiteY8039" fmla="*/ 11429154 h 17966907"/>
                <a:gd name="connsiteX8040" fmla="*/ 11481573 w 13797425"/>
                <a:gd name="connsiteY8040" fmla="*/ 11438684 h 17966907"/>
                <a:gd name="connsiteX8041" fmla="*/ 11495869 w 13797425"/>
                <a:gd name="connsiteY8041" fmla="*/ 11452980 h 17966907"/>
                <a:gd name="connsiteX8042" fmla="*/ 11500633 w 13797425"/>
                <a:gd name="connsiteY8042" fmla="*/ 11467275 h 17966907"/>
                <a:gd name="connsiteX8043" fmla="*/ 11505401 w 13797425"/>
                <a:gd name="connsiteY8043" fmla="*/ 11481570 h 17966907"/>
                <a:gd name="connsiteX8044" fmla="*/ 11510165 w 13797425"/>
                <a:gd name="connsiteY8044" fmla="*/ 11491101 h 17966907"/>
                <a:gd name="connsiteX8045" fmla="*/ 11538757 w 13797425"/>
                <a:gd name="connsiteY8045" fmla="*/ 11510161 h 17966907"/>
                <a:gd name="connsiteX8046" fmla="*/ 11533989 w 13797425"/>
                <a:gd name="connsiteY8046" fmla="*/ 11514926 h 17966907"/>
                <a:gd name="connsiteX8047" fmla="*/ 11505401 w 13797425"/>
                <a:gd name="connsiteY8047" fmla="*/ 11538752 h 17966907"/>
                <a:gd name="connsiteX8048" fmla="*/ 11505401 w 13797425"/>
                <a:gd name="connsiteY8048" fmla="*/ 11543517 h 17966907"/>
                <a:gd name="connsiteX8049" fmla="*/ 11510165 w 13797425"/>
                <a:gd name="connsiteY8049" fmla="*/ 11543517 h 17966907"/>
                <a:gd name="connsiteX8050" fmla="*/ 11529225 w 13797425"/>
                <a:gd name="connsiteY8050" fmla="*/ 11557812 h 17966907"/>
                <a:gd name="connsiteX8051" fmla="*/ 11548285 w 13797425"/>
                <a:gd name="connsiteY8051" fmla="*/ 11581638 h 17966907"/>
                <a:gd name="connsiteX8052" fmla="*/ 11557817 w 13797425"/>
                <a:gd name="connsiteY8052" fmla="*/ 11610229 h 17966907"/>
                <a:gd name="connsiteX8053" fmla="*/ 11557817 w 13797425"/>
                <a:gd name="connsiteY8053" fmla="*/ 11619759 h 17966907"/>
                <a:gd name="connsiteX8054" fmla="*/ 11557817 w 13797425"/>
                <a:gd name="connsiteY8054" fmla="*/ 11634054 h 17966907"/>
                <a:gd name="connsiteX8055" fmla="*/ 11562581 w 13797425"/>
                <a:gd name="connsiteY8055" fmla="*/ 11638820 h 17966907"/>
                <a:gd name="connsiteX8056" fmla="*/ 11572113 w 13797425"/>
                <a:gd name="connsiteY8056" fmla="*/ 11643585 h 17966907"/>
                <a:gd name="connsiteX8057" fmla="*/ 11576877 w 13797425"/>
                <a:gd name="connsiteY8057" fmla="*/ 11638820 h 17966907"/>
                <a:gd name="connsiteX8058" fmla="*/ 11586405 w 13797425"/>
                <a:gd name="connsiteY8058" fmla="*/ 11643585 h 17966907"/>
                <a:gd name="connsiteX8059" fmla="*/ 11586405 w 13797425"/>
                <a:gd name="connsiteY8059" fmla="*/ 11662645 h 17966907"/>
                <a:gd name="connsiteX8060" fmla="*/ 11600701 w 13797425"/>
                <a:gd name="connsiteY8060" fmla="*/ 11724592 h 17966907"/>
                <a:gd name="connsiteX8061" fmla="*/ 11605469 w 13797425"/>
                <a:gd name="connsiteY8061" fmla="*/ 11738888 h 17966907"/>
                <a:gd name="connsiteX8062" fmla="*/ 11610233 w 13797425"/>
                <a:gd name="connsiteY8062" fmla="*/ 11738888 h 17966907"/>
                <a:gd name="connsiteX8063" fmla="*/ 11610233 w 13797425"/>
                <a:gd name="connsiteY8063" fmla="*/ 11681706 h 17966907"/>
                <a:gd name="connsiteX8064" fmla="*/ 11614997 w 13797425"/>
                <a:gd name="connsiteY8064" fmla="*/ 11672176 h 17966907"/>
                <a:gd name="connsiteX8065" fmla="*/ 11634057 w 13797425"/>
                <a:gd name="connsiteY8065" fmla="*/ 11681706 h 17966907"/>
                <a:gd name="connsiteX8066" fmla="*/ 11657885 w 13797425"/>
                <a:gd name="connsiteY8066" fmla="*/ 11705532 h 17966907"/>
                <a:gd name="connsiteX8067" fmla="*/ 11676945 w 13797425"/>
                <a:gd name="connsiteY8067" fmla="*/ 11724592 h 17966907"/>
                <a:gd name="connsiteX8068" fmla="*/ 11681709 w 13797425"/>
                <a:gd name="connsiteY8068" fmla="*/ 11734122 h 17966907"/>
                <a:gd name="connsiteX8069" fmla="*/ 11667413 w 13797425"/>
                <a:gd name="connsiteY8069" fmla="*/ 11753183 h 17966907"/>
                <a:gd name="connsiteX8070" fmla="*/ 11667413 w 13797425"/>
                <a:gd name="connsiteY8070" fmla="*/ 11762713 h 17966907"/>
                <a:gd name="connsiteX8071" fmla="*/ 11681709 w 13797425"/>
                <a:gd name="connsiteY8071" fmla="*/ 11772243 h 17966907"/>
                <a:gd name="connsiteX8072" fmla="*/ 11691241 w 13797425"/>
                <a:gd name="connsiteY8072" fmla="*/ 11767478 h 17966907"/>
                <a:gd name="connsiteX8073" fmla="*/ 11696005 w 13797425"/>
                <a:gd name="connsiteY8073" fmla="*/ 11748418 h 17966907"/>
                <a:gd name="connsiteX8074" fmla="*/ 11710301 w 13797425"/>
                <a:gd name="connsiteY8074" fmla="*/ 11729357 h 17966907"/>
                <a:gd name="connsiteX8075" fmla="*/ 11724597 w 13797425"/>
                <a:gd name="connsiteY8075" fmla="*/ 11715062 h 17966907"/>
                <a:gd name="connsiteX8076" fmla="*/ 11748421 w 13797425"/>
                <a:gd name="connsiteY8076" fmla="*/ 11724592 h 17966907"/>
                <a:gd name="connsiteX8077" fmla="*/ 11772245 w 13797425"/>
                <a:gd name="connsiteY8077" fmla="*/ 11757948 h 17966907"/>
                <a:gd name="connsiteX8078" fmla="*/ 11777013 w 13797425"/>
                <a:gd name="connsiteY8078" fmla="*/ 11767478 h 17966907"/>
                <a:gd name="connsiteX8079" fmla="*/ 11791309 w 13797425"/>
                <a:gd name="connsiteY8079" fmla="*/ 11781774 h 17966907"/>
                <a:gd name="connsiteX8080" fmla="*/ 11800837 w 13797425"/>
                <a:gd name="connsiteY8080" fmla="*/ 11772243 h 17966907"/>
                <a:gd name="connsiteX8081" fmla="*/ 11824665 w 13797425"/>
                <a:gd name="connsiteY8081" fmla="*/ 11805599 h 17966907"/>
                <a:gd name="connsiteX8082" fmla="*/ 11815133 w 13797425"/>
                <a:gd name="connsiteY8082" fmla="*/ 11824660 h 17966907"/>
                <a:gd name="connsiteX8083" fmla="*/ 11791309 w 13797425"/>
                <a:gd name="connsiteY8083" fmla="*/ 11843720 h 17966907"/>
                <a:gd name="connsiteX8084" fmla="*/ 11786541 w 13797425"/>
                <a:gd name="connsiteY8084" fmla="*/ 11853250 h 17966907"/>
                <a:gd name="connsiteX8085" fmla="*/ 11791309 w 13797425"/>
                <a:gd name="connsiteY8085" fmla="*/ 11853250 h 17966907"/>
                <a:gd name="connsiteX8086" fmla="*/ 11843725 w 13797425"/>
                <a:gd name="connsiteY8086" fmla="*/ 11853250 h 17966907"/>
                <a:gd name="connsiteX8087" fmla="*/ 11853253 w 13797425"/>
                <a:gd name="connsiteY8087" fmla="*/ 11862781 h 17966907"/>
                <a:gd name="connsiteX8088" fmla="*/ 11858021 w 13797425"/>
                <a:gd name="connsiteY8088" fmla="*/ 11877076 h 17966907"/>
                <a:gd name="connsiteX8089" fmla="*/ 11834193 w 13797425"/>
                <a:gd name="connsiteY8089" fmla="*/ 11924728 h 17966907"/>
                <a:gd name="connsiteX8090" fmla="*/ 11815133 w 13797425"/>
                <a:gd name="connsiteY8090" fmla="*/ 11919962 h 17966907"/>
                <a:gd name="connsiteX8091" fmla="*/ 11791309 w 13797425"/>
                <a:gd name="connsiteY8091" fmla="*/ 11919962 h 17966907"/>
                <a:gd name="connsiteX8092" fmla="*/ 11777013 w 13797425"/>
                <a:gd name="connsiteY8092" fmla="*/ 11924728 h 17966907"/>
                <a:gd name="connsiteX8093" fmla="*/ 11777013 w 13797425"/>
                <a:gd name="connsiteY8093" fmla="*/ 11929492 h 17966907"/>
                <a:gd name="connsiteX8094" fmla="*/ 11815133 w 13797425"/>
                <a:gd name="connsiteY8094" fmla="*/ 11953318 h 17966907"/>
                <a:gd name="connsiteX8095" fmla="*/ 11824665 w 13797425"/>
                <a:gd name="connsiteY8095" fmla="*/ 11972378 h 17966907"/>
                <a:gd name="connsiteX8096" fmla="*/ 11838957 w 13797425"/>
                <a:gd name="connsiteY8096" fmla="*/ 11986674 h 17966907"/>
                <a:gd name="connsiteX8097" fmla="*/ 11848489 w 13797425"/>
                <a:gd name="connsiteY8097" fmla="*/ 12005734 h 17966907"/>
                <a:gd name="connsiteX8098" fmla="*/ 11848489 w 13797425"/>
                <a:gd name="connsiteY8098" fmla="*/ 12010500 h 17966907"/>
                <a:gd name="connsiteX8099" fmla="*/ 11838957 w 13797425"/>
                <a:gd name="connsiteY8099" fmla="*/ 12020030 h 17966907"/>
                <a:gd name="connsiteX8100" fmla="*/ 11843725 w 13797425"/>
                <a:gd name="connsiteY8100" fmla="*/ 12024795 h 17966907"/>
                <a:gd name="connsiteX8101" fmla="*/ 11867549 w 13797425"/>
                <a:gd name="connsiteY8101" fmla="*/ 12034326 h 17966907"/>
                <a:gd name="connsiteX8102" fmla="*/ 11881845 w 13797425"/>
                <a:gd name="connsiteY8102" fmla="*/ 12024795 h 17966907"/>
                <a:gd name="connsiteX8103" fmla="*/ 11900905 w 13797425"/>
                <a:gd name="connsiteY8103" fmla="*/ 12024795 h 17966907"/>
                <a:gd name="connsiteX8104" fmla="*/ 11919965 w 13797425"/>
                <a:gd name="connsiteY8104" fmla="*/ 12024795 h 17966907"/>
                <a:gd name="connsiteX8105" fmla="*/ 11919965 w 13797425"/>
                <a:gd name="connsiteY8105" fmla="*/ 12029560 h 17966907"/>
                <a:gd name="connsiteX8106" fmla="*/ 11919965 w 13797425"/>
                <a:gd name="connsiteY8106" fmla="*/ 12048620 h 17966907"/>
                <a:gd name="connsiteX8107" fmla="*/ 11900905 w 13797425"/>
                <a:gd name="connsiteY8107" fmla="*/ 12067681 h 17966907"/>
                <a:gd name="connsiteX8108" fmla="*/ 11905669 w 13797425"/>
                <a:gd name="connsiteY8108" fmla="*/ 12067681 h 17966907"/>
                <a:gd name="connsiteX8109" fmla="*/ 11924733 w 13797425"/>
                <a:gd name="connsiteY8109" fmla="*/ 12062916 h 17966907"/>
                <a:gd name="connsiteX8110" fmla="*/ 11934261 w 13797425"/>
                <a:gd name="connsiteY8110" fmla="*/ 12072446 h 17966907"/>
                <a:gd name="connsiteX8111" fmla="*/ 11948557 w 13797425"/>
                <a:gd name="connsiteY8111" fmla="*/ 12110568 h 17966907"/>
                <a:gd name="connsiteX8112" fmla="*/ 11962853 w 13797425"/>
                <a:gd name="connsiteY8112" fmla="*/ 12139158 h 17966907"/>
                <a:gd name="connsiteX8113" fmla="*/ 11948557 w 13797425"/>
                <a:gd name="connsiteY8113" fmla="*/ 12143924 h 17966907"/>
                <a:gd name="connsiteX8114" fmla="*/ 11939025 w 13797425"/>
                <a:gd name="connsiteY8114" fmla="*/ 12148688 h 17966907"/>
                <a:gd name="connsiteX8115" fmla="*/ 11939025 w 13797425"/>
                <a:gd name="connsiteY8115" fmla="*/ 12186810 h 17966907"/>
                <a:gd name="connsiteX8116" fmla="*/ 11948557 w 13797425"/>
                <a:gd name="connsiteY8116" fmla="*/ 12224930 h 17966907"/>
                <a:gd name="connsiteX8117" fmla="*/ 11948557 w 13797425"/>
                <a:gd name="connsiteY8117" fmla="*/ 12263052 h 17966907"/>
                <a:gd name="connsiteX8118" fmla="*/ 11943793 w 13797425"/>
                <a:gd name="connsiteY8118" fmla="*/ 12291642 h 17966907"/>
                <a:gd name="connsiteX8119" fmla="*/ 11934261 w 13797425"/>
                <a:gd name="connsiteY8119" fmla="*/ 12301172 h 17966907"/>
                <a:gd name="connsiteX8120" fmla="*/ 11919965 w 13797425"/>
                <a:gd name="connsiteY8120" fmla="*/ 12301172 h 17966907"/>
                <a:gd name="connsiteX8121" fmla="*/ 11915201 w 13797425"/>
                <a:gd name="connsiteY8121" fmla="*/ 12291642 h 17966907"/>
                <a:gd name="connsiteX8122" fmla="*/ 11886609 w 13797425"/>
                <a:gd name="connsiteY8122" fmla="*/ 12196340 h 17966907"/>
                <a:gd name="connsiteX8123" fmla="*/ 11881845 w 13797425"/>
                <a:gd name="connsiteY8123" fmla="*/ 12177279 h 17966907"/>
                <a:gd name="connsiteX8124" fmla="*/ 11872313 w 13797425"/>
                <a:gd name="connsiteY8124" fmla="*/ 12162984 h 17966907"/>
                <a:gd name="connsiteX8125" fmla="*/ 11838957 w 13797425"/>
                <a:gd name="connsiteY8125" fmla="*/ 12120098 h 17966907"/>
                <a:gd name="connsiteX8126" fmla="*/ 11838957 w 13797425"/>
                <a:gd name="connsiteY8126" fmla="*/ 12124863 h 17966907"/>
                <a:gd name="connsiteX8127" fmla="*/ 11848489 w 13797425"/>
                <a:gd name="connsiteY8127" fmla="*/ 12143924 h 17966907"/>
                <a:gd name="connsiteX8128" fmla="*/ 11853253 w 13797425"/>
                <a:gd name="connsiteY8128" fmla="*/ 12172514 h 17966907"/>
                <a:gd name="connsiteX8129" fmla="*/ 11862785 w 13797425"/>
                <a:gd name="connsiteY8129" fmla="*/ 12234460 h 17966907"/>
                <a:gd name="connsiteX8130" fmla="*/ 11867549 w 13797425"/>
                <a:gd name="connsiteY8130" fmla="*/ 12267816 h 17966907"/>
                <a:gd name="connsiteX8131" fmla="*/ 11867549 w 13797425"/>
                <a:gd name="connsiteY8131" fmla="*/ 12282112 h 17966907"/>
                <a:gd name="connsiteX8132" fmla="*/ 11862785 w 13797425"/>
                <a:gd name="connsiteY8132" fmla="*/ 12286877 h 17966907"/>
                <a:gd name="connsiteX8133" fmla="*/ 11858021 w 13797425"/>
                <a:gd name="connsiteY8133" fmla="*/ 12291642 h 17966907"/>
                <a:gd name="connsiteX8134" fmla="*/ 11862785 w 13797425"/>
                <a:gd name="connsiteY8134" fmla="*/ 12305938 h 17966907"/>
                <a:gd name="connsiteX8135" fmla="*/ 11886609 w 13797425"/>
                <a:gd name="connsiteY8135" fmla="*/ 12344058 h 17966907"/>
                <a:gd name="connsiteX8136" fmla="*/ 11896141 w 13797425"/>
                <a:gd name="connsiteY8136" fmla="*/ 12363119 h 17966907"/>
                <a:gd name="connsiteX8137" fmla="*/ 11905669 w 13797425"/>
                <a:gd name="connsiteY8137" fmla="*/ 12386945 h 17966907"/>
                <a:gd name="connsiteX8138" fmla="*/ 11915201 w 13797425"/>
                <a:gd name="connsiteY8138" fmla="*/ 12406006 h 17966907"/>
                <a:gd name="connsiteX8139" fmla="*/ 11919965 w 13797425"/>
                <a:gd name="connsiteY8139" fmla="*/ 12410770 h 17966907"/>
                <a:gd name="connsiteX8140" fmla="*/ 11919965 w 13797425"/>
                <a:gd name="connsiteY8140" fmla="*/ 12420300 h 17966907"/>
                <a:gd name="connsiteX8141" fmla="*/ 11910437 w 13797425"/>
                <a:gd name="connsiteY8141" fmla="*/ 12425066 h 17966907"/>
                <a:gd name="connsiteX8142" fmla="*/ 11891377 w 13797425"/>
                <a:gd name="connsiteY8142" fmla="*/ 12425066 h 17966907"/>
                <a:gd name="connsiteX8143" fmla="*/ 11881845 w 13797425"/>
                <a:gd name="connsiteY8143" fmla="*/ 12425066 h 17966907"/>
                <a:gd name="connsiteX8144" fmla="*/ 11848489 w 13797425"/>
                <a:gd name="connsiteY8144" fmla="*/ 12401240 h 17966907"/>
                <a:gd name="connsiteX8145" fmla="*/ 11843725 w 13797425"/>
                <a:gd name="connsiteY8145" fmla="*/ 12406006 h 17966907"/>
                <a:gd name="connsiteX8146" fmla="*/ 11862785 w 13797425"/>
                <a:gd name="connsiteY8146" fmla="*/ 12487012 h 17966907"/>
                <a:gd name="connsiteX8147" fmla="*/ 11862785 w 13797425"/>
                <a:gd name="connsiteY8147" fmla="*/ 12506073 h 17966907"/>
                <a:gd name="connsiteX8148" fmla="*/ 11853253 w 13797425"/>
                <a:gd name="connsiteY8148" fmla="*/ 12510838 h 17966907"/>
                <a:gd name="connsiteX8149" fmla="*/ 11843725 w 13797425"/>
                <a:gd name="connsiteY8149" fmla="*/ 12506073 h 17966907"/>
                <a:gd name="connsiteX8150" fmla="*/ 11829429 w 13797425"/>
                <a:gd name="connsiteY8150" fmla="*/ 12482248 h 17966907"/>
                <a:gd name="connsiteX8151" fmla="*/ 11805601 w 13797425"/>
                <a:gd name="connsiteY8151" fmla="*/ 12458422 h 17966907"/>
                <a:gd name="connsiteX8152" fmla="*/ 11781777 w 13797425"/>
                <a:gd name="connsiteY8152" fmla="*/ 12429831 h 17966907"/>
                <a:gd name="connsiteX8153" fmla="*/ 11753185 w 13797425"/>
                <a:gd name="connsiteY8153" fmla="*/ 12410770 h 17966907"/>
                <a:gd name="connsiteX8154" fmla="*/ 11748421 w 13797425"/>
                <a:gd name="connsiteY8154" fmla="*/ 12410770 h 17966907"/>
                <a:gd name="connsiteX8155" fmla="*/ 11743657 w 13797425"/>
                <a:gd name="connsiteY8155" fmla="*/ 12415536 h 17966907"/>
                <a:gd name="connsiteX8156" fmla="*/ 11738893 w 13797425"/>
                <a:gd name="connsiteY8156" fmla="*/ 12415536 h 17966907"/>
                <a:gd name="connsiteX8157" fmla="*/ 11734125 w 13797425"/>
                <a:gd name="connsiteY8157" fmla="*/ 12410770 h 17966907"/>
                <a:gd name="connsiteX8158" fmla="*/ 11724597 w 13797425"/>
                <a:gd name="connsiteY8158" fmla="*/ 12396475 h 17966907"/>
                <a:gd name="connsiteX8159" fmla="*/ 11715065 w 13797425"/>
                <a:gd name="connsiteY8159" fmla="*/ 12386945 h 17966907"/>
                <a:gd name="connsiteX8160" fmla="*/ 11676945 w 13797425"/>
                <a:gd name="connsiteY8160" fmla="*/ 12348824 h 17966907"/>
                <a:gd name="connsiteX8161" fmla="*/ 11672181 w 13797425"/>
                <a:gd name="connsiteY8161" fmla="*/ 12348824 h 17966907"/>
                <a:gd name="connsiteX8162" fmla="*/ 11676945 w 13797425"/>
                <a:gd name="connsiteY8162" fmla="*/ 12358354 h 17966907"/>
                <a:gd name="connsiteX8163" fmla="*/ 11681709 w 13797425"/>
                <a:gd name="connsiteY8163" fmla="*/ 12382180 h 17966907"/>
                <a:gd name="connsiteX8164" fmla="*/ 11676945 w 13797425"/>
                <a:gd name="connsiteY8164" fmla="*/ 12386945 h 17966907"/>
                <a:gd name="connsiteX8165" fmla="*/ 11667413 w 13797425"/>
                <a:gd name="connsiteY8165" fmla="*/ 12386945 h 17966907"/>
                <a:gd name="connsiteX8166" fmla="*/ 11648353 w 13797425"/>
                <a:gd name="connsiteY8166" fmla="*/ 12377414 h 17966907"/>
                <a:gd name="connsiteX8167" fmla="*/ 11634057 w 13797425"/>
                <a:gd name="connsiteY8167" fmla="*/ 12353589 h 17966907"/>
                <a:gd name="connsiteX8168" fmla="*/ 11619761 w 13797425"/>
                <a:gd name="connsiteY8168" fmla="*/ 12310702 h 17966907"/>
                <a:gd name="connsiteX8169" fmla="*/ 11610233 w 13797425"/>
                <a:gd name="connsiteY8169" fmla="*/ 12291642 h 17966907"/>
                <a:gd name="connsiteX8170" fmla="*/ 11610233 w 13797425"/>
                <a:gd name="connsiteY8170" fmla="*/ 12305938 h 17966907"/>
                <a:gd name="connsiteX8171" fmla="*/ 11614997 w 13797425"/>
                <a:gd name="connsiteY8171" fmla="*/ 12344058 h 17966907"/>
                <a:gd name="connsiteX8172" fmla="*/ 11614997 w 13797425"/>
                <a:gd name="connsiteY8172" fmla="*/ 12358354 h 17966907"/>
                <a:gd name="connsiteX8173" fmla="*/ 11605469 w 13797425"/>
                <a:gd name="connsiteY8173" fmla="*/ 12363119 h 17966907"/>
                <a:gd name="connsiteX8174" fmla="*/ 11600701 w 13797425"/>
                <a:gd name="connsiteY8174" fmla="*/ 12358354 h 17966907"/>
                <a:gd name="connsiteX8175" fmla="*/ 11595937 w 13797425"/>
                <a:gd name="connsiteY8175" fmla="*/ 12348824 h 17966907"/>
                <a:gd name="connsiteX8176" fmla="*/ 11591173 w 13797425"/>
                <a:gd name="connsiteY8176" fmla="*/ 12329763 h 17966907"/>
                <a:gd name="connsiteX8177" fmla="*/ 11581641 w 13797425"/>
                <a:gd name="connsiteY8177" fmla="*/ 12315468 h 17966907"/>
                <a:gd name="connsiteX8178" fmla="*/ 11567345 w 13797425"/>
                <a:gd name="connsiteY8178" fmla="*/ 12305938 h 17966907"/>
                <a:gd name="connsiteX8179" fmla="*/ 11562581 w 13797425"/>
                <a:gd name="connsiteY8179" fmla="*/ 12296408 h 17966907"/>
                <a:gd name="connsiteX8180" fmla="*/ 11557817 w 13797425"/>
                <a:gd name="connsiteY8180" fmla="*/ 12277347 h 17966907"/>
                <a:gd name="connsiteX8181" fmla="*/ 11553053 w 13797425"/>
                <a:gd name="connsiteY8181" fmla="*/ 12277347 h 17966907"/>
                <a:gd name="connsiteX8182" fmla="*/ 11529225 w 13797425"/>
                <a:gd name="connsiteY8182" fmla="*/ 12277347 h 17966907"/>
                <a:gd name="connsiteX8183" fmla="*/ 11514929 w 13797425"/>
                <a:gd name="connsiteY8183" fmla="*/ 12267816 h 17966907"/>
                <a:gd name="connsiteX8184" fmla="*/ 11481573 w 13797425"/>
                <a:gd name="connsiteY8184" fmla="*/ 12220166 h 17966907"/>
                <a:gd name="connsiteX8185" fmla="*/ 11448217 w 13797425"/>
                <a:gd name="connsiteY8185" fmla="*/ 12162984 h 17966907"/>
                <a:gd name="connsiteX8186" fmla="*/ 11424393 w 13797425"/>
                <a:gd name="connsiteY8186" fmla="*/ 12134393 h 17966907"/>
                <a:gd name="connsiteX8187" fmla="*/ 11419629 w 13797425"/>
                <a:gd name="connsiteY8187" fmla="*/ 12129628 h 17966907"/>
                <a:gd name="connsiteX8188" fmla="*/ 11429157 w 13797425"/>
                <a:gd name="connsiteY8188" fmla="*/ 12162984 h 17966907"/>
                <a:gd name="connsiteX8189" fmla="*/ 11443453 w 13797425"/>
                <a:gd name="connsiteY8189" fmla="*/ 12215400 h 17966907"/>
                <a:gd name="connsiteX8190" fmla="*/ 11443453 w 13797425"/>
                <a:gd name="connsiteY8190" fmla="*/ 12239226 h 17966907"/>
                <a:gd name="connsiteX8191" fmla="*/ 11438689 w 13797425"/>
                <a:gd name="connsiteY8191" fmla="*/ 12239226 h 17966907"/>
                <a:gd name="connsiteX8192" fmla="*/ 11424393 w 13797425"/>
                <a:gd name="connsiteY8192" fmla="*/ 12229696 h 17966907"/>
                <a:gd name="connsiteX8193" fmla="*/ 11362445 w 13797425"/>
                <a:gd name="connsiteY8193" fmla="*/ 12162984 h 17966907"/>
                <a:gd name="connsiteX8194" fmla="*/ 11324325 w 13797425"/>
                <a:gd name="connsiteY8194" fmla="*/ 12134393 h 17966907"/>
                <a:gd name="connsiteX8195" fmla="*/ 11300501 w 13797425"/>
                <a:gd name="connsiteY8195" fmla="*/ 12124863 h 17966907"/>
                <a:gd name="connsiteX8196" fmla="*/ 11267145 w 13797425"/>
                <a:gd name="connsiteY8196" fmla="*/ 12124863 h 17966907"/>
                <a:gd name="connsiteX8197" fmla="*/ 11257613 w 13797425"/>
                <a:gd name="connsiteY8197" fmla="*/ 12139158 h 17966907"/>
                <a:gd name="connsiteX8198" fmla="*/ 11276673 w 13797425"/>
                <a:gd name="connsiteY8198" fmla="*/ 12177279 h 17966907"/>
                <a:gd name="connsiteX8199" fmla="*/ 11295733 w 13797425"/>
                <a:gd name="connsiteY8199" fmla="*/ 12205870 h 17966907"/>
                <a:gd name="connsiteX8200" fmla="*/ 11314793 w 13797425"/>
                <a:gd name="connsiteY8200" fmla="*/ 12224930 h 17966907"/>
                <a:gd name="connsiteX8201" fmla="*/ 11343385 w 13797425"/>
                <a:gd name="connsiteY8201" fmla="*/ 12263052 h 17966907"/>
                <a:gd name="connsiteX8202" fmla="*/ 11367213 w 13797425"/>
                <a:gd name="connsiteY8202" fmla="*/ 12310702 h 17966907"/>
                <a:gd name="connsiteX8203" fmla="*/ 11376741 w 13797425"/>
                <a:gd name="connsiteY8203" fmla="*/ 12324998 h 17966907"/>
                <a:gd name="connsiteX8204" fmla="*/ 11414861 w 13797425"/>
                <a:gd name="connsiteY8204" fmla="*/ 12344058 h 17966907"/>
                <a:gd name="connsiteX8205" fmla="*/ 11433921 w 13797425"/>
                <a:gd name="connsiteY8205" fmla="*/ 12353589 h 17966907"/>
                <a:gd name="connsiteX8206" fmla="*/ 11452985 w 13797425"/>
                <a:gd name="connsiteY8206" fmla="*/ 12353589 h 17966907"/>
                <a:gd name="connsiteX8207" fmla="*/ 11452985 w 13797425"/>
                <a:gd name="connsiteY8207" fmla="*/ 12358354 h 17966907"/>
                <a:gd name="connsiteX8208" fmla="*/ 11443453 w 13797425"/>
                <a:gd name="connsiteY8208" fmla="*/ 12372650 h 17966907"/>
                <a:gd name="connsiteX8209" fmla="*/ 11443453 w 13797425"/>
                <a:gd name="connsiteY8209" fmla="*/ 12382180 h 17966907"/>
                <a:gd name="connsiteX8210" fmla="*/ 11481573 w 13797425"/>
                <a:gd name="connsiteY8210" fmla="*/ 12401240 h 17966907"/>
                <a:gd name="connsiteX8211" fmla="*/ 11500633 w 13797425"/>
                <a:gd name="connsiteY8211" fmla="*/ 12415536 h 17966907"/>
                <a:gd name="connsiteX8212" fmla="*/ 11514929 w 13797425"/>
                <a:gd name="connsiteY8212" fmla="*/ 12434596 h 17966907"/>
                <a:gd name="connsiteX8213" fmla="*/ 11524461 w 13797425"/>
                <a:gd name="connsiteY8213" fmla="*/ 12439361 h 17966907"/>
                <a:gd name="connsiteX8214" fmla="*/ 11562581 w 13797425"/>
                <a:gd name="connsiteY8214" fmla="*/ 12487012 h 17966907"/>
                <a:gd name="connsiteX8215" fmla="*/ 11567345 w 13797425"/>
                <a:gd name="connsiteY8215" fmla="*/ 12496542 h 17966907"/>
                <a:gd name="connsiteX8216" fmla="*/ 11600701 w 13797425"/>
                <a:gd name="connsiteY8216" fmla="*/ 12510838 h 17966907"/>
                <a:gd name="connsiteX8217" fmla="*/ 11614997 w 13797425"/>
                <a:gd name="connsiteY8217" fmla="*/ 12520368 h 17966907"/>
                <a:gd name="connsiteX8218" fmla="*/ 11629293 w 13797425"/>
                <a:gd name="connsiteY8218" fmla="*/ 12553724 h 17966907"/>
                <a:gd name="connsiteX8219" fmla="*/ 11643589 w 13797425"/>
                <a:gd name="connsiteY8219" fmla="*/ 12568020 h 17966907"/>
                <a:gd name="connsiteX8220" fmla="*/ 11657885 w 13797425"/>
                <a:gd name="connsiteY8220" fmla="*/ 12606140 h 17966907"/>
                <a:gd name="connsiteX8221" fmla="*/ 11667413 w 13797425"/>
                <a:gd name="connsiteY8221" fmla="*/ 12620436 h 17966907"/>
                <a:gd name="connsiteX8222" fmla="*/ 11696005 w 13797425"/>
                <a:gd name="connsiteY8222" fmla="*/ 12639496 h 17966907"/>
                <a:gd name="connsiteX8223" fmla="*/ 11710301 w 13797425"/>
                <a:gd name="connsiteY8223" fmla="*/ 12644262 h 17966907"/>
                <a:gd name="connsiteX8224" fmla="*/ 11715065 w 13797425"/>
                <a:gd name="connsiteY8224" fmla="*/ 12653792 h 17966907"/>
                <a:gd name="connsiteX8225" fmla="*/ 11715065 w 13797425"/>
                <a:gd name="connsiteY8225" fmla="*/ 12672852 h 17966907"/>
                <a:gd name="connsiteX8226" fmla="*/ 11710301 w 13797425"/>
                <a:gd name="connsiteY8226" fmla="*/ 12677618 h 17966907"/>
                <a:gd name="connsiteX8227" fmla="*/ 11691241 w 13797425"/>
                <a:gd name="connsiteY8227" fmla="*/ 12691913 h 17966907"/>
                <a:gd name="connsiteX8228" fmla="*/ 11696005 w 13797425"/>
                <a:gd name="connsiteY8228" fmla="*/ 12706208 h 17966907"/>
                <a:gd name="connsiteX8229" fmla="*/ 11705537 w 13797425"/>
                <a:gd name="connsiteY8229" fmla="*/ 12734799 h 17966907"/>
                <a:gd name="connsiteX8230" fmla="*/ 11705537 w 13797425"/>
                <a:gd name="connsiteY8230" fmla="*/ 12753860 h 17966907"/>
                <a:gd name="connsiteX8231" fmla="*/ 11696005 w 13797425"/>
                <a:gd name="connsiteY8231" fmla="*/ 12758624 h 17966907"/>
                <a:gd name="connsiteX8232" fmla="*/ 11672181 w 13797425"/>
                <a:gd name="connsiteY8232" fmla="*/ 12768155 h 17966907"/>
                <a:gd name="connsiteX8233" fmla="*/ 11662649 w 13797425"/>
                <a:gd name="connsiteY8233" fmla="*/ 12768155 h 17966907"/>
                <a:gd name="connsiteX8234" fmla="*/ 11648353 w 13797425"/>
                <a:gd name="connsiteY8234" fmla="*/ 12758624 h 17966907"/>
                <a:gd name="connsiteX8235" fmla="*/ 11629293 w 13797425"/>
                <a:gd name="connsiteY8235" fmla="*/ 12749094 h 17966907"/>
                <a:gd name="connsiteX8236" fmla="*/ 11586405 w 13797425"/>
                <a:gd name="connsiteY8236" fmla="*/ 12720504 h 17966907"/>
                <a:gd name="connsiteX8237" fmla="*/ 11529225 w 13797425"/>
                <a:gd name="connsiteY8237" fmla="*/ 12701443 h 17966907"/>
                <a:gd name="connsiteX8238" fmla="*/ 11505401 w 13797425"/>
                <a:gd name="connsiteY8238" fmla="*/ 12687148 h 17966907"/>
                <a:gd name="connsiteX8239" fmla="*/ 11500633 w 13797425"/>
                <a:gd name="connsiteY8239" fmla="*/ 12677618 h 17966907"/>
                <a:gd name="connsiteX8240" fmla="*/ 11491105 w 13797425"/>
                <a:gd name="connsiteY8240" fmla="*/ 12672852 h 17966907"/>
                <a:gd name="connsiteX8241" fmla="*/ 11343385 w 13797425"/>
                <a:gd name="connsiteY8241" fmla="*/ 12644262 h 17966907"/>
                <a:gd name="connsiteX8242" fmla="*/ 11319561 w 13797425"/>
                <a:gd name="connsiteY8242" fmla="*/ 12639496 h 17966907"/>
                <a:gd name="connsiteX8243" fmla="*/ 11300501 w 13797425"/>
                <a:gd name="connsiteY8243" fmla="*/ 12629966 h 17966907"/>
                <a:gd name="connsiteX8244" fmla="*/ 11286205 w 13797425"/>
                <a:gd name="connsiteY8244" fmla="*/ 12615671 h 17966907"/>
                <a:gd name="connsiteX8245" fmla="*/ 11233789 w 13797425"/>
                <a:gd name="connsiteY8245" fmla="*/ 12587080 h 17966907"/>
                <a:gd name="connsiteX8246" fmla="*/ 11224257 w 13797425"/>
                <a:gd name="connsiteY8246" fmla="*/ 12582315 h 17966907"/>
                <a:gd name="connsiteX8247" fmla="*/ 11186137 w 13797425"/>
                <a:gd name="connsiteY8247" fmla="*/ 12529898 h 17966907"/>
                <a:gd name="connsiteX8248" fmla="*/ 11157545 w 13797425"/>
                <a:gd name="connsiteY8248" fmla="*/ 12472717 h 17966907"/>
                <a:gd name="connsiteX8249" fmla="*/ 11148017 w 13797425"/>
                <a:gd name="connsiteY8249" fmla="*/ 12463187 h 17966907"/>
                <a:gd name="connsiteX8250" fmla="*/ 11119425 w 13797425"/>
                <a:gd name="connsiteY8250" fmla="*/ 12458422 h 17966907"/>
                <a:gd name="connsiteX8251" fmla="*/ 11095597 w 13797425"/>
                <a:gd name="connsiteY8251" fmla="*/ 12463187 h 17966907"/>
                <a:gd name="connsiteX8252" fmla="*/ 11076537 w 13797425"/>
                <a:gd name="connsiteY8252" fmla="*/ 12467952 h 17966907"/>
                <a:gd name="connsiteX8253" fmla="*/ 11052713 w 13797425"/>
                <a:gd name="connsiteY8253" fmla="*/ 12467952 h 17966907"/>
                <a:gd name="connsiteX8254" fmla="*/ 11033653 w 13797425"/>
                <a:gd name="connsiteY8254" fmla="*/ 12458422 h 17966907"/>
                <a:gd name="connsiteX8255" fmla="*/ 11000297 w 13797425"/>
                <a:gd name="connsiteY8255" fmla="*/ 12429831 h 17966907"/>
                <a:gd name="connsiteX8256" fmla="*/ 10962177 w 13797425"/>
                <a:gd name="connsiteY8256" fmla="*/ 12415536 h 17966907"/>
                <a:gd name="connsiteX8257" fmla="*/ 10933585 w 13797425"/>
                <a:gd name="connsiteY8257" fmla="*/ 12391710 h 17966907"/>
                <a:gd name="connsiteX8258" fmla="*/ 10914525 w 13797425"/>
                <a:gd name="connsiteY8258" fmla="*/ 12382180 h 17966907"/>
                <a:gd name="connsiteX8259" fmla="*/ 10919289 w 13797425"/>
                <a:gd name="connsiteY8259" fmla="*/ 12377414 h 17966907"/>
                <a:gd name="connsiteX8260" fmla="*/ 10943113 w 13797425"/>
                <a:gd name="connsiteY8260" fmla="*/ 12344058 h 17966907"/>
                <a:gd name="connsiteX8261" fmla="*/ 10933585 w 13797425"/>
                <a:gd name="connsiteY8261" fmla="*/ 12344058 h 17966907"/>
                <a:gd name="connsiteX8262" fmla="*/ 10890697 w 13797425"/>
                <a:gd name="connsiteY8262" fmla="*/ 12372650 h 17966907"/>
                <a:gd name="connsiteX8263" fmla="*/ 10876401 w 13797425"/>
                <a:gd name="connsiteY8263" fmla="*/ 12363119 h 17966907"/>
                <a:gd name="connsiteX8264" fmla="*/ 10852577 w 13797425"/>
                <a:gd name="connsiteY8264" fmla="*/ 12344058 h 17966907"/>
                <a:gd name="connsiteX8265" fmla="*/ 10838281 w 13797425"/>
                <a:gd name="connsiteY8265" fmla="*/ 12320233 h 17966907"/>
                <a:gd name="connsiteX8266" fmla="*/ 10800161 w 13797425"/>
                <a:gd name="connsiteY8266" fmla="*/ 12263052 h 17966907"/>
                <a:gd name="connsiteX8267" fmla="*/ 10776337 w 13797425"/>
                <a:gd name="connsiteY8267" fmla="*/ 12239226 h 17966907"/>
                <a:gd name="connsiteX8268" fmla="*/ 10781101 w 13797425"/>
                <a:gd name="connsiteY8268" fmla="*/ 12234460 h 17966907"/>
                <a:gd name="connsiteX8269" fmla="*/ 10804925 w 13797425"/>
                <a:gd name="connsiteY8269" fmla="*/ 12234460 h 17966907"/>
                <a:gd name="connsiteX8270" fmla="*/ 10823985 w 13797425"/>
                <a:gd name="connsiteY8270" fmla="*/ 12234460 h 17966907"/>
                <a:gd name="connsiteX8271" fmla="*/ 10838281 w 13797425"/>
                <a:gd name="connsiteY8271" fmla="*/ 12229696 h 17966907"/>
                <a:gd name="connsiteX8272" fmla="*/ 10862109 w 13797425"/>
                <a:gd name="connsiteY8272" fmla="*/ 12205870 h 17966907"/>
                <a:gd name="connsiteX8273" fmla="*/ 10871637 w 13797425"/>
                <a:gd name="connsiteY8273" fmla="*/ 12191574 h 17966907"/>
                <a:gd name="connsiteX8274" fmla="*/ 10871637 w 13797425"/>
                <a:gd name="connsiteY8274" fmla="*/ 12182044 h 17966907"/>
                <a:gd name="connsiteX8275" fmla="*/ 10852577 w 13797425"/>
                <a:gd name="connsiteY8275" fmla="*/ 12182044 h 17966907"/>
                <a:gd name="connsiteX8276" fmla="*/ 10847813 w 13797425"/>
                <a:gd name="connsiteY8276" fmla="*/ 12177279 h 17966907"/>
                <a:gd name="connsiteX8277" fmla="*/ 10843045 w 13797425"/>
                <a:gd name="connsiteY8277" fmla="*/ 12167749 h 17966907"/>
                <a:gd name="connsiteX8278" fmla="*/ 10833517 w 13797425"/>
                <a:gd name="connsiteY8278" fmla="*/ 12153454 h 17966907"/>
                <a:gd name="connsiteX8279" fmla="*/ 10819221 w 13797425"/>
                <a:gd name="connsiteY8279" fmla="*/ 12139158 h 17966907"/>
                <a:gd name="connsiteX8280" fmla="*/ 10800161 w 13797425"/>
                <a:gd name="connsiteY8280" fmla="*/ 12134393 h 17966907"/>
                <a:gd name="connsiteX8281" fmla="*/ 10742981 w 13797425"/>
                <a:gd name="connsiteY8281" fmla="*/ 12139158 h 17966907"/>
                <a:gd name="connsiteX8282" fmla="*/ 10728685 w 13797425"/>
                <a:gd name="connsiteY8282" fmla="*/ 12129628 h 17966907"/>
                <a:gd name="connsiteX8283" fmla="*/ 10733449 w 13797425"/>
                <a:gd name="connsiteY8283" fmla="*/ 12120098 h 17966907"/>
                <a:gd name="connsiteX8284" fmla="*/ 10742981 w 13797425"/>
                <a:gd name="connsiteY8284" fmla="*/ 12091507 h 17966907"/>
                <a:gd name="connsiteX8285" fmla="*/ 10747745 w 13797425"/>
                <a:gd name="connsiteY8285" fmla="*/ 12081976 h 17966907"/>
                <a:gd name="connsiteX8286" fmla="*/ 10752509 w 13797425"/>
                <a:gd name="connsiteY8286" fmla="*/ 12072446 h 17966907"/>
                <a:gd name="connsiteX8287" fmla="*/ 10747745 w 13797425"/>
                <a:gd name="connsiteY8287" fmla="*/ 12072446 h 17966907"/>
                <a:gd name="connsiteX8288" fmla="*/ 10742981 w 13797425"/>
                <a:gd name="connsiteY8288" fmla="*/ 12072446 h 17966907"/>
                <a:gd name="connsiteX8289" fmla="*/ 10704857 w 13797425"/>
                <a:gd name="connsiteY8289" fmla="*/ 12101037 h 17966907"/>
                <a:gd name="connsiteX8290" fmla="*/ 10700093 w 13797425"/>
                <a:gd name="connsiteY8290" fmla="*/ 12096272 h 17966907"/>
                <a:gd name="connsiteX8291" fmla="*/ 10685797 w 13797425"/>
                <a:gd name="connsiteY8291" fmla="*/ 12072446 h 17966907"/>
                <a:gd name="connsiteX8292" fmla="*/ 10676269 w 13797425"/>
                <a:gd name="connsiteY8292" fmla="*/ 12039090 h 17966907"/>
                <a:gd name="connsiteX8293" fmla="*/ 10671501 w 13797425"/>
                <a:gd name="connsiteY8293" fmla="*/ 12029560 h 17966907"/>
                <a:gd name="connsiteX8294" fmla="*/ 10661973 w 13797425"/>
                <a:gd name="connsiteY8294" fmla="*/ 12024795 h 17966907"/>
                <a:gd name="connsiteX8295" fmla="*/ 10633381 w 13797425"/>
                <a:gd name="connsiteY8295" fmla="*/ 11991439 h 17966907"/>
                <a:gd name="connsiteX8296" fmla="*/ 10595261 w 13797425"/>
                <a:gd name="connsiteY8296" fmla="*/ 11934258 h 17966907"/>
                <a:gd name="connsiteX8297" fmla="*/ 10576201 w 13797425"/>
                <a:gd name="connsiteY8297" fmla="*/ 11915197 h 17966907"/>
                <a:gd name="connsiteX8298" fmla="*/ 10561905 w 13797425"/>
                <a:gd name="connsiteY8298" fmla="*/ 11900902 h 17966907"/>
                <a:gd name="connsiteX8299" fmla="*/ 10547609 w 13797425"/>
                <a:gd name="connsiteY8299" fmla="*/ 11891372 h 17966907"/>
                <a:gd name="connsiteX8300" fmla="*/ 10552373 w 13797425"/>
                <a:gd name="connsiteY8300" fmla="*/ 11881841 h 17966907"/>
                <a:gd name="connsiteX8301" fmla="*/ 10576201 w 13797425"/>
                <a:gd name="connsiteY8301" fmla="*/ 11834190 h 17966907"/>
                <a:gd name="connsiteX8302" fmla="*/ 10576201 w 13797425"/>
                <a:gd name="connsiteY8302" fmla="*/ 11824660 h 17966907"/>
                <a:gd name="connsiteX8303" fmla="*/ 10557141 w 13797425"/>
                <a:gd name="connsiteY8303" fmla="*/ 11829425 h 17966907"/>
                <a:gd name="connsiteX8304" fmla="*/ 10523785 w 13797425"/>
                <a:gd name="connsiteY8304" fmla="*/ 11819894 h 17966907"/>
                <a:gd name="connsiteX8305" fmla="*/ 10504721 w 13797425"/>
                <a:gd name="connsiteY8305" fmla="*/ 11829425 h 17966907"/>
                <a:gd name="connsiteX8306" fmla="*/ 10495193 w 13797425"/>
                <a:gd name="connsiteY8306" fmla="*/ 11829425 h 17966907"/>
                <a:gd name="connsiteX8307" fmla="*/ 10485661 w 13797425"/>
                <a:gd name="connsiteY8307" fmla="*/ 11824660 h 17966907"/>
                <a:gd name="connsiteX8308" fmla="*/ 10476133 w 13797425"/>
                <a:gd name="connsiteY8308" fmla="*/ 11829425 h 17966907"/>
                <a:gd name="connsiteX8309" fmla="*/ 10471369 w 13797425"/>
                <a:gd name="connsiteY8309" fmla="*/ 11867546 h 17966907"/>
                <a:gd name="connsiteX8310" fmla="*/ 10466601 w 13797425"/>
                <a:gd name="connsiteY8310" fmla="*/ 11877076 h 17966907"/>
                <a:gd name="connsiteX8311" fmla="*/ 10461837 w 13797425"/>
                <a:gd name="connsiteY8311" fmla="*/ 11881841 h 17966907"/>
                <a:gd name="connsiteX8312" fmla="*/ 10452305 w 13797425"/>
                <a:gd name="connsiteY8312" fmla="*/ 11881841 h 17966907"/>
                <a:gd name="connsiteX8313" fmla="*/ 10447541 w 13797425"/>
                <a:gd name="connsiteY8313" fmla="*/ 11877076 h 17966907"/>
                <a:gd name="connsiteX8314" fmla="*/ 10447541 w 13797425"/>
                <a:gd name="connsiteY8314" fmla="*/ 11867546 h 17966907"/>
                <a:gd name="connsiteX8315" fmla="*/ 10442777 w 13797425"/>
                <a:gd name="connsiteY8315" fmla="*/ 11815130 h 17966907"/>
                <a:gd name="connsiteX8316" fmla="*/ 10433245 w 13797425"/>
                <a:gd name="connsiteY8316" fmla="*/ 11810364 h 17966907"/>
                <a:gd name="connsiteX8317" fmla="*/ 10399889 w 13797425"/>
                <a:gd name="connsiteY8317" fmla="*/ 11805599 h 17966907"/>
                <a:gd name="connsiteX8318" fmla="*/ 10390361 w 13797425"/>
                <a:gd name="connsiteY8318" fmla="*/ 11800834 h 17966907"/>
                <a:gd name="connsiteX8319" fmla="*/ 10385593 w 13797425"/>
                <a:gd name="connsiteY8319" fmla="*/ 11791304 h 17966907"/>
                <a:gd name="connsiteX8320" fmla="*/ 10376065 w 13797425"/>
                <a:gd name="connsiteY8320" fmla="*/ 11777008 h 17966907"/>
                <a:gd name="connsiteX8321" fmla="*/ 10371301 w 13797425"/>
                <a:gd name="connsiteY8321" fmla="*/ 11753183 h 17966907"/>
                <a:gd name="connsiteX8322" fmla="*/ 10366533 w 13797425"/>
                <a:gd name="connsiteY8322" fmla="*/ 11738888 h 17966907"/>
                <a:gd name="connsiteX8323" fmla="*/ 10357005 w 13797425"/>
                <a:gd name="connsiteY8323" fmla="*/ 11734122 h 17966907"/>
                <a:gd name="connsiteX8324" fmla="*/ 10352237 w 13797425"/>
                <a:gd name="connsiteY8324" fmla="*/ 11738888 h 17966907"/>
                <a:gd name="connsiteX8325" fmla="*/ 10347473 w 13797425"/>
                <a:gd name="connsiteY8325" fmla="*/ 11743652 h 17966907"/>
                <a:gd name="connsiteX8326" fmla="*/ 10337945 w 13797425"/>
                <a:gd name="connsiteY8326" fmla="*/ 11748418 h 17966907"/>
                <a:gd name="connsiteX8327" fmla="*/ 10318881 w 13797425"/>
                <a:gd name="connsiteY8327" fmla="*/ 11748418 h 17966907"/>
                <a:gd name="connsiteX8328" fmla="*/ 10318881 w 13797425"/>
                <a:gd name="connsiteY8328" fmla="*/ 11757948 h 17966907"/>
                <a:gd name="connsiteX8329" fmla="*/ 10337945 w 13797425"/>
                <a:gd name="connsiteY8329" fmla="*/ 11777008 h 17966907"/>
                <a:gd name="connsiteX8330" fmla="*/ 10347473 w 13797425"/>
                <a:gd name="connsiteY8330" fmla="*/ 11800834 h 17966907"/>
                <a:gd name="connsiteX8331" fmla="*/ 10361769 w 13797425"/>
                <a:gd name="connsiteY8331" fmla="*/ 11834190 h 17966907"/>
                <a:gd name="connsiteX8332" fmla="*/ 10357005 w 13797425"/>
                <a:gd name="connsiteY8332" fmla="*/ 11858016 h 17966907"/>
                <a:gd name="connsiteX8333" fmla="*/ 10323649 w 13797425"/>
                <a:gd name="connsiteY8333" fmla="*/ 11867546 h 17966907"/>
                <a:gd name="connsiteX8334" fmla="*/ 10295057 w 13797425"/>
                <a:gd name="connsiteY8334" fmla="*/ 11872311 h 17966907"/>
                <a:gd name="connsiteX8335" fmla="*/ 10275997 w 13797425"/>
                <a:gd name="connsiteY8335" fmla="*/ 11867546 h 17966907"/>
                <a:gd name="connsiteX8336" fmla="*/ 10256937 w 13797425"/>
                <a:gd name="connsiteY8336" fmla="*/ 11858016 h 17966907"/>
                <a:gd name="connsiteX8337" fmla="*/ 10233109 w 13797425"/>
                <a:gd name="connsiteY8337" fmla="*/ 11838955 h 17966907"/>
                <a:gd name="connsiteX8338" fmla="*/ 10194989 w 13797425"/>
                <a:gd name="connsiteY8338" fmla="*/ 11848485 h 17966907"/>
                <a:gd name="connsiteX8339" fmla="*/ 10190225 w 13797425"/>
                <a:gd name="connsiteY8339" fmla="*/ 11896136 h 17966907"/>
                <a:gd name="connsiteX8340" fmla="*/ 10180693 w 13797425"/>
                <a:gd name="connsiteY8340" fmla="*/ 11896136 h 17966907"/>
                <a:gd name="connsiteX8341" fmla="*/ 10147338 w 13797425"/>
                <a:gd name="connsiteY8341" fmla="*/ 11896136 h 17966907"/>
                <a:gd name="connsiteX8342" fmla="*/ 10133043 w 13797425"/>
                <a:gd name="connsiteY8342" fmla="*/ 11900902 h 17966907"/>
                <a:gd name="connsiteX8343" fmla="*/ 10090157 w 13797425"/>
                <a:gd name="connsiteY8343" fmla="*/ 11924728 h 17966907"/>
                <a:gd name="connsiteX8344" fmla="*/ 10075861 w 13797425"/>
                <a:gd name="connsiteY8344" fmla="*/ 11929492 h 17966907"/>
                <a:gd name="connsiteX8345" fmla="*/ 10066331 w 13797425"/>
                <a:gd name="connsiteY8345" fmla="*/ 11924728 h 17966907"/>
                <a:gd name="connsiteX8346" fmla="*/ 10052036 w 13797425"/>
                <a:gd name="connsiteY8346" fmla="*/ 11934258 h 17966907"/>
                <a:gd name="connsiteX8347" fmla="*/ 10037740 w 13797425"/>
                <a:gd name="connsiteY8347" fmla="*/ 11948553 h 17966907"/>
                <a:gd name="connsiteX8348" fmla="*/ 10018680 w 13797425"/>
                <a:gd name="connsiteY8348" fmla="*/ 11948553 h 17966907"/>
                <a:gd name="connsiteX8349" fmla="*/ 9990089 w 13797425"/>
                <a:gd name="connsiteY8349" fmla="*/ 11939023 h 17966907"/>
                <a:gd name="connsiteX8350" fmla="*/ 9971028 w 13797425"/>
                <a:gd name="connsiteY8350" fmla="*/ 11934258 h 17966907"/>
                <a:gd name="connsiteX8351" fmla="*/ 9951968 w 13797425"/>
                <a:gd name="connsiteY8351" fmla="*/ 11934258 h 17966907"/>
                <a:gd name="connsiteX8352" fmla="*/ 9932907 w 13797425"/>
                <a:gd name="connsiteY8352" fmla="*/ 11929492 h 17966907"/>
                <a:gd name="connsiteX8353" fmla="*/ 9913847 w 13797425"/>
                <a:gd name="connsiteY8353" fmla="*/ 11910432 h 17966907"/>
                <a:gd name="connsiteX8354" fmla="*/ 9894786 w 13797425"/>
                <a:gd name="connsiteY8354" fmla="*/ 11905667 h 17966907"/>
                <a:gd name="connsiteX8355" fmla="*/ 9875726 w 13797425"/>
                <a:gd name="connsiteY8355" fmla="*/ 11905667 h 17966907"/>
                <a:gd name="connsiteX8356" fmla="*/ 9870961 w 13797425"/>
                <a:gd name="connsiteY8356" fmla="*/ 11905667 h 17966907"/>
                <a:gd name="connsiteX8357" fmla="*/ 9842370 w 13797425"/>
                <a:gd name="connsiteY8357" fmla="*/ 11867546 h 17966907"/>
                <a:gd name="connsiteX8358" fmla="*/ 9832840 w 13797425"/>
                <a:gd name="connsiteY8358" fmla="*/ 11858016 h 17966907"/>
                <a:gd name="connsiteX8359" fmla="*/ 9813779 w 13797425"/>
                <a:gd name="connsiteY8359" fmla="*/ 11815130 h 17966907"/>
                <a:gd name="connsiteX8360" fmla="*/ 9809014 w 13797425"/>
                <a:gd name="connsiteY8360" fmla="*/ 11796069 h 17966907"/>
                <a:gd name="connsiteX8361" fmla="*/ 9809014 w 13797425"/>
                <a:gd name="connsiteY8361" fmla="*/ 11777008 h 17966907"/>
                <a:gd name="connsiteX8362" fmla="*/ 9809014 w 13797425"/>
                <a:gd name="connsiteY8362" fmla="*/ 11762713 h 17966907"/>
                <a:gd name="connsiteX8363" fmla="*/ 9818544 w 13797425"/>
                <a:gd name="connsiteY8363" fmla="*/ 11743652 h 17966907"/>
                <a:gd name="connsiteX8364" fmla="*/ 9823310 w 13797425"/>
                <a:gd name="connsiteY8364" fmla="*/ 11696001 h 17966907"/>
                <a:gd name="connsiteX8365" fmla="*/ 9832840 w 13797425"/>
                <a:gd name="connsiteY8365" fmla="*/ 11676941 h 17966907"/>
                <a:gd name="connsiteX8366" fmla="*/ 9837605 w 13797425"/>
                <a:gd name="connsiteY8366" fmla="*/ 11662645 h 17966907"/>
                <a:gd name="connsiteX8367" fmla="*/ 9856665 w 13797425"/>
                <a:gd name="connsiteY8367" fmla="*/ 11643585 h 17966907"/>
                <a:gd name="connsiteX8368" fmla="*/ 9923377 w 13797425"/>
                <a:gd name="connsiteY8368" fmla="*/ 11610229 h 17966907"/>
                <a:gd name="connsiteX8369" fmla="*/ 9937672 w 13797425"/>
                <a:gd name="connsiteY8369" fmla="*/ 11600699 h 17966907"/>
                <a:gd name="connsiteX8370" fmla="*/ 9937672 w 13797425"/>
                <a:gd name="connsiteY8370" fmla="*/ 11591168 h 17966907"/>
                <a:gd name="connsiteX8371" fmla="*/ 9923377 w 13797425"/>
                <a:gd name="connsiteY8371" fmla="*/ 11548282 h 17966907"/>
                <a:gd name="connsiteX8372" fmla="*/ 9923377 w 13797425"/>
                <a:gd name="connsiteY8372" fmla="*/ 11538752 h 17966907"/>
                <a:gd name="connsiteX8373" fmla="*/ 9928142 w 13797425"/>
                <a:gd name="connsiteY8373" fmla="*/ 11533987 h 17966907"/>
                <a:gd name="connsiteX8374" fmla="*/ 9937672 w 13797425"/>
                <a:gd name="connsiteY8374" fmla="*/ 11510161 h 17966907"/>
                <a:gd name="connsiteX8375" fmla="*/ 9942438 w 13797425"/>
                <a:gd name="connsiteY8375" fmla="*/ 11505396 h 17966907"/>
                <a:gd name="connsiteX8376" fmla="*/ 9956733 w 13797425"/>
                <a:gd name="connsiteY8376" fmla="*/ 11500631 h 17966907"/>
                <a:gd name="connsiteX8377" fmla="*/ 9980559 w 13797425"/>
                <a:gd name="connsiteY8377" fmla="*/ 11510161 h 17966907"/>
                <a:gd name="connsiteX8378" fmla="*/ 10004384 w 13797425"/>
                <a:gd name="connsiteY8378" fmla="*/ 11514926 h 17966907"/>
                <a:gd name="connsiteX8379" fmla="*/ 10028210 w 13797425"/>
                <a:gd name="connsiteY8379" fmla="*/ 11519692 h 17966907"/>
                <a:gd name="connsiteX8380" fmla="*/ 10075861 w 13797425"/>
                <a:gd name="connsiteY8380" fmla="*/ 11533987 h 17966907"/>
                <a:gd name="connsiteX8381" fmla="*/ 10142573 w 13797425"/>
                <a:gd name="connsiteY8381" fmla="*/ 11567343 h 17966907"/>
                <a:gd name="connsiteX8382" fmla="*/ 10180693 w 13797425"/>
                <a:gd name="connsiteY8382" fmla="*/ 11586403 h 17966907"/>
                <a:gd name="connsiteX8383" fmla="*/ 10204521 w 13797425"/>
                <a:gd name="connsiteY8383" fmla="*/ 11619759 h 17966907"/>
                <a:gd name="connsiteX8384" fmla="*/ 10228345 w 13797425"/>
                <a:gd name="connsiteY8384" fmla="*/ 11653115 h 17966907"/>
                <a:gd name="connsiteX8385" fmla="*/ 10228345 w 13797425"/>
                <a:gd name="connsiteY8385" fmla="*/ 11667410 h 17966907"/>
                <a:gd name="connsiteX8386" fmla="*/ 10218817 w 13797425"/>
                <a:gd name="connsiteY8386" fmla="*/ 11691236 h 17966907"/>
                <a:gd name="connsiteX8387" fmla="*/ 10214049 w 13797425"/>
                <a:gd name="connsiteY8387" fmla="*/ 11700766 h 17966907"/>
                <a:gd name="connsiteX8388" fmla="*/ 10214049 w 13797425"/>
                <a:gd name="connsiteY8388" fmla="*/ 11705532 h 17966907"/>
                <a:gd name="connsiteX8389" fmla="*/ 10218817 w 13797425"/>
                <a:gd name="connsiteY8389" fmla="*/ 11715062 h 17966907"/>
                <a:gd name="connsiteX8390" fmla="*/ 10237877 w 13797425"/>
                <a:gd name="connsiteY8390" fmla="*/ 11729357 h 17966907"/>
                <a:gd name="connsiteX8391" fmla="*/ 10242641 w 13797425"/>
                <a:gd name="connsiteY8391" fmla="*/ 11724592 h 17966907"/>
                <a:gd name="connsiteX8392" fmla="*/ 10237877 w 13797425"/>
                <a:gd name="connsiteY8392" fmla="*/ 11710297 h 17966907"/>
                <a:gd name="connsiteX8393" fmla="*/ 10242641 w 13797425"/>
                <a:gd name="connsiteY8393" fmla="*/ 11696001 h 17966907"/>
                <a:gd name="connsiteX8394" fmla="*/ 10252173 w 13797425"/>
                <a:gd name="connsiteY8394" fmla="*/ 11681706 h 17966907"/>
                <a:gd name="connsiteX8395" fmla="*/ 10252173 w 13797425"/>
                <a:gd name="connsiteY8395" fmla="*/ 11667410 h 17966907"/>
                <a:gd name="connsiteX8396" fmla="*/ 10247405 w 13797425"/>
                <a:gd name="connsiteY8396" fmla="*/ 11648350 h 17966907"/>
                <a:gd name="connsiteX8397" fmla="*/ 10237877 w 13797425"/>
                <a:gd name="connsiteY8397" fmla="*/ 11634054 h 17966907"/>
                <a:gd name="connsiteX8398" fmla="*/ 10228345 w 13797425"/>
                <a:gd name="connsiteY8398" fmla="*/ 11624524 h 17966907"/>
                <a:gd name="connsiteX8399" fmla="*/ 10185461 w 13797425"/>
                <a:gd name="connsiteY8399" fmla="*/ 11576873 h 17966907"/>
                <a:gd name="connsiteX8400" fmla="*/ 10180693 w 13797425"/>
                <a:gd name="connsiteY8400" fmla="*/ 11562578 h 17966907"/>
                <a:gd name="connsiteX8401" fmla="*/ 10194989 w 13797425"/>
                <a:gd name="connsiteY8401" fmla="*/ 11553048 h 17966907"/>
                <a:gd name="connsiteX8402" fmla="*/ 10256937 w 13797425"/>
                <a:gd name="connsiteY8402" fmla="*/ 11572108 h 17966907"/>
                <a:gd name="connsiteX8403" fmla="*/ 10280761 w 13797425"/>
                <a:gd name="connsiteY8403" fmla="*/ 11567343 h 17966907"/>
                <a:gd name="connsiteX8404" fmla="*/ 10290293 w 13797425"/>
                <a:gd name="connsiteY8404" fmla="*/ 11548282 h 17966907"/>
                <a:gd name="connsiteX8405" fmla="*/ 10299821 w 13797425"/>
                <a:gd name="connsiteY8405" fmla="*/ 11538752 h 17966907"/>
                <a:gd name="connsiteX8406" fmla="*/ 10309353 w 13797425"/>
                <a:gd name="connsiteY8406" fmla="*/ 11529222 h 17966907"/>
                <a:gd name="connsiteX8407" fmla="*/ 10333177 w 13797425"/>
                <a:gd name="connsiteY8407" fmla="*/ 11529222 h 17966907"/>
                <a:gd name="connsiteX8408" fmla="*/ 10361769 w 13797425"/>
                <a:gd name="connsiteY8408" fmla="*/ 11533987 h 17966907"/>
                <a:gd name="connsiteX8409" fmla="*/ 10376065 w 13797425"/>
                <a:gd name="connsiteY8409" fmla="*/ 11538752 h 17966907"/>
                <a:gd name="connsiteX8410" fmla="*/ 10385593 w 13797425"/>
                <a:gd name="connsiteY8410" fmla="*/ 11533987 h 17966907"/>
                <a:gd name="connsiteX8411" fmla="*/ 10404657 w 13797425"/>
                <a:gd name="connsiteY8411" fmla="*/ 11524457 h 17966907"/>
                <a:gd name="connsiteX8412" fmla="*/ 10428481 w 13797425"/>
                <a:gd name="connsiteY8412" fmla="*/ 11491101 h 17966907"/>
                <a:gd name="connsiteX8413" fmla="*/ 10442777 w 13797425"/>
                <a:gd name="connsiteY8413" fmla="*/ 11486336 h 17966907"/>
                <a:gd name="connsiteX8414" fmla="*/ 10466601 w 13797425"/>
                <a:gd name="connsiteY8414" fmla="*/ 11481570 h 17966907"/>
                <a:gd name="connsiteX8415" fmla="*/ 10480897 w 13797425"/>
                <a:gd name="connsiteY8415" fmla="*/ 11476806 h 17966907"/>
                <a:gd name="connsiteX8416" fmla="*/ 10514253 w 13797425"/>
                <a:gd name="connsiteY8416" fmla="*/ 11491101 h 17966907"/>
                <a:gd name="connsiteX8417" fmla="*/ 10533313 w 13797425"/>
                <a:gd name="connsiteY8417" fmla="*/ 11491101 h 17966907"/>
                <a:gd name="connsiteX8418" fmla="*/ 10533313 w 13797425"/>
                <a:gd name="connsiteY8418" fmla="*/ 11467275 h 17966907"/>
                <a:gd name="connsiteX8419" fmla="*/ 10519017 w 13797425"/>
                <a:gd name="connsiteY8419" fmla="*/ 11429154 h 17966907"/>
                <a:gd name="connsiteX8420" fmla="*/ 10504721 w 13797425"/>
                <a:gd name="connsiteY8420" fmla="*/ 11386268 h 17966907"/>
                <a:gd name="connsiteX8421" fmla="*/ 10490429 w 13797425"/>
                <a:gd name="connsiteY8421" fmla="*/ 11371972 h 17966907"/>
                <a:gd name="connsiteX8422" fmla="*/ 10457073 w 13797425"/>
                <a:gd name="connsiteY8422" fmla="*/ 11343382 h 17966907"/>
                <a:gd name="connsiteX8423" fmla="*/ 10418949 w 13797425"/>
                <a:gd name="connsiteY8423" fmla="*/ 11290966 h 17966907"/>
                <a:gd name="connsiteX8424" fmla="*/ 10399889 w 13797425"/>
                <a:gd name="connsiteY8424" fmla="*/ 11257610 h 17966907"/>
                <a:gd name="connsiteX8425" fmla="*/ 10395125 w 13797425"/>
                <a:gd name="connsiteY8425" fmla="*/ 11243314 h 17966907"/>
                <a:gd name="connsiteX8426" fmla="*/ 10399889 w 13797425"/>
                <a:gd name="connsiteY8426" fmla="*/ 11229019 h 17966907"/>
                <a:gd name="connsiteX8427" fmla="*/ 10404657 w 13797425"/>
                <a:gd name="connsiteY8427" fmla="*/ 11214723 h 17966907"/>
                <a:gd name="connsiteX8428" fmla="*/ 10476133 w 13797425"/>
                <a:gd name="connsiteY8428" fmla="*/ 11157542 h 17966907"/>
                <a:gd name="connsiteX8429" fmla="*/ 10528549 w 13797425"/>
                <a:gd name="connsiteY8429" fmla="*/ 11100360 h 17966907"/>
                <a:gd name="connsiteX8430" fmla="*/ 10552373 w 13797425"/>
                <a:gd name="connsiteY8430" fmla="*/ 11067004 h 17966907"/>
                <a:gd name="connsiteX8431" fmla="*/ 10561905 w 13797425"/>
                <a:gd name="connsiteY8431" fmla="*/ 11047944 h 17966907"/>
                <a:gd name="connsiteX8432" fmla="*/ 10576201 w 13797425"/>
                <a:gd name="connsiteY8432" fmla="*/ 11033648 h 17966907"/>
                <a:gd name="connsiteX8433" fmla="*/ 10590497 w 13797425"/>
                <a:gd name="connsiteY8433" fmla="*/ 11024118 h 17966907"/>
                <a:gd name="connsiteX8434" fmla="*/ 10614321 w 13797425"/>
                <a:gd name="connsiteY8434" fmla="*/ 11009823 h 17966907"/>
                <a:gd name="connsiteX8435" fmla="*/ 10623853 w 13797425"/>
                <a:gd name="connsiteY8435" fmla="*/ 10995528 h 17966907"/>
                <a:gd name="connsiteX8436" fmla="*/ 10623853 w 13797425"/>
                <a:gd name="connsiteY8436" fmla="*/ 10971702 h 17966907"/>
                <a:gd name="connsiteX8437" fmla="*/ 10628617 w 13797425"/>
                <a:gd name="connsiteY8437" fmla="*/ 10952641 h 17966907"/>
                <a:gd name="connsiteX8438" fmla="*/ 10652441 w 13797425"/>
                <a:gd name="connsiteY8438" fmla="*/ 10890695 h 17966907"/>
                <a:gd name="connsiteX8439" fmla="*/ 10671501 w 13797425"/>
                <a:gd name="connsiteY8439" fmla="*/ 10876399 h 17966907"/>
                <a:gd name="connsiteX8440" fmla="*/ 10700093 w 13797425"/>
                <a:gd name="connsiteY8440" fmla="*/ 10862104 h 17966907"/>
                <a:gd name="connsiteX8441" fmla="*/ 10719153 w 13797425"/>
                <a:gd name="connsiteY8441" fmla="*/ 10852574 h 17966907"/>
                <a:gd name="connsiteX8442" fmla="*/ 10742981 w 13797425"/>
                <a:gd name="connsiteY8442" fmla="*/ 10800157 h 17966907"/>
                <a:gd name="connsiteX8443" fmla="*/ 10738213 w 13797425"/>
                <a:gd name="connsiteY8443" fmla="*/ 10790627 h 17966907"/>
                <a:gd name="connsiteX8444" fmla="*/ 10728685 w 13797425"/>
                <a:gd name="connsiteY8444" fmla="*/ 10781097 h 17966907"/>
                <a:gd name="connsiteX8445" fmla="*/ 10719153 w 13797425"/>
                <a:gd name="connsiteY8445" fmla="*/ 10766801 h 17966907"/>
                <a:gd name="connsiteX8446" fmla="*/ 10685797 w 13797425"/>
                <a:gd name="connsiteY8446" fmla="*/ 10638143 h 17966907"/>
                <a:gd name="connsiteX8447" fmla="*/ 10661973 w 13797425"/>
                <a:gd name="connsiteY8447" fmla="*/ 10571431 h 17966907"/>
                <a:gd name="connsiteX8448" fmla="*/ 10633381 w 13797425"/>
                <a:gd name="connsiteY8448" fmla="*/ 10519015 h 17966907"/>
                <a:gd name="connsiteX8449" fmla="*/ 10609557 w 13797425"/>
                <a:gd name="connsiteY8449" fmla="*/ 10452303 h 17966907"/>
                <a:gd name="connsiteX8450" fmla="*/ 10571433 w 13797425"/>
                <a:gd name="connsiteY8450" fmla="*/ 10385591 h 17966907"/>
                <a:gd name="connsiteX8451" fmla="*/ 10566669 w 13797425"/>
                <a:gd name="connsiteY8451" fmla="*/ 10366530 h 17966907"/>
                <a:gd name="connsiteX8452" fmla="*/ 10576201 w 13797425"/>
                <a:gd name="connsiteY8452" fmla="*/ 10347470 h 17966907"/>
                <a:gd name="connsiteX8453" fmla="*/ 10571433 w 13797425"/>
                <a:gd name="connsiteY8453" fmla="*/ 10342705 h 17966907"/>
                <a:gd name="connsiteX8454" fmla="*/ 10528549 w 13797425"/>
                <a:gd name="connsiteY8454" fmla="*/ 10371296 h 17966907"/>
                <a:gd name="connsiteX8455" fmla="*/ 10519017 w 13797425"/>
                <a:gd name="connsiteY8455" fmla="*/ 10371296 h 17966907"/>
                <a:gd name="connsiteX8456" fmla="*/ 10504721 w 13797425"/>
                <a:gd name="connsiteY8456" fmla="*/ 10357000 h 17966907"/>
                <a:gd name="connsiteX8457" fmla="*/ 10490429 w 13797425"/>
                <a:gd name="connsiteY8457" fmla="*/ 10342705 h 17966907"/>
                <a:gd name="connsiteX8458" fmla="*/ 10480897 w 13797425"/>
                <a:gd name="connsiteY8458" fmla="*/ 10314114 h 17966907"/>
                <a:gd name="connsiteX8459" fmla="*/ 10485661 w 13797425"/>
                <a:gd name="connsiteY8459" fmla="*/ 10299819 h 17966907"/>
                <a:gd name="connsiteX8460" fmla="*/ 10490429 w 13797425"/>
                <a:gd name="connsiteY8460" fmla="*/ 10285524 h 17966907"/>
                <a:gd name="connsiteX8461" fmla="*/ 10499957 w 13797425"/>
                <a:gd name="connsiteY8461" fmla="*/ 10252168 h 17966907"/>
                <a:gd name="connsiteX8462" fmla="*/ 10499957 w 13797425"/>
                <a:gd name="connsiteY8462" fmla="*/ 10233107 h 17966907"/>
                <a:gd name="connsiteX8463" fmla="*/ 10495193 w 13797425"/>
                <a:gd name="connsiteY8463" fmla="*/ 10218812 h 17966907"/>
                <a:gd name="connsiteX8464" fmla="*/ 10490429 w 13797425"/>
                <a:gd name="connsiteY8464" fmla="*/ 10204516 h 17966907"/>
                <a:gd name="connsiteX8465" fmla="*/ 10485661 w 13797425"/>
                <a:gd name="connsiteY8465" fmla="*/ 10199751 h 17966907"/>
                <a:gd name="connsiteX8466" fmla="*/ 10476133 w 13797425"/>
                <a:gd name="connsiteY8466" fmla="*/ 10194986 h 17966907"/>
                <a:gd name="connsiteX8467" fmla="*/ 10452305 w 13797425"/>
                <a:gd name="connsiteY8467" fmla="*/ 10194986 h 17966907"/>
                <a:gd name="connsiteX8468" fmla="*/ 10447541 w 13797425"/>
                <a:gd name="connsiteY8468" fmla="*/ 10199751 h 17966907"/>
                <a:gd name="connsiteX8469" fmla="*/ 10466601 w 13797425"/>
                <a:gd name="connsiteY8469" fmla="*/ 10252168 h 17966907"/>
                <a:gd name="connsiteX8470" fmla="*/ 10466601 w 13797425"/>
                <a:gd name="connsiteY8470" fmla="*/ 10261698 h 17966907"/>
                <a:gd name="connsiteX8471" fmla="*/ 10433245 w 13797425"/>
                <a:gd name="connsiteY8471" fmla="*/ 10271228 h 17966907"/>
                <a:gd name="connsiteX8472" fmla="*/ 10423717 w 13797425"/>
                <a:gd name="connsiteY8472" fmla="*/ 10266463 h 17966907"/>
                <a:gd name="connsiteX8473" fmla="*/ 10409421 w 13797425"/>
                <a:gd name="connsiteY8473" fmla="*/ 10261698 h 17966907"/>
                <a:gd name="connsiteX8474" fmla="*/ 10399889 w 13797425"/>
                <a:gd name="connsiteY8474" fmla="*/ 10252168 h 17966907"/>
                <a:gd name="connsiteX8475" fmla="*/ 10361769 w 13797425"/>
                <a:gd name="connsiteY8475" fmla="*/ 10194986 h 17966907"/>
                <a:gd name="connsiteX8476" fmla="*/ 10357005 w 13797425"/>
                <a:gd name="connsiteY8476" fmla="*/ 10175926 h 17966907"/>
                <a:gd name="connsiteX8477" fmla="*/ 10357005 w 13797425"/>
                <a:gd name="connsiteY8477" fmla="*/ 10161630 h 17966907"/>
                <a:gd name="connsiteX8478" fmla="*/ 10357005 w 13797425"/>
                <a:gd name="connsiteY8478" fmla="*/ 10152100 h 17966907"/>
                <a:gd name="connsiteX8479" fmla="*/ 10347473 w 13797425"/>
                <a:gd name="connsiteY8479" fmla="*/ 10156865 h 17966907"/>
                <a:gd name="connsiteX8480" fmla="*/ 10337945 w 13797425"/>
                <a:gd name="connsiteY8480" fmla="*/ 10156865 h 17966907"/>
                <a:gd name="connsiteX8481" fmla="*/ 10323649 w 13797425"/>
                <a:gd name="connsiteY8481" fmla="*/ 10152100 h 17966907"/>
                <a:gd name="connsiteX8482" fmla="*/ 10323649 w 13797425"/>
                <a:gd name="connsiteY8482" fmla="*/ 10147335 h 17966907"/>
                <a:gd name="connsiteX8483" fmla="*/ 10347473 w 13797425"/>
                <a:gd name="connsiteY8483" fmla="*/ 10113979 h 17966907"/>
                <a:gd name="connsiteX8484" fmla="*/ 10347473 w 13797425"/>
                <a:gd name="connsiteY8484" fmla="*/ 10104448 h 17966907"/>
                <a:gd name="connsiteX8485" fmla="*/ 10337945 w 13797425"/>
                <a:gd name="connsiteY8485" fmla="*/ 10094918 h 17966907"/>
                <a:gd name="connsiteX8486" fmla="*/ 10318881 w 13797425"/>
                <a:gd name="connsiteY8486" fmla="*/ 10094918 h 17966907"/>
                <a:gd name="connsiteX8487" fmla="*/ 10314117 w 13797425"/>
                <a:gd name="connsiteY8487" fmla="*/ 10085388 h 17966907"/>
                <a:gd name="connsiteX8488" fmla="*/ 10318881 w 13797425"/>
                <a:gd name="connsiteY8488" fmla="*/ 10075858 h 17966907"/>
                <a:gd name="connsiteX8489" fmla="*/ 10342709 w 13797425"/>
                <a:gd name="connsiteY8489" fmla="*/ 10061562 h 17966907"/>
                <a:gd name="connsiteX8490" fmla="*/ 10352237 w 13797425"/>
                <a:gd name="connsiteY8490" fmla="*/ 10052032 h 17966907"/>
                <a:gd name="connsiteX8491" fmla="*/ 10337945 w 13797425"/>
                <a:gd name="connsiteY8491" fmla="*/ 10042502 h 17966907"/>
                <a:gd name="connsiteX8492" fmla="*/ 10328413 w 13797425"/>
                <a:gd name="connsiteY8492" fmla="*/ 10042502 h 17966907"/>
                <a:gd name="connsiteX8493" fmla="*/ 10314117 w 13797425"/>
                <a:gd name="connsiteY8493" fmla="*/ 10056797 h 17966907"/>
                <a:gd name="connsiteX8494" fmla="*/ 10290293 w 13797425"/>
                <a:gd name="connsiteY8494" fmla="*/ 10094918 h 17966907"/>
                <a:gd name="connsiteX8495" fmla="*/ 10275997 w 13797425"/>
                <a:gd name="connsiteY8495" fmla="*/ 10109214 h 17966907"/>
                <a:gd name="connsiteX8496" fmla="*/ 10252173 w 13797425"/>
                <a:gd name="connsiteY8496" fmla="*/ 10090153 h 17966907"/>
                <a:gd name="connsiteX8497" fmla="*/ 10237877 w 13797425"/>
                <a:gd name="connsiteY8497" fmla="*/ 10085388 h 17966907"/>
                <a:gd name="connsiteX8498" fmla="*/ 10228345 w 13797425"/>
                <a:gd name="connsiteY8498" fmla="*/ 10090153 h 17966907"/>
                <a:gd name="connsiteX8499" fmla="*/ 10209285 w 13797425"/>
                <a:gd name="connsiteY8499" fmla="*/ 10118744 h 17966907"/>
                <a:gd name="connsiteX8500" fmla="*/ 10175929 w 13797425"/>
                <a:gd name="connsiteY8500" fmla="*/ 10137804 h 17966907"/>
                <a:gd name="connsiteX8501" fmla="*/ 10113982 w 13797425"/>
                <a:gd name="connsiteY8501" fmla="*/ 10185456 h 17966907"/>
                <a:gd name="connsiteX8502" fmla="*/ 10090157 w 13797425"/>
                <a:gd name="connsiteY8502" fmla="*/ 10204516 h 17966907"/>
                <a:gd name="connsiteX8503" fmla="*/ 10061566 w 13797425"/>
                <a:gd name="connsiteY8503" fmla="*/ 10199751 h 17966907"/>
                <a:gd name="connsiteX8504" fmla="*/ 10056801 w 13797425"/>
                <a:gd name="connsiteY8504" fmla="*/ 10190221 h 17966907"/>
                <a:gd name="connsiteX8505" fmla="*/ 10056801 w 13797425"/>
                <a:gd name="connsiteY8505" fmla="*/ 10175926 h 17966907"/>
                <a:gd name="connsiteX8506" fmla="*/ 10056801 w 13797425"/>
                <a:gd name="connsiteY8506" fmla="*/ 10161630 h 17966907"/>
                <a:gd name="connsiteX8507" fmla="*/ 10061566 w 13797425"/>
                <a:gd name="connsiteY8507" fmla="*/ 10147335 h 17966907"/>
                <a:gd name="connsiteX8508" fmla="*/ 10061566 w 13797425"/>
                <a:gd name="connsiteY8508" fmla="*/ 10137804 h 17966907"/>
                <a:gd name="connsiteX8509" fmla="*/ 10061566 w 13797425"/>
                <a:gd name="connsiteY8509" fmla="*/ 10080623 h 17966907"/>
                <a:gd name="connsiteX8510" fmla="*/ 10066331 w 13797425"/>
                <a:gd name="connsiteY8510" fmla="*/ 10066328 h 17966907"/>
                <a:gd name="connsiteX8511" fmla="*/ 10075861 w 13797425"/>
                <a:gd name="connsiteY8511" fmla="*/ 10056797 h 17966907"/>
                <a:gd name="connsiteX8512" fmla="*/ 10090157 w 13797425"/>
                <a:gd name="connsiteY8512" fmla="*/ 10047267 h 17966907"/>
                <a:gd name="connsiteX8513" fmla="*/ 10137808 w 13797425"/>
                <a:gd name="connsiteY8513" fmla="*/ 10056797 h 17966907"/>
                <a:gd name="connsiteX8514" fmla="*/ 10156868 w 13797425"/>
                <a:gd name="connsiteY8514" fmla="*/ 10056797 h 17966907"/>
                <a:gd name="connsiteX8515" fmla="*/ 10171164 w 13797425"/>
                <a:gd name="connsiteY8515" fmla="*/ 10042502 h 17966907"/>
                <a:gd name="connsiteX8516" fmla="*/ 10190225 w 13797425"/>
                <a:gd name="connsiteY8516" fmla="*/ 10023442 h 17966907"/>
                <a:gd name="connsiteX8517" fmla="*/ 10204521 w 13797425"/>
                <a:gd name="connsiteY8517" fmla="*/ 9999616 h 17966907"/>
                <a:gd name="connsiteX8518" fmla="*/ 10204521 w 13797425"/>
                <a:gd name="connsiteY8518" fmla="*/ 9975790 h 17966907"/>
                <a:gd name="connsiteX8519" fmla="*/ 10190225 w 13797425"/>
                <a:gd name="connsiteY8519" fmla="*/ 9937669 h 17966907"/>
                <a:gd name="connsiteX8520" fmla="*/ 10185461 w 13797425"/>
                <a:gd name="connsiteY8520" fmla="*/ 9928139 h 17966907"/>
                <a:gd name="connsiteX8521" fmla="*/ 10142573 w 13797425"/>
                <a:gd name="connsiteY8521" fmla="*/ 9899548 h 17966907"/>
                <a:gd name="connsiteX8522" fmla="*/ 10123512 w 13797425"/>
                <a:gd name="connsiteY8522" fmla="*/ 9890018 h 17966907"/>
                <a:gd name="connsiteX8523" fmla="*/ 10104452 w 13797425"/>
                <a:gd name="connsiteY8523" fmla="*/ 9885253 h 17966907"/>
                <a:gd name="connsiteX8524" fmla="*/ 10090157 w 13797425"/>
                <a:gd name="connsiteY8524" fmla="*/ 9875722 h 17966907"/>
                <a:gd name="connsiteX8525" fmla="*/ 10080626 w 13797425"/>
                <a:gd name="connsiteY8525" fmla="*/ 9861427 h 17966907"/>
                <a:gd name="connsiteX8526" fmla="*/ 10071096 w 13797425"/>
                <a:gd name="connsiteY8526" fmla="*/ 9842366 h 17966907"/>
                <a:gd name="connsiteX8527" fmla="*/ 10071096 w 13797425"/>
                <a:gd name="connsiteY8527" fmla="*/ 9828071 h 17966907"/>
                <a:gd name="connsiteX8528" fmla="*/ 10071096 w 13797425"/>
                <a:gd name="connsiteY8528" fmla="*/ 9809011 h 17966907"/>
                <a:gd name="connsiteX8529" fmla="*/ 10080626 w 13797425"/>
                <a:gd name="connsiteY8529" fmla="*/ 9794715 h 17966907"/>
                <a:gd name="connsiteX8530" fmla="*/ 10113982 w 13797425"/>
                <a:gd name="connsiteY8530" fmla="*/ 9780420 h 17966907"/>
                <a:gd name="connsiteX8531" fmla="*/ 10113982 w 13797425"/>
                <a:gd name="connsiteY8531" fmla="*/ 9775655 h 17966907"/>
                <a:gd name="connsiteX8532" fmla="*/ 10085392 w 13797425"/>
                <a:gd name="connsiteY8532" fmla="*/ 9766124 h 17966907"/>
                <a:gd name="connsiteX8533" fmla="*/ 10071096 w 13797425"/>
                <a:gd name="connsiteY8533" fmla="*/ 9766124 h 17966907"/>
                <a:gd name="connsiteX8534" fmla="*/ 10061566 w 13797425"/>
                <a:gd name="connsiteY8534" fmla="*/ 9780420 h 17966907"/>
                <a:gd name="connsiteX8535" fmla="*/ 10042505 w 13797425"/>
                <a:gd name="connsiteY8535" fmla="*/ 9809011 h 17966907"/>
                <a:gd name="connsiteX8536" fmla="*/ 10032975 w 13797425"/>
                <a:gd name="connsiteY8536" fmla="*/ 9818541 h 17966907"/>
                <a:gd name="connsiteX8537" fmla="*/ 10009150 w 13797425"/>
                <a:gd name="connsiteY8537" fmla="*/ 9799480 h 17966907"/>
                <a:gd name="connsiteX8538" fmla="*/ 9990089 w 13797425"/>
                <a:gd name="connsiteY8538" fmla="*/ 9794715 h 17966907"/>
                <a:gd name="connsiteX8539" fmla="*/ 9980559 w 13797425"/>
                <a:gd name="connsiteY8539" fmla="*/ 9789950 h 17966907"/>
                <a:gd name="connsiteX8540" fmla="*/ 9975794 w 13797425"/>
                <a:gd name="connsiteY8540" fmla="*/ 9780420 h 17966907"/>
                <a:gd name="connsiteX8541" fmla="*/ 9980559 w 13797425"/>
                <a:gd name="connsiteY8541" fmla="*/ 9770890 h 17966907"/>
                <a:gd name="connsiteX8542" fmla="*/ 9990089 w 13797425"/>
                <a:gd name="connsiteY8542" fmla="*/ 9766124 h 17966907"/>
                <a:gd name="connsiteX8543" fmla="*/ 10013915 w 13797425"/>
                <a:gd name="connsiteY8543" fmla="*/ 9737534 h 17966907"/>
                <a:gd name="connsiteX8544" fmla="*/ 10018680 w 13797425"/>
                <a:gd name="connsiteY8544" fmla="*/ 9723238 h 17966907"/>
                <a:gd name="connsiteX8545" fmla="*/ 9999619 w 13797425"/>
                <a:gd name="connsiteY8545" fmla="*/ 9704178 h 17966907"/>
                <a:gd name="connsiteX8546" fmla="*/ 9994854 w 13797425"/>
                <a:gd name="connsiteY8546" fmla="*/ 9699413 h 17966907"/>
                <a:gd name="connsiteX8547" fmla="*/ 9956733 w 13797425"/>
                <a:gd name="connsiteY8547" fmla="*/ 9689882 h 17966907"/>
                <a:gd name="connsiteX8548" fmla="*/ 9918612 w 13797425"/>
                <a:gd name="connsiteY8548" fmla="*/ 9699413 h 17966907"/>
                <a:gd name="connsiteX8549" fmla="*/ 9904317 w 13797425"/>
                <a:gd name="connsiteY8549" fmla="*/ 9694648 h 17966907"/>
                <a:gd name="connsiteX8550" fmla="*/ 9894786 w 13797425"/>
                <a:gd name="connsiteY8550" fmla="*/ 9670822 h 17966907"/>
                <a:gd name="connsiteX8551" fmla="*/ 9890021 w 13797425"/>
                <a:gd name="connsiteY8551" fmla="*/ 9637466 h 17966907"/>
                <a:gd name="connsiteX8552" fmla="*/ 9890021 w 13797425"/>
                <a:gd name="connsiteY8552" fmla="*/ 9604110 h 17966907"/>
                <a:gd name="connsiteX8553" fmla="*/ 9885256 w 13797425"/>
                <a:gd name="connsiteY8553" fmla="*/ 9546929 h 17966907"/>
                <a:gd name="connsiteX8554" fmla="*/ 9875726 w 13797425"/>
                <a:gd name="connsiteY8554" fmla="*/ 9513573 h 17966907"/>
                <a:gd name="connsiteX8555" fmla="*/ 9861430 w 13797425"/>
                <a:gd name="connsiteY8555" fmla="*/ 9508808 h 17966907"/>
                <a:gd name="connsiteX8556" fmla="*/ 9813779 w 13797425"/>
                <a:gd name="connsiteY8556" fmla="*/ 9523103 h 17966907"/>
                <a:gd name="connsiteX8557" fmla="*/ 9804249 w 13797425"/>
                <a:gd name="connsiteY8557" fmla="*/ 9523103 h 17966907"/>
                <a:gd name="connsiteX8558" fmla="*/ 9794719 w 13797425"/>
                <a:gd name="connsiteY8558" fmla="*/ 9518338 h 17966907"/>
                <a:gd name="connsiteX8559" fmla="*/ 9761363 w 13797425"/>
                <a:gd name="connsiteY8559" fmla="*/ 9475452 h 17966907"/>
                <a:gd name="connsiteX8560" fmla="*/ 9751832 w 13797425"/>
                <a:gd name="connsiteY8560" fmla="*/ 9465922 h 17966907"/>
                <a:gd name="connsiteX8561" fmla="*/ 9742302 w 13797425"/>
                <a:gd name="connsiteY8561" fmla="*/ 9461156 h 17966907"/>
                <a:gd name="connsiteX8562" fmla="*/ 9718477 w 13797425"/>
                <a:gd name="connsiteY8562" fmla="*/ 9418270 h 17966907"/>
                <a:gd name="connsiteX8563" fmla="*/ 9708946 w 13797425"/>
                <a:gd name="connsiteY8563" fmla="*/ 9408740 h 17966907"/>
                <a:gd name="connsiteX8564" fmla="*/ 9699416 w 13797425"/>
                <a:gd name="connsiteY8564" fmla="*/ 9389679 h 17966907"/>
                <a:gd name="connsiteX8565" fmla="*/ 9685121 w 13797425"/>
                <a:gd name="connsiteY8565" fmla="*/ 9356324 h 17966907"/>
                <a:gd name="connsiteX8566" fmla="*/ 9670825 w 13797425"/>
                <a:gd name="connsiteY8566" fmla="*/ 9342028 h 17966907"/>
                <a:gd name="connsiteX8567" fmla="*/ 9656530 w 13797425"/>
                <a:gd name="connsiteY8567" fmla="*/ 9356324 h 17966907"/>
                <a:gd name="connsiteX8568" fmla="*/ 9642235 w 13797425"/>
                <a:gd name="connsiteY8568" fmla="*/ 9375384 h 17966907"/>
                <a:gd name="connsiteX8569" fmla="*/ 9627939 w 13797425"/>
                <a:gd name="connsiteY8569" fmla="*/ 9399210 h 17966907"/>
                <a:gd name="connsiteX8570" fmla="*/ 9618409 w 13797425"/>
                <a:gd name="connsiteY8570" fmla="*/ 9423035 h 17966907"/>
                <a:gd name="connsiteX8571" fmla="*/ 9618409 w 13797425"/>
                <a:gd name="connsiteY8571" fmla="*/ 9437331 h 17966907"/>
                <a:gd name="connsiteX8572" fmla="*/ 9627939 w 13797425"/>
                <a:gd name="connsiteY8572" fmla="*/ 9451626 h 17966907"/>
                <a:gd name="connsiteX8573" fmla="*/ 9680356 w 13797425"/>
                <a:gd name="connsiteY8573" fmla="*/ 9475452 h 17966907"/>
                <a:gd name="connsiteX8574" fmla="*/ 9694651 w 13797425"/>
                <a:gd name="connsiteY8574" fmla="*/ 9489747 h 17966907"/>
                <a:gd name="connsiteX8575" fmla="*/ 9704181 w 13797425"/>
                <a:gd name="connsiteY8575" fmla="*/ 9513573 h 17966907"/>
                <a:gd name="connsiteX8576" fmla="*/ 9713712 w 13797425"/>
                <a:gd name="connsiteY8576" fmla="*/ 9542164 h 17966907"/>
                <a:gd name="connsiteX8577" fmla="*/ 9718477 w 13797425"/>
                <a:gd name="connsiteY8577" fmla="*/ 9575519 h 17966907"/>
                <a:gd name="connsiteX8578" fmla="*/ 9718477 w 13797425"/>
                <a:gd name="connsiteY8578" fmla="*/ 9604110 h 17966907"/>
                <a:gd name="connsiteX8579" fmla="*/ 9713712 w 13797425"/>
                <a:gd name="connsiteY8579" fmla="*/ 9618406 h 17966907"/>
                <a:gd name="connsiteX8580" fmla="*/ 9699416 w 13797425"/>
                <a:gd name="connsiteY8580" fmla="*/ 9632701 h 17966907"/>
                <a:gd name="connsiteX8581" fmla="*/ 9666060 w 13797425"/>
                <a:gd name="connsiteY8581" fmla="*/ 9656527 h 17966907"/>
                <a:gd name="connsiteX8582" fmla="*/ 9637470 w 13797425"/>
                <a:gd name="connsiteY8582" fmla="*/ 9670822 h 17966907"/>
                <a:gd name="connsiteX8583" fmla="*/ 9604114 w 13797425"/>
                <a:gd name="connsiteY8583" fmla="*/ 9675587 h 17966907"/>
                <a:gd name="connsiteX8584" fmla="*/ 9585053 w 13797425"/>
                <a:gd name="connsiteY8584" fmla="*/ 9670822 h 17966907"/>
                <a:gd name="connsiteX8585" fmla="*/ 9499281 w 13797425"/>
                <a:gd name="connsiteY8585" fmla="*/ 9623171 h 17966907"/>
                <a:gd name="connsiteX8586" fmla="*/ 9484985 w 13797425"/>
                <a:gd name="connsiteY8586" fmla="*/ 9623171 h 17966907"/>
                <a:gd name="connsiteX8587" fmla="*/ 9465925 w 13797425"/>
                <a:gd name="connsiteY8587" fmla="*/ 9618406 h 17966907"/>
                <a:gd name="connsiteX8588" fmla="*/ 9423039 w 13797425"/>
                <a:gd name="connsiteY8588" fmla="*/ 9599345 h 17966907"/>
                <a:gd name="connsiteX8589" fmla="*/ 9399213 w 13797425"/>
                <a:gd name="connsiteY8589" fmla="*/ 9599345 h 17966907"/>
                <a:gd name="connsiteX8590" fmla="*/ 9356327 w 13797425"/>
                <a:gd name="connsiteY8590" fmla="*/ 9580284 h 17966907"/>
                <a:gd name="connsiteX8591" fmla="*/ 9284850 w 13797425"/>
                <a:gd name="connsiteY8591" fmla="*/ 9570754 h 17966907"/>
                <a:gd name="connsiteX8592" fmla="*/ 9270555 w 13797425"/>
                <a:gd name="connsiteY8592" fmla="*/ 9580284 h 17966907"/>
                <a:gd name="connsiteX8593" fmla="*/ 9289615 w 13797425"/>
                <a:gd name="connsiteY8593" fmla="*/ 9599345 h 17966907"/>
                <a:gd name="connsiteX8594" fmla="*/ 9303910 w 13797425"/>
                <a:gd name="connsiteY8594" fmla="*/ 9613640 h 17966907"/>
                <a:gd name="connsiteX8595" fmla="*/ 9318206 w 13797425"/>
                <a:gd name="connsiteY8595" fmla="*/ 9613640 h 17966907"/>
                <a:gd name="connsiteX8596" fmla="*/ 9342032 w 13797425"/>
                <a:gd name="connsiteY8596" fmla="*/ 9632701 h 17966907"/>
                <a:gd name="connsiteX8597" fmla="*/ 9365857 w 13797425"/>
                <a:gd name="connsiteY8597" fmla="*/ 9670822 h 17966907"/>
                <a:gd name="connsiteX8598" fmla="*/ 9380153 w 13797425"/>
                <a:gd name="connsiteY8598" fmla="*/ 9689882 h 17966907"/>
                <a:gd name="connsiteX8599" fmla="*/ 9394448 w 13797425"/>
                <a:gd name="connsiteY8599" fmla="*/ 9718473 h 17966907"/>
                <a:gd name="connsiteX8600" fmla="*/ 9394448 w 13797425"/>
                <a:gd name="connsiteY8600" fmla="*/ 9728004 h 17966907"/>
                <a:gd name="connsiteX8601" fmla="*/ 9384918 w 13797425"/>
                <a:gd name="connsiteY8601" fmla="*/ 9747064 h 17966907"/>
                <a:gd name="connsiteX8602" fmla="*/ 9280085 w 13797425"/>
                <a:gd name="connsiteY8602" fmla="*/ 9646996 h 17966907"/>
                <a:gd name="connsiteX8603" fmla="*/ 9222903 w 13797425"/>
                <a:gd name="connsiteY8603" fmla="*/ 9685117 h 17966907"/>
                <a:gd name="connsiteX8604" fmla="*/ 9194313 w 13797425"/>
                <a:gd name="connsiteY8604" fmla="*/ 9694648 h 17966907"/>
                <a:gd name="connsiteX8605" fmla="*/ 9170487 w 13797425"/>
                <a:gd name="connsiteY8605" fmla="*/ 9699413 h 17966907"/>
                <a:gd name="connsiteX8606" fmla="*/ 9137131 w 13797425"/>
                <a:gd name="connsiteY8606" fmla="*/ 9685117 h 17966907"/>
                <a:gd name="connsiteX8607" fmla="*/ 9070419 w 13797425"/>
                <a:gd name="connsiteY8607" fmla="*/ 9637466 h 17966907"/>
                <a:gd name="connsiteX8608" fmla="*/ 9041828 w 13797425"/>
                <a:gd name="connsiteY8608" fmla="*/ 9623171 h 17966907"/>
                <a:gd name="connsiteX8609" fmla="*/ 9032298 w 13797425"/>
                <a:gd name="connsiteY8609" fmla="*/ 9618406 h 17966907"/>
                <a:gd name="connsiteX8610" fmla="*/ 8975117 w 13797425"/>
                <a:gd name="connsiteY8610" fmla="*/ 9637466 h 17966907"/>
                <a:gd name="connsiteX8611" fmla="*/ 8922700 w 13797425"/>
                <a:gd name="connsiteY8611" fmla="*/ 9642231 h 17966907"/>
                <a:gd name="connsiteX8612" fmla="*/ 8822633 w 13797425"/>
                <a:gd name="connsiteY8612" fmla="*/ 9623171 h 17966907"/>
                <a:gd name="connsiteX8613" fmla="*/ 8784512 w 13797425"/>
                <a:gd name="connsiteY8613" fmla="*/ 9608875 h 17966907"/>
                <a:gd name="connsiteX8614" fmla="*/ 8770216 w 13797425"/>
                <a:gd name="connsiteY8614" fmla="*/ 9594580 h 17966907"/>
                <a:gd name="connsiteX8615" fmla="*/ 8760686 w 13797425"/>
                <a:gd name="connsiteY8615" fmla="*/ 9589815 h 17966907"/>
                <a:gd name="connsiteX8616" fmla="*/ 8736860 w 13797425"/>
                <a:gd name="connsiteY8616" fmla="*/ 9589815 h 17966907"/>
                <a:gd name="connsiteX8617" fmla="*/ 8679679 w 13797425"/>
                <a:gd name="connsiteY8617" fmla="*/ 9570754 h 17966907"/>
                <a:gd name="connsiteX8618" fmla="*/ 8622497 w 13797425"/>
                <a:gd name="connsiteY8618" fmla="*/ 9608875 h 17966907"/>
                <a:gd name="connsiteX8619" fmla="*/ 8562933 w 13797425"/>
                <a:gd name="connsiteY8619" fmla="*/ 9575519 h 17966907"/>
                <a:gd name="connsiteX8620" fmla="*/ 8543873 w 13797425"/>
                <a:gd name="connsiteY8620" fmla="*/ 9556459 h 17966907"/>
                <a:gd name="connsiteX8621" fmla="*/ 8534342 w 13797425"/>
                <a:gd name="connsiteY8621" fmla="*/ 9542164 h 17966907"/>
                <a:gd name="connsiteX8622" fmla="*/ 8515282 w 13797425"/>
                <a:gd name="connsiteY8622" fmla="*/ 9489747 h 17966907"/>
                <a:gd name="connsiteX8623" fmla="*/ 8515282 w 13797425"/>
                <a:gd name="connsiteY8623" fmla="*/ 9461156 h 17966907"/>
                <a:gd name="connsiteX8624" fmla="*/ 8520047 w 13797425"/>
                <a:gd name="connsiteY8624" fmla="*/ 9437331 h 17966907"/>
                <a:gd name="connsiteX8625" fmla="*/ 8524812 w 13797425"/>
                <a:gd name="connsiteY8625" fmla="*/ 9418270 h 17966907"/>
                <a:gd name="connsiteX8626" fmla="*/ 8529577 w 13797425"/>
                <a:gd name="connsiteY8626" fmla="*/ 9408740 h 17966907"/>
                <a:gd name="connsiteX8627" fmla="*/ 8496221 w 13797425"/>
                <a:gd name="connsiteY8627" fmla="*/ 9437331 h 17966907"/>
                <a:gd name="connsiteX8628" fmla="*/ 8481926 w 13797425"/>
                <a:gd name="connsiteY8628" fmla="*/ 9442096 h 17966907"/>
                <a:gd name="connsiteX8629" fmla="*/ 8467631 w 13797425"/>
                <a:gd name="connsiteY8629" fmla="*/ 9446861 h 17966907"/>
                <a:gd name="connsiteX8630" fmla="*/ 8415214 w 13797425"/>
                <a:gd name="connsiteY8630" fmla="*/ 9432566 h 17966907"/>
                <a:gd name="connsiteX8631" fmla="*/ 8410449 w 13797425"/>
                <a:gd name="connsiteY8631" fmla="*/ 9437331 h 17966907"/>
                <a:gd name="connsiteX8632" fmla="*/ 8410449 w 13797425"/>
                <a:gd name="connsiteY8632" fmla="*/ 9451626 h 17966907"/>
                <a:gd name="connsiteX8633" fmla="*/ 8424744 w 13797425"/>
                <a:gd name="connsiteY8633" fmla="*/ 9465922 h 17966907"/>
                <a:gd name="connsiteX8634" fmla="*/ 8424744 w 13797425"/>
                <a:gd name="connsiteY8634" fmla="*/ 9475452 h 17966907"/>
                <a:gd name="connsiteX8635" fmla="*/ 8400919 w 13797425"/>
                <a:gd name="connsiteY8635" fmla="*/ 9480217 h 17966907"/>
                <a:gd name="connsiteX8636" fmla="*/ 8358033 w 13797425"/>
                <a:gd name="connsiteY8636" fmla="*/ 9475452 h 17966907"/>
                <a:gd name="connsiteX8637" fmla="*/ 8338972 w 13797425"/>
                <a:gd name="connsiteY8637" fmla="*/ 9475452 h 17966907"/>
                <a:gd name="connsiteX8638" fmla="*/ 8329442 w 13797425"/>
                <a:gd name="connsiteY8638" fmla="*/ 9480217 h 17966907"/>
                <a:gd name="connsiteX8639" fmla="*/ 8310381 w 13797425"/>
                <a:gd name="connsiteY8639" fmla="*/ 9504042 h 17966907"/>
                <a:gd name="connsiteX8640" fmla="*/ 8305616 w 13797425"/>
                <a:gd name="connsiteY8640" fmla="*/ 9508808 h 17966907"/>
                <a:gd name="connsiteX8641" fmla="*/ 8296086 w 13797425"/>
                <a:gd name="connsiteY8641" fmla="*/ 9508808 h 17966907"/>
                <a:gd name="connsiteX8642" fmla="*/ 8253200 w 13797425"/>
                <a:gd name="connsiteY8642" fmla="*/ 9451626 h 17966907"/>
                <a:gd name="connsiteX8643" fmla="*/ 8215079 w 13797425"/>
                <a:gd name="connsiteY8643" fmla="*/ 9418270 h 17966907"/>
                <a:gd name="connsiteX8644" fmla="*/ 8176958 w 13797425"/>
                <a:gd name="connsiteY8644" fmla="*/ 9403975 h 17966907"/>
                <a:gd name="connsiteX8645" fmla="*/ 8157897 w 13797425"/>
                <a:gd name="connsiteY8645" fmla="*/ 9394444 h 17966907"/>
                <a:gd name="connsiteX8646" fmla="*/ 8148367 w 13797425"/>
                <a:gd name="connsiteY8646" fmla="*/ 9380149 h 17966907"/>
                <a:gd name="connsiteX8647" fmla="*/ 8091185 w 13797425"/>
                <a:gd name="connsiteY8647" fmla="*/ 9270551 h 17966907"/>
                <a:gd name="connsiteX8648" fmla="*/ 8081655 w 13797425"/>
                <a:gd name="connsiteY8648" fmla="*/ 9246726 h 17966907"/>
                <a:gd name="connsiteX8649" fmla="*/ 8067360 w 13797425"/>
                <a:gd name="connsiteY8649" fmla="*/ 9156188 h 17966907"/>
                <a:gd name="connsiteX8650" fmla="*/ 8057830 w 13797425"/>
                <a:gd name="connsiteY8650" fmla="*/ 9137128 h 17966907"/>
                <a:gd name="connsiteX8651" fmla="*/ 8053064 w 13797425"/>
                <a:gd name="connsiteY8651" fmla="*/ 9127597 h 17966907"/>
                <a:gd name="connsiteX8652" fmla="*/ 8067360 w 13797425"/>
                <a:gd name="connsiteY8652" fmla="*/ 9122832 h 17966907"/>
                <a:gd name="connsiteX8653" fmla="*/ 8119776 w 13797425"/>
                <a:gd name="connsiteY8653" fmla="*/ 9132362 h 17966907"/>
                <a:gd name="connsiteX8654" fmla="*/ 8172193 w 13797425"/>
                <a:gd name="connsiteY8654" fmla="*/ 9132362 h 17966907"/>
                <a:gd name="connsiteX8655" fmla="*/ 8200783 w 13797425"/>
                <a:gd name="connsiteY8655" fmla="*/ 9141893 h 17966907"/>
                <a:gd name="connsiteX8656" fmla="*/ 8229374 w 13797425"/>
                <a:gd name="connsiteY8656" fmla="*/ 9160953 h 17966907"/>
                <a:gd name="connsiteX8657" fmla="*/ 8272260 w 13797425"/>
                <a:gd name="connsiteY8657" fmla="*/ 9180014 h 17966907"/>
                <a:gd name="connsiteX8658" fmla="*/ 8305616 w 13797425"/>
                <a:gd name="connsiteY8658" fmla="*/ 9180014 h 17966907"/>
                <a:gd name="connsiteX8659" fmla="*/ 8353268 w 13797425"/>
                <a:gd name="connsiteY8659" fmla="*/ 9175249 h 17966907"/>
                <a:gd name="connsiteX8660" fmla="*/ 8405684 w 13797425"/>
                <a:gd name="connsiteY8660" fmla="*/ 9160953 h 17966907"/>
                <a:gd name="connsiteX8661" fmla="*/ 8415214 w 13797425"/>
                <a:gd name="connsiteY8661" fmla="*/ 9151423 h 17966907"/>
                <a:gd name="connsiteX8662" fmla="*/ 8377093 w 13797425"/>
                <a:gd name="connsiteY8662" fmla="*/ 9132362 h 17966907"/>
                <a:gd name="connsiteX8663" fmla="*/ 8348502 w 13797425"/>
                <a:gd name="connsiteY8663" fmla="*/ 9103772 h 17966907"/>
                <a:gd name="connsiteX8664" fmla="*/ 8315146 w 13797425"/>
                <a:gd name="connsiteY8664" fmla="*/ 9070416 h 17966907"/>
                <a:gd name="connsiteX8665" fmla="*/ 8300851 w 13797425"/>
                <a:gd name="connsiteY8665" fmla="*/ 9056120 h 17966907"/>
                <a:gd name="connsiteX8666" fmla="*/ 8272260 w 13797425"/>
                <a:gd name="connsiteY8666" fmla="*/ 9046590 h 17966907"/>
                <a:gd name="connsiteX8667" fmla="*/ 8186488 w 13797425"/>
                <a:gd name="connsiteY8667" fmla="*/ 9037060 h 17966907"/>
                <a:gd name="connsiteX8668" fmla="*/ 8110246 w 13797425"/>
                <a:gd name="connsiteY8668" fmla="*/ 9018000 h 17966907"/>
                <a:gd name="connsiteX8669" fmla="*/ 8057830 w 13797425"/>
                <a:gd name="connsiteY8669" fmla="*/ 8984644 h 17966907"/>
                <a:gd name="connsiteX8670" fmla="*/ 8014943 w 13797425"/>
                <a:gd name="connsiteY8670" fmla="*/ 8951288 h 17966907"/>
                <a:gd name="connsiteX8671" fmla="*/ 7995883 w 13797425"/>
                <a:gd name="connsiteY8671" fmla="*/ 8932227 h 17966907"/>
                <a:gd name="connsiteX8672" fmla="*/ 7991118 w 13797425"/>
                <a:gd name="connsiteY8672" fmla="*/ 8917932 h 17966907"/>
                <a:gd name="connsiteX8673" fmla="*/ 7986353 w 13797425"/>
                <a:gd name="connsiteY8673" fmla="*/ 8870280 h 17966907"/>
                <a:gd name="connsiteX8674" fmla="*/ 7976822 w 13797425"/>
                <a:gd name="connsiteY8674" fmla="*/ 8794038 h 17966907"/>
                <a:gd name="connsiteX8675" fmla="*/ 7972057 w 13797425"/>
                <a:gd name="connsiteY8675" fmla="*/ 8741622 h 17966907"/>
                <a:gd name="connsiteX8676" fmla="*/ 7962527 w 13797425"/>
                <a:gd name="connsiteY8676" fmla="*/ 8713031 h 17966907"/>
                <a:gd name="connsiteX8677" fmla="*/ 7962527 w 13797425"/>
                <a:gd name="connsiteY8677" fmla="*/ 8689206 h 17966907"/>
                <a:gd name="connsiteX8678" fmla="*/ 7976822 w 13797425"/>
                <a:gd name="connsiteY8678" fmla="*/ 8636789 h 17966907"/>
                <a:gd name="connsiteX8679" fmla="*/ 8019709 w 13797425"/>
                <a:gd name="connsiteY8679" fmla="*/ 8586755 h 17966907"/>
                <a:gd name="connsiteX8680" fmla="*/ 8019709 w 13797425"/>
                <a:gd name="connsiteY8680" fmla="*/ 8577225 h 17966907"/>
                <a:gd name="connsiteX8681" fmla="*/ 8010178 w 13797425"/>
                <a:gd name="connsiteY8681" fmla="*/ 8572460 h 17966907"/>
                <a:gd name="connsiteX8682" fmla="*/ 7995883 w 13797425"/>
                <a:gd name="connsiteY8682" fmla="*/ 8558165 h 17966907"/>
                <a:gd name="connsiteX8683" fmla="*/ 7991118 w 13797425"/>
                <a:gd name="connsiteY8683" fmla="*/ 8539104 h 17966907"/>
                <a:gd name="connsiteX8684" fmla="*/ 7986353 w 13797425"/>
                <a:gd name="connsiteY8684" fmla="*/ 8505748 h 17966907"/>
                <a:gd name="connsiteX8685" fmla="*/ 7986353 w 13797425"/>
                <a:gd name="connsiteY8685" fmla="*/ 8477157 h 17966907"/>
                <a:gd name="connsiteX8686" fmla="*/ 7991118 w 13797425"/>
                <a:gd name="connsiteY8686" fmla="*/ 8453332 h 17966907"/>
                <a:gd name="connsiteX8687" fmla="*/ 7995883 w 13797425"/>
                <a:gd name="connsiteY8687" fmla="*/ 8424741 h 17966907"/>
                <a:gd name="connsiteX8688" fmla="*/ 8014943 w 13797425"/>
                <a:gd name="connsiteY8688" fmla="*/ 8372325 h 17966907"/>
                <a:gd name="connsiteX8689" fmla="*/ 8038769 w 13797425"/>
                <a:gd name="connsiteY8689" fmla="*/ 8310378 h 17966907"/>
                <a:gd name="connsiteX8690" fmla="*/ 8067360 w 13797425"/>
                <a:gd name="connsiteY8690" fmla="*/ 8248431 h 17966907"/>
                <a:gd name="connsiteX8691" fmla="*/ 8072125 w 13797425"/>
                <a:gd name="connsiteY8691" fmla="*/ 8229371 h 17966907"/>
                <a:gd name="connsiteX8692" fmla="*/ 8076890 w 13797425"/>
                <a:gd name="connsiteY8692" fmla="*/ 8176954 h 17966907"/>
                <a:gd name="connsiteX8693" fmla="*/ 8076890 w 13797425"/>
                <a:gd name="connsiteY8693" fmla="*/ 8138833 h 17966907"/>
                <a:gd name="connsiteX8694" fmla="*/ 8081655 w 13797425"/>
                <a:gd name="connsiteY8694" fmla="*/ 8110243 h 17966907"/>
                <a:gd name="connsiteX8695" fmla="*/ 8086420 w 13797425"/>
                <a:gd name="connsiteY8695" fmla="*/ 8086417 h 17966907"/>
                <a:gd name="connsiteX8696" fmla="*/ 8105481 w 13797425"/>
                <a:gd name="connsiteY8696" fmla="*/ 8048296 h 17966907"/>
                <a:gd name="connsiteX8697" fmla="*/ 8129306 w 13797425"/>
                <a:gd name="connsiteY8697" fmla="*/ 8010175 h 17966907"/>
                <a:gd name="connsiteX8698" fmla="*/ 8162662 w 13797425"/>
                <a:gd name="connsiteY8698" fmla="*/ 7976819 h 17966907"/>
                <a:gd name="connsiteX8699" fmla="*/ 8162662 w 13797425"/>
                <a:gd name="connsiteY8699" fmla="*/ 7967289 h 17966907"/>
                <a:gd name="connsiteX8700" fmla="*/ 8162662 w 13797425"/>
                <a:gd name="connsiteY8700" fmla="*/ 7948228 h 17966907"/>
                <a:gd name="connsiteX8701" fmla="*/ 8167428 w 13797425"/>
                <a:gd name="connsiteY8701" fmla="*/ 7933933 h 17966907"/>
                <a:gd name="connsiteX8702" fmla="*/ 8167428 w 13797425"/>
                <a:gd name="connsiteY8702" fmla="*/ 7929168 h 17966907"/>
                <a:gd name="connsiteX8703" fmla="*/ 8253200 w 13797425"/>
                <a:gd name="connsiteY8703" fmla="*/ 7824335 h 17966907"/>
                <a:gd name="connsiteX8704" fmla="*/ 8291321 w 13797425"/>
                <a:gd name="connsiteY8704" fmla="*/ 7776684 h 17966907"/>
                <a:gd name="connsiteX8705" fmla="*/ 8324677 w 13797425"/>
                <a:gd name="connsiteY8705" fmla="*/ 7752858 h 17966907"/>
                <a:gd name="connsiteX8706" fmla="*/ 8362798 w 13797425"/>
                <a:gd name="connsiteY8706" fmla="*/ 7729032 h 17966907"/>
                <a:gd name="connsiteX8707" fmla="*/ 8472396 w 13797425"/>
                <a:gd name="connsiteY8707" fmla="*/ 7690911 h 17966907"/>
                <a:gd name="connsiteX8708" fmla="*/ 6404330 w 13797425"/>
                <a:gd name="connsiteY8708" fmla="*/ 7624199 h 17966907"/>
                <a:gd name="connsiteX8709" fmla="*/ 6537754 w 13797425"/>
                <a:gd name="connsiteY8709" fmla="*/ 7748092 h 17966907"/>
                <a:gd name="connsiteX8710" fmla="*/ 6556814 w 13797425"/>
                <a:gd name="connsiteY8710" fmla="*/ 7738562 h 17966907"/>
                <a:gd name="connsiteX8711" fmla="*/ 6594935 w 13797425"/>
                <a:gd name="connsiteY8711" fmla="*/ 7729032 h 17966907"/>
                <a:gd name="connsiteX8712" fmla="*/ 6637821 w 13797425"/>
                <a:gd name="connsiteY8712" fmla="*/ 7714736 h 17966907"/>
                <a:gd name="connsiteX8713" fmla="*/ 6695003 w 13797425"/>
                <a:gd name="connsiteY8713" fmla="*/ 7695676 h 17966907"/>
                <a:gd name="connsiteX8714" fmla="*/ 6728359 w 13797425"/>
                <a:gd name="connsiteY8714" fmla="*/ 7671850 h 17966907"/>
                <a:gd name="connsiteX8715" fmla="*/ 6742654 w 13797425"/>
                <a:gd name="connsiteY8715" fmla="*/ 7662320 h 17966907"/>
                <a:gd name="connsiteX8716" fmla="*/ 6771245 w 13797425"/>
                <a:gd name="connsiteY8716" fmla="*/ 7657555 h 17966907"/>
                <a:gd name="connsiteX8717" fmla="*/ 6780775 w 13797425"/>
                <a:gd name="connsiteY8717" fmla="*/ 7657555 h 17966907"/>
                <a:gd name="connsiteX8718" fmla="*/ 6823661 w 13797425"/>
                <a:gd name="connsiteY8718" fmla="*/ 7671850 h 17966907"/>
                <a:gd name="connsiteX8719" fmla="*/ 6837957 w 13797425"/>
                <a:gd name="connsiteY8719" fmla="*/ 7686146 h 17966907"/>
                <a:gd name="connsiteX8720" fmla="*/ 6847487 w 13797425"/>
                <a:gd name="connsiteY8720" fmla="*/ 7695676 h 17966907"/>
                <a:gd name="connsiteX8721" fmla="*/ 6857017 w 13797425"/>
                <a:gd name="connsiteY8721" fmla="*/ 7714736 h 17966907"/>
                <a:gd name="connsiteX8722" fmla="*/ 6871313 w 13797425"/>
                <a:gd name="connsiteY8722" fmla="*/ 7762388 h 17966907"/>
                <a:gd name="connsiteX8723" fmla="*/ 6876078 w 13797425"/>
                <a:gd name="connsiteY8723" fmla="*/ 7776683 h 17966907"/>
                <a:gd name="connsiteX8724" fmla="*/ 6876078 w 13797425"/>
                <a:gd name="connsiteY8724" fmla="*/ 7781448 h 17966907"/>
                <a:gd name="connsiteX8725" fmla="*/ 6857017 w 13797425"/>
                <a:gd name="connsiteY8725" fmla="*/ 7810039 h 17966907"/>
                <a:gd name="connsiteX8726" fmla="*/ 6847487 w 13797425"/>
                <a:gd name="connsiteY8726" fmla="*/ 7824334 h 17966907"/>
                <a:gd name="connsiteX8727" fmla="*/ 6828426 w 13797425"/>
                <a:gd name="connsiteY8727" fmla="*/ 7833865 h 17966907"/>
                <a:gd name="connsiteX8728" fmla="*/ 6814131 w 13797425"/>
                <a:gd name="connsiteY8728" fmla="*/ 7838630 h 17966907"/>
                <a:gd name="connsiteX8729" fmla="*/ 6799836 w 13797425"/>
                <a:gd name="connsiteY8729" fmla="*/ 7857690 h 17966907"/>
                <a:gd name="connsiteX8730" fmla="*/ 6780775 w 13797425"/>
                <a:gd name="connsiteY8730" fmla="*/ 7852925 h 17966907"/>
                <a:gd name="connsiteX8731" fmla="*/ 6776010 w 13797425"/>
                <a:gd name="connsiteY8731" fmla="*/ 7871986 h 17966907"/>
                <a:gd name="connsiteX8732" fmla="*/ 6776010 w 13797425"/>
                <a:gd name="connsiteY8732" fmla="*/ 7886281 h 17966907"/>
                <a:gd name="connsiteX8733" fmla="*/ 6780775 w 13797425"/>
                <a:gd name="connsiteY8733" fmla="*/ 7891046 h 17966907"/>
                <a:gd name="connsiteX8734" fmla="*/ 6790305 w 13797425"/>
                <a:gd name="connsiteY8734" fmla="*/ 7891046 h 17966907"/>
                <a:gd name="connsiteX8735" fmla="*/ 6799836 w 13797425"/>
                <a:gd name="connsiteY8735" fmla="*/ 7881516 h 17966907"/>
                <a:gd name="connsiteX8736" fmla="*/ 6818896 w 13797425"/>
                <a:gd name="connsiteY8736" fmla="*/ 7886281 h 17966907"/>
                <a:gd name="connsiteX8737" fmla="*/ 6828426 w 13797425"/>
                <a:gd name="connsiteY8737" fmla="*/ 7895811 h 17966907"/>
                <a:gd name="connsiteX8738" fmla="*/ 6837957 w 13797425"/>
                <a:gd name="connsiteY8738" fmla="*/ 7919637 h 17966907"/>
                <a:gd name="connsiteX8739" fmla="*/ 6833192 w 13797425"/>
                <a:gd name="connsiteY8739" fmla="*/ 7938698 h 17966907"/>
                <a:gd name="connsiteX8740" fmla="*/ 6799836 w 13797425"/>
                <a:gd name="connsiteY8740" fmla="*/ 7962523 h 17966907"/>
                <a:gd name="connsiteX8741" fmla="*/ 6747419 w 13797425"/>
                <a:gd name="connsiteY8741" fmla="*/ 7991114 h 17966907"/>
                <a:gd name="connsiteX8742" fmla="*/ 6690238 w 13797425"/>
                <a:gd name="connsiteY8742" fmla="*/ 8081651 h 17966907"/>
                <a:gd name="connsiteX8743" fmla="*/ 6656882 w 13797425"/>
                <a:gd name="connsiteY8743" fmla="*/ 8119772 h 17966907"/>
                <a:gd name="connsiteX8744" fmla="*/ 6652117 w 13797425"/>
                <a:gd name="connsiteY8744" fmla="*/ 8134068 h 17966907"/>
                <a:gd name="connsiteX8745" fmla="*/ 6647352 w 13797425"/>
                <a:gd name="connsiteY8745" fmla="*/ 8143598 h 17966907"/>
                <a:gd name="connsiteX8746" fmla="*/ 6652117 w 13797425"/>
                <a:gd name="connsiteY8746" fmla="*/ 8167424 h 17966907"/>
                <a:gd name="connsiteX8747" fmla="*/ 6652117 w 13797425"/>
                <a:gd name="connsiteY8747" fmla="*/ 8176954 h 17966907"/>
                <a:gd name="connsiteX8748" fmla="*/ 6661647 w 13797425"/>
                <a:gd name="connsiteY8748" fmla="*/ 8181719 h 17966907"/>
                <a:gd name="connsiteX8749" fmla="*/ 6690238 w 13797425"/>
                <a:gd name="connsiteY8749" fmla="*/ 8148363 h 17966907"/>
                <a:gd name="connsiteX8750" fmla="*/ 6709298 w 13797425"/>
                <a:gd name="connsiteY8750" fmla="*/ 8134068 h 17966907"/>
                <a:gd name="connsiteX8751" fmla="*/ 6728359 w 13797425"/>
                <a:gd name="connsiteY8751" fmla="*/ 8124538 h 17966907"/>
                <a:gd name="connsiteX8752" fmla="*/ 6761715 w 13797425"/>
                <a:gd name="connsiteY8752" fmla="*/ 8124538 h 17966907"/>
                <a:gd name="connsiteX8753" fmla="*/ 6776010 w 13797425"/>
                <a:gd name="connsiteY8753" fmla="*/ 8129303 h 17966907"/>
                <a:gd name="connsiteX8754" fmla="*/ 6799836 w 13797425"/>
                <a:gd name="connsiteY8754" fmla="*/ 8148363 h 17966907"/>
                <a:gd name="connsiteX8755" fmla="*/ 6823661 w 13797425"/>
                <a:gd name="connsiteY8755" fmla="*/ 8176954 h 17966907"/>
                <a:gd name="connsiteX8756" fmla="*/ 6828426 w 13797425"/>
                <a:gd name="connsiteY8756" fmla="*/ 8191249 h 17966907"/>
                <a:gd name="connsiteX8757" fmla="*/ 6823661 w 13797425"/>
                <a:gd name="connsiteY8757" fmla="*/ 8200780 h 17966907"/>
                <a:gd name="connsiteX8758" fmla="*/ 6814131 w 13797425"/>
                <a:gd name="connsiteY8758" fmla="*/ 8210310 h 17966907"/>
                <a:gd name="connsiteX8759" fmla="*/ 6814131 w 13797425"/>
                <a:gd name="connsiteY8759" fmla="*/ 8219840 h 17966907"/>
                <a:gd name="connsiteX8760" fmla="*/ 6837957 w 13797425"/>
                <a:gd name="connsiteY8760" fmla="*/ 8234136 h 17966907"/>
                <a:gd name="connsiteX8761" fmla="*/ 6861782 w 13797425"/>
                <a:gd name="connsiteY8761" fmla="*/ 8272257 h 17966907"/>
                <a:gd name="connsiteX8762" fmla="*/ 6861782 w 13797425"/>
                <a:gd name="connsiteY8762" fmla="*/ 8296082 h 17966907"/>
                <a:gd name="connsiteX8763" fmla="*/ 6852252 w 13797425"/>
                <a:gd name="connsiteY8763" fmla="*/ 8319908 h 17966907"/>
                <a:gd name="connsiteX8764" fmla="*/ 6847487 w 13797425"/>
                <a:gd name="connsiteY8764" fmla="*/ 8334203 h 17966907"/>
                <a:gd name="connsiteX8765" fmla="*/ 6852252 w 13797425"/>
                <a:gd name="connsiteY8765" fmla="*/ 8343734 h 17966907"/>
                <a:gd name="connsiteX8766" fmla="*/ 6866548 w 13797425"/>
                <a:gd name="connsiteY8766" fmla="*/ 8338968 h 17966907"/>
                <a:gd name="connsiteX8767" fmla="*/ 6895138 w 13797425"/>
                <a:gd name="connsiteY8767" fmla="*/ 8310378 h 17966907"/>
                <a:gd name="connsiteX8768" fmla="*/ 6923729 w 13797425"/>
                <a:gd name="connsiteY8768" fmla="*/ 8296082 h 17966907"/>
                <a:gd name="connsiteX8769" fmla="*/ 6938024 w 13797425"/>
                <a:gd name="connsiteY8769" fmla="*/ 8300847 h 17966907"/>
                <a:gd name="connsiteX8770" fmla="*/ 6942790 w 13797425"/>
                <a:gd name="connsiteY8770" fmla="*/ 8305612 h 17966907"/>
                <a:gd name="connsiteX8771" fmla="*/ 6952320 w 13797425"/>
                <a:gd name="connsiteY8771" fmla="*/ 8338968 h 17966907"/>
                <a:gd name="connsiteX8772" fmla="*/ 6961850 w 13797425"/>
                <a:gd name="connsiteY8772" fmla="*/ 8381854 h 17966907"/>
                <a:gd name="connsiteX8773" fmla="*/ 6961850 w 13797425"/>
                <a:gd name="connsiteY8773" fmla="*/ 8415210 h 17966907"/>
                <a:gd name="connsiteX8774" fmla="*/ 6957085 w 13797425"/>
                <a:gd name="connsiteY8774" fmla="*/ 8443801 h 17966907"/>
                <a:gd name="connsiteX8775" fmla="*/ 6947555 w 13797425"/>
                <a:gd name="connsiteY8775" fmla="*/ 8462862 h 17966907"/>
                <a:gd name="connsiteX8776" fmla="*/ 6928494 w 13797425"/>
                <a:gd name="connsiteY8776" fmla="*/ 8491452 h 17966907"/>
                <a:gd name="connsiteX8777" fmla="*/ 6914199 w 13797425"/>
                <a:gd name="connsiteY8777" fmla="*/ 8500983 h 17966907"/>
                <a:gd name="connsiteX8778" fmla="*/ 6904668 w 13797425"/>
                <a:gd name="connsiteY8778" fmla="*/ 8500983 h 17966907"/>
                <a:gd name="connsiteX8779" fmla="*/ 6904668 w 13797425"/>
                <a:gd name="connsiteY8779" fmla="*/ 8505748 h 17966907"/>
                <a:gd name="connsiteX8780" fmla="*/ 6923729 w 13797425"/>
                <a:gd name="connsiteY8780" fmla="*/ 8529574 h 17966907"/>
                <a:gd name="connsiteX8781" fmla="*/ 6933259 w 13797425"/>
                <a:gd name="connsiteY8781" fmla="*/ 8543869 h 17966907"/>
                <a:gd name="connsiteX8782" fmla="*/ 6938024 w 13797425"/>
                <a:gd name="connsiteY8782" fmla="*/ 8562929 h 17966907"/>
                <a:gd name="connsiteX8783" fmla="*/ 6938024 w 13797425"/>
                <a:gd name="connsiteY8783" fmla="*/ 8577225 h 17966907"/>
                <a:gd name="connsiteX8784" fmla="*/ 6933259 w 13797425"/>
                <a:gd name="connsiteY8784" fmla="*/ 8591520 h 17966907"/>
                <a:gd name="connsiteX8785" fmla="*/ 6909434 w 13797425"/>
                <a:gd name="connsiteY8785" fmla="*/ 8641554 h 17966907"/>
                <a:gd name="connsiteX8786" fmla="*/ 6914199 w 13797425"/>
                <a:gd name="connsiteY8786" fmla="*/ 8646319 h 17966907"/>
                <a:gd name="connsiteX8787" fmla="*/ 6918964 w 13797425"/>
                <a:gd name="connsiteY8787" fmla="*/ 8651084 h 17966907"/>
                <a:gd name="connsiteX8788" fmla="*/ 6933259 w 13797425"/>
                <a:gd name="connsiteY8788" fmla="*/ 8679675 h 17966907"/>
                <a:gd name="connsiteX8789" fmla="*/ 6933259 w 13797425"/>
                <a:gd name="connsiteY8789" fmla="*/ 8746387 h 17966907"/>
                <a:gd name="connsiteX8790" fmla="*/ 6880843 w 13797425"/>
                <a:gd name="connsiteY8790" fmla="*/ 8765447 h 17966907"/>
                <a:gd name="connsiteX8791" fmla="*/ 6871313 w 13797425"/>
                <a:gd name="connsiteY8791" fmla="*/ 8784508 h 17966907"/>
                <a:gd name="connsiteX8792" fmla="*/ 6857017 w 13797425"/>
                <a:gd name="connsiteY8792" fmla="*/ 8808334 h 17966907"/>
                <a:gd name="connsiteX8793" fmla="*/ 6837957 w 13797425"/>
                <a:gd name="connsiteY8793" fmla="*/ 8827394 h 17966907"/>
                <a:gd name="connsiteX8794" fmla="*/ 6799836 w 13797425"/>
                <a:gd name="connsiteY8794" fmla="*/ 8846455 h 17966907"/>
                <a:gd name="connsiteX8795" fmla="*/ 6780775 w 13797425"/>
                <a:gd name="connsiteY8795" fmla="*/ 8846455 h 17966907"/>
                <a:gd name="connsiteX8796" fmla="*/ 6690238 w 13797425"/>
                <a:gd name="connsiteY8796" fmla="*/ 8832159 h 17966907"/>
                <a:gd name="connsiteX8797" fmla="*/ 6680708 w 13797425"/>
                <a:gd name="connsiteY8797" fmla="*/ 8822629 h 17966907"/>
                <a:gd name="connsiteX8798" fmla="*/ 6671177 w 13797425"/>
                <a:gd name="connsiteY8798" fmla="*/ 8803568 h 17966907"/>
                <a:gd name="connsiteX8799" fmla="*/ 6671177 w 13797425"/>
                <a:gd name="connsiteY8799" fmla="*/ 8779743 h 17966907"/>
                <a:gd name="connsiteX8800" fmla="*/ 6666412 w 13797425"/>
                <a:gd name="connsiteY8800" fmla="*/ 8760682 h 17966907"/>
                <a:gd name="connsiteX8801" fmla="*/ 6671177 w 13797425"/>
                <a:gd name="connsiteY8801" fmla="*/ 8746387 h 17966907"/>
                <a:gd name="connsiteX8802" fmla="*/ 6671177 w 13797425"/>
                <a:gd name="connsiteY8802" fmla="*/ 8741622 h 17966907"/>
                <a:gd name="connsiteX8803" fmla="*/ 6666412 w 13797425"/>
                <a:gd name="connsiteY8803" fmla="*/ 8736857 h 17966907"/>
                <a:gd name="connsiteX8804" fmla="*/ 6656882 w 13797425"/>
                <a:gd name="connsiteY8804" fmla="*/ 8751152 h 17966907"/>
                <a:gd name="connsiteX8805" fmla="*/ 6647352 w 13797425"/>
                <a:gd name="connsiteY8805" fmla="*/ 8774978 h 17966907"/>
                <a:gd name="connsiteX8806" fmla="*/ 6652117 w 13797425"/>
                <a:gd name="connsiteY8806" fmla="*/ 8803568 h 17966907"/>
                <a:gd name="connsiteX8807" fmla="*/ 6680708 w 13797425"/>
                <a:gd name="connsiteY8807" fmla="*/ 8884576 h 17966907"/>
                <a:gd name="connsiteX8808" fmla="*/ 6685473 w 13797425"/>
                <a:gd name="connsiteY8808" fmla="*/ 8917932 h 17966907"/>
                <a:gd name="connsiteX8809" fmla="*/ 6690238 w 13797425"/>
                <a:gd name="connsiteY8809" fmla="*/ 8932227 h 17966907"/>
                <a:gd name="connsiteX8810" fmla="*/ 6685473 w 13797425"/>
                <a:gd name="connsiteY8810" fmla="*/ 8941757 h 17966907"/>
                <a:gd name="connsiteX8811" fmla="*/ 6652117 w 13797425"/>
                <a:gd name="connsiteY8811" fmla="*/ 8984643 h 17966907"/>
                <a:gd name="connsiteX8812" fmla="*/ 6633056 w 13797425"/>
                <a:gd name="connsiteY8812" fmla="*/ 9003704 h 17966907"/>
                <a:gd name="connsiteX8813" fmla="*/ 6613996 w 13797425"/>
                <a:gd name="connsiteY8813" fmla="*/ 9008469 h 17966907"/>
                <a:gd name="connsiteX8814" fmla="*/ 6594935 w 13797425"/>
                <a:gd name="connsiteY8814" fmla="*/ 9003704 h 17966907"/>
                <a:gd name="connsiteX8815" fmla="*/ 6575875 w 13797425"/>
                <a:gd name="connsiteY8815" fmla="*/ 8984643 h 17966907"/>
                <a:gd name="connsiteX8816" fmla="*/ 6561579 w 13797425"/>
                <a:gd name="connsiteY8816" fmla="*/ 8975113 h 17966907"/>
                <a:gd name="connsiteX8817" fmla="*/ 6532989 w 13797425"/>
                <a:gd name="connsiteY8817" fmla="*/ 8979878 h 17966907"/>
                <a:gd name="connsiteX8818" fmla="*/ 6528224 w 13797425"/>
                <a:gd name="connsiteY8818" fmla="*/ 8965583 h 17966907"/>
                <a:gd name="connsiteX8819" fmla="*/ 6518693 w 13797425"/>
                <a:gd name="connsiteY8819" fmla="*/ 8951288 h 17966907"/>
                <a:gd name="connsiteX8820" fmla="*/ 6499633 w 13797425"/>
                <a:gd name="connsiteY8820" fmla="*/ 8884576 h 17966907"/>
                <a:gd name="connsiteX8821" fmla="*/ 6471042 w 13797425"/>
                <a:gd name="connsiteY8821" fmla="*/ 8836924 h 17966907"/>
                <a:gd name="connsiteX8822" fmla="*/ 6447216 w 13797425"/>
                <a:gd name="connsiteY8822" fmla="*/ 8784508 h 17966907"/>
                <a:gd name="connsiteX8823" fmla="*/ 6385270 w 13797425"/>
                <a:gd name="connsiteY8823" fmla="*/ 8708266 h 17966907"/>
                <a:gd name="connsiteX8824" fmla="*/ 6356679 w 13797425"/>
                <a:gd name="connsiteY8824" fmla="*/ 8660615 h 17966907"/>
                <a:gd name="connsiteX8825" fmla="*/ 6313793 w 13797425"/>
                <a:gd name="connsiteY8825" fmla="*/ 8586755 h 17966907"/>
                <a:gd name="connsiteX8826" fmla="*/ 6294732 w 13797425"/>
                <a:gd name="connsiteY8826" fmla="*/ 8572460 h 17966907"/>
                <a:gd name="connsiteX8827" fmla="*/ 6280437 w 13797425"/>
                <a:gd name="connsiteY8827" fmla="*/ 8562929 h 17966907"/>
                <a:gd name="connsiteX8828" fmla="*/ 6251846 w 13797425"/>
                <a:gd name="connsiteY8828" fmla="*/ 8558164 h 17966907"/>
                <a:gd name="connsiteX8829" fmla="*/ 6242316 w 13797425"/>
                <a:gd name="connsiteY8829" fmla="*/ 8548634 h 17966907"/>
                <a:gd name="connsiteX8830" fmla="*/ 6232786 w 13797425"/>
                <a:gd name="connsiteY8830" fmla="*/ 8524808 h 17966907"/>
                <a:gd name="connsiteX8831" fmla="*/ 6218490 w 13797425"/>
                <a:gd name="connsiteY8831" fmla="*/ 8505748 h 17966907"/>
                <a:gd name="connsiteX8832" fmla="*/ 6208960 w 13797425"/>
                <a:gd name="connsiteY8832" fmla="*/ 8500983 h 17966907"/>
                <a:gd name="connsiteX8833" fmla="*/ 6199430 w 13797425"/>
                <a:gd name="connsiteY8833" fmla="*/ 8505748 h 17966907"/>
                <a:gd name="connsiteX8834" fmla="*/ 6170839 w 13797425"/>
                <a:gd name="connsiteY8834" fmla="*/ 8524808 h 17966907"/>
                <a:gd name="connsiteX8835" fmla="*/ 6137483 w 13797425"/>
                <a:gd name="connsiteY8835" fmla="*/ 8505748 h 17966907"/>
                <a:gd name="connsiteX8836" fmla="*/ 6127953 w 13797425"/>
                <a:gd name="connsiteY8836" fmla="*/ 8491452 h 17966907"/>
                <a:gd name="connsiteX8837" fmla="*/ 6123188 w 13797425"/>
                <a:gd name="connsiteY8837" fmla="*/ 8467627 h 17966907"/>
                <a:gd name="connsiteX8838" fmla="*/ 6118423 w 13797425"/>
                <a:gd name="connsiteY8838" fmla="*/ 8458097 h 17966907"/>
                <a:gd name="connsiteX8839" fmla="*/ 6108892 w 13797425"/>
                <a:gd name="connsiteY8839" fmla="*/ 8443801 h 17966907"/>
                <a:gd name="connsiteX8840" fmla="*/ 6099362 w 13797425"/>
                <a:gd name="connsiteY8840" fmla="*/ 8415210 h 17966907"/>
                <a:gd name="connsiteX8841" fmla="*/ 6027885 w 13797425"/>
                <a:gd name="connsiteY8841" fmla="*/ 8358029 h 17966907"/>
                <a:gd name="connsiteX8842" fmla="*/ 5989764 w 13797425"/>
                <a:gd name="connsiteY8842" fmla="*/ 8296082 h 17966907"/>
                <a:gd name="connsiteX8843" fmla="*/ 5980234 w 13797425"/>
                <a:gd name="connsiteY8843" fmla="*/ 8272257 h 17966907"/>
                <a:gd name="connsiteX8844" fmla="*/ 5980234 w 13797425"/>
                <a:gd name="connsiteY8844" fmla="*/ 8262726 h 17966907"/>
                <a:gd name="connsiteX8845" fmla="*/ 5984999 w 13797425"/>
                <a:gd name="connsiteY8845" fmla="*/ 8229370 h 17966907"/>
                <a:gd name="connsiteX8846" fmla="*/ 5994529 w 13797425"/>
                <a:gd name="connsiteY8846" fmla="*/ 8191249 h 17966907"/>
                <a:gd name="connsiteX8847" fmla="*/ 6008825 w 13797425"/>
                <a:gd name="connsiteY8847" fmla="*/ 8157893 h 17966907"/>
                <a:gd name="connsiteX8848" fmla="*/ 6013590 w 13797425"/>
                <a:gd name="connsiteY8848" fmla="*/ 8143598 h 17966907"/>
                <a:gd name="connsiteX8849" fmla="*/ 6042181 w 13797425"/>
                <a:gd name="connsiteY8849" fmla="*/ 8110242 h 17966907"/>
                <a:gd name="connsiteX8850" fmla="*/ 6061241 w 13797425"/>
                <a:gd name="connsiteY8850" fmla="*/ 8105477 h 17966907"/>
                <a:gd name="connsiteX8851" fmla="*/ 6089832 w 13797425"/>
                <a:gd name="connsiteY8851" fmla="*/ 8110242 h 17966907"/>
                <a:gd name="connsiteX8852" fmla="*/ 6104127 w 13797425"/>
                <a:gd name="connsiteY8852" fmla="*/ 8115007 h 17966907"/>
                <a:gd name="connsiteX8853" fmla="*/ 6118423 w 13797425"/>
                <a:gd name="connsiteY8853" fmla="*/ 8134068 h 17966907"/>
                <a:gd name="connsiteX8854" fmla="*/ 6123188 w 13797425"/>
                <a:gd name="connsiteY8854" fmla="*/ 8157893 h 17966907"/>
                <a:gd name="connsiteX8855" fmla="*/ 6132718 w 13797425"/>
                <a:gd name="connsiteY8855" fmla="*/ 8176954 h 17966907"/>
                <a:gd name="connsiteX8856" fmla="*/ 6151779 w 13797425"/>
                <a:gd name="connsiteY8856" fmla="*/ 8196014 h 17966907"/>
                <a:gd name="connsiteX8857" fmla="*/ 6166074 w 13797425"/>
                <a:gd name="connsiteY8857" fmla="*/ 8205545 h 17966907"/>
                <a:gd name="connsiteX8858" fmla="*/ 6180369 w 13797425"/>
                <a:gd name="connsiteY8858" fmla="*/ 8238901 h 17966907"/>
                <a:gd name="connsiteX8859" fmla="*/ 6194665 w 13797425"/>
                <a:gd name="connsiteY8859" fmla="*/ 8281787 h 17966907"/>
                <a:gd name="connsiteX8860" fmla="*/ 6208960 w 13797425"/>
                <a:gd name="connsiteY8860" fmla="*/ 8291317 h 17966907"/>
                <a:gd name="connsiteX8861" fmla="*/ 6237551 w 13797425"/>
                <a:gd name="connsiteY8861" fmla="*/ 8296082 h 17966907"/>
                <a:gd name="connsiteX8862" fmla="*/ 6266142 w 13797425"/>
                <a:gd name="connsiteY8862" fmla="*/ 8291317 h 17966907"/>
                <a:gd name="connsiteX8863" fmla="*/ 6328088 w 13797425"/>
                <a:gd name="connsiteY8863" fmla="*/ 8267491 h 17966907"/>
                <a:gd name="connsiteX8864" fmla="*/ 6332853 w 13797425"/>
                <a:gd name="connsiteY8864" fmla="*/ 8262726 h 17966907"/>
                <a:gd name="connsiteX8865" fmla="*/ 6337618 w 13797425"/>
                <a:gd name="connsiteY8865" fmla="*/ 8248431 h 17966907"/>
                <a:gd name="connsiteX8866" fmla="*/ 6342384 w 13797425"/>
                <a:gd name="connsiteY8866" fmla="*/ 8157893 h 17966907"/>
                <a:gd name="connsiteX8867" fmla="*/ 6347149 w 13797425"/>
                <a:gd name="connsiteY8867" fmla="*/ 8157893 h 17966907"/>
                <a:gd name="connsiteX8868" fmla="*/ 6370974 w 13797425"/>
                <a:gd name="connsiteY8868" fmla="*/ 8200780 h 17966907"/>
                <a:gd name="connsiteX8869" fmla="*/ 6375739 w 13797425"/>
                <a:gd name="connsiteY8869" fmla="*/ 8205545 h 17966907"/>
                <a:gd name="connsiteX8870" fmla="*/ 6385270 w 13797425"/>
                <a:gd name="connsiteY8870" fmla="*/ 8196014 h 17966907"/>
                <a:gd name="connsiteX8871" fmla="*/ 6390035 w 13797425"/>
                <a:gd name="connsiteY8871" fmla="*/ 8176954 h 17966907"/>
                <a:gd name="connsiteX8872" fmla="*/ 6390035 w 13797425"/>
                <a:gd name="connsiteY8872" fmla="*/ 8167424 h 17966907"/>
                <a:gd name="connsiteX8873" fmla="*/ 6375739 w 13797425"/>
                <a:gd name="connsiteY8873" fmla="*/ 8115007 h 17966907"/>
                <a:gd name="connsiteX8874" fmla="*/ 6366209 w 13797425"/>
                <a:gd name="connsiteY8874" fmla="*/ 8095947 h 17966907"/>
                <a:gd name="connsiteX8875" fmla="*/ 6361444 w 13797425"/>
                <a:gd name="connsiteY8875" fmla="*/ 8081651 h 17966907"/>
                <a:gd name="connsiteX8876" fmla="*/ 6351914 w 13797425"/>
                <a:gd name="connsiteY8876" fmla="*/ 8076886 h 17966907"/>
                <a:gd name="connsiteX8877" fmla="*/ 6337618 w 13797425"/>
                <a:gd name="connsiteY8877" fmla="*/ 8081651 h 17966907"/>
                <a:gd name="connsiteX8878" fmla="*/ 6323323 w 13797425"/>
                <a:gd name="connsiteY8878" fmla="*/ 8072121 h 17966907"/>
                <a:gd name="connsiteX8879" fmla="*/ 6318558 w 13797425"/>
                <a:gd name="connsiteY8879" fmla="*/ 8057826 h 17966907"/>
                <a:gd name="connsiteX8880" fmla="*/ 6323323 w 13797425"/>
                <a:gd name="connsiteY8880" fmla="*/ 8038765 h 17966907"/>
                <a:gd name="connsiteX8881" fmla="*/ 6328088 w 13797425"/>
                <a:gd name="connsiteY8881" fmla="*/ 8019705 h 17966907"/>
                <a:gd name="connsiteX8882" fmla="*/ 6337618 w 13797425"/>
                <a:gd name="connsiteY8882" fmla="*/ 8010174 h 17966907"/>
                <a:gd name="connsiteX8883" fmla="*/ 6351914 w 13797425"/>
                <a:gd name="connsiteY8883" fmla="*/ 8005409 h 17966907"/>
                <a:gd name="connsiteX8884" fmla="*/ 6370974 w 13797425"/>
                <a:gd name="connsiteY8884" fmla="*/ 8010174 h 17966907"/>
                <a:gd name="connsiteX8885" fmla="*/ 6394800 w 13797425"/>
                <a:gd name="connsiteY8885" fmla="*/ 8034000 h 17966907"/>
                <a:gd name="connsiteX8886" fmla="*/ 6409095 w 13797425"/>
                <a:gd name="connsiteY8886" fmla="*/ 8038765 h 17966907"/>
                <a:gd name="connsiteX8887" fmla="*/ 6432921 w 13797425"/>
                <a:gd name="connsiteY8887" fmla="*/ 8029235 h 17966907"/>
                <a:gd name="connsiteX8888" fmla="*/ 6404330 w 13797425"/>
                <a:gd name="connsiteY8888" fmla="*/ 8014940 h 17966907"/>
                <a:gd name="connsiteX8889" fmla="*/ 6366209 w 13797425"/>
                <a:gd name="connsiteY8889" fmla="*/ 7962523 h 17966907"/>
                <a:gd name="connsiteX8890" fmla="*/ 6347149 w 13797425"/>
                <a:gd name="connsiteY8890" fmla="*/ 7952993 h 17966907"/>
                <a:gd name="connsiteX8891" fmla="*/ 6328088 w 13797425"/>
                <a:gd name="connsiteY8891" fmla="*/ 7976819 h 17966907"/>
                <a:gd name="connsiteX8892" fmla="*/ 6313793 w 13797425"/>
                <a:gd name="connsiteY8892" fmla="*/ 7986349 h 17966907"/>
                <a:gd name="connsiteX8893" fmla="*/ 6285202 w 13797425"/>
                <a:gd name="connsiteY8893" fmla="*/ 7995879 h 17966907"/>
                <a:gd name="connsiteX8894" fmla="*/ 6266142 w 13797425"/>
                <a:gd name="connsiteY8894" fmla="*/ 7995879 h 17966907"/>
                <a:gd name="connsiteX8895" fmla="*/ 6180369 w 13797425"/>
                <a:gd name="connsiteY8895" fmla="*/ 7910107 h 17966907"/>
                <a:gd name="connsiteX8896" fmla="*/ 6175604 w 13797425"/>
                <a:gd name="connsiteY8896" fmla="*/ 7905342 h 17966907"/>
                <a:gd name="connsiteX8897" fmla="*/ 6166074 w 13797425"/>
                <a:gd name="connsiteY8897" fmla="*/ 7881516 h 17966907"/>
                <a:gd name="connsiteX8898" fmla="*/ 6166074 w 13797425"/>
                <a:gd name="connsiteY8898" fmla="*/ 7871986 h 17966907"/>
                <a:gd name="connsiteX8899" fmla="*/ 6175604 w 13797425"/>
                <a:gd name="connsiteY8899" fmla="*/ 7857690 h 17966907"/>
                <a:gd name="connsiteX8900" fmla="*/ 6199430 w 13797425"/>
                <a:gd name="connsiteY8900" fmla="*/ 7833865 h 17966907"/>
                <a:gd name="connsiteX8901" fmla="*/ 6232786 w 13797425"/>
                <a:gd name="connsiteY8901" fmla="*/ 7824334 h 17966907"/>
                <a:gd name="connsiteX8902" fmla="*/ 6251846 w 13797425"/>
                <a:gd name="connsiteY8902" fmla="*/ 7819569 h 17966907"/>
                <a:gd name="connsiteX8903" fmla="*/ 6270907 w 13797425"/>
                <a:gd name="connsiteY8903" fmla="*/ 7833865 h 17966907"/>
                <a:gd name="connsiteX8904" fmla="*/ 6299497 w 13797425"/>
                <a:gd name="connsiteY8904" fmla="*/ 7876751 h 17966907"/>
                <a:gd name="connsiteX8905" fmla="*/ 6323323 w 13797425"/>
                <a:gd name="connsiteY8905" fmla="*/ 7900576 h 17966907"/>
                <a:gd name="connsiteX8906" fmla="*/ 6328088 w 13797425"/>
                <a:gd name="connsiteY8906" fmla="*/ 7895811 h 17966907"/>
                <a:gd name="connsiteX8907" fmla="*/ 6323323 w 13797425"/>
                <a:gd name="connsiteY8907" fmla="*/ 7867221 h 17966907"/>
                <a:gd name="connsiteX8908" fmla="*/ 6309028 w 13797425"/>
                <a:gd name="connsiteY8908" fmla="*/ 7833865 h 17966907"/>
                <a:gd name="connsiteX8909" fmla="*/ 6304263 w 13797425"/>
                <a:gd name="connsiteY8909" fmla="*/ 7824334 h 17966907"/>
                <a:gd name="connsiteX8910" fmla="*/ 6280437 w 13797425"/>
                <a:gd name="connsiteY8910" fmla="*/ 7810039 h 17966907"/>
                <a:gd name="connsiteX8911" fmla="*/ 6266142 w 13797425"/>
                <a:gd name="connsiteY8911" fmla="*/ 7786213 h 17966907"/>
                <a:gd name="connsiteX8912" fmla="*/ 6256611 w 13797425"/>
                <a:gd name="connsiteY8912" fmla="*/ 7767153 h 17966907"/>
                <a:gd name="connsiteX8913" fmla="*/ 6251846 w 13797425"/>
                <a:gd name="connsiteY8913" fmla="*/ 7748092 h 17966907"/>
                <a:gd name="connsiteX8914" fmla="*/ 6251846 w 13797425"/>
                <a:gd name="connsiteY8914" fmla="*/ 7729032 h 17966907"/>
                <a:gd name="connsiteX8915" fmla="*/ 6256611 w 13797425"/>
                <a:gd name="connsiteY8915" fmla="*/ 7714736 h 17966907"/>
                <a:gd name="connsiteX8916" fmla="*/ 6261376 w 13797425"/>
                <a:gd name="connsiteY8916" fmla="*/ 7705206 h 17966907"/>
                <a:gd name="connsiteX8917" fmla="*/ 6328088 w 13797425"/>
                <a:gd name="connsiteY8917" fmla="*/ 7686146 h 17966907"/>
                <a:gd name="connsiteX8918" fmla="*/ 6375739 w 13797425"/>
                <a:gd name="connsiteY8918" fmla="*/ 7709971 h 17966907"/>
                <a:gd name="connsiteX8919" fmla="*/ 6409095 w 13797425"/>
                <a:gd name="connsiteY8919" fmla="*/ 7709971 h 17966907"/>
                <a:gd name="connsiteX8920" fmla="*/ 6418626 w 13797425"/>
                <a:gd name="connsiteY8920" fmla="*/ 7681381 h 17966907"/>
                <a:gd name="connsiteX8921" fmla="*/ 6413860 w 13797425"/>
                <a:gd name="connsiteY8921" fmla="*/ 7676615 h 17966907"/>
                <a:gd name="connsiteX8922" fmla="*/ 6399565 w 13797425"/>
                <a:gd name="connsiteY8922" fmla="*/ 7686146 h 17966907"/>
                <a:gd name="connsiteX8923" fmla="*/ 6380505 w 13797425"/>
                <a:gd name="connsiteY8923" fmla="*/ 7686146 h 17966907"/>
                <a:gd name="connsiteX8924" fmla="*/ 6370974 w 13797425"/>
                <a:gd name="connsiteY8924" fmla="*/ 7667085 h 17966907"/>
                <a:gd name="connsiteX8925" fmla="*/ 6370974 w 13797425"/>
                <a:gd name="connsiteY8925" fmla="*/ 7657555 h 17966907"/>
                <a:gd name="connsiteX8926" fmla="*/ 6385270 w 13797425"/>
                <a:gd name="connsiteY8926" fmla="*/ 7633729 h 17966907"/>
                <a:gd name="connsiteX8927" fmla="*/ 6747418 w 13797425"/>
                <a:gd name="connsiteY8927" fmla="*/ 7528897 h 17966907"/>
                <a:gd name="connsiteX8928" fmla="*/ 6766479 w 13797425"/>
                <a:gd name="connsiteY8928" fmla="*/ 7533662 h 17966907"/>
                <a:gd name="connsiteX8929" fmla="*/ 6771244 w 13797425"/>
                <a:gd name="connsiteY8929" fmla="*/ 7543192 h 17966907"/>
                <a:gd name="connsiteX8930" fmla="*/ 6771244 w 13797425"/>
                <a:gd name="connsiteY8930" fmla="*/ 7552723 h 17966907"/>
                <a:gd name="connsiteX8931" fmla="*/ 6766479 w 13797425"/>
                <a:gd name="connsiteY8931" fmla="*/ 7567018 h 17966907"/>
                <a:gd name="connsiteX8932" fmla="*/ 6756949 w 13797425"/>
                <a:gd name="connsiteY8932" fmla="*/ 7590844 h 17966907"/>
                <a:gd name="connsiteX8933" fmla="*/ 6737888 w 13797425"/>
                <a:gd name="connsiteY8933" fmla="*/ 7614670 h 17966907"/>
                <a:gd name="connsiteX8934" fmla="*/ 6695002 w 13797425"/>
                <a:gd name="connsiteY8934" fmla="*/ 7657556 h 17966907"/>
                <a:gd name="connsiteX8935" fmla="*/ 6675942 w 13797425"/>
                <a:gd name="connsiteY8935" fmla="*/ 7671851 h 17966907"/>
                <a:gd name="connsiteX8936" fmla="*/ 6628290 w 13797425"/>
                <a:gd name="connsiteY8936" fmla="*/ 7681381 h 17966907"/>
                <a:gd name="connsiteX8937" fmla="*/ 6609230 w 13797425"/>
                <a:gd name="connsiteY8937" fmla="*/ 7676616 h 17966907"/>
                <a:gd name="connsiteX8938" fmla="*/ 6599700 w 13797425"/>
                <a:gd name="connsiteY8938" fmla="*/ 7690912 h 17966907"/>
                <a:gd name="connsiteX8939" fmla="*/ 6590169 w 13797425"/>
                <a:gd name="connsiteY8939" fmla="*/ 7700442 h 17966907"/>
                <a:gd name="connsiteX8940" fmla="*/ 6566344 w 13797425"/>
                <a:gd name="connsiteY8940" fmla="*/ 7700442 h 17966907"/>
                <a:gd name="connsiteX8941" fmla="*/ 6513927 w 13797425"/>
                <a:gd name="connsiteY8941" fmla="*/ 7671851 h 17966907"/>
                <a:gd name="connsiteX8942" fmla="*/ 6499632 w 13797425"/>
                <a:gd name="connsiteY8942" fmla="*/ 7662321 h 17966907"/>
                <a:gd name="connsiteX8943" fmla="*/ 6494867 w 13797425"/>
                <a:gd name="connsiteY8943" fmla="*/ 7652791 h 17966907"/>
                <a:gd name="connsiteX8944" fmla="*/ 6499632 w 13797425"/>
                <a:gd name="connsiteY8944" fmla="*/ 7648025 h 17966907"/>
                <a:gd name="connsiteX8945" fmla="*/ 6509162 w 13797425"/>
                <a:gd name="connsiteY8945" fmla="*/ 7638495 h 17966907"/>
                <a:gd name="connsiteX8946" fmla="*/ 6547283 w 13797425"/>
                <a:gd name="connsiteY8946" fmla="*/ 7624200 h 17966907"/>
                <a:gd name="connsiteX8947" fmla="*/ 6561579 w 13797425"/>
                <a:gd name="connsiteY8947" fmla="*/ 7614670 h 17966907"/>
                <a:gd name="connsiteX8948" fmla="*/ 6566344 w 13797425"/>
                <a:gd name="connsiteY8948" fmla="*/ 7600374 h 17966907"/>
                <a:gd name="connsiteX8949" fmla="*/ 6575874 w 13797425"/>
                <a:gd name="connsiteY8949" fmla="*/ 7590844 h 17966907"/>
                <a:gd name="connsiteX8950" fmla="*/ 6590169 w 13797425"/>
                <a:gd name="connsiteY8950" fmla="*/ 7581314 h 17966907"/>
                <a:gd name="connsiteX8951" fmla="*/ 6628290 w 13797425"/>
                <a:gd name="connsiteY8951" fmla="*/ 7576548 h 17966907"/>
                <a:gd name="connsiteX8952" fmla="*/ 6709297 w 13797425"/>
                <a:gd name="connsiteY8952" fmla="*/ 7538427 h 17966907"/>
                <a:gd name="connsiteX8953" fmla="*/ 7433597 w 13797425"/>
                <a:gd name="connsiteY8953" fmla="*/ 7495541 h 17966907"/>
                <a:gd name="connsiteX8954" fmla="*/ 7471718 w 13797425"/>
                <a:gd name="connsiteY8954" fmla="*/ 7505071 h 17966907"/>
                <a:gd name="connsiteX8955" fmla="*/ 7533665 w 13797425"/>
                <a:gd name="connsiteY8955" fmla="*/ 7528897 h 17966907"/>
                <a:gd name="connsiteX8956" fmla="*/ 7562256 w 13797425"/>
                <a:gd name="connsiteY8956" fmla="*/ 7547957 h 17966907"/>
                <a:gd name="connsiteX8957" fmla="*/ 7576551 w 13797425"/>
                <a:gd name="connsiteY8957" fmla="*/ 7562253 h 17966907"/>
                <a:gd name="connsiteX8958" fmla="*/ 7605142 w 13797425"/>
                <a:gd name="connsiteY8958" fmla="*/ 7600374 h 17966907"/>
                <a:gd name="connsiteX8959" fmla="*/ 7619437 w 13797425"/>
                <a:gd name="connsiteY8959" fmla="*/ 7609904 h 17966907"/>
                <a:gd name="connsiteX8960" fmla="*/ 7676619 w 13797425"/>
                <a:gd name="connsiteY8960" fmla="*/ 7590844 h 17966907"/>
                <a:gd name="connsiteX8961" fmla="*/ 7714740 w 13797425"/>
                <a:gd name="connsiteY8961" fmla="*/ 7581313 h 17966907"/>
                <a:gd name="connsiteX8962" fmla="*/ 7795747 w 13797425"/>
                <a:gd name="connsiteY8962" fmla="*/ 7590844 h 17966907"/>
                <a:gd name="connsiteX8963" fmla="*/ 7867224 w 13797425"/>
                <a:gd name="connsiteY8963" fmla="*/ 7624199 h 17966907"/>
                <a:gd name="connsiteX8964" fmla="*/ 7895815 w 13797425"/>
                <a:gd name="connsiteY8964" fmla="*/ 7648025 h 17966907"/>
                <a:gd name="connsiteX8965" fmla="*/ 7910110 w 13797425"/>
                <a:gd name="connsiteY8965" fmla="*/ 7671851 h 17966907"/>
                <a:gd name="connsiteX8966" fmla="*/ 7910110 w 13797425"/>
                <a:gd name="connsiteY8966" fmla="*/ 7695676 h 17966907"/>
                <a:gd name="connsiteX8967" fmla="*/ 7895815 w 13797425"/>
                <a:gd name="connsiteY8967" fmla="*/ 7733797 h 17966907"/>
                <a:gd name="connsiteX8968" fmla="*/ 7876754 w 13797425"/>
                <a:gd name="connsiteY8968" fmla="*/ 7771918 h 17966907"/>
                <a:gd name="connsiteX8969" fmla="*/ 7848163 w 13797425"/>
                <a:gd name="connsiteY8969" fmla="*/ 7829100 h 17966907"/>
                <a:gd name="connsiteX8970" fmla="*/ 7819573 w 13797425"/>
                <a:gd name="connsiteY8970" fmla="*/ 7857691 h 17966907"/>
                <a:gd name="connsiteX8971" fmla="*/ 7814807 w 13797425"/>
                <a:gd name="connsiteY8971" fmla="*/ 7871986 h 17966907"/>
                <a:gd name="connsiteX8972" fmla="*/ 7810042 w 13797425"/>
                <a:gd name="connsiteY8972" fmla="*/ 7891047 h 17966907"/>
                <a:gd name="connsiteX8973" fmla="*/ 7800512 w 13797425"/>
                <a:gd name="connsiteY8973" fmla="*/ 7919637 h 17966907"/>
                <a:gd name="connsiteX8974" fmla="*/ 7771921 w 13797425"/>
                <a:gd name="connsiteY8974" fmla="*/ 7981584 h 17966907"/>
                <a:gd name="connsiteX8975" fmla="*/ 7762391 w 13797425"/>
                <a:gd name="connsiteY8975" fmla="*/ 7991114 h 17966907"/>
                <a:gd name="connsiteX8976" fmla="*/ 7724270 w 13797425"/>
                <a:gd name="connsiteY8976" fmla="*/ 8019705 h 17966907"/>
                <a:gd name="connsiteX8977" fmla="*/ 7738565 w 13797425"/>
                <a:gd name="connsiteY8977" fmla="*/ 8029235 h 17966907"/>
                <a:gd name="connsiteX8978" fmla="*/ 7743331 w 13797425"/>
                <a:gd name="connsiteY8978" fmla="*/ 8043531 h 17966907"/>
                <a:gd name="connsiteX8979" fmla="*/ 7738565 w 13797425"/>
                <a:gd name="connsiteY8979" fmla="*/ 8067356 h 17966907"/>
                <a:gd name="connsiteX8980" fmla="*/ 7714740 w 13797425"/>
                <a:gd name="connsiteY8980" fmla="*/ 8129303 h 17966907"/>
                <a:gd name="connsiteX8981" fmla="*/ 7686149 w 13797425"/>
                <a:gd name="connsiteY8981" fmla="*/ 8191250 h 17966907"/>
                <a:gd name="connsiteX8982" fmla="*/ 7667088 w 13797425"/>
                <a:gd name="connsiteY8982" fmla="*/ 8224606 h 17966907"/>
                <a:gd name="connsiteX8983" fmla="*/ 7638498 w 13797425"/>
                <a:gd name="connsiteY8983" fmla="*/ 8277022 h 17966907"/>
                <a:gd name="connsiteX8984" fmla="*/ 7619437 w 13797425"/>
                <a:gd name="connsiteY8984" fmla="*/ 8291318 h 17966907"/>
                <a:gd name="connsiteX8985" fmla="*/ 7595612 w 13797425"/>
                <a:gd name="connsiteY8985" fmla="*/ 8296083 h 17966907"/>
                <a:gd name="connsiteX8986" fmla="*/ 7447893 w 13797425"/>
                <a:gd name="connsiteY8986" fmla="*/ 8248431 h 17966907"/>
                <a:gd name="connsiteX8987" fmla="*/ 7409772 w 13797425"/>
                <a:gd name="connsiteY8987" fmla="*/ 8253196 h 17966907"/>
                <a:gd name="connsiteX8988" fmla="*/ 7309704 w 13797425"/>
                <a:gd name="connsiteY8988" fmla="*/ 8277022 h 17966907"/>
                <a:gd name="connsiteX8989" fmla="*/ 7319234 w 13797425"/>
                <a:gd name="connsiteY8989" fmla="*/ 8286552 h 17966907"/>
                <a:gd name="connsiteX8990" fmla="*/ 7352590 w 13797425"/>
                <a:gd name="connsiteY8990" fmla="*/ 8300848 h 17966907"/>
                <a:gd name="connsiteX8991" fmla="*/ 7376416 w 13797425"/>
                <a:gd name="connsiteY8991" fmla="*/ 8319908 h 17966907"/>
                <a:gd name="connsiteX8992" fmla="*/ 7409772 w 13797425"/>
                <a:gd name="connsiteY8992" fmla="*/ 8377090 h 17966907"/>
                <a:gd name="connsiteX8993" fmla="*/ 7414537 w 13797425"/>
                <a:gd name="connsiteY8993" fmla="*/ 8391385 h 17966907"/>
                <a:gd name="connsiteX8994" fmla="*/ 7414537 w 13797425"/>
                <a:gd name="connsiteY8994" fmla="*/ 8410446 h 17966907"/>
                <a:gd name="connsiteX8995" fmla="*/ 7414537 w 13797425"/>
                <a:gd name="connsiteY8995" fmla="*/ 8443802 h 17966907"/>
                <a:gd name="connsiteX8996" fmla="*/ 7409772 w 13797425"/>
                <a:gd name="connsiteY8996" fmla="*/ 8448567 h 17966907"/>
                <a:gd name="connsiteX8997" fmla="*/ 7362120 w 13797425"/>
                <a:gd name="connsiteY8997" fmla="*/ 8534339 h 17966907"/>
                <a:gd name="connsiteX8998" fmla="*/ 7347825 w 13797425"/>
                <a:gd name="connsiteY8998" fmla="*/ 8601051 h 17966907"/>
                <a:gd name="connsiteX8999" fmla="*/ 7338295 w 13797425"/>
                <a:gd name="connsiteY8999" fmla="*/ 8646320 h 17966907"/>
                <a:gd name="connsiteX9000" fmla="*/ 7319234 w 13797425"/>
                <a:gd name="connsiteY9000" fmla="*/ 8660615 h 17966907"/>
                <a:gd name="connsiteX9001" fmla="*/ 7262053 w 13797425"/>
                <a:gd name="connsiteY9001" fmla="*/ 8641554 h 17966907"/>
                <a:gd name="connsiteX9002" fmla="*/ 7247757 w 13797425"/>
                <a:gd name="connsiteY9002" fmla="*/ 8641554 h 17966907"/>
                <a:gd name="connsiteX9003" fmla="*/ 7185811 w 13797425"/>
                <a:gd name="connsiteY9003" fmla="*/ 8655850 h 17966907"/>
                <a:gd name="connsiteX9004" fmla="*/ 7157220 w 13797425"/>
                <a:gd name="connsiteY9004" fmla="*/ 8651085 h 17966907"/>
                <a:gd name="connsiteX9005" fmla="*/ 7161985 w 13797425"/>
                <a:gd name="connsiteY9005" fmla="*/ 8572460 h 17966907"/>
                <a:gd name="connsiteX9006" fmla="*/ 7157220 w 13797425"/>
                <a:gd name="connsiteY9006" fmla="*/ 8491453 h 17966907"/>
                <a:gd name="connsiteX9007" fmla="*/ 7147690 w 13797425"/>
                <a:gd name="connsiteY9007" fmla="*/ 8405681 h 17966907"/>
                <a:gd name="connsiteX9008" fmla="*/ 7100038 w 13797425"/>
                <a:gd name="connsiteY9008" fmla="*/ 8262727 h 17966907"/>
                <a:gd name="connsiteX9009" fmla="*/ 7095273 w 13797425"/>
                <a:gd name="connsiteY9009" fmla="*/ 8234136 h 17966907"/>
                <a:gd name="connsiteX9010" fmla="*/ 7090508 w 13797425"/>
                <a:gd name="connsiteY9010" fmla="*/ 8205545 h 17966907"/>
                <a:gd name="connsiteX9011" fmla="*/ 7090508 w 13797425"/>
                <a:gd name="connsiteY9011" fmla="*/ 8176954 h 17966907"/>
                <a:gd name="connsiteX9012" fmla="*/ 7090508 w 13797425"/>
                <a:gd name="connsiteY9012" fmla="*/ 8148364 h 17966907"/>
                <a:gd name="connsiteX9013" fmla="*/ 7095273 w 13797425"/>
                <a:gd name="connsiteY9013" fmla="*/ 8081652 h 17966907"/>
                <a:gd name="connsiteX9014" fmla="*/ 7095273 w 13797425"/>
                <a:gd name="connsiteY9014" fmla="*/ 8053061 h 17966907"/>
                <a:gd name="connsiteX9015" fmla="*/ 7090508 w 13797425"/>
                <a:gd name="connsiteY9015" fmla="*/ 7967289 h 17966907"/>
                <a:gd name="connsiteX9016" fmla="*/ 7085743 w 13797425"/>
                <a:gd name="connsiteY9016" fmla="*/ 7843395 h 17966907"/>
                <a:gd name="connsiteX9017" fmla="*/ 7085743 w 13797425"/>
                <a:gd name="connsiteY9017" fmla="*/ 7781449 h 17966907"/>
                <a:gd name="connsiteX9018" fmla="*/ 7085743 w 13797425"/>
                <a:gd name="connsiteY9018" fmla="*/ 7767153 h 17966907"/>
                <a:gd name="connsiteX9019" fmla="*/ 7095273 w 13797425"/>
                <a:gd name="connsiteY9019" fmla="*/ 7748093 h 17966907"/>
                <a:gd name="connsiteX9020" fmla="*/ 7114334 w 13797425"/>
                <a:gd name="connsiteY9020" fmla="*/ 7733797 h 17966907"/>
                <a:gd name="connsiteX9021" fmla="*/ 7128629 w 13797425"/>
                <a:gd name="connsiteY9021" fmla="*/ 7733797 h 17966907"/>
                <a:gd name="connsiteX9022" fmla="*/ 7185811 w 13797425"/>
                <a:gd name="connsiteY9022" fmla="*/ 7771918 h 17966907"/>
                <a:gd name="connsiteX9023" fmla="*/ 7214401 w 13797425"/>
                <a:gd name="connsiteY9023" fmla="*/ 7786214 h 17966907"/>
                <a:gd name="connsiteX9024" fmla="*/ 7233462 w 13797425"/>
                <a:gd name="connsiteY9024" fmla="*/ 7786214 h 17966907"/>
                <a:gd name="connsiteX9025" fmla="*/ 7233462 w 13797425"/>
                <a:gd name="connsiteY9025" fmla="*/ 7781449 h 17966907"/>
                <a:gd name="connsiteX9026" fmla="*/ 7219167 w 13797425"/>
                <a:gd name="connsiteY9026" fmla="*/ 7771918 h 17966907"/>
                <a:gd name="connsiteX9027" fmla="*/ 7204871 w 13797425"/>
                <a:gd name="connsiteY9027" fmla="*/ 7752858 h 17966907"/>
                <a:gd name="connsiteX9028" fmla="*/ 7176280 w 13797425"/>
                <a:gd name="connsiteY9028" fmla="*/ 7705207 h 17966907"/>
                <a:gd name="connsiteX9029" fmla="*/ 7166750 w 13797425"/>
                <a:gd name="connsiteY9029" fmla="*/ 7662321 h 17966907"/>
                <a:gd name="connsiteX9030" fmla="*/ 7161985 w 13797425"/>
                <a:gd name="connsiteY9030" fmla="*/ 7648025 h 17966907"/>
                <a:gd name="connsiteX9031" fmla="*/ 7161985 w 13797425"/>
                <a:gd name="connsiteY9031" fmla="*/ 7633730 h 17966907"/>
                <a:gd name="connsiteX9032" fmla="*/ 7161985 w 13797425"/>
                <a:gd name="connsiteY9032" fmla="*/ 7619434 h 17966907"/>
                <a:gd name="connsiteX9033" fmla="*/ 7166750 w 13797425"/>
                <a:gd name="connsiteY9033" fmla="*/ 7605139 h 17966907"/>
                <a:gd name="connsiteX9034" fmla="*/ 7181046 w 13797425"/>
                <a:gd name="connsiteY9034" fmla="*/ 7581313 h 17966907"/>
                <a:gd name="connsiteX9035" fmla="*/ 7190576 w 13797425"/>
                <a:gd name="connsiteY9035" fmla="*/ 7571783 h 17966907"/>
                <a:gd name="connsiteX9036" fmla="*/ 7228697 w 13797425"/>
                <a:gd name="connsiteY9036" fmla="*/ 7547957 h 17966907"/>
                <a:gd name="connsiteX9037" fmla="*/ 7266818 w 13797425"/>
                <a:gd name="connsiteY9037" fmla="*/ 7533662 h 17966907"/>
                <a:gd name="connsiteX9038" fmla="*/ 7352590 w 13797425"/>
                <a:gd name="connsiteY9038" fmla="*/ 7519367 h 17966907"/>
                <a:gd name="connsiteX9039" fmla="*/ 7376416 w 13797425"/>
                <a:gd name="connsiteY9039" fmla="*/ 7528897 h 17966907"/>
                <a:gd name="connsiteX9040" fmla="*/ 7414537 w 13797425"/>
                <a:gd name="connsiteY9040" fmla="*/ 7500306 h 17966907"/>
                <a:gd name="connsiteX9041" fmla="*/ 3044915 w 13797425"/>
                <a:gd name="connsiteY9041" fmla="*/ 7281110 h 17966907"/>
                <a:gd name="connsiteX9042" fmla="*/ 3073506 w 13797425"/>
                <a:gd name="connsiteY9042" fmla="*/ 7290640 h 17966907"/>
                <a:gd name="connsiteX9043" fmla="*/ 3106862 w 13797425"/>
                <a:gd name="connsiteY9043" fmla="*/ 7314466 h 17966907"/>
                <a:gd name="connsiteX9044" fmla="*/ 3144983 w 13797425"/>
                <a:gd name="connsiteY9044" fmla="*/ 7352587 h 17966907"/>
                <a:gd name="connsiteX9045" fmla="*/ 3197399 w 13797425"/>
                <a:gd name="connsiteY9045" fmla="*/ 7395473 h 17966907"/>
                <a:gd name="connsiteX9046" fmla="*/ 3292702 w 13797425"/>
                <a:gd name="connsiteY9046" fmla="*/ 7452655 h 17966907"/>
                <a:gd name="connsiteX9047" fmla="*/ 3349883 w 13797425"/>
                <a:gd name="connsiteY9047" fmla="*/ 7462185 h 17966907"/>
                <a:gd name="connsiteX9048" fmla="*/ 3326058 w 13797425"/>
                <a:gd name="connsiteY9048" fmla="*/ 7509836 h 17966907"/>
                <a:gd name="connsiteX9049" fmla="*/ 3321293 w 13797425"/>
                <a:gd name="connsiteY9049" fmla="*/ 7519366 h 17966907"/>
                <a:gd name="connsiteX9050" fmla="*/ 3321293 w 13797425"/>
                <a:gd name="connsiteY9050" fmla="*/ 7533662 h 17966907"/>
                <a:gd name="connsiteX9051" fmla="*/ 3364179 w 13797425"/>
                <a:gd name="connsiteY9051" fmla="*/ 7481245 h 17966907"/>
                <a:gd name="connsiteX9052" fmla="*/ 3388004 w 13797425"/>
                <a:gd name="connsiteY9052" fmla="*/ 7476480 h 17966907"/>
                <a:gd name="connsiteX9053" fmla="*/ 3407065 w 13797425"/>
                <a:gd name="connsiteY9053" fmla="*/ 7481245 h 17966907"/>
                <a:gd name="connsiteX9054" fmla="*/ 3411830 w 13797425"/>
                <a:gd name="connsiteY9054" fmla="*/ 7490776 h 17966907"/>
                <a:gd name="connsiteX9055" fmla="*/ 3416595 w 13797425"/>
                <a:gd name="connsiteY9055" fmla="*/ 7500306 h 17966907"/>
                <a:gd name="connsiteX9056" fmla="*/ 3416595 w 13797425"/>
                <a:gd name="connsiteY9056" fmla="*/ 7524132 h 17966907"/>
                <a:gd name="connsiteX9057" fmla="*/ 3416595 w 13797425"/>
                <a:gd name="connsiteY9057" fmla="*/ 7581313 h 17966907"/>
                <a:gd name="connsiteX9058" fmla="*/ 3421360 w 13797425"/>
                <a:gd name="connsiteY9058" fmla="*/ 7586078 h 17966907"/>
                <a:gd name="connsiteX9059" fmla="*/ 3426126 w 13797425"/>
                <a:gd name="connsiteY9059" fmla="*/ 7581313 h 17966907"/>
                <a:gd name="connsiteX9060" fmla="*/ 3435656 w 13797425"/>
                <a:gd name="connsiteY9060" fmla="*/ 7571783 h 17966907"/>
                <a:gd name="connsiteX9061" fmla="*/ 3478542 w 13797425"/>
                <a:gd name="connsiteY9061" fmla="*/ 7486011 h 17966907"/>
                <a:gd name="connsiteX9062" fmla="*/ 3497602 w 13797425"/>
                <a:gd name="connsiteY9062" fmla="*/ 7462185 h 17966907"/>
                <a:gd name="connsiteX9063" fmla="*/ 3507133 w 13797425"/>
                <a:gd name="connsiteY9063" fmla="*/ 7457420 h 17966907"/>
                <a:gd name="connsiteX9064" fmla="*/ 3564314 w 13797425"/>
                <a:gd name="connsiteY9064" fmla="*/ 7443124 h 17966907"/>
                <a:gd name="connsiteX9065" fmla="*/ 3597670 w 13797425"/>
                <a:gd name="connsiteY9065" fmla="*/ 7443124 h 17966907"/>
                <a:gd name="connsiteX9066" fmla="*/ 3640556 w 13797425"/>
                <a:gd name="connsiteY9066" fmla="*/ 7452655 h 17966907"/>
                <a:gd name="connsiteX9067" fmla="*/ 3669147 w 13797425"/>
                <a:gd name="connsiteY9067" fmla="*/ 7462185 h 17966907"/>
                <a:gd name="connsiteX9068" fmla="*/ 3716798 w 13797425"/>
                <a:gd name="connsiteY9068" fmla="*/ 7500306 h 17966907"/>
                <a:gd name="connsiteX9069" fmla="*/ 3759684 w 13797425"/>
                <a:gd name="connsiteY9069" fmla="*/ 7538427 h 17966907"/>
                <a:gd name="connsiteX9070" fmla="*/ 3793040 w 13797425"/>
                <a:gd name="connsiteY9070" fmla="*/ 7581313 h 17966907"/>
                <a:gd name="connsiteX9071" fmla="*/ 3912169 w 13797425"/>
                <a:gd name="connsiteY9071" fmla="*/ 7738562 h 17966907"/>
                <a:gd name="connsiteX9072" fmla="*/ 3964585 w 13797425"/>
                <a:gd name="connsiteY9072" fmla="*/ 7781449 h 17966907"/>
                <a:gd name="connsiteX9073" fmla="*/ 3983646 w 13797425"/>
                <a:gd name="connsiteY9073" fmla="*/ 7810039 h 17966907"/>
                <a:gd name="connsiteX9074" fmla="*/ 3993176 w 13797425"/>
                <a:gd name="connsiteY9074" fmla="*/ 7829100 h 17966907"/>
                <a:gd name="connsiteX9075" fmla="*/ 3997941 w 13797425"/>
                <a:gd name="connsiteY9075" fmla="*/ 7852925 h 17966907"/>
                <a:gd name="connsiteX9076" fmla="*/ 4002706 w 13797425"/>
                <a:gd name="connsiteY9076" fmla="*/ 7871986 h 17966907"/>
                <a:gd name="connsiteX9077" fmla="*/ 3997941 w 13797425"/>
                <a:gd name="connsiteY9077" fmla="*/ 7895812 h 17966907"/>
                <a:gd name="connsiteX9078" fmla="*/ 3993176 w 13797425"/>
                <a:gd name="connsiteY9078" fmla="*/ 7910107 h 17966907"/>
                <a:gd name="connsiteX9079" fmla="*/ 3978880 w 13797425"/>
                <a:gd name="connsiteY9079" fmla="*/ 7919637 h 17966907"/>
                <a:gd name="connsiteX9080" fmla="*/ 3907403 w 13797425"/>
                <a:gd name="connsiteY9080" fmla="*/ 7972054 h 17966907"/>
                <a:gd name="connsiteX9081" fmla="*/ 3869282 w 13797425"/>
                <a:gd name="connsiteY9081" fmla="*/ 7986349 h 17966907"/>
                <a:gd name="connsiteX9082" fmla="*/ 3831161 w 13797425"/>
                <a:gd name="connsiteY9082" fmla="*/ 8010175 h 17966907"/>
                <a:gd name="connsiteX9083" fmla="*/ 3740624 w 13797425"/>
                <a:gd name="connsiteY9083" fmla="*/ 8086417 h 17966907"/>
                <a:gd name="connsiteX9084" fmla="*/ 3678677 w 13797425"/>
                <a:gd name="connsiteY9084" fmla="*/ 8124538 h 17966907"/>
                <a:gd name="connsiteX9085" fmla="*/ 3597670 w 13797425"/>
                <a:gd name="connsiteY9085" fmla="*/ 8196015 h 17966907"/>
                <a:gd name="connsiteX9086" fmla="*/ 3445186 w 13797425"/>
                <a:gd name="connsiteY9086" fmla="*/ 8315143 h 17966907"/>
                <a:gd name="connsiteX9087" fmla="*/ 3426126 w 13797425"/>
                <a:gd name="connsiteY9087" fmla="*/ 8334204 h 17966907"/>
                <a:gd name="connsiteX9088" fmla="*/ 3416595 w 13797425"/>
                <a:gd name="connsiteY9088" fmla="*/ 8353264 h 17966907"/>
                <a:gd name="connsiteX9089" fmla="*/ 3373709 w 13797425"/>
                <a:gd name="connsiteY9089" fmla="*/ 8481922 h 17966907"/>
                <a:gd name="connsiteX9090" fmla="*/ 3359414 w 13797425"/>
                <a:gd name="connsiteY9090" fmla="*/ 8510513 h 17966907"/>
                <a:gd name="connsiteX9091" fmla="*/ 3316528 w 13797425"/>
                <a:gd name="connsiteY9091" fmla="*/ 8539104 h 17966907"/>
                <a:gd name="connsiteX9092" fmla="*/ 3268876 w 13797425"/>
                <a:gd name="connsiteY9092" fmla="*/ 8548634 h 17966907"/>
                <a:gd name="connsiteX9093" fmla="*/ 3254581 w 13797425"/>
                <a:gd name="connsiteY9093" fmla="*/ 8558164 h 17966907"/>
                <a:gd name="connsiteX9094" fmla="*/ 3249816 w 13797425"/>
                <a:gd name="connsiteY9094" fmla="*/ 8601051 h 17966907"/>
                <a:gd name="connsiteX9095" fmla="*/ 3230755 w 13797425"/>
                <a:gd name="connsiteY9095" fmla="*/ 8670145 h 17966907"/>
                <a:gd name="connsiteX9096" fmla="*/ 3225990 w 13797425"/>
                <a:gd name="connsiteY9096" fmla="*/ 8717796 h 17966907"/>
                <a:gd name="connsiteX9097" fmla="*/ 3211695 w 13797425"/>
                <a:gd name="connsiteY9097" fmla="*/ 8846455 h 17966907"/>
                <a:gd name="connsiteX9098" fmla="*/ 3206930 w 13797425"/>
                <a:gd name="connsiteY9098" fmla="*/ 8860750 h 17966907"/>
                <a:gd name="connsiteX9099" fmla="*/ 3202164 w 13797425"/>
                <a:gd name="connsiteY9099" fmla="*/ 8884576 h 17966907"/>
                <a:gd name="connsiteX9100" fmla="*/ 3183104 w 13797425"/>
                <a:gd name="connsiteY9100" fmla="*/ 8908402 h 17966907"/>
                <a:gd name="connsiteX9101" fmla="*/ 3135453 w 13797425"/>
                <a:gd name="connsiteY9101" fmla="*/ 8936992 h 17966907"/>
                <a:gd name="connsiteX9102" fmla="*/ 3102097 w 13797425"/>
                <a:gd name="connsiteY9102" fmla="*/ 8956053 h 17966907"/>
                <a:gd name="connsiteX9103" fmla="*/ 3049680 w 13797425"/>
                <a:gd name="connsiteY9103" fmla="*/ 8965583 h 17966907"/>
                <a:gd name="connsiteX9104" fmla="*/ 3040150 w 13797425"/>
                <a:gd name="connsiteY9104" fmla="*/ 8956053 h 17966907"/>
                <a:gd name="connsiteX9105" fmla="*/ 3025855 w 13797425"/>
                <a:gd name="connsiteY9105" fmla="*/ 8936992 h 17966907"/>
                <a:gd name="connsiteX9106" fmla="*/ 3016324 w 13797425"/>
                <a:gd name="connsiteY9106" fmla="*/ 8936992 h 17966907"/>
                <a:gd name="connsiteX9107" fmla="*/ 3006794 w 13797425"/>
                <a:gd name="connsiteY9107" fmla="*/ 8941757 h 17966907"/>
                <a:gd name="connsiteX9108" fmla="*/ 2944848 w 13797425"/>
                <a:gd name="connsiteY9108" fmla="*/ 9027530 h 17966907"/>
                <a:gd name="connsiteX9109" fmla="*/ 2882901 w 13797425"/>
                <a:gd name="connsiteY9109" fmla="*/ 9060886 h 17966907"/>
                <a:gd name="connsiteX9110" fmla="*/ 2854310 w 13797425"/>
                <a:gd name="connsiteY9110" fmla="*/ 9094242 h 17966907"/>
                <a:gd name="connsiteX9111" fmla="*/ 2835250 w 13797425"/>
                <a:gd name="connsiteY9111" fmla="*/ 9108537 h 17966907"/>
                <a:gd name="connsiteX9112" fmla="*/ 2820954 w 13797425"/>
                <a:gd name="connsiteY9112" fmla="*/ 9113302 h 17966907"/>
                <a:gd name="connsiteX9113" fmla="*/ 2797129 w 13797425"/>
                <a:gd name="connsiteY9113" fmla="*/ 9108537 h 17966907"/>
                <a:gd name="connsiteX9114" fmla="*/ 2778068 w 13797425"/>
                <a:gd name="connsiteY9114" fmla="*/ 9094242 h 17966907"/>
                <a:gd name="connsiteX9115" fmla="*/ 2763773 w 13797425"/>
                <a:gd name="connsiteY9115" fmla="*/ 9075181 h 17966907"/>
                <a:gd name="connsiteX9116" fmla="*/ 2749477 w 13797425"/>
                <a:gd name="connsiteY9116" fmla="*/ 9051355 h 17966907"/>
                <a:gd name="connsiteX9117" fmla="*/ 2720886 w 13797425"/>
                <a:gd name="connsiteY9117" fmla="*/ 8951288 h 17966907"/>
                <a:gd name="connsiteX9118" fmla="*/ 2706591 w 13797425"/>
                <a:gd name="connsiteY9118" fmla="*/ 8917932 h 17966907"/>
                <a:gd name="connsiteX9119" fmla="*/ 2697061 w 13797425"/>
                <a:gd name="connsiteY9119" fmla="*/ 8898871 h 17966907"/>
                <a:gd name="connsiteX9120" fmla="*/ 2663705 w 13797425"/>
                <a:gd name="connsiteY9120" fmla="*/ 8836924 h 17966907"/>
                <a:gd name="connsiteX9121" fmla="*/ 2654175 w 13797425"/>
                <a:gd name="connsiteY9121" fmla="*/ 8822629 h 17966907"/>
                <a:gd name="connsiteX9122" fmla="*/ 2539812 w 13797425"/>
                <a:gd name="connsiteY9122" fmla="*/ 8746387 h 17966907"/>
                <a:gd name="connsiteX9123" fmla="*/ 2482630 w 13797425"/>
                <a:gd name="connsiteY9123" fmla="*/ 8703501 h 17966907"/>
                <a:gd name="connsiteX9124" fmla="*/ 2468335 w 13797425"/>
                <a:gd name="connsiteY9124" fmla="*/ 8684440 h 17966907"/>
                <a:gd name="connsiteX9125" fmla="*/ 2454039 w 13797425"/>
                <a:gd name="connsiteY9125" fmla="*/ 8674910 h 17966907"/>
                <a:gd name="connsiteX9126" fmla="*/ 2382562 w 13797425"/>
                <a:gd name="connsiteY9126" fmla="*/ 8684440 h 17966907"/>
                <a:gd name="connsiteX9127" fmla="*/ 2368267 w 13797425"/>
                <a:gd name="connsiteY9127" fmla="*/ 8679675 h 17966907"/>
                <a:gd name="connsiteX9128" fmla="*/ 2368267 w 13797425"/>
                <a:gd name="connsiteY9128" fmla="*/ 8674910 h 17966907"/>
                <a:gd name="connsiteX9129" fmla="*/ 2377797 w 13797425"/>
                <a:gd name="connsiteY9129" fmla="*/ 8651084 h 17966907"/>
                <a:gd name="connsiteX9130" fmla="*/ 2382562 w 13797425"/>
                <a:gd name="connsiteY9130" fmla="*/ 8636789 h 17966907"/>
                <a:gd name="connsiteX9131" fmla="*/ 2382562 w 13797425"/>
                <a:gd name="connsiteY9131" fmla="*/ 8624876 h 17966907"/>
                <a:gd name="connsiteX9132" fmla="*/ 2382562 w 13797425"/>
                <a:gd name="connsiteY9132" fmla="*/ 8601051 h 17966907"/>
                <a:gd name="connsiteX9133" fmla="*/ 2382562 w 13797425"/>
                <a:gd name="connsiteY9133" fmla="*/ 8596286 h 17966907"/>
                <a:gd name="connsiteX9134" fmla="*/ 2411153 w 13797425"/>
                <a:gd name="connsiteY9134" fmla="*/ 8572460 h 17966907"/>
                <a:gd name="connsiteX9135" fmla="*/ 2406388 w 13797425"/>
                <a:gd name="connsiteY9135" fmla="*/ 8567695 h 17966907"/>
                <a:gd name="connsiteX9136" fmla="*/ 2401623 w 13797425"/>
                <a:gd name="connsiteY9136" fmla="*/ 8558164 h 17966907"/>
                <a:gd name="connsiteX9137" fmla="*/ 2401623 w 13797425"/>
                <a:gd name="connsiteY9137" fmla="*/ 8543869 h 17966907"/>
                <a:gd name="connsiteX9138" fmla="*/ 2401623 w 13797425"/>
                <a:gd name="connsiteY9138" fmla="*/ 8534339 h 17966907"/>
                <a:gd name="connsiteX9139" fmla="*/ 2411153 w 13797425"/>
                <a:gd name="connsiteY9139" fmla="*/ 8529574 h 17966907"/>
                <a:gd name="connsiteX9140" fmla="*/ 2420683 w 13797425"/>
                <a:gd name="connsiteY9140" fmla="*/ 8510513 h 17966907"/>
                <a:gd name="connsiteX9141" fmla="*/ 2430214 w 13797425"/>
                <a:gd name="connsiteY9141" fmla="*/ 8472392 h 17966907"/>
                <a:gd name="connsiteX9142" fmla="*/ 2439744 w 13797425"/>
                <a:gd name="connsiteY9142" fmla="*/ 8448566 h 17966907"/>
                <a:gd name="connsiteX9143" fmla="*/ 2454039 w 13797425"/>
                <a:gd name="connsiteY9143" fmla="*/ 8434271 h 17966907"/>
                <a:gd name="connsiteX9144" fmla="*/ 2473100 w 13797425"/>
                <a:gd name="connsiteY9144" fmla="*/ 8396150 h 17966907"/>
                <a:gd name="connsiteX9145" fmla="*/ 2487395 w 13797425"/>
                <a:gd name="connsiteY9145" fmla="*/ 8381855 h 17966907"/>
                <a:gd name="connsiteX9146" fmla="*/ 2501691 w 13797425"/>
                <a:gd name="connsiteY9146" fmla="*/ 8362794 h 17966907"/>
                <a:gd name="connsiteX9147" fmla="*/ 2501691 w 13797425"/>
                <a:gd name="connsiteY9147" fmla="*/ 8353264 h 17966907"/>
                <a:gd name="connsiteX9148" fmla="*/ 2496925 w 13797425"/>
                <a:gd name="connsiteY9148" fmla="*/ 8348499 h 17966907"/>
                <a:gd name="connsiteX9149" fmla="*/ 2496925 w 13797425"/>
                <a:gd name="connsiteY9149" fmla="*/ 8334204 h 17966907"/>
                <a:gd name="connsiteX9150" fmla="*/ 2496925 w 13797425"/>
                <a:gd name="connsiteY9150" fmla="*/ 8286552 h 17966907"/>
                <a:gd name="connsiteX9151" fmla="*/ 2496925 w 13797425"/>
                <a:gd name="connsiteY9151" fmla="*/ 8262726 h 17966907"/>
                <a:gd name="connsiteX9152" fmla="*/ 2501691 w 13797425"/>
                <a:gd name="connsiteY9152" fmla="*/ 8243666 h 17966907"/>
                <a:gd name="connsiteX9153" fmla="*/ 2506456 w 13797425"/>
                <a:gd name="connsiteY9153" fmla="*/ 8229371 h 17966907"/>
                <a:gd name="connsiteX9154" fmla="*/ 2511221 w 13797425"/>
                <a:gd name="connsiteY9154" fmla="*/ 8219840 h 17966907"/>
                <a:gd name="connsiteX9155" fmla="*/ 2563637 w 13797425"/>
                <a:gd name="connsiteY9155" fmla="*/ 8186484 h 17966907"/>
                <a:gd name="connsiteX9156" fmla="*/ 2568402 w 13797425"/>
                <a:gd name="connsiteY9156" fmla="*/ 8176954 h 17966907"/>
                <a:gd name="connsiteX9157" fmla="*/ 2568402 w 13797425"/>
                <a:gd name="connsiteY9157" fmla="*/ 8162659 h 17966907"/>
                <a:gd name="connsiteX9158" fmla="*/ 2568402 w 13797425"/>
                <a:gd name="connsiteY9158" fmla="*/ 8153129 h 17966907"/>
                <a:gd name="connsiteX9159" fmla="*/ 2563637 w 13797425"/>
                <a:gd name="connsiteY9159" fmla="*/ 8143598 h 17966907"/>
                <a:gd name="connsiteX9160" fmla="*/ 2554107 w 13797425"/>
                <a:gd name="connsiteY9160" fmla="*/ 8134068 h 17966907"/>
                <a:gd name="connsiteX9161" fmla="*/ 2539812 w 13797425"/>
                <a:gd name="connsiteY9161" fmla="*/ 8134068 h 17966907"/>
                <a:gd name="connsiteX9162" fmla="*/ 2530281 w 13797425"/>
                <a:gd name="connsiteY9162" fmla="*/ 8115008 h 17966907"/>
                <a:gd name="connsiteX9163" fmla="*/ 2525516 w 13797425"/>
                <a:gd name="connsiteY9163" fmla="*/ 8105477 h 17966907"/>
                <a:gd name="connsiteX9164" fmla="*/ 2530281 w 13797425"/>
                <a:gd name="connsiteY9164" fmla="*/ 8076886 h 17966907"/>
                <a:gd name="connsiteX9165" fmla="*/ 2554107 w 13797425"/>
                <a:gd name="connsiteY9165" fmla="*/ 8034000 h 17966907"/>
                <a:gd name="connsiteX9166" fmla="*/ 2563637 w 13797425"/>
                <a:gd name="connsiteY9166" fmla="*/ 8014940 h 17966907"/>
                <a:gd name="connsiteX9167" fmla="*/ 2592228 w 13797425"/>
                <a:gd name="connsiteY9167" fmla="*/ 7919637 h 17966907"/>
                <a:gd name="connsiteX9168" fmla="*/ 2639879 w 13797425"/>
                <a:gd name="connsiteY9168" fmla="*/ 7857691 h 17966907"/>
                <a:gd name="connsiteX9169" fmla="*/ 2654175 w 13797425"/>
                <a:gd name="connsiteY9169" fmla="*/ 7795744 h 17966907"/>
                <a:gd name="connsiteX9170" fmla="*/ 2687531 w 13797425"/>
                <a:gd name="connsiteY9170" fmla="*/ 7724267 h 17966907"/>
                <a:gd name="connsiteX9171" fmla="*/ 2687531 w 13797425"/>
                <a:gd name="connsiteY9171" fmla="*/ 7714737 h 17966907"/>
                <a:gd name="connsiteX9172" fmla="*/ 2678000 w 13797425"/>
                <a:gd name="connsiteY9172" fmla="*/ 7690911 h 17966907"/>
                <a:gd name="connsiteX9173" fmla="*/ 2644644 w 13797425"/>
                <a:gd name="connsiteY9173" fmla="*/ 7676616 h 17966907"/>
                <a:gd name="connsiteX9174" fmla="*/ 2625584 w 13797425"/>
                <a:gd name="connsiteY9174" fmla="*/ 7652790 h 17966907"/>
                <a:gd name="connsiteX9175" fmla="*/ 2616054 w 13797425"/>
                <a:gd name="connsiteY9175" fmla="*/ 7619434 h 17966907"/>
                <a:gd name="connsiteX9176" fmla="*/ 2568402 w 13797425"/>
                <a:gd name="connsiteY9176" fmla="*/ 7452655 h 17966907"/>
                <a:gd name="connsiteX9177" fmla="*/ 2558872 w 13797425"/>
                <a:gd name="connsiteY9177" fmla="*/ 7443124 h 17966907"/>
                <a:gd name="connsiteX9178" fmla="*/ 2554107 w 13797425"/>
                <a:gd name="connsiteY9178" fmla="*/ 7419299 h 17966907"/>
                <a:gd name="connsiteX9179" fmla="*/ 2544577 w 13797425"/>
                <a:gd name="connsiteY9179" fmla="*/ 7409768 h 17966907"/>
                <a:gd name="connsiteX9180" fmla="*/ 2549342 w 13797425"/>
                <a:gd name="connsiteY9180" fmla="*/ 7395473 h 17966907"/>
                <a:gd name="connsiteX9181" fmla="*/ 2739947 w 13797425"/>
                <a:gd name="connsiteY9181" fmla="*/ 7343057 h 17966907"/>
                <a:gd name="connsiteX9182" fmla="*/ 2873371 w 13797425"/>
                <a:gd name="connsiteY9182" fmla="*/ 7328761 h 17966907"/>
                <a:gd name="connsiteX9183" fmla="*/ 3006794 w 13797425"/>
                <a:gd name="connsiteY9183" fmla="*/ 7285875 h 17966907"/>
                <a:gd name="connsiteX9184" fmla="*/ 6809365 w 13797425"/>
                <a:gd name="connsiteY9184" fmla="*/ 7233459 h 17966907"/>
                <a:gd name="connsiteX9185" fmla="*/ 6823661 w 13797425"/>
                <a:gd name="connsiteY9185" fmla="*/ 7252520 h 17966907"/>
                <a:gd name="connsiteX9186" fmla="*/ 6828426 w 13797425"/>
                <a:gd name="connsiteY9186" fmla="*/ 7262050 h 17966907"/>
                <a:gd name="connsiteX9187" fmla="*/ 6828426 w 13797425"/>
                <a:gd name="connsiteY9187" fmla="*/ 7271580 h 17966907"/>
                <a:gd name="connsiteX9188" fmla="*/ 6818896 w 13797425"/>
                <a:gd name="connsiteY9188" fmla="*/ 7290641 h 17966907"/>
                <a:gd name="connsiteX9189" fmla="*/ 6771244 w 13797425"/>
                <a:gd name="connsiteY9189" fmla="*/ 7328762 h 17966907"/>
                <a:gd name="connsiteX9190" fmla="*/ 6761714 w 13797425"/>
                <a:gd name="connsiteY9190" fmla="*/ 7314467 h 17966907"/>
                <a:gd name="connsiteX9191" fmla="*/ 6756949 w 13797425"/>
                <a:gd name="connsiteY9191" fmla="*/ 7300171 h 17966907"/>
                <a:gd name="connsiteX9192" fmla="*/ 6795070 w 13797425"/>
                <a:gd name="connsiteY9192" fmla="*/ 7247754 h 17966907"/>
                <a:gd name="connsiteX9193" fmla="*/ 7080978 w 13797425"/>
                <a:gd name="connsiteY9193" fmla="*/ 7228694 h 17966907"/>
                <a:gd name="connsiteX9194" fmla="*/ 7104803 w 13797425"/>
                <a:gd name="connsiteY9194" fmla="*/ 7228694 h 17966907"/>
                <a:gd name="connsiteX9195" fmla="*/ 7133394 w 13797425"/>
                <a:gd name="connsiteY9195" fmla="*/ 7257285 h 17966907"/>
                <a:gd name="connsiteX9196" fmla="*/ 7142924 w 13797425"/>
                <a:gd name="connsiteY9196" fmla="*/ 7285875 h 17966907"/>
                <a:gd name="connsiteX9197" fmla="*/ 7142924 w 13797425"/>
                <a:gd name="connsiteY9197" fmla="*/ 7295406 h 17966907"/>
                <a:gd name="connsiteX9198" fmla="*/ 7138159 w 13797425"/>
                <a:gd name="connsiteY9198" fmla="*/ 7304936 h 17966907"/>
                <a:gd name="connsiteX9199" fmla="*/ 7133394 w 13797425"/>
                <a:gd name="connsiteY9199" fmla="*/ 7309701 h 17966907"/>
                <a:gd name="connsiteX9200" fmla="*/ 7119098 w 13797425"/>
                <a:gd name="connsiteY9200" fmla="*/ 7304936 h 17966907"/>
                <a:gd name="connsiteX9201" fmla="*/ 7066682 w 13797425"/>
                <a:gd name="connsiteY9201" fmla="*/ 7276345 h 17966907"/>
                <a:gd name="connsiteX9202" fmla="*/ 7057152 w 13797425"/>
                <a:gd name="connsiteY9202" fmla="*/ 7266815 h 17966907"/>
                <a:gd name="connsiteX9203" fmla="*/ 7052387 w 13797425"/>
                <a:gd name="connsiteY9203" fmla="*/ 7257285 h 17966907"/>
                <a:gd name="connsiteX9204" fmla="*/ 7066682 w 13797425"/>
                <a:gd name="connsiteY9204" fmla="*/ 7247754 h 17966907"/>
                <a:gd name="connsiteX9205" fmla="*/ 7071447 w 13797425"/>
                <a:gd name="connsiteY9205" fmla="*/ 7238224 h 17966907"/>
                <a:gd name="connsiteX9206" fmla="*/ 5727682 w 13797425"/>
                <a:gd name="connsiteY9206" fmla="*/ 6747416 h 17966907"/>
                <a:gd name="connsiteX9207" fmla="*/ 5770568 w 13797425"/>
                <a:gd name="connsiteY9207" fmla="*/ 6752181 h 17966907"/>
                <a:gd name="connsiteX9208" fmla="*/ 5794394 w 13797425"/>
                <a:gd name="connsiteY9208" fmla="*/ 6771242 h 17966907"/>
                <a:gd name="connsiteX9209" fmla="*/ 5803924 w 13797425"/>
                <a:gd name="connsiteY9209" fmla="*/ 6785537 h 17966907"/>
                <a:gd name="connsiteX9210" fmla="*/ 5808689 w 13797425"/>
                <a:gd name="connsiteY9210" fmla="*/ 6799832 h 17966907"/>
                <a:gd name="connsiteX9211" fmla="*/ 5818220 w 13797425"/>
                <a:gd name="connsiteY9211" fmla="*/ 6833188 h 17966907"/>
                <a:gd name="connsiteX9212" fmla="*/ 5818220 w 13797425"/>
                <a:gd name="connsiteY9212" fmla="*/ 6857014 h 17966907"/>
                <a:gd name="connsiteX9213" fmla="*/ 5832515 w 13797425"/>
                <a:gd name="connsiteY9213" fmla="*/ 6880839 h 17966907"/>
                <a:gd name="connsiteX9214" fmla="*/ 5837280 w 13797425"/>
                <a:gd name="connsiteY9214" fmla="*/ 6895135 h 17966907"/>
                <a:gd name="connsiteX9215" fmla="*/ 5837280 w 13797425"/>
                <a:gd name="connsiteY9215" fmla="*/ 6914195 h 17966907"/>
                <a:gd name="connsiteX9216" fmla="*/ 5832515 w 13797425"/>
                <a:gd name="connsiteY9216" fmla="*/ 6928490 h 17966907"/>
                <a:gd name="connsiteX9217" fmla="*/ 5827750 w 13797425"/>
                <a:gd name="connsiteY9217" fmla="*/ 6942786 h 17966907"/>
                <a:gd name="connsiteX9218" fmla="*/ 5808689 w 13797425"/>
                <a:gd name="connsiteY9218" fmla="*/ 6961846 h 17966907"/>
                <a:gd name="connsiteX9219" fmla="*/ 5761038 w 13797425"/>
                <a:gd name="connsiteY9219" fmla="*/ 6990437 h 17966907"/>
                <a:gd name="connsiteX9220" fmla="*/ 5732447 w 13797425"/>
                <a:gd name="connsiteY9220" fmla="*/ 6990437 h 17966907"/>
                <a:gd name="connsiteX9221" fmla="*/ 5680031 w 13797425"/>
                <a:gd name="connsiteY9221" fmla="*/ 6971377 h 17966907"/>
                <a:gd name="connsiteX9222" fmla="*/ 5651440 w 13797425"/>
                <a:gd name="connsiteY9222" fmla="*/ 6938021 h 17966907"/>
                <a:gd name="connsiteX9223" fmla="*/ 5641910 w 13797425"/>
                <a:gd name="connsiteY9223" fmla="*/ 6923725 h 17966907"/>
                <a:gd name="connsiteX9224" fmla="*/ 5641910 w 13797425"/>
                <a:gd name="connsiteY9224" fmla="*/ 6914195 h 17966907"/>
                <a:gd name="connsiteX9225" fmla="*/ 5646675 w 13797425"/>
                <a:gd name="connsiteY9225" fmla="*/ 6904665 h 17966907"/>
                <a:gd name="connsiteX9226" fmla="*/ 5656205 w 13797425"/>
                <a:gd name="connsiteY9226" fmla="*/ 6880839 h 17966907"/>
                <a:gd name="connsiteX9227" fmla="*/ 5670501 w 13797425"/>
                <a:gd name="connsiteY9227" fmla="*/ 6814128 h 17966907"/>
                <a:gd name="connsiteX9228" fmla="*/ 5680031 w 13797425"/>
                <a:gd name="connsiteY9228" fmla="*/ 6795067 h 17966907"/>
                <a:gd name="connsiteX9229" fmla="*/ 5708622 w 13797425"/>
                <a:gd name="connsiteY9229" fmla="*/ 6756946 h 17966907"/>
                <a:gd name="connsiteX9230" fmla="*/ 7204871 w 13797425"/>
                <a:gd name="connsiteY9230" fmla="*/ 6623523 h 17966907"/>
                <a:gd name="connsiteX9231" fmla="*/ 7242992 w 13797425"/>
                <a:gd name="connsiteY9231" fmla="*/ 6628288 h 17966907"/>
                <a:gd name="connsiteX9232" fmla="*/ 7276348 w 13797425"/>
                <a:gd name="connsiteY9232" fmla="*/ 6647349 h 17966907"/>
                <a:gd name="connsiteX9233" fmla="*/ 7300174 w 13797425"/>
                <a:gd name="connsiteY9233" fmla="*/ 6675939 h 17966907"/>
                <a:gd name="connsiteX9234" fmla="*/ 7357355 w 13797425"/>
                <a:gd name="connsiteY9234" fmla="*/ 6752181 h 17966907"/>
                <a:gd name="connsiteX9235" fmla="*/ 7381181 w 13797425"/>
                <a:gd name="connsiteY9235" fmla="*/ 6799833 h 17966907"/>
                <a:gd name="connsiteX9236" fmla="*/ 7395476 w 13797425"/>
                <a:gd name="connsiteY9236" fmla="*/ 6842719 h 17966907"/>
                <a:gd name="connsiteX9237" fmla="*/ 7405006 w 13797425"/>
                <a:gd name="connsiteY9237" fmla="*/ 6871310 h 17966907"/>
                <a:gd name="connsiteX9238" fmla="*/ 7419302 w 13797425"/>
                <a:gd name="connsiteY9238" fmla="*/ 6928491 h 17966907"/>
                <a:gd name="connsiteX9239" fmla="*/ 7414537 w 13797425"/>
                <a:gd name="connsiteY9239" fmla="*/ 6952317 h 17966907"/>
                <a:gd name="connsiteX9240" fmla="*/ 7414537 w 13797425"/>
                <a:gd name="connsiteY9240" fmla="*/ 6980907 h 17966907"/>
                <a:gd name="connsiteX9241" fmla="*/ 7414537 w 13797425"/>
                <a:gd name="connsiteY9241" fmla="*/ 6995203 h 17966907"/>
                <a:gd name="connsiteX9242" fmla="*/ 7424067 w 13797425"/>
                <a:gd name="connsiteY9242" fmla="*/ 7038089 h 17966907"/>
                <a:gd name="connsiteX9243" fmla="*/ 7424067 w 13797425"/>
                <a:gd name="connsiteY9243" fmla="*/ 7057149 h 17966907"/>
                <a:gd name="connsiteX9244" fmla="*/ 7424067 w 13797425"/>
                <a:gd name="connsiteY9244" fmla="*/ 7095270 h 17966907"/>
                <a:gd name="connsiteX9245" fmla="*/ 7424067 w 13797425"/>
                <a:gd name="connsiteY9245" fmla="*/ 7147687 h 17966907"/>
                <a:gd name="connsiteX9246" fmla="*/ 7419302 w 13797425"/>
                <a:gd name="connsiteY9246" fmla="*/ 7157217 h 17966907"/>
                <a:gd name="connsiteX9247" fmla="*/ 7414537 w 13797425"/>
                <a:gd name="connsiteY9247" fmla="*/ 7161982 h 17966907"/>
                <a:gd name="connsiteX9248" fmla="*/ 7414537 w 13797425"/>
                <a:gd name="connsiteY9248" fmla="*/ 7176278 h 17966907"/>
                <a:gd name="connsiteX9249" fmla="*/ 7414537 w 13797425"/>
                <a:gd name="connsiteY9249" fmla="*/ 7195338 h 17966907"/>
                <a:gd name="connsiteX9250" fmla="*/ 7409772 w 13797425"/>
                <a:gd name="connsiteY9250" fmla="*/ 7209634 h 17966907"/>
                <a:gd name="connsiteX9251" fmla="*/ 7400241 w 13797425"/>
                <a:gd name="connsiteY9251" fmla="*/ 7214399 h 17966907"/>
                <a:gd name="connsiteX9252" fmla="*/ 7343060 w 13797425"/>
                <a:gd name="connsiteY9252" fmla="*/ 7223929 h 17966907"/>
                <a:gd name="connsiteX9253" fmla="*/ 7309704 w 13797425"/>
                <a:gd name="connsiteY9253" fmla="*/ 7219164 h 17966907"/>
                <a:gd name="connsiteX9254" fmla="*/ 7257288 w 13797425"/>
                <a:gd name="connsiteY9254" fmla="*/ 7228694 h 17966907"/>
                <a:gd name="connsiteX9255" fmla="*/ 7233462 w 13797425"/>
                <a:gd name="connsiteY9255" fmla="*/ 7223929 h 17966907"/>
                <a:gd name="connsiteX9256" fmla="*/ 7214401 w 13797425"/>
                <a:gd name="connsiteY9256" fmla="*/ 7214399 h 17966907"/>
                <a:gd name="connsiteX9257" fmla="*/ 7190576 w 13797425"/>
                <a:gd name="connsiteY9257" fmla="*/ 7190573 h 17966907"/>
                <a:gd name="connsiteX9258" fmla="*/ 7142924 w 13797425"/>
                <a:gd name="connsiteY9258" fmla="*/ 7133391 h 17966907"/>
                <a:gd name="connsiteX9259" fmla="*/ 7114334 w 13797425"/>
                <a:gd name="connsiteY9259" fmla="*/ 7133391 h 17966907"/>
                <a:gd name="connsiteX9260" fmla="*/ 7052387 w 13797425"/>
                <a:gd name="connsiteY9260" fmla="*/ 7114331 h 17966907"/>
                <a:gd name="connsiteX9261" fmla="*/ 7014266 w 13797425"/>
                <a:gd name="connsiteY9261" fmla="*/ 7052384 h 17966907"/>
                <a:gd name="connsiteX9262" fmla="*/ 6999971 w 13797425"/>
                <a:gd name="connsiteY9262" fmla="*/ 7042854 h 17966907"/>
                <a:gd name="connsiteX9263" fmla="*/ 6985675 w 13797425"/>
                <a:gd name="connsiteY9263" fmla="*/ 7057149 h 17966907"/>
                <a:gd name="connsiteX9264" fmla="*/ 6985675 w 13797425"/>
                <a:gd name="connsiteY9264" fmla="*/ 7052384 h 17966907"/>
                <a:gd name="connsiteX9265" fmla="*/ 6980910 w 13797425"/>
                <a:gd name="connsiteY9265" fmla="*/ 7042854 h 17966907"/>
                <a:gd name="connsiteX9266" fmla="*/ 6976145 w 13797425"/>
                <a:gd name="connsiteY9266" fmla="*/ 7023794 h 17966907"/>
                <a:gd name="connsiteX9267" fmla="*/ 6971380 w 13797425"/>
                <a:gd name="connsiteY9267" fmla="*/ 7009498 h 17966907"/>
                <a:gd name="connsiteX9268" fmla="*/ 6942789 w 13797425"/>
                <a:gd name="connsiteY9268" fmla="*/ 7014263 h 17966907"/>
                <a:gd name="connsiteX9269" fmla="*/ 6938024 w 13797425"/>
                <a:gd name="connsiteY9269" fmla="*/ 7009498 h 17966907"/>
                <a:gd name="connsiteX9270" fmla="*/ 6938024 w 13797425"/>
                <a:gd name="connsiteY9270" fmla="*/ 6990438 h 17966907"/>
                <a:gd name="connsiteX9271" fmla="*/ 6938024 w 13797425"/>
                <a:gd name="connsiteY9271" fmla="*/ 6976142 h 17966907"/>
                <a:gd name="connsiteX9272" fmla="*/ 6942789 w 13797425"/>
                <a:gd name="connsiteY9272" fmla="*/ 6952317 h 17966907"/>
                <a:gd name="connsiteX9273" fmla="*/ 6971380 w 13797425"/>
                <a:gd name="connsiteY9273" fmla="*/ 6880840 h 17966907"/>
                <a:gd name="connsiteX9274" fmla="*/ 6985675 w 13797425"/>
                <a:gd name="connsiteY9274" fmla="*/ 6876075 h 17966907"/>
                <a:gd name="connsiteX9275" fmla="*/ 6999971 w 13797425"/>
                <a:gd name="connsiteY9275" fmla="*/ 6866544 h 17966907"/>
                <a:gd name="connsiteX9276" fmla="*/ 7009501 w 13797425"/>
                <a:gd name="connsiteY9276" fmla="*/ 6828423 h 17966907"/>
                <a:gd name="connsiteX9277" fmla="*/ 7009501 w 13797425"/>
                <a:gd name="connsiteY9277" fmla="*/ 6790302 h 17966907"/>
                <a:gd name="connsiteX9278" fmla="*/ 7038092 w 13797425"/>
                <a:gd name="connsiteY9278" fmla="*/ 6737886 h 17966907"/>
                <a:gd name="connsiteX9279" fmla="*/ 7052387 w 13797425"/>
                <a:gd name="connsiteY9279" fmla="*/ 6723591 h 17966907"/>
                <a:gd name="connsiteX9280" fmla="*/ 7080978 w 13797425"/>
                <a:gd name="connsiteY9280" fmla="*/ 6685470 h 17966907"/>
                <a:gd name="connsiteX9281" fmla="*/ 7176280 w 13797425"/>
                <a:gd name="connsiteY9281" fmla="*/ 6628288 h 17966907"/>
                <a:gd name="connsiteX9282" fmla="*/ 6971380 w 13797425"/>
                <a:gd name="connsiteY9282" fmla="*/ 6609227 h 17966907"/>
                <a:gd name="connsiteX9283" fmla="*/ 7009501 w 13797425"/>
                <a:gd name="connsiteY9283" fmla="*/ 6633053 h 17966907"/>
                <a:gd name="connsiteX9284" fmla="*/ 7023797 w 13797425"/>
                <a:gd name="connsiteY9284" fmla="*/ 6652113 h 17966907"/>
                <a:gd name="connsiteX9285" fmla="*/ 7038092 w 13797425"/>
                <a:gd name="connsiteY9285" fmla="*/ 6671174 h 17966907"/>
                <a:gd name="connsiteX9286" fmla="*/ 7033327 w 13797425"/>
                <a:gd name="connsiteY9286" fmla="*/ 6675939 h 17966907"/>
                <a:gd name="connsiteX9287" fmla="*/ 7019032 w 13797425"/>
                <a:gd name="connsiteY9287" fmla="*/ 6699765 h 17966907"/>
                <a:gd name="connsiteX9288" fmla="*/ 7004736 w 13797425"/>
                <a:gd name="connsiteY9288" fmla="*/ 6718825 h 17966907"/>
                <a:gd name="connsiteX9289" fmla="*/ 6995206 w 13797425"/>
                <a:gd name="connsiteY9289" fmla="*/ 6718825 h 17966907"/>
                <a:gd name="connsiteX9290" fmla="*/ 6976146 w 13797425"/>
                <a:gd name="connsiteY9290" fmla="*/ 6699765 h 17966907"/>
                <a:gd name="connsiteX9291" fmla="*/ 6957085 w 13797425"/>
                <a:gd name="connsiteY9291" fmla="*/ 6709295 h 17966907"/>
                <a:gd name="connsiteX9292" fmla="*/ 6933259 w 13797425"/>
                <a:gd name="connsiteY9292" fmla="*/ 6747416 h 17966907"/>
                <a:gd name="connsiteX9293" fmla="*/ 6923729 w 13797425"/>
                <a:gd name="connsiteY9293" fmla="*/ 6771242 h 17966907"/>
                <a:gd name="connsiteX9294" fmla="*/ 6918964 w 13797425"/>
                <a:gd name="connsiteY9294" fmla="*/ 6776007 h 17966907"/>
                <a:gd name="connsiteX9295" fmla="*/ 6895139 w 13797425"/>
                <a:gd name="connsiteY9295" fmla="*/ 6785537 h 17966907"/>
                <a:gd name="connsiteX9296" fmla="*/ 6885608 w 13797425"/>
                <a:gd name="connsiteY9296" fmla="*/ 6780772 h 17966907"/>
                <a:gd name="connsiteX9297" fmla="*/ 6880843 w 13797425"/>
                <a:gd name="connsiteY9297" fmla="*/ 6756946 h 17966907"/>
                <a:gd name="connsiteX9298" fmla="*/ 6871313 w 13797425"/>
                <a:gd name="connsiteY9298" fmla="*/ 6723590 h 17966907"/>
                <a:gd name="connsiteX9299" fmla="*/ 6876078 w 13797425"/>
                <a:gd name="connsiteY9299" fmla="*/ 6699765 h 17966907"/>
                <a:gd name="connsiteX9300" fmla="*/ 6895139 w 13797425"/>
                <a:gd name="connsiteY9300" fmla="*/ 6680704 h 17966907"/>
                <a:gd name="connsiteX9301" fmla="*/ 6947555 w 13797425"/>
                <a:gd name="connsiteY9301" fmla="*/ 6652113 h 17966907"/>
                <a:gd name="connsiteX9302" fmla="*/ 6961850 w 13797425"/>
                <a:gd name="connsiteY9302" fmla="*/ 6637818 h 17966907"/>
                <a:gd name="connsiteX9303" fmla="*/ 6966615 w 13797425"/>
                <a:gd name="connsiteY9303" fmla="*/ 6623522 h 17966907"/>
                <a:gd name="connsiteX9304" fmla="*/ 6966615 w 13797425"/>
                <a:gd name="connsiteY9304" fmla="*/ 6613992 h 17966907"/>
                <a:gd name="connsiteX9305" fmla="*/ 3140219 w 13797425"/>
                <a:gd name="connsiteY9305" fmla="*/ 6428158 h 17966907"/>
                <a:gd name="connsiteX9306" fmla="*/ 3144984 w 13797425"/>
                <a:gd name="connsiteY9306" fmla="*/ 6432923 h 17966907"/>
                <a:gd name="connsiteX9307" fmla="*/ 3144984 w 13797425"/>
                <a:gd name="connsiteY9307" fmla="*/ 6447219 h 17966907"/>
                <a:gd name="connsiteX9308" fmla="*/ 3140219 w 13797425"/>
                <a:gd name="connsiteY9308" fmla="*/ 6485339 h 17966907"/>
                <a:gd name="connsiteX9309" fmla="*/ 3135454 w 13797425"/>
                <a:gd name="connsiteY9309" fmla="*/ 6504395 h 17966907"/>
                <a:gd name="connsiteX9310" fmla="*/ 3130688 w 13797425"/>
                <a:gd name="connsiteY9310" fmla="*/ 6523455 h 17966907"/>
                <a:gd name="connsiteX9311" fmla="*/ 3125923 w 13797425"/>
                <a:gd name="connsiteY9311" fmla="*/ 6537751 h 17966907"/>
                <a:gd name="connsiteX9312" fmla="*/ 3111628 w 13797425"/>
                <a:gd name="connsiteY9312" fmla="*/ 6547281 h 17966907"/>
                <a:gd name="connsiteX9313" fmla="*/ 3102098 w 13797425"/>
                <a:gd name="connsiteY9313" fmla="*/ 6552046 h 17966907"/>
                <a:gd name="connsiteX9314" fmla="*/ 3087802 w 13797425"/>
                <a:gd name="connsiteY9314" fmla="*/ 6547281 h 17966907"/>
                <a:gd name="connsiteX9315" fmla="*/ 3092567 w 13797425"/>
                <a:gd name="connsiteY9315" fmla="*/ 6528220 h 17966907"/>
                <a:gd name="connsiteX9316" fmla="*/ 3121158 w 13797425"/>
                <a:gd name="connsiteY9316" fmla="*/ 6485339 h 17966907"/>
                <a:gd name="connsiteX9317" fmla="*/ 3121158 w 13797425"/>
                <a:gd name="connsiteY9317" fmla="*/ 6471043 h 17966907"/>
                <a:gd name="connsiteX9318" fmla="*/ 3121158 w 13797425"/>
                <a:gd name="connsiteY9318" fmla="*/ 6461515 h 17966907"/>
                <a:gd name="connsiteX9319" fmla="*/ 3121158 w 13797425"/>
                <a:gd name="connsiteY9319" fmla="*/ 6447219 h 17966907"/>
                <a:gd name="connsiteX9320" fmla="*/ 3125923 w 13797425"/>
                <a:gd name="connsiteY9320" fmla="*/ 6432923 h 17966907"/>
                <a:gd name="connsiteX9321" fmla="*/ 7257288 w 13797425"/>
                <a:gd name="connsiteY9321" fmla="*/ 6390038 h 17966907"/>
                <a:gd name="connsiteX9322" fmla="*/ 7262053 w 13797425"/>
                <a:gd name="connsiteY9322" fmla="*/ 6390038 h 17966907"/>
                <a:gd name="connsiteX9323" fmla="*/ 7266818 w 13797425"/>
                <a:gd name="connsiteY9323" fmla="*/ 6404334 h 17966907"/>
                <a:gd name="connsiteX9324" fmla="*/ 7271583 w 13797425"/>
                <a:gd name="connsiteY9324" fmla="*/ 6442455 h 17966907"/>
                <a:gd name="connsiteX9325" fmla="*/ 7276348 w 13797425"/>
                <a:gd name="connsiteY9325" fmla="*/ 6461515 h 17966907"/>
                <a:gd name="connsiteX9326" fmla="*/ 7290644 w 13797425"/>
                <a:gd name="connsiteY9326" fmla="*/ 6499636 h 17966907"/>
                <a:gd name="connsiteX9327" fmla="*/ 7295409 w 13797425"/>
                <a:gd name="connsiteY9327" fmla="*/ 6523455 h 17966907"/>
                <a:gd name="connsiteX9328" fmla="*/ 7295409 w 13797425"/>
                <a:gd name="connsiteY9328" fmla="*/ 6528221 h 17966907"/>
                <a:gd name="connsiteX9329" fmla="*/ 7290644 w 13797425"/>
                <a:gd name="connsiteY9329" fmla="*/ 6537751 h 17966907"/>
                <a:gd name="connsiteX9330" fmla="*/ 7262053 w 13797425"/>
                <a:gd name="connsiteY9330" fmla="*/ 6547281 h 17966907"/>
                <a:gd name="connsiteX9331" fmla="*/ 7242992 w 13797425"/>
                <a:gd name="connsiteY9331" fmla="*/ 6547281 h 17966907"/>
                <a:gd name="connsiteX9332" fmla="*/ 7223932 w 13797425"/>
                <a:gd name="connsiteY9332" fmla="*/ 6532986 h 17966907"/>
                <a:gd name="connsiteX9333" fmla="*/ 7219167 w 13797425"/>
                <a:gd name="connsiteY9333" fmla="*/ 6518690 h 17966907"/>
                <a:gd name="connsiteX9334" fmla="*/ 7214401 w 13797425"/>
                <a:gd name="connsiteY9334" fmla="*/ 6499636 h 17966907"/>
                <a:gd name="connsiteX9335" fmla="*/ 7214401 w 13797425"/>
                <a:gd name="connsiteY9335" fmla="*/ 6475811 h 17966907"/>
                <a:gd name="connsiteX9336" fmla="*/ 7209636 w 13797425"/>
                <a:gd name="connsiteY9336" fmla="*/ 6456748 h 17966907"/>
                <a:gd name="connsiteX9337" fmla="*/ 7204871 w 13797425"/>
                <a:gd name="connsiteY9337" fmla="*/ 6442455 h 17966907"/>
                <a:gd name="connsiteX9338" fmla="*/ 7200106 w 13797425"/>
                <a:gd name="connsiteY9338" fmla="*/ 6432923 h 17966907"/>
                <a:gd name="connsiteX9339" fmla="*/ 7204871 w 13797425"/>
                <a:gd name="connsiteY9339" fmla="*/ 6423394 h 17966907"/>
                <a:gd name="connsiteX9340" fmla="*/ 7209636 w 13797425"/>
                <a:gd name="connsiteY9340" fmla="*/ 6418628 h 17966907"/>
                <a:gd name="connsiteX9341" fmla="*/ 7228697 w 13797425"/>
                <a:gd name="connsiteY9341" fmla="*/ 6413862 h 17966907"/>
                <a:gd name="connsiteX9342" fmla="*/ 3631026 w 13797425"/>
                <a:gd name="connsiteY9342" fmla="*/ 6313794 h 17966907"/>
                <a:gd name="connsiteX9343" fmla="*/ 3650086 w 13797425"/>
                <a:gd name="connsiteY9343" fmla="*/ 6313794 h 17966907"/>
                <a:gd name="connsiteX9344" fmla="*/ 3669147 w 13797425"/>
                <a:gd name="connsiteY9344" fmla="*/ 6323325 h 17966907"/>
                <a:gd name="connsiteX9345" fmla="*/ 3673912 w 13797425"/>
                <a:gd name="connsiteY9345" fmla="*/ 6337621 h 17966907"/>
                <a:gd name="connsiteX9346" fmla="*/ 3650086 w 13797425"/>
                <a:gd name="connsiteY9346" fmla="*/ 6409098 h 17966907"/>
                <a:gd name="connsiteX9347" fmla="*/ 3635791 w 13797425"/>
                <a:gd name="connsiteY9347" fmla="*/ 6437688 h 17966907"/>
                <a:gd name="connsiteX9348" fmla="*/ 3611965 w 13797425"/>
                <a:gd name="connsiteY9348" fmla="*/ 6513924 h 17966907"/>
                <a:gd name="connsiteX9349" fmla="*/ 3559549 w 13797425"/>
                <a:gd name="connsiteY9349" fmla="*/ 6633052 h 17966907"/>
                <a:gd name="connsiteX9350" fmla="*/ 3540488 w 13797425"/>
                <a:gd name="connsiteY9350" fmla="*/ 6652113 h 17966907"/>
                <a:gd name="connsiteX9351" fmla="*/ 3497602 w 13797425"/>
                <a:gd name="connsiteY9351" fmla="*/ 6694999 h 17966907"/>
                <a:gd name="connsiteX9352" fmla="*/ 3464246 w 13797425"/>
                <a:gd name="connsiteY9352" fmla="*/ 6690234 h 17966907"/>
                <a:gd name="connsiteX9353" fmla="*/ 3426125 w 13797425"/>
                <a:gd name="connsiteY9353" fmla="*/ 6661643 h 17966907"/>
                <a:gd name="connsiteX9354" fmla="*/ 3388004 w 13797425"/>
                <a:gd name="connsiteY9354" fmla="*/ 6652113 h 17966907"/>
                <a:gd name="connsiteX9355" fmla="*/ 3378474 w 13797425"/>
                <a:gd name="connsiteY9355" fmla="*/ 6642583 h 17966907"/>
                <a:gd name="connsiteX9356" fmla="*/ 3373709 w 13797425"/>
                <a:gd name="connsiteY9356" fmla="*/ 6633052 h 17966907"/>
                <a:gd name="connsiteX9357" fmla="*/ 3388004 w 13797425"/>
                <a:gd name="connsiteY9357" fmla="*/ 6599696 h 17966907"/>
                <a:gd name="connsiteX9358" fmla="*/ 3402300 w 13797425"/>
                <a:gd name="connsiteY9358" fmla="*/ 6580636 h 17966907"/>
                <a:gd name="connsiteX9359" fmla="*/ 3435656 w 13797425"/>
                <a:gd name="connsiteY9359" fmla="*/ 6532985 h 17966907"/>
                <a:gd name="connsiteX9360" fmla="*/ 3497602 w 13797425"/>
                <a:gd name="connsiteY9360" fmla="*/ 6447219 h 17966907"/>
                <a:gd name="connsiteX9361" fmla="*/ 3535723 w 13797425"/>
                <a:gd name="connsiteY9361" fmla="*/ 6413862 h 17966907"/>
                <a:gd name="connsiteX9362" fmla="*/ 3573844 w 13797425"/>
                <a:gd name="connsiteY9362" fmla="*/ 6390038 h 17966907"/>
                <a:gd name="connsiteX9363" fmla="*/ 3611965 w 13797425"/>
                <a:gd name="connsiteY9363" fmla="*/ 6337621 h 17966907"/>
                <a:gd name="connsiteX9364" fmla="*/ 9680356 w 13797425"/>
                <a:gd name="connsiteY9364" fmla="*/ 6289968 h 17966907"/>
                <a:gd name="connsiteX9365" fmla="*/ 9694652 w 13797425"/>
                <a:gd name="connsiteY9365" fmla="*/ 6299500 h 17966907"/>
                <a:gd name="connsiteX9366" fmla="*/ 9708947 w 13797425"/>
                <a:gd name="connsiteY9366" fmla="*/ 6318561 h 17966907"/>
                <a:gd name="connsiteX9367" fmla="*/ 9689886 w 13797425"/>
                <a:gd name="connsiteY9367" fmla="*/ 6370978 h 17966907"/>
                <a:gd name="connsiteX9368" fmla="*/ 9675591 w 13797425"/>
                <a:gd name="connsiteY9368" fmla="*/ 6394802 h 17966907"/>
                <a:gd name="connsiteX9369" fmla="*/ 9670826 w 13797425"/>
                <a:gd name="connsiteY9369" fmla="*/ 6432923 h 17966907"/>
                <a:gd name="connsiteX9370" fmla="*/ 9675591 w 13797425"/>
                <a:gd name="connsiteY9370" fmla="*/ 6471043 h 17966907"/>
                <a:gd name="connsiteX9371" fmla="*/ 9661296 w 13797425"/>
                <a:gd name="connsiteY9371" fmla="*/ 6471043 h 17966907"/>
                <a:gd name="connsiteX9372" fmla="*/ 9627940 w 13797425"/>
                <a:gd name="connsiteY9372" fmla="*/ 6494872 h 17966907"/>
                <a:gd name="connsiteX9373" fmla="*/ 9599349 w 13797425"/>
                <a:gd name="connsiteY9373" fmla="*/ 6499636 h 17966907"/>
                <a:gd name="connsiteX9374" fmla="*/ 9585053 w 13797425"/>
                <a:gd name="connsiteY9374" fmla="*/ 6485339 h 17966907"/>
                <a:gd name="connsiteX9375" fmla="*/ 9575523 w 13797425"/>
                <a:gd name="connsiteY9375" fmla="*/ 6461515 h 17966907"/>
                <a:gd name="connsiteX9376" fmla="*/ 9594584 w 13797425"/>
                <a:gd name="connsiteY9376" fmla="*/ 6413862 h 17966907"/>
                <a:gd name="connsiteX9377" fmla="*/ 9623174 w 13797425"/>
                <a:gd name="connsiteY9377" fmla="*/ 6380507 h 17966907"/>
                <a:gd name="connsiteX9378" fmla="*/ 9656530 w 13797425"/>
                <a:gd name="connsiteY9378" fmla="*/ 6328090 h 17966907"/>
                <a:gd name="connsiteX9379" fmla="*/ 5923053 w 13797425"/>
                <a:gd name="connsiteY9379" fmla="*/ 6185136 h 17966907"/>
                <a:gd name="connsiteX9380" fmla="*/ 5980234 w 13797425"/>
                <a:gd name="connsiteY9380" fmla="*/ 6185136 h 17966907"/>
                <a:gd name="connsiteX9381" fmla="*/ 5999295 w 13797425"/>
                <a:gd name="connsiteY9381" fmla="*/ 6204199 h 17966907"/>
                <a:gd name="connsiteX9382" fmla="*/ 6008825 w 13797425"/>
                <a:gd name="connsiteY9382" fmla="*/ 6261380 h 17966907"/>
                <a:gd name="connsiteX9383" fmla="*/ 6018355 w 13797425"/>
                <a:gd name="connsiteY9383" fmla="*/ 6323325 h 17966907"/>
                <a:gd name="connsiteX9384" fmla="*/ 6027885 w 13797425"/>
                <a:gd name="connsiteY9384" fmla="*/ 6332857 h 17966907"/>
                <a:gd name="connsiteX9385" fmla="*/ 6056476 w 13797425"/>
                <a:gd name="connsiteY9385" fmla="*/ 6375742 h 17966907"/>
                <a:gd name="connsiteX9386" fmla="*/ 6089832 w 13797425"/>
                <a:gd name="connsiteY9386" fmla="*/ 6418626 h 17966907"/>
                <a:gd name="connsiteX9387" fmla="*/ 6089832 w 13797425"/>
                <a:gd name="connsiteY9387" fmla="*/ 6423392 h 17966907"/>
                <a:gd name="connsiteX9388" fmla="*/ 6085067 w 13797425"/>
                <a:gd name="connsiteY9388" fmla="*/ 6432923 h 17966907"/>
                <a:gd name="connsiteX9389" fmla="*/ 6042181 w 13797425"/>
                <a:gd name="connsiteY9389" fmla="*/ 6456748 h 17966907"/>
                <a:gd name="connsiteX9390" fmla="*/ 6027885 w 13797425"/>
                <a:gd name="connsiteY9390" fmla="*/ 6471043 h 17966907"/>
                <a:gd name="connsiteX9391" fmla="*/ 6013590 w 13797425"/>
                <a:gd name="connsiteY9391" fmla="*/ 6509159 h 17966907"/>
                <a:gd name="connsiteX9392" fmla="*/ 6004060 w 13797425"/>
                <a:gd name="connsiteY9392" fmla="*/ 6528220 h 17966907"/>
                <a:gd name="connsiteX9393" fmla="*/ 5946878 w 13797425"/>
                <a:gd name="connsiteY9393" fmla="*/ 6537750 h 17966907"/>
                <a:gd name="connsiteX9394" fmla="*/ 5889697 w 13797425"/>
                <a:gd name="connsiteY9394" fmla="*/ 6537750 h 17966907"/>
                <a:gd name="connsiteX9395" fmla="*/ 5899227 w 13797425"/>
                <a:gd name="connsiteY9395" fmla="*/ 6499636 h 17966907"/>
                <a:gd name="connsiteX9396" fmla="*/ 5927818 w 13797425"/>
                <a:gd name="connsiteY9396" fmla="*/ 6437688 h 17966907"/>
                <a:gd name="connsiteX9397" fmla="*/ 5903992 w 13797425"/>
                <a:gd name="connsiteY9397" fmla="*/ 6413862 h 17966907"/>
                <a:gd name="connsiteX9398" fmla="*/ 5818220 w 13797425"/>
                <a:gd name="connsiteY9398" fmla="*/ 6456748 h 17966907"/>
                <a:gd name="connsiteX9399" fmla="*/ 5784864 w 13797425"/>
                <a:gd name="connsiteY9399" fmla="*/ 6428158 h 17966907"/>
                <a:gd name="connsiteX9400" fmla="*/ 5813455 w 13797425"/>
                <a:gd name="connsiteY9400" fmla="*/ 6361445 h 17966907"/>
                <a:gd name="connsiteX9401" fmla="*/ 5784864 w 13797425"/>
                <a:gd name="connsiteY9401" fmla="*/ 6356681 h 17966907"/>
                <a:gd name="connsiteX9402" fmla="*/ 5741978 w 13797425"/>
                <a:gd name="connsiteY9402" fmla="*/ 6356681 h 17966907"/>
                <a:gd name="connsiteX9403" fmla="*/ 5718152 w 13797425"/>
                <a:gd name="connsiteY9403" fmla="*/ 6318561 h 17966907"/>
                <a:gd name="connsiteX9404" fmla="*/ 5727682 w 13797425"/>
                <a:gd name="connsiteY9404" fmla="*/ 6266144 h 17966907"/>
                <a:gd name="connsiteX9405" fmla="*/ 5780099 w 13797425"/>
                <a:gd name="connsiteY9405" fmla="*/ 6242319 h 17966907"/>
                <a:gd name="connsiteX9406" fmla="*/ 5846810 w 13797425"/>
                <a:gd name="connsiteY9406" fmla="*/ 6218492 h 17966907"/>
                <a:gd name="connsiteX9407" fmla="*/ 5746743 w 13797425"/>
                <a:gd name="connsiteY9407" fmla="*/ 5946883 h 17966907"/>
                <a:gd name="connsiteX9408" fmla="*/ 5770568 w 13797425"/>
                <a:gd name="connsiteY9408" fmla="*/ 5946883 h 17966907"/>
                <a:gd name="connsiteX9409" fmla="*/ 5780099 w 13797425"/>
                <a:gd name="connsiteY9409" fmla="*/ 5951644 h 17966907"/>
                <a:gd name="connsiteX9410" fmla="*/ 5784864 w 13797425"/>
                <a:gd name="connsiteY9410" fmla="*/ 5965940 h 17966907"/>
                <a:gd name="connsiteX9411" fmla="*/ 5784864 w 13797425"/>
                <a:gd name="connsiteY9411" fmla="*/ 5980235 h 17966907"/>
                <a:gd name="connsiteX9412" fmla="*/ 5775334 w 13797425"/>
                <a:gd name="connsiteY9412" fmla="*/ 6004061 h 17966907"/>
                <a:gd name="connsiteX9413" fmla="*/ 5784864 w 13797425"/>
                <a:gd name="connsiteY9413" fmla="*/ 6004061 h 17966907"/>
                <a:gd name="connsiteX9414" fmla="*/ 5808690 w 13797425"/>
                <a:gd name="connsiteY9414" fmla="*/ 5994532 h 17966907"/>
                <a:gd name="connsiteX9415" fmla="*/ 5822985 w 13797425"/>
                <a:gd name="connsiteY9415" fmla="*/ 5989767 h 17966907"/>
                <a:gd name="connsiteX9416" fmla="*/ 5842045 w 13797425"/>
                <a:gd name="connsiteY9416" fmla="*/ 6013593 h 17966907"/>
                <a:gd name="connsiteX9417" fmla="*/ 5846811 w 13797425"/>
                <a:gd name="connsiteY9417" fmla="*/ 6032653 h 17966907"/>
                <a:gd name="connsiteX9418" fmla="*/ 5908757 w 13797425"/>
                <a:gd name="connsiteY9418" fmla="*/ 6075538 h 17966907"/>
                <a:gd name="connsiteX9419" fmla="*/ 5927818 w 13797425"/>
                <a:gd name="connsiteY9419" fmla="*/ 6089834 h 17966907"/>
                <a:gd name="connsiteX9420" fmla="*/ 5932583 w 13797425"/>
                <a:gd name="connsiteY9420" fmla="*/ 6104129 h 17966907"/>
                <a:gd name="connsiteX9421" fmla="*/ 5923053 w 13797425"/>
                <a:gd name="connsiteY9421" fmla="*/ 6123191 h 17966907"/>
                <a:gd name="connsiteX9422" fmla="*/ 5903992 w 13797425"/>
                <a:gd name="connsiteY9422" fmla="*/ 6142250 h 17966907"/>
                <a:gd name="connsiteX9423" fmla="*/ 5889697 w 13797425"/>
                <a:gd name="connsiteY9423" fmla="*/ 6161310 h 17966907"/>
                <a:gd name="connsiteX9424" fmla="*/ 5861106 w 13797425"/>
                <a:gd name="connsiteY9424" fmla="*/ 6170842 h 17966907"/>
                <a:gd name="connsiteX9425" fmla="*/ 5737212 w 13797425"/>
                <a:gd name="connsiteY9425" fmla="*/ 6175606 h 17966907"/>
                <a:gd name="connsiteX9426" fmla="*/ 5722917 w 13797425"/>
                <a:gd name="connsiteY9426" fmla="*/ 6166076 h 17966907"/>
                <a:gd name="connsiteX9427" fmla="*/ 5718152 w 13797425"/>
                <a:gd name="connsiteY9427" fmla="*/ 6147015 h 17966907"/>
                <a:gd name="connsiteX9428" fmla="*/ 5703857 w 13797425"/>
                <a:gd name="connsiteY9428" fmla="*/ 6070774 h 17966907"/>
                <a:gd name="connsiteX9429" fmla="*/ 5689561 w 13797425"/>
                <a:gd name="connsiteY9429" fmla="*/ 6032653 h 17966907"/>
                <a:gd name="connsiteX9430" fmla="*/ 5684796 w 13797425"/>
                <a:gd name="connsiteY9430" fmla="*/ 6004061 h 17966907"/>
                <a:gd name="connsiteX9431" fmla="*/ 5689561 w 13797425"/>
                <a:gd name="connsiteY9431" fmla="*/ 5984999 h 17966907"/>
                <a:gd name="connsiteX9432" fmla="*/ 5703857 w 13797425"/>
                <a:gd name="connsiteY9432" fmla="*/ 5970705 h 17966907"/>
                <a:gd name="connsiteX9433" fmla="*/ 6604465 w 13797425"/>
                <a:gd name="connsiteY9433" fmla="*/ 5927820 h 17966907"/>
                <a:gd name="connsiteX9434" fmla="*/ 6633056 w 13797425"/>
                <a:gd name="connsiteY9434" fmla="*/ 5946880 h 17966907"/>
                <a:gd name="connsiteX9435" fmla="*/ 6671177 w 13797425"/>
                <a:gd name="connsiteY9435" fmla="*/ 5989767 h 17966907"/>
                <a:gd name="connsiteX9436" fmla="*/ 6680707 w 13797425"/>
                <a:gd name="connsiteY9436" fmla="*/ 6008828 h 17966907"/>
                <a:gd name="connsiteX9437" fmla="*/ 6723593 w 13797425"/>
                <a:gd name="connsiteY9437" fmla="*/ 6037416 h 17966907"/>
                <a:gd name="connsiteX9438" fmla="*/ 6747419 w 13797425"/>
                <a:gd name="connsiteY9438" fmla="*/ 6046948 h 17966907"/>
                <a:gd name="connsiteX9439" fmla="*/ 6761714 w 13797425"/>
                <a:gd name="connsiteY9439" fmla="*/ 6061242 h 17966907"/>
                <a:gd name="connsiteX9440" fmla="*/ 6766479 w 13797425"/>
                <a:gd name="connsiteY9440" fmla="*/ 6080303 h 17966907"/>
                <a:gd name="connsiteX9441" fmla="*/ 6766479 w 13797425"/>
                <a:gd name="connsiteY9441" fmla="*/ 6108893 h 17966907"/>
                <a:gd name="connsiteX9442" fmla="*/ 6766479 w 13797425"/>
                <a:gd name="connsiteY9442" fmla="*/ 6132722 h 17966907"/>
                <a:gd name="connsiteX9443" fmla="*/ 6756949 w 13797425"/>
                <a:gd name="connsiteY9443" fmla="*/ 6147015 h 17966907"/>
                <a:gd name="connsiteX9444" fmla="*/ 6756949 w 13797425"/>
                <a:gd name="connsiteY9444" fmla="*/ 6166074 h 17966907"/>
                <a:gd name="connsiteX9445" fmla="*/ 6761714 w 13797425"/>
                <a:gd name="connsiteY9445" fmla="*/ 6189903 h 17966907"/>
                <a:gd name="connsiteX9446" fmla="*/ 6785540 w 13797425"/>
                <a:gd name="connsiteY9446" fmla="*/ 6242319 h 17966907"/>
                <a:gd name="connsiteX9447" fmla="*/ 6790305 w 13797425"/>
                <a:gd name="connsiteY9447" fmla="*/ 6270909 h 17966907"/>
                <a:gd name="connsiteX9448" fmla="*/ 6790305 w 13797425"/>
                <a:gd name="connsiteY9448" fmla="*/ 6294734 h 17966907"/>
                <a:gd name="connsiteX9449" fmla="*/ 6790305 w 13797425"/>
                <a:gd name="connsiteY9449" fmla="*/ 6318561 h 17966907"/>
                <a:gd name="connsiteX9450" fmla="*/ 6776010 w 13797425"/>
                <a:gd name="connsiteY9450" fmla="*/ 6351917 h 17966907"/>
                <a:gd name="connsiteX9451" fmla="*/ 6771245 w 13797425"/>
                <a:gd name="connsiteY9451" fmla="*/ 6399567 h 17966907"/>
                <a:gd name="connsiteX9452" fmla="*/ 6771245 w 13797425"/>
                <a:gd name="connsiteY9452" fmla="*/ 6423392 h 17966907"/>
                <a:gd name="connsiteX9453" fmla="*/ 6780775 w 13797425"/>
                <a:gd name="connsiteY9453" fmla="*/ 6466279 h 17966907"/>
                <a:gd name="connsiteX9454" fmla="*/ 6780775 w 13797425"/>
                <a:gd name="connsiteY9454" fmla="*/ 6480573 h 17966907"/>
                <a:gd name="connsiteX9455" fmla="*/ 6766479 w 13797425"/>
                <a:gd name="connsiteY9455" fmla="*/ 6513925 h 17966907"/>
                <a:gd name="connsiteX9456" fmla="*/ 6733124 w 13797425"/>
                <a:gd name="connsiteY9456" fmla="*/ 6542515 h 17966907"/>
                <a:gd name="connsiteX9457" fmla="*/ 6737889 w 13797425"/>
                <a:gd name="connsiteY9457" fmla="*/ 6556811 h 17966907"/>
                <a:gd name="connsiteX9458" fmla="*/ 6804600 w 13797425"/>
                <a:gd name="connsiteY9458" fmla="*/ 6590167 h 17966907"/>
                <a:gd name="connsiteX9459" fmla="*/ 6809366 w 13797425"/>
                <a:gd name="connsiteY9459" fmla="*/ 6594932 h 17966907"/>
                <a:gd name="connsiteX9460" fmla="*/ 6809366 w 13797425"/>
                <a:gd name="connsiteY9460" fmla="*/ 6671174 h 17966907"/>
                <a:gd name="connsiteX9461" fmla="*/ 6823661 w 13797425"/>
                <a:gd name="connsiteY9461" fmla="*/ 6752181 h 17966907"/>
                <a:gd name="connsiteX9462" fmla="*/ 6818896 w 13797425"/>
                <a:gd name="connsiteY9462" fmla="*/ 6756946 h 17966907"/>
                <a:gd name="connsiteX9463" fmla="*/ 6799835 w 13797425"/>
                <a:gd name="connsiteY9463" fmla="*/ 6728355 h 17966907"/>
                <a:gd name="connsiteX9464" fmla="*/ 6771245 w 13797425"/>
                <a:gd name="connsiteY9464" fmla="*/ 6699764 h 17966907"/>
                <a:gd name="connsiteX9465" fmla="*/ 6737889 w 13797425"/>
                <a:gd name="connsiteY9465" fmla="*/ 6756946 h 17966907"/>
                <a:gd name="connsiteX9466" fmla="*/ 6742654 w 13797425"/>
                <a:gd name="connsiteY9466" fmla="*/ 6852249 h 17966907"/>
                <a:gd name="connsiteX9467" fmla="*/ 6761714 w 13797425"/>
                <a:gd name="connsiteY9467" fmla="*/ 6895135 h 17966907"/>
                <a:gd name="connsiteX9468" fmla="*/ 6771245 w 13797425"/>
                <a:gd name="connsiteY9468" fmla="*/ 6918960 h 17966907"/>
                <a:gd name="connsiteX9469" fmla="*/ 6766479 w 13797425"/>
                <a:gd name="connsiteY9469" fmla="*/ 6933256 h 17966907"/>
                <a:gd name="connsiteX9470" fmla="*/ 6747419 w 13797425"/>
                <a:gd name="connsiteY9470" fmla="*/ 6942786 h 17966907"/>
                <a:gd name="connsiteX9471" fmla="*/ 6742654 w 13797425"/>
                <a:gd name="connsiteY9471" fmla="*/ 6938021 h 17966907"/>
                <a:gd name="connsiteX9472" fmla="*/ 6723593 w 13797425"/>
                <a:gd name="connsiteY9472" fmla="*/ 6918960 h 17966907"/>
                <a:gd name="connsiteX9473" fmla="*/ 6709298 w 13797425"/>
                <a:gd name="connsiteY9473" fmla="*/ 6890370 h 17966907"/>
                <a:gd name="connsiteX9474" fmla="*/ 6704533 w 13797425"/>
                <a:gd name="connsiteY9474" fmla="*/ 6890370 h 17966907"/>
                <a:gd name="connsiteX9475" fmla="*/ 6704533 w 13797425"/>
                <a:gd name="connsiteY9475" fmla="*/ 6904665 h 17966907"/>
                <a:gd name="connsiteX9476" fmla="*/ 6704533 w 13797425"/>
                <a:gd name="connsiteY9476" fmla="*/ 6918960 h 17966907"/>
                <a:gd name="connsiteX9477" fmla="*/ 6718828 w 13797425"/>
                <a:gd name="connsiteY9477" fmla="*/ 6942786 h 17966907"/>
                <a:gd name="connsiteX9478" fmla="*/ 6723593 w 13797425"/>
                <a:gd name="connsiteY9478" fmla="*/ 6976142 h 17966907"/>
                <a:gd name="connsiteX9479" fmla="*/ 6718828 w 13797425"/>
                <a:gd name="connsiteY9479" fmla="*/ 6985672 h 17966907"/>
                <a:gd name="connsiteX9480" fmla="*/ 6699768 w 13797425"/>
                <a:gd name="connsiteY9480" fmla="*/ 6990437 h 17966907"/>
                <a:gd name="connsiteX9481" fmla="*/ 6671177 w 13797425"/>
                <a:gd name="connsiteY9481" fmla="*/ 6990437 h 17966907"/>
                <a:gd name="connsiteX9482" fmla="*/ 6628291 w 13797425"/>
                <a:gd name="connsiteY9482" fmla="*/ 7004733 h 17966907"/>
                <a:gd name="connsiteX9483" fmla="*/ 6609230 w 13797425"/>
                <a:gd name="connsiteY9483" fmla="*/ 7009498 h 17966907"/>
                <a:gd name="connsiteX9484" fmla="*/ 6585405 w 13797425"/>
                <a:gd name="connsiteY9484" fmla="*/ 6999968 h 17966907"/>
                <a:gd name="connsiteX9485" fmla="*/ 6561579 w 13797425"/>
                <a:gd name="connsiteY9485" fmla="*/ 6999968 h 17966907"/>
                <a:gd name="connsiteX9486" fmla="*/ 6537753 w 13797425"/>
                <a:gd name="connsiteY9486" fmla="*/ 6999968 h 17966907"/>
                <a:gd name="connsiteX9487" fmla="*/ 6523458 w 13797425"/>
                <a:gd name="connsiteY9487" fmla="*/ 6995202 h 17966907"/>
                <a:gd name="connsiteX9488" fmla="*/ 6509163 w 13797425"/>
                <a:gd name="connsiteY9488" fmla="*/ 6980907 h 17966907"/>
                <a:gd name="connsiteX9489" fmla="*/ 6494867 w 13797425"/>
                <a:gd name="connsiteY9489" fmla="*/ 6985672 h 17966907"/>
                <a:gd name="connsiteX9490" fmla="*/ 6461511 w 13797425"/>
                <a:gd name="connsiteY9490" fmla="*/ 7019028 h 17966907"/>
                <a:gd name="connsiteX9491" fmla="*/ 6413860 w 13797425"/>
                <a:gd name="connsiteY9491" fmla="*/ 7009498 h 17966907"/>
                <a:gd name="connsiteX9492" fmla="*/ 6370974 w 13797425"/>
                <a:gd name="connsiteY9492" fmla="*/ 7004733 h 17966907"/>
                <a:gd name="connsiteX9493" fmla="*/ 6361444 w 13797425"/>
                <a:gd name="connsiteY9493" fmla="*/ 6995202 h 17966907"/>
                <a:gd name="connsiteX9494" fmla="*/ 6351913 w 13797425"/>
                <a:gd name="connsiteY9494" fmla="*/ 6971377 h 17966907"/>
                <a:gd name="connsiteX9495" fmla="*/ 6328088 w 13797425"/>
                <a:gd name="connsiteY9495" fmla="*/ 6895135 h 17966907"/>
                <a:gd name="connsiteX9496" fmla="*/ 6332853 w 13797425"/>
                <a:gd name="connsiteY9496" fmla="*/ 6876074 h 17966907"/>
                <a:gd name="connsiteX9497" fmla="*/ 6380504 w 13797425"/>
                <a:gd name="connsiteY9497" fmla="*/ 6866544 h 17966907"/>
                <a:gd name="connsiteX9498" fmla="*/ 6380504 w 13797425"/>
                <a:gd name="connsiteY9498" fmla="*/ 6861779 h 17966907"/>
                <a:gd name="connsiteX9499" fmla="*/ 6347148 w 13797425"/>
                <a:gd name="connsiteY9499" fmla="*/ 6833188 h 17966907"/>
                <a:gd name="connsiteX9500" fmla="*/ 6309027 w 13797425"/>
                <a:gd name="connsiteY9500" fmla="*/ 6814128 h 17966907"/>
                <a:gd name="connsiteX9501" fmla="*/ 6289967 w 13797425"/>
                <a:gd name="connsiteY9501" fmla="*/ 6799832 h 17966907"/>
                <a:gd name="connsiteX9502" fmla="*/ 6294732 w 13797425"/>
                <a:gd name="connsiteY9502" fmla="*/ 6771241 h 17966907"/>
                <a:gd name="connsiteX9503" fmla="*/ 6294732 w 13797425"/>
                <a:gd name="connsiteY9503" fmla="*/ 6761711 h 17966907"/>
                <a:gd name="connsiteX9504" fmla="*/ 6361444 w 13797425"/>
                <a:gd name="connsiteY9504" fmla="*/ 6728355 h 17966907"/>
                <a:gd name="connsiteX9505" fmla="*/ 6409095 w 13797425"/>
                <a:gd name="connsiteY9505" fmla="*/ 6661644 h 17966907"/>
                <a:gd name="connsiteX9506" fmla="*/ 6442451 w 13797425"/>
                <a:gd name="connsiteY9506" fmla="*/ 6633053 h 17966907"/>
                <a:gd name="connsiteX9507" fmla="*/ 6442451 w 13797425"/>
                <a:gd name="connsiteY9507" fmla="*/ 6618757 h 17966907"/>
                <a:gd name="connsiteX9508" fmla="*/ 6471042 w 13797425"/>
                <a:gd name="connsiteY9508" fmla="*/ 6609227 h 17966907"/>
                <a:gd name="connsiteX9509" fmla="*/ 6528223 w 13797425"/>
                <a:gd name="connsiteY9509" fmla="*/ 6599697 h 17966907"/>
                <a:gd name="connsiteX9510" fmla="*/ 6532988 w 13797425"/>
                <a:gd name="connsiteY9510" fmla="*/ 6580636 h 17966907"/>
                <a:gd name="connsiteX9511" fmla="*/ 6418625 w 13797425"/>
                <a:gd name="connsiteY9511" fmla="*/ 6590167 h 17966907"/>
                <a:gd name="connsiteX9512" fmla="*/ 6266141 w 13797425"/>
                <a:gd name="connsiteY9512" fmla="*/ 6628288 h 17966907"/>
                <a:gd name="connsiteX9513" fmla="*/ 6218490 w 13797425"/>
                <a:gd name="connsiteY9513" fmla="*/ 6647348 h 17966907"/>
                <a:gd name="connsiteX9514" fmla="*/ 6175604 w 13797425"/>
                <a:gd name="connsiteY9514" fmla="*/ 6637818 h 17966907"/>
                <a:gd name="connsiteX9515" fmla="*/ 6008824 w 13797425"/>
                <a:gd name="connsiteY9515" fmla="*/ 6694999 h 17966907"/>
                <a:gd name="connsiteX9516" fmla="*/ 5999294 w 13797425"/>
                <a:gd name="connsiteY9516" fmla="*/ 6694999 h 17966907"/>
                <a:gd name="connsiteX9517" fmla="*/ 5984999 w 13797425"/>
                <a:gd name="connsiteY9517" fmla="*/ 6675939 h 17966907"/>
                <a:gd name="connsiteX9518" fmla="*/ 5965938 w 13797425"/>
                <a:gd name="connsiteY9518" fmla="*/ 6642583 h 17966907"/>
                <a:gd name="connsiteX9519" fmla="*/ 5980233 w 13797425"/>
                <a:gd name="connsiteY9519" fmla="*/ 6618757 h 17966907"/>
                <a:gd name="connsiteX9520" fmla="*/ 6027885 w 13797425"/>
                <a:gd name="connsiteY9520" fmla="*/ 6571106 h 17966907"/>
                <a:gd name="connsiteX9521" fmla="*/ 6051710 w 13797425"/>
                <a:gd name="connsiteY9521" fmla="*/ 6528220 h 17966907"/>
                <a:gd name="connsiteX9522" fmla="*/ 6051710 w 13797425"/>
                <a:gd name="connsiteY9522" fmla="*/ 6504394 h 17966907"/>
                <a:gd name="connsiteX9523" fmla="*/ 6070771 w 13797425"/>
                <a:gd name="connsiteY9523" fmla="*/ 6466279 h 17966907"/>
                <a:gd name="connsiteX9524" fmla="*/ 6099362 w 13797425"/>
                <a:gd name="connsiteY9524" fmla="*/ 6461515 h 17966907"/>
                <a:gd name="connsiteX9525" fmla="*/ 6156543 w 13797425"/>
                <a:gd name="connsiteY9525" fmla="*/ 6494869 h 17966907"/>
                <a:gd name="connsiteX9526" fmla="*/ 6185134 w 13797425"/>
                <a:gd name="connsiteY9526" fmla="*/ 6528220 h 17966907"/>
                <a:gd name="connsiteX9527" fmla="*/ 6208960 w 13797425"/>
                <a:gd name="connsiteY9527" fmla="*/ 6542515 h 17966907"/>
                <a:gd name="connsiteX9528" fmla="*/ 6232785 w 13797425"/>
                <a:gd name="connsiteY9528" fmla="*/ 6537750 h 17966907"/>
                <a:gd name="connsiteX9529" fmla="*/ 6251846 w 13797425"/>
                <a:gd name="connsiteY9529" fmla="*/ 6513925 h 17966907"/>
                <a:gd name="connsiteX9530" fmla="*/ 6247081 w 13797425"/>
                <a:gd name="connsiteY9530" fmla="*/ 6513925 h 17966907"/>
                <a:gd name="connsiteX9531" fmla="*/ 6208960 w 13797425"/>
                <a:gd name="connsiteY9531" fmla="*/ 6523455 h 17966907"/>
                <a:gd name="connsiteX9532" fmla="*/ 6204194 w 13797425"/>
                <a:gd name="connsiteY9532" fmla="*/ 6523455 h 17966907"/>
                <a:gd name="connsiteX9533" fmla="*/ 6185134 w 13797425"/>
                <a:gd name="connsiteY9533" fmla="*/ 6485339 h 17966907"/>
                <a:gd name="connsiteX9534" fmla="*/ 6175604 w 13797425"/>
                <a:gd name="connsiteY9534" fmla="*/ 6461515 h 17966907"/>
                <a:gd name="connsiteX9535" fmla="*/ 6170838 w 13797425"/>
                <a:gd name="connsiteY9535" fmla="*/ 6437688 h 17966907"/>
                <a:gd name="connsiteX9536" fmla="*/ 6170838 w 13797425"/>
                <a:gd name="connsiteY9536" fmla="*/ 6423392 h 17966907"/>
                <a:gd name="connsiteX9537" fmla="*/ 6180369 w 13797425"/>
                <a:gd name="connsiteY9537" fmla="*/ 6390038 h 17966907"/>
                <a:gd name="connsiteX9538" fmla="*/ 6137483 w 13797425"/>
                <a:gd name="connsiteY9538" fmla="*/ 6380506 h 17966907"/>
                <a:gd name="connsiteX9539" fmla="*/ 6118422 w 13797425"/>
                <a:gd name="connsiteY9539" fmla="*/ 6361445 h 17966907"/>
                <a:gd name="connsiteX9540" fmla="*/ 6113657 w 13797425"/>
                <a:gd name="connsiteY9540" fmla="*/ 6332857 h 17966907"/>
                <a:gd name="connsiteX9541" fmla="*/ 6113657 w 13797425"/>
                <a:gd name="connsiteY9541" fmla="*/ 6323325 h 17966907"/>
                <a:gd name="connsiteX9542" fmla="*/ 6127952 w 13797425"/>
                <a:gd name="connsiteY9542" fmla="*/ 6289968 h 17966907"/>
                <a:gd name="connsiteX9543" fmla="*/ 6166073 w 13797425"/>
                <a:gd name="connsiteY9543" fmla="*/ 6247084 h 17966907"/>
                <a:gd name="connsiteX9544" fmla="*/ 6161308 w 13797425"/>
                <a:gd name="connsiteY9544" fmla="*/ 6232787 h 17966907"/>
                <a:gd name="connsiteX9545" fmla="*/ 6108892 w 13797425"/>
                <a:gd name="connsiteY9545" fmla="*/ 6232787 h 17966907"/>
                <a:gd name="connsiteX9546" fmla="*/ 6094596 w 13797425"/>
                <a:gd name="connsiteY9546" fmla="*/ 6228023 h 17966907"/>
                <a:gd name="connsiteX9547" fmla="*/ 6070771 w 13797425"/>
                <a:gd name="connsiteY9547" fmla="*/ 6199431 h 17966907"/>
                <a:gd name="connsiteX9548" fmla="*/ 6075536 w 13797425"/>
                <a:gd name="connsiteY9548" fmla="*/ 6170842 h 17966907"/>
                <a:gd name="connsiteX9549" fmla="*/ 6099362 w 13797425"/>
                <a:gd name="connsiteY9549" fmla="*/ 6127955 h 17966907"/>
                <a:gd name="connsiteX9550" fmla="*/ 6113657 w 13797425"/>
                <a:gd name="connsiteY9550" fmla="*/ 6099366 h 17966907"/>
                <a:gd name="connsiteX9551" fmla="*/ 6127952 w 13797425"/>
                <a:gd name="connsiteY9551" fmla="*/ 6089834 h 17966907"/>
                <a:gd name="connsiteX9552" fmla="*/ 6142248 w 13797425"/>
                <a:gd name="connsiteY9552" fmla="*/ 6089834 h 17966907"/>
                <a:gd name="connsiteX9553" fmla="*/ 6185134 w 13797425"/>
                <a:gd name="connsiteY9553" fmla="*/ 6108893 h 17966907"/>
                <a:gd name="connsiteX9554" fmla="*/ 6194664 w 13797425"/>
                <a:gd name="connsiteY9554" fmla="*/ 6118426 h 17966907"/>
                <a:gd name="connsiteX9555" fmla="*/ 6228020 w 13797425"/>
                <a:gd name="connsiteY9555" fmla="*/ 6161310 h 17966907"/>
                <a:gd name="connsiteX9556" fmla="*/ 6237550 w 13797425"/>
                <a:gd name="connsiteY9556" fmla="*/ 6185136 h 17966907"/>
                <a:gd name="connsiteX9557" fmla="*/ 6232785 w 13797425"/>
                <a:gd name="connsiteY9557" fmla="*/ 6208963 h 17966907"/>
                <a:gd name="connsiteX9558" fmla="*/ 6242315 w 13797425"/>
                <a:gd name="connsiteY9558" fmla="*/ 6228023 h 17966907"/>
                <a:gd name="connsiteX9559" fmla="*/ 6266141 w 13797425"/>
                <a:gd name="connsiteY9559" fmla="*/ 6251848 h 17966907"/>
                <a:gd name="connsiteX9560" fmla="*/ 6370974 w 13797425"/>
                <a:gd name="connsiteY9560" fmla="*/ 6380506 h 17966907"/>
                <a:gd name="connsiteX9561" fmla="*/ 6390034 w 13797425"/>
                <a:gd name="connsiteY9561" fmla="*/ 6413862 h 17966907"/>
                <a:gd name="connsiteX9562" fmla="*/ 6399565 w 13797425"/>
                <a:gd name="connsiteY9562" fmla="*/ 6423392 h 17966907"/>
                <a:gd name="connsiteX9563" fmla="*/ 6428155 w 13797425"/>
                <a:gd name="connsiteY9563" fmla="*/ 6437688 h 17966907"/>
                <a:gd name="connsiteX9564" fmla="*/ 6442451 w 13797425"/>
                <a:gd name="connsiteY9564" fmla="*/ 6432923 h 17966907"/>
                <a:gd name="connsiteX9565" fmla="*/ 6451981 w 13797425"/>
                <a:gd name="connsiteY9565" fmla="*/ 6423392 h 17966907"/>
                <a:gd name="connsiteX9566" fmla="*/ 6451981 w 13797425"/>
                <a:gd name="connsiteY9566" fmla="*/ 6413862 h 17966907"/>
                <a:gd name="connsiteX9567" fmla="*/ 6409095 w 13797425"/>
                <a:gd name="connsiteY9567" fmla="*/ 6366211 h 17966907"/>
                <a:gd name="connsiteX9568" fmla="*/ 6394800 w 13797425"/>
                <a:gd name="connsiteY9568" fmla="*/ 6342386 h 17966907"/>
                <a:gd name="connsiteX9569" fmla="*/ 6390034 w 13797425"/>
                <a:gd name="connsiteY9569" fmla="*/ 6309029 h 17966907"/>
                <a:gd name="connsiteX9570" fmla="*/ 6390034 w 13797425"/>
                <a:gd name="connsiteY9570" fmla="*/ 6299500 h 17966907"/>
                <a:gd name="connsiteX9571" fmla="*/ 6404330 w 13797425"/>
                <a:gd name="connsiteY9571" fmla="*/ 6294734 h 17966907"/>
                <a:gd name="connsiteX9572" fmla="*/ 6437686 w 13797425"/>
                <a:gd name="connsiteY9572" fmla="*/ 6299500 h 17966907"/>
                <a:gd name="connsiteX9573" fmla="*/ 6475807 w 13797425"/>
                <a:gd name="connsiteY9573" fmla="*/ 6289968 h 17966907"/>
                <a:gd name="connsiteX9574" fmla="*/ 6432921 w 13797425"/>
                <a:gd name="connsiteY9574" fmla="*/ 6280440 h 17966907"/>
                <a:gd name="connsiteX9575" fmla="*/ 6404330 w 13797425"/>
                <a:gd name="connsiteY9575" fmla="*/ 6261380 h 17966907"/>
                <a:gd name="connsiteX9576" fmla="*/ 6375739 w 13797425"/>
                <a:gd name="connsiteY9576" fmla="*/ 6256613 h 17966907"/>
                <a:gd name="connsiteX9577" fmla="*/ 6342383 w 13797425"/>
                <a:gd name="connsiteY9577" fmla="*/ 6228023 h 17966907"/>
                <a:gd name="connsiteX9578" fmla="*/ 6342383 w 13797425"/>
                <a:gd name="connsiteY9578" fmla="*/ 6218492 h 17966907"/>
                <a:gd name="connsiteX9579" fmla="*/ 6347148 w 13797425"/>
                <a:gd name="connsiteY9579" fmla="*/ 6208963 h 17966907"/>
                <a:gd name="connsiteX9580" fmla="*/ 6399565 w 13797425"/>
                <a:gd name="connsiteY9580" fmla="*/ 6194667 h 17966907"/>
                <a:gd name="connsiteX9581" fmla="*/ 6409095 w 13797425"/>
                <a:gd name="connsiteY9581" fmla="*/ 6189903 h 17966907"/>
                <a:gd name="connsiteX9582" fmla="*/ 6409095 w 13797425"/>
                <a:gd name="connsiteY9582" fmla="*/ 6185136 h 17966907"/>
                <a:gd name="connsiteX9583" fmla="*/ 6394800 w 13797425"/>
                <a:gd name="connsiteY9583" fmla="*/ 6161310 h 17966907"/>
                <a:gd name="connsiteX9584" fmla="*/ 6375739 w 13797425"/>
                <a:gd name="connsiteY9584" fmla="*/ 6151780 h 17966907"/>
                <a:gd name="connsiteX9585" fmla="*/ 6304262 w 13797425"/>
                <a:gd name="connsiteY9585" fmla="*/ 6127955 h 17966907"/>
                <a:gd name="connsiteX9586" fmla="*/ 6275671 w 13797425"/>
                <a:gd name="connsiteY9586" fmla="*/ 6099366 h 17966907"/>
                <a:gd name="connsiteX9587" fmla="*/ 6270906 w 13797425"/>
                <a:gd name="connsiteY9587" fmla="*/ 6085069 h 17966907"/>
                <a:gd name="connsiteX9588" fmla="*/ 6266141 w 13797425"/>
                <a:gd name="connsiteY9588" fmla="*/ 6075538 h 17966907"/>
                <a:gd name="connsiteX9589" fmla="*/ 6275671 w 13797425"/>
                <a:gd name="connsiteY9589" fmla="*/ 6042184 h 17966907"/>
                <a:gd name="connsiteX9590" fmla="*/ 6313792 w 13797425"/>
                <a:gd name="connsiteY9590" fmla="*/ 5999297 h 17966907"/>
                <a:gd name="connsiteX9591" fmla="*/ 6347148 w 13797425"/>
                <a:gd name="connsiteY9591" fmla="*/ 5980235 h 17966907"/>
                <a:gd name="connsiteX9592" fmla="*/ 6394800 w 13797425"/>
                <a:gd name="connsiteY9592" fmla="*/ 5965940 h 17966907"/>
                <a:gd name="connsiteX9593" fmla="*/ 6432921 w 13797425"/>
                <a:gd name="connsiteY9593" fmla="*/ 5970705 h 17966907"/>
                <a:gd name="connsiteX9594" fmla="*/ 6456746 w 13797425"/>
                <a:gd name="connsiteY9594" fmla="*/ 5975472 h 17966907"/>
                <a:gd name="connsiteX9595" fmla="*/ 6509163 w 13797425"/>
                <a:gd name="connsiteY9595" fmla="*/ 6042184 h 17966907"/>
                <a:gd name="connsiteX9596" fmla="*/ 6532988 w 13797425"/>
                <a:gd name="connsiteY9596" fmla="*/ 6089834 h 17966907"/>
                <a:gd name="connsiteX9597" fmla="*/ 6580640 w 13797425"/>
                <a:gd name="connsiteY9597" fmla="*/ 6080303 h 17966907"/>
                <a:gd name="connsiteX9598" fmla="*/ 6566344 w 13797425"/>
                <a:gd name="connsiteY9598" fmla="*/ 6032653 h 17966907"/>
                <a:gd name="connsiteX9599" fmla="*/ 6556814 w 13797425"/>
                <a:gd name="connsiteY9599" fmla="*/ 5980235 h 17966907"/>
                <a:gd name="connsiteX9600" fmla="*/ 6571109 w 13797425"/>
                <a:gd name="connsiteY9600" fmla="*/ 5961176 h 17966907"/>
                <a:gd name="connsiteX9601" fmla="*/ 6309028 w 13797425"/>
                <a:gd name="connsiteY9601" fmla="*/ 5889699 h 17966907"/>
                <a:gd name="connsiteX9602" fmla="*/ 6332853 w 13797425"/>
                <a:gd name="connsiteY9602" fmla="*/ 5889699 h 17966907"/>
                <a:gd name="connsiteX9603" fmla="*/ 6361444 w 13797425"/>
                <a:gd name="connsiteY9603" fmla="*/ 5899231 h 17966907"/>
                <a:gd name="connsiteX9604" fmla="*/ 6289967 w 13797425"/>
                <a:gd name="connsiteY9604" fmla="*/ 5956411 h 17966907"/>
                <a:gd name="connsiteX9605" fmla="*/ 6213725 w 13797425"/>
                <a:gd name="connsiteY9605" fmla="*/ 6004061 h 17966907"/>
                <a:gd name="connsiteX9606" fmla="*/ 6175604 w 13797425"/>
                <a:gd name="connsiteY9606" fmla="*/ 6008828 h 17966907"/>
                <a:gd name="connsiteX9607" fmla="*/ 6156543 w 13797425"/>
                <a:gd name="connsiteY9607" fmla="*/ 5999297 h 17966907"/>
                <a:gd name="connsiteX9608" fmla="*/ 6151778 w 13797425"/>
                <a:gd name="connsiteY9608" fmla="*/ 5989767 h 17966907"/>
                <a:gd name="connsiteX9609" fmla="*/ 6170839 w 13797425"/>
                <a:gd name="connsiteY9609" fmla="*/ 5970705 h 17966907"/>
                <a:gd name="connsiteX9610" fmla="*/ 6223255 w 13797425"/>
                <a:gd name="connsiteY9610" fmla="*/ 5946880 h 17966907"/>
                <a:gd name="connsiteX9611" fmla="*/ 6256611 w 13797425"/>
                <a:gd name="connsiteY9611" fmla="*/ 5899231 h 17966907"/>
                <a:gd name="connsiteX9612" fmla="*/ 6266141 w 13797425"/>
                <a:gd name="connsiteY9612" fmla="*/ 5894463 h 17966907"/>
                <a:gd name="connsiteX9613" fmla="*/ 5027209 w 13797425"/>
                <a:gd name="connsiteY9613" fmla="*/ 5842046 h 17966907"/>
                <a:gd name="connsiteX9614" fmla="*/ 5070095 w 13797425"/>
                <a:gd name="connsiteY9614" fmla="*/ 5884934 h 17966907"/>
                <a:gd name="connsiteX9615" fmla="*/ 5079625 w 13797425"/>
                <a:gd name="connsiteY9615" fmla="*/ 5884934 h 17966907"/>
                <a:gd name="connsiteX9616" fmla="*/ 5084390 w 13797425"/>
                <a:gd name="connsiteY9616" fmla="*/ 5899231 h 17966907"/>
                <a:gd name="connsiteX9617" fmla="*/ 5079625 w 13797425"/>
                <a:gd name="connsiteY9617" fmla="*/ 5918290 h 17966907"/>
                <a:gd name="connsiteX9618" fmla="*/ 5074860 w 13797425"/>
                <a:gd name="connsiteY9618" fmla="*/ 5937351 h 17966907"/>
                <a:gd name="connsiteX9619" fmla="*/ 5060565 w 13797425"/>
                <a:gd name="connsiteY9619" fmla="*/ 5970705 h 17966907"/>
                <a:gd name="connsiteX9620" fmla="*/ 5055800 w 13797425"/>
                <a:gd name="connsiteY9620" fmla="*/ 5984999 h 17966907"/>
                <a:gd name="connsiteX9621" fmla="*/ 5055800 w 13797425"/>
                <a:gd name="connsiteY9621" fmla="*/ 5999297 h 17966907"/>
                <a:gd name="connsiteX9622" fmla="*/ 5070095 w 13797425"/>
                <a:gd name="connsiteY9622" fmla="*/ 6032653 h 17966907"/>
                <a:gd name="connsiteX9623" fmla="*/ 5070095 w 13797425"/>
                <a:gd name="connsiteY9623" fmla="*/ 6056478 h 17966907"/>
                <a:gd name="connsiteX9624" fmla="*/ 5074860 w 13797425"/>
                <a:gd name="connsiteY9624" fmla="*/ 6094599 h 17966907"/>
                <a:gd name="connsiteX9625" fmla="*/ 5074860 w 13797425"/>
                <a:gd name="connsiteY9625" fmla="*/ 6099366 h 17966907"/>
                <a:gd name="connsiteX9626" fmla="*/ 5103451 w 13797425"/>
                <a:gd name="connsiteY9626" fmla="*/ 6132722 h 17966907"/>
                <a:gd name="connsiteX9627" fmla="*/ 5127277 w 13797425"/>
                <a:gd name="connsiteY9627" fmla="*/ 6170842 h 17966907"/>
                <a:gd name="connsiteX9628" fmla="*/ 5136807 w 13797425"/>
                <a:gd name="connsiteY9628" fmla="*/ 6232789 h 17966907"/>
                <a:gd name="connsiteX9629" fmla="*/ 5127277 w 13797425"/>
                <a:gd name="connsiteY9629" fmla="*/ 6256613 h 17966907"/>
                <a:gd name="connsiteX9630" fmla="*/ 5108216 w 13797425"/>
                <a:gd name="connsiteY9630" fmla="*/ 6285204 h 17966907"/>
                <a:gd name="connsiteX9631" fmla="*/ 5093921 w 13797425"/>
                <a:gd name="connsiteY9631" fmla="*/ 6313794 h 17966907"/>
                <a:gd name="connsiteX9632" fmla="*/ 5093921 w 13797425"/>
                <a:gd name="connsiteY9632" fmla="*/ 6332857 h 17966907"/>
                <a:gd name="connsiteX9633" fmla="*/ 5093921 w 13797425"/>
                <a:gd name="connsiteY9633" fmla="*/ 6342386 h 17966907"/>
                <a:gd name="connsiteX9634" fmla="*/ 5108216 w 13797425"/>
                <a:gd name="connsiteY9634" fmla="*/ 6351917 h 17966907"/>
                <a:gd name="connsiteX9635" fmla="*/ 5127277 w 13797425"/>
                <a:gd name="connsiteY9635" fmla="*/ 6351917 h 17966907"/>
                <a:gd name="connsiteX9636" fmla="*/ 5151102 w 13797425"/>
                <a:gd name="connsiteY9636" fmla="*/ 6342386 h 17966907"/>
                <a:gd name="connsiteX9637" fmla="*/ 5179693 w 13797425"/>
                <a:gd name="connsiteY9637" fmla="*/ 6347151 h 17966907"/>
                <a:gd name="connsiteX9638" fmla="*/ 5189223 w 13797425"/>
                <a:gd name="connsiteY9638" fmla="*/ 6366211 h 17966907"/>
                <a:gd name="connsiteX9639" fmla="*/ 5198754 w 13797425"/>
                <a:gd name="connsiteY9639" fmla="*/ 6390038 h 17966907"/>
                <a:gd name="connsiteX9640" fmla="*/ 5198754 w 13797425"/>
                <a:gd name="connsiteY9640" fmla="*/ 6404334 h 17966907"/>
                <a:gd name="connsiteX9641" fmla="*/ 5198754 w 13797425"/>
                <a:gd name="connsiteY9641" fmla="*/ 6413862 h 17966907"/>
                <a:gd name="connsiteX9642" fmla="*/ 5193988 w 13797425"/>
                <a:gd name="connsiteY9642" fmla="*/ 6423392 h 17966907"/>
                <a:gd name="connsiteX9643" fmla="*/ 5160632 w 13797425"/>
                <a:gd name="connsiteY9643" fmla="*/ 6490105 h 17966907"/>
                <a:gd name="connsiteX9644" fmla="*/ 5151102 w 13797425"/>
                <a:gd name="connsiteY9644" fmla="*/ 6513925 h 17966907"/>
                <a:gd name="connsiteX9645" fmla="*/ 5165398 w 13797425"/>
                <a:gd name="connsiteY9645" fmla="*/ 6518690 h 17966907"/>
                <a:gd name="connsiteX9646" fmla="*/ 5170163 w 13797425"/>
                <a:gd name="connsiteY9646" fmla="*/ 6513925 h 17966907"/>
                <a:gd name="connsiteX9647" fmla="*/ 5203519 w 13797425"/>
                <a:gd name="connsiteY9647" fmla="*/ 6466280 h 17966907"/>
                <a:gd name="connsiteX9648" fmla="*/ 5227344 w 13797425"/>
                <a:gd name="connsiteY9648" fmla="*/ 6451984 h 17966907"/>
                <a:gd name="connsiteX9649" fmla="*/ 5246405 w 13797425"/>
                <a:gd name="connsiteY9649" fmla="*/ 6447219 h 17966907"/>
                <a:gd name="connsiteX9650" fmla="*/ 5279761 w 13797425"/>
                <a:gd name="connsiteY9650" fmla="*/ 6456748 h 17966907"/>
                <a:gd name="connsiteX9651" fmla="*/ 5289291 w 13797425"/>
                <a:gd name="connsiteY9651" fmla="*/ 6466280 h 17966907"/>
                <a:gd name="connsiteX9652" fmla="*/ 5298821 w 13797425"/>
                <a:gd name="connsiteY9652" fmla="*/ 6475811 h 17966907"/>
                <a:gd name="connsiteX9653" fmla="*/ 5303586 w 13797425"/>
                <a:gd name="connsiteY9653" fmla="*/ 6485339 h 17966907"/>
                <a:gd name="connsiteX9654" fmla="*/ 5317882 w 13797425"/>
                <a:gd name="connsiteY9654" fmla="*/ 6532986 h 17966907"/>
                <a:gd name="connsiteX9655" fmla="*/ 5327412 w 13797425"/>
                <a:gd name="connsiteY9655" fmla="*/ 6590167 h 17966907"/>
                <a:gd name="connsiteX9656" fmla="*/ 5327412 w 13797425"/>
                <a:gd name="connsiteY9656" fmla="*/ 6585402 h 17966907"/>
                <a:gd name="connsiteX9657" fmla="*/ 5327412 w 13797425"/>
                <a:gd name="connsiteY9657" fmla="*/ 6552046 h 17966907"/>
                <a:gd name="connsiteX9658" fmla="*/ 5327412 w 13797425"/>
                <a:gd name="connsiteY9658" fmla="*/ 6528220 h 17966907"/>
                <a:gd name="connsiteX9659" fmla="*/ 5360768 w 13797425"/>
                <a:gd name="connsiteY9659" fmla="*/ 6509160 h 17966907"/>
                <a:gd name="connsiteX9660" fmla="*/ 5360768 w 13797425"/>
                <a:gd name="connsiteY9660" fmla="*/ 6504395 h 17966907"/>
                <a:gd name="connsiteX9661" fmla="*/ 5351238 w 13797425"/>
                <a:gd name="connsiteY9661" fmla="*/ 6490105 h 17966907"/>
                <a:gd name="connsiteX9662" fmla="*/ 5341707 w 13797425"/>
                <a:gd name="connsiteY9662" fmla="*/ 6466280 h 17966907"/>
                <a:gd name="connsiteX9663" fmla="*/ 5332177 w 13797425"/>
                <a:gd name="connsiteY9663" fmla="*/ 6432923 h 17966907"/>
                <a:gd name="connsiteX9664" fmla="*/ 5336942 w 13797425"/>
                <a:gd name="connsiteY9664" fmla="*/ 6418628 h 17966907"/>
                <a:gd name="connsiteX9665" fmla="*/ 5341707 w 13797425"/>
                <a:gd name="connsiteY9665" fmla="*/ 6404334 h 17966907"/>
                <a:gd name="connsiteX9666" fmla="*/ 5360768 w 13797425"/>
                <a:gd name="connsiteY9666" fmla="*/ 6370978 h 17966907"/>
                <a:gd name="connsiteX9667" fmla="*/ 5384594 w 13797425"/>
                <a:gd name="connsiteY9667" fmla="*/ 6351917 h 17966907"/>
                <a:gd name="connsiteX9668" fmla="*/ 5403654 w 13797425"/>
                <a:gd name="connsiteY9668" fmla="*/ 6347151 h 17966907"/>
                <a:gd name="connsiteX9669" fmla="*/ 5484661 w 13797425"/>
                <a:gd name="connsiteY9669" fmla="*/ 6380507 h 17966907"/>
                <a:gd name="connsiteX9670" fmla="*/ 5513252 w 13797425"/>
                <a:gd name="connsiteY9670" fmla="*/ 6409098 h 17966907"/>
                <a:gd name="connsiteX9671" fmla="*/ 5527547 w 13797425"/>
                <a:gd name="connsiteY9671" fmla="*/ 6423392 h 17966907"/>
                <a:gd name="connsiteX9672" fmla="*/ 5527547 w 13797425"/>
                <a:gd name="connsiteY9672" fmla="*/ 6432923 h 17966907"/>
                <a:gd name="connsiteX9673" fmla="*/ 5537078 w 13797425"/>
                <a:gd name="connsiteY9673" fmla="*/ 6461515 h 17966907"/>
                <a:gd name="connsiteX9674" fmla="*/ 5551373 w 13797425"/>
                <a:gd name="connsiteY9674" fmla="*/ 6547281 h 17966907"/>
                <a:gd name="connsiteX9675" fmla="*/ 5551373 w 13797425"/>
                <a:gd name="connsiteY9675" fmla="*/ 6575872 h 17966907"/>
                <a:gd name="connsiteX9676" fmla="*/ 5541843 w 13797425"/>
                <a:gd name="connsiteY9676" fmla="*/ 6618758 h 17966907"/>
                <a:gd name="connsiteX9677" fmla="*/ 5518017 w 13797425"/>
                <a:gd name="connsiteY9677" fmla="*/ 6704530 h 17966907"/>
                <a:gd name="connsiteX9678" fmla="*/ 5513252 w 13797425"/>
                <a:gd name="connsiteY9678" fmla="*/ 6756947 h 17966907"/>
                <a:gd name="connsiteX9679" fmla="*/ 5489426 w 13797425"/>
                <a:gd name="connsiteY9679" fmla="*/ 6895135 h 17966907"/>
                <a:gd name="connsiteX9680" fmla="*/ 5470366 w 13797425"/>
                <a:gd name="connsiteY9680" fmla="*/ 6933256 h 17966907"/>
                <a:gd name="connsiteX9681" fmla="*/ 5451305 w 13797425"/>
                <a:gd name="connsiteY9681" fmla="*/ 6957082 h 17966907"/>
                <a:gd name="connsiteX9682" fmla="*/ 5375063 w 13797425"/>
                <a:gd name="connsiteY9682" fmla="*/ 6999968 h 17966907"/>
                <a:gd name="connsiteX9683" fmla="*/ 5317882 w 13797425"/>
                <a:gd name="connsiteY9683" fmla="*/ 7047619 h 17966907"/>
                <a:gd name="connsiteX9684" fmla="*/ 5303586 w 13797425"/>
                <a:gd name="connsiteY9684" fmla="*/ 7052384 h 17966907"/>
                <a:gd name="connsiteX9685" fmla="*/ 5289291 w 13797425"/>
                <a:gd name="connsiteY9685" fmla="*/ 7052384 h 17966907"/>
                <a:gd name="connsiteX9686" fmla="*/ 5241640 w 13797425"/>
                <a:gd name="connsiteY9686" fmla="*/ 7038089 h 17966907"/>
                <a:gd name="connsiteX9687" fmla="*/ 5184458 w 13797425"/>
                <a:gd name="connsiteY9687" fmla="*/ 7009498 h 17966907"/>
                <a:gd name="connsiteX9688" fmla="*/ 5151102 w 13797425"/>
                <a:gd name="connsiteY9688" fmla="*/ 7019029 h 17966907"/>
                <a:gd name="connsiteX9689" fmla="*/ 5122512 w 13797425"/>
                <a:gd name="connsiteY9689" fmla="*/ 7038089 h 17966907"/>
                <a:gd name="connsiteX9690" fmla="*/ 5098686 w 13797425"/>
                <a:gd name="connsiteY9690" fmla="*/ 7047619 h 17966907"/>
                <a:gd name="connsiteX9691" fmla="*/ 5079625 w 13797425"/>
                <a:gd name="connsiteY9691" fmla="*/ 7042854 h 17966907"/>
                <a:gd name="connsiteX9692" fmla="*/ 5060565 w 13797425"/>
                <a:gd name="connsiteY9692" fmla="*/ 7033324 h 17966907"/>
                <a:gd name="connsiteX9693" fmla="*/ 5036739 w 13797425"/>
                <a:gd name="connsiteY9693" fmla="*/ 7014264 h 17966907"/>
                <a:gd name="connsiteX9694" fmla="*/ 5051034 w 13797425"/>
                <a:gd name="connsiteY9694" fmla="*/ 7004733 h 17966907"/>
                <a:gd name="connsiteX9695" fmla="*/ 5055800 w 13797425"/>
                <a:gd name="connsiteY9695" fmla="*/ 6995203 h 17966907"/>
                <a:gd name="connsiteX9696" fmla="*/ 5051034 w 13797425"/>
                <a:gd name="connsiteY9696" fmla="*/ 6985673 h 17966907"/>
                <a:gd name="connsiteX9697" fmla="*/ 5027209 w 13797425"/>
                <a:gd name="connsiteY9697" fmla="*/ 6971377 h 17966907"/>
                <a:gd name="connsiteX9698" fmla="*/ 4998618 w 13797425"/>
                <a:gd name="connsiteY9698" fmla="*/ 7004733 h 17966907"/>
                <a:gd name="connsiteX9699" fmla="*/ 4922376 w 13797425"/>
                <a:gd name="connsiteY9699" fmla="*/ 7080975 h 17966907"/>
                <a:gd name="connsiteX9700" fmla="*/ 4817543 w 13797425"/>
                <a:gd name="connsiteY9700" fmla="*/ 7104801 h 17966907"/>
                <a:gd name="connsiteX9701" fmla="*/ 4784187 w 13797425"/>
                <a:gd name="connsiteY9701" fmla="*/ 7123862 h 17966907"/>
                <a:gd name="connsiteX9702" fmla="*/ 4760362 w 13797425"/>
                <a:gd name="connsiteY9702" fmla="*/ 7142922 h 17966907"/>
                <a:gd name="connsiteX9703" fmla="*/ 4746066 w 13797425"/>
                <a:gd name="connsiteY9703" fmla="*/ 7157217 h 17966907"/>
                <a:gd name="connsiteX9704" fmla="*/ 4727006 w 13797425"/>
                <a:gd name="connsiteY9704" fmla="*/ 7200104 h 17966907"/>
                <a:gd name="connsiteX9705" fmla="*/ 4698415 w 13797425"/>
                <a:gd name="connsiteY9705" fmla="*/ 7228694 h 17966907"/>
                <a:gd name="connsiteX9706" fmla="*/ 4641234 w 13797425"/>
                <a:gd name="connsiteY9706" fmla="*/ 7257285 h 17966907"/>
                <a:gd name="connsiteX9707" fmla="*/ 4574522 w 13797425"/>
                <a:gd name="connsiteY9707" fmla="*/ 7304936 h 17966907"/>
                <a:gd name="connsiteX9708" fmla="*/ 4450628 w 13797425"/>
                <a:gd name="connsiteY9708" fmla="*/ 7357353 h 17966907"/>
                <a:gd name="connsiteX9709" fmla="*/ 4374386 w 13797425"/>
                <a:gd name="connsiteY9709" fmla="*/ 7366883 h 17966907"/>
                <a:gd name="connsiteX9710" fmla="*/ 4293379 w 13797425"/>
                <a:gd name="connsiteY9710" fmla="*/ 7347822 h 17966907"/>
                <a:gd name="connsiteX9711" fmla="*/ 4269554 w 13797425"/>
                <a:gd name="connsiteY9711" fmla="*/ 7333527 h 17966907"/>
                <a:gd name="connsiteX9712" fmla="*/ 4245728 w 13797425"/>
                <a:gd name="connsiteY9712" fmla="*/ 7314467 h 17966907"/>
                <a:gd name="connsiteX9713" fmla="*/ 4193312 w 13797425"/>
                <a:gd name="connsiteY9713" fmla="*/ 7266815 h 17966907"/>
                <a:gd name="connsiteX9714" fmla="*/ 4179016 w 13797425"/>
                <a:gd name="connsiteY9714" fmla="*/ 7247755 h 17966907"/>
                <a:gd name="connsiteX9715" fmla="*/ 4159956 w 13797425"/>
                <a:gd name="connsiteY9715" fmla="*/ 7209634 h 17966907"/>
                <a:gd name="connsiteX9716" fmla="*/ 4169486 w 13797425"/>
                <a:gd name="connsiteY9716" fmla="*/ 7181043 h 17966907"/>
                <a:gd name="connsiteX9717" fmla="*/ 4198077 w 13797425"/>
                <a:gd name="connsiteY9717" fmla="*/ 7152452 h 17966907"/>
                <a:gd name="connsiteX9718" fmla="*/ 4240963 w 13797425"/>
                <a:gd name="connsiteY9718" fmla="*/ 7123862 h 17966907"/>
                <a:gd name="connsiteX9719" fmla="*/ 4321970 w 13797425"/>
                <a:gd name="connsiteY9719" fmla="*/ 7085740 h 17966907"/>
                <a:gd name="connsiteX9720" fmla="*/ 4398212 w 13797425"/>
                <a:gd name="connsiteY9720" fmla="*/ 7023794 h 17966907"/>
                <a:gd name="connsiteX9721" fmla="*/ 4426803 w 13797425"/>
                <a:gd name="connsiteY9721" fmla="*/ 7014264 h 17966907"/>
                <a:gd name="connsiteX9722" fmla="*/ 4498280 w 13797425"/>
                <a:gd name="connsiteY9722" fmla="*/ 7004733 h 17966907"/>
                <a:gd name="connsiteX9723" fmla="*/ 4536401 w 13797425"/>
                <a:gd name="connsiteY9723" fmla="*/ 7009498 h 17966907"/>
                <a:gd name="connsiteX9724" fmla="*/ 4564992 w 13797425"/>
                <a:gd name="connsiteY9724" fmla="*/ 7009498 h 17966907"/>
                <a:gd name="connsiteX9725" fmla="*/ 4584052 w 13797425"/>
                <a:gd name="connsiteY9725" fmla="*/ 6999968 h 17966907"/>
                <a:gd name="connsiteX9726" fmla="*/ 4607878 w 13797425"/>
                <a:gd name="connsiteY9726" fmla="*/ 6976142 h 17966907"/>
                <a:gd name="connsiteX9727" fmla="*/ 4645999 w 13797425"/>
                <a:gd name="connsiteY9727" fmla="*/ 6933256 h 17966907"/>
                <a:gd name="connsiteX9728" fmla="*/ 4674589 w 13797425"/>
                <a:gd name="connsiteY9728" fmla="*/ 6890370 h 17966907"/>
                <a:gd name="connsiteX9729" fmla="*/ 4684120 w 13797425"/>
                <a:gd name="connsiteY9729" fmla="*/ 6871310 h 17966907"/>
                <a:gd name="connsiteX9730" fmla="*/ 4674589 w 13797425"/>
                <a:gd name="connsiteY9730" fmla="*/ 6857014 h 17966907"/>
                <a:gd name="connsiteX9731" fmla="*/ 4660294 w 13797425"/>
                <a:gd name="connsiteY9731" fmla="*/ 6852249 h 17966907"/>
                <a:gd name="connsiteX9732" fmla="*/ 4612643 w 13797425"/>
                <a:gd name="connsiteY9732" fmla="*/ 6895135 h 17966907"/>
                <a:gd name="connsiteX9733" fmla="*/ 4588817 w 13797425"/>
                <a:gd name="connsiteY9733" fmla="*/ 6909431 h 17966907"/>
                <a:gd name="connsiteX9734" fmla="*/ 4564992 w 13797425"/>
                <a:gd name="connsiteY9734" fmla="*/ 6909431 h 17966907"/>
                <a:gd name="connsiteX9735" fmla="*/ 4531636 w 13797425"/>
                <a:gd name="connsiteY9735" fmla="*/ 6923726 h 17966907"/>
                <a:gd name="connsiteX9736" fmla="*/ 4498280 w 13797425"/>
                <a:gd name="connsiteY9736" fmla="*/ 6928491 h 17966907"/>
                <a:gd name="connsiteX9737" fmla="*/ 4488749 w 13797425"/>
                <a:gd name="connsiteY9737" fmla="*/ 6928491 h 17966907"/>
                <a:gd name="connsiteX9738" fmla="*/ 4455394 w 13797425"/>
                <a:gd name="connsiteY9738" fmla="*/ 6890370 h 17966907"/>
                <a:gd name="connsiteX9739" fmla="*/ 4436333 w 13797425"/>
                <a:gd name="connsiteY9739" fmla="*/ 6880840 h 17966907"/>
                <a:gd name="connsiteX9740" fmla="*/ 4431568 w 13797425"/>
                <a:gd name="connsiteY9740" fmla="*/ 6885605 h 17966907"/>
                <a:gd name="connsiteX9741" fmla="*/ 4422038 w 13797425"/>
                <a:gd name="connsiteY9741" fmla="*/ 6895135 h 17966907"/>
                <a:gd name="connsiteX9742" fmla="*/ 4407742 w 13797425"/>
                <a:gd name="connsiteY9742" fmla="*/ 6928491 h 17966907"/>
                <a:gd name="connsiteX9743" fmla="*/ 4398212 w 13797425"/>
                <a:gd name="connsiteY9743" fmla="*/ 6938022 h 17966907"/>
                <a:gd name="connsiteX9744" fmla="*/ 4383917 w 13797425"/>
                <a:gd name="connsiteY9744" fmla="*/ 6947552 h 17966907"/>
                <a:gd name="connsiteX9745" fmla="*/ 4321970 w 13797425"/>
                <a:gd name="connsiteY9745" fmla="*/ 6952317 h 17966907"/>
                <a:gd name="connsiteX9746" fmla="*/ 4264788 w 13797425"/>
                <a:gd name="connsiteY9746" fmla="*/ 6971377 h 17966907"/>
                <a:gd name="connsiteX9747" fmla="*/ 4250493 w 13797425"/>
                <a:gd name="connsiteY9747" fmla="*/ 6961847 h 17966907"/>
                <a:gd name="connsiteX9748" fmla="*/ 4240963 w 13797425"/>
                <a:gd name="connsiteY9748" fmla="*/ 6942787 h 17966907"/>
                <a:gd name="connsiteX9749" fmla="*/ 4240963 w 13797425"/>
                <a:gd name="connsiteY9749" fmla="*/ 6933256 h 17966907"/>
                <a:gd name="connsiteX9750" fmla="*/ 4240963 w 13797425"/>
                <a:gd name="connsiteY9750" fmla="*/ 6895135 h 17966907"/>
                <a:gd name="connsiteX9751" fmla="*/ 4236198 w 13797425"/>
                <a:gd name="connsiteY9751" fmla="*/ 6880840 h 17966907"/>
                <a:gd name="connsiteX9752" fmla="*/ 4240963 w 13797425"/>
                <a:gd name="connsiteY9752" fmla="*/ 6852249 h 17966907"/>
                <a:gd name="connsiteX9753" fmla="*/ 4245728 w 13797425"/>
                <a:gd name="connsiteY9753" fmla="*/ 6828424 h 17966907"/>
                <a:gd name="connsiteX9754" fmla="*/ 4255258 w 13797425"/>
                <a:gd name="connsiteY9754" fmla="*/ 6814128 h 17966907"/>
                <a:gd name="connsiteX9755" fmla="*/ 4298144 w 13797425"/>
                <a:gd name="connsiteY9755" fmla="*/ 6766477 h 17966907"/>
                <a:gd name="connsiteX9756" fmla="*/ 4302909 w 13797425"/>
                <a:gd name="connsiteY9756" fmla="*/ 6756947 h 17966907"/>
                <a:gd name="connsiteX9757" fmla="*/ 4283849 w 13797425"/>
                <a:gd name="connsiteY9757" fmla="*/ 6756947 h 17966907"/>
                <a:gd name="connsiteX9758" fmla="*/ 4236198 w 13797425"/>
                <a:gd name="connsiteY9758" fmla="*/ 6780772 h 17966907"/>
                <a:gd name="connsiteX9759" fmla="*/ 4231432 w 13797425"/>
                <a:gd name="connsiteY9759" fmla="*/ 6776007 h 17966907"/>
                <a:gd name="connsiteX9760" fmla="*/ 4221902 w 13797425"/>
                <a:gd name="connsiteY9760" fmla="*/ 6747416 h 17966907"/>
                <a:gd name="connsiteX9761" fmla="*/ 4217137 w 13797425"/>
                <a:gd name="connsiteY9761" fmla="*/ 6747416 h 17966907"/>
                <a:gd name="connsiteX9762" fmla="*/ 4207607 w 13797425"/>
                <a:gd name="connsiteY9762" fmla="*/ 6756947 h 17966907"/>
                <a:gd name="connsiteX9763" fmla="*/ 4207607 w 13797425"/>
                <a:gd name="connsiteY9763" fmla="*/ 6771242 h 17966907"/>
                <a:gd name="connsiteX9764" fmla="*/ 4198077 w 13797425"/>
                <a:gd name="connsiteY9764" fmla="*/ 6833189 h 17966907"/>
                <a:gd name="connsiteX9765" fmla="*/ 4193312 w 13797425"/>
                <a:gd name="connsiteY9765" fmla="*/ 6866545 h 17966907"/>
                <a:gd name="connsiteX9766" fmla="*/ 4174251 w 13797425"/>
                <a:gd name="connsiteY9766" fmla="*/ 6857014 h 17966907"/>
                <a:gd name="connsiteX9767" fmla="*/ 4150425 w 13797425"/>
                <a:gd name="connsiteY9767" fmla="*/ 6837954 h 17966907"/>
                <a:gd name="connsiteX9768" fmla="*/ 4140895 w 13797425"/>
                <a:gd name="connsiteY9768" fmla="*/ 6837954 h 17966907"/>
                <a:gd name="connsiteX9769" fmla="*/ 4136130 w 13797425"/>
                <a:gd name="connsiteY9769" fmla="*/ 6842719 h 17966907"/>
                <a:gd name="connsiteX9770" fmla="*/ 4140895 w 13797425"/>
                <a:gd name="connsiteY9770" fmla="*/ 6852249 h 17966907"/>
                <a:gd name="connsiteX9771" fmla="*/ 4164721 w 13797425"/>
                <a:gd name="connsiteY9771" fmla="*/ 6909431 h 17966907"/>
                <a:gd name="connsiteX9772" fmla="*/ 4164721 w 13797425"/>
                <a:gd name="connsiteY9772" fmla="*/ 6923726 h 17966907"/>
                <a:gd name="connsiteX9773" fmla="*/ 4145660 w 13797425"/>
                <a:gd name="connsiteY9773" fmla="*/ 6957082 h 17966907"/>
                <a:gd name="connsiteX9774" fmla="*/ 4083714 w 13797425"/>
                <a:gd name="connsiteY9774" fmla="*/ 7009498 h 17966907"/>
                <a:gd name="connsiteX9775" fmla="*/ 4059888 w 13797425"/>
                <a:gd name="connsiteY9775" fmla="*/ 7023794 h 17966907"/>
                <a:gd name="connsiteX9776" fmla="*/ 4050358 w 13797425"/>
                <a:gd name="connsiteY9776" fmla="*/ 7019029 h 17966907"/>
                <a:gd name="connsiteX9777" fmla="*/ 4040827 w 13797425"/>
                <a:gd name="connsiteY9777" fmla="*/ 7004733 h 17966907"/>
                <a:gd name="connsiteX9778" fmla="*/ 4036062 w 13797425"/>
                <a:gd name="connsiteY9778" fmla="*/ 6980908 h 17966907"/>
                <a:gd name="connsiteX9779" fmla="*/ 4017002 w 13797425"/>
                <a:gd name="connsiteY9779" fmla="*/ 6947552 h 17966907"/>
                <a:gd name="connsiteX9780" fmla="*/ 4007471 w 13797425"/>
                <a:gd name="connsiteY9780" fmla="*/ 6942787 h 17966907"/>
                <a:gd name="connsiteX9781" fmla="*/ 3997941 w 13797425"/>
                <a:gd name="connsiteY9781" fmla="*/ 6942787 h 17966907"/>
                <a:gd name="connsiteX9782" fmla="*/ 3988411 w 13797425"/>
                <a:gd name="connsiteY9782" fmla="*/ 6947552 h 17966907"/>
                <a:gd name="connsiteX9783" fmla="*/ 3978881 w 13797425"/>
                <a:gd name="connsiteY9783" fmla="*/ 6961847 h 17966907"/>
                <a:gd name="connsiteX9784" fmla="*/ 3974116 w 13797425"/>
                <a:gd name="connsiteY9784" fmla="*/ 6976142 h 17966907"/>
                <a:gd name="connsiteX9785" fmla="*/ 3969350 w 13797425"/>
                <a:gd name="connsiteY9785" fmla="*/ 7004733 h 17966907"/>
                <a:gd name="connsiteX9786" fmla="*/ 3955055 w 13797425"/>
                <a:gd name="connsiteY9786" fmla="*/ 7028559 h 17966907"/>
                <a:gd name="connsiteX9787" fmla="*/ 3950290 w 13797425"/>
                <a:gd name="connsiteY9787" fmla="*/ 7028559 h 17966907"/>
                <a:gd name="connsiteX9788" fmla="*/ 3883578 w 13797425"/>
                <a:gd name="connsiteY9788" fmla="*/ 6985673 h 17966907"/>
                <a:gd name="connsiteX9789" fmla="*/ 3831162 w 13797425"/>
                <a:gd name="connsiteY9789" fmla="*/ 6904666 h 17966907"/>
                <a:gd name="connsiteX9790" fmla="*/ 3773980 w 13797425"/>
                <a:gd name="connsiteY9790" fmla="*/ 6918961 h 17966907"/>
                <a:gd name="connsiteX9791" fmla="*/ 3750155 w 13797425"/>
                <a:gd name="connsiteY9791" fmla="*/ 6914196 h 17966907"/>
                <a:gd name="connsiteX9792" fmla="*/ 3673913 w 13797425"/>
                <a:gd name="connsiteY9792" fmla="*/ 6885605 h 17966907"/>
                <a:gd name="connsiteX9793" fmla="*/ 3659617 w 13797425"/>
                <a:gd name="connsiteY9793" fmla="*/ 6871310 h 17966907"/>
                <a:gd name="connsiteX9794" fmla="*/ 3654852 w 13797425"/>
                <a:gd name="connsiteY9794" fmla="*/ 6847484 h 17966907"/>
                <a:gd name="connsiteX9795" fmla="*/ 3654852 w 13797425"/>
                <a:gd name="connsiteY9795" fmla="*/ 6833189 h 17966907"/>
                <a:gd name="connsiteX9796" fmla="*/ 3659617 w 13797425"/>
                <a:gd name="connsiteY9796" fmla="*/ 6818893 h 17966907"/>
                <a:gd name="connsiteX9797" fmla="*/ 3669147 w 13797425"/>
                <a:gd name="connsiteY9797" fmla="*/ 6795068 h 17966907"/>
                <a:gd name="connsiteX9798" fmla="*/ 3688208 w 13797425"/>
                <a:gd name="connsiteY9798" fmla="*/ 6752182 h 17966907"/>
                <a:gd name="connsiteX9799" fmla="*/ 3697738 w 13797425"/>
                <a:gd name="connsiteY9799" fmla="*/ 6737886 h 17966907"/>
                <a:gd name="connsiteX9800" fmla="*/ 3712034 w 13797425"/>
                <a:gd name="connsiteY9800" fmla="*/ 6728356 h 17966907"/>
                <a:gd name="connsiteX9801" fmla="*/ 3726329 w 13797425"/>
                <a:gd name="connsiteY9801" fmla="*/ 6718826 h 17966907"/>
                <a:gd name="connsiteX9802" fmla="*/ 3769215 w 13797425"/>
                <a:gd name="connsiteY9802" fmla="*/ 6714060 h 17966907"/>
                <a:gd name="connsiteX9803" fmla="*/ 3874048 w 13797425"/>
                <a:gd name="connsiteY9803" fmla="*/ 6714060 h 17966907"/>
                <a:gd name="connsiteX9804" fmla="*/ 3893108 w 13797425"/>
                <a:gd name="connsiteY9804" fmla="*/ 6709295 h 17966907"/>
                <a:gd name="connsiteX9805" fmla="*/ 4007471 w 13797425"/>
                <a:gd name="connsiteY9805" fmla="*/ 6628288 h 17966907"/>
                <a:gd name="connsiteX9806" fmla="*/ 4021767 w 13797425"/>
                <a:gd name="connsiteY9806" fmla="*/ 6618758 h 17966907"/>
                <a:gd name="connsiteX9807" fmla="*/ 4040827 w 13797425"/>
                <a:gd name="connsiteY9807" fmla="*/ 6590167 h 17966907"/>
                <a:gd name="connsiteX9808" fmla="*/ 4045592 w 13797425"/>
                <a:gd name="connsiteY9808" fmla="*/ 6580637 h 17966907"/>
                <a:gd name="connsiteX9809" fmla="*/ 4045592 w 13797425"/>
                <a:gd name="connsiteY9809" fmla="*/ 6575872 h 17966907"/>
                <a:gd name="connsiteX9810" fmla="*/ 3902639 w 13797425"/>
                <a:gd name="connsiteY9810" fmla="*/ 6637818 h 17966907"/>
                <a:gd name="connsiteX9811" fmla="*/ 3840692 w 13797425"/>
                <a:gd name="connsiteY9811" fmla="*/ 6652114 h 17966907"/>
                <a:gd name="connsiteX9812" fmla="*/ 3745389 w 13797425"/>
                <a:gd name="connsiteY9812" fmla="*/ 6642584 h 17966907"/>
                <a:gd name="connsiteX9813" fmla="*/ 3726329 w 13797425"/>
                <a:gd name="connsiteY9813" fmla="*/ 6633053 h 17966907"/>
                <a:gd name="connsiteX9814" fmla="*/ 3726329 w 13797425"/>
                <a:gd name="connsiteY9814" fmla="*/ 6613993 h 17966907"/>
                <a:gd name="connsiteX9815" fmla="*/ 3745389 w 13797425"/>
                <a:gd name="connsiteY9815" fmla="*/ 6566342 h 17966907"/>
                <a:gd name="connsiteX9816" fmla="*/ 3754920 w 13797425"/>
                <a:gd name="connsiteY9816" fmla="*/ 6547281 h 17966907"/>
                <a:gd name="connsiteX9817" fmla="*/ 3778745 w 13797425"/>
                <a:gd name="connsiteY9817" fmla="*/ 6532986 h 17966907"/>
                <a:gd name="connsiteX9818" fmla="*/ 3845457 w 13797425"/>
                <a:gd name="connsiteY9818" fmla="*/ 6509160 h 17966907"/>
                <a:gd name="connsiteX9819" fmla="*/ 3931229 w 13797425"/>
                <a:gd name="connsiteY9819" fmla="*/ 6490105 h 17966907"/>
                <a:gd name="connsiteX9820" fmla="*/ 3988411 w 13797425"/>
                <a:gd name="connsiteY9820" fmla="*/ 6490105 h 17966907"/>
                <a:gd name="connsiteX9821" fmla="*/ 4036062 w 13797425"/>
                <a:gd name="connsiteY9821" fmla="*/ 6471043 h 17966907"/>
                <a:gd name="connsiteX9822" fmla="*/ 4064653 w 13797425"/>
                <a:gd name="connsiteY9822" fmla="*/ 6451984 h 17966907"/>
                <a:gd name="connsiteX9823" fmla="*/ 3969350 w 13797425"/>
                <a:gd name="connsiteY9823" fmla="*/ 6456748 h 17966907"/>
                <a:gd name="connsiteX9824" fmla="*/ 3854987 w 13797425"/>
                <a:gd name="connsiteY9824" fmla="*/ 6461515 h 17966907"/>
                <a:gd name="connsiteX9825" fmla="*/ 3835927 w 13797425"/>
                <a:gd name="connsiteY9825" fmla="*/ 6456748 h 17966907"/>
                <a:gd name="connsiteX9826" fmla="*/ 3802571 w 13797425"/>
                <a:gd name="connsiteY9826" fmla="*/ 6432923 h 17966907"/>
                <a:gd name="connsiteX9827" fmla="*/ 3802571 w 13797425"/>
                <a:gd name="connsiteY9827" fmla="*/ 6413862 h 17966907"/>
                <a:gd name="connsiteX9828" fmla="*/ 3816866 w 13797425"/>
                <a:gd name="connsiteY9828" fmla="*/ 6390038 h 17966907"/>
                <a:gd name="connsiteX9829" fmla="*/ 3821631 w 13797425"/>
                <a:gd name="connsiteY9829" fmla="*/ 6375742 h 17966907"/>
                <a:gd name="connsiteX9830" fmla="*/ 3812101 w 13797425"/>
                <a:gd name="connsiteY9830" fmla="*/ 6337621 h 17966907"/>
                <a:gd name="connsiteX9831" fmla="*/ 3812101 w 13797425"/>
                <a:gd name="connsiteY9831" fmla="*/ 6323325 h 17966907"/>
                <a:gd name="connsiteX9832" fmla="*/ 3835927 w 13797425"/>
                <a:gd name="connsiteY9832" fmla="*/ 6294734 h 17966907"/>
                <a:gd name="connsiteX9833" fmla="*/ 3874048 w 13797425"/>
                <a:gd name="connsiteY9833" fmla="*/ 6261380 h 17966907"/>
                <a:gd name="connsiteX9834" fmla="*/ 3897874 w 13797425"/>
                <a:gd name="connsiteY9834" fmla="*/ 6256613 h 17966907"/>
                <a:gd name="connsiteX9835" fmla="*/ 3940760 w 13797425"/>
                <a:gd name="connsiteY9835" fmla="*/ 6266144 h 17966907"/>
                <a:gd name="connsiteX9836" fmla="*/ 4069418 w 13797425"/>
                <a:gd name="connsiteY9836" fmla="*/ 6280440 h 17966907"/>
                <a:gd name="connsiteX9837" fmla="*/ 4098009 w 13797425"/>
                <a:gd name="connsiteY9837" fmla="*/ 6275673 h 17966907"/>
                <a:gd name="connsiteX9838" fmla="*/ 4078948 w 13797425"/>
                <a:gd name="connsiteY9838" fmla="*/ 6261380 h 17966907"/>
                <a:gd name="connsiteX9839" fmla="*/ 4059888 w 13797425"/>
                <a:gd name="connsiteY9839" fmla="*/ 6247084 h 17966907"/>
                <a:gd name="connsiteX9840" fmla="*/ 3959820 w 13797425"/>
                <a:gd name="connsiteY9840" fmla="*/ 6232789 h 17966907"/>
                <a:gd name="connsiteX9841" fmla="*/ 3935995 w 13797425"/>
                <a:gd name="connsiteY9841" fmla="*/ 6223259 h 17966907"/>
                <a:gd name="connsiteX9842" fmla="*/ 3935995 w 13797425"/>
                <a:gd name="connsiteY9842" fmla="*/ 6208963 h 17966907"/>
                <a:gd name="connsiteX9843" fmla="*/ 3931229 w 13797425"/>
                <a:gd name="connsiteY9843" fmla="*/ 6194667 h 17966907"/>
                <a:gd name="connsiteX9844" fmla="*/ 3931229 w 13797425"/>
                <a:gd name="connsiteY9844" fmla="*/ 6170842 h 17966907"/>
                <a:gd name="connsiteX9845" fmla="*/ 3940760 w 13797425"/>
                <a:gd name="connsiteY9845" fmla="*/ 6147015 h 17966907"/>
                <a:gd name="connsiteX9846" fmla="*/ 3969350 w 13797425"/>
                <a:gd name="connsiteY9846" fmla="*/ 6099366 h 17966907"/>
                <a:gd name="connsiteX9847" fmla="*/ 4064653 w 13797425"/>
                <a:gd name="connsiteY9847" fmla="*/ 6061245 h 17966907"/>
                <a:gd name="connsiteX9848" fmla="*/ 4098009 w 13797425"/>
                <a:gd name="connsiteY9848" fmla="*/ 6056478 h 17966907"/>
                <a:gd name="connsiteX9849" fmla="*/ 4136130 w 13797425"/>
                <a:gd name="connsiteY9849" fmla="*/ 6056478 h 17966907"/>
                <a:gd name="connsiteX9850" fmla="*/ 4169486 w 13797425"/>
                <a:gd name="connsiteY9850" fmla="*/ 6075538 h 17966907"/>
                <a:gd name="connsiteX9851" fmla="*/ 4188546 w 13797425"/>
                <a:gd name="connsiteY9851" fmla="*/ 6089834 h 17966907"/>
                <a:gd name="connsiteX9852" fmla="*/ 4198077 w 13797425"/>
                <a:gd name="connsiteY9852" fmla="*/ 6108893 h 17966907"/>
                <a:gd name="connsiteX9853" fmla="*/ 4202842 w 13797425"/>
                <a:gd name="connsiteY9853" fmla="*/ 6127955 h 17966907"/>
                <a:gd name="connsiteX9854" fmla="*/ 4202842 w 13797425"/>
                <a:gd name="connsiteY9854" fmla="*/ 6156547 h 17966907"/>
                <a:gd name="connsiteX9855" fmla="*/ 4202842 w 13797425"/>
                <a:gd name="connsiteY9855" fmla="*/ 6170842 h 17966907"/>
                <a:gd name="connsiteX9856" fmla="*/ 4207607 w 13797425"/>
                <a:gd name="connsiteY9856" fmla="*/ 6189903 h 17966907"/>
                <a:gd name="connsiteX9857" fmla="*/ 4231432 w 13797425"/>
                <a:gd name="connsiteY9857" fmla="*/ 6237553 h 17966907"/>
                <a:gd name="connsiteX9858" fmla="*/ 4245728 w 13797425"/>
                <a:gd name="connsiteY9858" fmla="*/ 6251849 h 17966907"/>
                <a:gd name="connsiteX9859" fmla="*/ 4317205 w 13797425"/>
                <a:gd name="connsiteY9859" fmla="*/ 6223259 h 17966907"/>
                <a:gd name="connsiteX9860" fmla="*/ 4350561 w 13797425"/>
                <a:gd name="connsiteY9860" fmla="*/ 6218492 h 17966907"/>
                <a:gd name="connsiteX9861" fmla="*/ 4379152 w 13797425"/>
                <a:gd name="connsiteY9861" fmla="*/ 6228023 h 17966907"/>
                <a:gd name="connsiteX9862" fmla="*/ 4422038 w 13797425"/>
                <a:gd name="connsiteY9862" fmla="*/ 6256613 h 17966907"/>
                <a:gd name="connsiteX9863" fmla="*/ 4479219 w 13797425"/>
                <a:gd name="connsiteY9863" fmla="*/ 6342386 h 17966907"/>
                <a:gd name="connsiteX9864" fmla="*/ 4550696 w 13797425"/>
                <a:gd name="connsiteY9864" fmla="*/ 6428158 h 17966907"/>
                <a:gd name="connsiteX9865" fmla="*/ 4550696 w 13797425"/>
                <a:gd name="connsiteY9865" fmla="*/ 6442455 h 17966907"/>
                <a:gd name="connsiteX9866" fmla="*/ 4522105 w 13797425"/>
                <a:gd name="connsiteY9866" fmla="*/ 6471043 h 17966907"/>
                <a:gd name="connsiteX9867" fmla="*/ 4517340 w 13797425"/>
                <a:gd name="connsiteY9867" fmla="*/ 6485339 h 17966907"/>
                <a:gd name="connsiteX9868" fmla="*/ 4522105 w 13797425"/>
                <a:gd name="connsiteY9868" fmla="*/ 6494869 h 17966907"/>
                <a:gd name="connsiteX9869" fmla="*/ 4550696 w 13797425"/>
                <a:gd name="connsiteY9869" fmla="*/ 6499636 h 17966907"/>
                <a:gd name="connsiteX9870" fmla="*/ 4574522 w 13797425"/>
                <a:gd name="connsiteY9870" fmla="*/ 6494869 h 17966907"/>
                <a:gd name="connsiteX9871" fmla="*/ 4603112 w 13797425"/>
                <a:gd name="connsiteY9871" fmla="*/ 6499636 h 17966907"/>
                <a:gd name="connsiteX9872" fmla="*/ 4607878 w 13797425"/>
                <a:gd name="connsiteY9872" fmla="*/ 6509160 h 17966907"/>
                <a:gd name="connsiteX9873" fmla="*/ 4617408 w 13797425"/>
                <a:gd name="connsiteY9873" fmla="*/ 6537751 h 17966907"/>
                <a:gd name="connsiteX9874" fmla="*/ 4626938 w 13797425"/>
                <a:gd name="connsiteY9874" fmla="*/ 6594932 h 17966907"/>
                <a:gd name="connsiteX9875" fmla="*/ 4645999 w 13797425"/>
                <a:gd name="connsiteY9875" fmla="*/ 6633053 h 17966907"/>
                <a:gd name="connsiteX9876" fmla="*/ 4660294 w 13797425"/>
                <a:gd name="connsiteY9876" fmla="*/ 6661644 h 17966907"/>
                <a:gd name="connsiteX9877" fmla="*/ 4679355 w 13797425"/>
                <a:gd name="connsiteY9877" fmla="*/ 6675939 h 17966907"/>
                <a:gd name="connsiteX9878" fmla="*/ 4703180 w 13797425"/>
                <a:gd name="connsiteY9878" fmla="*/ 6675939 h 17966907"/>
                <a:gd name="connsiteX9879" fmla="*/ 4731771 w 13797425"/>
                <a:gd name="connsiteY9879" fmla="*/ 6666409 h 17966907"/>
                <a:gd name="connsiteX9880" fmla="*/ 4769892 w 13797425"/>
                <a:gd name="connsiteY9880" fmla="*/ 6671174 h 17966907"/>
                <a:gd name="connsiteX9881" fmla="*/ 4984323 w 13797425"/>
                <a:gd name="connsiteY9881" fmla="*/ 6699765 h 17966907"/>
                <a:gd name="connsiteX9882" fmla="*/ 4998618 w 13797425"/>
                <a:gd name="connsiteY9882" fmla="*/ 6695000 h 17966907"/>
                <a:gd name="connsiteX9883" fmla="*/ 5008148 w 13797425"/>
                <a:gd name="connsiteY9883" fmla="*/ 6675939 h 17966907"/>
                <a:gd name="connsiteX9884" fmla="*/ 5012914 w 13797425"/>
                <a:gd name="connsiteY9884" fmla="*/ 6652114 h 17966907"/>
                <a:gd name="connsiteX9885" fmla="*/ 5017679 w 13797425"/>
                <a:gd name="connsiteY9885" fmla="*/ 6628288 h 17966907"/>
                <a:gd name="connsiteX9886" fmla="*/ 5012914 w 13797425"/>
                <a:gd name="connsiteY9886" fmla="*/ 6594932 h 17966907"/>
                <a:gd name="connsiteX9887" fmla="*/ 5008148 w 13797425"/>
                <a:gd name="connsiteY9887" fmla="*/ 6580637 h 17966907"/>
                <a:gd name="connsiteX9888" fmla="*/ 4874725 w 13797425"/>
                <a:gd name="connsiteY9888" fmla="*/ 6475811 h 17966907"/>
                <a:gd name="connsiteX9889" fmla="*/ 4865194 w 13797425"/>
                <a:gd name="connsiteY9889" fmla="*/ 6432923 h 17966907"/>
                <a:gd name="connsiteX9890" fmla="*/ 4927141 w 13797425"/>
                <a:gd name="connsiteY9890" fmla="*/ 6375742 h 17966907"/>
                <a:gd name="connsiteX9891" fmla="*/ 4931906 w 13797425"/>
                <a:gd name="connsiteY9891" fmla="*/ 6361445 h 17966907"/>
                <a:gd name="connsiteX9892" fmla="*/ 4931906 w 13797425"/>
                <a:gd name="connsiteY9892" fmla="*/ 6342386 h 17966907"/>
                <a:gd name="connsiteX9893" fmla="*/ 4931906 w 13797425"/>
                <a:gd name="connsiteY9893" fmla="*/ 6318561 h 17966907"/>
                <a:gd name="connsiteX9894" fmla="*/ 4922376 w 13797425"/>
                <a:gd name="connsiteY9894" fmla="*/ 6294734 h 17966907"/>
                <a:gd name="connsiteX9895" fmla="*/ 4889020 w 13797425"/>
                <a:gd name="connsiteY9895" fmla="*/ 6247084 h 17966907"/>
                <a:gd name="connsiteX9896" fmla="*/ 4855664 w 13797425"/>
                <a:gd name="connsiteY9896" fmla="*/ 6242319 h 17966907"/>
                <a:gd name="connsiteX9897" fmla="*/ 4812778 w 13797425"/>
                <a:gd name="connsiteY9897" fmla="*/ 6199432 h 17966907"/>
                <a:gd name="connsiteX9898" fmla="*/ 4803248 w 13797425"/>
                <a:gd name="connsiteY9898" fmla="*/ 6185136 h 17966907"/>
                <a:gd name="connsiteX9899" fmla="*/ 4798483 w 13797425"/>
                <a:gd name="connsiteY9899" fmla="*/ 6170842 h 17966907"/>
                <a:gd name="connsiteX9900" fmla="*/ 4793718 w 13797425"/>
                <a:gd name="connsiteY9900" fmla="*/ 6147015 h 17966907"/>
                <a:gd name="connsiteX9901" fmla="*/ 4793718 w 13797425"/>
                <a:gd name="connsiteY9901" fmla="*/ 6127955 h 17966907"/>
                <a:gd name="connsiteX9902" fmla="*/ 4803248 w 13797425"/>
                <a:gd name="connsiteY9902" fmla="*/ 6113661 h 17966907"/>
                <a:gd name="connsiteX9903" fmla="*/ 4846134 w 13797425"/>
                <a:gd name="connsiteY9903" fmla="*/ 6070774 h 17966907"/>
                <a:gd name="connsiteX9904" fmla="*/ 4865194 w 13797425"/>
                <a:gd name="connsiteY9904" fmla="*/ 6042184 h 17966907"/>
                <a:gd name="connsiteX9905" fmla="*/ 4922376 w 13797425"/>
                <a:gd name="connsiteY9905" fmla="*/ 5927820 h 17966907"/>
                <a:gd name="connsiteX9906" fmla="*/ 4946202 w 13797425"/>
                <a:gd name="connsiteY9906" fmla="*/ 5880170 h 17966907"/>
                <a:gd name="connsiteX9907" fmla="*/ 4965262 w 13797425"/>
                <a:gd name="connsiteY9907" fmla="*/ 5861109 h 17966907"/>
                <a:gd name="connsiteX9908" fmla="*/ 4984323 w 13797425"/>
                <a:gd name="connsiteY9908" fmla="*/ 5846814 h 17966907"/>
                <a:gd name="connsiteX9909" fmla="*/ 7943467 w 13797425"/>
                <a:gd name="connsiteY9909" fmla="*/ 5832518 h 17966907"/>
                <a:gd name="connsiteX9910" fmla="*/ 7976823 w 13797425"/>
                <a:gd name="connsiteY9910" fmla="*/ 5832518 h 17966907"/>
                <a:gd name="connsiteX9911" fmla="*/ 8000649 w 13797425"/>
                <a:gd name="connsiteY9911" fmla="*/ 5865875 h 17966907"/>
                <a:gd name="connsiteX9912" fmla="*/ 8010179 w 13797425"/>
                <a:gd name="connsiteY9912" fmla="*/ 5880170 h 17966907"/>
                <a:gd name="connsiteX9913" fmla="*/ 8014944 w 13797425"/>
                <a:gd name="connsiteY9913" fmla="*/ 5894463 h 17966907"/>
                <a:gd name="connsiteX9914" fmla="*/ 8014944 w 13797425"/>
                <a:gd name="connsiteY9914" fmla="*/ 5908759 h 17966907"/>
                <a:gd name="connsiteX9915" fmla="*/ 8014944 w 13797425"/>
                <a:gd name="connsiteY9915" fmla="*/ 5923054 h 17966907"/>
                <a:gd name="connsiteX9916" fmla="*/ 8000649 w 13797425"/>
                <a:gd name="connsiteY9916" fmla="*/ 5951644 h 17966907"/>
                <a:gd name="connsiteX9917" fmla="*/ 7995883 w 13797425"/>
                <a:gd name="connsiteY9917" fmla="*/ 5970705 h 17966907"/>
                <a:gd name="connsiteX9918" fmla="*/ 7995883 w 13797425"/>
                <a:gd name="connsiteY9918" fmla="*/ 5989767 h 17966907"/>
                <a:gd name="connsiteX9919" fmla="*/ 7995883 w 13797425"/>
                <a:gd name="connsiteY9919" fmla="*/ 6018357 h 17966907"/>
                <a:gd name="connsiteX9920" fmla="*/ 8000649 w 13797425"/>
                <a:gd name="connsiteY9920" fmla="*/ 6037418 h 17966907"/>
                <a:gd name="connsiteX9921" fmla="*/ 8010179 w 13797425"/>
                <a:gd name="connsiteY9921" fmla="*/ 6042184 h 17966907"/>
                <a:gd name="connsiteX9922" fmla="*/ 8010179 w 13797425"/>
                <a:gd name="connsiteY9922" fmla="*/ 6051713 h 17966907"/>
                <a:gd name="connsiteX9923" fmla="*/ 8000649 w 13797425"/>
                <a:gd name="connsiteY9923" fmla="*/ 6061245 h 17966907"/>
                <a:gd name="connsiteX9924" fmla="*/ 7976823 w 13797425"/>
                <a:gd name="connsiteY9924" fmla="*/ 6056478 h 17966907"/>
                <a:gd name="connsiteX9925" fmla="*/ 7972058 w 13797425"/>
                <a:gd name="connsiteY9925" fmla="*/ 6066009 h 17966907"/>
                <a:gd name="connsiteX9926" fmla="*/ 7957762 w 13797425"/>
                <a:gd name="connsiteY9926" fmla="*/ 6061245 h 17966907"/>
                <a:gd name="connsiteX9927" fmla="*/ 7943467 w 13797425"/>
                <a:gd name="connsiteY9927" fmla="*/ 6042184 h 17966907"/>
                <a:gd name="connsiteX9928" fmla="*/ 7919641 w 13797425"/>
                <a:gd name="connsiteY9928" fmla="*/ 6004061 h 17966907"/>
                <a:gd name="connsiteX9929" fmla="*/ 7900581 w 13797425"/>
                <a:gd name="connsiteY9929" fmla="*/ 5946883 h 17966907"/>
                <a:gd name="connsiteX9930" fmla="*/ 7881520 w 13797425"/>
                <a:gd name="connsiteY9930" fmla="*/ 5899231 h 17966907"/>
                <a:gd name="connsiteX9931" fmla="*/ 7881520 w 13797425"/>
                <a:gd name="connsiteY9931" fmla="*/ 5884934 h 17966907"/>
                <a:gd name="connsiteX9932" fmla="*/ 7886285 w 13797425"/>
                <a:gd name="connsiteY9932" fmla="*/ 5865875 h 17966907"/>
                <a:gd name="connsiteX9933" fmla="*/ 7905346 w 13797425"/>
                <a:gd name="connsiteY9933" fmla="*/ 5846814 h 17966907"/>
                <a:gd name="connsiteX9934" fmla="*/ 4236197 w 13797425"/>
                <a:gd name="connsiteY9934" fmla="*/ 5789633 h 17966907"/>
                <a:gd name="connsiteX9935" fmla="*/ 4264788 w 13797425"/>
                <a:gd name="connsiteY9935" fmla="*/ 5803928 h 17966907"/>
                <a:gd name="connsiteX9936" fmla="*/ 4283849 w 13797425"/>
                <a:gd name="connsiteY9936" fmla="*/ 5822987 h 17966907"/>
                <a:gd name="connsiteX9937" fmla="*/ 4293379 w 13797425"/>
                <a:gd name="connsiteY9937" fmla="*/ 5837282 h 17966907"/>
                <a:gd name="connsiteX9938" fmla="*/ 4298144 w 13797425"/>
                <a:gd name="connsiteY9938" fmla="*/ 5865875 h 17966907"/>
                <a:gd name="connsiteX9939" fmla="*/ 4288614 w 13797425"/>
                <a:gd name="connsiteY9939" fmla="*/ 5894463 h 17966907"/>
                <a:gd name="connsiteX9940" fmla="*/ 4264788 w 13797425"/>
                <a:gd name="connsiteY9940" fmla="*/ 5918290 h 17966907"/>
                <a:gd name="connsiteX9941" fmla="*/ 4102773 w 13797425"/>
                <a:gd name="connsiteY9941" fmla="*/ 5884934 h 17966907"/>
                <a:gd name="connsiteX9942" fmla="*/ 4093243 w 13797425"/>
                <a:gd name="connsiteY9942" fmla="*/ 5875406 h 17966907"/>
                <a:gd name="connsiteX9943" fmla="*/ 4088478 w 13797425"/>
                <a:gd name="connsiteY9943" fmla="*/ 5861109 h 17966907"/>
                <a:gd name="connsiteX9944" fmla="*/ 4117069 w 13797425"/>
                <a:gd name="connsiteY9944" fmla="*/ 5818222 h 17966907"/>
                <a:gd name="connsiteX9945" fmla="*/ 4155190 w 13797425"/>
                <a:gd name="connsiteY9945" fmla="*/ 5803928 h 17966907"/>
                <a:gd name="connsiteX9946" fmla="*/ 7052387 w 13797425"/>
                <a:gd name="connsiteY9946" fmla="*/ 5670502 h 17966907"/>
                <a:gd name="connsiteX9947" fmla="*/ 7085743 w 13797425"/>
                <a:gd name="connsiteY9947" fmla="*/ 5675267 h 17966907"/>
                <a:gd name="connsiteX9948" fmla="*/ 7166750 w 13797425"/>
                <a:gd name="connsiteY9948" fmla="*/ 5703860 h 17966907"/>
                <a:gd name="connsiteX9949" fmla="*/ 7247758 w 13797425"/>
                <a:gd name="connsiteY9949" fmla="*/ 5746745 h 17966907"/>
                <a:gd name="connsiteX9950" fmla="*/ 7295409 w 13797425"/>
                <a:gd name="connsiteY9950" fmla="*/ 5780101 h 17966907"/>
                <a:gd name="connsiteX9951" fmla="*/ 7324000 w 13797425"/>
                <a:gd name="connsiteY9951" fmla="*/ 5784865 h 17966907"/>
                <a:gd name="connsiteX9952" fmla="*/ 7352590 w 13797425"/>
                <a:gd name="connsiteY9952" fmla="*/ 5775337 h 17966907"/>
                <a:gd name="connsiteX9953" fmla="*/ 7371651 w 13797425"/>
                <a:gd name="connsiteY9953" fmla="*/ 5775337 h 17966907"/>
                <a:gd name="connsiteX9954" fmla="*/ 7405007 w 13797425"/>
                <a:gd name="connsiteY9954" fmla="*/ 5803926 h 17966907"/>
                <a:gd name="connsiteX9955" fmla="*/ 7433598 w 13797425"/>
                <a:gd name="connsiteY9955" fmla="*/ 5846814 h 17966907"/>
                <a:gd name="connsiteX9956" fmla="*/ 7457423 w 13797425"/>
                <a:gd name="connsiteY9956" fmla="*/ 5865874 h 17966907"/>
                <a:gd name="connsiteX9957" fmla="*/ 7462188 w 13797425"/>
                <a:gd name="connsiteY9957" fmla="*/ 5875403 h 17966907"/>
                <a:gd name="connsiteX9958" fmla="*/ 7466954 w 13797425"/>
                <a:gd name="connsiteY9958" fmla="*/ 5884934 h 17966907"/>
                <a:gd name="connsiteX9959" fmla="*/ 7466954 w 13797425"/>
                <a:gd name="connsiteY9959" fmla="*/ 5918290 h 17966907"/>
                <a:gd name="connsiteX9960" fmla="*/ 7466954 w 13797425"/>
                <a:gd name="connsiteY9960" fmla="*/ 5932587 h 17966907"/>
                <a:gd name="connsiteX9961" fmla="*/ 7466954 w 13797425"/>
                <a:gd name="connsiteY9961" fmla="*/ 5946880 h 17966907"/>
                <a:gd name="connsiteX9962" fmla="*/ 7457423 w 13797425"/>
                <a:gd name="connsiteY9962" fmla="*/ 5975472 h 17966907"/>
                <a:gd name="connsiteX9963" fmla="*/ 7447893 w 13797425"/>
                <a:gd name="connsiteY9963" fmla="*/ 6008828 h 17966907"/>
                <a:gd name="connsiteX9964" fmla="*/ 7433598 w 13797425"/>
                <a:gd name="connsiteY9964" fmla="*/ 6037416 h 17966907"/>
                <a:gd name="connsiteX9965" fmla="*/ 7424067 w 13797425"/>
                <a:gd name="connsiteY9965" fmla="*/ 6066009 h 17966907"/>
                <a:gd name="connsiteX9966" fmla="*/ 7414537 w 13797425"/>
                <a:gd name="connsiteY9966" fmla="*/ 6094599 h 17966907"/>
                <a:gd name="connsiteX9967" fmla="*/ 7433598 w 13797425"/>
                <a:gd name="connsiteY9967" fmla="*/ 6075538 h 17966907"/>
                <a:gd name="connsiteX9968" fmla="*/ 7500309 w 13797425"/>
                <a:gd name="connsiteY9968" fmla="*/ 5975472 h 17966907"/>
                <a:gd name="connsiteX9969" fmla="*/ 7543196 w 13797425"/>
                <a:gd name="connsiteY9969" fmla="*/ 5989767 h 17966907"/>
                <a:gd name="connsiteX9970" fmla="*/ 7609907 w 13797425"/>
                <a:gd name="connsiteY9970" fmla="*/ 5980235 h 17966907"/>
                <a:gd name="connsiteX9971" fmla="*/ 7686149 w 13797425"/>
                <a:gd name="connsiteY9971" fmla="*/ 5937351 h 17966907"/>
                <a:gd name="connsiteX9972" fmla="*/ 7724270 w 13797425"/>
                <a:gd name="connsiteY9972" fmla="*/ 5932587 h 17966907"/>
                <a:gd name="connsiteX9973" fmla="*/ 7762392 w 13797425"/>
                <a:gd name="connsiteY9973" fmla="*/ 5937351 h 17966907"/>
                <a:gd name="connsiteX9974" fmla="*/ 7790982 w 13797425"/>
                <a:gd name="connsiteY9974" fmla="*/ 5951644 h 17966907"/>
                <a:gd name="connsiteX9975" fmla="*/ 7852929 w 13797425"/>
                <a:gd name="connsiteY9975" fmla="*/ 6004061 h 17966907"/>
                <a:gd name="connsiteX9976" fmla="*/ 7871989 w 13797425"/>
                <a:gd name="connsiteY9976" fmla="*/ 6027886 h 17966907"/>
                <a:gd name="connsiteX9977" fmla="*/ 7881520 w 13797425"/>
                <a:gd name="connsiteY9977" fmla="*/ 6046948 h 17966907"/>
                <a:gd name="connsiteX9978" fmla="*/ 7881520 w 13797425"/>
                <a:gd name="connsiteY9978" fmla="*/ 6061242 h 17966907"/>
                <a:gd name="connsiteX9979" fmla="*/ 7871989 w 13797425"/>
                <a:gd name="connsiteY9979" fmla="*/ 6080303 h 17966907"/>
                <a:gd name="connsiteX9980" fmla="*/ 7833868 w 13797425"/>
                <a:gd name="connsiteY9980" fmla="*/ 6070774 h 17966907"/>
                <a:gd name="connsiteX9981" fmla="*/ 7771922 w 13797425"/>
                <a:gd name="connsiteY9981" fmla="*/ 6056478 h 17966907"/>
                <a:gd name="connsiteX9982" fmla="*/ 7757626 w 13797425"/>
                <a:gd name="connsiteY9982" fmla="*/ 6051713 h 17966907"/>
                <a:gd name="connsiteX9983" fmla="*/ 7748096 w 13797425"/>
                <a:gd name="connsiteY9983" fmla="*/ 6051713 h 17966907"/>
                <a:gd name="connsiteX9984" fmla="*/ 7743331 w 13797425"/>
                <a:gd name="connsiteY9984" fmla="*/ 6061242 h 17966907"/>
                <a:gd name="connsiteX9985" fmla="*/ 7748096 w 13797425"/>
                <a:gd name="connsiteY9985" fmla="*/ 6089834 h 17966907"/>
                <a:gd name="connsiteX9986" fmla="*/ 7757626 w 13797425"/>
                <a:gd name="connsiteY9986" fmla="*/ 6094599 h 17966907"/>
                <a:gd name="connsiteX9987" fmla="*/ 7833868 w 13797425"/>
                <a:gd name="connsiteY9987" fmla="*/ 6099366 h 17966907"/>
                <a:gd name="connsiteX9988" fmla="*/ 8076890 w 13797425"/>
                <a:gd name="connsiteY9988" fmla="*/ 6189903 h 17966907"/>
                <a:gd name="connsiteX9989" fmla="*/ 8091185 w 13797425"/>
                <a:gd name="connsiteY9989" fmla="*/ 6218492 h 17966907"/>
                <a:gd name="connsiteX9990" fmla="*/ 8086420 w 13797425"/>
                <a:gd name="connsiteY9990" fmla="*/ 6232787 h 17966907"/>
                <a:gd name="connsiteX9991" fmla="*/ 8076890 w 13797425"/>
                <a:gd name="connsiteY9991" fmla="*/ 6247084 h 17966907"/>
                <a:gd name="connsiteX9992" fmla="*/ 8057830 w 13797425"/>
                <a:gd name="connsiteY9992" fmla="*/ 6266144 h 17966907"/>
                <a:gd name="connsiteX9993" fmla="*/ 7919641 w 13797425"/>
                <a:gd name="connsiteY9993" fmla="*/ 6285204 h 17966907"/>
                <a:gd name="connsiteX9994" fmla="*/ 7838634 w 13797425"/>
                <a:gd name="connsiteY9994" fmla="*/ 6266144 h 17966907"/>
                <a:gd name="connsiteX9995" fmla="*/ 7771922 w 13797425"/>
                <a:gd name="connsiteY9995" fmla="*/ 6237552 h 17966907"/>
                <a:gd name="connsiteX9996" fmla="*/ 7748096 w 13797425"/>
                <a:gd name="connsiteY9996" fmla="*/ 6242319 h 17966907"/>
                <a:gd name="connsiteX9997" fmla="*/ 7767157 w 13797425"/>
                <a:gd name="connsiteY9997" fmla="*/ 6285204 h 17966907"/>
                <a:gd name="connsiteX9998" fmla="*/ 7805278 w 13797425"/>
                <a:gd name="connsiteY9998" fmla="*/ 6294734 h 17966907"/>
                <a:gd name="connsiteX9999" fmla="*/ 7843399 w 13797425"/>
                <a:gd name="connsiteY9999" fmla="*/ 6318561 h 17966907"/>
                <a:gd name="connsiteX10000" fmla="*/ 7857694 w 13797425"/>
                <a:gd name="connsiteY10000" fmla="*/ 6337621 h 17966907"/>
                <a:gd name="connsiteX10001" fmla="*/ 7929171 w 13797425"/>
                <a:gd name="connsiteY10001" fmla="*/ 6351915 h 17966907"/>
                <a:gd name="connsiteX10002" fmla="*/ 7938701 w 13797425"/>
                <a:gd name="connsiteY10002" fmla="*/ 6366211 h 17966907"/>
                <a:gd name="connsiteX10003" fmla="*/ 7962527 w 13797425"/>
                <a:gd name="connsiteY10003" fmla="*/ 6404332 h 17966907"/>
                <a:gd name="connsiteX10004" fmla="*/ 7981587 w 13797425"/>
                <a:gd name="connsiteY10004" fmla="*/ 6409098 h 17966907"/>
                <a:gd name="connsiteX10005" fmla="*/ 8000648 w 13797425"/>
                <a:gd name="connsiteY10005" fmla="*/ 6437688 h 17966907"/>
                <a:gd name="connsiteX10006" fmla="*/ 8014943 w 13797425"/>
                <a:gd name="connsiteY10006" fmla="*/ 6480573 h 17966907"/>
                <a:gd name="connsiteX10007" fmla="*/ 8019708 w 13797425"/>
                <a:gd name="connsiteY10007" fmla="*/ 6485339 h 17966907"/>
                <a:gd name="connsiteX10008" fmla="*/ 8043534 w 13797425"/>
                <a:gd name="connsiteY10008" fmla="*/ 6480573 h 17966907"/>
                <a:gd name="connsiteX10009" fmla="*/ 8081655 w 13797425"/>
                <a:gd name="connsiteY10009" fmla="*/ 6518690 h 17966907"/>
                <a:gd name="connsiteX10010" fmla="*/ 8091185 w 13797425"/>
                <a:gd name="connsiteY10010" fmla="*/ 6537750 h 17966907"/>
                <a:gd name="connsiteX10011" fmla="*/ 8091185 w 13797425"/>
                <a:gd name="connsiteY10011" fmla="*/ 6556811 h 17966907"/>
                <a:gd name="connsiteX10012" fmla="*/ 8081655 w 13797425"/>
                <a:gd name="connsiteY10012" fmla="*/ 6580636 h 17966907"/>
                <a:gd name="connsiteX10013" fmla="*/ 8067360 w 13797425"/>
                <a:gd name="connsiteY10013" fmla="*/ 6613992 h 17966907"/>
                <a:gd name="connsiteX10014" fmla="*/ 8024474 w 13797425"/>
                <a:gd name="connsiteY10014" fmla="*/ 6652113 h 17966907"/>
                <a:gd name="connsiteX10015" fmla="*/ 8024474 w 13797425"/>
                <a:gd name="connsiteY10015" fmla="*/ 6661643 h 17966907"/>
                <a:gd name="connsiteX10016" fmla="*/ 8072125 w 13797425"/>
                <a:gd name="connsiteY10016" fmla="*/ 6656878 h 17966907"/>
                <a:gd name="connsiteX10017" fmla="*/ 8081655 w 13797425"/>
                <a:gd name="connsiteY10017" fmla="*/ 6661643 h 17966907"/>
                <a:gd name="connsiteX10018" fmla="*/ 8134072 w 13797425"/>
                <a:gd name="connsiteY10018" fmla="*/ 6733120 h 17966907"/>
                <a:gd name="connsiteX10019" fmla="*/ 8143602 w 13797425"/>
                <a:gd name="connsiteY10019" fmla="*/ 6733120 h 17966907"/>
                <a:gd name="connsiteX10020" fmla="*/ 8148367 w 13797425"/>
                <a:gd name="connsiteY10020" fmla="*/ 6728355 h 17966907"/>
                <a:gd name="connsiteX10021" fmla="*/ 8153132 w 13797425"/>
                <a:gd name="connsiteY10021" fmla="*/ 6704530 h 17966907"/>
                <a:gd name="connsiteX10022" fmla="*/ 8153132 w 13797425"/>
                <a:gd name="connsiteY10022" fmla="*/ 6680704 h 17966907"/>
                <a:gd name="connsiteX10023" fmla="*/ 8143602 w 13797425"/>
                <a:gd name="connsiteY10023" fmla="*/ 6647348 h 17966907"/>
                <a:gd name="connsiteX10024" fmla="*/ 8148367 w 13797425"/>
                <a:gd name="connsiteY10024" fmla="*/ 6623522 h 17966907"/>
                <a:gd name="connsiteX10025" fmla="*/ 8157897 w 13797425"/>
                <a:gd name="connsiteY10025" fmla="*/ 6613992 h 17966907"/>
                <a:gd name="connsiteX10026" fmla="*/ 8167427 w 13797425"/>
                <a:gd name="connsiteY10026" fmla="*/ 6604462 h 17966907"/>
                <a:gd name="connsiteX10027" fmla="*/ 8176958 w 13797425"/>
                <a:gd name="connsiteY10027" fmla="*/ 6604462 h 17966907"/>
                <a:gd name="connsiteX10028" fmla="*/ 8191253 w 13797425"/>
                <a:gd name="connsiteY10028" fmla="*/ 6613992 h 17966907"/>
                <a:gd name="connsiteX10029" fmla="*/ 8248435 w 13797425"/>
                <a:gd name="connsiteY10029" fmla="*/ 6694999 h 17966907"/>
                <a:gd name="connsiteX10030" fmla="*/ 8319912 w 13797425"/>
                <a:gd name="connsiteY10030" fmla="*/ 6656878 h 17966907"/>
                <a:gd name="connsiteX10031" fmla="*/ 8334207 w 13797425"/>
                <a:gd name="connsiteY10031" fmla="*/ 6675939 h 17966907"/>
                <a:gd name="connsiteX10032" fmla="*/ 8348502 w 13797425"/>
                <a:gd name="connsiteY10032" fmla="*/ 6709295 h 17966907"/>
                <a:gd name="connsiteX10033" fmla="*/ 8353267 w 13797425"/>
                <a:gd name="connsiteY10033" fmla="*/ 6714060 h 17966907"/>
                <a:gd name="connsiteX10034" fmla="*/ 8377093 w 13797425"/>
                <a:gd name="connsiteY10034" fmla="*/ 6647348 h 17966907"/>
                <a:gd name="connsiteX10035" fmla="*/ 8396154 w 13797425"/>
                <a:gd name="connsiteY10035" fmla="*/ 6628288 h 17966907"/>
                <a:gd name="connsiteX10036" fmla="*/ 8462865 w 13797425"/>
                <a:gd name="connsiteY10036" fmla="*/ 6709295 h 17966907"/>
                <a:gd name="connsiteX10037" fmla="*/ 8505752 w 13797425"/>
                <a:gd name="connsiteY10037" fmla="*/ 6728355 h 17966907"/>
                <a:gd name="connsiteX10038" fmla="*/ 8524812 w 13797425"/>
                <a:gd name="connsiteY10038" fmla="*/ 6742650 h 17966907"/>
                <a:gd name="connsiteX10039" fmla="*/ 8553403 w 13797425"/>
                <a:gd name="connsiteY10039" fmla="*/ 6761711 h 17966907"/>
                <a:gd name="connsiteX10040" fmla="*/ 8598672 w 13797425"/>
                <a:gd name="connsiteY10040" fmla="*/ 6771241 h 17966907"/>
                <a:gd name="connsiteX10041" fmla="*/ 8603437 w 13797425"/>
                <a:gd name="connsiteY10041" fmla="*/ 6737885 h 17966907"/>
                <a:gd name="connsiteX10042" fmla="*/ 8579611 w 13797425"/>
                <a:gd name="connsiteY10042" fmla="*/ 6704530 h 17966907"/>
                <a:gd name="connsiteX10043" fmla="*/ 8593906 w 13797425"/>
                <a:gd name="connsiteY10043" fmla="*/ 6685469 h 17966907"/>
                <a:gd name="connsiteX10044" fmla="*/ 8655853 w 13797425"/>
                <a:gd name="connsiteY10044" fmla="*/ 6652113 h 17966907"/>
                <a:gd name="connsiteX10045" fmla="*/ 8689209 w 13797425"/>
                <a:gd name="connsiteY10045" fmla="*/ 6656878 h 17966907"/>
                <a:gd name="connsiteX10046" fmla="*/ 8746390 w 13797425"/>
                <a:gd name="connsiteY10046" fmla="*/ 6613992 h 17966907"/>
                <a:gd name="connsiteX10047" fmla="*/ 8784512 w 13797425"/>
                <a:gd name="connsiteY10047" fmla="*/ 6609227 h 17966907"/>
                <a:gd name="connsiteX10048" fmla="*/ 8808337 w 13797425"/>
                <a:gd name="connsiteY10048" fmla="*/ 6609227 h 17966907"/>
                <a:gd name="connsiteX10049" fmla="*/ 8879814 w 13797425"/>
                <a:gd name="connsiteY10049" fmla="*/ 6537750 h 17966907"/>
                <a:gd name="connsiteX10050" fmla="*/ 8898875 w 13797425"/>
                <a:gd name="connsiteY10050" fmla="*/ 6528220 h 17966907"/>
                <a:gd name="connsiteX10051" fmla="*/ 8913170 w 13797425"/>
                <a:gd name="connsiteY10051" fmla="*/ 6504394 h 17966907"/>
                <a:gd name="connsiteX10052" fmla="*/ 8941761 w 13797425"/>
                <a:gd name="connsiteY10052" fmla="*/ 6504394 h 17966907"/>
                <a:gd name="connsiteX10053" fmla="*/ 9022768 w 13797425"/>
                <a:gd name="connsiteY10053" fmla="*/ 6547280 h 17966907"/>
                <a:gd name="connsiteX10054" fmla="*/ 9041828 w 13797425"/>
                <a:gd name="connsiteY10054" fmla="*/ 6542515 h 17966907"/>
                <a:gd name="connsiteX10055" fmla="*/ 9127601 w 13797425"/>
                <a:gd name="connsiteY10055" fmla="*/ 6504394 h 17966907"/>
                <a:gd name="connsiteX10056" fmla="*/ 9160957 w 13797425"/>
                <a:gd name="connsiteY10056" fmla="*/ 6494869 h 17966907"/>
                <a:gd name="connsiteX10057" fmla="*/ 9189548 w 13797425"/>
                <a:gd name="connsiteY10057" fmla="*/ 6494869 h 17966907"/>
                <a:gd name="connsiteX10058" fmla="*/ 9270555 w 13797425"/>
                <a:gd name="connsiteY10058" fmla="*/ 6518690 h 17966907"/>
                <a:gd name="connsiteX10059" fmla="*/ 9327736 w 13797425"/>
                <a:gd name="connsiteY10059" fmla="*/ 6542515 h 17966907"/>
                <a:gd name="connsiteX10060" fmla="*/ 9346797 w 13797425"/>
                <a:gd name="connsiteY10060" fmla="*/ 6556811 h 17966907"/>
                <a:gd name="connsiteX10061" fmla="*/ 9342032 w 13797425"/>
                <a:gd name="connsiteY10061" fmla="*/ 6590166 h 17966907"/>
                <a:gd name="connsiteX10062" fmla="*/ 9342032 w 13797425"/>
                <a:gd name="connsiteY10062" fmla="*/ 6599697 h 17966907"/>
                <a:gd name="connsiteX10063" fmla="*/ 9351562 w 13797425"/>
                <a:gd name="connsiteY10063" fmla="*/ 6604462 h 17966907"/>
                <a:gd name="connsiteX10064" fmla="*/ 9370622 w 13797425"/>
                <a:gd name="connsiteY10064" fmla="*/ 6613992 h 17966907"/>
                <a:gd name="connsiteX10065" fmla="*/ 9442099 w 13797425"/>
                <a:gd name="connsiteY10065" fmla="*/ 6613992 h 17966907"/>
                <a:gd name="connsiteX10066" fmla="*/ 9475455 w 13797425"/>
                <a:gd name="connsiteY10066" fmla="*/ 6623522 h 17966907"/>
                <a:gd name="connsiteX10067" fmla="*/ 9504046 w 13797425"/>
                <a:gd name="connsiteY10067" fmla="*/ 6652113 h 17966907"/>
                <a:gd name="connsiteX10068" fmla="*/ 9508811 w 13797425"/>
                <a:gd name="connsiteY10068" fmla="*/ 6666408 h 17966907"/>
                <a:gd name="connsiteX10069" fmla="*/ 9508811 w 13797425"/>
                <a:gd name="connsiteY10069" fmla="*/ 6675939 h 17966907"/>
                <a:gd name="connsiteX10070" fmla="*/ 9480220 w 13797425"/>
                <a:gd name="connsiteY10070" fmla="*/ 6709295 h 17966907"/>
                <a:gd name="connsiteX10071" fmla="*/ 9484986 w 13797425"/>
                <a:gd name="connsiteY10071" fmla="*/ 6718825 h 17966907"/>
                <a:gd name="connsiteX10072" fmla="*/ 9508811 w 13797425"/>
                <a:gd name="connsiteY10072" fmla="*/ 6723590 h 17966907"/>
                <a:gd name="connsiteX10073" fmla="*/ 9565992 w 13797425"/>
                <a:gd name="connsiteY10073" fmla="*/ 6728355 h 17966907"/>
                <a:gd name="connsiteX10074" fmla="*/ 9580288 w 13797425"/>
                <a:gd name="connsiteY10074" fmla="*/ 6737885 h 17966907"/>
                <a:gd name="connsiteX10075" fmla="*/ 9589818 w 13797425"/>
                <a:gd name="connsiteY10075" fmla="*/ 6776006 h 17966907"/>
                <a:gd name="connsiteX10076" fmla="*/ 9604114 w 13797425"/>
                <a:gd name="connsiteY10076" fmla="*/ 6833188 h 17966907"/>
                <a:gd name="connsiteX10077" fmla="*/ 9604114 w 13797425"/>
                <a:gd name="connsiteY10077" fmla="*/ 6852248 h 17966907"/>
                <a:gd name="connsiteX10078" fmla="*/ 9585053 w 13797425"/>
                <a:gd name="connsiteY10078" fmla="*/ 6890370 h 17966907"/>
                <a:gd name="connsiteX10079" fmla="*/ 9532637 w 13797425"/>
                <a:gd name="connsiteY10079" fmla="*/ 6938021 h 17966907"/>
                <a:gd name="connsiteX10080" fmla="*/ 9470690 w 13797425"/>
                <a:gd name="connsiteY10080" fmla="*/ 6980907 h 17966907"/>
                <a:gd name="connsiteX10081" fmla="*/ 9465925 w 13797425"/>
                <a:gd name="connsiteY10081" fmla="*/ 6990437 h 17966907"/>
                <a:gd name="connsiteX10082" fmla="*/ 9484986 w 13797425"/>
                <a:gd name="connsiteY10082" fmla="*/ 7009498 h 17966907"/>
                <a:gd name="connsiteX10083" fmla="*/ 9504046 w 13797425"/>
                <a:gd name="connsiteY10083" fmla="*/ 7019028 h 17966907"/>
                <a:gd name="connsiteX10084" fmla="*/ 9523106 w 13797425"/>
                <a:gd name="connsiteY10084" fmla="*/ 7014263 h 17966907"/>
                <a:gd name="connsiteX10085" fmla="*/ 9570758 w 13797425"/>
                <a:gd name="connsiteY10085" fmla="*/ 6999967 h 17966907"/>
                <a:gd name="connsiteX10086" fmla="*/ 9580288 w 13797425"/>
                <a:gd name="connsiteY10086" fmla="*/ 6999967 h 17966907"/>
                <a:gd name="connsiteX10087" fmla="*/ 9599348 w 13797425"/>
                <a:gd name="connsiteY10087" fmla="*/ 7019028 h 17966907"/>
                <a:gd name="connsiteX10088" fmla="*/ 9613644 w 13797425"/>
                <a:gd name="connsiteY10088" fmla="*/ 7033323 h 17966907"/>
                <a:gd name="connsiteX10089" fmla="*/ 9618409 w 13797425"/>
                <a:gd name="connsiteY10089" fmla="*/ 7061914 h 17966907"/>
                <a:gd name="connsiteX10090" fmla="*/ 9604114 w 13797425"/>
                <a:gd name="connsiteY10090" fmla="*/ 7080974 h 17966907"/>
                <a:gd name="connsiteX10091" fmla="*/ 9537402 w 13797425"/>
                <a:gd name="connsiteY10091" fmla="*/ 7109565 h 17966907"/>
                <a:gd name="connsiteX10092" fmla="*/ 9494516 w 13797425"/>
                <a:gd name="connsiteY10092" fmla="*/ 7076209 h 17966907"/>
                <a:gd name="connsiteX10093" fmla="*/ 9480220 w 13797425"/>
                <a:gd name="connsiteY10093" fmla="*/ 7066679 h 17966907"/>
                <a:gd name="connsiteX10094" fmla="*/ 9470690 w 13797425"/>
                <a:gd name="connsiteY10094" fmla="*/ 7071444 h 17966907"/>
                <a:gd name="connsiteX10095" fmla="*/ 9475455 w 13797425"/>
                <a:gd name="connsiteY10095" fmla="*/ 7085740 h 17966907"/>
                <a:gd name="connsiteX10096" fmla="*/ 9499281 w 13797425"/>
                <a:gd name="connsiteY10096" fmla="*/ 7114330 h 17966907"/>
                <a:gd name="connsiteX10097" fmla="*/ 9504046 w 13797425"/>
                <a:gd name="connsiteY10097" fmla="*/ 7133391 h 17966907"/>
                <a:gd name="connsiteX10098" fmla="*/ 9494516 w 13797425"/>
                <a:gd name="connsiteY10098" fmla="*/ 7142921 h 17966907"/>
                <a:gd name="connsiteX10099" fmla="*/ 9494516 w 13797425"/>
                <a:gd name="connsiteY10099" fmla="*/ 7161982 h 17966907"/>
                <a:gd name="connsiteX10100" fmla="*/ 9494516 w 13797425"/>
                <a:gd name="connsiteY10100" fmla="*/ 7185807 h 17966907"/>
                <a:gd name="connsiteX10101" fmla="*/ 9494516 w 13797425"/>
                <a:gd name="connsiteY10101" fmla="*/ 7214398 h 17966907"/>
                <a:gd name="connsiteX10102" fmla="*/ 9484986 w 13797425"/>
                <a:gd name="connsiteY10102" fmla="*/ 7257284 h 17966907"/>
                <a:gd name="connsiteX10103" fmla="*/ 9484986 w 13797425"/>
                <a:gd name="connsiteY10103" fmla="*/ 7262049 h 17966907"/>
                <a:gd name="connsiteX10104" fmla="*/ 9337266 w 13797425"/>
                <a:gd name="connsiteY10104" fmla="*/ 7266814 h 17966907"/>
                <a:gd name="connsiteX10105" fmla="*/ 9318206 w 13797425"/>
                <a:gd name="connsiteY10105" fmla="*/ 7276345 h 17966907"/>
                <a:gd name="connsiteX10106" fmla="*/ 9275320 w 13797425"/>
                <a:gd name="connsiteY10106" fmla="*/ 7304936 h 17966907"/>
                <a:gd name="connsiteX10107" fmla="*/ 9241964 w 13797425"/>
                <a:gd name="connsiteY10107" fmla="*/ 7319231 h 17966907"/>
                <a:gd name="connsiteX10108" fmla="*/ 9222903 w 13797425"/>
                <a:gd name="connsiteY10108" fmla="*/ 7323996 h 17966907"/>
                <a:gd name="connsiteX10109" fmla="*/ 9203843 w 13797425"/>
                <a:gd name="connsiteY10109" fmla="*/ 7319231 h 17966907"/>
                <a:gd name="connsiteX10110" fmla="*/ 9151426 w 13797425"/>
                <a:gd name="connsiteY10110" fmla="*/ 7285875 h 17966907"/>
                <a:gd name="connsiteX10111" fmla="*/ 9113306 w 13797425"/>
                <a:gd name="connsiteY10111" fmla="*/ 7295405 h 17966907"/>
                <a:gd name="connsiteX10112" fmla="*/ 9099010 w 13797425"/>
                <a:gd name="connsiteY10112" fmla="*/ 7290640 h 17966907"/>
                <a:gd name="connsiteX10113" fmla="*/ 9070419 w 13797425"/>
                <a:gd name="connsiteY10113" fmla="*/ 7271580 h 17966907"/>
                <a:gd name="connsiteX10114" fmla="*/ 9060889 w 13797425"/>
                <a:gd name="connsiteY10114" fmla="*/ 7257284 h 17966907"/>
                <a:gd name="connsiteX10115" fmla="*/ 9051359 w 13797425"/>
                <a:gd name="connsiteY10115" fmla="*/ 7233459 h 17966907"/>
                <a:gd name="connsiteX10116" fmla="*/ 9041828 w 13797425"/>
                <a:gd name="connsiteY10116" fmla="*/ 7195338 h 17966907"/>
                <a:gd name="connsiteX10117" fmla="*/ 9041828 w 13797425"/>
                <a:gd name="connsiteY10117" fmla="*/ 7171512 h 17966907"/>
                <a:gd name="connsiteX10118" fmla="*/ 9046594 w 13797425"/>
                <a:gd name="connsiteY10118" fmla="*/ 7138156 h 17966907"/>
                <a:gd name="connsiteX10119" fmla="*/ 9041828 w 13797425"/>
                <a:gd name="connsiteY10119" fmla="*/ 7119096 h 17966907"/>
                <a:gd name="connsiteX10120" fmla="*/ 9032298 w 13797425"/>
                <a:gd name="connsiteY10120" fmla="*/ 7119096 h 17966907"/>
                <a:gd name="connsiteX10121" fmla="*/ 9022768 w 13797425"/>
                <a:gd name="connsiteY10121" fmla="*/ 7114330 h 17966907"/>
                <a:gd name="connsiteX10122" fmla="*/ 8994177 w 13797425"/>
                <a:gd name="connsiteY10122" fmla="*/ 7080974 h 17966907"/>
                <a:gd name="connsiteX10123" fmla="*/ 8975117 w 13797425"/>
                <a:gd name="connsiteY10123" fmla="*/ 7071444 h 17966907"/>
                <a:gd name="connsiteX10124" fmla="*/ 8975117 w 13797425"/>
                <a:gd name="connsiteY10124" fmla="*/ 7076209 h 17966907"/>
                <a:gd name="connsiteX10125" fmla="*/ 8979882 w 13797425"/>
                <a:gd name="connsiteY10125" fmla="*/ 7100035 h 17966907"/>
                <a:gd name="connsiteX10126" fmla="*/ 8984647 w 13797425"/>
                <a:gd name="connsiteY10126" fmla="*/ 7109565 h 17966907"/>
                <a:gd name="connsiteX10127" fmla="*/ 8998942 w 13797425"/>
                <a:gd name="connsiteY10127" fmla="*/ 7128626 h 17966907"/>
                <a:gd name="connsiteX10128" fmla="*/ 9003708 w 13797425"/>
                <a:gd name="connsiteY10128" fmla="*/ 7152451 h 17966907"/>
                <a:gd name="connsiteX10129" fmla="*/ 8994177 w 13797425"/>
                <a:gd name="connsiteY10129" fmla="*/ 7209633 h 17966907"/>
                <a:gd name="connsiteX10130" fmla="*/ 8994177 w 13797425"/>
                <a:gd name="connsiteY10130" fmla="*/ 7219163 h 17966907"/>
                <a:gd name="connsiteX10131" fmla="*/ 8975117 w 13797425"/>
                <a:gd name="connsiteY10131" fmla="*/ 7257284 h 17966907"/>
                <a:gd name="connsiteX10132" fmla="*/ 8960821 w 13797425"/>
                <a:gd name="connsiteY10132" fmla="*/ 7266814 h 17966907"/>
                <a:gd name="connsiteX10133" fmla="*/ 8922700 w 13797425"/>
                <a:gd name="connsiteY10133" fmla="*/ 7271580 h 17966907"/>
                <a:gd name="connsiteX10134" fmla="*/ 8865519 w 13797425"/>
                <a:gd name="connsiteY10134" fmla="*/ 7300170 h 17966907"/>
                <a:gd name="connsiteX10135" fmla="*/ 8836928 w 13797425"/>
                <a:gd name="connsiteY10135" fmla="*/ 7304936 h 17966907"/>
                <a:gd name="connsiteX10136" fmla="*/ 8798807 w 13797425"/>
                <a:gd name="connsiteY10136" fmla="*/ 7295405 h 17966907"/>
                <a:gd name="connsiteX10137" fmla="*/ 8774981 w 13797425"/>
                <a:gd name="connsiteY10137" fmla="*/ 7281110 h 17966907"/>
                <a:gd name="connsiteX10138" fmla="*/ 8760686 w 13797425"/>
                <a:gd name="connsiteY10138" fmla="*/ 7266814 h 17966907"/>
                <a:gd name="connsiteX10139" fmla="*/ 8741625 w 13797425"/>
                <a:gd name="connsiteY10139" fmla="*/ 7247754 h 17966907"/>
                <a:gd name="connsiteX10140" fmla="*/ 8736860 w 13797425"/>
                <a:gd name="connsiteY10140" fmla="*/ 7242989 h 17966907"/>
                <a:gd name="connsiteX10141" fmla="*/ 8732095 w 13797425"/>
                <a:gd name="connsiteY10141" fmla="*/ 7290640 h 17966907"/>
                <a:gd name="connsiteX10142" fmla="*/ 8722565 w 13797425"/>
                <a:gd name="connsiteY10142" fmla="*/ 7300170 h 17966907"/>
                <a:gd name="connsiteX10143" fmla="*/ 8713035 w 13797425"/>
                <a:gd name="connsiteY10143" fmla="*/ 7295405 h 17966907"/>
                <a:gd name="connsiteX10144" fmla="*/ 8693974 w 13797425"/>
                <a:gd name="connsiteY10144" fmla="*/ 7281110 h 17966907"/>
                <a:gd name="connsiteX10145" fmla="*/ 8674914 w 13797425"/>
                <a:gd name="connsiteY10145" fmla="*/ 7247754 h 17966907"/>
                <a:gd name="connsiteX10146" fmla="*/ 8670148 w 13797425"/>
                <a:gd name="connsiteY10146" fmla="*/ 7247754 h 17966907"/>
                <a:gd name="connsiteX10147" fmla="*/ 8670148 w 13797425"/>
                <a:gd name="connsiteY10147" fmla="*/ 7266814 h 17966907"/>
                <a:gd name="connsiteX10148" fmla="*/ 8665383 w 13797425"/>
                <a:gd name="connsiteY10148" fmla="*/ 7281110 h 17966907"/>
                <a:gd name="connsiteX10149" fmla="*/ 8660618 w 13797425"/>
                <a:gd name="connsiteY10149" fmla="*/ 7285875 h 17966907"/>
                <a:gd name="connsiteX10150" fmla="*/ 8617732 w 13797425"/>
                <a:gd name="connsiteY10150" fmla="*/ 7309701 h 17966907"/>
                <a:gd name="connsiteX10151" fmla="*/ 8598672 w 13797425"/>
                <a:gd name="connsiteY10151" fmla="*/ 7309701 h 17966907"/>
                <a:gd name="connsiteX10152" fmla="*/ 8574846 w 13797425"/>
                <a:gd name="connsiteY10152" fmla="*/ 7285875 h 17966907"/>
                <a:gd name="connsiteX10153" fmla="*/ 8558168 w 13797425"/>
                <a:gd name="connsiteY10153" fmla="*/ 7285875 h 17966907"/>
                <a:gd name="connsiteX10154" fmla="*/ 8539107 w 13797425"/>
                <a:gd name="connsiteY10154" fmla="*/ 7300170 h 17966907"/>
                <a:gd name="connsiteX10155" fmla="*/ 8491456 w 13797425"/>
                <a:gd name="connsiteY10155" fmla="*/ 7276345 h 17966907"/>
                <a:gd name="connsiteX10156" fmla="*/ 8477161 w 13797425"/>
                <a:gd name="connsiteY10156" fmla="*/ 7276345 h 17966907"/>
                <a:gd name="connsiteX10157" fmla="*/ 8486691 w 13797425"/>
                <a:gd name="connsiteY10157" fmla="*/ 7314466 h 17966907"/>
                <a:gd name="connsiteX10158" fmla="*/ 8472396 w 13797425"/>
                <a:gd name="connsiteY10158" fmla="*/ 7319231 h 17966907"/>
                <a:gd name="connsiteX10159" fmla="*/ 8439040 w 13797425"/>
                <a:gd name="connsiteY10159" fmla="*/ 7319231 h 17966907"/>
                <a:gd name="connsiteX10160" fmla="*/ 8377093 w 13797425"/>
                <a:gd name="connsiteY10160" fmla="*/ 7304936 h 17966907"/>
                <a:gd name="connsiteX10161" fmla="*/ 8343737 w 13797425"/>
                <a:gd name="connsiteY10161" fmla="*/ 7323996 h 17966907"/>
                <a:gd name="connsiteX10162" fmla="*/ 8277025 w 13797425"/>
                <a:gd name="connsiteY10162" fmla="*/ 7314466 h 17966907"/>
                <a:gd name="connsiteX10163" fmla="*/ 8215079 w 13797425"/>
                <a:gd name="connsiteY10163" fmla="*/ 7309701 h 17966907"/>
                <a:gd name="connsiteX10164" fmla="*/ 8200783 w 13797425"/>
                <a:gd name="connsiteY10164" fmla="*/ 7300170 h 17966907"/>
                <a:gd name="connsiteX10165" fmla="*/ 8191253 w 13797425"/>
                <a:gd name="connsiteY10165" fmla="*/ 7285875 h 17966907"/>
                <a:gd name="connsiteX10166" fmla="*/ 8191253 w 13797425"/>
                <a:gd name="connsiteY10166" fmla="*/ 7266814 h 17966907"/>
                <a:gd name="connsiteX10167" fmla="*/ 8196018 w 13797425"/>
                <a:gd name="connsiteY10167" fmla="*/ 7242989 h 17966907"/>
                <a:gd name="connsiteX10168" fmla="*/ 8205548 w 13797425"/>
                <a:gd name="connsiteY10168" fmla="*/ 7209633 h 17966907"/>
                <a:gd name="connsiteX10169" fmla="*/ 8219844 w 13797425"/>
                <a:gd name="connsiteY10169" fmla="*/ 7161982 h 17966907"/>
                <a:gd name="connsiteX10170" fmla="*/ 8224609 w 13797425"/>
                <a:gd name="connsiteY10170" fmla="*/ 7138156 h 17966907"/>
                <a:gd name="connsiteX10171" fmla="*/ 8210314 w 13797425"/>
                <a:gd name="connsiteY10171" fmla="*/ 7128626 h 17966907"/>
                <a:gd name="connsiteX10172" fmla="*/ 8205548 w 13797425"/>
                <a:gd name="connsiteY10172" fmla="*/ 7114330 h 17966907"/>
                <a:gd name="connsiteX10173" fmla="*/ 8196018 w 13797425"/>
                <a:gd name="connsiteY10173" fmla="*/ 7109565 h 17966907"/>
                <a:gd name="connsiteX10174" fmla="*/ 8172192 w 13797425"/>
                <a:gd name="connsiteY10174" fmla="*/ 7128626 h 17966907"/>
                <a:gd name="connsiteX10175" fmla="*/ 8157897 w 13797425"/>
                <a:gd name="connsiteY10175" fmla="*/ 7181042 h 17966907"/>
                <a:gd name="connsiteX10176" fmla="*/ 8148367 w 13797425"/>
                <a:gd name="connsiteY10176" fmla="*/ 7195338 h 17966907"/>
                <a:gd name="connsiteX10177" fmla="*/ 8143602 w 13797425"/>
                <a:gd name="connsiteY10177" fmla="*/ 7185807 h 17966907"/>
                <a:gd name="connsiteX10178" fmla="*/ 8138837 w 13797425"/>
                <a:gd name="connsiteY10178" fmla="*/ 7152451 h 17966907"/>
                <a:gd name="connsiteX10179" fmla="*/ 8134072 w 13797425"/>
                <a:gd name="connsiteY10179" fmla="*/ 7138156 h 17966907"/>
                <a:gd name="connsiteX10180" fmla="*/ 8124541 w 13797425"/>
                <a:gd name="connsiteY10180" fmla="*/ 7138156 h 17966907"/>
                <a:gd name="connsiteX10181" fmla="*/ 8119776 w 13797425"/>
                <a:gd name="connsiteY10181" fmla="*/ 7147686 h 17966907"/>
                <a:gd name="connsiteX10182" fmla="*/ 8115011 w 13797425"/>
                <a:gd name="connsiteY10182" fmla="*/ 7161982 h 17966907"/>
                <a:gd name="connsiteX10183" fmla="*/ 8105481 w 13797425"/>
                <a:gd name="connsiteY10183" fmla="*/ 7166747 h 17966907"/>
                <a:gd name="connsiteX10184" fmla="*/ 8091185 w 13797425"/>
                <a:gd name="connsiteY10184" fmla="*/ 7161982 h 17966907"/>
                <a:gd name="connsiteX10185" fmla="*/ 8091185 w 13797425"/>
                <a:gd name="connsiteY10185" fmla="*/ 7171512 h 17966907"/>
                <a:gd name="connsiteX10186" fmla="*/ 8091185 w 13797425"/>
                <a:gd name="connsiteY10186" fmla="*/ 7190572 h 17966907"/>
                <a:gd name="connsiteX10187" fmla="*/ 8095950 w 13797425"/>
                <a:gd name="connsiteY10187" fmla="*/ 7209633 h 17966907"/>
                <a:gd name="connsiteX10188" fmla="*/ 8091185 w 13797425"/>
                <a:gd name="connsiteY10188" fmla="*/ 7228694 h 17966907"/>
                <a:gd name="connsiteX10189" fmla="*/ 8081655 w 13797425"/>
                <a:gd name="connsiteY10189" fmla="*/ 7242989 h 17966907"/>
                <a:gd name="connsiteX10190" fmla="*/ 8053064 w 13797425"/>
                <a:gd name="connsiteY10190" fmla="*/ 7266814 h 17966907"/>
                <a:gd name="connsiteX10191" fmla="*/ 8034004 w 13797425"/>
                <a:gd name="connsiteY10191" fmla="*/ 7276345 h 17966907"/>
                <a:gd name="connsiteX10192" fmla="*/ 7991118 w 13797425"/>
                <a:gd name="connsiteY10192" fmla="*/ 7281110 h 17966907"/>
                <a:gd name="connsiteX10193" fmla="*/ 7962527 w 13797425"/>
                <a:gd name="connsiteY10193" fmla="*/ 7271580 h 17966907"/>
                <a:gd name="connsiteX10194" fmla="*/ 7910110 w 13797425"/>
                <a:gd name="connsiteY10194" fmla="*/ 7242989 h 17966907"/>
                <a:gd name="connsiteX10195" fmla="*/ 7881520 w 13797425"/>
                <a:gd name="connsiteY10195" fmla="*/ 7242989 h 17966907"/>
                <a:gd name="connsiteX10196" fmla="*/ 7843399 w 13797425"/>
                <a:gd name="connsiteY10196" fmla="*/ 7190572 h 17966907"/>
                <a:gd name="connsiteX10197" fmla="*/ 7814808 w 13797425"/>
                <a:gd name="connsiteY10197" fmla="*/ 7181042 h 17966907"/>
                <a:gd name="connsiteX10198" fmla="*/ 7819573 w 13797425"/>
                <a:gd name="connsiteY10198" fmla="*/ 7161982 h 17966907"/>
                <a:gd name="connsiteX10199" fmla="*/ 7829103 w 13797425"/>
                <a:gd name="connsiteY10199" fmla="*/ 7128626 h 17966907"/>
                <a:gd name="connsiteX10200" fmla="*/ 7829103 w 13797425"/>
                <a:gd name="connsiteY10200" fmla="*/ 7119096 h 17966907"/>
                <a:gd name="connsiteX10201" fmla="*/ 7790982 w 13797425"/>
                <a:gd name="connsiteY10201" fmla="*/ 7166747 h 17966907"/>
                <a:gd name="connsiteX10202" fmla="*/ 7786217 w 13797425"/>
                <a:gd name="connsiteY10202" fmla="*/ 7185807 h 17966907"/>
                <a:gd name="connsiteX10203" fmla="*/ 7790982 w 13797425"/>
                <a:gd name="connsiteY10203" fmla="*/ 7219163 h 17966907"/>
                <a:gd name="connsiteX10204" fmla="*/ 7786217 w 13797425"/>
                <a:gd name="connsiteY10204" fmla="*/ 7223928 h 17966907"/>
                <a:gd name="connsiteX10205" fmla="*/ 7757626 w 13797425"/>
                <a:gd name="connsiteY10205" fmla="*/ 7209633 h 17966907"/>
                <a:gd name="connsiteX10206" fmla="*/ 7729036 w 13797425"/>
                <a:gd name="connsiteY10206" fmla="*/ 7219163 h 17966907"/>
                <a:gd name="connsiteX10207" fmla="*/ 7724270 w 13797425"/>
                <a:gd name="connsiteY10207" fmla="*/ 7214398 h 17966907"/>
                <a:gd name="connsiteX10208" fmla="*/ 7705210 w 13797425"/>
                <a:gd name="connsiteY10208" fmla="*/ 7190572 h 17966907"/>
                <a:gd name="connsiteX10209" fmla="*/ 7676619 w 13797425"/>
                <a:gd name="connsiteY10209" fmla="*/ 7166747 h 17966907"/>
                <a:gd name="connsiteX10210" fmla="*/ 7662324 w 13797425"/>
                <a:gd name="connsiteY10210" fmla="*/ 7133391 h 17966907"/>
                <a:gd name="connsiteX10211" fmla="*/ 7638498 w 13797425"/>
                <a:gd name="connsiteY10211" fmla="*/ 7042854 h 17966907"/>
                <a:gd name="connsiteX10212" fmla="*/ 7628968 w 13797425"/>
                <a:gd name="connsiteY10212" fmla="*/ 6980907 h 17966907"/>
                <a:gd name="connsiteX10213" fmla="*/ 7628968 w 13797425"/>
                <a:gd name="connsiteY10213" fmla="*/ 6966612 h 17966907"/>
                <a:gd name="connsiteX10214" fmla="*/ 7643263 w 13797425"/>
                <a:gd name="connsiteY10214" fmla="*/ 6947551 h 17966907"/>
                <a:gd name="connsiteX10215" fmla="*/ 7643263 w 13797425"/>
                <a:gd name="connsiteY10215" fmla="*/ 6938021 h 17966907"/>
                <a:gd name="connsiteX10216" fmla="*/ 7624203 w 13797425"/>
                <a:gd name="connsiteY10216" fmla="*/ 6899900 h 17966907"/>
                <a:gd name="connsiteX10217" fmla="*/ 7600377 w 13797425"/>
                <a:gd name="connsiteY10217" fmla="*/ 6871309 h 17966907"/>
                <a:gd name="connsiteX10218" fmla="*/ 7595612 w 13797425"/>
                <a:gd name="connsiteY10218" fmla="*/ 6852248 h 17966907"/>
                <a:gd name="connsiteX10219" fmla="*/ 7590847 w 13797425"/>
                <a:gd name="connsiteY10219" fmla="*/ 6828423 h 17966907"/>
                <a:gd name="connsiteX10220" fmla="*/ 7586082 w 13797425"/>
                <a:gd name="connsiteY10220" fmla="*/ 6799832 h 17966907"/>
                <a:gd name="connsiteX10221" fmla="*/ 7586082 w 13797425"/>
                <a:gd name="connsiteY10221" fmla="*/ 6776006 h 17966907"/>
                <a:gd name="connsiteX10222" fmla="*/ 7590847 w 13797425"/>
                <a:gd name="connsiteY10222" fmla="*/ 6761711 h 17966907"/>
                <a:gd name="connsiteX10223" fmla="*/ 7605142 w 13797425"/>
                <a:gd name="connsiteY10223" fmla="*/ 6718825 h 17966907"/>
                <a:gd name="connsiteX10224" fmla="*/ 7638498 w 13797425"/>
                <a:gd name="connsiteY10224" fmla="*/ 6633053 h 17966907"/>
                <a:gd name="connsiteX10225" fmla="*/ 7643263 w 13797425"/>
                <a:gd name="connsiteY10225" fmla="*/ 6618757 h 17966907"/>
                <a:gd name="connsiteX10226" fmla="*/ 7643263 w 13797425"/>
                <a:gd name="connsiteY10226" fmla="*/ 6604462 h 17966907"/>
                <a:gd name="connsiteX10227" fmla="*/ 7638498 w 13797425"/>
                <a:gd name="connsiteY10227" fmla="*/ 6561576 h 17966907"/>
                <a:gd name="connsiteX10228" fmla="*/ 7633733 w 13797425"/>
                <a:gd name="connsiteY10228" fmla="*/ 6518690 h 17966907"/>
                <a:gd name="connsiteX10229" fmla="*/ 7624203 w 13797425"/>
                <a:gd name="connsiteY10229" fmla="*/ 6485339 h 17966907"/>
                <a:gd name="connsiteX10230" fmla="*/ 7605142 w 13797425"/>
                <a:gd name="connsiteY10230" fmla="*/ 6442455 h 17966907"/>
                <a:gd name="connsiteX10231" fmla="*/ 7581317 w 13797425"/>
                <a:gd name="connsiteY10231" fmla="*/ 6394802 h 17966907"/>
                <a:gd name="connsiteX10232" fmla="*/ 7543196 w 13797425"/>
                <a:gd name="connsiteY10232" fmla="*/ 6313794 h 17966907"/>
                <a:gd name="connsiteX10233" fmla="*/ 7519370 w 13797425"/>
                <a:gd name="connsiteY10233" fmla="*/ 6247084 h 17966907"/>
                <a:gd name="connsiteX10234" fmla="*/ 7486014 w 13797425"/>
                <a:gd name="connsiteY10234" fmla="*/ 6156547 h 17966907"/>
                <a:gd name="connsiteX10235" fmla="*/ 7466954 w 13797425"/>
                <a:gd name="connsiteY10235" fmla="*/ 6147015 h 17966907"/>
                <a:gd name="connsiteX10236" fmla="*/ 7452658 w 13797425"/>
                <a:gd name="connsiteY10236" fmla="*/ 6151780 h 17966907"/>
                <a:gd name="connsiteX10237" fmla="*/ 7409772 w 13797425"/>
                <a:gd name="connsiteY10237" fmla="*/ 6185136 h 17966907"/>
                <a:gd name="connsiteX10238" fmla="*/ 7395477 w 13797425"/>
                <a:gd name="connsiteY10238" fmla="*/ 6199431 h 17966907"/>
                <a:gd name="connsiteX10239" fmla="*/ 7395477 w 13797425"/>
                <a:gd name="connsiteY10239" fmla="*/ 6208963 h 17966907"/>
                <a:gd name="connsiteX10240" fmla="*/ 7366886 w 13797425"/>
                <a:gd name="connsiteY10240" fmla="*/ 6208963 h 17966907"/>
                <a:gd name="connsiteX10241" fmla="*/ 7281114 w 13797425"/>
                <a:gd name="connsiteY10241" fmla="*/ 6204196 h 17966907"/>
                <a:gd name="connsiteX10242" fmla="*/ 7252523 w 13797425"/>
                <a:gd name="connsiteY10242" fmla="*/ 6194667 h 17966907"/>
                <a:gd name="connsiteX10243" fmla="*/ 7228697 w 13797425"/>
                <a:gd name="connsiteY10243" fmla="*/ 6194667 h 17966907"/>
                <a:gd name="connsiteX10244" fmla="*/ 7185811 w 13797425"/>
                <a:gd name="connsiteY10244" fmla="*/ 6218492 h 17966907"/>
                <a:gd name="connsiteX10245" fmla="*/ 7142925 w 13797425"/>
                <a:gd name="connsiteY10245" fmla="*/ 6213727 h 17966907"/>
                <a:gd name="connsiteX10246" fmla="*/ 7114334 w 13797425"/>
                <a:gd name="connsiteY10246" fmla="*/ 6147015 h 17966907"/>
                <a:gd name="connsiteX10247" fmla="*/ 7057152 w 13797425"/>
                <a:gd name="connsiteY10247" fmla="*/ 6113659 h 17966907"/>
                <a:gd name="connsiteX10248" fmla="*/ 7038092 w 13797425"/>
                <a:gd name="connsiteY10248" fmla="*/ 6094599 h 17966907"/>
                <a:gd name="connsiteX10249" fmla="*/ 7023797 w 13797425"/>
                <a:gd name="connsiteY10249" fmla="*/ 6066009 h 17966907"/>
                <a:gd name="connsiteX10250" fmla="*/ 7028562 w 13797425"/>
                <a:gd name="connsiteY10250" fmla="*/ 6051713 h 17966907"/>
                <a:gd name="connsiteX10251" fmla="*/ 7061918 w 13797425"/>
                <a:gd name="connsiteY10251" fmla="*/ 6032653 h 17966907"/>
                <a:gd name="connsiteX10252" fmla="*/ 7076213 w 13797425"/>
                <a:gd name="connsiteY10252" fmla="*/ 6013592 h 17966907"/>
                <a:gd name="connsiteX10253" fmla="*/ 7085743 w 13797425"/>
                <a:gd name="connsiteY10253" fmla="*/ 5999297 h 17966907"/>
                <a:gd name="connsiteX10254" fmla="*/ 7052387 w 13797425"/>
                <a:gd name="connsiteY10254" fmla="*/ 6013592 h 17966907"/>
                <a:gd name="connsiteX10255" fmla="*/ 7033327 w 13797425"/>
                <a:gd name="connsiteY10255" fmla="*/ 6013592 h 17966907"/>
                <a:gd name="connsiteX10256" fmla="*/ 6928494 w 13797425"/>
                <a:gd name="connsiteY10256" fmla="*/ 5923054 h 17966907"/>
                <a:gd name="connsiteX10257" fmla="*/ 6899903 w 13797425"/>
                <a:gd name="connsiteY10257" fmla="*/ 5903995 h 17966907"/>
                <a:gd name="connsiteX10258" fmla="*/ 6890373 w 13797425"/>
                <a:gd name="connsiteY10258" fmla="*/ 5899231 h 17966907"/>
                <a:gd name="connsiteX10259" fmla="*/ 6890373 w 13797425"/>
                <a:gd name="connsiteY10259" fmla="*/ 5884934 h 17966907"/>
                <a:gd name="connsiteX10260" fmla="*/ 6890373 w 13797425"/>
                <a:gd name="connsiteY10260" fmla="*/ 5875403 h 17966907"/>
                <a:gd name="connsiteX10261" fmla="*/ 6895138 w 13797425"/>
                <a:gd name="connsiteY10261" fmla="*/ 5851578 h 17966907"/>
                <a:gd name="connsiteX10262" fmla="*/ 6923729 w 13797425"/>
                <a:gd name="connsiteY10262" fmla="*/ 5880170 h 17966907"/>
                <a:gd name="connsiteX10263" fmla="*/ 6938024 w 13797425"/>
                <a:gd name="connsiteY10263" fmla="*/ 5880170 h 17966907"/>
                <a:gd name="connsiteX10264" fmla="*/ 6961850 w 13797425"/>
                <a:gd name="connsiteY10264" fmla="*/ 5875403 h 17966907"/>
                <a:gd name="connsiteX10265" fmla="*/ 6966615 w 13797425"/>
                <a:gd name="connsiteY10265" fmla="*/ 5856341 h 17966907"/>
                <a:gd name="connsiteX10266" fmla="*/ 6961850 w 13797425"/>
                <a:gd name="connsiteY10266" fmla="*/ 5846814 h 17966907"/>
                <a:gd name="connsiteX10267" fmla="*/ 6928494 w 13797425"/>
                <a:gd name="connsiteY10267" fmla="*/ 5818221 h 17966907"/>
                <a:gd name="connsiteX10268" fmla="*/ 6909434 w 13797425"/>
                <a:gd name="connsiteY10268" fmla="*/ 5794396 h 17966907"/>
                <a:gd name="connsiteX10269" fmla="*/ 6904668 w 13797425"/>
                <a:gd name="connsiteY10269" fmla="*/ 5775337 h 17966907"/>
                <a:gd name="connsiteX10270" fmla="*/ 6909434 w 13797425"/>
                <a:gd name="connsiteY10270" fmla="*/ 5751509 h 17966907"/>
                <a:gd name="connsiteX10271" fmla="*/ 6914199 w 13797425"/>
                <a:gd name="connsiteY10271" fmla="*/ 5737215 h 17966907"/>
                <a:gd name="connsiteX10272" fmla="*/ 6923729 w 13797425"/>
                <a:gd name="connsiteY10272" fmla="*/ 5727684 h 17966907"/>
                <a:gd name="connsiteX10273" fmla="*/ 6942789 w 13797425"/>
                <a:gd name="connsiteY10273" fmla="*/ 5727684 h 17966907"/>
                <a:gd name="connsiteX10274" fmla="*/ 6971380 w 13797425"/>
                <a:gd name="connsiteY10274" fmla="*/ 5713388 h 17966907"/>
                <a:gd name="connsiteX10275" fmla="*/ 7019031 w 13797425"/>
                <a:gd name="connsiteY10275" fmla="*/ 5684799 h 17966907"/>
                <a:gd name="connsiteX10276" fmla="*/ 3826397 w 13797425"/>
                <a:gd name="connsiteY10276" fmla="*/ 5327414 h 17966907"/>
                <a:gd name="connsiteX10277" fmla="*/ 3850222 w 13797425"/>
                <a:gd name="connsiteY10277" fmla="*/ 5332178 h 17966907"/>
                <a:gd name="connsiteX10278" fmla="*/ 3874048 w 13797425"/>
                <a:gd name="connsiteY10278" fmla="*/ 5351238 h 17966907"/>
                <a:gd name="connsiteX10279" fmla="*/ 3902639 w 13797425"/>
                <a:gd name="connsiteY10279" fmla="*/ 5389360 h 17966907"/>
                <a:gd name="connsiteX10280" fmla="*/ 3974116 w 13797425"/>
                <a:gd name="connsiteY10280" fmla="*/ 5460836 h 17966907"/>
                <a:gd name="connsiteX10281" fmla="*/ 3988411 w 13797425"/>
                <a:gd name="connsiteY10281" fmla="*/ 5489428 h 17966907"/>
                <a:gd name="connsiteX10282" fmla="*/ 3988411 w 13797425"/>
                <a:gd name="connsiteY10282" fmla="*/ 5498959 h 17966907"/>
                <a:gd name="connsiteX10283" fmla="*/ 3983646 w 13797425"/>
                <a:gd name="connsiteY10283" fmla="*/ 5513253 h 17966907"/>
                <a:gd name="connsiteX10284" fmla="*/ 3964585 w 13797425"/>
                <a:gd name="connsiteY10284" fmla="*/ 5532313 h 17966907"/>
                <a:gd name="connsiteX10285" fmla="*/ 3874048 w 13797425"/>
                <a:gd name="connsiteY10285" fmla="*/ 5594262 h 17966907"/>
                <a:gd name="connsiteX10286" fmla="*/ 3854987 w 13797425"/>
                <a:gd name="connsiteY10286" fmla="*/ 5622851 h 17966907"/>
                <a:gd name="connsiteX10287" fmla="*/ 3859753 w 13797425"/>
                <a:gd name="connsiteY10287" fmla="*/ 5646679 h 17966907"/>
                <a:gd name="connsiteX10288" fmla="*/ 3893108 w 13797425"/>
                <a:gd name="connsiteY10288" fmla="*/ 5694328 h 17966907"/>
                <a:gd name="connsiteX10289" fmla="*/ 3926464 w 13797425"/>
                <a:gd name="connsiteY10289" fmla="*/ 5737215 h 17966907"/>
                <a:gd name="connsiteX10290" fmla="*/ 3935995 w 13797425"/>
                <a:gd name="connsiteY10290" fmla="*/ 5761041 h 17966907"/>
                <a:gd name="connsiteX10291" fmla="*/ 3921699 w 13797425"/>
                <a:gd name="connsiteY10291" fmla="*/ 5780101 h 17966907"/>
                <a:gd name="connsiteX10292" fmla="*/ 3888343 w 13797425"/>
                <a:gd name="connsiteY10292" fmla="*/ 5775337 h 17966907"/>
                <a:gd name="connsiteX10293" fmla="*/ 3878813 w 13797425"/>
                <a:gd name="connsiteY10293" fmla="*/ 5775337 h 17966907"/>
                <a:gd name="connsiteX10294" fmla="*/ 3864518 w 13797425"/>
                <a:gd name="connsiteY10294" fmla="*/ 5784865 h 17966907"/>
                <a:gd name="connsiteX10295" fmla="*/ 3869283 w 13797425"/>
                <a:gd name="connsiteY10295" fmla="*/ 5803926 h 17966907"/>
                <a:gd name="connsiteX10296" fmla="*/ 3902639 w 13797425"/>
                <a:gd name="connsiteY10296" fmla="*/ 5865874 h 17966907"/>
                <a:gd name="connsiteX10297" fmla="*/ 3912169 w 13797425"/>
                <a:gd name="connsiteY10297" fmla="*/ 5899231 h 17966907"/>
                <a:gd name="connsiteX10298" fmla="*/ 3912169 w 13797425"/>
                <a:gd name="connsiteY10298" fmla="*/ 5913522 h 17966907"/>
                <a:gd name="connsiteX10299" fmla="*/ 3907404 w 13797425"/>
                <a:gd name="connsiteY10299" fmla="*/ 5932587 h 17966907"/>
                <a:gd name="connsiteX10300" fmla="*/ 3893108 w 13797425"/>
                <a:gd name="connsiteY10300" fmla="*/ 5956411 h 17966907"/>
                <a:gd name="connsiteX10301" fmla="*/ 3869283 w 13797425"/>
                <a:gd name="connsiteY10301" fmla="*/ 5984999 h 17966907"/>
                <a:gd name="connsiteX10302" fmla="*/ 3831162 w 13797425"/>
                <a:gd name="connsiteY10302" fmla="*/ 6008828 h 17966907"/>
                <a:gd name="connsiteX10303" fmla="*/ 3750155 w 13797425"/>
                <a:gd name="connsiteY10303" fmla="*/ 6037416 h 17966907"/>
                <a:gd name="connsiteX10304" fmla="*/ 3745390 w 13797425"/>
                <a:gd name="connsiteY10304" fmla="*/ 6061242 h 17966907"/>
                <a:gd name="connsiteX10305" fmla="*/ 3750155 w 13797425"/>
                <a:gd name="connsiteY10305" fmla="*/ 6080303 h 17966907"/>
                <a:gd name="connsiteX10306" fmla="*/ 3745390 w 13797425"/>
                <a:gd name="connsiteY10306" fmla="*/ 6123191 h 17966907"/>
                <a:gd name="connsiteX10307" fmla="*/ 3740624 w 13797425"/>
                <a:gd name="connsiteY10307" fmla="*/ 6142250 h 17966907"/>
                <a:gd name="connsiteX10308" fmla="*/ 3731094 w 13797425"/>
                <a:gd name="connsiteY10308" fmla="*/ 6175606 h 17966907"/>
                <a:gd name="connsiteX10309" fmla="*/ 3726329 w 13797425"/>
                <a:gd name="connsiteY10309" fmla="*/ 6189903 h 17966907"/>
                <a:gd name="connsiteX10310" fmla="*/ 3712034 w 13797425"/>
                <a:gd name="connsiteY10310" fmla="*/ 6204196 h 17966907"/>
                <a:gd name="connsiteX10311" fmla="*/ 3697738 w 13797425"/>
                <a:gd name="connsiteY10311" fmla="*/ 6208963 h 17966907"/>
                <a:gd name="connsiteX10312" fmla="*/ 3673913 w 13797425"/>
                <a:gd name="connsiteY10312" fmla="*/ 6208963 h 17966907"/>
                <a:gd name="connsiteX10313" fmla="*/ 3635792 w 13797425"/>
                <a:gd name="connsiteY10313" fmla="*/ 6180371 h 17966907"/>
                <a:gd name="connsiteX10314" fmla="*/ 3616731 w 13797425"/>
                <a:gd name="connsiteY10314" fmla="*/ 6161310 h 17966907"/>
                <a:gd name="connsiteX10315" fmla="*/ 3592905 w 13797425"/>
                <a:gd name="connsiteY10315" fmla="*/ 6123191 h 17966907"/>
                <a:gd name="connsiteX10316" fmla="*/ 3592905 w 13797425"/>
                <a:gd name="connsiteY10316" fmla="*/ 6094599 h 17966907"/>
                <a:gd name="connsiteX10317" fmla="*/ 3592905 w 13797425"/>
                <a:gd name="connsiteY10317" fmla="*/ 6061242 h 17966907"/>
                <a:gd name="connsiteX10318" fmla="*/ 3597671 w 13797425"/>
                <a:gd name="connsiteY10318" fmla="*/ 6008828 h 17966907"/>
                <a:gd name="connsiteX10319" fmla="*/ 3611966 w 13797425"/>
                <a:gd name="connsiteY10319" fmla="*/ 5956411 h 17966907"/>
                <a:gd name="connsiteX10320" fmla="*/ 3621496 w 13797425"/>
                <a:gd name="connsiteY10320" fmla="*/ 5899231 h 17966907"/>
                <a:gd name="connsiteX10321" fmla="*/ 3626261 w 13797425"/>
                <a:gd name="connsiteY10321" fmla="*/ 5865874 h 17966907"/>
                <a:gd name="connsiteX10322" fmla="*/ 3621496 w 13797425"/>
                <a:gd name="connsiteY10322" fmla="*/ 5851578 h 17966907"/>
                <a:gd name="connsiteX10323" fmla="*/ 3611966 w 13797425"/>
                <a:gd name="connsiteY10323" fmla="*/ 5851578 h 17966907"/>
                <a:gd name="connsiteX10324" fmla="*/ 3583375 w 13797425"/>
                <a:gd name="connsiteY10324" fmla="*/ 5875403 h 17966907"/>
                <a:gd name="connsiteX10325" fmla="*/ 3559550 w 13797425"/>
                <a:gd name="connsiteY10325" fmla="*/ 5880170 h 17966907"/>
                <a:gd name="connsiteX10326" fmla="*/ 3545254 w 13797425"/>
                <a:gd name="connsiteY10326" fmla="*/ 5899231 h 17966907"/>
                <a:gd name="connsiteX10327" fmla="*/ 3535724 w 13797425"/>
                <a:gd name="connsiteY10327" fmla="*/ 5923054 h 17966907"/>
                <a:gd name="connsiteX10328" fmla="*/ 3530959 w 13797425"/>
                <a:gd name="connsiteY10328" fmla="*/ 5946880 h 17966907"/>
                <a:gd name="connsiteX10329" fmla="*/ 3526194 w 13797425"/>
                <a:gd name="connsiteY10329" fmla="*/ 5999297 h 17966907"/>
                <a:gd name="connsiteX10330" fmla="*/ 3521429 w 13797425"/>
                <a:gd name="connsiteY10330" fmla="*/ 6027886 h 17966907"/>
                <a:gd name="connsiteX10331" fmla="*/ 3502368 w 13797425"/>
                <a:gd name="connsiteY10331" fmla="*/ 6042184 h 17966907"/>
                <a:gd name="connsiteX10332" fmla="*/ 3478542 w 13797425"/>
                <a:gd name="connsiteY10332" fmla="*/ 6042184 h 17966907"/>
                <a:gd name="connsiteX10333" fmla="*/ 3469012 w 13797425"/>
                <a:gd name="connsiteY10333" fmla="*/ 6051713 h 17966907"/>
                <a:gd name="connsiteX10334" fmla="*/ 3464247 w 13797425"/>
                <a:gd name="connsiteY10334" fmla="*/ 6066009 h 17966907"/>
                <a:gd name="connsiteX10335" fmla="*/ 3469012 w 13797425"/>
                <a:gd name="connsiteY10335" fmla="*/ 6085069 h 17966907"/>
                <a:gd name="connsiteX10336" fmla="*/ 3492838 w 13797425"/>
                <a:gd name="connsiteY10336" fmla="*/ 6113659 h 17966907"/>
                <a:gd name="connsiteX10337" fmla="*/ 3497603 w 13797425"/>
                <a:gd name="connsiteY10337" fmla="*/ 6147015 h 17966907"/>
                <a:gd name="connsiteX10338" fmla="*/ 3492838 w 13797425"/>
                <a:gd name="connsiteY10338" fmla="*/ 6166074 h 17966907"/>
                <a:gd name="connsiteX10339" fmla="*/ 3469012 w 13797425"/>
                <a:gd name="connsiteY10339" fmla="*/ 6204196 h 17966907"/>
                <a:gd name="connsiteX10340" fmla="*/ 3459482 w 13797425"/>
                <a:gd name="connsiteY10340" fmla="*/ 6218492 h 17966907"/>
                <a:gd name="connsiteX10341" fmla="*/ 3445186 w 13797425"/>
                <a:gd name="connsiteY10341" fmla="*/ 6280440 h 17966907"/>
                <a:gd name="connsiteX10342" fmla="*/ 3440421 w 13797425"/>
                <a:gd name="connsiteY10342" fmla="*/ 6294734 h 17966907"/>
                <a:gd name="connsiteX10343" fmla="*/ 3426126 w 13797425"/>
                <a:gd name="connsiteY10343" fmla="*/ 6304265 h 17966907"/>
                <a:gd name="connsiteX10344" fmla="*/ 3411831 w 13797425"/>
                <a:gd name="connsiteY10344" fmla="*/ 6304265 h 17966907"/>
                <a:gd name="connsiteX10345" fmla="*/ 3397535 w 13797425"/>
                <a:gd name="connsiteY10345" fmla="*/ 6285204 h 17966907"/>
                <a:gd name="connsiteX10346" fmla="*/ 3378475 w 13797425"/>
                <a:gd name="connsiteY10346" fmla="*/ 6242319 h 17966907"/>
                <a:gd name="connsiteX10347" fmla="*/ 3368944 w 13797425"/>
                <a:gd name="connsiteY10347" fmla="*/ 6208963 h 17966907"/>
                <a:gd name="connsiteX10348" fmla="*/ 3359414 w 13797425"/>
                <a:gd name="connsiteY10348" fmla="*/ 6180371 h 17966907"/>
                <a:gd name="connsiteX10349" fmla="*/ 3354649 w 13797425"/>
                <a:gd name="connsiteY10349" fmla="*/ 6166074 h 17966907"/>
                <a:gd name="connsiteX10350" fmla="*/ 3345119 w 13797425"/>
                <a:gd name="connsiteY10350" fmla="*/ 6175606 h 17966907"/>
                <a:gd name="connsiteX10351" fmla="*/ 3335589 w 13797425"/>
                <a:gd name="connsiteY10351" fmla="*/ 6204196 h 17966907"/>
                <a:gd name="connsiteX10352" fmla="*/ 3335589 w 13797425"/>
                <a:gd name="connsiteY10352" fmla="*/ 6228023 h 17966907"/>
                <a:gd name="connsiteX10353" fmla="*/ 3340354 w 13797425"/>
                <a:gd name="connsiteY10353" fmla="*/ 6261380 h 17966907"/>
                <a:gd name="connsiteX10354" fmla="*/ 3335589 w 13797425"/>
                <a:gd name="connsiteY10354" fmla="*/ 6285204 h 17966907"/>
                <a:gd name="connsiteX10355" fmla="*/ 3321293 w 13797425"/>
                <a:gd name="connsiteY10355" fmla="*/ 6309029 h 17966907"/>
                <a:gd name="connsiteX10356" fmla="*/ 3326058 w 13797425"/>
                <a:gd name="connsiteY10356" fmla="*/ 6323325 h 17966907"/>
                <a:gd name="connsiteX10357" fmla="*/ 3349884 w 13797425"/>
                <a:gd name="connsiteY10357" fmla="*/ 6351915 h 17966907"/>
                <a:gd name="connsiteX10358" fmla="*/ 3354649 w 13797425"/>
                <a:gd name="connsiteY10358" fmla="*/ 6366211 h 17966907"/>
                <a:gd name="connsiteX10359" fmla="*/ 3354649 w 13797425"/>
                <a:gd name="connsiteY10359" fmla="*/ 6390038 h 17966907"/>
                <a:gd name="connsiteX10360" fmla="*/ 3354649 w 13797425"/>
                <a:gd name="connsiteY10360" fmla="*/ 6399567 h 17966907"/>
                <a:gd name="connsiteX10361" fmla="*/ 3340354 w 13797425"/>
                <a:gd name="connsiteY10361" fmla="*/ 6394802 h 17966907"/>
                <a:gd name="connsiteX10362" fmla="*/ 3335589 w 13797425"/>
                <a:gd name="connsiteY10362" fmla="*/ 6423392 h 17966907"/>
                <a:gd name="connsiteX10363" fmla="*/ 3321293 w 13797425"/>
                <a:gd name="connsiteY10363" fmla="*/ 6442455 h 17966907"/>
                <a:gd name="connsiteX10364" fmla="*/ 3297468 w 13797425"/>
                <a:gd name="connsiteY10364" fmla="*/ 6475809 h 17966907"/>
                <a:gd name="connsiteX10365" fmla="*/ 3254581 w 13797425"/>
                <a:gd name="connsiteY10365" fmla="*/ 6480573 h 17966907"/>
                <a:gd name="connsiteX10366" fmla="*/ 3225991 w 13797425"/>
                <a:gd name="connsiteY10366" fmla="*/ 6499636 h 17966907"/>
                <a:gd name="connsiteX10367" fmla="*/ 3216460 w 13797425"/>
                <a:gd name="connsiteY10367" fmla="*/ 6499636 h 17966907"/>
                <a:gd name="connsiteX10368" fmla="*/ 3211695 w 13797425"/>
                <a:gd name="connsiteY10368" fmla="*/ 6471043 h 17966907"/>
                <a:gd name="connsiteX10369" fmla="*/ 3202165 w 13797425"/>
                <a:gd name="connsiteY10369" fmla="*/ 6413862 h 17966907"/>
                <a:gd name="connsiteX10370" fmla="*/ 3192635 w 13797425"/>
                <a:gd name="connsiteY10370" fmla="*/ 6380506 h 17966907"/>
                <a:gd name="connsiteX10371" fmla="*/ 3183105 w 13797425"/>
                <a:gd name="connsiteY10371" fmla="*/ 6366211 h 17966907"/>
                <a:gd name="connsiteX10372" fmla="*/ 3168809 w 13797425"/>
                <a:gd name="connsiteY10372" fmla="*/ 6299500 h 17966907"/>
                <a:gd name="connsiteX10373" fmla="*/ 3159279 w 13797425"/>
                <a:gd name="connsiteY10373" fmla="*/ 6280440 h 17966907"/>
                <a:gd name="connsiteX10374" fmla="*/ 3154514 w 13797425"/>
                <a:gd name="connsiteY10374" fmla="*/ 6270909 h 17966907"/>
                <a:gd name="connsiteX10375" fmla="*/ 3149749 w 13797425"/>
                <a:gd name="connsiteY10375" fmla="*/ 6266144 h 17966907"/>
                <a:gd name="connsiteX10376" fmla="*/ 3140218 w 13797425"/>
                <a:gd name="connsiteY10376" fmla="*/ 6280440 h 17966907"/>
                <a:gd name="connsiteX10377" fmla="*/ 3121158 w 13797425"/>
                <a:gd name="connsiteY10377" fmla="*/ 6375742 h 17966907"/>
                <a:gd name="connsiteX10378" fmla="*/ 3092567 w 13797425"/>
                <a:gd name="connsiteY10378" fmla="*/ 6399567 h 17966907"/>
                <a:gd name="connsiteX10379" fmla="*/ 3073507 w 13797425"/>
                <a:gd name="connsiteY10379" fmla="*/ 6399567 h 17966907"/>
                <a:gd name="connsiteX10380" fmla="*/ 3059211 w 13797425"/>
                <a:gd name="connsiteY10380" fmla="*/ 6399567 h 17966907"/>
                <a:gd name="connsiteX10381" fmla="*/ 3016325 w 13797425"/>
                <a:gd name="connsiteY10381" fmla="*/ 6375742 h 17966907"/>
                <a:gd name="connsiteX10382" fmla="*/ 2982969 w 13797425"/>
                <a:gd name="connsiteY10382" fmla="*/ 6366211 h 17966907"/>
                <a:gd name="connsiteX10383" fmla="*/ 2959144 w 13797425"/>
                <a:gd name="connsiteY10383" fmla="*/ 6375742 h 17966907"/>
                <a:gd name="connsiteX10384" fmla="*/ 2921023 w 13797425"/>
                <a:gd name="connsiteY10384" fmla="*/ 6413862 h 17966907"/>
                <a:gd name="connsiteX10385" fmla="*/ 2906727 w 13797425"/>
                <a:gd name="connsiteY10385" fmla="*/ 6423392 h 17966907"/>
                <a:gd name="connsiteX10386" fmla="*/ 2887667 w 13797425"/>
                <a:gd name="connsiteY10386" fmla="*/ 6418626 h 17966907"/>
                <a:gd name="connsiteX10387" fmla="*/ 2878136 w 13797425"/>
                <a:gd name="connsiteY10387" fmla="*/ 6404332 h 17966907"/>
                <a:gd name="connsiteX10388" fmla="*/ 2868606 w 13797425"/>
                <a:gd name="connsiteY10388" fmla="*/ 6380506 h 17966907"/>
                <a:gd name="connsiteX10389" fmla="*/ 2868606 w 13797425"/>
                <a:gd name="connsiteY10389" fmla="*/ 6366211 h 17966907"/>
                <a:gd name="connsiteX10390" fmla="*/ 2873371 w 13797425"/>
                <a:gd name="connsiteY10390" fmla="*/ 6361445 h 17966907"/>
                <a:gd name="connsiteX10391" fmla="*/ 2882902 w 13797425"/>
                <a:gd name="connsiteY10391" fmla="*/ 6332857 h 17966907"/>
                <a:gd name="connsiteX10392" fmla="*/ 2882902 w 13797425"/>
                <a:gd name="connsiteY10392" fmla="*/ 6323325 h 17966907"/>
                <a:gd name="connsiteX10393" fmla="*/ 2873371 w 13797425"/>
                <a:gd name="connsiteY10393" fmla="*/ 6309029 h 17966907"/>
                <a:gd name="connsiteX10394" fmla="*/ 2873371 w 13797425"/>
                <a:gd name="connsiteY10394" fmla="*/ 6294734 h 17966907"/>
                <a:gd name="connsiteX10395" fmla="*/ 2878136 w 13797425"/>
                <a:gd name="connsiteY10395" fmla="*/ 6285204 h 17966907"/>
                <a:gd name="connsiteX10396" fmla="*/ 2878136 w 13797425"/>
                <a:gd name="connsiteY10396" fmla="*/ 6280440 h 17966907"/>
                <a:gd name="connsiteX10397" fmla="*/ 2873371 w 13797425"/>
                <a:gd name="connsiteY10397" fmla="*/ 6280440 h 17966907"/>
                <a:gd name="connsiteX10398" fmla="*/ 2863841 w 13797425"/>
                <a:gd name="connsiteY10398" fmla="*/ 6280440 h 17966907"/>
                <a:gd name="connsiteX10399" fmla="*/ 2825720 w 13797425"/>
                <a:gd name="connsiteY10399" fmla="*/ 6299500 h 17966907"/>
                <a:gd name="connsiteX10400" fmla="*/ 2830485 w 13797425"/>
                <a:gd name="connsiteY10400" fmla="*/ 6280440 h 17966907"/>
                <a:gd name="connsiteX10401" fmla="*/ 2849546 w 13797425"/>
                <a:gd name="connsiteY10401" fmla="*/ 6237552 h 17966907"/>
                <a:gd name="connsiteX10402" fmla="*/ 2887667 w 13797425"/>
                <a:gd name="connsiteY10402" fmla="*/ 6156547 h 17966907"/>
                <a:gd name="connsiteX10403" fmla="*/ 2901962 w 13797425"/>
                <a:gd name="connsiteY10403" fmla="*/ 6132722 h 17966907"/>
                <a:gd name="connsiteX10404" fmla="*/ 2911492 w 13797425"/>
                <a:gd name="connsiteY10404" fmla="*/ 6123191 h 17966907"/>
                <a:gd name="connsiteX10405" fmla="*/ 3030620 w 13797425"/>
                <a:gd name="connsiteY10405" fmla="*/ 6099366 h 17966907"/>
                <a:gd name="connsiteX10406" fmla="*/ 3035386 w 13797425"/>
                <a:gd name="connsiteY10406" fmla="*/ 6089834 h 17966907"/>
                <a:gd name="connsiteX10407" fmla="*/ 3092567 w 13797425"/>
                <a:gd name="connsiteY10407" fmla="*/ 5975472 h 17966907"/>
                <a:gd name="connsiteX10408" fmla="*/ 3106862 w 13797425"/>
                <a:gd name="connsiteY10408" fmla="*/ 5951644 h 17966907"/>
                <a:gd name="connsiteX10409" fmla="*/ 3125923 w 13797425"/>
                <a:gd name="connsiteY10409" fmla="*/ 5927820 h 17966907"/>
                <a:gd name="connsiteX10410" fmla="*/ 3206930 w 13797425"/>
                <a:gd name="connsiteY10410" fmla="*/ 5861107 h 17966907"/>
                <a:gd name="connsiteX10411" fmla="*/ 3211695 w 13797425"/>
                <a:gd name="connsiteY10411" fmla="*/ 5842046 h 17966907"/>
                <a:gd name="connsiteX10412" fmla="*/ 3225991 w 13797425"/>
                <a:gd name="connsiteY10412" fmla="*/ 5794396 h 17966907"/>
                <a:gd name="connsiteX10413" fmla="*/ 3230756 w 13797425"/>
                <a:gd name="connsiteY10413" fmla="*/ 5784865 h 17966907"/>
                <a:gd name="connsiteX10414" fmla="*/ 3249816 w 13797425"/>
                <a:gd name="connsiteY10414" fmla="*/ 5765805 h 17966907"/>
                <a:gd name="connsiteX10415" fmla="*/ 3306998 w 13797425"/>
                <a:gd name="connsiteY10415" fmla="*/ 5665736 h 17966907"/>
                <a:gd name="connsiteX10416" fmla="*/ 3359414 w 13797425"/>
                <a:gd name="connsiteY10416" fmla="*/ 5594262 h 17966907"/>
                <a:gd name="connsiteX10417" fmla="*/ 3388005 w 13797425"/>
                <a:gd name="connsiteY10417" fmla="*/ 5551374 h 17966907"/>
                <a:gd name="connsiteX10418" fmla="*/ 3421361 w 13797425"/>
                <a:gd name="connsiteY10418" fmla="*/ 5503722 h 17966907"/>
                <a:gd name="connsiteX10419" fmla="*/ 3464247 w 13797425"/>
                <a:gd name="connsiteY10419" fmla="*/ 5484664 h 17966907"/>
                <a:gd name="connsiteX10420" fmla="*/ 3592905 w 13797425"/>
                <a:gd name="connsiteY10420" fmla="*/ 5446541 h 17966907"/>
                <a:gd name="connsiteX10421" fmla="*/ 3683443 w 13797425"/>
                <a:gd name="connsiteY10421" fmla="*/ 5494193 h 17966907"/>
                <a:gd name="connsiteX10422" fmla="*/ 3707268 w 13797425"/>
                <a:gd name="connsiteY10422" fmla="*/ 5498959 h 17966907"/>
                <a:gd name="connsiteX10423" fmla="*/ 3716799 w 13797425"/>
                <a:gd name="connsiteY10423" fmla="*/ 5484664 h 17966907"/>
                <a:gd name="connsiteX10424" fmla="*/ 3726329 w 13797425"/>
                <a:gd name="connsiteY10424" fmla="*/ 5465600 h 17966907"/>
                <a:gd name="connsiteX10425" fmla="*/ 3740624 w 13797425"/>
                <a:gd name="connsiteY10425" fmla="*/ 5470368 h 17966907"/>
                <a:gd name="connsiteX10426" fmla="*/ 3773980 w 13797425"/>
                <a:gd name="connsiteY10426" fmla="*/ 5479896 h 17966907"/>
                <a:gd name="connsiteX10427" fmla="*/ 3783511 w 13797425"/>
                <a:gd name="connsiteY10427" fmla="*/ 5475132 h 17966907"/>
                <a:gd name="connsiteX10428" fmla="*/ 3797806 w 13797425"/>
                <a:gd name="connsiteY10428" fmla="*/ 5451308 h 17966907"/>
                <a:gd name="connsiteX10429" fmla="*/ 3788276 w 13797425"/>
                <a:gd name="connsiteY10429" fmla="*/ 5437012 h 17966907"/>
                <a:gd name="connsiteX10430" fmla="*/ 3745390 w 13797425"/>
                <a:gd name="connsiteY10430" fmla="*/ 5413187 h 17966907"/>
                <a:gd name="connsiteX10431" fmla="*/ 3740624 w 13797425"/>
                <a:gd name="connsiteY10431" fmla="*/ 5398891 h 17966907"/>
                <a:gd name="connsiteX10432" fmla="*/ 3745390 w 13797425"/>
                <a:gd name="connsiteY10432" fmla="*/ 5389360 h 17966907"/>
                <a:gd name="connsiteX10433" fmla="*/ 3759685 w 13797425"/>
                <a:gd name="connsiteY10433" fmla="*/ 5360770 h 17966907"/>
                <a:gd name="connsiteX10434" fmla="*/ 3773980 w 13797425"/>
                <a:gd name="connsiteY10434" fmla="*/ 5341710 h 17966907"/>
                <a:gd name="connsiteX10435" fmla="*/ 7833868 w 13797425"/>
                <a:gd name="connsiteY10435" fmla="*/ 5251173 h 17966907"/>
                <a:gd name="connsiteX10436" fmla="*/ 7862459 w 13797425"/>
                <a:gd name="connsiteY10436" fmla="*/ 5255937 h 17966907"/>
                <a:gd name="connsiteX10437" fmla="*/ 7900580 w 13797425"/>
                <a:gd name="connsiteY10437" fmla="*/ 5270233 h 17966907"/>
                <a:gd name="connsiteX10438" fmla="*/ 7938701 w 13797425"/>
                <a:gd name="connsiteY10438" fmla="*/ 5294057 h 17966907"/>
                <a:gd name="connsiteX10439" fmla="*/ 7991117 w 13797425"/>
                <a:gd name="connsiteY10439" fmla="*/ 5370299 h 17966907"/>
                <a:gd name="connsiteX10440" fmla="*/ 8010178 w 13797425"/>
                <a:gd name="connsiteY10440" fmla="*/ 5403655 h 17966907"/>
                <a:gd name="connsiteX10441" fmla="*/ 8014943 w 13797425"/>
                <a:gd name="connsiteY10441" fmla="*/ 5451308 h 17966907"/>
                <a:gd name="connsiteX10442" fmla="*/ 8014943 w 13797425"/>
                <a:gd name="connsiteY10442" fmla="*/ 5479896 h 17966907"/>
                <a:gd name="connsiteX10443" fmla="*/ 8010178 w 13797425"/>
                <a:gd name="connsiteY10443" fmla="*/ 5498959 h 17966907"/>
                <a:gd name="connsiteX10444" fmla="*/ 8005413 w 13797425"/>
                <a:gd name="connsiteY10444" fmla="*/ 5513253 h 17966907"/>
                <a:gd name="connsiteX10445" fmla="*/ 7991117 w 13797425"/>
                <a:gd name="connsiteY10445" fmla="*/ 5527549 h 17966907"/>
                <a:gd name="connsiteX10446" fmla="*/ 7952996 w 13797425"/>
                <a:gd name="connsiteY10446" fmla="*/ 5570434 h 17966907"/>
                <a:gd name="connsiteX10447" fmla="*/ 7933936 w 13797425"/>
                <a:gd name="connsiteY10447" fmla="*/ 5570434 h 17966907"/>
                <a:gd name="connsiteX10448" fmla="*/ 7810043 w 13797425"/>
                <a:gd name="connsiteY10448" fmla="*/ 5484664 h 17966907"/>
                <a:gd name="connsiteX10449" fmla="*/ 7786217 w 13797425"/>
                <a:gd name="connsiteY10449" fmla="*/ 5446541 h 17966907"/>
                <a:gd name="connsiteX10450" fmla="*/ 7781452 w 13797425"/>
                <a:gd name="connsiteY10450" fmla="*/ 5417951 h 17966907"/>
                <a:gd name="connsiteX10451" fmla="*/ 7781452 w 13797425"/>
                <a:gd name="connsiteY10451" fmla="*/ 5375065 h 17966907"/>
                <a:gd name="connsiteX10452" fmla="*/ 7781452 w 13797425"/>
                <a:gd name="connsiteY10452" fmla="*/ 5322650 h 17966907"/>
                <a:gd name="connsiteX10453" fmla="*/ 7786217 w 13797425"/>
                <a:gd name="connsiteY10453" fmla="*/ 5284529 h 17966907"/>
                <a:gd name="connsiteX10454" fmla="*/ 7795747 w 13797425"/>
                <a:gd name="connsiteY10454" fmla="*/ 5270233 h 17966907"/>
                <a:gd name="connsiteX10455" fmla="*/ 7810043 w 13797425"/>
                <a:gd name="connsiteY10455" fmla="*/ 5260701 h 17966907"/>
                <a:gd name="connsiteX10456" fmla="*/ 5489426 w 13797425"/>
                <a:gd name="connsiteY10456" fmla="*/ 5179696 h 17966907"/>
                <a:gd name="connsiteX10457" fmla="*/ 5532312 w 13797425"/>
                <a:gd name="connsiteY10457" fmla="*/ 5189224 h 17966907"/>
                <a:gd name="connsiteX10458" fmla="*/ 5551373 w 13797425"/>
                <a:gd name="connsiteY10458" fmla="*/ 5217816 h 17966907"/>
                <a:gd name="connsiteX10459" fmla="*/ 5579963 w 13797425"/>
                <a:gd name="connsiteY10459" fmla="*/ 5260701 h 17966907"/>
                <a:gd name="connsiteX10460" fmla="*/ 5613319 w 13797425"/>
                <a:gd name="connsiteY10460" fmla="*/ 5327414 h 17966907"/>
                <a:gd name="connsiteX10461" fmla="*/ 5622850 w 13797425"/>
                <a:gd name="connsiteY10461" fmla="*/ 5360770 h 17966907"/>
                <a:gd name="connsiteX10462" fmla="*/ 5627615 w 13797425"/>
                <a:gd name="connsiteY10462" fmla="*/ 5398891 h 17966907"/>
                <a:gd name="connsiteX10463" fmla="*/ 5632380 w 13797425"/>
                <a:gd name="connsiteY10463" fmla="*/ 5422716 h 17966907"/>
                <a:gd name="connsiteX10464" fmla="*/ 5660971 w 13797425"/>
                <a:gd name="connsiteY10464" fmla="*/ 5427483 h 17966907"/>
                <a:gd name="connsiteX10465" fmla="*/ 5694327 w 13797425"/>
                <a:gd name="connsiteY10465" fmla="*/ 5479896 h 17966907"/>
                <a:gd name="connsiteX10466" fmla="*/ 5703857 w 13797425"/>
                <a:gd name="connsiteY10466" fmla="*/ 5498959 h 17966907"/>
                <a:gd name="connsiteX10467" fmla="*/ 5708622 w 13797425"/>
                <a:gd name="connsiteY10467" fmla="*/ 5541845 h 17966907"/>
                <a:gd name="connsiteX10468" fmla="*/ 5708622 w 13797425"/>
                <a:gd name="connsiteY10468" fmla="*/ 5560904 h 17966907"/>
                <a:gd name="connsiteX10469" fmla="*/ 5703857 w 13797425"/>
                <a:gd name="connsiteY10469" fmla="*/ 5603790 h 17966907"/>
                <a:gd name="connsiteX10470" fmla="*/ 5694327 w 13797425"/>
                <a:gd name="connsiteY10470" fmla="*/ 5618086 h 17966907"/>
                <a:gd name="connsiteX10471" fmla="*/ 5670501 w 13797425"/>
                <a:gd name="connsiteY10471" fmla="*/ 5632380 h 17966907"/>
                <a:gd name="connsiteX10472" fmla="*/ 5622850 w 13797425"/>
                <a:gd name="connsiteY10472" fmla="*/ 5603790 h 17966907"/>
                <a:gd name="connsiteX10473" fmla="*/ 5589494 w 13797425"/>
                <a:gd name="connsiteY10473" fmla="*/ 5589498 h 17966907"/>
                <a:gd name="connsiteX10474" fmla="*/ 5565668 w 13797425"/>
                <a:gd name="connsiteY10474" fmla="*/ 5537077 h 17966907"/>
                <a:gd name="connsiteX10475" fmla="*/ 5537077 w 13797425"/>
                <a:gd name="connsiteY10475" fmla="*/ 5470368 h 17966907"/>
                <a:gd name="connsiteX10476" fmla="*/ 5513252 w 13797425"/>
                <a:gd name="connsiteY10476" fmla="*/ 5389360 h 17966907"/>
                <a:gd name="connsiteX10477" fmla="*/ 5508486 w 13797425"/>
                <a:gd name="connsiteY10477" fmla="*/ 5346474 h 17966907"/>
                <a:gd name="connsiteX10478" fmla="*/ 5494191 w 13797425"/>
                <a:gd name="connsiteY10478" fmla="*/ 5317882 h 17966907"/>
                <a:gd name="connsiteX10479" fmla="*/ 5484661 w 13797425"/>
                <a:gd name="connsiteY10479" fmla="*/ 5270233 h 17966907"/>
                <a:gd name="connsiteX10480" fmla="*/ 5456070 w 13797425"/>
                <a:gd name="connsiteY10480" fmla="*/ 5198756 h 17966907"/>
                <a:gd name="connsiteX10481" fmla="*/ 5460835 w 13797425"/>
                <a:gd name="connsiteY10481" fmla="*/ 5189224 h 17966907"/>
                <a:gd name="connsiteX10482" fmla="*/ 7109569 w 13797425"/>
                <a:gd name="connsiteY10482" fmla="*/ 5151103 h 17966907"/>
                <a:gd name="connsiteX10483" fmla="*/ 7147690 w 13797425"/>
                <a:gd name="connsiteY10483" fmla="*/ 5179696 h 17966907"/>
                <a:gd name="connsiteX10484" fmla="*/ 7190576 w 13797425"/>
                <a:gd name="connsiteY10484" fmla="*/ 5165399 h 17966907"/>
                <a:gd name="connsiteX10485" fmla="*/ 7238228 w 13797425"/>
                <a:gd name="connsiteY10485" fmla="*/ 5160635 h 17966907"/>
                <a:gd name="connsiteX10486" fmla="*/ 7338295 w 13797425"/>
                <a:gd name="connsiteY10486" fmla="*/ 5174930 h 17966907"/>
                <a:gd name="connsiteX10487" fmla="*/ 7409772 w 13797425"/>
                <a:gd name="connsiteY10487" fmla="*/ 5165399 h 17966907"/>
                <a:gd name="connsiteX10488" fmla="*/ 7424068 w 13797425"/>
                <a:gd name="connsiteY10488" fmla="*/ 5170167 h 17966907"/>
                <a:gd name="connsiteX10489" fmla="*/ 7452658 w 13797425"/>
                <a:gd name="connsiteY10489" fmla="*/ 5189226 h 17966907"/>
                <a:gd name="connsiteX10490" fmla="*/ 7466954 w 13797425"/>
                <a:gd name="connsiteY10490" fmla="*/ 5208284 h 17966907"/>
                <a:gd name="connsiteX10491" fmla="*/ 7476484 w 13797425"/>
                <a:gd name="connsiteY10491" fmla="*/ 5246409 h 17966907"/>
                <a:gd name="connsiteX10492" fmla="*/ 7447893 w 13797425"/>
                <a:gd name="connsiteY10492" fmla="*/ 5270233 h 17966907"/>
                <a:gd name="connsiteX10493" fmla="*/ 7419302 w 13797425"/>
                <a:gd name="connsiteY10493" fmla="*/ 5379831 h 17966907"/>
                <a:gd name="connsiteX10494" fmla="*/ 7414537 w 13797425"/>
                <a:gd name="connsiteY10494" fmla="*/ 5389360 h 17966907"/>
                <a:gd name="connsiteX10495" fmla="*/ 7381181 w 13797425"/>
                <a:gd name="connsiteY10495" fmla="*/ 5389360 h 17966907"/>
                <a:gd name="connsiteX10496" fmla="*/ 7366886 w 13797425"/>
                <a:gd name="connsiteY10496" fmla="*/ 5398891 h 17966907"/>
                <a:gd name="connsiteX10497" fmla="*/ 7276349 w 13797425"/>
                <a:gd name="connsiteY10497" fmla="*/ 5384595 h 17966907"/>
                <a:gd name="connsiteX10498" fmla="*/ 7033327 w 13797425"/>
                <a:gd name="connsiteY10498" fmla="*/ 5375067 h 17966907"/>
                <a:gd name="connsiteX10499" fmla="*/ 7019032 w 13797425"/>
                <a:gd name="connsiteY10499" fmla="*/ 5360771 h 17966907"/>
                <a:gd name="connsiteX10500" fmla="*/ 6990441 w 13797425"/>
                <a:gd name="connsiteY10500" fmla="*/ 5294057 h 17966907"/>
                <a:gd name="connsiteX10501" fmla="*/ 6985676 w 13797425"/>
                <a:gd name="connsiteY10501" fmla="*/ 5270233 h 17966907"/>
                <a:gd name="connsiteX10502" fmla="*/ 6995206 w 13797425"/>
                <a:gd name="connsiteY10502" fmla="*/ 5236877 h 17966907"/>
                <a:gd name="connsiteX10503" fmla="*/ 6999971 w 13797425"/>
                <a:gd name="connsiteY10503" fmla="*/ 5217816 h 17966907"/>
                <a:gd name="connsiteX10504" fmla="*/ 7009502 w 13797425"/>
                <a:gd name="connsiteY10504" fmla="*/ 5208284 h 17966907"/>
                <a:gd name="connsiteX10505" fmla="*/ 7080979 w 13797425"/>
                <a:gd name="connsiteY10505" fmla="*/ 5155871 h 17966907"/>
                <a:gd name="connsiteX10506" fmla="*/ 6104127 w 13797425"/>
                <a:gd name="connsiteY10506" fmla="*/ 5070095 h 17966907"/>
                <a:gd name="connsiteX10507" fmla="*/ 6151778 w 13797425"/>
                <a:gd name="connsiteY10507" fmla="*/ 5074862 h 17966907"/>
                <a:gd name="connsiteX10508" fmla="*/ 6199430 w 13797425"/>
                <a:gd name="connsiteY10508" fmla="*/ 5103453 h 17966907"/>
                <a:gd name="connsiteX10509" fmla="*/ 6218490 w 13797425"/>
                <a:gd name="connsiteY10509" fmla="*/ 5122515 h 17966907"/>
                <a:gd name="connsiteX10510" fmla="*/ 6228020 w 13797425"/>
                <a:gd name="connsiteY10510" fmla="*/ 5136808 h 17966907"/>
                <a:gd name="connsiteX10511" fmla="*/ 6242316 w 13797425"/>
                <a:gd name="connsiteY10511" fmla="*/ 5160635 h 17966907"/>
                <a:gd name="connsiteX10512" fmla="*/ 6247081 w 13797425"/>
                <a:gd name="connsiteY10512" fmla="*/ 5170164 h 17966907"/>
                <a:gd name="connsiteX10513" fmla="*/ 6247081 w 13797425"/>
                <a:gd name="connsiteY10513" fmla="*/ 5193989 h 17966907"/>
                <a:gd name="connsiteX10514" fmla="*/ 6185134 w 13797425"/>
                <a:gd name="connsiteY10514" fmla="*/ 5198756 h 17966907"/>
                <a:gd name="connsiteX10515" fmla="*/ 6156544 w 13797425"/>
                <a:gd name="connsiteY10515" fmla="*/ 5203520 h 17966907"/>
                <a:gd name="connsiteX10516" fmla="*/ 6142248 w 13797425"/>
                <a:gd name="connsiteY10516" fmla="*/ 5222580 h 17966907"/>
                <a:gd name="connsiteX10517" fmla="*/ 6118423 w 13797425"/>
                <a:gd name="connsiteY10517" fmla="*/ 5227345 h 17966907"/>
                <a:gd name="connsiteX10518" fmla="*/ 6080302 w 13797425"/>
                <a:gd name="connsiteY10518" fmla="*/ 5222580 h 17966907"/>
                <a:gd name="connsiteX10519" fmla="*/ 6032650 w 13797425"/>
                <a:gd name="connsiteY10519" fmla="*/ 5198756 h 17966907"/>
                <a:gd name="connsiteX10520" fmla="*/ 6023120 w 13797425"/>
                <a:gd name="connsiteY10520" fmla="*/ 5165399 h 17966907"/>
                <a:gd name="connsiteX10521" fmla="*/ 6018355 w 13797425"/>
                <a:gd name="connsiteY10521" fmla="*/ 5117747 h 17966907"/>
                <a:gd name="connsiteX10522" fmla="*/ 6018355 w 13797425"/>
                <a:gd name="connsiteY10522" fmla="*/ 5089158 h 17966907"/>
                <a:gd name="connsiteX10523" fmla="*/ 6023120 w 13797425"/>
                <a:gd name="connsiteY10523" fmla="*/ 5084394 h 17966907"/>
                <a:gd name="connsiteX10524" fmla="*/ 6051711 w 13797425"/>
                <a:gd name="connsiteY10524" fmla="*/ 5079626 h 17966907"/>
                <a:gd name="connsiteX10525" fmla="*/ 4164720 w 13797425"/>
                <a:gd name="connsiteY10525" fmla="*/ 4936672 h 17966907"/>
                <a:gd name="connsiteX10526" fmla="*/ 4169485 w 13797425"/>
                <a:gd name="connsiteY10526" fmla="*/ 4946204 h 17966907"/>
                <a:gd name="connsiteX10527" fmla="*/ 4169485 w 13797425"/>
                <a:gd name="connsiteY10527" fmla="*/ 4970029 h 17966907"/>
                <a:gd name="connsiteX10528" fmla="*/ 4174250 w 13797425"/>
                <a:gd name="connsiteY10528" fmla="*/ 4993857 h 17966907"/>
                <a:gd name="connsiteX10529" fmla="*/ 4188546 w 13797425"/>
                <a:gd name="connsiteY10529" fmla="*/ 4998621 h 17966907"/>
                <a:gd name="connsiteX10530" fmla="*/ 4202841 w 13797425"/>
                <a:gd name="connsiteY10530" fmla="*/ 5012917 h 17966907"/>
                <a:gd name="connsiteX10531" fmla="*/ 4236197 w 13797425"/>
                <a:gd name="connsiteY10531" fmla="*/ 5060566 h 17966907"/>
                <a:gd name="connsiteX10532" fmla="*/ 4255257 w 13797425"/>
                <a:gd name="connsiteY10532" fmla="*/ 5070098 h 17966907"/>
                <a:gd name="connsiteX10533" fmla="*/ 4260022 w 13797425"/>
                <a:gd name="connsiteY10533" fmla="*/ 5079627 h 17966907"/>
                <a:gd name="connsiteX10534" fmla="*/ 4264788 w 13797425"/>
                <a:gd name="connsiteY10534" fmla="*/ 5093922 h 17966907"/>
                <a:gd name="connsiteX10535" fmla="*/ 4279083 w 13797425"/>
                <a:gd name="connsiteY10535" fmla="*/ 5122515 h 17966907"/>
                <a:gd name="connsiteX10536" fmla="*/ 4279083 w 13797425"/>
                <a:gd name="connsiteY10536" fmla="*/ 5132043 h 17966907"/>
                <a:gd name="connsiteX10537" fmla="*/ 4260022 w 13797425"/>
                <a:gd name="connsiteY10537" fmla="*/ 5160635 h 17966907"/>
                <a:gd name="connsiteX10538" fmla="*/ 4245727 w 13797425"/>
                <a:gd name="connsiteY10538" fmla="*/ 5179696 h 17966907"/>
                <a:gd name="connsiteX10539" fmla="*/ 4202841 w 13797425"/>
                <a:gd name="connsiteY10539" fmla="*/ 5203520 h 17966907"/>
                <a:gd name="connsiteX10540" fmla="*/ 4174250 w 13797425"/>
                <a:gd name="connsiteY10540" fmla="*/ 5203520 h 17966907"/>
                <a:gd name="connsiteX10541" fmla="*/ 4121834 w 13797425"/>
                <a:gd name="connsiteY10541" fmla="*/ 5165399 h 17966907"/>
                <a:gd name="connsiteX10542" fmla="*/ 4064652 w 13797425"/>
                <a:gd name="connsiteY10542" fmla="*/ 5060566 h 17966907"/>
                <a:gd name="connsiteX10543" fmla="*/ 4059887 w 13797425"/>
                <a:gd name="connsiteY10543" fmla="*/ 5017681 h 17966907"/>
                <a:gd name="connsiteX10544" fmla="*/ 4078948 w 13797425"/>
                <a:gd name="connsiteY10544" fmla="*/ 5012917 h 17966907"/>
                <a:gd name="connsiteX10545" fmla="*/ 4093243 w 13797425"/>
                <a:gd name="connsiteY10545" fmla="*/ 4998621 h 17966907"/>
                <a:gd name="connsiteX10546" fmla="*/ 4102773 w 13797425"/>
                <a:gd name="connsiteY10546" fmla="*/ 4984325 h 17966907"/>
                <a:gd name="connsiteX10547" fmla="*/ 4121834 w 13797425"/>
                <a:gd name="connsiteY10547" fmla="*/ 4965264 h 17966907"/>
                <a:gd name="connsiteX10548" fmla="*/ 4769892 w 13797425"/>
                <a:gd name="connsiteY10548" fmla="*/ 4917612 h 17966907"/>
                <a:gd name="connsiteX10549" fmla="*/ 4898550 w 13797425"/>
                <a:gd name="connsiteY10549" fmla="*/ 4936672 h 17966907"/>
                <a:gd name="connsiteX10550" fmla="*/ 4903315 w 13797425"/>
                <a:gd name="connsiteY10550" fmla="*/ 4936672 h 17966907"/>
                <a:gd name="connsiteX10551" fmla="*/ 4903315 w 13797425"/>
                <a:gd name="connsiteY10551" fmla="*/ 4950968 h 17966907"/>
                <a:gd name="connsiteX10552" fmla="*/ 4893785 w 13797425"/>
                <a:gd name="connsiteY10552" fmla="*/ 4993857 h 17966907"/>
                <a:gd name="connsiteX10553" fmla="*/ 4879489 w 13797425"/>
                <a:gd name="connsiteY10553" fmla="*/ 5027209 h 17966907"/>
                <a:gd name="connsiteX10554" fmla="*/ 4812778 w 13797425"/>
                <a:gd name="connsiteY10554" fmla="*/ 5065331 h 17966907"/>
                <a:gd name="connsiteX10555" fmla="*/ 4727005 w 13797425"/>
                <a:gd name="connsiteY10555" fmla="*/ 5103453 h 17966907"/>
                <a:gd name="connsiteX10556" fmla="*/ 4707945 w 13797425"/>
                <a:gd name="connsiteY10556" fmla="*/ 5117747 h 17966907"/>
                <a:gd name="connsiteX10557" fmla="*/ 4707945 w 13797425"/>
                <a:gd name="connsiteY10557" fmla="*/ 5127279 h 17966907"/>
                <a:gd name="connsiteX10558" fmla="*/ 4717475 w 13797425"/>
                <a:gd name="connsiteY10558" fmla="*/ 5141575 h 17966907"/>
                <a:gd name="connsiteX10559" fmla="*/ 4731770 w 13797425"/>
                <a:gd name="connsiteY10559" fmla="*/ 5155868 h 17966907"/>
                <a:gd name="connsiteX10560" fmla="*/ 4798482 w 13797425"/>
                <a:gd name="connsiteY10560" fmla="*/ 5155868 h 17966907"/>
                <a:gd name="connsiteX10561" fmla="*/ 4812778 w 13797425"/>
                <a:gd name="connsiteY10561" fmla="*/ 5160635 h 17966907"/>
                <a:gd name="connsiteX10562" fmla="*/ 4817543 w 13797425"/>
                <a:gd name="connsiteY10562" fmla="*/ 5170164 h 17966907"/>
                <a:gd name="connsiteX10563" fmla="*/ 4822308 w 13797425"/>
                <a:gd name="connsiteY10563" fmla="*/ 5189224 h 17966907"/>
                <a:gd name="connsiteX10564" fmla="*/ 4827073 w 13797425"/>
                <a:gd name="connsiteY10564" fmla="*/ 5208284 h 17966907"/>
                <a:gd name="connsiteX10565" fmla="*/ 4827073 w 13797425"/>
                <a:gd name="connsiteY10565" fmla="*/ 5274997 h 17966907"/>
                <a:gd name="connsiteX10566" fmla="*/ 4822308 w 13797425"/>
                <a:gd name="connsiteY10566" fmla="*/ 5313118 h 17966907"/>
                <a:gd name="connsiteX10567" fmla="*/ 4812778 w 13797425"/>
                <a:gd name="connsiteY10567" fmla="*/ 5346474 h 17966907"/>
                <a:gd name="connsiteX10568" fmla="*/ 4784187 w 13797425"/>
                <a:gd name="connsiteY10568" fmla="*/ 5370299 h 17966907"/>
                <a:gd name="connsiteX10569" fmla="*/ 4736536 w 13797425"/>
                <a:gd name="connsiteY10569" fmla="*/ 5403655 h 17966907"/>
                <a:gd name="connsiteX10570" fmla="*/ 4703180 w 13797425"/>
                <a:gd name="connsiteY10570" fmla="*/ 5417951 h 17966907"/>
                <a:gd name="connsiteX10571" fmla="*/ 4679354 w 13797425"/>
                <a:gd name="connsiteY10571" fmla="*/ 5413187 h 17966907"/>
                <a:gd name="connsiteX10572" fmla="*/ 4650763 w 13797425"/>
                <a:gd name="connsiteY10572" fmla="*/ 5413187 h 17966907"/>
                <a:gd name="connsiteX10573" fmla="*/ 4536400 w 13797425"/>
                <a:gd name="connsiteY10573" fmla="*/ 5475132 h 17966907"/>
                <a:gd name="connsiteX10574" fmla="*/ 4503044 w 13797425"/>
                <a:gd name="connsiteY10574" fmla="*/ 5475132 h 17966907"/>
                <a:gd name="connsiteX10575" fmla="*/ 4474454 w 13797425"/>
                <a:gd name="connsiteY10575" fmla="*/ 5460836 h 17966907"/>
                <a:gd name="connsiteX10576" fmla="*/ 4431568 w 13797425"/>
                <a:gd name="connsiteY10576" fmla="*/ 5403655 h 17966907"/>
                <a:gd name="connsiteX10577" fmla="*/ 4383916 w 13797425"/>
                <a:gd name="connsiteY10577" fmla="*/ 5379831 h 17966907"/>
                <a:gd name="connsiteX10578" fmla="*/ 4364856 w 13797425"/>
                <a:gd name="connsiteY10578" fmla="*/ 5356006 h 17966907"/>
                <a:gd name="connsiteX10579" fmla="*/ 4350560 w 13797425"/>
                <a:gd name="connsiteY10579" fmla="*/ 5341710 h 17966907"/>
                <a:gd name="connsiteX10580" fmla="*/ 4345795 w 13797425"/>
                <a:gd name="connsiteY10580" fmla="*/ 5322650 h 17966907"/>
                <a:gd name="connsiteX10581" fmla="*/ 4341030 w 13797425"/>
                <a:gd name="connsiteY10581" fmla="*/ 5303590 h 17966907"/>
                <a:gd name="connsiteX10582" fmla="*/ 4345795 w 13797425"/>
                <a:gd name="connsiteY10582" fmla="*/ 5289293 h 17966907"/>
                <a:gd name="connsiteX10583" fmla="*/ 4355326 w 13797425"/>
                <a:gd name="connsiteY10583" fmla="*/ 5279761 h 17966907"/>
                <a:gd name="connsiteX10584" fmla="*/ 4355326 w 13797425"/>
                <a:gd name="connsiteY10584" fmla="*/ 5265465 h 17966907"/>
                <a:gd name="connsiteX10585" fmla="*/ 4350560 w 13797425"/>
                <a:gd name="connsiteY10585" fmla="*/ 5236877 h 17966907"/>
                <a:gd name="connsiteX10586" fmla="*/ 4345795 w 13797425"/>
                <a:gd name="connsiteY10586" fmla="*/ 5203520 h 17966907"/>
                <a:gd name="connsiteX10587" fmla="*/ 4331500 w 13797425"/>
                <a:gd name="connsiteY10587" fmla="*/ 5160635 h 17966907"/>
                <a:gd name="connsiteX10588" fmla="*/ 4331500 w 13797425"/>
                <a:gd name="connsiteY10588" fmla="*/ 5136808 h 17966907"/>
                <a:gd name="connsiteX10589" fmla="*/ 4331500 w 13797425"/>
                <a:gd name="connsiteY10589" fmla="*/ 5117747 h 17966907"/>
                <a:gd name="connsiteX10590" fmla="*/ 4331500 w 13797425"/>
                <a:gd name="connsiteY10590" fmla="*/ 5098686 h 17966907"/>
                <a:gd name="connsiteX10591" fmla="*/ 4341030 w 13797425"/>
                <a:gd name="connsiteY10591" fmla="*/ 5070095 h 17966907"/>
                <a:gd name="connsiteX10592" fmla="*/ 4345795 w 13797425"/>
                <a:gd name="connsiteY10592" fmla="*/ 5060566 h 17966907"/>
                <a:gd name="connsiteX10593" fmla="*/ 4369621 w 13797425"/>
                <a:gd name="connsiteY10593" fmla="*/ 5055802 h 17966907"/>
                <a:gd name="connsiteX10594" fmla="*/ 4402977 w 13797425"/>
                <a:gd name="connsiteY10594" fmla="*/ 5036741 h 17966907"/>
                <a:gd name="connsiteX10595" fmla="*/ 4483984 w 13797425"/>
                <a:gd name="connsiteY10595" fmla="*/ 4989089 h 17966907"/>
                <a:gd name="connsiteX10596" fmla="*/ 4655528 w 13797425"/>
                <a:gd name="connsiteY10596" fmla="*/ 4927144 h 17966907"/>
                <a:gd name="connsiteX10597" fmla="*/ 4707945 w 13797425"/>
                <a:gd name="connsiteY10597" fmla="*/ 4936672 h 17966907"/>
                <a:gd name="connsiteX10598" fmla="*/ 4731770 w 13797425"/>
                <a:gd name="connsiteY10598" fmla="*/ 4922379 h 17966907"/>
                <a:gd name="connsiteX10599" fmla="*/ 5951642 w 13797425"/>
                <a:gd name="connsiteY10599" fmla="*/ 4788954 h 17966907"/>
                <a:gd name="connsiteX10600" fmla="*/ 5965938 w 13797425"/>
                <a:gd name="connsiteY10600" fmla="*/ 4803250 h 17966907"/>
                <a:gd name="connsiteX10601" fmla="*/ 5970703 w 13797425"/>
                <a:gd name="connsiteY10601" fmla="*/ 4831842 h 17966907"/>
                <a:gd name="connsiteX10602" fmla="*/ 5937347 w 13797425"/>
                <a:gd name="connsiteY10602" fmla="*/ 4884259 h 17966907"/>
                <a:gd name="connsiteX10603" fmla="*/ 5918287 w 13797425"/>
                <a:gd name="connsiteY10603" fmla="*/ 4898551 h 17966907"/>
                <a:gd name="connsiteX10604" fmla="*/ 5899226 w 13797425"/>
                <a:gd name="connsiteY10604" fmla="*/ 4889023 h 17966907"/>
                <a:gd name="connsiteX10605" fmla="*/ 5894461 w 13797425"/>
                <a:gd name="connsiteY10605" fmla="*/ 4879492 h 17966907"/>
                <a:gd name="connsiteX10606" fmla="*/ 5894461 w 13797425"/>
                <a:gd name="connsiteY10606" fmla="*/ 4869963 h 17966907"/>
                <a:gd name="connsiteX10607" fmla="*/ 5894461 w 13797425"/>
                <a:gd name="connsiteY10607" fmla="*/ 4855666 h 17966907"/>
                <a:gd name="connsiteX10608" fmla="*/ 5918287 w 13797425"/>
                <a:gd name="connsiteY10608" fmla="*/ 4808014 h 17966907"/>
                <a:gd name="connsiteX10609" fmla="*/ 5942112 w 13797425"/>
                <a:gd name="connsiteY10609" fmla="*/ 4793720 h 17966907"/>
                <a:gd name="connsiteX10610" fmla="*/ 4746066 w 13797425"/>
                <a:gd name="connsiteY10610" fmla="*/ 4407743 h 17966907"/>
                <a:gd name="connsiteX10611" fmla="*/ 4779422 w 13797425"/>
                <a:gd name="connsiteY10611" fmla="*/ 4407743 h 17966907"/>
                <a:gd name="connsiteX10612" fmla="*/ 4822308 w 13797425"/>
                <a:gd name="connsiteY10612" fmla="*/ 4450632 h 17966907"/>
                <a:gd name="connsiteX10613" fmla="*/ 4850899 w 13797425"/>
                <a:gd name="connsiteY10613" fmla="*/ 4469691 h 17966907"/>
                <a:gd name="connsiteX10614" fmla="*/ 4869959 w 13797425"/>
                <a:gd name="connsiteY10614" fmla="*/ 4493517 h 17966907"/>
                <a:gd name="connsiteX10615" fmla="*/ 4898550 w 13797425"/>
                <a:gd name="connsiteY10615" fmla="*/ 4541169 h 17966907"/>
                <a:gd name="connsiteX10616" fmla="*/ 4908080 w 13797425"/>
                <a:gd name="connsiteY10616" fmla="*/ 4536402 h 17966907"/>
                <a:gd name="connsiteX10617" fmla="*/ 4922375 w 13797425"/>
                <a:gd name="connsiteY10617" fmla="*/ 4545933 h 17966907"/>
                <a:gd name="connsiteX10618" fmla="*/ 4927140 w 13797425"/>
                <a:gd name="connsiteY10618" fmla="*/ 4560230 h 17966907"/>
                <a:gd name="connsiteX10619" fmla="*/ 4941436 w 13797425"/>
                <a:gd name="connsiteY10619" fmla="*/ 4617411 h 17966907"/>
                <a:gd name="connsiteX10620" fmla="*/ 4946201 w 13797425"/>
                <a:gd name="connsiteY10620" fmla="*/ 4646003 h 17966907"/>
                <a:gd name="connsiteX10621" fmla="*/ 4946201 w 13797425"/>
                <a:gd name="connsiteY10621" fmla="*/ 4684122 h 17966907"/>
                <a:gd name="connsiteX10622" fmla="*/ 4946201 w 13797425"/>
                <a:gd name="connsiteY10622" fmla="*/ 4712712 h 17966907"/>
                <a:gd name="connsiteX10623" fmla="*/ 4936671 w 13797425"/>
                <a:gd name="connsiteY10623" fmla="*/ 4741305 h 17966907"/>
                <a:gd name="connsiteX10624" fmla="*/ 4922375 w 13797425"/>
                <a:gd name="connsiteY10624" fmla="*/ 4755597 h 17966907"/>
                <a:gd name="connsiteX10625" fmla="*/ 4889020 w 13797425"/>
                <a:gd name="connsiteY10625" fmla="*/ 4765129 h 17966907"/>
                <a:gd name="connsiteX10626" fmla="*/ 4841368 w 13797425"/>
                <a:gd name="connsiteY10626" fmla="*/ 4750833 h 17966907"/>
                <a:gd name="connsiteX10627" fmla="*/ 4798482 w 13797425"/>
                <a:gd name="connsiteY10627" fmla="*/ 4769893 h 17966907"/>
                <a:gd name="connsiteX10628" fmla="*/ 4779422 w 13797425"/>
                <a:gd name="connsiteY10628" fmla="*/ 4769893 h 17966907"/>
                <a:gd name="connsiteX10629" fmla="*/ 4727005 w 13797425"/>
                <a:gd name="connsiteY10629" fmla="*/ 4760365 h 17966907"/>
                <a:gd name="connsiteX10630" fmla="*/ 4712710 w 13797425"/>
                <a:gd name="connsiteY10630" fmla="*/ 4750833 h 17966907"/>
                <a:gd name="connsiteX10631" fmla="*/ 4684119 w 13797425"/>
                <a:gd name="connsiteY10631" fmla="*/ 4717477 h 17966907"/>
                <a:gd name="connsiteX10632" fmla="*/ 4660294 w 13797425"/>
                <a:gd name="connsiteY10632" fmla="*/ 4698416 h 17966907"/>
                <a:gd name="connsiteX10633" fmla="*/ 4650763 w 13797425"/>
                <a:gd name="connsiteY10633" fmla="*/ 4707948 h 17966907"/>
                <a:gd name="connsiteX10634" fmla="*/ 4641233 w 13797425"/>
                <a:gd name="connsiteY10634" fmla="*/ 4741305 h 17966907"/>
                <a:gd name="connsiteX10635" fmla="*/ 4617407 w 13797425"/>
                <a:gd name="connsiteY10635" fmla="*/ 4774658 h 17966907"/>
                <a:gd name="connsiteX10636" fmla="*/ 4607877 w 13797425"/>
                <a:gd name="connsiteY10636" fmla="*/ 4784189 h 17966907"/>
                <a:gd name="connsiteX10637" fmla="*/ 4569756 w 13797425"/>
                <a:gd name="connsiteY10637" fmla="*/ 4779425 h 17966907"/>
                <a:gd name="connsiteX10638" fmla="*/ 4512575 w 13797425"/>
                <a:gd name="connsiteY10638" fmla="*/ 4717477 h 17966907"/>
                <a:gd name="connsiteX10639" fmla="*/ 4445863 w 13797425"/>
                <a:gd name="connsiteY10639" fmla="*/ 4736537 h 17966907"/>
                <a:gd name="connsiteX10640" fmla="*/ 4374386 w 13797425"/>
                <a:gd name="connsiteY10640" fmla="*/ 4774658 h 17966907"/>
                <a:gd name="connsiteX10641" fmla="*/ 4345795 w 13797425"/>
                <a:gd name="connsiteY10641" fmla="*/ 4779425 h 17966907"/>
                <a:gd name="connsiteX10642" fmla="*/ 4341030 w 13797425"/>
                <a:gd name="connsiteY10642" fmla="*/ 4769893 h 17966907"/>
                <a:gd name="connsiteX10643" fmla="*/ 4331500 w 13797425"/>
                <a:gd name="connsiteY10643" fmla="*/ 4741305 h 17966907"/>
                <a:gd name="connsiteX10644" fmla="*/ 4331500 w 13797425"/>
                <a:gd name="connsiteY10644" fmla="*/ 4727008 h 17966907"/>
                <a:gd name="connsiteX10645" fmla="*/ 4350560 w 13797425"/>
                <a:gd name="connsiteY10645" fmla="*/ 4684122 h 17966907"/>
                <a:gd name="connsiteX10646" fmla="*/ 4398212 w 13797425"/>
                <a:gd name="connsiteY10646" fmla="*/ 4636471 h 17966907"/>
                <a:gd name="connsiteX10647" fmla="*/ 4431568 w 13797425"/>
                <a:gd name="connsiteY10647" fmla="*/ 4612647 h 17966907"/>
                <a:gd name="connsiteX10648" fmla="*/ 4498279 w 13797425"/>
                <a:gd name="connsiteY10648" fmla="*/ 4574526 h 17966907"/>
                <a:gd name="connsiteX10649" fmla="*/ 4574521 w 13797425"/>
                <a:gd name="connsiteY10649" fmla="*/ 4555462 h 17966907"/>
                <a:gd name="connsiteX10650" fmla="*/ 4607877 w 13797425"/>
                <a:gd name="connsiteY10650" fmla="*/ 4531637 h 17966907"/>
                <a:gd name="connsiteX10651" fmla="*/ 4626938 w 13797425"/>
                <a:gd name="connsiteY10651" fmla="*/ 4498283 h 17966907"/>
                <a:gd name="connsiteX10652" fmla="*/ 4674589 w 13797425"/>
                <a:gd name="connsiteY10652" fmla="*/ 4445865 h 17966907"/>
                <a:gd name="connsiteX10653" fmla="*/ 4707945 w 13797425"/>
                <a:gd name="connsiteY10653" fmla="*/ 4426804 h 17966907"/>
                <a:gd name="connsiteX10654" fmla="*/ 6685472 w 13797425"/>
                <a:gd name="connsiteY10654" fmla="*/ 4369623 h 17966907"/>
                <a:gd name="connsiteX10655" fmla="*/ 6709298 w 13797425"/>
                <a:gd name="connsiteY10655" fmla="*/ 4369623 h 17966907"/>
                <a:gd name="connsiteX10656" fmla="*/ 6780775 w 13797425"/>
                <a:gd name="connsiteY10656" fmla="*/ 4379155 h 17966907"/>
                <a:gd name="connsiteX10657" fmla="*/ 6814131 w 13797425"/>
                <a:gd name="connsiteY10657" fmla="*/ 4388683 h 17966907"/>
                <a:gd name="connsiteX10658" fmla="*/ 6847487 w 13797425"/>
                <a:gd name="connsiteY10658" fmla="*/ 4407743 h 17966907"/>
                <a:gd name="connsiteX10659" fmla="*/ 6885608 w 13797425"/>
                <a:gd name="connsiteY10659" fmla="*/ 4436336 h 17966907"/>
                <a:gd name="connsiteX10660" fmla="*/ 6938024 w 13797425"/>
                <a:gd name="connsiteY10660" fmla="*/ 4464928 h 17966907"/>
                <a:gd name="connsiteX10661" fmla="*/ 6957085 w 13797425"/>
                <a:gd name="connsiteY10661" fmla="*/ 4483987 h 17966907"/>
                <a:gd name="connsiteX10662" fmla="*/ 6990440 w 13797425"/>
                <a:gd name="connsiteY10662" fmla="*/ 4536402 h 17966907"/>
                <a:gd name="connsiteX10663" fmla="*/ 6990440 w 13797425"/>
                <a:gd name="connsiteY10663" fmla="*/ 4555462 h 17966907"/>
                <a:gd name="connsiteX10664" fmla="*/ 6990440 w 13797425"/>
                <a:gd name="connsiteY10664" fmla="*/ 4569758 h 17966907"/>
                <a:gd name="connsiteX10665" fmla="*/ 6999971 w 13797425"/>
                <a:gd name="connsiteY10665" fmla="*/ 4588818 h 17966907"/>
                <a:gd name="connsiteX10666" fmla="*/ 7033327 w 13797425"/>
                <a:gd name="connsiteY10666" fmla="*/ 4607881 h 17966907"/>
                <a:gd name="connsiteX10667" fmla="*/ 7100038 w 13797425"/>
                <a:gd name="connsiteY10667" fmla="*/ 4598350 h 17966907"/>
                <a:gd name="connsiteX10668" fmla="*/ 7123864 w 13797425"/>
                <a:gd name="connsiteY10668" fmla="*/ 4612647 h 17966907"/>
                <a:gd name="connsiteX10669" fmla="*/ 7181045 w 13797425"/>
                <a:gd name="connsiteY10669" fmla="*/ 4665062 h 17966907"/>
                <a:gd name="connsiteX10670" fmla="*/ 7200106 w 13797425"/>
                <a:gd name="connsiteY10670" fmla="*/ 4698416 h 17966907"/>
                <a:gd name="connsiteX10671" fmla="*/ 7204871 w 13797425"/>
                <a:gd name="connsiteY10671" fmla="*/ 4722243 h 17966907"/>
                <a:gd name="connsiteX10672" fmla="*/ 7204871 w 13797425"/>
                <a:gd name="connsiteY10672" fmla="*/ 4731773 h 17966907"/>
                <a:gd name="connsiteX10673" fmla="*/ 7185810 w 13797425"/>
                <a:gd name="connsiteY10673" fmla="*/ 4755597 h 17966907"/>
                <a:gd name="connsiteX10674" fmla="*/ 7142924 w 13797425"/>
                <a:gd name="connsiteY10674" fmla="*/ 4793721 h 17966907"/>
                <a:gd name="connsiteX10675" fmla="*/ 7133394 w 13797425"/>
                <a:gd name="connsiteY10675" fmla="*/ 4822311 h 17966907"/>
                <a:gd name="connsiteX10676" fmla="*/ 7171515 w 13797425"/>
                <a:gd name="connsiteY10676" fmla="*/ 4860431 h 17966907"/>
                <a:gd name="connsiteX10677" fmla="*/ 7190576 w 13797425"/>
                <a:gd name="connsiteY10677" fmla="*/ 4893787 h 17966907"/>
                <a:gd name="connsiteX10678" fmla="*/ 7195341 w 13797425"/>
                <a:gd name="connsiteY10678" fmla="*/ 4912847 h 17966907"/>
                <a:gd name="connsiteX10679" fmla="*/ 7195341 w 13797425"/>
                <a:gd name="connsiteY10679" fmla="*/ 4936676 h 17966907"/>
                <a:gd name="connsiteX10680" fmla="*/ 7171515 w 13797425"/>
                <a:gd name="connsiteY10680" fmla="*/ 4998621 h 17966907"/>
                <a:gd name="connsiteX10681" fmla="*/ 7157220 w 13797425"/>
                <a:gd name="connsiteY10681" fmla="*/ 5017681 h 17966907"/>
                <a:gd name="connsiteX10682" fmla="*/ 7128629 w 13797425"/>
                <a:gd name="connsiteY10682" fmla="*/ 5017681 h 17966907"/>
                <a:gd name="connsiteX10683" fmla="*/ 7114334 w 13797425"/>
                <a:gd name="connsiteY10683" fmla="*/ 5022446 h 17966907"/>
                <a:gd name="connsiteX10684" fmla="*/ 7080978 w 13797425"/>
                <a:gd name="connsiteY10684" fmla="*/ 5051038 h 17966907"/>
                <a:gd name="connsiteX10685" fmla="*/ 7028561 w 13797425"/>
                <a:gd name="connsiteY10685" fmla="*/ 5079630 h 17966907"/>
                <a:gd name="connsiteX10686" fmla="*/ 6957085 w 13797425"/>
                <a:gd name="connsiteY10686" fmla="*/ 5089158 h 17966907"/>
                <a:gd name="connsiteX10687" fmla="*/ 6938024 w 13797425"/>
                <a:gd name="connsiteY10687" fmla="*/ 5108218 h 17966907"/>
                <a:gd name="connsiteX10688" fmla="*/ 6899903 w 13797425"/>
                <a:gd name="connsiteY10688" fmla="*/ 5136811 h 17966907"/>
                <a:gd name="connsiteX10689" fmla="*/ 6876077 w 13797425"/>
                <a:gd name="connsiteY10689" fmla="*/ 5141575 h 17966907"/>
                <a:gd name="connsiteX10690" fmla="*/ 6866547 w 13797425"/>
                <a:gd name="connsiteY10690" fmla="*/ 5122515 h 17966907"/>
                <a:gd name="connsiteX10691" fmla="*/ 6861782 w 13797425"/>
                <a:gd name="connsiteY10691" fmla="*/ 5098690 h 17966907"/>
                <a:gd name="connsiteX10692" fmla="*/ 6866547 w 13797425"/>
                <a:gd name="connsiteY10692" fmla="*/ 5084394 h 17966907"/>
                <a:gd name="connsiteX10693" fmla="*/ 6871312 w 13797425"/>
                <a:gd name="connsiteY10693" fmla="*/ 5065334 h 17966907"/>
                <a:gd name="connsiteX10694" fmla="*/ 6857017 w 13797425"/>
                <a:gd name="connsiteY10694" fmla="*/ 5046272 h 17966907"/>
                <a:gd name="connsiteX10695" fmla="*/ 6809366 w 13797425"/>
                <a:gd name="connsiteY10695" fmla="*/ 5008153 h 17966907"/>
                <a:gd name="connsiteX10696" fmla="*/ 6776010 w 13797425"/>
                <a:gd name="connsiteY10696" fmla="*/ 4955736 h 17966907"/>
                <a:gd name="connsiteX10697" fmla="*/ 6771245 w 13797425"/>
                <a:gd name="connsiteY10697" fmla="*/ 4941440 h 17966907"/>
                <a:gd name="connsiteX10698" fmla="*/ 6771245 w 13797425"/>
                <a:gd name="connsiteY10698" fmla="*/ 4927144 h 17966907"/>
                <a:gd name="connsiteX10699" fmla="*/ 6837956 w 13797425"/>
                <a:gd name="connsiteY10699" fmla="*/ 4917614 h 17966907"/>
                <a:gd name="connsiteX10700" fmla="*/ 6866547 w 13797425"/>
                <a:gd name="connsiteY10700" fmla="*/ 4908083 h 17966907"/>
                <a:gd name="connsiteX10701" fmla="*/ 6880843 w 13797425"/>
                <a:gd name="connsiteY10701" fmla="*/ 4889023 h 17966907"/>
                <a:gd name="connsiteX10702" fmla="*/ 6880843 w 13797425"/>
                <a:gd name="connsiteY10702" fmla="*/ 4879492 h 17966907"/>
                <a:gd name="connsiteX10703" fmla="*/ 6871312 w 13797425"/>
                <a:gd name="connsiteY10703" fmla="*/ 4874727 h 17966907"/>
                <a:gd name="connsiteX10704" fmla="*/ 6823661 w 13797425"/>
                <a:gd name="connsiteY10704" fmla="*/ 4841370 h 17966907"/>
                <a:gd name="connsiteX10705" fmla="*/ 6747419 w 13797425"/>
                <a:gd name="connsiteY10705" fmla="*/ 4822311 h 17966907"/>
                <a:gd name="connsiteX10706" fmla="*/ 6742654 w 13797425"/>
                <a:gd name="connsiteY10706" fmla="*/ 4798486 h 17966907"/>
                <a:gd name="connsiteX10707" fmla="*/ 6709298 w 13797425"/>
                <a:gd name="connsiteY10707" fmla="*/ 4746069 h 17966907"/>
                <a:gd name="connsiteX10708" fmla="*/ 6704533 w 13797425"/>
                <a:gd name="connsiteY10708" fmla="*/ 4698416 h 17966907"/>
                <a:gd name="connsiteX10709" fmla="*/ 6699768 w 13797425"/>
                <a:gd name="connsiteY10709" fmla="*/ 4688888 h 17966907"/>
                <a:gd name="connsiteX10710" fmla="*/ 6675942 w 13797425"/>
                <a:gd name="connsiteY10710" fmla="*/ 4665062 h 17966907"/>
                <a:gd name="connsiteX10711" fmla="*/ 6675942 w 13797425"/>
                <a:gd name="connsiteY10711" fmla="*/ 4660296 h 17966907"/>
                <a:gd name="connsiteX10712" fmla="*/ 6666412 w 13797425"/>
                <a:gd name="connsiteY10712" fmla="*/ 4631707 h 17966907"/>
                <a:gd name="connsiteX10713" fmla="*/ 6666412 w 13797425"/>
                <a:gd name="connsiteY10713" fmla="*/ 4612647 h 17966907"/>
                <a:gd name="connsiteX10714" fmla="*/ 6666412 w 13797425"/>
                <a:gd name="connsiteY10714" fmla="*/ 4598350 h 17966907"/>
                <a:gd name="connsiteX10715" fmla="*/ 6709298 w 13797425"/>
                <a:gd name="connsiteY10715" fmla="*/ 4564994 h 17966907"/>
                <a:gd name="connsiteX10716" fmla="*/ 6704533 w 13797425"/>
                <a:gd name="connsiteY10716" fmla="*/ 4545933 h 17966907"/>
                <a:gd name="connsiteX10717" fmla="*/ 6671177 w 13797425"/>
                <a:gd name="connsiteY10717" fmla="*/ 4460160 h 17966907"/>
                <a:gd name="connsiteX10718" fmla="*/ 6666412 w 13797425"/>
                <a:gd name="connsiteY10718" fmla="*/ 4412508 h 17966907"/>
                <a:gd name="connsiteX10719" fmla="*/ 6666412 w 13797425"/>
                <a:gd name="connsiteY10719" fmla="*/ 4393448 h 17966907"/>
                <a:gd name="connsiteX10720" fmla="*/ 5827750 w 13797425"/>
                <a:gd name="connsiteY10720" fmla="*/ 3916936 h 17966907"/>
                <a:gd name="connsiteX10721" fmla="*/ 5870636 w 13797425"/>
                <a:gd name="connsiteY10721" fmla="*/ 3950292 h 17966907"/>
                <a:gd name="connsiteX10722" fmla="*/ 5908757 w 13797425"/>
                <a:gd name="connsiteY10722" fmla="*/ 3964588 h 17966907"/>
                <a:gd name="connsiteX10723" fmla="*/ 5951643 w 13797425"/>
                <a:gd name="connsiteY10723" fmla="*/ 4021769 h 17966907"/>
                <a:gd name="connsiteX10724" fmla="*/ 5989764 w 13797425"/>
                <a:gd name="connsiteY10724" fmla="*/ 4131367 h 17966907"/>
                <a:gd name="connsiteX10725" fmla="*/ 5994529 w 13797425"/>
                <a:gd name="connsiteY10725" fmla="*/ 4145663 h 17966907"/>
                <a:gd name="connsiteX10726" fmla="*/ 5994529 w 13797425"/>
                <a:gd name="connsiteY10726" fmla="*/ 4164723 h 17966907"/>
                <a:gd name="connsiteX10727" fmla="*/ 5989764 w 13797425"/>
                <a:gd name="connsiteY10727" fmla="*/ 4188548 h 17966907"/>
                <a:gd name="connsiteX10728" fmla="*/ 5984999 w 13797425"/>
                <a:gd name="connsiteY10728" fmla="*/ 4217140 h 17966907"/>
                <a:gd name="connsiteX10729" fmla="*/ 5980234 w 13797425"/>
                <a:gd name="connsiteY10729" fmla="*/ 4236201 h 17966907"/>
                <a:gd name="connsiteX10730" fmla="*/ 5999294 w 13797425"/>
                <a:gd name="connsiteY10730" fmla="*/ 4260025 h 17966907"/>
                <a:gd name="connsiteX10731" fmla="*/ 6004059 w 13797425"/>
                <a:gd name="connsiteY10731" fmla="*/ 4269557 h 17966907"/>
                <a:gd name="connsiteX10732" fmla="*/ 5999294 w 13797425"/>
                <a:gd name="connsiteY10732" fmla="*/ 4293381 h 17966907"/>
                <a:gd name="connsiteX10733" fmla="*/ 6004059 w 13797425"/>
                <a:gd name="connsiteY10733" fmla="*/ 4307678 h 17966907"/>
                <a:gd name="connsiteX10734" fmla="*/ 6013590 w 13797425"/>
                <a:gd name="connsiteY10734" fmla="*/ 4293381 h 17966907"/>
                <a:gd name="connsiteX10735" fmla="*/ 6027885 w 13797425"/>
                <a:gd name="connsiteY10735" fmla="*/ 4264790 h 17966907"/>
                <a:gd name="connsiteX10736" fmla="*/ 6027885 w 13797425"/>
                <a:gd name="connsiteY10736" fmla="*/ 4250497 h 17966907"/>
                <a:gd name="connsiteX10737" fmla="*/ 6032650 w 13797425"/>
                <a:gd name="connsiteY10737" fmla="*/ 4202844 h 17966907"/>
                <a:gd name="connsiteX10738" fmla="*/ 6061241 w 13797425"/>
                <a:gd name="connsiteY10738" fmla="*/ 4179020 h 17966907"/>
                <a:gd name="connsiteX10739" fmla="*/ 6099362 w 13797425"/>
                <a:gd name="connsiteY10739" fmla="*/ 4145663 h 17966907"/>
                <a:gd name="connsiteX10740" fmla="*/ 6113657 w 13797425"/>
                <a:gd name="connsiteY10740" fmla="*/ 4140899 h 17966907"/>
                <a:gd name="connsiteX10741" fmla="*/ 6137483 w 13797425"/>
                <a:gd name="connsiteY10741" fmla="*/ 4145663 h 17966907"/>
                <a:gd name="connsiteX10742" fmla="*/ 6204195 w 13797425"/>
                <a:gd name="connsiteY10742" fmla="*/ 4226669 h 17966907"/>
                <a:gd name="connsiteX10743" fmla="*/ 6228020 w 13797425"/>
                <a:gd name="connsiteY10743" fmla="*/ 4231435 h 17966907"/>
                <a:gd name="connsiteX10744" fmla="*/ 6237550 w 13797425"/>
                <a:gd name="connsiteY10744" fmla="*/ 4240965 h 17966907"/>
                <a:gd name="connsiteX10745" fmla="*/ 6242316 w 13797425"/>
                <a:gd name="connsiteY10745" fmla="*/ 4260025 h 17966907"/>
                <a:gd name="connsiteX10746" fmla="*/ 6242316 w 13797425"/>
                <a:gd name="connsiteY10746" fmla="*/ 4279085 h 17966907"/>
                <a:gd name="connsiteX10747" fmla="*/ 6232785 w 13797425"/>
                <a:gd name="connsiteY10747" fmla="*/ 4326738 h 17966907"/>
                <a:gd name="connsiteX10748" fmla="*/ 6228020 w 13797425"/>
                <a:gd name="connsiteY10748" fmla="*/ 4355327 h 17966907"/>
                <a:gd name="connsiteX10749" fmla="*/ 6228020 w 13797425"/>
                <a:gd name="connsiteY10749" fmla="*/ 4374391 h 17966907"/>
                <a:gd name="connsiteX10750" fmla="*/ 6261376 w 13797425"/>
                <a:gd name="connsiteY10750" fmla="*/ 4388683 h 17966907"/>
                <a:gd name="connsiteX10751" fmla="*/ 6337618 w 13797425"/>
                <a:gd name="connsiteY10751" fmla="*/ 4360095 h 17966907"/>
                <a:gd name="connsiteX10752" fmla="*/ 6404330 w 13797425"/>
                <a:gd name="connsiteY10752" fmla="*/ 4431572 h 17966907"/>
                <a:gd name="connsiteX10753" fmla="*/ 6437686 w 13797425"/>
                <a:gd name="connsiteY10753" fmla="*/ 4517342 h 17966907"/>
                <a:gd name="connsiteX10754" fmla="*/ 6466276 w 13797425"/>
                <a:gd name="connsiteY10754" fmla="*/ 4545933 h 17966907"/>
                <a:gd name="connsiteX10755" fmla="*/ 6471042 w 13797425"/>
                <a:gd name="connsiteY10755" fmla="*/ 4560230 h 17966907"/>
                <a:gd name="connsiteX10756" fmla="*/ 6461511 w 13797425"/>
                <a:gd name="connsiteY10756" fmla="*/ 4579290 h 17966907"/>
                <a:gd name="connsiteX10757" fmla="*/ 6456746 w 13797425"/>
                <a:gd name="connsiteY10757" fmla="*/ 4617411 h 17966907"/>
                <a:gd name="connsiteX10758" fmla="*/ 6432921 w 13797425"/>
                <a:gd name="connsiteY10758" fmla="*/ 4646003 h 17966907"/>
                <a:gd name="connsiteX10759" fmla="*/ 6428156 w 13797425"/>
                <a:gd name="connsiteY10759" fmla="*/ 4660296 h 17966907"/>
                <a:gd name="connsiteX10760" fmla="*/ 6442451 w 13797425"/>
                <a:gd name="connsiteY10760" fmla="*/ 4693652 h 17966907"/>
                <a:gd name="connsiteX10761" fmla="*/ 6442451 w 13797425"/>
                <a:gd name="connsiteY10761" fmla="*/ 4717477 h 17966907"/>
                <a:gd name="connsiteX10762" fmla="*/ 6437686 w 13797425"/>
                <a:gd name="connsiteY10762" fmla="*/ 4746069 h 17966907"/>
                <a:gd name="connsiteX10763" fmla="*/ 6442451 w 13797425"/>
                <a:gd name="connsiteY10763" fmla="*/ 4765129 h 17966907"/>
                <a:gd name="connsiteX10764" fmla="*/ 6475807 w 13797425"/>
                <a:gd name="connsiteY10764" fmla="*/ 4784189 h 17966907"/>
                <a:gd name="connsiteX10765" fmla="*/ 6542518 w 13797425"/>
                <a:gd name="connsiteY10765" fmla="*/ 4908083 h 17966907"/>
                <a:gd name="connsiteX10766" fmla="*/ 6552049 w 13797425"/>
                <a:gd name="connsiteY10766" fmla="*/ 4941440 h 17966907"/>
                <a:gd name="connsiteX10767" fmla="*/ 6561579 w 13797425"/>
                <a:gd name="connsiteY10767" fmla="*/ 4984325 h 17966907"/>
                <a:gd name="connsiteX10768" fmla="*/ 6561579 w 13797425"/>
                <a:gd name="connsiteY10768" fmla="*/ 4998621 h 17966907"/>
                <a:gd name="connsiteX10769" fmla="*/ 6552049 w 13797425"/>
                <a:gd name="connsiteY10769" fmla="*/ 5022446 h 17966907"/>
                <a:gd name="connsiteX10770" fmla="*/ 6542518 w 13797425"/>
                <a:gd name="connsiteY10770" fmla="*/ 5089158 h 17966907"/>
                <a:gd name="connsiteX10771" fmla="*/ 6532988 w 13797425"/>
                <a:gd name="connsiteY10771" fmla="*/ 5103454 h 17966907"/>
                <a:gd name="connsiteX10772" fmla="*/ 6509163 w 13797425"/>
                <a:gd name="connsiteY10772" fmla="*/ 5112983 h 17966907"/>
                <a:gd name="connsiteX10773" fmla="*/ 6456746 w 13797425"/>
                <a:gd name="connsiteY10773" fmla="*/ 5127279 h 17966907"/>
                <a:gd name="connsiteX10774" fmla="*/ 6413860 w 13797425"/>
                <a:gd name="connsiteY10774" fmla="*/ 5151103 h 17966907"/>
                <a:gd name="connsiteX10775" fmla="*/ 6361444 w 13797425"/>
                <a:gd name="connsiteY10775" fmla="*/ 5122515 h 17966907"/>
                <a:gd name="connsiteX10776" fmla="*/ 6313792 w 13797425"/>
                <a:gd name="connsiteY10776" fmla="*/ 5074862 h 17966907"/>
                <a:gd name="connsiteX10777" fmla="*/ 6299497 w 13797425"/>
                <a:gd name="connsiteY10777" fmla="*/ 5046272 h 17966907"/>
                <a:gd name="connsiteX10778" fmla="*/ 6285202 w 13797425"/>
                <a:gd name="connsiteY10778" fmla="*/ 5012917 h 17966907"/>
                <a:gd name="connsiteX10779" fmla="*/ 6285202 w 13797425"/>
                <a:gd name="connsiteY10779" fmla="*/ 4998621 h 17966907"/>
                <a:gd name="connsiteX10780" fmla="*/ 6280437 w 13797425"/>
                <a:gd name="connsiteY10780" fmla="*/ 4941440 h 17966907"/>
                <a:gd name="connsiteX10781" fmla="*/ 6275672 w 13797425"/>
                <a:gd name="connsiteY10781" fmla="*/ 4927144 h 17966907"/>
                <a:gd name="connsiteX10782" fmla="*/ 6256611 w 13797425"/>
                <a:gd name="connsiteY10782" fmla="*/ 4898551 h 17966907"/>
                <a:gd name="connsiteX10783" fmla="*/ 6237550 w 13797425"/>
                <a:gd name="connsiteY10783" fmla="*/ 4850902 h 17966907"/>
                <a:gd name="connsiteX10784" fmla="*/ 6204195 w 13797425"/>
                <a:gd name="connsiteY10784" fmla="*/ 4846137 h 17966907"/>
                <a:gd name="connsiteX10785" fmla="*/ 6118422 w 13797425"/>
                <a:gd name="connsiteY10785" fmla="*/ 4793721 h 17966907"/>
                <a:gd name="connsiteX10786" fmla="*/ 6085066 w 13797425"/>
                <a:gd name="connsiteY10786" fmla="*/ 4784189 h 17966907"/>
                <a:gd name="connsiteX10787" fmla="*/ 6046946 w 13797425"/>
                <a:gd name="connsiteY10787" fmla="*/ 4784189 h 17966907"/>
                <a:gd name="connsiteX10788" fmla="*/ 5999294 w 13797425"/>
                <a:gd name="connsiteY10788" fmla="*/ 4808016 h 17966907"/>
                <a:gd name="connsiteX10789" fmla="*/ 5989764 w 13797425"/>
                <a:gd name="connsiteY10789" fmla="*/ 4803250 h 17966907"/>
                <a:gd name="connsiteX10790" fmla="*/ 5980234 w 13797425"/>
                <a:gd name="connsiteY10790" fmla="*/ 4784189 h 17966907"/>
                <a:gd name="connsiteX10791" fmla="*/ 5970704 w 13797425"/>
                <a:gd name="connsiteY10791" fmla="*/ 4760365 h 17966907"/>
                <a:gd name="connsiteX10792" fmla="*/ 5970704 w 13797425"/>
                <a:gd name="connsiteY10792" fmla="*/ 4746069 h 17966907"/>
                <a:gd name="connsiteX10793" fmla="*/ 5980234 w 13797425"/>
                <a:gd name="connsiteY10793" fmla="*/ 4712712 h 17966907"/>
                <a:gd name="connsiteX10794" fmla="*/ 5832515 w 13797425"/>
                <a:gd name="connsiteY10794" fmla="*/ 4750833 h 17966907"/>
                <a:gd name="connsiteX10795" fmla="*/ 5789629 w 13797425"/>
                <a:gd name="connsiteY10795" fmla="*/ 4798486 h 17966907"/>
                <a:gd name="connsiteX10796" fmla="*/ 5727682 w 13797425"/>
                <a:gd name="connsiteY10796" fmla="*/ 4788954 h 17966907"/>
                <a:gd name="connsiteX10797" fmla="*/ 5699091 w 13797425"/>
                <a:gd name="connsiteY10797" fmla="*/ 4769897 h 17966907"/>
                <a:gd name="connsiteX10798" fmla="*/ 5660970 w 13797425"/>
                <a:gd name="connsiteY10798" fmla="*/ 4727008 h 17966907"/>
                <a:gd name="connsiteX10799" fmla="*/ 5641910 w 13797425"/>
                <a:gd name="connsiteY10799" fmla="*/ 4688888 h 17966907"/>
                <a:gd name="connsiteX10800" fmla="*/ 5627614 w 13797425"/>
                <a:gd name="connsiteY10800" fmla="*/ 4636471 h 17966907"/>
                <a:gd name="connsiteX10801" fmla="*/ 5622849 w 13797425"/>
                <a:gd name="connsiteY10801" fmla="*/ 4598350 h 17966907"/>
                <a:gd name="connsiteX10802" fmla="*/ 5637145 w 13797425"/>
                <a:gd name="connsiteY10802" fmla="*/ 4569758 h 17966907"/>
                <a:gd name="connsiteX10803" fmla="*/ 5651440 w 13797425"/>
                <a:gd name="connsiteY10803" fmla="*/ 4555462 h 17966907"/>
                <a:gd name="connsiteX10804" fmla="*/ 5665736 w 13797425"/>
                <a:gd name="connsiteY10804" fmla="*/ 4550698 h 17966907"/>
                <a:gd name="connsiteX10805" fmla="*/ 5746743 w 13797425"/>
                <a:gd name="connsiteY10805" fmla="*/ 4579290 h 17966907"/>
                <a:gd name="connsiteX10806" fmla="*/ 5818220 w 13797425"/>
                <a:gd name="connsiteY10806" fmla="*/ 4598350 h 17966907"/>
                <a:gd name="connsiteX10807" fmla="*/ 5846810 w 13797425"/>
                <a:gd name="connsiteY10807" fmla="*/ 4579290 h 17966907"/>
                <a:gd name="connsiteX10808" fmla="*/ 5861106 w 13797425"/>
                <a:gd name="connsiteY10808" fmla="*/ 4536402 h 17966907"/>
                <a:gd name="connsiteX10809" fmla="*/ 5846810 w 13797425"/>
                <a:gd name="connsiteY10809" fmla="*/ 4517342 h 17966907"/>
                <a:gd name="connsiteX10810" fmla="*/ 5775333 w 13797425"/>
                <a:gd name="connsiteY10810" fmla="*/ 4507813 h 17966907"/>
                <a:gd name="connsiteX10811" fmla="*/ 5789629 w 13797425"/>
                <a:gd name="connsiteY10811" fmla="*/ 4483987 h 17966907"/>
                <a:gd name="connsiteX10812" fmla="*/ 5846810 w 13797425"/>
                <a:gd name="connsiteY10812" fmla="*/ 4460160 h 17966907"/>
                <a:gd name="connsiteX10813" fmla="*/ 5880166 w 13797425"/>
                <a:gd name="connsiteY10813" fmla="*/ 4426804 h 17966907"/>
                <a:gd name="connsiteX10814" fmla="*/ 5870636 w 13797425"/>
                <a:gd name="connsiteY10814" fmla="*/ 4412508 h 17966907"/>
                <a:gd name="connsiteX10815" fmla="*/ 5856340 w 13797425"/>
                <a:gd name="connsiteY10815" fmla="*/ 4398215 h 17966907"/>
                <a:gd name="connsiteX10816" fmla="*/ 5780098 w 13797425"/>
                <a:gd name="connsiteY10816" fmla="*/ 4402979 h 17966907"/>
                <a:gd name="connsiteX10817" fmla="*/ 5751508 w 13797425"/>
                <a:gd name="connsiteY10817" fmla="*/ 4388683 h 17966907"/>
                <a:gd name="connsiteX10818" fmla="*/ 5751508 w 13797425"/>
                <a:gd name="connsiteY10818" fmla="*/ 4379155 h 17966907"/>
                <a:gd name="connsiteX10819" fmla="*/ 5756273 w 13797425"/>
                <a:gd name="connsiteY10819" fmla="*/ 4364859 h 17966907"/>
                <a:gd name="connsiteX10820" fmla="*/ 5799159 w 13797425"/>
                <a:gd name="connsiteY10820" fmla="*/ 4288617 h 17966907"/>
                <a:gd name="connsiteX10821" fmla="*/ 5799159 w 13797425"/>
                <a:gd name="connsiteY10821" fmla="*/ 4279085 h 17966907"/>
                <a:gd name="connsiteX10822" fmla="*/ 5780098 w 13797425"/>
                <a:gd name="connsiteY10822" fmla="*/ 4255261 h 17966907"/>
                <a:gd name="connsiteX10823" fmla="*/ 5761038 w 13797425"/>
                <a:gd name="connsiteY10823" fmla="*/ 4221904 h 17966907"/>
                <a:gd name="connsiteX10824" fmla="*/ 5756273 w 13797425"/>
                <a:gd name="connsiteY10824" fmla="*/ 4217140 h 17966907"/>
                <a:gd name="connsiteX10825" fmla="*/ 5718152 w 13797425"/>
                <a:gd name="connsiteY10825" fmla="*/ 4245731 h 17966907"/>
                <a:gd name="connsiteX10826" fmla="*/ 5665736 w 13797425"/>
                <a:gd name="connsiteY10826" fmla="*/ 4350562 h 17966907"/>
                <a:gd name="connsiteX10827" fmla="*/ 5651440 w 13797425"/>
                <a:gd name="connsiteY10827" fmla="*/ 4369623 h 17966907"/>
                <a:gd name="connsiteX10828" fmla="*/ 5641910 w 13797425"/>
                <a:gd name="connsiteY10828" fmla="*/ 4364859 h 17966907"/>
                <a:gd name="connsiteX10829" fmla="*/ 5627614 w 13797425"/>
                <a:gd name="connsiteY10829" fmla="*/ 4350562 h 17966907"/>
                <a:gd name="connsiteX10830" fmla="*/ 5627614 w 13797425"/>
                <a:gd name="connsiteY10830" fmla="*/ 4326738 h 17966907"/>
                <a:gd name="connsiteX10831" fmla="*/ 5641910 w 13797425"/>
                <a:gd name="connsiteY10831" fmla="*/ 4302912 h 17966907"/>
                <a:gd name="connsiteX10832" fmla="*/ 5665736 w 13797425"/>
                <a:gd name="connsiteY10832" fmla="*/ 4217140 h 17966907"/>
                <a:gd name="connsiteX10833" fmla="*/ 5665736 w 13797425"/>
                <a:gd name="connsiteY10833" fmla="*/ 4188548 h 17966907"/>
                <a:gd name="connsiteX10834" fmla="*/ 5637145 w 13797425"/>
                <a:gd name="connsiteY10834" fmla="*/ 4169488 h 17966907"/>
                <a:gd name="connsiteX10835" fmla="*/ 5575198 w 13797425"/>
                <a:gd name="connsiteY10835" fmla="*/ 4183784 h 17966907"/>
                <a:gd name="connsiteX10836" fmla="*/ 5541842 w 13797425"/>
                <a:gd name="connsiteY10836" fmla="*/ 4183784 h 17966907"/>
                <a:gd name="connsiteX10837" fmla="*/ 5537077 w 13797425"/>
                <a:gd name="connsiteY10837" fmla="*/ 4159958 h 17966907"/>
                <a:gd name="connsiteX10838" fmla="*/ 5532312 w 13797425"/>
                <a:gd name="connsiteY10838" fmla="*/ 4117071 h 17966907"/>
                <a:gd name="connsiteX10839" fmla="*/ 5537077 w 13797425"/>
                <a:gd name="connsiteY10839" fmla="*/ 4074186 h 17966907"/>
                <a:gd name="connsiteX10840" fmla="*/ 5541842 w 13797425"/>
                <a:gd name="connsiteY10840" fmla="*/ 4012238 h 17966907"/>
                <a:gd name="connsiteX10841" fmla="*/ 5556138 w 13797425"/>
                <a:gd name="connsiteY10841" fmla="*/ 3959823 h 17966907"/>
                <a:gd name="connsiteX10842" fmla="*/ 5565668 w 13797425"/>
                <a:gd name="connsiteY10842" fmla="*/ 3940761 h 17966907"/>
                <a:gd name="connsiteX10843" fmla="*/ 5646675 w 13797425"/>
                <a:gd name="connsiteY10843" fmla="*/ 3955057 h 17966907"/>
                <a:gd name="connsiteX10844" fmla="*/ 5784864 w 13797425"/>
                <a:gd name="connsiteY10844" fmla="*/ 3921700 h 17966907"/>
                <a:gd name="connsiteX10845" fmla="*/ 6447217 w 13797425"/>
                <a:gd name="connsiteY10845" fmla="*/ 3221228 h 17966907"/>
                <a:gd name="connsiteX10846" fmla="*/ 6494868 w 13797425"/>
                <a:gd name="connsiteY10846" fmla="*/ 3240289 h 17966907"/>
                <a:gd name="connsiteX10847" fmla="*/ 6537754 w 13797425"/>
                <a:gd name="connsiteY10847" fmla="*/ 3240289 h 17966907"/>
                <a:gd name="connsiteX10848" fmla="*/ 6556815 w 13797425"/>
                <a:gd name="connsiteY10848" fmla="*/ 3254584 h 17966907"/>
                <a:gd name="connsiteX10849" fmla="*/ 6575875 w 13797425"/>
                <a:gd name="connsiteY10849" fmla="*/ 3278409 h 17966907"/>
                <a:gd name="connsiteX10850" fmla="*/ 6590171 w 13797425"/>
                <a:gd name="connsiteY10850" fmla="*/ 3321295 h 17966907"/>
                <a:gd name="connsiteX10851" fmla="*/ 6594936 w 13797425"/>
                <a:gd name="connsiteY10851" fmla="*/ 3368947 h 17966907"/>
                <a:gd name="connsiteX10852" fmla="*/ 6594936 w 13797425"/>
                <a:gd name="connsiteY10852" fmla="*/ 3488075 h 17966907"/>
                <a:gd name="connsiteX10853" fmla="*/ 6594936 w 13797425"/>
                <a:gd name="connsiteY10853" fmla="*/ 3545256 h 17966907"/>
                <a:gd name="connsiteX10854" fmla="*/ 6585406 w 13797425"/>
                <a:gd name="connsiteY10854" fmla="*/ 3588142 h 17966907"/>
                <a:gd name="connsiteX10855" fmla="*/ 6580641 w 13797425"/>
                <a:gd name="connsiteY10855" fmla="*/ 3597671 h 17966907"/>
                <a:gd name="connsiteX10856" fmla="*/ 6571110 w 13797425"/>
                <a:gd name="connsiteY10856" fmla="*/ 3597671 h 17966907"/>
                <a:gd name="connsiteX10857" fmla="*/ 6528224 w 13797425"/>
                <a:gd name="connsiteY10857" fmla="*/ 3564317 h 17966907"/>
                <a:gd name="connsiteX10858" fmla="*/ 6513929 w 13797425"/>
                <a:gd name="connsiteY10858" fmla="*/ 3545256 h 17966907"/>
                <a:gd name="connsiteX10859" fmla="*/ 6513929 w 13797425"/>
                <a:gd name="connsiteY10859" fmla="*/ 3530960 h 17966907"/>
                <a:gd name="connsiteX10860" fmla="*/ 6509164 w 13797425"/>
                <a:gd name="connsiteY10860" fmla="*/ 3497605 h 17966907"/>
                <a:gd name="connsiteX10861" fmla="*/ 6480573 w 13797425"/>
                <a:gd name="connsiteY10861" fmla="*/ 3454717 h 17966907"/>
                <a:gd name="connsiteX10862" fmla="*/ 6428156 w 13797425"/>
                <a:gd name="connsiteY10862" fmla="*/ 3459484 h 17966907"/>
                <a:gd name="connsiteX10863" fmla="*/ 6404331 w 13797425"/>
                <a:gd name="connsiteY10863" fmla="*/ 3459484 h 17966907"/>
                <a:gd name="connsiteX10864" fmla="*/ 6394800 w 13797425"/>
                <a:gd name="connsiteY10864" fmla="*/ 3445189 h 17966907"/>
                <a:gd name="connsiteX10865" fmla="*/ 6390035 w 13797425"/>
                <a:gd name="connsiteY10865" fmla="*/ 3426128 h 17966907"/>
                <a:gd name="connsiteX10866" fmla="*/ 6385270 w 13797425"/>
                <a:gd name="connsiteY10866" fmla="*/ 3354650 h 17966907"/>
                <a:gd name="connsiteX10867" fmla="*/ 6385270 w 13797425"/>
                <a:gd name="connsiteY10867" fmla="*/ 3326059 h 17966907"/>
                <a:gd name="connsiteX10868" fmla="*/ 6394800 w 13797425"/>
                <a:gd name="connsiteY10868" fmla="*/ 3278409 h 17966907"/>
                <a:gd name="connsiteX10869" fmla="*/ 6394800 w 13797425"/>
                <a:gd name="connsiteY10869" fmla="*/ 3268878 h 17966907"/>
                <a:gd name="connsiteX10870" fmla="*/ 6437686 w 13797425"/>
                <a:gd name="connsiteY10870" fmla="*/ 3225993 h 17966907"/>
                <a:gd name="connsiteX10871" fmla="*/ 7447894 w 13797425"/>
                <a:gd name="connsiteY10871" fmla="*/ 2034711 h 17966907"/>
                <a:gd name="connsiteX10872" fmla="*/ 7490780 w 13797425"/>
                <a:gd name="connsiteY10872" fmla="*/ 2053771 h 17966907"/>
                <a:gd name="connsiteX10873" fmla="*/ 7590847 w 13797425"/>
                <a:gd name="connsiteY10873" fmla="*/ 2125248 h 17966907"/>
                <a:gd name="connsiteX10874" fmla="*/ 7624203 w 13797425"/>
                <a:gd name="connsiteY10874" fmla="*/ 2158604 h 17966907"/>
                <a:gd name="connsiteX10875" fmla="*/ 7652794 w 13797425"/>
                <a:gd name="connsiteY10875" fmla="*/ 2220551 h 17966907"/>
                <a:gd name="connsiteX10876" fmla="*/ 7671855 w 13797425"/>
                <a:gd name="connsiteY10876" fmla="*/ 2272967 h 17966907"/>
                <a:gd name="connsiteX10877" fmla="*/ 7690915 w 13797425"/>
                <a:gd name="connsiteY10877" fmla="*/ 2358741 h 17966907"/>
                <a:gd name="connsiteX10878" fmla="*/ 7767157 w 13797425"/>
                <a:gd name="connsiteY10878" fmla="*/ 2554112 h 17966907"/>
                <a:gd name="connsiteX10879" fmla="*/ 7800513 w 13797425"/>
                <a:gd name="connsiteY10879" fmla="*/ 2625587 h 17966907"/>
                <a:gd name="connsiteX10880" fmla="*/ 7862460 w 13797425"/>
                <a:gd name="connsiteY10880" fmla="*/ 2711359 h 17966907"/>
                <a:gd name="connsiteX10881" fmla="*/ 7867225 w 13797425"/>
                <a:gd name="connsiteY10881" fmla="*/ 2744713 h 17966907"/>
                <a:gd name="connsiteX10882" fmla="*/ 7867225 w 13797425"/>
                <a:gd name="connsiteY10882" fmla="*/ 2759008 h 17966907"/>
                <a:gd name="connsiteX10883" fmla="*/ 7867225 w 13797425"/>
                <a:gd name="connsiteY10883" fmla="*/ 2801896 h 17966907"/>
                <a:gd name="connsiteX10884" fmla="*/ 7881520 w 13797425"/>
                <a:gd name="connsiteY10884" fmla="*/ 2820957 h 17966907"/>
                <a:gd name="connsiteX10885" fmla="*/ 7933937 w 13797425"/>
                <a:gd name="connsiteY10885" fmla="*/ 2844783 h 17966907"/>
                <a:gd name="connsiteX10886" fmla="*/ 7991118 w 13797425"/>
                <a:gd name="connsiteY10886" fmla="*/ 2892434 h 17966907"/>
                <a:gd name="connsiteX10887" fmla="*/ 8000648 w 13797425"/>
                <a:gd name="connsiteY10887" fmla="*/ 2892434 h 17966907"/>
                <a:gd name="connsiteX10888" fmla="*/ 8019709 w 13797425"/>
                <a:gd name="connsiteY10888" fmla="*/ 2863843 h 17966907"/>
                <a:gd name="connsiteX10889" fmla="*/ 8043535 w 13797425"/>
                <a:gd name="connsiteY10889" fmla="*/ 2854314 h 17966907"/>
                <a:gd name="connsiteX10890" fmla="*/ 8072126 w 13797425"/>
                <a:gd name="connsiteY10890" fmla="*/ 2863843 h 17966907"/>
                <a:gd name="connsiteX10891" fmla="*/ 8086421 w 13797425"/>
                <a:gd name="connsiteY10891" fmla="*/ 2882902 h 17966907"/>
                <a:gd name="connsiteX10892" fmla="*/ 8095951 w 13797425"/>
                <a:gd name="connsiteY10892" fmla="*/ 2911495 h 17966907"/>
                <a:gd name="connsiteX10893" fmla="*/ 8100716 w 13797425"/>
                <a:gd name="connsiteY10893" fmla="*/ 2930558 h 17966907"/>
                <a:gd name="connsiteX10894" fmla="*/ 8100716 w 13797425"/>
                <a:gd name="connsiteY10894" fmla="*/ 2949616 h 17966907"/>
                <a:gd name="connsiteX10895" fmla="*/ 8091186 w 13797425"/>
                <a:gd name="connsiteY10895" fmla="*/ 2978207 h 17966907"/>
                <a:gd name="connsiteX10896" fmla="*/ 8091186 w 13797425"/>
                <a:gd name="connsiteY10896" fmla="*/ 2992503 h 17966907"/>
                <a:gd name="connsiteX10897" fmla="*/ 8100716 w 13797425"/>
                <a:gd name="connsiteY10897" fmla="*/ 3006797 h 17966907"/>
                <a:gd name="connsiteX10898" fmla="*/ 8100716 w 13797425"/>
                <a:gd name="connsiteY10898" fmla="*/ 3025858 h 17966907"/>
                <a:gd name="connsiteX10899" fmla="*/ 8091186 w 13797425"/>
                <a:gd name="connsiteY10899" fmla="*/ 3087803 h 17966907"/>
                <a:gd name="connsiteX10900" fmla="*/ 8091186 w 13797425"/>
                <a:gd name="connsiteY10900" fmla="*/ 3111631 h 17966907"/>
                <a:gd name="connsiteX10901" fmla="*/ 8119777 w 13797425"/>
                <a:gd name="connsiteY10901" fmla="*/ 3173575 h 17966907"/>
                <a:gd name="connsiteX10902" fmla="*/ 8143602 w 13797425"/>
                <a:gd name="connsiteY10902" fmla="*/ 3202165 h 17966907"/>
                <a:gd name="connsiteX10903" fmla="*/ 8196019 w 13797425"/>
                <a:gd name="connsiteY10903" fmla="*/ 3235524 h 17966907"/>
                <a:gd name="connsiteX10904" fmla="*/ 8229375 w 13797425"/>
                <a:gd name="connsiteY10904" fmla="*/ 3230759 h 17966907"/>
                <a:gd name="connsiteX10905" fmla="*/ 8248435 w 13797425"/>
                <a:gd name="connsiteY10905" fmla="*/ 3254584 h 17966907"/>
                <a:gd name="connsiteX10906" fmla="*/ 8248435 w 13797425"/>
                <a:gd name="connsiteY10906" fmla="*/ 3240289 h 17966907"/>
                <a:gd name="connsiteX10907" fmla="*/ 8238905 w 13797425"/>
                <a:gd name="connsiteY10907" fmla="*/ 3202165 h 17966907"/>
                <a:gd name="connsiteX10908" fmla="*/ 8219844 w 13797425"/>
                <a:gd name="connsiteY10908" fmla="*/ 3149752 h 17966907"/>
                <a:gd name="connsiteX10909" fmla="*/ 8186489 w 13797425"/>
                <a:gd name="connsiteY10909" fmla="*/ 3121159 h 17966907"/>
                <a:gd name="connsiteX10910" fmla="*/ 8176958 w 13797425"/>
                <a:gd name="connsiteY10910" fmla="*/ 3087803 h 17966907"/>
                <a:gd name="connsiteX10911" fmla="*/ 8176958 w 13797425"/>
                <a:gd name="connsiteY10911" fmla="*/ 3035388 h 17966907"/>
                <a:gd name="connsiteX10912" fmla="*/ 8176958 w 13797425"/>
                <a:gd name="connsiteY10912" fmla="*/ 2997264 h 17966907"/>
                <a:gd name="connsiteX10913" fmla="*/ 8196019 w 13797425"/>
                <a:gd name="connsiteY10913" fmla="*/ 2968677 h 17966907"/>
                <a:gd name="connsiteX10914" fmla="*/ 8215079 w 13797425"/>
                <a:gd name="connsiteY10914" fmla="*/ 2959145 h 17966907"/>
                <a:gd name="connsiteX10915" fmla="*/ 8257966 w 13797425"/>
                <a:gd name="connsiteY10915" fmla="*/ 2959145 h 17966907"/>
                <a:gd name="connsiteX10916" fmla="*/ 8286556 w 13797425"/>
                <a:gd name="connsiteY10916" fmla="*/ 2973441 h 17966907"/>
                <a:gd name="connsiteX10917" fmla="*/ 8329442 w 13797425"/>
                <a:gd name="connsiteY10917" fmla="*/ 3011562 h 17966907"/>
                <a:gd name="connsiteX10918" fmla="*/ 8334208 w 13797425"/>
                <a:gd name="connsiteY10918" fmla="*/ 3035388 h 17966907"/>
                <a:gd name="connsiteX10919" fmla="*/ 8338973 w 13797425"/>
                <a:gd name="connsiteY10919" fmla="*/ 3078275 h 17966907"/>
                <a:gd name="connsiteX10920" fmla="*/ 8338973 w 13797425"/>
                <a:gd name="connsiteY10920" fmla="*/ 3164046 h 17966907"/>
                <a:gd name="connsiteX10921" fmla="*/ 8338973 w 13797425"/>
                <a:gd name="connsiteY10921" fmla="*/ 3183108 h 17966907"/>
                <a:gd name="connsiteX10922" fmla="*/ 8300852 w 13797425"/>
                <a:gd name="connsiteY10922" fmla="*/ 3230759 h 17966907"/>
                <a:gd name="connsiteX10923" fmla="*/ 8291321 w 13797425"/>
                <a:gd name="connsiteY10923" fmla="*/ 3264114 h 17966907"/>
                <a:gd name="connsiteX10924" fmla="*/ 8300852 w 13797425"/>
                <a:gd name="connsiteY10924" fmla="*/ 3273644 h 17966907"/>
                <a:gd name="connsiteX10925" fmla="*/ 8334208 w 13797425"/>
                <a:gd name="connsiteY10925" fmla="*/ 3283174 h 17966907"/>
                <a:gd name="connsiteX10926" fmla="*/ 8386624 w 13797425"/>
                <a:gd name="connsiteY10926" fmla="*/ 3311766 h 17966907"/>
                <a:gd name="connsiteX10927" fmla="*/ 8405684 w 13797425"/>
                <a:gd name="connsiteY10927" fmla="*/ 3316530 h 17966907"/>
                <a:gd name="connsiteX10928" fmla="*/ 8424745 w 13797425"/>
                <a:gd name="connsiteY10928" fmla="*/ 3383243 h 17966907"/>
                <a:gd name="connsiteX10929" fmla="*/ 8439040 w 13797425"/>
                <a:gd name="connsiteY10929" fmla="*/ 3449955 h 17966907"/>
                <a:gd name="connsiteX10930" fmla="*/ 8429510 w 13797425"/>
                <a:gd name="connsiteY10930" fmla="*/ 3526193 h 17966907"/>
                <a:gd name="connsiteX10931" fmla="*/ 8415215 w 13797425"/>
                <a:gd name="connsiteY10931" fmla="*/ 3654855 h 17966907"/>
                <a:gd name="connsiteX10932" fmla="*/ 8400919 w 13797425"/>
                <a:gd name="connsiteY10932" fmla="*/ 3678680 h 17966907"/>
                <a:gd name="connsiteX10933" fmla="*/ 8391389 w 13797425"/>
                <a:gd name="connsiteY10933" fmla="*/ 3721567 h 17966907"/>
                <a:gd name="connsiteX10934" fmla="*/ 8396154 w 13797425"/>
                <a:gd name="connsiteY10934" fmla="*/ 3731097 h 17966907"/>
                <a:gd name="connsiteX10935" fmla="*/ 8448571 w 13797425"/>
                <a:gd name="connsiteY10935" fmla="*/ 3716801 h 17966907"/>
                <a:gd name="connsiteX10936" fmla="*/ 8458101 w 13797425"/>
                <a:gd name="connsiteY10936" fmla="*/ 3707271 h 17966907"/>
                <a:gd name="connsiteX10937" fmla="*/ 8491457 w 13797425"/>
                <a:gd name="connsiteY10937" fmla="*/ 3664384 h 17966907"/>
                <a:gd name="connsiteX10938" fmla="*/ 8539108 w 13797425"/>
                <a:gd name="connsiteY10938" fmla="*/ 3678680 h 17966907"/>
                <a:gd name="connsiteX10939" fmla="*/ 8558169 w 13797425"/>
                <a:gd name="connsiteY10939" fmla="*/ 3688211 h 17966907"/>
                <a:gd name="connsiteX10940" fmla="*/ 8562934 w 13797425"/>
                <a:gd name="connsiteY10940" fmla="*/ 3702505 h 17966907"/>
                <a:gd name="connsiteX10941" fmla="*/ 8574847 w 13797425"/>
                <a:gd name="connsiteY10941" fmla="*/ 3750157 h 17966907"/>
                <a:gd name="connsiteX10942" fmla="*/ 8589142 w 13797425"/>
                <a:gd name="connsiteY10942" fmla="*/ 3812105 h 17966907"/>
                <a:gd name="connsiteX10943" fmla="*/ 8598672 w 13797425"/>
                <a:gd name="connsiteY10943" fmla="*/ 3802574 h 17966907"/>
                <a:gd name="connsiteX10944" fmla="*/ 8622498 w 13797425"/>
                <a:gd name="connsiteY10944" fmla="*/ 3731097 h 17966907"/>
                <a:gd name="connsiteX10945" fmla="*/ 8627263 w 13797425"/>
                <a:gd name="connsiteY10945" fmla="*/ 3712037 h 17966907"/>
                <a:gd name="connsiteX10946" fmla="*/ 8641558 w 13797425"/>
                <a:gd name="connsiteY10946" fmla="*/ 3692976 h 17966907"/>
                <a:gd name="connsiteX10947" fmla="*/ 8646324 w 13797425"/>
                <a:gd name="connsiteY10947" fmla="*/ 3697740 h 17966907"/>
                <a:gd name="connsiteX10948" fmla="*/ 8665384 w 13797425"/>
                <a:gd name="connsiteY10948" fmla="*/ 3764453 h 17966907"/>
                <a:gd name="connsiteX10949" fmla="*/ 8717800 w 13797425"/>
                <a:gd name="connsiteY10949" fmla="*/ 3888346 h 17966907"/>
                <a:gd name="connsiteX10950" fmla="*/ 8736861 w 13797425"/>
                <a:gd name="connsiteY10950" fmla="*/ 3940763 h 17966907"/>
                <a:gd name="connsiteX10951" fmla="*/ 8736861 w 13797425"/>
                <a:gd name="connsiteY10951" fmla="*/ 3974119 h 17966907"/>
                <a:gd name="connsiteX10952" fmla="*/ 8717800 w 13797425"/>
                <a:gd name="connsiteY10952" fmla="*/ 4017005 h 17966907"/>
                <a:gd name="connsiteX10953" fmla="*/ 8698740 w 13797425"/>
                <a:gd name="connsiteY10953" fmla="*/ 4040830 h 17966907"/>
                <a:gd name="connsiteX10954" fmla="*/ 8574847 w 13797425"/>
                <a:gd name="connsiteY10954" fmla="*/ 4131367 h 17966907"/>
                <a:gd name="connsiteX10955" fmla="*/ 8520048 w 13797425"/>
                <a:gd name="connsiteY10955" fmla="*/ 4179020 h 17966907"/>
                <a:gd name="connsiteX10956" fmla="*/ 8491457 w 13797425"/>
                <a:gd name="connsiteY10956" fmla="*/ 4217140 h 17966907"/>
                <a:gd name="connsiteX10957" fmla="*/ 8481927 w 13797425"/>
                <a:gd name="connsiteY10957" fmla="*/ 4231435 h 17966907"/>
                <a:gd name="connsiteX10958" fmla="*/ 8448571 w 13797425"/>
                <a:gd name="connsiteY10958" fmla="*/ 4226669 h 17966907"/>
                <a:gd name="connsiteX10959" fmla="*/ 8443806 w 13797425"/>
                <a:gd name="connsiteY10959" fmla="*/ 4231435 h 17966907"/>
                <a:gd name="connsiteX10960" fmla="*/ 8434275 w 13797425"/>
                <a:gd name="connsiteY10960" fmla="*/ 4293381 h 17966907"/>
                <a:gd name="connsiteX10961" fmla="*/ 8424745 w 13797425"/>
                <a:gd name="connsiteY10961" fmla="*/ 4321971 h 17966907"/>
                <a:gd name="connsiteX10962" fmla="*/ 8396154 w 13797425"/>
                <a:gd name="connsiteY10962" fmla="*/ 4364859 h 17966907"/>
                <a:gd name="connsiteX10963" fmla="*/ 8362798 w 13797425"/>
                <a:gd name="connsiteY10963" fmla="*/ 4441100 h 17966907"/>
                <a:gd name="connsiteX10964" fmla="*/ 8338973 w 13797425"/>
                <a:gd name="connsiteY10964" fmla="*/ 4474456 h 17966907"/>
                <a:gd name="connsiteX10965" fmla="*/ 8300852 w 13797425"/>
                <a:gd name="connsiteY10965" fmla="*/ 4450632 h 17966907"/>
                <a:gd name="connsiteX10966" fmla="*/ 8291321 w 13797425"/>
                <a:gd name="connsiteY10966" fmla="*/ 4412510 h 17966907"/>
                <a:gd name="connsiteX10967" fmla="*/ 8286556 w 13797425"/>
                <a:gd name="connsiteY10967" fmla="*/ 4331502 h 17966907"/>
                <a:gd name="connsiteX10968" fmla="*/ 8286556 w 13797425"/>
                <a:gd name="connsiteY10968" fmla="*/ 4298146 h 17966907"/>
                <a:gd name="connsiteX10969" fmla="*/ 8286556 w 13797425"/>
                <a:gd name="connsiteY10969" fmla="*/ 4279085 h 17966907"/>
                <a:gd name="connsiteX10970" fmla="*/ 8291321 w 13797425"/>
                <a:gd name="connsiteY10970" fmla="*/ 4250497 h 17966907"/>
                <a:gd name="connsiteX10971" fmla="*/ 8310382 w 13797425"/>
                <a:gd name="connsiteY10971" fmla="*/ 4179020 h 17966907"/>
                <a:gd name="connsiteX10972" fmla="*/ 8305617 w 13797425"/>
                <a:gd name="connsiteY10972" fmla="*/ 4174252 h 17966907"/>
                <a:gd name="connsiteX10973" fmla="*/ 8296086 w 13797425"/>
                <a:gd name="connsiteY10973" fmla="*/ 4179020 h 17966907"/>
                <a:gd name="connsiteX10974" fmla="*/ 8272261 w 13797425"/>
                <a:gd name="connsiteY10974" fmla="*/ 4217140 h 17966907"/>
                <a:gd name="connsiteX10975" fmla="*/ 8262731 w 13797425"/>
                <a:gd name="connsiteY10975" fmla="*/ 4231435 h 17966907"/>
                <a:gd name="connsiteX10976" fmla="*/ 8253200 w 13797425"/>
                <a:gd name="connsiteY10976" fmla="*/ 4264790 h 17966907"/>
                <a:gd name="connsiteX10977" fmla="*/ 8248435 w 13797425"/>
                <a:gd name="connsiteY10977" fmla="*/ 4321971 h 17966907"/>
                <a:gd name="connsiteX10978" fmla="*/ 8253200 w 13797425"/>
                <a:gd name="connsiteY10978" fmla="*/ 4417275 h 17966907"/>
                <a:gd name="connsiteX10979" fmla="*/ 8248435 w 13797425"/>
                <a:gd name="connsiteY10979" fmla="*/ 4455396 h 17966907"/>
                <a:gd name="connsiteX10980" fmla="*/ 8238905 w 13797425"/>
                <a:gd name="connsiteY10980" fmla="*/ 4474456 h 17966907"/>
                <a:gd name="connsiteX10981" fmla="*/ 8243670 w 13797425"/>
                <a:gd name="connsiteY10981" fmla="*/ 4488753 h 17966907"/>
                <a:gd name="connsiteX10982" fmla="*/ 8272261 w 13797425"/>
                <a:gd name="connsiteY10982" fmla="*/ 4512577 h 17966907"/>
                <a:gd name="connsiteX10983" fmla="*/ 8277026 w 13797425"/>
                <a:gd name="connsiteY10983" fmla="*/ 4522109 h 17966907"/>
                <a:gd name="connsiteX10984" fmla="*/ 8281791 w 13797425"/>
                <a:gd name="connsiteY10984" fmla="*/ 4536404 h 17966907"/>
                <a:gd name="connsiteX10985" fmla="*/ 8281791 w 13797425"/>
                <a:gd name="connsiteY10985" fmla="*/ 4560230 h 17966907"/>
                <a:gd name="connsiteX10986" fmla="*/ 8281791 w 13797425"/>
                <a:gd name="connsiteY10986" fmla="*/ 4584054 h 17966907"/>
                <a:gd name="connsiteX10987" fmla="*/ 8272261 w 13797425"/>
                <a:gd name="connsiteY10987" fmla="*/ 4617411 h 17966907"/>
                <a:gd name="connsiteX10988" fmla="*/ 8257966 w 13797425"/>
                <a:gd name="connsiteY10988" fmla="*/ 4631707 h 17966907"/>
                <a:gd name="connsiteX10989" fmla="*/ 8234140 w 13797425"/>
                <a:gd name="connsiteY10989" fmla="*/ 4612647 h 17966907"/>
                <a:gd name="connsiteX10990" fmla="*/ 8191254 w 13797425"/>
                <a:gd name="connsiteY10990" fmla="*/ 4531637 h 17966907"/>
                <a:gd name="connsiteX10991" fmla="*/ 8167428 w 13797425"/>
                <a:gd name="connsiteY10991" fmla="*/ 4536404 h 17966907"/>
                <a:gd name="connsiteX10992" fmla="*/ 8162663 w 13797425"/>
                <a:gd name="connsiteY10992" fmla="*/ 4545933 h 17966907"/>
                <a:gd name="connsiteX10993" fmla="*/ 8167428 w 13797425"/>
                <a:gd name="connsiteY10993" fmla="*/ 4574526 h 17966907"/>
                <a:gd name="connsiteX10994" fmla="*/ 8181724 w 13797425"/>
                <a:gd name="connsiteY10994" fmla="*/ 4641235 h 17966907"/>
                <a:gd name="connsiteX10995" fmla="*/ 8186489 w 13797425"/>
                <a:gd name="connsiteY10995" fmla="*/ 4698416 h 17966907"/>
                <a:gd name="connsiteX10996" fmla="*/ 8176958 w 13797425"/>
                <a:gd name="connsiteY10996" fmla="*/ 4741305 h 17966907"/>
                <a:gd name="connsiteX10997" fmla="*/ 8167428 w 13797425"/>
                <a:gd name="connsiteY10997" fmla="*/ 4812782 h 17966907"/>
                <a:gd name="connsiteX10998" fmla="*/ 8157898 w 13797425"/>
                <a:gd name="connsiteY10998" fmla="*/ 4850902 h 17966907"/>
                <a:gd name="connsiteX10999" fmla="*/ 8153133 w 13797425"/>
                <a:gd name="connsiteY10999" fmla="*/ 4855666 h 17966907"/>
                <a:gd name="connsiteX11000" fmla="*/ 8129307 w 13797425"/>
                <a:gd name="connsiteY11000" fmla="*/ 4855666 h 17966907"/>
                <a:gd name="connsiteX11001" fmla="*/ 8110246 w 13797425"/>
                <a:gd name="connsiteY11001" fmla="*/ 4836606 h 17966907"/>
                <a:gd name="connsiteX11002" fmla="*/ 8048300 w 13797425"/>
                <a:gd name="connsiteY11002" fmla="*/ 4712712 h 17966907"/>
                <a:gd name="connsiteX11003" fmla="*/ 8019709 w 13797425"/>
                <a:gd name="connsiteY11003" fmla="*/ 4660296 h 17966907"/>
                <a:gd name="connsiteX11004" fmla="*/ 7976823 w 13797425"/>
                <a:gd name="connsiteY11004" fmla="*/ 4555462 h 17966907"/>
                <a:gd name="connsiteX11005" fmla="*/ 7967293 w 13797425"/>
                <a:gd name="connsiteY11005" fmla="*/ 4531637 h 17966907"/>
                <a:gd name="connsiteX11006" fmla="*/ 7962528 w 13797425"/>
                <a:gd name="connsiteY11006" fmla="*/ 4526873 h 17966907"/>
                <a:gd name="connsiteX11007" fmla="*/ 7952997 w 13797425"/>
                <a:gd name="connsiteY11007" fmla="*/ 4574526 h 17966907"/>
                <a:gd name="connsiteX11008" fmla="*/ 7967293 w 13797425"/>
                <a:gd name="connsiteY11008" fmla="*/ 4617411 h 17966907"/>
                <a:gd name="connsiteX11009" fmla="*/ 8005414 w 13797425"/>
                <a:gd name="connsiteY11009" fmla="*/ 4712712 h 17966907"/>
                <a:gd name="connsiteX11010" fmla="*/ 8029239 w 13797425"/>
                <a:gd name="connsiteY11010" fmla="*/ 4784189 h 17966907"/>
                <a:gd name="connsiteX11011" fmla="*/ 8043535 w 13797425"/>
                <a:gd name="connsiteY11011" fmla="*/ 4841370 h 17966907"/>
                <a:gd name="connsiteX11012" fmla="*/ 8048300 w 13797425"/>
                <a:gd name="connsiteY11012" fmla="*/ 4865199 h 17966907"/>
                <a:gd name="connsiteX11013" fmla="*/ 8038770 w 13797425"/>
                <a:gd name="connsiteY11013" fmla="*/ 4874727 h 17966907"/>
                <a:gd name="connsiteX11014" fmla="*/ 8034004 w 13797425"/>
                <a:gd name="connsiteY11014" fmla="*/ 4869963 h 17966907"/>
                <a:gd name="connsiteX11015" fmla="*/ 8019709 w 13797425"/>
                <a:gd name="connsiteY11015" fmla="*/ 4850902 h 17966907"/>
                <a:gd name="connsiteX11016" fmla="*/ 7986353 w 13797425"/>
                <a:gd name="connsiteY11016" fmla="*/ 4817546 h 17966907"/>
                <a:gd name="connsiteX11017" fmla="*/ 7972058 w 13797425"/>
                <a:gd name="connsiteY11017" fmla="*/ 4798486 h 17966907"/>
                <a:gd name="connsiteX11018" fmla="*/ 7962528 w 13797425"/>
                <a:gd name="connsiteY11018" fmla="*/ 4774658 h 17966907"/>
                <a:gd name="connsiteX11019" fmla="*/ 7943467 w 13797425"/>
                <a:gd name="connsiteY11019" fmla="*/ 4755597 h 17966907"/>
                <a:gd name="connsiteX11020" fmla="*/ 7919641 w 13797425"/>
                <a:gd name="connsiteY11020" fmla="*/ 4746069 h 17966907"/>
                <a:gd name="connsiteX11021" fmla="*/ 7895816 w 13797425"/>
                <a:gd name="connsiteY11021" fmla="*/ 4741305 h 17966907"/>
                <a:gd name="connsiteX11022" fmla="*/ 7871990 w 13797425"/>
                <a:gd name="connsiteY11022" fmla="*/ 4750833 h 17966907"/>
                <a:gd name="connsiteX11023" fmla="*/ 7867225 w 13797425"/>
                <a:gd name="connsiteY11023" fmla="*/ 4760365 h 17966907"/>
                <a:gd name="connsiteX11024" fmla="*/ 7895816 w 13797425"/>
                <a:gd name="connsiteY11024" fmla="*/ 4793721 h 17966907"/>
                <a:gd name="connsiteX11025" fmla="*/ 7905346 w 13797425"/>
                <a:gd name="connsiteY11025" fmla="*/ 4808016 h 17966907"/>
                <a:gd name="connsiteX11026" fmla="*/ 7910111 w 13797425"/>
                <a:gd name="connsiteY11026" fmla="*/ 4831842 h 17966907"/>
                <a:gd name="connsiteX11027" fmla="*/ 7914876 w 13797425"/>
                <a:gd name="connsiteY11027" fmla="*/ 4855666 h 17966907"/>
                <a:gd name="connsiteX11028" fmla="*/ 7905346 w 13797425"/>
                <a:gd name="connsiteY11028" fmla="*/ 4869963 h 17966907"/>
                <a:gd name="connsiteX11029" fmla="*/ 7871990 w 13797425"/>
                <a:gd name="connsiteY11029" fmla="*/ 4884259 h 17966907"/>
                <a:gd name="connsiteX11030" fmla="*/ 7824339 w 13797425"/>
                <a:gd name="connsiteY11030" fmla="*/ 4874727 h 17966907"/>
                <a:gd name="connsiteX11031" fmla="*/ 7748097 w 13797425"/>
                <a:gd name="connsiteY11031" fmla="*/ 4850902 h 17966907"/>
                <a:gd name="connsiteX11032" fmla="*/ 7671855 w 13797425"/>
                <a:gd name="connsiteY11032" fmla="*/ 4817546 h 17966907"/>
                <a:gd name="connsiteX11033" fmla="*/ 7600378 w 13797425"/>
                <a:gd name="connsiteY11033" fmla="*/ 4755597 h 17966907"/>
                <a:gd name="connsiteX11034" fmla="*/ 7547961 w 13797425"/>
                <a:gd name="connsiteY11034" fmla="*/ 4698416 h 17966907"/>
                <a:gd name="connsiteX11035" fmla="*/ 7528901 w 13797425"/>
                <a:gd name="connsiteY11035" fmla="*/ 4665062 h 17966907"/>
                <a:gd name="connsiteX11036" fmla="*/ 7524136 w 13797425"/>
                <a:gd name="connsiteY11036" fmla="*/ 4641235 h 17966907"/>
                <a:gd name="connsiteX11037" fmla="*/ 7543196 w 13797425"/>
                <a:gd name="connsiteY11037" fmla="*/ 4622175 h 17966907"/>
                <a:gd name="connsiteX11038" fmla="*/ 7609908 w 13797425"/>
                <a:gd name="connsiteY11038" fmla="*/ 4593585 h 17966907"/>
                <a:gd name="connsiteX11039" fmla="*/ 7676620 w 13797425"/>
                <a:gd name="connsiteY11039" fmla="*/ 4579290 h 17966907"/>
                <a:gd name="connsiteX11040" fmla="*/ 7667090 w 13797425"/>
                <a:gd name="connsiteY11040" fmla="*/ 4564994 h 17966907"/>
                <a:gd name="connsiteX11041" fmla="*/ 7543196 w 13797425"/>
                <a:gd name="connsiteY11041" fmla="*/ 4526873 h 17966907"/>
                <a:gd name="connsiteX11042" fmla="*/ 7505075 w 13797425"/>
                <a:gd name="connsiteY11042" fmla="*/ 4522109 h 17966907"/>
                <a:gd name="connsiteX11043" fmla="*/ 7481250 w 13797425"/>
                <a:gd name="connsiteY11043" fmla="*/ 4531637 h 17966907"/>
                <a:gd name="connsiteX11044" fmla="*/ 7457424 w 13797425"/>
                <a:gd name="connsiteY11044" fmla="*/ 4526873 h 17966907"/>
                <a:gd name="connsiteX11045" fmla="*/ 7438363 w 13797425"/>
                <a:gd name="connsiteY11045" fmla="*/ 4498283 h 17966907"/>
                <a:gd name="connsiteX11046" fmla="*/ 7414538 w 13797425"/>
                <a:gd name="connsiteY11046" fmla="*/ 4445865 h 17966907"/>
                <a:gd name="connsiteX11047" fmla="*/ 7400242 w 13797425"/>
                <a:gd name="connsiteY11047" fmla="*/ 4412510 h 17966907"/>
                <a:gd name="connsiteX11048" fmla="*/ 7400242 w 13797425"/>
                <a:gd name="connsiteY11048" fmla="*/ 4398215 h 17966907"/>
                <a:gd name="connsiteX11049" fmla="*/ 7409773 w 13797425"/>
                <a:gd name="connsiteY11049" fmla="*/ 4393448 h 17966907"/>
                <a:gd name="connsiteX11050" fmla="*/ 7466954 w 13797425"/>
                <a:gd name="connsiteY11050" fmla="*/ 4398215 h 17966907"/>
                <a:gd name="connsiteX11051" fmla="*/ 7471719 w 13797425"/>
                <a:gd name="connsiteY11051" fmla="*/ 4393448 h 17966907"/>
                <a:gd name="connsiteX11052" fmla="*/ 7447894 w 13797425"/>
                <a:gd name="connsiteY11052" fmla="*/ 4369623 h 17966907"/>
                <a:gd name="connsiteX11053" fmla="*/ 7357356 w 13797425"/>
                <a:gd name="connsiteY11053" fmla="*/ 4317206 h 17966907"/>
                <a:gd name="connsiteX11054" fmla="*/ 7324000 w 13797425"/>
                <a:gd name="connsiteY11054" fmla="*/ 4269557 h 17966907"/>
                <a:gd name="connsiteX11055" fmla="*/ 7319235 w 13797425"/>
                <a:gd name="connsiteY11055" fmla="*/ 4250497 h 17966907"/>
                <a:gd name="connsiteX11056" fmla="*/ 7314470 w 13797425"/>
                <a:gd name="connsiteY11056" fmla="*/ 4231435 h 17966907"/>
                <a:gd name="connsiteX11057" fmla="*/ 7314470 w 13797425"/>
                <a:gd name="connsiteY11057" fmla="*/ 4217140 h 17966907"/>
                <a:gd name="connsiteX11058" fmla="*/ 7352591 w 13797425"/>
                <a:gd name="connsiteY11058" fmla="*/ 4179020 h 17966907"/>
                <a:gd name="connsiteX11059" fmla="*/ 7452659 w 13797425"/>
                <a:gd name="connsiteY11059" fmla="*/ 4098010 h 17966907"/>
                <a:gd name="connsiteX11060" fmla="*/ 7486015 w 13797425"/>
                <a:gd name="connsiteY11060" fmla="*/ 4083715 h 17966907"/>
                <a:gd name="connsiteX11061" fmla="*/ 7524136 w 13797425"/>
                <a:gd name="connsiteY11061" fmla="*/ 4083715 h 17966907"/>
                <a:gd name="connsiteX11062" fmla="*/ 7547961 w 13797425"/>
                <a:gd name="connsiteY11062" fmla="*/ 4059890 h 17966907"/>
                <a:gd name="connsiteX11063" fmla="*/ 7567022 w 13797425"/>
                <a:gd name="connsiteY11063" fmla="*/ 3978884 h 17966907"/>
                <a:gd name="connsiteX11064" fmla="*/ 7676620 w 13797425"/>
                <a:gd name="connsiteY11064" fmla="*/ 3945528 h 17966907"/>
                <a:gd name="connsiteX11065" fmla="*/ 7757627 w 13797425"/>
                <a:gd name="connsiteY11065" fmla="*/ 3912172 h 17966907"/>
                <a:gd name="connsiteX11066" fmla="*/ 7762392 w 13797425"/>
                <a:gd name="connsiteY11066" fmla="*/ 3902640 h 17966907"/>
                <a:gd name="connsiteX11067" fmla="*/ 7700445 w 13797425"/>
                <a:gd name="connsiteY11067" fmla="*/ 3907407 h 17966907"/>
                <a:gd name="connsiteX11068" fmla="*/ 7614673 w 13797425"/>
                <a:gd name="connsiteY11068" fmla="*/ 3902640 h 17966907"/>
                <a:gd name="connsiteX11069" fmla="*/ 7581317 w 13797425"/>
                <a:gd name="connsiteY11069" fmla="*/ 3845459 h 17966907"/>
                <a:gd name="connsiteX11070" fmla="*/ 7552726 w 13797425"/>
                <a:gd name="connsiteY11070" fmla="*/ 3835930 h 17966907"/>
                <a:gd name="connsiteX11071" fmla="*/ 7524136 w 13797425"/>
                <a:gd name="connsiteY11071" fmla="*/ 3835930 h 17966907"/>
                <a:gd name="connsiteX11072" fmla="*/ 7495545 w 13797425"/>
                <a:gd name="connsiteY11072" fmla="*/ 3854991 h 17966907"/>
                <a:gd name="connsiteX11073" fmla="*/ 7438363 w 13797425"/>
                <a:gd name="connsiteY11073" fmla="*/ 3902640 h 17966907"/>
                <a:gd name="connsiteX11074" fmla="*/ 7414538 w 13797425"/>
                <a:gd name="connsiteY11074" fmla="*/ 3916936 h 17966907"/>
                <a:gd name="connsiteX11075" fmla="*/ 7352591 w 13797425"/>
                <a:gd name="connsiteY11075" fmla="*/ 3969352 h 17966907"/>
                <a:gd name="connsiteX11076" fmla="*/ 7338296 w 13797425"/>
                <a:gd name="connsiteY11076" fmla="*/ 3964588 h 17966907"/>
                <a:gd name="connsiteX11077" fmla="*/ 7328765 w 13797425"/>
                <a:gd name="connsiteY11077" fmla="*/ 3959823 h 17966907"/>
                <a:gd name="connsiteX11078" fmla="*/ 7324000 w 13797425"/>
                <a:gd name="connsiteY11078" fmla="*/ 3950292 h 17966907"/>
                <a:gd name="connsiteX11079" fmla="*/ 7338296 w 13797425"/>
                <a:gd name="connsiteY11079" fmla="*/ 3916936 h 17966907"/>
                <a:gd name="connsiteX11080" fmla="*/ 7352591 w 13797425"/>
                <a:gd name="connsiteY11080" fmla="*/ 3888346 h 17966907"/>
                <a:gd name="connsiteX11081" fmla="*/ 7347826 w 13797425"/>
                <a:gd name="connsiteY11081" fmla="*/ 3883579 h 17966907"/>
                <a:gd name="connsiteX11082" fmla="*/ 7324000 w 13797425"/>
                <a:gd name="connsiteY11082" fmla="*/ 3878815 h 17966907"/>
                <a:gd name="connsiteX11083" fmla="*/ 7300175 w 13797425"/>
                <a:gd name="connsiteY11083" fmla="*/ 3878815 h 17966907"/>
                <a:gd name="connsiteX11084" fmla="*/ 7281114 w 13797425"/>
                <a:gd name="connsiteY11084" fmla="*/ 3888346 h 17966907"/>
                <a:gd name="connsiteX11085" fmla="*/ 7209637 w 13797425"/>
                <a:gd name="connsiteY11085" fmla="*/ 3931232 h 17966907"/>
                <a:gd name="connsiteX11086" fmla="*/ 7181046 w 13797425"/>
                <a:gd name="connsiteY11086" fmla="*/ 3969352 h 17966907"/>
                <a:gd name="connsiteX11087" fmla="*/ 7171516 w 13797425"/>
                <a:gd name="connsiteY11087" fmla="*/ 3969352 h 17966907"/>
                <a:gd name="connsiteX11088" fmla="*/ 7138160 w 13797425"/>
                <a:gd name="connsiteY11088" fmla="*/ 3916936 h 17966907"/>
                <a:gd name="connsiteX11089" fmla="*/ 7085744 w 13797425"/>
                <a:gd name="connsiteY11089" fmla="*/ 3888346 h 17966907"/>
                <a:gd name="connsiteX11090" fmla="*/ 7071448 w 13797425"/>
                <a:gd name="connsiteY11090" fmla="*/ 3864519 h 17966907"/>
                <a:gd name="connsiteX11091" fmla="*/ 7080979 w 13797425"/>
                <a:gd name="connsiteY11091" fmla="*/ 3769217 h 17966907"/>
                <a:gd name="connsiteX11092" fmla="*/ 7100039 w 13797425"/>
                <a:gd name="connsiteY11092" fmla="*/ 3750157 h 17966907"/>
                <a:gd name="connsiteX11093" fmla="*/ 7138160 w 13797425"/>
                <a:gd name="connsiteY11093" fmla="*/ 3735861 h 17966907"/>
                <a:gd name="connsiteX11094" fmla="*/ 7262054 w 13797425"/>
                <a:gd name="connsiteY11094" fmla="*/ 3650090 h 17966907"/>
                <a:gd name="connsiteX11095" fmla="*/ 7266819 w 13797425"/>
                <a:gd name="connsiteY11095" fmla="*/ 3631028 h 17966907"/>
                <a:gd name="connsiteX11096" fmla="*/ 7281114 w 13797425"/>
                <a:gd name="connsiteY11096" fmla="*/ 3588143 h 17966907"/>
                <a:gd name="connsiteX11097" fmla="*/ 7252523 w 13797425"/>
                <a:gd name="connsiteY11097" fmla="*/ 3597673 h 17966907"/>
                <a:gd name="connsiteX11098" fmla="*/ 7190577 w 13797425"/>
                <a:gd name="connsiteY11098" fmla="*/ 3640559 h 17966907"/>
                <a:gd name="connsiteX11099" fmla="*/ 7138160 w 13797425"/>
                <a:gd name="connsiteY11099" fmla="*/ 3659620 h 17966907"/>
                <a:gd name="connsiteX11100" fmla="*/ 7100039 w 13797425"/>
                <a:gd name="connsiteY11100" fmla="*/ 3659620 h 17966907"/>
                <a:gd name="connsiteX11101" fmla="*/ 7071448 w 13797425"/>
                <a:gd name="connsiteY11101" fmla="*/ 3654855 h 17966907"/>
                <a:gd name="connsiteX11102" fmla="*/ 7052388 w 13797425"/>
                <a:gd name="connsiteY11102" fmla="*/ 3640559 h 17966907"/>
                <a:gd name="connsiteX11103" fmla="*/ 7028562 w 13797425"/>
                <a:gd name="connsiteY11103" fmla="*/ 3616733 h 17966907"/>
                <a:gd name="connsiteX11104" fmla="*/ 6957085 w 13797425"/>
                <a:gd name="connsiteY11104" fmla="*/ 3488076 h 17966907"/>
                <a:gd name="connsiteX11105" fmla="*/ 6938025 w 13797425"/>
                <a:gd name="connsiteY11105" fmla="*/ 3426128 h 17966907"/>
                <a:gd name="connsiteX11106" fmla="*/ 6933260 w 13797425"/>
                <a:gd name="connsiteY11106" fmla="*/ 3373711 h 17966907"/>
                <a:gd name="connsiteX11107" fmla="*/ 6928495 w 13797425"/>
                <a:gd name="connsiteY11107" fmla="*/ 3330827 h 17966907"/>
                <a:gd name="connsiteX11108" fmla="*/ 6909434 w 13797425"/>
                <a:gd name="connsiteY11108" fmla="*/ 3230759 h 17966907"/>
                <a:gd name="connsiteX11109" fmla="*/ 7061918 w 13797425"/>
                <a:gd name="connsiteY11109" fmla="*/ 3292705 h 17966907"/>
                <a:gd name="connsiteX11110" fmla="*/ 7123865 w 13797425"/>
                <a:gd name="connsiteY11110" fmla="*/ 3306998 h 17966907"/>
                <a:gd name="connsiteX11111" fmla="*/ 7242993 w 13797425"/>
                <a:gd name="connsiteY11111" fmla="*/ 3311766 h 17966907"/>
                <a:gd name="connsiteX11112" fmla="*/ 7247758 w 13797425"/>
                <a:gd name="connsiteY11112" fmla="*/ 3302234 h 17966907"/>
                <a:gd name="connsiteX11113" fmla="*/ 7247758 w 13797425"/>
                <a:gd name="connsiteY11113" fmla="*/ 3287940 h 17966907"/>
                <a:gd name="connsiteX11114" fmla="*/ 7247758 w 13797425"/>
                <a:gd name="connsiteY11114" fmla="*/ 3259349 h 17966907"/>
                <a:gd name="connsiteX11115" fmla="*/ 7247758 w 13797425"/>
                <a:gd name="connsiteY11115" fmla="*/ 3240289 h 17966907"/>
                <a:gd name="connsiteX11116" fmla="*/ 7252523 w 13797425"/>
                <a:gd name="connsiteY11116" fmla="*/ 3225993 h 17966907"/>
                <a:gd name="connsiteX11117" fmla="*/ 7295409 w 13797425"/>
                <a:gd name="connsiteY11117" fmla="*/ 3187872 h 17966907"/>
                <a:gd name="connsiteX11118" fmla="*/ 7300175 w 13797425"/>
                <a:gd name="connsiteY11118" fmla="*/ 3178342 h 17966907"/>
                <a:gd name="connsiteX11119" fmla="*/ 7252523 w 13797425"/>
                <a:gd name="connsiteY11119" fmla="*/ 3168812 h 17966907"/>
                <a:gd name="connsiteX11120" fmla="*/ 7157221 w 13797425"/>
                <a:gd name="connsiteY11120" fmla="*/ 3230759 h 17966907"/>
                <a:gd name="connsiteX11121" fmla="*/ 7123865 w 13797425"/>
                <a:gd name="connsiteY11121" fmla="*/ 3230759 h 17966907"/>
                <a:gd name="connsiteX11122" fmla="*/ 7085744 w 13797425"/>
                <a:gd name="connsiteY11122" fmla="*/ 3144986 h 17966907"/>
                <a:gd name="connsiteX11123" fmla="*/ 7042858 w 13797425"/>
                <a:gd name="connsiteY11123" fmla="*/ 3159280 h 17966907"/>
                <a:gd name="connsiteX11124" fmla="*/ 7023797 w 13797425"/>
                <a:gd name="connsiteY11124" fmla="*/ 3154516 h 17966907"/>
                <a:gd name="connsiteX11125" fmla="*/ 6995206 w 13797425"/>
                <a:gd name="connsiteY11125" fmla="*/ 3130688 h 17966907"/>
                <a:gd name="connsiteX11126" fmla="*/ 6980911 w 13797425"/>
                <a:gd name="connsiteY11126" fmla="*/ 3111631 h 17966907"/>
                <a:gd name="connsiteX11127" fmla="*/ 6971381 w 13797425"/>
                <a:gd name="connsiteY11127" fmla="*/ 3087803 h 17966907"/>
                <a:gd name="connsiteX11128" fmla="*/ 6966616 w 13797425"/>
                <a:gd name="connsiteY11128" fmla="*/ 3063978 h 17966907"/>
                <a:gd name="connsiteX11129" fmla="*/ 6971381 w 13797425"/>
                <a:gd name="connsiteY11129" fmla="*/ 3049684 h 17966907"/>
                <a:gd name="connsiteX11130" fmla="*/ 6976146 w 13797425"/>
                <a:gd name="connsiteY11130" fmla="*/ 3030622 h 17966907"/>
                <a:gd name="connsiteX11131" fmla="*/ 7014267 w 13797425"/>
                <a:gd name="connsiteY11131" fmla="*/ 3006797 h 17966907"/>
                <a:gd name="connsiteX11132" fmla="*/ 7028562 w 13797425"/>
                <a:gd name="connsiteY11132" fmla="*/ 3002029 h 17966907"/>
                <a:gd name="connsiteX11133" fmla="*/ 7071448 w 13797425"/>
                <a:gd name="connsiteY11133" fmla="*/ 3021093 h 17966907"/>
                <a:gd name="connsiteX11134" fmla="*/ 7100039 w 13797425"/>
                <a:gd name="connsiteY11134" fmla="*/ 3016326 h 17966907"/>
                <a:gd name="connsiteX11135" fmla="*/ 7090509 w 13797425"/>
                <a:gd name="connsiteY11135" fmla="*/ 2992503 h 17966907"/>
                <a:gd name="connsiteX11136" fmla="*/ 7042858 w 13797425"/>
                <a:gd name="connsiteY11136" fmla="*/ 2921026 h 17966907"/>
                <a:gd name="connsiteX11137" fmla="*/ 7004737 w 13797425"/>
                <a:gd name="connsiteY11137" fmla="*/ 2840019 h 17966907"/>
                <a:gd name="connsiteX11138" fmla="*/ 7009502 w 13797425"/>
                <a:gd name="connsiteY11138" fmla="*/ 2711359 h 17966907"/>
                <a:gd name="connsiteX11139" fmla="*/ 7042858 w 13797425"/>
                <a:gd name="connsiteY11139" fmla="*/ 2682768 h 17966907"/>
                <a:gd name="connsiteX11140" fmla="*/ 7076214 w 13797425"/>
                <a:gd name="connsiteY11140" fmla="*/ 2678000 h 17966907"/>
                <a:gd name="connsiteX11141" fmla="*/ 7104804 w 13797425"/>
                <a:gd name="connsiteY11141" fmla="*/ 2711359 h 17966907"/>
                <a:gd name="connsiteX11142" fmla="*/ 7152456 w 13797425"/>
                <a:gd name="connsiteY11142" fmla="*/ 2716125 h 17966907"/>
                <a:gd name="connsiteX11143" fmla="*/ 7181046 w 13797425"/>
                <a:gd name="connsiteY11143" fmla="*/ 2754244 h 17966907"/>
                <a:gd name="connsiteX11144" fmla="*/ 7204872 w 13797425"/>
                <a:gd name="connsiteY11144" fmla="*/ 2825723 h 17966907"/>
                <a:gd name="connsiteX11145" fmla="*/ 7228698 w 13797425"/>
                <a:gd name="connsiteY11145" fmla="*/ 2825723 h 17966907"/>
                <a:gd name="connsiteX11146" fmla="*/ 7266819 w 13797425"/>
                <a:gd name="connsiteY11146" fmla="*/ 2835253 h 17966907"/>
                <a:gd name="connsiteX11147" fmla="*/ 7352591 w 13797425"/>
                <a:gd name="connsiteY11147" fmla="*/ 2835253 h 17966907"/>
                <a:gd name="connsiteX11148" fmla="*/ 7338296 w 13797425"/>
                <a:gd name="connsiteY11148" fmla="*/ 2811426 h 17966907"/>
                <a:gd name="connsiteX11149" fmla="*/ 7309705 w 13797425"/>
                <a:gd name="connsiteY11149" fmla="*/ 2787601 h 17966907"/>
                <a:gd name="connsiteX11150" fmla="*/ 7247758 w 13797425"/>
                <a:gd name="connsiteY11150" fmla="*/ 2759008 h 17966907"/>
                <a:gd name="connsiteX11151" fmla="*/ 7219167 w 13797425"/>
                <a:gd name="connsiteY11151" fmla="*/ 2649412 h 17966907"/>
                <a:gd name="connsiteX11152" fmla="*/ 7157221 w 13797425"/>
                <a:gd name="connsiteY11152" fmla="*/ 2596997 h 17966907"/>
                <a:gd name="connsiteX11153" fmla="*/ 7104804 w 13797425"/>
                <a:gd name="connsiteY11153" fmla="*/ 2568405 h 17966907"/>
                <a:gd name="connsiteX11154" fmla="*/ 7104804 w 13797425"/>
                <a:gd name="connsiteY11154" fmla="*/ 2544580 h 17966907"/>
                <a:gd name="connsiteX11155" fmla="*/ 7142925 w 13797425"/>
                <a:gd name="connsiteY11155" fmla="*/ 2406390 h 17966907"/>
                <a:gd name="connsiteX11156" fmla="*/ 7190577 w 13797425"/>
                <a:gd name="connsiteY11156" fmla="*/ 2358741 h 17966907"/>
                <a:gd name="connsiteX11157" fmla="*/ 7262054 w 13797425"/>
                <a:gd name="connsiteY11157" fmla="*/ 2373035 h 17966907"/>
                <a:gd name="connsiteX11158" fmla="*/ 7309705 w 13797425"/>
                <a:gd name="connsiteY11158" fmla="*/ 2349209 h 17966907"/>
                <a:gd name="connsiteX11159" fmla="*/ 7371652 w 13797425"/>
                <a:gd name="connsiteY11159" fmla="*/ 2301558 h 17966907"/>
                <a:gd name="connsiteX11160" fmla="*/ 7428833 w 13797425"/>
                <a:gd name="connsiteY11160" fmla="*/ 2320618 h 17966907"/>
                <a:gd name="connsiteX11161" fmla="*/ 7443128 w 13797425"/>
                <a:gd name="connsiteY11161" fmla="*/ 2320618 h 17966907"/>
                <a:gd name="connsiteX11162" fmla="*/ 7452659 w 13797425"/>
                <a:gd name="connsiteY11162" fmla="*/ 2306323 h 17966907"/>
                <a:gd name="connsiteX11163" fmla="*/ 7462189 w 13797425"/>
                <a:gd name="connsiteY11163" fmla="*/ 2277732 h 17966907"/>
                <a:gd name="connsiteX11164" fmla="*/ 7462189 w 13797425"/>
                <a:gd name="connsiteY11164" fmla="*/ 2249142 h 17966907"/>
                <a:gd name="connsiteX11165" fmla="*/ 7452659 w 13797425"/>
                <a:gd name="connsiteY11165" fmla="*/ 2225316 h 17966907"/>
                <a:gd name="connsiteX11166" fmla="*/ 7433598 w 13797425"/>
                <a:gd name="connsiteY11166" fmla="*/ 2196725 h 17966907"/>
                <a:gd name="connsiteX11167" fmla="*/ 7357356 w 13797425"/>
                <a:gd name="connsiteY11167" fmla="*/ 2191960 h 17966907"/>
                <a:gd name="connsiteX11168" fmla="*/ 7324000 w 13797425"/>
                <a:gd name="connsiteY11168" fmla="*/ 2177665 h 17966907"/>
                <a:gd name="connsiteX11169" fmla="*/ 7309705 w 13797425"/>
                <a:gd name="connsiteY11169" fmla="*/ 2163369 h 17966907"/>
                <a:gd name="connsiteX11170" fmla="*/ 7309705 w 13797425"/>
                <a:gd name="connsiteY11170" fmla="*/ 2139544 h 17966907"/>
                <a:gd name="connsiteX11171" fmla="*/ 7304940 w 13797425"/>
                <a:gd name="connsiteY11171" fmla="*/ 2110953 h 17966907"/>
                <a:gd name="connsiteX11172" fmla="*/ 7304940 w 13797425"/>
                <a:gd name="connsiteY11172" fmla="*/ 2087127 h 17966907"/>
                <a:gd name="connsiteX11173" fmla="*/ 7309705 w 13797425"/>
                <a:gd name="connsiteY11173" fmla="*/ 2068067 h 17966907"/>
                <a:gd name="connsiteX11174" fmla="*/ 7314470 w 13797425"/>
                <a:gd name="connsiteY11174" fmla="*/ 2063302 h 17966907"/>
                <a:gd name="connsiteX11175" fmla="*/ 7333530 w 13797425"/>
                <a:gd name="connsiteY11175" fmla="*/ 2049006 h 17966907"/>
                <a:gd name="connsiteX11176" fmla="*/ 7405007 w 13797425"/>
                <a:gd name="connsiteY11176" fmla="*/ 2049006 h 17966907"/>
                <a:gd name="connsiteX11177" fmla="*/ 11090833 w 13797425"/>
                <a:gd name="connsiteY11177" fmla="*/ 0 h 17966907"/>
                <a:gd name="connsiteX11178" fmla="*/ 11109893 w 13797425"/>
                <a:gd name="connsiteY11178" fmla="*/ 9529 h 17966907"/>
                <a:gd name="connsiteX11179" fmla="*/ 11124189 w 13797425"/>
                <a:gd name="connsiteY11179" fmla="*/ 28591 h 17966907"/>
                <a:gd name="connsiteX11180" fmla="*/ 11157545 w 13797425"/>
                <a:gd name="connsiteY11180" fmla="*/ 119127 h 17966907"/>
                <a:gd name="connsiteX11181" fmla="*/ 11167077 w 13797425"/>
                <a:gd name="connsiteY11181" fmla="*/ 128658 h 17966907"/>
                <a:gd name="connsiteX11182" fmla="*/ 11295733 w 13797425"/>
                <a:gd name="connsiteY11182" fmla="*/ 152485 h 17966907"/>
                <a:gd name="connsiteX11183" fmla="*/ 11338621 w 13797425"/>
                <a:gd name="connsiteY11183" fmla="*/ 142954 h 17966907"/>
                <a:gd name="connsiteX11184" fmla="*/ 11386273 w 13797425"/>
                <a:gd name="connsiteY11184" fmla="*/ 200135 h 17966907"/>
                <a:gd name="connsiteX11185" fmla="*/ 11414861 w 13797425"/>
                <a:gd name="connsiteY11185" fmla="*/ 204900 h 17966907"/>
                <a:gd name="connsiteX11186" fmla="*/ 11457749 w 13797425"/>
                <a:gd name="connsiteY11186" fmla="*/ 195371 h 17966907"/>
                <a:gd name="connsiteX11187" fmla="*/ 11495869 w 13797425"/>
                <a:gd name="connsiteY11187" fmla="*/ 209666 h 17966907"/>
                <a:gd name="connsiteX11188" fmla="*/ 11619761 w 13797425"/>
                <a:gd name="connsiteY11188" fmla="*/ 219197 h 17966907"/>
                <a:gd name="connsiteX11189" fmla="*/ 11648353 w 13797425"/>
                <a:gd name="connsiteY11189" fmla="*/ 243022 h 17966907"/>
                <a:gd name="connsiteX11190" fmla="*/ 11648353 w 13797425"/>
                <a:gd name="connsiteY11190" fmla="*/ 271613 h 17966907"/>
                <a:gd name="connsiteX11191" fmla="*/ 11619761 w 13797425"/>
                <a:gd name="connsiteY11191" fmla="*/ 328794 h 17966907"/>
                <a:gd name="connsiteX11192" fmla="*/ 11581641 w 13797425"/>
                <a:gd name="connsiteY11192" fmla="*/ 381211 h 17966907"/>
                <a:gd name="connsiteX11193" fmla="*/ 11343385 w 13797425"/>
                <a:gd name="connsiteY11193" fmla="*/ 552755 h 17966907"/>
                <a:gd name="connsiteX11194" fmla="*/ 11329089 w 13797425"/>
                <a:gd name="connsiteY11194" fmla="*/ 586111 h 17966907"/>
                <a:gd name="connsiteX11195" fmla="*/ 11371977 w 13797425"/>
                <a:gd name="connsiteY11195" fmla="*/ 590876 h 17966907"/>
                <a:gd name="connsiteX11196" fmla="*/ 11443453 w 13797425"/>
                <a:gd name="connsiteY11196" fmla="*/ 586111 h 17966907"/>
                <a:gd name="connsiteX11197" fmla="*/ 11495869 w 13797425"/>
                <a:gd name="connsiteY11197" fmla="*/ 567050 h 17966907"/>
                <a:gd name="connsiteX11198" fmla="*/ 11557817 w 13797425"/>
                <a:gd name="connsiteY11198" fmla="*/ 505104 h 17966907"/>
                <a:gd name="connsiteX11199" fmla="*/ 11576877 w 13797425"/>
                <a:gd name="connsiteY11199" fmla="*/ 505104 h 17966907"/>
                <a:gd name="connsiteX11200" fmla="*/ 11619761 w 13797425"/>
                <a:gd name="connsiteY11200" fmla="*/ 476513 h 17966907"/>
                <a:gd name="connsiteX11201" fmla="*/ 11696005 w 13797425"/>
                <a:gd name="connsiteY11201" fmla="*/ 395506 h 17966907"/>
                <a:gd name="connsiteX11202" fmla="*/ 11757953 w 13797425"/>
                <a:gd name="connsiteY11202" fmla="*/ 347855 h 17966907"/>
                <a:gd name="connsiteX11203" fmla="*/ 11781777 w 13797425"/>
                <a:gd name="connsiteY11203" fmla="*/ 371680 h 17966907"/>
                <a:gd name="connsiteX11204" fmla="*/ 11805601 w 13797425"/>
                <a:gd name="connsiteY11204" fmla="*/ 400271 h 17966907"/>
                <a:gd name="connsiteX11205" fmla="*/ 11824665 w 13797425"/>
                <a:gd name="connsiteY11205" fmla="*/ 405036 h 17966907"/>
                <a:gd name="connsiteX11206" fmla="*/ 11829429 w 13797425"/>
                <a:gd name="connsiteY11206" fmla="*/ 381211 h 17966907"/>
                <a:gd name="connsiteX11207" fmla="*/ 11843725 w 13797425"/>
                <a:gd name="connsiteY11207" fmla="*/ 314499 h 17966907"/>
                <a:gd name="connsiteX11208" fmla="*/ 11853253 w 13797425"/>
                <a:gd name="connsiteY11208" fmla="*/ 290674 h 17966907"/>
                <a:gd name="connsiteX11209" fmla="*/ 11872313 w 13797425"/>
                <a:gd name="connsiteY11209" fmla="*/ 276378 h 17966907"/>
                <a:gd name="connsiteX11210" fmla="*/ 11886609 w 13797425"/>
                <a:gd name="connsiteY11210" fmla="*/ 276378 h 17966907"/>
                <a:gd name="connsiteX11211" fmla="*/ 11905669 w 13797425"/>
                <a:gd name="connsiteY11211" fmla="*/ 304970 h 17966907"/>
                <a:gd name="connsiteX11212" fmla="*/ 11924729 w 13797425"/>
                <a:gd name="connsiteY11212" fmla="*/ 381211 h 17966907"/>
                <a:gd name="connsiteX11213" fmla="*/ 11948557 w 13797425"/>
                <a:gd name="connsiteY11213" fmla="*/ 428862 h 17966907"/>
                <a:gd name="connsiteX11214" fmla="*/ 11958085 w 13797425"/>
                <a:gd name="connsiteY11214" fmla="*/ 428862 h 17966907"/>
                <a:gd name="connsiteX11215" fmla="*/ 12005737 w 13797425"/>
                <a:gd name="connsiteY11215" fmla="*/ 371680 h 17966907"/>
                <a:gd name="connsiteX11216" fmla="*/ 12029565 w 13797425"/>
                <a:gd name="connsiteY11216" fmla="*/ 366915 h 17966907"/>
                <a:gd name="connsiteX11217" fmla="*/ 12081981 w 13797425"/>
                <a:gd name="connsiteY11217" fmla="*/ 385976 h 17966907"/>
                <a:gd name="connsiteX11218" fmla="*/ 12105805 w 13797425"/>
                <a:gd name="connsiteY11218" fmla="*/ 414568 h 17966907"/>
                <a:gd name="connsiteX11219" fmla="*/ 12105805 w 13797425"/>
                <a:gd name="connsiteY11219" fmla="*/ 438392 h 17966907"/>
                <a:gd name="connsiteX11220" fmla="*/ 12096277 w 13797425"/>
                <a:gd name="connsiteY11220" fmla="*/ 466983 h 17966907"/>
                <a:gd name="connsiteX11221" fmla="*/ 12086745 w 13797425"/>
                <a:gd name="connsiteY11221" fmla="*/ 490809 h 17966907"/>
                <a:gd name="connsiteX11222" fmla="*/ 12081981 w 13797425"/>
                <a:gd name="connsiteY11222" fmla="*/ 509869 h 17966907"/>
                <a:gd name="connsiteX11223" fmla="*/ 12091509 w 13797425"/>
                <a:gd name="connsiteY11223" fmla="*/ 533695 h 17966907"/>
                <a:gd name="connsiteX11224" fmla="*/ 12120101 w 13797425"/>
                <a:gd name="connsiteY11224" fmla="*/ 586111 h 17966907"/>
                <a:gd name="connsiteX11225" fmla="*/ 12167753 w 13797425"/>
                <a:gd name="connsiteY11225" fmla="*/ 690944 h 17966907"/>
                <a:gd name="connsiteX11226" fmla="*/ 12167753 w 13797425"/>
                <a:gd name="connsiteY11226" fmla="*/ 729065 h 17966907"/>
                <a:gd name="connsiteX11227" fmla="*/ 12143925 w 13797425"/>
                <a:gd name="connsiteY11227" fmla="*/ 810072 h 17966907"/>
                <a:gd name="connsiteX11228" fmla="*/ 12143925 w 13797425"/>
                <a:gd name="connsiteY11228" fmla="*/ 829133 h 17966907"/>
                <a:gd name="connsiteX11229" fmla="*/ 12263053 w 13797425"/>
                <a:gd name="connsiteY11229" fmla="*/ 748126 h 17966907"/>
                <a:gd name="connsiteX11230" fmla="*/ 12386949 w 13797425"/>
                <a:gd name="connsiteY11230" fmla="*/ 781482 h 17966907"/>
                <a:gd name="connsiteX11231" fmla="*/ 12420305 w 13797425"/>
                <a:gd name="connsiteY11231" fmla="*/ 810072 h 17966907"/>
                <a:gd name="connsiteX11232" fmla="*/ 12434601 w 13797425"/>
                <a:gd name="connsiteY11232" fmla="*/ 838663 h 17966907"/>
                <a:gd name="connsiteX11233" fmla="*/ 12448893 w 13797425"/>
                <a:gd name="connsiteY11233" fmla="*/ 886314 h 17966907"/>
                <a:gd name="connsiteX11234" fmla="*/ 12463189 w 13797425"/>
                <a:gd name="connsiteY11234" fmla="*/ 957791 h 17966907"/>
                <a:gd name="connsiteX11235" fmla="*/ 12453661 w 13797425"/>
                <a:gd name="connsiteY11235" fmla="*/ 1029268 h 17966907"/>
                <a:gd name="connsiteX11236" fmla="*/ 12396477 w 13797425"/>
                <a:gd name="connsiteY11236" fmla="*/ 1138866 h 17966907"/>
                <a:gd name="connsiteX11237" fmla="*/ 12344061 w 13797425"/>
                <a:gd name="connsiteY11237" fmla="*/ 1224638 h 17966907"/>
                <a:gd name="connsiteX11238" fmla="*/ 12310705 w 13797425"/>
                <a:gd name="connsiteY11238" fmla="*/ 1300880 h 17966907"/>
                <a:gd name="connsiteX11239" fmla="*/ 12258289 w 13797425"/>
                <a:gd name="connsiteY11239" fmla="*/ 1339001 h 17966907"/>
                <a:gd name="connsiteX11240" fmla="*/ 12091509 w 13797425"/>
                <a:gd name="connsiteY11240" fmla="*/ 1520076 h 17966907"/>
                <a:gd name="connsiteX11241" fmla="*/ 12005737 w 13797425"/>
                <a:gd name="connsiteY11241" fmla="*/ 1577258 h 17966907"/>
                <a:gd name="connsiteX11242" fmla="*/ 11958085 w 13797425"/>
                <a:gd name="connsiteY11242" fmla="*/ 1634439 h 17966907"/>
                <a:gd name="connsiteX11243" fmla="*/ 11934261 w 13797425"/>
                <a:gd name="connsiteY11243" fmla="*/ 1643969 h 17966907"/>
                <a:gd name="connsiteX11244" fmla="*/ 11834193 w 13797425"/>
                <a:gd name="connsiteY11244" fmla="*/ 1629674 h 17966907"/>
                <a:gd name="connsiteX11245" fmla="*/ 11805601 w 13797425"/>
                <a:gd name="connsiteY11245" fmla="*/ 1663030 h 17966907"/>
                <a:gd name="connsiteX11246" fmla="*/ 11791309 w 13797425"/>
                <a:gd name="connsiteY11246" fmla="*/ 1715446 h 17966907"/>
                <a:gd name="connsiteX11247" fmla="*/ 11757953 w 13797425"/>
                <a:gd name="connsiteY11247" fmla="*/ 1739273 h 17966907"/>
                <a:gd name="connsiteX11248" fmla="*/ 11710301 w 13797425"/>
                <a:gd name="connsiteY11248" fmla="*/ 1753567 h 17966907"/>
                <a:gd name="connsiteX11249" fmla="*/ 11614997 w 13797425"/>
                <a:gd name="connsiteY11249" fmla="*/ 1767863 h 17966907"/>
                <a:gd name="connsiteX11250" fmla="*/ 11595937 w 13797425"/>
                <a:gd name="connsiteY11250" fmla="*/ 1825044 h 17966907"/>
                <a:gd name="connsiteX11251" fmla="*/ 11586405 w 13797425"/>
                <a:gd name="connsiteY11251" fmla="*/ 1863165 h 17966907"/>
                <a:gd name="connsiteX11252" fmla="*/ 11576877 w 13797425"/>
                <a:gd name="connsiteY11252" fmla="*/ 1896521 h 17966907"/>
                <a:gd name="connsiteX11253" fmla="*/ 11572113 w 13797425"/>
                <a:gd name="connsiteY11253" fmla="*/ 1910817 h 17966907"/>
                <a:gd name="connsiteX11254" fmla="*/ 11295733 w 13797425"/>
                <a:gd name="connsiteY11254" fmla="*/ 2110952 h 17966907"/>
                <a:gd name="connsiteX11255" fmla="*/ 11286205 w 13797425"/>
                <a:gd name="connsiteY11255" fmla="*/ 2139543 h 17966907"/>
                <a:gd name="connsiteX11256" fmla="*/ 11314793 w 13797425"/>
                <a:gd name="connsiteY11256" fmla="*/ 2153838 h 17966907"/>
                <a:gd name="connsiteX11257" fmla="*/ 11352917 w 13797425"/>
                <a:gd name="connsiteY11257" fmla="*/ 2139543 h 17966907"/>
                <a:gd name="connsiteX11258" fmla="*/ 11753185 w 13797425"/>
                <a:gd name="connsiteY11258" fmla="*/ 1901286 h 17966907"/>
                <a:gd name="connsiteX11259" fmla="*/ 11834193 w 13797425"/>
                <a:gd name="connsiteY11259" fmla="*/ 1882226 h 17966907"/>
                <a:gd name="connsiteX11260" fmla="*/ 11905669 w 13797425"/>
                <a:gd name="connsiteY11260" fmla="*/ 1901286 h 17966907"/>
                <a:gd name="connsiteX11261" fmla="*/ 11896141 w 13797425"/>
                <a:gd name="connsiteY11261" fmla="*/ 1958468 h 17966907"/>
                <a:gd name="connsiteX11262" fmla="*/ 11796073 w 13797425"/>
                <a:gd name="connsiteY11262" fmla="*/ 2115717 h 17966907"/>
                <a:gd name="connsiteX11263" fmla="*/ 11662649 w 13797425"/>
                <a:gd name="connsiteY11263" fmla="*/ 2258671 h 17966907"/>
                <a:gd name="connsiteX11264" fmla="*/ 11600701 w 13797425"/>
                <a:gd name="connsiteY11264" fmla="*/ 2363505 h 17966907"/>
                <a:gd name="connsiteX11265" fmla="*/ 11438689 w 13797425"/>
                <a:gd name="connsiteY11265" fmla="*/ 2544580 h 17966907"/>
                <a:gd name="connsiteX11266" fmla="*/ 11300497 w 13797425"/>
                <a:gd name="connsiteY11266" fmla="*/ 2720889 h 17966907"/>
                <a:gd name="connsiteX11267" fmla="*/ 11252849 w 13797425"/>
                <a:gd name="connsiteY11267" fmla="*/ 2811426 h 17966907"/>
                <a:gd name="connsiteX11268" fmla="*/ 11181369 w 13797425"/>
                <a:gd name="connsiteY11268" fmla="*/ 2963909 h 17966907"/>
                <a:gd name="connsiteX11269" fmla="*/ 11157545 w 13797425"/>
                <a:gd name="connsiteY11269" fmla="*/ 3002029 h 17966907"/>
                <a:gd name="connsiteX11270" fmla="*/ 11128953 w 13797425"/>
                <a:gd name="connsiteY11270" fmla="*/ 3016326 h 17966907"/>
                <a:gd name="connsiteX11271" fmla="*/ 11095597 w 13797425"/>
                <a:gd name="connsiteY11271" fmla="*/ 3011562 h 17966907"/>
                <a:gd name="connsiteX11272" fmla="*/ 11067009 w 13797425"/>
                <a:gd name="connsiteY11272" fmla="*/ 2987736 h 17966907"/>
                <a:gd name="connsiteX11273" fmla="*/ 11024121 w 13797425"/>
                <a:gd name="connsiteY11273" fmla="*/ 2930551 h 17966907"/>
                <a:gd name="connsiteX11274" fmla="*/ 10990765 w 13797425"/>
                <a:gd name="connsiteY11274" fmla="*/ 2863841 h 17966907"/>
                <a:gd name="connsiteX11275" fmla="*/ 10976469 w 13797425"/>
                <a:gd name="connsiteY11275" fmla="*/ 2854313 h 17966907"/>
                <a:gd name="connsiteX11276" fmla="*/ 10986001 w 13797425"/>
                <a:gd name="connsiteY11276" fmla="*/ 2887668 h 17966907"/>
                <a:gd name="connsiteX11277" fmla="*/ 11057477 w 13797425"/>
                <a:gd name="connsiteY11277" fmla="*/ 3102099 h 17966907"/>
                <a:gd name="connsiteX11278" fmla="*/ 11047949 w 13797425"/>
                <a:gd name="connsiteY11278" fmla="*/ 3140220 h 17966907"/>
                <a:gd name="connsiteX11279" fmla="*/ 10919289 w 13797425"/>
                <a:gd name="connsiteY11279" fmla="*/ 3183104 h 17966907"/>
                <a:gd name="connsiteX11280" fmla="*/ 10857341 w 13797425"/>
                <a:gd name="connsiteY11280" fmla="*/ 3221227 h 17966907"/>
                <a:gd name="connsiteX11281" fmla="*/ 10828753 w 13797425"/>
                <a:gd name="connsiteY11281" fmla="*/ 3230756 h 17966907"/>
                <a:gd name="connsiteX11282" fmla="*/ 10809689 w 13797425"/>
                <a:gd name="connsiteY11282" fmla="*/ 3225993 h 17966907"/>
                <a:gd name="connsiteX11283" fmla="*/ 10785865 w 13797425"/>
                <a:gd name="connsiteY11283" fmla="*/ 3225993 h 17966907"/>
                <a:gd name="connsiteX11284" fmla="*/ 10766805 w 13797425"/>
                <a:gd name="connsiteY11284" fmla="*/ 3240287 h 17966907"/>
                <a:gd name="connsiteX11285" fmla="*/ 10766805 w 13797425"/>
                <a:gd name="connsiteY11285" fmla="*/ 3259349 h 17966907"/>
                <a:gd name="connsiteX11286" fmla="*/ 10785865 w 13797425"/>
                <a:gd name="connsiteY11286" fmla="*/ 3273642 h 17966907"/>
                <a:gd name="connsiteX11287" fmla="*/ 10838281 w 13797425"/>
                <a:gd name="connsiteY11287" fmla="*/ 3287937 h 17966907"/>
                <a:gd name="connsiteX11288" fmla="*/ 10952645 w 13797425"/>
                <a:gd name="connsiteY11288" fmla="*/ 3245053 h 17966907"/>
                <a:gd name="connsiteX11289" fmla="*/ 10971705 w 13797425"/>
                <a:gd name="connsiteY11289" fmla="*/ 3245053 h 17966907"/>
                <a:gd name="connsiteX11290" fmla="*/ 11000297 w 13797425"/>
                <a:gd name="connsiteY11290" fmla="*/ 3268878 h 17966907"/>
                <a:gd name="connsiteX11291" fmla="*/ 11000297 w 13797425"/>
                <a:gd name="connsiteY11291" fmla="*/ 3287937 h 17966907"/>
                <a:gd name="connsiteX11292" fmla="*/ 10971705 w 13797425"/>
                <a:gd name="connsiteY11292" fmla="*/ 3354650 h 17966907"/>
                <a:gd name="connsiteX11293" fmla="*/ 10876401 w 13797425"/>
                <a:gd name="connsiteY11293" fmla="*/ 3430892 h 17966907"/>
                <a:gd name="connsiteX11294" fmla="*/ 10890697 w 13797425"/>
                <a:gd name="connsiteY11294" fmla="*/ 3435656 h 17966907"/>
                <a:gd name="connsiteX11295" fmla="*/ 10914525 w 13797425"/>
                <a:gd name="connsiteY11295" fmla="*/ 3464249 h 17966907"/>
                <a:gd name="connsiteX11296" fmla="*/ 10914525 w 13797425"/>
                <a:gd name="connsiteY11296" fmla="*/ 3488073 h 17966907"/>
                <a:gd name="connsiteX11297" fmla="*/ 10885933 w 13797425"/>
                <a:gd name="connsiteY11297" fmla="*/ 3545254 h 17966907"/>
                <a:gd name="connsiteX11298" fmla="*/ 10871637 w 13797425"/>
                <a:gd name="connsiteY11298" fmla="*/ 3564315 h 17966907"/>
                <a:gd name="connsiteX11299" fmla="*/ 10781101 w 13797425"/>
                <a:gd name="connsiteY11299" fmla="*/ 3616731 h 17966907"/>
                <a:gd name="connsiteX11300" fmla="*/ 10742981 w 13797425"/>
                <a:gd name="connsiteY11300" fmla="*/ 3631027 h 17966907"/>
                <a:gd name="connsiteX11301" fmla="*/ 10709625 w 13797425"/>
                <a:gd name="connsiteY11301" fmla="*/ 3626263 h 17966907"/>
                <a:gd name="connsiteX11302" fmla="*/ 10552373 w 13797425"/>
                <a:gd name="connsiteY11302" fmla="*/ 3507134 h 17966907"/>
                <a:gd name="connsiteX11303" fmla="*/ 10495193 w 13797425"/>
                <a:gd name="connsiteY11303" fmla="*/ 3492839 h 17966907"/>
                <a:gd name="connsiteX11304" fmla="*/ 10442777 w 13797425"/>
                <a:gd name="connsiteY11304" fmla="*/ 3459481 h 17966907"/>
                <a:gd name="connsiteX11305" fmla="*/ 10399889 w 13797425"/>
                <a:gd name="connsiteY11305" fmla="*/ 3464249 h 17966907"/>
                <a:gd name="connsiteX11306" fmla="*/ 10361769 w 13797425"/>
                <a:gd name="connsiteY11306" fmla="*/ 3502369 h 17966907"/>
                <a:gd name="connsiteX11307" fmla="*/ 10380829 w 13797425"/>
                <a:gd name="connsiteY11307" fmla="*/ 3516665 h 17966907"/>
                <a:gd name="connsiteX11308" fmla="*/ 10457073 w 13797425"/>
                <a:gd name="connsiteY11308" fmla="*/ 3550021 h 17966907"/>
                <a:gd name="connsiteX11309" fmla="*/ 10519017 w 13797425"/>
                <a:gd name="connsiteY11309" fmla="*/ 3559550 h 17966907"/>
                <a:gd name="connsiteX11310" fmla="*/ 10547609 w 13797425"/>
                <a:gd name="connsiteY11310" fmla="*/ 3569082 h 17966907"/>
                <a:gd name="connsiteX11311" fmla="*/ 10557141 w 13797425"/>
                <a:gd name="connsiteY11311" fmla="*/ 3592907 h 17966907"/>
                <a:gd name="connsiteX11312" fmla="*/ 10585729 w 13797425"/>
                <a:gd name="connsiteY11312" fmla="*/ 3669148 h 17966907"/>
                <a:gd name="connsiteX11313" fmla="*/ 10590493 w 13797425"/>
                <a:gd name="connsiteY11313" fmla="*/ 3707271 h 17966907"/>
                <a:gd name="connsiteX11314" fmla="*/ 10580965 w 13797425"/>
                <a:gd name="connsiteY11314" fmla="*/ 3745390 h 17966907"/>
                <a:gd name="connsiteX11315" fmla="*/ 10576201 w 13797425"/>
                <a:gd name="connsiteY11315" fmla="*/ 3773982 h 17966907"/>
                <a:gd name="connsiteX11316" fmla="*/ 10561905 w 13797425"/>
                <a:gd name="connsiteY11316" fmla="*/ 3788278 h 17966907"/>
                <a:gd name="connsiteX11317" fmla="*/ 10547609 w 13797425"/>
                <a:gd name="connsiteY11317" fmla="*/ 3797806 h 17966907"/>
                <a:gd name="connsiteX11318" fmla="*/ 10485661 w 13797425"/>
                <a:gd name="connsiteY11318" fmla="*/ 3793042 h 17966907"/>
                <a:gd name="connsiteX11319" fmla="*/ 10461837 w 13797425"/>
                <a:gd name="connsiteY11319" fmla="*/ 3802572 h 17966907"/>
                <a:gd name="connsiteX11320" fmla="*/ 10433245 w 13797425"/>
                <a:gd name="connsiteY11320" fmla="*/ 3821634 h 17966907"/>
                <a:gd name="connsiteX11321" fmla="*/ 10399889 w 13797425"/>
                <a:gd name="connsiteY11321" fmla="*/ 3831163 h 17966907"/>
                <a:gd name="connsiteX11322" fmla="*/ 10337945 w 13797425"/>
                <a:gd name="connsiteY11322" fmla="*/ 3826398 h 17966907"/>
                <a:gd name="connsiteX11323" fmla="*/ 10266465 w 13797425"/>
                <a:gd name="connsiteY11323" fmla="*/ 3859755 h 17966907"/>
                <a:gd name="connsiteX11324" fmla="*/ 10228345 w 13797425"/>
                <a:gd name="connsiteY11324" fmla="*/ 3864519 h 17966907"/>
                <a:gd name="connsiteX11325" fmla="*/ 10185461 w 13797425"/>
                <a:gd name="connsiteY11325" fmla="*/ 3850223 h 17966907"/>
                <a:gd name="connsiteX11326" fmla="*/ 10142573 w 13797425"/>
                <a:gd name="connsiteY11326" fmla="*/ 3816867 h 17966907"/>
                <a:gd name="connsiteX11327" fmla="*/ 10094922 w 13797425"/>
                <a:gd name="connsiteY11327" fmla="*/ 3797806 h 17966907"/>
                <a:gd name="connsiteX11328" fmla="*/ 10009149 w 13797425"/>
                <a:gd name="connsiteY11328" fmla="*/ 3783512 h 17966907"/>
                <a:gd name="connsiteX11329" fmla="*/ 10018680 w 13797425"/>
                <a:gd name="connsiteY11329" fmla="*/ 3802572 h 17966907"/>
                <a:gd name="connsiteX11330" fmla="*/ 10047270 w 13797425"/>
                <a:gd name="connsiteY11330" fmla="*/ 3812102 h 17966907"/>
                <a:gd name="connsiteX11331" fmla="*/ 10104452 w 13797425"/>
                <a:gd name="connsiteY11331" fmla="*/ 3864519 h 17966907"/>
                <a:gd name="connsiteX11332" fmla="*/ 10133042 w 13797425"/>
                <a:gd name="connsiteY11332" fmla="*/ 3940760 h 17966907"/>
                <a:gd name="connsiteX11333" fmla="*/ 10161633 w 13797425"/>
                <a:gd name="connsiteY11333" fmla="*/ 3955056 h 17966907"/>
                <a:gd name="connsiteX11334" fmla="*/ 10214049 w 13797425"/>
                <a:gd name="connsiteY11334" fmla="*/ 4012237 h 17966907"/>
                <a:gd name="connsiteX11335" fmla="*/ 10252169 w 13797425"/>
                <a:gd name="connsiteY11335" fmla="*/ 4021769 h 17966907"/>
                <a:gd name="connsiteX11336" fmla="*/ 10295057 w 13797425"/>
                <a:gd name="connsiteY11336" fmla="*/ 4045594 h 17966907"/>
                <a:gd name="connsiteX11337" fmla="*/ 10352237 w 13797425"/>
                <a:gd name="connsiteY11337" fmla="*/ 4017002 h 17966907"/>
                <a:gd name="connsiteX11338" fmla="*/ 10390361 w 13797425"/>
                <a:gd name="connsiteY11338" fmla="*/ 4021769 h 17966907"/>
                <a:gd name="connsiteX11339" fmla="*/ 10380829 w 13797425"/>
                <a:gd name="connsiteY11339" fmla="*/ 4169488 h 17966907"/>
                <a:gd name="connsiteX11340" fmla="*/ 10361769 w 13797425"/>
                <a:gd name="connsiteY11340" fmla="*/ 4183784 h 17966907"/>
                <a:gd name="connsiteX11341" fmla="*/ 10271233 w 13797425"/>
                <a:gd name="connsiteY11341" fmla="*/ 4183784 h 17966907"/>
                <a:gd name="connsiteX11342" fmla="*/ 10228345 w 13797425"/>
                <a:gd name="connsiteY11342" fmla="*/ 4159956 h 17966907"/>
                <a:gd name="connsiteX11343" fmla="*/ 10209285 w 13797425"/>
                <a:gd name="connsiteY11343" fmla="*/ 4140895 h 17966907"/>
                <a:gd name="connsiteX11344" fmla="*/ 10166398 w 13797425"/>
                <a:gd name="connsiteY11344" fmla="*/ 4112307 h 17966907"/>
                <a:gd name="connsiteX11345" fmla="*/ 10128278 w 13797425"/>
                <a:gd name="connsiteY11345" fmla="*/ 4131367 h 17966907"/>
                <a:gd name="connsiteX11346" fmla="*/ 10090156 w 13797425"/>
                <a:gd name="connsiteY11346" fmla="*/ 4126600 h 17966907"/>
                <a:gd name="connsiteX11347" fmla="*/ 10066331 w 13797425"/>
                <a:gd name="connsiteY11347" fmla="*/ 4140895 h 17966907"/>
                <a:gd name="connsiteX11348" fmla="*/ 10032975 w 13797425"/>
                <a:gd name="connsiteY11348" fmla="*/ 4140895 h 17966907"/>
                <a:gd name="connsiteX11349" fmla="*/ 9932907 w 13797425"/>
                <a:gd name="connsiteY11349" fmla="*/ 4164723 h 17966907"/>
                <a:gd name="connsiteX11350" fmla="*/ 9880491 w 13797425"/>
                <a:gd name="connsiteY11350" fmla="*/ 4164723 h 17966907"/>
                <a:gd name="connsiteX11351" fmla="*/ 9842370 w 13797425"/>
                <a:gd name="connsiteY11351" fmla="*/ 4150427 h 17966907"/>
                <a:gd name="connsiteX11352" fmla="*/ 9799484 w 13797425"/>
                <a:gd name="connsiteY11352" fmla="*/ 4145660 h 17966907"/>
                <a:gd name="connsiteX11353" fmla="*/ 9747067 w 13797425"/>
                <a:gd name="connsiteY11353" fmla="*/ 4150427 h 17966907"/>
                <a:gd name="connsiteX11354" fmla="*/ 9751832 w 13797425"/>
                <a:gd name="connsiteY11354" fmla="*/ 4164723 h 17966907"/>
                <a:gd name="connsiteX11355" fmla="*/ 9775658 w 13797425"/>
                <a:gd name="connsiteY11355" fmla="*/ 4169488 h 17966907"/>
                <a:gd name="connsiteX11356" fmla="*/ 9804249 w 13797425"/>
                <a:gd name="connsiteY11356" fmla="*/ 4198077 h 17966907"/>
                <a:gd name="connsiteX11357" fmla="*/ 9832840 w 13797425"/>
                <a:gd name="connsiteY11357" fmla="*/ 4240965 h 17966907"/>
                <a:gd name="connsiteX11358" fmla="*/ 9856665 w 13797425"/>
                <a:gd name="connsiteY11358" fmla="*/ 4260025 h 17966907"/>
                <a:gd name="connsiteX11359" fmla="*/ 9885256 w 13797425"/>
                <a:gd name="connsiteY11359" fmla="*/ 4250494 h 17966907"/>
                <a:gd name="connsiteX11360" fmla="*/ 9913847 w 13797425"/>
                <a:gd name="connsiteY11360" fmla="*/ 4231433 h 17966907"/>
                <a:gd name="connsiteX11361" fmla="*/ 10023444 w 13797425"/>
                <a:gd name="connsiteY11361" fmla="*/ 4198077 h 17966907"/>
                <a:gd name="connsiteX11362" fmla="*/ 10071096 w 13797425"/>
                <a:gd name="connsiteY11362" fmla="*/ 4193312 h 17966907"/>
                <a:gd name="connsiteX11363" fmla="*/ 10109217 w 13797425"/>
                <a:gd name="connsiteY11363" fmla="*/ 4207608 h 17966907"/>
                <a:gd name="connsiteX11364" fmla="*/ 10137808 w 13797425"/>
                <a:gd name="connsiteY11364" fmla="*/ 4221904 h 17966907"/>
                <a:gd name="connsiteX11365" fmla="*/ 10156868 w 13797425"/>
                <a:gd name="connsiteY11365" fmla="*/ 4245729 h 17966907"/>
                <a:gd name="connsiteX11366" fmla="*/ 10185461 w 13797425"/>
                <a:gd name="connsiteY11366" fmla="*/ 4302910 h 17966907"/>
                <a:gd name="connsiteX11367" fmla="*/ 10247405 w 13797425"/>
                <a:gd name="connsiteY11367" fmla="*/ 4307676 h 17966907"/>
                <a:gd name="connsiteX11368" fmla="*/ 10290293 w 13797425"/>
                <a:gd name="connsiteY11368" fmla="*/ 4326735 h 17966907"/>
                <a:gd name="connsiteX11369" fmla="*/ 10366533 w 13797425"/>
                <a:gd name="connsiteY11369" fmla="*/ 4407743 h 17966907"/>
                <a:gd name="connsiteX11370" fmla="*/ 10385593 w 13797425"/>
                <a:gd name="connsiteY11370" fmla="*/ 4412508 h 17966907"/>
                <a:gd name="connsiteX11371" fmla="*/ 10395125 w 13797425"/>
                <a:gd name="connsiteY11371" fmla="*/ 4436336 h 17966907"/>
                <a:gd name="connsiteX11372" fmla="*/ 10380829 w 13797425"/>
                <a:gd name="connsiteY11372" fmla="*/ 4483985 h 17966907"/>
                <a:gd name="connsiteX11373" fmla="*/ 10380829 w 13797425"/>
                <a:gd name="connsiteY11373" fmla="*/ 4517341 h 17966907"/>
                <a:gd name="connsiteX11374" fmla="*/ 10328413 w 13797425"/>
                <a:gd name="connsiteY11374" fmla="*/ 4574522 h 17966907"/>
                <a:gd name="connsiteX11375" fmla="*/ 10247405 w 13797425"/>
                <a:gd name="connsiteY11375" fmla="*/ 4593582 h 17966907"/>
                <a:gd name="connsiteX11376" fmla="*/ 10156868 w 13797425"/>
                <a:gd name="connsiteY11376" fmla="*/ 4588818 h 17966907"/>
                <a:gd name="connsiteX11377" fmla="*/ 10094922 w 13797425"/>
                <a:gd name="connsiteY11377" fmla="*/ 4593582 h 17966907"/>
                <a:gd name="connsiteX11378" fmla="*/ 10085391 w 13797425"/>
                <a:gd name="connsiteY11378" fmla="*/ 4603114 h 17966907"/>
                <a:gd name="connsiteX11379" fmla="*/ 10128278 w 13797425"/>
                <a:gd name="connsiteY11379" fmla="*/ 4617411 h 17966907"/>
                <a:gd name="connsiteX11380" fmla="*/ 10233109 w 13797425"/>
                <a:gd name="connsiteY11380" fmla="*/ 4688888 h 17966907"/>
                <a:gd name="connsiteX11381" fmla="*/ 10271233 w 13797425"/>
                <a:gd name="connsiteY11381" fmla="*/ 4722240 h 17966907"/>
                <a:gd name="connsiteX11382" fmla="*/ 10275997 w 13797425"/>
                <a:gd name="connsiteY11382" fmla="*/ 4746069 h 17966907"/>
                <a:gd name="connsiteX11383" fmla="*/ 10223581 w 13797425"/>
                <a:gd name="connsiteY11383" fmla="*/ 4827074 h 17966907"/>
                <a:gd name="connsiteX11384" fmla="*/ 10171164 w 13797425"/>
                <a:gd name="connsiteY11384" fmla="*/ 4989089 h 17966907"/>
                <a:gd name="connsiteX11385" fmla="*/ 10156868 w 13797425"/>
                <a:gd name="connsiteY11385" fmla="*/ 4998621 h 17966907"/>
                <a:gd name="connsiteX11386" fmla="*/ 10137808 w 13797425"/>
                <a:gd name="connsiteY11386" fmla="*/ 5003385 h 17966907"/>
                <a:gd name="connsiteX11387" fmla="*/ 10094922 w 13797425"/>
                <a:gd name="connsiteY11387" fmla="*/ 5003385 h 17966907"/>
                <a:gd name="connsiteX11388" fmla="*/ 10042505 w 13797425"/>
                <a:gd name="connsiteY11388" fmla="*/ 5041505 h 17966907"/>
                <a:gd name="connsiteX11389" fmla="*/ 9999619 w 13797425"/>
                <a:gd name="connsiteY11389" fmla="*/ 5051038 h 17966907"/>
                <a:gd name="connsiteX11390" fmla="*/ 9923377 w 13797425"/>
                <a:gd name="connsiteY11390" fmla="*/ 5036741 h 17966907"/>
                <a:gd name="connsiteX11391" fmla="*/ 9837605 w 13797425"/>
                <a:gd name="connsiteY11391" fmla="*/ 5036741 h 17966907"/>
                <a:gd name="connsiteX11392" fmla="*/ 9828074 w 13797425"/>
                <a:gd name="connsiteY11392" fmla="*/ 5060566 h 17966907"/>
                <a:gd name="connsiteX11393" fmla="*/ 9828074 w 13797425"/>
                <a:gd name="connsiteY11393" fmla="*/ 5108218 h 17966907"/>
                <a:gd name="connsiteX11394" fmla="*/ 9828074 w 13797425"/>
                <a:gd name="connsiteY11394" fmla="*/ 5184460 h 17966907"/>
                <a:gd name="connsiteX11395" fmla="*/ 9832840 w 13797425"/>
                <a:gd name="connsiteY11395" fmla="*/ 5279761 h 17966907"/>
                <a:gd name="connsiteX11396" fmla="*/ 9828074 w 13797425"/>
                <a:gd name="connsiteY11396" fmla="*/ 5351238 h 17966907"/>
                <a:gd name="connsiteX11397" fmla="*/ 9813779 w 13797425"/>
                <a:gd name="connsiteY11397" fmla="*/ 5394123 h 17966907"/>
                <a:gd name="connsiteX11398" fmla="*/ 9794718 w 13797425"/>
                <a:gd name="connsiteY11398" fmla="*/ 5427480 h 17966907"/>
                <a:gd name="connsiteX11399" fmla="*/ 9761363 w 13797425"/>
                <a:gd name="connsiteY11399" fmla="*/ 5456072 h 17966907"/>
                <a:gd name="connsiteX11400" fmla="*/ 9728007 w 13797425"/>
                <a:gd name="connsiteY11400" fmla="*/ 5475132 h 17966907"/>
                <a:gd name="connsiteX11401" fmla="*/ 9704181 w 13797425"/>
                <a:gd name="connsiteY11401" fmla="*/ 5484664 h 17966907"/>
                <a:gd name="connsiteX11402" fmla="*/ 9661295 w 13797425"/>
                <a:gd name="connsiteY11402" fmla="*/ 5484664 h 17966907"/>
                <a:gd name="connsiteX11403" fmla="*/ 9542167 w 13797425"/>
                <a:gd name="connsiteY11403" fmla="*/ 5508489 h 17966907"/>
                <a:gd name="connsiteX11404" fmla="*/ 9484985 w 13797425"/>
                <a:gd name="connsiteY11404" fmla="*/ 5503722 h 17966907"/>
                <a:gd name="connsiteX11405" fmla="*/ 9437334 w 13797425"/>
                <a:gd name="connsiteY11405" fmla="*/ 5494193 h 17966907"/>
                <a:gd name="connsiteX11406" fmla="*/ 9389683 w 13797425"/>
                <a:gd name="connsiteY11406" fmla="*/ 5465600 h 17966907"/>
                <a:gd name="connsiteX11407" fmla="*/ 9313441 w 13797425"/>
                <a:gd name="connsiteY11407" fmla="*/ 5375065 h 17966907"/>
                <a:gd name="connsiteX11408" fmla="*/ 9289615 w 13797425"/>
                <a:gd name="connsiteY11408" fmla="*/ 5356003 h 17966907"/>
                <a:gd name="connsiteX11409" fmla="*/ 9265789 w 13797425"/>
                <a:gd name="connsiteY11409" fmla="*/ 5346474 h 17966907"/>
                <a:gd name="connsiteX11410" fmla="*/ 9270554 w 13797425"/>
                <a:gd name="connsiteY11410" fmla="*/ 5365535 h 17966907"/>
                <a:gd name="connsiteX11411" fmla="*/ 9289615 w 13797425"/>
                <a:gd name="connsiteY11411" fmla="*/ 5413187 h 17966907"/>
                <a:gd name="connsiteX11412" fmla="*/ 9313441 w 13797425"/>
                <a:gd name="connsiteY11412" fmla="*/ 5446541 h 17966907"/>
                <a:gd name="connsiteX11413" fmla="*/ 9327736 w 13797425"/>
                <a:gd name="connsiteY11413" fmla="*/ 5460836 h 17966907"/>
                <a:gd name="connsiteX11414" fmla="*/ 9322971 w 13797425"/>
                <a:gd name="connsiteY11414" fmla="*/ 5475132 h 17966907"/>
                <a:gd name="connsiteX11415" fmla="*/ 9289615 w 13797425"/>
                <a:gd name="connsiteY11415" fmla="*/ 5498959 h 17966907"/>
                <a:gd name="connsiteX11416" fmla="*/ 9251494 w 13797425"/>
                <a:gd name="connsiteY11416" fmla="*/ 5508489 h 17966907"/>
                <a:gd name="connsiteX11417" fmla="*/ 9203843 w 13797425"/>
                <a:gd name="connsiteY11417" fmla="*/ 5508489 h 17966907"/>
                <a:gd name="connsiteX11418" fmla="*/ 9203843 w 13797425"/>
                <a:gd name="connsiteY11418" fmla="*/ 5518018 h 17966907"/>
                <a:gd name="connsiteX11419" fmla="*/ 9218138 w 13797425"/>
                <a:gd name="connsiteY11419" fmla="*/ 5541845 h 17966907"/>
                <a:gd name="connsiteX11420" fmla="*/ 9237198 w 13797425"/>
                <a:gd name="connsiteY11420" fmla="*/ 5565670 h 17966907"/>
                <a:gd name="connsiteX11421" fmla="*/ 9251494 w 13797425"/>
                <a:gd name="connsiteY11421" fmla="*/ 5575202 h 17966907"/>
                <a:gd name="connsiteX11422" fmla="*/ 9284850 w 13797425"/>
                <a:gd name="connsiteY11422" fmla="*/ 5565670 h 17966907"/>
                <a:gd name="connsiteX11423" fmla="*/ 9327736 w 13797425"/>
                <a:gd name="connsiteY11423" fmla="*/ 5537077 h 17966907"/>
                <a:gd name="connsiteX11424" fmla="*/ 9351562 w 13797425"/>
                <a:gd name="connsiteY11424" fmla="*/ 5527549 h 17966907"/>
                <a:gd name="connsiteX11425" fmla="*/ 9403978 w 13797425"/>
                <a:gd name="connsiteY11425" fmla="*/ 5537077 h 17966907"/>
                <a:gd name="connsiteX11426" fmla="*/ 9423038 w 13797425"/>
                <a:gd name="connsiteY11426" fmla="*/ 5546608 h 17966907"/>
                <a:gd name="connsiteX11427" fmla="*/ 9484985 w 13797425"/>
                <a:gd name="connsiteY11427" fmla="*/ 5613322 h 17966907"/>
                <a:gd name="connsiteX11428" fmla="*/ 9494516 w 13797425"/>
                <a:gd name="connsiteY11428" fmla="*/ 5613322 h 17966907"/>
                <a:gd name="connsiteX11429" fmla="*/ 9537402 w 13797425"/>
                <a:gd name="connsiteY11429" fmla="*/ 5579966 h 17966907"/>
                <a:gd name="connsiteX11430" fmla="*/ 9604113 w 13797425"/>
                <a:gd name="connsiteY11430" fmla="*/ 5579966 h 17966907"/>
                <a:gd name="connsiteX11431" fmla="*/ 9627939 w 13797425"/>
                <a:gd name="connsiteY11431" fmla="*/ 5608555 h 17966907"/>
                <a:gd name="connsiteX11432" fmla="*/ 9637469 w 13797425"/>
                <a:gd name="connsiteY11432" fmla="*/ 5656207 h 17966907"/>
                <a:gd name="connsiteX11433" fmla="*/ 9642234 w 13797425"/>
                <a:gd name="connsiteY11433" fmla="*/ 5699092 h 17966907"/>
                <a:gd name="connsiteX11434" fmla="*/ 9632704 w 13797425"/>
                <a:gd name="connsiteY11434" fmla="*/ 5732447 h 17966907"/>
                <a:gd name="connsiteX11435" fmla="*/ 9647000 w 13797425"/>
                <a:gd name="connsiteY11435" fmla="*/ 5761041 h 17966907"/>
                <a:gd name="connsiteX11436" fmla="*/ 9685120 w 13797425"/>
                <a:gd name="connsiteY11436" fmla="*/ 5789628 h 17966907"/>
                <a:gd name="connsiteX11437" fmla="*/ 9713711 w 13797425"/>
                <a:gd name="connsiteY11437" fmla="*/ 5799160 h 17966907"/>
                <a:gd name="connsiteX11438" fmla="*/ 9737537 w 13797425"/>
                <a:gd name="connsiteY11438" fmla="*/ 5780101 h 17966907"/>
                <a:gd name="connsiteX11439" fmla="*/ 9766128 w 13797425"/>
                <a:gd name="connsiteY11439" fmla="*/ 5741980 h 17966907"/>
                <a:gd name="connsiteX11440" fmla="*/ 9780423 w 13797425"/>
                <a:gd name="connsiteY11440" fmla="*/ 5732447 h 17966907"/>
                <a:gd name="connsiteX11441" fmla="*/ 9794718 w 13797425"/>
                <a:gd name="connsiteY11441" fmla="*/ 5732447 h 17966907"/>
                <a:gd name="connsiteX11442" fmla="*/ 9813779 w 13797425"/>
                <a:gd name="connsiteY11442" fmla="*/ 5761041 h 17966907"/>
                <a:gd name="connsiteX11443" fmla="*/ 9837605 w 13797425"/>
                <a:gd name="connsiteY11443" fmla="*/ 5818221 h 17966907"/>
                <a:gd name="connsiteX11444" fmla="*/ 9842370 w 13797425"/>
                <a:gd name="connsiteY11444" fmla="*/ 5884931 h 17966907"/>
                <a:gd name="connsiteX11445" fmla="*/ 9818544 w 13797425"/>
                <a:gd name="connsiteY11445" fmla="*/ 5961176 h 17966907"/>
                <a:gd name="connsiteX11446" fmla="*/ 9794718 w 13797425"/>
                <a:gd name="connsiteY11446" fmla="*/ 6008828 h 17966907"/>
                <a:gd name="connsiteX11447" fmla="*/ 9694651 w 13797425"/>
                <a:gd name="connsiteY11447" fmla="*/ 6089834 h 17966907"/>
                <a:gd name="connsiteX11448" fmla="*/ 9661295 w 13797425"/>
                <a:gd name="connsiteY11448" fmla="*/ 6123190 h 17966907"/>
                <a:gd name="connsiteX11449" fmla="*/ 9637469 w 13797425"/>
                <a:gd name="connsiteY11449" fmla="*/ 6156547 h 17966907"/>
                <a:gd name="connsiteX11450" fmla="*/ 9604113 w 13797425"/>
                <a:gd name="connsiteY11450" fmla="*/ 6185136 h 17966907"/>
                <a:gd name="connsiteX11451" fmla="*/ 9532636 w 13797425"/>
                <a:gd name="connsiteY11451" fmla="*/ 6223255 h 17966907"/>
                <a:gd name="connsiteX11452" fmla="*/ 9499281 w 13797425"/>
                <a:gd name="connsiteY11452" fmla="*/ 6228023 h 17966907"/>
                <a:gd name="connsiteX11453" fmla="*/ 9418273 w 13797425"/>
                <a:gd name="connsiteY11453" fmla="*/ 6270909 h 17966907"/>
                <a:gd name="connsiteX11454" fmla="*/ 9403978 w 13797425"/>
                <a:gd name="connsiteY11454" fmla="*/ 6275673 h 17966907"/>
                <a:gd name="connsiteX11455" fmla="*/ 9375387 w 13797425"/>
                <a:gd name="connsiteY11455" fmla="*/ 6266144 h 17966907"/>
                <a:gd name="connsiteX11456" fmla="*/ 9370622 w 13797425"/>
                <a:gd name="connsiteY11456" fmla="*/ 6247084 h 17966907"/>
                <a:gd name="connsiteX11457" fmla="*/ 9375387 w 13797425"/>
                <a:gd name="connsiteY11457" fmla="*/ 6208961 h 17966907"/>
                <a:gd name="connsiteX11458" fmla="*/ 9384918 w 13797425"/>
                <a:gd name="connsiteY11458" fmla="*/ 6175606 h 17966907"/>
                <a:gd name="connsiteX11459" fmla="*/ 9394448 w 13797425"/>
                <a:gd name="connsiteY11459" fmla="*/ 6147015 h 17966907"/>
                <a:gd name="connsiteX11460" fmla="*/ 9399213 w 13797425"/>
                <a:gd name="connsiteY11460" fmla="*/ 6118426 h 17966907"/>
                <a:gd name="connsiteX11461" fmla="*/ 9375387 w 13797425"/>
                <a:gd name="connsiteY11461" fmla="*/ 6080303 h 17966907"/>
                <a:gd name="connsiteX11462" fmla="*/ 9361092 w 13797425"/>
                <a:gd name="connsiteY11462" fmla="*/ 6061242 h 17966907"/>
                <a:gd name="connsiteX11463" fmla="*/ 9342031 w 13797425"/>
                <a:gd name="connsiteY11463" fmla="*/ 6051713 h 17966907"/>
                <a:gd name="connsiteX11464" fmla="*/ 9313441 w 13797425"/>
                <a:gd name="connsiteY11464" fmla="*/ 6056477 h 17966907"/>
                <a:gd name="connsiteX11465" fmla="*/ 9294380 w 13797425"/>
                <a:gd name="connsiteY11465" fmla="*/ 6066009 h 17966907"/>
                <a:gd name="connsiteX11466" fmla="*/ 9280085 w 13797425"/>
                <a:gd name="connsiteY11466" fmla="*/ 6070773 h 17966907"/>
                <a:gd name="connsiteX11467" fmla="*/ 9261024 w 13797425"/>
                <a:gd name="connsiteY11467" fmla="*/ 6061242 h 17966907"/>
                <a:gd name="connsiteX11468" fmla="*/ 9241964 w 13797425"/>
                <a:gd name="connsiteY11468" fmla="*/ 6042184 h 17966907"/>
                <a:gd name="connsiteX11469" fmla="*/ 9208608 w 13797425"/>
                <a:gd name="connsiteY11469" fmla="*/ 5970705 h 17966907"/>
                <a:gd name="connsiteX11470" fmla="*/ 9194312 w 13797425"/>
                <a:gd name="connsiteY11470" fmla="*/ 5961176 h 17966907"/>
                <a:gd name="connsiteX11471" fmla="*/ 9180017 w 13797425"/>
                <a:gd name="connsiteY11471" fmla="*/ 5965940 h 17966907"/>
                <a:gd name="connsiteX11472" fmla="*/ 9165722 w 13797425"/>
                <a:gd name="connsiteY11472" fmla="*/ 5951644 h 17966907"/>
                <a:gd name="connsiteX11473" fmla="*/ 9151426 w 13797425"/>
                <a:gd name="connsiteY11473" fmla="*/ 5932584 h 17966907"/>
                <a:gd name="connsiteX11474" fmla="*/ 9132366 w 13797425"/>
                <a:gd name="connsiteY11474" fmla="*/ 5908759 h 17966907"/>
                <a:gd name="connsiteX11475" fmla="*/ 9137131 w 13797425"/>
                <a:gd name="connsiteY11475" fmla="*/ 5923054 h 17966907"/>
                <a:gd name="connsiteX11476" fmla="*/ 9156191 w 13797425"/>
                <a:gd name="connsiteY11476" fmla="*/ 5965940 h 17966907"/>
                <a:gd name="connsiteX11477" fmla="*/ 9175252 w 13797425"/>
                <a:gd name="connsiteY11477" fmla="*/ 6008828 h 17966907"/>
                <a:gd name="connsiteX11478" fmla="*/ 9180017 w 13797425"/>
                <a:gd name="connsiteY11478" fmla="*/ 6046948 h 17966907"/>
                <a:gd name="connsiteX11479" fmla="*/ 9180017 w 13797425"/>
                <a:gd name="connsiteY11479" fmla="*/ 6080303 h 17966907"/>
                <a:gd name="connsiteX11480" fmla="*/ 8998942 w 13797425"/>
                <a:gd name="connsiteY11480" fmla="*/ 6099363 h 17966907"/>
                <a:gd name="connsiteX11481" fmla="*/ 8917935 w 13797425"/>
                <a:gd name="connsiteY11481" fmla="*/ 6089834 h 17966907"/>
                <a:gd name="connsiteX11482" fmla="*/ 8903640 w 13797425"/>
                <a:gd name="connsiteY11482" fmla="*/ 6061242 h 17966907"/>
                <a:gd name="connsiteX11483" fmla="*/ 8865519 w 13797425"/>
                <a:gd name="connsiteY11483" fmla="*/ 5942115 h 17966907"/>
                <a:gd name="connsiteX11484" fmla="*/ 8860754 w 13797425"/>
                <a:gd name="connsiteY11484" fmla="*/ 6151779 h 17966907"/>
                <a:gd name="connsiteX11485" fmla="*/ 8722565 w 13797425"/>
                <a:gd name="connsiteY11485" fmla="*/ 6189900 h 17966907"/>
                <a:gd name="connsiteX11486" fmla="*/ 8693974 w 13797425"/>
                <a:gd name="connsiteY11486" fmla="*/ 6180371 h 17966907"/>
                <a:gd name="connsiteX11487" fmla="*/ 8641558 w 13797425"/>
                <a:gd name="connsiteY11487" fmla="*/ 6156547 h 17966907"/>
                <a:gd name="connsiteX11488" fmla="*/ 8572463 w 13797425"/>
                <a:gd name="connsiteY11488" fmla="*/ 6104129 h 17966907"/>
                <a:gd name="connsiteX11489" fmla="*/ 8543872 w 13797425"/>
                <a:gd name="connsiteY11489" fmla="*/ 6066009 h 17966907"/>
                <a:gd name="connsiteX11490" fmla="*/ 8534342 w 13797425"/>
                <a:gd name="connsiteY11490" fmla="*/ 6027886 h 17966907"/>
                <a:gd name="connsiteX11491" fmla="*/ 8524812 w 13797425"/>
                <a:gd name="connsiteY11491" fmla="*/ 6004061 h 17966907"/>
                <a:gd name="connsiteX11492" fmla="*/ 8520047 w 13797425"/>
                <a:gd name="connsiteY11492" fmla="*/ 5999296 h 17966907"/>
                <a:gd name="connsiteX11493" fmla="*/ 8505751 w 13797425"/>
                <a:gd name="connsiteY11493" fmla="*/ 6046948 h 17966907"/>
                <a:gd name="connsiteX11494" fmla="*/ 8486691 w 13797425"/>
                <a:gd name="connsiteY11494" fmla="*/ 6142250 h 17966907"/>
                <a:gd name="connsiteX11495" fmla="*/ 8439040 w 13797425"/>
                <a:gd name="connsiteY11495" fmla="*/ 6118426 h 17966907"/>
                <a:gd name="connsiteX11496" fmla="*/ 8381858 w 13797425"/>
                <a:gd name="connsiteY11496" fmla="*/ 6094598 h 17966907"/>
                <a:gd name="connsiteX11497" fmla="*/ 8358032 w 13797425"/>
                <a:gd name="connsiteY11497" fmla="*/ 5999296 h 17966907"/>
                <a:gd name="connsiteX11498" fmla="*/ 8358032 w 13797425"/>
                <a:gd name="connsiteY11498" fmla="*/ 6132719 h 17966907"/>
                <a:gd name="connsiteX11499" fmla="*/ 8262730 w 13797425"/>
                <a:gd name="connsiteY11499" fmla="*/ 6118426 h 17966907"/>
                <a:gd name="connsiteX11500" fmla="*/ 8219844 w 13797425"/>
                <a:gd name="connsiteY11500" fmla="*/ 6123190 h 17966907"/>
                <a:gd name="connsiteX11501" fmla="*/ 8205548 w 13797425"/>
                <a:gd name="connsiteY11501" fmla="*/ 6004061 h 17966907"/>
                <a:gd name="connsiteX11502" fmla="*/ 8200783 w 13797425"/>
                <a:gd name="connsiteY11502" fmla="*/ 5875403 h 17966907"/>
                <a:gd name="connsiteX11503" fmla="*/ 8181723 w 13797425"/>
                <a:gd name="connsiteY11503" fmla="*/ 5956409 h 17966907"/>
                <a:gd name="connsiteX11504" fmla="*/ 8191253 w 13797425"/>
                <a:gd name="connsiteY11504" fmla="*/ 6027886 h 17966907"/>
                <a:gd name="connsiteX11505" fmla="*/ 8196018 w 13797425"/>
                <a:gd name="connsiteY11505" fmla="*/ 6108893 h 17966907"/>
                <a:gd name="connsiteX11506" fmla="*/ 8153132 w 13797425"/>
                <a:gd name="connsiteY11506" fmla="*/ 6085069 h 17966907"/>
                <a:gd name="connsiteX11507" fmla="*/ 8067360 w 13797425"/>
                <a:gd name="connsiteY11507" fmla="*/ 6075538 h 17966907"/>
                <a:gd name="connsiteX11508" fmla="*/ 8034004 w 13797425"/>
                <a:gd name="connsiteY11508" fmla="*/ 6066009 h 17966907"/>
                <a:gd name="connsiteX11509" fmla="*/ 8038769 w 13797425"/>
                <a:gd name="connsiteY11509" fmla="*/ 5951644 h 17966907"/>
                <a:gd name="connsiteX11510" fmla="*/ 8043534 w 13797425"/>
                <a:gd name="connsiteY11510" fmla="*/ 5837282 h 17966907"/>
                <a:gd name="connsiteX11511" fmla="*/ 8157897 w 13797425"/>
                <a:gd name="connsiteY11511" fmla="*/ 5722920 h 17966907"/>
                <a:gd name="connsiteX11512" fmla="*/ 8191253 w 13797425"/>
                <a:gd name="connsiteY11512" fmla="*/ 5665736 h 17966907"/>
                <a:gd name="connsiteX11513" fmla="*/ 8215079 w 13797425"/>
                <a:gd name="connsiteY11513" fmla="*/ 5646679 h 17966907"/>
                <a:gd name="connsiteX11514" fmla="*/ 8257965 w 13797425"/>
                <a:gd name="connsiteY11514" fmla="*/ 5632380 h 17966907"/>
                <a:gd name="connsiteX11515" fmla="*/ 8305616 w 13797425"/>
                <a:gd name="connsiteY11515" fmla="*/ 5622850 h 17966907"/>
                <a:gd name="connsiteX11516" fmla="*/ 8338972 w 13797425"/>
                <a:gd name="connsiteY11516" fmla="*/ 5627616 h 17966907"/>
                <a:gd name="connsiteX11517" fmla="*/ 8381858 w 13797425"/>
                <a:gd name="connsiteY11517" fmla="*/ 5622850 h 17966907"/>
                <a:gd name="connsiteX11518" fmla="*/ 8424744 w 13797425"/>
                <a:gd name="connsiteY11518" fmla="*/ 5603790 h 17966907"/>
                <a:gd name="connsiteX11519" fmla="*/ 8458100 w 13797425"/>
                <a:gd name="connsiteY11519" fmla="*/ 5594262 h 17966907"/>
                <a:gd name="connsiteX11520" fmla="*/ 8462865 w 13797425"/>
                <a:gd name="connsiteY11520" fmla="*/ 5589494 h 17966907"/>
                <a:gd name="connsiteX11521" fmla="*/ 8453335 w 13797425"/>
                <a:gd name="connsiteY11521" fmla="*/ 5575202 h 17966907"/>
                <a:gd name="connsiteX11522" fmla="*/ 8419979 w 13797425"/>
                <a:gd name="connsiteY11522" fmla="*/ 5498959 h 17966907"/>
                <a:gd name="connsiteX11523" fmla="*/ 8405684 w 13797425"/>
                <a:gd name="connsiteY11523" fmla="*/ 5484664 h 17966907"/>
                <a:gd name="connsiteX11524" fmla="*/ 8396154 w 13797425"/>
                <a:gd name="connsiteY11524" fmla="*/ 5475132 h 17966907"/>
                <a:gd name="connsiteX11525" fmla="*/ 8367563 w 13797425"/>
                <a:gd name="connsiteY11525" fmla="*/ 5475132 h 17966907"/>
                <a:gd name="connsiteX11526" fmla="*/ 8343737 w 13797425"/>
                <a:gd name="connsiteY11526" fmla="*/ 5437012 h 17966907"/>
                <a:gd name="connsiteX11527" fmla="*/ 8329442 w 13797425"/>
                <a:gd name="connsiteY11527" fmla="*/ 5408419 h 17966907"/>
                <a:gd name="connsiteX11528" fmla="*/ 8315146 w 13797425"/>
                <a:gd name="connsiteY11528" fmla="*/ 5370299 h 17966907"/>
                <a:gd name="connsiteX11529" fmla="*/ 8291321 w 13797425"/>
                <a:gd name="connsiteY11529" fmla="*/ 5289293 h 17966907"/>
                <a:gd name="connsiteX11530" fmla="*/ 8262730 w 13797425"/>
                <a:gd name="connsiteY11530" fmla="*/ 5203520 h 17966907"/>
                <a:gd name="connsiteX11531" fmla="*/ 8277025 w 13797425"/>
                <a:gd name="connsiteY11531" fmla="*/ 5155867 h 17966907"/>
                <a:gd name="connsiteX11532" fmla="*/ 8315146 w 13797425"/>
                <a:gd name="connsiteY11532" fmla="*/ 5117747 h 17966907"/>
                <a:gd name="connsiteX11533" fmla="*/ 8358032 w 13797425"/>
                <a:gd name="connsiteY11533" fmla="*/ 5089158 h 17966907"/>
                <a:gd name="connsiteX11534" fmla="*/ 8400919 w 13797425"/>
                <a:gd name="connsiteY11534" fmla="*/ 5074862 h 17966907"/>
                <a:gd name="connsiteX11535" fmla="*/ 8434275 w 13797425"/>
                <a:gd name="connsiteY11535" fmla="*/ 5074862 h 17966907"/>
                <a:gd name="connsiteX11536" fmla="*/ 8472396 w 13797425"/>
                <a:gd name="connsiteY11536" fmla="*/ 5098686 h 17966907"/>
                <a:gd name="connsiteX11537" fmla="*/ 8529577 w 13797425"/>
                <a:gd name="connsiteY11537" fmla="*/ 5136807 h 17966907"/>
                <a:gd name="connsiteX11538" fmla="*/ 8562933 w 13797425"/>
                <a:gd name="connsiteY11538" fmla="*/ 5184460 h 17966907"/>
                <a:gd name="connsiteX11539" fmla="*/ 8603437 w 13797425"/>
                <a:gd name="connsiteY11539" fmla="*/ 5279761 h 17966907"/>
                <a:gd name="connsiteX11540" fmla="*/ 8632027 w 13797425"/>
                <a:gd name="connsiteY11540" fmla="*/ 5356003 h 17966907"/>
                <a:gd name="connsiteX11541" fmla="*/ 8655853 w 13797425"/>
                <a:gd name="connsiteY11541" fmla="*/ 5389359 h 17966907"/>
                <a:gd name="connsiteX11542" fmla="*/ 8755921 w 13797425"/>
                <a:gd name="connsiteY11542" fmla="*/ 5451308 h 17966907"/>
                <a:gd name="connsiteX11543" fmla="*/ 8789276 w 13797425"/>
                <a:gd name="connsiteY11543" fmla="*/ 5465600 h 17966907"/>
                <a:gd name="connsiteX11544" fmla="*/ 8827398 w 13797425"/>
                <a:gd name="connsiteY11544" fmla="*/ 5460836 h 17966907"/>
                <a:gd name="connsiteX11545" fmla="*/ 8908405 w 13797425"/>
                <a:gd name="connsiteY11545" fmla="*/ 5441776 h 17966907"/>
                <a:gd name="connsiteX11546" fmla="*/ 8946526 w 13797425"/>
                <a:gd name="connsiteY11546" fmla="*/ 5427480 h 17966907"/>
                <a:gd name="connsiteX11547" fmla="*/ 8960821 w 13797425"/>
                <a:gd name="connsiteY11547" fmla="*/ 5403655 h 17966907"/>
                <a:gd name="connsiteX11548" fmla="*/ 8970351 w 13797425"/>
                <a:gd name="connsiteY11548" fmla="*/ 5375065 h 17966907"/>
                <a:gd name="connsiteX11549" fmla="*/ 8984647 w 13797425"/>
                <a:gd name="connsiteY11549" fmla="*/ 5351238 h 17966907"/>
                <a:gd name="connsiteX11550" fmla="*/ 9018003 w 13797425"/>
                <a:gd name="connsiteY11550" fmla="*/ 5303590 h 17966907"/>
                <a:gd name="connsiteX11551" fmla="*/ 9075184 w 13797425"/>
                <a:gd name="connsiteY11551" fmla="*/ 5193989 h 17966907"/>
                <a:gd name="connsiteX11552" fmla="*/ 9103775 w 13797425"/>
                <a:gd name="connsiteY11552" fmla="*/ 5108218 h 17966907"/>
                <a:gd name="connsiteX11553" fmla="*/ 9108540 w 13797425"/>
                <a:gd name="connsiteY11553" fmla="*/ 5079626 h 17966907"/>
                <a:gd name="connsiteX11554" fmla="*/ 9118070 w 13797425"/>
                <a:gd name="connsiteY11554" fmla="*/ 5041505 h 17966907"/>
                <a:gd name="connsiteX11555" fmla="*/ 9122836 w 13797425"/>
                <a:gd name="connsiteY11555" fmla="*/ 5003385 h 17966907"/>
                <a:gd name="connsiteX11556" fmla="*/ 9103775 w 13797425"/>
                <a:gd name="connsiteY11556" fmla="*/ 5022445 h 17966907"/>
                <a:gd name="connsiteX11557" fmla="*/ 9008472 w 13797425"/>
                <a:gd name="connsiteY11557" fmla="*/ 5236877 h 17966907"/>
                <a:gd name="connsiteX11558" fmla="*/ 8989412 w 13797425"/>
                <a:gd name="connsiteY11558" fmla="*/ 5274997 h 17966907"/>
                <a:gd name="connsiteX11559" fmla="*/ 8936996 w 13797425"/>
                <a:gd name="connsiteY11559" fmla="*/ 5341710 h 17966907"/>
                <a:gd name="connsiteX11560" fmla="*/ 8913170 w 13797425"/>
                <a:gd name="connsiteY11560" fmla="*/ 5351238 h 17966907"/>
                <a:gd name="connsiteX11561" fmla="*/ 8875049 w 13797425"/>
                <a:gd name="connsiteY11561" fmla="*/ 5346474 h 17966907"/>
                <a:gd name="connsiteX11562" fmla="*/ 8827398 w 13797425"/>
                <a:gd name="connsiteY11562" fmla="*/ 5317882 h 17966907"/>
                <a:gd name="connsiteX11563" fmla="*/ 8770216 w 13797425"/>
                <a:gd name="connsiteY11563" fmla="*/ 5365535 h 17966907"/>
                <a:gd name="connsiteX11564" fmla="*/ 8732095 w 13797425"/>
                <a:gd name="connsiteY11564" fmla="*/ 5351238 h 17966907"/>
                <a:gd name="connsiteX11565" fmla="*/ 8698739 w 13797425"/>
                <a:gd name="connsiteY11565" fmla="*/ 5322646 h 17966907"/>
                <a:gd name="connsiteX11566" fmla="*/ 8698739 w 13797425"/>
                <a:gd name="connsiteY11566" fmla="*/ 5170164 h 17966907"/>
                <a:gd name="connsiteX11567" fmla="*/ 8660618 w 13797425"/>
                <a:gd name="connsiteY11567" fmla="*/ 5051038 h 17966907"/>
                <a:gd name="connsiteX11568" fmla="*/ 8703504 w 13797425"/>
                <a:gd name="connsiteY11568" fmla="*/ 4989089 h 17966907"/>
                <a:gd name="connsiteX11569" fmla="*/ 8741625 w 13797425"/>
                <a:gd name="connsiteY11569" fmla="*/ 4950968 h 17966907"/>
                <a:gd name="connsiteX11570" fmla="*/ 8803572 w 13797425"/>
                <a:gd name="connsiteY11570" fmla="*/ 4846135 h 17966907"/>
                <a:gd name="connsiteX11571" fmla="*/ 8817867 w 13797425"/>
                <a:gd name="connsiteY11571" fmla="*/ 4846135 h 17966907"/>
                <a:gd name="connsiteX11572" fmla="*/ 8865519 w 13797425"/>
                <a:gd name="connsiteY11572" fmla="*/ 4860431 h 17966907"/>
                <a:gd name="connsiteX11573" fmla="*/ 8841693 w 13797425"/>
                <a:gd name="connsiteY11573" fmla="*/ 4841370 h 17966907"/>
                <a:gd name="connsiteX11574" fmla="*/ 8817867 w 13797425"/>
                <a:gd name="connsiteY11574" fmla="*/ 4803250 h 17966907"/>
                <a:gd name="connsiteX11575" fmla="*/ 8760686 w 13797425"/>
                <a:gd name="connsiteY11575" fmla="*/ 4812778 h 17966907"/>
                <a:gd name="connsiteX11576" fmla="*/ 8779746 w 13797425"/>
                <a:gd name="connsiteY11576" fmla="*/ 4588818 h 17966907"/>
                <a:gd name="connsiteX11577" fmla="*/ 8741625 w 13797425"/>
                <a:gd name="connsiteY11577" fmla="*/ 4755597 h 17966907"/>
                <a:gd name="connsiteX11578" fmla="*/ 8703504 w 13797425"/>
                <a:gd name="connsiteY11578" fmla="*/ 4846135 h 17966907"/>
                <a:gd name="connsiteX11579" fmla="*/ 8679679 w 13797425"/>
                <a:gd name="connsiteY11579" fmla="*/ 4889023 h 17966907"/>
                <a:gd name="connsiteX11580" fmla="*/ 8655853 w 13797425"/>
                <a:gd name="connsiteY11580" fmla="*/ 4912847 h 17966907"/>
                <a:gd name="connsiteX11581" fmla="*/ 8558168 w 13797425"/>
                <a:gd name="connsiteY11581" fmla="*/ 4931908 h 17966907"/>
                <a:gd name="connsiteX11582" fmla="*/ 8579611 w 13797425"/>
                <a:gd name="connsiteY11582" fmla="*/ 4855666 h 17966907"/>
                <a:gd name="connsiteX11583" fmla="*/ 8603437 w 13797425"/>
                <a:gd name="connsiteY11583" fmla="*/ 4736537 h 17966907"/>
                <a:gd name="connsiteX11584" fmla="*/ 8579611 w 13797425"/>
                <a:gd name="connsiteY11584" fmla="*/ 4779424 h 17966907"/>
                <a:gd name="connsiteX11585" fmla="*/ 8524812 w 13797425"/>
                <a:gd name="connsiteY11585" fmla="*/ 4846135 h 17966907"/>
                <a:gd name="connsiteX11586" fmla="*/ 8481926 w 13797425"/>
                <a:gd name="connsiteY11586" fmla="*/ 4879491 h 17966907"/>
                <a:gd name="connsiteX11587" fmla="*/ 8448570 w 13797425"/>
                <a:gd name="connsiteY11587" fmla="*/ 4898551 h 17966907"/>
                <a:gd name="connsiteX11588" fmla="*/ 8381858 w 13797425"/>
                <a:gd name="connsiteY11588" fmla="*/ 4893787 h 17966907"/>
                <a:gd name="connsiteX11589" fmla="*/ 8348502 w 13797425"/>
                <a:gd name="connsiteY11589" fmla="*/ 4860431 h 17966907"/>
                <a:gd name="connsiteX11590" fmla="*/ 8358032 w 13797425"/>
                <a:gd name="connsiteY11590" fmla="*/ 4779424 h 17966907"/>
                <a:gd name="connsiteX11591" fmla="*/ 8358032 w 13797425"/>
                <a:gd name="connsiteY11591" fmla="*/ 4674592 h 17966907"/>
                <a:gd name="connsiteX11592" fmla="*/ 8381858 w 13797425"/>
                <a:gd name="connsiteY11592" fmla="*/ 4626939 h 17966907"/>
                <a:gd name="connsiteX11593" fmla="*/ 8410449 w 13797425"/>
                <a:gd name="connsiteY11593" fmla="*/ 4564994 h 17966907"/>
                <a:gd name="connsiteX11594" fmla="*/ 8443805 w 13797425"/>
                <a:gd name="connsiteY11594" fmla="*/ 4483985 h 17966907"/>
                <a:gd name="connsiteX11595" fmla="*/ 8467630 w 13797425"/>
                <a:gd name="connsiteY11595" fmla="*/ 4393447 h 17966907"/>
                <a:gd name="connsiteX11596" fmla="*/ 8553403 w 13797425"/>
                <a:gd name="connsiteY11596" fmla="*/ 4355327 h 17966907"/>
                <a:gd name="connsiteX11597" fmla="*/ 8636792 w 13797425"/>
                <a:gd name="connsiteY11597" fmla="*/ 4336266 h 17966907"/>
                <a:gd name="connsiteX11598" fmla="*/ 8708269 w 13797425"/>
                <a:gd name="connsiteY11598" fmla="*/ 4293381 h 17966907"/>
                <a:gd name="connsiteX11599" fmla="*/ 8746390 w 13797425"/>
                <a:gd name="connsiteY11599" fmla="*/ 4283849 h 17966907"/>
                <a:gd name="connsiteX11600" fmla="*/ 8779746 w 13797425"/>
                <a:gd name="connsiteY11600" fmla="*/ 4307676 h 17966907"/>
                <a:gd name="connsiteX11601" fmla="*/ 8917935 w 13797425"/>
                <a:gd name="connsiteY11601" fmla="*/ 4341031 h 17966907"/>
                <a:gd name="connsiteX11602" fmla="*/ 8970351 w 13797425"/>
                <a:gd name="connsiteY11602" fmla="*/ 4369623 h 17966907"/>
                <a:gd name="connsiteX11603" fmla="*/ 8998942 w 13797425"/>
                <a:gd name="connsiteY11603" fmla="*/ 4388683 h 17966907"/>
                <a:gd name="connsiteX11604" fmla="*/ 9013238 w 13797425"/>
                <a:gd name="connsiteY11604" fmla="*/ 4398212 h 17966907"/>
                <a:gd name="connsiteX11605" fmla="*/ 9037063 w 13797425"/>
                <a:gd name="connsiteY11605" fmla="*/ 4369623 h 17966907"/>
                <a:gd name="connsiteX11606" fmla="*/ 9060889 w 13797425"/>
                <a:gd name="connsiteY11606" fmla="*/ 4336266 h 17966907"/>
                <a:gd name="connsiteX11607" fmla="*/ 9146661 w 13797425"/>
                <a:gd name="connsiteY11607" fmla="*/ 4341031 h 17966907"/>
                <a:gd name="connsiteX11608" fmla="*/ 9170487 w 13797425"/>
                <a:gd name="connsiteY11608" fmla="*/ 4336266 h 17966907"/>
                <a:gd name="connsiteX11609" fmla="*/ 9189547 w 13797425"/>
                <a:gd name="connsiteY11609" fmla="*/ 4321971 h 17966907"/>
                <a:gd name="connsiteX11610" fmla="*/ 9218138 w 13797425"/>
                <a:gd name="connsiteY11610" fmla="*/ 4293381 h 17966907"/>
                <a:gd name="connsiteX11611" fmla="*/ 9246729 w 13797425"/>
                <a:gd name="connsiteY11611" fmla="*/ 4250494 h 17966907"/>
                <a:gd name="connsiteX11612" fmla="*/ 9251494 w 13797425"/>
                <a:gd name="connsiteY11612" fmla="*/ 4231433 h 17966907"/>
                <a:gd name="connsiteX11613" fmla="*/ 9232433 w 13797425"/>
                <a:gd name="connsiteY11613" fmla="*/ 4231433 h 17966907"/>
                <a:gd name="connsiteX11614" fmla="*/ 9208608 w 13797425"/>
                <a:gd name="connsiteY11614" fmla="*/ 4240965 h 17966907"/>
                <a:gd name="connsiteX11615" fmla="*/ 9175252 w 13797425"/>
                <a:gd name="connsiteY11615" fmla="*/ 4274320 h 17966907"/>
                <a:gd name="connsiteX11616" fmla="*/ 9146661 w 13797425"/>
                <a:gd name="connsiteY11616" fmla="*/ 4288614 h 17966907"/>
                <a:gd name="connsiteX11617" fmla="*/ 9113305 w 13797425"/>
                <a:gd name="connsiteY11617" fmla="*/ 4288614 h 17966907"/>
                <a:gd name="connsiteX11618" fmla="*/ 9051359 w 13797425"/>
                <a:gd name="connsiteY11618" fmla="*/ 4260025 h 17966907"/>
                <a:gd name="connsiteX11619" fmla="*/ 8936996 w 13797425"/>
                <a:gd name="connsiteY11619" fmla="*/ 4255258 h 17966907"/>
                <a:gd name="connsiteX11620" fmla="*/ 8879814 w 13797425"/>
                <a:gd name="connsiteY11620" fmla="*/ 4245729 h 17966907"/>
                <a:gd name="connsiteX11621" fmla="*/ 8851223 w 13797425"/>
                <a:gd name="connsiteY11621" fmla="*/ 4231433 h 17966907"/>
                <a:gd name="connsiteX11622" fmla="*/ 8836928 w 13797425"/>
                <a:gd name="connsiteY11622" fmla="*/ 4212372 h 17966907"/>
                <a:gd name="connsiteX11623" fmla="*/ 8822632 w 13797425"/>
                <a:gd name="connsiteY11623" fmla="*/ 4188548 h 17966907"/>
                <a:gd name="connsiteX11624" fmla="*/ 8813102 w 13797425"/>
                <a:gd name="connsiteY11624" fmla="*/ 4155191 h 17966907"/>
                <a:gd name="connsiteX11625" fmla="*/ 8817867 w 13797425"/>
                <a:gd name="connsiteY11625" fmla="*/ 4126600 h 17966907"/>
                <a:gd name="connsiteX11626" fmla="*/ 8841693 w 13797425"/>
                <a:gd name="connsiteY11626" fmla="*/ 4112307 h 17966907"/>
                <a:gd name="connsiteX11627" fmla="*/ 8860754 w 13797425"/>
                <a:gd name="connsiteY11627" fmla="*/ 4112307 h 17966907"/>
                <a:gd name="connsiteX11628" fmla="*/ 8894109 w 13797425"/>
                <a:gd name="connsiteY11628" fmla="*/ 4131367 h 17966907"/>
                <a:gd name="connsiteX11629" fmla="*/ 8927465 w 13797425"/>
                <a:gd name="connsiteY11629" fmla="*/ 4164723 h 17966907"/>
                <a:gd name="connsiteX11630" fmla="*/ 8970351 w 13797425"/>
                <a:gd name="connsiteY11630" fmla="*/ 4169488 h 17966907"/>
                <a:gd name="connsiteX11631" fmla="*/ 8956056 w 13797425"/>
                <a:gd name="connsiteY11631" fmla="*/ 4136131 h 17966907"/>
                <a:gd name="connsiteX11632" fmla="*/ 8903640 w 13797425"/>
                <a:gd name="connsiteY11632" fmla="*/ 4078950 h 17966907"/>
                <a:gd name="connsiteX11633" fmla="*/ 8870284 w 13797425"/>
                <a:gd name="connsiteY11633" fmla="*/ 4026533 h 17966907"/>
                <a:gd name="connsiteX11634" fmla="*/ 8841693 w 13797425"/>
                <a:gd name="connsiteY11634" fmla="*/ 3959821 h 17966907"/>
                <a:gd name="connsiteX11635" fmla="*/ 8817867 w 13797425"/>
                <a:gd name="connsiteY11635" fmla="*/ 3897875 h 17966907"/>
                <a:gd name="connsiteX11636" fmla="*/ 8770216 w 13797425"/>
                <a:gd name="connsiteY11636" fmla="*/ 3797806 h 17966907"/>
                <a:gd name="connsiteX11637" fmla="*/ 8732095 w 13797425"/>
                <a:gd name="connsiteY11637" fmla="*/ 3697740 h 17966907"/>
                <a:gd name="connsiteX11638" fmla="*/ 8703504 w 13797425"/>
                <a:gd name="connsiteY11638" fmla="*/ 3650088 h 17966907"/>
                <a:gd name="connsiteX11639" fmla="*/ 8674914 w 13797425"/>
                <a:gd name="connsiteY11639" fmla="*/ 3626263 h 17966907"/>
                <a:gd name="connsiteX11640" fmla="*/ 8584376 w 13797425"/>
                <a:gd name="connsiteY11640" fmla="*/ 3602437 h 17966907"/>
                <a:gd name="connsiteX11641" fmla="*/ 8567698 w 13797425"/>
                <a:gd name="connsiteY11641" fmla="*/ 3583375 h 17966907"/>
                <a:gd name="connsiteX11642" fmla="*/ 8524812 w 13797425"/>
                <a:gd name="connsiteY11642" fmla="*/ 3492839 h 17966907"/>
                <a:gd name="connsiteX11643" fmla="*/ 8515282 w 13797425"/>
                <a:gd name="connsiteY11643" fmla="*/ 3335591 h 17966907"/>
                <a:gd name="connsiteX11644" fmla="*/ 8496221 w 13797425"/>
                <a:gd name="connsiteY11644" fmla="*/ 3240287 h 17966907"/>
                <a:gd name="connsiteX11645" fmla="*/ 8515282 w 13797425"/>
                <a:gd name="connsiteY11645" fmla="*/ 3116394 h 17966907"/>
                <a:gd name="connsiteX11646" fmla="*/ 8543872 w 13797425"/>
                <a:gd name="connsiteY11646" fmla="*/ 3063978 h 17966907"/>
                <a:gd name="connsiteX11647" fmla="*/ 8722565 w 13797425"/>
                <a:gd name="connsiteY11647" fmla="*/ 3106865 h 17966907"/>
                <a:gd name="connsiteX11648" fmla="*/ 8798807 w 13797425"/>
                <a:gd name="connsiteY11648" fmla="*/ 3097334 h 17966907"/>
                <a:gd name="connsiteX11649" fmla="*/ 8894109 w 13797425"/>
                <a:gd name="connsiteY11649" fmla="*/ 3116394 h 17966907"/>
                <a:gd name="connsiteX11650" fmla="*/ 8946526 w 13797425"/>
                <a:gd name="connsiteY11650" fmla="*/ 3144984 h 17966907"/>
                <a:gd name="connsiteX11651" fmla="*/ 9003707 w 13797425"/>
                <a:gd name="connsiteY11651" fmla="*/ 3221227 h 17966907"/>
                <a:gd name="connsiteX11652" fmla="*/ 9056124 w 13797425"/>
                <a:gd name="connsiteY11652" fmla="*/ 3306998 h 17966907"/>
                <a:gd name="connsiteX11653" fmla="*/ 9108540 w 13797425"/>
                <a:gd name="connsiteY11653" fmla="*/ 3359415 h 17966907"/>
                <a:gd name="connsiteX11654" fmla="*/ 9156191 w 13797425"/>
                <a:gd name="connsiteY11654" fmla="*/ 3435656 h 17966907"/>
                <a:gd name="connsiteX11655" fmla="*/ 9208608 w 13797425"/>
                <a:gd name="connsiteY11655" fmla="*/ 3545254 h 17966907"/>
                <a:gd name="connsiteX11656" fmla="*/ 9237198 w 13797425"/>
                <a:gd name="connsiteY11656" fmla="*/ 3602437 h 17966907"/>
                <a:gd name="connsiteX11657" fmla="*/ 9261024 w 13797425"/>
                <a:gd name="connsiteY11657" fmla="*/ 3631027 h 17966907"/>
                <a:gd name="connsiteX11658" fmla="*/ 9299145 w 13797425"/>
                <a:gd name="connsiteY11658" fmla="*/ 3659619 h 17966907"/>
                <a:gd name="connsiteX11659" fmla="*/ 9365857 w 13797425"/>
                <a:gd name="connsiteY11659" fmla="*/ 3692975 h 17966907"/>
                <a:gd name="connsiteX11660" fmla="*/ 9423038 w 13797425"/>
                <a:gd name="connsiteY11660" fmla="*/ 3707271 h 17966907"/>
                <a:gd name="connsiteX11661" fmla="*/ 9451629 w 13797425"/>
                <a:gd name="connsiteY11661" fmla="*/ 3702504 h 17966907"/>
                <a:gd name="connsiteX11662" fmla="*/ 9484985 w 13797425"/>
                <a:gd name="connsiteY11662" fmla="*/ 3678680 h 17966907"/>
                <a:gd name="connsiteX11663" fmla="*/ 9508811 w 13797425"/>
                <a:gd name="connsiteY11663" fmla="*/ 3645323 h 17966907"/>
                <a:gd name="connsiteX11664" fmla="*/ 9480220 w 13797425"/>
                <a:gd name="connsiteY11664" fmla="*/ 3640559 h 17966907"/>
                <a:gd name="connsiteX11665" fmla="*/ 9413508 w 13797425"/>
                <a:gd name="connsiteY11665" fmla="*/ 3640559 h 17966907"/>
                <a:gd name="connsiteX11666" fmla="*/ 9370622 w 13797425"/>
                <a:gd name="connsiteY11666" fmla="*/ 3626263 h 17966907"/>
                <a:gd name="connsiteX11667" fmla="*/ 9342031 w 13797425"/>
                <a:gd name="connsiteY11667" fmla="*/ 3588142 h 17966907"/>
                <a:gd name="connsiteX11668" fmla="*/ 9313441 w 13797425"/>
                <a:gd name="connsiteY11668" fmla="*/ 3540490 h 17966907"/>
                <a:gd name="connsiteX11669" fmla="*/ 9270554 w 13797425"/>
                <a:gd name="connsiteY11669" fmla="*/ 3449953 h 17966907"/>
                <a:gd name="connsiteX11670" fmla="*/ 9237198 w 13797425"/>
                <a:gd name="connsiteY11670" fmla="*/ 3392772 h 17966907"/>
                <a:gd name="connsiteX11671" fmla="*/ 9160956 w 13797425"/>
                <a:gd name="connsiteY11671" fmla="*/ 3292704 h 17966907"/>
                <a:gd name="connsiteX11672" fmla="*/ 9108540 w 13797425"/>
                <a:gd name="connsiteY11672" fmla="*/ 3192636 h 17966907"/>
                <a:gd name="connsiteX11673" fmla="*/ 9065654 w 13797425"/>
                <a:gd name="connsiteY11673" fmla="*/ 3102099 h 17966907"/>
                <a:gd name="connsiteX11674" fmla="*/ 9060889 w 13797425"/>
                <a:gd name="connsiteY11674" fmla="*/ 3059213 h 17966907"/>
                <a:gd name="connsiteX11675" fmla="*/ 9089480 w 13797425"/>
                <a:gd name="connsiteY11675" fmla="*/ 3030622 h 17966907"/>
                <a:gd name="connsiteX11676" fmla="*/ 9132366 w 13797425"/>
                <a:gd name="connsiteY11676" fmla="*/ 3011562 h 17966907"/>
                <a:gd name="connsiteX11677" fmla="*/ 9375387 w 13797425"/>
                <a:gd name="connsiteY11677" fmla="*/ 2944849 h 17966907"/>
                <a:gd name="connsiteX11678" fmla="*/ 9518341 w 13797425"/>
                <a:gd name="connsiteY11678" fmla="*/ 2863841 h 17966907"/>
                <a:gd name="connsiteX11679" fmla="*/ 9575523 w 13797425"/>
                <a:gd name="connsiteY11679" fmla="*/ 2773306 h 17966907"/>
                <a:gd name="connsiteX11680" fmla="*/ 9585053 w 13797425"/>
                <a:gd name="connsiteY11680" fmla="*/ 2749476 h 17966907"/>
                <a:gd name="connsiteX11681" fmla="*/ 9780423 w 13797425"/>
                <a:gd name="connsiteY11681" fmla="*/ 2620819 h 17966907"/>
                <a:gd name="connsiteX11682" fmla="*/ 9913847 w 13797425"/>
                <a:gd name="connsiteY11682" fmla="*/ 2568402 h 17966907"/>
                <a:gd name="connsiteX11683" fmla="*/ 9971028 w 13797425"/>
                <a:gd name="connsiteY11683" fmla="*/ 2563638 h 17966907"/>
                <a:gd name="connsiteX11684" fmla="*/ 10018680 w 13797425"/>
                <a:gd name="connsiteY11684" fmla="*/ 2539814 h 17966907"/>
                <a:gd name="connsiteX11685" fmla="*/ 10018680 w 13797425"/>
                <a:gd name="connsiteY11685" fmla="*/ 2525520 h 17966907"/>
                <a:gd name="connsiteX11686" fmla="*/ 9975793 w 13797425"/>
                <a:gd name="connsiteY11686" fmla="*/ 2511220 h 17966907"/>
                <a:gd name="connsiteX11687" fmla="*/ 9932907 w 13797425"/>
                <a:gd name="connsiteY11687" fmla="*/ 2501693 h 17966907"/>
                <a:gd name="connsiteX11688" fmla="*/ 9837605 w 13797425"/>
                <a:gd name="connsiteY11688" fmla="*/ 2501693 h 17966907"/>
                <a:gd name="connsiteX11689" fmla="*/ 9751832 w 13797425"/>
                <a:gd name="connsiteY11689" fmla="*/ 2482631 h 17966907"/>
                <a:gd name="connsiteX11690" fmla="*/ 9728007 w 13797425"/>
                <a:gd name="connsiteY11690" fmla="*/ 2454043 h 17966907"/>
                <a:gd name="connsiteX11691" fmla="*/ 9732772 w 13797425"/>
                <a:gd name="connsiteY11691" fmla="*/ 2406390 h 17966907"/>
                <a:gd name="connsiteX11692" fmla="*/ 9742302 w 13797425"/>
                <a:gd name="connsiteY11692" fmla="*/ 2363505 h 17966907"/>
                <a:gd name="connsiteX11693" fmla="*/ 9766128 w 13797425"/>
                <a:gd name="connsiteY11693" fmla="*/ 2292027 h 17966907"/>
                <a:gd name="connsiteX11694" fmla="*/ 9794718 w 13797425"/>
                <a:gd name="connsiteY11694" fmla="*/ 2239610 h 17966907"/>
                <a:gd name="connsiteX11695" fmla="*/ 9913847 w 13797425"/>
                <a:gd name="connsiteY11695" fmla="*/ 2082361 h 17966907"/>
                <a:gd name="connsiteX11696" fmla="*/ 9990089 w 13797425"/>
                <a:gd name="connsiteY11696" fmla="*/ 2010884 h 17966907"/>
                <a:gd name="connsiteX11697" fmla="*/ 10013914 w 13797425"/>
                <a:gd name="connsiteY11697" fmla="*/ 1967998 h 17966907"/>
                <a:gd name="connsiteX11698" fmla="*/ 9842370 w 13797425"/>
                <a:gd name="connsiteY11698" fmla="*/ 2068066 h 17966907"/>
                <a:gd name="connsiteX11699" fmla="*/ 9785188 w 13797425"/>
                <a:gd name="connsiteY11699" fmla="*/ 2144308 h 17966907"/>
                <a:gd name="connsiteX11700" fmla="*/ 9723242 w 13797425"/>
                <a:gd name="connsiteY11700" fmla="*/ 2253906 h 17966907"/>
                <a:gd name="connsiteX11701" fmla="*/ 9694651 w 13797425"/>
                <a:gd name="connsiteY11701" fmla="*/ 2287262 h 17966907"/>
                <a:gd name="connsiteX11702" fmla="*/ 9670825 w 13797425"/>
                <a:gd name="connsiteY11702" fmla="*/ 2277731 h 17966907"/>
                <a:gd name="connsiteX11703" fmla="*/ 9651765 w 13797425"/>
                <a:gd name="connsiteY11703" fmla="*/ 2287262 h 17966907"/>
                <a:gd name="connsiteX11704" fmla="*/ 9632704 w 13797425"/>
                <a:gd name="connsiteY11704" fmla="*/ 2315853 h 17966907"/>
                <a:gd name="connsiteX11705" fmla="*/ 9618409 w 13797425"/>
                <a:gd name="connsiteY11705" fmla="*/ 2368270 h 17966907"/>
                <a:gd name="connsiteX11706" fmla="*/ 9608878 w 13797425"/>
                <a:gd name="connsiteY11706" fmla="*/ 2444511 h 17966907"/>
                <a:gd name="connsiteX11707" fmla="*/ 9599348 w 13797425"/>
                <a:gd name="connsiteY11707" fmla="*/ 2496928 h 17966907"/>
                <a:gd name="connsiteX11708" fmla="*/ 9589818 w 13797425"/>
                <a:gd name="connsiteY11708" fmla="*/ 2525520 h 17966907"/>
                <a:gd name="connsiteX11709" fmla="*/ 9565992 w 13797425"/>
                <a:gd name="connsiteY11709" fmla="*/ 2563638 h 17966907"/>
                <a:gd name="connsiteX11710" fmla="*/ 9504046 w 13797425"/>
                <a:gd name="connsiteY11710" fmla="*/ 2639880 h 17966907"/>
                <a:gd name="connsiteX11711" fmla="*/ 9370622 w 13797425"/>
                <a:gd name="connsiteY11711" fmla="*/ 2744713 h 17966907"/>
                <a:gd name="connsiteX11712" fmla="*/ 9322971 w 13797425"/>
                <a:gd name="connsiteY11712" fmla="*/ 2773306 h 17966907"/>
                <a:gd name="connsiteX11713" fmla="*/ 9284850 w 13797425"/>
                <a:gd name="connsiteY11713" fmla="*/ 2778070 h 17966907"/>
                <a:gd name="connsiteX11714" fmla="*/ 9156191 w 13797425"/>
                <a:gd name="connsiteY11714" fmla="*/ 2835251 h 17966907"/>
                <a:gd name="connsiteX11715" fmla="*/ 9118070 w 13797425"/>
                <a:gd name="connsiteY11715" fmla="*/ 2835251 h 17966907"/>
                <a:gd name="connsiteX11716" fmla="*/ 9075184 w 13797425"/>
                <a:gd name="connsiteY11716" fmla="*/ 2820955 h 17966907"/>
                <a:gd name="connsiteX11717" fmla="*/ 9094245 w 13797425"/>
                <a:gd name="connsiteY11717" fmla="*/ 2768540 h 17966907"/>
                <a:gd name="connsiteX11718" fmla="*/ 9160956 w 13797425"/>
                <a:gd name="connsiteY11718" fmla="*/ 2673238 h 17966907"/>
                <a:gd name="connsiteX11719" fmla="*/ 9180017 w 13797425"/>
                <a:gd name="connsiteY11719" fmla="*/ 2630351 h 17966907"/>
                <a:gd name="connsiteX11720" fmla="*/ 9137131 w 13797425"/>
                <a:gd name="connsiteY11720" fmla="*/ 2639880 h 17966907"/>
                <a:gd name="connsiteX11721" fmla="*/ 9094245 w 13797425"/>
                <a:gd name="connsiteY11721" fmla="*/ 2668474 h 17966907"/>
                <a:gd name="connsiteX11722" fmla="*/ 8994177 w 13797425"/>
                <a:gd name="connsiteY11722" fmla="*/ 2687532 h 17966907"/>
                <a:gd name="connsiteX11723" fmla="*/ 8956056 w 13797425"/>
                <a:gd name="connsiteY11723" fmla="*/ 2725655 h 17966907"/>
                <a:gd name="connsiteX11724" fmla="*/ 8917935 w 13797425"/>
                <a:gd name="connsiteY11724" fmla="*/ 2797132 h 17966907"/>
                <a:gd name="connsiteX11725" fmla="*/ 8889344 w 13797425"/>
                <a:gd name="connsiteY11725" fmla="*/ 2840015 h 17966907"/>
                <a:gd name="connsiteX11726" fmla="*/ 8865519 w 13797425"/>
                <a:gd name="connsiteY11726" fmla="*/ 2859077 h 17966907"/>
                <a:gd name="connsiteX11727" fmla="*/ 8836928 w 13797425"/>
                <a:gd name="connsiteY11727" fmla="*/ 2868609 h 17966907"/>
                <a:gd name="connsiteX11728" fmla="*/ 8722565 w 13797425"/>
                <a:gd name="connsiteY11728" fmla="*/ 2873370 h 17966907"/>
                <a:gd name="connsiteX11729" fmla="*/ 8698739 w 13797425"/>
                <a:gd name="connsiteY11729" fmla="*/ 2868609 h 17966907"/>
                <a:gd name="connsiteX11730" fmla="*/ 8632027 w 13797425"/>
                <a:gd name="connsiteY11730" fmla="*/ 2816189 h 17966907"/>
                <a:gd name="connsiteX11731" fmla="*/ 8574846 w 13797425"/>
                <a:gd name="connsiteY11731" fmla="*/ 2835251 h 17966907"/>
                <a:gd name="connsiteX11732" fmla="*/ 8553403 w 13797425"/>
                <a:gd name="connsiteY11732" fmla="*/ 2830487 h 17966907"/>
                <a:gd name="connsiteX11733" fmla="*/ 8510517 w 13797425"/>
                <a:gd name="connsiteY11733" fmla="*/ 2792366 h 17966907"/>
                <a:gd name="connsiteX11734" fmla="*/ 8496221 w 13797425"/>
                <a:gd name="connsiteY11734" fmla="*/ 2768540 h 17966907"/>
                <a:gd name="connsiteX11735" fmla="*/ 8496221 w 13797425"/>
                <a:gd name="connsiteY11735" fmla="*/ 2735183 h 17966907"/>
                <a:gd name="connsiteX11736" fmla="*/ 8524812 w 13797425"/>
                <a:gd name="connsiteY11736" fmla="*/ 2673238 h 17966907"/>
                <a:gd name="connsiteX11737" fmla="*/ 8553403 w 13797425"/>
                <a:gd name="connsiteY11737" fmla="*/ 2616057 h 17966907"/>
                <a:gd name="connsiteX11738" fmla="*/ 8646323 w 13797425"/>
                <a:gd name="connsiteY11738" fmla="*/ 2482631 h 17966907"/>
                <a:gd name="connsiteX11739" fmla="*/ 8708269 w 13797425"/>
                <a:gd name="connsiteY11739" fmla="*/ 2420686 h 17966907"/>
                <a:gd name="connsiteX11740" fmla="*/ 8794042 w 13797425"/>
                <a:gd name="connsiteY11740" fmla="*/ 2363505 h 17966907"/>
                <a:gd name="connsiteX11741" fmla="*/ 9003707 w 13797425"/>
                <a:gd name="connsiteY11741" fmla="*/ 2301558 h 17966907"/>
                <a:gd name="connsiteX11742" fmla="*/ 9013238 w 13797425"/>
                <a:gd name="connsiteY11742" fmla="*/ 2258671 h 17966907"/>
                <a:gd name="connsiteX11743" fmla="*/ 8803572 w 13797425"/>
                <a:gd name="connsiteY11743" fmla="*/ 2306322 h 17966907"/>
                <a:gd name="connsiteX11744" fmla="*/ 8622497 w 13797425"/>
                <a:gd name="connsiteY11744" fmla="*/ 2373034 h 17966907"/>
                <a:gd name="connsiteX11745" fmla="*/ 8593906 w 13797425"/>
                <a:gd name="connsiteY11745" fmla="*/ 2396862 h 17966907"/>
                <a:gd name="connsiteX11746" fmla="*/ 8558168 w 13797425"/>
                <a:gd name="connsiteY11746" fmla="*/ 2454043 h 17966907"/>
                <a:gd name="connsiteX11747" fmla="*/ 8424744 w 13797425"/>
                <a:gd name="connsiteY11747" fmla="*/ 2673238 h 17966907"/>
                <a:gd name="connsiteX11748" fmla="*/ 8386623 w 13797425"/>
                <a:gd name="connsiteY11748" fmla="*/ 2730419 h 17966907"/>
                <a:gd name="connsiteX11749" fmla="*/ 8324677 w 13797425"/>
                <a:gd name="connsiteY11749" fmla="*/ 2744713 h 17966907"/>
                <a:gd name="connsiteX11750" fmla="*/ 8277025 w 13797425"/>
                <a:gd name="connsiteY11750" fmla="*/ 2725655 h 17966907"/>
                <a:gd name="connsiteX11751" fmla="*/ 8243669 w 13797425"/>
                <a:gd name="connsiteY11751" fmla="*/ 2697063 h 17966907"/>
                <a:gd name="connsiteX11752" fmla="*/ 8181723 w 13797425"/>
                <a:gd name="connsiteY11752" fmla="*/ 2635114 h 17966907"/>
                <a:gd name="connsiteX11753" fmla="*/ 8134072 w 13797425"/>
                <a:gd name="connsiteY11753" fmla="*/ 2596997 h 17966907"/>
                <a:gd name="connsiteX11754" fmla="*/ 8115011 w 13797425"/>
                <a:gd name="connsiteY11754" fmla="*/ 2573169 h 17966907"/>
                <a:gd name="connsiteX11755" fmla="*/ 8100716 w 13797425"/>
                <a:gd name="connsiteY11755" fmla="*/ 2549344 h 17966907"/>
                <a:gd name="connsiteX11756" fmla="*/ 8091185 w 13797425"/>
                <a:gd name="connsiteY11756" fmla="*/ 2525520 h 17966907"/>
                <a:gd name="connsiteX11757" fmla="*/ 8081655 w 13797425"/>
                <a:gd name="connsiteY11757" fmla="*/ 2492161 h 17966907"/>
                <a:gd name="connsiteX11758" fmla="*/ 8095950 w 13797425"/>
                <a:gd name="connsiteY11758" fmla="*/ 2463571 h 17966907"/>
                <a:gd name="connsiteX11759" fmla="*/ 8215079 w 13797425"/>
                <a:gd name="connsiteY11759" fmla="*/ 2406390 h 17966907"/>
                <a:gd name="connsiteX11760" fmla="*/ 8377093 w 13797425"/>
                <a:gd name="connsiteY11760" fmla="*/ 2415922 h 17966907"/>
                <a:gd name="connsiteX11761" fmla="*/ 8448570 w 13797425"/>
                <a:gd name="connsiteY11761" fmla="*/ 2406390 h 17966907"/>
                <a:gd name="connsiteX11762" fmla="*/ 8520047 w 13797425"/>
                <a:gd name="connsiteY11762" fmla="*/ 2373034 h 17966907"/>
                <a:gd name="connsiteX11763" fmla="*/ 8617732 w 13797425"/>
                <a:gd name="connsiteY11763" fmla="*/ 2282496 h 17966907"/>
                <a:gd name="connsiteX11764" fmla="*/ 8732095 w 13797425"/>
                <a:gd name="connsiteY11764" fmla="*/ 2158603 h 17966907"/>
                <a:gd name="connsiteX11765" fmla="*/ 8755921 w 13797425"/>
                <a:gd name="connsiteY11765" fmla="*/ 2115717 h 17966907"/>
                <a:gd name="connsiteX11766" fmla="*/ 8713034 w 13797425"/>
                <a:gd name="connsiteY11766" fmla="*/ 2106187 h 17966907"/>
                <a:gd name="connsiteX11767" fmla="*/ 8684444 w 13797425"/>
                <a:gd name="connsiteY11767" fmla="*/ 2115717 h 17966907"/>
                <a:gd name="connsiteX11768" fmla="*/ 8608202 w 13797425"/>
                <a:gd name="connsiteY11768" fmla="*/ 2163368 h 17966907"/>
                <a:gd name="connsiteX11769" fmla="*/ 8496221 w 13797425"/>
                <a:gd name="connsiteY11769" fmla="*/ 2282496 h 17966907"/>
                <a:gd name="connsiteX11770" fmla="*/ 8391388 w 13797425"/>
                <a:gd name="connsiteY11770" fmla="*/ 2325382 h 17966907"/>
                <a:gd name="connsiteX11771" fmla="*/ 8138837 w 13797425"/>
                <a:gd name="connsiteY11771" fmla="*/ 2349209 h 17966907"/>
                <a:gd name="connsiteX11772" fmla="*/ 8062595 w 13797425"/>
                <a:gd name="connsiteY11772" fmla="*/ 2382563 h 17966907"/>
                <a:gd name="connsiteX11773" fmla="*/ 8024474 w 13797425"/>
                <a:gd name="connsiteY11773" fmla="*/ 2373034 h 17966907"/>
                <a:gd name="connsiteX11774" fmla="*/ 8000648 w 13797425"/>
                <a:gd name="connsiteY11774" fmla="*/ 2339677 h 17966907"/>
                <a:gd name="connsiteX11775" fmla="*/ 7972057 w 13797425"/>
                <a:gd name="connsiteY11775" fmla="*/ 2282496 h 17966907"/>
                <a:gd name="connsiteX11776" fmla="*/ 7976822 w 13797425"/>
                <a:gd name="connsiteY11776" fmla="*/ 2234845 h 17966907"/>
                <a:gd name="connsiteX11777" fmla="*/ 8034004 w 13797425"/>
                <a:gd name="connsiteY11777" fmla="*/ 2177664 h 17966907"/>
                <a:gd name="connsiteX11778" fmla="*/ 8081655 w 13797425"/>
                <a:gd name="connsiteY11778" fmla="*/ 2163368 h 17966907"/>
                <a:gd name="connsiteX11779" fmla="*/ 8091185 w 13797425"/>
                <a:gd name="connsiteY11779" fmla="*/ 2153838 h 17966907"/>
                <a:gd name="connsiteX11780" fmla="*/ 8024474 w 13797425"/>
                <a:gd name="connsiteY11780" fmla="*/ 2101423 h 17966907"/>
                <a:gd name="connsiteX11781" fmla="*/ 8019708 w 13797425"/>
                <a:gd name="connsiteY11781" fmla="*/ 2072831 h 17966907"/>
                <a:gd name="connsiteX11782" fmla="*/ 8057829 w 13797425"/>
                <a:gd name="connsiteY11782" fmla="*/ 2010884 h 17966907"/>
                <a:gd name="connsiteX11783" fmla="*/ 8138837 w 13797425"/>
                <a:gd name="connsiteY11783" fmla="*/ 1920348 h 17966907"/>
                <a:gd name="connsiteX11784" fmla="*/ 8181723 w 13797425"/>
                <a:gd name="connsiteY11784" fmla="*/ 1891756 h 17966907"/>
                <a:gd name="connsiteX11785" fmla="*/ 8257965 w 13797425"/>
                <a:gd name="connsiteY11785" fmla="*/ 1872696 h 17966907"/>
                <a:gd name="connsiteX11786" fmla="*/ 8338972 w 13797425"/>
                <a:gd name="connsiteY11786" fmla="*/ 1882226 h 17966907"/>
                <a:gd name="connsiteX11787" fmla="*/ 8343737 w 13797425"/>
                <a:gd name="connsiteY11787" fmla="*/ 1867931 h 17966907"/>
                <a:gd name="connsiteX11788" fmla="*/ 8262730 w 13797425"/>
                <a:gd name="connsiteY11788" fmla="*/ 1829809 h 17966907"/>
                <a:gd name="connsiteX11789" fmla="*/ 8205548 w 13797425"/>
                <a:gd name="connsiteY11789" fmla="*/ 1825044 h 17966907"/>
                <a:gd name="connsiteX11790" fmla="*/ 8129306 w 13797425"/>
                <a:gd name="connsiteY11790" fmla="*/ 1848871 h 17966907"/>
                <a:gd name="connsiteX11791" fmla="*/ 7919641 w 13797425"/>
                <a:gd name="connsiteY11791" fmla="*/ 1996589 h 17966907"/>
                <a:gd name="connsiteX11792" fmla="*/ 7900580 w 13797425"/>
                <a:gd name="connsiteY11792" fmla="*/ 1991825 h 17966907"/>
                <a:gd name="connsiteX11793" fmla="*/ 7871989 w 13797425"/>
                <a:gd name="connsiteY11793" fmla="*/ 1967998 h 17966907"/>
                <a:gd name="connsiteX11794" fmla="*/ 7881520 w 13797425"/>
                <a:gd name="connsiteY11794" fmla="*/ 1929878 h 17966907"/>
                <a:gd name="connsiteX11795" fmla="*/ 7991118 w 13797425"/>
                <a:gd name="connsiteY11795" fmla="*/ 1772628 h 17966907"/>
                <a:gd name="connsiteX11796" fmla="*/ 7995883 w 13797425"/>
                <a:gd name="connsiteY11796" fmla="*/ 1748802 h 17966907"/>
                <a:gd name="connsiteX11797" fmla="*/ 7914876 w 13797425"/>
                <a:gd name="connsiteY11797" fmla="*/ 1753567 h 17966907"/>
                <a:gd name="connsiteX11798" fmla="*/ 7891050 w 13797425"/>
                <a:gd name="connsiteY11798" fmla="*/ 1744037 h 17966907"/>
                <a:gd name="connsiteX11799" fmla="*/ 7871989 w 13797425"/>
                <a:gd name="connsiteY11799" fmla="*/ 1724977 h 17966907"/>
                <a:gd name="connsiteX11800" fmla="*/ 7838634 w 13797425"/>
                <a:gd name="connsiteY11800" fmla="*/ 1744037 h 17966907"/>
                <a:gd name="connsiteX11801" fmla="*/ 7795747 w 13797425"/>
                <a:gd name="connsiteY11801" fmla="*/ 1796454 h 17966907"/>
                <a:gd name="connsiteX11802" fmla="*/ 7767157 w 13797425"/>
                <a:gd name="connsiteY11802" fmla="*/ 1815514 h 17966907"/>
                <a:gd name="connsiteX11803" fmla="*/ 7748096 w 13797425"/>
                <a:gd name="connsiteY11803" fmla="*/ 1810748 h 17966907"/>
                <a:gd name="connsiteX11804" fmla="*/ 7705210 w 13797425"/>
                <a:gd name="connsiteY11804" fmla="*/ 1748802 h 17966907"/>
                <a:gd name="connsiteX11805" fmla="*/ 7709975 w 13797425"/>
                <a:gd name="connsiteY11805" fmla="*/ 1696386 h 17966907"/>
                <a:gd name="connsiteX11806" fmla="*/ 7743331 w 13797425"/>
                <a:gd name="connsiteY11806" fmla="*/ 1629674 h 17966907"/>
                <a:gd name="connsiteX11807" fmla="*/ 7776687 w 13797425"/>
                <a:gd name="connsiteY11807" fmla="*/ 1582023 h 17966907"/>
                <a:gd name="connsiteX11808" fmla="*/ 7819573 w 13797425"/>
                <a:gd name="connsiteY11808" fmla="*/ 1539138 h 17966907"/>
                <a:gd name="connsiteX11809" fmla="*/ 7891050 w 13797425"/>
                <a:gd name="connsiteY11809" fmla="*/ 1486721 h 17966907"/>
                <a:gd name="connsiteX11810" fmla="*/ 7943466 w 13797425"/>
                <a:gd name="connsiteY11810" fmla="*/ 1467660 h 17966907"/>
                <a:gd name="connsiteX11811" fmla="*/ 8024474 w 13797425"/>
                <a:gd name="connsiteY11811" fmla="*/ 1467660 h 17966907"/>
                <a:gd name="connsiteX11812" fmla="*/ 8062595 w 13797425"/>
                <a:gd name="connsiteY11812" fmla="*/ 1443834 h 17966907"/>
                <a:gd name="connsiteX11813" fmla="*/ 8100716 w 13797425"/>
                <a:gd name="connsiteY11813" fmla="*/ 1396183 h 17966907"/>
                <a:gd name="connsiteX11814" fmla="*/ 8143602 w 13797425"/>
                <a:gd name="connsiteY11814" fmla="*/ 1329471 h 17966907"/>
                <a:gd name="connsiteX11815" fmla="*/ 8191253 w 13797425"/>
                <a:gd name="connsiteY11815" fmla="*/ 1281820 h 17966907"/>
                <a:gd name="connsiteX11816" fmla="*/ 8267495 w 13797425"/>
                <a:gd name="connsiteY11816" fmla="*/ 1238934 h 17966907"/>
                <a:gd name="connsiteX11817" fmla="*/ 8334207 w 13797425"/>
                <a:gd name="connsiteY11817" fmla="*/ 1253229 h 17966907"/>
                <a:gd name="connsiteX11818" fmla="*/ 8372328 w 13797425"/>
                <a:gd name="connsiteY11818" fmla="*/ 1286586 h 17966907"/>
                <a:gd name="connsiteX11819" fmla="*/ 8400919 w 13797425"/>
                <a:gd name="connsiteY11819" fmla="*/ 1348531 h 17966907"/>
                <a:gd name="connsiteX11820" fmla="*/ 8434275 w 13797425"/>
                <a:gd name="connsiteY11820" fmla="*/ 1396183 h 17966907"/>
                <a:gd name="connsiteX11821" fmla="*/ 8434275 w 13797425"/>
                <a:gd name="connsiteY11821" fmla="*/ 1358061 h 17966907"/>
                <a:gd name="connsiteX11822" fmla="*/ 8462865 w 13797425"/>
                <a:gd name="connsiteY11822" fmla="*/ 1310411 h 17966907"/>
                <a:gd name="connsiteX11823" fmla="*/ 8491456 w 13797425"/>
                <a:gd name="connsiteY11823" fmla="*/ 1291350 h 17966907"/>
                <a:gd name="connsiteX11824" fmla="*/ 8534342 w 13797425"/>
                <a:gd name="connsiteY11824" fmla="*/ 1296115 h 17966907"/>
                <a:gd name="connsiteX11825" fmla="*/ 8567698 w 13797425"/>
                <a:gd name="connsiteY11825" fmla="*/ 1319941 h 17966907"/>
                <a:gd name="connsiteX11826" fmla="*/ 8608202 w 13797425"/>
                <a:gd name="connsiteY11826" fmla="*/ 1377122 h 17966907"/>
                <a:gd name="connsiteX11827" fmla="*/ 8646323 w 13797425"/>
                <a:gd name="connsiteY11827" fmla="*/ 1400948 h 17966907"/>
                <a:gd name="connsiteX11828" fmla="*/ 8660618 w 13797425"/>
                <a:gd name="connsiteY11828" fmla="*/ 1400948 h 17966907"/>
                <a:gd name="connsiteX11829" fmla="*/ 8684444 w 13797425"/>
                <a:gd name="connsiteY11829" fmla="*/ 1367592 h 17966907"/>
                <a:gd name="connsiteX11830" fmla="*/ 8736860 w 13797425"/>
                <a:gd name="connsiteY11830" fmla="*/ 1367592 h 17966907"/>
                <a:gd name="connsiteX11831" fmla="*/ 8736860 w 13797425"/>
                <a:gd name="connsiteY11831" fmla="*/ 1353297 h 17966907"/>
                <a:gd name="connsiteX11832" fmla="*/ 8717800 w 13797425"/>
                <a:gd name="connsiteY11832" fmla="*/ 1319941 h 17966907"/>
                <a:gd name="connsiteX11833" fmla="*/ 8698739 w 13797425"/>
                <a:gd name="connsiteY11833" fmla="*/ 1300880 h 17966907"/>
                <a:gd name="connsiteX11834" fmla="*/ 8500986 w 13797425"/>
                <a:gd name="connsiteY11834" fmla="*/ 1134101 h 17966907"/>
                <a:gd name="connsiteX11835" fmla="*/ 8496221 w 13797425"/>
                <a:gd name="connsiteY11835" fmla="*/ 1100745 h 17966907"/>
                <a:gd name="connsiteX11836" fmla="*/ 8562933 w 13797425"/>
                <a:gd name="connsiteY11836" fmla="*/ 1067389 h 17966907"/>
                <a:gd name="connsiteX11837" fmla="*/ 8603437 w 13797425"/>
                <a:gd name="connsiteY11837" fmla="*/ 1024503 h 17966907"/>
                <a:gd name="connsiteX11838" fmla="*/ 8622497 w 13797425"/>
                <a:gd name="connsiteY11838" fmla="*/ 1014973 h 17966907"/>
                <a:gd name="connsiteX11839" fmla="*/ 8670148 w 13797425"/>
                <a:gd name="connsiteY11839" fmla="*/ 929200 h 17966907"/>
                <a:gd name="connsiteX11840" fmla="*/ 8703504 w 13797425"/>
                <a:gd name="connsiteY11840" fmla="*/ 881550 h 17966907"/>
                <a:gd name="connsiteX11841" fmla="*/ 8760686 w 13797425"/>
                <a:gd name="connsiteY11841" fmla="*/ 829133 h 17966907"/>
                <a:gd name="connsiteX11842" fmla="*/ 8784511 w 13797425"/>
                <a:gd name="connsiteY11842" fmla="*/ 843428 h 17966907"/>
                <a:gd name="connsiteX11843" fmla="*/ 8817867 w 13797425"/>
                <a:gd name="connsiteY11843" fmla="*/ 891079 h 17966907"/>
                <a:gd name="connsiteX11844" fmla="*/ 8846458 w 13797425"/>
                <a:gd name="connsiteY11844" fmla="*/ 919670 h 17966907"/>
                <a:gd name="connsiteX11845" fmla="*/ 8927465 w 13797425"/>
                <a:gd name="connsiteY11845" fmla="*/ 948261 h 17966907"/>
                <a:gd name="connsiteX11846" fmla="*/ 8965586 w 13797425"/>
                <a:gd name="connsiteY11846" fmla="*/ 976853 h 17966907"/>
                <a:gd name="connsiteX11847" fmla="*/ 9032298 w 13797425"/>
                <a:gd name="connsiteY11847" fmla="*/ 1134101 h 17966907"/>
                <a:gd name="connsiteX11848" fmla="*/ 9056124 w 13797425"/>
                <a:gd name="connsiteY11848" fmla="*/ 1186517 h 17966907"/>
                <a:gd name="connsiteX11849" fmla="*/ 9094245 w 13797425"/>
                <a:gd name="connsiteY11849" fmla="*/ 1238934 h 17966907"/>
                <a:gd name="connsiteX11850" fmla="*/ 9113305 w 13797425"/>
                <a:gd name="connsiteY11850" fmla="*/ 1262759 h 17966907"/>
                <a:gd name="connsiteX11851" fmla="*/ 9156191 w 13797425"/>
                <a:gd name="connsiteY11851" fmla="*/ 1272290 h 17966907"/>
                <a:gd name="connsiteX11852" fmla="*/ 9165722 w 13797425"/>
                <a:gd name="connsiteY11852" fmla="*/ 1243699 h 17966907"/>
                <a:gd name="connsiteX11853" fmla="*/ 9113305 w 13797425"/>
                <a:gd name="connsiteY11853" fmla="*/ 1167457 h 17966907"/>
                <a:gd name="connsiteX11854" fmla="*/ 9099010 w 13797425"/>
                <a:gd name="connsiteY11854" fmla="*/ 1124571 h 17966907"/>
                <a:gd name="connsiteX11855" fmla="*/ 9103775 w 13797425"/>
                <a:gd name="connsiteY11855" fmla="*/ 1086450 h 17966907"/>
                <a:gd name="connsiteX11856" fmla="*/ 9113305 w 13797425"/>
                <a:gd name="connsiteY11856" fmla="*/ 1067389 h 17966907"/>
                <a:gd name="connsiteX11857" fmla="*/ 9132366 w 13797425"/>
                <a:gd name="connsiteY11857" fmla="*/ 1067389 h 17966907"/>
                <a:gd name="connsiteX11858" fmla="*/ 9170487 w 13797425"/>
                <a:gd name="connsiteY11858" fmla="*/ 1100745 h 17966907"/>
                <a:gd name="connsiteX11859" fmla="*/ 9280085 w 13797425"/>
                <a:gd name="connsiteY11859" fmla="*/ 1210343 h 17966907"/>
                <a:gd name="connsiteX11860" fmla="*/ 9442099 w 13797425"/>
                <a:gd name="connsiteY11860" fmla="*/ 1343766 h 17966907"/>
                <a:gd name="connsiteX11861" fmla="*/ 9504046 w 13797425"/>
                <a:gd name="connsiteY11861" fmla="*/ 1372357 h 17966907"/>
                <a:gd name="connsiteX11862" fmla="*/ 9542167 w 13797425"/>
                <a:gd name="connsiteY11862" fmla="*/ 1420008 h 17966907"/>
                <a:gd name="connsiteX11863" fmla="*/ 9575523 w 13797425"/>
                <a:gd name="connsiteY11863" fmla="*/ 1477191 h 17966907"/>
                <a:gd name="connsiteX11864" fmla="*/ 9608878 w 13797425"/>
                <a:gd name="connsiteY11864" fmla="*/ 1515311 h 17966907"/>
                <a:gd name="connsiteX11865" fmla="*/ 9618409 w 13797425"/>
                <a:gd name="connsiteY11865" fmla="*/ 1510546 h 17966907"/>
                <a:gd name="connsiteX11866" fmla="*/ 9585053 w 13797425"/>
                <a:gd name="connsiteY11866" fmla="*/ 1424774 h 17966907"/>
                <a:gd name="connsiteX11867" fmla="*/ 9504046 w 13797425"/>
                <a:gd name="connsiteY11867" fmla="*/ 1315175 h 17966907"/>
                <a:gd name="connsiteX11868" fmla="*/ 9299145 w 13797425"/>
                <a:gd name="connsiteY11868" fmla="*/ 1129336 h 17966907"/>
                <a:gd name="connsiteX11869" fmla="*/ 9213373 w 13797425"/>
                <a:gd name="connsiteY11869" fmla="*/ 1029268 h 17966907"/>
                <a:gd name="connsiteX11870" fmla="*/ 9175252 w 13797425"/>
                <a:gd name="connsiteY11870" fmla="*/ 962556 h 17966907"/>
                <a:gd name="connsiteX11871" fmla="*/ 9146661 w 13797425"/>
                <a:gd name="connsiteY11871" fmla="*/ 895844 h 17966907"/>
                <a:gd name="connsiteX11872" fmla="*/ 9141896 w 13797425"/>
                <a:gd name="connsiteY11872" fmla="*/ 857723 h 17966907"/>
                <a:gd name="connsiteX11873" fmla="*/ 9170487 w 13797425"/>
                <a:gd name="connsiteY11873" fmla="*/ 810072 h 17966907"/>
                <a:gd name="connsiteX11874" fmla="*/ 9208608 w 13797425"/>
                <a:gd name="connsiteY11874" fmla="*/ 776716 h 17966907"/>
                <a:gd name="connsiteX11875" fmla="*/ 9261024 w 13797425"/>
                <a:gd name="connsiteY11875" fmla="*/ 762421 h 17966907"/>
                <a:gd name="connsiteX11876" fmla="*/ 9265789 w 13797425"/>
                <a:gd name="connsiteY11876" fmla="*/ 748126 h 17966907"/>
                <a:gd name="connsiteX11877" fmla="*/ 9222903 w 13797425"/>
                <a:gd name="connsiteY11877" fmla="*/ 690944 h 17966907"/>
                <a:gd name="connsiteX11878" fmla="*/ 9194312 w 13797425"/>
                <a:gd name="connsiteY11878" fmla="*/ 648058 h 17966907"/>
                <a:gd name="connsiteX11879" fmla="*/ 9194312 w 13797425"/>
                <a:gd name="connsiteY11879" fmla="*/ 614703 h 17966907"/>
                <a:gd name="connsiteX11880" fmla="*/ 9246729 w 13797425"/>
                <a:gd name="connsiteY11880" fmla="*/ 590876 h 17966907"/>
                <a:gd name="connsiteX11881" fmla="*/ 9280085 w 13797425"/>
                <a:gd name="connsiteY11881" fmla="*/ 595643 h 17966907"/>
                <a:gd name="connsiteX11882" fmla="*/ 9342031 w 13797425"/>
                <a:gd name="connsiteY11882" fmla="*/ 657588 h 17966907"/>
                <a:gd name="connsiteX11883" fmla="*/ 9389683 w 13797425"/>
                <a:gd name="connsiteY11883" fmla="*/ 681416 h 17966907"/>
                <a:gd name="connsiteX11884" fmla="*/ 9399213 w 13797425"/>
                <a:gd name="connsiteY11884" fmla="*/ 667120 h 17966907"/>
                <a:gd name="connsiteX11885" fmla="*/ 9346796 w 13797425"/>
                <a:gd name="connsiteY11885" fmla="*/ 509869 h 17966907"/>
                <a:gd name="connsiteX11886" fmla="*/ 9342031 w 13797425"/>
                <a:gd name="connsiteY11886" fmla="*/ 471749 h 17966907"/>
                <a:gd name="connsiteX11887" fmla="*/ 9351562 w 13797425"/>
                <a:gd name="connsiteY11887" fmla="*/ 452688 h 17966907"/>
                <a:gd name="connsiteX11888" fmla="*/ 9370622 w 13797425"/>
                <a:gd name="connsiteY11888" fmla="*/ 428862 h 17966907"/>
                <a:gd name="connsiteX11889" fmla="*/ 9423038 w 13797425"/>
                <a:gd name="connsiteY11889" fmla="*/ 443157 h 17966907"/>
                <a:gd name="connsiteX11890" fmla="*/ 9513576 w 13797425"/>
                <a:gd name="connsiteY11890" fmla="*/ 519399 h 17966907"/>
                <a:gd name="connsiteX11891" fmla="*/ 9675590 w 13797425"/>
                <a:gd name="connsiteY11891" fmla="*/ 557520 h 17966907"/>
                <a:gd name="connsiteX11892" fmla="*/ 9723242 w 13797425"/>
                <a:gd name="connsiteY11892" fmla="*/ 552755 h 17966907"/>
                <a:gd name="connsiteX11893" fmla="*/ 9713711 w 13797425"/>
                <a:gd name="connsiteY11893" fmla="*/ 533695 h 17966907"/>
                <a:gd name="connsiteX11894" fmla="*/ 9651765 w 13797425"/>
                <a:gd name="connsiteY11894" fmla="*/ 486045 h 17966907"/>
                <a:gd name="connsiteX11895" fmla="*/ 9580288 w 13797425"/>
                <a:gd name="connsiteY11895" fmla="*/ 419332 h 17966907"/>
                <a:gd name="connsiteX11896" fmla="*/ 9551697 w 13797425"/>
                <a:gd name="connsiteY11896" fmla="*/ 381211 h 17966907"/>
                <a:gd name="connsiteX11897" fmla="*/ 9532636 w 13797425"/>
                <a:gd name="connsiteY11897" fmla="*/ 328794 h 17966907"/>
                <a:gd name="connsiteX11898" fmla="*/ 9504046 w 13797425"/>
                <a:gd name="connsiteY11898" fmla="*/ 285908 h 17966907"/>
                <a:gd name="connsiteX11899" fmla="*/ 9504046 w 13797425"/>
                <a:gd name="connsiteY11899" fmla="*/ 262082 h 17966907"/>
                <a:gd name="connsiteX11900" fmla="*/ 9542167 w 13797425"/>
                <a:gd name="connsiteY11900" fmla="*/ 228727 h 17966907"/>
                <a:gd name="connsiteX11901" fmla="*/ 9656530 w 13797425"/>
                <a:gd name="connsiteY11901" fmla="*/ 233493 h 17966907"/>
                <a:gd name="connsiteX11902" fmla="*/ 9756598 w 13797425"/>
                <a:gd name="connsiteY11902" fmla="*/ 290674 h 17966907"/>
                <a:gd name="connsiteX11903" fmla="*/ 9842370 w 13797425"/>
                <a:gd name="connsiteY11903" fmla="*/ 266848 h 17966907"/>
                <a:gd name="connsiteX11904" fmla="*/ 9899551 w 13797425"/>
                <a:gd name="connsiteY11904" fmla="*/ 281143 h 17966907"/>
                <a:gd name="connsiteX11905" fmla="*/ 9918612 w 13797425"/>
                <a:gd name="connsiteY11905" fmla="*/ 300204 h 17966907"/>
                <a:gd name="connsiteX11906" fmla="*/ 9961498 w 13797425"/>
                <a:gd name="connsiteY11906" fmla="*/ 357387 h 17966907"/>
                <a:gd name="connsiteX11907" fmla="*/ 10085391 w 13797425"/>
                <a:gd name="connsiteY11907" fmla="*/ 562286 h 17966907"/>
                <a:gd name="connsiteX11908" fmla="*/ 10099687 w 13797425"/>
                <a:gd name="connsiteY11908" fmla="*/ 595643 h 17966907"/>
                <a:gd name="connsiteX11909" fmla="*/ 10113982 w 13797425"/>
                <a:gd name="connsiteY11909" fmla="*/ 643293 h 17966907"/>
                <a:gd name="connsiteX11910" fmla="*/ 10128278 w 13797425"/>
                <a:gd name="connsiteY11910" fmla="*/ 710005 h 17966907"/>
                <a:gd name="connsiteX11911" fmla="*/ 10152103 w 13797425"/>
                <a:gd name="connsiteY11911" fmla="*/ 729065 h 17966907"/>
                <a:gd name="connsiteX11912" fmla="*/ 10190225 w 13797425"/>
                <a:gd name="connsiteY11912" fmla="*/ 681416 h 17966907"/>
                <a:gd name="connsiteX11913" fmla="*/ 10218813 w 13797425"/>
                <a:gd name="connsiteY11913" fmla="*/ 638528 h 17966907"/>
                <a:gd name="connsiteX11914" fmla="*/ 10209285 w 13797425"/>
                <a:gd name="connsiteY11914" fmla="*/ 595643 h 17966907"/>
                <a:gd name="connsiteX11915" fmla="*/ 10137808 w 13797425"/>
                <a:gd name="connsiteY11915" fmla="*/ 495574 h 17966907"/>
                <a:gd name="connsiteX11916" fmla="*/ 10123512 w 13797425"/>
                <a:gd name="connsiteY11916" fmla="*/ 457453 h 17966907"/>
                <a:gd name="connsiteX11917" fmla="*/ 10085391 w 13797425"/>
                <a:gd name="connsiteY11917" fmla="*/ 381211 h 17966907"/>
                <a:gd name="connsiteX11918" fmla="*/ 10009149 w 13797425"/>
                <a:gd name="connsiteY11918" fmla="*/ 252552 h 17966907"/>
                <a:gd name="connsiteX11919" fmla="*/ 9990089 w 13797425"/>
                <a:gd name="connsiteY11919" fmla="*/ 190606 h 17966907"/>
                <a:gd name="connsiteX11920" fmla="*/ 9975793 w 13797425"/>
                <a:gd name="connsiteY11920" fmla="*/ 138189 h 17966907"/>
                <a:gd name="connsiteX11921" fmla="*/ 10190225 w 13797425"/>
                <a:gd name="connsiteY11921" fmla="*/ 90537 h 17966907"/>
                <a:gd name="connsiteX11922" fmla="*/ 10399889 w 13797425"/>
                <a:gd name="connsiteY11922" fmla="*/ 133423 h 17966907"/>
                <a:gd name="connsiteX11923" fmla="*/ 10433245 w 13797425"/>
                <a:gd name="connsiteY11923" fmla="*/ 162015 h 17966907"/>
                <a:gd name="connsiteX11924" fmla="*/ 10457073 w 13797425"/>
                <a:gd name="connsiteY11924" fmla="*/ 204900 h 17966907"/>
                <a:gd name="connsiteX11925" fmla="*/ 10476133 w 13797425"/>
                <a:gd name="connsiteY11925" fmla="*/ 271613 h 17966907"/>
                <a:gd name="connsiteX11926" fmla="*/ 10509489 w 13797425"/>
                <a:gd name="connsiteY11926" fmla="*/ 338325 h 17966907"/>
                <a:gd name="connsiteX11927" fmla="*/ 10576201 w 13797425"/>
                <a:gd name="connsiteY11927" fmla="*/ 438392 h 17966907"/>
                <a:gd name="connsiteX11928" fmla="*/ 10671501 w 13797425"/>
                <a:gd name="connsiteY11928" fmla="*/ 500339 h 17966907"/>
                <a:gd name="connsiteX11929" fmla="*/ 10657205 w 13797425"/>
                <a:gd name="connsiteY11929" fmla="*/ 457453 h 17966907"/>
                <a:gd name="connsiteX11930" fmla="*/ 10580965 w 13797425"/>
                <a:gd name="connsiteY11930" fmla="*/ 347855 h 17966907"/>
                <a:gd name="connsiteX11931" fmla="*/ 10552373 w 13797425"/>
                <a:gd name="connsiteY11931" fmla="*/ 271613 h 17966907"/>
                <a:gd name="connsiteX11932" fmla="*/ 10552373 w 13797425"/>
                <a:gd name="connsiteY11932" fmla="*/ 219197 h 17966907"/>
                <a:gd name="connsiteX11933" fmla="*/ 10557141 w 13797425"/>
                <a:gd name="connsiteY11933" fmla="*/ 181075 h 17966907"/>
                <a:gd name="connsiteX11934" fmla="*/ 10566669 w 13797425"/>
                <a:gd name="connsiteY11934" fmla="*/ 152485 h 17966907"/>
                <a:gd name="connsiteX11935" fmla="*/ 10647677 w 13797425"/>
                <a:gd name="connsiteY11935" fmla="*/ 47650 h 17966907"/>
                <a:gd name="connsiteX11936" fmla="*/ 10766805 w 13797425"/>
                <a:gd name="connsiteY11936" fmla="*/ 14296 h 17966907"/>
                <a:gd name="connsiteX11937" fmla="*/ 10776333 w 13797425"/>
                <a:gd name="connsiteY11937" fmla="*/ 19060 h 17966907"/>
                <a:gd name="connsiteX11938" fmla="*/ 10866873 w 13797425"/>
                <a:gd name="connsiteY11938" fmla="*/ 181075 h 17966907"/>
                <a:gd name="connsiteX11939" fmla="*/ 10909757 w 13797425"/>
                <a:gd name="connsiteY11939" fmla="*/ 247787 h 17966907"/>
                <a:gd name="connsiteX11940" fmla="*/ 10943113 w 13797425"/>
                <a:gd name="connsiteY11940" fmla="*/ 276378 h 17966907"/>
                <a:gd name="connsiteX11941" fmla="*/ 10943113 w 13797425"/>
                <a:gd name="connsiteY11941" fmla="*/ 262082 h 17966907"/>
                <a:gd name="connsiteX11942" fmla="*/ 10900229 w 13797425"/>
                <a:gd name="connsiteY11942" fmla="*/ 190606 h 17966907"/>
                <a:gd name="connsiteX11943" fmla="*/ 10871637 w 13797425"/>
                <a:gd name="connsiteY11943" fmla="*/ 147719 h 17966907"/>
                <a:gd name="connsiteX11944" fmla="*/ 10866873 w 13797425"/>
                <a:gd name="connsiteY11944" fmla="*/ 123894 h 17966907"/>
                <a:gd name="connsiteX11945" fmla="*/ 10919289 w 13797425"/>
                <a:gd name="connsiteY11945" fmla="*/ 42885 h 17966907"/>
                <a:gd name="connsiteX11946" fmla="*/ 10952645 w 13797425"/>
                <a:gd name="connsiteY11946" fmla="*/ 23825 h 17966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  <a:cxn ang="0">
                  <a:pos x="connsiteX5948" y="connsiteY5948"/>
                </a:cxn>
                <a:cxn ang="0">
                  <a:pos x="connsiteX5949" y="connsiteY5949"/>
                </a:cxn>
                <a:cxn ang="0">
                  <a:pos x="connsiteX5950" y="connsiteY5950"/>
                </a:cxn>
                <a:cxn ang="0">
                  <a:pos x="connsiteX5951" y="connsiteY5951"/>
                </a:cxn>
                <a:cxn ang="0">
                  <a:pos x="connsiteX5952" y="connsiteY5952"/>
                </a:cxn>
                <a:cxn ang="0">
                  <a:pos x="connsiteX5953" y="connsiteY5953"/>
                </a:cxn>
                <a:cxn ang="0">
                  <a:pos x="connsiteX5954" y="connsiteY5954"/>
                </a:cxn>
                <a:cxn ang="0">
                  <a:pos x="connsiteX5955" y="connsiteY5955"/>
                </a:cxn>
                <a:cxn ang="0">
                  <a:pos x="connsiteX5956" y="connsiteY5956"/>
                </a:cxn>
                <a:cxn ang="0">
                  <a:pos x="connsiteX5957" y="connsiteY5957"/>
                </a:cxn>
                <a:cxn ang="0">
                  <a:pos x="connsiteX5958" y="connsiteY5958"/>
                </a:cxn>
                <a:cxn ang="0">
                  <a:pos x="connsiteX5959" y="connsiteY5959"/>
                </a:cxn>
                <a:cxn ang="0">
                  <a:pos x="connsiteX5960" y="connsiteY5960"/>
                </a:cxn>
                <a:cxn ang="0">
                  <a:pos x="connsiteX5961" y="connsiteY5961"/>
                </a:cxn>
                <a:cxn ang="0">
                  <a:pos x="connsiteX5962" y="connsiteY5962"/>
                </a:cxn>
                <a:cxn ang="0">
                  <a:pos x="connsiteX5963" y="connsiteY5963"/>
                </a:cxn>
                <a:cxn ang="0">
                  <a:pos x="connsiteX5964" y="connsiteY5964"/>
                </a:cxn>
                <a:cxn ang="0">
                  <a:pos x="connsiteX5965" y="connsiteY5965"/>
                </a:cxn>
                <a:cxn ang="0">
                  <a:pos x="connsiteX5966" y="connsiteY5966"/>
                </a:cxn>
                <a:cxn ang="0">
                  <a:pos x="connsiteX5967" y="connsiteY5967"/>
                </a:cxn>
                <a:cxn ang="0">
                  <a:pos x="connsiteX5968" y="connsiteY5968"/>
                </a:cxn>
                <a:cxn ang="0">
                  <a:pos x="connsiteX5969" y="connsiteY5969"/>
                </a:cxn>
                <a:cxn ang="0">
                  <a:pos x="connsiteX5970" y="connsiteY5970"/>
                </a:cxn>
                <a:cxn ang="0">
                  <a:pos x="connsiteX5971" y="connsiteY5971"/>
                </a:cxn>
                <a:cxn ang="0">
                  <a:pos x="connsiteX5972" y="connsiteY5972"/>
                </a:cxn>
                <a:cxn ang="0">
                  <a:pos x="connsiteX5973" y="connsiteY5973"/>
                </a:cxn>
                <a:cxn ang="0">
                  <a:pos x="connsiteX5974" y="connsiteY5974"/>
                </a:cxn>
                <a:cxn ang="0">
                  <a:pos x="connsiteX5975" y="connsiteY5975"/>
                </a:cxn>
                <a:cxn ang="0">
                  <a:pos x="connsiteX5976" y="connsiteY5976"/>
                </a:cxn>
                <a:cxn ang="0">
                  <a:pos x="connsiteX5977" y="connsiteY5977"/>
                </a:cxn>
                <a:cxn ang="0">
                  <a:pos x="connsiteX5978" y="connsiteY5978"/>
                </a:cxn>
                <a:cxn ang="0">
                  <a:pos x="connsiteX5979" y="connsiteY5979"/>
                </a:cxn>
                <a:cxn ang="0">
                  <a:pos x="connsiteX5980" y="connsiteY5980"/>
                </a:cxn>
                <a:cxn ang="0">
                  <a:pos x="connsiteX5981" y="connsiteY5981"/>
                </a:cxn>
                <a:cxn ang="0">
                  <a:pos x="connsiteX5982" y="connsiteY5982"/>
                </a:cxn>
                <a:cxn ang="0">
                  <a:pos x="connsiteX5983" y="connsiteY5983"/>
                </a:cxn>
                <a:cxn ang="0">
                  <a:pos x="connsiteX5984" y="connsiteY5984"/>
                </a:cxn>
                <a:cxn ang="0">
                  <a:pos x="connsiteX5985" y="connsiteY5985"/>
                </a:cxn>
                <a:cxn ang="0">
                  <a:pos x="connsiteX5986" y="connsiteY5986"/>
                </a:cxn>
                <a:cxn ang="0">
                  <a:pos x="connsiteX5987" y="connsiteY5987"/>
                </a:cxn>
                <a:cxn ang="0">
                  <a:pos x="connsiteX5988" y="connsiteY5988"/>
                </a:cxn>
                <a:cxn ang="0">
                  <a:pos x="connsiteX5989" y="connsiteY5989"/>
                </a:cxn>
                <a:cxn ang="0">
                  <a:pos x="connsiteX5990" y="connsiteY5990"/>
                </a:cxn>
                <a:cxn ang="0">
                  <a:pos x="connsiteX5991" y="connsiteY5991"/>
                </a:cxn>
                <a:cxn ang="0">
                  <a:pos x="connsiteX5992" y="connsiteY5992"/>
                </a:cxn>
                <a:cxn ang="0">
                  <a:pos x="connsiteX5993" y="connsiteY5993"/>
                </a:cxn>
                <a:cxn ang="0">
                  <a:pos x="connsiteX5994" y="connsiteY5994"/>
                </a:cxn>
                <a:cxn ang="0">
                  <a:pos x="connsiteX5995" y="connsiteY5995"/>
                </a:cxn>
                <a:cxn ang="0">
                  <a:pos x="connsiteX5996" y="connsiteY5996"/>
                </a:cxn>
                <a:cxn ang="0">
                  <a:pos x="connsiteX5997" y="connsiteY5997"/>
                </a:cxn>
                <a:cxn ang="0">
                  <a:pos x="connsiteX5998" y="connsiteY5998"/>
                </a:cxn>
                <a:cxn ang="0">
                  <a:pos x="connsiteX5999" y="connsiteY5999"/>
                </a:cxn>
                <a:cxn ang="0">
                  <a:pos x="connsiteX6000" y="connsiteY6000"/>
                </a:cxn>
                <a:cxn ang="0">
                  <a:pos x="connsiteX6001" y="connsiteY6001"/>
                </a:cxn>
                <a:cxn ang="0">
                  <a:pos x="connsiteX6002" y="connsiteY6002"/>
                </a:cxn>
                <a:cxn ang="0">
                  <a:pos x="connsiteX6003" y="connsiteY6003"/>
                </a:cxn>
                <a:cxn ang="0">
                  <a:pos x="connsiteX6004" y="connsiteY6004"/>
                </a:cxn>
                <a:cxn ang="0">
                  <a:pos x="connsiteX6005" y="connsiteY6005"/>
                </a:cxn>
                <a:cxn ang="0">
                  <a:pos x="connsiteX6006" y="connsiteY6006"/>
                </a:cxn>
                <a:cxn ang="0">
                  <a:pos x="connsiteX6007" y="connsiteY6007"/>
                </a:cxn>
                <a:cxn ang="0">
                  <a:pos x="connsiteX6008" y="connsiteY6008"/>
                </a:cxn>
                <a:cxn ang="0">
                  <a:pos x="connsiteX6009" y="connsiteY6009"/>
                </a:cxn>
                <a:cxn ang="0">
                  <a:pos x="connsiteX6010" y="connsiteY6010"/>
                </a:cxn>
                <a:cxn ang="0">
                  <a:pos x="connsiteX6011" y="connsiteY6011"/>
                </a:cxn>
                <a:cxn ang="0">
                  <a:pos x="connsiteX6012" y="connsiteY6012"/>
                </a:cxn>
                <a:cxn ang="0">
                  <a:pos x="connsiteX6013" y="connsiteY6013"/>
                </a:cxn>
                <a:cxn ang="0">
                  <a:pos x="connsiteX6014" y="connsiteY6014"/>
                </a:cxn>
                <a:cxn ang="0">
                  <a:pos x="connsiteX6015" y="connsiteY6015"/>
                </a:cxn>
                <a:cxn ang="0">
                  <a:pos x="connsiteX6016" y="connsiteY6016"/>
                </a:cxn>
                <a:cxn ang="0">
                  <a:pos x="connsiteX6017" y="connsiteY6017"/>
                </a:cxn>
                <a:cxn ang="0">
                  <a:pos x="connsiteX6018" y="connsiteY6018"/>
                </a:cxn>
                <a:cxn ang="0">
                  <a:pos x="connsiteX6019" y="connsiteY6019"/>
                </a:cxn>
                <a:cxn ang="0">
                  <a:pos x="connsiteX6020" y="connsiteY6020"/>
                </a:cxn>
                <a:cxn ang="0">
                  <a:pos x="connsiteX6021" y="connsiteY6021"/>
                </a:cxn>
                <a:cxn ang="0">
                  <a:pos x="connsiteX6022" y="connsiteY6022"/>
                </a:cxn>
                <a:cxn ang="0">
                  <a:pos x="connsiteX6023" y="connsiteY6023"/>
                </a:cxn>
                <a:cxn ang="0">
                  <a:pos x="connsiteX6024" y="connsiteY6024"/>
                </a:cxn>
                <a:cxn ang="0">
                  <a:pos x="connsiteX6025" y="connsiteY6025"/>
                </a:cxn>
                <a:cxn ang="0">
                  <a:pos x="connsiteX6026" y="connsiteY6026"/>
                </a:cxn>
                <a:cxn ang="0">
                  <a:pos x="connsiteX6027" y="connsiteY6027"/>
                </a:cxn>
                <a:cxn ang="0">
                  <a:pos x="connsiteX6028" y="connsiteY6028"/>
                </a:cxn>
                <a:cxn ang="0">
                  <a:pos x="connsiteX6029" y="connsiteY6029"/>
                </a:cxn>
                <a:cxn ang="0">
                  <a:pos x="connsiteX6030" y="connsiteY6030"/>
                </a:cxn>
                <a:cxn ang="0">
                  <a:pos x="connsiteX6031" y="connsiteY6031"/>
                </a:cxn>
                <a:cxn ang="0">
                  <a:pos x="connsiteX6032" y="connsiteY6032"/>
                </a:cxn>
                <a:cxn ang="0">
                  <a:pos x="connsiteX6033" y="connsiteY6033"/>
                </a:cxn>
                <a:cxn ang="0">
                  <a:pos x="connsiteX6034" y="connsiteY6034"/>
                </a:cxn>
                <a:cxn ang="0">
                  <a:pos x="connsiteX6035" y="connsiteY6035"/>
                </a:cxn>
                <a:cxn ang="0">
                  <a:pos x="connsiteX6036" y="connsiteY6036"/>
                </a:cxn>
                <a:cxn ang="0">
                  <a:pos x="connsiteX6037" y="connsiteY6037"/>
                </a:cxn>
                <a:cxn ang="0">
                  <a:pos x="connsiteX6038" y="connsiteY6038"/>
                </a:cxn>
                <a:cxn ang="0">
                  <a:pos x="connsiteX6039" y="connsiteY6039"/>
                </a:cxn>
                <a:cxn ang="0">
                  <a:pos x="connsiteX6040" y="connsiteY6040"/>
                </a:cxn>
                <a:cxn ang="0">
                  <a:pos x="connsiteX6041" y="connsiteY6041"/>
                </a:cxn>
                <a:cxn ang="0">
                  <a:pos x="connsiteX6042" y="connsiteY6042"/>
                </a:cxn>
                <a:cxn ang="0">
                  <a:pos x="connsiteX6043" y="connsiteY6043"/>
                </a:cxn>
                <a:cxn ang="0">
                  <a:pos x="connsiteX6044" y="connsiteY6044"/>
                </a:cxn>
                <a:cxn ang="0">
                  <a:pos x="connsiteX6045" y="connsiteY6045"/>
                </a:cxn>
                <a:cxn ang="0">
                  <a:pos x="connsiteX6046" y="connsiteY6046"/>
                </a:cxn>
                <a:cxn ang="0">
                  <a:pos x="connsiteX6047" y="connsiteY6047"/>
                </a:cxn>
                <a:cxn ang="0">
                  <a:pos x="connsiteX6048" y="connsiteY6048"/>
                </a:cxn>
                <a:cxn ang="0">
                  <a:pos x="connsiteX6049" y="connsiteY6049"/>
                </a:cxn>
                <a:cxn ang="0">
                  <a:pos x="connsiteX6050" y="connsiteY6050"/>
                </a:cxn>
                <a:cxn ang="0">
                  <a:pos x="connsiteX6051" y="connsiteY6051"/>
                </a:cxn>
                <a:cxn ang="0">
                  <a:pos x="connsiteX6052" y="connsiteY6052"/>
                </a:cxn>
                <a:cxn ang="0">
                  <a:pos x="connsiteX6053" y="connsiteY6053"/>
                </a:cxn>
                <a:cxn ang="0">
                  <a:pos x="connsiteX6054" y="connsiteY6054"/>
                </a:cxn>
                <a:cxn ang="0">
                  <a:pos x="connsiteX6055" y="connsiteY6055"/>
                </a:cxn>
                <a:cxn ang="0">
                  <a:pos x="connsiteX6056" y="connsiteY6056"/>
                </a:cxn>
                <a:cxn ang="0">
                  <a:pos x="connsiteX6057" y="connsiteY6057"/>
                </a:cxn>
                <a:cxn ang="0">
                  <a:pos x="connsiteX6058" y="connsiteY6058"/>
                </a:cxn>
                <a:cxn ang="0">
                  <a:pos x="connsiteX6059" y="connsiteY6059"/>
                </a:cxn>
                <a:cxn ang="0">
                  <a:pos x="connsiteX6060" y="connsiteY6060"/>
                </a:cxn>
                <a:cxn ang="0">
                  <a:pos x="connsiteX6061" y="connsiteY6061"/>
                </a:cxn>
                <a:cxn ang="0">
                  <a:pos x="connsiteX6062" y="connsiteY6062"/>
                </a:cxn>
                <a:cxn ang="0">
                  <a:pos x="connsiteX6063" y="connsiteY6063"/>
                </a:cxn>
                <a:cxn ang="0">
                  <a:pos x="connsiteX6064" y="connsiteY6064"/>
                </a:cxn>
                <a:cxn ang="0">
                  <a:pos x="connsiteX6065" y="connsiteY6065"/>
                </a:cxn>
                <a:cxn ang="0">
                  <a:pos x="connsiteX6066" y="connsiteY6066"/>
                </a:cxn>
                <a:cxn ang="0">
                  <a:pos x="connsiteX6067" y="connsiteY6067"/>
                </a:cxn>
                <a:cxn ang="0">
                  <a:pos x="connsiteX6068" y="connsiteY6068"/>
                </a:cxn>
                <a:cxn ang="0">
                  <a:pos x="connsiteX6069" y="connsiteY6069"/>
                </a:cxn>
                <a:cxn ang="0">
                  <a:pos x="connsiteX6070" y="connsiteY6070"/>
                </a:cxn>
                <a:cxn ang="0">
                  <a:pos x="connsiteX6071" y="connsiteY6071"/>
                </a:cxn>
                <a:cxn ang="0">
                  <a:pos x="connsiteX6072" y="connsiteY6072"/>
                </a:cxn>
                <a:cxn ang="0">
                  <a:pos x="connsiteX6073" y="connsiteY6073"/>
                </a:cxn>
                <a:cxn ang="0">
                  <a:pos x="connsiteX6074" y="connsiteY6074"/>
                </a:cxn>
                <a:cxn ang="0">
                  <a:pos x="connsiteX6075" y="connsiteY6075"/>
                </a:cxn>
                <a:cxn ang="0">
                  <a:pos x="connsiteX6076" y="connsiteY6076"/>
                </a:cxn>
                <a:cxn ang="0">
                  <a:pos x="connsiteX6077" y="connsiteY6077"/>
                </a:cxn>
                <a:cxn ang="0">
                  <a:pos x="connsiteX6078" y="connsiteY6078"/>
                </a:cxn>
                <a:cxn ang="0">
                  <a:pos x="connsiteX6079" y="connsiteY6079"/>
                </a:cxn>
                <a:cxn ang="0">
                  <a:pos x="connsiteX6080" y="connsiteY6080"/>
                </a:cxn>
                <a:cxn ang="0">
                  <a:pos x="connsiteX6081" y="connsiteY6081"/>
                </a:cxn>
                <a:cxn ang="0">
                  <a:pos x="connsiteX6082" y="connsiteY6082"/>
                </a:cxn>
                <a:cxn ang="0">
                  <a:pos x="connsiteX6083" y="connsiteY6083"/>
                </a:cxn>
                <a:cxn ang="0">
                  <a:pos x="connsiteX6084" y="connsiteY6084"/>
                </a:cxn>
                <a:cxn ang="0">
                  <a:pos x="connsiteX6085" y="connsiteY6085"/>
                </a:cxn>
                <a:cxn ang="0">
                  <a:pos x="connsiteX6086" y="connsiteY6086"/>
                </a:cxn>
                <a:cxn ang="0">
                  <a:pos x="connsiteX6087" y="connsiteY6087"/>
                </a:cxn>
                <a:cxn ang="0">
                  <a:pos x="connsiteX6088" y="connsiteY6088"/>
                </a:cxn>
                <a:cxn ang="0">
                  <a:pos x="connsiteX6089" y="connsiteY6089"/>
                </a:cxn>
                <a:cxn ang="0">
                  <a:pos x="connsiteX6090" y="connsiteY6090"/>
                </a:cxn>
                <a:cxn ang="0">
                  <a:pos x="connsiteX6091" y="connsiteY6091"/>
                </a:cxn>
                <a:cxn ang="0">
                  <a:pos x="connsiteX6092" y="connsiteY6092"/>
                </a:cxn>
                <a:cxn ang="0">
                  <a:pos x="connsiteX6093" y="connsiteY6093"/>
                </a:cxn>
                <a:cxn ang="0">
                  <a:pos x="connsiteX6094" y="connsiteY6094"/>
                </a:cxn>
                <a:cxn ang="0">
                  <a:pos x="connsiteX6095" y="connsiteY6095"/>
                </a:cxn>
                <a:cxn ang="0">
                  <a:pos x="connsiteX6096" y="connsiteY6096"/>
                </a:cxn>
                <a:cxn ang="0">
                  <a:pos x="connsiteX6097" y="connsiteY6097"/>
                </a:cxn>
                <a:cxn ang="0">
                  <a:pos x="connsiteX6098" y="connsiteY6098"/>
                </a:cxn>
                <a:cxn ang="0">
                  <a:pos x="connsiteX6099" y="connsiteY6099"/>
                </a:cxn>
                <a:cxn ang="0">
                  <a:pos x="connsiteX6100" y="connsiteY6100"/>
                </a:cxn>
                <a:cxn ang="0">
                  <a:pos x="connsiteX6101" y="connsiteY6101"/>
                </a:cxn>
                <a:cxn ang="0">
                  <a:pos x="connsiteX6102" y="connsiteY6102"/>
                </a:cxn>
                <a:cxn ang="0">
                  <a:pos x="connsiteX6103" y="connsiteY6103"/>
                </a:cxn>
                <a:cxn ang="0">
                  <a:pos x="connsiteX6104" y="connsiteY6104"/>
                </a:cxn>
                <a:cxn ang="0">
                  <a:pos x="connsiteX6105" y="connsiteY6105"/>
                </a:cxn>
                <a:cxn ang="0">
                  <a:pos x="connsiteX6106" y="connsiteY6106"/>
                </a:cxn>
                <a:cxn ang="0">
                  <a:pos x="connsiteX6107" y="connsiteY6107"/>
                </a:cxn>
                <a:cxn ang="0">
                  <a:pos x="connsiteX6108" y="connsiteY6108"/>
                </a:cxn>
                <a:cxn ang="0">
                  <a:pos x="connsiteX6109" y="connsiteY6109"/>
                </a:cxn>
                <a:cxn ang="0">
                  <a:pos x="connsiteX6110" y="connsiteY6110"/>
                </a:cxn>
                <a:cxn ang="0">
                  <a:pos x="connsiteX6111" y="connsiteY6111"/>
                </a:cxn>
                <a:cxn ang="0">
                  <a:pos x="connsiteX6112" y="connsiteY6112"/>
                </a:cxn>
                <a:cxn ang="0">
                  <a:pos x="connsiteX6113" y="connsiteY6113"/>
                </a:cxn>
                <a:cxn ang="0">
                  <a:pos x="connsiteX6114" y="connsiteY6114"/>
                </a:cxn>
                <a:cxn ang="0">
                  <a:pos x="connsiteX6115" y="connsiteY6115"/>
                </a:cxn>
                <a:cxn ang="0">
                  <a:pos x="connsiteX6116" y="connsiteY6116"/>
                </a:cxn>
                <a:cxn ang="0">
                  <a:pos x="connsiteX6117" y="connsiteY6117"/>
                </a:cxn>
                <a:cxn ang="0">
                  <a:pos x="connsiteX6118" y="connsiteY6118"/>
                </a:cxn>
                <a:cxn ang="0">
                  <a:pos x="connsiteX6119" y="connsiteY6119"/>
                </a:cxn>
                <a:cxn ang="0">
                  <a:pos x="connsiteX6120" y="connsiteY6120"/>
                </a:cxn>
                <a:cxn ang="0">
                  <a:pos x="connsiteX6121" y="connsiteY6121"/>
                </a:cxn>
                <a:cxn ang="0">
                  <a:pos x="connsiteX6122" y="connsiteY6122"/>
                </a:cxn>
                <a:cxn ang="0">
                  <a:pos x="connsiteX6123" y="connsiteY6123"/>
                </a:cxn>
                <a:cxn ang="0">
                  <a:pos x="connsiteX6124" y="connsiteY6124"/>
                </a:cxn>
                <a:cxn ang="0">
                  <a:pos x="connsiteX6125" y="connsiteY6125"/>
                </a:cxn>
                <a:cxn ang="0">
                  <a:pos x="connsiteX6126" y="connsiteY6126"/>
                </a:cxn>
                <a:cxn ang="0">
                  <a:pos x="connsiteX6127" y="connsiteY6127"/>
                </a:cxn>
                <a:cxn ang="0">
                  <a:pos x="connsiteX6128" y="connsiteY6128"/>
                </a:cxn>
                <a:cxn ang="0">
                  <a:pos x="connsiteX6129" y="connsiteY6129"/>
                </a:cxn>
                <a:cxn ang="0">
                  <a:pos x="connsiteX6130" y="connsiteY6130"/>
                </a:cxn>
                <a:cxn ang="0">
                  <a:pos x="connsiteX6131" y="connsiteY6131"/>
                </a:cxn>
                <a:cxn ang="0">
                  <a:pos x="connsiteX6132" y="connsiteY6132"/>
                </a:cxn>
                <a:cxn ang="0">
                  <a:pos x="connsiteX6133" y="connsiteY6133"/>
                </a:cxn>
                <a:cxn ang="0">
                  <a:pos x="connsiteX6134" y="connsiteY6134"/>
                </a:cxn>
                <a:cxn ang="0">
                  <a:pos x="connsiteX6135" y="connsiteY6135"/>
                </a:cxn>
                <a:cxn ang="0">
                  <a:pos x="connsiteX6136" y="connsiteY6136"/>
                </a:cxn>
                <a:cxn ang="0">
                  <a:pos x="connsiteX6137" y="connsiteY6137"/>
                </a:cxn>
                <a:cxn ang="0">
                  <a:pos x="connsiteX6138" y="connsiteY6138"/>
                </a:cxn>
                <a:cxn ang="0">
                  <a:pos x="connsiteX6139" y="connsiteY6139"/>
                </a:cxn>
                <a:cxn ang="0">
                  <a:pos x="connsiteX6140" y="connsiteY6140"/>
                </a:cxn>
                <a:cxn ang="0">
                  <a:pos x="connsiteX6141" y="connsiteY6141"/>
                </a:cxn>
                <a:cxn ang="0">
                  <a:pos x="connsiteX6142" y="connsiteY6142"/>
                </a:cxn>
                <a:cxn ang="0">
                  <a:pos x="connsiteX6143" y="connsiteY6143"/>
                </a:cxn>
                <a:cxn ang="0">
                  <a:pos x="connsiteX6144" y="connsiteY6144"/>
                </a:cxn>
                <a:cxn ang="0">
                  <a:pos x="connsiteX6145" y="connsiteY6145"/>
                </a:cxn>
                <a:cxn ang="0">
                  <a:pos x="connsiteX6146" y="connsiteY6146"/>
                </a:cxn>
                <a:cxn ang="0">
                  <a:pos x="connsiteX6147" y="connsiteY6147"/>
                </a:cxn>
                <a:cxn ang="0">
                  <a:pos x="connsiteX6148" y="connsiteY6148"/>
                </a:cxn>
                <a:cxn ang="0">
                  <a:pos x="connsiteX6149" y="connsiteY6149"/>
                </a:cxn>
                <a:cxn ang="0">
                  <a:pos x="connsiteX6150" y="connsiteY6150"/>
                </a:cxn>
                <a:cxn ang="0">
                  <a:pos x="connsiteX6151" y="connsiteY6151"/>
                </a:cxn>
                <a:cxn ang="0">
                  <a:pos x="connsiteX6152" y="connsiteY6152"/>
                </a:cxn>
                <a:cxn ang="0">
                  <a:pos x="connsiteX6153" y="connsiteY6153"/>
                </a:cxn>
                <a:cxn ang="0">
                  <a:pos x="connsiteX6154" y="connsiteY6154"/>
                </a:cxn>
                <a:cxn ang="0">
                  <a:pos x="connsiteX6155" y="connsiteY6155"/>
                </a:cxn>
                <a:cxn ang="0">
                  <a:pos x="connsiteX6156" y="connsiteY6156"/>
                </a:cxn>
                <a:cxn ang="0">
                  <a:pos x="connsiteX6157" y="connsiteY6157"/>
                </a:cxn>
                <a:cxn ang="0">
                  <a:pos x="connsiteX6158" y="connsiteY6158"/>
                </a:cxn>
                <a:cxn ang="0">
                  <a:pos x="connsiteX6159" y="connsiteY6159"/>
                </a:cxn>
                <a:cxn ang="0">
                  <a:pos x="connsiteX6160" y="connsiteY6160"/>
                </a:cxn>
                <a:cxn ang="0">
                  <a:pos x="connsiteX6161" y="connsiteY6161"/>
                </a:cxn>
                <a:cxn ang="0">
                  <a:pos x="connsiteX6162" y="connsiteY6162"/>
                </a:cxn>
                <a:cxn ang="0">
                  <a:pos x="connsiteX6163" y="connsiteY6163"/>
                </a:cxn>
                <a:cxn ang="0">
                  <a:pos x="connsiteX6164" y="connsiteY6164"/>
                </a:cxn>
                <a:cxn ang="0">
                  <a:pos x="connsiteX6165" y="connsiteY6165"/>
                </a:cxn>
                <a:cxn ang="0">
                  <a:pos x="connsiteX6166" y="connsiteY6166"/>
                </a:cxn>
                <a:cxn ang="0">
                  <a:pos x="connsiteX6167" y="connsiteY6167"/>
                </a:cxn>
                <a:cxn ang="0">
                  <a:pos x="connsiteX6168" y="connsiteY6168"/>
                </a:cxn>
                <a:cxn ang="0">
                  <a:pos x="connsiteX6169" y="connsiteY6169"/>
                </a:cxn>
                <a:cxn ang="0">
                  <a:pos x="connsiteX6170" y="connsiteY6170"/>
                </a:cxn>
                <a:cxn ang="0">
                  <a:pos x="connsiteX6171" y="connsiteY6171"/>
                </a:cxn>
                <a:cxn ang="0">
                  <a:pos x="connsiteX6172" y="connsiteY6172"/>
                </a:cxn>
                <a:cxn ang="0">
                  <a:pos x="connsiteX6173" y="connsiteY6173"/>
                </a:cxn>
                <a:cxn ang="0">
                  <a:pos x="connsiteX6174" y="connsiteY6174"/>
                </a:cxn>
                <a:cxn ang="0">
                  <a:pos x="connsiteX6175" y="connsiteY6175"/>
                </a:cxn>
                <a:cxn ang="0">
                  <a:pos x="connsiteX6176" y="connsiteY6176"/>
                </a:cxn>
                <a:cxn ang="0">
                  <a:pos x="connsiteX6177" y="connsiteY6177"/>
                </a:cxn>
                <a:cxn ang="0">
                  <a:pos x="connsiteX6178" y="connsiteY6178"/>
                </a:cxn>
                <a:cxn ang="0">
                  <a:pos x="connsiteX6179" y="connsiteY6179"/>
                </a:cxn>
                <a:cxn ang="0">
                  <a:pos x="connsiteX6180" y="connsiteY6180"/>
                </a:cxn>
                <a:cxn ang="0">
                  <a:pos x="connsiteX6181" y="connsiteY6181"/>
                </a:cxn>
                <a:cxn ang="0">
                  <a:pos x="connsiteX6182" y="connsiteY6182"/>
                </a:cxn>
                <a:cxn ang="0">
                  <a:pos x="connsiteX6183" y="connsiteY6183"/>
                </a:cxn>
                <a:cxn ang="0">
                  <a:pos x="connsiteX6184" y="connsiteY6184"/>
                </a:cxn>
                <a:cxn ang="0">
                  <a:pos x="connsiteX6185" y="connsiteY6185"/>
                </a:cxn>
                <a:cxn ang="0">
                  <a:pos x="connsiteX6186" y="connsiteY6186"/>
                </a:cxn>
                <a:cxn ang="0">
                  <a:pos x="connsiteX6187" y="connsiteY6187"/>
                </a:cxn>
                <a:cxn ang="0">
                  <a:pos x="connsiteX6188" y="connsiteY6188"/>
                </a:cxn>
                <a:cxn ang="0">
                  <a:pos x="connsiteX6189" y="connsiteY6189"/>
                </a:cxn>
                <a:cxn ang="0">
                  <a:pos x="connsiteX6190" y="connsiteY6190"/>
                </a:cxn>
                <a:cxn ang="0">
                  <a:pos x="connsiteX6191" y="connsiteY6191"/>
                </a:cxn>
                <a:cxn ang="0">
                  <a:pos x="connsiteX6192" y="connsiteY6192"/>
                </a:cxn>
                <a:cxn ang="0">
                  <a:pos x="connsiteX6193" y="connsiteY6193"/>
                </a:cxn>
                <a:cxn ang="0">
                  <a:pos x="connsiteX6194" y="connsiteY6194"/>
                </a:cxn>
                <a:cxn ang="0">
                  <a:pos x="connsiteX6195" y="connsiteY6195"/>
                </a:cxn>
                <a:cxn ang="0">
                  <a:pos x="connsiteX6196" y="connsiteY6196"/>
                </a:cxn>
                <a:cxn ang="0">
                  <a:pos x="connsiteX6197" y="connsiteY6197"/>
                </a:cxn>
                <a:cxn ang="0">
                  <a:pos x="connsiteX6198" y="connsiteY6198"/>
                </a:cxn>
                <a:cxn ang="0">
                  <a:pos x="connsiteX6199" y="connsiteY6199"/>
                </a:cxn>
                <a:cxn ang="0">
                  <a:pos x="connsiteX6200" y="connsiteY6200"/>
                </a:cxn>
                <a:cxn ang="0">
                  <a:pos x="connsiteX6201" y="connsiteY6201"/>
                </a:cxn>
                <a:cxn ang="0">
                  <a:pos x="connsiteX6202" y="connsiteY6202"/>
                </a:cxn>
                <a:cxn ang="0">
                  <a:pos x="connsiteX6203" y="connsiteY6203"/>
                </a:cxn>
                <a:cxn ang="0">
                  <a:pos x="connsiteX6204" y="connsiteY6204"/>
                </a:cxn>
                <a:cxn ang="0">
                  <a:pos x="connsiteX6205" y="connsiteY6205"/>
                </a:cxn>
                <a:cxn ang="0">
                  <a:pos x="connsiteX6206" y="connsiteY6206"/>
                </a:cxn>
                <a:cxn ang="0">
                  <a:pos x="connsiteX6207" y="connsiteY6207"/>
                </a:cxn>
                <a:cxn ang="0">
                  <a:pos x="connsiteX6208" y="connsiteY6208"/>
                </a:cxn>
                <a:cxn ang="0">
                  <a:pos x="connsiteX6209" y="connsiteY6209"/>
                </a:cxn>
                <a:cxn ang="0">
                  <a:pos x="connsiteX6210" y="connsiteY6210"/>
                </a:cxn>
                <a:cxn ang="0">
                  <a:pos x="connsiteX6211" y="connsiteY6211"/>
                </a:cxn>
                <a:cxn ang="0">
                  <a:pos x="connsiteX6212" y="connsiteY6212"/>
                </a:cxn>
                <a:cxn ang="0">
                  <a:pos x="connsiteX6213" y="connsiteY6213"/>
                </a:cxn>
                <a:cxn ang="0">
                  <a:pos x="connsiteX6214" y="connsiteY6214"/>
                </a:cxn>
                <a:cxn ang="0">
                  <a:pos x="connsiteX6215" y="connsiteY6215"/>
                </a:cxn>
                <a:cxn ang="0">
                  <a:pos x="connsiteX6216" y="connsiteY6216"/>
                </a:cxn>
                <a:cxn ang="0">
                  <a:pos x="connsiteX6217" y="connsiteY6217"/>
                </a:cxn>
                <a:cxn ang="0">
                  <a:pos x="connsiteX6218" y="connsiteY6218"/>
                </a:cxn>
                <a:cxn ang="0">
                  <a:pos x="connsiteX6219" y="connsiteY6219"/>
                </a:cxn>
                <a:cxn ang="0">
                  <a:pos x="connsiteX6220" y="connsiteY6220"/>
                </a:cxn>
                <a:cxn ang="0">
                  <a:pos x="connsiteX6221" y="connsiteY6221"/>
                </a:cxn>
                <a:cxn ang="0">
                  <a:pos x="connsiteX6222" y="connsiteY6222"/>
                </a:cxn>
                <a:cxn ang="0">
                  <a:pos x="connsiteX6223" y="connsiteY6223"/>
                </a:cxn>
                <a:cxn ang="0">
                  <a:pos x="connsiteX6224" y="connsiteY6224"/>
                </a:cxn>
                <a:cxn ang="0">
                  <a:pos x="connsiteX6225" y="connsiteY6225"/>
                </a:cxn>
                <a:cxn ang="0">
                  <a:pos x="connsiteX6226" y="connsiteY6226"/>
                </a:cxn>
                <a:cxn ang="0">
                  <a:pos x="connsiteX6227" y="connsiteY6227"/>
                </a:cxn>
                <a:cxn ang="0">
                  <a:pos x="connsiteX6228" y="connsiteY6228"/>
                </a:cxn>
                <a:cxn ang="0">
                  <a:pos x="connsiteX6229" y="connsiteY6229"/>
                </a:cxn>
                <a:cxn ang="0">
                  <a:pos x="connsiteX6230" y="connsiteY6230"/>
                </a:cxn>
                <a:cxn ang="0">
                  <a:pos x="connsiteX6231" y="connsiteY6231"/>
                </a:cxn>
                <a:cxn ang="0">
                  <a:pos x="connsiteX6232" y="connsiteY6232"/>
                </a:cxn>
                <a:cxn ang="0">
                  <a:pos x="connsiteX6233" y="connsiteY6233"/>
                </a:cxn>
                <a:cxn ang="0">
                  <a:pos x="connsiteX6234" y="connsiteY6234"/>
                </a:cxn>
                <a:cxn ang="0">
                  <a:pos x="connsiteX6235" y="connsiteY6235"/>
                </a:cxn>
                <a:cxn ang="0">
                  <a:pos x="connsiteX6236" y="connsiteY6236"/>
                </a:cxn>
                <a:cxn ang="0">
                  <a:pos x="connsiteX6237" y="connsiteY6237"/>
                </a:cxn>
                <a:cxn ang="0">
                  <a:pos x="connsiteX6238" y="connsiteY6238"/>
                </a:cxn>
                <a:cxn ang="0">
                  <a:pos x="connsiteX6239" y="connsiteY6239"/>
                </a:cxn>
                <a:cxn ang="0">
                  <a:pos x="connsiteX6240" y="connsiteY6240"/>
                </a:cxn>
                <a:cxn ang="0">
                  <a:pos x="connsiteX6241" y="connsiteY6241"/>
                </a:cxn>
                <a:cxn ang="0">
                  <a:pos x="connsiteX6242" y="connsiteY6242"/>
                </a:cxn>
                <a:cxn ang="0">
                  <a:pos x="connsiteX6243" y="connsiteY6243"/>
                </a:cxn>
                <a:cxn ang="0">
                  <a:pos x="connsiteX6244" y="connsiteY6244"/>
                </a:cxn>
                <a:cxn ang="0">
                  <a:pos x="connsiteX6245" y="connsiteY6245"/>
                </a:cxn>
                <a:cxn ang="0">
                  <a:pos x="connsiteX6246" y="connsiteY6246"/>
                </a:cxn>
                <a:cxn ang="0">
                  <a:pos x="connsiteX6247" y="connsiteY6247"/>
                </a:cxn>
                <a:cxn ang="0">
                  <a:pos x="connsiteX6248" y="connsiteY6248"/>
                </a:cxn>
                <a:cxn ang="0">
                  <a:pos x="connsiteX6249" y="connsiteY6249"/>
                </a:cxn>
                <a:cxn ang="0">
                  <a:pos x="connsiteX6250" y="connsiteY6250"/>
                </a:cxn>
                <a:cxn ang="0">
                  <a:pos x="connsiteX6251" y="connsiteY6251"/>
                </a:cxn>
                <a:cxn ang="0">
                  <a:pos x="connsiteX6252" y="connsiteY6252"/>
                </a:cxn>
                <a:cxn ang="0">
                  <a:pos x="connsiteX6253" y="connsiteY6253"/>
                </a:cxn>
                <a:cxn ang="0">
                  <a:pos x="connsiteX6254" y="connsiteY6254"/>
                </a:cxn>
                <a:cxn ang="0">
                  <a:pos x="connsiteX6255" y="connsiteY6255"/>
                </a:cxn>
                <a:cxn ang="0">
                  <a:pos x="connsiteX6256" y="connsiteY6256"/>
                </a:cxn>
                <a:cxn ang="0">
                  <a:pos x="connsiteX6257" y="connsiteY6257"/>
                </a:cxn>
                <a:cxn ang="0">
                  <a:pos x="connsiteX6258" y="connsiteY6258"/>
                </a:cxn>
                <a:cxn ang="0">
                  <a:pos x="connsiteX6259" y="connsiteY6259"/>
                </a:cxn>
                <a:cxn ang="0">
                  <a:pos x="connsiteX6260" y="connsiteY6260"/>
                </a:cxn>
                <a:cxn ang="0">
                  <a:pos x="connsiteX6261" y="connsiteY6261"/>
                </a:cxn>
                <a:cxn ang="0">
                  <a:pos x="connsiteX6262" y="connsiteY6262"/>
                </a:cxn>
                <a:cxn ang="0">
                  <a:pos x="connsiteX6263" y="connsiteY6263"/>
                </a:cxn>
                <a:cxn ang="0">
                  <a:pos x="connsiteX6264" y="connsiteY6264"/>
                </a:cxn>
                <a:cxn ang="0">
                  <a:pos x="connsiteX6265" y="connsiteY6265"/>
                </a:cxn>
                <a:cxn ang="0">
                  <a:pos x="connsiteX6266" y="connsiteY6266"/>
                </a:cxn>
                <a:cxn ang="0">
                  <a:pos x="connsiteX6267" y="connsiteY6267"/>
                </a:cxn>
                <a:cxn ang="0">
                  <a:pos x="connsiteX6268" y="connsiteY6268"/>
                </a:cxn>
                <a:cxn ang="0">
                  <a:pos x="connsiteX6269" y="connsiteY6269"/>
                </a:cxn>
                <a:cxn ang="0">
                  <a:pos x="connsiteX6270" y="connsiteY6270"/>
                </a:cxn>
                <a:cxn ang="0">
                  <a:pos x="connsiteX6271" y="connsiteY6271"/>
                </a:cxn>
                <a:cxn ang="0">
                  <a:pos x="connsiteX6272" y="connsiteY6272"/>
                </a:cxn>
                <a:cxn ang="0">
                  <a:pos x="connsiteX6273" y="connsiteY6273"/>
                </a:cxn>
                <a:cxn ang="0">
                  <a:pos x="connsiteX6274" y="connsiteY6274"/>
                </a:cxn>
                <a:cxn ang="0">
                  <a:pos x="connsiteX6275" y="connsiteY6275"/>
                </a:cxn>
                <a:cxn ang="0">
                  <a:pos x="connsiteX6276" y="connsiteY6276"/>
                </a:cxn>
                <a:cxn ang="0">
                  <a:pos x="connsiteX6277" y="connsiteY6277"/>
                </a:cxn>
                <a:cxn ang="0">
                  <a:pos x="connsiteX6278" y="connsiteY6278"/>
                </a:cxn>
                <a:cxn ang="0">
                  <a:pos x="connsiteX6279" y="connsiteY6279"/>
                </a:cxn>
                <a:cxn ang="0">
                  <a:pos x="connsiteX6280" y="connsiteY6280"/>
                </a:cxn>
                <a:cxn ang="0">
                  <a:pos x="connsiteX6281" y="connsiteY6281"/>
                </a:cxn>
                <a:cxn ang="0">
                  <a:pos x="connsiteX6282" y="connsiteY6282"/>
                </a:cxn>
                <a:cxn ang="0">
                  <a:pos x="connsiteX6283" y="connsiteY6283"/>
                </a:cxn>
                <a:cxn ang="0">
                  <a:pos x="connsiteX6284" y="connsiteY6284"/>
                </a:cxn>
                <a:cxn ang="0">
                  <a:pos x="connsiteX6285" y="connsiteY6285"/>
                </a:cxn>
                <a:cxn ang="0">
                  <a:pos x="connsiteX6286" y="connsiteY6286"/>
                </a:cxn>
                <a:cxn ang="0">
                  <a:pos x="connsiteX6287" y="connsiteY6287"/>
                </a:cxn>
                <a:cxn ang="0">
                  <a:pos x="connsiteX6288" y="connsiteY6288"/>
                </a:cxn>
                <a:cxn ang="0">
                  <a:pos x="connsiteX6289" y="connsiteY6289"/>
                </a:cxn>
                <a:cxn ang="0">
                  <a:pos x="connsiteX6290" y="connsiteY6290"/>
                </a:cxn>
                <a:cxn ang="0">
                  <a:pos x="connsiteX6291" y="connsiteY6291"/>
                </a:cxn>
                <a:cxn ang="0">
                  <a:pos x="connsiteX6292" y="connsiteY6292"/>
                </a:cxn>
                <a:cxn ang="0">
                  <a:pos x="connsiteX6293" y="connsiteY6293"/>
                </a:cxn>
                <a:cxn ang="0">
                  <a:pos x="connsiteX6294" y="connsiteY6294"/>
                </a:cxn>
                <a:cxn ang="0">
                  <a:pos x="connsiteX6295" y="connsiteY6295"/>
                </a:cxn>
                <a:cxn ang="0">
                  <a:pos x="connsiteX6296" y="connsiteY6296"/>
                </a:cxn>
                <a:cxn ang="0">
                  <a:pos x="connsiteX6297" y="connsiteY6297"/>
                </a:cxn>
                <a:cxn ang="0">
                  <a:pos x="connsiteX6298" y="connsiteY6298"/>
                </a:cxn>
                <a:cxn ang="0">
                  <a:pos x="connsiteX6299" y="connsiteY6299"/>
                </a:cxn>
                <a:cxn ang="0">
                  <a:pos x="connsiteX6300" y="connsiteY6300"/>
                </a:cxn>
                <a:cxn ang="0">
                  <a:pos x="connsiteX6301" y="connsiteY6301"/>
                </a:cxn>
                <a:cxn ang="0">
                  <a:pos x="connsiteX6302" y="connsiteY6302"/>
                </a:cxn>
                <a:cxn ang="0">
                  <a:pos x="connsiteX6303" y="connsiteY6303"/>
                </a:cxn>
                <a:cxn ang="0">
                  <a:pos x="connsiteX6304" y="connsiteY6304"/>
                </a:cxn>
                <a:cxn ang="0">
                  <a:pos x="connsiteX6305" y="connsiteY6305"/>
                </a:cxn>
                <a:cxn ang="0">
                  <a:pos x="connsiteX6306" y="connsiteY6306"/>
                </a:cxn>
                <a:cxn ang="0">
                  <a:pos x="connsiteX6307" y="connsiteY6307"/>
                </a:cxn>
                <a:cxn ang="0">
                  <a:pos x="connsiteX6308" y="connsiteY6308"/>
                </a:cxn>
                <a:cxn ang="0">
                  <a:pos x="connsiteX6309" y="connsiteY6309"/>
                </a:cxn>
                <a:cxn ang="0">
                  <a:pos x="connsiteX6310" y="connsiteY6310"/>
                </a:cxn>
                <a:cxn ang="0">
                  <a:pos x="connsiteX6311" y="connsiteY6311"/>
                </a:cxn>
                <a:cxn ang="0">
                  <a:pos x="connsiteX6312" y="connsiteY6312"/>
                </a:cxn>
                <a:cxn ang="0">
                  <a:pos x="connsiteX6313" y="connsiteY6313"/>
                </a:cxn>
                <a:cxn ang="0">
                  <a:pos x="connsiteX6314" y="connsiteY6314"/>
                </a:cxn>
                <a:cxn ang="0">
                  <a:pos x="connsiteX6315" y="connsiteY6315"/>
                </a:cxn>
                <a:cxn ang="0">
                  <a:pos x="connsiteX6316" y="connsiteY6316"/>
                </a:cxn>
                <a:cxn ang="0">
                  <a:pos x="connsiteX6317" y="connsiteY6317"/>
                </a:cxn>
                <a:cxn ang="0">
                  <a:pos x="connsiteX6318" y="connsiteY6318"/>
                </a:cxn>
                <a:cxn ang="0">
                  <a:pos x="connsiteX6319" y="connsiteY6319"/>
                </a:cxn>
                <a:cxn ang="0">
                  <a:pos x="connsiteX6320" y="connsiteY6320"/>
                </a:cxn>
                <a:cxn ang="0">
                  <a:pos x="connsiteX6321" y="connsiteY6321"/>
                </a:cxn>
                <a:cxn ang="0">
                  <a:pos x="connsiteX6322" y="connsiteY6322"/>
                </a:cxn>
                <a:cxn ang="0">
                  <a:pos x="connsiteX6323" y="connsiteY6323"/>
                </a:cxn>
                <a:cxn ang="0">
                  <a:pos x="connsiteX6324" y="connsiteY6324"/>
                </a:cxn>
                <a:cxn ang="0">
                  <a:pos x="connsiteX6325" y="connsiteY6325"/>
                </a:cxn>
                <a:cxn ang="0">
                  <a:pos x="connsiteX6326" y="connsiteY6326"/>
                </a:cxn>
                <a:cxn ang="0">
                  <a:pos x="connsiteX6327" y="connsiteY6327"/>
                </a:cxn>
                <a:cxn ang="0">
                  <a:pos x="connsiteX6328" y="connsiteY6328"/>
                </a:cxn>
                <a:cxn ang="0">
                  <a:pos x="connsiteX6329" y="connsiteY6329"/>
                </a:cxn>
                <a:cxn ang="0">
                  <a:pos x="connsiteX6330" y="connsiteY6330"/>
                </a:cxn>
                <a:cxn ang="0">
                  <a:pos x="connsiteX6331" y="connsiteY6331"/>
                </a:cxn>
                <a:cxn ang="0">
                  <a:pos x="connsiteX6332" y="connsiteY6332"/>
                </a:cxn>
                <a:cxn ang="0">
                  <a:pos x="connsiteX6333" y="connsiteY6333"/>
                </a:cxn>
                <a:cxn ang="0">
                  <a:pos x="connsiteX6334" y="connsiteY6334"/>
                </a:cxn>
                <a:cxn ang="0">
                  <a:pos x="connsiteX6335" y="connsiteY6335"/>
                </a:cxn>
                <a:cxn ang="0">
                  <a:pos x="connsiteX6336" y="connsiteY6336"/>
                </a:cxn>
                <a:cxn ang="0">
                  <a:pos x="connsiteX6337" y="connsiteY6337"/>
                </a:cxn>
                <a:cxn ang="0">
                  <a:pos x="connsiteX6338" y="connsiteY6338"/>
                </a:cxn>
                <a:cxn ang="0">
                  <a:pos x="connsiteX6339" y="connsiteY6339"/>
                </a:cxn>
                <a:cxn ang="0">
                  <a:pos x="connsiteX6340" y="connsiteY6340"/>
                </a:cxn>
                <a:cxn ang="0">
                  <a:pos x="connsiteX6341" y="connsiteY6341"/>
                </a:cxn>
                <a:cxn ang="0">
                  <a:pos x="connsiteX6342" y="connsiteY6342"/>
                </a:cxn>
                <a:cxn ang="0">
                  <a:pos x="connsiteX6343" y="connsiteY6343"/>
                </a:cxn>
                <a:cxn ang="0">
                  <a:pos x="connsiteX6344" y="connsiteY6344"/>
                </a:cxn>
                <a:cxn ang="0">
                  <a:pos x="connsiteX6345" y="connsiteY6345"/>
                </a:cxn>
                <a:cxn ang="0">
                  <a:pos x="connsiteX6346" y="connsiteY6346"/>
                </a:cxn>
                <a:cxn ang="0">
                  <a:pos x="connsiteX6347" y="connsiteY6347"/>
                </a:cxn>
                <a:cxn ang="0">
                  <a:pos x="connsiteX6348" y="connsiteY6348"/>
                </a:cxn>
                <a:cxn ang="0">
                  <a:pos x="connsiteX6349" y="connsiteY6349"/>
                </a:cxn>
                <a:cxn ang="0">
                  <a:pos x="connsiteX6350" y="connsiteY6350"/>
                </a:cxn>
                <a:cxn ang="0">
                  <a:pos x="connsiteX6351" y="connsiteY6351"/>
                </a:cxn>
                <a:cxn ang="0">
                  <a:pos x="connsiteX6352" y="connsiteY6352"/>
                </a:cxn>
                <a:cxn ang="0">
                  <a:pos x="connsiteX6353" y="connsiteY6353"/>
                </a:cxn>
                <a:cxn ang="0">
                  <a:pos x="connsiteX6354" y="connsiteY6354"/>
                </a:cxn>
                <a:cxn ang="0">
                  <a:pos x="connsiteX6355" y="connsiteY6355"/>
                </a:cxn>
                <a:cxn ang="0">
                  <a:pos x="connsiteX6356" y="connsiteY6356"/>
                </a:cxn>
                <a:cxn ang="0">
                  <a:pos x="connsiteX6357" y="connsiteY6357"/>
                </a:cxn>
                <a:cxn ang="0">
                  <a:pos x="connsiteX6358" y="connsiteY6358"/>
                </a:cxn>
                <a:cxn ang="0">
                  <a:pos x="connsiteX6359" y="connsiteY6359"/>
                </a:cxn>
                <a:cxn ang="0">
                  <a:pos x="connsiteX6360" y="connsiteY6360"/>
                </a:cxn>
                <a:cxn ang="0">
                  <a:pos x="connsiteX6361" y="connsiteY6361"/>
                </a:cxn>
                <a:cxn ang="0">
                  <a:pos x="connsiteX6362" y="connsiteY6362"/>
                </a:cxn>
                <a:cxn ang="0">
                  <a:pos x="connsiteX6363" y="connsiteY6363"/>
                </a:cxn>
                <a:cxn ang="0">
                  <a:pos x="connsiteX6364" y="connsiteY6364"/>
                </a:cxn>
                <a:cxn ang="0">
                  <a:pos x="connsiteX6365" y="connsiteY6365"/>
                </a:cxn>
                <a:cxn ang="0">
                  <a:pos x="connsiteX6366" y="connsiteY6366"/>
                </a:cxn>
                <a:cxn ang="0">
                  <a:pos x="connsiteX6367" y="connsiteY6367"/>
                </a:cxn>
                <a:cxn ang="0">
                  <a:pos x="connsiteX6368" y="connsiteY6368"/>
                </a:cxn>
                <a:cxn ang="0">
                  <a:pos x="connsiteX6369" y="connsiteY6369"/>
                </a:cxn>
                <a:cxn ang="0">
                  <a:pos x="connsiteX6370" y="connsiteY6370"/>
                </a:cxn>
                <a:cxn ang="0">
                  <a:pos x="connsiteX6371" y="connsiteY6371"/>
                </a:cxn>
                <a:cxn ang="0">
                  <a:pos x="connsiteX6372" y="connsiteY6372"/>
                </a:cxn>
                <a:cxn ang="0">
                  <a:pos x="connsiteX6373" y="connsiteY6373"/>
                </a:cxn>
                <a:cxn ang="0">
                  <a:pos x="connsiteX6374" y="connsiteY6374"/>
                </a:cxn>
                <a:cxn ang="0">
                  <a:pos x="connsiteX6375" y="connsiteY6375"/>
                </a:cxn>
                <a:cxn ang="0">
                  <a:pos x="connsiteX6376" y="connsiteY6376"/>
                </a:cxn>
                <a:cxn ang="0">
                  <a:pos x="connsiteX6377" y="connsiteY6377"/>
                </a:cxn>
                <a:cxn ang="0">
                  <a:pos x="connsiteX6378" y="connsiteY6378"/>
                </a:cxn>
                <a:cxn ang="0">
                  <a:pos x="connsiteX6379" y="connsiteY6379"/>
                </a:cxn>
                <a:cxn ang="0">
                  <a:pos x="connsiteX6380" y="connsiteY6380"/>
                </a:cxn>
                <a:cxn ang="0">
                  <a:pos x="connsiteX6381" y="connsiteY6381"/>
                </a:cxn>
                <a:cxn ang="0">
                  <a:pos x="connsiteX6382" y="connsiteY6382"/>
                </a:cxn>
                <a:cxn ang="0">
                  <a:pos x="connsiteX6383" y="connsiteY6383"/>
                </a:cxn>
                <a:cxn ang="0">
                  <a:pos x="connsiteX6384" y="connsiteY6384"/>
                </a:cxn>
                <a:cxn ang="0">
                  <a:pos x="connsiteX6385" y="connsiteY6385"/>
                </a:cxn>
                <a:cxn ang="0">
                  <a:pos x="connsiteX6386" y="connsiteY6386"/>
                </a:cxn>
                <a:cxn ang="0">
                  <a:pos x="connsiteX6387" y="connsiteY6387"/>
                </a:cxn>
                <a:cxn ang="0">
                  <a:pos x="connsiteX6388" y="connsiteY6388"/>
                </a:cxn>
                <a:cxn ang="0">
                  <a:pos x="connsiteX6389" y="connsiteY6389"/>
                </a:cxn>
                <a:cxn ang="0">
                  <a:pos x="connsiteX6390" y="connsiteY6390"/>
                </a:cxn>
                <a:cxn ang="0">
                  <a:pos x="connsiteX6391" y="connsiteY6391"/>
                </a:cxn>
                <a:cxn ang="0">
                  <a:pos x="connsiteX6392" y="connsiteY6392"/>
                </a:cxn>
                <a:cxn ang="0">
                  <a:pos x="connsiteX6393" y="connsiteY6393"/>
                </a:cxn>
                <a:cxn ang="0">
                  <a:pos x="connsiteX6394" y="connsiteY6394"/>
                </a:cxn>
                <a:cxn ang="0">
                  <a:pos x="connsiteX6395" y="connsiteY6395"/>
                </a:cxn>
                <a:cxn ang="0">
                  <a:pos x="connsiteX6396" y="connsiteY6396"/>
                </a:cxn>
                <a:cxn ang="0">
                  <a:pos x="connsiteX6397" y="connsiteY6397"/>
                </a:cxn>
                <a:cxn ang="0">
                  <a:pos x="connsiteX6398" y="connsiteY6398"/>
                </a:cxn>
                <a:cxn ang="0">
                  <a:pos x="connsiteX6399" y="connsiteY6399"/>
                </a:cxn>
                <a:cxn ang="0">
                  <a:pos x="connsiteX6400" y="connsiteY6400"/>
                </a:cxn>
                <a:cxn ang="0">
                  <a:pos x="connsiteX6401" y="connsiteY6401"/>
                </a:cxn>
                <a:cxn ang="0">
                  <a:pos x="connsiteX6402" y="connsiteY6402"/>
                </a:cxn>
                <a:cxn ang="0">
                  <a:pos x="connsiteX6403" y="connsiteY6403"/>
                </a:cxn>
                <a:cxn ang="0">
                  <a:pos x="connsiteX6404" y="connsiteY6404"/>
                </a:cxn>
                <a:cxn ang="0">
                  <a:pos x="connsiteX6405" y="connsiteY6405"/>
                </a:cxn>
                <a:cxn ang="0">
                  <a:pos x="connsiteX6406" y="connsiteY6406"/>
                </a:cxn>
                <a:cxn ang="0">
                  <a:pos x="connsiteX6407" y="connsiteY6407"/>
                </a:cxn>
                <a:cxn ang="0">
                  <a:pos x="connsiteX6408" y="connsiteY6408"/>
                </a:cxn>
                <a:cxn ang="0">
                  <a:pos x="connsiteX6409" y="connsiteY6409"/>
                </a:cxn>
                <a:cxn ang="0">
                  <a:pos x="connsiteX6410" y="connsiteY6410"/>
                </a:cxn>
                <a:cxn ang="0">
                  <a:pos x="connsiteX6411" y="connsiteY6411"/>
                </a:cxn>
                <a:cxn ang="0">
                  <a:pos x="connsiteX6412" y="connsiteY6412"/>
                </a:cxn>
                <a:cxn ang="0">
                  <a:pos x="connsiteX6413" y="connsiteY6413"/>
                </a:cxn>
                <a:cxn ang="0">
                  <a:pos x="connsiteX6414" y="connsiteY6414"/>
                </a:cxn>
                <a:cxn ang="0">
                  <a:pos x="connsiteX6415" y="connsiteY6415"/>
                </a:cxn>
                <a:cxn ang="0">
                  <a:pos x="connsiteX6416" y="connsiteY6416"/>
                </a:cxn>
                <a:cxn ang="0">
                  <a:pos x="connsiteX6417" y="connsiteY6417"/>
                </a:cxn>
                <a:cxn ang="0">
                  <a:pos x="connsiteX6418" y="connsiteY6418"/>
                </a:cxn>
                <a:cxn ang="0">
                  <a:pos x="connsiteX6419" y="connsiteY6419"/>
                </a:cxn>
                <a:cxn ang="0">
                  <a:pos x="connsiteX6420" y="connsiteY6420"/>
                </a:cxn>
                <a:cxn ang="0">
                  <a:pos x="connsiteX6421" y="connsiteY6421"/>
                </a:cxn>
                <a:cxn ang="0">
                  <a:pos x="connsiteX6422" y="connsiteY6422"/>
                </a:cxn>
                <a:cxn ang="0">
                  <a:pos x="connsiteX6423" y="connsiteY6423"/>
                </a:cxn>
                <a:cxn ang="0">
                  <a:pos x="connsiteX6424" y="connsiteY6424"/>
                </a:cxn>
                <a:cxn ang="0">
                  <a:pos x="connsiteX6425" y="connsiteY6425"/>
                </a:cxn>
                <a:cxn ang="0">
                  <a:pos x="connsiteX6426" y="connsiteY6426"/>
                </a:cxn>
                <a:cxn ang="0">
                  <a:pos x="connsiteX6427" y="connsiteY6427"/>
                </a:cxn>
                <a:cxn ang="0">
                  <a:pos x="connsiteX6428" y="connsiteY6428"/>
                </a:cxn>
                <a:cxn ang="0">
                  <a:pos x="connsiteX6429" y="connsiteY6429"/>
                </a:cxn>
                <a:cxn ang="0">
                  <a:pos x="connsiteX6430" y="connsiteY6430"/>
                </a:cxn>
                <a:cxn ang="0">
                  <a:pos x="connsiteX6431" y="connsiteY6431"/>
                </a:cxn>
                <a:cxn ang="0">
                  <a:pos x="connsiteX6432" y="connsiteY6432"/>
                </a:cxn>
                <a:cxn ang="0">
                  <a:pos x="connsiteX6433" y="connsiteY6433"/>
                </a:cxn>
                <a:cxn ang="0">
                  <a:pos x="connsiteX6434" y="connsiteY6434"/>
                </a:cxn>
                <a:cxn ang="0">
                  <a:pos x="connsiteX6435" y="connsiteY6435"/>
                </a:cxn>
                <a:cxn ang="0">
                  <a:pos x="connsiteX6436" y="connsiteY6436"/>
                </a:cxn>
                <a:cxn ang="0">
                  <a:pos x="connsiteX6437" y="connsiteY6437"/>
                </a:cxn>
                <a:cxn ang="0">
                  <a:pos x="connsiteX6438" y="connsiteY6438"/>
                </a:cxn>
                <a:cxn ang="0">
                  <a:pos x="connsiteX6439" y="connsiteY6439"/>
                </a:cxn>
                <a:cxn ang="0">
                  <a:pos x="connsiteX6440" y="connsiteY6440"/>
                </a:cxn>
                <a:cxn ang="0">
                  <a:pos x="connsiteX6441" y="connsiteY6441"/>
                </a:cxn>
                <a:cxn ang="0">
                  <a:pos x="connsiteX6442" y="connsiteY6442"/>
                </a:cxn>
                <a:cxn ang="0">
                  <a:pos x="connsiteX6443" y="connsiteY6443"/>
                </a:cxn>
                <a:cxn ang="0">
                  <a:pos x="connsiteX6444" y="connsiteY6444"/>
                </a:cxn>
                <a:cxn ang="0">
                  <a:pos x="connsiteX6445" y="connsiteY6445"/>
                </a:cxn>
                <a:cxn ang="0">
                  <a:pos x="connsiteX6446" y="connsiteY6446"/>
                </a:cxn>
                <a:cxn ang="0">
                  <a:pos x="connsiteX6447" y="connsiteY6447"/>
                </a:cxn>
                <a:cxn ang="0">
                  <a:pos x="connsiteX6448" y="connsiteY6448"/>
                </a:cxn>
                <a:cxn ang="0">
                  <a:pos x="connsiteX6449" y="connsiteY6449"/>
                </a:cxn>
                <a:cxn ang="0">
                  <a:pos x="connsiteX6450" y="connsiteY6450"/>
                </a:cxn>
                <a:cxn ang="0">
                  <a:pos x="connsiteX6451" y="connsiteY6451"/>
                </a:cxn>
                <a:cxn ang="0">
                  <a:pos x="connsiteX6452" y="connsiteY6452"/>
                </a:cxn>
                <a:cxn ang="0">
                  <a:pos x="connsiteX6453" y="connsiteY6453"/>
                </a:cxn>
                <a:cxn ang="0">
                  <a:pos x="connsiteX6454" y="connsiteY6454"/>
                </a:cxn>
                <a:cxn ang="0">
                  <a:pos x="connsiteX6455" y="connsiteY6455"/>
                </a:cxn>
                <a:cxn ang="0">
                  <a:pos x="connsiteX6456" y="connsiteY6456"/>
                </a:cxn>
                <a:cxn ang="0">
                  <a:pos x="connsiteX6457" y="connsiteY6457"/>
                </a:cxn>
                <a:cxn ang="0">
                  <a:pos x="connsiteX6458" y="connsiteY6458"/>
                </a:cxn>
                <a:cxn ang="0">
                  <a:pos x="connsiteX6459" y="connsiteY6459"/>
                </a:cxn>
                <a:cxn ang="0">
                  <a:pos x="connsiteX6460" y="connsiteY6460"/>
                </a:cxn>
                <a:cxn ang="0">
                  <a:pos x="connsiteX6461" y="connsiteY6461"/>
                </a:cxn>
                <a:cxn ang="0">
                  <a:pos x="connsiteX6462" y="connsiteY6462"/>
                </a:cxn>
                <a:cxn ang="0">
                  <a:pos x="connsiteX6463" y="connsiteY6463"/>
                </a:cxn>
                <a:cxn ang="0">
                  <a:pos x="connsiteX6464" y="connsiteY6464"/>
                </a:cxn>
                <a:cxn ang="0">
                  <a:pos x="connsiteX6465" y="connsiteY6465"/>
                </a:cxn>
                <a:cxn ang="0">
                  <a:pos x="connsiteX6466" y="connsiteY6466"/>
                </a:cxn>
                <a:cxn ang="0">
                  <a:pos x="connsiteX6467" y="connsiteY6467"/>
                </a:cxn>
                <a:cxn ang="0">
                  <a:pos x="connsiteX6468" y="connsiteY6468"/>
                </a:cxn>
                <a:cxn ang="0">
                  <a:pos x="connsiteX6469" y="connsiteY6469"/>
                </a:cxn>
                <a:cxn ang="0">
                  <a:pos x="connsiteX6470" y="connsiteY6470"/>
                </a:cxn>
                <a:cxn ang="0">
                  <a:pos x="connsiteX6471" y="connsiteY6471"/>
                </a:cxn>
                <a:cxn ang="0">
                  <a:pos x="connsiteX6472" y="connsiteY6472"/>
                </a:cxn>
                <a:cxn ang="0">
                  <a:pos x="connsiteX6473" y="connsiteY6473"/>
                </a:cxn>
                <a:cxn ang="0">
                  <a:pos x="connsiteX6474" y="connsiteY6474"/>
                </a:cxn>
                <a:cxn ang="0">
                  <a:pos x="connsiteX6475" y="connsiteY6475"/>
                </a:cxn>
                <a:cxn ang="0">
                  <a:pos x="connsiteX6476" y="connsiteY6476"/>
                </a:cxn>
                <a:cxn ang="0">
                  <a:pos x="connsiteX6477" y="connsiteY6477"/>
                </a:cxn>
                <a:cxn ang="0">
                  <a:pos x="connsiteX6478" y="connsiteY6478"/>
                </a:cxn>
                <a:cxn ang="0">
                  <a:pos x="connsiteX6479" y="connsiteY6479"/>
                </a:cxn>
                <a:cxn ang="0">
                  <a:pos x="connsiteX6480" y="connsiteY6480"/>
                </a:cxn>
                <a:cxn ang="0">
                  <a:pos x="connsiteX6481" y="connsiteY6481"/>
                </a:cxn>
                <a:cxn ang="0">
                  <a:pos x="connsiteX6482" y="connsiteY6482"/>
                </a:cxn>
                <a:cxn ang="0">
                  <a:pos x="connsiteX6483" y="connsiteY6483"/>
                </a:cxn>
                <a:cxn ang="0">
                  <a:pos x="connsiteX6484" y="connsiteY6484"/>
                </a:cxn>
                <a:cxn ang="0">
                  <a:pos x="connsiteX6485" y="connsiteY6485"/>
                </a:cxn>
                <a:cxn ang="0">
                  <a:pos x="connsiteX6486" y="connsiteY6486"/>
                </a:cxn>
                <a:cxn ang="0">
                  <a:pos x="connsiteX6487" y="connsiteY6487"/>
                </a:cxn>
                <a:cxn ang="0">
                  <a:pos x="connsiteX6488" y="connsiteY6488"/>
                </a:cxn>
                <a:cxn ang="0">
                  <a:pos x="connsiteX6489" y="connsiteY6489"/>
                </a:cxn>
                <a:cxn ang="0">
                  <a:pos x="connsiteX6490" y="connsiteY6490"/>
                </a:cxn>
                <a:cxn ang="0">
                  <a:pos x="connsiteX6491" y="connsiteY6491"/>
                </a:cxn>
                <a:cxn ang="0">
                  <a:pos x="connsiteX6492" y="connsiteY6492"/>
                </a:cxn>
                <a:cxn ang="0">
                  <a:pos x="connsiteX6493" y="connsiteY6493"/>
                </a:cxn>
                <a:cxn ang="0">
                  <a:pos x="connsiteX6494" y="connsiteY6494"/>
                </a:cxn>
                <a:cxn ang="0">
                  <a:pos x="connsiteX6495" y="connsiteY6495"/>
                </a:cxn>
                <a:cxn ang="0">
                  <a:pos x="connsiteX6496" y="connsiteY6496"/>
                </a:cxn>
                <a:cxn ang="0">
                  <a:pos x="connsiteX6497" y="connsiteY6497"/>
                </a:cxn>
                <a:cxn ang="0">
                  <a:pos x="connsiteX6498" y="connsiteY6498"/>
                </a:cxn>
                <a:cxn ang="0">
                  <a:pos x="connsiteX6499" y="connsiteY6499"/>
                </a:cxn>
                <a:cxn ang="0">
                  <a:pos x="connsiteX6500" y="connsiteY6500"/>
                </a:cxn>
                <a:cxn ang="0">
                  <a:pos x="connsiteX6501" y="connsiteY6501"/>
                </a:cxn>
                <a:cxn ang="0">
                  <a:pos x="connsiteX6502" y="connsiteY6502"/>
                </a:cxn>
                <a:cxn ang="0">
                  <a:pos x="connsiteX6503" y="connsiteY6503"/>
                </a:cxn>
                <a:cxn ang="0">
                  <a:pos x="connsiteX6504" y="connsiteY6504"/>
                </a:cxn>
                <a:cxn ang="0">
                  <a:pos x="connsiteX6505" y="connsiteY6505"/>
                </a:cxn>
                <a:cxn ang="0">
                  <a:pos x="connsiteX6506" y="connsiteY6506"/>
                </a:cxn>
                <a:cxn ang="0">
                  <a:pos x="connsiteX6507" y="connsiteY6507"/>
                </a:cxn>
                <a:cxn ang="0">
                  <a:pos x="connsiteX6508" y="connsiteY6508"/>
                </a:cxn>
                <a:cxn ang="0">
                  <a:pos x="connsiteX6509" y="connsiteY6509"/>
                </a:cxn>
                <a:cxn ang="0">
                  <a:pos x="connsiteX6510" y="connsiteY6510"/>
                </a:cxn>
                <a:cxn ang="0">
                  <a:pos x="connsiteX6511" y="connsiteY6511"/>
                </a:cxn>
                <a:cxn ang="0">
                  <a:pos x="connsiteX6512" y="connsiteY6512"/>
                </a:cxn>
                <a:cxn ang="0">
                  <a:pos x="connsiteX6513" y="connsiteY6513"/>
                </a:cxn>
                <a:cxn ang="0">
                  <a:pos x="connsiteX6514" y="connsiteY6514"/>
                </a:cxn>
                <a:cxn ang="0">
                  <a:pos x="connsiteX6515" y="connsiteY6515"/>
                </a:cxn>
                <a:cxn ang="0">
                  <a:pos x="connsiteX6516" y="connsiteY6516"/>
                </a:cxn>
                <a:cxn ang="0">
                  <a:pos x="connsiteX6517" y="connsiteY6517"/>
                </a:cxn>
                <a:cxn ang="0">
                  <a:pos x="connsiteX6518" y="connsiteY6518"/>
                </a:cxn>
                <a:cxn ang="0">
                  <a:pos x="connsiteX6519" y="connsiteY6519"/>
                </a:cxn>
                <a:cxn ang="0">
                  <a:pos x="connsiteX6520" y="connsiteY6520"/>
                </a:cxn>
                <a:cxn ang="0">
                  <a:pos x="connsiteX6521" y="connsiteY6521"/>
                </a:cxn>
                <a:cxn ang="0">
                  <a:pos x="connsiteX6522" y="connsiteY6522"/>
                </a:cxn>
                <a:cxn ang="0">
                  <a:pos x="connsiteX6523" y="connsiteY6523"/>
                </a:cxn>
                <a:cxn ang="0">
                  <a:pos x="connsiteX6524" y="connsiteY6524"/>
                </a:cxn>
                <a:cxn ang="0">
                  <a:pos x="connsiteX6525" y="connsiteY6525"/>
                </a:cxn>
                <a:cxn ang="0">
                  <a:pos x="connsiteX6526" y="connsiteY6526"/>
                </a:cxn>
                <a:cxn ang="0">
                  <a:pos x="connsiteX6527" y="connsiteY6527"/>
                </a:cxn>
                <a:cxn ang="0">
                  <a:pos x="connsiteX6528" y="connsiteY6528"/>
                </a:cxn>
                <a:cxn ang="0">
                  <a:pos x="connsiteX6529" y="connsiteY6529"/>
                </a:cxn>
                <a:cxn ang="0">
                  <a:pos x="connsiteX6530" y="connsiteY6530"/>
                </a:cxn>
                <a:cxn ang="0">
                  <a:pos x="connsiteX6531" y="connsiteY6531"/>
                </a:cxn>
                <a:cxn ang="0">
                  <a:pos x="connsiteX6532" y="connsiteY6532"/>
                </a:cxn>
                <a:cxn ang="0">
                  <a:pos x="connsiteX6533" y="connsiteY6533"/>
                </a:cxn>
                <a:cxn ang="0">
                  <a:pos x="connsiteX6534" y="connsiteY6534"/>
                </a:cxn>
                <a:cxn ang="0">
                  <a:pos x="connsiteX6535" y="connsiteY6535"/>
                </a:cxn>
                <a:cxn ang="0">
                  <a:pos x="connsiteX6536" y="connsiteY6536"/>
                </a:cxn>
                <a:cxn ang="0">
                  <a:pos x="connsiteX6537" y="connsiteY6537"/>
                </a:cxn>
                <a:cxn ang="0">
                  <a:pos x="connsiteX6538" y="connsiteY6538"/>
                </a:cxn>
                <a:cxn ang="0">
                  <a:pos x="connsiteX6539" y="connsiteY6539"/>
                </a:cxn>
                <a:cxn ang="0">
                  <a:pos x="connsiteX6540" y="connsiteY6540"/>
                </a:cxn>
                <a:cxn ang="0">
                  <a:pos x="connsiteX6541" y="connsiteY6541"/>
                </a:cxn>
                <a:cxn ang="0">
                  <a:pos x="connsiteX6542" y="connsiteY6542"/>
                </a:cxn>
                <a:cxn ang="0">
                  <a:pos x="connsiteX6543" y="connsiteY6543"/>
                </a:cxn>
                <a:cxn ang="0">
                  <a:pos x="connsiteX6544" y="connsiteY6544"/>
                </a:cxn>
                <a:cxn ang="0">
                  <a:pos x="connsiteX6545" y="connsiteY6545"/>
                </a:cxn>
                <a:cxn ang="0">
                  <a:pos x="connsiteX6546" y="connsiteY6546"/>
                </a:cxn>
                <a:cxn ang="0">
                  <a:pos x="connsiteX6547" y="connsiteY6547"/>
                </a:cxn>
                <a:cxn ang="0">
                  <a:pos x="connsiteX6548" y="connsiteY6548"/>
                </a:cxn>
                <a:cxn ang="0">
                  <a:pos x="connsiteX6549" y="connsiteY6549"/>
                </a:cxn>
                <a:cxn ang="0">
                  <a:pos x="connsiteX6550" y="connsiteY6550"/>
                </a:cxn>
                <a:cxn ang="0">
                  <a:pos x="connsiteX6551" y="connsiteY6551"/>
                </a:cxn>
                <a:cxn ang="0">
                  <a:pos x="connsiteX6552" y="connsiteY6552"/>
                </a:cxn>
                <a:cxn ang="0">
                  <a:pos x="connsiteX6553" y="connsiteY6553"/>
                </a:cxn>
                <a:cxn ang="0">
                  <a:pos x="connsiteX6554" y="connsiteY6554"/>
                </a:cxn>
                <a:cxn ang="0">
                  <a:pos x="connsiteX6555" y="connsiteY6555"/>
                </a:cxn>
                <a:cxn ang="0">
                  <a:pos x="connsiteX6556" y="connsiteY6556"/>
                </a:cxn>
                <a:cxn ang="0">
                  <a:pos x="connsiteX6557" y="connsiteY6557"/>
                </a:cxn>
                <a:cxn ang="0">
                  <a:pos x="connsiteX6558" y="connsiteY6558"/>
                </a:cxn>
                <a:cxn ang="0">
                  <a:pos x="connsiteX6559" y="connsiteY6559"/>
                </a:cxn>
                <a:cxn ang="0">
                  <a:pos x="connsiteX6560" y="connsiteY6560"/>
                </a:cxn>
                <a:cxn ang="0">
                  <a:pos x="connsiteX6561" y="connsiteY6561"/>
                </a:cxn>
                <a:cxn ang="0">
                  <a:pos x="connsiteX6562" y="connsiteY6562"/>
                </a:cxn>
                <a:cxn ang="0">
                  <a:pos x="connsiteX6563" y="connsiteY6563"/>
                </a:cxn>
                <a:cxn ang="0">
                  <a:pos x="connsiteX6564" y="connsiteY6564"/>
                </a:cxn>
                <a:cxn ang="0">
                  <a:pos x="connsiteX6565" y="connsiteY6565"/>
                </a:cxn>
                <a:cxn ang="0">
                  <a:pos x="connsiteX6566" y="connsiteY6566"/>
                </a:cxn>
                <a:cxn ang="0">
                  <a:pos x="connsiteX6567" y="connsiteY6567"/>
                </a:cxn>
                <a:cxn ang="0">
                  <a:pos x="connsiteX6568" y="connsiteY6568"/>
                </a:cxn>
                <a:cxn ang="0">
                  <a:pos x="connsiteX6569" y="connsiteY6569"/>
                </a:cxn>
                <a:cxn ang="0">
                  <a:pos x="connsiteX6570" y="connsiteY6570"/>
                </a:cxn>
                <a:cxn ang="0">
                  <a:pos x="connsiteX6571" y="connsiteY6571"/>
                </a:cxn>
                <a:cxn ang="0">
                  <a:pos x="connsiteX6572" y="connsiteY6572"/>
                </a:cxn>
                <a:cxn ang="0">
                  <a:pos x="connsiteX6573" y="connsiteY6573"/>
                </a:cxn>
                <a:cxn ang="0">
                  <a:pos x="connsiteX6574" y="connsiteY6574"/>
                </a:cxn>
                <a:cxn ang="0">
                  <a:pos x="connsiteX6575" y="connsiteY6575"/>
                </a:cxn>
                <a:cxn ang="0">
                  <a:pos x="connsiteX6576" y="connsiteY6576"/>
                </a:cxn>
                <a:cxn ang="0">
                  <a:pos x="connsiteX6577" y="connsiteY6577"/>
                </a:cxn>
                <a:cxn ang="0">
                  <a:pos x="connsiteX6578" y="connsiteY6578"/>
                </a:cxn>
                <a:cxn ang="0">
                  <a:pos x="connsiteX6579" y="connsiteY6579"/>
                </a:cxn>
                <a:cxn ang="0">
                  <a:pos x="connsiteX6580" y="connsiteY6580"/>
                </a:cxn>
                <a:cxn ang="0">
                  <a:pos x="connsiteX6581" y="connsiteY6581"/>
                </a:cxn>
                <a:cxn ang="0">
                  <a:pos x="connsiteX6582" y="connsiteY6582"/>
                </a:cxn>
                <a:cxn ang="0">
                  <a:pos x="connsiteX6583" y="connsiteY6583"/>
                </a:cxn>
                <a:cxn ang="0">
                  <a:pos x="connsiteX6584" y="connsiteY6584"/>
                </a:cxn>
                <a:cxn ang="0">
                  <a:pos x="connsiteX6585" y="connsiteY6585"/>
                </a:cxn>
                <a:cxn ang="0">
                  <a:pos x="connsiteX6586" y="connsiteY6586"/>
                </a:cxn>
                <a:cxn ang="0">
                  <a:pos x="connsiteX6587" y="connsiteY6587"/>
                </a:cxn>
                <a:cxn ang="0">
                  <a:pos x="connsiteX6588" y="connsiteY6588"/>
                </a:cxn>
                <a:cxn ang="0">
                  <a:pos x="connsiteX6589" y="connsiteY6589"/>
                </a:cxn>
                <a:cxn ang="0">
                  <a:pos x="connsiteX6590" y="connsiteY6590"/>
                </a:cxn>
                <a:cxn ang="0">
                  <a:pos x="connsiteX6591" y="connsiteY6591"/>
                </a:cxn>
                <a:cxn ang="0">
                  <a:pos x="connsiteX6592" y="connsiteY6592"/>
                </a:cxn>
                <a:cxn ang="0">
                  <a:pos x="connsiteX6593" y="connsiteY6593"/>
                </a:cxn>
                <a:cxn ang="0">
                  <a:pos x="connsiteX6594" y="connsiteY6594"/>
                </a:cxn>
                <a:cxn ang="0">
                  <a:pos x="connsiteX6595" y="connsiteY6595"/>
                </a:cxn>
                <a:cxn ang="0">
                  <a:pos x="connsiteX6596" y="connsiteY6596"/>
                </a:cxn>
                <a:cxn ang="0">
                  <a:pos x="connsiteX6597" y="connsiteY6597"/>
                </a:cxn>
                <a:cxn ang="0">
                  <a:pos x="connsiteX6598" y="connsiteY6598"/>
                </a:cxn>
                <a:cxn ang="0">
                  <a:pos x="connsiteX6599" y="connsiteY6599"/>
                </a:cxn>
                <a:cxn ang="0">
                  <a:pos x="connsiteX6600" y="connsiteY6600"/>
                </a:cxn>
                <a:cxn ang="0">
                  <a:pos x="connsiteX6601" y="connsiteY6601"/>
                </a:cxn>
                <a:cxn ang="0">
                  <a:pos x="connsiteX6602" y="connsiteY6602"/>
                </a:cxn>
                <a:cxn ang="0">
                  <a:pos x="connsiteX6603" y="connsiteY6603"/>
                </a:cxn>
                <a:cxn ang="0">
                  <a:pos x="connsiteX6604" y="connsiteY6604"/>
                </a:cxn>
                <a:cxn ang="0">
                  <a:pos x="connsiteX6605" y="connsiteY6605"/>
                </a:cxn>
                <a:cxn ang="0">
                  <a:pos x="connsiteX6606" y="connsiteY6606"/>
                </a:cxn>
                <a:cxn ang="0">
                  <a:pos x="connsiteX6607" y="connsiteY6607"/>
                </a:cxn>
                <a:cxn ang="0">
                  <a:pos x="connsiteX6608" y="connsiteY6608"/>
                </a:cxn>
                <a:cxn ang="0">
                  <a:pos x="connsiteX6609" y="connsiteY6609"/>
                </a:cxn>
                <a:cxn ang="0">
                  <a:pos x="connsiteX6610" y="connsiteY6610"/>
                </a:cxn>
                <a:cxn ang="0">
                  <a:pos x="connsiteX6611" y="connsiteY6611"/>
                </a:cxn>
                <a:cxn ang="0">
                  <a:pos x="connsiteX6612" y="connsiteY6612"/>
                </a:cxn>
                <a:cxn ang="0">
                  <a:pos x="connsiteX6613" y="connsiteY6613"/>
                </a:cxn>
                <a:cxn ang="0">
                  <a:pos x="connsiteX6614" y="connsiteY6614"/>
                </a:cxn>
                <a:cxn ang="0">
                  <a:pos x="connsiteX6615" y="connsiteY6615"/>
                </a:cxn>
                <a:cxn ang="0">
                  <a:pos x="connsiteX6616" y="connsiteY6616"/>
                </a:cxn>
                <a:cxn ang="0">
                  <a:pos x="connsiteX6617" y="connsiteY6617"/>
                </a:cxn>
                <a:cxn ang="0">
                  <a:pos x="connsiteX6618" y="connsiteY6618"/>
                </a:cxn>
                <a:cxn ang="0">
                  <a:pos x="connsiteX6619" y="connsiteY6619"/>
                </a:cxn>
                <a:cxn ang="0">
                  <a:pos x="connsiteX6620" y="connsiteY6620"/>
                </a:cxn>
                <a:cxn ang="0">
                  <a:pos x="connsiteX6621" y="connsiteY6621"/>
                </a:cxn>
                <a:cxn ang="0">
                  <a:pos x="connsiteX6622" y="connsiteY6622"/>
                </a:cxn>
                <a:cxn ang="0">
                  <a:pos x="connsiteX6623" y="connsiteY6623"/>
                </a:cxn>
                <a:cxn ang="0">
                  <a:pos x="connsiteX6624" y="connsiteY6624"/>
                </a:cxn>
                <a:cxn ang="0">
                  <a:pos x="connsiteX6625" y="connsiteY6625"/>
                </a:cxn>
                <a:cxn ang="0">
                  <a:pos x="connsiteX6626" y="connsiteY6626"/>
                </a:cxn>
                <a:cxn ang="0">
                  <a:pos x="connsiteX6627" y="connsiteY6627"/>
                </a:cxn>
                <a:cxn ang="0">
                  <a:pos x="connsiteX6628" y="connsiteY6628"/>
                </a:cxn>
                <a:cxn ang="0">
                  <a:pos x="connsiteX6629" y="connsiteY6629"/>
                </a:cxn>
                <a:cxn ang="0">
                  <a:pos x="connsiteX6630" y="connsiteY6630"/>
                </a:cxn>
                <a:cxn ang="0">
                  <a:pos x="connsiteX6631" y="connsiteY6631"/>
                </a:cxn>
                <a:cxn ang="0">
                  <a:pos x="connsiteX6632" y="connsiteY6632"/>
                </a:cxn>
                <a:cxn ang="0">
                  <a:pos x="connsiteX6633" y="connsiteY6633"/>
                </a:cxn>
                <a:cxn ang="0">
                  <a:pos x="connsiteX6634" y="connsiteY6634"/>
                </a:cxn>
                <a:cxn ang="0">
                  <a:pos x="connsiteX6635" y="connsiteY6635"/>
                </a:cxn>
                <a:cxn ang="0">
                  <a:pos x="connsiteX6636" y="connsiteY6636"/>
                </a:cxn>
                <a:cxn ang="0">
                  <a:pos x="connsiteX6637" y="connsiteY6637"/>
                </a:cxn>
                <a:cxn ang="0">
                  <a:pos x="connsiteX6638" y="connsiteY6638"/>
                </a:cxn>
                <a:cxn ang="0">
                  <a:pos x="connsiteX6639" y="connsiteY6639"/>
                </a:cxn>
                <a:cxn ang="0">
                  <a:pos x="connsiteX6640" y="connsiteY6640"/>
                </a:cxn>
                <a:cxn ang="0">
                  <a:pos x="connsiteX6641" y="connsiteY6641"/>
                </a:cxn>
                <a:cxn ang="0">
                  <a:pos x="connsiteX6642" y="connsiteY6642"/>
                </a:cxn>
                <a:cxn ang="0">
                  <a:pos x="connsiteX6643" y="connsiteY6643"/>
                </a:cxn>
                <a:cxn ang="0">
                  <a:pos x="connsiteX6644" y="connsiteY6644"/>
                </a:cxn>
                <a:cxn ang="0">
                  <a:pos x="connsiteX6645" y="connsiteY6645"/>
                </a:cxn>
                <a:cxn ang="0">
                  <a:pos x="connsiteX6646" y="connsiteY6646"/>
                </a:cxn>
                <a:cxn ang="0">
                  <a:pos x="connsiteX6647" y="connsiteY6647"/>
                </a:cxn>
                <a:cxn ang="0">
                  <a:pos x="connsiteX6648" y="connsiteY6648"/>
                </a:cxn>
                <a:cxn ang="0">
                  <a:pos x="connsiteX6649" y="connsiteY6649"/>
                </a:cxn>
                <a:cxn ang="0">
                  <a:pos x="connsiteX6650" y="connsiteY6650"/>
                </a:cxn>
                <a:cxn ang="0">
                  <a:pos x="connsiteX6651" y="connsiteY6651"/>
                </a:cxn>
                <a:cxn ang="0">
                  <a:pos x="connsiteX6652" y="connsiteY6652"/>
                </a:cxn>
                <a:cxn ang="0">
                  <a:pos x="connsiteX6653" y="connsiteY6653"/>
                </a:cxn>
                <a:cxn ang="0">
                  <a:pos x="connsiteX6654" y="connsiteY6654"/>
                </a:cxn>
                <a:cxn ang="0">
                  <a:pos x="connsiteX6655" y="connsiteY6655"/>
                </a:cxn>
                <a:cxn ang="0">
                  <a:pos x="connsiteX6656" y="connsiteY6656"/>
                </a:cxn>
                <a:cxn ang="0">
                  <a:pos x="connsiteX6657" y="connsiteY6657"/>
                </a:cxn>
                <a:cxn ang="0">
                  <a:pos x="connsiteX6658" y="connsiteY6658"/>
                </a:cxn>
                <a:cxn ang="0">
                  <a:pos x="connsiteX6659" y="connsiteY6659"/>
                </a:cxn>
                <a:cxn ang="0">
                  <a:pos x="connsiteX6660" y="connsiteY6660"/>
                </a:cxn>
                <a:cxn ang="0">
                  <a:pos x="connsiteX6661" y="connsiteY6661"/>
                </a:cxn>
                <a:cxn ang="0">
                  <a:pos x="connsiteX6662" y="connsiteY6662"/>
                </a:cxn>
                <a:cxn ang="0">
                  <a:pos x="connsiteX6663" y="connsiteY6663"/>
                </a:cxn>
                <a:cxn ang="0">
                  <a:pos x="connsiteX6664" y="connsiteY6664"/>
                </a:cxn>
                <a:cxn ang="0">
                  <a:pos x="connsiteX6665" y="connsiteY6665"/>
                </a:cxn>
                <a:cxn ang="0">
                  <a:pos x="connsiteX6666" y="connsiteY6666"/>
                </a:cxn>
                <a:cxn ang="0">
                  <a:pos x="connsiteX6667" y="connsiteY6667"/>
                </a:cxn>
                <a:cxn ang="0">
                  <a:pos x="connsiteX6668" y="connsiteY6668"/>
                </a:cxn>
                <a:cxn ang="0">
                  <a:pos x="connsiteX6669" y="connsiteY6669"/>
                </a:cxn>
                <a:cxn ang="0">
                  <a:pos x="connsiteX6670" y="connsiteY6670"/>
                </a:cxn>
                <a:cxn ang="0">
                  <a:pos x="connsiteX6671" y="connsiteY6671"/>
                </a:cxn>
                <a:cxn ang="0">
                  <a:pos x="connsiteX6672" y="connsiteY6672"/>
                </a:cxn>
                <a:cxn ang="0">
                  <a:pos x="connsiteX6673" y="connsiteY6673"/>
                </a:cxn>
                <a:cxn ang="0">
                  <a:pos x="connsiteX6674" y="connsiteY6674"/>
                </a:cxn>
                <a:cxn ang="0">
                  <a:pos x="connsiteX6675" y="connsiteY6675"/>
                </a:cxn>
                <a:cxn ang="0">
                  <a:pos x="connsiteX6676" y="connsiteY6676"/>
                </a:cxn>
                <a:cxn ang="0">
                  <a:pos x="connsiteX6677" y="connsiteY6677"/>
                </a:cxn>
                <a:cxn ang="0">
                  <a:pos x="connsiteX6678" y="connsiteY6678"/>
                </a:cxn>
                <a:cxn ang="0">
                  <a:pos x="connsiteX6679" y="connsiteY6679"/>
                </a:cxn>
                <a:cxn ang="0">
                  <a:pos x="connsiteX6680" y="connsiteY6680"/>
                </a:cxn>
                <a:cxn ang="0">
                  <a:pos x="connsiteX6681" y="connsiteY6681"/>
                </a:cxn>
                <a:cxn ang="0">
                  <a:pos x="connsiteX6682" y="connsiteY6682"/>
                </a:cxn>
                <a:cxn ang="0">
                  <a:pos x="connsiteX6683" y="connsiteY6683"/>
                </a:cxn>
                <a:cxn ang="0">
                  <a:pos x="connsiteX6684" y="connsiteY6684"/>
                </a:cxn>
                <a:cxn ang="0">
                  <a:pos x="connsiteX6685" y="connsiteY6685"/>
                </a:cxn>
                <a:cxn ang="0">
                  <a:pos x="connsiteX6686" y="connsiteY6686"/>
                </a:cxn>
                <a:cxn ang="0">
                  <a:pos x="connsiteX6687" y="connsiteY6687"/>
                </a:cxn>
                <a:cxn ang="0">
                  <a:pos x="connsiteX6688" y="connsiteY6688"/>
                </a:cxn>
                <a:cxn ang="0">
                  <a:pos x="connsiteX6689" y="connsiteY6689"/>
                </a:cxn>
                <a:cxn ang="0">
                  <a:pos x="connsiteX6690" y="connsiteY6690"/>
                </a:cxn>
                <a:cxn ang="0">
                  <a:pos x="connsiteX6691" y="connsiteY6691"/>
                </a:cxn>
                <a:cxn ang="0">
                  <a:pos x="connsiteX6692" y="connsiteY6692"/>
                </a:cxn>
                <a:cxn ang="0">
                  <a:pos x="connsiteX6693" y="connsiteY6693"/>
                </a:cxn>
                <a:cxn ang="0">
                  <a:pos x="connsiteX6694" y="connsiteY6694"/>
                </a:cxn>
                <a:cxn ang="0">
                  <a:pos x="connsiteX6695" y="connsiteY6695"/>
                </a:cxn>
                <a:cxn ang="0">
                  <a:pos x="connsiteX6696" y="connsiteY6696"/>
                </a:cxn>
                <a:cxn ang="0">
                  <a:pos x="connsiteX6697" y="connsiteY6697"/>
                </a:cxn>
                <a:cxn ang="0">
                  <a:pos x="connsiteX6698" y="connsiteY6698"/>
                </a:cxn>
                <a:cxn ang="0">
                  <a:pos x="connsiteX6699" y="connsiteY6699"/>
                </a:cxn>
                <a:cxn ang="0">
                  <a:pos x="connsiteX6700" y="connsiteY6700"/>
                </a:cxn>
                <a:cxn ang="0">
                  <a:pos x="connsiteX6701" y="connsiteY6701"/>
                </a:cxn>
                <a:cxn ang="0">
                  <a:pos x="connsiteX6702" y="connsiteY6702"/>
                </a:cxn>
                <a:cxn ang="0">
                  <a:pos x="connsiteX6703" y="connsiteY6703"/>
                </a:cxn>
                <a:cxn ang="0">
                  <a:pos x="connsiteX6704" y="connsiteY6704"/>
                </a:cxn>
                <a:cxn ang="0">
                  <a:pos x="connsiteX6705" y="connsiteY6705"/>
                </a:cxn>
                <a:cxn ang="0">
                  <a:pos x="connsiteX6706" y="connsiteY6706"/>
                </a:cxn>
                <a:cxn ang="0">
                  <a:pos x="connsiteX6707" y="connsiteY6707"/>
                </a:cxn>
                <a:cxn ang="0">
                  <a:pos x="connsiteX6708" y="connsiteY6708"/>
                </a:cxn>
                <a:cxn ang="0">
                  <a:pos x="connsiteX6709" y="connsiteY6709"/>
                </a:cxn>
                <a:cxn ang="0">
                  <a:pos x="connsiteX6710" y="connsiteY6710"/>
                </a:cxn>
                <a:cxn ang="0">
                  <a:pos x="connsiteX6711" y="connsiteY6711"/>
                </a:cxn>
                <a:cxn ang="0">
                  <a:pos x="connsiteX6712" y="connsiteY6712"/>
                </a:cxn>
                <a:cxn ang="0">
                  <a:pos x="connsiteX6713" y="connsiteY6713"/>
                </a:cxn>
                <a:cxn ang="0">
                  <a:pos x="connsiteX6714" y="connsiteY6714"/>
                </a:cxn>
                <a:cxn ang="0">
                  <a:pos x="connsiteX6715" y="connsiteY6715"/>
                </a:cxn>
                <a:cxn ang="0">
                  <a:pos x="connsiteX6716" y="connsiteY6716"/>
                </a:cxn>
                <a:cxn ang="0">
                  <a:pos x="connsiteX6717" y="connsiteY6717"/>
                </a:cxn>
                <a:cxn ang="0">
                  <a:pos x="connsiteX6718" y="connsiteY6718"/>
                </a:cxn>
                <a:cxn ang="0">
                  <a:pos x="connsiteX6719" y="connsiteY6719"/>
                </a:cxn>
                <a:cxn ang="0">
                  <a:pos x="connsiteX6720" y="connsiteY6720"/>
                </a:cxn>
                <a:cxn ang="0">
                  <a:pos x="connsiteX6721" y="connsiteY6721"/>
                </a:cxn>
                <a:cxn ang="0">
                  <a:pos x="connsiteX6722" y="connsiteY6722"/>
                </a:cxn>
                <a:cxn ang="0">
                  <a:pos x="connsiteX6723" y="connsiteY6723"/>
                </a:cxn>
                <a:cxn ang="0">
                  <a:pos x="connsiteX6724" y="connsiteY6724"/>
                </a:cxn>
                <a:cxn ang="0">
                  <a:pos x="connsiteX6725" y="connsiteY6725"/>
                </a:cxn>
                <a:cxn ang="0">
                  <a:pos x="connsiteX6726" y="connsiteY6726"/>
                </a:cxn>
                <a:cxn ang="0">
                  <a:pos x="connsiteX6727" y="connsiteY6727"/>
                </a:cxn>
                <a:cxn ang="0">
                  <a:pos x="connsiteX6728" y="connsiteY6728"/>
                </a:cxn>
                <a:cxn ang="0">
                  <a:pos x="connsiteX6729" y="connsiteY6729"/>
                </a:cxn>
                <a:cxn ang="0">
                  <a:pos x="connsiteX6730" y="connsiteY6730"/>
                </a:cxn>
                <a:cxn ang="0">
                  <a:pos x="connsiteX6731" y="connsiteY6731"/>
                </a:cxn>
                <a:cxn ang="0">
                  <a:pos x="connsiteX6732" y="connsiteY6732"/>
                </a:cxn>
                <a:cxn ang="0">
                  <a:pos x="connsiteX6733" y="connsiteY6733"/>
                </a:cxn>
                <a:cxn ang="0">
                  <a:pos x="connsiteX6734" y="connsiteY6734"/>
                </a:cxn>
                <a:cxn ang="0">
                  <a:pos x="connsiteX6735" y="connsiteY6735"/>
                </a:cxn>
                <a:cxn ang="0">
                  <a:pos x="connsiteX6736" y="connsiteY6736"/>
                </a:cxn>
                <a:cxn ang="0">
                  <a:pos x="connsiteX6737" y="connsiteY6737"/>
                </a:cxn>
                <a:cxn ang="0">
                  <a:pos x="connsiteX6738" y="connsiteY6738"/>
                </a:cxn>
                <a:cxn ang="0">
                  <a:pos x="connsiteX6739" y="connsiteY6739"/>
                </a:cxn>
                <a:cxn ang="0">
                  <a:pos x="connsiteX6740" y="connsiteY6740"/>
                </a:cxn>
                <a:cxn ang="0">
                  <a:pos x="connsiteX6741" y="connsiteY6741"/>
                </a:cxn>
                <a:cxn ang="0">
                  <a:pos x="connsiteX6742" y="connsiteY6742"/>
                </a:cxn>
                <a:cxn ang="0">
                  <a:pos x="connsiteX6743" y="connsiteY6743"/>
                </a:cxn>
                <a:cxn ang="0">
                  <a:pos x="connsiteX6744" y="connsiteY6744"/>
                </a:cxn>
                <a:cxn ang="0">
                  <a:pos x="connsiteX6745" y="connsiteY6745"/>
                </a:cxn>
                <a:cxn ang="0">
                  <a:pos x="connsiteX6746" y="connsiteY6746"/>
                </a:cxn>
                <a:cxn ang="0">
                  <a:pos x="connsiteX6747" y="connsiteY6747"/>
                </a:cxn>
                <a:cxn ang="0">
                  <a:pos x="connsiteX6748" y="connsiteY6748"/>
                </a:cxn>
                <a:cxn ang="0">
                  <a:pos x="connsiteX6749" y="connsiteY6749"/>
                </a:cxn>
                <a:cxn ang="0">
                  <a:pos x="connsiteX6750" y="connsiteY6750"/>
                </a:cxn>
                <a:cxn ang="0">
                  <a:pos x="connsiteX6751" y="connsiteY6751"/>
                </a:cxn>
                <a:cxn ang="0">
                  <a:pos x="connsiteX6752" y="connsiteY6752"/>
                </a:cxn>
                <a:cxn ang="0">
                  <a:pos x="connsiteX6753" y="connsiteY6753"/>
                </a:cxn>
                <a:cxn ang="0">
                  <a:pos x="connsiteX6754" y="connsiteY6754"/>
                </a:cxn>
                <a:cxn ang="0">
                  <a:pos x="connsiteX6755" y="connsiteY6755"/>
                </a:cxn>
                <a:cxn ang="0">
                  <a:pos x="connsiteX6756" y="connsiteY6756"/>
                </a:cxn>
                <a:cxn ang="0">
                  <a:pos x="connsiteX6757" y="connsiteY6757"/>
                </a:cxn>
                <a:cxn ang="0">
                  <a:pos x="connsiteX6758" y="connsiteY6758"/>
                </a:cxn>
                <a:cxn ang="0">
                  <a:pos x="connsiteX6759" y="connsiteY6759"/>
                </a:cxn>
                <a:cxn ang="0">
                  <a:pos x="connsiteX6760" y="connsiteY6760"/>
                </a:cxn>
                <a:cxn ang="0">
                  <a:pos x="connsiteX6761" y="connsiteY6761"/>
                </a:cxn>
                <a:cxn ang="0">
                  <a:pos x="connsiteX6762" y="connsiteY6762"/>
                </a:cxn>
                <a:cxn ang="0">
                  <a:pos x="connsiteX6763" y="connsiteY6763"/>
                </a:cxn>
                <a:cxn ang="0">
                  <a:pos x="connsiteX6764" y="connsiteY6764"/>
                </a:cxn>
                <a:cxn ang="0">
                  <a:pos x="connsiteX6765" y="connsiteY6765"/>
                </a:cxn>
                <a:cxn ang="0">
                  <a:pos x="connsiteX6766" y="connsiteY6766"/>
                </a:cxn>
                <a:cxn ang="0">
                  <a:pos x="connsiteX6767" y="connsiteY6767"/>
                </a:cxn>
                <a:cxn ang="0">
                  <a:pos x="connsiteX6768" y="connsiteY6768"/>
                </a:cxn>
                <a:cxn ang="0">
                  <a:pos x="connsiteX6769" y="connsiteY6769"/>
                </a:cxn>
                <a:cxn ang="0">
                  <a:pos x="connsiteX6770" y="connsiteY6770"/>
                </a:cxn>
                <a:cxn ang="0">
                  <a:pos x="connsiteX6771" y="connsiteY6771"/>
                </a:cxn>
                <a:cxn ang="0">
                  <a:pos x="connsiteX6772" y="connsiteY6772"/>
                </a:cxn>
                <a:cxn ang="0">
                  <a:pos x="connsiteX6773" y="connsiteY6773"/>
                </a:cxn>
                <a:cxn ang="0">
                  <a:pos x="connsiteX6774" y="connsiteY6774"/>
                </a:cxn>
                <a:cxn ang="0">
                  <a:pos x="connsiteX6775" y="connsiteY6775"/>
                </a:cxn>
                <a:cxn ang="0">
                  <a:pos x="connsiteX6776" y="connsiteY6776"/>
                </a:cxn>
                <a:cxn ang="0">
                  <a:pos x="connsiteX6777" y="connsiteY6777"/>
                </a:cxn>
                <a:cxn ang="0">
                  <a:pos x="connsiteX6778" y="connsiteY6778"/>
                </a:cxn>
                <a:cxn ang="0">
                  <a:pos x="connsiteX6779" y="connsiteY6779"/>
                </a:cxn>
                <a:cxn ang="0">
                  <a:pos x="connsiteX6780" y="connsiteY6780"/>
                </a:cxn>
                <a:cxn ang="0">
                  <a:pos x="connsiteX6781" y="connsiteY6781"/>
                </a:cxn>
                <a:cxn ang="0">
                  <a:pos x="connsiteX6782" y="connsiteY6782"/>
                </a:cxn>
                <a:cxn ang="0">
                  <a:pos x="connsiteX6783" y="connsiteY6783"/>
                </a:cxn>
                <a:cxn ang="0">
                  <a:pos x="connsiteX6784" y="connsiteY6784"/>
                </a:cxn>
                <a:cxn ang="0">
                  <a:pos x="connsiteX6785" y="connsiteY6785"/>
                </a:cxn>
                <a:cxn ang="0">
                  <a:pos x="connsiteX6786" y="connsiteY6786"/>
                </a:cxn>
                <a:cxn ang="0">
                  <a:pos x="connsiteX6787" y="connsiteY6787"/>
                </a:cxn>
                <a:cxn ang="0">
                  <a:pos x="connsiteX6788" y="connsiteY6788"/>
                </a:cxn>
                <a:cxn ang="0">
                  <a:pos x="connsiteX6789" y="connsiteY6789"/>
                </a:cxn>
                <a:cxn ang="0">
                  <a:pos x="connsiteX6790" y="connsiteY6790"/>
                </a:cxn>
                <a:cxn ang="0">
                  <a:pos x="connsiteX6791" y="connsiteY6791"/>
                </a:cxn>
                <a:cxn ang="0">
                  <a:pos x="connsiteX6792" y="connsiteY6792"/>
                </a:cxn>
                <a:cxn ang="0">
                  <a:pos x="connsiteX6793" y="connsiteY6793"/>
                </a:cxn>
                <a:cxn ang="0">
                  <a:pos x="connsiteX6794" y="connsiteY6794"/>
                </a:cxn>
                <a:cxn ang="0">
                  <a:pos x="connsiteX6795" y="connsiteY6795"/>
                </a:cxn>
                <a:cxn ang="0">
                  <a:pos x="connsiteX6796" y="connsiteY6796"/>
                </a:cxn>
                <a:cxn ang="0">
                  <a:pos x="connsiteX6797" y="connsiteY6797"/>
                </a:cxn>
                <a:cxn ang="0">
                  <a:pos x="connsiteX6798" y="connsiteY6798"/>
                </a:cxn>
                <a:cxn ang="0">
                  <a:pos x="connsiteX6799" y="connsiteY6799"/>
                </a:cxn>
                <a:cxn ang="0">
                  <a:pos x="connsiteX6800" y="connsiteY6800"/>
                </a:cxn>
                <a:cxn ang="0">
                  <a:pos x="connsiteX6801" y="connsiteY6801"/>
                </a:cxn>
                <a:cxn ang="0">
                  <a:pos x="connsiteX6802" y="connsiteY6802"/>
                </a:cxn>
                <a:cxn ang="0">
                  <a:pos x="connsiteX6803" y="connsiteY6803"/>
                </a:cxn>
                <a:cxn ang="0">
                  <a:pos x="connsiteX6804" y="connsiteY6804"/>
                </a:cxn>
                <a:cxn ang="0">
                  <a:pos x="connsiteX6805" y="connsiteY6805"/>
                </a:cxn>
                <a:cxn ang="0">
                  <a:pos x="connsiteX6806" y="connsiteY6806"/>
                </a:cxn>
                <a:cxn ang="0">
                  <a:pos x="connsiteX6807" y="connsiteY6807"/>
                </a:cxn>
                <a:cxn ang="0">
                  <a:pos x="connsiteX6808" y="connsiteY6808"/>
                </a:cxn>
                <a:cxn ang="0">
                  <a:pos x="connsiteX6809" y="connsiteY6809"/>
                </a:cxn>
                <a:cxn ang="0">
                  <a:pos x="connsiteX6810" y="connsiteY6810"/>
                </a:cxn>
                <a:cxn ang="0">
                  <a:pos x="connsiteX6811" y="connsiteY6811"/>
                </a:cxn>
                <a:cxn ang="0">
                  <a:pos x="connsiteX6812" y="connsiteY6812"/>
                </a:cxn>
                <a:cxn ang="0">
                  <a:pos x="connsiteX6813" y="connsiteY6813"/>
                </a:cxn>
                <a:cxn ang="0">
                  <a:pos x="connsiteX6814" y="connsiteY6814"/>
                </a:cxn>
                <a:cxn ang="0">
                  <a:pos x="connsiteX6815" y="connsiteY6815"/>
                </a:cxn>
                <a:cxn ang="0">
                  <a:pos x="connsiteX6816" y="connsiteY6816"/>
                </a:cxn>
                <a:cxn ang="0">
                  <a:pos x="connsiteX6817" y="connsiteY6817"/>
                </a:cxn>
                <a:cxn ang="0">
                  <a:pos x="connsiteX6818" y="connsiteY6818"/>
                </a:cxn>
                <a:cxn ang="0">
                  <a:pos x="connsiteX6819" y="connsiteY6819"/>
                </a:cxn>
                <a:cxn ang="0">
                  <a:pos x="connsiteX6820" y="connsiteY6820"/>
                </a:cxn>
                <a:cxn ang="0">
                  <a:pos x="connsiteX6821" y="connsiteY6821"/>
                </a:cxn>
                <a:cxn ang="0">
                  <a:pos x="connsiteX6822" y="connsiteY6822"/>
                </a:cxn>
                <a:cxn ang="0">
                  <a:pos x="connsiteX6823" y="connsiteY6823"/>
                </a:cxn>
                <a:cxn ang="0">
                  <a:pos x="connsiteX6824" y="connsiteY6824"/>
                </a:cxn>
                <a:cxn ang="0">
                  <a:pos x="connsiteX6825" y="connsiteY6825"/>
                </a:cxn>
                <a:cxn ang="0">
                  <a:pos x="connsiteX6826" y="connsiteY6826"/>
                </a:cxn>
                <a:cxn ang="0">
                  <a:pos x="connsiteX6827" y="connsiteY6827"/>
                </a:cxn>
                <a:cxn ang="0">
                  <a:pos x="connsiteX6828" y="connsiteY6828"/>
                </a:cxn>
                <a:cxn ang="0">
                  <a:pos x="connsiteX6829" y="connsiteY6829"/>
                </a:cxn>
                <a:cxn ang="0">
                  <a:pos x="connsiteX6830" y="connsiteY6830"/>
                </a:cxn>
                <a:cxn ang="0">
                  <a:pos x="connsiteX6831" y="connsiteY6831"/>
                </a:cxn>
                <a:cxn ang="0">
                  <a:pos x="connsiteX6832" y="connsiteY6832"/>
                </a:cxn>
                <a:cxn ang="0">
                  <a:pos x="connsiteX6833" y="connsiteY6833"/>
                </a:cxn>
                <a:cxn ang="0">
                  <a:pos x="connsiteX6834" y="connsiteY6834"/>
                </a:cxn>
                <a:cxn ang="0">
                  <a:pos x="connsiteX6835" y="connsiteY6835"/>
                </a:cxn>
                <a:cxn ang="0">
                  <a:pos x="connsiteX6836" y="connsiteY6836"/>
                </a:cxn>
                <a:cxn ang="0">
                  <a:pos x="connsiteX6837" y="connsiteY6837"/>
                </a:cxn>
                <a:cxn ang="0">
                  <a:pos x="connsiteX6838" y="connsiteY6838"/>
                </a:cxn>
                <a:cxn ang="0">
                  <a:pos x="connsiteX6839" y="connsiteY6839"/>
                </a:cxn>
                <a:cxn ang="0">
                  <a:pos x="connsiteX6840" y="connsiteY6840"/>
                </a:cxn>
                <a:cxn ang="0">
                  <a:pos x="connsiteX6841" y="connsiteY6841"/>
                </a:cxn>
                <a:cxn ang="0">
                  <a:pos x="connsiteX6842" y="connsiteY6842"/>
                </a:cxn>
                <a:cxn ang="0">
                  <a:pos x="connsiteX6843" y="connsiteY6843"/>
                </a:cxn>
                <a:cxn ang="0">
                  <a:pos x="connsiteX6844" y="connsiteY6844"/>
                </a:cxn>
                <a:cxn ang="0">
                  <a:pos x="connsiteX6845" y="connsiteY6845"/>
                </a:cxn>
                <a:cxn ang="0">
                  <a:pos x="connsiteX6846" y="connsiteY6846"/>
                </a:cxn>
                <a:cxn ang="0">
                  <a:pos x="connsiteX6847" y="connsiteY6847"/>
                </a:cxn>
                <a:cxn ang="0">
                  <a:pos x="connsiteX6848" y="connsiteY6848"/>
                </a:cxn>
                <a:cxn ang="0">
                  <a:pos x="connsiteX6849" y="connsiteY6849"/>
                </a:cxn>
                <a:cxn ang="0">
                  <a:pos x="connsiteX6850" y="connsiteY6850"/>
                </a:cxn>
                <a:cxn ang="0">
                  <a:pos x="connsiteX6851" y="connsiteY6851"/>
                </a:cxn>
                <a:cxn ang="0">
                  <a:pos x="connsiteX6852" y="connsiteY6852"/>
                </a:cxn>
                <a:cxn ang="0">
                  <a:pos x="connsiteX6853" y="connsiteY6853"/>
                </a:cxn>
                <a:cxn ang="0">
                  <a:pos x="connsiteX6854" y="connsiteY6854"/>
                </a:cxn>
                <a:cxn ang="0">
                  <a:pos x="connsiteX6855" y="connsiteY6855"/>
                </a:cxn>
                <a:cxn ang="0">
                  <a:pos x="connsiteX6856" y="connsiteY6856"/>
                </a:cxn>
                <a:cxn ang="0">
                  <a:pos x="connsiteX6857" y="connsiteY6857"/>
                </a:cxn>
                <a:cxn ang="0">
                  <a:pos x="connsiteX6858" y="connsiteY6858"/>
                </a:cxn>
                <a:cxn ang="0">
                  <a:pos x="connsiteX6859" y="connsiteY6859"/>
                </a:cxn>
                <a:cxn ang="0">
                  <a:pos x="connsiteX6860" y="connsiteY6860"/>
                </a:cxn>
                <a:cxn ang="0">
                  <a:pos x="connsiteX6861" y="connsiteY6861"/>
                </a:cxn>
                <a:cxn ang="0">
                  <a:pos x="connsiteX6862" y="connsiteY6862"/>
                </a:cxn>
                <a:cxn ang="0">
                  <a:pos x="connsiteX6863" y="connsiteY6863"/>
                </a:cxn>
                <a:cxn ang="0">
                  <a:pos x="connsiteX6864" y="connsiteY6864"/>
                </a:cxn>
                <a:cxn ang="0">
                  <a:pos x="connsiteX6865" y="connsiteY6865"/>
                </a:cxn>
                <a:cxn ang="0">
                  <a:pos x="connsiteX6866" y="connsiteY6866"/>
                </a:cxn>
                <a:cxn ang="0">
                  <a:pos x="connsiteX6867" y="connsiteY6867"/>
                </a:cxn>
                <a:cxn ang="0">
                  <a:pos x="connsiteX6868" y="connsiteY6868"/>
                </a:cxn>
                <a:cxn ang="0">
                  <a:pos x="connsiteX6869" y="connsiteY6869"/>
                </a:cxn>
                <a:cxn ang="0">
                  <a:pos x="connsiteX6870" y="connsiteY6870"/>
                </a:cxn>
                <a:cxn ang="0">
                  <a:pos x="connsiteX6871" y="connsiteY6871"/>
                </a:cxn>
                <a:cxn ang="0">
                  <a:pos x="connsiteX6872" y="connsiteY6872"/>
                </a:cxn>
                <a:cxn ang="0">
                  <a:pos x="connsiteX6873" y="connsiteY6873"/>
                </a:cxn>
                <a:cxn ang="0">
                  <a:pos x="connsiteX6874" y="connsiteY6874"/>
                </a:cxn>
                <a:cxn ang="0">
                  <a:pos x="connsiteX6875" y="connsiteY6875"/>
                </a:cxn>
                <a:cxn ang="0">
                  <a:pos x="connsiteX6876" y="connsiteY6876"/>
                </a:cxn>
                <a:cxn ang="0">
                  <a:pos x="connsiteX6877" y="connsiteY6877"/>
                </a:cxn>
                <a:cxn ang="0">
                  <a:pos x="connsiteX6878" y="connsiteY6878"/>
                </a:cxn>
                <a:cxn ang="0">
                  <a:pos x="connsiteX6879" y="connsiteY6879"/>
                </a:cxn>
                <a:cxn ang="0">
                  <a:pos x="connsiteX6880" y="connsiteY6880"/>
                </a:cxn>
                <a:cxn ang="0">
                  <a:pos x="connsiteX6881" y="connsiteY6881"/>
                </a:cxn>
                <a:cxn ang="0">
                  <a:pos x="connsiteX6882" y="connsiteY6882"/>
                </a:cxn>
                <a:cxn ang="0">
                  <a:pos x="connsiteX6883" y="connsiteY6883"/>
                </a:cxn>
                <a:cxn ang="0">
                  <a:pos x="connsiteX6884" y="connsiteY6884"/>
                </a:cxn>
                <a:cxn ang="0">
                  <a:pos x="connsiteX6885" y="connsiteY6885"/>
                </a:cxn>
                <a:cxn ang="0">
                  <a:pos x="connsiteX6886" y="connsiteY6886"/>
                </a:cxn>
                <a:cxn ang="0">
                  <a:pos x="connsiteX6887" y="connsiteY6887"/>
                </a:cxn>
                <a:cxn ang="0">
                  <a:pos x="connsiteX6888" y="connsiteY6888"/>
                </a:cxn>
                <a:cxn ang="0">
                  <a:pos x="connsiteX6889" y="connsiteY6889"/>
                </a:cxn>
                <a:cxn ang="0">
                  <a:pos x="connsiteX6890" y="connsiteY6890"/>
                </a:cxn>
                <a:cxn ang="0">
                  <a:pos x="connsiteX6891" y="connsiteY6891"/>
                </a:cxn>
                <a:cxn ang="0">
                  <a:pos x="connsiteX6892" y="connsiteY6892"/>
                </a:cxn>
                <a:cxn ang="0">
                  <a:pos x="connsiteX6893" y="connsiteY6893"/>
                </a:cxn>
                <a:cxn ang="0">
                  <a:pos x="connsiteX6894" y="connsiteY6894"/>
                </a:cxn>
                <a:cxn ang="0">
                  <a:pos x="connsiteX6895" y="connsiteY6895"/>
                </a:cxn>
                <a:cxn ang="0">
                  <a:pos x="connsiteX6896" y="connsiteY6896"/>
                </a:cxn>
                <a:cxn ang="0">
                  <a:pos x="connsiteX6897" y="connsiteY6897"/>
                </a:cxn>
                <a:cxn ang="0">
                  <a:pos x="connsiteX6898" y="connsiteY6898"/>
                </a:cxn>
                <a:cxn ang="0">
                  <a:pos x="connsiteX6899" y="connsiteY6899"/>
                </a:cxn>
                <a:cxn ang="0">
                  <a:pos x="connsiteX6900" y="connsiteY6900"/>
                </a:cxn>
                <a:cxn ang="0">
                  <a:pos x="connsiteX6901" y="connsiteY6901"/>
                </a:cxn>
                <a:cxn ang="0">
                  <a:pos x="connsiteX6902" y="connsiteY6902"/>
                </a:cxn>
                <a:cxn ang="0">
                  <a:pos x="connsiteX6903" y="connsiteY6903"/>
                </a:cxn>
                <a:cxn ang="0">
                  <a:pos x="connsiteX6904" y="connsiteY6904"/>
                </a:cxn>
                <a:cxn ang="0">
                  <a:pos x="connsiteX6905" y="connsiteY6905"/>
                </a:cxn>
                <a:cxn ang="0">
                  <a:pos x="connsiteX6906" y="connsiteY6906"/>
                </a:cxn>
                <a:cxn ang="0">
                  <a:pos x="connsiteX6907" y="connsiteY6907"/>
                </a:cxn>
                <a:cxn ang="0">
                  <a:pos x="connsiteX6908" y="connsiteY6908"/>
                </a:cxn>
                <a:cxn ang="0">
                  <a:pos x="connsiteX6909" y="connsiteY6909"/>
                </a:cxn>
                <a:cxn ang="0">
                  <a:pos x="connsiteX6910" y="connsiteY6910"/>
                </a:cxn>
                <a:cxn ang="0">
                  <a:pos x="connsiteX6911" y="connsiteY6911"/>
                </a:cxn>
                <a:cxn ang="0">
                  <a:pos x="connsiteX6912" y="connsiteY6912"/>
                </a:cxn>
                <a:cxn ang="0">
                  <a:pos x="connsiteX6913" y="connsiteY6913"/>
                </a:cxn>
                <a:cxn ang="0">
                  <a:pos x="connsiteX6914" y="connsiteY6914"/>
                </a:cxn>
                <a:cxn ang="0">
                  <a:pos x="connsiteX6915" y="connsiteY6915"/>
                </a:cxn>
                <a:cxn ang="0">
                  <a:pos x="connsiteX6916" y="connsiteY6916"/>
                </a:cxn>
                <a:cxn ang="0">
                  <a:pos x="connsiteX6917" y="connsiteY6917"/>
                </a:cxn>
                <a:cxn ang="0">
                  <a:pos x="connsiteX6918" y="connsiteY6918"/>
                </a:cxn>
                <a:cxn ang="0">
                  <a:pos x="connsiteX6919" y="connsiteY6919"/>
                </a:cxn>
                <a:cxn ang="0">
                  <a:pos x="connsiteX6920" y="connsiteY6920"/>
                </a:cxn>
                <a:cxn ang="0">
                  <a:pos x="connsiteX6921" y="connsiteY6921"/>
                </a:cxn>
                <a:cxn ang="0">
                  <a:pos x="connsiteX6922" y="connsiteY6922"/>
                </a:cxn>
                <a:cxn ang="0">
                  <a:pos x="connsiteX6923" y="connsiteY6923"/>
                </a:cxn>
                <a:cxn ang="0">
                  <a:pos x="connsiteX6924" y="connsiteY6924"/>
                </a:cxn>
                <a:cxn ang="0">
                  <a:pos x="connsiteX6925" y="connsiteY6925"/>
                </a:cxn>
                <a:cxn ang="0">
                  <a:pos x="connsiteX6926" y="connsiteY6926"/>
                </a:cxn>
                <a:cxn ang="0">
                  <a:pos x="connsiteX6927" y="connsiteY6927"/>
                </a:cxn>
                <a:cxn ang="0">
                  <a:pos x="connsiteX6928" y="connsiteY6928"/>
                </a:cxn>
                <a:cxn ang="0">
                  <a:pos x="connsiteX6929" y="connsiteY6929"/>
                </a:cxn>
                <a:cxn ang="0">
                  <a:pos x="connsiteX6930" y="connsiteY6930"/>
                </a:cxn>
                <a:cxn ang="0">
                  <a:pos x="connsiteX6931" y="connsiteY6931"/>
                </a:cxn>
                <a:cxn ang="0">
                  <a:pos x="connsiteX6932" y="connsiteY6932"/>
                </a:cxn>
                <a:cxn ang="0">
                  <a:pos x="connsiteX6933" y="connsiteY6933"/>
                </a:cxn>
                <a:cxn ang="0">
                  <a:pos x="connsiteX6934" y="connsiteY6934"/>
                </a:cxn>
                <a:cxn ang="0">
                  <a:pos x="connsiteX6935" y="connsiteY6935"/>
                </a:cxn>
                <a:cxn ang="0">
                  <a:pos x="connsiteX6936" y="connsiteY6936"/>
                </a:cxn>
                <a:cxn ang="0">
                  <a:pos x="connsiteX6937" y="connsiteY6937"/>
                </a:cxn>
                <a:cxn ang="0">
                  <a:pos x="connsiteX6938" y="connsiteY6938"/>
                </a:cxn>
                <a:cxn ang="0">
                  <a:pos x="connsiteX6939" y="connsiteY6939"/>
                </a:cxn>
                <a:cxn ang="0">
                  <a:pos x="connsiteX6940" y="connsiteY6940"/>
                </a:cxn>
                <a:cxn ang="0">
                  <a:pos x="connsiteX6941" y="connsiteY6941"/>
                </a:cxn>
                <a:cxn ang="0">
                  <a:pos x="connsiteX6942" y="connsiteY6942"/>
                </a:cxn>
                <a:cxn ang="0">
                  <a:pos x="connsiteX6943" y="connsiteY6943"/>
                </a:cxn>
                <a:cxn ang="0">
                  <a:pos x="connsiteX6944" y="connsiteY6944"/>
                </a:cxn>
                <a:cxn ang="0">
                  <a:pos x="connsiteX6945" y="connsiteY6945"/>
                </a:cxn>
                <a:cxn ang="0">
                  <a:pos x="connsiteX6946" y="connsiteY6946"/>
                </a:cxn>
                <a:cxn ang="0">
                  <a:pos x="connsiteX6947" y="connsiteY6947"/>
                </a:cxn>
                <a:cxn ang="0">
                  <a:pos x="connsiteX6948" y="connsiteY6948"/>
                </a:cxn>
                <a:cxn ang="0">
                  <a:pos x="connsiteX6949" y="connsiteY6949"/>
                </a:cxn>
                <a:cxn ang="0">
                  <a:pos x="connsiteX6950" y="connsiteY6950"/>
                </a:cxn>
                <a:cxn ang="0">
                  <a:pos x="connsiteX6951" y="connsiteY6951"/>
                </a:cxn>
                <a:cxn ang="0">
                  <a:pos x="connsiteX6952" y="connsiteY6952"/>
                </a:cxn>
                <a:cxn ang="0">
                  <a:pos x="connsiteX6953" y="connsiteY6953"/>
                </a:cxn>
                <a:cxn ang="0">
                  <a:pos x="connsiteX6954" y="connsiteY6954"/>
                </a:cxn>
                <a:cxn ang="0">
                  <a:pos x="connsiteX6955" y="connsiteY6955"/>
                </a:cxn>
                <a:cxn ang="0">
                  <a:pos x="connsiteX6956" y="connsiteY6956"/>
                </a:cxn>
                <a:cxn ang="0">
                  <a:pos x="connsiteX6957" y="connsiteY6957"/>
                </a:cxn>
                <a:cxn ang="0">
                  <a:pos x="connsiteX6958" y="connsiteY6958"/>
                </a:cxn>
                <a:cxn ang="0">
                  <a:pos x="connsiteX6959" y="connsiteY6959"/>
                </a:cxn>
                <a:cxn ang="0">
                  <a:pos x="connsiteX6960" y="connsiteY6960"/>
                </a:cxn>
                <a:cxn ang="0">
                  <a:pos x="connsiteX6961" y="connsiteY6961"/>
                </a:cxn>
                <a:cxn ang="0">
                  <a:pos x="connsiteX6962" y="connsiteY6962"/>
                </a:cxn>
                <a:cxn ang="0">
                  <a:pos x="connsiteX6963" y="connsiteY6963"/>
                </a:cxn>
                <a:cxn ang="0">
                  <a:pos x="connsiteX6964" y="connsiteY6964"/>
                </a:cxn>
                <a:cxn ang="0">
                  <a:pos x="connsiteX6965" y="connsiteY6965"/>
                </a:cxn>
                <a:cxn ang="0">
                  <a:pos x="connsiteX6966" y="connsiteY6966"/>
                </a:cxn>
                <a:cxn ang="0">
                  <a:pos x="connsiteX6967" y="connsiteY6967"/>
                </a:cxn>
                <a:cxn ang="0">
                  <a:pos x="connsiteX6968" y="connsiteY6968"/>
                </a:cxn>
                <a:cxn ang="0">
                  <a:pos x="connsiteX6969" y="connsiteY6969"/>
                </a:cxn>
                <a:cxn ang="0">
                  <a:pos x="connsiteX6970" y="connsiteY6970"/>
                </a:cxn>
                <a:cxn ang="0">
                  <a:pos x="connsiteX6971" y="connsiteY6971"/>
                </a:cxn>
                <a:cxn ang="0">
                  <a:pos x="connsiteX6972" y="connsiteY6972"/>
                </a:cxn>
                <a:cxn ang="0">
                  <a:pos x="connsiteX6973" y="connsiteY6973"/>
                </a:cxn>
                <a:cxn ang="0">
                  <a:pos x="connsiteX6974" y="connsiteY6974"/>
                </a:cxn>
                <a:cxn ang="0">
                  <a:pos x="connsiteX6975" y="connsiteY6975"/>
                </a:cxn>
                <a:cxn ang="0">
                  <a:pos x="connsiteX6976" y="connsiteY6976"/>
                </a:cxn>
                <a:cxn ang="0">
                  <a:pos x="connsiteX6977" y="connsiteY6977"/>
                </a:cxn>
                <a:cxn ang="0">
                  <a:pos x="connsiteX6978" y="connsiteY6978"/>
                </a:cxn>
                <a:cxn ang="0">
                  <a:pos x="connsiteX6979" y="connsiteY6979"/>
                </a:cxn>
                <a:cxn ang="0">
                  <a:pos x="connsiteX6980" y="connsiteY6980"/>
                </a:cxn>
                <a:cxn ang="0">
                  <a:pos x="connsiteX6981" y="connsiteY6981"/>
                </a:cxn>
                <a:cxn ang="0">
                  <a:pos x="connsiteX6982" y="connsiteY6982"/>
                </a:cxn>
                <a:cxn ang="0">
                  <a:pos x="connsiteX6983" y="connsiteY6983"/>
                </a:cxn>
                <a:cxn ang="0">
                  <a:pos x="connsiteX6984" y="connsiteY6984"/>
                </a:cxn>
                <a:cxn ang="0">
                  <a:pos x="connsiteX6985" y="connsiteY6985"/>
                </a:cxn>
                <a:cxn ang="0">
                  <a:pos x="connsiteX6986" y="connsiteY6986"/>
                </a:cxn>
                <a:cxn ang="0">
                  <a:pos x="connsiteX6987" y="connsiteY6987"/>
                </a:cxn>
                <a:cxn ang="0">
                  <a:pos x="connsiteX6988" y="connsiteY6988"/>
                </a:cxn>
                <a:cxn ang="0">
                  <a:pos x="connsiteX6989" y="connsiteY6989"/>
                </a:cxn>
                <a:cxn ang="0">
                  <a:pos x="connsiteX6990" y="connsiteY6990"/>
                </a:cxn>
                <a:cxn ang="0">
                  <a:pos x="connsiteX6991" y="connsiteY6991"/>
                </a:cxn>
                <a:cxn ang="0">
                  <a:pos x="connsiteX6992" y="connsiteY6992"/>
                </a:cxn>
                <a:cxn ang="0">
                  <a:pos x="connsiteX6993" y="connsiteY6993"/>
                </a:cxn>
                <a:cxn ang="0">
                  <a:pos x="connsiteX6994" y="connsiteY6994"/>
                </a:cxn>
                <a:cxn ang="0">
                  <a:pos x="connsiteX6995" y="connsiteY6995"/>
                </a:cxn>
                <a:cxn ang="0">
                  <a:pos x="connsiteX6996" y="connsiteY6996"/>
                </a:cxn>
                <a:cxn ang="0">
                  <a:pos x="connsiteX6997" y="connsiteY6997"/>
                </a:cxn>
                <a:cxn ang="0">
                  <a:pos x="connsiteX6998" y="connsiteY6998"/>
                </a:cxn>
                <a:cxn ang="0">
                  <a:pos x="connsiteX6999" y="connsiteY6999"/>
                </a:cxn>
                <a:cxn ang="0">
                  <a:pos x="connsiteX7000" y="connsiteY7000"/>
                </a:cxn>
                <a:cxn ang="0">
                  <a:pos x="connsiteX7001" y="connsiteY7001"/>
                </a:cxn>
                <a:cxn ang="0">
                  <a:pos x="connsiteX7002" y="connsiteY7002"/>
                </a:cxn>
                <a:cxn ang="0">
                  <a:pos x="connsiteX7003" y="connsiteY7003"/>
                </a:cxn>
                <a:cxn ang="0">
                  <a:pos x="connsiteX7004" y="connsiteY7004"/>
                </a:cxn>
                <a:cxn ang="0">
                  <a:pos x="connsiteX7005" y="connsiteY7005"/>
                </a:cxn>
                <a:cxn ang="0">
                  <a:pos x="connsiteX7006" y="connsiteY7006"/>
                </a:cxn>
                <a:cxn ang="0">
                  <a:pos x="connsiteX7007" y="connsiteY7007"/>
                </a:cxn>
                <a:cxn ang="0">
                  <a:pos x="connsiteX7008" y="connsiteY7008"/>
                </a:cxn>
                <a:cxn ang="0">
                  <a:pos x="connsiteX7009" y="connsiteY7009"/>
                </a:cxn>
                <a:cxn ang="0">
                  <a:pos x="connsiteX7010" y="connsiteY7010"/>
                </a:cxn>
                <a:cxn ang="0">
                  <a:pos x="connsiteX7011" y="connsiteY7011"/>
                </a:cxn>
                <a:cxn ang="0">
                  <a:pos x="connsiteX7012" y="connsiteY7012"/>
                </a:cxn>
                <a:cxn ang="0">
                  <a:pos x="connsiteX7013" y="connsiteY7013"/>
                </a:cxn>
                <a:cxn ang="0">
                  <a:pos x="connsiteX7014" y="connsiteY7014"/>
                </a:cxn>
                <a:cxn ang="0">
                  <a:pos x="connsiteX7015" y="connsiteY7015"/>
                </a:cxn>
                <a:cxn ang="0">
                  <a:pos x="connsiteX7016" y="connsiteY7016"/>
                </a:cxn>
                <a:cxn ang="0">
                  <a:pos x="connsiteX7017" y="connsiteY7017"/>
                </a:cxn>
                <a:cxn ang="0">
                  <a:pos x="connsiteX7018" y="connsiteY7018"/>
                </a:cxn>
                <a:cxn ang="0">
                  <a:pos x="connsiteX7019" y="connsiteY7019"/>
                </a:cxn>
                <a:cxn ang="0">
                  <a:pos x="connsiteX7020" y="connsiteY7020"/>
                </a:cxn>
                <a:cxn ang="0">
                  <a:pos x="connsiteX7021" y="connsiteY7021"/>
                </a:cxn>
                <a:cxn ang="0">
                  <a:pos x="connsiteX7022" y="connsiteY7022"/>
                </a:cxn>
                <a:cxn ang="0">
                  <a:pos x="connsiteX7023" y="connsiteY7023"/>
                </a:cxn>
                <a:cxn ang="0">
                  <a:pos x="connsiteX7024" y="connsiteY7024"/>
                </a:cxn>
                <a:cxn ang="0">
                  <a:pos x="connsiteX7025" y="connsiteY7025"/>
                </a:cxn>
                <a:cxn ang="0">
                  <a:pos x="connsiteX7026" y="connsiteY7026"/>
                </a:cxn>
                <a:cxn ang="0">
                  <a:pos x="connsiteX7027" y="connsiteY7027"/>
                </a:cxn>
                <a:cxn ang="0">
                  <a:pos x="connsiteX7028" y="connsiteY7028"/>
                </a:cxn>
                <a:cxn ang="0">
                  <a:pos x="connsiteX7029" y="connsiteY7029"/>
                </a:cxn>
                <a:cxn ang="0">
                  <a:pos x="connsiteX7030" y="connsiteY7030"/>
                </a:cxn>
                <a:cxn ang="0">
                  <a:pos x="connsiteX7031" y="connsiteY7031"/>
                </a:cxn>
                <a:cxn ang="0">
                  <a:pos x="connsiteX7032" y="connsiteY7032"/>
                </a:cxn>
                <a:cxn ang="0">
                  <a:pos x="connsiteX7033" y="connsiteY7033"/>
                </a:cxn>
                <a:cxn ang="0">
                  <a:pos x="connsiteX7034" y="connsiteY7034"/>
                </a:cxn>
                <a:cxn ang="0">
                  <a:pos x="connsiteX7035" y="connsiteY7035"/>
                </a:cxn>
                <a:cxn ang="0">
                  <a:pos x="connsiteX7036" y="connsiteY7036"/>
                </a:cxn>
                <a:cxn ang="0">
                  <a:pos x="connsiteX7037" y="connsiteY7037"/>
                </a:cxn>
                <a:cxn ang="0">
                  <a:pos x="connsiteX7038" y="connsiteY7038"/>
                </a:cxn>
                <a:cxn ang="0">
                  <a:pos x="connsiteX7039" y="connsiteY7039"/>
                </a:cxn>
                <a:cxn ang="0">
                  <a:pos x="connsiteX7040" y="connsiteY7040"/>
                </a:cxn>
                <a:cxn ang="0">
                  <a:pos x="connsiteX7041" y="connsiteY7041"/>
                </a:cxn>
                <a:cxn ang="0">
                  <a:pos x="connsiteX7042" y="connsiteY7042"/>
                </a:cxn>
                <a:cxn ang="0">
                  <a:pos x="connsiteX7043" y="connsiteY7043"/>
                </a:cxn>
                <a:cxn ang="0">
                  <a:pos x="connsiteX7044" y="connsiteY7044"/>
                </a:cxn>
                <a:cxn ang="0">
                  <a:pos x="connsiteX7045" y="connsiteY7045"/>
                </a:cxn>
                <a:cxn ang="0">
                  <a:pos x="connsiteX7046" y="connsiteY7046"/>
                </a:cxn>
                <a:cxn ang="0">
                  <a:pos x="connsiteX7047" y="connsiteY7047"/>
                </a:cxn>
                <a:cxn ang="0">
                  <a:pos x="connsiteX7048" y="connsiteY7048"/>
                </a:cxn>
                <a:cxn ang="0">
                  <a:pos x="connsiteX7049" y="connsiteY7049"/>
                </a:cxn>
                <a:cxn ang="0">
                  <a:pos x="connsiteX7050" y="connsiteY7050"/>
                </a:cxn>
                <a:cxn ang="0">
                  <a:pos x="connsiteX7051" y="connsiteY7051"/>
                </a:cxn>
                <a:cxn ang="0">
                  <a:pos x="connsiteX7052" y="connsiteY7052"/>
                </a:cxn>
                <a:cxn ang="0">
                  <a:pos x="connsiteX7053" y="connsiteY7053"/>
                </a:cxn>
                <a:cxn ang="0">
                  <a:pos x="connsiteX7054" y="connsiteY7054"/>
                </a:cxn>
                <a:cxn ang="0">
                  <a:pos x="connsiteX7055" y="connsiteY7055"/>
                </a:cxn>
                <a:cxn ang="0">
                  <a:pos x="connsiteX7056" y="connsiteY7056"/>
                </a:cxn>
                <a:cxn ang="0">
                  <a:pos x="connsiteX7057" y="connsiteY7057"/>
                </a:cxn>
                <a:cxn ang="0">
                  <a:pos x="connsiteX7058" y="connsiteY7058"/>
                </a:cxn>
                <a:cxn ang="0">
                  <a:pos x="connsiteX7059" y="connsiteY7059"/>
                </a:cxn>
                <a:cxn ang="0">
                  <a:pos x="connsiteX7060" y="connsiteY7060"/>
                </a:cxn>
                <a:cxn ang="0">
                  <a:pos x="connsiteX7061" y="connsiteY7061"/>
                </a:cxn>
                <a:cxn ang="0">
                  <a:pos x="connsiteX7062" y="connsiteY7062"/>
                </a:cxn>
                <a:cxn ang="0">
                  <a:pos x="connsiteX7063" y="connsiteY7063"/>
                </a:cxn>
                <a:cxn ang="0">
                  <a:pos x="connsiteX7064" y="connsiteY7064"/>
                </a:cxn>
                <a:cxn ang="0">
                  <a:pos x="connsiteX7065" y="connsiteY7065"/>
                </a:cxn>
                <a:cxn ang="0">
                  <a:pos x="connsiteX7066" y="connsiteY7066"/>
                </a:cxn>
                <a:cxn ang="0">
                  <a:pos x="connsiteX7067" y="connsiteY7067"/>
                </a:cxn>
                <a:cxn ang="0">
                  <a:pos x="connsiteX7068" y="connsiteY7068"/>
                </a:cxn>
                <a:cxn ang="0">
                  <a:pos x="connsiteX7069" y="connsiteY7069"/>
                </a:cxn>
                <a:cxn ang="0">
                  <a:pos x="connsiteX7070" y="connsiteY7070"/>
                </a:cxn>
                <a:cxn ang="0">
                  <a:pos x="connsiteX7071" y="connsiteY7071"/>
                </a:cxn>
                <a:cxn ang="0">
                  <a:pos x="connsiteX7072" y="connsiteY7072"/>
                </a:cxn>
                <a:cxn ang="0">
                  <a:pos x="connsiteX7073" y="connsiteY7073"/>
                </a:cxn>
                <a:cxn ang="0">
                  <a:pos x="connsiteX7074" y="connsiteY7074"/>
                </a:cxn>
                <a:cxn ang="0">
                  <a:pos x="connsiteX7075" y="connsiteY7075"/>
                </a:cxn>
                <a:cxn ang="0">
                  <a:pos x="connsiteX7076" y="connsiteY7076"/>
                </a:cxn>
                <a:cxn ang="0">
                  <a:pos x="connsiteX7077" y="connsiteY7077"/>
                </a:cxn>
                <a:cxn ang="0">
                  <a:pos x="connsiteX7078" y="connsiteY7078"/>
                </a:cxn>
                <a:cxn ang="0">
                  <a:pos x="connsiteX7079" y="connsiteY7079"/>
                </a:cxn>
                <a:cxn ang="0">
                  <a:pos x="connsiteX7080" y="connsiteY7080"/>
                </a:cxn>
                <a:cxn ang="0">
                  <a:pos x="connsiteX7081" y="connsiteY7081"/>
                </a:cxn>
                <a:cxn ang="0">
                  <a:pos x="connsiteX7082" y="connsiteY7082"/>
                </a:cxn>
                <a:cxn ang="0">
                  <a:pos x="connsiteX7083" y="connsiteY7083"/>
                </a:cxn>
                <a:cxn ang="0">
                  <a:pos x="connsiteX7084" y="connsiteY7084"/>
                </a:cxn>
                <a:cxn ang="0">
                  <a:pos x="connsiteX7085" y="connsiteY7085"/>
                </a:cxn>
                <a:cxn ang="0">
                  <a:pos x="connsiteX7086" y="connsiteY7086"/>
                </a:cxn>
                <a:cxn ang="0">
                  <a:pos x="connsiteX7087" y="connsiteY7087"/>
                </a:cxn>
                <a:cxn ang="0">
                  <a:pos x="connsiteX7088" y="connsiteY7088"/>
                </a:cxn>
                <a:cxn ang="0">
                  <a:pos x="connsiteX7089" y="connsiteY7089"/>
                </a:cxn>
                <a:cxn ang="0">
                  <a:pos x="connsiteX7090" y="connsiteY7090"/>
                </a:cxn>
                <a:cxn ang="0">
                  <a:pos x="connsiteX7091" y="connsiteY7091"/>
                </a:cxn>
                <a:cxn ang="0">
                  <a:pos x="connsiteX7092" y="connsiteY7092"/>
                </a:cxn>
                <a:cxn ang="0">
                  <a:pos x="connsiteX7093" y="connsiteY7093"/>
                </a:cxn>
                <a:cxn ang="0">
                  <a:pos x="connsiteX7094" y="connsiteY7094"/>
                </a:cxn>
                <a:cxn ang="0">
                  <a:pos x="connsiteX7095" y="connsiteY7095"/>
                </a:cxn>
                <a:cxn ang="0">
                  <a:pos x="connsiteX7096" y="connsiteY7096"/>
                </a:cxn>
                <a:cxn ang="0">
                  <a:pos x="connsiteX7097" y="connsiteY7097"/>
                </a:cxn>
                <a:cxn ang="0">
                  <a:pos x="connsiteX7098" y="connsiteY7098"/>
                </a:cxn>
                <a:cxn ang="0">
                  <a:pos x="connsiteX7099" y="connsiteY7099"/>
                </a:cxn>
                <a:cxn ang="0">
                  <a:pos x="connsiteX7100" y="connsiteY7100"/>
                </a:cxn>
                <a:cxn ang="0">
                  <a:pos x="connsiteX7101" y="connsiteY7101"/>
                </a:cxn>
                <a:cxn ang="0">
                  <a:pos x="connsiteX7102" y="connsiteY7102"/>
                </a:cxn>
                <a:cxn ang="0">
                  <a:pos x="connsiteX7103" y="connsiteY7103"/>
                </a:cxn>
                <a:cxn ang="0">
                  <a:pos x="connsiteX7104" y="connsiteY7104"/>
                </a:cxn>
                <a:cxn ang="0">
                  <a:pos x="connsiteX7105" y="connsiteY7105"/>
                </a:cxn>
                <a:cxn ang="0">
                  <a:pos x="connsiteX7106" y="connsiteY7106"/>
                </a:cxn>
                <a:cxn ang="0">
                  <a:pos x="connsiteX7107" y="connsiteY7107"/>
                </a:cxn>
                <a:cxn ang="0">
                  <a:pos x="connsiteX7108" y="connsiteY7108"/>
                </a:cxn>
                <a:cxn ang="0">
                  <a:pos x="connsiteX7109" y="connsiteY7109"/>
                </a:cxn>
                <a:cxn ang="0">
                  <a:pos x="connsiteX7110" y="connsiteY7110"/>
                </a:cxn>
                <a:cxn ang="0">
                  <a:pos x="connsiteX7111" y="connsiteY7111"/>
                </a:cxn>
                <a:cxn ang="0">
                  <a:pos x="connsiteX7112" y="connsiteY7112"/>
                </a:cxn>
                <a:cxn ang="0">
                  <a:pos x="connsiteX7113" y="connsiteY7113"/>
                </a:cxn>
                <a:cxn ang="0">
                  <a:pos x="connsiteX7114" y="connsiteY7114"/>
                </a:cxn>
                <a:cxn ang="0">
                  <a:pos x="connsiteX7115" y="connsiteY7115"/>
                </a:cxn>
                <a:cxn ang="0">
                  <a:pos x="connsiteX7116" y="connsiteY7116"/>
                </a:cxn>
                <a:cxn ang="0">
                  <a:pos x="connsiteX7117" y="connsiteY7117"/>
                </a:cxn>
                <a:cxn ang="0">
                  <a:pos x="connsiteX7118" y="connsiteY7118"/>
                </a:cxn>
                <a:cxn ang="0">
                  <a:pos x="connsiteX7119" y="connsiteY7119"/>
                </a:cxn>
                <a:cxn ang="0">
                  <a:pos x="connsiteX7120" y="connsiteY7120"/>
                </a:cxn>
                <a:cxn ang="0">
                  <a:pos x="connsiteX7121" y="connsiteY7121"/>
                </a:cxn>
                <a:cxn ang="0">
                  <a:pos x="connsiteX7122" y="connsiteY7122"/>
                </a:cxn>
                <a:cxn ang="0">
                  <a:pos x="connsiteX7123" y="connsiteY7123"/>
                </a:cxn>
                <a:cxn ang="0">
                  <a:pos x="connsiteX7124" y="connsiteY7124"/>
                </a:cxn>
                <a:cxn ang="0">
                  <a:pos x="connsiteX7125" y="connsiteY7125"/>
                </a:cxn>
                <a:cxn ang="0">
                  <a:pos x="connsiteX7126" y="connsiteY7126"/>
                </a:cxn>
                <a:cxn ang="0">
                  <a:pos x="connsiteX7127" y="connsiteY7127"/>
                </a:cxn>
                <a:cxn ang="0">
                  <a:pos x="connsiteX7128" y="connsiteY7128"/>
                </a:cxn>
                <a:cxn ang="0">
                  <a:pos x="connsiteX7129" y="connsiteY7129"/>
                </a:cxn>
                <a:cxn ang="0">
                  <a:pos x="connsiteX7130" y="connsiteY7130"/>
                </a:cxn>
                <a:cxn ang="0">
                  <a:pos x="connsiteX7131" y="connsiteY7131"/>
                </a:cxn>
                <a:cxn ang="0">
                  <a:pos x="connsiteX7132" y="connsiteY7132"/>
                </a:cxn>
                <a:cxn ang="0">
                  <a:pos x="connsiteX7133" y="connsiteY7133"/>
                </a:cxn>
                <a:cxn ang="0">
                  <a:pos x="connsiteX7134" y="connsiteY7134"/>
                </a:cxn>
                <a:cxn ang="0">
                  <a:pos x="connsiteX7135" y="connsiteY7135"/>
                </a:cxn>
                <a:cxn ang="0">
                  <a:pos x="connsiteX7136" y="connsiteY7136"/>
                </a:cxn>
                <a:cxn ang="0">
                  <a:pos x="connsiteX7137" y="connsiteY7137"/>
                </a:cxn>
                <a:cxn ang="0">
                  <a:pos x="connsiteX7138" y="connsiteY7138"/>
                </a:cxn>
                <a:cxn ang="0">
                  <a:pos x="connsiteX7139" y="connsiteY7139"/>
                </a:cxn>
                <a:cxn ang="0">
                  <a:pos x="connsiteX7140" y="connsiteY7140"/>
                </a:cxn>
                <a:cxn ang="0">
                  <a:pos x="connsiteX7141" y="connsiteY7141"/>
                </a:cxn>
                <a:cxn ang="0">
                  <a:pos x="connsiteX7142" y="connsiteY7142"/>
                </a:cxn>
                <a:cxn ang="0">
                  <a:pos x="connsiteX7143" y="connsiteY7143"/>
                </a:cxn>
                <a:cxn ang="0">
                  <a:pos x="connsiteX7144" y="connsiteY7144"/>
                </a:cxn>
                <a:cxn ang="0">
                  <a:pos x="connsiteX7145" y="connsiteY7145"/>
                </a:cxn>
                <a:cxn ang="0">
                  <a:pos x="connsiteX7146" y="connsiteY7146"/>
                </a:cxn>
                <a:cxn ang="0">
                  <a:pos x="connsiteX7147" y="connsiteY7147"/>
                </a:cxn>
                <a:cxn ang="0">
                  <a:pos x="connsiteX7148" y="connsiteY7148"/>
                </a:cxn>
                <a:cxn ang="0">
                  <a:pos x="connsiteX7149" y="connsiteY7149"/>
                </a:cxn>
                <a:cxn ang="0">
                  <a:pos x="connsiteX7150" y="connsiteY7150"/>
                </a:cxn>
                <a:cxn ang="0">
                  <a:pos x="connsiteX7151" y="connsiteY7151"/>
                </a:cxn>
                <a:cxn ang="0">
                  <a:pos x="connsiteX7152" y="connsiteY7152"/>
                </a:cxn>
                <a:cxn ang="0">
                  <a:pos x="connsiteX7153" y="connsiteY7153"/>
                </a:cxn>
                <a:cxn ang="0">
                  <a:pos x="connsiteX7154" y="connsiteY7154"/>
                </a:cxn>
                <a:cxn ang="0">
                  <a:pos x="connsiteX7155" y="connsiteY7155"/>
                </a:cxn>
                <a:cxn ang="0">
                  <a:pos x="connsiteX7156" y="connsiteY7156"/>
                </a:cxn>
                <a:cxn ang="0">
                  <a:pos x="connsiteX7157" y="connsiteY7157"/>
                </a:cxn>
                <a:cxn ang="0">
                  <a:pos x="connsiteX7158" y="connsiteY7158"/>
                </a:cxn>
                <a:cxn ang="0">
                  <a:pos x="connsiteX7159" y="connsiteY7159"/>
                </a:cxn>
                <a:cxn ang="0">
                  <a:pos x="connsiteX7160" y="connsiteY7160"/>
                </a:cxn>
                <a:cxn ang="0">
                  <a:pos x="connsiteX7161" y="connsiteY7161"/>
                </a:cxn>
                <a:cxn ang="0">
                  <a:pos x="connsiteX7162" y="connsiteY7162"/>
                </a:cxn>
                <a:cxn ang="0">
                  <a:pos x="connsiteX7163" y="connsiteY7163"/>
                </a:cxn>
                <a:cxn ang="0">
                  <a:pos x="connsiteX7164" y="connsiteY7164"/>
                </a:cxn>
                <a:cxn ang="0">
                  <a:pos x="connsiteX7165" y="connsiteY7165"/>
                </a:cxn>
                <a:cxn ang="0">
                  <a:pos x="connsiteX7166" y="connsiteY7166"/>
                </a:cxn>
                <a:cxn ang="0">
                  <a:pos x="connsiteX7167" y="connsiteY7167"/>
                </a:cxn>
                <a:cxn ang="0">
                  <a:pos x="connsiteX7168" y="connsiteY7168"/>
                </a:cxn>
                <a:cxn ang="0">
                  <a:pos x="connsiteX7169" y="connsiteY7169"/>
                </a:cxn>
                <a:cxn ang="0">
                  <a:pos x="connsiteX7170" y="connsiteY7170"/>
                </a:cxn>
                <a:cxn ang="0">
                  <a:pos x="connsiteX7171" y="connsiteY7171"/>
                </a:cxn>
                <a:cxn ang="0">
                  <a:pos x="connsiteX7172" y="connsiteY7172"/>
                </a:cxn>
                <a:cxn ang="0">
                  <a:pos x="connsiteX7173" y="connsiteY7173"/>
                </a:cxn>
                <a:cxn ang="0">
                  <a:pos x="connsiteX7174" y="connsiteY7174"/>
                </a:cxn>
                <a:cxn ang="0">
                  <a:pos x="connsiteX7175" y="connsiteY7175"/>
                </a:cxn>
                <a:cxn ang="0">
                  <a:pos x="connsiteX7176" y="connsiteY7176"/>
                </a:cxn>
                <a:cxn ang="0">
                  <a:pos x="connsiteX7177" y="connsiteY7177"/>
                </a:cxn>
                <a:cxn ang="0">
                  <a:pos x="connsiteX7178" y="connsiteY7178"/>
                </a:cxn>
                <a:cxn ang="0">
                  <a:pos x="connsiteX7179" y="connsiteY7179"/>
                </a:cxn>
                <a:cxn ang="0">
                  <a:pos x="connsiteX7180" y="connsiteY7180"/>
                </a:cxn>
                <a:cxn ang="0">
                  <a:pos x="connsiteX7181" y="connsiteY7181"/>
                </a:cxn>
                <a:cxn ang="0">
                  <a:pos x="connsiteX7182" y="connsiteY7182"/>
                </a:cxn>
                <a:cxn ang="0">
                  <a:pos x="connsiteX7183" y="connsiteY7183"/>
                </a:cxn>
                <a:cxn ang="0">
                  <a:pos x="connsiteX7184" y="connsiteY7184"/>
                </a:cxn>
                <a:cxn ang="0">
                  <a:pos x="connsiteX7185" y="connsiteY7185"/>
                </a:cxn>
                <a:cxn ang="0">
                  <a:pos x="connsiteX7186" y="connsiteY7186"/>
                </a:cxn>
                <a:cxn ang="0">
                  <a:pos x="connsiteX7187" y="connsiteY7187"/>
                </a:cxn>
                <a:cxn ang="0">
                  <a:pos x="connsiteX7188" y="connsiteY7188"/>
                </a:cxn>
                <a:cxn ang="0">
                  <a:pos x="connsiteX7189" y="connsiteY7189"/>
                </a:cxn>
                <a:cxn ang="0">
                  <a:pos x="connsiteX7190" y="connsiteY7190"/>
                </a:cxn>
                <a:cxn ang="0">
                  <a:pos x="connsiteX7191" y="connsiteY7191"/>
                </a:cxn>
                <a:cxn ang="0">
                  <a:pos x="connsiteX7192" y="connsiteY7192"/>
                </a:cxn>
                <a:cxn ang="0">
                  <a:pos x="connsiteX7193" y="connsiteY7193"/>
                </a:cxn>
                <a:cxn ang="0">
                  <a:pos x="connsiteX7194" y="connsiteY7194"/>
                </a:cxn>
                <a:cxn ang="0">
                  <a:pos x="connsiteX7195" y="connsiteY7195"/>
                </a:cxn>
                <a:cxn ang="0">
                  <a:pos x="connsiteX7196" y="connsiteY7196"/>
                </a:cxn>
                <a:cxn ang="0">
                  <a:pos x="connsiteX7197" y="connsiteY7197"/>
                </a:cxn>
                <a:cxn ang="0">
                  <a:pos x="connsiteX7198" y="connsiteY7198"/>
                </a:cxn>
                <a:cxn ang="0">
                  <a:pos x="connsiteX7199" y="connsiteY7199"/>
                </a:cxn>
                <a:cxn ang="0">
                  <a:pos x="connsiteX7200" y="connsiteY7200"/>
                </a:cxn>
                <a:cxn ang="0">
                  <a:pos x="connsiteX7201" y="connsiteY7201"/>
                </a:cxn>
                <a:cxn ang="0">
                  <a:pos x="connsiteX7202" y="connsiteY7202"/>
                </a:cxn>
                <a:cxn ang="0">
                  <a:pos x="connsiteX7203" y="connsiteY7203"/>
                </a:cxn>
                <a:cxn ang="0">
                  <a:pos x="connsiteX7204" y="connsiteY7204"/>
                </a:cxn>
                <a:cxn ang="0">
                  <a:pos x="connsiteX7205" y="connsiteY7205"/>
                </a:cxn>
                <a:cxn ang="0">
                  <a:pos x="connsiteX7206" y="connsiteY7206"/>
                </a:cxn>
                <a:cxn ang="0">
                  <a:pos x="connsiteX7207" y="connsiteY7207"/>
                </a:cxn>
                <a:cxn ang="0">
                  <a:pos x="connsiteX7208" y="connsiteY7208"/>
                </a:cxn>
                <a:cxn ang="0">
                  <a:pos x="connsiteX7209" y="connsiteY7209"/>
                </a:cxn>
                <a:cxn ang="0">
                  <a:pos x="connsiteX7210" y="connsiteY7210"/>
                </a:cxn>
                <a:cxn ang="0">
                  <a:pos x="connsiteX7211" y="connsiteY7211"/>
                </a:cxn>
                <a:cxn ang="0">
                  <a:pos x="connsiteX7212" y="connsiteY7212"/>
                </a:cxn>
                <a:cxn ang="0">
                  <a:pos x="connsiteX7213" y="connsiteY7213"/>
                </a:cxn>
                <a:cxn ang="0">
                  <a:pos x="connsiteX7214" y="connsiteY7214"/>
                </a:cxn>
                <a:cxn ang="0">
                  <a:pos x="connsiteX7215" y="connsiteY7215"/>
                </a:cxn>
                <a:cxn ang="0">
                  <a:pos x="connsiteX7216" y="connsiteY7216"/>
                </a:cxn>
                <a:cxn ang="0">
                  <a:pos x="connsiteX7217" y="connsiteY7217"/>
                </a:cxn>
                <a:cxn ang="0">
                  <a:pos x="connsiteX7218" y="connsiteY7218"/>
                </a:cxn>
                <a:cxn ang="0">
                  <a:pos x="connsiteX7219" y="connsiteY7219"/>
                </a:cxn>
                <a:cxn ang="0">
                  <a:pos x="connsiteX7220" y="connsiteY7220"/>
                </a:cxn>
                <a:cxn ang="0">
                  <a:pos x="connsiteX7221" y="connsiteY7221"/>
                </a:cxn>
                <a:cxn ang="0">
                  <a:pos x="connsiteX7222" y="connsiteY7222"/>
                </a:cxn>
                <a:cxn ang="0">
                  <a:pos x="connsiteX7223" y="connsiteY7223"/>
                </a:cxn>
                <a:cxn ang="0">
                  <a:pos x="connsiteX7224" y="connsiteY7224"/>
                </a:cxn>
                <a:cxn ang="0">
                  <a:pos x="connsiteX7225" y="connsiteY7225"/>
                </a:cxn>
                <a:cxn ang="0">
                  <a:pos x="connsiteX7226" y="connsiteY7226"/>
                </a:cxn>
                <a:cxn ang="0">
                  <a:pos x="connsiteX7227" y="connsiteY7227"/>
                </a:cxn>
                <a:cxn ang="0">
                  <a:pos x="connsiteX7228" y="connsiteY7228"/>
                </a:cxn>
                <a:cxn ang="0">
                  <a:pos x="connsiteX7229" y="connsiteY7229"/>
                </a:cxn>
                <a:cxn ang="0">
                  <a:pos x="connsiteX7230" y="connsiteY7230"/>
                </a:cxn>
                <a:cxn ang="0">
                  <a:pos x="connsiteX7231" y="connsiteY7231"/>
                </a:cxn>
                <a:cxn ang="0">
                  <a:pos x="connsiteX7232" y="connsiteY7232"/>
                </a:cxn>
                <a:cxn ang="0">
                  <a:pos x="connsiteX7233" y="connsiteY7233"/>
                </a:cxn>
                <a:cxn ang="0">
                  <a:pos x="connsiteX7234" y="connsiteY7234"/>
                </a:cxn>
                <a:cxn ang="0">
                  <a:pos x="connsiteX7235" y="connsiteY7235"/>
                </a:cxn>
                <a:cxn ang="0">
                  <a:pos x="connsiteX7236" y="connsiteY7236"/>
                </a:cxn>
                <a:cxn ang="0">
                  <a:pos x="connsiteX7237" y="connsiteY7237"/>
                </a:cxn>
                <a:cxn ang="0">
                  <a:pos x="connsiteX7238" y="connsiteY7238"/>
                </a:cxn>
                <a:cxn ang="0">
                  <a:pos x="connsiteX7239" y="connsiteY7239"/>
                </a:cxn>
                <a:cxn ang="0">
                  <a:pos x="connsiteX7240" y="connsiteY7240"/>
                </a:cxn>
                <a:cxn ang="0">
                  <a:pos x="connsiteX7241" y="connsiteY7241"/>
                </a:cxn>
                <a:cxn ang="0">
                  <a:pos x="connsiteX7242" y="connsiteY7242"/>
                </a:cxn>
                <a:cxn ang="0">
                  <a:pos x="connsiteX7243" y="connsiteY7243"/>
                </a:cxn>
                <a:cxn ang="0">
                  <a:pos x="connsiteX7244" y="connsiteY7244"/>
                </a:cxn>
                <a:cxn ang="0">
                  <a:pos x="connsiteX7245" y="connsiteY7245"/>
                </a:cxn>
                <a:cxn ang="0">
                  <a:pos x="connsiteX7246" y="connsiteY7246"/>
                </a:cxn>
                <a:cxn ang="0">
                  <a:pos x="connsiteX7247" y="connsiteY7247"/>
                </a:cxn>
                <a:cxn ang="0">
                  <a:pos x="connsiteX7248" y="connsiteY7248"/>
                </a:cxn>
                <a:cxn ang="0">
                  <a:pos x="connsiteX7249" y="connsiteY7249"/>
                </a:cxn>
                <a:cxn ang="0">
                  <a:pos x="connsiteX7250" y="connsiteY7250"/>
                </a:cxn>
                <a:cxn ang="0">
                  <a:pos x="connsiteX7251" y="connsiteY7251"/>
                </a:cxn>
                <a:cxn ang="0">
                  <a:pos x="connsiteX7252" y="connsiteY7252"/>
                </a:cxn>
                <a:cxn ang="0">
                  <a:pos x="connsiteX7253" y="connsiteY7253"/>
                </a:cxn>
                <a:cxn ang="0">
                  <a:pos x="connsiteX7254" y="connsiteY7254"/>
                </a:cxn>
                <a:cxn ang="0">
                  <a:pos x="connsiteX7255" y="connsiteY7255"/>
                </a:cxn>
                <a:cxn ang="0">
                  <a:pos x="connsiteX7256" y="connsiteY7256"/>
                </a:cxn>
                <a:cxn ang="0">
                  <a:pos x="connsiteX7257" y="connsiteY7257"/>
                </a:cxn>
                <a:cxn ang="0">
                  <a:pos x="connsiteX7258" y="connsiteY7258"/>
                </a:cxn>
                <a:cxn ang="0">
                  <a:pos x="connsiteX7259" y="connsiteY7259"/>
                </a:cxn>
                <a:cxn ang="0">
                  <a:pos x="connsiteX7260" y="connsiteY7260"/>
                </a:cxn>
                <a:cxn ang="0">
                  <a:pos x="connsiteX7261" y="connsiteY7261"/>
                </a:cxn>
                <a:cxn ang="0">
                  <a:pos x="connsiteX7262" y="connsiteY7262"/>
                </a:cxn>
                <a:cxn ang="0">
                  <a:pos x="connsiteX7263" y="connsiteY7263"/>
                </a:cxn>
                <a:cxn ang="0">
                  <a:pos x="connsiteX7264" y="connsiteY7264"/>
                </a:cxn>
                <a:cxn ang="0">
                  <a:pos x="connsiteX7265" y="connsiteY7265"/>
                </a:cxn>
                <a:cxn ang="0">
                  <a:pos x="connsiteX7266" y="connsiteY7266"/>
                </a:cxn>
                <a:cxn ang="0">
                  <a:pos x="connsiteX7267" y="connsiteY7267"/>
                </a:cxn>
                <a:cxn ang="0">
                  <a:pos x="connsiteX7268" y="connsiteY7268"/>
                </a:cxn>
                <a:cxn ang="0">
                  <a:pos x="connsiteX7269" y="connsiteY7269"/>
                </a:cxn>
                <a:cxn ang="0">
                  <a:pos x="connsiteX7270" y="connsiteY7270"/>
                </a:cxn>
                <a:cxn ang="0">
                  <a:pos x="connsiteX7271" y="connsiteY7271"/>
                </a:cxn>
                <a:cxn ang="0">
                  <a:pos x="connsiteX7272" y="connsiteY7272"/>
                </a:cxn>
                <a:cxn ang="0">
                  <a:pos x="connsiteX7273" y="connsiteY7273"/>
                </a:cxn>
                <a:cxn ang="0">
                  <a:pos x="connsiteX7274" y="connsiteY7274"/>
                </a:cxn>
                <a:cxn ang="0">
                  <a:pos x="connsiteX7275" y="connsiteY7275"/>
                </a:cxn>
                <a:cxn ang="0">
                  <a:pos x="connsiteX7276" y="connsiteY7276"/>
                </a:cxn>
                <a:cxn ang="0">
                  <a:pos x="connsiteX7277" y="connsiteY7277"/>
                </a:cxn>
                <a:cxn ang="0">
                  <a:pos x="connsiteX7278" y="connsiteY7278"/>
                </a:cxn>
                <a:cxn ang="0">
                  <a:pos x="connsiteX7279" y="connsiteY7279"/>
                </a:cxn>
                <a:cxn ang="0">
                  <a:pos x="connsiteX7280" y="connsiteY7280"/>
                </a:cxn>
                <a:cxn ang="0">
                  <a:pos x="connsiteX7281" y="connsiteY7281"/>
                </a:cxn>
                <a:cxn ang="0">
                  <a:pos x="connsiteX7282" y="connsiteY7282"/>
                </a:cxn>
                <a:cxn ang="0">
                  <a:pos x="connsiteX7283" y="connsiteY7283"/>
                </a:cxn>
                <a:cxn ang="0">
                  <a:pos x="connsiteX7284" y="connsiteY7284"/>
                </a:cxn>
                <a:cxn ang="0">
                  <a:pos x="connsiteX7285" y="connsiteY7285"/>
                </a:cxn>
                <a:cxn ang="0">
                  <a:pos x="connsiteX7286" y="connsiteY7286"/>
                </a:cxn>
                <a:cxn ang="0">
                  <a:pos x="connsiteX7287" y="connsiteY7287"/>
                </a:cxn>
                <a:cxn ang="0">
                  <a:pos x="connsiteX7288" y="connsiteY7288"/>
                </a:cxn>
                <a:cxn ang="0">
                  <a:pos x="connsiteX7289" y="connsiteY7289"/>
                </a:cxn>
                <a:cxn ang="0">
                  <a:pos x="connsiteX7290" y="connsiteY7290"/>
                </a:cxn>
                <a:cxn ang="0">
                  <a:pos x="connsiteX7291" y="connsiteY7291"/>
                </a:cxn>
                <a:cxn ang="0">
                  <a:pos x="connsiteX7292" y="connsiteY7292"/>
                </a:cxn>
                <a:cxn ang="0">
                  <a:pos x="connsiteX7293" y="connsiteY7293"/>
                </a:cxn>
                <a:cxn ang="0">
                  <a:pos x="connsiteX7294" y="connsiteY7294"/>
                </a:cxn>
                <a:cxn ang="0">
                  <a:pos x="connsiteX7295" y="connsiteY7295"/>
                </a:cxn>
                <a:cxn ang="0">
                  <a:pos x="connsiteX7296" y="connsiteY7296"/>
                </a:cxn>
                <a:cxn ang="0">
                  <a:pos x="connsiteX7297" y="connsiteY7297"/>
                </a:cxn>
                <a:cxn ang="0">
                  <a:pos x="connsiteX7298" y="connsiteY7298"/>
                </a:cxn>
                <a:cxn ang="0">
                  <a:pos x="connsiteX7299" y="connsiteY7299"/>
                </a:cxn>
                <a:cxn ang="0">
                  <a:pos x="connsiteX7300" y="connsiteY7300"/>
                </a:cxn>
                <a:cxn ang="0">
                  <a:pos x="connsiteX7301" y="connsiteY7301"/>
                </a:cxn>
                <a:cxn ang="0">
                  <a:pos x="connsiteX7302" y="connsiteY7302"/>
                </a:cxn>
                <a:cxn ang="0">
                  <a:pos x="connsiteX7303" y="connsiteY7303"/>
                </a:cxn>
                <a:cxn ang="0">
                  <a:pos x="connsiteX7304" y="connsiteY7304"/>
                </a:cxn>
                <a:cxn ang="0">
                  <a:pos x="connsiteX7305" y="connsiteY7305"/>
                </a:cxn>
                <a:cxn ang="0">
                  <a:pos x="connsiteX7306" y="connsiteY7306"/>
                </a:cxn>
                <a:cxn ang="0">
                  <a:pos x="connsiteX7307" y="connsiteY7307"/>
                </a:cxn>
                <a:cxn ang="0">
                  <a:pos x="connsiteX7308" y="connsiteY7308"/>
                </a:cxn>
                <a:cxn ang="0">
                  <a:pos x="connsiteX7309" y="connsiteY7309"/>
                </a:cxn>
                <a:cxn ang="0">
                  <a:pos x="connsiteX7310" y="connsiteY7310"/>
                </a:cxn>
                <a:cxn ang="0">
                  <a:pos x="connsiteX7311" y="connsiteY7311"/>
                </a:cxn>
                <a:cxn ang="0">
                  <a:pos x="connsiteX7312" y="connsiteY7312"/>
                </a:cxn>
                <a:cxn ang="0">
                  <a:pos x="connsiteX7313" y="connsiteY7313"/>
                </a:cxn>
                <a:cxn ang="0">
                  <a:pos x="connsiteX7314" y="connsiteY7314"/>
                </a:cxn>
                <a:cxn ang="0">
                  <a:pos x="connsiteX7315" y="connsiteY7315"/>
                </a:cxn>
                <a:cxn ang="0">
                  <a:pos x="connsiteX7316" y="connsiteY7316"/>
                </a:cxn>
                <a:cxn ang="0">
                  <a:pos x="connsiteX7317" y="connsiteY7317"/>
                </a:cxn>
                <a:cxn ang="0">
                  <a:pos x="connsiteX7318" y="connsiteY7318"/>
                </a:cxn>
                <a:cxn ang="0">
                  <a:pos x="connsiteX7319" y="connsiteY7319"/>
                </a:cxn>
                <a:cxn ang="0">
                  <a:pos x="connsiteX7320" y="connsiteY7320"/>
                </a:cxn>
                <a:cxn ang="0">
                  <a:pos x="connsiteX7321" y="connsiteY7321"/>
                </a:cxn>
                <a:cxn ang="0">
                  <a:pos x="connsiteX7322" y="connsiteY7322"/>
                </a:cxn>
                <a:cxn ang="0">
                  <a:pos x="connsiteX7323" y="connsiteY7323"/>
                </a:cxn>
                <a:cxn ang="0">
                  <a:pos x="connsiteX7324" y="connsiteY7324"/>
                </a:cxn>
                <a:cxn ang="0">
                  <a:pos x="connsiteX7325" y="connsiteY7325"/>
                </a:cxn>
                <a:cxn ang="0">
                  <a:pos x="connsiteX7326" y="connsiteY7326"/>
                </a:cxn>
                <a:cxn ang="0">
                  <a:pos x="connsiteX7327" y="connsiteY7327"/>
                </a:cxn>
                <a:cxn ang="0">
                  <a:pos x="connsiteX7328" y="connsiteY7328"/>
                </a:cxn>
                <a:cxn ang="0">
                  <a:pos x="connsiteX7329" y="connsiteY7329"/>
                </a:cxn>
                <a:cxn ang="0">
                  <a:pos x="connsiteX7330" y="connsiteY7330"/>
                </a:cxn>
                <a:cxn ang="0">
                  <a:pos x="connsiteX7331" y="connsiteY7331"/>
                </a:cxn>
                <a:cxn ang="0">
                  <a:pos x="connsiteX7332" y="connsiteY7332"/>
                </a:cxn>
                <a:cxn ang="0">
                  <a:pos x="connsiteX7333" y="connsiteY7333"/>
                </a:cxn>
                <a:cxn ang="0">
                  <a:pos x="connsiteX7334" y="connsiteY7334"/>
                </a:cxn>
                <a:cxn ang="0">
                  <a:pos x="connsiteX7335" y="connsiteY7335"/>
                </a:cxn>
                <a:cxn ang="0">
                  <a:pos x="connsiteX7336" y="connsiteY7336"/>
                </a:cxn>
                <a:cxn ang="0">
                  <a:pos x="connsiteX7337" y="connsiteY7337"/>
                </a:cxn>
                <a:cxn ang="0">
                  <a:pos x="connsiteX7338" y="connsiteY7338"/>
                </a:cxn>
                <a:cxn ang="0">
                  <a:pos x="connsiteX7339" y="connsiteY7339"/>
                </a:cxn>
                <a:cxn ang="0">
                  <a:pos x="connsiteX7340" y="connsiteY7340"/>
                </a:cxn>
                <a:cxn ang="0">
                  <a:pos x="connsiteX7341" y="connsiteY7341"/>
                </a:cxn>
                <a:cxn ang="0">
                  <a:pos x="connsiteX7342" y="connsiteY7342"/>
                </a:cxn>
                <a:cxn ang="0">
                  <a:pos x="connsiteX7343" y="connsiteY7343"/>
                </a:cxn>
                <a:cxn ang="0">
                  <a:pos x="connsiteX7344" y="connsiteY7344"/>
                </a:cxn>
                <a:cxn ang="0">
                  <a:pos x="connsiteX7345" y="connsiteY7345"/>
                </a:cxn>
                <a:cxn ang="0">
                  <a:pos x="connsiteX7346" y="connsiteY7346"/>
                </a:cxn>
                <a:cxn ang="0">
                  <a:pos x="connsiteX7347" y="connsiteY7347"/>
                </a:cxn>
                <a:cxn ang="0">
                  <a:pos x="connsiteX7348" y="connsiteY7348"/>
                </a:cxn>
                <a:cxn ang="0">
                  <a:pos x="connsiteX7349" y="connsiteY7349"/>
                </a:cxn>
                <a:cxn ang="0">
                  <a:pos x="connsiteX7350" y="connsiteY7350"/>
                </a:cxn>
                <a:cxn ang="0">
                  <a:pos x="connsiteX7351" y="connsiteY7351"/>
                </a:cxn>
                <a:cxn ang="0">
                  <a:pos x="connsiteX7352" y="connsiteY7352"/>
                </a:cxn>
                <a:cxn ang="0">
                  <a:pos x="connsiteX7353" y="connsiteY7353"/>
                </a:cxn>
                <a:cxn ang="0">
                  <a:pos x="connsiteX7354" y="connsiteY7354"/>
                </a:cxn>
                <a:cxn ang="0">
                  <a:pos x="connsiteX7355" y="connsiteY7355"/>
                </a:cxn>
                <a:cxn ang="0">
                  <a:pos x="connsiteX7356" y="connsiteY7356"/>
                </a:cxn>
                <a:cxn ang="0">
                  <a:pos x="connsiteX7357" y="connsiteY7357"/>
                </a:cxn>
                <a:cxn ang="0">
                  <a:pos x="connsiteX7358" y="connsiteY7358"/>
                </a:cxn>
                <a:cxn ang="0">
                  <a:pos x="connsiteX7359" y="connsiteY7359"/>
                </a:cxn>
                <a:cxn ang="0">
                  <a:pos x="connsiteX7360" y="connsiteY7360"/>
                </a:cxn>
                <a:cxn ang="0">
                  <a:pos x="connsiteX7361" y="connsiteY7361"/>
                </a:cxn>
                <a:cxn ang="0">
                  <a:pos x="connsiteX7362" y="connsiteY7362"/>
                </a:cxn>
                <a:cxn ang="0">
                  <a:pos x="connsiteX7363" y="connsiteY7363"/>
                </a:cxn>
                <a:cxn ang="0">
                  <a:pos x="connsiteX7364" y="connsiteY7364"/>
                </a:cxn>
                <a:cxn ang="0">
                  <a:pos x="connsiteX7365" y="connsiteY7365"/>
                </a:cxn>
                <a:cxn ang="0">
                  <a:pos x="connsiteX7366" y="connsiteY7366"/>
                </a:cxn>
                <a:cxn ang="0">
                  <a:pos x="connsiteX7367" y="connsiteY7367"/>
                </a:cxn>
                <a:cxn ang="0">
                  <a:pos x="connsiteX7368" y="connsiteY7368"/>
                </a:cxn>
                <a:cxn ang="0">
                  <a:pos x="connsiteX7369" y="connsiteY7369"/>
                </a:cxn>
                <a:cxn ang="0">
                  <a:pos x="connsiteX7370" y="connsiteY7370"/>
                </a:cxn>
                <a:cxn ang="0">
                  <a:pos x="connsiteX7371" y="connsiteY7371"/>
                </a:cxn>
                <a:cxn ang="0">
                  <a:pos x="connsiteX7372" y="connsiteY7372"/>
                </a:cxn>
                <a:cxn ang="0">
                  <a:pos x="connsiteX7373" y="connsiteY7373"/>
                </a:cxn>
                <a:cxn ang="0">
                  <a:pos x="connsiteX7374" y="connsiteY7374"/>
                </a:cxn>
                <a:cxn ang="0">
                  <a:pos x="connsiteX7375" y="connsiteY7375"/>
                </a:cxn>
                <a:cxn ang="0">
                  <a:pos x="connsiteX7376" y="connsiteY7376"/>
                </a:cxn>
                <a:cxn ang="0">
                  <a:pos x="connsiteX7377" y="connsiteY7377"/>
                </a:cxn>
                <a:cxn ang="0">
                  <a:pos x="connsiteX7378" y="connsiteY7378"/>
                </a:cxn>
                <a:cxn ang="0">
                  <a:pos x="connsiteX7379" y="connsiteY7379"/>
                </a:cxn>
                <a:cxn ang="0">
                  <a:pos x="connsiteX7380" y="connsiteY7380"/>
                </a:cxn>
                <a:cxn ang="0">
                  <a:pos x="connsiteX7381" y="connsiteY7381"/>
                </a:cxn>
                <a:cxn ang="0">
                  <a:pos x="connsiteX7382" y="connsiteY7382"/>
                </a:cxn>
                <a:cxn ang="0">
                  <a:pos x="connsiteX7383" y="connsiteY7383"/>
                </a:cxn>
                <a:cxn ang="0">
                  <a:pos x="connsiteX7384" y="connsiteY7384"/>
                </a:cxn>
                <a:cxn ang="0">
                  <a:pos x="connsiteX7385" y="connsiteY7385"/>
                </a:cxn>
                <a:cxn ang="0">
                  <a:pos x="connsiteX7386" y="connsiteY7386"/>
                </a:cxn>
                <a:cxn ang="0">
                  <a:pos x="connsiteX7387" y="connsiteY7387"/>
                </a:cxn>
                <a:cxn ang="0">
                  <a:pos x="connsiteX7388" y="connsiteY7388"/>
                </a:cxn>
                <a:cxn ang="0">
                  <a:pos x="connsiteX7389" y="connsiteY7389"/>
                </a:cxn>
                <a:cxn ang="0">
                  <a:pos x="connsiteX7390" y="connsiteY7390"/>
                </a:cxn>
                <a:cxn ang="0">
                  <a:pos x="connsiteX7391" y="connsiteY7391"/>
                </a:cxn>
                <a:cxn ang="0">
                  <a:pos x="connsiteX7392" y="connsiteY7392"/>
                </a:cxn>
                <a:cxn ang="0">
                  <a:pos x="connsiteX7393" y="connsiteY7393"/>
                </a:cxn>
                <a:cxn ang="0">
                  <a:pos x="connsiteX7394" y="connsiteY7394"/>
                </a:cxn>
                <a:cxn ang="0">
                  <a:pos x="connsiteX7395" y="connsiteY7395"/>
                </a:cxn>
                <a:cxn ang="0">
                  <a:pos x="connsiteX7396" y="connsiteY7396"/>
                </a:cxn>
                <a:cxn ang="0">
                  <a:pos x="connsiteX7397" y="connsiteY7397"/>
                </a:cxn>
                <a:cxn ang="0">
                  <a:pos x="connsiteX7398" y="connsiteY7398"/>
                </a:cxn>
                <a:cxn ang="0">
                  <a:pos x="connsiteX7399" y="connsiteY7399"/>
                </a:cxn>
                <a:cxn ang="0">
                  <a:pos x="connsiteX7400" y="connsiteY7400"/>
                </a:cxn>
                <a:cxn ang="0">
                  <a:pos x="connsiteX7401" y="connsiteY7401"/>
                </a:cxn>
                <a:cxn ang="0">
                  <a:pos x="connsiteX7402" y="connsiteY7402"/>
                </a:cxn>
                <a:cxn ang="0">
                  <a:pos x="connsiteX7403" y="connsiteY7403"/>
                </a:cxn>
                <a:cxn ang="0">
                  <a:pos x="connsiteX7404" y="connsiteY7404"/>
                </a:cxn>
                <a:cxn ang="0">
                  <a:pos x="connsiteX7405" y="connsiteY7405"/>
                </a:cxn>
                <a:cxn ang="0">
                  <a:pos x="connsiteX7406" y="connsiteY7406"/>
                </a:cxn>
                <a:cxn ang="0">
                  <a:pos x="connsiteX7407" y="connsiteY7407"/>
                </a:cxn>
                <a:cxn ang="0">
                  <a:pos x="connsiteX7408" y="connsiteY7408"/>
                </a:cxn>
                <a:cxn ang="0">
                  <a:pos x="connsiteX7409" y="connsiteY7409"/>
                </a:cxn>
                <a:cxn ang="0">
                  <a:pos x="connsiteX7410" y="connsiteY7410"/>
                </a:cxn>
                <a:cxn ang="0">
                  <a:pos x="connsiteX7411" y="connsiteY7411"/>
                </a:cxn>
                <a:cxn ang="0">
                  <a:pos x="connsiteX7412" y="connsiteY7412"/>
                </a:cxn>
                <a:cxn ang="0">
                  <a:pos x="connsiteX7413" y="connsiteY7413"/>
                </a:cxn>
                <a:cxn ang="0">
                  <a:pos x="connsiteX7414" y="connsiteY7414"/>
                </a:cxn>
                <a:cxn ang="0">
                  <a:pos x="connsiteX7415" y="connsiteY7415"/>
                </a:cxn>
                <a:cxn ang="0">
                  <a:pos x="connsiteX7416" y="connsiteY7416"/>
                </a:cxn>
                <a:cxn ang="0">
                  <a:pos x="connsiteX7417" y="connsiteY7417"/>
                </a:cxn>
                <a:cxn ang="0">
                  <a:pos x="connsiteX7418" y="connsiteY7418"/>
                </a:cxn>
                <a:cxn ang="0">
                  <a:pos x="connsiteX7419" y="connsiteY7419"/>
                </a:cxn>
                <a:cxn ang="0">
                  <a:pos x="connsiteX7420" y="connsiteY7420"/>
                </a:cxn>
                <a:cxn ang="0">
                  <a:pos x="connsiteX7421" y="connsiteY7421"/>
                </a:cxn>
                <a:cxn ang="0">
                  <a:pos x="connsiteX7422" y="connsiteY7422"/>
                </a:cxn>
                <a:cxn ang="0">
                  <a:pos x="connsiteX7423" y="connsiteY7423"/>
                </a:cxn>
                <a:cxn ang="0">
                  <a:pos x="connsiteX7424" y="connsiteY7424"/>
                </a:cxn>
                <a:cxn ang="0">
                  <a:pos x="connsiteX7425" y="connsiteY7425"/>
                </a:cxn>
                <a:cxn ang="0">
                  <a:pos x="connsiteX7426" y="connsiteY7426"/>
                </a:cxn>
                <a:cxn ang="0">
                  <a:pos x="connsiteX7427" y="connsiteY7427"/>
                </a:cxn>
                <a:cxn ang="0">
                  <a:pos x="connsiteX7428" y="connsiteY7428"/>
                </a:cxn>
                <a:cxn ang="0">
                  <a:pos x="connsiteX7429" y="connsiteY7429"/>
                </a:cxn>
                <a:cxn ang="0">
                  <a:pos x="connsiteX7430" y="connsiteY7430"/>
                </a:cxn>
                <a:cxn ang="0">
                  <a:pos x="connsiteX7431" y="connsiteY7431"/>
                </a:cxn>
                <a:cxn ang="0">
                  <a:pos x="connsiteX7432" y="connsiteY7432"/>
                </a:cxn>
                <a:cxn ang="0">
                  <a:pos x="connsiteX7433" y="connsiteY7433"/>
                </a:cxn>
                <a:cxn ang="0">
                  <a:pos x="connsiteX7434" y="connsiteY7434"/>
                </a:cxn>
                <a:cxn ang="0">
                  <a:pos x="connsiteX7435" y="connsiteY7435"/>
                </a:cxn>
                <a:cxn ang="0">
                  <a:pos x="connsiteX7436" y="connsiteY7436"/>
                </a:cxn>
                <a:cxn ang="0">
                  <a:pos x="connsiteX7437" y="connsiteY7437"/>
                </a:cxn>
                <a:cxn ang="0">
                  <a:pos x="connsiteX7438" y="connsiteY7438"/>
                </a:cxn>
                <a:cxn ang="0">
                  <a:pos x="connsiteX7439" y="connsiteY7439"/>
                </a:cxn>
                <a:cxn ang="0">
                  <a:pos x="connsiteX7440" y="connsiteY7440"/>
                </a:cxn>
                <a:cxn ang="0">
                  <a:pos x="connsiteX7441" y="connsiteY7441"/>
                </a:cxn>
                <a:cxn ang="0">
                  <a:pos x="connsiteX7442" y="connsiteY7442"/>
                </a:cxn>
                <a:cxn ang="0">
                  <a:pos x="connsiteX7443" y="connsiteY7443"/>
                </a:cxn>
                <a:cxn ang="0">
                  <a:pos x="connsiteX7444" y="connsiteY7444"/>
                </a:cxn>
                <a:cxn ang="0">
                  <a:pos x="connsiteX7445" y="connsiteY7445"/>
                </a:cxn>
                <a:cxn ang="0">
                  <a:pos x="connsiteX7446" y="connsiteY7446"/>
                </a:cxn>
                <a:cxn ang="0">
                  <a:pos x="connsiteX7447" y="connsiteY7447"/>
                </a:cxn>
                <a:cxn ang="0">
                  <a:pos x="connsiteX7448" y="connsiteY7448"/>
                </a:cxn>
                <a:cxn ang="0">
                  <a:pos x="connsiteX7449" y="connsiteY7449"/>
                </a:cxn>
                <a:cxn ang="0">
                  <a:pos x="connsiteX7450" y="connsiteY7450"/>
                </a:cxn>
                <a:cxn ang="0">
                  <a:pos x="connsiteX7451" y="connsiteY7451"/>
                </a:cxn>
                <a:cxn ang="0">
                  <a:pos x="connsiteX7452" y="connsiteY7452"/>
                </a:cxn>
                <a:cxn ang="0">
                  <a:pos x="connsiteX7453" y="connsiteY7453"/>
                </a:cxn>
                <a:cxn ang="0">
                  <a:pos x="connsiteX7454" y="connsiteY7454"/>
                </a:cxn>
                <a:cxn ang="0">
                  <a:pos x="connsiteX7455" y="connsiteY7455"/>
                </a:cxn>
                <a:cxn ang="0">
                  <a:pos x="connsiteX7456" y="connsiteY7456"/>
                </a:cxn>
                <a:cxn ang="0">
                  <a:pos x="connsiteX7457" y="connsiteY7457"/>
                </a:cxn>
                <a:cxn ang="0">
                  <a:pos x="connsiteX7458" y="connsiteY7458"/>
                </a:cxn>
                <a:cxn ang="0">
                  <a:pos x="connsiteX7459" y="connsiteY7459"/>
                </a:cxn>
                <a:cxn ang="0">
                  <a:pos x="connsiteX7460" y="connsiteY7460"/>
                </a:cxn>
                <a:cxn ang="0">
                  <a:pos x="connsiteX7461" y="connsiteY7461"/>
                </a:cxn>
                <a:cxn ang="0">
                  <a:pos x="connsiteX7462" y="connsiteY7462"/>
                </a:cxn>
                <a:cxn ang="0">
                  <a:pos x="connsiteX7463" y="connsiteY7463"/>
                </a:cxn>
                <a:cxn ang="0">
                  <a:pos x="connsiteX7464" y="connsiteY7464"/>
                </a:cxn>
                <a:cxn ang="0">
                  <a:pos x="connsiteX7465" y="connsiteY7465"/>
                </a:cxn>
                <a:cxn ang="0">
                  <a:pos x="connsiteX7466" y="connsiteY7466"/>
                </a:cxn>
                <a:cxn ang="0">
                  <a:pos x="connsiteX7467" y="connsiteY7467"/>
                </a:cxn>
                <a:cxn ang="0">
                  <a:pos x="connsiteX7468" y="connsiteY7468"/>
                </a:cxn>
                <a:cxn ang="0">
                  <a:pos x="connsiteX7469" y="connsiteY7469"/>
                </a:cxn>
                <a:cxn ang="0">
                  <a:pos x="connsiteX7470" y="connsiteY7470"/>
                </a:cxn>
                <a:cxn ang="0">
                  <a:pos x="connsiteX7471" y="connsiteY7471"/>
                </a:cxn>
                <a:cxn ang="0">
                  <a:pos x="connsiteX7472" y="connsiteY7472"/>
                </a:cxn>
                <a:cxn ang="0">
                  <a:pos x="connsiteX7473" y="connsiteY7473"/>
                </a:cxn>
                <a:cxn ang="0">
                  <a:pos x="connsiteX7474" y="connsiteY7474"/>
                </a:cxn>
                <a:cxn ang="0">
                  <a:pos x="connsiteX7475" y="connsiteY7475"/>
                </a:cxn>
                <a:cxn ang="0">
                  <a:pos x="connsiteX7476" y="connsiteY7476"/>
                </a:cxn>
                <a:cxn ang="0">
                  <a:pos x="connsiteX7477" y="connsiteY7477"/>
                </a:cxn>
                <a:cxn ang="0">
                  <a:pos x="connsiteX7478" y="connsiteY7478"/>
                </a:cxn>
                <a:cxn ang="0">
                  <a:pos x="connsiteX7479" y="connsiteY7479"/>
                </a:cxn>
                <a:cxn ang="0">
                  <a:pos x="connsiteX7480" y="connsiteY7480"/>
                </a:cxn>
                <a:cxn ang="0">
                  <a:pos x="connsiteX7481" y="connsiteY7481"/>
                </a:cxn>
                <a:cxn ang="0">
                  <a:pos x="connsiteX7482" y="connsiteY7482"/>
                </a:cxn>
                <a:cxn ang="0">
                  <a:pos x="connsiteX7483" y="connsiteY7483"/>
                </a:cxn>
                <a:cxn ang="0">
                  <a:pos x="connsiteX7484" y="connsiteY7484"/>
                </a:cxn>
                <a:cxn ang="0">
                  <a:pos x="connsiteX7485" y="connsiteY7485"/>
                </a:cxn>
                <a:cxn ang="0">
                  <a:pos x="connsiteX7486" y="connsiteY7486"/>
                </a:cxn>
                <a:cxn ang="0">
                  <a:pos x="connsiteX7487" y="connsiteY7487"/>
                </a:cxn>
                <a:cxn ang="0">
                  <a:pos x="connsiteX7488" y="connsiteY7488"/>
                </a:cxn>
                <a:cxn ang="0">
                  <a:pos x="connsiteX7489" y="connsiteY7489"/>
                </a:cxn>
                <a:cxn ang="0">
                  <a:pos x="connsiteX7490" y="connsiteY7490"/>
                </a:cxn>
                <a:cxn ang="0">
                  <a:pos x="connsiteX7491" y="connsiteY7491"/>
                </a:cxn>
                <a:cxn ang="0">
                  <a:pos x="connsiteX7492" y="connsiteY7492"/>
                </a:cxn>
                <a:cxn ang="0">
                  <a:pos x="connsiteX7493" y="connsiteY7493"/>
                </a:cxn>
                <a:cxn ang="0">
                  <a:pos x="connsiteX7494" y="connsiteY7494"/>
                </a:cxn>
                <a:cxn ang="0">
                  <a:pos x="connsiteX7495" y="connsiteY7495"/>
                </a:cxn>
                <a:cxn ang="0">
                  <a:pos x="connsiteX7496" y="connsiteY7496"/>
                </a:cxn>
                <a:cxn ang="0">
                  <a:pos x="connsiteX7497" y="connsiteY7497"/>
                </a:cxn>
                <a:cxn ang="0">
                  <a:pos x="connsiteX7498" y="connsiteY7498"/>
                </a:cxn>
                <a:cxn ang="0">
                  <a:pos x="connsiteX7499" y="connsiteY7499"/>
                </a:cxn>
                <a:cxn ang="0">
                  <a:pos x="connsiteX7500" y="connsiteY7500"/>
                </a:cxn>
                <a:cxn ang="0">
                  <a:pos x="connsiteX7501" y="connsiteY7501"/>
                </a:cxn>
                <a:cxn ang="0">
                  <a:pos x="connsiteX7502" y="connsiteY7502"/>
                </a:cxn>
                <a:cxn ang="0">
                  <a:pos x="connsiteX7503" y="connsiteY7503"/>
                </a:cxn>
                <a:cxn ang="0">
                  <a:pos x="connsiteX7504" y="connsiteY7504"/>
                </a:cxn>
                <a:cxn ang="0">
                  <a:pos x="connsiteX7505" y="connsiteY7505"/>
                </a:cxn>
                <a:cxn ang="0">
                  <a:pos x="connsiteX7506" y="connsiteY7506"/>
                </a:cxn>
                <a:cxn ang="0">
                  <a:pos x="connsiteX7507" y="connsiteY7507"/>
                </a:cxn>
                <a:cxn ang="0">
                  <a:pos x="connsiteX7508" y="connsiteY7508"/>
                </a:cxn>
                <a:cxn ang="0">
                  <a:pos x="connsiteX7509" y="connsiteY7509"/>
                </a:cxn>
                <a:cxn ang="0">
                  <a:pos x="connsiteX7510" y="connsiteY7510"/>
                </a:cxn>
                <a:cxn ang="0">
                  <a:pos x="connsiteX7511" y="connsiteY7511"/>
                </a:cxn>
                <a:cxn ang="0">
                  <a:pos x="connsiteX7512" y="connsiteY7512"/>
                </a:cxn>
                <a:cxn ang="0">
                  <a:pos x="connsiteX7513" y="connsiteY7513"/>
                </a:cxn>
                <a:cxn ang="0">
                  <a:pos x="connsiteX7514" y="connsiteY7514"/>
                </a:cxn>
                <a:cxn ang="0">
                  <a:pos x="connsiteX7515" y="connsiteY7515"/>
                </a:cxn>
                <a:cxn ang="0">
                  <a:pos x="connsiteX7516" y="connsiteY7516"/>
                </a:cxn>
                <a:cxn ang="0">
                  <a:pos x="connsiteX7517" y="connsiteY7517"/>
                </a:cxn>
                <a:cxn ang="0">
                  <a:pos x="connsiteX7518" y="connsiteY7518"/>
                </a:cxn>
                <a:cxn ang="0">
                  <a:pos x="connsiteX7519" y="connsiteY7519"/>
                </a:cxn>
                <a:cxn ang="0">
                  <a:pos x="connsiteX7520" y="connsiteY7520"/>
                </a:cxn>
                <a:cxn ang="0">
                  <a:pos x="connsiteX7521" y="connsiteY7521"/>
                </a:cxn>
                <a:cxn ang="0">
                  <a:pos x="connsiteX7522" y="connsiteY7522"/>
                </a:cxn>
                <a:cxn ang="0">
                  <a:pos x="connsiteX7523" y="connsiteY7523"/>
                </a:cxn>
                <a:cxn ang="0">
                  <a:pos x="connsiteX7524" y="connsiteY7524"/>
                </a:cxn>
                <a:cxn ang="0">
                  <a:pos x="connsiteX7525" y="connsiteY7525"/>
                </a:cxn>
                <a:cxn ang="0">
                  <a:pos x="connsiteX7526" y="connsiteY7526"/>
                </a:cxn>
                <a:cxn ang="0">
                  <a:pos x="connsiteX7527" y="connsiteY7527"/>
                </a:cxn>
                <a:cxn ang="0">
                  <a:pos x="connsiteX7528" y="connsiteY7528"/>
                </a:cxn>
                <a:cxn ang="0">
                  <a:pos x="connsiteX7529" y="connsiteY7529"/>
                </a:cxn>
                <a:cxn ang="0">
                  <a:pos x="connsiteX7530" y="connsiteY7530"/>
                </a:cxn>
                <a:cxn ang="0">
                  <a:pos x="connsiteX7531" y="connsiteY7531"/>
                </a:cxn>
                <a:cxn ang="0">
                  <a:pos x="connsiteX7532" y="connsiteY7532"/>
                </a:cxn>
                <a:cxn ang="0">
                  <a:pos x="connsiteX7533" y="connsiteY7533"/>
                </a:cxn>
                <a:cxn ang="0">
                  <a:pos x="connsiteX7534" y="connsiteY7534"/>
                </a:cxn>
                <a:cxn ang="0">
                  <a:pos x="connsiteX7535" y="connsiteY7535"/>
                </a:cxn>
                <a:cxn ang="0">
                  <a:pos x="connsiteX7536" y="connsiteY7536"/>
                </a:cxn>
                <a:cxn ang="0">
                  <a:pos x="connsiteX7537" y="connsiteY7537"/>
                </a:cxn>
                <a:cxn ang="0">
                  <a:pos x="connsiteX7538" y="connsiteY7538"/>
                </a:cxn>
                <a:cxn ang="0">
                  <a:pos x="connsiteX7539" y="connsiteY7539"/>
                </a:cxn>
                <a:cxn ang="0">
                  <a:pos x="connsiteX7540" y="connsiteY7540"/>
                </a:cxn>
                <a:cxn ang="0">
                  <a:pos x="connsiteX7541" y="connsiteY7541"/>
                </a:cxn>
                <a:cxn ang="0">
                  <a:pos x="connsiteX7542" y="connsiteY7542"/>
                </a:cxn>
                <a:cxn ang="0">
                  <a:pos x="connsiteX7543" y="connsiteY7543"/>
                </a:cxn>
                <a:cxn ang="0">
                  <a:pos x="connsiteX7544" y="connsiteY7544"/>
                </a:cxn>
                <a:cxn ang="0">
                  <a:pos x="connsiteX7545" y="connsiteY7545"/>
                </a:cxn>
                <a:cxn ang="0">
                  <a:pos x="connsiteX7546" y="connsiteY7546"/>
                </a:cxn>
                <a:cxn ang="0">
                  <a:pos x="connsiteX7547" y="connsiteY7547"/>
                </a:cxn>
                <a:cxn ang="0">
                  <a:pos x="connsiteX7548" y="connsiteY7548"/>
                </a:cxn>
                <a:cxn ang="0">
                  <a:pos x="connsiteX7549" y="connsiteY7549"/>
                </a:cxn>
                <a:cxn ang="0">
                  <a:pos x="connsiteX7550" y="connsiteY7550"/>
                </a:cxn>
                <a:cxn ang="0">
                  <a:pos x="connsiteX7551" y="connsiteY7551"/>
                </a:cxn>
                <a:cxn ang="0">
                  <a:pos x="connsiteX7552" y="connsiteY7552"/>
                </a:cxn>
                <a:cxn ang="0">
                  <a:pos x="connsiteX7553" y="connsiteY7553"/>
                </a:cxn>
                <a:cxn ang="0">
                  <a:pos x="connsiteX7554" y="connsiteY7554"/>
                </a:cxn>
                <a:cxn ang="0">
                  <a:pos x="connsiteX7555" y="connsiteY7555"/>
                </a:cxn>
                <a:cxn ang="0">
                  <a:pos x="connsiteX7556" y="connsiteY7556"/>
                </a:cxn>
                <a:cxn ang="0">
                  <a:pos x="connsiteX7557" y="connsiteY7557"/>
                </a:cxn>
                <a:cxn ang="0">
                  <a:pos x="connsiteX7558" y="connsiteY7558"/>
                </a:cxn>
                <a:cxn ang="0">
                  <a:pos x="connsiteX7559" y="connsiteY7559"/>
                </a:cxn>
                <a:cxn ang="0">
                  <a:pos x="connsiteX7560" y="connsiteY7560"/>
                </a:cxn>
                <a:cxn ang="0">
                  <a:pos x="connsiteX7561" y="connsiteY7561"/>
                </a:cxn>
                <a:cxn ang="0">
                  <a:pos x="connsiteX7562" y="connsiteY7562"/>
                </a:cxn>
                <a:cxn ang="0">
                  <a:pos x="connsiteX7563" y="connsiteY7563"/>
                </a:cxn>
                <a:cxn ang="0">
                  <a:pos x="connsiteX7564" y="connsiteY7564"/>
                </a:cxn>
                <a:cxn ang="0">
                  <a:pos x="connsiteX7565" y="connsiteY7565"/>
                </a:cxn>
                <a:cxn ang="0">
                  <a:pos x="connsiteX7566" y="connsiteY7566"/>
                </a:cxn>
                <a:cxn ang="0">
                  <a:pos x="connsiteX7567" y="connsiteY7567"/>
                </a:cxn>
                <a:cxn ang="0">
                  <a:pos x="connsiteX7568" y="connsiteY7568"/>
                </a:cxn>
                <a:cxn ang="0">
                  <a:pos x="connsiteX7569" y="connsiteY7569"/>
                </a:cxn>
                <a:cxn ang="0">
                  <a:pos x="connsiteX7570" y="connsiteY7570"/>
                </a:cxn>
                <a:cxn ang="0">
                  <a:pos x="connsiteX7571" y="connsiteY7571"/>
                </a:cxn>
                <a:cxn ang="0">
                  <a:pos x="connsiteX7572" y="connsiteY7572"/>
                </a:cxn>
                <a:cxn ang="0">
                  <a:pos x="connsiteX7573" y="connsiteY7573"/>
                </a:cxn>
                <a:cxn ang="0">
                  <a:pos x="connsiteX7574" y="connsiteY7574"/>
                </a:cxn>
                <a:cxn ang="0">
                  <a:pos x="connsiteX7575" y="connsiteY7575"/>
                </a:cxn>
                <a:cxn ang="0">
                  <a:pos x="connsiteX7576" y="connsiteY7576"/>
                </a:cxn>
                <a:cxn ang="0">
                  <a:pos x="connsiteX7577" y="connsiteY7577"/>
                </a:cxn>
                <a:cxn ang="0">
                  <a:pos x="connsiteX7578" y="connsiteY7578"/>
                </a:cxn>
                <a:cxn ang="0">
                  <a:pos x="connsiteX7579" y="connsiteY7579"/>
                </a:cxn>
                <a:cxn ang="0">
                  <a:pos x="connsiteX7580" y="connsiteY7580"/>
                </a:cxn>
                <a:cxn ang="0">
                  <a:pos x="connsiteX7581" y="connsiteY7581"/>
                </a:cxn>
                <a:cxn ang="0">
                  <a:pos x="connsiteX7582" y="connsiteY7582"/>
                </a:cxn>
                <a:cxn ang="0">
                  <a:pos x="connsiteX7583" y="connsiteY7583"/>
                </a:cxn>
                <a:cxn ang="0">
                  <a:pos x="connsiteX7584" y="connsiteY7584"/>
                </a:cxn>
                <a:cxn ang="0">
                  <a:pos x="connsiteX7585" y="connsiteY7585"/>
                </a:cxn>
                <a:cxn ang="0">
                  <a:pos x="connsiteX7586" y="connsiteY7586"/>
                </a:cxn>
                <a:cxn ang="0">
                  <a:pos x="connsiteX7587" y="connsiteY7587"/>
                </a:cxn>
                <a:cxn ang="0">
                  <a:pos x="connsiteX7588" y="connsiteY7588"/>
                </a:cxn>
                <a:cxn ang="0">
                  <a:pos x="connsiteX7589" y="connsiteY7589"/>
                </a:cxn>
                <a:cxn ang="0">
                  <a:pos x="connsiteX7590" y="connsiteY7590"/>
                </a:cxn>
                <a:cxn ang="0">
                  <a:pos x="connsiteX7591" y="connsiteY7591"/>
                </a:cxn>
                <a:cxn ang="0">
                  <a:pos x="connsiteX7592" y="connsiteY7592"/>
                </a:cxn>
                <a:cxn ang="0">
                  <a:pos x="connsiteX7593" y="connsiteY7593"/>
                </a:cxn>
                <a:cxn ang="0">
                  <a:pos x="connsiteX7594" y="connsiteY7594"/>
                </a:cxn>
                <a:cxn ang="0">
                  <a:pos x="connsiteX7595" y="connsiteY7595"/>
                </a:cxn>
                <a:cxn ang="0">
                  <a:pos x="connsiteX7596" y="connsiteY7596"/>
                </a:cxn>
                <a:cxn ang="0">
                  <a:pos x="connsiteX7597" y="connsiteY7597"/>
                </a:cxn>
                <a:cxn ang="0">
                  <a:pos x="connsiteX7598" y="connsiteY7598"/>
                </a:cxn>
                <a:cxn ang="0">
                  <a:pos x="connsiteX7599" y="connsiteY7599"/>
                </a:cxn>
                <a:cxn ang="0">
                  <a:pos x="connsiteX7600" y="connsiteY7600"/>
                </a:cxn>
                <a:cxn ang="0">
                  <a:pos x="connsiteX7601" y="connsiteY7601"/>
                </a:cxn>
                <a:cxn ang="0">
                  <a:pos x="connsiteX7602" y="connsiteY7602"/>
                </a:cxn>
                <a:cxn ang="0">
                  <a:pos x="connsiteX7603" y="connsiteY7603"/>
                </a:cxn>
                <a:cxn ang="0">
                  <a:pos x="connsiteX7604" y="connsiteY7604"/>
                </a:cxn>
                <a:cxn ang="0">
                  <a:pos x="connsiteX7605" y="connsiteY7605"/>
                </a:cxn>
                <a:cxn ang="0">
                  <a:pos x="connsiteX7606" y="connsiteY7606"/>
                </a:cxn>
                <a:cxn ang="0">
                  <a:pos x="connsiteX7607" y="connsiteY7607"/>
                </a:cxn>
                <a:cxn ang="0">
                  <a:pos x="connsiteX7608" y="connsiteY7608"/>
                </a:cxn>
                <a:cxn ang="0">
                  <a:pos x="connsiteX7609" y="connsiteY7609"/>
                </a:cxn>
                <a:cxn ang="0">
                  <a:pos x="connsiteX7610" y="connsiteY7610"/>
                </a:cxn>
                <a:cxn ang="0">
                  <a:pos x="connsiteX7611" y="connsiteY7611"/>
                </a:cxn>
                <a:cxn ang="0">
                  <a:pos x="connsiteX7612" y="connsiteY7612"/>
                </a:cxn>
                <a:cxn ang="0">
                  <a:pos x="connsiteX7613" y="connsiteY7613"/>
                </a:cxn>
                <a:cxn ang="0">
                  <a:pos x="connsiteX7614" y="connsiteY7614"/>
                </a:cxn>
                <a:cxn ang="0">
                  <a:pos x="connsiteX7615" y="connsiteY7615"/>
                </a:cxn>
                <a:cxn ang="0">
                  <a:pos x="connsiteX7616" y="connsiteY7616"/>
                </a:cxn>
                <a:cxn ang="0">
                  <a:pos x="connsiteX7617" y="connsiteY7617"/>
                </a:cxn>
                <a:cxn ang="0">
                  <a:pos x="connsiteX7618" y="connsiteY7618"/>
                </a:cxn>
                <a:cxn ang="0">
                  <a:pos x="connsiteX7619" y="connsiteY7619"/>
                </a:cxn>
                <a:cxn ang="0">
                  <a:pos x="connsiteX7620" y="connsiteY7620"/>
                </a:cxn>
                <a:cxn ang="0">
                  <a:pos x="connsiteX7621" y="connsiteY7621"/>
                </a:cxn>
                <a:cxn ang="0">
                  <a:pos x="connsiteX7622" y="connsiteY7622"/>
                </a:cxn>
                <a:cxn ang="0">
                  <a:pos x="connsiteX7623" y="connsiteY7623"/>
                </a:cxn>
                <a:cxn ang="0">
                  <a:pos x="connsiteX7624" y="connsiteY7624"/>
                </a:cxn>
                <a:cxn ang="0">
                  <a:pos x="connsiteX7625" y="connsiteY7625"/>
                </a:cxn>
                <a:cxn ang="0">
                  <a:pos x="connsiteX7626" y="connsiteY7626"/>
                </a:cxn>
                <a:cxn ang="0">
                  <a:pos x="connsiteX7627" y="connsiteY7627"/>
                </a:cxn>
                <a:cxn ang="0">
                  <a:pos x="connsiteX7628" y="connsiteY7628"/>
                </a:cxn>
                <a:cxn ang="0">
                  <a:pos x="connsiteX7629" y="connsiteY7629"/>
                </a:cxn>
                <a:cxn ang="0">
                  <a:pos x="connsiteX7630" y="connsiteY7630"/>
                </a:cxn>
                <a:cxn ang="0">
                  <a:pos x="connsiteX7631" y="connsiteY7631"/>
                </a:cxn>
                <a:cxn ang="0">
                  <a:pos x="connsiteX7632" y="connsiteY7632"/>
                </a:cxn>
                <a:cxn ang="0">
                  <a:pos x="connsiteX7633" y="connsiteY7633"/>
                </a:cxn>
                <a:cxn ang="0">
                  <a:pos x="connsiteX7634" y="connsiteY7634"/>
                </a:cxn>
                <a:cxn ang="0">
                  <a:pos x="connsiteX7635" y="connsiteY7635"/>
                </a:cxn>
                <a:cxn ang="0">
                  <a:pos x="connsiteX7636" y="connsiteY7636"/>
                </a:cxn>
                <a:cxn ang="0">
                  <a:pos x="connsiteX7637" y="connsiteY7637"/>
                </a:cxn>
                <a:cxn ang="0">
                  <a:pos x="connsiteX7638" y="connsiteY7638"/>
                </a:cxn>
                <a:cxn ang="0">
                  <a:pos x="connsiteX7639" y="connsiteY7639"/>
                </a:cxn>
                <a:cxn ang="0">
                  <a:pos x="connsiteX7640" y="connsiteY7640"/>
                </a:cxn>
                <a:cxn ang="0">
                  <a:pos x="connsiteX7641" y="connsiteY7641"/>
                </a:cxn>
                <a:cxn ang="0">
                  <a:pos x="connsiteX7642" y="connsiteY7642"/>
                </a:cxn>
                <a:cxn ang="0">
                  <a:pos x="connsiteX7643" y="connsiteY7643"/>
                </a:cxn>
                <a:cxn ang="0">
                  <a:pos x="connsiteX7644" y="connsiteY7644"/>
                </a:cxn>
                <a:cxn ang="0">
                  <a:pos x="connsiteX7645" y="connsiteY7645"/>
                </a:cxn>
                <a:cxn ang="0">
                  <a:pos x="connsiteX7646" y="connsiteY7646"/>
                </a:cxn>
                <a:cxn ang="0">
                  <a:pos x="connsiteX7647" y="connsiteY7647"/>
                </a:cxn>
                <a:cxn ang="0">
                  <a:pos x="connsiteX7648" y="connsiteY7648"/>
                </a:cxn>
                <a:cxn ang="0">
                  <a:pos x="connsiteX7649" y="connsiteY7649"/>
                </a:cxn>
                <a:cxn ang="0">
                  <a:pos x="connsiteX7650" y="connsiteY7650"/>
                </a:cxn>
                <a:cxn ang="0">
                  <a:pos x="connsiteX7651" y="connsiteY7651"/>
                </a:cxn>
                <a:cxn ang="0">
                  <a:pos x="connsiteX7652" y="connsiteY7652"/>
                </a:cxn>
                <a:cxn ang="0">
                  <a:pos x="connsiteX7653" y="connsiteY7653"/>
                </a:cxn>
                <a:cxn ang="0">
                  <a:pos x="connsiteX7654" y="connsiteY7654"/>
                </a:cxn>
                <a:cxn ang="0">
                  <a:pos x="connsiteX7655" y="connsiteY7655"/>
                </a:cxn>
                <a:cxn ang="0">
                  <a:pos x="connsiteX7656" y="connsiteY7656"/>
                </a:cxn>
                <a:cxn ang="0">
                  <a:pos x="connsiteX7657" y="connsiteY7657"/>
                </a:cxn>
                <a:cxn ang="0">
                  <a:pos x="connsiteX7658" y="connsiteY7658"/>
                </a:cxn>
                <a:cxn ang="0">
                  <a:pos x="connsiteX7659" y="connsiteY7659"/>
                </a:cxn>
                <a:cxn ang="0">
                  <a:pos x="connsiteX7660" y="connsiteY7660"/>
                </a:cxn>
                <a:cxn ang="0">
                  <a:pos x="connsiteX7661" y="connsiteY7661"/>
                </a:cxn>
                <a:cxn ang="0">
                  <a:pos x="connsiteX7662" y="connsiteY7662"/>
                </a:cxn>
                <a:cxn ang="0">
                  <a:pos x="connsiteX7663" y="connsiteY7663"/>
                </a:cxn>
                <a:cxn ang="0">
                  <a:pos x="connsiteX7664" y="connsiteY7664"/>
                </a:cxn>
                <a:cxn ang="0">
                  <a:pos x="connsiteX7665" y="connsiteY7665"/>
                </a:cxn>
                <a:cxn ang="0">
                  <a:pos x="connsiteX7666" y="connsiteY7666"/>
                </a:cxn>
                <a:cxn ang="0">
                  <a:pos x="connsiteX7667" y="connsiteY7667"/>
                </a:cxn>
                <a:cxn ang="0">
                  <a:pos x="connsiteX7668" y="connsiteY7668"/>
                </a:cxn>
                <a:cxn ang="0">
                  <a:pos x="connsiteX7669" y="connsiteY7669"/>
                </a:cxn>
                <a:cxn ang="0">
                  <a:pos x="connsiteX7670" y="connsiteY7670"/>
                </a:cxn>
                <a:cxn ang="0">
                  <a:pos x="connsiteX7671" y="connsiteY7671"/>
                </a:cxn>
                <a:cxn ang="0">
                  <a:pos x="connsiteX7672" y="connsiteY7672"/>
                </a:cxn>
                <a:cxn ang="0">
                  <a:pos x="connsiteX7673" y="connsiteY7673"/>
                </a:cxn>
                <a:cxn ang="0">
                  <a:pos x="connsiteX7674" y="connsiteY7674"/>
                </a:cxn>
                <a:cxn ang="0">
                  <a:pos x="connsiteX7675" y="connsiteY7675"/>
                </a:cxn>
                <a:cxn ang="0">
                  <a:pos x="connsiteX7676" y="connsiteY7676"/>
                </a:cxn>
                <a:cxn ang="0">
                  <a:pos x="connsiteX7677" y="connsiteY7677"/>
                </a:cxn>
                <a:cxn ang="0">
                  <a:pos x="connsiteX7678" y="connsiteY7678"/>
                </a:cxn>
                <a:cxn ang="0">
                  <a:pos x="connsiteX7679" y="connsiteY7679"/>
                </a:cxn>
                <a:cxn ang="0">
                  <a:pos x="connsiteX7680" y="connsiteY7680"/>
                </a:cxn>
                <a:cxn ang="0">
                  <a:pos x="connsiteX7681" y="connsiteY7681"/>
                </a:cxn>
                <a:cxn ang="0">
                  <a:pos x="connsiteX7682" y="connsiteY7682"/>
                </a:cxn>
                <a:cxn ang="0">
                  <a:pos x="connsiteX7683" y="connsiteY7683"/>
                </a:cxn>
                <a:cxn ang="0">
                  <a:pos x="connsiteX7684" y="connsiteY7684"/>
                </a:cxn>
                <a:cxn ang="0">
                  <a:pos x="connsiteX7685" y="connsiteY7685"/>
                </a:cxn>
                <a:cxn ang="0">
                  <a:pos x="connsiteX7686" y="connsiteY7686"/>
                </a:cxn>
                <a:cxn ang="0">
                  <a:pos x="connsiteX7687" y="connsiteY7687"/>
                </a:cxn>
                <a:cxn ang="0">
                  <a:pos x="connsiteX7688" y="connsiteY7688"/>
                </a:cxn>
                <a:cxn ang="0">
                  <a:pos x="connsiteX7689" y="connsiteY7689"/>
                </a:cxn>
                <a:cxn ang="0">
                  <a:pos x="connsiteX7690" y="connsiteY7690"/>
                </a:cxn>
                <a:cxn ang="0">
                  <a:pos x="connsiteX7691" y="connsiteY7691"/>
                </a:cxn>
                <a:cxn ang="0">
                  <a:pos x="connsiteX7692" y="connsiteY7692"/>
                </a:cxn>
                <a:cxn ang="0">
                  <a:pos x="connsiteX7693" y="connsiteY7693"/>
                </a:cxn>
                <a:cxn ang="0">
                  <a:pos x="connsiteX7694" y="connsiteY7694"/>
                </a:cxn>
                <a:cxn ang="0">
                  <a:pos x="connsiteX7695" y="connsiteY7695"/>
                </a:cxn>
                <a:cxn ang="0">
                  <a:pos x="connsiteX7696" y="connsiteY7696"/>
                </a:cxn>
                <a:cxn ang="0">
                  <a:pos x="connsiteX7697" y="connsiteY7697"/>
                </a:cxn>
                <a:cxn ang="0">
                  <a:pos x="connsiteX7698" y="connsiteY7698"/>
                </a:cxn>
                <a:cxn ang="0">
                  <a:pos x="connsiteX7699" y="connsiteY7699"/>
                </a:cxn>
                <a:cxn ang="0">
                  <a:pos x="connsiteX7700" y="connsiteY7700"/>
                </a:cxn>
                <a:cxn ang="0">
                  <a:pos x="connsiteX7701" y="connsiteY7701"/>
                </a:cxn>
                <a:cxn ang="0">
                  <a:pos x="connsiteX7702" y="connsiteY7702"/>
                </a:cxn>
                <a:cxn ang="0">
                  <a:pos x="connsiteX7703" y="connsiteY7703"/>
                </a:cxn>
                <a:cxn ang="0">
                  <a:pos x="connsiteX7704" y="connsiteY7704"/>
                </a:cxn>
                <a:cxn ang="0">
                  <a:pos x="connsiteX7705" y="connsiteY7705"/>
                </a:cxn>
                <a:cxn ang="0">
                  <a:pos x="connsiteX7706" y="connsiteY7706"/>
                </a:cxn>
                <a:cxn ang="0">
                  <a:pos x="connsiteX7707" y="connsiteY7707"/>
                </a:cxn>
                <a:cxn ang="0">
                  <a:pos x="connsiteX7708" y="connsiteY7708"/>
                </a:cxn>
                <a:cxn ang="0">
                  <a:pos x="connsiteX7709" y="connsiteY7709"/>
                </a:cxn>
                <a:cxn ang="0">
                  <a:pos x="connsiteX7710" y="connsiteY7710"/>
                </a:cxn>
                <a:cxn ang="0">
                  <a:pos x="connsiteX7711" y="connsiteY7711"/>
                </a:cxn>
                <a:cxn ang="0">
                  <a:pos x="connsiteX7712" y="connsiteY7712"/>
                </a:cxn>
                <a:cxn ang="0">
                  <a:pos x="connsiteX7713" y="connsiteY7713"/>
                </a:cxn>
                <a:cxn ang="0">
                  <a:pos x="connsiteX7714" y="connsiteY7714"/>
                </a:cxn>
                <a:cxn ang="0">
                  <a:pos x="connsiteX7715" y="connsiteY7715"/>
                </a:cxn>
                <a:cxn ang="0">
                  <a:pos x="connsiteX7716" y="connsiteY7716"/>
                </a:cxn>
                <a:cxn ang="0">
                  <a:pos x="connsiteX7717" y="connsiteY7717"/>
                </a:cxn>
                <a:cxn ang="0">
                  <a:pos x="connsiteX7718" y="connsiteY7718"/>
                </a:cxn>
                <a:cxn ang="0">
                  <a:pos x="connsiteX7719" y="connsiteY7719"/>
                </a:cxn>
                <a:cxn ang="0">
                  <a:pos x="connsiteX7720" y="connsiteY7720"/>
                </a:cxn>
                <a:cxn ang="0">
                  <a:pos x="connsiteX7721" y="connsiteY7721"/>
                </a:cxn>
                <a:cxn ang="0">
                  <a:pos x="connsiteX7722" y="connsiteY7722"/>
                </a:cxn>
                <a:cxn ang="0">
                  <a:pos x="connsiteX7723" y="connsiteY7723"/>
                </a:cxn>
                <a:cxn ang="0">
                  <a:pos x="connsiteX7724" y="connsiteY7724"/>
                </a:cxn>
                <a:cxn ang="0">
                  <a:pos x="connsiteX7725" y="connsiteY7725"/>
                </a:cxn>
                <a:cxn ang="0">
                  <a:pos x="connsiteX7726" y="connsiteY7726"/>
                </a:cxn>
                <a:cxn ang="0">
                  <a:pos x="connsiteX7727" y="connsiteY7727"/>
                </a:cxn>
                <a:cxn ang="0">
                  <a:pos x="connsiteX7728" y="connsiteY7728"/>
                </a:cxn>
                <a:cxn ang="0">
                  <a:pos x="connsiteX7729" y="connsiteY7729"/>
                </a:cxn>
                <a:cxn ang="0">
                  <a:pos x="connsiteX7730" y="connsiteY7730"/>
                </a:cxn>
                <a:cxn ang="0">
                  <a:pos x="connsiteX7731" y="connsiteY7731"/>
                </a:cxn>
                <a:cxn ang="0">
                  <a:pos x="connsiteX7732" y="connsiteY7732"/>
                </a:cxn>
                <a:cxn ang="0">
                  <a:pos x="connsiteX7733" y="connsiteY7733"/>
                </a:cxn>
                <a:cxn ang="0">
                  <a:pos x="connsiteX7734" y="connsiteY7734"/>
                </a:cxn>
                <a:cxn ang="0">
                  <a:pos x="connsiteX7735" y="connsiteY7735"/>
                </a:cxn>
                <a:cxn ang="0">
                  <a:pos x="connsiteX7736" y="connsiteY7736"/>
                </a:cxn>
                <a:cxn ang="0">
                  <a:pos x="connsiteX7737" y="connsiteY7737"/>
                </a:cxn>
                <a:cxn ang="0">
                  <a:pos x="connsiteX7738" y="connsiteY7738"/>
                </a:cxn>
                <a:cxn ang="0">
                  <a:pos x="connsiteX7739" y="connsiteY7739"/>
                </a:cxn>
                <a:cxn ang="0">
                  <a:pos x="connsiteX7740" y="connsiteY7740"/>
                </a:cxn>
                <a:cxn ang="0">
                  <a:pos x="connsiteX7741" y="connsiteY7741"/>
                </a:cxn>
                <a:cxn ang="0">
                  <a:pos x="connsiteX7742" y="connsiteY7742"/>
                </a:cxn>
                <a:cxn ang="0">
                  <a:pos x="connsiteX7743" y="connsiteY7743"/>
                </a:cxn>
                <a:cxn ang="0">
                  <a:pos x="connsiteX7744" y="connsiteY7744"/>
                </a:cxn>
                <a:cxn ang="0">
                  <a:pos x="connsiteX7745" y="connsiteY7745"/>
                </a:cxn>
                <a:cxn ang="0">
                  <a:pos x="connsiteX7746" y="connsiteY7746"/>
                </a:cxn>
                <a:cxn ang="0">
                  <a:pos x="connsiteX7747" y="connsiteY7747"/>
                </a:cxn>
                <a:cxn ang="0">
                  <a:pos x="connsiteX7748" y="connsiteY7748"/>
                </a:cxn>
                <a:cxn ang="0">
                  <a:pos x="connsiteX7749" y="connsiteY7749"/>
                </a:cxn>
                <a:cxn ang="0">
                  <a:pos x="connsiteX7750" y="connsiteY7750"/>
                </a:cxn>
                <a:cxn ang="0">
                  <a:pos x="connsiteX7751" y="connsiteY7751"/>
                </a:cxn>
                <a:cxn ang="0">
                  <a:pos x="connsiteX7752" y="connsiteY7752"/>
                </a:cxn>
                <a:cxn ang="0">
                  <a:pos x="connsiteX7753" y="connsiteY7753"/>
                </a:cxn>
                <a:cxn ang="0">
                  <a:pos x="connsiteX7754" y="connsiteY7754"/>
                </a:cxn>
                <a:cxn ang="0">
                  <a:pos x="connsiteX7755" y="connsiteY7755"/>
                </a:cxn>
                <a:cxn ang="0">
                  <a:pos x="connsiteX7756" y="connsiteY7756"/>
                </a:cxn>
                <a:cxn ang="0">
                  <a:pos x="connsiteX7757" y="connsiteY7757"/>
                </a:cxn>
                <a:cxn ang="0">
                  <a:pos x="connsiteX7758" y="connsiteY7758"/>
                </a:cxn>
                <a:cxn ang="0">
                  <a:pos x="connsiteX7759" y="connsiteY7759"/>
                </a:cxn>
                <a:cxn ang="0">
                  <a:pos x="connsiteX7760" y="connsiteY7760"/>
                </a:cxn>
                <a:cxn ang="0">
                  <a:pos x="connsiteX7761" y="connsiteY7761"/>
                </a:cxn>
                <a:cxn ang="0">
                  <a:pos x="connsiteX7762" y="connsiteY7762"/>
                </a:cxn>
                <a:cxn ang="0">
                  <a:pos x="connsiteX7763" y="connsiteY7763"/>
                </a:cxn>
                <a:cxn ang="0">
                  <a:pos x="connsiteX7764" y="connsiteY7764"/>
                </a:cxn>
                <a:cxn ang="0">
                  <a:pos x="connsiteX7765" y="connsiteY7765"/>
                </a:cxn>
                <a:cxn ang="0">
                  <a:pos x="connsiteX7766" y="connsiteY7766"/>
                </a:cxn>
                <a:cxn ang="0">
                  <a:pos x="connsiteX7767" y="connsiteY7767"/>
                </a:cxn>
                <a:cxn ang="0">
                  <a:pos x="connsiteX7768" y="connsiteY7768"/>
                </a:cxn>
                <a:cxn ang="0">
                  <a:pos x="connsiteX7769" y="connsiteY7769"/>
                </a:cxn>
                <a:cxn ang="0">
                  <a:pos x="connsiteX7770" y="connsiteY7770"/>
                </a:cxn>
                <a:cxn ang="0">
                  <a:pos x="connsiteX7771" y="connsiteY7771"/>
                </a:cxn>
                <a:cxn ang="0">
                  <a:pos x="connsiteX7772" y="connsiteY7772"/>
                </a:cxn>
                <a:cxn ang="0">
                  <a:pos x="connsiteX7773" y="connsiteY7773"/>
                </a:cxn>
                <a:cxn ang="0">
                  <a:pos x="connsiteX7774" y="connsiteY7774"/>
                </a:cxn>
                <a:cxn ang="0">
                  <a:pos x="connsiteX7775" y="connsiteY7775"/>
                </a:cxn>
                <a:cxn ang="0">
                  <a:pos x="connsiteX7776" y="connsiteY7776"/>
                </a:cxn>
                <a:cxn ang="0">
                  <a:pos x="connsiteX7777" y="connsiteY7777"/>
                </a:cxn>
                <a:cxn ang="0">
                  <a:pos x="connsiteX7778" y="connsiteY7778"/>
                </a:cxn>
                <a:cxn ang="0">
                  <a:pos x="connsiteX7779" y="connsiteY7779"/>
                </a:cxn>
                <a:cxn ang="0">
                  <a:pos x="connsiteX7780" y="connsiteY7780"/>
                </a:cxn>
                <a:cxn ang="0">
                  <a:pos x="connsiteX7781" y="connsiteY7781"/>
                </a:cxn>
                <a:cxn ang="0">
                  <a:pos x="connsiteX7782" y="connsiteY7782"/>
                </a:cxn>
                <a:cxn ang="0">
                  <a:pos x="connsiteX7783" y="connsiteY7783"/>
                </a:cxn>
                <a:cxn ang="0">
                  <a:pos x="connsiteX7784" y="connsiteY7784"/>
                </a:cxn>
                <a:cxn ang="0">
                  <a:pos x="connsiteX7785" y="connsiteY7785"/>
                </a:cxn>
                <a:cxn ang="0">
                  <a:pos x="connsiteX7786" y="connsiteY7786"/>
                </a:cxn>
                <a:cxn ang="0">
                  <a:pos x="connsiteX7787" y="connsiteY7787"/>
                </a:cxn>
                <a:cxn ang="0">
                  <a:pos x="connsiteX7788" y="connsiteY7788"/>
                </a:cxn>
                <a:cxn ang="0">
                  <a:pos x="connsiteX7789" y="connsiteY7789"/>
                </a:cxn>
                <a:cxn ang="0">
                  <a:pos x="connsiteX7790" y="connsiteY7790"/>
                </a:cxn>
                <a:cxn ang="0">
                  <a:pos x="connsiteX7791" y="connsiteY7791"/>
                </a:cxn>
                <a:cxn ang="0">
                  <a:pos x="connsiteX7792" y="connsiteY7792"/>
                </a:cxn>
                <a:cxn ang="0">
                  <a:pos x="connsiteX7793" y="connsiteY7793"/>
                </a:cxn>
                <a:cxn ang="0">
                  <a:pos x="connsiteX7794" y="connsiteY7794"/>
                </a:cxn>
                <a:cxn ang="0">
                  <a:pos x="connsiteX7795" y="connsiteY7795"/>
                </a:cxn>
                <a:cxn ang="0">
                  <a:pos x="connsiteX7796" y="connsiteY7796"/>
                </a:cxn>
                <a:cxn ang="0">
                  <a:pos x="connsiteX7797" y="connsiteY7797"/>
                </a:cxn>
                <a:cxn ang="0">
                  <a:pos x="connsiteX7798" y="connsiteY7798"/>
                </a:cxn>
                <a:cxn ang="0">
                  <a:pos x="connsiteX7799" y="connsiteY7799"/>
                </a:cxn>
                <a:cxn ang="0">
                  <a:pos x="connsiteX7800" y="connsiteY7800"/>
                </a:cxn>
                <a:cxn ang="0">
                  <a:pos x="connsiteX7801" y="connsiteY7801"/>
                </a:cxn>
                <a:cxn ang="0">
                  <a:pos x="connsiteX7802" y="connsiteY7802"/>
                </a:cxn>
                <a:cxn ang="0">
                  <a:pos x="connsiteX7803" y="connsiteY7803"/>
                </a:cxn>
                <a:cxn ang="0">
                  <a:pos x="connsiteX7804" y="connsiteY7804"/>
                </a:cxn>
                <a:cxn ang="0">
                  <a:pos x="connsiteX7805" y="connsiteY7805"/>
                </a:cxn>
                <a:cxn ang="0">
                  <a:pos x="connsiteX7806" y="connsiteY7806"/>
                </a:cxn>
                <a:cxn ang="0">
                  <a:pos x="connsiteX7807" y="connsiteY7807"/>
                </a:cxn>
                <a:cxn ang="0">
                  <a:pos x="connsiteX7808" y="connsiteY7808"/>
                </a:cxn>
                <a:cxn ang="0">
                  <a:pos x="connsiteX7809" y="connsiteY7809"/>
                </a:cxn>
                <a:cxn ang="0">
                  <a:pos x="connsiteX7810" y="connsiteY7810"/>
                </a:cxn>
                <a:cxn ang="0">
                  <a:pos x="connsiteX7811" y="connsiteY7811"/>
                </a:cxn>
                <a:cxn ang="0">
                  <a:pos x="connsiteX7812" y="connsiteY7812"/>
                </a:cxn>
                <a:cxn ang="0">
                  <a:pos x="connsiteX7813" y="connsiteY7813"/>
                </a:cxn>
                <a:cxn ang="0">
                  <a:pos x="connsiteX7814" y="connsiteY7814"/>
                </a:cxn>
                <a:cxn ang="0">
                  <a:pos x="connsiteX7815" y="connsiteY7815"/>
                </a:cxn>
                <a:cxn ang="0">
                  <a:pos x="connsiteX7816" y="connsiteY7816"/>
                </a:cxn>
                <a:cxn ang="0">
                  <a:pos x="connsiteX7817" y="connsiteY7817"/>
                </a:cxn>
                <a:cxn ang="0">
                  <a:pos x="connsiteX7818" y="connsiteY7818"/>
                </a:cxn>
                <a:cxn ang="0">
                  <a:pos x="connsiteX7819" y="connsiteY7819"/>
                </a:cxn>
                <a:cxn ang="0">
                  <a:pos x="connsiteX7820" y="connsiteY7820"/>
                </a:cxn>
                <a:cxn ang="0">
                  <a:pos x="connsiteX7821" y="connsiteY7821"/>
                </a:cxn>
                <a:cxn ang="0">
                  <a:pos x="connsiteX7822" y="connsiteY7822"/>
                </a:cxn>
                <a:cxn ang="0">
                  <a:pos x="connsiteX7823" y="connsiteY7823"/>
                </a:cxn>
                <a:cxn ang="0">
                  <a:pos x="connsiteX7824" y="connsiteY7824"/>
                </a:cxn>
                <a:cxn ang="0">
                  <a:pos x="connsiteX7825" y="connsiteY7825"/>
                </a:cxn>
                <a:cxn ang="0">
                  <a:pos x="connsiteX7826" y="connsiteY7826"/>
                </a:cxn>
                <a:cxn ang="0">
                  <a:pos x="connsiteX7827" y="connsiteY7827"/>
                </a:cxn>
                <a:cxn ang="0">
                  <a:pos x="connsiteX7828" y="connsiteY7828"/>
                </a:cxn>
                <a:cxn ang="0">
                  <a:pos x="connsiteX7829" y="connsiteY7829"/>
                </a:cxn>
                <a:cxn ang="0">
                  <a:pos x="connsiteX7830" y="connsiteY7830"/>
                </a:cxn>
                <a:cxn ang="0">
                  <a:pos x="connsiteX7831" y="connsiteY7831"/>
                </a:cxn>
                <a:cxn ang="0">
                  <a:pos x="connsiteX7832" y="connsiteY7832"/>
                </a:cxn>
                <a:cxn ang="0">
                  <a:pos x="connsiteX7833" y="connsiteY7833"/>
                </a:cxn>
                <a:cxn ang="0">
                  <a:pos x="connsiteX7834" y="connsiteY7834"/>
                </a:cxn>
                <a:cxn ang="0">
                  <a:pos x="connsiteX7835" y="connsiteY7835"/>
                </a:cxn>
                <a:cxn ang="0">
                  <a:pos x="connsiteX7836" y="connsiteY7836"/>
                </a:cxn>
                <a:cxn ang="0">
                  <a:pos x="connsiteX7837" y="connsiteY7837"/>
                </a:cxn>
                <a:cxn ang="0">
                  <a:pos x="connsiteX7838" y="connsiteY7838"/>
                </a:cxn>
                <a:cxn ang="0">
                  <a:pos x="connsiteX7839" y="connsiteY7839"/>
                </a:cxn>
                <a:cxn ang="0">
                  <a:pos x="connsiteX7840" y="connsiteY7840"/>
                </a:cxn>
                <a:cxn ang="0">
                  <a:pos x="connsiteX7841" y="connsiteY7841"/>
                </a:cxn>
                <a:cxn ang="0">
                  <a:pos x="connsiteX7842" y="connsiteY7842"/>
                </a:cxn>
                <a:cxn ang="0">
                  <a:pos x="connsiteX7843" y="connsiteY7843"/>
                </a:cxn>
                <a:cxn ang="0">
                  <a:pos x="connsiteX7844" y="connsiteY7844"/>
                </a:cxn>
                <a:cxn ang="0">
                  <a:pos x="connsiteX7845" y="connsiteY7845"/>
                </a:cxn>
                <a:cxn ang="0">
                  <a:pos x="connsiteX7846" y="connsiteY7846"/>
                </a:cxn>
                <a:cxn ang="0">
                  <a:pos x="connsiteX7847" y="connsiteY7847"/>
                </a:cxn>
                <a:cxn ang="0">
                  <a:pos x="connsiteX7848" y="connsiteY7848"/>
                </a:cxn>
                <a:cxn ang="0">
                  <a:pos x="connsiteX7849" y="connsiteY7849"/>
                </a:cxn>
                <a:cxn ang="0">
                  <a:pos x="connsiteX7850" y="connsiteY7850"/>
                </a:cxn>
                <a:cxn ang="0">
                  <a:pos x="connsiteX7851" y="connsiteY7851"/>
                </a:cxn>
                <a:cxn ang="0">
                  <a:pos x="connsiteX7852" y="connsiteY7852"/>
                </a:cxn>
                <a:cxn ang="0">
                  <a:pos x="connsiteX7853" y="connsiteY7853"/>
                </a:cxn>
                <a:cxn ang="0">
                  <a:pos x="connsiteX7854" y="connsiteY7854"/>
                </a:cxn>
                <a:cxn ang="0">
                  <a:pos x="connsiteX7855" y="connsiteY7855"/>
                </a:cxn>
                <a:cxn ang="0">
                  <a:pos x="connsiteX7856" y="connsiteY7856"/>
                </a:cxn>
                <a:cxn ang="0">
                  <a:pos x="connsiteX7857" y="connsiteY7857"/>
                </a:cxn>
                <a:cxn ang="0">
                  <a:pos x="connsiteX7858" y="connsiteY7858"/>
                </a:cxn>
                <a:cxn ang="0">
                  <a:pos x="connsiteX7859" y="connsiteY7859"/>
                </a:cxn>
                <a:cxn ang="0">
                  <a:pos x="connsiteX7860" y="connsiteY7860"/>
                </a:cxn>
                <a:cxn ang="0">
                  <a:pos x="connsiteX7861" y="connsiteY7861"/>
                </a:cxn>
                <a:cxn ang="0">
                  <a:pos x="connsiteX7862" y="connsiteY7862"/>
                </a:cxn>
                <a:cxn ang="0">
                  <a:pos x="connsiteX7863" y="connsiteY7863"/>
                </a:cxn>
                <a:cxn ang="0">
                  <a:pos x="connsiteX7864" y="connsiteY7864"/>
                </a:cxn>
                <a:cxn ang="0">
                  <a:pos x="connsiteX7865" y="connsiteY7865"/>
                </a:cxn>
                <a:cxn ang="0">
                  <a:pos x="connsiteX7866" y="connsiteY7866"/>
                </a:cxn>
                <a:cxn ang="0">
                  <a:pos x="connsiteX7867" y="connsiteY7867"/>
                </a:cxn>
                <a:cxn ang="0">
                  <a:pos x="connsiteX7868" y="connsiteY7868"/>
                </a:cxn>
                <a:cxn ang="0">
                  <a:pos x="connsiteX7869" y="connsiteY7869"/>
                </a:cxn>
                <a:cxn ang="0">
                  <a:pos x="connsiteX7870" y="connsiteY7870"/>
                </a:cxn>
                <a:cxn ang="0">
                  <a:pos x="connsiteX7871" y="connsiteY7871"/>
                </a:cxn>
                <a:cxn ang="0">
                  <a:pos x="connsiteX7872" y="connsiteY7872"/>
                </a:cxn>
                <a:cxn ang="0">
                  <a:pos x="connsiteX7873" y="connsiteY7873"/>
                </a:cxn>
                <a:cxn ang="0">
                  <a:pos x="connsiteX7874" y="connsiteY7874"/>
                </a:cxn>
                <a:cxn ang="0">
                  <a:pos x="connsiteX7875" y="connsiteY7875"/>
                </a:cxn>
                <a:cxn ang="0">
                  <a:pos x="connsiteX7876" y="connsiteY7876"/>
                </a:cxn>
                <a:cxn ang="0">
                  <a:pos x="connsiteX7877" y="connsiteY7877"/>
                </a:cxn>
                <a:cxn ang="0">
                  <a:pos x="connsiteX7878" y="connsiteY7878"/>
                </a:cxn>
                <a:cxn ang="0">
                  <a:pos x="connsiteX7879" y="connsiteY7879"/>
                </a:cxn>
                <a:cxn ang="0">
                  <a:pos x="connsiteX7880" y="connsiteY7880"/>
                </a:cxn>
                <a:cxn ang="0">
                  <a:pos x="connsiteX7881" y="connsiteY7881"/>
                </a:cxn>
                <a:cxn ang="0">
                  <a:pos x="connsiteX7882" y="connsiteY7882"/>
                </a:cxn>
                <a:cxn ang="0">
                  <a:pos x="connsiteX7883" y="connsiteY7883"/>
                </a:cxn>
                <a:cxn ang="0">
                  <a:pos x="connsiteX7884" y="connsiteY7884"/>
                </a:cxn>
                <a:cxn ang="0">
                  <a:pos x="connsiteX7885" y="connsiteY7885"/>
                </a:cxn>
                <a:cxn ang="0">
                  <a:pos x="connsiteX7886" y="connsiteY7886"/>
                </a:cxn>
                <a:cxn ang="0">
                  <a:pos x="connsiteX7887" y="connsiteY7887"/>
                </a:cxn>
                <a:cxn ang="0">
                  <a:pos x="connsiteX7888" y="connsiteY7888"/>
                </a:cxn>
                <a:cxn ang="0">
                  <a:pos x="connsiteX7889" y="connsiteY7889"/>
                </a:cxn>
                <a:cxn ang="0">
                  <a:pos x="connsiteX7890" y="connsiteY7890"/>
                </a:cxn>
                <a:cxn ang="0">
                  <a:pos x="connsiteX7891" y="connsiteY7891"/>
                </a:cxn>
                <a:cxn ang="0">
                  <a:pos x="connsiteX7892" y="connsiteY7892"/>
                </a:cxn>
                <a:cxn ang="0">
                  <a:pos x="connsiteX7893" y="connsiteY7893"/>
                </a:cxn>
                <a:cxn ang="0">
                  <a:pos x="connsiteX7894" y="connsiteY7894"/>
                </a:cxn>
                <a:cxn ang="0">
                  <a:pos x="connsiteX7895" y="connsiteY7895"/>
                </a:cxn>
                <a:cxn ang="0">
                  <a:pos x="connsiteX7896" y="connsiteY7896"/>
                </a:cxn>
                <a:cxn ang="0">
                  <a:pos x="connsiteX7897" y="connsiteY7897"/>
                </a:cxn>
                <a:cxn ang="0">
                  <a:pos x="connsiteX7898" y="connsiteY7898"/>
                </a:cxn>
                <a:cxn ang="0">
                  <a:pos x="connsiteX7899" y="connsiteY7899"/>
                </a:cxn>
                <a:cxn ang="0">
                  <a:pos x="connsiteX7900" y="connsiteY7900"/>
                </a:cxn>
                <a:cxn ang="0">
                  <a:pos x="connsiteX7901" y="connsiteY7901"/>
                </a:cxn>
                <a:cxn ang="0">
                  <a:pos x="connsiteX7902" y="connsiteY7902"/>
                </a:cxn>
                <a:cxn ang="0">
                  <a:pos x="connsiteX7903" y="connsiteY7903"/>
                </a:cxn>
                <a:cxn ang="0">
                  <a:pos x="connsiteX7904" y="connsiteY7904"/>
                </a:cxn>
                <a:cxn ang="0">
                  <a:pos x="connsiteX7905" y="connsiteY7905"/>
                </a:cxn>
                <a:cxn ang="0">
                  <a:pos x="connsiteX7906" y="connsiteY7906"/>
                </a:cxn>
                <a:cxn ang="0">
                  <a:pos x="connsiteX7907" y="connsiteY7907"/>
                </a:cxn>
                <a:cxn ang="0">
                  <a:pos x="connsiteX7908" y="connsiteY7908"/>
                </a:cxn>
                <a:cxn ang="0">
                  <a:pos x="connsiteX7909" y="connsiteY7909"/>
                </a:cxn>
                <a:cxn ang="0">
                  <a:pos x="connsiteX7910" y="connsiteY7910"/>
                </a:cxn>
                <a:cxn ang="0">
                  <a:pos x="connsiteX7911" y="connsiteY7911"/>
                </a:cxn>
                <a:cxn ang="0">
                  <a:pos x="connsiteX7912" y="connsiteY7912"/>
                </a:cxn>
                <a:cxn ang="0">
                  <a:pos x="connsiteX7913" y="connsiteY7913"/>
                </a:cxn>
                <a:cxn ang="0">
                  <a:pos x="connsiteX7914" y="connsiteY7914"/>
                </a:cxn>
                <a:cxn ang="0">
                  <a:pos x="connsiteX7915" y="connsiteY7915"/>
                </a:cxn>
                <a:cxn ang="0">
                  <a:pos x="connsiteX7916" y="connsiteY7916"/>
                </a:cxn>
                <a:cxn ang="0">
                  <a:pos x="connsiteX7917" y="connsiteY7917"/>
                </a:cxn>
                <a:cxn ang="0">
                  <a:pos x="connsiteX7918" y="connsiteY7918"/>
                </a:cxn>
                <a:cxn ang="0">
                  <a:pos x="connsiteX7919" y="connsiteY7919"/>
                </a:cxn>
                <a:cxn ang="0">
                  <a:pos x="connsiteX7920" y="connsiteY7920"/>
                </a:cxn>
                <a:cxn ang="0">
                  <a:pos x="connsiteX7921" y="connsiteY7921"/>
                </a:cxn>
                <a:cxn ang="0">
                  <a:pos x="connsiteX7922" y="connsiteY7922"/>
                </a:cxn>
                <a:cxn ang="0">
                  <a:pos x="connsiteX7923" y="connsiteY7923"/>
                </a:cxn>
                <a:cxn ang="0">
                  <a:pos x="connsiteX7924" y="connsiteY7924"/>
                </a:cxn>
                <a:cxn ang="0">
                  <a:pos x="connsiteX7925" y="connsiteY7925"/>
                </a:cxn>
                <a:cxn ang="0">
                  <a:pos x="connsiteX7926" y="connsiteY7926"/>
                </a:cxn>
                <a:cxn ang="0">
                  <a:pos x="connsiteX7927" y="connsiteY7927"/>
                </a:cxn>
                <a:cxn ang="0">
                  <a:pos x="connsiteX7928" y="connsiteY7928"/>
                </a:cxn>
                <a:cxn ang="0">
                  <a:pos x="connsiteX7929" y="connsiteY7929"/>
                </a:cxn>
                <a:cxn ang="0">
                  <a:pos x="connsiteX7930" y="connsiteY7930"/>
                </a:cxn>
                <a:cxn ang="0">
                  <a:pos x="connsiteX7931" y="connsiteY7931"/>
                </a:cxn>
                <a:cxn ang="0">
                  <a:pos x="connsiteX7932" y="connsiteY7932"/>
                </a:cxn>
                <a:cxn ang="0">
                  <a:pos x="connsiteX7933" y="connsiteY7933"/>
                </a:cxn>
                <a:cxn ang="0">
                  <a:pos x="connsiteX7934" y="connsiteY7934"/>
                </a:cxn>
                <a:cxn ang="0">
                  <a:pos x="connsiteX7935" y="connsiteY7935"/>
                </a:cxn>
                <a:cxn ang="0">
                  <a:pos x="connsiteX7936" y="connsiteY7936"/>
                </a:cxn>
                <a:cxn ang="0">
                  <a:pos x="connsiteX7937" y="connsiteY7937"/>
                </a:cxn>
                <a:cxn ang="0">
                  <a:pos x="connsiteX7938" y="connsiteY7938"/>
                </a:cxn>
                <a:cxn ang="0">
                  <a:pos x="connsiteX7939" y="connsiteY7939"/>
                </a:cxn>
                <a:cxn ang="0">
                  <a:pos x="connsiteX7940" y="connsiteY7940"/>
                </a:cxn>
                <a:cxn ang="0">
                  <a:pos x="connsiteX7941" y="connsiteY7941"/>
                </a:cxn>
                <a:cxn ang="0">
                  <a:pos x="connsiteX7942" y="connsiteY7942"/>
                </a:cxn>
                <a:cxn ang="0">
                  <a:pos x="connsiteX7943" y="connsiteY7943"/>
                </a:cxn>
                <a:cxn ang="0">
                  <a:pos x="connsiteX7944" y="connsiteY7944"/>
                </a:cxn>
                <a:cxn ang="0">
                  <a:pos x="connsiteX7945" y="connsiteY7945"/>
                </a:cxn>
                <a:cxn ang="0">
                  <a:pos x="connsiteX7946" y="connsiteY7946"/>
                </a:cxn>
                <a:cxn ang="0">
                  <a:pos x="connsiteX7947" y="connsiteY7947"/>
                </a:cxn>
                <a:cxn ang="0">
                  <a:pos x="connsiteX7948" y="connsiteY7948"/>
                </a:cxn>
                <a:cxn ang="0">
                  <a:pos x="connsiteX7949" y="connsiteY7949"/>
                </a:cxn>
                <a:cxn ang="0">
                  <a:pos x="connsiteX7950" y="connsiteY7950"/>
                </a:cxn>
                <a:cxn ang="0">
                  <a:pos x="connsiteX7951" y="connsiteY7951"/>
                </a:cxn>
                <a:cxn ang="0">
                  <a:pos x="connsiteX7952" y="connsiteY7952"/>
                </a:cxn>
                <a:cxn ang="0">
                  <a:pos x="connsiteX7953" y="connsiteY7953"/>
                </a:cxn>
                <a:cxn ang="0">
                  <a:pos x="connsiteX7954" y="connsiteY7954"/>
                </a:cxn>
                <a:cxn ang="0">
                  <a:pos x="connsiteX7955" y="connsiteY7955"/>
                </a:cxn>
                <a:cxn ang="0">
                  <a:pos x="connsiteX7956" y="connsiteY7956"/>
                </a:cxn>
                <a:cxn ang="0">
                  <a:pos x="connsiteX7957" y="connsiteY7957"/>
                </a:cxn>
                <a:cxn ang="0">
                  <a:pos x="connsiteX7958" y="connsiteY7958"/>
                </a:cxn>
                <a:cxn ang="0">
                  <a:pos x="connsiteX7959" y="connsiteY7959"/>
                </a:cxn>
                <a:cxn ang="0">
                  <a:pos x="connsiteX7960" y="connsiteY7960"/>
                </a:cxn>
                <a:cxn ang="0">
                  <a:pos x="connsiteX7961" y="connsiteY7961"/>
                </a:cxn>
                <a:cxn ang="0">
                  <a:pos x="connsiteX7962" y="connsiteY7962"/>
                </a:cxn>
                <a:cxn ang="0">
                  <a:pos x="connsiteX7963" y="connsiteY7963"/>
                </a:cxn>
                <a:cxn ang="0">
                  <a:pos x="connsiteX7964" y="connsiteY7964"/>
                </a:cxn>
                <a:cxn ang="0">
                  <a:pos x="connsiteX7965" y="connsiteY7965"/>
                </a:cxn>
                <a:cxn ang="0">
                  <a:pos x="connsiteX7966" y="connsiteY7966"/>
                </a:cxn>
                <a:cxn ang="0">
                  <a:pos x="connsiteX7967" y="connsiteY7967"/>
                </a:cxn>
                <a:cxn ang="0">
                  <a:pos x="connsiteX7968" y="connsiteY7968"/>
                </a:cxn>
                <a:cxn ang="0">
                  <a:pos x="connsiteX7969" y="connsiteY7969"/>
                </a:cxn>
                <a:cxn ang="0">
                  <a:pos x="connsiteX7970" y="connsiteY7970"/>
                </a:cxn>
                <a:cxn ang="0">
                  <a:pos x="connsiteX7971" y="connsiteY7971"/>
                </a:cxn>
                <a:cxn ang="0">
                  <a:pos x="connsiteX7972" y="connsiteY7972"/>
                </a:cxn>
                <a:cxn ang="0">
                  <a:pos x="connsiteX7973" y="connsiteY7973"/>
                </a:cxn>
                <a:cxn ang="0">
                  <a:pos x="connsiteX7974" y="connsiteY7974"/>
                </a:cxn>
                <a:cxn ang="0">
                  <a:pos x="connsiteX7975" y="connsiteY7975"/>
                </a:cxn>
                <a:cxn ang="0">
                  <a:pos x="connsiteX7976" y="connsiteY7976"/>
                </a:cxn>
                <a:cxn ang="0">
                  <a:pos x="connsiteX7977" y="connsiteY7977"/>
                </a:cxn>
                <a:cxn ang="0">
                  <a:pos x="connsiteX7978" y="connsiteY7978"/>
                </a:cxn>
                <a:cxn ang="0">
                  <a:pos x="connsiteX7979" y="connsiteY7979"/>
                </a:cxn>
                <a:cxn ang="0">
                  <a:pos x="connsiteX7980" y="connsiteY7980"/>
                </a:cxn>
                <a:cxn ang="0">
                  <a:pos x="connsiteX7981" y="connsiteY7981"/>
                </a:cxn>
                <a:cxn ang="0">
                  <a:pos x="connsiteX7982" y="connsiteY7982"/>
                </a:cxn>
                <a:cxn ang="0">
                  <a:pos x="connsiteX7983" y="connsiteY7983"/>
                </a:cxn>
                <a:cxn ang="0">
                  <a:pos x="connsiteX7984" y="connsiteY7984"/>
                </a:cxn>
                <a:cxn ang="0">
                  <a:pos x="connsiteX7985" y="connsiteY7985"/>
                </a:cxn>
                <a:cxn ang="0">
                  <a:pos x="connsiteX7986" y="connsiteY7986"/>
                </a:cxn>
                <a:cxn ang="0">
                  <a:pos x="connsiteX7987" y="connsiteY7987"/>
                </a:cxn>
                <a:cxn ang="0">
                  <a:pos x="connsiteX7988" y="connsiteY7988"/>
                </a:cxn>
                <a:cxn ang="0">
                  <a:pos x="connsiteX7989" y="connsiteY7989"/>
                </a:cxn>
                <a:cxn ang="0">
                  <a:pos x="connsiteX7990" y="connsiteY7990"/>
                </a:cxn>
                <a:cxn ang="0">
                  <a:pos x="connsiteX7991" y="connsiteY7991"/>
                </a:cxn>
                <a:cxn ang="0">
                  <a:pos x="connsiteX7992" y="connsiteY7992"/>
                </a:cxn>
                <a:cxn ang="0">
                  <a:pos x="connsiteX7993" y="connsiteY7993"/>
                </a:cxn>
                <a:cxn ang="0">
                  <a:pos x="connsiteX7994" y="connsiteY7994"/>
                </a:cxn>
                <a:cxn ang="0">
                  <a:pos x="connsiteX7995" y="connsiteY7995"/>
                </a:cxn>
                <a:cxn ang="0">
                  <a:pos x="connsiteX7996" y="connsiteY7996"/>
                </a:cxn>
                <a:cxn ang="0">
                  <a:pos x="connsiteX7997" y="connsiteY7997"/>
                </a:cxn>
                <a:cxn ang="0">
                  <a:pos x="connsiteX7998" y="connsiteY7998"/>
                </a:cxn>
                <a:cxn ang="0">
                  <a:pos x="connsiteX7999" y="connsiteY7999"/>
                </a:cxn>
                <a:cxn ang="0">
                  <a:pos x="connsiteX8000" y="connsiteY8000"/>
                </a:cxn>
                <a:cxn ang="0">
                  <a:pos x="connsiteX8001" y="connsiteY8001"/>
                </a:cxn>
                <a:cxn ang="0">
                  <a:pos x="connsiteX8002" y="connsiteY8002"/>
                </a:cxn>
                <a:cxn ang="0">
                  <a:pos x="connsiteX8003" y="connsiteY8003"/>
                </a:cxn>
                <a:cxn ang="0">
                  <a:pos x="connsiteX8004" y="connsiteY8004"/>
                </a:cxn>
                <a:cxn ang="0">
                  <a:pos x="connsiteX8005" y="connsiteY8005"/>
                </a:cxn>
                <a:cxn ang="0">
                  <a:pos x="connsiteX8006" y="connsiteY8006"/>
                </a:cxn>
                <a:cxn ang="0">
                  <a:pos x="connsiteX8007" y="connsiteY8007"/>
                </a:cxn>
                <a:cxn ang="0">
                  <a:pos x="connsiteX8008" y="connsiteY8008"/>
                </a:cxn>
                <a:cxn ang="0">
                  <a:pos x="connsiteX8009" y="connsiteY8009"/>
                </a:cxn>
                <a:cxn ang="0">
                  <a:pos x="connsiteX8010" y="connsiteY8010"/>
                </a:cxn>
                <a:cxn ang="0">
                  <a:pos x="connsiteX8011" y="connsiteY8011"/>
                </a:cxn>
                <a:cxn ang="0">
                  <a:pos x="connsiteX8012" y="connsiteY8012"/>
                </a:cxn>
                <a:cxn ang="0">
                  <a:pos x="connsiteX8013" y="connsiteY8013"/>
                </a:cxn>
                <a:cxn ang="0">
                  <a:pos x="connsiteX8014" y="connsiteY8014"/>
                </a:cxn>
                <a:cxn ang="0">
                  <a:pos x="connsiteX8015" y="connsiteY8015"/>
                </a:cxn>
                <a:cxn ang="0">
                  <a:pos x="connsiteX8016" y="connsiteY8016"/>
                </a:cxn>
                <a:cxn ang="0">
                  <a:pos x="connsiteX8017" y="connsiteY8017"/>
                </a:cxn>
                <a:cxn ang="0">
                  <a:pos x="connsiteX8018" y="connsiteY8018"/>
                </a:cxn>
                <a:cxn ang="0">
                  <a:pos x="connsiteX8019" y="connsiteY8019"/>
                </a:cxn>
                <a:cxn ang="0">
                  <a:pos x="connsiteX8020" y="connsiteY8020"/>
                </a:cxn>
                <a:cxn ang="0">
                  <a:pos x="connsiteX8021" y="connsiteY8021"/>
                </a:cxn>
                <a:cxn ang="0">
                  <a:pos x="connsiteX8022" y="connsiteY8022"/>
                </a:cxn>
                <a:cxn ang="0">
                  <a:pos x="connsiteX8023" y="connsiteY8023"/>
                </a:cxn>
                <a:cxn ang="0">
                  <a:pos x="connsiteX8024" y="connsiteY8024"/>
                </a:cxn>
                <a:cxn ang="0">
                  <a:pos x="connsiteX8025" y="connsiteY8025"/>
                </a:cxn>
                <a:cxn ang="0">
                  <a:pos x="connsiteX8026" y="connsiteY8026"/>
                </a:cxn>
                <a:cxn ang="0">
                  <a:pos x="connsiteX8027" y="connsiteY8027"/>
                </a:cxn>
                <a:cxn ang="0">
                  <a:pos x="connsiteX8028" y="connsiteY8028"/>
                </a:cxn>
                <a:cxn ang="0">
                  <a:pos x="connsiteX8029" y="connsiteY8029"/>
                </a:cxn>
                <a:cxn ang="0">
                  <a:pos x="connsiteX8030" y="connsiteY8030"/>
                </a:cxn>
                <a:cxn ang="0">
                  <a:pos x="connsiteX8031" y="connsiteY8031"/>
                </a:cxn>
                <a:cxn ang="0">
                  <a:pos x="connsiteX8032" y="connsiteY8032"/>
                </a:cxn>
                <a:cxn ang="0">
                  <a:pos x="connsiteX8033" y="connsiteY8033"/>
                </a:cxn>
                <a:cxn ang="0">
                  <a:pos x="connsiteX8034" y="connsiteY8034"/>
                </a:cxn>
                <a:cxn ang="0">
                  <a:pos x="connsiteX8035" y="connsiteY8035"/>
                </a:cxn>
                <a:cxn ang="0">
                  <a:pos x="connsiteX8036" y="connsiteY8036"/>
                </a:cxn>
                <a:cxn ang="0">
                  <a:pos x="connsiteX8037" y="connsiteY8037"/>
                </a:cxn>
                <a:cxn ang="0">
                  <a:pos x="connsiteX8038" y="connsiteY8038"/>
                </a:cxn>
                <a:cxn ang="0">
                  <a:pos x="connsiteX8039" y="connsiteY8039"/>
                </a:cxn>
                <a:cxn ang="0">
                  <a:pos x="connsiteX8040" y="connsiteY8040"/>
                </a:cxn>
                <a:cxn ang="0">
                  <a:pos x="connsiteX8041" y="connsiteY8041"/>
                </a:cxn>
                <a:cxn ang="0">
                  <a:pos x="connsiteX8042" y="connsiteY8042"/>
                </a:cxn>
                <a:cxn ang="0">
                  <a:pos x="connsiteX8043" y="connsiteY8043"/>
                </a:cxn>
                <a:cxn ang="0">
                  <a:pos x="connsiteX8044" y="connsiteY8044"/>
                </a:cxn>
                <a:cxn ang="0">
                  <a:pos x="connsiteX8045" y="connsiteY8045"/>
                </a:cxn>
                <a:cxn ang="0">
                  <a:pos x="connsiteX8046" y="connsiteY8046"/>
                </a:cxn>
                <a:cxn ang="0">
                  <a:pos x="connsiteX8047" y="connsiteY8047"/>
                </a:cxn>
                <a:cxn ang="0">
                  <a:pos x="connsiteX8048" y="connsiteY8048"/>
                </a:cxn>
                <a:cxn ang="0">
                  <a:pos x="connsiteX8049" y="connsiteY8049"/>
                </a:cxn>
                <a:cxn ang="0">
                  <a:pos x="connsiteX8050" y="connsiteY8050"/>
                </a:cxn>
                <a:cxn ang="0">
                  <a:pos x="connsiteX8051" y="connsiteY8051"/>
                </a:cxn>
                <a:cxn ang="0">
                  <a:pos x="connsiteX8052" y="connsiteY8052"/>
                </a:cxn>
                <a:cxn ang="0">
                  <a:pos x="connsiteX8053" y="connsiteY8053"/>
                </a:cxn>
                <a:cxn ang="0">
                  <a:pos x="connsiteX8054" y="connsiteY8054"/>
                </a:cxn>
                <a:cxn ang="0">
                  <a:pos x="connsiteX8055" y="connsiteY8055"/>
                </a:cxn>
                <a:cxn ang="0">
                  <a:pos x="connsiteX8056" y="connsiteY8056"/>
                </a:cxn>
                <a:cxn ang="0">
                  <a:pos x="connsiteX8057" y="connsiteY8057"/>
                </a:cxn>
                <a:cxn ang="0">
                  <a:pos x="connsiteX8058" y="connsiteY8058"/>
                </a:cxn>
                <a:cxn ang="0">
                  <a:pos x="connsiteX8059" y="connsiteY8059"/>
                </a:cxn>
                <a:cxn ang="0">
                  <a:pos x="connsiteX8060" y="connsiteY8060"/>
                </a:cxn>
                <a:cxn ang="0">
                  <a:pos x="connsiteX8061" y="connsiteY8061"/>
                </a:cxn>
                <a:cxn ang="0">
                  <a:pos x="connsiteX8062" y="connsiteY8062"/>
                </a:cxn>
                <a:cxn ang="0">
                  <a:pos x="connsiteX8063" y="connsiteY8063"/>
                </a:cxn>
                <a:cxn ang="0">
                  <a:pos x="connsiteX8064" y="connsiteY8064"/>
                </a:cxn>
                <a:cxn ang="0">
                  <a:pos x="connsiteX8065" y="connsiteY8065"/>
                </a:cxn>
                <a:cxn ang="0">
                  <a:pos x="connsiteX8066" y="connsiteY8066"/>
                </a:cxn>
                <a:cxn ang="0">
                  <a:pos x="connsiteX8067" y="connsiteY8067"/>
                </a:cxn>
                <a:cxn ang="0">
                  <a:pos x="connsiteX8068" y="connsiteY8068"/>
                </a:cxn>
                <a:cxn ang="0">
                  <a:pos x="connsiteX8069" y="connsiteY8069"/>
                </a:cxn>
                <a:cxn ang="0">
                  <a:pos x="connsiteX8070" y="connsiteY8070"/>
                </a:cxn>
                <a:cxn ang="0">
                  <a:pos x="connsiteX8071" y="connsiteY8071"/>
                </a:cxn>
                <a:cxn ang="0">
                  <a:pos x="connsiteX8072" y="connsiteY8072"/>
                </a:cxn>
                <a:cxn ang="0">
                  <a:pos x="connsiteX8073" y="connsiteY8073"/>
                </a:cxn>
                <a:cxn ang="0">
                  <a:pos x="connsiteX8074" y="connsiteY8074"/>
                </a:cxn>
                <a:cxn ang="0">
                  <a:pos x="connsiteX8075" y="connsiteY8075"/>
                </a:cxn>
                <a:cxn ang="0">
                  <a:pos x="connsiteX8076" y="connsiteY8076"/>
                </a:cxn>
                <a:cxn ang="0">
                  <a:pos x="connsiteX8077" y="connsiteY8077"/>
                </a:cxn>
                <a:cxn ang="0">
                  <a:pos x="connsiteX8078" y="connsiteY8078"/>
                </a:cxn>
                <a:cxn ang="0">
                  <a:pos x="connsiteX8079" y="connsiteY8079"/>
                </a:cxn>
                <a:cxn ang="0">
                  <a:pos x="connsiteX8080" y="connsiteY8080"/>
                </a:cxn>
                <a:cxn ang="0">
                  <a:pos x="connsiteX8081" y="connsiteY8081"/>
                </a:cxn>
                <a:cxn ang="0">
                  <a:pos x="connsiteX8082" y="connsiteY8082"/>
                </a:cxn>
                <a:cxn ang="0">
                  <a:pos x="connsiteX8083" y="connsiteY8083"/>
                </a:cxn>
                <a:cxn ang="0">
                  <a:pos x="connsiteX8084" y="connsiteY8084"/>
                </a:cxn>
                <a:cxn ang="0">
                  <a:pos x="connsiteX8085" y="connsiteY8085"/>
                </a:cxn>
                <a:cxn ang="0">
                  <a:pos x="connsiteX8086" y="connsiteY8086"/>
                </a:cxn>
                <a:cxn ang="0">
                  <a:pos x="connsiteX8087" y="connsiteY8087"/>
                </a:cxn>
                <a:cxn ang="0">
                  <a:pos x="connsiteX8088" y="connsiteY8088"/>
                </a:cxn>
                <a:cxn ang="0">
                  <a:pos x="connsiteX8089" y="connsiteY8089"/>
                </a:cxn>
                <a:cxn ang="0">
                  <a:pos x="connsiteX8090" y="connsiteY8090"/>
                </a:cxn>
                <a:cxn ang="0">
                  <a:pos x="connsiteX8091" y="connsiteY8091"/>
                </a:cxn>
                <a:cxn ang="0">
                  <a:pos x="connsiteX8092" y="connsiteY8092"/>
                </a:cxn>
                <a:cxn ang="0">
                  <a:pos x="connsiteX8093" y="connsiteY8093"/>
                </a:cxn>
                <a:cxn ang="0">
                  <a:pos x="connsiteX8094" y="connsiteY8094"/>
                </a:cxn>
                <a:cxn ang="0">
                  <a:pos x="connsiteX8095" y="connsiteY8095"/>
                </a:cxn>
                <a:cxn ang="0">
                  <a:pos x="connsiteX8096" y="connsiteY8096"/>
                </a:cxn>
                <a:cxn ang="0">
                  <a:pos x="connsiteX8097" y="connsiteY8097"/>
                </a:cxn>
                <a:cxn ang="0">
                  <a:pos x="connsiteX8098" y="connsiteY8098"/>
                </a:cxn>
                <a:cxn ang="0">
                  <a:pos x="connsiteX8099" y="connsiteY8099"/>
                </a:cxn>
                <a:cxn ang="0">
                  <a:pos x="connsiteX8100" y="connsiteY8100"/>
                </a:cxn>
                <a:cxn ang="0">
                  <a:pos x="connsiteX8101" y="connsiteY8101"/>
                </a:cxn>
                <a:cxn ang="0">
                  <a:pos x="connsiteX8102" y="connsiteY8102"/>
                </a:cxn>
                <a:cxn ang="0">
                  <a:pos x="connsiteX8103" y="connsiteY8103"/>
                </a:cxn>
                <a:cxn ang="0">
                  <a:pos x="connsiteX8104" y="connsiteY8104"/>
                </a:cxn>
                <a:cxn ang="0">
                  <a:pos x="connsiteX8105" y="connsiteY8105"/>
                </a:cxn>
                <a:cxn ang="0">
                  <a:pos x="connsiteX8106" y="connsiteY8106"/>
                </a:cxn>
                <a:cxn ang="0">
                  <a:pos x="connsiteX8107" y="connsiteY8107"/>
                </a:cxn>
                <a:cxn ang="0">
                  <a:pos x="connsiteX8108" y="connsiteY8108"/>
                </a:cxn>
                <a:cxn ang="0">
                  <a:pos x="connsiteX8109" y="connsiteY8109"/>
                </a:cxn>
                <a:cxn ang="0">
                  <a:pos x="connsiteX8110" y="connsiteY8110"/>
                </a:cxn>
                <a:cxn ang="0">
                  <a:pos x="connsiteX8111" y="connsiteY8111"/>
                </a:cxn>
                <a:cxn ang="0">
                  <a:pos x="connsiteX8112" y="connsiteY8112"/>
                </a:cxn>
                <a:cxn ang="0">
                  <a:pos x="connsiteX8113" y="connsiteY8113"/>
                </a:cxn>
                <a:cxn ang="0">
                  <a:pos x="connsiteX8114" y="connsiteY8114"/>
                </a:cxn>
                <a:cxn ang="0">
                  <a:pos x="connsiteX8115" y="connsiteY8115"/>
                </a:cxn>
                <a:cxn ang="0">
                  <a:pos x="connsiteX8116" y="connsiteY8116"/>
                </a:cxn>
                <a:cxn ang="0">
                  <a:pos x="connsiteX8117" y="connsiteY8117"/>
                </a:cxn>
                <a:cxn ang="0">
                  <a:pos x="connsiteX8118" y="connsiteY8118"/>
                </a:cxn>
                <a:cxn ang="0">
                  <a:pos x="connsiteX8119" y="connsiteY8119"/>
                </a:cxn>
                <a:cxn ang="0">
                  <a:pos x="connsiteX8120" y="connsiteY8120"/>
                </a:cxn>
                <a:cxn ang="0">
                  <a:pos x="connsiteX8121" y="connsiteY8121"/>
                </a:cxn>
                <a:cxn ang="0">
                  <a:pos x="connsiteX8122" y="connsiteY8122"/>
                </a:cxn>
                <a:cxn ang="0">
                  <a:pos x="connsiteX8123" y="connsiteY8123"/>
                </a:cxn>
                <a:cxn ang="0">
                  <a:pos x="connsiteX8124" y="connsiteY8124"/>
                </a:cxn>
                <a:cxn ang="0">
                  <a:pos x="connsiteX8125" y="connsiteY8125"/>
                </a:cxn>
                <a:cxn ang="0">
                  <a:pos x="connsiteX8126" y="connsiteY8126"/>
                </a:cxn>
                <a:cxn ang="0">
                  <a:pos x="connsiteX8127" y="connsiteY8127"/>
                </a:cxn>
                <a:cxn ang="0">
                  <a:pos x="connsiteX8128" y="connsiteY8128"/>
                </a:cxn>
                <a:cxn ang="0">
                  <a:pos x="connsiteX8129" y="connsiteY8129"/>
                </a:cxn>
                <a:cxn ang="0">
                  <a:pos x="connsiteX8130" y="connsiteY8130"/>
                </a:cxn>
                <a:cxn ang="0">
                  <a:pos x="connsiteX8131" y="connsiteY8131"/>
                </a:cxn>
                <a:cxn ang="0">
                  <a:pos x="connsiteX8132" y="connsiteY8132"/>
                </a:cxn>
                <a:cxn ang="0">
                  <a:pos x="connsiteX8133" y="connsiteY8133"/>
                </a:cxn>
                <a:cxn ang="0">
                  <a:pos x="connsiteX8134" y="connsiteY8134"/>
                </a:cxn>
                <a:cxn ang="0">
                  <a:pos x="connsiteX8135" y="connsiteY8135"/>
                </a:cxn>
                <a:cxn ang="0">
                  <a:pos x="connsiteX8136" y="connsiteY8136"/>
                </a:cxn>
                <a:cxn ang="0">
                  <a:pos x="connsiteX8137" y="connsiteY8137"/>
                </a:cxn>
                <a:cxn ang="0">
                  <a:pos x="connsiteX8138" y="connsiteY8138"/>
                </a:cxn>
                <a:cxn ang="0">
                  <a:pos x="connsiteX8139" y="connsiteY8139"/>
                </a:cxn>
                <a:cxn ang="0">
                  <a:pos x="connsiteX8140" y="connsiteY8140"/>
                </a:cxn>
                <a:cxn ang="0">
                  <a:pos x="connsiteX8141" y="connsiteY8141"/>
                </a:cxn>
                <a:cxn ang="0">
                  <a:pos x="connsiteX8142" y="connsiteY8142"/>
                </a:cxn>
                <a:cxn ang="0">
                  <a:pos x="connsiteX8143" y="connsiteY8143"/>
                </a:cxn>
                <a:cxn ang="0">
                  <a:pos x="connsiteX8144" y="connsiteY8144"/>
                </a:cxn>
                <a:cxn ang="0">
                  <a:pos x="connsiteX8145" y="connsiteY8145"/>
                </a:cxn>
                <a:cxn ang="0">
                  <a:pos x="connsiteX8146" y="connsiteY8146"/>
                </a:cxn>
                <a:cxn ang="0">
                  <a:pos x="connsiteX8147" y="connsiteY8147"/>
                </a:cxn>
                <a:cxn ang="0">
                  <a:pos x="connsiteX8148" y="connsiteY8148"/>
                </a:cxn>
                <a:cxn ang="0">
                  <a:pos x="connsiteX8149" y="connsiteY8149"/>
                </a:cxn>
                <a:cxn ang="0">
                  <a:pos x="connsiteX8150" y="connsiteY8150"/>
                </a:cxn>
                <a:cxn ang="0">
                  <a:pos x="connsiteX8151" y="connsiteY8151"/>
                </a:cxn>
                <a:cxn ang="0">
                  <a:pos x="connsiteX8152" y="connsiteY8152"/>
                </a:cxn>
                <a:cxn ang="0">
                  <a:pos x="connsiteX8153" y="connsiteY8153"/>
                </a:cxn>
                <a:cxn ang="0">
                  <a:pos x="connsiteX8154" y="connsiteY8154"/>
                </a:cxn>
                <a:cxn ang="0">
                  <a:pos x="connsiteX8155" y="connsiteY8155"/>
                </a:cxn>
                <a:cxn ang="0">
                  <a:pos x="connsiteX8156" y="connsiteY8156"/>
                </a:cxn>
                <a:cxn ang="0">
                  <a:pos x="connsiteX8157" y="connsiteY8157"/>
                </a:cxn>
                <a:cxn ang="0">
                  <a:pos x="connsiteX8158" y="connsiteY8158"/>
                </a:cxn>
                <a:cxn ang="0">
                  <a:pos x="connsiteX8159" y="connsiteY8159"/>
                </a:cxn>
                <a:cxn ang="0">
                  <a:pos x="connsiteX8160" y="connsiteY8160"/>
                </a:cxn>
                <a:cxn ang="0">
                  <a:pos x="connsiteX8161" y="connsiteY8161"/>
                </a:cxn>
                <a:cxn ang="0">
                  <a:pos x="connsiteX8162" y="connsiteY8162"/>
                </a:cxn>
                <a:cxn ang="0">
                  <a:pos x="connsiteX8163" y="connsiteY8163"/>
                </a:cxn>
                <a:cxn ang="0">
                  <a:pos x="connsiteX8164" y="connsiteY8164"/>
                </a:cxn>
                <a:cxn ang="0">
                  <a:pos x="connsiteX8165" y="connsiteY8165"/>
                </a:cxn>
                <a:cxn ang="0">
                  <a:pos x="connsiteX8166" y="connsiteY8166"/>
                </a:cxn>
                <a:cxn ang="0">
                  <a:pos x="connsiteX8167" y="connsiteY8167"/>
                </a:cxn>
                <a:cxn ang="0">
                  <a:pos x="connsiteX8168" y="connsiteY8168"/>
                </a:cxn>
                <a:cxn ang="0">
                  <a:pos x="connsiteX8169" y="connsiteY8169"/>
                </a:cxn>
                <a:cxn ang="0">
                  <a:pos x="connsiteX8170" y="connsiteY8170"/>
                </a:cxn>
                <a:cxn ang="0">
                  <a:pos x="connsiteX8171" y="connsiteY8171"/>
                </a:cxn>
                <a:cxn ang="0">
                  <a:pos x="connsiteX8172" y="connsiteY8172"/>
                </a:cxn>
                <a:cxn ang="0">
                  <a:pos x="connsiteX8173" y="connsiteY8173"/>
                </a:cxn>
                <a:cxn ang="0">
                  <a:pos x="connsiteX8174" y="connsiteY8174"/>
                </a:cxn>
                <a:cxn ang="0">
                  <a:pos x="connsiteX8175" y="connsiteY8175"/>
                </a:cxn>
                <a:cxn ang="0">
                  <a:pos x="connsiteX8176" y="connsiteY8176"/>
                </a:cxn>
                <a:cxn ang="0">
                  <a:pos x="connsiteX8177" y="connsiteY8177"/>
                </a:cxn>
                <a:cxn ang="0">
                  <a:pos x="connsiteX8178" y="connsiteY8178"/>
                </a:cxn>
                <a:cxn ang="0">
                  <a:pos x="connsiteX8179" y="connsiteY8179"/>
                </a:cxn>
                <a:cxn ang="0">
                  <a:pos x="connsiteX8180" y="connsiteY8180"/>
                </a:cxn>
                <a:cxn ang="0">
                  <a:pos x="connsiteX8181" y="connsiteY8181"/>
                </a:cxn>
                <a:cxn ang="0">
                  <a:pos x="connsiteX8182" y="connsiteY8182"/>
                </a:cxn>
                <a:cxn ang="0">
                  <a:pos x="connsiteX8183" y="connsiteY8183"/>
                </a:cxn>
                <a:cxn ang="0">
                  <a:pos x="connsiteX8184" y="connsiteY8184"/>
                </a:cxn>
                <a:cxn ang="0">
                  <a:pos x="connsiteX8185" y="connsiteY8185"/>
                </a:cxn>
                <a:cxn ang="0">
                  <a:pos x="connsiteX8186" y="connsiteY8186"/>
                </a:cxn>
                <a:cxn ang="0">
                  <a:pos x="connsiteX8187" y="connsiteY8187"/>
                </a:cxn>
                <a:cxn ang="0">
                  <a:pos x="connsiteX8188" y="connsiteY8188"/>
                </a:cxn>
                <a:cxn ang="0">
                  <a:pos x="connsiteX8189" y="connsiteY8189"/>
                </a:cxn>
                <a:cxn ang="0">
                  <a:pos x="connsiteX8190" y="connsiteY8190"/>
                </a:cxn>
                <a:cxn ang="0">
                  <a:pos x="connsiteX8191" y="connsiteY8191"/>
                </a:cxn>
                <a:cxn ang="0">
                  <a:pos x="connsiteX8192" y="connsiteY8192"/>
                </a:cxn>
                <a:cxn ang="0">
                  <a:pos x="connsiteX8193" y="connsiteY8193"/>
                </a:cxn>
                <a:cxn ang="0">
                  <a:pos x="connsiteX8194" y="connsiteY8194"/>
                </a:cxn>
                <a:cxn ang="0">
                  <a:pos x="connsiteX8195" y="connsiteY8195"/>
                </a:cxn>
                <a:cxn ang="0">
                  <a:pos x="connsiteX8196" y="connsiteY8196"/>
                </a:cxn>
                <a:cxn ang="0">
                  <a:pos x="connsiteX8197" y="connsiteY8197"/>
                </a:cxn>
                <a:cxn ang="0">
                  <a:pos x="connsiteX8198" y="connsiteY8198"/>
                </a:cxn>
                <a:cxn ang="0">
                  <a:pos x="connsiteX8199" y="connsiteY8199"/>
                </a:cxn>
                <a:cxn ang="0">
                  <a:pos x="connsiteX8200" y="connsiteY8200"/>
                </a:cxn>
                <a:cxn ang="0">
                  <a:pos x="connsiteX8201" y="connsiteY8201"/>
                </a:cxn>
                <a:cxn ang="0">
                  <a:pos x="connsiteX8202" y="connsiteY8202"/>
                </a:cxn>
                <a:cxn ang="0">
                  <a:pos x="connsiteX8203" y="connsiteY8203"/>
                </a:cxn>
                <a:cxn ang="0">
                  <a:pos x="connsiteX8204" y="connsiteY8204"/>
                </a:cxn>
                <a:cxn ang="0">
                  <a:pos x="connsiteX8205" y="connsiteY8205"/>
                </a:cxn>
                <a:cxn ang="0">
                  <a:pos x="connsiteX8206" y="connsiteY8206"/>
                </a:cxn>
                <a:cxn ang="0">
                  <a:pos x="connsiteX8207" y="connsiteY8207"/>
                </a:cxn>
                <a:cxn ang="0">
                  <a:pos x="connsiteX8208" y="connsiteY8208"/>
                </a:cxn>
                <a:cxn ang="0">
                  <a:pos x="connsiteX8209" y="connsiteY8209"/>
                </a:cxn>
                <a:cxn ang="0">
                  <a:pos x="connsiteX8210" y="connsiteY8210"/>
                </a:cxn>
                <a:cxn ang="0">
                  <a:pos x="connsiteX8211" y="connsiteY8211"/>
                </a:cxn>
                <a:cxn ang="0">
                  <a:pos x="connsiteX8212" y="connsiteY8212"/>
                </a:cxn>
                <a:cxn ang="0">
                  <a:pos x="connsiteX8213" y="connsiteY8213"/>
                </a:cxn>
                <a:cxn ang="0">
                  <a:pos x="connsiteX8214" y="connsiteY8214"/>
                </a:cxn>
                <a:cxn ang="0">
                  <a:pos x="connsiteX8215" y="connsiteY8215"/>
                </a:cxn>
                <a:cxn ang="0">
                  <a:pos x="connsiteX8216" y="connsiteY8216"/>
                </a:cxn>
                <a:cxn ang="0">
                  <a:pos x="connsiteX8217" y="connsiteY8217"/>
                </a:cxn>
                <a:cxn ang="0">
                  <a:pos x="connsiteX8218" y="connsiteY8218"/>
                </a:cxn>
                <a:cxn ang="0">
                  <a:pos x="connsiteX8219" y="connsiteY8219"/>
                </a:cxn>
                <a:cxn ang="0">
                  <a:pos x="connsiteX8220" y="connsiteY8220"/>
                </a:cxn>
                <a:cxn ang="0">
                  <a:pos x="connsiteX8221" y="connsiteY8221"/>
                </a:cxn>
                <a:cxn ang="0">
                  <a:pos x="connsiteX8222" y="connsiteY8222"/>
                </a:cxn>
                <a:cxn ang="0">
                  <a:pos x="connsiteX8223" y="connsiteY8223"/>
                </a:cxn>
                <a:cxn ang="0">
                  <a:pos x="connsiteX8224" y="connsiteY8224"/>
                </a:cxn>
                <a:cxn ang="0">
                  <a:pos x="connsiteX8225" y="connsiteY8225"/>
                </a:cxn>
                <a:cxn ang="0">
                  <a:pos x="connsiteX8226" y="connsiteY8226"/>
                </a:cxn>
                <a:cxn ang="0">
                  <a:pos x="connsiteX8227" y="connsiteY8227"/>
                </a:cxn>
                <a:cxn ang="0">
                  <a:pos x="connsiteX8228" y="connsiteY8228"/>
                </a:cxn>
                <a:cxn ang="0">
                  <a:pos x="connsiteX8229" y="connsiteY8229"/>
                </a:cxn>
                <a:cxn ang="0">
                  <a:pos x="connsiteX8230" y="connsiteY8230"/>
                </a:cxn>
                <a:cxn ang="0">
                  <a:pos x="connsiteX8231" y="connsiteY8231"/>
                </a:cxn>
                <a:cxn ang="0">
                  <a:pos x="connsiteX8232" y="connsiteY8232"/>
                </a:cxn>
                <a:cxn ang="0">
                  <a:pos x="connsiteX8233" y="connsiteY8233"/>
                </a:cxn>
                <a:cxn ang="0">
                  <a:pos x="connsiteX8234" y="connsiteY8234"/>
                </a:cxn>
                <a:cxn ang="0">
                  <a:pos x="connsiteX8235" y="connsiteY8235"/>
                </a:cxn>
                <a:cxn ang="0">
                  <a:pos x="connsiteX8236" y="connsiteY8236"/>
                </a:cxn>
                <a:cxn ang="0">
                  <a:pos x="connsiteX8237" y="connsiteY8237"/>
                </a:cxn>
                <a:cxn ang="0">
                  <a:pos x="connsiteX8238" y="connsiteY8238"/>
                </a:cxn>
                <a:cxn ang="0">
                  <a:pos x="connsiteX8239" y="connsiteY8239"/>
                </a:cxn>
                <a:cxn ang="0">
                  <a:pos x="connsiteX8240" y="connsiteY8240"/>
                </a:cxn>
                <a:cxn ang="0">
                  <a:pos x="connsiteX8241" y="connsiteY8241"/>
                </a:cxn>
                <a:cxn ang="0">
                  <a:pos x="connsiteX8242" y="connsiteY8242"/>
                </a:cxn>
                <a:cxn ang="0">
                  <a:pos x="connsiteX8243" y="connsiteY8243"/>
                </a:cxn>
                <a:cxn ang="0">
                  <a:pos x="connsiteX8244" y="connsiteY8244"/>
                </a:cxn>
                <a:cxn ang="0">
                  <a:pos x="connsiteX8245" y="connsiteY8245"/>
                </a:cxn>
                <a:cxn ang="0">
                  <a:pos x="connsiteX8246" y="connsiteY8246"/>
                </a:cxn>
                <a:cxn ang="0">
                  <a:pos x="connsiteX8247" y="connsiteY8247"/>
                </a:cxn>
                <a:cxn ang="0">
                  <a:pos x="connsiteX8248" y="connsiteY8248"/>
                </a:cxn>
                <a:cxn ang="0">
                  <a:pos x="connsiteX8249" y="connsiteY8249"/>
                </a:cxn>
                <a:cxn ang="0">
                  <a:pos x="connsiteX8250" y="connsiteY8250"/>
                </a:cxn>
                <a:cxn ang="0">
                  <a:pos x="connsiteX8251" y="connsiteY8251"/>
                </a:cxn>
                <a:cxn ang="0">
                  <a:pos x="connsiteX8252" y="connsiteY8252"/>
                </a:cxn>
                <a:cxn ang="0">
                  <a:pos x="connsiteX8253" y="connsiteY8253"/>
                </a:cxn>
                <a:cxn ang="0">
                  <a:pos x="connsiteX8254" y="connsiteY8254"/>
                </a:cxn>
                <a:cxn ang="0">
                  <a:pos x="connsiteX8255" y="connsiteY8255"/>
                </a:cxn>
                <a:cxn ang="0">
                  <a:pos x="connsiteX8256" y="connsiteY8256"/>
                </a:cxn>
                <a:cxn ang="0">
                  <a:pos x="connsiteX8257" y="connsiteY8257"/>
                </a:cxn>
                <a:cxn ang="0">
                  <a:pos x="connsiteX8258" y="connsiteY8258"/>
                </a:cxn>
                <a:cxn ang="0">
                  <a:pos x="connsiteX8259" y="connsiteY8259"/>
                </a:cxn>
                <a:cxn ang="0">
                  <a:pos x="connsiteX8260" y="connsiteY8260"/>
                </a:cxn>
                <a:cxn ang="0">
                  <a:pos x="connsiteX8261" y="connsiteY8261"/>
                </a:cxn>
                <a:cxn ang="0">
                  <a:pos x="connsiteX8262" y="connsiteY8262"/>
                </a:cxn>
                <a:cxn ang="0">
                  <a:pos x="connsiteX8263" y="connsiteY8263"/>
                </a:cxn>
                <a:cxn ang="0">
                  <a:pos x="connsiteX8264" y="connsiteY8264"/>
                </a:cxn>
                <a:cxn ang="0">
                  <a:pos x="connsiteX8265" y="connsiteY8265"/>
                </a:cxn>
                <a:cxn ang="0">
                  <a:pos x="connsiteX8266" y="connsiteY8266"/>
                </a:cxn>
                <a:cxn ang="0">
                  <a:pos x="connsiteX8267" y="connsiteY8267"/>
                </a:cxn>
                <a:cxn ang="0">
                  <a:pos x="connsiteX8268" y="connsiteY8268"/>
                </a:cxn>
                <a:cxn ang="0">
                  <a:pos x="connsiteX8269" y="connsiteY8269"/>
                </a:cxn>
                <a:cxn ang="0">
                  <a:pos x="connsiteX8270" y="connsiteY8270"/>
                </a:cxn>
                <a:cxn ang="0">
                  <a:pos x="connsiteX8271" y="connsiteY8271"/>
                </a:cxn>
                <a:cxn ang="0">
                  <a:pos x="connsiteX8272" y="connsiteY8272"/>
                </a:cxn>
                <a:cxn ang="0">
                  <a:pos x="connsiteX8273" y="connsiteY8273"/>
                </a:cxn>
                <a:cxn ang="0">
                  <a:pos x="connsiteX8274" y="connsiteY8274"/>
                </a:cxn>
                <a:cxn ang="0">
                  <a:pos x="connsiteX8275" y="connsiteY8275"/>
                </a:cxn>
                <a:cxn ang="0">
                  <a:pos x="connsiteX8276" y="connsiteY8276"/>
                </a:cxn>
                <a:cxn ang="0">
                  <a:pos x="connsiteX8277" y="connsiteY8277"/>
                </a:cxn>
                <a:cxn ang="0">
                  <a:pos x="connsiteX8278" y="connsiteY8278"/>
                </a:cxn>
                <a:cxn ang="0">
                  <a:pos x="connsiteX8279" y="connsiteY8279"/>
                </a:cxn>
                <a:cxn ang="0">
                  <a:pos x="connsiteX8280" y="connsiteY8280"/>
                </a:cxn>
                <a:cxn ang="0">
                  <a:pos x="connsiteX8281" y="connsiteY8281"/>
                </a:cxn>
                <a:cxn ang="0">
                  <a:pos x="connsiteX8282" y="connsiteY8282"/>
                </a:cxn>
                <a:cxn ang="0">
                  <a:pos x="connsiteX8283" y="connsiteY8283"/>
                </a:cxn>
                <a:cxn ang="0">
                  <a:pos x="connsiteX8284" y="connsiteY8284"/>
                </a:cxn>
                <a:cxn ang="0">
                  <a:pos x="connsiteX8285" y="connsiteY8285"/>
                </a:cxn>
                <a:cxn ang="0">
                  <a:pos x="connsiteX8286" y="connsiteY8286"/>
                </a:cxn>
                <a:cxn ang="0">
                  <a:pos x="connsiteX8287" y="connsiteY8287"/>
                </a:cxn>
                <a:cxn ang="0">
                  <a:pos x="connsiteX8288" y="connsiteY8288"/>
                </a:cxn>
                <a:cxn ang="0">
                  <a:pos x="connsiteX8289" y="connsiteY8289"/>
                </a:cxn>
                <a:cxn ang="0">
                  <a:pos x="connsiteX8290" y="connsiteY8290"/>
                </a:cxn>
                <a:cxn ang="0">
                  <a:pos x="connsiteX8291" y="connsiteY8291"/>
                </a:cxn>
                <a:cxn ang="0">
                  <a:pos x="connsiteX8292" y="connsiteY8292"/>
                </a:cxn>
                <a:cxn ang="0">
                  <a:pos x="connsiteX8293" y="connsiteY8293"/>
                </a:cxn>
                <a:cxn ang="0">
                  <a:pos x="connsiteX8294" y="connsiteY8294"/>
                </a:cxn>
                <a:cxn ang="0">
                  <a:pos x="connsiteX8295" y="connsiteY8295"/>
                </a:cxn>
                <a:cxn ang="0">
                  <a:pos x="connsiteX8296" y="connsiteY8296"/>
                </a:cxn>
                <a:cxn ang="0">
                  <a:pos x="connsiteX8297" y="connsiteY8297"/>
                </a:cxn>
                <a:cxn ang="0">
                  <a:pos x="connsiteX8298" y="connsiteY8298"/>
                </a:cxn>
                <a:cxn ang="0">
                  <a:pos x="connsiteX8299" y="connsiteY8299"/>
                </a:cxn>
                <a:cxn ang="0">
                  <a:pos x="connsiteX8300" y="connsiteY8300"/>
                </a:cxn>
                <a:cxn ang="0">
                  <a:pos x="connsiteX8301" y="connsiteY8301"/>
                </a:cxn>
                <a:cxn ang="0">
                  <a:pos x="connsiteX8302" y="connsiteY8302"/>
                </a:cxn>
                <a:cxn ang="0">
                  <a:pos x="connsiteX8303" y="connsiteY8303"/>
                </a:cxn>
                <a:cxn ang="0">
                  <a:pos x="connsiteX8304" y="connsiteY8304"/>
                </a:cxn>
                <a:cxn ang="0">
                  <a:pos x="connsiteX8305" y="connsiteY8305"/>
                </a:cxn>
                <a:cxn ang="0">
                  <a:pos x="connsiteX8306" y="connsiteY8306"/>
                </a:cxn>
                <a:cxn ang="0">
                  <a:pos x="connsiteX8307" y="connsiteY8307"/>
                </a:cxn>
                <a:cxn ang="0">
                  <a:pos x="connsiteX8308" y="connsiteY8308"/>
                </a:cxn>
                <a:cxn ang="0">
                  <a:pos x="connsiteX8309" y="connsiteY8309"/>
                </a:cxn>
                <a:cxn ang="0">
                  <a:pos x="connsiteX8310" y="connsiteY8310"/>
                </a:cxn>
                <a:cxn ang="0">
                  <a:pos x="connsiteX8311" y="connsiteY8311"/>
                </a:cxn>
                <a:cxn ang="0">
                  <a:pos x="connsiteX8312" y="connsiteY8312"/>
                </a:cxn>
                <a:cxn ang="0">
                  <a:pos x="connsiteX8313" y="connsiteY8313"/>
                </a:cxn>
                <a:cxn ang="0">
                  <a:pos x="connsiteX8314" y="connsiteY8314"/>
                </a:cxn>
                <a:cxn ang="0">
                  <a:pos x="connsiteX8315" y="connsiteY8315"/>
                </a:cxn>
                <a:cxn ang="0">
                  <a:pos x="connsiteX8316" y="connsiteY8316"/>
                </a:cxn>
                <a:cxn ang="0">
                  <a:pos x="connsiteX8317" y="connsiteY8317"/>
                </a:cxn>
                <a:cxn ang="0">
                  <a:pos x="connsiteX8318" y="connsiteY8318"/>
                </a:cxn>
                <a:cxn ang="0">
                  <a:pos x="connsiteX8319" y="connsiteY8319"/>
                </a:cxn>
                <a:cxn ang="0">
                  <a:pos x="connsiteX8320" y="connsiteY8320"/>
                </a:cxn>
                <a:cxn ang="0">
                  <a:pos x="connsiteX8321" y="connsiteY8321"/>
                </a:cxn>
                <a:cxn ang="0">
                  <a:pos x="connsiteX8322" y="connsiteY8322"/>
                </a:cxn>
                <a:cxn ang="0">
                  <a:pos x="connsiteX8323" y="connsiteY8323"/>
                </a:cxn>
                <a:cxn ang="0">
                  <a:pos x="connsiteX8324" y="connsiteY8324"/>
                </a:cxn>
                <a:cxn ang="0">
                  <a:pos x="connsiteX8325" y="connsiteY8325"/>
                </a:cxn>
                <a:cxn ang="0">
                  <a:pos x="connsiteX8326" y="connsiteY8326"/>
                </a:cxn>
                <a:cxn ang="0">
                  <a:pos x="connsiteX8327" y="connsiteY8327"/>
                </a:cxn>
                <a:cxn ang="0">
                  <a:pos x="connsiteX8328" y="connsiteY8328"/>
                </a:cxn>
                <a:cxn ang="0">
                  <a:pos x="connsiteX8329" y="connsiteY8329"/>
                </a:cxn>
                <a:cxn ang="0">
                  <a:pos x="connsiteX8330" y="connsiteY8330"/>
                </a:cxn>
                <a:cxn ang="0">
                  <a:pos x="connsiteX8331" y="connsiteY8331"/>
                </a:cxn>
                <a:cxn ang="0">
                  <a:pos x="connsiteX8332" y="connsiteY8332"/>
                </a:cxn>
                <a:cxn ang="0">
                  <a:pos x="connsiteX8333" y="connsiteY8333"/>
                </a:cxn>
                <a:cxn ang="0">
                  <a:pos x="connsiteX8334" y="connsiteY8334"/>
                </a:cxn>
                <a:cxn ang="0">
                  <a:pos x="connsiteX8335" y="connsiteY8335"/>
                </a:cxn>
                <a:cxn ang="0">
                  <a:pos x="connsiteX8336" y="connsiteY8336"/>
                </a:cxn>
                <a:cxn ang="0">
                  <a:pos x="connsiteX8337" y="connsiteY8337"/>
                </a:cxn>
                <a:cxn ang="0">
                  <a:pos x="connsiteX8338" y="connsiteY8338"/>
                </a:cxn>
                <a:cxn ang="0">
                  <a:pos x="connsiteX8339" y="connsiteY8339"/>
                </a:cxn>
                <a:cxn ang="0">
                  <a:pos x="connsiteX8340" y="connsiteY8340"/>
                </a:cxn>
                <a:cxn ang="0">
                  <a:pos x="connsiteX8341" y="connsiteY8341"/>
                </a:cxn>
                <a:cxn ang="0">
                  <a:pos x="connsiteX8342" y="connsiteY8342"/>
                </a:cxn>
                <a:cxn ang="0">
                  <a:pos x="connsiteX8343" y="connsiteY8343"/>
                </a:cxn>
                <a:cxn ang="0">
                  <a:pos x="connsiteX8344" y="connsiteY8344"/>
                </a:cxn>
                <a:cxn ang="0">
                  <a:pos x="connsiteX8345" y="connsiteY8345"/>
                </a:cxn>
                <a:cxn ang="0">
                  <a:pos x="connsiteX8346" y="connsiteY8346"/>
                </a:cxn>
                <a:cxn ang="0">
                  <a:pos x="connsiteX8347" y="connsiteY8347"/>
                </a:cxn>
                <a:cxn ang="0">
                  <a:pos x="connsiteX8348" y="connsiteY8348"/>
                </a:cxn>
                <a:cxn ang="0">
                  <a:pos x="connsiteX8349" y="connsiteY8349"/>
                </a:cxn>
                <a:cxn ang="0">
                  <a:pos x="connsiteX8350" y="connsiteY8350"/>
                </a:cxn>
                <a:cxn ang="0">
                  <a:pos x="connsiteX8351" y="connsiteY8351"/>
                </a:cxn>
                <a:cxn ang="0">
                  <a:pos x="connsiteX8352" y="connsiteY8352"/>
                </a:cxn>
                <a:cxn ang="0">
                  <a:pos x="connsiteX8353" y="connsiteY8353"/>
                </a:cxn>
                <a:cxn ang="0">
                  <a:pos x="connsiteX8354" y="connsiteY8354"/>
                </a:cxn>
                <a:cxn ang="0">
                  <a:pos x="connsiteX8355" y="connsiteY8355"/>
                </a:cxn>
                <a:cxn ang="0">
                  <a:pos x="connsiteX8356" y="connsiteY8356"/>
                </a:cxn>
                <a:cxn ang="0">
                  <a:pos x="connsiteX8357" y="connsiteY8357"/>
                </a:cxn>
                <a:cxn ang="0">
                  <a:pos x="connsiteX8358" y="connsiteY8358"/>
                </a:cxn>
                <a:cxn ang="0">
                  <a:pos x="connsiteX8359" y="connsiteY8359"/>
                </a:cxn>
                <a:cxn ang="0">
                  <a:pos x="connsiteX8360" y="connsiteY8360"/>
                </a:cxn>
                <a:cxn ang="0">
                  <a:pos x="connsiteX8361" y="connsiteY8361"/>
                </a:cxn>
                <a:cxn ang="0">
                  <a:pos x="connsiteX8362" y="connsiteY8362"/>
                </a:cxn>
                <a:cxn ang="0">
                  <a:pos x="connsiteX8363" y="connsiteY8363"/>
                </a:cxn>
                <a:cxn ang="0">
                  <a:pos x="connsiteX8364" y="connsiteY8364"/>
                </a:cxn>
                <a:cxn ang="0">
                  <a:pos x="connsiteX8365" y="connsiteY8365"/>
                </a:cxn>
                <a:cxn ang="0">
                  <a:pos x="connsiteX8366" y="connsiteY8366"/>
                </a:cxn>
                <a:cxn ang="0">
                  <a:pos x="connsiteX8367" y="connsiteY8367"/>
                </a:cxn>
                <a:cxn ang="0">
                  <a:pos x="connsiteX8368" y="connsiteY8368"/>
                </a:cxn>
                <a:cxn ang="0">
                  <a:pos x="connsiteX8369" y="connsiteY8369"/>
                </a:cxn>
                <a:cxn ang="0">
                  <a:pos x="connsiteX8370" y="connsiteY8370"/>
                </a:cxn>
                <a:cxn ang="0">
                  <a:pos x="connsiteX8371" y="connsiteY8371"/>
                </a:cxn>
                <a:cxn ang="0">
                  <a:pos x="connsiteX8372" y="connsiteY8372"/>
                </a:cxn>
                <a:cxn ang="0">
                  <a:pos x="connsiteX8373" y="connsiteY8373"/>
                </a:cxn>
                <a:cxn ang="0">
                  <a:pos x="connsiteX8374" y="connsiteY8374"/>
                </a:cxn>
                <a:cxn ang="0">
                  <a:pos x="connsiteX8375" y="connsiteY8375"/>
                </a:cxn>
                <a:cxn ang="0">
                  <a:pos x="connsiteX8376" y="connsiteY8376"/>
                </a:cxn>
                <a:cxn ang="0">
                  <a:pos x="connsiteX8377" y="connsiteY8377"/>
                </a:cxn>
                <a:cxn ang="0">
                  <a:pos x="connsiteX8378" y="connsiteY8378"/>
                </a:cxn>
                <a:cxn ang="0">
                  <a:pos x="connsiteX8379" y="connsiteY8379"/>
                </a:cxn>
                <a:cxn ang="0">
                  <a:pos x="connsiteX8380" y="connsiteY8380"/>
                </a:cxn>
                <a:cxn ang="0">
                  <a:pos x="connsiteX8381" y="connsiteY8381"/>
                </a:cxn>
                <a:cxn ang="0">
                  <a:pos x="connsiteX8382" y="connsiteY8382"/>
                </a:cxn>
                <a:cxn ang="0">
                  <a:pos x="connsiteX8383" y="connsiteY8383"/>
                </a:cxn>
                <a:cxn ang="0">
                  <a:pos x="connsiteX8384" y="connsiteY8384"/>
                </a:cxn>
                <a:cxn ang="0">
                  <a:pos x="connsiteX8385" y="connsiteY8385"/>
                </a:cxn>
                <a:cxn ang="0">
                  <a:pos x="connsiteX8386" y="connsiteY8386"/>
                </a:cxn>
                <a:cxn ang="0">
                  <a:pos x="connsiteX8387" y="connsiteY8387"/>
                </a:cxn>
                <a:cxn ang="0">
                  <a:pos x="connsiteX8388" y="connsiteY8388"/>
                </a:cxn>
                <a:cxn ang="0">
                  <a:pos x="connsiteX8389" y="connsiteY8389"/>
                </a:cxn>
                <a:cxn ang="0">
                  <a:pos x="connsiteX8390" y="connsiteY8390"/>
                </a:cxn>
                <a:cxn ang="0">
                  <a:pos x="connsiteX8391" y="connsiteY8391"/>
                </a:cxn>
                <a:cxn ang="0">
                  <a:pos x="connsiteX8392" y="connsiteY8392"/>
                </a:cxn>
                <a:cxn ang="0">
                  <a:pos x="connsiteX8393" y="connsiteY8393"/>
                </a:cxn>
                <a:cxn ang="0">
                  <a:pos x="connsiteX8394" y="connsiteY8394"/>
                </a:cxn>
                <a:cxn ang="0">
                  <a:pos x="connsiteX8395" y="connsiteY8395"/>
                </a:cxn>
                <a:cxn ang="0">
                  <a:pos x="connsiteX8396" y="connsiteY8396"/>
                </a:cxn>
                <a:cxn ang="0">
                  <a:pos x="connsiteX8397" y="connsiteY8397"/>
                </a:cxn>
                <a:cxn ang="0">
                  <a:pos x="connsiteX8398" y="connsiteY8398"/>
                </a:cxn>
                <a:cxn ang="0">
                  <a:pos x="connsiteX8399" y="connsiteY8399"/>
                </a:cxn>
                <a:cxn ang="0">
                  <a:pos x="connsiteX8400" y="connsiteY8400"/>
                </a:cxn>
                <a:cxn ang="0">
                  <a:pos x="connsiteX8401" y="connsiteY8401"/>
                </a:cxn>
                <a:cxn ang="0">
                  <a:pos x="connsiteX8402" y="connsiteY8402"/>
                </a:cxn>
                <a:cxn ang="0">
                  <a:pos x="connsiteX8403" y="connsiteY8403"/>
                </a:cxn>
                <a:cxn ang="0">
                  <a:pos x="connsiteX8404" y="connsiteY8404"/>
                </a:cxn>
                <a:cxn ang="0">
                  <a:pos x="connsiteX8405" y="connsiteY8405"/>
                </a:cxn>
                <a:cxn ang="0">
                  <a:pos x="connsiteX8406" y="connsiteY8406"/>
                </a:cxn>
                <a:cxn ang="0">
                  <a:pos x="connsiteX8407" y="connsiteY8407"/>
                </a:cxn>
                <a:cxn ang="0">
                  <a:pos x="connsiteX8408" y="connsiteY8408"/>
                </a:cxn>
                <a:cxn ang="0">
                  <a:pos x="connsiteX8409" y="connsiteY8409"/>
                </a:cxn>
                <a:cxn ang="0">
                  <a:pos x="connsiteX8410" y="connsiteY8410"/>
                </a:cxn>
                <a:cxn ang="0">
                  <a:pos x="connsiteX8411" y="connsiteY8411"/>
                </a:cxn>
                <a:cxn ang="0">
                  <a:pos x="connsiteX8412" y="connsiteY8412"/>
                </a:cxn>
                <a:cxn ang="0">
                  <a:pos x="connsiteX8413" y="connsiteY8413"/>
                </a:cxn>
                <a:cxn ang="0">
                  <a:pos x="connsiteX8414" y="connsiteY8414"/>
                </a:cxn>
                <a:cxn ang="0">
                  <a:pos x="connsiteX8415" y="connsiteY8415"/>
                </a:cxn>
                <a:cxn ang="0">
                  <a:pos x="connsiteX8416" y="connsiteY8416"/>
                </a:cxn>
                <a:cxn ang="0">
                  <a:pos x="connsiteX8417" y="connsiteY8417"/>
                </a:cxn>
                <a:cxn ang="0">
                  <a:pos x="connsiteX8418" y="connsiteY8418"/>
                </a:cxn>
                <a:cxn ang="0">
                  <a:pos x="connsiteX8419" y="connsiteY8419"/>
                </a:cxn>
                <a:cxn ang="0">
                  <a:pos x="connsiteX8420" y="connsiteY8420"/>
                </a:cxn>
                <a:cxn ang="0">
                  <a:pos x="connsiteX8421" y="connsiteY8421"/>
                </a:cxn>
                <a:cxn ang="0">
                  <a:pos x="connsiteX8422" y="connsiteY8422"/>
                </a:cxn>
                <a:cxn ang="0">
                  <a:pos x="connsiteX8423" y="connsiteY8423"/>
                </a:cxn>
                <a:cxn ang="0">
                  <a:pos x="connsiteX8424" y="connsiteY8424"/>
                </a:cxn>
                <a:cxn ang="0">
                  <a:pos x="connsiteX8425" y="connsiteY8425"/>
                </a:cxn>
                <a:cxn ang="0">
                  <a:pos x="connsiteX8426" y="connsiteY8426"/>
                </a:cxn>
                <a:cxn ang="0">
                  <a:pos x="connsiteX8427" y="connsiteY8427"/>
                </a:cxn>
                <a:cxn ang="0">
                  <a:pos x="connsiteX8428" y="connsiteY8428"/>
                </a:cxn>
                <a:cxn ang="0">
                  <a:pos x="connsiteX8429" y="connsiteY8429"/>
                </a:cxn>
                <a:cxn ang="0">
                  <a:pos x="connsiteX8430" y="connsiteY8430"/>
                </a:cxn>
                <a:cxn ang="0">
                  <a:pos x="connsiteX8431" y="connsiteY8431"/>
                </a:cxn>
                <a:cxn ang="0">
                  <a:pos x="connsiteX8432" y="connsiteY8432"/>
                </a:cxn>
                <a:cxn ang="0">
                  <a:pos x="connsiteX8433" y="connsiteY8433"/>
                </a:cxn>
                <a:cxn ang="0">
                  <a:pos x="connsiteX8434" y="connsiteY8434"/>
                </a:cxn>
                <a:cxn ang="0">
                  <a:pos x="connsiteX8435" y="connsiteY8435"/>
                </a:cxn>
                <a:cxn ang="0">
                  <a:pos x="connsiteX8436" y="connsiteY8436"/>
                </a:cxn>
                <a:cxn ang="0">
                  <a:pos x="connsiteX8437" y="connsiteY8437"/>
                </a:cxn>
                <a:cxn ang="0">
                  <a:pos x="connsiteX8438" y="connsiteY8438"/>
                </a:cxn>
                <a:cxn ang="0">
                  <a:pos x="connsiteX8439" y="connsiteY8439"/>
                </a:cxn>
                <a:cxn ang="0">
                  <a:pos x="connsiteX8440" y="connsiteY8440"/>
                </a:cxn>
                <a:cxn ang="0">
                  <a:pos x="connsiteX8441" y="connsiteY8441"/>
                </a:cxn>
                <a:cxn ang="0">
                  <a:pos x="connsiteX8442" y="connsiteY8442"/>
                </a:cxn>
                <a:cxn ang="0">
                  <a:pos x="connsiteX8443" y="connsiteY8443"/>
                </a:cxn>
                <a:cxn ang="0">
                  <a:pos x="connsiteX8444" y="connsiteY8444"/>
                </a:cxn>
                <a:cxn ang="0">
                  <a:pos x="connsiteX8445" y="connsiteY8445"/>
                </a:cxn>
                <a:cxn ang="0">
                  <a:pos x="connsiteX8446" y="connsiteY8446"/>
                </a:cxn>
                <a:cxn ang="0">
                  <a:pos x="connsiteX8447" y="connsiteY8447"/>
                </a:cxn>
                <a:cxn ang="0">
                  <a:pos x="connsiteX8448" y="connsiteY8448"/>
                </a:cxn>
                <a:cxn ang="0">
                  <a:pos x="connsiteX8449" y="connsiteY8449"/>
                </a:cxn>
                <a:cxn ang="0">
                  <a:pos x="connsiteX8450" y="connsiteY8450"/>
                </a:cxn>
                <a:cxn ang="0">
                  <a:pos x="connsiteX8451" y="connsiteY8451"/>
                </a:cxn>
                <a:cxn ang="0">
                  <a:pos x="connsiteX8452" y="connsiteY8452"/>
                </a:cxn>
                <a:cxn ang="0">
                  <a:pos x="connsiteX8453" y="connsiteY8453"/>
                </a:cxn>
                <a:cxn ang="0">
                  <a:pos x="connsiteX8454" y="connsiteY8454"/>
                </a:cxn>
                <a:cxn ang="0">
                  <a:pos x="connsiteX8455" y="connsiteY8455"/>
                </a:cxn>
                <a:cxn ang="0">
                  <a:pos x="connsiteX8456" y="connsiteY8456"/>
                </a:cxn>
                <a:cxn ang="0">
                  <a:pos x="connsiteX8457" y="connsiteY8457"/>
                </a:cxn>
                <a:cxn ang="0">
                  <a:pos x="connsiteX8458" y="connsiteY8458"/>
                </a:cxn>
                <a:cxn ang="0">
                  <a:pos x="connsiteX8459" y="connsiteY8459"/>
                </a:cxn>
                <a:cxn ang="0">
                  <a:pos x="connsiteX8460" y="connsiteY8460"/>
                </a:cxn>
                <a:cxn ang="0">
                  <a:pos x="connsiteX8461" y="connsiteY8461"/>
                </a:cxn>
                <a:cxn ang="0">
                  <a:pos x="connsiteX8462" y="connsiteY8462"/>
                </a:cxn>
                <a:cxn ang="0">
                  <a:pos x="connsiteX8463" y="connsiteY8463"/>
                </a:cxn>
                <a:cxn ang="0">
                  <a:pos x="connsiteX8464" y="connsiteY8464"/>
                </a:cxn>
                <a:cxn ang="0">
                  <a:pos x="connsiteX8465" y="connsiteY8465"/>
                </a:cxn>
                <a:cxn ang="0">
                  <a:pos x="connsiteX8466" y="connsiteY8466"/>
                </a:cxn>
                <a:cxn ang="0">
                  <a:pos x="connsiteX8467" y="connsiteY8467"/>
                </a:cxn>
                <a:cxn ang="0">
                  <a:pos x="connsiteX8468" y="connsiteY8468"/>
                </a:cxn>
                <a:cxn ang="0">
                  <a:pos x="connsiteX8469" y="connsiteY8469"/>
                </a:cxn>
                <a:cxn ang="0">
                  <a:pos x="connsiteX8470" y="connsiteY8470"/>
                </a:cxn>
                <a:cxn ang="0">
                  <a:pos x="connsiteX8471" y="connsiteY8471"/>
                </a:cxn>
                <a:cxn ang="0">
                  <a:pos x="connsiteX8472" y="connsiteY8472"/>
                </a:cxn>
                <a:cxn ang="0">
                  <a:pos x="connsiteX8473" y="connsiteY8473"/>
                </a:cxn>
                <a:cxn ang="0">
                  <a:pos x="connsiteX8474" y="connsiteY8474"/>
                </a:cxn>
                <a:cxn ang="0">
                  <a:pos x="connsiteX8475" y="connsiteY8475"/>
                </a:cxn>
                <a:cxn ang="0">
                  <a:pos x="connsiteX8476" y="connsiteY8476"/>
                </a:cxn>
                <a:cxn ang="0">
                  <a:pos x="connsiteX8477" y="connsiteY8477"/>
                </a:cxn>
                <a:cxn ang="0">
                  <a:pos x="connsiteX8478" y="connsiteY8478"/>
                </a:cxn>
                <a:cxn ang="0">
                  <a:pos x="connsiteX8479" y="connsiteY8479"/>
                </a:cxn>
                <a:cxn ang="0">
                  <a:pos x="connsiteX8480" y="connsiteY8480"/>
                </a:cxn>
                <a:cxn ang="0">
                  <a:pos x="connsiteX8481" y="connsiteY8481"/>
                </a:cxn>
                <a:cxn ang="0">
                  <a:pos x="connsiteX8482" y="connsiteY8482"/>
                </a:cxn>
                <a:cxn ang="0">
                  <a:pos x="connsiteX8483" y="connsiteY8483"/>
                </a:cxn>
                <a:cxn ang="0">
                  <a:pos x="connsiteX8484" y="connsiteY8484"/>
                </a:cxn>
                <a:cxn ang="0">
                  <a:pos x="connsiteX8485" y="connsiteY8485"/>
                </a:cxn>
                <a:cxn ang="0">
                  <a:pos x="connsiteX8486" y="connsiteY8486"/>
                </a:cxn>
                <a:cxn ang="0">
                  <a:pos x="connsiteX8487" y="connsiteY8487"/>
                </a:cxn>
                <a:cxn ang="0">
                  <a:pos x="connsiteX8488" y="connsiteY8488"/>
                </a:cxn>
                <a:cxn ang="0">
                  <a:pos x="connsiteX8489" y="connsiteY8489"/>
                </a:cxn>
                <a:cxn ang="0">
                  <a:pos x="connsiteX8490" y="connsiteY8490"/>
                </a:cxn>
                <a:cxn ang="0">
                  <a:pos x="connsiteX8491" y="connsiteY8491"/>
                </a:cxn>
                <a:cxn ang="0">
                  <a:pos x="connsiteX8492" y="connsiteY8492"/>
                </a:cxn>
                <a:cxn ang="0">
                  <a:pos x="connsiteX8493" y="connsiteY8493"/>
                </a:cxn>
                <a:cxn ang="0">
                  <a:pos x="connsiteX8494" y="connsiteY8494"/>
                </a:cxn>
                <a:cxn ang="0">
                  <a:pos x="connsiteX8495" y="connsiteY8495"/>
                </a:cxn>
                <a:cxn ang="0">
                  <a:pos x="connsiteX8496" y="connsiteY8496"/>
                </a:cxn>
                <a:cxn ang="0">
                  <a:pos x="connsiteX8497" y="connsiteY8497"/>
                </a:cxn>
                <a:cxn ang="0">
                  <a:pos x="connsiteX8498" y="connsiteY8498"/>
                </a:cxn>
                <a:cxn ang="0">
                  <a:pos x="connsiteX8499" y="connsiteY8499"/>
                </a:cxn>
                <a:cxn ang="0">
                  <a:pos x="connsiteX8500" y="connsiteY8500"/>
                </a:cxn>
                <a:cxn ang="0">
                  <a:pos x="connsiteX8501" y="connsiteY8501"/>
                </a:cxn>
                <a:cxn ang="0">
                  <a:pos x="connsiteX8502" y="connsiteY8502"/>
                </a:cxn>
                <a:cxn ang="0">
                  <a:pos x="connsiteX8503" y="connsiteY8503"/>
                </a:cxn>
                <a:cxn ang="0">
                  <a:pos x="connsiteX8504" y="connsiteY8504"/>
                </a:cxn>
                <a:cxn ang="0">
                  <a:pos x="connsiteX8505" y="connsiteY8505"/>
                </a:cxn>
                <a:cxn ang="0">
                  <a:pos x="connsiteX8506" y="connsiteY8506"/>
                </a:cxn>
                <a:cxn ang="0">
                  <a:pos x="connsiteX8507" y="connsiteY8507"/>
                </a:cxn>
                <a:cxn ang="0">
                  <a:pos x="connsiteX8508" y="connsiteY8508"/>
                </a:cxn>
                <a:cxn ang="0">
                  <a:pos x="connsiteX8509" y="connsiteY8509"/>
                </a:cxn>
                <a:cxn ang="0">
                  <a:pos x="connsiteX8510" y="connsiteY8510"/>
                </a:cxn>
                <a:cxn ang="0">
                  <a:pos x="connsiteX8511" y="connsiteY8511"/>
                </a:cxn>
                <a:cxn ang="0">
                  <a:pos x="connsiteX8512" y="connsiteY8512"/>
                </a:cxn>
                <a:cxn ang="0">
                  <a:pos x="connsiteX8513" y="connsiteY8513"/>
                </a:cxn>
                <a:cxn ang="0">
                  <a:pos x="connsiteX8514" y="connsiteY8514"/>
                </a:cxn>
                <a:cxn ang="0">
                  <a:pos x="connsiteX8515" y="connsiteY8515"/>
                </a:cxn>
                <a:cxn ang="0">
                  <a:pos x="connsiteX8516" y="connsiteY8516"/>
                </a:cxn>
                <a:cxn ang="0">
                  <a:pos x="connsiteX8517" y="connsiteY8517"/>
                </a:cxn>
                <a:cxn ang="0">
                  <a:pos x="connsiteX8518" y="connsiteY8518"/>
                </a:cxn>
                <a:cxn ang="0">
                  <a:pos x="connsiteX8519" y="connsiteY8519"/>
                </a:cxn>
                <a:cxn ang="0">
                  <a:pos x="connsiteX8520" y="connsiteY8520"/>
                </a:cxn>
                <a:cxn ang="0">
                  <a:pos x="connsiteX8521" y="connsiteY8521"/>
                </a:cxn>
                <a:cxn ang="0">
                  <a:pos x="connsiteX8522" y="connsiteY8522"/>
                </a:cxn>
                <a:cxn ang="0">
                  <a:pos x="connsiteX8523" y="connsiteY8523"/>
                </a:cxn>
                <a:cxn ang="0">
                  <a:pos x="connsiteX8524" y="connsiteY8524"/>
                </a:cxn>
                <a:cxn ang="0">
                  <a:pos x="connsiteX8525" y="connsiteY8525"/>
                </a:cxn>
                <a:cxn ang="0">
                  <a:pos x="connsiteX8526" y="connsiteY8526"/>
                </a:cxn>
                <a:cxn ang="0">
                  <a:pos x="connsiteX8527" y="connsiteY8527"/>
                </a:cxn>
                <a:cxn ang="0">
                  <a:pos x="connsiteX8528" y="connsiteY8528"/>
                </a:cxn>
                <a:cxn ang="0">
                  <a:pos x="connsiteX8529" y="connsiteY8529"/>
                </a:cxn>
                <a:cxn ang="0">
                  <a:pos x="connsiteX8530" y="connsiteY8530"/>
                </a:cxn>
                <a:cxn ang="0">
                  <a:pos x="connsiteX8531" y="connsiteY8531"/>
                </a:cxn>
                <a:cxn ang="0">
                  <a:pos x="connsiteX8532" y="connsiteY8532"/>
                </a:cxn>
                <a:cxn ang="0">
                  <a:pos x="connsiteX8533" y="connsiteY8533"/>
                </a:cxn>
                <a:cxn ang="0">
                  <a:pos x="connsiteX8534" y="connsiteY8534"/>
                </a:cxn>
                <a:cxn ang="0">
                  <a:pos x="connsiteX8535" y="connsiteY8535"/>
                </a:cxn>
                <a:cxn ang="0">
                  <a:pos x="connsiteX8536" y="connsiteY8536"/>
                </a:cxn>
                <a:cxn ang="0">
                  <a:pos x="connsiteX8537" y="connsiteY8537"/>
                </a:cxn>
                <a:cxn ang="0">
                  <a:pos x="connsiteX8538" y="connsiteY8538"/>
                </a:cxn>
                <a:cxn ang="0">
                  <a:pos x="connsiteX8539" y="connsiteY8539"/>
                </a:cxn>
                <a:cxn ang="0">
                  <a:pos x="connsiteX8540" y="connsiteY8540"/>
                </a:cxn>
                <a:cxn ang="0">
                  <a:pos x="connsiteX8541" y="connsiteY8541"/>
                </a:cxn>
                <a:cxn ang="0">
                  <a:pos x="connsiteX8542" y="connsiteY8542"/>
                </a:cxn>
                <a:cxn ang="0">
                  <a:pos x="connsiteX8543" y="connsiteY8543"/>
                </a:cxn>
                <a:cxn ang="0">
                  <a:pos x="connsiteX8544" y="connsiteY8544"/>
                </a:cxn>
                <a:cxn ang="0">
                  <a:pos x="connsiteX8545" y="connsiteY8545"/>
                </a:cxn>
                <a:cxn ang="0">
                  <a:pos x="connsiteX8546" y="connsiteY8546"/>
                </a:cxn>
                <a:cxn ang="0">
                  <a:pos x="connsiteX8547" y="connsiteY8547"/>
                </a:cxn>
                <a:cxn ang="0">
                  <a:pos x="connsiteX8548" y="connsiteY8548"/>
                </a:cxn>
                <a:cxn ang="0">
                  <a:pos x="connsiteX8549" y="connsiteY8549"/>
                </a:cxn>
                <a:cxn ang="0">
                  <a:pos x="connsiteX8550" y="connsiteY8550"/>
                </a:cxn>
                <a:cxn ang="0">
                  <a:pos x="connsiteX8551" y="connsiteY8551"/>
                </a:cxn>
                <a:cxn ang="0">
                  <a:pos x="connsiteX8552" y="connsiteY8552"/>
                </a:cxn>
                <a:cxn ang="0">
                  <a:pos x="connsiteX8553" y="connsiteY8553"/>
                </a:cxn>
                <a:cxn ang="0">
                  <a:pos x="connsiteX8554" y="connsiteY8554"/>
                </a:cxn>
                <a:cxn ang="0">
                  <a:pos x="connsiteX8555" y="connsiteY8555"/>
                </a:cxn>
                <a:cxn ang="0">
                  <a:pos x="connsiteX8556" y="connsiteY8556"/>
                </a:cxn>
                <a:cxn ang="0">
                  <a:pos x="connsiteX8557" y="connsiteY8557"/>
                </a:cxn>
                <a:cxn ang="0">
                  <a:pos x="connsiteX8558" y="connsiteY8558"/>
                </a:cxn>
                <a:cxn ang="0">
                  <a:pos x="connsiteX8559" y="connsiteY8559"/>
                </a:cxn>
                <a:cxn ang="0">
                  <a:pos x="connsiteX8560" y="connsiteY8560"/>
                </a:cxn>
                <a:cxn ang="0">
                  <a:pos x="connsiteX8561" y="connsiteY8561"/>
                </a:cxn>
                <a:cxn ang="0">
                  <a:pos x="connsiteX8562" y="connsiteY8562"/>
                </a:cxn>
                <a:cxn ang="0">
                  <a:pos x="connsiteX8563" y="connsiteY8563"/>
                </a:cxn>
                <a:cxn ang="0">
                  <a:pos x="connsiteX8564" y="connsiteY8564"/>
                </a:cxn>
                <a:cxn ang="0">
                  <a:pos x="connsiteX8565" y="connsiteY8565"/>
                </a:cxn>
                <a:cxn ang="0">
                  <a:pos x="connsiteX8566" y="connsiteY8566"/>
                </a:cxn>
                <a:cxn ang="0">
                  <a:pos x="connsiteX8567" y="connsiteY8567"/>
                </a:cxn>
                <a:cxn ang="0">
                  <a:pos x="connsiteX8568" y="connsiteY8568"/>
                </a:cxn>
                <a:cxn ang="0">
                  <a:pos x="connsiteX8569" y="connsiteY8569"/>
                </a:cxn>
                <a:cxn ang="0">
                  <a:pos x="connsiteX8570" y="connsiteY8570"/>
                </a:cxn>
                <a:cxn ang="0">
                  <a:pos x="connsiteX8571" y="connsiteY8571"/>
                </a:cxn>
                <a:cxn ang="0">
                  <a:pos x="connsiteX8572" y="connsiteY8572"/>
                </a:cxn>
                <a:cxn ang="0">
                  <a:pos x="connsiteX8573" y="connsiteY8573"/>
                </a:cxn>
                <a:cxn ang="0">
                  <a:pos x="connsiteX8574" y="connsiteY8574"/>
                </a:cxn>
                <a:cxn ang="0">
                  <a:pos x="connsiteX8575" y="connsiteY8575"/>
                </a:cxn>
                <a:cxn ang="0">
                  <a:pos x="connsiteX8576" y="connsiteY8576"/>
                </a:cxn>
                <a:cxn ang="0">
                  <a:pos x="connsiteX8577" y="connsiteY8577"/>
                </a:cxn>
                <a:cxn ang="0">
                  <a:pos x="connsiteX8578" y="connsiteY8578"/>
                </a:cxn>
                <a:cxn ang="0">
                  <a:pos x="connsiteX8579" y="connsiteY8579"/>
                </a:cxn>
                <a:cxn ang="0">
                  <a:pos x="connsiteX8580" y="connsiteY8580"/>
                </a:cxn>
                <a:cxn ang="0">
                  <a:pos x="connsiteX8581" y="connsiteY8581"/>
                </a:cxn>
                <a:cxn ang="0">
                  <a:pos x="connsiteX8582" y="connsiteY8582"/>
                </a:cxn>
                <a:cxn ang="0">
                  <a:pos x="connsiteX8583" y="connsiteY8583"/>
                </a:cxn>
                <a:cxn ang="0">
                  <a:pos x="connsiteX8584" y="connsiteY8584"/>
                </a:cxn>
                <a:cxn ang="0">
                  <a:pos x="connsiteX8585" y="connsiteY8585"/>
                </a:cxn>
                <a:cxn ang="0">
                  <a:pos x="connsiteX8586" y="connsiteY8586"/>
                </a:cxn>
                <a:cxn ang="0">
                  <a:pos x="connsiteX8587" y="connsiteY8587"/>
                </a:cxn>
                <a:cxn ang="0">
                  <a:pos x="connsiteX8588" y="connsiteY8588"/>
                </a:cxn>
                <a:cxn ang="0">
                  <a:pos x="connsiteX8589" y="connsiteY8589"/>
                </a:cxn>
                <a:cxn ang="0">
                  <a:pos x="connsiteX8590" y="connsiteY8590"/>
                </a:cxn>
                <a:cxn ang="0">
                  <a:pos x="connsiteX8591" y="connsiteY8591"/>
                </a:cxn>
                <a:cxn ang="0">
                  <a:pos x="connsiteX8592" y="connsiteY8592"/>
                </a:cxn>
                <a:cxn ang="0">
                  <a:pos x="connsiteX8593" y="connsiteY8593"/>
                </a:cxn>
                <a:cxn ang="0">
                  <a:pos x="connsiteX8594" y="connsiteY8594"/>
                </a:cxn>
                <a:cxn ang="0">
                  <a:pos x="connsiteX8595" y="connsiteY8595"/>
                </a:cxn>
                <a:cxn ang="0">
                  <a:pos x="connsiteX8596" y="connsiteY8596"/>
                </a:cxn>
                <a:cxn ang="0">
                  <a:pos x="connsiteX8597" y="connsiteY8597"/>
                </a:cxn>
                <a:cxn ang="0">
                  <a:pos x="connsiteX8598" y="connsiteY8598"/>
                </a:cxn>
                <a:cxn ang="0">
                  <a:pos x="connsiteX8599" y="connsiteY8599"/>
                </a:cxn>
                <a:cxn ang="0">
                  <a:pos x="connsiteX8600" y="connsiteY8600"/>
                </a:cxn>
                <a:cxn ang="0">
                  <a:pos x="connsiteX8601" y="connsiteY8601"/>
                </a:cxn>
                <a:cxn ang="0">
                  <a:pos x="connsiteX8602" y="connsiteY8602"/>
                </a:cxn>
                <a:cxn ang="0">
                  <a:pos x="connsiteX8603" y="connsiteY8603"/>
                </a:cxn>
                <a:cxn ang="0">
                  <a:pos x="connsiteX8604" y="connsiteY8604"/>
                </a:cxn>
                <a:cxn ang="0">
                  <a:pos x="connsiteX8605" y="connsiteY8605"/>
                </a:cxn>
                <a:cxn ang="0">
                  <a:pos x="connsiteX8606" y="connsiteY8606"/>
                </a:cxn>
                <a:cxn ang="0">
                  <a:pos x="connsiteX8607" y="connsiteY8607"/>
                </a:cxn>
                <a:cxn ang="0">
                  <a:pos x="connsiteX8608" y="connsiteY8608"/>
                </a:cxn>
                <a:cxn ang="0">
                  <a:pos x="connsiteX8609" y="connsiteY8609"/>
                </a:cxn>
                <a:cxn ang="0">
                  <a:pos x="connsiteX8610" y="connsiteY8610"/>
                </a:cxn>
                <a:cxn ang="0">
                  <a:pos x="connsiteX8611" y="connsiteY8611"/>
                </a:cxn>
                <a:cxn ang="0">
                  <a:pos x="connsiteX8612" y="connsiteY8612"/>
                </a:cxn>
                <a:cxn ang="0">
                  <a:pos x="connsiteX8613" y="connsiteY8613"/>
                </a:cxn>
                <a:cxn ang="0">
                  <a:pos x="connsiteX8614" y="connsiteY8614"/>
                </a:cxn>
                <a:cxn ang="0">
                  <a:pos x="connsiteX8615" y="connsiteY8615"/>
                </a:cxn>
                <a:cxn ang="0">
                  <a:pos x="connsiteX8616" y="connsiteY8616"/>
                </a:cxn>
                <a:cxn ang="0">
                  <a:pos x="connsiteX8617" y="connsiteY8617"/>
                </a:cxn>
                <a:cxn ang="0">
                  <a:pos x="connsiteX8618" y="connsiteY8618"/>
                </a:cxn>
                <a:cxn ang="0">
                  <a:pos x="connsiteX8619" y="connsiteY8619"/>
                </a:cxn>
                <a:cxn ang="0">
                  <a:pos x="connsiteX8620" y="connsiteY8620"/>
                </a:cxn>
                <a:cxn ang="0">
                  <a:pos x="connsiteX8621" y="connsiteY8621"/>
                </a:cxn>
                <a:cxn ang="0">
                  <a:pos x="connsiteX8622" y="connsiteY8622"/>
                </a:cxn>
                <a:cxn ang="0">
                  <a:pos x="connsiteX8623" y="connsiteY8623"/>
                </a:cxn>
                <a:cxn ang="0">
                  <a:pos x="connsiteX8624" y="connsiteY8624"/>
                </a:cxn>
                <a:cxn ang="0">
                  <a:pos x="connsiteX8625" y="connsiteY8625"/>
                </a:cxn>
                <a:cxn ang="0">
                  <a:pos x="connsiteX8626" y="connsiteY8626"/>
                </a:cxn>
                <a:cxn ang="0">
                  <a:pos x="connsiteX8627" y="connsiteY8627"/>
                </a:cxn>
                <a:cxn ang="0">
                  <a:pos x="connsiteX8628" y="connsiteY8628"/>
                </a:cxn>
                <a:cxn ang="0">
                  <a:pos x="connsiteX8629" y="connsiteY8629"/>
                </a:cxn>
                <a:cxn ang="0">
                  <a:pos x="connsiteX8630" y="connsiteY8630"/>
                </a:cxn>
                <a:cxn ang="0">
                  <a:pos x="connsiteX8631" y="connsiteY8631"/>
                </a:cxn>
                <a:cxn ang="0">
                  <a:pos x="connsiteX8632" y="connsiteY8632"/>
                </a:cxn>
                <a:cxn ang="0">
                  <a:pos x="connsiteX8633" y="connsiteY8633"/>
                </a:cxn>
                <a:cxn ang="0">
                  <a:pos x="connsiteX8634" y="connsiteY8634"/>
                </a:cxn>
                <a:cxn ang="0">
                  <a:pos x="connsiteX8635" y="connsiteY8635"/>
                </a:cxn>
                <a:cxn ang="0">
                  <a:pos x="connsiteX8636" y="connsiteY8636"/>
                </a:cxn>
                <a:cxn ang="0">
                  <a:pos x="connsiteX8637" y="connsiteY8637"/>
                </a:cxn>
                <a:cxn ang="0">
                  <a:pos x="connsiteX8638" y="connsiteY8638"/>
                </a:cxn>
                <a:cxn ang="0">
                  <a:pos x="connsiteX8639" y="connsiteY8639"/>
                </a:cxn>
                <a:cxn ang="0">
                  <a:pos x="connsiteX8640" y="connsiteY8640"/>
                </a:cxn>
                <a:cxn ang="0">
                  <a:pos x="connsiteX8641" y="connsiteY8641"/>
                </a:cxn>
                <a:cxn ang="0">
                  <a:pos x="connsiteX8642" y="connsiteY8642"/>
                </a:cxn>
                <a:cxn ang="0">
                  <a:pos x="connsiteX8643" y="connsiteY8643"/>
                </a:cxn>
                <a:cxn ang="0">
                  <a:pos x="connsiteX8644" y="connsiteY8644"/>
                </a:cxn>
                <a:cxn ang="0">
                  <a:pos x="connsiteX8645" y="connsiteY8645"/>
                </a:cxn>
                <a:cxn ang="0">
                  <a:pos x="connsiteX8646" y="connsiteY8646"/>
                </a:cxn>
                <a:cxn ang="0">
                  <a:pos x="connsiteX8647" y="connsiteY8647"/>
                </a:cxn>
                <a:cxn ang="0">
                  <a:pos x="connsiteX8648" y="connsiteY8648"/>
                </a:cxn>
                <a:cxn ang="0">
                  <a:pos x="connsiteX8649" y="connsiteY8649"/>
                </a:cxn>
                <a:cxn ang="0">
                  <a:pos x="connsiteX8650" y="connsiteY8650"/>
                </a:cxn>
                <a:cxn ang="0">
                  <a:pos x="connsiteX8651" y="connsiteY8651"/>
                </a:cxn>
                <a:cxn ang="0">
                  <a:pos x="connsiteX8652" y="connsiteY8652"/>
                </a:cxn>
                <a:cxn ang="0">
                  <a:pos x="connsiteX8653" y="connsiteY8653"/>
                </a:cxn>
                <a:cxn ang="0">
                  <a:pos x="connsiteX8654" y="connsiteY8654"/>
                </a:cxn>
                <a:cxn ang="0">
                  <a:pos x="connsiteX8655" y="connsiteY8655"/>
                </a:cxn>
                <a:cxn ang="0">
                  <a:pos x="connsiteX8656" y="connsiteY8656"/>
                </a:cxn>
                <a:cxn ang="0">
                  <a:pos x="connsiteX8657" y="connsiteY8657"/>
                </a:cxn>
                <a:cxn ang="0">
                  <a:pos x="connsiteX8658" y="connsiteY8658"/>
                </a:cxn>
                <a:cxn ang="0">
                  <a:pos x="connsiteX8659" y="connsiteY8659"/>
                </a:cxn>
                <a:cxn ang="0">
                  <a:pos x="connsiteX8660" y="connsiteY8660"/>
                </a:cxn>
                <a:cxn ang="0">
                  <a:pos x="connsiteX8661" y="connsiteY8661"/>
                </a:cxn>
                <a:cxn ang="0">
                  <a:pos x="connsiteX8662" y="connsiteY8662"/>
                </a:cxn>
                <a:cxn ang="0">
                  <a:pos x="connsiteX8663" y="connsiteY8663"/>
                </a:cxn>
                <a:cxn ang="0">
                  <a:pos x="connsiteX8664" y="connsiteY8664"/>
                </a:cxn>
                <a:cxn ang="0">
                  <a:pos x="connsiteX8665" y="connsiteY8665"/>
                </a:cxn>
                <a:cxn ang="0">
                  <a:pos x="connsiteX8666" y="connsiteY8666"/>
                </a:cxn>
                <a:cxn ang="0">
                  <a:pos x="connsiteX8667" y="connsiteY8667"/>
                </a:cxn>
                <a:cxn ang="0">
                  <a:pos x="connsiteX8668" y="connsiteY8668"/>
                </a:cxn>
                <a:cxn ang="0">
                  <a:pos x="connsiteX8669" y="connsiteY8669"/>
                </a:cxn>
                <a:cxn ang="0">
                  <a:pos x="connsiteX8670" y="connsiteY8670"/>
                </a:cxn>
                <a:cxn ang="0">
                  <a:pos x="connsiteX8671" y="connsiteY8671"/>
                </a:cxn>
                <a:cxn ang="0">
                  <a:pos x="connsiteX8672" y="connsiteY8672"/>
                </a:cxn>
                <a:cxn ang="0">
                  <a:pos x="connsiteX8673" y="connsiteY8673"/>
                </a:cxn>
                <a:cxn ang="0">
                  <a:pos x="connsiteX8674" y="connsiteY8674"/>
                </a:cxn>
                <a:cxn ang="0">
                  <a:pos x="connsiteX8675" y="connsiteY8675"/>
                </a:cxn>
                <a:cxn ang="0">
                  <a:pos x="connsiteX8676" y="connsiteY8676"/>
                </a:cxn>
                <a:cxn ang="0">
                  <a:pos x="connsiteX8677" y="connsiteY8677"/>
                </a:cxn>
                <a:cxn ang="0">
                  <a:pos x="connsiteX8678" y="connsiteY8678"/>
                </a:cxn>
                <a:cxn ang="0">
                  <a:pos x="connsiteX8679" y="connsiteY8679"/>
                </a:cxn>
                <a:cxn ang="0">
                  <a:pos x="connsiteX8680" y="connsiteY8680"/>
                </a:cxn>
                <a:cxn ang="0">
                  <a:pos x="connsiteX8681" y="connsiteY8681"/>
                </a:cxn>
                <a:cxn ang="0">
                  <a:pos x="connsiteX8682" y="connsiteY8682"/>
                </a:cxn>
                <a:cxn ang="0">
                  <a:pos x="connsiteX8683" y="connsiteY8683"/>
                </a:cxn>
                <a:cxn ang="0">
                  <a:pos x="connsiteX8684" y="connsiteY8684"/>
                </a:cxn>
                <a:cxn ang="0">
                  <a:pos x="connsiteX8685" y="connsiteY8685"/>
                </a:cxn>
                <a:cxn ang="0">
                  <a:pos x="connsiteX8686" y="connsiteY8686"/>
                </a:cxn>
                <a:cxn ang="0">
                  <a:pos x="connsiteX8687" y="connsiteY8687"/>
                </a:cxn>
                <a:cxn ang="0">
                  <a:pos x="connsiteX8688" y="connsiteY8688"/>
                </a:cxn>
                <a:cxn ang="0">
                  <a:pos x="connsiteX8689" y="connsiteY8689"/>
                </a:cxn>
                <a:cxn ang="0">
                  <a:pos x="connsiteX8690" y="connsiteY8690"/>
                </a:cxn>
                <a:cxn ang="0">
                  <a:pos x="connsiteX8691" y="connsiteY8691"/>
                </a:cxn>
                <a:cxn ang="0">
                  <a:pos x="connsiteX8692" y="connsiteY8692"/>
                </a:cxn>
                <a:cxn ang="0">
                  <a:pos x="connsiteX8693" y="connsiteY8693"/>
                </a:cxn>
                <a:cxn ang="0">
                  <a:pos x="connsiteX8694" y="connsiteY8694"/>
                </a:cxn>
                <a:cxn ang="0">
                  <a:pos x="connsiteX8695" y="connsiteY8695"/>
                </a:cxn>
                <a:cxn ang="0">
                  <a:pos x="connsiteX8696" y="connsiteY8696"/>
                </a:cxn>
                <a:cxn ang="0">
                  <a:pos x="connsiteX8697" y="connsiteY8697"/>
                </a:cxn>
                <a:cxn ang="0">
                  <a:pos x="connsiteX8698" y="connsiteY8698"/>
                </a:cxn>
                <a:cxn ang="0">
                  <a:pos x="connsiteX8699" y="connsiteY8699"/>
                </a:cxn>
                <a:cxn ang="0">
                  <a:pos x="connsiteX8700" y="connsiteY8700"/>
                </a:cxn>
                <a:cxn ang="0">
                  <a:pos x="connsiteX8701" y="connsiteY8701"/>
                </a:cxn>
                <a:cxn ang="0">
                  <a:pos x="connsiteX8702" y="connsiteY8702"/>
                </a:cxn>
                <a:cxn ang="0">
                  <a:pos x="connsiteX8703" y="connsiteY8703"/>
                </a:cxn>
                <a:cxn ang="0">
                  <a:pos x="connsiteX8704" y="connsiteY8704"/>
                </a:cxn>
                <a:cxn ang="0">
                  <a:pos x="connsiteX8705" y="connsiteY8705"/>
                </a:cxn>
                <a:cxn ang="0">
                  <a:pos x="connsiteX8706" y="connsiteY8706"/>
                </a:cxn>
                <a:cxn ang="0">
                  <a:pos x="connsiteX8707" y="connsiteY8707"/>
                </a:cxn>
                <a:cxn ang="0">
                  <a:pos x="connsiteX8708" y="connsiteY8708"/>
                </a:cxn>
                <a:cxn ang="0">
                  <a:pos x="connsiteX8709" y="connsiteY8709"/>
                </a:cxn>
                <a:cxn ang="0">
                  <a:pos x="connsiteX8710" y="connsiteY8710"/>
                </a:cxn>
                <a:cxn ang="0">
                  <a:pos x="connsiteX8711" y="connsiteY8711"/>
                </a:cxn>
                <a:cxn ang="0">
                  <a:pos x="connsiteX8712" y="connsiteY8712"/>
                </a:cxn>
                <a:cxn ang="0">
                  <a:pos x="connsiteX8713" y="connsiteY8713"/>
                </a:cxn>
                <a:cxn ang="0">
                  <a:pos x="connsiteX8714" y="connsiteY8714"/>
                </a:cxn>
                <a:cxn ang="0">
                  <a:pos x="connsiteX8715" y="connsiteY8715"/>
                </a:cxn>
                <a:cxn ang="0">
                  <a:pos x="connsiteX8716" y="connsiteY8716"/>
                </a:cxn>
                <a:cxn ang="0">
                  <a:pos x="connsiteX8717" y="connsiteY8717"/>
                </a:cxn>
                <a:cxn ang="0">
                  <a:pos x="connsiteX8718" y="connsiteY8718"/>
                </a:cxn>
                <a:cxn ang="0">
                  <a:pos x="connsiteX8719" y="connsiteY8719"/>
                </a:cxn>
                <a:cxn ang="0">
                  <a:pos x="connsiteX8720" y="connsiteY8720"/>
                </a:cxn>
                <a:cxn ang="0">
                  <a:pos x="connsiteX8721" y="connsiteY8721"/>
                </a:cxn>
                <a:cxn ang="0">
                  <a:pos x="connsiteX8722" y="connsiteY8722"/>
                </a:cxn>
                <a:cxn ang="0">
                  <a:pos x="connsiteX8723" y="connsiteY8723"/>
                </a:cxn>
                <a:cxn ang="0">
                  <a:pos x="connsiteX8724" y="connsiteY8724"/>
                </a:cxn>
                <a:cxn ang="0">
                  <a:pos x="connsiteX8725" y="connsiteY8725"/>
                </a:cxn>
                <a:cxn ang="0">
                  <a:pos x="connsiteX8726" y="connsiteY8726"/>
                </a:cxn>
                <a:cxn ang="0">
                  <a:pos x="connsiteX8727" y="connsiteY8727"/>
                </a:cxn>
                <a:cxn ang="0">
                  <a:pos x="connsiteX8728" y="connsiteY8728"/>
                </a:cxn>
                <a:cxn ang="0">
                  <a:pos x="connsiteX8729" y="connsiteY8729"/>
                </a:cxn>
                <a:cxn ang="0">
                  <a:pos x="connsiteX8730" y="connsiteY8730"/>
                </a:cxn>
                <a:cxn ang="0">
                  <a:pos x="connsiteX8731" y="connsiteY8731"/>
                </a:cxn>
                <a:cxn ang="0">
                  <a:pos x="connsiteX8732" y="connsiteY8732"/>
                </a:cxn>
                <a:cxn ang="0">
                  <a:pos x="connsiteX8733" y="connsiteY8733"/>
                </a:cxn>
                <a:cxn ang="0">
                  <a:pos x="connsiteX8734" y="connsiteY8734"/>
                </a:cxn>
                <a:cxn ang="0">
                  <a:pos x="connsiteX8735" y="connsiteY8735"/>
                </a:cxn>
                <a:cxn ang="0">
                  <a:pos x="connsiteX8736" y="connsiteY8736"/>
                </a:cxn>
                <a:cxn ang="0">
                  <a:pos x="connsiteX8737" y="connsiteY8737"/>
                </a:cxn>
                <a:cxn ang="0">
                  <a:pos x="connsiteX8738" y="connsiteY8738"/>
                </a:cxn>
                <a:cxn ang="0">
                  <a:pos x="connsiteX8739" y="connsiteY8739"/>
                </a:cxn>
                <a:cxn ang="0">
                  <a:pos x="connsiteX8740" y="connsiteY8740"/>
                </a:cxn>
                <a:cxn ang="0">
                  <a:pos x="connsiteX8741" y="connsiteY8741"/>
                </a:cxn>
                <a:cxn ang="0">
                  <a:pos x="connsiteX8742" y="connsiteY8742"/>
                </a:cxn>
                <a:cxn ang="0">
                  <a:pos x="connsiteX8743" y="connsiteY8743"/>
                </a:cxn>
                <a:cxn ang="0">
                  <a:pos x="connsiteX8744" y="connsiteY8744"/>
                </a:cxn>
                <a:cxn ang="0">
                  <a:pos x="connsiteX8745" y="connsiteY8745"/>
                </a:cxn>
                <a:cxn ang="0">
                  <a:pos x="connsiteX8746" y="connsiteY8746"/>
                </a:cxn>
                <a:cxn ang="0">
                  <a:pos x="connsiteX8747" y="connsiteY8747"/>
                </a:cxn>
                <a:cxn ang="0">
                  <a:pos x="connsiteX8748" y="connsiteY8748"/>
                </a:cxn>
                <a:cxn ang="0">
                  <a:pos x="connsiteX8749" y="connsiteY8749"/>
                </a:cxn>
                <a:cxn ang="0">
                  <a:pos x="connsiteX8750" y="connsiteY8750"/>
                </a:cxn>
                <a:cxn ang="0">
                  <a:pos x="connsiteX8751" y="connsiteY8751"/>
                </a:cxn>
                <a:cxn ang="0">
                  <a:pos x="connsiteX8752" y="connsiteY8752"/>
                </a:cxn>
                <a:cxn ang="0">
                  <a:pos x="connsiteX8753" y="connsiteY8753"/>
                </a:cxn>
                <a:cxn ang="0">
                  <a:pos x="connsiteX8754" y="connsiteY8754"/>
                </a:cxn>
                <a:cxn ang="0">
                  <a:pos x="connsiteX8755" y="connsiteY8755"/>
                </a:cxn>
                <a:cxn ang="0">
                  <a:pos x="connsiteX8756" y="connsiteY8756"/>
                </a:cxn>
                <a:cxn ang="0">
                  <a:pos x="connsiteX8757" y="connsiteY8757"/>
                </a:cxn>
                <a:cxn ang="0">
                  <a:pos x="connsiteX8758" y="connsiteY8758"/>
                </a:cxn>
                <a:cxn ang="0">
                  <a:pos x="connsiteX8759" y="connsiteY8759"/>
                </a:cxn>
                <a:cxn ang="0">
                  <a:pos x="connsiteX8760" y="connsiteY8760"/>
                </a:cxn>
                <a:cxn ang="0">
                  <a:pos x="connsiteX8761" y="connsiteY8761"/>
                </a:cxn>
                <a:cxn ang="0">
                  <a:pos x="connsiteX8762" y="connsiteY8762"/>
                </a:cxn>
                <a:cxn ang="0">
                  <a:pos x="connsiteX8763" y="connsiteY8763"/>
                </a:cxn>
                <a:cxn ang="0">
                  <a:pos x="connsiteX8764" y="connsiteY8764"/>
                </a:cxn>
                <a:cxn ang="0">
                  <a:pos x="connsiteX8765" y="connsiteY8765"/>
                </a:cxn>
                <a:cxn ang="0">
                  <a:pos x="connsiteX8766" y="connsiteY8766"/>
                </a:cxn>
                <a:cxn ang="0">
                  <a:pos x="connsiteX8767" y="connsiteY8767"/>
                </a:cxn>
                <a:cxn ang="0">
                  <a:pos x="connsiteX8768" y="connsiteY8768"/>
                </a:cxn>
                <a:cxn ang="0">
                  <a:pos x="connsiteX8769" y="connsiteY8769"/>
                </a:cxn>
                <a:cxn ang="0">
                  <a:pos x="connsiteX8770" y="connsiteY8770"/>
                </a:cxn>
                <a:cxn ang="0">
                  <a:pos x="connsiteX8771" y="connsiteY8771"/>
                </a:cxn>
                <a:cxn ang="0">
                  <a:pos x="connsiteX8772" y="connsiteY8772"/>
                </a:cxn>
                <a:cxn ang="0">
                  <a:pos x="connsiteX8773" y="connsiteY8773"/>
                </a:cxn>
                <a:cxn ang="0">
                  <a:pos x="connsiteX8774" y="connsiteY8774"/>
                </a:cxn>
                <a:cxn ang="0">
                  <a:pos x="connsiteX8775" y="connsiteY8775"/>
                </a:cxn>
                <a:cxn ang="0">
                  <a:pos x="connsiteX8776" y="connsiteY8776"/>
                </a:cxn>
                <a:cxn ang="0">
                  <a:pos x="connsiteX8777" y="connsiteY8777"/>
                </a:cxn>
                <a:cxn ang="0">
                  <a:pos x="connsiteX8778" y="connsiteY8778"/>
                </a:cxn>
                <a:cxn ang="0">
                  <a:pos x="connsiteX8779" y="connsiteY8779"/>
                </a:cxn>
                <a:cxn ang="0">
                  <a:pos x="connsiteX8780" y="connsiteY8780"/>
                </a:cxn>
                <a:cxn ang="0">
                  <a:pos x="connsiteX8781" y="connsiteY8781"/>
                </a:cxn>
                <a:cxn ang="0">
                  <a:pos x="connsiteX8782" y="connsiteY8782"/>
                </a:cxn>
                <a:cxn ang="0">
                  <a:pos x="connsiteX8783" y="connsiteY8783"/>
                </a:cxn>
                <a:cxn ang="0">
                  <a:pos x="connsiteX8784" y="connsiteY8784"/>
                </a:cxn>
                <a:cxn ang="0">
                  <a:pos x="connsiteX8785" y="connsiteY8785"/>
                </a:cxn>
                <a:cxn ang="0">
                  <a:pos x="connsiteX8786" y="connsiteY8786"/>
                </a:cxn>
                <a:cxn ang="0">
                  <a:pos x="connsiteX8787" y="connsiteY8787"/>
                </a:cxn>
                <a:cxn ang="0">
                  <a:pos x="connsiteX8788" y="connsiteY8788"/>
                </a:cxn>
                <a:cxn ang="0">
                  <a:pos x="connsiteX8789" y="connsiteY8789"/>
                </a:cxn>
                <a:cxn ang="0">
                  <a:pos x="connsiteX8790" y="connsiteY8790"/>
                </a:cxn>
                <a:cxn ang="0">
                  <a:pos x="connsiteX8791" y="connsiteY8791"/>
                </a:cxn>
                <a:cxn ang="0">
                  <a:pos x="connsiteX8792" y="connsiteY8792"/>
                </a:cxn>
                <a:cxn ang="0">
                  <a:pos x="connsiteX8793" y="connsiteY8793"/>
                </a:cxn>
                <a:cxn ang="0">
                  <a:pos x="connsiteX8794" y="connsiteY8794"/>
                </a:cxn>
                <a:cxn ang="0">
                  <a:pos x="connsiteX8795" y="connsiteY8795"/>
                </a:cxn>
                <a:cxn ang="0">
                  <a:pos x="connsiteX8796" y="connsiteY8796"/>
                </a:cxn>
                <a:cxn ang="0">
                  <a:pos x="connsiteX8797" y="connsiteY8797"/>
                </a:cxn>
                <a:cxn ang="0">
                  <a:pos x="connsiteX8798" y="connsiteY8798"/>
                </a:cxn>
                <a:cxn ang="0">
                  <a:pos x="connsiteX8799" y="connsiteY8799"/>
                </a:cxn>
                <a:cxn ang="0">
                  <a:pos x="connsiteX8800" y="connsiteY8800"/>
                </a:cxn>
                <a:cxn ang="0">
                  <a:pos x="connsiteX8801" y="connsiteY8801"/>
                </a:cxn>
                <a:cxn ang="0">
                  <a:pos x="connsiteX8802" y="connsiteY8802"/>
                </a:cxn>
                <a:cxn ang="0">
                  <a:pos x="connsiteX8803" y="connsiteY8803"/>
                </a:cxn>
                <a:cxn ang="0">
                  <a:pos x="connsiteX8804" y="connsiteY8804"/>
                </a:cxn>
                <a:cxn ang="0">
                  <a:pos x="connsiteX8805" y="connsiteY8805"/>
                </a:cxn>
                <a:cxn ang="0">
                  <a:pos x="connsiteX8806" y="connsiteY8806"/>
                </a:cxn>
                <a:cxn ang="0">
                  <a:pos x="connsiteX8807" y="connsiteY8807"/>
                </a:cxn>
                <a:cxn ang="0">
                  <a:pos x="connsiteX8808" y="connsiteY8808"/>
                </a:cxn>
                <a:cxn ang="0">
                  <a:pos x="connsiteX8809" y="connsiteY8809"/>
                </a:cxn>
                <a:cxn ang="0">
                  <a:pos x="connsiteX8810" y="connsiteY8810"/>
                </a:cxn>
                <a:cxn ang="0">
                  <a:pos x="connsiteX8811" y="connsiteY8811"/>
                </a:cxn>
                <a:cxn ang="0">
                  <a:pos x="connsiteX8812" y="connsiteY8812"/>
                </a:cxn>
                <a:cxn ang="0">
                  <a:pos x="connsiteX8813" y="connsiteY8813"/>
                </a:cxn>
                <a:cxn ang="0">
                  <a:pos x="connsiteX8814" y="connsiteY8814"/>
                </a:cxn>
                <a:cxn ang="0">
                  <a:pos x="connsiteX8815" y="connsiteY8815"/>
                </a:cxn>
                <a:cxn ang="0">
                  <a:pos x="connsiteX8816" y="connsiteY8816"/>
                </a:cxn>
                <a:cxn ang="0">
                  <a:pos x="connsiteX8817" y="connsiteY8817"/>
                </a:cxn>
                <a:cxn ang="0">
                  <a:pos x="connsiteX8818" y="connsiteY8818"/>
                </a:cxn>
                <a:cxn ang="0">
                  <a:pos x="connsiteX8819" y="connsiteY8819"/>
                </a:cxn>
                <a:cxn ang="0">
                  <a:pos x="connsiteX8820" y="connsiteY8820"/>
                </a:cxn>
                <a:cxn ang="0">
                  <a:pos x="connsiteX8821" y="connsiteY8821"/>
                </a:cxn>
                <a:cxn ang="0">
                  <a:pos x="connsiteX8822" y="connsiteY8822"/>
                </a:cxn>
                <a:cxn ang="0">
                  <a:pos x="connsiteX8823" y="connsiteY8823"/>
                </a:cxn>
                <a:cxn ang="0">
                  <a:pos x="connsiteX8824" y="connsiteY8824"/>
                </a:cxn>
                <a:cxn ang="0">
                  <a:pos x="connsiteX8825" y="connsiteY8825"/>
                </a:cxn>
                <a:cxn ang="0">
                  <a:pos x="connsiteX8826" y="connsiteY8826"/>
                </a:cxn>
                <a:cxn ang="0">
                  <a:pos x="connsiteX8827" y="connsiteY8827"/>
                </a:cxn>
                <a:cxn ang="0">
                  <a:pos x="connsiteX8828" y="connsiteY8828"/>
                </a:cxn>
                <a:cxn ang="0">
                  <a:pos x="connsiteX8829" y="connsiteY8829"/>
                </a:cxn>
                <a:cxn ang="0">
                  <a:pos x="connsiteX8830" y="connsiteY8830"/>
                </a:cxn>
                <a:cxn ang="0">
                  <a:pos x="connsiteX8831" y="connsiteY8831"/>
                </a:cxn>
                <a:cxn ang="0">
                  <a:pos x="connsiteX8832" y="connsiteY8832"/>
                </a:cxn>
                <a:cxn ang="0">
                  <a:pos x="connsiteX8833" y="connsiteY8833"/>
                </a:cxn>
                <a:cxn ang="0">
                  <a:pos x="connsiteX8834" y="connsiteY8834"/>
                </a:cxn>
                <a:cxn ang="0">
                  <a:pos x="connsiteX8835" y="connsiteY8835"/>
                </a:cxn>
                <a:cxn ang="0">
                  <a:pos x="connsiteX8836" y="connsiteY8836"/>
                </a:cxn>
                <a:cxn ang="0">
                  <a:pos x="connsiteX8837" y="connsiteY8837"/>
                </a:cxn>
                <a:cxn ang="0">
                  <a:pos x="connsiteX8838" y="connsiteY8838"/>
                </a:cxn>
                <a:cxn ang="0">
                  <a:pos x="connsiteX8839" y="connsiteY8839"/>
                </a:cxn>
                <a:cxn ang="0">
                  <a:pos x="connsiteX8840" y="connsiteY8840"/>
                </a:cxn>
                <a:cxn ang="0">
                  <a:pos x="connsiteX8841" y="connsiteY8841"/>
                </a:cxn>
                <a:cxn ang="0">
                  <a:pos x="connsiteX8842" y="connsiteY8842"/>
                </a:cxn>
                <a:cxn ang="0">
                  <a:pos x="connsiteX8843" y="connsiteY8843"/>
                </a:cxn>
                <a:cxn ang="0">
                  <a:pos x="connsiteX8844" y="connsiteY8844"/>
                </a:cxn>
                <a:cxn ang="0">
                  <a:pos x="connsiteX8845" y="connsiteY8845"/>
                </a:cxn>
                <a:cxn ang="0">
                  <a:pos x="connsiteX8846" y="connsiteY8846"/>
                </a:cxn>
                <a:cxn ang="0">
                  <a:pos x="connsiteX8847" y="connsiteY8847"/>
                </a:cxn>
                <a:cxn ang="0">
                  <a:pos x="connsiteX8848" y="connsiteY8848"/>
                </a:cxn>
                <a:cxn ang="0">
                  <a:pos x="connsiteX8849" y="connsiteY8849"/>
                </a:cxn>
                <a:cxn ang="0">
                  <a:pos x="connsiteX8850" y="connsiteY8850"/>
                </a:cxn>
                <a:cxn ang="0">
                  <a:pos x="connsiteX8851" y="connsiteY8851"/>
                </a:cxn>
                <a:cxn ang="0">
                  <a:pos x="connsiteX8852" y="connsiteY8852"/>
                </a:cxn>
                <a:cxn ang="0">
                  <a:pos x="connsiteX8853" y="connsiteY8853"/>
                </a:cxn>
                <a:cxn ang="0">
                  <a:pos x="connsiteX8854" y="connsiteY8854"/>
                </a:cxn>
                <a:cxn ang="0">
                  <a:pos x="connsiteX8855" y="connsiteY8855"/>
                </a:cxn>
                <a:cxn ang="0">
                  <a:pos x="connsiteX8856" y="connsiteY8856"/>
                </a:cxn>
                <a:cxn ang="0">
                  <a:pos x="connsiteX8857" y="connsiteY8857"/>
                </a:cxn>
                <a:cxn ang="0">
                  <a:pos x="connsiteX8858" y="connsiteY8858"/>
                </a:cxn>
                <a:cxn ang="0">
                  <a:pos x="connsiteX8859" y="connsiteY8859"/>
                </a:cxn>
                <a:cxn ang="0">
                  <a:pos x="connsiteX8860" y="connsiteY8860"/>
                </a:cxn>
                <a:cxn ang="0">
                  <a:pos x="connsiteX8861" y="connsiteY8861"/>
                </a:cxn>
                <a:cxn ang="0">
                  <a:pos x="connsiteX8862" y="connsiteY8862"/>
                </a:cxn>
                <a:cxn ang="0">
                  <a:pos x="connsiteX8863" y="connsiteY8863"/>
                </a:cxn>
                <a:cxn ang="0">
                  <a:pos x="connsiteX8864" y="connsiteY8864"/>
                </a:cxn>
                <a:cxn ang="0">
                  <a:pos x="connsiteX8865" y="connsiteY8865"/>
                </a:cxn>
                <a:cxn ang="0">
                  <a:pos x="connsiteX8866" y="connsiteY8866"/>
                </a:cxn>
                <a:cxn ang="0">
                  <a:pos x="connsiteX8867" y="connsiteY8867"/>
                </a:cxn>
                <a:cxn ang="0">
                  <a:pos x="connsiteX8868" y="connsiteY8868"/>
                </a:cxn>
                <a:cxn ang="0">
                  <a:pos x="connsiteX8869" y="connsiteY8869"/>
                </a:cxn>
                <a:cxn ang="0">
                  <a:pos x="connsiteX8870" y="connsiteY8870"/>
                </a:cxn>
                <a:cxn ang="0">
                  <a:pos x="connsiteX8871" y="connsiteY8871"/>
                </a:cxn>
                <a:cxn ang="0">
                  <a:pos x="connsiteX8872" y="connsiteY8872"/>
                </a:cxn>
                <a:cxn ang="0">
                  <a:pos x="connsiteX8873" y="connsiteY8873"/>
                </a:cxn>
                <a:cxn ang="0">
                  <a:pos x="connsiteX8874" y="connsiteY8874"/>
                </a:cxn>
                <a:cxn ang="0">
                  <a:pos x="connsiteX8875" y="connsiteY8875"/>
                </a:cxn>
                <a:cxn ang="0">
                  <a:pos x="connsiteX8876" y="connsiteY8876"/>
                </a:cxn>
                <a:cxn ang="0">
                  <a:pos x="connsiteX8877" y="connsiteY8877"/>
                </a:cxn>
                <a:cxn ang="0">
                  <a:pos x="connsiteX8878" y="connsiteY8878"/>
                </a:cxn>
                <a:cxn ang="0">
                  <a:pos x="connsiteX8879" y="connsiteY8879"/>
                </a:cxn>
                <a:cxn ang="0">
                  <a:pos x="connsiteX8880" y="connsiteY8880"/>
                </a:cxn>
                <a:cxn ang="0">
                  <a:pos x="connsiteX8881" y="connsiteY8881"/>
                </a:cxn>
                <a:cxn ang="0">
                  <a:pos x="connsiteX8882" y="connsiteY8882"/>
                </a:cxn>
                <a:cxn ang="0">
                  <a:pos x="connsiteX8883" y="connsiteY8883"/>
                </a:cxn>
                <a:cxn ang="0">
                  <a:pos x="connsiteX8884" y="connsiteY8884"/>
                </a:cxn>
                <a:cxn ang="0">
                  <a:pos x="connsiteX8885" y="connsiteY8885"/>
                </a:cxn>
                <a:cxn ang="0">
                  <a:pos x="connsiteX8886" y="connsiteY8886"/>
                </a:cxn>
                <a:cxn ang="0">
                  <a:pos x="connsiteX8887" y="connsiteY8887"/>
                </a:cxn>
                <a:cxn ang="0">
                  <a:pos x="connsiteX8888" y="connsiteY8888"/>
                </a:cxn>
                <a:cxn ang="0">
                  <a:pos x="connsiteX8889" y="connsiteY8889"/>
                </a:cxn>
                <a:cxn ang="0">
                  <a:pos x="connsiteX8890" y="connsiteY8890"/>
                </a:cxn>
                <a:cxn ang="0">
                  <a:pos x="connsiteX8891" y="connsiteY8891"/>
                </a:cxn>
                <a:cxn ang="0">
                  <a:pos x="connsiteX8892" y="connsiteY8892"/>
                </a:cxn>
                <a:cxn ang="0">
                  <a:pos x="connsiteX8893" y="connsiteY8893"/>
                </a:cxn>
                <a:cxn ang="0">
                  <a:pos x="connsiteX8894" y="connsiteY8894"/>
                </a:cxn>
                <a:cxn ang="0">
                  <a:pos x="connsiteX8895" y="connsiteY8895"/>
                </a:cxn>
                <a:cxn ang="0">
                  <a:pos x="connsiteX8896" y="connsiteY8896"/>
                </a:cxn>
                <a:cxn ang="0">
                  <a:pos x="connsiteX8897" y="connsiteY8897"/>
                </a:cxn>
                <a:cxn ang="0">
                  <a:pos x="connsiteX8898" y="connsiteY8898"/>
                </a:cxn>
                <a:cxn ang="0">
                  <a:pos x="connsiteX8899" y="connsiteY8899"/>
                </a:cxn>
                <a:cxn ang="0">
                  <a:pos x="connsiteX8900" y="connsiteY8900"/>
                </a:cxn>
                <a:cxn ang="0">
                  <a:pos x="connsiteX8901" y="connsiteY8901"/>
                </a:cxn>
                <a:cxn ang="0">
                  <a:pos x="connsiteX8902" y="connsiteY8902"/>
                </a:cxn>
                <a:cxn ang="0">
                  <a:pos x="connsiteX8903" y="connsiteY8903"/>
                </a:cxn>
                <a:cxn ang="0">
                  <a:pos x="connsiteX8904" y="connsiteY8904"/>
                </a:cxn>
                <a:cxn ang="0">
                  <a:pos x="connsiteX8905" y="connsiteY8905"/>
                </a:cxn>
                <a:cxn ang="0">
                  <a:pos x="connsiteX8906" y="connsiteY8906"/>
                </a:cxn>
                <a:cxn ang="0">
                  <a:pos x="connsiteX8907" y="connsiteY8907"/>
                </a:cxn>
                <a:cxn ang="0">
                  <a:pos x="connsiteX8908" y="connsiteY8908"/>
                </a:cxn>
                <a:cxn ang="0">
                  <a:pos x="connsiteX8909" y="connsiteY8909"/>
                </a:cxn>
                <a:cxn ang="0">
                  <a:pos x="connsiteX8910" y="connsiteY8910"/>
                </a:cxn>
                <a:cxn ang="0">
                  <a:pos x="connsiteX8911" y="connsiteY8911"/>
                </a:cxn>
                <a:cxn ang="0">
                  <a:pos x="connsiteX8912" y="connsiteY8912"/>
                </a:cxn>
                <a:cxn ang="0">
                  <a:pos x="connsiteX8913" y="connsiteY8913"/>
                </a:cxn>
                <a:cxn ang="0">
                  <a:pos x="connsiteX8914" y="connsiteY8914"/>
                </a:cxn>
                <a:cxn ang="0">
                  <a:pos x="connsiteX8915" y="connsiteY8915"/>
                </a:cxn>
                <a:cxn ang="0">
                  <a:pos x="connsiteX8916" y="connsiteY8916"/>
                </a:cxn>
                <a:cxn ang="0">
                  <a:pos x="connsiteX8917" y="connsiteY8917"/>
                </a:cxn>
                <a:cxn ang="0">
                  <a:pos x="connsiteX8918" y="connsiteY8918"/>
                </a:cxn>
                <a:cxn ang="0">
                  <a:pos x="connsiteX8919" y="connsiteY8919"/>
                </a:cxn>
                <a:cxn ang="0">
                  <a:pos x="connsiteX8920" y="connsiteY8920"/>
                </a:cxn>
                <a:cxn ang="0">
                  <a:pos x="connsiteX8921" y="connsiteY8921"/>
                </a:cxn>
                <a:cxn ang="0">
                  <a:pos x="connsiteX8922" y="connsiteY8922"/>
                </a:cxn>
                <a:cxn ang="0">
                  <a:pos x="connsiteX8923" y="connsiteY8923"/>
                </a:cxn>
                <a:cxn ang="0">
                  <a:pos x="connsiteX8924" y="connsiteY8924"/>
                </a:cxn>
                <a:cxn ang="0">
                  <a:pos x="connsiteX8925" y="connsiteY8925"/>
                </a:cxn>
                <a:cxn ang="0">
                  <a:pos x="connsiteX8926" y="connsiteY8926"/>
                </a:cxn>
                <a:cxn ang="0">
                  <a:pos x="connsiteX8927" y="connsiteY8927"/>
                </a:cxn>
                <a:cxn ang="0">
                  <a:pos x="connsiteX8928" y="connsiteY8928"/>
                </a:cxn>
                <a:cxn ang="0">
                  <a:pos x="connsiteX8929" y="connsiteY8929"/>
                </a:cxn>
                <a:cxn ang="0">
                  <a:pos x="connsiteX8930" y="connsiteY8930"/>
                </a:cxn>
                <a:cxn ang="0">
                  <a:pos x="connsiteX8931" y="connsiteY8931"/>
                </a:cxn>
                <a:cxn ang="0">
                  <a:pos x="connsiteX8932" y="connsiteY8932"/>
                </a:cxn>
                <a:cxn ang="0">
                  <a:pos x="connsiteX8933" y="connsiteY8933"/>
                </a:cxn>
                <a:cxn ang="0">
                  <a:pos x="connsiteX8934" y="connsiteY8934"/>
                </a:cxn>
                <a:cxn ang="0">
                  <a:pos x="connsiteX8935" y="connsiteY8935"/>
                </a:cxn>
                <a:cxn ang="0">
                  <a:pos x="connsiteX8936" y="connsiteY8936"/>
                </a:cxn>
                <a:cxn ang="0">
                  <a:pos x="connsiteX8937" y="connsiteY8937"/>
                </a:cxn>
                <a:cxn ang="0">
                  <a:pos x="connsiteX8938" y="connsiteY8938"/>
                </a:cxn>
                <a:cxn ang="0">
                  <a:pos x="connsiteX8939" y="connsiteY8939"/>
                </a:cxn>
                <a:cxn ang="0">
                  <a:pos x="connsiteX8940" y="connsiteY8940"/>
                </a:cxn>
                <a:cxn ang="0">
                  <a:pos x="connsiteX8941" y="connsiteY8941"/>
                </a:cxn>
                <a:cxn ang="0">
                  <a:pos x="connsiteX8942" y="connsiteY8942"/>
                </a:cxn>
                <a:cxn ang="0">
                  <a:pos x="connsiteX8943" y="connsiteY8943"/>
                </a:cxn>
                <a:cxn ang="0">
                  <a:pos x="connsiteX8944" y="connsiteY8944"/>
                </a:cxn>
                <a:cxn ang="0">
                  <a:pos x="connsiteX8945" y="connsiteY8945"/>
                </a:cxn>
                <a:cxn ang="0">
                  <a:pos x="connsiteX8946" y="connsiteY8946"/>
                </a:cxn>
                <a:cxn ang="0">
                  <a:pos x="connsiteX8947" y="connsiteY8947"/>
                </a:cxn>
                <a:cxn ang="0">
                  <a:pos x="connsiteX8948" y="connsiteY8948"/>
                </a:cxn>
                <a:cxn ang="0">
                  <a:pos x="connsiteX8949" y="connsiteY8949"/>
                </a:cxn>
                <a:cxn ang="0">
                  <a:pos x="connsiteX8950" y="connsiteY8950"/>
                </a:cxn>
                <a:cxn ang="0">
                  <a:pos x="connsiteX8951" y="connsiteY8951"/>
                </a:cxn>
                <a:cxn ang="0">
                  <a:pos x="connsiteX8952" y="connsiteY8952"/>
                </a:cxn>
                <a:cxn ang="0">
                  <a:pos x="connsiteX8953" y="connsiteY8953"/>
                </a:cxn>
                <a:cxn ang="0">
                  <a:pos x="connsiteX8954" y="connsiteY8954"/>
                </a:cxn>
                <a:cxn ang="0">
                  <a:pos x="connsiteX8955" y="connsiteY8955"/>
                </a:cxn>
                <a:cxn ang="0">
                  <a:pos x="connsiteX8956" y="connsiteY8956"/>
                </a:cxn>
                <a:cxn ang="0">
                  <a:pos x="connsiteX8957" y="connsiteY8957"/>
                </a:cxn>
                <a:cxn ang="0">
                  <a:pos x="connsiteX8958" y="connsiteY8958"/>
                </a:cxn>
                <a:cxn ang="0">
                  <a:pos x="connsiteX8959" y="connsiteY8959"/>
                </a:cxn>
                <a:cxn ang="0">
                  <a:pos x="connsiteX8960" y="connsiteY8960"/>
                </a:cxn>
                <a:cxn ang="0">
                  <a:pos x="connsiteX8961" y="connsiteY8961"/>
                </a:cxn>
                <a:cxn ang="0">
                  <a:pos x="connsiteX8962" y="connsiteY8962"/>
                </a:cxn>
                <a:cxn ang="0">
                  <a:pos x="connsiteX8963" y="connsiteY8963"/>
                </a:cxn>
                <a:cxn ang="0">
                  <a:pos x="connsiteX8964" y="connsiteY8964"/>
                </a:cxn>
                <a:cxn ang="0">
                  <a:pos x="connsiteX8965" y="connsiteY8965"/>
                </a:cxn>
                <a:cxn ang="0">
                  <a:pos x="connsiteX8966" y="connsiteY8966"/>
                </a:cxn>
                <a:cxn ang="0">
                  <a:pos x="connsiteX8967" y="connsiteY8967"/>
                </a:cxn>
                <a:cxn ang="0">
                  <a:pos x="connsiteX8968" y="connsiteY8968"/>
                </a:cxn>
                <a:cxn ang="0">
                  <a:pos x="connsiteX8969" y="connsiteY8969"/>
                </a:cxn>
                <a:cxn ang="0">
                  <a:pos x="connsiteX8970" y="connsiteY8970"/>
                </a:cxn>
                <a:cxn ang="0">
                  <a:pos x="connsiteX8971" y="connsiteY8971"/>
                </a:cxn>
                <a:cxn ang="0">
                  <a:pos x="connsiteX8972" y="connsiteY8972"/>
                </a:cxn>
                <a:cxn ang="0">
                  <a:pos x="connsiteX8973" y="connsiteY8973"/>
                </a:cxn>
                <a:cxn ang="0">
                  <a:pos x="connsiteX8974" y="connsiteY8974"/>
                </a:cxn>
                <a:cxn ang="0">
                  <a:pos x="connsiteX8975" y="connsiteY8975"/>
                </a:cxn>
                <a:cxn ang="0">
                  <a:pos x="connsiteX8976" y="connsiteY8976"/>
                </a:cxn>
                <a:cxn ang="0">
                  <a:pos x="connsiteX8977" y="connsiteY8977"/>
                </a:cxn>
                <a:cxn ang="0">
                  <a:pos x="connsiteX8978" y="connsiteY8978"/>
                </a:cxn>
                <a:cxn ang="0">
                  <a:pos x="connsiteX8979" y="connsiteY8979"/>
                </a:cxn>
                <a:cxn ang="0">
                  <a:pos x="connsiteX8980" y="connsiteY8980"/>
                </a:cxn>
                <a:cxn ang="0">
                  <a:pos x="connsiteX8981" y="connsiteY8981"/>
                </a:cxn>
                <a:cxn ang="0">
                  <a:pos x="connsiteX8982" y="connsiteY8982"/>
                </a:cxn>
                <a:cxn ang="0">
                  <a:pos x="connsiteX8983" y="connsiteY8983"/>
                </a:cxn>
                <a:cxn ang="0">
                  <a:pos x="connsiteX8984" y="connsiteY8984"/>
                </a:cxn>
                <a:cxn ang="0">
                  <a:pos x="connsiteX8985" y="connsiteY8985"/>
                </a:cxn>
                <a:cxn ang="0">
                  <a:pos x="connsiteX8986" y="connsiteY8986"/>
                </a:cxn>
                <a:cxn ang="0">
                  <a:pos x="connsiteX8987" y="connsiteY8987"/>
                </a:cxn>
                <a:cxn ang="0">
                  <a:pos x="connsiteX8988" y="connsiteY8988"/>
                </a:cxn>
                <a:cxn ang="0">
                  <a:pos x="connsiteX8989" y="connsiteY8989"/>
                </a:cxn>
                <a:cxn ang="0">
                  <a:pos x="connsiteX8990" y="connsiteY8990"/>
                </a:cxn>
                <a:cxn ang="0">
                  <a:pos x="connsiteX8991" y="connsiteY8991"/>
                </a:cxn>
                <a:cxn ang="0">
                  <a:pos x="connsiteX8992" y="connsiteY8992"/>
                </a:cxn>
                <a:cxn ang="0">
                  <a:pos x="connsiteX8993" y="connsiteY8993"/>
                </a:cxn>
                <a:cxn ang="0">
                  <a:pos x="connsiteX8994" y="connsiteY8994"/>
                </a:cxn>
                <a:cxn ang="0">
                  <a:pos x="connsiteX8995" y="connsiteY8995"/>
                </a:cxn>
                <a:cxn ang="0">
                  <a:pos x="connsiteX8996" y="connsiteY8996"/>
                </a:cxn>
                <a:cxn ang="0">
                  <a:pos x="connsiteX8997" y="connsiteY8997"/>
                </a:cxn>
                <a:cxn ang="0">
                  <a:pos x="connsiteX8998" y="connsiteY8998"/>
                </a:cxn>
                <a:cxn ang="0">
                  <a:pos x="connsiteX8999" y="connsiteY8999"/>
                </a:cxn>
                <a:cxn ang="0">
                  <a:pos x="connsiteX9000" y="connsiteY9000"/>
                </a:cxn>
                <a:cxn ang="0">
                  <a:pos x="connsiteX9001" y="connsiteY9001"/>
                </a:cxn>
                <a:cxn ang="0">
                  <a:pos x="connsiteX9002" y="connsiteY9002"/>
                </a:cxn>
                <a:cxn ang="0">
                  <a:pos x="connsiteX9003" y="connsiteY9003"/>
                </a:cxn>
                <a:cxn ang="0">
                  <a:pos x="connsiteX9004" y="connsiteY9004"/>
                </a:cxn>
                <a:cxn ang="0">
                  <a:pos x="connsiteX9005" y="connsiteY9005"/>
                </a:cxn>
                <a:cxn ang="0">
                  <a:pos x="connsiteX9006" y="connsiteY9006"/>
                </a:cxn>
                <a:cxn ang="0">
                  <a:pos x="connsiteX9007" y="connsiteY9007"/>
                </a:cxn>
                <a:cxn ang="0">
                  <a:pos x="connsiteX9008" y="connsiteY9008"/>
                </a:cxn>
                <a:cxn ang="0">
                  <a:pos x="connsiteX9009" y="connsiteY9009"/>
                </a:cxn>
                <a:cxn ang="0">
                  <a:pos x="connsiteX9010" y="connsiteY9010"/>
                </a:cxn>
                <a:cxn ang="0">
                  <a:pos x="connsiteX9011" y="connsiteY9011"/>
                </a:cxn>
                <a:cxn ang="0">
                  <a:pos x="connsiteX9012" y="connsiteY9012"/>
                </a:cxn>
                <a:cxn ang="0">
                  <a:pos x="connsiteX9013" y="connsiteY9013"/>
                </a:cxn>
                <a:cxn ang="0">
                  <a:pos x="connsiteX9014" y="connsiteY9014"/>
                </a:cxn>
                <a:cxn ang="0">
                  <a:pos x="connsiteX9015" y="connsiteY9015"/>
                </a:cxn>
                <a:cxn ang="0">
                  <a:pos x="connsiteX9016" y="connsiteY9016"/>
                </a:cxn>
                <a:cxn ang="0">
                  <a:pos x="connsiteX9017" y="connsiteY9017"/>
                </a:cxn>
                <a:cxn ang="0">
                  <a:pos x="connsiteX9018" y="connsiteY9018"/>
                </a:cxn>
                <a:cxn ang="0">
                  <a:pos x="connsiteX9019" y="connsiteY9019"/>
                </a:cxn>
                <a:cxn ang="0">
                  <a:pos x="connsiteX9020" y="connsiteY9020"/>
                </a:cxn>
                <a:cxn ang="0">
                  <a:pos x="connsiteX9021" y="connsiteY9021"/>
                </a:cxn>
                <a:cxn ang="0">
                  <a:pos x="connsiteX9022" y="connsiteY9022"/>
                </a:cxn>
                <a:cxn ang="0">
                  <a:pos x="connsiteX9023" y="connsiteY9023"/>
                </a:cxn>
                <a:cxn ang="0">
                  <a:pos x="connsiteX9024" y="connsiteY9024"/>
                </a:cxn>
                <a:cxn ang="0">
                  <a:pos x="connsiteX9025" y="connsiteY9025"/>
                </a:cxn>
                <a:cxn ang="0">
                  <a:pos x="connsiteX9026" y="connsiteY9026"/>
                </a:cxn>
                <a:cxn ang="0">
                  <a:pos x="connsiteX9027" y="connsiteY9027"/>
                </a:cxn>
                <a:cxn ang="0">
                  <a:pos x="connsiteX9028" y="connsiteY9028"/>
                </a:cxn>
                <a:cxn ang="0">
                  <a:pos x="connsiteX9029" y="connsiteY9029"/>
                </a:cxn>
                <a:cxn ang="0">
                  <a:pos x="connsiteX9030" y="connsiteY9030"/>
                </a:cxn>
                <a:cxn ang="0">
                  <a:pos x="connsiteX9031" y="connsiteY9031"/>
                </a:cxn>
                <a:cxn ang="0">
                  <a:pos x="connsiteX9032" y="connsiteY9032"/>
                </a:cxn>
                <a:cxn ang="0">
                  <a:pos x="connsiteX9033" y="connsiteY9033"/>
                </a:cxn>
                <a:cxn ang="0">
                  <a:pos x="connsiteX9034" y="connsiteY9034"/>
                </a:cxn>
                <a:cxn ang="0">
                  <a:pos x="connsiteX9035" y="connsiteY9035"/>
                </a:cxn>
                <a:cxn ang="0">
                  <a:pos x="connsiteX9036" y="connsiteY9036"/>
                </a:cxn>
                <a:cxn ang="0">
                  <a:pos x="connsiteX9037" y="connsiteY9037"/>
                </a:cxn>
                <a:cxn ang="0">
                  <a:pos x="connsiteX9038" y="connsiteY9038"/>
                </a:cxn>
                <a:cxn ang="0">
                  <a:pos x="connsiteX9039" y="connsiteY9039"/>
                </a:cxn>
                <a:cxn ang="0">
                  <a:pos x="connsiteX9040" y="connsiteY9040"/>
                </a:cxn>
                <a:cxn ang="0">
                  <a:pos x="connsiteX9041" y="connsiteY9041"/>
                </a:cxn>
                <a:cxn ang="0">
                  <a:pos x="connsiteX9042" y="connsiteY9042"/>
                </a:cxn>
                <a:cxn ang="0">
                  <a:pos x="connsiteX9043" y="connsiteY9043"/>
                </a:cxn>
                <a:cxn ang="0">
                  <a:pos x="connsiteX9044" y="connsiteY9044"/>
                </a:cxn>
                <a:cxn ang="0">
                  <a:pos x="connsiteX9045" y="connsiteY9045"/>
                </a:cxn>
                <a:cxn ang="0">
                  <a:pos x="connsiteX9046" y="connsiteY9046"/>
                </a:cxn>
                <a:cxn ang="0">
                  <a:pos x="connsiteX9047" y="connsiteY9047"/>
                </a:cxn>
                <a:cxn ang="0">
                  <a:pos x="connsiteX9048" y="connsiteY9048"/>
                </a:cxn>
                <a:cxn ang="0">
                  <a:pos x="connsiteX9049" y="connsiteY9049"/>
                </a:cxn>
                <a:cxn ang="0">
                  <a:pos x="connsiteX9050" y="connsiteY9050"/>
                </a:cxn>
                <a:cxn ang="0">
                  <a:pos x="connsiteX9051" y="connsiteY9051"/>
                </a:cxn>
                <a:cxn ang="0">
                  <a:pos x="connsiteX9052" y="connsiteY9052"/>
                </a:cxn>
                <a:cxn ang="0">
                  <a:pos x="connsiteX9053" y="connsiteY9053"/>
                </a:cxn>
                <a:cxn ang="0">
                  <a:pos x="connsiteX9054" y="connsiteY9054"/>
                </a:cxn>
                <a:cxn ang="0">
                  <a:pos x="connsiteX9055" y="connsiteY9055"/>
                </a:cxn>
                <a:cxn ang="0">
                  <a:pos x="connsiteX9056" y="connsiteY9056"/>
                </a:cxn>
                <a:cxn ang="0">
                  <a:pos x="connsiteX9057" y="connsiteY9057"/>
                </a:cxn>
                <a:cxn ang="0">
                  <a:pos x="connsiteX9058" y="connsiteY9058"/>
                </a:cxn>
                <a:cxn ang="0">
                  <a:pos x="connsiteX9059" y="connsiteY9059"/>
                </a:cxn>
                <a:cxn ang="0">
                  <a:pos x="connsiteX9060" y="connsiteY9060"/>
                </a:cxn>
                <a:cxn ang="0">
                  <a:pos x="connsiteX9061" y="connsiteY9061"/>
                </a:cxn>
                <a:cxn ang="0">
                  <a:pos x="connsiteX9062" y="connsiteY9062"/>
                </a:cxn>
                <a:cxn ang="0">
                  <a:pos x="connsiteX9063" y="connsiteY9063"/>
                </a:cxn>
                <a:cxn ang="0">
                  <a:pos x="connsiteX9064" y="connsiteY9064"/>
                </a:cxn>
                <a:cxn ang="0">
                  <a:pos x="connsiteX9065" y="connsiteY9065"/>
                </a:cxn>
                <a:cxn ang="0">
                  <a:pos x="connsiteX9066" y="connsiteY9066"/>
                </a:cxn>
                <a:cxn ang="0">
                  <a:pos x="connsiteX9067" y="connsiteY9067"/>
                </a:cxn>
                <a:cxn ang="0">
                  <a:pos x="connsiteX9068" y="connsiteY9068"/>
                </a:cxn>
                <a:cxn ang="0">
                  <a:pos x="connsiteX9069" y="connsiteY9069"/>
                </a:cxn>
                <a:cxn ang="0">
                  <a:pos x="connsiteX9070" y="connsiteY9070"/>
                </a:cxn>
                <a:cxn ang="0">
                  <a:pos x="connsiteX9071" y="connsiteY9071"/>
                </a:cxn>
                <a:cxn ang="0">
                  <a:pos x="connsiteX9072" y="connsiteY9072"/>
                </a:cxn>
                <a:cxn ang="0">
                  <a:pos x="connsiteX9073" y="connsiteY9073"/>
                </a:cxn>
                <a:cxn ang="0">
                  <a:pos x="connsiteX9074" y="connsiteY9074"/>
                </a:cxn>
                <a:cxn ang="0">
                  <a:pos x="connsiteX9075" y="connsiteY9075"/>
                </a:cxn>
                <a:cxn ang="0">
                  <a:pos x="connsiteX9076" y="connsiteY9076"/>
                </a:cxn>
                <a:cxn ang="0">
                  <a:pos x="connsiteX9077" y="connsiteY9077"/>
                </a:cxn>
                <a:cxn ang="0">
                  <a:pos x="connsiteX9078" y="connsiteY9078"/>
                </a:cxn>
                <a:cxn ang="0">
                  <a:pos x="connsiteX9079" y="connsiteY9079"/>
                </a:cxn>
                <a:cxn ang="0">
                  <a:pos x="connsiteX9080" y="connsiteY9080"/>
                </a:cxn>
                <a:cxn ang="0">
                  <a:pos x="connsiteX9081" y="connsiteY9081"/>
                </a:cxn>
                <a:cxn ang="0">
                  <a:pos x="connsiteX9082" y="connsiteY9082"/>
                </a:cxn>
                <a:cxn ang="0">
                  <a:pos x="connsiteX9083" y="connsiteY9083"/>
                </a:cxn>
                <a:cxn ang="0">
                  <a:pos x="connsiteX9084" y="connsiteY9084"/>
                </a:cxn>
                <a:cxn ang="0">
                  <a:pos x="connsiteX9085" y="connsiteY9085"/>
                </a:cxn>
                <a:cxn ang="0">
                  <a:pos x="connsiteX9086" y="connsiteY9086"/>
                </a:cxn>
                <a:cxn ang="0">
                  <a:pos x="connsiteX9087" y="connsiteY9087"/>
                </a:cxn>
                <a:cxn ang="0">
                  <a:pos x="connsiteX9088" y="connsiteY9088"/>
                </a:cxn>
                <a:cxn ang="0">
                  <a:pos x="connsiteX9089" y="connsiteY9089"/>
                </a:cxn>
                <a:cxn ang="0">
                  <a:pos x="connsiteX9090" y="connsiteY9090"/>
                </a:cxn>
                <a:cxn ang="0">
                  <a:pos x="connsiteX9091" y="connsiteY9091"/>
                </a:cxn>
                <a:cxn ang="0">
                  <a:pos x="connsiteX9092" y="connsiteY9092"/>
                </a:cxn>
                <a:cxn ang="0">
                  <a:pos x="connsiteX9093" y="connsiteY9093"/>
                </a:cxn>
                <a:cxn ang="0">
                  <a:pos x="connsiteX9094" y="connsiteY9094"/>
                </a:cxn>
                <a:cxn ang="0">
                  <a:pos x="connsiteX9095" y="connsiteY9095"/>
                </a:cxn>
                <a:cxn ang="0">
                  <a:pos x="connsiteX9096" y="connsiteY9096"/>
                </a:cxn>
                <a:cxn ang="0">
                  <a:pos x="connsiteX9097" y="connsiteY9097"/>
                </a:cxn>
                <a:cxn ang="0">
                  <a:pos x="connsiteX9098" y="connsiteY9098"/>
                </a:cxn>
                <a:cxn ang="0">
                  <a:pos x="connsiteX9099" y="connsiteY9099"/>
                </a:cxn>
                <a:cxn ang="0">
                  <a:pos x="connsiteX9100" y="connsiteY9100"/>
                </a:cxn>
                <a:cxn ang="0">
                  <a:pos x="connsiteX9101" y="connsiteY9101"/>
                </a:cxn>
                <a:cxn ang="0">
                  <a:pos x="connsiteX9102" y="connsiteY9102"/>
                </a:cxn>
                <a:cxn ang="0">
                  <a:pos x="connsiteX9103" y="connsiteY9103"/>
                </a:cxn>
                <a:cxn ang="0">
                  <a:pos x="connsiteX9104" y="connsiteY9104"/>
                </a:cxn>
                <a:cxn ang="0">
                  <a:pos x="connsiteX9105" y="connsiteY9105"/>
                </a:cxn>
                <a:cxn ang="0">
                  <a:pos x="connsiteX9106" y="connsiteY9106"/>
                </a:cxn>
                <a:cxn ang="0">
                  <a:pos x="connsiteX9107" y="connsiteY9107"/>
                </a:cxn>
                <a:cxn ang="0">
                  <a:pos x="connsiteX9108" y="connsiteY9108"/>
                </a:cxn>
                <a:cxn ang="0">
                  <a:pos x="connsiteX9109" y="connsiteY9109"/>
                </a:cxn>
                <a:cxn ang="0">
                  <a:pos x="connsiteX9110" y="connsiteY9110"/>
                </a:cxn>
                <a:cxn ang="0">
                  <a:pos x="connsiteX9111" y="connsiteY9111"/>
                </a:cxn>
                <a:cxn ang="0">
                  <a:pos x="connsiteX9112" y="connsiteY9112"/>
                </a:cxn>
                <a:cxn ang="0">
                  <a:pos x="connsiteX9113" y="connsiteY9113"/>
                </a:cxn>
                <a:cxn ang="0">
                  <a:pos x="connsiteX9114" y="connsiteY9114"/>
                </a:cxn>
                <a:cxn ang="0">
                  <a:pos x="connsiteX9115" y="connsiteY9115"/>
                </a:cxn>
                <a:cxn ang="0">
                  <a:pos x="connsiteX9116" y="connsiteY9116"/>
                </a:cxn>
                <a:cxn ang="0">
                  <a:pos x="connsiteX9117" y="connsiteY9117"/>
                </a:cxn>
                <a:cxn ang="0">
                  <a:pos x="connsiteX9118" y="connsiteY9118"/>
                </a:cxn>
                <a:cxn ang="0">
                  <a:pos x="connsiteX9119" y="connsiteY9119"/>
                </a:cxn>
                <a:cxn ang="0">
                  <a:pos x="connsiteX9120" y="connsiteY9120"/>
                </a:cxn>
                <a:cxn ang="0">
                  <a:pos x="connsiteX9121" y="connsiteY9121"/>
                </a:cxn>
                <a:cxn ang="0">
                  <a:pos x="connsiteX9122" y="connsiteY9122"/>
                </a:cxn>
                <a:cxn ang="0">
                  <a:pos x="connsiteX9123" y="connsiteY9123"/>
                </a:cxn>
                <a:cxn ang="0">
                  <a:pos x="connsiteX9124" y="connsiteY9124"/>
                </a:cxn>
                <a:cxn ang="0">
                  <a:pos x="connsiteX9125" y="connsiteY9125"/>
                </a:cxn>
                <a:cxn ang="0">
                  <a:pos x="connsiteX9126" y="connsiteY9126"/>
                </a:cxn>
                <a:cxn ang="0">
                  <a:pos x="connsiteX9127" y="connsiteY9127"/>
                </a:cxn>
                <a:cxn ang="0">
                  <a:pos x="connsiteX9128" y="connsiteY9128"/>
                </a:cxn>
                <a:cxn ang="0">
                  <a:pos x="connsiteX9129" y="connsiteY9129"/>
                </a:cxn>
                <a:cxn ang="0">
                  <a:pos x="connsiteX9130" y="connsiteY9130"/>
                </a:cxn>
                <a:cxn ang="0">
                  <a:pos x="connsiteX9131" y="connsiteY9131"/>
                </a:cxn>
                <a:cxn ang="0">
                  <a:pos x="connsiteX9132" y="connsiteY9132"/>
                </a:cxn>
                <a:cxn ang="0">
                  <a:pos x="connsiteX9133" y="connsiteY9133"/>
                </a:cxn>
                <a:cxn ang="0">
                  <a:pos x="connsiteX9134" y="connsiteY9134"/>
                </a:cxn>
                <a:cxn ang="0">
                  <a:pos x="connsiteX9135" y="connsiteY9135"/>
                </a:cxn>
                <a:cxn ang="0">
                  <a:pos x="connsiteX9136" y="connsiteY9136"/>
                </a:cxn>
                <a:cxn ang="0">
                  <a:pos x="connsiteX9137" y="connsiteY9137"/>
                </a:cxn>
                <a:cxn ang="0">
                  <a:pos x="connsiteX9138" y="connsiteY9138"/>
                </a:cxn>
                <a:cxn ang="0">
                  <a:pos x="connsiteX9139" y="connsiteY9139"/>
                </a:cxn>
                <a:cxn ang="0">
                  <a:pos x="connsiteX9140" y="connsiteY9140"/>
                </a:cxn>
                <a:cxn ang="0">
                  <a:pos x="connsiteX9141" y="connsiteY9141"/>
                </a:cxn>
                <a:cxn ang="0">
                  <a:pos x="connsiteX9142" y="connsiteY9142"/>
                </a:cxn>
                <a:cxn ang="0">
                  <a:pos x="connsiteX9143" y="connsiteY9143"/>
                </a:cxn>
                <a:cxn ang="0">
                  <a:pos x="connsiteX9144" y="connsiteY9144"/>
                </a:cxn>
                <a:cxn ang="0">
                  <a:pos x="connsiteX9145" y="connsiteY9145"/>
                </a:cxn>
                <a:cxn ang="0">
                  <a:pos x="connsiteX9146" y="connsiteY9146"/>
                </a:cxn>
                <a:cxn ang="0">
                  <a:pos x="connsiteX9147" y="connsiteY9147"/>
                </a:cxn>
                <a:cxn ang="0">
                  <a:pos x="connsiteX9148" y="connsiteY9148"/>
                </a:cxn>
                <a:cxn ang="0">
                  <a:pos x="connsiteX9149" y="connsiteY9149"/>
                </a:cxn>
                <a:cxn ang="0">
                  <a:pos x="connsiteX9150" y="connsiteY9150"/>
                </a:cxn>
                <a:cxn ang="0">
                  <a:pos x="connsiteX9151" y="connsiteY9151"/>
                </a:cxn>
                <a:cxn ang="0">
                  <a:pos x="connsiteX9152" y="connsiteY9152"/>
                </a:cxn>
                <a:cxn ang="0">
                  <a:pos x="connsiteX9153" y="connsiteY9153"/>
                </a:cxn>
                <a:cxn ang="0">
                  <a:pos x="connsiteX9154" y="connsiteY9154"/>
                </a:cxn>
                <a:cxn ang="0">
                  <a:pos x="connsiteX9155" y="connsiteY9155"/>
                </a:cxn>
                <a:cxn ang="0">
                  <a:pos x="connsiteX9156" y="connsiteY9156"/>
                </a:cxn>
                <a:cxn ang="0">
                  <a:pos x="connsiteX9157" y="connsiteY9157"/>
                </a:cxn>
                <a:cxn ang="0">
                  <a:pos x="connsiteX9158" y="connsiteY9158"/>
                </a:cxn>
                <a:cxn ang="0">
                  <a:pos x="connsiteX9159" y="connsiteY9159"/>
                </a:cxn>
                <a:cxn ang="0">
                  <a:pos x="connsiteX9160" y="connsiteY9160"/>
                </a:cxn>
                <a:cxn ang="0">
                  <a:pos x="connsiteX9161" y="connsiteY9161"/>
                </a:cxn>
                <a:cxn ang="0">
                  <a:pos x="connsiteX9162" y="connsiteY9162"/>
                </a:cxn>
                <a:cxn ang="0">
                  <a:pos x="connsiteX9163" y="connsiteY9163"/>
                </a:cxn>
                <a:cxn ang="0">
                  <a:pos x="connsiteX9164" y="connsiteY9164"/>
                </a:cxn>
                <a:cxn ang="0">
                  <a:pos x="connsiteX9165" y="connsiteY9165"/>
                </a:cxn>
                <a:cxn ang="0">
                  <a:pos x="connsiteX9166" y="connsiteY9166"/>
                </a:cxn>
                <a:cxn ang="0">
                  <a:pos x="connsiteX9167" y="connsiteY9167"/>
                </a:cxn>
                <a:cxn ang="0">
                  <a:pos x="connsiteX9168" y="connsiteY9168"/>
                </a:cxn>
                <a:cxn ang="0">
                  <a:pos x="connsiteX9169" y="connsiteY9169"/>
                </a:cxn>
                <a:cxn ang="0">
                  <a:pos x="connsiteX9170" y="connsiteY9170"/>
                </a:cxn>
                <a:cxn ang="0">
                  <a:pos x="connsiteX9171" y="connsiteY9171"/>
                </a:cxn>
                <a:cxn ang="0">
                  <a:pos x="connsiteX9172" y="connsiteY9172"/>
                </a:cxn>
                <a:cxn ang="0">
                  <a:pos x="connsiteX9173" y="connsiteY9173"/>
                </a:cxn>
                <a:cxn ang="0">
                  <a:pos x="connsiteX9174" y="connsiteY9174"/>
                </a:cxn>
                <a:cxn ang="0">
                  <a:pos x="connsiteX9175" y="connsiteY9175"/>
                </a:cxn>
                <a:cxn ang="0">
                  <a:pos x="connsiteX9176" y="connsiteY9176"/>
                </a:cxn>
                <a:cxn ang="0">
                  <a:pos x="connsiteX9177" y="connsiteY9177"/>
                </a:cxn>
                <a:cxn ang="0">
                  <a:pos x="connsiteX9178" y="connsiteY9178"/>
                </a:cxn>
                <a:cxn ang="0">
                  <a:pos x="connsiteX9179" y="connsiteY9179"/>
                </a:cxn>
                <a:cxn ang="0">
                  <a:pos x="connsiteX9180" y="connsiteY9180"/>
                </a:cxn>
                <a:cxn ang="0">
                  <a:pos x="connsiteX9181" y="connsiteY9181"/>
                </a:cxn>
                <a:cxn ang="0">
                  <a:pos x="connsiteX9182" y="connsiteY9182"/>
                </a:cxn>
                <a:cxn ang="0">
                  <a:pos x="connsiteX9183" y="connsiteY9183"/>
                </a:cxn>
                <a:cxn ang="0">
                  <a:pos x="connsiteX9184" y="connsiteY9184"/>
                </a:cxn>
                <a:cxn ang="0">
                  <a:pos x="connsiteX9185" y="connsiteY9185"/>
                </a:cxn>
                <a:cxn ang="0">
                  <a:pos x="connsiteX9186" y="connsiteY9186"/>
                </a:cxn>
                <a:cxn ang="0">
                  <a:pos x="connsiteX9187" y="connsiteY9187"/>
                </a:cxn>
                <a:cxn ang="0">
                  <a:pos x="connsiteX9188" y="connsiteY9188"/>
                </a:cxn>
                <a:cxn ang="0">
                  <a:pos x="connsiteX9189" y="connsiteY9189"/>
                </a:cxn>
                <a:cxn ang="0">
                  <a:pos x="connsiteX9190" y="connsiteY9190"/>
                </a:cxn>
                <a:cxn ang="0">
                  <a:pos x="connsiteX9191" y="connsiteY9191"/>
                </a:cxn>
                <a:cxn ang="0">
                  <a:pos x="connsiteX9192" y="connsiteY9192"/>
                </a:cxn>
                <a:cxn ang="0">
                  <a:pos x="connsiteX9193" y="connsiteY9193"/>
                </a:cxn>
                <a:cxn ang="0">
                  <a:pos x="connsiteX9194" y="connsiteY9194"/>
                </a:cxn>
                <a:cxn ang="0">
                  <a:pos x="connsiteX9195" y="connsiteY9195"/>
                </a:cxn>
                <a:cxn ang="0">
                  <a:pos x="connsiteX9196" y="connsiteY9196"/>
                </a:cxn>
                <a:cxn ang="0">
                  <a:pos x="connsiteX9197" y="connsiteY9197"/>
                </a:cxn>
                <a:cxn ang="0">
                  <a:pos x="connsiteX9198" y="connsiteY9198"/>
                </a:cxn>
                <a:cxn ang="0">
                  <a:pos x="connsiteX9199" y="connsiteY9199"/>
                </a:cxn>
                <a:cxn ang="0">
                  <a:pos x="connsiteX9200" y="connsiteY9200"/>
                </a:cxn>
                <a:cxn ang="0">
                  <a:pos x="connsiteX9201" y="connsiteY9201"/>
                </a:cxn>
                <a:cxn ang="0">
                  <a:pos x="connsiteX9202" y="connsiteY9202"/>
                </a:cxn>
                <a:cxn ang="0">
                  <a:pos x="connsiteX9203" y="connsiteY9203"/>
                </a:cxn>
                <a:cxn ang="0">
                  <a:pos x="connsiteX9204" y="connsiteY9204"/>
                </a:cxn>
                <a:cxn ang="0">
                  <a:pos x="connsiteX9205" y="connsiteY9205"/>
                </a:cxn>
                <a:cxn ang="0">
                  <a:pos x="connsiteX9206" y="connsiteY9206"/>
                </a:cxn>
                <a:cxn ang="0">
                  <a:pos x="connsiteX9207" y="connsiteY9207"/>
                </a:cxn>
                <a:cxn ang="0">
                  <a:pos x="connsiteX9208" y="connsiteY9208"/>
                </a:cxn>
                <a:cxn ang="0">
                  <a:pos x="connsiteX9209" y="connsiteY9209"/>
                </a:cxn>
                <a:cxn ang="0">
                  <a:pos x="connsiteX9210" y="connsiteY9210"/>
                </a:cxn>
                <a:cxn ang="0">
                  <a:pos x="connsiteX9211" y="connsiteY9211"/>
                </a:cxn>
                <a:cxn ang="0">
                  <a:pos x="connsiteX9212" y="connsiteY9212"/>
                </a:cxn>
                <a:cxn ang="0">
                  <a:pos x="connsiteX9213" y="connsiteY9213"/>
                </a:cxn>
                <a:cxn ang="0">
                  <a:pos x="connsiteX9214" y="connsiteY9214"/>
                </a:cxn>
                <a:cxn ang="0">
                  <a:pos x="connsiteX9215" y="connsiteY9215"/>
                </a:cxn>
                <a:cxn ang="0">
                  <a:pos x="connsiteX9216" y="connsiteY9216"/>
                </a:cxn>
                <a:cxn ang="0">
                  <a:pos x="connsiteX9217" y="connsiteY9217"/>
                </a:cxn>
                <a:cxn ang="0">
                  <a:pos x="connsiteX9218" y="connsiteY9218"/>
                </a:cxn>
                <a:cxn ang="0">
                  <a:pos x="connsiteX9219" y="connsiteY9219"/>
                </a:cxn>
                <a:cxn ang="0">
                  <a:pos x="connsiteX9220" y="connsiteY9220"/>
                </a:cxn>
                <a:cxn ang="0">
                  <a:pos x="connsiteX9221" y="connsiteY9221"/>
                </a:cxn>
                <a:cxn ang="0">
                  <a:pos x="connsiteX9222" y="connsiteY9222"/>
                </a:cxn>
                <a:cxn ang="0">
                  <a:pos x="connsiteX9223" y="connsiteY9223"/>
                </a:cxn>
                <a:cxn ang="0">
                  <a:pos x="connsiteX9224" y="connsiteY9224"/>
                </a:cxn>
                <a:cxn ang="0">
                  <a:pos x="connsiteX9225" y="connsiteY9225"/>
                </a:cxn>
                <a:cxn ang="0">
                  <a:pos x="connsiteX9226" y="connsiteY9226"/>
                </a:cxn>
                <a:cxn ang="0">
                  <a:pos x="connsiteX9227" y="connsiteY9227"/>
                </a:cxn>
                <a:cxn ang="0">
                  <a:pos x="connsiteX9228" y="connsiteY9228"/>
                </a:cxn>
                <a:cxn ang="0">
                  <a:pos x="connsiteX9229" y="connsiteY9229"/>
                </a:cxn>
                <a:cxn ang="0">
                  <a:pos x="connsiteX9230" y="connsiteY9230"/>
                </a:cxn>
                <a:cxn ang="0">
                  <a:pos x="connsiteX9231" y="connsiteY9231"/>
                </a:cxn>
                <a:cxn ang="0">
                  <a:pos x="connsiteX9232" y="connsiteY9232"/>
                </a:cxn>
                <a:cxn ang="0">
                  <a:pos x="connsiteX9233" y="connsiteY9233"/>
                </a:cxn>
                <a:cxn ang="0">
                  <a:pos x="connsiteX9234" y="connsiteY9234"/>
                </a:cxn>
                <a:cxn ang="0">
                  <a:pos x="connsiteX9235" y="connsiteY9235"/>
                </a:cxn>
                <a:cxn ang="0">
                  <a:pos x="connsiteX9236" y="connsiteY9236"/>
                </a:cxn>
                <a:cxn ang="0">
                  <a:pos x="connsiteX9237" y="connsiteY9237"/>
                </a:cxn>
                <a:cxn ang="0">
                  <a:pos x="connsiteX9238" y="connsiteY9238"/>
                </a:cxn>
                <a:cxn ang="0">
                  <a:pos x="connsiteX9239" y="connsiteY9239"/>
                </a:cxn>
                <a:cxn ang="0">
                  <a:pos x="connsiteX9240" y="connsiteY9240"/>
                </a:cxn>
                <a:cxn ang="0">
                  <a:pos x="connsiteX9241" y="connsiteY9241"/>
                </a:cxn>
                <a:cxn ang="0">
                  <a:pos x="connsiteX9242" y="connsiteY9242"/>
                </a:cxn>
                <a:cxn ang="0">
                  <a:pos x="connsiteX9243" y="connsiteY9243"/>
                </a:cxn>
                <a:cxn ang="0">
                  <a:pos x="connsiteX9244" y="connsiteY9244"/>
                </a:cxn>
                <a:cxn ang="0">
                  <a:pos x="connsiteX9245" y="connsiteY9245"/>
                </a:cxn>
                <a:cxn ang="0">
                  <a:pos x="connsiteX9246" y="connsiteY9246"/>
                </a:cxn>
                <a:cxn ang="0">
                  <a:pos x="connsiteX9247" y="connsiteY9247"/>
                </a:cxn>
                <a:cxn ang="0">
                  <a:pos x="connsiteX9248" y="connsiteY9248"/>
                </a:cxn>
                <a:cxn ang="0">
                  <a:pos x="connsiteX9249" y="connsiteY9249"/>
                </a:cxn>
                <a:cxn ang="0">
                  <a:pos x="connsiteX9250" y="connsiteY9250"/>
                </a:cxn>
                <a:cxn ang="0">
                  <a:pos x="connsiteX9251" y="connsiteY9251"/>
                </a:cxn>
                <a:cxn ang="0">
                  <a:pos x="connsiteX9252" y="connsiteY9252"/>
                </a:cxn>
                <a:cxn ang="0">
                  <a:pos x="connsiteX9253" y="connsiteY9253"/>
                </a:cxn>
                <a:cxn ang="0">
                  <a:pos x="connsiteX9254" y="connsiteY9254"/>
                </a:cxn>
                <a:cxn ang="0">
                  <a:pos x="connsiteX9255" y="connsiteY9255"/>
                </a:cxn>
                <a:cxn ang="0">
                  <a:pos x="connsiteX9256" y="connsiteY9256"/>
                </a:cxn>
                <a:cxn ang="0">
                  <a:pos x="connsiteX9257" y="connsiteY9257"/>
                </a:cxn>
                <a:cxn ang="0">
                  <a:pos x="connsiteX9258" y="connsiteY9258"/>
                </a:cxn>
                <a:cxn ang="0">
                  <a:pos x="connsiteX9259" y="connsiteY9259"/>
                </a:cxn>
                <a:cxn ang="0">
                  <a:pos x="connsiteX9260" y="connsiteY9260"/>
                </a:cxn>
                <a:cxn ang="0">
                  <a:pos x="connsiteX9261" y="connsiteY9261"/>
                </a:cxn>
                <a:cxn ang="0">
                  <a:pos x="connsiteX9262" y="connsiteY9262"/>
                </a:cxn>
                <a:cxn ang="0">
                  <a:pos x="connsiteX9263" y="connsiteY9263"/>
                </a:cxn>
                <a:cxn ang="0">
                  <a:pos x="connsiteX9264" y="connsiteY9264"/>
                </a:cxn>
                <a:cxn ang="0">
                  <a:pos x="connsiteX9265" y="connsiteY9265"/>
                </a:cxn>
                <a:cxn ang="0">
                  <a:pos x="connsiteX9266" y="connsiteY9266"/>
                </a:cxn>
                <a:cxn ang="0">
                  <a:pos x="connsiteX9267" y="connsiteY9267"/>
                </a:cxn>
                <a:cxn ang="0">
                  <a:pos x="connsiteX9268" y="connsiteY9268"/>
                </a:cxn>
                <a:cxn ang="0">
                  <a:pos x="connsiteX9269" y="connsiteY9269"/>
                </a:cxn>
                <a:cxn ang="0">
                  <a:pos x="connsiteX9270" y="connsiteY9270"/>
                </a:cxn>
                <a:cxn ang="0">
                  <a:pos x="connsiteX9271" y="connsiteY9271"/>
                </a:cxn>
                <a:cxn ang="0">
                  <a:pos x="connsiteX9272" y="connsiteY9272"/>
                </a:cxn>
                <a:cxn ang="0">
                  <a:pos x="connsiteX9273" y="connsiteY9273"/>
                </a:cxn>
                <a:cxn ang="0">
                  <a:pos x="connsiteX9274" y="connsiteY9274"/>
                </a:cxn>
                <a:cxn ang="0">
                  <a:pos x="connsiteX9275" y="connsiteY9275"/>
                </a:cxn>
                <a:cxn ang="0">
                  <a:pos x="connsiteX9276" y="connsiteY9276"/>
                </a:cxn>
                <a:cxn ang="0">
                  <a:pos x="connsiteX9277" y="connsiteY9277"/>
                </a:cxn>
                <a:cxn ang="0">
                  <a:pos x="connsiteX9278" y="connsiteY9278"/>
                </a:cxn>
                <a:cxn ang="0">
                  <a:pos x="connsiteX9279" y="connsiteY9279"/>
                </a:cxn>
                <a:cxn ang="0">
                  <a:pos x="connsiteX9280" y="connsiteY9280"/>
                </a:cxn>
                <a:cxn ang="0">
                  <a:pos x="connsiteX9281" y="connsiteY9281"/>
                </a:cxn>
                <a:cxn ang="0">
                  <a:pos x="connsiteX9282" y="connsiteY9282"/>
                </a:cxn>
                <a:cxn ang="0">
                  <a:pos x="connsiteX9283" y="connsiteY9283"/>
                </a:cxn>
                <a:cxn ang="0">
                  <a:pos x="connsiteX9284" y="connsiteY9284"/>
                </a:cxn>
                <a:cxn ang="0">
                  <a:pos x="connsiteX9285" y="connsiteY9285"/>
                </a:cxn>
                <a:cxn ang="0">
                  <a:pos x="connsiteX9286" y="connsiteY9286"/>
                </a:cxn>
                <a:cxn ang="0">
                  <a:pos x="connsiteX9287" y="connsiteY9287"/>
                </a:cxn>
                <a:cxn ang="0">
                  <a:pos x="connsiteX9288" y="connsiteY9288"/>
                </a:cxn>
                <a:cxn ang="0">
                  <a:pos x="connsiteX9289" y="connsiteY9289"/>
                </a:cxn>
                <a:cxn ang="0">
                  <a:pos x="connsiteX9290" y="connsiteY9290"/>
                </a:cxn>
                <a:cxn ang="0">
                  <a:pos x="connsiteX9291" y="connsiteY9291"/>
                </a:cxn>
                <a:cxn ang="0">
                  <a:pos x="connsiteX9292" y="connsiteY9292"/>
                </a:cxn>
                <a:cxn ang="0">
                  <a:pos x="connsiteX9293" y="connsiteY9293"/>
                </a:cxn>
                <a:cxn ang="0">
                  <a:pos x="connsiteX9294" y="connsiteY9294"/>
                </a:cxn>
                <a:cxn ang="0">
                  <a:pos x="connsiteX9295" y="connsiteY9295"/>
                </a:cxn>
                <a:cxn ang="0">
                  <a:pos x="connsiteX9296" y="connsiteY9296"/>
                </a:cxn>
                <a:cxn ang="0">
                  <a:pos x="connsiteX9297" y="connsiteY9297"/>
                </a:cxn>
                <a:cxn ang="0">
                  <a:pos x="connsiteX9298" y="connsiteY9298"/>
                </a:cxn>
                <a:cxn ang="0">
                  <a:pos x="connsiteX9299" y="connsiteY9299"/>
                </a:cxn>
                <a:cxn ang="0">
                  <a:pos x="connsiteX9300" y="connsiteY9300"/>
                </a:cxn>
                <a:cxn ang="0">
                  <a:pos x="connsiteX9301" y="connsiteY9301"/>
                </a:cxn>
                <a:cxn ang="0">
                  <a:pos x="connsiteX9302" y="connsiteY9302"/>
                </a:cxn>
                <a:cxn ang="0">
                  <a:pos x="connsiteX9303" y="connsiteY9303"/>
                </a:cxn>
                <a:cxn ang="0">
                  <a:pos x="connsiteX9304" y="connsiteY9304"/>
                </a:cxn>
                <a:cxn ang="0">
                  <a:pos x="connsiteX9305" y="connsiteY9305"/>
                </a:cxn>
                <a:cxn ang="0">
                  <a:pos x="connsiteX9306" y="connsiteY9306"/>
                </a:cxn>
                <a:cxn ang="0">
                  <a:pos x="connsiteX9307" y="connsiteY9307"/>
                </a:cxn>
                <a:cxn ang="0">
                  <a:pos x="connsiteX9308" y="connsiteY9308"/>
                </a:cxn>
                <a:cxn ang="0">
                  <a:pos x="connsiteX9309" y="connsiteY9309"/>
                </a:cxn>
                <a:cxn ang="0">
                  <a:pos x="connsiteX9310" y="connsiteY9310"/>
                </a:cxn>
                <a:cxn ang="0">
                  <a:pos x="connsiteX9311" y="connsiteY9311"/>
                </a:cxn>
                <a:cxn ang="0">
                  <a:pos x="connsiteX9312" y="connsiteY9312"/>
                </a:cxn>
                <a:cxn ang="0">
                  <a:pos x="connsiteX9313" y="connsiteY9313"/>
                </a:cxn>
                <a:cxn ang="0">
                  <a:pos x="connsiteX9314" y="connsiteY9314"/>
                </a:cxn>
                <a:cxn ang="0">
                  <a:pos x="connsiteX9315" y="connsiteY9315"/>
                </a:cxn>
                <a:cxn ang="0">
                  <a:pos x="connsiteX9316" y="connsiteY9316"/>
                </a:cxn>
                <a:cxn ang="0">
                  <a:pos x="connsiteX9317" y="connsiteY9317"/>
                </a:cxn>
                <a:cxn ang="0">
                  <a:pos x="connsiteX9318" y="connsiteY9318"/>
                </a:cxn>
                <a:cxn ang="0">
                  <a:pos x="connsiteX9319" y="connsiteY9319"/>
                </a:cxn>
                <a:cxn ang="0">
                  <a:pos x="connsiteX9320" y="connsiteY9320"/>
                </a:cxn>
                <a:cxn ang="0">
                  <a:pos x="connsiteX9321" y="connsiteY9321"/>
                </a:cxn>
                <a:cxn ang="0">
                  <a:pos x="connsiteX9322" y="connsiteY9322"/>
                </a:cxn>
                <a:cxn ang="0">
                  <a:pos x="connsiteX9323" y="connsiteY9323"/>
                </a:cxn>
                <a:cxn ang="0">
                  <a:pos x="connsiteX9324" y="connsiteY9324"/>
                </a:cxn>
                <a:cxn ang="0">
                  <a:pos x="connsiteX9325" y="connsiteY9325"/>
                </a:cxn>
                <a:cxn ang="0">
                  <a:pos x="connsiteX9326" y="connsiteY9326"/>
                </a:cxn>
                <a:cxn ang="0">
                  <a:pos x="connsiteX9327" y="connsiteY9327"/>
                </a:cxn>
                <a:cxn ang="0">
                  <a:pos x="connsiteX9328" y="connsiteY9328"/>
                </a:cxn>
                <a:cxn ang="0">
                  <a:pos x="connsiteX9329" y="connsiteY9329"/>
                </a:cxn>
                <a:cxn ang="0">
                  <a:pos x="connsiteX9330" y="connsiteY9330"/>
                </a:cxn>
                <a:cxn ang="0">
                  <a:pos x="connsiteX9331" y="connsiteY9331"/>
                </a:cxn>
                <a:cxn ang="0">
                  <a:pos x="connsiteX9332" y="connsiteY9332"/>
                </a:cxn>
                <a:cxn ang="0">
                  <a:pos x="connsiteX9333" y="connsiteY9333"/>
                </a:cxn>
                <a:cxn ang="0">
                  <a:pos x="connsiteX9334" y="connsiteY9334"/>
                </a:cxn>
                <a:cxn ang="0">
                  <a:pos x="connsiteX9335" y="connsiteY9335"/>
                </a:cxn>
                <a:cxn ang="0">
                  <a:pos x="connsiteX9336" y="connsiteY9336"/>
                </a:cxn>
                <a:cxn ang="0">
                  <a:pos x="connsiteX9337" y="connsiteY9337"/>
                </a:cxn>
                <a:cxn ang="0">
                  <a:pos x="connsiteX9338" y="connsiteY9338"/>
                </a:cxn>
                <a:cxn ang="0">
                  <a:pos x="connsiteX9339" y="connsiteY9339"/>
                </a:cxn>
                <a:cxn ang="0">
                  <a:pos x="connsiteX9340" y="connsiteY9340"/>
                </a:cxn>
                <a:cxn ang="0">
                  <a:pos x="connsiteX9341" y="connsiteY9341"/>
                </a:cxn>
                <a:cxn ang="0">
                  <a:pos x="connsiteX9342" y="connsiteY9342"/>
                </a:cxn>
                <a:cxn ang="0">
                  <a:pos x="connsiteX9343" y="connsiteY9343"/>
                </a:cxn>
                <a:cxn ang="0">
                  <a:pos x="connsiteX9344" y="connsiteY9344"/>
                </a:cxn>
                <a:cxn ang="0">
                  <a:pos x="connsiteX9345" y="connsiteY9345"/>
                </a:cxn>
                <a:cxn ang="0">
                  <a:pos x="connsiteX9346" y="connsiteY9346"/>
                </a:cxn>
                <a:cxn ang="0">
                  <a:pos x="connsiteX9347" y="connsiteY9347"/>
                </a:cxn>
                <a:cxn ang="0">
                  <a:pos x="connsiteX9348" y="connsiteY9348"/>
                </a:cxn>
                <a:cxn ang="0">
                  <a:pos x="connsiteX9349" y="connsiteY9349"/>
                </a:cxn>
                <a:cxn ang="0">
                  <a:pos x="connsiteX9350" y="connsiteY9350"/>
                </a:cxn>
                <a:cxn ang="0">
                  <a:pos x="connsiteX9351" y="connsiteY9351"/>
                </a:cxn>
                <a:cxn ang="0">
                  <a:pos x="connsiteX9352" y="connsiteY9352"/>
                </a:cxn>
                <a:cxn ang="0">
                  <a:pos x="connsiteX9353" y="connsiteY9353"/>
                </a:cxn>
                <a:cxn ang="0">
                  <a:pos x="connsiteX9354" y="connsiteY9354"/>
                </a:cxn>
                <a:cxn ang="0">
                  <a:pos x="connsiteX9355" y="connsiteY9355"/>
                </a:cxn>
                <a:cxn ang="0">
                  <a:pos x="connsiteX9356" y="connsiteY9356"/>
                </a:cxn>
                <a:cxn ang="0">
                  <a:pos x="connsiteX9357" y="connsiteY9357"/>
                </a:cxn>
                <a:cxn ang="0">
                  <a:pos x="connsiteX9358" y="connsiteY9358"/>
                </a:cxn>
                <a:cxn ang="0">
                  <a:pos x="connsiteX9359" y="connsiteY9359"/>
                </a:cxn>
                <a:cxn ang="0">
                  <a:pos x="connsiteX9360" y="connsiteY9360"/>
                </a:cxn>
                <a:cxn ang="0">
                  <a:pos x="connsiteX9361" y="connsiteY9361"/>
                </a:cxn>
                <a:cxn ang="0">
                  <a:pos x="connsiteX9362" y="connsiteY9362"/>
                </a:cxn>
                <a:cxn ang="0">
                  <a:pos x="connsiteX9363" y="connsiteY9363"/>
                </a:cxn>
                <a:cxn ang="0">
                  <a:pos x="connsiteX9364" y="connsiteY9364"/>
                </a:cxn>
                <a:cxn ang="0">
                  <a:pos x="connsiteX9365" y="connsiteY9365"/>
                </a:cxn>
                <a:cxn ang="0">
                  <a:pos x="connsiteX9366" y="connsiteY9366"/>
                </a:cxn>
                <a:cxn ang="0">
                  <a:pos x="connsiteX9367" y="connsiteY9367"/>
                </a:cxn>
                <a:cxn ang="0">
                  <a:pos x="connsiteX9368" y="connsiteY9368"/>
                </a:cxn>
                <a:cxn ang="0">
                  <a:pos x="connsiteX9369" y="connsiteY9369"/>
                </a:cxn>
                <a:cxn ang="0">
                  <a:pos x="connsiteX9370" y="connsiteY9370"/>
                </a:cxn>
                <a:cxn ang="0">
                  <a:pos x="connsiteX9371" y="connsiteY9371"/>
                </a:cxn>
                <a:cxn ang="0">
                  <a:pos x="connsiteX9372" y="connsiteY9372"/>
                </a:cxn>
                <a:cxn ang="0">
                  <a:pos x="connsiteX9373" y="connsiteY9373"/>
                </a:cxn>
                <a:cxn ang="0">
                  <a:pos x="connsiteX9374" y="connsiteY9374"/>
                </a:cxn>
                <a:cxn ang="0">
                  <a:pos x="connsiteX9375" y="connsiteY9375"/>
                </a:cxn>
                <a:cxn ang="0">
                  <a:pos x="connsiteX9376" y="connsiteY9376"/>
                </a:cxn>
                <a:cxn ang="0">
                  <a:pos x="connsiteX9377" y="connsiteY9377"/>
                </a:cxn>
                <a:cxn ang="0">
                  <a:pos x="connsiteX9378" y="connsiteY9378"/>
                </a:cxn>
                <a:cxn ang="0">
                  <a:pos x="connsiteX9379" y="connsiteY9379"/>
                </a:cxn>
                <a:cxn ang="0">
                  <a:pos x="connsiteX9380" y="connsiteY9380"/>
                </a:cxn>
                <a:cxn ang="0">
                  <a:pos x="connsiteX9381" y="connsiteY9381"/>
                </a:cxn>
                <a:cxn ang="0">
                  <a:pos x="connsiteX9382" y="connsiteY9382"/>
                </a:cxn>
                <a:cxn ang="0">
                  <a:pos x="connsiteX9383" y="connsiteY9383"/>
                </a:cxn>
                <a:cxn ang="0">
                  <a:pos x="connsiteX9384" y="connsiteY9384"/>
                </a:cxn>
                <a:cxn ang="0">
                  <a:pos x="connsiteX9385" y="connsiteY9385"/>
                </a:cxn>
                <a:cxn ang="0">
                  <a:pos x="connsiteX9386" y="connsiteY9386"/>
                </a:cxn>
                <a:cxn ang="0">
                  <a:pos x="connsiteX9387" y="connsiteY9387"/>
                </a:cxn>
                <a:cxn ang="0">
                  <a:pos x="connsiteX9388" y="connsiteY9388"/>
                </a:cxn>
                <a:cxn ang="0">
                  <a:pos x="connsiteX9389" y="connsiteY9389"/>
                </a:cxn>
                <a:cxn ang="0">
                  <a:pos x="connsiteX9390" y="connsiteY9390"/>
                </a:cxn>
                <a:cxn ang="0">
                  <a:pos x="connsiteX9391" y="connsiteY9391"/>
                </a:cxn>
                <a:cxn ang="0">
                  <a:pos x="connsiteX9392" y="connsiteY9392"/>
                </a:cxn>
                <a:cxn ang="0">
                  <a:pos x="connsiteX9393" y="connsiteY9393"/>
                </a:cxn>
                <a:cxn ang="0">
                  <a:pos x="connsiteX9394" y="connsiteY9394"/>
                </a:cxn>
                <a:cxn ang="0">
                  <a:pos x="connsiteX9395" y="connsiteY9395"/>
                </a:cxn>
                <a:cxn ang="0">
                  <a:pos x="connsiteX9396" y="connsiteY9396"/>
                </a:cxn>
                <a:cxn ang="0">
                  <a:pos x="connsiteX9397" y="connsiteY9397"/>
                </a:cxn>
                <a:cxn ang="0">
                  <a:pos x="connsiteX9398" y="connsiteY9398"/>
                </a:cxn>
                <a:cxn ang="0">
                  <a:pos x="connsiteX9399" y="connsiteY9399"/>
                </a:cxn>
                <a:cxn ang="0">
                  <a:pos x="connsiteX9400" y="connsiteY9400"/>
                </a:cxn>
                <a:cxn ang="0">
                  <a:pos x="connsiteX9401" y="connsiteY9401"/>
                </a:cxn>
                <a:cxn ang="0">
                  <a:pos x="connsiteX9402" y="connsiteY9402"/>
                </a:cxn>
                <a:cxn ang="0">
                  <a:pos x="connsiteX9403" y="connsiteY9403"/>
                </a:cxn>
                <a:cxn ang="0">
                  <a:pos x="connsiteX9404" y="connsiteY9404"/>
                </a:cxn>
                <a:cxn ang="0">
                  <a:pos x="connsiteX9405" y="connsiteY9405"/>
                </a:cxn>
                <a:cxn ang="0">
                  <a:pos x="connsiteX9406" y="connsiteY9406"/>
                </a:cxn>
                <a:cxn ang="0">
                  <a:pos x="connsiteX9407" y="connsiteY9407"/>
                </a:cxn>
                <a:cxn ang="0">
                  <a:pos x="connsiteX9408" y="connsiteY9408"/>
                </a:cxn>
                <a:cxn ang="0">
                  <a:pos x="connsiteX9409" y="connsiteY9409"/>
                </a:cxn>
                <a:cxn ang="0">
                  <a:pos x="connsiteX9410" y="connsiteY9410"/>
                </a:cxn>
                <a:cxn ang="0">
                  <a:pos x="connsiteX9411" y="connsiteY9411"/>
                </a:cxn>
                <a:cxn ang="0">
                  <a:pos x="connsiteX9412" y="connsiteY9412"/>
                </a:cxn>
                <a:cxn ang="0">
                  <a:pos x="connsiteX9413" y="connsiteY9413"/>
                </a:cxn>
                <a:cxn ang="0">
                  <a:pos x="connsiteX9414" y="connsiteY9414"/>
                </a:cxn>
                <a:cxn ang="0">
                  <a:pos x="connsiteX9415" y="connsiteY9415"/>
                </a:cxn>
                <a:cxn ang="0">
                  <a:pos x="connsiteX9416" y="connsiteY9416"/>
                </a:cxn>
                <a:cxn ang="0">
                  <a:pos x="connsiteX9417" y="connsiteY9417"/>
                </a:cxn>
                <a:cxn ang="0">
                  <a:pos x="connsiteX9418" y="connsiteY9418"/>
                </a:cxn>
                <a:cxn ang="0">
                  <a:pos x="connsiteX9419" y="connsiteY9419"/>
                </a:cxn>
                <a:cxn ang="0">
                  <a:pos x="connsiteX9420" y="connsiteY9420"/>
                </a:cxn>
                <a:cxn ang="0">
                  <a:pos x="connsiteX9421" y="connsiteY9421"/>
                </a:cxn>
                <a:cxn ang="0">
                  <a:pos x="connsiteX9422" y="connsiteY9422"/>
                </a:cxn>
                <a:cxn ang="0">
                  <a:pos x="connsiteX9423" y="connsiteY9423"/>
                </a:cxn>
                <a:cxn ang="0">
                  <a:pos x="connsiteX9424" y="connsiteY9424"/>
                </a:cxn>
                <a:cxn ang="0">
                  <a:pos x="connsiteX9425" y="connsiteY9425"/>
                </a:cxn>
                <a:cxn ang="0">
                  <a:pos x="connsiteX9426" y="connsiteY9426"/>
                </a:cxn>
                <a:cxn ang="0">
                  <a:pos x="connsiteX9427" y="connsiteY9427"/>
                </a:cxn>
                <a:cxn ang="0">
                  <a:pos x="connsiteX9428" y="connsiteY9428"/>
                </a:cxn>
                <a:cxn ang="0">
                  <a:pos x="connsiteX9429" y="connsiteY9429"/>
                </a:cxn>
                <a:cxn ang="0">
                  <a:pos x="connsiteX9430" y="connsiteY9430"/>
                </a:cxn>
                <a:cxn ang="0">
                  <a:pos x="connsiteX9431" y="connsiteY9431"/>
                </a:cxn>
                <a:cxn ang="0">
                  <a:pos x="connsiteX9432" y="connsiteY9432"/>
                </a:cxn>
                <a:cxn ang="0">
                  <a:pos x="connsiteX9433" y="connsiteY9433"/>
                </a:cxn>
                <a:cxn ang="0">
                  <a:pos x="connsiteX9434" y="connsiteY9434"/>
                </a:cxn>
                <a:cxn ang="0">
                  <a:pos x="connsiteX9435" y="connsiteY9435"/>
                </a:cxn>
                <a:cxn ang="0">
                  <a:pos x="connsiteX9436" y="connsiteY9436"/>
                </a:cxn>
                <a:cxn ang="0">
                  <a:pos x="connsiteX9437" y="connsiteY9437"/>
                </a:cxn>
                <a:cxn ang="0">
                  <a:pos x="connsiteX9438" y="connsiteY9438"/>
                </a:cxn>
                <a:cxn ang="0">
                  <a:pos x="connsiteX9439" y="connsiteY9439"/>
                </a:cxn>
                <a:cxn ang="0">
                  <a:pos x="connsiteX9440" y="connsiteY9440"/>
                </a:cxn>
                <a:cxn ang="0">
                  <a:pos x="connsiteX9441" y="connsiteY9441"/>
                </a:cxn>
                <a:cxn ang="0">
                  <a:pos x="connsiteX9442" y="connsiteY9442"/>
                </a:cxn>
                <a:cxn ang="0">
                  <a:pos x="connsiteX9443" y="connsiteY9443"/>
                </a:cxn>
                <a:cxn ang="0">
                  <a:pos x="connsiteX9444" y="connsiteY9444"/>
                </a:cxn>
                <a:cxn ang="0">
                  <a:pos x="connsiteX9445" y="connsiteY9445"/>
                </a:cxn>
                <a:cxn ang="0">
                  <a:pos x="connsiteX9446" y="connsiteY9446"/>
                </a:cxn>
                <a:cxn ang="0">
                  <a:pos x="connsiteX9447" y="connsiteY9447"/>
                </a:cxn>
                <a:cxn ang="0">
                  <a:pos x="connsiteX9448" y="connsiteY9448"/>
                </a:cxn>
                <a:cxn ang="0">
                  <a:pos x="connsiteX9449" y="connsiteY9449"/>
                </a:cxn>
                <a:cxn ang="0">
                  <a:pos x="connsiteX9450" y="connsiteY9450"/>
                </a:cxn>
                <a:cxn ang="0">
                  <a:pos x="connsiteX9451" y="connsiteY9451"/>
                </a:cxn>
                <a:cxn ang="0">
                  <a:pos x="connsiteX9452" y="connsiteY9452"/>
                </a:cxn>
                <a:cxn ang="0">
                  <a:pos x="connsiteX9453" y="connsiteY9453"/>
                </a:cxn>
                <a:cxn ang="0">
                  <a:pos x="connsiteX9454" y="connsiteY9454"/>
                </a:cxn>
                <a:cxn ang="0">
                  <a:pos x="connsiteX9455" y="connsiteY9455"/>
                </a:cxn>
                <a:cxn ang="0">
                  <a:pos x="connsiteX9456" y="connsiteY9456"/>
                </a:cxn>
                <a:cxn ang="0">
                  <a:pos x="connsiteX9457" y="connsiteY9457"/>
                </a:cxn>
                <a:cxn ang="0">
                  <a:pos x="connsiteX9458" y="connsiteY9458"/>
                </a:cxn>
                <a:cxn ang="0">
                  <a:pos x="connsiteX9459" y="connsiteY9459"/>
                </a:cxn>
                <a:cxn ang="0">
                  <a:pos x="connsiteX9460" y="connsiteY9460"/>
                </a:cxn>
                <a:cxn ang="0">
                  <a:pos x="connsiteX9461" y="connsiteY9461"/>
                </a:cxn>
                <a:cxn ang="0">
                  <a:pos x="connsiteX9462" y="connsiteY9462"/>
                </a:cxn>
                <a:cxn ang="0">
                  <a:pos x="connsiteX9463" y="connsiteY9463"/>
                </a:cxn>
                <a:cxn ang="0">
                  <a:pos x="connsiteX9464" y="connsiteY9464"/>
                </a:cxn>
                <a:cxn ang="0">
                  <a:pos x="connsiteX9465" y="connsiteY9465"/>
                </a:cxn>
                <a:cxn ang="0">
                  <a:pos x="connsiteX9466" y="connsiteY9466"/>
                </a:cxn>
                <a:cxn ang="0">
                  <a:pos x="connsiteX9467" y="connsiteY9467"/>
                </a:cxn>
                <a:cxn ang="0">
                  <a:pos x="connsiteX9468" y="connsiteY9468"/>
                </a:cxn>
                <a:cxn ang="0">
                  <a:pos x="connsiteX9469" y="connsiteY9469"/>
                </a:cxn>
                <a:cxn ang="0">
                  <a:pos x="connsiteX9470" y="connsiteY9470"/>
                </a:cxn>
                <a:cxn ang="0">
                  <a:pos x="connsiteX9471" y="connsiteY9471"/>
                </a:cxn>
                <a:cxn ang="0">
                  <a:pos x="connsiteX9472" y="connsiteY9472"/>
                </a:cxn>
                <a:cxn ang="0">
                  <a:pos x="connsiteX9473" y="connsiteY9473"/>
                </a:cxn>
                <a:cxn ang="0">
                  <a:pos x="connsiteX9474" y="connsiteY9474"/>
                </a:cxn>
                <a:cxn ang="0">
                  <a:pos x="connsiteX9475" y="connsiteY9475"/>
                </a:cxn>
                <a:cxn ang="0">
                  <a:pos x="connsiteX9476" y="connsiteY9476"/>
                </a:cxn>
                <a:cxn ang="0">
                  <a:pos x="connsiteX9477" y="connsiteY9477"/>
                </a:cxn>
                <a:cxn ang="0">
                  <a:pos x="connsiteX9478" y="connsiteY9478"/>
                </a:cxn>
                <a:cxn ang="0">
                  <a:pos x="connsiteX9479" y="connsiteY9479"/>
                </a:cxn>
                <a:cxn ang="0">
                  <a:pos x="connsiteX9480" y="connsiteY9480"/>
                </a:cxn>
                <a:cxn ang="0">
                  <a:pos x="connsiteX9481" y="connsiteY9481"/>
                </a:cxn>
                <a:cxn ang="0">
                  <a:pos x="connsiteX9482" y="connsiteY9482"/>
                </a:cxn>
                <a:cxn ang="0">
                  <a:pos x="connsiteX9483" y="connsiteY9483"/>
                </a:cxn>
                <a:cxn ang="0">
                  <a:pos x="connsiteX9484" y="connsiteY9484"/>
                </a:cxn>
                <a:cxn ang="0">
                  <a:pos x="connsiteX9485" y="connsiteY9485"/>
                </a:cxn>
                <a:cxn ang="0">
                  <a:pos x="connsiteX9486" y="connsiteY9486"/>
                </a:cxn>
                <a:cxn ang="0">
                  <a:pos x="connsiteX9487" y="connsiteY9487"/>
                </a:cxn>
                <a:cxn ang="0">
                  <a:pos x="connsiteX9488" y="connsiteY9488"/>
                </a:cxn>
                <a:cxn ang="0">
                  <a:pos x="connsiteX9489" y="connsiteY9489"/>
                </a:cxn>
                <a:cxn ang="0">
                  <a:pos x="connsiteX9490" y="connsiteY9490"/>
                </a:cxn>
                <a:cxn ang="0">
                  <a:pos x="connsiteX9491" y="connsiteY9491"/>
                </a:cxn>
                <a:cxn ang="0">
                  <a:pos x="connsiteX9492" y="connsiteY9492"/>
                </a:cxn>
                <a:cxn ang="0">
                  <a:pos x="connsiteX9493" y="connsiteY9493"/>
                </a:cxn>
                <a:cxn ang="0">
                  <a:pos x="connsiteX9494" y="connsiteY9494"/>
                </a:cxn>
                <a:cxn ang="0">
                  <a:pos x="connsiteX9495" y="connsiteY9495"/>
                </a:cxn>
                <a:cxn ang="0">
                  <a:pos x="connsiteX9496" y="connsiteY9496"/>
                </a:cxn>
                <a:cxn ang="0">
                  <a:pos x="connsiteX9497" y="connsiteY9497"/>
                </a:cxn>
                <a:cxn ang="0">
                  <a:pos x="connsiteX9498" y="connsiteY9498"/>
                </a:cxn>
                <a:cxn ang="0">
                  <a:pos x="connsiteX9499" y="connsiteY9499"/>
                </a:cxn>
                <a:cxn ang="0">
                  <a:pos x="connsiteX9500" y="connsiteY9500"/>
                </a:cxn>
                <a:cxn ang="0">
                  <a:pos x="connsiteX9501" y="connsiteY9501"/>
                </a:cxn>
                <a:cxn ang="0">
                  <a:pos x="connsiteX9502" y="connsiteY9502"/>
                </a:cxn>
                <a:cxn ang="0">
                  <a:pos x="connsiteX9503" y="connsiteY9503"/>
                </a:cxn>
                <a:cxn ang="0">
                  <a:pos x="connsiteX9504" y="connsiteY9504"/>
                </a:cxn>
                <a:cxn ang="0">
                  <a:pos x="connsiteX9505" y="connsiteY9505"/>
                </a:cxn>
                <a:cxn ang="0">
                  <a:pos x="connsiteX9506" y="connsiteY9506"/>
                </a:cxn>
                <a:cxn ang="0">
                  <a:pos x="connsiteX9507" y="connsiteY9507"/>
                </a:cxn>
                <a:cxn ang="0">
                  <a:pos x="connsiteX9508" y="connsiteY9508"/>
                </a:cxn>
                <a:cxn ang="0">
                  <a:pos x="connsiteX9509" y="connsiteY9509"/>
                </a:cxn>
                <a:cxn ang="0">
                  <a:pos x="connsiteX9510" y="connsiteY9510"/>
                </a:cxn>
                <a:cxn ang="0">
                  <a:pos x="connsiteX9511" y="connsiteY9511"/>
                </a:cxn>
                <a:cxn ang="0">
                  <a:pos x="connsiteX9512" y="connsiteY9512"/>
                </a:cxn>
                <a:cxn ang="0">
                  <a:pos x="connsiteX9513" y="connsiteY9513"/>
                </a:cxn>
                <a:cxn ang="0">
                  <a:pos x="connsiteX9514" y="connsiteY9514"/>
                </a:cxn>
                <a:cxn ang="0">
                  <a:pos x="connsiteX9515" y="connsiteY9515"/>
                </a:cxn>
                <a:cxn ang="0">
                  <a:pos x="connsiteX9516" y="connsiteY9516"/>
                </a:cxn>
                <a:cxn ang="0">
                  <a:pos x="connsiteX9517" y="connsiteY9517"/>
                </a:cxn>
                <a:cxn ang="0">
                  <a:pos x="connsiteX9518" y="connsiteY9518"/>
                </a:cxn>
                <a:cxn ang="0">
                  <a:pos x="connsiteX9519" y="connsiteY9519"/>
                </a:cxn>
                <a:cxn ang="0">
                  <a:pos x="connsiteX9520" y="connsiteY9520"/>
                </a:cxn>
                <a:cxn ang="0">
                  <a:pos x="connsiteX9521" y="connsiteY9521"/>
                </a:cxn>
                <a:cxn ang="0">
                  <a:pos x="connsiteX9522" y="connsiteY9522"/>
                </a:cxn>
                <a:cxn ang="0">
                  <a:pos x="connsiteX9523" y="connsiteY9523"/>
                </a:cxn>
                <a:cxn ang="0">
                  <a:pos x="connsiteX9524" y="connsiteY9524"/>
                </a:cxn>
                <a:cxn ang="0">
                  <a:pos x="connsiteX9525" y="connsiteY9525"/>
                </a:cxn>
                <a:cxn ang="0">
                  <a:pos x="connsiteX9526" y="connsiteY9526"/>
                </a:cxn>
                <a:cxn ang="0">
                  <a:pos x="connsiteX9527" y="connsiteY9527"/>
                </a:cxn>
                <a:cxn ang="0">
                  <a:pos x="connsiteX9528" y="connsiteY9528"/>
                </a:cxn>
                <a:cxn ang="0">
                  <a:pos x="connsiteX9529" y="connsiteY9529"/>
                </a:cxn>
                <a:cxn ang="0">
                  <a:pos x="connsiteX9530" y="connsiteY9530"/>
                </a:cxn>
                <a:cxn ang="0">
                  <a:pos x="connsiteX9531" y="connsiteY9531"/>
                </a:cxn>
                <a:cxn ang="0">
                  <a:pos x="connsiteX9532" y="connsiteY9532"/>
                </a:cxn>
                <a:cxn ang="0">
                  <a:pos x="connsiteX9533" y="connsiteY9533"/>
                </a:cxn>
                <a:cxn ang="0">
                  <a:pos x="connsiteX9534" y="connsiteY9534"/>
                </a:cxn>
                <a:cxn ang="0">
                  <a:pos x="connsiteX9535" y="connsiteY9535"/>
                </a:cxn>
                <a:cxn ang="0">
                  <a:pos x="connsiteX9536" y="connsiteY9536"/>
                </a:cxn>
                <a:cxn ang="0">
                  <a:pos x="connsiteX9537" y="connsiteY9537"/>
                </a:cxn>
                <a:cxn ang="0">
                  <a:pos x="connsiteX9538" y="connsiteY9538"/>
                </a:cxn>
                <a:cxn ang="0">
                  <a:pos x="connsiteX9539" y="connsiteY9539"/>
                </a:cxn>
                <a:cxn ang="0">
                  <a:pos x="connsiteX9540" y="connsiteY9540"/>
                </a:cxn>
                <a:cxn ang="0">
                  <a:pos x="connsiteX9541" y="connsiteY9541"/>
                </a:cxn>
                <a:cxn ang="0">
                  <a:pos x="connsiteX9542" y="connsiteY9542"/>
                </a:cxn>
                <a:cxn ang="0">
                  <a:pos x="connsiteX9543" y="connsiteY9543"/>
                </a:cxn>
                <a:cxn ang="0">
                  <a:pos x="connsiteX9544" y="connsiteY9544"/>
                </a:cxn>
                <a:cxn ang="0">
                  <a:pos x="connsiteX9545" y="connsiteY9545"/>
                </a:cxn>
                <a:cxn ang="0">
                  <a:pos x="connsiteX9546" y="connsiteY9546"/>
                </a:cxn>
                <a:cxn ang="0">
                  <a:pos x="connsiteX9547" y="connsiteY9547"/>
                </a:cxn>
                <a:cxn ang="0">
                  <a:pos x="connsiteX9548" y="connsiteY9548"/>
                </a:cxn>
                <a:cxn ang="0">
                  <a:pos x="connsiteX9549" y="connsiteY9549"/>
                </a:cxn>
                <a:cxn ang="0">
                  <a:pos x="connsiteX9550" y="connsiteY9550"/>
                </a:cxn>
                <a:cxn ang="0">
                  <a:pos x="connsiteX9551" y="connsiteY9551"/>
                </a:cxn>
                <a:cxn ang="0">
                  <a:pos x="connsiteX9552" y="connsiteY9552"/>
                </a:cxn>
                <a:cxn ang="0">
                  <a:pos x="connsiteX9553" y="connsiteY9553"/>
                </a:cxn>
                <a:cxn ang="0">
                  <a:pos x="connsiteX9554" y="connsiteY9554"/>
                </a:cxn>
                <a:cxn ang="0">
                  <a:pos x="connsiteX9555" y="connsiteY9555"/>
                </a:cxn>
                <a:cxn ang="0">
                  <a:pos x="connsiteX9556" y="connsiteY9556"/>
                </a:cxn>
                <a:cxn ang="0">
                  <a:pos x="connsiteX9557" y="connsiteY9557"/>
                </a:cxn>
                <a:cxn ang="0">
                  <a:pos x="connsiteX9558" y="connsiteY9558"/>
                </a:cxn>
                <a:cxn ang="0">
                  <a:pos x="connsiteX9559" y="connsiteY9559"/>
                </a:cxn>
                <a:cxn ang="0">
                  <a:pos x="connsiteX9560" y="connsiteY9560"/>
                </a:cxn>
                <a:cxn ang="0">
                  <a:pos x="connsiteX9561" y="connsiteY9561"/>
                </a:cxn>
                <a:cxn ang="0">
                  <a:pos x="connsiteX9562" y="connsiteY9562"/>
                </a:cxn>
                <a:cxn ang="0">
                  <a:pos x="connsiteX9563" y="connsiteY9563"/>
                </a:cxn>
                <a:cxn ang="0">
                  <a:pos x="connsiteX9564" y="connsiteY9564"/>
                </a:cxn>
                <a:cxn ang="0">
                  <a:pos x="connsiteX9565" y="connsiteY9565"/>
                </a:cxn>
                <a:cxn ang="0">
                  <a:pos x="connsiteX9566" y="connsiteY9566"/>
                </a:cxn>
                <a:cxn ang="0">
                  <a:pos x="connsiteX9567" y="connsiteY9567"/>
                </a:cxn>
                <a:cxn ang="0">
                  <a:pos x="connsiteX9568" y="connsiteY9568"/>
                </a:cxn>
                <a:cxn ang="0">
                  <a:pos x="connsiteX9569" y="connsiteY9569"/>
                </a:cxn>
                <a:cxn ang="0">
                  <a:pos x="connsiteX9570" y="connsiteY9570"/>
                </a:cxn>
                <a:cxn ang="0">
                  <a:pos x="connsiteX9571" y="connsiteY9571"/>
                </a:cxn>
                <a:cxn ang="0">
                  <a:pos x="connsiteX9572" y="connsiteY9572"/>
                </a:cxn>
                <a:cxn ang="0">
                  <a:pos x="connsiteX9573" y="connsiteY9573"/>
                </a:cxn>
                <a:cxn ang="0">
                  <a:pos x="connsiteX9574" y="connsiteY9574"/>
                </a:cxn>
                <a:cxn ang="0">
                  <a:pos x="connsiteX9575" y="connsiteY9575"/>
                </a:cxn>
                <a:cxn ang="0">
                  <a:pos x="connsiteX9576" y="connsiteY9576"/>
                </a:cxn>
                <a:cxn ang="0">
                  <a:pos x="connsiteX9577" y="connsiteY9577"/>
                </a:cxn>
                <a:cxn ang="0">
                  <a:pos x="connsiteX9578" y="connsiteY9578"/>
                </a:cxn>
                <a:cxn ang="0">
                  <a:pos x="connsiteX9579" y="connsiteY9579"/>
                </a:cxn>
                <a:cxn ang="0">
                  <a:pos x="connsiteX9580" y="connsiteY9580"/>
                </a:cxn>
                <a:cxn ang="0">
                  <a:pos x="connsiteX9581" y="connsiteY9581"/>
                </a:cxn>
                <a:cxn ang="0">
                  <a:pos x="connsiteX9582" y="connsiteY9582"/>
                </a:cxn>
                <a:cxn ang="0">
                  <a:pos x="connsiteX9583" y="connsiteY9583"/>
                </a:cxn>
                <a:cxn ang="0">
                  <a:pos x="connsiteX9584" y="connsiteY9584"/>
                </a:cxn>
                <a:cxn ang="0">
                  <a:pos x="connsiteX9585" y="connsiteY9585"/>
                </a:cxn>
                <a:cxn ang="0">
                  <a:pos x="connsiteX9586" y="connsiteY9586"/>
                </a:cxn>
                <a:cxn ang="0">
                  <a:pos x="connsiteX9587" y="connsiteY9587"/>
                </a:cxn>
                <a:cxn ang="0">
                  <a:pos x="connsiteX9588" y="connsiteY9588"/>
                </a:cxn>
                <a:cxn ang="0">
                  <a:pos x="connsiteX9589" y="connsiteY9589"/>
                </a:cxn>
                <a:cxn ang="0">
                  <a:pos x="connsiteX9590" y="connsiteY9590"/>
                </a:cxn>
                <a:cxn ang="0">
                  <a:pos x="connsiteX9591" y="connsiteY9591"/>
                </a:cxn>
                <a:cxn ang="0">
                  <a:pos x="connsiteX9592" y="connsiteY9592"/>
                </a:cxn>
                <a:cxn ang="0">
                  <a:pos x="connsiteX9593" y="connsiteY9593"/>
                </a:cxn>
                <a:cxn ang="0">
                  <a:pos x="connsiteX9594" y="connsiteY9594"/>
                </a:cxn>
                <a:cxn ang="0">
                  <a:pos x="connsiteX9595" y="connsiteY9595"/>
                </a:cxn>
                <a:cxn ang="0">
                  <a:pos x="connsiteX9596" y="connsiteY9596"/>
                </a:cxn>
                <a:cxn ang="0">
                  <a:pos x="connsiteX9597" y="connsiteY9597"/>
                </a:cxn>
                <a:cxn ang="0">
                  <a:pos x="connsiteX9598" y="connsiteY9598"/>
                </a:cxn>
                <a:cxn ang="0">
                  <a:pos x="connsiteX9599" y="connsiteY9599"/>
                </a:cxn>
                <a:cxn ang="0">
                  <a:pos x="connsiteX9600" y="connsiteY9600"/>
                </a:cxn>
                <a:cxn ang="0">
                  <a:pos x="connsiteX9601" y="connsiteY9601"/>
                </a:cxn>
                <a:cxn ang="0">
                  <a:pos x="connsiteX9602" y="connsiteY9602"/>
                </a:cxn>
                <a:cxn ang="0">
                  <a:pos x="connsiteX9603" y="connsiteY9603"/>
                </a:cxn>
                <a:cxn ang="0">
                  <a:pos x="connsiteX9604" y="connsiteY9604"/>
                </a:cxn>
                <a:cxn ang="0">
                  <a:pos x="connsiteX9605" y="connsiteY9605"/>
                </a:cxn>
                <a:cxn ang="0">
                  <a:pos x="connsiteX9606" y="connsiteY9606"/>
                </a:cxn>
                <a:cxn ang="0">
                  <a:pos x="connsiteX9607" y="connsiteY9607"/>
                </a:cxn>
                <a:cxn ang="0">
                  <a:pos x="connsiteX9608" y="connsiteY9608"/>
                </a:cxn>
                <a:cxn ang="0">
                  <a:pos x="connsiteX9609" y="connsiteY9609"/>
                </a:cxn>
                <a:cxn ang="0">
                  <a:pos x="connsiteX9610" y="connsiteY9610"/>
                </a:cxn>
                <a:cxn ang="0">
                  <a:pos x="connsiteX9611" y="connsiteY9611"/>
                </a:cxn>
                <a:cxn ang="0">
                  <a:pos x="connsiteX9612" y="connsiteY9612"/>
                </a:cxn>
                <a:cxn ang="0">
                  <a:pos x="connsiteX9613" y="connsiteY9613"/>
                </a:cxn>
                <a:cxn ang="0">
                  <a:pos x="connsiteX9614" y="connsiteY9614"/>
                </a:cxn>
                <a:cxn ang="0">
                  <a:pos x="connsiteX9615" y="connsiteY9615"/>
                </a:cxn>
                <a:cxn ang="0">
                  <a:pos x="connsiteX9616" y="connsiteY9616"/>
                </a:cxn>
                <a:cxn ang="0">
                  <a:pos x="connsiteX9617" y="connsiteY9617"/>
                </a:cxn>
                <a:cxn ang="0">
                  <a:pos x="connsiteX9618" y="connsiteY9618"/>
                </a:cxn>
                <a:cxn ang="0">
                  <a:pos x="connsiteX9619" y="connsiteY9619"/>
                </a:cxn>
                <a:cxn ang="0">
                  <a:pos x="connsiteX9620" y="connsiteY9620"/>
                </a:cxn>
                <a:cxn ang="0">
                  <a:pos x="connsiteX9621" y="connsiteY9621"/>
                </a:cxn>
                <a:cxn ang="0">
                  <a:pos x="connsiteX9622" y="connsiteY9622"/>
                </a:cxn>
                <a:cxn ang="0">
                  <a:pos x="connsiteX9623" y="connsiteY9623"/>
                </a:cxn>
                <a:cxn ang="0">
                  <a:pos x="connsiteX9624" y="connsiteY9624"/>
                </a:cxn>
                <a:cxn ang="0">
                  <a:pos x="connsiteX9625" y="connsiteY9625"/>
                </a:cxn>
                <a:cxn ang="0">
                  <a:pos x="connsiteX9626" y="connsiteY9626"/>
                </a:cxn>
                <a:cxn ang="0">
                  <a:pos x="connsiteX9627" y="connsiteY9627"/>
                </a:cxn>
                <a:cxn ang="0">
                  <a:pos x="connsiteX9628" y="connsiteY9628"/>
                </a:cxn>
                <a:cxn ang="0">
                  <a:pos x="connsiteX9629" y="connsiteY9629"/>
                </a:cxn>
                <a:cxn ang="0">
                  <a:pos x="connsiteX9630" y="connsiteY9630"/>
                </a:cxn>
                <a:cxn ang="0">
                  <a:pos x="connsiteX9631" y="connsiteY9631"/>
                </a:cxn>
                <a:cxn ang="0">
                  <a:pos x="connsiteX9632" y="connsiteY9632"/>
                </a:cxn>
                <a:cxn ang="0">
                  <a:pos x="connsiteX9633" y="connsiteY9633"/>
                </a:cxn>
                <a:cxn ang="0">
                  <a:pos x="connsiteX9634" y="connsiteY9634"/>
                </a:cxn>
                <a:cxn ang="0">
                  <a:pos x="connsiteX9635" y="connsiteY9635"/>
                </a:cxn>
                <a:cxn ang="0">
                  <a:pos x="connsiteX9636" y="connsiteY9636"/>
                </a:cxn>
                <a:cxn ang="0">
                  <a:pos x="connsiteX9637" y="connsiteY9637"/>
                </a:cxn>
                <a:cxn ang="0">
                  <a:pos x="connsiteX9638" y="connsiteY9638"/>
                </a:cxn>
                <a:cxn ang="0">
                  <a:pos x="connsiteX9639" y="connsiteY9639"/>
                </a:cxn>
                <a:cxn ang="0">
                  <a:pos x="connsiteX9640" y="connsiteY9640"/>
                </a:cxn>
                <a:cxn ang="0">
                  <a:pos x="connsiteX9641" y="connsiteY9641"/>
                </a:cxn>
                <a:cxn ang="0">
                  <a:pos x="connsiteX9642" y="connsiteY9642"/>
                </a:cxn>
                <a:cxn ang="0">
                  <a:pos x="connsiteX9643" y="connsiteY9643"/>
                </a:cxn>
                <a:cxn ang="0">
                  <a:pos x="connsiteX9644" y="connsiteY9644"/>
                </a:cxn>
                <a:cxn ang="0">
                  <a:pos x="connsiteX9645" y="connsiteY9645"/>
                </a:cxn>
                <a:cxn ang="0">
                  <a:pos x="connsiteX9646" y="connsiteY9646"/>
                </a:cxn>
                <a:cxn ang="0">
                  <a:pos x="connsiteX9647" y="connsiteY9647"/>
                </a:cxn>
                <a:cxn ang="0">
                  <a:pos x="connsiteX9648" y="connsiteY9648"/>
                </a:cxn>
                <a:cxn ang="0">
                  <a:pos x="connsiteX9649" y="connsiteY9649"/>
                </a:cxn>
                <a:cxn ang="0">
                  <a:pos x="connsiteX9650" y="connsiteY9650"/>
                </a:cxn>
                <a:cxn ang="0">
                  <a:pos x="connsiteX9651" y="connsiteY9651"/>
                </a:cxn>
                <a:cxn ang="0">
                  <a:pos x="connsiteX9652" y="connsiteY9652"/>
                </a:cxn>
                <a:cxn ang="0">
                  <a:pos x="connsiteX9653" y="connsiteY9653"/>
                </a:cxn>
                <a:cxn ang="0">
                  <a:pos x="connsiteX9654" y="connsiteY9654"/>
                </a:cxn>
                <a:cxn ang="0">
                  <a:pos x="connsiteX9655" y="connsiteY9655"/>
                </a:cxn>
                <a:cxn ang="0">
                  <a:pos x="connsiteX9656" y="connsiteY9656"/>
                </a:cxn>
                <a:cxn ang="0">
                  <a:pos x="connsiteX9657" y="connsiteY9657"/>
                </a:cxn>
                <a:cxn ang="0">
                  <a:pos x="connsiteX9658" y="connsiteY9658"/>
                </a:cxn>
                <a:cxn ang="0">
                  <a:pos x="connsiteX9659" y="connsiteY9659"/>
                </a:cxn>
                <a:cxn ang="0">
                  <a:pos x="connsiteX9660" y="connsiteY9660"/>
                </a:cxn>
                <a:cxn ang="0">
                  <a:pos x="connsiteX9661" y="connsiteY9661"/>
                </a:cxn>
                <a:cxn ang="0">
                  <a:pos x="connsiteX9662" y="connsiteY9662"/>
                </a:cxn>
                <a:cxn ang="0">
                  <a:pos x="connsiteX9663" y="connsiteY9663"/>
                </a:cxn>
                <a:cxn ang="0">
                  <a:pos x="connsiteX9664" y="connsiteY9664"/>
                </a:cxn>
                <a:cxn ang="0">
                  <a:pos x="connsiteX9665" y="connsiteY9665"/>
                </a:cxn>
                <a:cxn ang="0">
                  <a:pos x="connsiteX9666" y="connsiteY9666"/>
                </a:cxn>
                <a:cxn ang="0">
                  <a:pos x="connsiteX9667" y="connsiteY9667"/>
                </a:cxn>
                <a:cxn ang="0">
                  <a:pos x="connsiteX9668" y="connsiteY9668"/>
                </a:cxn>
                <a:cxn ang="0">
                  <a:pos x="connsiteX9669" y="connsiteY9669"/>
                </a:cxn>
                <a:cxn ang="0">
                  <a:pos x="connsiteX9670" y="connsiteY9670"/>
                </a:cxn>
                <a:cxn ang="0">
                  <a:pos x="connsiteX9671" y="connsiteY9671"/>
                </a:cxn>
                <a:cxn ang="0">
                  <a:pos x="connsiteX9672" y="connsiteY9672"/>
                </a:cxn>
                <a:cxn ang="0">
                  <a:pos x="connsiteX9673" y="connsiteY9673"/>
                </a:cxn>
                <a:cxn ang="0">
                  <a:pos x="connsiteX9674" y="connsiteY9674"/>
                </a:cxn>
                <a:cxn ang="0">
                  <a:pos x="connsiteX9675" y="connsiteY9675"/>
                </a:cxn>
                <a:cxn ang="0">
                  <a:pos x="connsiteX9676" y="connsiteY9676"/>
                </a:cxn>
                <a:cxn ang="0">
                  <a:pos x="connsiteX9677" y="connsiteY9677"/>
                </a:cxn>
                <a:cxn ang="0">
                  <a:pos x="connsiteX9678" y="connsiteY9678"/>
                </a:cxn>
                <a:cxn ang="0">
                  <a:pos x="connsiteX9679" y="connsiteY9679"/>
                </a:cxn>
                <a:cxn ang="0">
                  <a:pos x="connsiteX9680" y="connsiteY9680"/>
                </a:cxn>
                <a:cxn ang="0">
                  <a:pos x="connsiteX9681" y="connsiteY9681"/>
                </a:cxn>
                <a:cxn ang="0">
                  <a:pos x="connsiteX9682" y="connsiteY9682"/>
                </a:cxn>
                <a:cxn ang="0">
                  <a:pos x="connsiteX9683" y="connsiteY9683"/>
                </a:cxn>
                <a:cxn ang="0">
                  <a:pos x="connsiteX9684" y="connsiteY9684"/>
                </a:cxn>
                <a:cxn ang="0">
                  <a:pos x="connsiteX9685" y="connsiteY9685"/>
                </a:cxn>
                <a:cxn ang="0">
                  <a:pos x="connsiteX9686" y="connsiteY9686"/>
                </a:cxn>
                <a:cxn ang="0">
                  <a:pos x="connsiteX9687" y="connsiteY9687"/>
                </a:cxn>
                <a:cxn ang="0">
                  <a:pos x="connsiteX9688" y="connsiteY9688"/>
                </a:cxn>
                <a:cxn ang="0">
                  <a:pos x="connsiteX9689" y="connsiteY9689"/>
                </a:cxn>
                <a:cxn ang="0">
                  <a:pos x="connsiteX9690" y="connsiteY9690"/>
                </a:cxn>
                <a:cxn ang="0">
                  <a:pos x="connsiteX9691" y="connsiteY9691"/>
                </a:cxn>
                <a:cxn ang="0">
                  <a:pos x="connsiteX9692" y="connsiteY9692"/>
                </a:cxn>
                <a:cxn ang="0">
                  <a:pos x="connsiteX9693" y="connsiteY9693"/>
                </a:cxn>
                <a:cxn ang="0">
                  <a:pos x="connsiteX9694" y="connsiteY9694"/>
                </a:cxn>
                <a:cxn ang="0">
                  <a:pos x="connsiteX9695" y="connsiteY9695"/>
                </a:cxn>
                <a:cxn ang="0">
                  <a:pos x="connsiteX9696" y="connsiteY9696"/>
                </a:cxn>
                <a:cxn ang="0">
                  <a:pos x="connsiteX9697" y="connsiteY9697"/>
                </a:cxn>
                <a:cxn ang="0">
                  <a:pos x="connsiteX9698" y="connsiteY9698"/>
                </a:cxn>
                <a:cxn ang="0">
                  <a:pos x="connsiteX9699" y="connsiteY9699"/>
                </a:cxn>
                <a:cxn ang="0">
                  <a:pos x="connsiteX9700" y="connsiteY9700"/>
                </a:cxn>
                <a:cxn ang="0">
                  <a:pos x="connsiteX9701" y="connsiteY9701"/>
                </a:cxn>
                <a:cxn ang="0">
                  <a:pos x="connsiteX9702" y="connsiteY9702"/>
                </a:cxn>
                <a:cxn ang="0">
                  <a:pos x="connsiteX9703" y="connsiteY9703"/>
                </a:cxn>
                <a:cxn ang="0">
                  <a:pos x="connsiteX9704" y="connsiteY9704"/>
                </a:cxn>
                <a:cxn ang="0">
                  <a:pos x="connsiteX9705" y="connsiteY9705"/>
                </a:cxn>
                <a:cxn ang="0">
                  <a:pos x="connsiteX9706" y="connsiteY9706"/>
                </a:cxn>
                <a:cxn ang="0">
                  <a:pos x="connsiteX9707" y="connsiteY9707"/>
                </a:cxn>
                <a:cxn ang="0">
                  <a:pos x="connsiteX9708" y="connsiteY9708"/>
                </a:cxn>
                <a:cxn ang="0">
                  <a:pos x="connsiteX9709" y="connsiteY9709"/>
                </a:cxn>
                <a:cxn ang="0">
                  <a:pos x="connsiteX9710" y="connsiteY9710"/>
                </a:cxn>
                <a:cxn ang="0">
                  <a:pos x="connsiteX9711" y="connsiteY9711"/>
                </a:cxn>
                <a:cxn ang="0">
                  <a:pos x="connsiteX9712" y="connsiteY9712"/>
                </a:cxn>
                <a:cxn ang="0">
                  <a:pos x="connsiteX9713" y="connsiteY9713"/>
                </a:cxn>
                <a:cxn ang="0">
                  <a:pos x="connsiteX9714" y="connsiteY9714"/>
                </a:cxn>
                <a:cxn ang="0">
                  <a:pos x="connsiteX9715" y="connsiteY9715"/>
                </a:cxn>
                <a:cxn ang="0">
                  <a:pos x="connsiteX9716" y="connsiteY9716"/>
                </a:cxn>
                <a:cxn ang="0">
                  <a:pos x="connsiteX9717" y="connsiteY9717"/>
                </a:cxn>
                <a:cxn ang="0">
                  <a:pos x="connsiteX9718" y="connsiteY9718"/>
                </a:cxn>
                <a:cxn ang="0">
                  <a:pos x="connsiteX9719" y="connsiteY9719"/>
                </a:cxn>
                <a:cxn ang="0">
                  <a:pos x="connsiteX9720" y="connsiteY9720"/>
                </a:cxn>
                <a:cxn ang="0">
                  <a:pos x="connsiteX9721" y="connsiteY9721"/>
                </a:cxn>
                <a:cxn ang="0">
                  <a:pos x="connsiteX9722" y="connsiteY9722"/>
                </a:cxn>
                <a:cxn ang="0">
                  <a:pos x="connsiteX9723" y="connsiteY9723"/>
                </a:cxn>
                <a:cxn ang="0">
                  <a:pos x="connsiteX9724" y="connsiteY9724"/>
                </a:cxn>
                <a:cxn ang="0">
                  <a:pos x="connsiteX9725" y="connsiteY9725"/>
                </a:cxn>
                <a:cxn ang="0">
                  <a:pos x="connsiteX9726" y="connsiteY9726"/>
                </a:cxn>
                <a:cxn ang="0">
                  <a:pos x="connsiteX9727" y="connsiteY9727"/>
                </a:cxn>
                <a:cxn ang="0">
                  <a:pos x="connsiteX9728" y="connsiteY9728"/>
                </a:cxn>
                <a:cxn ang="0">
                  <a:pos x="connsiteX9729" y="connsiteY9729"/>
                </a:cxn>
                <a:cxn ang="0">
                  <a:pos x="connsiteX9730" y="connsiteY9730"/>
                </a:cxn>
                <a:cxn ang="0">
                  <a:pos x="connsiteX9731" y="connsiteY9731"/>
                </a:cxn>
                <a:cxn ang="0">
                  <a:pos x="connsiteX9732" y="connsiteY9732"/>
                </a:cxn>
                <a:cxn ang="0">
                  <a:pos x="connsiteX9733" y="connsiteY9733"/>
                </a:cxn>
                <a:cxn ang="0">
                  <a:pos x="connsiteX9734" y="connsiteY9734"/>
                </a:cxn>
                <a:cxn ang="0">
                  <a:pos x="connsiteX9735" y="connsiteY9735"/>
                </a:cxn>
                <a:cxn ang="0">
                  <a:pos x="connsiteX9736" y="connsiteY9736"/>
                </a:cxn>
                <a:cxn ang="0">
                  <a:pos x="connsiteX9737" y="connsiteY9737"/>
                </a:cxn>
                <a:cxn ang="0">
                  <a:pos x="connsiteX9738" y="connsiteY9738"/>
                </a:cxn>
                <a:cxn ang="0">
                  <a:pos x="connsiteX9739" y="connsiteY9739"/>
                </a:cxn>
                <a:cxn ang="0">
                  <a:pos x="connsiteX9740" y="connsiteY9740"/>
                </a:cxn>
                <a:cxn ang="0">
                  <a:pos x="connsiteX9741" y="connsiteY9741"/>
                </a:cxn>
                <a:cxn ang="0">
                  <a:pos x="connsiteX9742" y="connsiteY9742"/>
                </a:cxn>
                <a:cxn ang="0">
                  <a:pos x="connsiteX9743" y="connsiteY9743"/>
                </a:cxn>
                <a:cxn ang="0">
                  <a:pos x="connsiteX9744" y="connsiteY9744"/>
                </a:cxn>
                <a:cxn ang="0">
                  <a:pos x="connsiteX9745" y="connsiteY9745"/>
                </a:cxn>
                <a:cxn ang="0">
                  <a:pos x="connsiteX9746" y="connsiteY9746"/>
                </a:cxn>
                <a:cxn ang="0">
                  <a:pos x="connsiteX9747" y="connsiteY9747"/>
                </a:cxn>
                <a:cxn ang="0">
                  <a:pos x="connsiteX9748" y="connsiteY9748"/>
                </a:cxn>
                <a:cxn ang="0">
                  <a:pos x="connsiteX9749" y="connsiteY9749"/>
                </a:cxn>
                <a:cxn ang="0">
                  <a:pos x="connsiteX9750" y="connsiteY9750"/>
                </a:cxn>
                <a:cxn ang="0">
                  <a:pos x="connsiteX9751" y="connsiteY9751"/>
                </a:cxn>
                <a:cxn ang="0">
                  <a:pos x="connsiteX9752" y="connsiteY9752"/>
                </a:cxn>
                <a:cxn ang="0">
                  <a:pos x="connsiteX9753" y="connsiteY9753"/>
                </a:cxn>
                <a:cxn ang="0">
                  <a:pos x="connsiteX9754" y="connsiteY9754"/>
                </a:cxn>
                <a:cxn ang="0">
                  <a:pos x="connsiteX9755" y="connsiteY9755"/>
                </a:cxn>
                <a:cxn ang="0">
                  <a:pos x="connsiteX9756" y="connsiteY9756"/>
                </a:cxn>
                <a:cxn ang="0">
                  <a:pos x="connsiteX9757" y="connsiteY9757"/>
                </a:cxn>
                <a:cxn ang="0">
                  <a:pos x="connsiteX9758" y="connsiteY9758"/>
                </a:cxn>
                <a:cxn ang="0">
                  <a:pos x="connsiteX9759" y="connsiteY9759"/>
                </a:cxn>
                <a:cxn ang="0">
                  <a:pos x="connsiteX9760" y="connsiteY9760"/>
                </a:cxn>
                <a:cxn ang="0">
                  <a:pos x="connsiteX9761" y="connsiteY9761"/>
                </a:cxn>
                <a:cxn ang="0">
                  <a:pos x="connsiteX9762" y="connsiteY9762"/>
                </a:cxn>
                <a:cxn ang="0">
                  <a:pos x="connsiteX9763" y="connsiteY9763"/>
                </a:cxn>
                <a:cxn ang="0">
                  <a:pos x="connsiteX9764" y="connsiteY9764"/>
                </a:cxn>
                <a:cxn ang="0">
                  <a:pos x="connsiteX9765" y="connsiteY9765"/>
                </a:cxn>
                <a:cxn ang="0">
                  <a:pos x="connsiteX9766" y="connsiteY9766"/>
                </a:cxn>
                <a:cxn ang="0">
                  <a:pos x="connsiteX9767" y="connsiteY9767"/>
                </a:cxn>
                <a:cxn ang="0">
                  <a:pos x="connsiteX9768" y="connsiteY9768"/>
                </a:cxn>
                <a:cxn ang="0">
                  <a:pos x="connsiteX9769" y="connsiteY9769"/>
                </a:cxn>
                <a:cxn ang="0">
                  <a:pos x="connsiteX9770" y="connsiteY9770"/>
                </a:cxn>
                <a:cxn ang="0">
                  <a:pos x="connsiteX9771" y="connsiteY9771"/>
                </a:cxn>
                <a:cxn ang="0">
                  <a:pos x="connsiteX9772" y="connsiteY9772"/>
                </a:cxn>
                <a:cxn ang="0">
                  <a:pos x="connsiteX9773" y="connsiteY9773"/>
                </a:cxn>
                <a:cxn ang="0">
                  <a:pos x="connsiteX9774" y="connsiteY9774"/>
                </a:cxn>
                <a:cxn ang="0">
                  <a:pos x="connsiteX9775" y="connsiteY9775"/>
                </a:cxn>
                <a:cxn ang="0">
                  <a:pos x="connsiteX9776" y="connsiteY9776"/>
                </a:cxn>
                <a:cxn ang="0">
                  <a:pos x="connsiteX9777" y="connsiteY9777"/>
                </a:cxn>
                <a:cxn ang="0">
                  <a:pos x="connsiteX9778" y="connsiteY9778"/>
                </a:cxn>
                <a:cxn ang="0">
                  <a:pos x="connsiteX9779" y="connsiteY9779"/>
                </a:cxn>
                <a:cxn ang="0">
                  <a:pos x="connsiteX9780" y="connsiteY9780"/>
                </a:cxn>
                <a:cxn ang="0">
                  <a:pos x="connsiteX9781" y="connsiteY9781"/>
                </a:cxn>
                <a:cxn ang="0">
                  <a:pos x="connsiteX9782" y="connsiteY9782"/>
                </a:cxn>
                <a:cxn ang="0">
                  <a:pos x="connsiteX9783" y="connsiteY9783"/>
                </a:cxn>
                <a:cxn ang="0">
                  <a:pos x="connsiteX9784" y="connsiteY9784"/>
                </a:cxn>
                <a:cxn ang="0">
                  <a:pos x="connsiteX9785" y="connsiteY9785"/>
                </a:cxn>
                <a:cxn ang="0">
                  <a:pos x="connsiteX9786" y="connsiteY9786"/>
                </a:cxn>
                <a:cxn ang="0">
                  <a:pos x="connsiteX9787" y="connsiteY9787"/>
                </a:cxn>
                <a:cxn ang="0">
                  <a:pos x="connsiteX9788" y="connsiteY9788"/>
                </a:cxn>
                <a:cxn ang="0">
                  <a:pos x="connsiteX9789" y="connsiteY9789"/>
                </a:cxn>
                <a:cxn ang="0">
                  <a:pos x="connsiteX9790" y="connsiteY9790"/>
                </a:cxn>
                <a:cxn ang="0">
                  <a:pos x="connsiteX9791" y="connsiteY9791"/>
                </a:cxn>
                <a:cxn ang="0">
                  <a:pos x="connsiteX9792" y="connsiteY9792"/>
                </a:cxn>
                <a:cxn ang="0">
                  <a:pos x="connsiteX9793" y="connsiteY9793"/>
                </a:cxn>
                <a:cxn ang="0">
                  <a:pos x="connsiteX9794" y="connsiteY9794"/>
                </a:cxn>
                <a:cxn ang="0">
                  <a:pos x="connsiteX9795" y="connsiteY9795"/>
                </a:cxn>
                <a:cxn ang="0">
                  <a:pos x="connsiteX9796" y="connsiteY9796"/>
                </a:cxn>
                <a:cxn ang="0">
                  <a:pos x="connsiteX9797" y="connsiteY9797"/>
                </a:cxn>
                <a:cxn ang="0">
                  <a:pos x="connsiteX9798" y="connsiteY9798"/>
                </a:cxn>
                <a:cxn ang="0">
                  <a:pos x="connsiteX9799" y="connsiteY9799"/>
                </a:cxn>
                <a:cxn ang="0">
                  <a:pos x="connsiteX9800" y="connsiteY9800"/>
                </a:cxn>
                <a:cxn ang="0">
                  <a:pos x="connsiteX9801" y="connsiteY9801"/>
                </a:cxn>
                <a:cxn ang="0">
                  <a:pos x="connsiteX9802" y="connsiteY9802"/>
                </a:cxn>
                <a:cxn ang="0">
                  <a:pos x="connsiteX9803" y="connsiteY9803"/>
                </a:cxn>
                <a:cxn ang="0">
                  <a:pos x="connsiteX9804" y="connsiteY9804"/>
                </a:cxn>
                <a:cxn ang="0">
                  <a:pos x="connsiteX9805" y="connsiteY9805"/>
                </a:cxn>
                <a:cxn ang="0">
                  <a:pos x="connsiteX9806" y="connsiteY9806"/>
                </a:cxn>
                <a:cxn ang="0">
                  <a:pos x="connsiteX9807" y="connsiteY9807"/>
                </a:cxn>
                <a:cxn ang="0">
                  <a:pos x="connsiteX9808" y="connsiteY9808"/>
                </a:cxn>
                <a:cxn ang="0">
                  <a:pos x="connsiteX9809" y="connsiteY9809"/>
                </a:cxn>
                <a:cxn ang="0">
                  <a:pos x="connsiteX9810" y="connsiteY9810"/>
                </a:cxn>
                <a:cxn ang="0">
                  <a:pos x="connsiteX9811" y="connsiteY9811"/>
                </a:cxn>
                <a:cxn ang="0">
                  <a:pos x="connsiteX9812" y="connsiteY9812"/>
                </a:cxn>
                <a:cxn ang="0">
                  <a:pos x="connsiteX9813" y="connsiteY9813"/>
                </a:cxn>
                <a:cxn ang="0">
                  <a:pos x="connsiteX9814" y="connsiteY9814"/>
                </a:cxn>
                <a:cxn ang="0">
                  <a:pos x="connsiteX9815" y="connsiteY9815"/>
                </a:cxn>
                <a:cxn ang="0">
                  <a:pos x="connsiteX9816" y="connsiteY9816"/>
                </a:cxn>
                <a:cxn ang="0">
                  <a:pos x="connsiteX9817" y="connsiteY9817"/>
                </a:cxn>
                <a:cxn ang="0">
                  <a:pos x="connsiteX9818" y="connsiteY9818"/>
                </a:cxn>
                <a:cxn ang="0">
                  <a:pos x="connsiteX9819" y="connsiteY9819"/>
                </a:cxn>
                <a:cxn ang="0">
                  <a:pos x="connsiteX9820" y="connsiteY9820"/>
                </a:cxn>
                <a:cxn ang="0">
                  <a:pos x="connsiteX9821" y="connsiteY9821"/>
                </a:cxn>
                <a:cxn ang="0">
                  <a:pos x="connsiteX9822" y="connsiteY9822"/>
                </a:cxn>
                <a:cxn ang="0">
                  <a:pos x="connsiteX9823" y="connsiteY9823"/>
                </a:cxn>
                <a:cxn ang="0">
                  <a:pos x="connsiteX9824" y="connsiteY9824"/>
                </a:cxn>
                <a:cxn ang="0">
                  <a:pos x="connsiteX9825" y="connsiteY9825"/>
                </a:cxn>
                <a:cxn ang="0">
                  <a:pos x="connsiteX9826" y="connsiteY9826"/>
                </a:cxn>
                <a:cxn ang="0">
                  <a:pos x="connsiteX9827" y="connsiteY9827"/>
                </a:cxn>
                <a:cxn ang="0">
                  <a:pos x="connsiteX9828" y="connsiteY9828"/>
                </a:cxn>
                <a:cxn ang="0">
                  <a:pos x="connsiteX9829" y="connsiteY9829"/>
                </a:cxn>
                <a:cxn ang="0">
                  <a:pos x="connsiteX9830" y="connsiteY9830"/>
                </a:cxn>
                <a:cxn ang="0">
                  <a:pos x="connsiteX9831" y="connsiteY9831"/>
                </a:cxn>
                <a:cxn ang="0">
                  <a:pos x="connsiteX9832" y="connsiteY9832"/>
                </a:cxn>
                <a:cxn ang="0">
                  <a:pos x="connsiteX9833" y="connsiteY9833"/>
                </a:cxn>
                <a:cxn ang="0">
                  <a:pos x="connsiteX9834" y="connsiteY9834"/>
                </a:cxn>
                <a:cxn ang="0">
                  <a:pos x="connsiteX9835" y="connsiteY9835"/>
                </a:cxn>
                <a:cxn ang="0">
                  <a:pos x="connsiteX9836" y="connsiteY9836"/>
                </a:cxn>
                <a:cxn ang="0">
                  <a:pos x="connsiteX9837" y="connsiteY9837"/>
                </a:cxn>
                <a:cxn ang="0">
                  <a:pos x="connsiteX9838" y="connsiteY9838"/>
                </a:cxn>
                <a:cxn ang="0">
                  <a:pos x="connsiteX9839" y="connsiteY9839"/>
                </a:cxn>
                <a:cxn ang="0">
                  <a:pos x="connsiteX9840" y="connsiteY9840"/>
                </a:cxn>
                <a:cxn ang="0">
                  <a:pos x="connsiteX9841" y="connsiteY9841"/>
                </a:cxn>
                <a:cxn ang="0">
                  <a:pos x="connsiteX9842" y="connsiteY9842"/>
                </a:cxn>
                <a:cxn ang="0">
                  <a:pos x="connsiteX9843" y="connsiteY9843"/>
                </a:cxn>
                <a:cxn ang="0">
                  <a:pos x="connsiteX9844" y="connsiteY9844"/>
                </a:cxn>
                <a:cxn ang="0">
                  <a:pos x="connsiteX9845" y="connsiteY9845"/>
                </a:cxn>
                <a:cxn ang="0">
                  <a:pos x="connsiteX9846" y="connsiteY9846"/>
                </a:cxn>
                <a:cxn ang="0">
                  <a:pos x="connsiteX9847" y="connsiteY9847"/>
                </a:cxn>
                <a:cxn ang="0">
                  <a:pos x="connsiteX9848" y="connsiteY9848"/>
                </a:cxn>
                <a:cxn ang="0">
                  <a:pos x="connsiteX9849" y="connsiteY9849"/>
                </a:cxn>
                <a:cxn ang="0">
                  <a:pos x="connsiteX9850" y="connsiteY9850"/>
                </a:cxn>
                <a:cxn ang="0">
                  <a:pos x="connsiteX9851" y="connsiteY9851"/>
                </a:cxn>
                <a:cxn ang="0">
                  <a:pos x="connsiteX9852" y="connsiteY9852"/>
                </a:cxn>
                <a:cxn ang="0">
                  <a:pos x="connsiteX9853" y="connsiteY9853"/>
                </a:cxn>
                <a:cxn ang="0">
                  <a:pos x="connsiteX9854" y="connsiteY9854"/>
                </a:cxn>
                <a:cxn ang="0">
                  <a:pos x="connsiteX9855" y="connsiteY9855"/>
                </a:cxn>
                <a:cxn ang="0">
                  <a:pos x="connsiteX9856" y="connsiteY9856"/>
                </a:cxn>
                <a:cxn ang="0">
                  <a:pos x="connsiteX9857" y="connsiteY9857"/>
                </a:cxn>
                <a:cxn ang="0">
                  <a:pos x="connsiteX9858" y="connsiteY9858"/>
                </a:cxn>
                <a:cxn ang="0">
                  <a:pos x="connsiteX9859" y="connsiteY9859"/>
                </a:cxn>
                <a:cxn ang="0">
                  <a:pos x="connsiteX9860" y="connsiteY9860"/>
                </a:cxn>
                <a:cxn ang="0">
                  <a:pos x="connsiteX9861" y="connsiteY9861"/>
                </a:cxn>
                <a:cxn ang="0">
                  <a:pos x="connsiteX9862" y="connsiteY9862"/>
                </a:cxn>
                <a:cxn ang="0">
                  <a:pos x="connsiteX9863" y="connsiteY9863"/>
                </a:cxn>
                <a:cxn ang="0">
                  <a:pos x="connsiteX9864" y="connsiteY9864"/>
                </a:cxn>
                <a:cxn ang="0">
                  <a:pos x="connsiteX9865" y="connsiteY9865"/>
                </a:cxn>
                <a:cxn ang="0">
                  <a:pos x="connsiteX9866" y="connsiteY9866"/>
                </a:cxn>
                <a:cxn ang="0">
                  <a:pos x="connsiteX9867" y="connsiteY9867"/>
                </a:cxn>
                <a:cxn ang="0">
                  <a:pos x="connsiteX9868" y="connsiteY9868"/>
                </a:cxn>
                <a:cxn ang="0">
                  <a:pos x="connsiteX9869" y="connsiteY9869"/>
                </a:cxn>
                <a:cxn ang="0">
                  <a:pos x="connsiteX9870" y="connsiteY9870"/>
                </a:cxn>
                <a:cxn ang="0">
                  <a:pos x="connsiteX9871" y="connsiteY9871"/>
                </a:cxn>
                <a:cxn ang="0">
                  <a:pos x="connsiteX9872" y="connsiteY9872"/>
                </a:cxn>
                <a:cxn ang="0">
                  <a:pos x="connsiteX9873" y="connsiteY9873"/>
                </a:cxn>
                <a:cxn ang="0">
                  <a:pos x="connsiteX9874" y="connsiteY9874"/>
                </a:cxn>
                <a:cxn ang="0">
                  <a:pos x="connsiteX9875" y="connsiteY9875"/>
                </a:cxn>
                <a:cxn ang="0">
                  <a:pos x="connsiteX9876" y="connsiteY9876"/>
                </a:cxn>
                <a:cxn ang="0">
                  <a:pos x="connsiteX9877" y="connsiteY9877"/>
                </a:cxn>
                <a:cxn ang="0">
                  <a:pos x="connsiteX9878" y="connsiteY9878"/>
                </a:cxn>
                <a:cxn ang="0">
                  <a:pos x="connsiteX9879" y="connsiteY9879"/>
                </a:cxn>
                <a:cxn ang="0">
                  <a:pos x="connsiteX9880" y="connsiteY9880"/>
                </a:cxn>
                <a:cxn ang="0">
                  <a:pos x="connsiteX9881" y="connsiteY9881"/>
                </a:cxn>
                <a:cxn ang="0">
                  <a:pos x="connsiteX9882" y="connsiteY9882"/>
                </a:cxn>
                <a:cxn ang="0">
                  <a:pos x="connsiteX9883" y="connsiteY9883"/>
                </a:cxn>
                <a:cxn ang="0">
                  <a:pos x="connsiteX9884" y="connsiteY9884"/>
                </a:cxn>
                <a:cxn ang="0">
                  <a:pos x="connsiteX9885" y="connsiteY9885"/>
                </a:cxn>
                <a:cxn ang="0">
                  <a:pos x="connsiteX9886" y="connsiteY9886"/>
                </a:cxn>
                <a:cxn ang="0">
                  <a:pos x="connsiteX9887" y="connsiteY9887"/>
                </a:cxn>
                <a:cxn ang="0">
                  <a:pos x="connsiteX9888" y="connsiteY9888"/>
                </a:cxn>
                <a:cxn ang="0">
                  <a:pos x="connsiteX9889" y="connsiteY9889"/>
                </a:cxn>
                <a:cxn ang="0">
                  <a:pos x="connsiteX9890" y="connsiteY9890"/>
                </a:cxn>
                <a:cxn ang="0">
                  <a:pos x="connsiteX9891" y="connsiteY9891"/>
                </a:cxn>
                <a:cxn ang="0">
                  <a:pos x="connsiteX9892" y="connsiteY9892"/>
                </a:cxn>
                <a:cxn ang="0">
                  <a:pos x="connsiteX9893" y="connsiteY9893"/>
                </a:cxn>
                <a:cxn ang="0">
                  <a:pos x="connsiteX9894" y="connsiteY9894"/>
                </a:cxn>
                <a:cxn ang="0">
                  <a:pos x="connsiteX9895" y="connsiteY9895"/>
                </a:cxn>
                <a:cxn ang="0">
                  <a:pos x="connsiteX9896" y="connsiteY9896"/>
                </a:cxn>
                <a:cxn ang="0">
                  <a:pos x="connsiteX9897" y="connsiteY9897"/>
                </a:cxn>
                <a:cxn ang="0">
                  <a:pos x="connsiteX9898" y="connsiteY9898"/>
                </a:cxn>
                <a:cxn ang="0">
                  <a:pos x="connsiteX9899" y="connsiteY9899"/>
                </a:cxn>
                <a:cxn ang="0">
                  <a:pos x="connsiteX9900" y="connsiteY9900"/>
                </a:cxn>
                <a:cxn ang="0">
                  <a:pos x="connsiteX9901" y="connsiteY9901"/>
                </a:cxn>
                <a:cxn ang="0">
                  <a:pos x="connsiteX9902" y="connsiteY9902"/>
                </a:cxn>
                <a:cxn ang="0">
                  <a:pos x="connsiteX9903" y="connsiteY9903"/>
                </a:cxn>
                <a:cxn ang="0">
                  <a:pos x="connsiteX9904" y="connsiteY9904"/>
                </a:cxn>
                <a:cxn ang="0">
                  <a:pos x="connsiteX9905" y="connsiteY9905"/>
                </a:cxn>
                <a:cxn ang="0">
                  <a:pos x="connsiteX9906" y="connsiteY9906"/>
                </a:cxn>
                <a:cxn ang="0">
                  <a:pos x="connsiteX9907" y="connsiteY9907"/>
                </a:cxn>
                <a:cxn ang="0">
                  <a:pos x="connsiteX9908" y="connsiteY9908"/>
                </a:cxn>
                <a:cxn ang="0">
                  <a:pos x="connsiteX9909" y="connsiteY9909"/>
                </a:cxn>
                <a:cxn ang="0">
                  <a:pos x="connsiteX9910" y="connsiteY9910"/>
                </a:cxn>
                <a:cxn ang="0">
                  <a:pos x="connsiteX9911" y="connsiteY9911"/>
                </a:cxn>
                <a:cxn ang="0">
                  <a:pos x="connsiteX9912" y="connsiteY9912"/>
                </a:cxn>
                <a:cxn ang="0">
                  <a:pos x="connsiteX9913" y="connsiteY9913"/>
                </a:cxn>
                <a:cxn ang="0">
                  <a:pos x="connsiteX9914" y="connsiteY9914"/>
                </a:cxn>
                <a:cxn ang="0">
                  <a:pos x="connsiteX9915" y="connsiteY9915"/>
                </a:cxn>
                <a:cxn ang="0">
                  <a:pos x="connsiteX9916" y="connsiteY9916"/>
                </a:cxn>
                <a:cxn ang="0">
                  <a:pos x="connsiteX9917" y="connsiteY9917"/>
                </a:cxn>
                <a:cxn ang="0">
                  <a:pos x="connsiteX9918" y="connsiteY9918"/>
                </a:cxn>
                <a:cxn ang="0">
                  <a:pos x="connsiteX9919" y="connsiteY9919"/>
                </a:cxn>
                <a:cxn ang="0">
                  <a:pos x="connsiteX9920" y="connsiteY9920"/>
                </a:cxn>
                <a:cxn ang="0">
                  <a:pos x="connsiteX9921" y="connsiteY9921"/>
                </a:cxn>
                <a:cxn ang="0">
                  <a:pos x="connsiteX9922" y="connsiteY9922"/>
                </a:cxn>
                <a:cxn ang="0">
                  <a:pos x="connsiteX9923" y="connsiteY9923"/>
                </a:cxn>
                <a:cxn ang="0">
                  <a:pos x="connsiteX9924" y="connsiteY9924"/>
                </a:cxn>
                <a:cxn ang="0">
                  <a:pos x="connsiteX9925" y="connsiteY9925"/>
                </a:cxn>
                <a:cxn ang="0">
                  <a:pos x="connsiteX9926" y="connsiteY9926"/>
                </a:cxn>
                <a:cxn ang="0">
                  <a:pos x="connsiteX9927" y="connsiteY9927"/>
                </a:cxn>
                <a:cxn ang="0">
                  <a:pos x="connsiteX9928" y="connsiteY9928"/>
                </a:cxn>
                <a:cxn ang="0">
                  <a:pos x="connsiteX9929" y="connsiteY9929"/>
                </a:cxn>
                <a:cxn ang="0">
                  <a:pos x="connsiteX9930" y="connsiteY9930"/>
                </a:cxn>
                <a:cxn ang="0">
                  <a:pos x="connsiteX9931" y="connsiteY9931"/>
                </a:cxn>
                <a:cxn ang="0">
                  <a:pos x="connsiteX9932" y="connsiteY9932"/>
                </a:cxn>
                <a:cxn ang="0">
                  <a:pos x="connsiteX9933" y="connsiteY9933"/>
                </a:cxn>
                <a:cxn ang="0">
                  <a:pos x="connsiteX9934" y="connsiteY9934"/>
                </a:cxn>
                <a:cxn ang="0">
                  <a:pos x="connsiteX9935" y="connsiteY9935"/>
                </a:cxn>
                <a:cxn ang="0">
                  <a:pos x="connsiteX9936" y="connsiteY9936"/>
                </a:cxn>
                <a:cxn ang="0">
                  <a:pos x="connsiteX9937" y="connsiteY9937"/>
                </a:cxn>
                <a:cxn ang="0">
                  <a:pos x="connsiteX9938" y="connsiteY9938"/>
                </a:cxn>
                <a:cxn ang="0">
                  <a:pos x="connsiteX9939" y="connsiteY9939"/>
                </a:cxn>
                <a:cxn ang="0">
                  <a:pos x="connsiteX9940" y="connsiteY9940"/>
                </a:cxn>
                <a:cxn ang="0">
                  <a:pos x="connsiteX9941" y="connsiteY9941"/>
                </a:cxn>
                <a:cxn ang="0">
                  <a:pos x="connsiteX9942" y="connsiteY9942"/>
                </a:cxn>
                <a:cxn ang="0">
                  <a:pos x="connsiteX9943" y="connsiteY9943"/>
                </a:cxn>
                <a:cxn ang="0">
                  <a:pos x="connsiteX9944" y="connsiteY9944"/>
                </a:cxn>
                <a:cxn ang="0">
                  <a:pos x="connsiteX9945" y="connsiteY9945"/>
                </a:cxn>
                <a:cxn ang="0">
                  <a:pos x="connsiteX9946" y="connsiteY9946"/>
                </a:cxn>
                <a:cxn ang="0">
                  <a:pos x="connsiteX9947" y="connsiteY9947"/>
                </a:cxn>
                <a:cxn ang="0">
                  <a:pos x="connsiteX9948" y="connsiteY9948"/>
                </a:cxn>
                <a:cxn ang="0">
                  <a:pos x="connsiteX9949" y="connsiteY9949"/>
                </a:cxn>
                <a:cxn ang="0">
                  <a:pos x="connsiteX9950" y="connsiteY9950"/>
                </a:cxn>
                <a:cxn ang="0">
                  <a:pos x="connsiteX9951" y="connsiteY9951"/>
                </a:cxn>
                <a:cxn ang="0">
                  <a:pos x="connsiteX9952" y="connsiteY9952"/>
                </a:cxn>
                <a:cxn ang="0">
                  <a:pos x="connsiteX9953" y="connsiteY9953"/>
                </a:cxn>
                <a:cxn ang="0">
                  <a:pos x="connsiteX9954" y="connsiteY9954"/>
                </a:cxn>
                <a:cxn ang="0">
                  <a:pos x="connsiteX9955" y="connsiteY9955"/>
                </a:cxn>
                <a:cxn ang="0">
                  <a:pos x="connsiteX9956" y="connsiteY9956"/>
                </a:cxn>
                <a:cxn ang="0">
                  <a:pos x="connsiteX9957" y="connsiteY9957"/>
                </a:cxn>
                <a:cxn ang="0">
                  <a:pos x="connsiteX9958" y="connsiteY9958"/>
                </a:cxn>
                <a:cxn ang="0">
                  <a:pos x="connsiteX9959" y="connsiteY9959"/>
                </a:cxn>
                <a:cxn ang="0">
                  <a:pos x="connsiteX9960" y="connsiteY9960"/>
                </a:cxn>
                <a:cxn ang="0">
                  <a:pos x="connsiteX9961" y="connsiteY9961"/>
                </a:cxn>
                <a:cxn ang="0">
                  <a:pos x="connsiteX9962" y="connsiteY9962"/>
                </a:cxn>
                <a:cxn ang="0">
                  <a:pos x="connsiteX9963" y="connsiteY9963"/>
                </a:cxn>
                <a:cxn ang="0">
                  <a:pos x="connsiteX9964" y="connsiteY9964"/>
                </a:cxn>
                <a:cxn ang="0">
                  <a:pos x="connsiteX9965" y="connsiteY9965"/>
                </a:cxn>
                <a:cxn ang="0">
                  <a:pos x="connsiteX9966" y="connsiteY9966"/>
                </a:cxn>
                <a:cxn ang="0">
                  <a:pos x="connsiteX9967" y="connsiteY9967"/>
                </a:cxn>
                <a:cxn ang="0">
                  <a:pos x="connsiteX9968" y="connsiteY9968"/>
                </a:cxn>
                <a:cxn ang="0">
                  <a:pos x="connsiteX9969" y="connsiteY9969"/>
                </a:cxn>
                <a:cxn ang="0">
                  <a:pos x="connsiteX9970" y="connsiteY9970"/>
                </a:cxn>
                <a:cxn ang="0">
                  <a:pos x="connsiteX9971" y="connsiteY9971"/>
                </a:cxn>
                <a:cxn ang="0">
                  <a:pos x="connsiteX9972" y="connsiteY9972"/>
                </a:cxn>
                <a:cxn ang="0">
                  <a:pos x="connsiteX9973" y="connsiteY9973"/>
                </a:cxn>
                <a:cxn ang="0">
                  <a:pos x="connsiteX9974" y="connsiteY9974"/>
                </a:cxn>
                <a:cxn ang="0">
                  <a:pos x="connsiteX9975" y="connsiteY9975"/>
                </a:cxn>
                <a:cxn ang="0">
                  <a:pos x="connsiteX9976" y="connsiteY9976"/>
                </a:cxn>
                <a:cxn ang="0">
                  <a:pos x="connsiteX9977" y="connsiteY9977"/>
                </a:cxn>
                <a:cxn ang="0">
                  <a:pos x="connsiteX9978" y="connsiteY9978"/>
                </a:cxn>
                <a:cxn ang="0">
                  <a:pos x="connsiteX9979" y="connsiteY9979"/>
                </a:cxn>
                <a:cxn ang="0">
                  <a:pos x="connsiteX9980" y="connsiteY9980"/>
                </a:cxn>
                <a:cxn ang="0">
                  <a:pos x="connsiteX9981" y="connsiteY9981"/>
                </a:cxn>
                <a:cxn ang="0">
                  <a:pos x="connsiteX9982" y="connsiteY9982"/>
                </a:cxn>
                <a:cxn ang="0">
                  <a:pos x="connsiteX9983" y="connsiteY9983"/>
                </a:cxn>
                <a:cxn ang="0">
                  <a:pos x="connsiteX9984" y="connsiteY9984"/>
                </a:cxn>
                <a:cxn ang="0">
                  <a:pos x="connsiteX9985" y="connsiteY9985"/>
                </a:cxn>
                <a:cxn ang="0">
                  <a:pos x="connsiteX9986" y="connsiteY9986"/>
                </a:cxn>
                <a:cxn ang="0">
                  <a:pos x="connsiteX9987" y="connsiteY9987"/>
                </a:cxn>
                <a:cxn ang="0">
                  <a:pos x="connsiteX9988" y="connsiteY9988"/>
                </a:cxn>
                <a:cxn ang="0">
                  <a:pos x="connsiteX9989" y="connsiteY9989"/>
                </a:cxn>
                <a:cxn ang="0">
                  <a:pos x="connsiteX9990" y="connsiteY9990"/>
                </a:cxn>
                <a:cxn ang="0">
                  <a:pos x="connsiteX9991" y="connsiteY9991"/>
                </a:cxn>
                <a:cxn ang="0">
                  <a:pos x="connsiteX9992" y="connsiteY9992"/>
                </a:cxn>
                <a:cxn ang="0">
                  <a:pos x="connsiteX9993" y="connsiteY9993"/>
                </a:cxn>
                <a:cxn ang="0">
                  <a:pos x="connsiteX9994" y="connsiteY9994"/>
                </a:cxn>
                <a:cxn ang="0">
                  <a:pos x="connsiteX9995" y="connsiteY9995"/>
                </a:cxn>
                <a:cxn ang="0">
                  <a:pos x="connsiteX9996" y="connsiteY9996"/>
                </a:cxn>
                <a:cxn ang="0">
                  <a:pos x="connsiteX9997" y="connsiteY9997"/>
                </a:cxn>
                <a:cxn ang="0">
                  <a:pos x="connsiteX9998" y="connsiteY9998"/>
                </a:cxn>
                <a:cxn ang="0">
                  <a:pos x="connsiteX9999" y="connsiteY9999"/>
                </a:cxn>
                <a:cxn ang="0">
                  <a:pos x="connsiteX10000" y="connsiteY10000"/>
                </a:cxn>
                <a:cxn ang="0">
                  <a:pos x="connsiteX10001" y="connsiteY10001"/>
                </a:cxn>
                <a:cxn ang="0">
                  <a:pos x="connsiteX10002" y="connsiteY10002"/>
                </a:cxn>
                <a:cxn ang="0">
                  <a:pos x="connsiteX10003" y="connsiteY10003"/>
                </a:cxn>
                <a:cxn ang="0">
                  <a:pos x="connsiteX10004" y="connsiteY10004"/>
                </a:cxn>
                <a:cxn ang="0">
                  <a:pos x="connsiteX10005" y="connsiteY10005"/>
                </a:cxn>
                <a:cxn ang="0">
                  <a:pos x="connsiteX10006" y="connsiteY10006"/>
                </a:cxn>
                <a:cxn ang="0">
                  <a:pos x="connsiteX10007" y="connsiteY10007"/>
                </a:cxn>
                <a:cxn ang="0">
                  <a:pos x="connsiteX10008" y="connsiteY10008"/>
                </a:cxn>
                <a:cxn ang="0">
                  <a:pos x="connsiteX10009" y="connsiteY10009"/>
                </a:cxn>
                <a:cxn ang="0">
                  <a:pos x="connsiteX10010" y="connsiteY10010"/>
                </a:cxn>
                <a:cxn ang="0">
                  <a:pos x="connsiteX10011" y="connsiteY10011"/>
                </a:cxn>
                <a:cxn ang="0">
                  <a:pos x="connsiteX10012" y="connsiteY10012"/>
                </a:cxn>
                <a:cxn ang="0">
                  <a:pos x="connsiteX10013" y="connsiteY10013"/>
                </a:cxn>
                <a:cxn ang="0">
                  <a:pos x="connsiteX10014" y="connsiteY10014"/>
                </a:cxn>
                <a:cxn ang="0">
                  <a:pos x="connsiteX10015" y="connsiteY10015"/>
                </a:cxn>
                <a:cxn ang="0">
                  <a:pos x="connsiteX10016" y="connsiteY10016"/>
                </a:cxn>
                <a:cxn ang="0">
                  <a:pos x="connsiteX10017" y="connsiteY10017"/>
                </a:cxn>
                <a:cxn ang="0">
                  <a:pos x="connsiteX10018" y="connsiteY10018"/>
                </a:cxn>
                <a:cxn ang="0">
                  <a:pos x="connsiteX10019" y="connsiteY10019"/>
                </a:cxn>
                <a:cxn ang="0">
                  <a:pos x="connsiteX10020" y="connsiteY10020"/>
                </a:cxn>
                <a:cxn ang="0">
                  <a:pos x="connsiteX10021" y="connsiteY10021"/>
                </a:cxn>
                <a:cxn ang="0">
                  <a:pos x="connsiteX10022" y="connsiteY10022"/>
                </a:cxn>
                <a:cxn ang="0">
                  <a:pos x="connsiteX10023" y="connsiteY10023"/>
                </a:cxn>
                <a:cxn ang="0">
                  <a:pos x="connsiteX10024" y="connsiteY10024"/>
                </a:cxn>
                <a:cxn ang="0">
                  <a:pos x="connsiteX10025" y="connsiteY10025"/>
                </a:cxn>
                <a:cxn ang="0">
                  <a:pos x="connsiteX10026" y="connsiteY10026"/>
                </a:cxn>
                <a:cxn ang="0">
                  <a:pos x="connsiteX10027" y="connsiteY10027"/>
                </a:cxn>
                <a:cxn ang="0">
                  <a:pos x="connsiteX10028" y="connsiteY10028"/>
                </a:cxn>
                <a:cxn ang="0">
                  <a:pos x="connsiteX10029" y="connsiteY10029"/>
                </a:cxn>
                <a:cxn ang="0">
                  <a:pos x="connsiteX10030" y="connsiteY10030"/>
                </a:cxn>
                <a:cxn ang="0">
                  <a:pos x="connsiteX10031" y="connsiteY10031"/>
                </a:cxn>
                <a:cxn ang="0">
                  <a:pos x="connsiteX10032" y="connsiteY10032"/>
                </a:cxn>
                <a:cxn ang="0">
                  <a:pos x="connsiteX10033" y="connsiteY10033"/>
                </a:cxn>
                <a:cxn ang="0">
                  <a:pos x="connsiteX10034" y="connsiteY10034"/>
                </a:cxn>
                <a:cxn ang="0">
                  <a:pos x="connsiteX10035" y="connsiteY10035"/>
                </a:cxn>
                <a:cxn ang="0">
                  <a:pos x="connsiteX10036" y="connsiteY10036"/>
                </a:cxn>
                <a:cxn ang="0">
                  <a:pos x="connsiteX10037" y="connsiteY10037"/>
                </a:cxn>
                <a:cxn ang="0">
                  <a:pos x="connsiteX10038" y="connsiteY10038"/>
                </a:cxn>
                <a:cxn ang="0">
                  <a:pos x="connsiteX10039" y="connsiteY10039"/>
                </a:cxn>
                <a:cxn ang="0">
                  <a:pos x="connsiteX10040" y="connsiteY10040"/>
                </a:cxn>
                <a:cxn ang="0">
                  <a:pos x="connsiteX10041" y="connsiteY10041"/>
                </a:cxn>
                <a:cxn ang="0">
                  <a:pos x="connsiteX10042" y="connsiteY10042"/>
                </a:cxn>
                <a:cxn ang="0">
                  <a:pos x="connsiteX10043" y="connsiteY10043"/>
                </a:cxn>
                <a:cxn ang="0">
                  <a:pos x="connsiteX10044" y="connsiteY10044"/>
                </a:cxn>
                <a:cxn ang="0">
                  <a:pos x="connsiteX10045" y="connsiteY10045"/>
                </a:cxn>
                <a:cxn ang="0">
                  <a:pos x="connsiteX10046" y="connsiteY10046"/>
                </a:cxn>
                <a:cxn ang="0">
                  <a:pos x="connsiteX10047" y="connsiteY10047"/>
                </a:cxn>
                <a:cxn ang="0">
                  <a:pos x="connsiteX10048" y="connsiteY10048"/>
                </a:cxn>
                <a:cxn ang="0">
                  <a:pos x="connsiteX10049" y="connsiteY10049"/>
                </a:cxn>
                <a:cxn ang="0">
                  <a:pos x="connsiteX10050" y="connsiteY10050"/>
                </a:cxn>
                <a:cxn ang="0">
                  <a:pos x="connsiteX10051" y="connsiteY10051"/>
                </a:cxn>
                <a:cxn ang="0">
                  <a:pos x="connsiteX10052" y="connsiteY10052"/>
                </a:cxn>
                <a:cxn ang="0">
                  <a:pos x="connsiteX10053" y="connsiteY10053"/>
                </a:cxn>
                <a:cxn ang="0">
                  <a:pos x="connsiteX10054" y="connsiteY10054"/>
                </a:cxn>
                <a:cxn ang="0">
                  <a:pos x="connsiteX10055" y="connsiteY10055"/>
                </a:cxn>
                <a:cxn ang="0">
                  <a:pos x="connsiteX10056" y="connsiteY10056"/>
                </a:cxn>
                <a:cxn ang="0">
                  <a:pos x="connsiteX10057" y="connsiteY10057"/>
                </a:cxn>
                <a:cxn ang="0">
                  <a:pos x="connsiteX10058" y="connsiteY10058"/>
                </a:cxn>
                <a:cxn ang="0">
                  <a:pos x="connsiteX10059" y="connsiteY10059"/>
                </a:cxn>
                <a:cxn ang="0">
                  <a:pos x="connsiteX10060" y="connsiteY10060"/>
                </a:cxn>
                <a:cxn ang="0">
                  <a:pos x="connsiteX10061" y="connsiteY10061"/>
                </a:cxn>
                <a:cxn ang="0">
                  <a:pos x="connsiteX10062" y="connsiteY10062"/>
                </a:cxn>
                <a:cxn ang="0">
                  <a:pos x="connsiteX10063" y="connsiteY10063"/>
                </a:cxn>
                <a:cxn ang="0">
                  <a:pos x="connsiteX10064" y="connsiteY10064"/>
                </a:cxn>
                <a:cxn ang="0">
                  <a:pos x="connsiteX10065" y="connsiteY10065"/>
                </a:cxn>
                <a:cxn ang="0">
                  <a:pos x="connsiteX10066" y="connsiteY10066"/>
                </a:cxn>
                <a:cxn ang="0">
                  <a:pos x="connsiteX10067" y="connsiteY10067"/>
                </a:cxn>
                <a:cxn ang="0">
                  <a:pos x="connsiteX10068" y="connsiteY10068"/>
                </a:cxn>
                <a:cxn ang="0">
                  <a:pos x="connsiteX10069" y="connsiteY10069"/>
                </a:cxn>
                <a:cxn ang="0">
                  <a:pos x="connsiteX10070" y="connsiteY10070"/>
                </a:cxn>
                <a:cxn ang="0">
                  <a:pos x="connsiteX10071" y="connsiteY10071"/>
                </a:cxn>
                <a:cxn ang="0">
                  <a:pos x="connsiteX10072" y="connsiteY10072"/>
                </a:cxn>
                <a:cxn ang="0">
                  <a:pos x="connsiteX10073" y="connsiteY10073"/>
                </a:cxn>
                <a:cxn ang="0">
                  <a:pos x="connsiteX10074" y="connsiteY10074"/>
                </a:cxn>
                <a:cxn ang="0">
                  <a:pos x="connsiteX10075" y="connsiteY10075"/>
                </a:cxn>
                <a:cxn ang="0">
                  <a:pos x="connsiteX10076" y="connsiteY10076"/>
                </a:cxn>
                <a:cxn ang="0">
                  <a:pos x="connsiteX10077" y="connsiteY10077"/>
                </a:cxn>
                <a:cxn ang="0">
                  <a:pos x="connsiteX10078" y="connsiteY10078"/>
                </a:cxn>
                <a:cxn ang="0">
                  <a:pos x="connsiteX10079" y="connsiteY10079"/>
                </a:cxn>
                <a:cxn ang="0">
                  <a:pos x="connsiteX10080" y="connsiteY10080"/>
                </a:cxn>
                <a:cxn ang="0">
                  <a:pos x="connsiteX10081" y="connsiteY10081"/>
                </a:cxn>
                <a:cxn ang="0">
                  <a:pos x="connsiteX10082" y="connsiteY10082"/>
                </a:cxn>
                <a:cxn ang="0">
                  <a:pos x="connsiteX10083" y="connsiteY10083"/>
                </a:cxn>
                <a:cxn ang="0">
                  <a:pos x="connsiteX10084" y="connsiteY10084"/>
                </a:cxn>
                <a:cxn ang="0">
                  <a:pos x="connsiteX10085" y="connsiteY10085"/>
                </a:cxn>
                <a:cxn ang="0">
                  <a:pos x="connsiteX10086" y="connsiteY10086"/>
                </a:cxn>
                <a:cxn ang="0">
                  <a:pos x="connsiteX10087" y="connsiteY10087"/>
                </a:cxn>
                <a:cxn ang="0">
                  <a:pos x="connsiteX10088" y="connsiteY10088"/>
                </a:cxn>
                <a:cxn ang="0">
                  <a:pos x="connsiteX10089" y="connsiteY10089"/>
                </a:cxn>
                <a:cxn ang="0">
                  <a:pos x="connsiteX10090" y="connsiteY10090"/>
                </a:cxn>
                <a:cxn ang="0">
                  <a:pos x="connsiteX10091" y="connsiteY10091"/>
                </a:cxn>
                <a:cxn ang="0">
                  <a:pos x="connsiteX10092" y="connsiteY10092"/>
                </a:cxn>
                <a:cxn ang="0">
                  <a:pos x="connsiteX10093" y="connsiteY10093"/>
                </a:cxn>
                <a:cxn ang="0">
                  <a:pos x="connsiteX10094" y="connsiteY10094"/>
                </a:cxn>
                <a:cxn ang="0">
                  <a:pos x="connsiteX10095" y="connsiteY10095"/>
                </a:cxn>
                <a:cxn ang="0">
                  <a:pos x="connsiteX10096" y="connsiteY10096"/>
                </a:cxn>
                <a:cxn ang="0">
                  <a:pos x="connsiteX10097" y="connsiteY10097"/>
                </a:cxn>
                <a:cxn ang="0">
                  <a:pos x="connsiteX10098" y="connsiteY10098"/>
                </a:cxn>
                <a:cxn ang="0">
                  <a:pos x="connsiteX10099" y="connsiteY10099"/>
                </a:cxn>
                <a:cxn ang="0">
                  <a:pos x="connsiteX10100" y="connsiteY10100"/>
                </a:cxn>
                <a:cxn ang="0">
                  <a:pos x="connsiteX10101" y="connsiteY10101"/>
                </a:cxn>
                <a:cxn ang="0">
                  <a:pos x="connsiteX10102" y="connsiteY10102"/>
                </a:cxn>
                <a:cxn ang="0">
                  <a:pos x="connsiteX10103" y="connsiteY10103"/>
                </a:cxn>
                <a:cxn ang="0">
                  <a:pos x="connsiteX10104" y="connsiteY10104"/>
                </a:cxn>
                <a:cxn ang="0">
                  <a:pos x="connsiteX10105" y="connsiteY10105"/>
                </a:cxn>
                <a:cxn ang="0">
                  <a:pos x="connsiteX10106" y="connsiteY10106"/>
                </a:cxn>
                <a:cxn ang="0">
                  <a:pos x="connsiteX10107" y="connsiteY10107"/>
                </a:cxn>
                <a:cxn ang="0">
                  <a:pos x="connsiteX10108" y="connsiteY10108"/>
                </a:cxn>
                <a:cxn ang="0">
                  <a:pos x="connsiteX10109" y="connsiteY10109"/>
                </a:cxn>
                <a:cxn ang="0">
                  <a:pos x="connsiteX10110" y="connsiteY10110"/>
                </a:cxn>
                <a:cxn ang="0">
                  <a:pos x="connsiteX10111" y="connsiteY10111"/>
                </a:cxn>
                <a:cxn ang="0">
                  <a:pos x="connsiteX10112" y="connsiteY10112"/>
                </a:cxn>
                <a:cxn ang="0">
                  <a:pos x="connsiteX10113" y="connsiteY10113"/>
                </a:cxn>
                <a:cxn ang="0">
                  <a:pos x="connsiteX10114" y="connsiteY10114"/>
                </a:cxn>
                <a:cxn ang="0">
                  <a:pos x="connsiteX10115" y="connsiteY10115"/>
                </a:cxn>
                <a:cxn ang="0">
                  <a:pos x="connsiteX10116" y="connsiteY10116"/>
                </a:cxn>
                <a:cxn ang="0">
                  <a:pos x="connsiteX10117" y="connsiteY10117"/>
                </a:cxn>
                <a:cxn ang="0">
                  <a:pos x="connsiteX10118" y="connsiteY10118"/>
                </a:cxn>
                <a:cxn ang="0">
                  <a:pos x="connsiteX10119" y="connsiteY10119"/>
                </a:cxn>
                <a:cxn ang="0">
                  <a:pos x="connsiteX10120" y="connsiteY10120"/>
                </a:cxn>
                <a:cxn ang="0">
                  <a:pos x="connsiteX10121" y="connsiteY10121"/>
                </a:cxn>
                <a:cxn ang="0">
                  <a:pos x="connsiteX10122" y="connsiteY10122"/>
                </a:cxn>
                <a:cxn ang="0">
                  <a:pos x="connsiteX10123" y="connsiteY10123"/>
                </a:cxn>
                <a:cxn ang="0">
                  <a:pos x="connsiteX10124" y="connsiteY10124"/>
                </a:cxn>
                <a:cxn ang="0">
                  <a:pos x="connsiteX10125" y="connsiteY10125"/>
                </a:cxn>
                <a:cxn ang="0">
                  <a:pos x="connsiteX10126" y="connsiteY10126"/>
                </a:cxn>
                <a:cxn ang="0">
                  <a:pos x="connsiteX10127" y="connsiteY10127"/>
                </a:cxn>
                <a:cxn ang="0">
                  <a:pos x="connsiteX10128" y="connsiteY10128"/>
                </a:cxn>
                <a:cxn ang="0">
                  <a:pos x="connsiteX10129" y="connsiteY10129"/>
                </a:cxn>
                <a:cxn ang="0">
                  <a:pos x="connsiteX10130" y="connsiteY10130"/>
                </a:cxn>
                <a:cxn ang="0">
                  <a:pos x="connsiteX10131" y="connsiteY10131"/>
                </a:cxn>
                <a:cxn ang="0">
                  <a:pos x="connsiteX10132" y="connsiteY10132"/>
                </a:cxn>
                <a:cxn ang="0">
                  <a:pos x="connsiteX10133" y="connsiteY10133"/>
                </a:cxn>
                <a:cxn ang="0">
                  <a:pos x="connsiteX10134" y="connsiteY10134"/>
                </a:cxn>
                <a:cxn ang="0">
                  <a:pos x="connsiteX10135" y="connsiteY10135"/>
                </a:cxn>
                <a:cxn ang="0">
                  <a:pos x="connsiteX10136" y="connsiteY10136"/>
                </a:cxn>
                <a:cxn ang="0">
                  <a:pos x="connsiteX10137" y="connsiteY10137"/>
                </a:cxn>
                <a:cxn ang="0">
                  <a:pos x="connsiteX10138" y="connsiteY10138"/>
                </a:cxn>
                <a:cxn ang="0">
                  <a:pos x="connsiteX10139" y="connsiteY10139"/>
                </a:cxn>
                <a:cxn ang="0">
                  <a:pos x="connsiteX10140" y="connsiteY10140"/>
                </a:cxn>
                <a:cxn ang="0">
                  <a:pos x="connsiteX10141" y="connsiteY10141"/>
                </a:cxn>
                <a:cxn ang="0">
                  <a:pos x="connsiteX10142" y="connsiteY10142"/>
                </a:cxn>
                <a:cxn ang="0">
                  <a:pos x="connsiteX10143" y="connsiteY10143"/>
                </a:cxn>
                <a:cxn ang="0">
                  <a:pos x="connsiteX10144" y="connsiteY10144"/>
                </a:cxn>
                <a:cxn ang="0">
                  <a:pos x="connsiteX10145" y="connsiteY10145"/>
                </a:cxn>
                <a:cxn ang="0">
                  <a:pos x="connsiteX10146" y="connsiteY10146"/>
                </a:cxn>
                <a:cxn ang="0">
                  <a:pos x="connsiteX10147" y="connsiteY10147"/>
                </a:cxn>
                <a:cxn ang="0">
                  <a:pos x="connsiteX10148" y="connsiteY10148"/>
                </a:cxn>
                <a:cxn ang="0">
                  <a:pos x="connsiteX10149" y="connsiteY10149"/>
                </a:cxn>
                <a:cxn ang="0">
                  <a:pos x="connsiteX10150" y="connsiteY10150"/>
                </a:cxn>
                <a:cxn ang="0">
                  <a:pos x="connsiteX10151" y="connsiteY10151"/>
                </a:cxn>
                <a:cxn ang="0">
                  <a:pos x="connsiteX10152" y="connsiteY10152"/>
                </a:cxn>
                <a:cxn ang="0">
                  <a:pos x="connsiteX10153" y="connsiteY10153"/>
                </a:cxn>
                <a:cxn ang="0">
                  <a:pos x="connsiteX10154" y="connsiteY10154"/>
                </a:cxn>
                <a:cxn ang="0">
                  <a:pos x="connsiteX10155" y="connsiteY10155"/>
                </a:cxn>
                <a:cxn ang="0">
                  <a:pos x="connsiteX10156" y="connsiteY10156"/>
                </a:cxn>
                <a:cxn ang="0">
                  <a:pos x="connsiteX10157" y="connsiteY10157"/>
                </a:cxn>
                <a:cxn ang="0">
                  <a:pos x="connsiteX10158" y="connsiteY10158"/>
                </a:cxn>
                <a:cxn ang="0">
                  <a:pos x="connsiteX10159" y="connsiteY10159"/>
                </a:cxn>
                <a:cxn ang="0">
                  <a:pos x="connsiteX10160" y="connsiteY10160"/>
                </a:cxn>
                <a:cxn ang="0">
                  <a:pos x="connsiteX10161" y="connsiteY10161"/>
                </a:cxn>
                <a:cxn ang="0">
                  <a:pos x="connsiteX10162" y="connsiteY10162"/>
                </a:cxn>
                <a:cxn ang="0">
                  <a:pos x="connsiteX10163" y="connsiteY10163"/>
                </a:cxn>
                <a:cxn ang="0">
                  <a:pos x="connsiteX10164" y="connsiteY10164"/>
                </a:cxn>
                <a:cxn ang="0">
                  <a:pos x="connsiteX10165" y="connsiteY10165"/>
                </a:cxn>
                <a:cxn ang="0">
                  <a:pos x="connsiteX10166" y="connsiteY10166"/>
                </a:cxn>
                <a:cxn ang="0">
                  <a:pos x="connsiteX10167" y="connsiteY10167"/>
                </a:cxn>
                <a:cxn ang="0">
                  <a:pos x="connsiteX10168" y="connsiteY10168"/>
                </a:cxn>
                <a:cxn ang="0">
                  <a:pos x="connsiteX10169" y="connsiteY10169"/>
                </a:cxn>
                <a:cxn ang="0">
                  <a:pos x="connsiteX10170" y="connsiteY10170"/>
                </a:cxn>
                <a:cxn ang="0">
                  <a:pos x="connsiteX10171" y="connsiteY10171"/>
                </a:cxn>
                <a:cxn ang="0">
                  <a:pos x="connsiteX10172" y="connsiteY10172"/>
                </a:cxn>
                <a:cxn ang="0">
                  <a:pos x="connsiteX10173" y="connsiteY10173"/>
                </a:cxn>
                <a:cxn ang="0">
                  <a:pos x="connsiteX10174" y="connsiteY10174"/>
                </a:cxn>
                <a:cxn ang="0">
                  <a:pos x="connsiteX10175" y="connsiteY10175"/>
                </a:cxn>
                <a:cxn ang="0">
                  <a:pos x="connsiteX10176" y="connsiteY10176"/>
                </a:cxn>
                <a:cxn ang="0">
                  <a:pos x="connsiteX10177" y="connsiteY10177"/>
                </a:cxn>
                <a:cxn ang="0">
                  <a:pos x="connsiteX10178" y="connsiteY10178"/>
                </a:cxn>
                <a:cxn ang="0">
                  <a:pos x="connsiteX10179" y="connsiteY10179"/>
                </a:cxn>
                <a:cxn ang="0">
                  <a:pos x="connsiteX10180" y="connsiteY10180"/>
                </a:cxn>
                <a:cxn ang="0">
                  <a:pos x="connsiteX10181" y="connsiteY10181"/>
                </a:cxn>
                <a:cxn ang="0">
                  <a:pos x="connsiteX10182" y="connsiteY10182"/>
                </a:cxn>
                <a:cxn ang="0">
                  <a:pos x="connsiteX10183" y="connsiteY10183"/>
                </a:cxn>
                <a:cxn ang="0">
                  <a:pos x="connsiteX10184" y="connsiteY10184"/>
                </a:cxn>
                <a:cxn ang="0">
                  <a:pos x="connsiteX10185" y="connsiteY10185"/>
                </a:cxn>
                <a:cxn ang="0">
                  <a:pos x="connsiteX10186" y="connsiteY10186"/>
                </a:cxn>
                <a:cxn ang="0">
                  <a:pos x="connsiteX10187" y="connsiteY10187"/>
                </a:cxn>
                <a:cxn ang="0">
                  <a:pos x="connsiteX10188" y="connsiteY10188"/>
                </a:cxn>
                <a:cxn ang="0">
                  <a:pos x="connsiteX10189" y="connsiteY10189"/>
                </a:cxn>
                <a:cxn ang="0">
                  <a:pos x="connsiteX10190" y="connsiteY10190"/>
                </a:cxn>
                <a:cxn ang="0">
                  <a:pos x="connsiteX10191" y="connsiteY10191"/>
                </a:cxn>
                <a:cxn ang="0">
                  <a:pos x="connsiteX10192" y="connsiteY10192"/>
                </a:cxn>
                <a:cxn ang="0">
                  <a:pos x="connsiteX10193" y="connsiteY10193"/>
                </a:cxn>
                <a:cxn ang="0">
                  <a:pos x="connsiteX10194" y="connsiteY10194"/>
                </a:cxn>
                <a:cxn ang="0">
                  <a:pos x="connsiteX10195" y="connsiteY10195"/>
                </a:cxn>
                <a:cxn ang="0">
                  <a:pos x="connsiteX10196" y="connsiteY10196"/>
                </a:cxn>
                <a:cxn ang="0">
                  <a:pos x="connsiteX10197" y="connsiteY10197"/>
                </a:cxn>
                <a:cxn ang="0">
                  <a:pos x="connsiteX10198" y="connsiteY10198"/>
                </a:cxn>
                <a:cxn ang="0">
                  <a:pos x="connsiteX10199" y="connsiteY10199"/>
                </a:cxn>
                <a:cxn ang="0">
                  <a:pos x="connsiteX10200" y="connsiteY10200"/>
                </a:cxn>
                <a:cxn ang="0">
                  <a:pos x="connsiteX10201" y="connsiteY10201"/>
                </a:cxn>
                <a:cxn ang="0">
                  <a:pos x="connsiteX10202" y="connsiteY10202"/>
                </a:cxn>
                <a:cxn ang="0">
                  <a:pos x="connsiteX10203" y="connsiteY10203"/>
                </a:cxn>
                <a:cxn ang="0">
                  <a:pos x="connsiteX10204" y="connsiteY10204"/>
                </a:cxn>
                <a:cxn ang="0">
                  <a:pos x="connsiteX10205" y="connsiteY10205"/>
                </a:cxn>
                <a:cxn ang="0">
                  <a:pos x="connsiteX10206" y="connsiteY10206"/>
                </a:cxn>
                <a:cxn ang="0">
                  <a:pos x="connsiteX10207" y="connsiteY10207"/>
                </a:cxn>
                <a:cxn ang="0">
                  <a:pos x="connsiteX10208" y="connsiteY10208"/>
                </a:cxn>
                <a:cxn ang="0">
                  <a:pos x="connsiteX10209" y="connsiteY10209"/>
                </a:cxn>
                <a:cxn ang="0">
                  <a:pos x="connsiteX10210" y="connsiteY10210"/>
                </a:cxn>
                <a:cxn ang="0">
                  <a:pos x="connsiteX10211" y="connsiteY10211"/>
                </a:cxn>
                <a:cxn ang="0">
                  <a:pos x="connsiteX10212" y="connsiteY10212"/>
                </a:cxn>
                <a:cxn ang="0">
                  <a:pos x="connsiteX10213" y="connsiteY10213"/>
                </a:cxn>
                <a:cxn ang="0">
                  <a:pos x="connsiteX10214" y="connsiteY10214"/>
                </a:cxn>
                <a:cxn ang="0">
                  <a:pos x="connsiteX10215" y="connsiteY10215"/>
                </a:cxn>
                <a:cxn ang="0">
                  <a:pos x="connsiteX10216" y="connsiteY10216"/>
                </a:cxn>
                <a:cxn ang="0">
                  <a:pos x="connsiteX10217" y="connsiteY10217"/>
                </a:cxn>
                <a:cxn ang="0">
                  <a:pos x="connsiteX10218" y="connsiteY10218"/>
                </a:cxn>
                <a:cxn ang="0">
                  <a:pos x="connsiteX10219" y="connsiteY10219"/>
                </a:cxn>
                <a:cxn ang="0">
                  <a:pos x="connsiteX10220" y="connsiteY10220"/>
                </a:cxn>
                <a:cxn ang="0">
                  <a:pos x="connsiteX10221" y="connsiteY10221"/>
                </a:cxn>
                <a:cxn ang="0">
                  <a:pos x="connsiteX10222" y="connsiteY10222"/>
                </a:cxn>
                <a:cxn ang="0">
                  <a:pos x="connsiteX10223" y="connsiteY10223"/>
                </a:cxn>
                <a:cxn ang="0">
                  <a:pos x="connsiteX10224" y="connsiteY10224"/>
                </a:cxn>
                <a:cxn ang="0">
                  <a:pos x="connsiteX10225" y="connsiteY10225"/>
                </a:cxn>
                <a:cxn ang="0">
                  <a:pos x="connsiteX10226" y="connsiteY10226"/>
                </a:cxn>
                <a:cxn ang="0">
                  <a:pos x="connsiteX10227" y="connsiteY10227"/>
                </a:cxn>
                <a:cxn ang="0">
                  <a:pos x="connsiteX10228" y="connsiteY10228"/>
                </a:cxn>
                <a:cxn ang="0">
                  <a:pos x="connsiteX10229" y="connsiteY10229"/>
                </a:cxn>
                <a:cxn ang="0">
                  <a:pos x="connsiteX10230" y="connsiteY10230"/>
                </a:cxn>
                <a:cxn ang="0">
                  <a:pos x="connsiteX10231" y="connsiteY10231"/>
                </a:cxn>
                <a:cxn ang="0">
                  <a:pos x="connsiteX10232" y="connsiteY10232"/>
                </a:cxn>
                <a:cxn ang="0">
                  <a:pos x="connsiteX10233" y="connsiteY10233"/>
                </a:cxn>
                <a:cxn ang="0">
                  <a:pos x="connsiteX10234" y="connsiteY10234"/>
                </a:cxn>
                <a:cxn ang="0">
                  <a:pos x="connsiteX10235" y="connsiteY10235"/>
                </a:cxn>
                <a:cxn ang="0">
                  <a:pos x="connsiteX10236" y="connsiteY10236"/>
                </a:cxn>
                <a:cxn ang="0">
                  <a:pos x="connsiteX10237" y="connsiteY10237"/>
                </a:cxn>
                <a:cxn ang="0">
                  <a:pos x="connsiteX10238" y="connsiteY10238"/>
                </a:cxn>
                <a:cxn ang="0">
                  <a:pos x="connsiteX10239" y="connsiteY10239"/>
                </a:cxn>
                <a:cxn ang="0">
                  <a:pos x="connsiteX10240" y="connsiteY10240"/>
                </a:cxn>
                <a:cxn ang="0">
                  <a:pos x="connsiteX10241" y="connsiteY10241"/>
                </a:cxn>
                <a:cxn ang="0">
                  <a:pos x="connsiteX10242" y="connsiteY10242"/>
                </a:cxn>
                <a:cxn ang="0">
                  <a:pos x="connsiteX10243" y="connsiteY10243"/>
                </a:cxn>
                <a:cxn ang="0">
                  <a:pos x="connsiteX10244" y="connsiteY10244"/>
                </a:cxn>
                <a:cxn ang="0">
                  <a:pos x="connsiteX10245" y="connsiteY10245"/>
                </a:cxn>
                <a:cxn ang="0">
                  <a:pos x="connsiteX10246" y="connsiteY10246"/>
                </a:cxn>
                <a:cxn ang="0">
                  <a:pos x="connsiteX10247" y="connsiteY10247"/>
                </a:cxn>
                <a:cxn ang="0">
                  <a:pos x="connsiteX10248" y="connsiteY10248"/>
                </a:cxn>
                <a:cxn ang="0">
                  <a:pos x="connsiteX10249" y="connsiteY10249"/>
                </a:cxn>
                <a:cxn ang="0">
                  <a:pos x="connsiteX10250" y="connsiteY10250"/>
                </a:cxn>
                <a:cxn ang="0">
                  <a:pos x="connsiteX10251" y="connsiteY10251"/>
                </a:cxn>
                <a:cxn ang="0">
                  <a:pos x="connsiteX10252" y="connsiteY10252"/>
                </a:cxn>
                <a:cxn ang="0">
                  <a:pos x="connsiteX10253" y="connsiteY10253"/>
                </a:cxn>
                <a:cxn ang="0">
                  <a:pos x="connsiteX10254" y="connsiteY10254"/>
                </a:cxn>
                <a:cxn ang="0">
                  <a:pos x="connsiteX10255" y="connsiteY10255"/>
                </a:cxn>
                <a:cxn ang="0">
                  <a:pos x="connsiteX10256" y="connsiteY10256"/>
                </a:cxn>
                <a:cxn ang="0">
                  <a:pos x="connsiteX10257" y="connsiteY10257"/>
                </a:cxn>
                <a:cxn ang="0">
                  <a:pos x="connsiteX10258" y="connsiteY10258"/>
                </a:cxn>
                <a:cxn ang="0">
                  <a:pos x="connsiteX10259" y="connsiteY10259"/>
                </a:cxn>
                <a:cxn ang="0">
                  <a:pos x="connsiteX10260" y="connsiteY10260"/>
                </a:cxn>
                <a:cxn ang="0">
                  <a:pos x="connsiteX10261" y="connsiteY10261"/>
                </a:cxn>
                <a:cxn ang="0">
                  <a:pos x="connsiteX10262" y="connsiteY10262"/>
                </a:cxn>
                <a:cxn ang="0">
                  <a:pos x="connsiteX10263" y="connsiteY10263"/>
                </a:cxn>
                <a:cxn ang="0">
                  <a:pos x="connsiteX10264" y="connsiteY10264"/>
                </a:cxn>
                <a:cxn ang="0">
                  <a:pos x="connsiteX10265" y="connsiteY10265"/>
                </a:cxn>
                <a:cxn ang="0">
                  <a:pos x="connsiteX10266" y="connsiteY10266"/>
                </a:cxn>
                <a:cxn ang="0">
                  <a:pos x="connsiteX10267" y="connsiteY10267"/>
                </a:cxn>
                <a:cxn ang="0">
                  <a:pos x="connsiteX10268" y="connsiteY10268"/>
                </a:cxn>
                <a:cxn ang="0">
                  <a:pos x="connsiteX10269" y="connsiteY10269"/>
                </a:cxn>
                <a:cxn ang="0">
                  <a:pos x="connsiteX10270" y="connsiteY10270"/>
                </a:cxn>
                <a:cxn ang="0">
                  <a:pos x="connsiteX10271" y="connsiteY10271"/>
                </a:cxn>
                <a:cxn ang="0">
                  <a:pos x="connsiteX10272" y="connsiteY10272"/>
                </a:cxn>
                <a:cxn ang="0">
                  <a:pos x="connsiteX10273" y="connsiteY10273"/>
                </a:cxn>
                <a:cxn ang="0">
                  <a:pos x="connsiteX10274" y="connsiteY10274"/>
                </a:cxn>
                <a:cxn ang="0">
                  <a:pos x="connsiteX10275" y="connsiteY10275"/>
                </a:cxn>
                <a:cxn ang="0">
                  <a:pos x="connsiteX10276" y="connsiteY10276"/>
                </a:cxn>
                <a:cxn ang="0">
                  <a:pos x="connsiteX10277" y="connsiteY10277"/>
                </a:cxn>
                <a:cxn ang="0">
                  <a:pos x="connsiteX10278" y="connsiteY10278"/>
                </a:cxn>
                <a:cxn ang="0">
                  <a:pos x="connsiteX10279" y="connsiteY10279"/>
                </a:cxn>
                <a:cxn ang="0">
                  <a:pos x="connsiteX10280" y="connsiteY10280"/>
                </a:cxn>
                <a:cxn ang="0">
                  <a:pos x="connsiteX10281" y="connsiteY10281"/>
                </a:cxn>
                <a:cxn ang="0">
                  <a:pos x="connsiteX10282" y="connsiteY10282"/>
                </a:cxn>
                <a:cxn ang="0">
                  <a:pos x="connsiteX10283" y="connsiteY10283"/>
                </a:cxn>
                <a:cxn ang="0">
                  <a:pos x="connsiteX10284" y="connsiteY10284"/>
                </a:cxn>
                <a:cxn ang="0">
                  <a:pos x="connsiteX10285" y="connsiteY10285"/>
                </a:cxn>
                <a:cxn ang="0">
                  <a:pos x="connsiteX10286" y="connsiteY10286"/>
                </a:cxn>
                <a:cxn ang="0">
                  <a:pos x="connsiteX10287" y="connsiteY10287"/>
                </a:cxn>
                <a:cxn ang="0">
                  <a:pos x="connsiteX10288" y="connsiteY10288"/>
                </a:cxn>
                <a:cxn ang="0">
                  <a:pos x="connsiteX10289" y="connsiteY10289"/>
                </a:cxn>
                <a:cxn ang="0">
                  <a:pos x="connsiteX10290" y="connsiteY10290"/>
                </a:cxn>
                <a:cxn ang="0">
                  <a:pos x="connsiteX10291" y="connsiteY10291"/>
                </a:cxn>
                <a:cxn ang="0">
                  <a:pos x="connsiteX10292" y="connsiteY10292"/>
                </a:cxn>
                <a:cxn ang="0">
                  <a:pos x="connsiteX10293" y="connsiteY10293"/>
                </a:cxn>
                <a:cxn ang="0">
                  <a:pos x="connsiteX10294" y="connsiteY10294"/>
                </a:cxn>
                <a:cxn ang="0">
                  <a:pos x="connsiteX10295" y="connsiteY10295"/>
                </a:cxn>
                <a:cxn ang="0">
                  <a:pos x="connsiteX10296" y="connsiteY10296"/>
                </a:cxn>
                <a:cxn ang="0">
                  <a:pos x="connsiteX10297" y="connsiteY10297"/>
                </a:cxn>
                <a:cxn ang="0">
                  <a:pos x="connsiteX10298" y="connsiteY10298"/>
                </a:cxn>
                <a:cxn ang="0">
                  <a:pos x="connsiteX10299" y="connsiteY10299"/>
                </a:cxn>
                <a:cxn ang="0">
                  <a:pos x="connsiteX10300" y="connsiteY10300"/>
                </a:cxn>
                <a:cxn ang="0">
                  <a:pos x="connsiteX10301" y="connsiteY10301"/>
                </a:cxn>
                <a:cxn ang="0">
                  <a:pos x="connsiteX10302" y="connsiteY10302"/>
                </a:cxn>
                <a:cxn ang="0">
                  <a:pos x="connsiteX10303" y="connsiteY10303"/>
                </a:cxn>
                <a:cxn ang="0">
                  <a:pos x="connsiteX10304" y="connsiteY10304"/>
                </a:cxn>
                <a:cxn ang="0">
                  <a:pos x="connsiteX10305" y="connsiteY10305"/>
                </a:cxn>
                <a:cxn ang="0">
                  <a:pos x="connsiteX10306" y="connsiteY10306"/>
                </a:cxn>
                <a:cxn ang="0">
                  <a:pos x="connsiteX10307" y="connsiteY10307"/>
                </a:cxn>
                <a:cxn ang="0">
                  <a:pos x="connsiteX10308" y="connsiteY10308"/>
                </a:cxn>
                <a:cxn ang="0">
                  <a:pos x="connsiteX10309" y="connsiteY10309"/>
                </a:cxn>
                <a:cxn ang="0">
                  <a:pos x="connsiteX10310" y="connsiteY10310"/>
                </a:cxn>
                <a:cxn ang="0">
                  <a:pos x="connsiteX10311" y="connsiteY10311"/>
                </a:cxn>
                <a:cxn ang="0">
                  <a:pos x="connsiteX10312" y="connsiteY10312"/>
                </a:cxn>
                <a:cxn ang="0">
                  <a:pos x="connsiteX10313" y="connsiteY10313"/>
                </a:cxn>
                <a:cxn ang="0">
                  <a:pos x="connsiteX10314" y="connsiteY10314"/>
                </a:cxn>
                <a:cxn ang="0">
                  <a:pos x="connsiteX10315" y="connsiteY10315"/>
                </a:cxn>
                <a:cxn ang="0">
                  <a:pos x="connsiteX10316" y="connsiteY10316"/>
                </a:cxn>
                <a:cxn ang="0">
                  <a:pos x="connsiteX10317" y="connsiteY10317"/>
                </a:cxn>
                <a:cxn ang="0">
                  <a:pos x="connsiteX10318" y="connsiteY10318"/>
                </a:cxn>
                <a:cxn ang="0">
                  <a:pos x="connsiteX10319" y="connsiteY10319"/>
                </a:cxn>
                <a:cxn ang="0">
                  <a:pos x="connsiteX10320" y="connsiteY10320"/>
                </a:cxn>
                <a:cxn ang="0">
                  <a:pos x="connsiteX10321" y="connsiteY10321"/>
                </a:cxn>
                <a:cxn ang="0">
                  <a:pos x="connsiteX10322" y="connsiteY10322"/>
                </a:cxn>
                <a:cxn ang="0">
                  <a:pos x="connsiteX10323" y="connsiteY10323"/>
                </a:cxn>
                <a:cxn ang="0">
                  <a:pos x="connsiteX10324" y="connsiteY10324"/>
                </a:cxn>
                <a:cxn ang="0">
                  <a:pos x="connsiteX10325" y="connsiteY10325"/>
                </a:cxn>
                <a:cxn ang="0">
                  <a:pos x="connsiteX10326" y="connsiteY10326"/>
                </a:cxn>
                <a:cxn ang="0">
                  <a:pos x="connsiteX10327" y="connsiteY10327"/>
                </a:cxn>
                <a:cxn ang="0">
                  <a:pos x="connsiteX10328" y="connsiteY10328"/>
                </a:cxn>
                <a:cxn ang="0">
                  <a:pos x="connsiteX10329" y="connsiteY10329"/>
                </a:cxn>
                <a:cxn ang="0">
                  <a:pos x="connsiteX10330" y="connsiteY10330"/>
                </a:cxn>
                <a:cxn ang="0">
                  <a:pos x="connsiteX10331" y="connsiteY10331"/>
                </a:cxn>
                <a:cxn ang="0">
                  <a:pos x="connsiteX10332" y="connsiteY10332"/>
                </a:cxn>
                <a:cxn ang="0">
                  <a:pos x="connsiteX10333" y="connsiteY10333"/>
                </a:cxn>
                <a:cxn ang="0">
                  <a:pos x="connsiteX10334" y="connsiteY10334"/>
                </a:cxn>
                <a:cxn ang="0">
                  <a:pos x="connsiteX10335" y="connsiteY10335"/>
                </a:cxn>
                <a:cxn ang="0">
                  <a:pos x="connsiteX10336" y="connsiteY10336"/>
                </a:cxn>
                <a:cxn ang="0">
                  <a:pos x="connsiteX10337" y="connsiteY10337"/>
                </a:cxn>
                <a:cxn ang="0">
                  <a:pos x="connsiteX10338" y="connsiteY10338"/>
                </a:cxn>
                <a:cxn ang="0">
                  <a:pos x="connsiteX10339" y="connsiteY10339"/>
                </a:cxn>
                <a:cxn ang="0">
                  <a:pos x="connsiteX10340" y="connsiteY10340"/>
                </a:cxn>
                <a:cxn ang="0">
                  <a:pos x="connsiteX10341" y="connsiteY10341"/>
                </a:cxn>
                <a:cxn ang="0">
                  <a:pos x="connsiteX10342" y="connsiteY10342"/>
                </a:cxn>
                <a:cxn ang="0">
                  <a:pos x="connsiteX10343" y="connsiteY10343"/>
                </a:cxn>
                <a:cxn ang="0">
                  <a:pos x="connsiteX10344" y="connsiteY10344"/>
                </a:cxn>
                <a:cxn ang="0">
                  <a:pos x="connsiteX10345" y="connsiteY10345"/>
                </a:cxn>
                <a:cxn ang="0">
                  <a:pos x="connsiteX10346" y="connsiteY10346"/>
                </a:cxn>
                <a:cxn ang="0">
                  <a:pos x="connsiteX10347" y="connsiteY10347"/>
                </a:cxn>
                <a:cxn ang="0">
                  <a:pos x="connsiteX10348" y="connsiteY10348"/>
                </a:cxn>
                <a:cxn ang="0">
                  <a:pos x="connsiteX10349" y="connsiteY10349"/>
                </a:cxn>
                <a:cxn ang="0">
                  <a:pos x="connsiteX10350" y="connsiteY10350"/>
                </a:cxn>
                <a:cxn ang="0">
                  <a:pos x="connsiteX10351" y="connsiteY10351"/>
                </a:cxn>
                <a:cxn ang="0">
                  <a:pos x="connsiteX10352" y="connsiteY10352"/>
                </a:cxn>
                <a:cxn ang="0">
                  <a:pos x="connsiteX10353" y="connsiteY10353"/>
                </a:cxn>
                <a:cxn ang="0">
                  <a:pos x="connsiteX10354" y="connsiteY10354"/>
                </a:cxn>
                <a:cxn ang="0">
                  <a:pos x="connsiteX10355" y="connsiteY10355"/>
                </a:cxn>
                <a:cxn ang="0">
                  <a:pos x="connsiteX10356" y="connsiteY10356"/>
                </a:cxn>
                <a:cxn ang="0">
                  <a:pos x="connsiteX10357" y="connsiteY10357"/>
                </a:cxn>
                <a:cxn ang="0">
                  <a:pos x="connsiteX10358" y="connsiteY10358"/>
                </a:cxn>
                <a:cxn ang="0">
                  <a:pos x="connsiteX10359" y="connsiteY10359"/>
                </a:cxn>
                <a:cxn ang="0">
                  <a:pos x="connsiteX10360" y="connsiteY10360"/>
                </a:cxn>
                <a:cxn ang="0">
                  <a:pos x="connsiteX10361" y="connsiteY10361"/>
                </a:cxn>
                <a:cxn ang="0">
                  <a:pos x="connsiteX10362" y="connsiteY10362"/>
                </a:cxn>
                <a:cxn ang="0">
                  <a:pos x="connsiteX10363" y="connsiteY10363"/>
                </a:cxn>
                <a:cxn ang="0">
                  <a:pos x="connsiteX10364" y="connsiteY10364"/>
                </a:cxn>
                <a:cxn ang="0">
                  <a:pos x="connsiteX10365" y="connsiteY10365"/>
                </a:cxn>
                <a:cxn ang="0">
                  <a:pos x="connsiteX10366" y="connsiteY10366"/>
                </a:cxn>
                <a:cxn ang="0">
                  <a:pos x="connsiteX10367" y="connsiteY10367"/>
                </a:cxn>
                <a:cxn ang="0">
                  <a:pos x="connsiteX10368" y="connsiteY10368"/>
                </a:cxn>
                <a:cxn ang="0">
                  <a:pos x="connsiteX10369" y="connsiteY10369"/>
                </a:cxn>
                <a:cxn ang="0">
                  <a:pos x="connsiteX10370" y="connsiteY10370"/>
                </a:cxn>
                <a:cxn ang="0">
                  <a:pos x="connsiteX10371" y="connsiteY10371"/>
                </a:cxn>
                <a:cxn ang="0">
                  <a:pos x="connsiteX10372" y="connsiteY10372"/>
                </a:cxn>
                <a:cxn ang="0">
                  <a:pos x="connsiteX10373" y="connsiteY10373"/>
                </a:cxn>
                <a:cxn ang="0">
                  <a:pos x="connsiteX10374" y="connsiteY10374"/>
                </a:cxn>
                <a:cxn ang="0">
                  <a:pos x="connsiteX10375" y="connsiteY10375"/>
                </a:cxn>
                <a:cxn ang="0">
                  <a:pos x="connsiteX10376" y="connsiteY10376"/>
                </a:cxn>
                <a:cxn ang="0">
                  <a:pos x="connsiteX10377" y="connsiteY10377"/>
                </a:cxn>
                <a:cxn ang="0">
                  <a:pos x="connsiteX10378" y="connsiteY10378"/>
                </a:cxn>
                <a:cxn ang="0">
                  <a:pos x="connsiteX10379" y="connsiteY10379"/>
                </a:cxn>
                <a:cxn ang="0">
                  <a:pos x="connsiteX10380" y="connsiteY10380"/>
                </a:cxn>
                <a:cxn ang="0">
                  <a:pos x="connsiteX10381" y="connsiteY10381"/>
                </a:cxn>
                <a:cxn ang="0">
                  <a:pos x="connsiteX10382" y="connsiteY10382"/>
                </a:cxn>
                <a:cxn ang="0">
                  <a:pos x="connsiteX10383" y="connsiteY10383"/>
                </a:cxn>
                <a:cxn ang="0">
                  <a:pos x="connsiteX10384" y="connsiteY10384"/>
                </a:cxn>
                <a:cxn ang="0">
                  <a:pos x="connsiteX10385" y="connsiteY10385"/>
                </a:cxn>
                <a:cxn ang="0">
                  <a:pos x="connsiteX10386" y="connsiteY10386"/>
                </a:cxn>
                <a:cxn ang="0">
                  <a:pos x="connsiteX10387" y="connsiteY10387"/>
                </a:cxn>
                <a:cxn ang="0">
                  <a:pos x="connsiteX10388" y="connsiteY10388"/>
                </a:cxn>
                <a:cxn ang="0">
                  <a:pos x="connsiteX10389" y="connsiteY10389"/>
                </a:cxn>
                <a:cxn ang="0">
                  <a:pos x="connsiteX10390" y="connsiteY10390"/>
                </a:cxn>
                <a:cxn ang="0">
                  <a:pos x="connsiteX10391" y="connsiteY10391"/>
                </a:cxn>
                <a:cxn ang="0">
                  <a:pos x="connsiteX10392" y="connsiteY10392"/>
                </a:cxn>
                <a:cxn ang="0">
                  <a:pos x="connsiteX10393" y="connsiteY10393"/>
                </a:cxn>
                <a:cxn ang="0">
                  <a:pos x="connsiteX10394" y="connsiteY10394"/>
                </a:cxn>
                <a:cxn ang="0">
                  <a:pos x="connsiteX10395" y="connsiteY10395"/>
                </a:cxn>
                <a:cxn ang="0">
                  <a:pos x="connsiteX10396" y="connsiteY10396"/>
                </a:cxn>
                <a:cxn ang="0">
                  <a:pos x="connsiteX10397" y="connsiteY10397"/>
                </a:cxn>
                <a:cxn ang="0">
                  <a:pos x="connsiteX10398" y="connsiteY10398"/>
                </a:cxn>
                <a:cxn ang="0">
                  <a:pos x="connsiteX10399" y="connsiteY10399"/>
                </a:cxn>
                <a:cxn ang="0">
                  <a:pos x="connsiteX10400" y="connsiteY10400"/>
                </a:cxn>
                <a:cxn ang="0">
                  <a:pos x="connsiteX10401" y="connsiteY10401"/>
                </a:cxn>
                <a:cxn ang="0">
                  <a:pos x="connsiteX10402" y="connsiteY10402"/>
                </a:cxn>
                <a:cxn ang="0">
                  <a:pos x="connsiteX10403" y="connsiteY10403"/>
                </a:cxn>
                <a:cxn ang="0">
                  <a:pos x="connsiteX10404" y="connsiteY10404"/>
                </a:cxn>
                <a:cxn ang="0">
                  <a:pos x="connsiteX10405" y="connsiteY10405"/>
                </a:cxn>
                <a:cxn ang="0">
                  <a:pos x="connsiteX10406" y="connsiteY10406"/>
                </a:cxn>
                <a:cxn ang="0">
                  <a:pos x="connsiteX10407" y="connsiteY10407"/>
                </a:cxn>
                <a:cxn ang="0">
                  <a:pos x="connsiteX10408" y="connsiteY10408"/>
                </a:cxn>
                <a:cxn ang="0">
                  <a:pos x="connsiteX10409" y="connsiteY10409"/>
                </a:cxn>
                <a:cxn ang="0">
                  <a:pos x="connsiteX10410" y="connsiteY10410"/>
                </a:cxn>
                <a:cxn ang="0">
                  <a:pos x="connsiteX10411" y="connsiteY10411"/>
                </a:cxn>
                <a:cxn ang="0">
                  <a:pos x="connsiteX10412" y="connsiteY10412"/>
                </a:cxn>
                <a:cxn ang="0">
                  <a:pos x="connsiteX10413" y="connsiteY10413"/>
                </a:cxn>
                <a:cxn ang="0">
                  <a:pos x="connsiteX10414" y="connsiteY10414"/>
                </a:cxn>
                <a:cxn ang="0">
                  <a:pos x="connsiteX10415" y="connsiteY10415"/>
                </a:cxn>
                <a:cxn ang="0">
                  <a:pos x="connsiteX10416" y="connsiteY10416"/>
                </a:cxn>
                <a:cxn ang="0">
                  <a:pos x="connsiteX10417" y="connsiteY10417"/>
                </a:cxn>
                <a:cxn ang="0">
                  <a:pos x="connsiteX10418" y="connsiteY10418"/>
                </a:cxn>
                <a:cxn ang="0">
                  <a:pos x="connsiteX10419" y="connsiteY10419"/>
                </a:cxn>
                <a:cxn ang="0">
                  <a:pos x="connsiteX10420" y="connsiteY10420"/>
                </a:cxn>
                <a:cxn ang="0">
                  <a:pos x="connsiteX10421" y="connsiteY10421"/>
                </a:cxn>
                <a:cxn ang="0">
                  <a:pos x="connsiteX10422" y="connsiteY10422"/>
                </a:cxn>
                <a:cxn ang="0">
                  <a:pos x="connsiteX10423" y="connsiteY10423"/>
                </a:cxn>
                <a:cxn ang="0">
                  <a:pos x="connsiteX10424" y="connsiteY10424"/>
                </a:cxn>
                <a:cxn ang="0">
                  <a:pos x="connsiteX10425" y="connsiteY10425"/>
                </a:cxn>
                <a:cxn ang="0">
                  <a:pos x="connsiteX10426" y="connsiteY10426"/>
                </a:cxn>
                <a:cxn ang="0">
                  <a:pos x="connsiteX10427" y="connsiteY10427"/>
                </a:cxn>
                <a:cxn ang="0">
                  <a:pos x="connsiteX10428" y="connsiteY10428"/>
                </a:cxn>
                <a:cxn ang="0">
                  <a:pos x="connsiteX10429" y="connsiteY10429"/>
                </a:cxn>
                <a:cxn ang="0">
                  <a:pos x="connsiteX10430" y="connsiteY10430"/>
                </a:cxn>
                <a:cxn ang="0">
                  <a:pos x="connsiteX10431" y="connsiteY10431"/>
                </a:cxn>
                <a:cxn ang="0">
                  <a:pos x="connsiteX10432" y="connsiteY10432"/>
                </a:cxn>
                <a:cxn ang="0">
                  <a:pos x="connsiteX10433" y="connsiteY10433"/>
                </a:cxn>
                <a:cxn ang="0">
                  <a:pos x="connsiteX10434" y="connsiteY10434"/>
                </a:cxn>
                <a:cxn ang="0">
                  <a:pos x="connsiteX10435" y="connsiteY10435"/>
                </a:cxn>
                <a:cxn ang="0">
                  <a:pos x="connsiteX10436" y="connsiteY10436"/>
                </a:cxn>
                <a:cxn ang="0">
                  <a:pos x="connsiteX10437" y="connsiteY10437"/>
                </a:cxn>
                <a:cxn ang="0">
                  <a:pos x="connsiteX10438" y="connsiteY10438"/>
                </a:cxn>
                <a:cxn ang="0">
                  <a:pos x="connsiteX10439" y="connsiteY10439"/>
                </a:cxn>
                <a:cxn ang="0">
                  <a:pos x="connsiteX10440" y="connsiteY10440"/>
                </a:cxn>
                <a:cxn ang="0">
                  <a:pos x="connsiteX10441" y="connsiteY10441"/>
                </a:cxn>
                <a:cxn ang="0">
                  <a:pos x="connsiteX10442" y="connsiteY10442"/>
                </a:cxn>
                <a:cxn ang="0">
                  <a:pos x="connsiteX10443" y="connsiteY10443"/>
                </a:cxn>
                <a:cxn ang="0">
                  <a:pos x="connsiteX10444" y="connsiteY10444"/>
                </a:cxn>
                <a:cxn ang="0">
                  <a:pos x="connsiteX10445" y="connsiteY10445"/>
                </a:cxn>
                <a:cxn ang="0">
                  <a:pos x="connsiteX10446" y="connsiteY10446"/>
                </a:cxn>
                <a:cxn ang="0">
                  <a:pos x="connsiteX10447" y="connsiteY10447"/>
                </a:cxn>
                <a:cxn ang="0">
                  <a:pos x="connsiteX10448" y="connsiteY10448"/>
                </a:cxn>
                <a:cxn ang="0">
                  <a:pos x="connsiteX10449" y="connsiteY10449"/>
                </a:cxn>
                <a:cxn ang="0">
                  <a:pos x="connsiteX10450" y="connsiteY10450"/>
                </a:cxn>
                <a:cxn ang="0">
                  <a:pos x="connsiteX10451" y="connsiteY10451"/>
                </a:cxn>
                <a:cxn ang="0">
                  <a:pos x="connsiteX10452" y="connsiteY10452"/>
                </a:cxn>
                <a:cxn ang="0">
                  <a:pos x="connsiteX10453" y="connsiteY10453"/>
                </a:cxn>
                <a:cxn ang="0">
                  <a:pos x="connsiteX10454" y="connsiteY10454"/>
                </a:cxn>
                <a:cxn ang="0">
                  <a:pos x="connsiteX10455" y="connsiteY10455"/>
                </a:cxn>
                <a:cxn ang="0">
                  <a:pos x="connsiteX10456" y="connsiteY10456"/>
                </a:cxn>
                <a:cxn ang="0">
                  <a:pos x="connsiteX10457" y="connsiteY10457"/>
                </a:cxn>
                <a:cxn ang="0">
                  <a:pos x="connsiteX10458" y="connsiteY10458"/>
                </a:cxn>
                <a:cxn ang="0">
                  <a:pos x="connsiteX10459" y="connsiteY10459"/>
                </a:cxn>
                <a:cxn ang="0">
                  <a:pos x="connsiteX10460" y="connsiteY10460"/>
                </a:cxn>
                <a:cxn ang="0">
                  <a:pos x="connsiteX10461" y="connsiteY10461"/>
                </a:cxn>
                <a:cxn ang="0">
                  <a:pos x="connsiteX10462" y="connsiteY10462"/>
                </a:cxn>
                <a:cxn ang="0">
                  <a:pos x="connsiteX10463" y="connsiteY10463"/>
                </a:cxn>
                <a:cxn ang="0">
                  <a:pos x="connsiteX10464" y="connsiteY10464"/>
                </a:cxn>
                <a:cxn ang="0">
                  <a:pos x="connsiteX10465" y="connsiteY10465"/>
                </a:cxn>
                <a:cxn ang="0">
                  <a:pos x="connsiteX10466" y="connsiteY10466"/>
                </a:cxn>
                <a:cxn ang="0">
                  <a:pos x="connsiteX10467" y="connsiteY10467"/>
                </a:cxn>
                <a:cxn ang="0">
                  <a:pos x="connsiteX10468" y="connsiteY10468"/>
                </a:cxn>
                <a:cxn ang="0">
                  <a:pos x="connsiteX10469" y="connsiteY10469"/>
                </a:cxn>
                <a:cxn ang="0">
                  <a:pos x="connsiteX10470" y="connsiteY10470"/>
                </a:cxn>
                <a:cxn ang="0">
                  <a:pos x="connsiteX10471" y="connsiteY10471"/>
                </a:cxn>
                <a:cxn ang="0">
                  <a:pos x="connsiteX10472" y="connsiteY10472"/>
                </a:cxn>
                <a:cxn ang="0">
                  <a:pos x="connsiteX10473" y="connsiteY10473"/>
                </a:cxn>
                <a:cxn ang="0">
                  <a:pos x="connsiteX10474" y="connsiteY10474"/>
                </a:cxn>
                <a:cxn ang="0">
                  <a:pos x="connsiteX10475" y="connsiteY10475"/>
                </a:cxn>
                <a:cxn ang="0">
                  <a:pos x="connsiteX10476" y="connsiteY10476"/>
                </a:cxn>
                <a:cxn ang="0">
                  <a:pos x="connsiteX10477" y="connsiteY10477"/>
                </a:cxn>
                <a:cxn ang="0">
                  <a:pos x="connsiteX10478" y="connsiteY10478"/>
                </a:cxn>
                <a:cxn ang="0">
                  <a:pos x="connsiteX10479" y="connsiteY10479"/>
                </a:cxn>
                <a:cxn ang="0">
                  <a:pos x="connsiteX10480" y="connsiteY10480"/>
                </a:cxn>
                <a:cxn ang="0">
                  <a:pos x="connsiteX10481" y="connsiteY10481"/>
                </a:cxn>
                <a:cxn ang="0">
                  <a:pos x="connsiteX10482" y="connsiteY10482"/>
                </a:cxn>
                <a:cxn ang="0">
                  <a:pos x="connsiteX10483" y="connsiteY10483"/>
                </a:cxn>
                <a:cxn ang="0">
                  <a:pos x="connsiteX10484" y="connsiteY10484"/>
                </a:cxn>
                <a:cxn ang="0">
                  <a:pos x="connsiteX10485" y="connsiteY10485"/>
                </a:cxn>
                <a:cxn ang="0">
                  <a:pos x="connsiteX10486" y="connsiteY10486"/>
                </a:cxn>
                <a:cxn ang="0">
                  <a:pos x="connsiteX10487" y="connsiteY10487"/>
                </a:cxn>
                <a:cxn ang="0">
                  <a:pos x="connsiteX10488" y="connsiteY10488"/>
                </a:cxn>
                <a:cxn ang="0">
                  <a:pos x="connsiteX10489" y="connsiteY10489"/>
                </a:cxn>
                <a:cxn ang="0">
                  <a:pos x="connsiteX10490" y="connsiteY10490"/>
                </a:cxn>
                <a:cxn ang="0">
                  <a:pos x="connsiteX10491" y="connsiteY10491"/>
                </a:cxn>
                <a:cxn ang="0">
                  <a:pos x="connsiteX10492" y="connsiteY10492"/>
                </a:cxn>
                <a:cxn ang="0">
                  <a:pos x="connsiteX10493" y="connsiteY10493"/>
                </a:cxn>
                <a:cxn ang="0">
                  <a:pos x="connsiteX10494" y="connsiteY10494"/>
                </a:cxn>
                <a:cxn ang="0">
                  <a:pos x="connsiteX10495" y="connsiteY10495"/>
                </a:cxn>
                <a:cxn ang="0">
                  <a:pos x="connsiteX10496" y="connsiteY10496"/>
                </a:cxn>
                <a:cxn ang="0">
                  <a:pos x="connsiteX10497" y="connsiteY10497"/>
                </a:cxn>
                <a:cxn ang="0">
                  <a:pos x="connsiteX10498" y="connsiteY10498"/>
                </a:cxn>
                <a:cxn ang="0">
                  <a:pos x="connsiteX10499" y="connsiteY10499"/>
                </a:cxn>
                <a:cxn ang="0">
                  <a:pos x="connsiteX10500" y="connsiteY10500"/>
                </a:cxn>
                <a:cxn ang="0">
                  <a:pos x="connsiteX10501" y="connsiteY10501"/>
                </a:cxn>
                <a:cxn ang="0">
                  <a:pos x="connsiteX10502" y="connsiteY10502"/>
                </a:cxn>
                <a:cxn ang="0">
                  <a:pos x="connsiteX10503" y="connsiteY10503"/>
                </a:cxn>
                <a:cxn ang="0">
                  <a:pos x="connsiteX10504" y="connsiteY10504"/>
                </a:cxn>
                <a:cxn ang="0">
                  <a:pos x="connsiteX10505" y="connsiteY10505"/>
                </a:cxn>
                <a:cxn ang="0">
                  <a:pos x="connsiteX10506" y="connsiteY10506"/>
                </a:cxn>
                <a:cxn ang="0">
                  <a:pos x="connsiteX10507" y="connsiteY10507"/>
                </a:cxn>
                <a:cxn ang="0">
                  <a:pos x="connsiteX10508" y="connsiteY10508"/>
                </a:cxn>
                <a:cxn ang="0">
                  <a:pos x="connsiteX10509" y="connsiteY10509"/>
                </a:cxn>
                <a:cxn ang="0">
                  <a:pos x="connsiteX10510" y="connsiteY10510"/>
                </a:cxn>
                <a:cxn ang="0">
                  <a:pos x="connsiteX10511" y="connsiteY10511"/>
                </a:cxn>
                <a:cxn ang="0">
                  <a:pos x="connsiteX10512" y="connsiteY10512"/>
                </a:cxn>
                <a:cxn ang="0">
                  <a:pos x="connsiteX10513" y="connsiteY10513"/>
                </a:cxn>
                <a:cxn ang="0">
                  <a:pos x="connsiteX10514" y="connsiteY10514"/>
                </a:cxn>
                <a:cxn ang="0">
                  <a:pos x="connsiteX10515" y="connsiteY10515"/>
                </a:cxn>
                <a:cxn ang="0">
                  <a:pos x="connsiteX10516" y="connsiteY10516"/>
                </a:cxn>
                <a:cxn ang="0">
                  <a:pos x="connsiteX10517" y="connsiteY10517"/>
                </a:cxn>
                <a:cxn ang="0">
                  <a:pos x="connsiteX10518" y="connsiteY10518"/>
                </a:cxn>
                <a:cxn ang="0">
                  <a:pos x="connsiteX10519" y="connsiteY10519"/>
                </a:cxn>
                <a:cxn ang="0">
                  <a:pos x="connsiteX10520" y="connsiteY10520"/>
                </a:cxn>
                <a:cxn ang="0">
                  <a:pos x="connsiteX10521" y="connsiteY10521"/>
                </a:cxn>
                <a:cxn ang="0">
                  <a:pos x="connsiteX10522" y="connsiteY10522"/>
                </a:cxn>
                <a:cxn ang="0">
                  <a:pos x="connsiteX10523" y="connsiteY10523"/>
                </a:cxn>
                <a:cxn ang="0">
                  <a:pos x="connsiteX10524" y="connsiteY10524"/>
                </a:cxn>
                <a:cxn ang="0">
                  <a:pos x="connsiteX10525" y="connsiteY10525"/>
                </a:cxn>
                <a:cxn ang="0">
                  <a:pos x="connsiteX10526" y="connsiteY10526"/>
                </a:cxn>
                <a:cxn ang="0">
                  <a:pos x="connsiteX10527" y="connsiteY10527"/>
                </a:cxn>
                <a:cxn ang="0">
                  <a:pos x="connsiteX10528" y="connsiteY10528"/>
                </a:cxn>
                <a:cxn ang="0">
                  <a:pos x="connsiteX10529" y="connsiteY10529"/>
                </a:cxn>
                <a:cxn ang="0">
                  <a:pos x="connsiteX10530" y="connsiteY10530"/>
                </a:cxn>
                <a:cxn ang="0">
                  <a:pos x="connsiteX10531" y="connsiteY10531"/>
                </a:cxn>
                <a:cxn ang="0">
                  <a:pos x="connsiteX10532" y="connsiteY10532"/>
                </a:cxn>
                <a:cxn ang="0">
                  <a:pos x="connsiteX10533" y="connsiteY10533"/>
                </a:cxn>
                <a:cxn ang="0">
                  <a:pos x="connsiteX10534" y="connsiteY10534"/>
                </a:cxn>
                <a:cxn ang="0">
                  <a:pos x="connsiteX10535" y="connsiteY10535"/>
                </a:cxn>
                <a:cxn ang="0">
                  <a:pos x="connsiteX10536" y="connsiteY10536"/>
                </a:cxn>
                <a:cxn ang="0">
                  <a:pos x="connsiteX10537" y="connsiteY10537"/>
                </a:cxn>
                <a:cxn ang="0">
                  <a:pos x="connsiteX10538" y="connsiteY10538"/>
                </a:cxn>
                <a:cxn ang="0">
                  <a:pos x="connsiteX10539" y="connsiteY10539"/>
                </a:cxn>
                <a:cxn ang="0">
                  <a:pos x="connsiteX10540" y="connsiteY10540"/>
                </a:cxn>
                <a:cxn ang="0">
                  <a:pos x="connsiteX10541" y="connsiteY10541"/>
                </a:cxn>
                <a:cxn ang="0">
                  <a:pos x="connsiteX10542" y="connsiteY10542"/>
                </a:cxn>
                <a:cxn ang="0">
                  <a:pos x="connsiteX10543" y="connsiteY10543"/>
                </a:cxn>
                <a:cxn ang="0">
                  <a:pos x="connsiteX10544" y="connsiteY10544"/>
                </a:cxn>
                <a:cxn ang="0">
                  <a:pos x="connsiteX10545" y="connsiteY10545"/>
                </a:cxn>
                <a:cxn ang="0">
                  <a:pos x="connsiteX10546" y="connsiteY10546"/>
                </a:cxn>
                <a:cxn ang="0">
                  <a:pos x="connsiteX10547" y="connsiteY10547"/>
                </a:cxn>
                <a:cxn ang="0">
                  <a:pos x="connsiteX10548" y="connsiteY10548"/>
                </a:cxn>
                <a:cxn ang="0">
                  <a:pos x="connsiteX10549" y="connsiteY10549"/>
                </a:cxn>
                <a:cxn ang="0">
                  <a:pos x="connsiteX10550" y="connsiteY10550"/>
                </a:cxn>
                <a:cxn ang="0">
                  <a:pos x="connsiteX10551" y="connsiteY10551"/>
                </a:cxn>
                <a:cxn ang="0">
                  <a:pos x="connsiteX10552" y="connsiteY10552"/>
                </a:cxn>
                <a:cxn ang="0">
                  <a:pos x="connsiteX10553" y="connsiteY10553"/>
                </a:cxn>
                <a:cxn ang="0">
                  <a:pos x="connsiteX10554" y="connsiteY10554"/>
                </a:cxn>
                <a:cxn ang="0">
                  <a:pos x="connsiteX10555" y="connsiteY10555"/>
                </a:cxn>
                <a:cxn ang="0">
                  <a:pos x="connsiteX10556" y="connsiteY10556"/>
                </a:cxn>
                <a:cxn ang="0">
                  <a:pos x="connsiteX10557" y="connsiteY10557"/>
                </a:cxn>
                <a:cxn ang="0">
                  <a:pos x="connsiteX10558" y="connsiteY10558"/>
                </a:cxn>
                <a:cxn ang="0">
                  <a:pos x="connsiteX10559" y="connsiteY10559"/>
                </a:cxn>
                <a:cxn ang="0">
                  <a:pos x="connsiteX10560" y="connsiteY10560"/>
                </a:cxn>
                <a:cxn ang="0">
                  <a:pos x="connsiteX10561" y="connsiteY10561"/>
                </a:cxn>
                <a:cxn ang="0">
                  <a:pos x="connsiteX10562" y="connsiteY10562"/>
                </a:cxn>
                <a:cxn ang="0">
                  <a:pos x="connsiteX10563" y="connsiteY10563"/>
                </a:cxn>
                <a:cxn ang="0">
                  <a:pos x="connsiteX10564" y="connsiteY10564"/>
                </a:cxn>
                <a:cxn ang="0">
                  <a:pos x="connsiteX10565" y="connsiteY10565"/>
                </a:cxn>
                <a:cxn ang="0">
                  <a:pos x="connsiteX10566" y="connsiteY10566"/>
                </a:cxn>
                <a:cxn ang="0">
                  <a:pos x="connsiteX10567" y="connsiteY10567"/>
                </a:cxn>
                <a:cxn ang="0">
                  <a:pos x="connsiteX10568" y="connsiteY10568"/>
                </a:cxn>
                <a:cxn ang="0">
                  <a:pos x="connsiteX10569" y="connsiteY10569"/>
                </a:cxn>
                <a:cxn ang="0">
                  <a:pos x="connsiteX10570" y="connsiteY10570"/>
                </a:cxn>
                <a:cxn ang="0">
                  <a:pos x="connsiteX10571" y="connsiteY10571"/>
                </a:cxn>
                <a:cxn ang="0">
                  <a:pos x="connsiteX10572" y="connsiteY10572"/>
                </a:cxn>
                <a:cxn ang="0">
                  <a:pos x="connsiteX10573" y="connsiteY10573"/>
                </a:cxn>
                <a:cxn ang="0">
                  <a:pos x="connsiteX10574" y="connsiteY10574"/>
                </a:cxn>
                <a:cxn ang="0">
                  <a:pos x="connsiteX10575" y="connsiteY10575"/>
                </a:cxn>
                <a:cxn ang="0">
                  <a:pos x="connsiteX10576" y="connsiteY10576"/>
                </a:cxn>
                <a:cxn ang="0">
                  <a:pos x="connsiteX10577" y="connsiteY10577"/>
                </a:cxn>
                <a:cxn ang="0">
                  <a:pos x="connsiteX10578" y="connsiteY10578"/>
                </a:cxn>
                <a:cxn ang="0">
                  <a:pos x="connsiteX10579" y="connsiteY10579"/>
                </a:cxn>
                <a:cxn ang="0">
                  <a:pos x="connsiteX10580" y="connsiteY10580"/>
                </a:cxn>
                <a:cxn ang="0">
                  <a:pos x="connsiteX10581" y="connsiteY10581"/>
                </a:cxn>
                <a:cxn ang="0">
                  <a:pos x="connsiteX10582" y="connsiteY10582"/>
                </a:cxn>
                <a:cxn ang="0">
                  <a:pos x="connsiteX10583" y="connsiteY10583"/>
                </a:cxn>
                <a:cxn ang="0">
                  <a:pos x="connsiteX10584" y="connsiteY10584"/>
                </a:cxn>
                <a:cxn ang="0">
                  <a:pos x="connsiteX10585" y="connsiteY10585"/>
                </a:cxn>
                <a:cxn ang="0">
                  <a:pos x="connsiteX10586" y="connsiteY10586"/>
                </a:cxn>
                <a:cxn ang="0">
                  <a:pos x="connsiteX10587" y="connsiteY10587"/>
                </a:cxn>
                <a:cxn ang="0">
                  <a:pos x="connsiteX10588" y="connsiteY10588"/>
                </a:cxn>
                <a:cxn ang="0">
                  <a:pos x="connsiteX10589" y="connsiteY10589"/>
                </a:cxn>
                <a:cxn ang="0">
                  <a:pos x="connsiteX10590" y="connsiteY10590"/>
                </a:cxn>
                <a:cxn ang="0">
                  <a:pos x="connsiteX10591" y="connsiteY10591"/>
                </a:cxn>
                <a:cxn ang="0">
                  <a:pos x="connsiteX10592" y="connsiteY10592"/>
                </a:cxn>
                <a:cxn ang="0">
                  <a:pos x="connsiteX10593" y="connsiteY10593"/>
                </a:cxn>
                <a:cxn ang="0">
                  <a:pos x="connsiteX10594" y="connsiteY10594"/>
                </a:cxn>
                <a:cxn ang="0">
                  <a:pos x="connsiteX10595" y="connsiteY10595"/>
                </a:cxn>
                <a:cxn ang="0">
                  <a:pos x="connsiteX10596" y="connsiteY10596"/>
                </a:cxn>
                <a:cxn ang="0">
                  <a:pos x="connsiteX10597" y="connsiteY10597"/>
                </a:cxn>
                <a:cxn ang="0">
                  <a:pos x="connsiteX10598" y="connsiteY10598"/>
                </a:cxn>
                <a:cxn ang="0">
                  <a:pos x="connsiteX10599" y="connsiteY10599"/>
                </a:cxn>
                <a:cxn ang="0">
                  <a:pos x="connsiteX10600" y="connsiteY10600"/>
                </a:cxn>
                <a:cxn ang="0">
                  <a:pos x="connsiteX10601" y="connsiteY10601"/>
                </a:cxn>
                <a:cxn ang="0">
                  <a:pos x="connsiteX10602" y="connsiteY10602"/>
                </a:cxn>
                <a:cxn ang="0">
                  <a:pos x="connsiteX10603" y="connsiteY10603"/>
                </a:cxn>
                <a:cxn ang="0">
                  <a:pos x="connsiteX10604" y="connsiteY10604"/>
                </a:cxn>
                <a:cxn ang="0">
                  <a:pos x="connsiteX10605" y="connsiteY10605"/>
                </a:cxn>
                <a:cxn ang="0">
                  <a:pos x="connsiteX10606" y="connsiteY10606"/>
                </a:cxn>
                <a:cxn ang="0">
                  <a:pos x="connsiteX10607" y="connsiteY10607"/>
                </a:cxn>
                <a:cxn ang="0">
                  <a:pos x="connsiteX10608" y="connsiteY10608"/>
                </a:cxn>
                <a:cxn ang="0">
                  <a:pos x="connsiteX10609" y="connsiteY10609"/>
                </a:cxn>
                <a:cxn ang="0">
                  <a:pos x="connsiteX10610" y="connsiteY10610"/>
                </a:cxn>
                <a:cxn ang="0">
                  <a:pos x="connsiteX10611" y="connsiteY10611"/>
                </a:cxn>
                <a:cxn ang="0">
                  <a:pos x="connsiteX10612" y="connsiteY10612"/>
                </a:cxn>
                <a:cxn ang="0">
                  <a:pos x="connsiteX10613" y="connsiteY10613"/>
                </a:cxn>
                <a:cxn ang="0">
                  <a:pos x="connsiteX10614" y="connsiteY10614"/>
                </a:cxn>
                <a:cxn ang="0">
                  <a:pos x="connsiteX10615" y="connsiteY10615"/>
                </a:cxn>
                <a:cxn ang="0">
                  <a:pos x="connsiteX10616" y="connsiteY10616"/>
                </a:cxn>
                <a:cxn ang="0">
                  <a:pos x="connsiteX10617" y="connsiteY10617"/>
                </a:cxn>
                <a:cxn ang="0">
                  <a:pos x="connsiteX10618" y="connsiteY10618"/>
                </a:cxn>
                <a:cxn ang="0">
                  <a:pos x="connsiteX10619" y="connsiteY10619"/>
                </a:cxn>
                <a:cxn ang="0">
                  <a:pos x="connsiteX10620" y="connsiteY10620"/>
                </a:cxn>
                <a:cxn ang="0">
                  <a:pos x="connsiteX10621" y="connsiteY10621"/>
                </a:cxn>
                <a:cxn ang="0">
                  <a:pos x="connsiteX10622" y="connsiteY10622"/>
                </a:cxn>
                <a:cxn ang="0">
                  <a:pos x="connsiteX10623" y="connsiteY10623"/>
                </a:cxn>
                <a:cxn ang="0">
                  <a:pos x="connsiteX10624" y="connsiteY10624"/>
                </a:cxn>
                <a:cxn ang="0">
                  <a:pos x="connsiteX10625" y="connsiteY10625"/>
                </a:cxn>
                <a:cxn ang="0">
                  <a:pos x="connsiteX10626" y="connsiteY10626"/>
                </a:cxn>
                <a:cxn ang="0">
                  <a:pos x="connsiteX10627" y="connsiteY10627"/>
                </a:cxn>
                <a:cxn ang="0">
                  <a:pos x="connsiteX10628" y="connsiteY10628"/>
                </a:cxn>
                <a:cxn ang="0">
                  <a:pos x="connsiteX10629" y="connsiteY10629"/>
                </a:cxn>
                <a:cxn ang="0">
                  <a:pos x="connsiteX10630" y="connsiteY10630"/>
                </a:cxn>
                <a:cxn ang="0">
                  <a:pos x="connsiteX10631" y="connsiteY10631"/>
                </a:cxn>
                <a:cxn ang="0">
                  <a:pos x="connsiteX10632" y="connsiteY10632"/>
                </a:cxn>
                <a:cxn ang="0">
                  <a:pos x="connsiteX10633" y="connsiteY10633"/>
                </a:cxn>
                <a:cxn ang="0">
                  <a:pos x="connsiteX10634" y="connsiteY10634"/>
                </a:cxn>
                <a:cxn ang="0">
                  <a:pos x="connsiteX10635" y="connsiteY10635"/>
                </a:cxn>
                <a:cxn ang="0">
                  <a:pos x="connsiteX10636" y="connsiteY10636"/>
                </a:cxn>
                <a:cxn ang="0">
                  <a:pos x="connsiteX10637" y="connsiteY10637"/>
                </a:cxn>
                <a:cxn ang="0">
                  <a:pos x="connsiteX10638" y="connsiteY10638"/>
                </a:cxn>
                <a:cxn ang="0">
                  <a:pos x="connsiteX10639" y="connsiteY10639"/>
                </a:cxn>
                <a:cxn ang="0">
                  <a:pos x="connsiteX10640" y="connsiteY10640"/>
                </a:cxn>
                <a:cxn ang="0">
                  <a:pos x="connsiteX10641" y="connsiteY10641"/>
                </a:cxn>
                <a:cxn ang="0">
                  <a:pos x="connsiteX10642" y="connsiteY10642"/>
                </a:cxn>
                <a:cxn ang="0">
                  <a:pos x="connsiteX10643" y="connsiteY10643"/>
                </a:cxn>
                <a:cxn ang="0">
                  <a:pos x="connsiteX10644" y="connsiteY10644"/>
                </a:cxn>
                <a:cxn ang="0">
                  <a:pos x="connsiteX10645" y="connsiteY10645"/>
                </a:cxn>
                <a:cxn ang="0">
                  <a:pos x="connsiteX10646" y="connsiteY10646"/>
                </a:cxn>
                <a:cxn ang="0">
                  <a:pos x="connsiteX10647" y="connsiteY10647"/>
                </a:cxn>
                <a:cxn ang="0">
                  <a:pos x="connsiteX10648" y="connsiteY10648"/>
                </a:cxn>
                <a:cxn ang="0">
                  <a:pos x="connsiteX10649" y="connsiteY10649"/>
                </a:cxn>
                <a:cxn ang="0">
                  <a:pos x="connsiteX10650" y="connsiteY10650"/>
                </a:cxn>
                <a:cxn ang="0">
                  <a:pos x="connsiteX10651" y="connsiteY10651"/>
                </a:cxn>
                <a:cxn ang="0">
                  <a:pos x="connsiteX10652" y="connsiteY10652"/>
                </a:cxn>
                <a:cxn ang="0">
                  <a:pos x="connsiteX10653" y="connsiteY10653"/>
                </a:cxn>
                <a:cxn ang="0">
                  <a:pos x="connsiteX10654" y="connsiteY10654"/>
                </a:cxn>
                <a:cxn ang="0">
                  <a:pos x="connsiteX10655" y="connsiteY10655"/>
                </a:cxn>
                <a:cxn ang="0">
                  <a:pos x="connsiteX10656" y="connsiteY10656"/>
                </a:cxn>
                <a:cxn ang="0">
                  <a:pos x="connsiteX10657" y="connsiteY10657"/>
                </a:cxn>
                <a:cxn ang="0">
                  <a:pos x="connsiteX10658" y="connsiteY10658"/>
                </a:cxn>
                <a:cxn ang="0">
                  <a:pos x="connsiteX10659" y="connsiteY10659"/>
                </a:cxn>
                <a:cxn ang="0">
                  <a:pos x="connsiteX10660" y="connsiteY10660"/>
                </a:cxn>
                <a:cxn ang="0">
                  <a:pos x="connsiteX10661" y="connsiteY10661"/>
                </a:cxn>
                <a:cxn ang="0">
                  <a:pos x="connsiteX10662" y="connsiteY10662"/>
                </a:cxn>
                <a:cxn ang="0">
                  <a:pos x="connsiteX10663" y="connsiteY10663"/>
                </a:cxn>
                <a:cxn ang="0">
                  <a:pos x="connsiteX10664" y="connsiteY10664"/>
                </a:cxn>
                <a:cxn ang="0">
                  <a:pos x="connsiteX10665" y="connsiteY10665"/>
                </a:cxn>
                <a:cxn ang="0">
                  <a:pos x="connsiteX10666" y="connsiteY10666"/>
                </a:cxn>
                <a:cxn ang="0">
                  <a:pos x="connsiteX10667" y="connsiteY10667"/>
                </a:cxn>
                <a:cxn ang="0">
                  <a:pos x="connsiteX10668" y="connsiteY10668"/>
                </a:cxn>
                <a:cxn ang="0">
                  <a:pos x="connsiteX10669" y="connsiteY10669"/>
                </a:cxn>
                <a:cxn ang="0">
                  <a:pos x="connsiteX10670" y="connsiteY10670"/>
                </a:cxn>
                <a:cxn ang="0">
                  <a:pos x="connsiteX10671" y="connsiteY10671"/>
                </a:cxn>
                <a:cxn ang="0">
                  <a:pos x="connsiteX10672" y="connsiteY10672"/>
                </a:cxn>
                <a:cxn ang="0">
                  <a:pos x="connsiteX10673" y="connsiteY10673"/>
                </a:cxn>
                <a:cxn ang="0">
                  <a:pos x="connsiteX10674" y="connsiteY10674"/>
                </a:cxn>
                <a:cxn ang="0">
                  <a:pos x="connsiteX10675" y="connsiteY10675"/>
                </a:cxn>
                <a:cxn ang="0">
                  <a:pos x="connsiteX10676" y="connsiteY10676"/>
                </a:cxn>
                <a:cxn ang="0">
                  <a:pos x="connsiteX10677" y="connsiteY10677"/>
                </a:cxn>
                <a:cxn ang="0">
                  <a:pos x="connsiteX10678" y="connsiteY10678"/>
                </a:cxn>
                <a:cxn ang="0">
                  <a:pos x="connsiteX10679" y="connsiteY10679"/>
                </a:cxn>
                <a:cxn ang="0">
                  <a:pos x="connsiteX10680" y="connsiteY10680"/>
                </a:cxn>
                <a:cxn ang="0">
                  <a:pos x="connsiteX10681" y="connsiteY10681"/>
                </a:cxn>
                <a:cxn ang="0">
                  <a:pos x="connsiteX10682" y="connsiteY10682"/>
                </a:cxn>
                <a:cxn ang="0">
                  <a:pos x="connsiteX10683" y="connsiteY10683"/>
                </a:cxn>
                <a:cxn ang="0">
                  <a:pos x="connsiteX10684" y="connsiteY10684"/>
                </a:cxn>
                <a:cxn ang="0">
                  <a:pos x="connsiteX10685" y="connsiteY10685"/>
                </a:cxn>
                <a:cxn ang="0">
                  <a:pos x="connsiteX10686" y="connsiteY10686"/>
                </a:cxn>
                <a:cxn ang="0">
                  <a:pos x="connsiteX10687" y="connsiteY10687"/>
                </a:cxn>
                <a:cxn ang="0">
                  <a:pos x="connsiteX10688" y="connsiteY10688"/>
                </a:cxn>
                <a:cxn ang="0">
                  <a:pos x="connsiteX10689" y="connsiteY10689"/>
                </a:cxn>
                <a:cxn ang="0">
                  <a:pos x="connsiteX10690" y="connsiteY10690"/>
                </a:cxn>
                <a:cxn ang="0">
                  <a:pos x="connsiteX10691" y="connsiteY10691"/>
                </a:cxn>
                <a:cxn ang="0">
                  <a:pos x="connsiteX10692" y="connsiteY10692"/>
                </a:cxn>
                <a:cxn ang="0">
                  <a:pos x="connsiteX10693" y="connsiteY10693"/>
                </a:cxn>
                <a:cxn ang="0">
                  <a:pos x="connsiteX10694" y="connsiteY10694"/>
                </a:cxn>
                <a:cxn ang="0">
                  <a:pos x="connsiteX10695" y="connsiteY10695"/>
                </a:cxn>
                <a:cxn ang="0">
                  <a:pos x="connsiteX10696" y="connsiteY10696"/>
                </a:cxn>
                <a:cxn ang="0">
                  <a:pos x="connsiteX10697" y="connsiteY10697"/>
                </a:cxn>
                <a:cxn ang="0">
                  <a:pos x="connsiteX10698" y="connsiteY10698"/>
                </a:cxn>
                <a:cxn ang="0">
                  <a:pos x="connsiteX10699" y="connsiteY10699"/>
                </a:cxn>
                <a:cxn ang="0">
                  <a:pos x="connsiteX10700" y="connsiteY10700"/>
                </a:cxn>
                <a:cxn ang="0">
                  <a:pos x="connsiteX10701" y="connsiteY10701"/>
                </a:cxn>
                <a:cxn ang="0">
                  <a:pos x="connsiteX10702" y="connsiteY10702"/>
                </a:cxn>
                <a:cxn ang="0">
                  <a:pos x="connsiteX10703" y="connsiteY10703"/>
                </a:cxn>
                <a:cxn ang="0">
                  <a:pos x="connsiteX10704" y="connsiteY10704"/>
                </a:cxn>
                <a:cxn ang="0">
                  <a:pos x="connsiteX10705" y="connsiteY10705"/>
                </a:cxn>
                <a:cxn ang="0">
                  <a:pos x="connsiteX10706" y="connsiteY10706"/>
                </a:cxn>
                <a:cxn ang="0">
                  <a:pos x="connsiteX10707" y="connsiteY10707"/>
                </a:cxn>
                <a:cxn ang="0">
                  <a:pos x="connsiteX10708" y="connsiteY10708"/>
                </a:cxn>
                <a:cxn ang="0">
                  <a:pos x="connsiteX10709" y="connsiteY10709"/>
                </a:cxn>
                <a:cxn ang="0">
                  <a:pos x="connsiteX10710" y="connsiteY10710"/>
                </a:cxn>
                <a:cxn ang="0">
                  <a:pos x="connsiteX10711" y="connsiteY10711"/>
                </a:cxn>
                <a:cxn ang="0">
                  <a:pos x="connsiteX10712" y="connsiteY10712"/>
                </a:cxn>
                <a:cxn ang="0">
                  <a:pos x="connsiteX10713" y="connsiteY10713"/>
                </a:cxn>
                <a:cxn ang="0">
                  <a:pos x="connsiteX10714" y="connsiteY10714"/>
                </a:cxn>
                <a:cxn ang="0">
                  <a:pos x="connsiteX10715" y="connsiteY10715"/>
                </a:cxn>
                <a:cxn ang="0">
                  <a:pos x="connsiteX10716" y="connsiteY10716"/>
                </a:cxn>
                <a:cxn ang="0">
                  <a:pos x="connsiteX10717" y="connsiteY10717"/>
                </a:cxn>
                <a:cxn ang="0">
                  <a:pos x="connsiteX10718" y="connsiteY10718"/>
                </a:cxn>
                <a:cxn ang="0">
                  <a:pos x="connsiteX10719" y="connsiteY10719"/>
                </a:cxn>
                <a:cxn ang="0">
                  <a:pos x="connsiteX10720" y="connsiteY10720"/>
                </a:cxn>
                <a:cxn ang="0">
                  <a:pos x="connsiteX10721" y="connsiteY10721"/>
                </a:cxn>
                <a:cxn ang="0">
                  <a:pos x="connsiteX10722" y="connsiteY10722"/>
                </a:cxn>
                <a:cxn ang="0">
                  <a:pos x="connsiteX10723" y="connsiteY10723"/>
                </a:cxn>
                <a:cxn ang="0">
                  <a:pos x="connsiteX10724" y="connsiteY10724"/>
                </a:cxn>
                <a:cxn ang="0">
                  <a:pos x="connsiteX10725" y="connsiteY10725"/>
                </a:cxn>
                <a:cxn ang="0">
                  <a:pos x="connsiteX10726" y="connsiteY10726"/>
                </a:cxn>
                <a:cxn ang="0">
                  <a:pos x="connsiteX10727" y="connsiteY10727"/>
                </a:cxn>
                <a:cxn ang="0">
                  <a:pos x="connsiteX10728" y="connsiteY10728"/>
                </a:cxn>
                <a:cxn ang="0">
                  <a:pos x="connsiteX10729" y="connsiteY10729"/>
                </a:cxn>
                <a:cxn ang="0">
                  <a:pos x="connsiteX10730" y="connsiteY10730"/>
                </a:cxn>
                <a:cxn ang="0">
                  <a:pos x="connsiteX10731" y="connsiteY10731"/>
                </a:cxn>
                <a:cxn ang="0">
                  <a:pos x="connsiteX10732" y="connsiteY10732"/>
                </a:cxn>
                <a:cxn ang="0">
                  <a:pos x="connsiteX10733" y="connsiteY10733"/>
                </a:cxn>
                <a:cxn ang="0">
                  <a:pos x="connsiteX10734" y="connsiteY10734"/>
                </a:cxn>
                <a:cxn ang="0">
                  <a:pos x="connsiteX10735" y="connsiteY10735"/>
                </a:cxn>
                <a:cxn ang="0">
                  <a:pos x="connsiteX10736" y="connsiteY10736"/>
                </a:cxn>
                <a:cxn ang="0">
                  <a:pos x="connsiteX10737" y="connsiteY10737"/>
                </a:cxn>
                <a:cxn ang="0">
                  <a:pos x="connsiteX10738" y="connsiteY10738"/>
                </a:cxn>
                <a:cxn ang="0">
                  <a:pos x="connsiteX10739" y="connsiteY10739"/>
                </a:cxn>
                <a:cxn ang="0">
                  <a:pos x="connsiteX10740" y="connsiteY10740"/>
                </a:cxn>
                <a:cxn ang="0">
                  <a:pos x="connsiteX10741" y="connsiteY10741"/>
                </a:cxn>
                <a:cxn ang="0">
                  <a:pos x="connsiteX10742" y="connsiteY10742"/>
                </a:cxn>
                <a:cxn ang="0">
                  <a:pos x="connsiteX10743" y="connsiteY10743"/>
                </a:cxn>
                <a:cxn ang="0">
                  <a:pos x="connsiteX10744" y="connsiteY10744"/>
                </a:cxn>
                <a:cxn ang="0">
                  <a:pos x="connsiteX10745" y="connsiteY10745"/>
                </a:cxn>
                <a:cxn ang="0">
                  <a:pos x="connsiteX10746" y="connsiteY10746"/>
                </a:cxn>
                <a:cxn ang="0">
                  <a:pos x="connsiteX10747" y="connsiteY10747"/>
                </a:cxn>
                <a:cxn ang="0">
                  <a:pos x="connsiteX10748" y="connsiteY10748"/>
                </a:cxn>
                <a:cxn ang="0">
                  <a:pos x="connsiteX10749" y="connsiteY10749"/>
                </a:cxn>
                <a:cxn ang="0">
                  <a:pos x="connsiteX10750" y="connsiteY10750"/>
                </a:cxn>
                <a:cxn ang="0">
                  <a:pos x="connsiteX10751" y="connsiteY10751"/>
                </a:cxn>
                <a:cxn ang="0">
                  <a:pos x="connsiteX10752" y="connsiteY10752"/>
                </a:cxn>
                <a:cxn ang="0">
                  <a:pos x="connsiteX10753" y="connsiteY10753"/>
                </a:cxn>
                <a:cxn ang="0">
                  <a:pos x="connsiteX10754" y="connsiteY10754"/>
                </a:cxn>
                <a:cxn ang="0">
                  <a:pos x="connsiteX10755" y="connsiteY10755"/>
                </a:cxn>
                <a:cxn ang="0">
                  <a:pos x="connsiteX10756" y="connsiteY10756"/>
                </a:cxn>
                <a:cxn ang="0">
                  <a:pos x="connsiteX10757" y="connsiteY10757"/>
                </a:cxn>
                <a:cxn ang="0">
                  <a:pos x="connsiteX10758" y="connsiteY10758"/>
                </a:cxn>
                <a:cxn ang="0">
                  <a:pos x="connsiteX10759" y="connsiteY10759"/>
                </a:cxn>
                <a:cxn ang="0">
                  <a:pos x="connsiteX10760" y="connsiteY10760"/>
                </a:cxn>
                <a:cxn ang="0">
                  <a:pos x="connsiteX10761" y="connsiteY10761"/>
                </a:cxn>
                <a:cxn ang="0">
                  <a:pos x="connsiteX10762" y="connsiteY10762"/>
                </a:cxn>
                <a:cxn ang="0">
                  <a:pos x="connsiteX10763" y="connsiteY10763"/>
                </a:cxn>
                <a:cxn ang="0">
                  <a:pos x="connsiteX10764" y="connsiteY10764"/>
                </a:cxn>
                <a:cxn ang="0">
                  <a:pos x="connsiteX10765" y="connsiteY10765"/>
                </a:cxn>
                <a:cxn ang="0">
                  <a:pos x="connsiteX10766" y="connsiteY10766"/>
                </a:cxn>
                <a:cxn ang="0">
                  <a:pos x="connsiteX10767" y="connsiteY10767"/>
                </a:cxn>
                <a:cxn ang="0">
                  <a:pos x="connsiteX10768" y="connsiteY10768"/>
                </a:cxn>
                <a:cxn ang="0">
                  <a:pos x="connsiteX10769" y="connsiteY10769"/>
                </a:cxn>
                <a:cxn ang="0">
                  <a:pos x="connsiteX10770" y="connsiteY10770"/>
                </a:cxn>
                <a:cxn ang="0">
                  <a:pos x="connsiteX10771" y="connsiteY10771"/>
                </a:cxn>
                <a:cxn ang="0">
                  <a:pos x="connsiteX10772" y="connsiteY10772"/>
                </a:cxn>
                <a:cxn ang="0">
                  <a:pos x="connsiteX10773" y="connsiteY10773"/>
                </a:cxn>
                <a:cxn ang="0">
                  <a:pos x="connsiteX10774" y="connsiteY10774"/>
                </a:cxn>
                <a:cxn ang="0">
                  <a:pos x="connsiteX10775" y="connsiteY10775"/>
                </a:cxn>
                <a:cxn ang="0">
                  <a:pos x="connsiteX10776" y="connsiteY10776"/>
                </a:cxn>
                <a:cxn ang="0">
                  <a:pos x="connsiteX10777" y="connsiteY10777"/>
                </a:cxn>
                <a:cxn ang="0">
                  <a:pos x="connsiteX10778" y="connsiteY10778"/>
                </a:cxn>
                <a:cxn ang="0">
                  <a:pos x="connsiteX10779" y="connsiteY10779"/>
                </a:cxn>
                <a:cxn ang="0">
                  <a:pos x="connsiteX10780" y="connsiteY10780"/>
                </a:cxn>
                <a:cxn ang="0">
                  <a:pos x="connsiteX10781" y="connsiteY10781"/>
                </a:cxn>
                <a:cxn ang="0">
                  <a:pos x="connsiteX10782" y="connsiteY10782"/>
                </a:cxn>
                <a:cxn ang="0">
                  <a:pos x="connsiteX10783" y="connsiteY10783"/>
                </a:cxn>
                <a:cxn ang="0">
                  <a:pos x="connsiteX10784" y="connsiteY10784"/>
                </a:cxn>
                <a:cxn ang="0">
                  <a:pos x="connsiteX10785" y="connsiteY10785"/>
                </a:cxn>
                <a:cxn ang="0">
                  <a:pos x="connsiteX10786" y="connsiteY10786"/>
                </a:cxn>
                <a:cxn ang="0">
                  <a:pos x="connsiteX10787" y="connsiteY10787"/>
                </a:cxn>
                <a:cxn ang="0">
                  <a:pos x="connsiteX10788" y="connsiteY10788"/>
                </a:cxn>
                <a:cxn ang="0">
                  <a:pos x="connsiteX10789" y="connsiteY10789"/>
                </a:cxn>
                <a:cxn ang="0">
                  <a:pos x="connsiteX10790" y="connsiteY10790"/>
                </a:cxn>
                <a:cxn ang="0">
                  <a:pos x="connsiteX10791" y="connsiteY10791"/>
                </a:cxn>
                <a:cxn ang="0">
                  <a:pos x="connsiteX10792" y="connsiteY10792"/>
                </a:cxn>
                <a:cxn ang="0">
                  <a:pos x="connsiteX10793" y="connsiteY10793"/>
                </a:cxn>
                <a:cxn ang="0">
                  <a:pos x="connsiteX10794" y="connsiteY10794"/>
                </a:cxn>
                <a:cxn ang="0">
                  <a:pos x="connsiteX10795" y="connsiteY10795"/>
                </a:cxn>
                <a:cxn ang="0">
                  <a:pos x="connsiteX10796" y="connsiteY10796"/>
                </a:cxn>
                <a:cxn ang="0">
                  <a:pos x="connsiteX10797" y="connsiteY10797"/>
                </a:cxn>
                <a:cxn ang="0">
                  <a:pos x="connsiteX10798" y="connsiteY10798"/>
                </a:cxn>
                <a:cxn ang="0">
                  <a:pos x="connsiteX10799" y="connsiteY10799"/>
                </a:cxn>
                <a:cxn ang="0">
                  <a:pos x="connsiteX10800" y="connsiteY10800"/>
                </a:cxn>
                <a:cxn ang="0">
                  <a:pos x="connsiteX10801" y="connsiteY10801"/>
                </a:cxn>
                <a:cxn ang="0">
                  <a:pos x="connsiteX10802" y="connsiteY10802"/>
                </a:cxn>
                <a:cxn ang="0">
                  <a:pos x="connsiteX10803" y="connsiteY10803"/>
                </a:cxn>
                <a:cxn ang="0">
                  <a:pos x="connsiteX10804" y="connsiteY10804"/>
                </a:cxn>
                <a:cxn ang="0">
                  <a:pos x="connsiteX10805" y="connsiteY10805"/>
                </a:cxn>
                <a:cxn ang="0">
                  <a:pos x="connsiteX10806" y="connsiteY10806"/>
                </a:cxn>
                <a:cxn ang="0">
                  <a:pos x="connsiteX10807" y="connsiteY10807"/>
                </a:cxn>
                <a:cxn ang="0">
                  <a:pos x="connsiteX10808" y="connsiteY10808"/>
                </a:cxn>
                <a:cxn ang="0">
                  <a:pos x="connsiteX10809" y="connsiteY10809"/>
                </a:cxn>
                <a:cxn ang="0">
                  <a:pos x="connsiteX10810" y="connsiteY10810"/>
                </a:cxn>
                <a:cxn ang="0">
                  <a:pos x="connsiteX10811" y="connsiteY10811"/>
                </a:cxn>
                <a:cxn ang="0">
                  <a:pos x="connsiteX10812" y="connsiteY10812"/>
                </a:cxn>
                <a:cxn ang="0">
                  <a:pos x="connsiteX10813" y="connsiteY10813"/>
                </a:cxn>
                <a:cxn ang="0">
                  <a:pos x="connsiteX10814" y="connsiteY10814"/>
                </a:cxn>
                <a:cxn ang="0">
                  <a:pos x="connsiteX10815" y="connsiteY10815"/>
                </a:cxn>
                <a:cxn ang="0">
                  <a:pos x="connsiteX10816" y="connsiteY10816"/>
                </a:cxn>
                <a:cxn ang="0">
                  <a:pos x="connsiteX10817" y="connsiteY10817"/>
                </a:cxn>
                <a:cxn ang="0">
                  <a:pos x="connsiteX10818" y="connsiteY10818"/>
                </a:cxn>
                <a:cxn ang="0">
                  <a:pos x="connsiteX10819" y="connsiteY10819"/>
                </a:cxn>
                <a:cxn ang="0">
                  <a:pos x="connsiteX10820" y="connsiteY10820"/>
                </a:cxn>
                <a:cxn ang="0">
                  <a:pos x="connsiteX10821" y="connsiteY10821"/>
                </a:cxn>
                <a:cxn ang="0">
                  <a:pos x="connsiteX10822" y="connsiteY10822"/>
                </a:cxn>
                <a:cxn ang="0">
                  <a:pos x="connsiteX10823" y="connsiteY10823"/>
                </a:cxn>
                <a:cxn ang="0">
                  <a:pos x="connsiteX10824" y="connsiteY10824"/>
                </a:cxn>
                <a:cxn ang="0">
                  <a:pos x="connsiteX10825" y="connsiteY10825"/>
                </a:cxn>
                <a:cxn ang="0">
                  <a:pos x="connsiteX10826" y="connsiteY10826"/>
                </a:cxn>
                <a:cxn ang="0">
                  <a:pos x="connsiteX10827" y="connsiteY10827"/>
                </a:cxn>
                <a:cxn ang="0">
                  <a:pos x="connsiteX10828" y="connsiteY10828"/>
                </a:cxn>
                <a:cxn ang="0">
                  <a:pos x="connsiteX10829" y="connsiteY10829"/>
                </a:cxn>
                <a:cxn ang="0">
                  <a:pos x="connsiteX10830" y="connsiteY10830"/>
                </a:cxn>
                <a:cxn ang="0">
                  <a:pos x="connsiteX10831" y="connsiteY10831"/>
                </a:cxn>
                <a:cxn ang="0">
                  <a:pos x="connsiteX10832" y="connsiteY10832"/>
                </a:cxn>
                <a:cxn ang="0">
                  <a:pos x="connsiteX10833" y="connsiteY10833"/>
                </a:cxn>
                <a:cxn ang="0">
                  <a:pos x="connsiteX10834" y="connsiteY10834"/>
                </a:cxn>
                <a:cxn ang="0">
                  <a:pos x="connsiteX10835" y="connsiteY10835"/>
                </a:cxn>
                <a:cxn ang="0">
                  <a:pos x="connsiteX10836" y="connsiteY10836"/>
                </a:cxn>
                <a:cxn ang="0">
                  <a:pos x="connsiteX10837" y="connsiteY10837"/>
                </a:cxn>
                <a:cxn ang="0">
                  <a:pos x="connsiteX10838" y="connsiteY10838"/>
                </a:cxn>
                <a:cxn ang="0">
                  <a:pos x="connsiteX10839" y="connsiteY10839"/>
                </a:cxn>
                <a:cxn ang="0">
                  <a:pos x="connsiteX10840" y="connsiteY10840"/>
                </a:cxn>
                <a:cxn ang="0">
                  <a:pos x="connsiteX10841" y="connsiteY10841"/>
                </a:cxn>
                <a:cxn ang="0">
                  <a:pos x="connsiteX10842" y="connsiteY10842"/>
                </a:cxn>
                <a:cxn ang="0">
                  <a:pos x="connsiteX10843" y="connsiteY10843"/>
                </a:cxn>
                <a:cxn ang="0">
                  <a:pos x="connsiteX10844" y="connsiteY10844"/>
                </a:cxn>
                <a:cxn ang="0">
                  <a:pos x="connsiteX10845" y="connsiteY10845"/>
                </a:cxn>
                <a:cxn ang="0">
                  <a:pos x="connsiteX10846" y="connsiteY10846"/>
                </a:cxn>
                <a:cxn ang="0">
                  <a:pos x="connsiteX10847" y="connsiteY10847"/>
                </a:cxn>
                <a:cxn ang="0">
                  <a:pos x="connsiteX10848" y="connsiteY10848"/>
                </a:cxn>
                <a:cxn ang="0">
                  <a:pos x="connsiteX10849" y="connsiteY10849"/>
                </a:cxn>
                <a:cxn ang="0">
                  <a:pos x="connsiteX10850" y="connsiteY10850"/>
                </a:cxn>
                <a:cxn ang="0">
                  <a:pos x="connsiteX10851" y="connsiteY10851"/>
                </a:cxn>
                <a:cxn ang="0">
                  <a:pos x="connsiteX10852" y="connsiteY10852"/>
                </a:cxn>
                <a:cxn ang="0">
                  <a:pos x="connsiteX10853" y="connsiteY10853"/>
                </a:cxn>
                <a:cxn ang="0">
                  <a:pos x="connsiteX10854" y="connsiteY10854"/>
                </a:cxn>
                <a:cxn ang="0">
                  <a:pos x="connsiteX10855" y="connsiteY10855"/>
                </a:cxn>
                <a:cxn ang="0">
                  <a:pos x="connsiteX10856" y="connsiteY10856"/>
                </a:cxn>
                <a:cxn ang="0">
                  <a:pos x="connsiteX10857" y="connsiteY10857"/>
                </a:cxn>
                <a:cxn ang="0">
                  <a:pos x="connsiteX10858" y="connsiteY10858"/>
                </a:cxn>
                <a:cxn ang="0">
                  <a:pos x="connsiteX10859" y="connsiteY10859"/>
                </a:cxn>
                <a:cxn ang="0">
                  <a:pos x="connsiteX10860" y="connsiteY10860"/>
                </a:cxn>
                <a:cxn ang="0">
                  <a:pos x="connsiteX10861" y="connsiteY10861"/>
                </a:cxn>
                <a:cxn ang="0">
                  <a:pos x="connsiteX10862" y="connsiteY10862"/>
                </a:cxn>
                <a:cxn ang="0">
                  <a:pos x="connsiteX10863" y="connsiteY10863"/>
                </a:cxn>
                <a:cxn ang="0">
                  <a:pos x="connsiteX10864" y="connsiteY10864"/>
                </a:cxn>
                <a:cxn ang="0">
                  <a:pos x="connsiteX10865" y="connsiteY10865"/>
                </a:cxn>
                <a:cxn ang="0">
                  <a:pos x="connsiteX10866" y="connsiteY10866"/>
                </a:cxn>
                <a:cxn ang="0">
                  <a:pos x="connsiteX10867" y="connsiteY10867"/>
                </a:cxn>
                <a:cxn ang="0">
                  <a:pos x="connsiteX10868" y="connsiteY10868"/>
                </a:cxn>
                <a:cxn ang="0">
                  <a:pos x="connsiteX10869" y="connsiteY10869"/>
                </a:cxn>
                <a:cxn ang="0">
                  <a:pos x="connsiteX10870" y="connsiteY10870"/>
                </a:cxn>
                <a:cxn ang="0">
                  <a:pos x="connsiteX10871" y="connsiteY10871"/>
                </a:cxn>
                <a:cxn ang="0">
                  <a:pos x="connsiteX10872" y="connsiteY10872"/>
                </a:cxn>
                <a:cxn ang="0">
                  <a:pos x="connsiteX10873" y="connsiteY10873"/>
                </a:cxn>
                <a:cxn ang="0">
                  <a:pos x="connsiteX10874" y="connsiteY10874"/>
                </a:cxn>
                <a:cxn ang="0">
                  <a:pos x="connsiteX10875" y="connsiteY10875"/>
                </a:cxn>
                <a:cxn ang="0">
                  <a:pos x="connsiteX10876" y="connsiteY10876"/>
                </a:cxn>
                <a:cxn ang="0">
                  <a:pos x="connsiteX10877" y="connsiteY10877"/>
                </a:cxn>
                <a:cxn ang="0">
                  <a:pos x="connsiteX10878" y="connsiteY10878"/>
                </a:cxn>
                <a:cxn ang="0">
                  <a:pos x="connsiteX10879" y="connsiteY10879"/>
                </a:cxn>
                <a:cxn ang="0">
                  <a:pos x="connsiteX10880" y="connsiteY10880"/>
                </a:cxn>
                <a:cxn ang="0">
                  <a:pos x="connsiteX10881" y="connsiteY10881"/>
                </a:cxn>
                <a:cxn ang="0">
                  <a:pos x="connsiteX10882" y="connsiteY10882"/>
                </a:cxn>
                <a:cxn ang="0">
                  <a:pos x="connsiteX10883" y="connsiteY10883"/>
                </a:cxn>
                <a:cxn ang="0">
                  <a:pos x="connsiteX10884" y="connsiteY10884"/>
                </a:cxn>
                <a:cxn ang="0">
                  <a:pos x="connsiteX10885" y="connsiteY10885"/>
                </a:cxn>
                <a:cxn ang="0">
                  <a:pos x="connsiteX10886" y="connsiteY10886"/>
                </a:cxn>
                <a:cxn ang="0">
                  <a:pos x="connsiteX10887" y="connsiteY10887"/>
                </a:cxn>
                <a:cxn ang="0">
                  <a:pos x="connsiteX10888" y="connsiteY10888"/>
                </a:cxn>
                <a:cxn ang="0">
                  <a:pos x="connsiteX10889" y="connsiteY10889"/>
                </a:cxn>
                <a:cxn ang="0">
                  <a:pos x="connsiteX10890" y="connsiteY10890"/>
                </a:cxn>
                <a:cxn ang="0">
                  <a:pos x="connsiteX10891" y="connsiteY10891"/>
                </a:cxn>
                <a:cxn ang="0">
                  <a:pos x="connsiteX10892" y="connsiteY10892"/>
                </a:cxn>
                <a:cxn ang="0">
                  <a:pos x="connsiteX10893" y="connsiteY10893"/>
                </a:cxn>
                <a:cxn ang="0">
                  <a:pos x="connsiteX10894" y="connsiteY10894"/>
                </a:cxn>
                <a:cxn ang="0">
                  <a:pos x="connsiteX10895" y="connsiteY10895"/>
                </a:cxn>
                <a:cxn ang="0">
                  <a:pos x="connsiteX10896" y="connsiteY10896"/>
                </a:cxn>
                <a:cxn ang="0">
                  <a:pos x="connsiteX10897" y="connsiteY10897"/>
                </a:cxn>
                <a:cxn ang="0">
                  <a:pos x="connsiteX10898" y="connsiteY10898"/>
                </a:cxn>
                <a:cxn ang="0">
                  <a:pos x="connsiteX10899" y="connsiteY10899"/>
                </a:cxn>
                <a:cxn ang="0">
                  <a:pos x="connsiteX10900" y="connsiteY10900"/>
                </a:cxn>
                <a:cxn ang="0">
                  <a:pos x="connsiteX10901" y="connsiteY10901"/>
                </a:cxn>
                <a:cxn ang="0">
                  <a:pos x="connsiteX10902" y="connsiteY10902"/>
                </a:cxn>
                <a:cxn ang="0">
                  <a:pos x="connsiteX10903" y="connsiteY10903"/>
                </a:cxn>
                <a:cxn ang="0">
                  <a:pos x="connsiteX10904" y="connsiteY10904"/>
                </a:cxn>
                <a:cxn ang="0">
                  <a:pos x="connsiteX10905" y="connsiteY10905"/>
                </a:cxn>
                <a:cxn ang="0">
                  <a:pos x="connsiteX10906" y="connsiteY10906"/>
                </a:cxn>
                <a:cxn ang="0">
                  <a:pos x="connsiteX10907" y="connsiteY10907"/>
                </a:cxn>
                <a:cxn ang="0">
                  <a:pos x="connsiteX10908" y="connsiteY10908"/>
                </a:cxn>
                <a:cxn ang="0">
                  <a:pos x="connsiteX10909" y="connsiteY10909"/>
                </a:cxn>
                <a:cxn ang="0">
                  <a:pos x="connsiteX10910" y="connsiteY10910"/>
                </a:cxn>
                <a:cxn ang="0">
                  <a:pos x="connsiteX10911" y="connsiteY10911"/>
                </a:cxn>
                <a:cxn ang="0">
                  <a:pos x="connsiteX10912" y="connsiteY10912"/>
                </a:cxn>
                <a:cxn ang="0">
                  <a:pos x="connsiteX10913" y="connsiteY10913"/>
                </a:cxn>
                <a:cxn ang="0">
                  <a:pos x="connsiteX10914" y="connsiteY10914"/>
                </a:cxn>
                <a:cxn ang="0">
                  <a:pos x="connsiteX10915" y="connsiteY10915"/>
                </a:cxn>
                <a:cxn ang="0">
                  <a:pos x="connsiteX10916" y="connsiteY10916"/>
                </a:cxn>
                <a:cxn ang="0">
                  <a:pos x="connsiteX10917" y="connsiteY10917"/>
                </a:cxn>
                <a:cxn ang="0">
                  <a:pos x="connsiteX10918" y="connsiteY10918"/>
                </a:cxn>
                <a:cxn ang="0">
                  <a:pos x="connsiteX10919" y="connsiteY10919"/>
                </a:cxn>
                <a:cxn ang="0">
                  <a:pos x="connsiteX10920" y="connsiteY10920"/>
                </a:cxn>
                <a:cxn ang="0">
                  <a:pos x="connsiteX10921" y="connsiteY10921"/>
                </a:cxn>
                <a:cxn ang="0">
                  <a:pos x="connsiteX10922" y="connsiteY10922"/>
                </a:cxn>
                <a:cxn ang="0">
                  <a:pos x="connsiteX10923" y="connsiteY10923"/>
                </a:cxn>
                <a:cxn ang="0">
                  <a:pos x="connsiteX10924" y="connsiteY10924"/>
                </a:cxn>
                <a:cxn ang="0">
                  <a:pos x="connsiteX10925" y="connsiteY10925"/>
                </a:cxn>
                <a:cxn ang="0">
                  <a:pos x="connsiteX10926" y="connsiteY10926"/>
                </a:cxn>
                <a:cxn ang="0">
                  <a:pos x="connsiteX10927" y="connsiteY10927"/>
                </a:cxn>
                <a:cxn ang="0">
                  <a:pos x="connsiteX10928" y="connsiteY10928"/>
                </a:cxn>
                <a:cxn ang="0">
                  <a:pos x="connsiteX10929" y="connsiteY10929"/>
                </a:cxn>
                <a:cxn ang="0">
                  <a:pos x="connsiteX10930" y="connsiteY10930"/>
                </a:cxn>
                <a:cxn ang="0">
                  <a:pos x="connsiteX10931" y="connsiteY10931"/>
                </a:cxn>
                <a:cxn ang="0">
                  <a:pos x="connsiteX10932" y="connsiteY10932"/>
                </a:cxn>
                <a:cxn ang="0">
                  <a:pos x="connsiteX10933" y="connsiteY10933"/>
                </a:cxn>
                <a:cxn ang="0">
                  <a:pos x="connsiteX10934" y="connsiteY10934"/>
                </a:cxn>
                <a:cxn ang="0">
                  <a:pos x="connsiteX10935" y="connsiteY10935"/>
                </a:cxn>
                <a:cxn ang="0">
                  <a:pos x="connsiteX10936" y="connsiteY10936"/>
                </a:cxn>
                <a:cxn ang="0">
                  <a:pos x="connsiteX10937" y="connsiteY10937"/>
                </a:cxn>
                <a:cxn ang="0">
                  <a:pos x="connsiteX10938" y="connsiteY10938"/>
                </a:cxn>
                <a:cxn ang="0">
                  <a:pos x="connsiteX10939" y="connsiteY10939"/>
                </a:cxn>
                <a:cxn ang="0">
                  <a:pos x="connsiteX10940" y="connsiteY10940"/>
                </a:cxn>
                <a:cxn ang="0">
                  <a:pos x="connsiteX10941" y="connsiteY10941"/>
                </a:cxn>
                <a:cxn ang="0">
                  <a:pos x="connsiteX10942" y="connsiteY10942"/>
                </a:cxn>
                <a:cxn ang="0">
                  <a:pos x="connsiteX10943" y="connsiteY10943"/>
                </a:cxn>
                <a:cxn ang="0">
                  <a:pos x="connsiteX10944" y="connsiteY10944"/>
                </a:cxn>
                <a:cxn ang="0">
                  <a:pos x="connsiteX10945" y="connsiteY10945"/>
                </a:cxn>
                <a:cxn ang="0">
                  <a:pos x="connsiteX10946" y="connsiteY10946"/>
                </a:cxn>
                <a:cxn ang="0">
                  <a:pos x="connsiteX10947" y="connsiteY10947"/>
                </a:cxn>
                <a:cxn ang="0">
                  <a:pos x="connsiteX10948" y="connsiteY10948"/>
                </a:cxn>
                <a:cxn ang="0">
                  <a:pos x="connsiteX10949" y="connsiteY10949"/>
                </a:cxn>
                <a:cxn ang="0">
                  <a:pos x="connsiteX10950" y="connsiteY10950"/>
                </a:cxn>
                <a:cxn ang="0">
                  <a:pos x="connsiteX10951" y="connsiteY10951"/>
                </a:cxn>
                <a:cxn ang="0">
                  <a:pos x="connsiteX10952" y="connsiteY10952"/>
                </a:cxn>
                <a:cxn ang="0">
                  <a:pos x="connsiteX10953" y="connsiteY10953"/>
                </a:cxn>
                <a:cxn ang="0">
                  <a:pos x="connsiteX10954" y="connsiteY10954"/>
                </a:cxn>
                <a:cxn ang="0">
                  <a:pos x="connsiteX10955" y="connsiteY10955"/>
                </a:cxn>
                <a:cxn ang="0">
                  <a:pos x="connsiteX10956" y="connsiteY10956"/>
                </a:cxn>
                <a:cxn ang="0">
                  <a:pos x="connsiteX10957" y="connsiteY10957"/>
                </a:cxn>
                <a:cxn ang="0">
                  <a:pos x="connsiteX10958" y="connsiteY10958"/>
                </a:cxn>
                <a:cxn ang="0">
                  <a:pos x="connsiteX10959" y="connsiteY10959"/>
                </a:cxn>
                <a:cxn ang="0">
                  <a:pos x="connsiteX10960" y="connsiteY10960"/>
                </a:cxn>
                <a:cxn ang="0">
                  <a:pos x="connsiteX10961" y="connsiteY10961"/>
                </a:cxn>
                <a:cxn ang="0">
                  <a:pos x="connsiteX10962" y="connsiteY10962"/>
                </a:cxn>
                <a:cxn ang="0">
                  <a:pos x="connsiteX10963" y="connsiteY10963"/>
                </a:cxn>
                <a:cxn ang="0">
                  <a:pos x="connsiteX10964" y="connsiteY10964"/>
                </a:cxn>
                <a:cxn ang="0">
                  <a:pos x="connsiteX10965" y="connsiteY10965"/>
                </a:cxn>
                <a:cxn ang="0">
                  <a:pos x="connsiteX10966" y="connsiteY10966"/>
                </a:cxn>
                <a:cxn ang="0">
                  <a:pos x="connsiteX10967" y="connsiteY10967"/>
                </a:cxn>
                <a:cxn ang="0">
                  <a:pos x="connsiteX10968" y="connsiteY10968"/>
                </a:cxn>
                <a:cxn ang="0">
                  <a:pos x="connsiteX10969" y="connsiteY10969"/>
                </a:cxn>
                <a:cxn ang="0">
                  <a:pos x="connsiteX10970" y="connsiteY10970"/>
                </a:cxn>
                <a:cxn ang="0">
                  <a:pos x="connsiteX10971" y="connsiteY10971"/>
                </a:cxn>
                <a:cxn ang="0">
                  <a:pos x="connsiteX10972" y="connsiteY10972"/>
                </a:cxn>
                <a:cxn ang="0">
                  <a:pos x="connsiteX10973" y="connsiteY10973"/>
                </a:cxn>
                <a:cxn ang="0">
                  <a:pos x="connsiteX10974" y="connsiteY10974"/>
                </a:cxn>
                <a:cxn ang="0">
                  <a:pos x="connsiteX10975" y="connsiteY10975"/>
                </a:cxn>
                <a:cxn ang="0">
                  <a:pos x="connsiteX10976" y="connsiteY10976"/>
                </a:cxn>
                <a:cxn ang="0">
                  <a:pos x="connsiteX10977" y="connsiteY10977"/>
                </a:cxn>
                <a:cxn ang="0">
                  <a:pos x="connsiteX10978" y="connsiteY10978"/>
                </a:cxn>
                <a:cxn ang="0">
                  <a:pos x="connsiteX10979" y="connsiteY10979"/>
                </a:cxn>
                <a:cxn ang="0">
                  <a:pos x="connsiteX10980" y="connsiteY10980"/>
                </a:cxn>
                <a:cxn ang="0">
                  <a:pos x="connsiteX10981" y="connsiteY10981"/>
                </a:cxn>
                <a:cxn ang="0">
                  <a:pos x="connsiteX10982" y="connsiteY10982"/>
                </a:cxn>
                <a:cxn ang="0">
                  <a:pos x="connsiteX10983" y="connsiteY10983"/>
                </a:cxn>
                <a:cxn ang="0">
                  <a:pos x="connsiteX10984" y="connsiteY10984"/>
                </a:cxn>
                <a:cxn ang="0">
                  <a:pos x="connsiteX10985" y="connsiteY10985"/>
                </a:cxn>
                <a:cxn ang="0">
                  <a:pos x="connsiteX10986" y="connsiteY10986"/>
                </a:cxn>
                <a:cxn ang="0">
                  <a:pos x="connsiteX10987" y="connsiteY10987"/>
                </a:cxn>
                <a:cxn ang="0">
                  <a:pos x="connsiteX10988" y="connsiteY10988"/>
                </a:cxn>
                <a:cxn ang="0">
                  <a:pos x="connsiteX10989" y="connsiteY10989"/>
                </a:cxn>
                <a:cxn ang="0">
                  <a:pos x="connsiteX10990" y="connsiteY10990"/>
                </a:cxn>
                <a:cxn ang="0">
                  <a:pos x="connsiteX10991" y="connsiteY10991"/>
                </a:cxn>
                <a:cxn ang="0">
                  <a:pos x="connsiteX10992" y="connsiteY10992"/>
                </a:cxn>
                <a:cxn ang="0">
                  <a:pos x="connsiteX10993" y="connsiteY10993"/>
                </a:cxn>
                <a:cxn ang="0">
                  <a:pos x="connsiteX10994" y="connsiteY10994"/>
                </a:cxn>
                <a:cxn ang="0">
                  <a:pos x="connsiteX10995" y="connsiteY10995"/>
                </a:cxn>
                <a:cxn ang="0">
                  <a:pos x="connsiteX10996" y="connsiteY10996"/>
                </a:cxn>
                <a:cxn ang="0">
                  <a:pos x="connsiteX10997" y="connsiteY10997"/>
                </a:cxn>
                <a:cxn ang="0">
                  <a:pos x="connsiteX10998" y="connsiteY10998"/>
                </a:cxn>
                <a:cxn ang="0">
                  <a:pos x="connsiteX10999" y="connsiteY10999"/>
                </a:cxn>
                <a:cxn ang="0">
                  <a:pos x="connsiteX11000" y="connsiteY11000"/>
                </a:cxn>
                <a:cxn ang="0">
                  <a:pos x="connsiteX11001" y="connsiteY11001"/>
                </a:cxn>
                <a:cxn ang="0">
                  <a:pos x="connsiteX11002" y="connsiteY11002"/>
                </a:cxn>
                <a:cxn ang="0">
                  <a:pos x="connsiteX11003" y="connsiteY11003"/>
                </a:cxn>
                <a:cxn ang="0">
                  <a:pos x="connsiteX11004" y="connsiteY11004"/>
                </a:cxn>
                <a:cxn ang="0">
                  <a:pos x="connsiteX11005" y="connsiteY11005"/>
                </a:cxn>
                <a:cxn ang="0">
                  <a:pos x="connsiteX11006" y="connsiteY11006"/>
                </a:cxn>
                <a:cxn ang="0">
                  <a:pos x="connsiteX11007" y="connsiteY11007"/>
                </a:cxn>
                <a:cxn ang="0">
                  <a:pos x="connsiteX11008" y="connsiteY11008"/>
                </a:cxn>
                <a:cxn ang="0">
                  <a:pos x="connsiteX11009" y="connsiteY11009"/>
                </a:cxn>
                <a:cxn ang="0">
                  <a:pos x="connsiteX11010" y="connsiteY11010"/>
                </a:cxn>
                <a:cxn ang="0">
                  <a:pos x="connsiteX11011" y="connsiteY11011"/>
                </a:cxn>
                <a:cxn ang="0">
                  <a:pos x="connsiteX11012" y="connsiteY11012"/>
                </a:cxn>
                <a:cxn ang="0">
                  <a:pos x="connsiteX11013" y="connsiteY11013"/>
                </a:cxn>
                <a:cxn ang="0">
                  <a:pos x="connsiteX11014" y="connsiteY11014"/>
                </a:cxn>
                <a:cxn ang="0">
                  <a:pos x="connsiteX11015" y="connsiteY11015"/>
                </a:cxn>
                <a:cxn ang="0">
                  <a:pos x="connsiteX11016" y="connsiteY11016"/>
                </a:cxn>
                <a:cxn ang="0">
                  <a:pos x="connsiteX11017" y="connsiteY11017"/>
                </a:cxn>
                <a:cxn ang="0">
                  <a:pos x="connsiteX11018" y="connsiteY11018"/>
                </a:cxn>
                <a:cxn ang="0">
                  <a:pos x="connsiteX11019" y="connsiteY11019"/>
                </a:cxn>
                <a:cxn ang="0">
                  <a:pos x="connsiteX11020" y="connsiteY11020"/>
                </a:cxn>
                <a:cxn ang="0">
                  <a:pos x="connsiteX11021" y="connsiteY11021"/>
                </a:cxn>
                <a:cxn ang="0">
                  <a:pos x="connsiteX11022" y="connsiteY11022"/>
                </a:cxn>
                <a:cxn ang="0">
                  <a:pos x="connsiteX11023" y="connsiteY11023"/>
                </a:cxn>
                <a:cxn ang="0">
                  <a:pos x="connsiteX11024" y="connsiteY11024"/>
                </a:cxn>
                <a:cxn ang="0">
                  <a:pos x="connsiteX11025" y="connsiteY11025"/>
                </a:cxn>
                <a:cxn ang="0">
                  <a:pos x="connsiteX11026" y="connsiteY11026"/>
                </a:cxn>
                <a:cxn ang="0">
                  <a:pos x="connsiteX11027" y="connsiteY11027"/>
                </a:cxn>
                <a:cxn ang="0">
                  <a:pos x="connsiteX11028" y="connsiteY11028"/>
                </a:cxn>
                <a:cxn ang="0">
                  <a:pos x="connsiteX11029" y="connsiteY11029"/>
                </a:cxn>
                <a:cxn ang="0">
                  <a:pos x="connsiteX11030" y="connsiteY11030"/>
                </a:cxn>
                <a:cxn ang="0">
                  <a:pos x="connsiteX11031" y="connsiteY11031"/>
                </a:cxn>
                <a:cxn ang="0">
                  <a:pos x="connsiteX11032" y="connsiteY11032"/>
                </a:cxn>
                <a:cxn ang="0">
                  <a:pos x="connsiteX11033" y="connsiteY11033"/>
                </a:cxn>
                <a:cxn ang="0">
                  <a:pos x="connsiteX11034" y="connsiteY11034"/>
                </a:cxn>
                <a:cxn ang="0">
                  <a:pos x="connsiteX11035" y="connsiteY11035"/>
                </a:cxn>
                <a:cxn ang="0">
                  <a:pos x="connsiteX11036" y="connsiteY11036"/>
                </a:cxn>
                <a:cxn ang="0">
                  <a:pos x="connsiteX11037" y="connsiteY11037"/>
                </a:cxn>
                <a:cxn ang="0">
                  <a:pos x="connsiteX11038" y="connsiteY11038"/>
                </a:cxn>
                <a:cxn ang="0">
                  <a:pos x="connsiteX11039" y="connsiteY11039"/>
                </a:cxn>
                <a:cxn ang="0">
                  <a:pos x="connsiteX11040" y="connsiteY11040"/>
                </a:cxn>
                <a:cxn ang="0">
                  <a:pos x="connsiteX11041" y="connsiteY11041"/>
                </a:cxn>
                <a:cxn ang="0">
                  <a:pos x="connsiteX11042" y="connsiteY11042"/>
                </a:cxn>
                <a:cxn ang="0">
                  <a:pos x="connsiteX11043" y="connsiteY11043"/>
                </a:cxn>
                <a:cxn ang="0">
                  <a:pos x="connsiteX11044" y="connsiteY11044"/>
                </a:cxn>
                <a:cxn ang="0">
                  <a:pos x="connsiteX11045" y="connsiteY11045"/>
                </a:cxn>
                <a:cxn ang="0">
                  <a:pos x="connsiteX11046" y="connsiteY11046"/>
                </a:cxn>
                <a:cxn ang="0">
                  <a:pos x="connsiteX11047" y="connsiteY11047"/>
                </a:cxn>
                <a:cxn ang="0">
                  <a:pos x="connsiteX11048" y="connsiteY11048"/>
                </a:cxn>
                <a:cxn ang="0">
                  <a:pos x="connsiteX11049" y="connsiteY11049"/>
                </a:cxn>
                <a:cxn ang="0">
                  <a:pos x="connsiteX11050" y="connsiteY11050"/>
                </a:cxn>
                <a:cxn ang="0">
                  <a:pos x="connsiteX11051" y="connsiteY11051"/>
                </a:cxn>
                <a:cxn ang="0">
                  <a:pos x="connsiteX11052" y="connsiteY11052"/>
                </a:cxn>
                <a:cxn ang="0">
                  <a:pos x="connsiteX11053" y="connsiteY11053"/>
                </a:cxn>
                <a:cxn ang="0">
                  <a:pos x="connsiteX11054" y="connsiteY11054"/>
                </a:cxn>
                <a:cxn ang="0">
                  <a:pos x="connsiteX11055" y="connsiteY11055"/>
                </a:cxn>
                <a:cxn ang="0">
                  <a:pos x="connsiteX11056" y="connsiteY11056"/>
                </a:cxn>
                <a:cxn ang="0">
                  <a:pos x="connsiteX11057" y="connsiteY11057"/>
                </a:cxn>
                <a:cxn ang="0">
                  <a:pos x="connsiteX11058" y="connsiteY11058"/>
                </a:cxn>
                <a:cxn ang="0">
                  <a:pos x="connsiteX11059" y="connsiteY11059"/>
                </a:cxn>
                <a:cxn ang="0">
                  <a:pos x="connsiteX11060" y="connsiteY11060"/>
                </a:cxn>
                <a:cxn ang="0">
                  <a:pos x="connsiteX11061" y="connsiteY11061"/>
                </a:cxn>
                <a:cxn ang="0">
                  <a:pos x="connsiteX11062" y="connsiteY11062"/>
                </a:cxn>
                <a:cxn ang="0">
                  <a:pos x="connsiteX11063" y="connsiteY11063"/>
                </a:cxn>
                <a:cxn ang="0">
                  <a:pos x="connsiteX11064" y="connsiteY11064"/>
                </a:cxn>
                <a:cxn ang="0">
                  <a:pos x="connsiteX11065" y="connsiteY11065"/>
                </a:cxn>
                <a:cxn ang="0">
                  <a:pos x="connsiteX11066" y="connsiteY11066"/>
                </a:cxn>
                <a:cxn ang="0">
                  <a:pos x="connsiteX11067" y="connsiteY11067"/>
                </a:cxn>
                <a:cxn ang="0">
                  <a:pos x="connsiteX11068" y="connsiteY11068"/>
                </a:cxn>
                <a:cxn ang="0">
                  <a:pos x="connsiteX11069" y="connsiteY11069"/>
                </a:cxn>
                <a:cxn ang="0">
                  <a:pos x="connsiteX11070" y="connsiteY11070"/>
                </a:cxn>
                <a:cxn ang="0">
                  <a:pos x="connsiteX11071" y="connsiteY11071"/>
                </a:cxn>
                <a:cxn ang="0">
                  <a:pos x="connsiteX11072" y="connsiteY11072"/>
                </a:cxn>
                <a:cxn ang="0">
                  <a:pos x="connsiteX11073" y="connsiteY11073"/>
                </a:cxn>
                <a:cxn ang="0">
                  <a:pos x="connsiteX11074" y="connsiteY11074"/>
                </a:cxn>
                <a:cxn ang="0">
                  <a:pos x="connsiteX11075" y="connsiteY11075"/>
                </a:cxn>
                <a:cxn ang="0">
                  <a:pos x="connsiteX11076" y="connsiteY11076"/>
                </a:cxn>
                <a:cxn ang="0">
                  <a:pos x="connsiteX11077" y="connsiteY11077"/>
                </a:cxn>
                <a:cxn ang="0">
                  <a:pos x="connsiteX11078" y="connsiteY11078"/>
                </a:cxn>
                <a:cxn ang="0">
                  <a:pos x="connsiteX11079" y="connsiteY11079"/>
                </a:cxn>
                <a:cxn ang="0">
                  <a:pos x="connsiteX11080" y="connsiteY11080"/>
                </a:cxn>
                <a:cxn ang="0">
                  <a:pos x="connsiteX11081" y="connsiteY11081"/>
                </a:cxn>
                <a:cxn ang="0">
                  <a:pos x="connsiteX11082" y="connsiteY11082"/>
                </a:cxn>
                <a:cxn ang="0">
                  <a:pos x="connsiteX11083" y="connsiteY11083"/>
                </a:cxn>
                <a:cxn ang="0">
                  <a:pos x="connsiteX11084" y="connsiteY11084"/>
                </a:cxn>
                <a:cxn ang="0">
                  <a:pos x="connsiteX11085" y="connsiteY11085"/>
                </a:cxn>
                <a:cxn ang="0">
                  <a:pos x="connsiteX11086" y="connsiteY11086"/>
                </a:cxn>
                <a:cxn ang="0">
                  <a:pos x="connsiteX11087" y="connsiteY11087"/>
                </a:cxn>
                <a:cxn ang="0">
                  <a:pos x="connsiteX11088" y="connsiteY11088"/>
                </a:cxn>
                <a:cxn ang="0">
                  <a:pos x="connsiteX11089" y="connsiteY11089"/>
                </a:cxn>
                <a:cxn ang="0">
                  <a:pos x="connsiteX11090" y="connsiteY11090"/>
                </a:cxn>
                <a:cxn ang="0">
                  <a:pos x="connsiteX11091" y="connsiteY11091"/>
                </a:cxn>
                <a:cxn ang="0">
                  <a:pos x="connsiteX11092" y="connsiteY11092"/>
                </a:cxn>
                <a:cxn ang="0">
                  <a:pos x="connsiteX11093" y="connsiteY11093"/>
                </a:cxn>
                <a:cxn ang="0">
                  <a:pos x="connsiteX11094" y="connsiteY11094"/>
                </a:cxn>
                <a:cxn ang="0">
                  <a:pos x="connsiteX11095" y="connsiteY11095"/>
                </a:cxn>
                <a:cxn ang="0">
                  <a:pos x="connsiteX11096" y="connsiteY11096"/>
                </a:cxn>
                <a:cxn ang="0">
                  <a:pos x="connsiteX11097" y="connsiteY11097"/>
                </a:cxn>
                <a:cxn ang="0">
                  <a:pos x="connsiteX11098" y="connsiteY11098"/>
                </a:cxn>
                <a:cxn ang="0">
                  <a:pos x="connsiteX11099" y="connsiteY11099"/>
                </a:cxn>
                <a:cxn ang="0">
                  <a:pos x="connsiteX11100" y="connsiteY11100"/>
                </a:cxn>
                <a:cxn ang="0">
                  <a:pos x="connsiteX11101" y="connsiteY11101"/>
                </a:cxn>
                <a:cxn ang="0">
                  <a:pos x="connsiteX11102" y="connsiteY11102"/>
                </a:cxn>
                <a:cxn ang="0">
                  <a:pos x="connsiteX11103" y="connsiteY11103"/>
                </a:cxn>
                <a:cxn ang="0">
                  <a:pos x="connsiteX11104" y="connsiteY11104"/>
                </a:cxn>
                <a:cxn ang="0">
                  <a:pos x="connsiteX11105" y="connsiteY11105"/>
                </a:cxn>
                <a:cxn ang="0">
                  <a:pos x="connsiteX11106" y="connsiteY11106"/>
                </a:cxn>
                <a:cxn ang="0">
                  <a:pos x="connsiteX11107" y="connsiteY11107"/>
                </a:cxn>
                <a:cxn ang="0">
                  <a:pos x="connsiteX11108" y="connsiteY11108"/>
                </a:cxn>
                <a:cxn ang="0">
                  <a:pos x="connsiteX11109" y="connsiteY11109"/>
                </a:cxn>
                <a:cxn ang="0">
                  <a:pos x="connsiteX11110" y="connsiteY11110"/>
                </a:cxn>
                <a:cxn ang="0">
                  <a:pos x="connsiteX11111" y="connsiteY11111"/>
                </a:cxn>
                <a:cxn ang="0">
                  <a:pos x="connsiteX11112" y="connsiteY11112"/>
                </a:cxn>
                <a:cxn ang="0">
                  <a:pos x="connsiteX11113" y="connsiteY11113"/>
                </a:cxn>
                <a:cxn ang="0">
                  <a:pos x="connsiteX11114" y="connsiteY11114"/>
                </a:cxn>
                <a:cxn ang="0">
                  <a:pos x="connsiteX11115" y="connsiteY11115"/>
                </a:cxn>
                <a:cxn ang="0">
                  <a:pos x="connsiteX11116" y="connsiteY11116"/>
                </a:cxn>
                <a:cxn ang="0">
                  <a:pos x="connsiteX11117" y="connsiteY11117"/>
                </a:cxn>
                <a:cxn ang="0">
                  <a:pos x="connsiteX11118" y="connsiteY11118"/>
                </a:cxn>
                <a:cxn ang="0">
                  <a:pos x="connsiteX11119" y="connsiteY11119"/>
                </a:cxn>
                <a:cxn ang="0">
                  <a:pos x="connsiteX11120" y="connsiteY11120"/>
                </a:cxn>
                <a:cxn ang="0">
                  <a:pos x="connsiteX11121" y="connsiteY11121"/>
                </a:cxn>
                <a:cxn ang="0">
                  <a:pos x="connsiteX11122" y="connsiteY11122"/>
                </a:cxn>
                <a:cxn ang="0">
                  <a:pos x="connsiteX11123" y="connsiteY11123"/>
                </a:cxn>
                <a:cxn ang="0">
                  <a:pos x="connsiteX11124" y="connsiteY11124"/>
                </a:cxn>
                <a:cxn ang="0">
                  <a:pos x="connsiteX11125" y="connsiteY11125"/>
                </a:cxn>
                <a:cxn ang="0">
                  <a:pos x="connsiteX11126" y="connsiteY11126"/>
                </a:cxn>
                <a:cxn ang="0">
                  <a:pos x="connsiteX11127" y="connsiteY11127"/>
                </a:cxn>
                <a:cxn ang="0">
                  <a:pos x="connsiteX11128" y="connsiteY11128"/>
                </a:cxn>
                <a:cxn ang="0">
                  <a:pos x="connsiteX11129" y="connsiteY11129"/>
                </a:cxn>
                <a:cxn ang="0">
                  <a:pos x="connsiteX11130" y="connsiteY11130"/>
                </a:cxn>
                <a:cxn ang="0">
                  <a:pos x="connsiteX11131" y="connsiteY11131"/>
                </a:cxn>
                <a:cxn ang="0">
                  <a:pos x="connsiteX11132" y="connsiteY11132"/>
                </a:cxn>
                <a:cxn ang="0">
                  <a:pos x="connsiteX11133" y="connsiteY11133"/>
                </a:cxn>
                <a:cxn ang="0">
                  <a:pos x="connsiteX11134" y="connsiteY11134"/>
                </a:cxn>
                <a:cxn ang="0">
                  <a:pos x="connsiteX11135" y="connsiteY11135"/>
                </a:cxn>
                <a:cxn ang="0">
                  <a:pos x="connsiteX11136" y="connsiteY11136"/>
                </a:cxn>
                <a:cxn ang="0">
                  <a:pos x="connsiteX11137" y="connsiteY11137"/>
                </a:cxn>
                <a:cxn ang="0">
                  <a:pos x="connsiteX11138" y="connsiteY11138"/>
                </a:cxn>
                <a:cxn ang="0">
                  <a:pos x="connsiteX11139" y="connsiteY11139"/>
                </a:cxn>
                <a:cxn ang="0">
                  <a:pos x="connsiteX11140" y="connsiteY11140"/>
                </a:cxn>
                <a:cxn ang="0">
                  <a:pos x="connsiteX11141" y="connsiteY11141"/>
                </a:cxn>
                <a:cxn ang="0">
                  <a:pos x="connsiteX11142" y="connsiteY11142"/>
                </a:cxn>
                <a:cxn ang="0">
                  <a:pos x="connsiteX11143" y="connsiteY11143"/>
                </a:cxn>
                <a:cxn ang="0">
                  <a:pos x="connsiteX11144" y="connsiteY11144"/>
                </a:cxn>
                <a:cxn ang="0">
                  <a:pos x="connsiteX11145" y="connsiteY11145"/>
                </a:cxn>
                <a:cxn ang="0">
                  <a:pos x="connsiteX11146" y="connsiteY11146"/>
                </a:cxn>
                <a:cxn ang="0">
                  <a:pos x="connsiteX11147" y="connsiteY11147"/>
                </a:cxn>
                <a:cxn ang="0">
                  <a:pos x="connsiteX11148" y="connsiteY11148"/>
                </a:cxn>
                <a:cxn ang="0">
                  <a:pos x="connsiteX11149" y="connsiteY11149"/>
                </a:cxn>
                <a:cxn ang="0">
                  <a:pos x="connsiteX11150" y="connsiteY11150"/>
                </a:cxn>
                <a:cxn ang="0">
                  <a:pos x="connsiteX11151" y="connsiteY11151"/>
                </a:cxn>
                <a:cxn ang="0">
                  <a:pos x="connsiteX11152" y="connsiteY11152"/>
                </a:cxn>
                <a:cxn ang="0">
                  <a:pos x="connsiteX11153" y="connsiteY11153"/>
                </a:cxn>
                <a:cxn ang="0">
                  <a:pos x="connsiteX11154" y="connsiteY11154"/>
                </a:cxn>
                <a:cxn ang="0">
                  <a:pos x="connsiteX11155" y="connsiteY11155"/>
                </a:cxn>
                <a:cxn ang="0">
                  <a:pos x="connsiteX11156" y="connsiteY11156"/>
                </a:cxn>
                <a:cxn ang="0">
                  <a:pos x="connsiteX11157" y="connsiteY11157"/>
                </a:cxn>
                <a:cxn ang="0">
                  <a:pos x="connsiteX11158" y="connsiteY11158"/>
                </a:cxn>
                <a:cxn ang="0">
                  <a:pos x="connsiteX11159" y="connsiteY11159"/>
                </a:cxn>
                <a:cxn ang="0">
                  <a:pos x="connsiteX11160" y="connsiteY11160"/>
                </a:cxn>
                <a:cxn ang="0">
                  <a:pos x="connsiteX11161" y="connsiteY11161"/>
                </a:cxn>
                <a:cxn ang="0">
                  <a:pos x="connsiteX11162" y="connsiteY11162"/>
                </a:cxn>
                <a:cxn ang="0">
                  <a:pos x="connsiteX11163" y="connsiteY11163"/>
                </a:cxn>
                <a:cxn ang="0">
                  <a:pos x="connsiteX11164" y="connsiteY11164"/>
                </a:cxn>
                <a:cxn ang="0">
                  <a:pos x="connsiteX11165" y="connsiteY11165"/>
                </a:cxn>
                <a:cxn ang="0">
                  <a:pos x="connsiteX11166" y="connsiteY11166"/>
                </a:cxn>
                <a:cxn ang="0">
                  <a:pos x="connsiteX11167" y="connsiteY11167"/>
                </a:cxn>
                <a:cxn ang="0">
                  <a:pos x="connsiteX11168" y="connsiteY11168"/>
                </a:cxn>
                <a:cxn ang="0">
                  <a:pos x="connsiteX11169" y="connsiteY11169"/>
                </a:cxn>
                <a:cxn ang="0">
                  <a:pos x="connsiteX11170" y="connsiteY11170"/>
                </a:cxn>
                <a:cxn ang="0">
                  <a:pos x="connsiteX11171" y="connsiteY11171"/>
                </a:cxn>
                <a:cxn ang="0">
                  <a:pos x="connsiteX11172" y="connsiteY11172"/>
                </a:cxn>
                <a:cxn ang="0">
                  <a:pos x="connsiteX11173" y="connsiteY11173"/>
                </a:cxn>
                <a:cxn ang="0">
                  <a:pos x="connsiteX11174" y="connsiteY11174"/>
                </a:cxn>
                <a:cxn ang="0">
                  <a:pos x="connsiteX11175" y="connsiteY11175"/>
                </a:cxn>
                <a:cxn ang="0">
                  <a:pos x="connsiteX11176" y="connsiteY11176"/>
                </a:cxn>
                <a:cxn ang="0">
                  <a:pos x="connsiteX11177" y="connsiteY11177"/>
                </a:cxn>
                <a:cxn ang="0">
                  <a:pos x="connsiteX11178" y="connsiteY11178"/>
                </a:cxn>
                <a:cxn ang="0">
                  <a:pos x="connsiteX11179" y="connsiteY11179"/>
                </a:cxn>
                <a:cxn ang="0">
                  <a:pos x="connsiteX11180" y="connsiteY11180"/>
                </a:cxn>
                <a:cxn ang="0">
                  <a:pos x="connsiteX11181" y="connsiteY11181"/>
                </a:cxn>
                <a:cxn ang="0">
                  <a:pos x="connsiteX11182" y="connsiteY11182"/>
                </a:cxn>
                <a:cxn ang="0">
                  <a:pos x="connsiteX11183" y="connsiteY11183"/>
                </a:cxn>
                <a:cxn ang="0">
                  <a:pos x="connsiteX11184" y="connsiteY11184"/>
                </a:cxn>
                <a:cxn ang="0">
                  <a:pos x="connsiteX11185" y="connsiteY11185"/>
                </a:cxn>
                <a:cxn ang="0">
                  <a:pos x="connsiteX11186" y="connsiteY11186"/>
                </a:cxn>
                <a:cxn ang="0">
                  <a:pos x="connsiteX11187" y="connsiteY11187"/>
                </a:cxn>
                <a:cxn ang="0">
                  <a:pos x="connsiteX11188" y="connsiteY11188"/>
                </a:cxn>
                <a:cxn ang="0">
                  <a:pos x="connsiteX11189" y="connsiteY11189"/>
                </a:cxn>
                <a:cxn ang="0">
                  <a:pos x="connsiteX11190" y="connsiteY11190"/>
                </a:cxn>
                <a:cxn ang="0">
                  <a:pos x="connsiteX11191" y="connsiteY11191"/>
                </a:cxn>
                <a:cxn ang="0">
                  <a:pos x="connsiteX11192" y="connsiteY11192"/>
                </a:cxn>
                <a:cxn ang="0">
                  <a:pos x="connsiteX11193" y="connsiteY11193"/>
                </a:cxn>
                <a:cxn ang="0">
                  <a:pos x="connsiteX11194" y="connsiteY11194"/>
                </a:cxn>
                <a:cxn ang="0">
                  <a:pos x="connsiteX11195" y="connsiteY11195"/>
                </a:cxn>
                <a:cxn ang="0">
                  <a:pos x="connsiteX11196" y="connsiteY11196"/>
                </a:cxn>
                <a:cxn ang="0">
                  <a:pos x="connsiteX11197" y="connsiteY11197"/>
                </a:cxn>
                <a:cxn ang="0">
                  <a:pos x="connsiteX11198" y="connsiteY11198"/>
                </a:cxn>
                <a:cxn ang="0">
                  <a:pos x="connsiteX11199" y="connsiteY11199"/>
                </a:cxn>
                <a:cxn ang="0">
                  <a:pos x="connsiteX11200" y="connsiteY11200"/>
                </a:cxn>
                <a:cxn ang="0">
                  <a:pos x="connsiteX11201" y="connsiteY11201"/>
                </a:cxn>
                <a:cxn ang="0">
                  <a:pos x="connsiteX11202" y="connsiteY11202"/>
                </a:cxn>
                <a:cxn ang="0">
                  <a:pos x="connsiteX11203" y="connsiteY11203"/>
                </a:cxn>
                <a:cxn ang="0">
                  <a:pos x="connsiteX11204" y="connsiteY11204"/>
                </a:cxn>
                <a:cxn ang="0">
                  <a:pos x="connsiteX11205" y="connsiteY11205"/>
                </a:cxn>
                <a:cxn ang="0">
                  <a:pos x="connsiteX11206" y="connsiteY11206"/>
                </a:cxn>
                <a:cxn ang="0">
                  <a:pos x="connsiteX11207" y="connsiteY11207"/>
                </a:cxn>
                <a:cxn ang="0">
                  <a:pos x="connsiteX11208" y="connsiteY11208"/>
                </a:cxn>
                <a:cxn ang="0">
                  <a:pos x="connsiteX11209" y="connsiteY11209"/>
                </a:cxn>
                <a:cxn ang="0">
                  <a:pos x="connsiteX11210" y="connsiteY11210"/>
                </a:cxn>
                <a:cxn ang="0">
                  <a:pos x="connsiteX11211" y="connsiteY11211"/>
                </a:cxn>
                <a:cxn ang="0">
                  <a:pos x="connsiteX11212" y="connsiteY11212"/>
                </a:cxn>
                <a:cxn ang="0">
                  <a:pos x="connsiteX11213" y="connsiteY11213"/>
                </a:cxn>
                <a:cxn ang="0">
                  <a:pos x="connsiteX11214" y="connsiteY11214"/>
                </a:cxn>
                <a:cxn ang="0">
                  <a:pos x="connsiteX11215" y="connsiteY11215"/>
                </a:cxn>
                <a:cxn ang="0">
                  <a:pos x="connsiteX11216" y="connsiteY11216"/>
                </a:cxn>
                <a:cxn ang="0">
                  <a:pos x="connsiteX11217" y="connsiteY11217"/>
                </a:cxn>
                <a:cxn ang="0">
                  <a:pos x="connsiteX11218" y="connsiteY11218"/>
                </a:cxn>
                <a:cxn ang="0">
                  <a:pos x="connsiteX11219" y="connsiteY11219"/>
                </a:cxn>
                <a:cxn ang="0">
                  <a:pos x="connsiteX11220" y="connsiteY11220"/>
                </a:cxn>
                <a:cxn ang="0">
                  <a:pos x="connsiteX11221" y="connsiteY11221"/>
                </a:cxn>
                <a:cxn ang="0">
                  <a:pos x="connsiteX11222" y="connsiteY11222"/>
                </a:cxn>
                <a:cxn ang="0">
                  <a:pos x="connsiteX11223" y="connsiteY11223"/>
                </a:cxn>
                <a:cxn ang="0">
                  <a:pos x="connsiteX11224" y="connsiteY11224"/>
                </a:cxn>
                <a:cxn ang="0">
                  <a:pos x="connsiteX11225" y="connsiteY11225"/>
                </a:cxn>
                <a:cxn ang="0">
                  <a:pos x="connsiteX11226" y="connsiteY11226"/>
                </a:cxn>
                <a:cxn ang="0">
                  <a:pos x="connsiteX11227" y="connsiteY11227"/>
                </a:cxn>
                <a:cxn ang="0">
                  <a:pos x="connsiteX11228" y="connsiteY11228"/>
                </a:cxn>
                <a:cxn ang="0">
                  <a:pos x="connsiteX11229" y="connsiteY11229"/>
                </a:cxn>
                <a:cxn ang="0">
                  <a:pos x="connsiteX11230" y="connsiteY11230"/>
                </a:cxn>
                <a:cxn ang="0">
                  <a:pos x="connsiteX11231" y="connsiteY11231"/>
                </a:cxn>
                <a:cxn ang="0">
                  <a:pos x="connsiteX11232" y="connsiteY11232"/>
                </a:cxn>
                <a:cxn ang="0">
                  <a:pos x="connsiteX11233" y="connsiteY11233"/>
                </a:cxn>
                <a:cxn ang="0">
                  <a:pos x="connsiteX11234" y="connsiteY11234"/>
                </a:cxn>
                <a:cxn ang="0">
                  <a:pos x="connsiteX11235" y="connsiteY11235"/>
                </a:cxn>
                <a:cxn ang="0">
                  <a:pos x="connsiteX11236" y="connsiteY11236"/>
                </a:cxn>
                <a:cxn ang="0">
                  <a:pos x="connsiteX11237" y="connsiteY11237"/>
                </a:cxn>
                <a:cxn ang="0">
                  <a:pos x="connsiteX11238" y="connsiteY11238"/>
                </a:cxn>
                <a:cxn ang="0">
                  <a:pos x="connsiteX11239" y="connsiteY11239"/>
                </a:cxn>
                <a:cxn ang="0">
                  <a:pos x="connsiteX11240" y="connsiteY11240"/>
                </a:cxn>
                <a:cxn ang="0">
                  <a:pos x="connsiteX11241" y="connsiteY11241"/>
                </a:cxn>
                <a:cxn ang="0">
                  <a:pos x="connsiteX11242" y="connsiteY11242"/>
                </a:cxn>
                <a:cxn ang="0">
                  <a:pos x="connsiteX11243" y="connsiteY11243"/>
                </a:cxn>
                <a:cxn ang="0">
                  <a:pos x="connsiteX11244" y="connsiteY11244"/>
                </a:cxn>
                <a:cxn ang="0">
                  <a:pos x="connsiteX11245" y="connsiteY11245"/>
                </a:cxn>
                <a:cxn ang="0">
                  <a:pos x="connsiteX11246" y="connsiteY11246"/>
                </a:cxn>
                <a:cxn ang="0">
                  <a:pos x="connsiteX11247" y="connsiteY11247"/>
                </a:cxn>
                <a:cxn ang="0">
                  <a:pos x="connsiteX11248" y="connsiteY11248"/>
                </a:cxn>
                <a:cxn ang="0">
                  <a:pos x="connsiteX11249" y="connsiteY11249"/>
                </a:cxn>
                <a:cxn ang="0">
                  <a:pos x="connsiteX11250" y="connsiteY11250"/>
                </a:cxn>
                <a:cxn ang="0">
                  <a:pos x="connsiteX11251" y="connsiteY11251"/>
                </a:cxn>
                <a:cxn ang="0">
                  <a:pos x="connsiteX11252" y="connsiteY11252"/>
                </a:cxn>
                <a:cxn ang="0">
                  <a:pos x="connsiteX11253" y="connsiteY11253"/>
                </a:cxn>
                <a:cxn ang="0">
                  <a:pos x="connsiteX11254" y="connsiteY11254"/>
                </a:cxn>
                <a:cxn ang="0">
                  <a:pos x="connsiteX11255" y="connsiteY11255"/>
                </a:cxn>
                <a:cxn ang="0">
                  <a:pos x="connsiteX11256" y="connsiteY11256"/>
                </a:cxn>
                <a:cxn ang="0">
                  <a:pos x="connsiteX11257" y="connsiteY11257"/>
                </a:cxn>
                <a:cxn ang="0">
                  <a:pos x="connsiteX11258" y="connsiteY11258"/>
                </a:cxn>
                <a:cxn ang="0">
                  <a:pos x="connsiteX11259" y="connsiteY11259"/>
                </a:cxn>
                <a:cxn ang="0">
                  <a:pos x="connsiteX11260" y="connsiteY11260"/>
                </a:cxn>
                <a:cxn ang="0">
                  <a:pos x="connsiteX11261" y="connsiteY11261"/>
                </a:cxn>
                <a:cxn ang="0">
                  <a:pos x="connsiteX11262" y="connsiteY11262"/>
                </a:cxn>
                <a:cxn ang="0">
                  <a:pos x="connsiteX11263" y="connsiteY11263"/>
                </a:cxn>
                <a:cxn ang="0">
                  <a:pos x="connsiteX11264" y="connsiteY11264"/>
                </a:cxn>
                <a:cxn ang="0">
                  <a:pos x="connsiteX11265" y="connsiteY11265"/>
                </a:cxn>
                <a:cxn ang="0">
                  <a:pos x="connsiteX11266" y="connsiteY11266"/>
                </a:cxn>
                <a:cxn ang="0">
                  <a:pos x="connsiteX11267" y="connsiteY11267"/>
                </a:cxn>
                <a:cxn ang="0">
                  <a:pos x="connsiteX11268" y="connsiteY11268"/>
                </a:cxn>
                <a:cxn ang="0">
                  <a:pos x="connsiteX11269" y="connsiteY11269"/>
                </a:cxn>
                <a:cxn ang="0">
                  <a:pos x="connsiteX11270" y="connsiteY11270"/>
                </a:cxn>
                <a:cxn ang="0">
                  <a:pos x="connsiteX11271" y="connsiteY11271"/>
                </a:cxn>
                <a:cxn ang="0">
                  <a:pos x="connsiteX11272" y="connsiteY11272"/>
                </a:cxn>
                <a:cxn ang="0">
                  <a:pos x="connsiteX11273" y="connsiteY11273"/>
                </a:cxn>
                <a:cxn ang="0">
                  <a:pos x="connsiteX11274" y="connsiteY11274"/>
                </a:cxn>
                <a:cxn ang="0">
                  <a:pos x="connsiteX11275" y="connsiteY11275"/>
                </a:cxn>
                <a:cxn ang="0">
                  <a:pos x="connsiteX11276" y="connsiteY11276"/>
                </a:cxn>
                <a:cxn ang="0">
                  <a:pos x="connsiteX11277" y="connsiteY11277"/>
                </a:cxn>
                <a:cxn ang="0">
                  <a:pos x="connsiteX11278" y="connsiteY11278"/>
                </a:cxn>
                <a:cxn ang="0">
                  <a:pos x="connsiteX11279" y="connsiteY11279"/>
                </a:cxn>
                <a:cxn ang="0">
                  <a:pos x="connsiteX11280" y="connsiteY11280"/>
                </a:cxn>
                <a:cxn ang="0">
                  <a:pos x="connsiteX11281" y="connsiteY11281"/>
                </a:cxn>
                <a:cxn ang="0">
                  <a:pos x="connsiteX11282" y="connsiteY11282"/>
                </a:cxn>
                <a:cxn ang="0">
                  <a:pos x="connsiteX11283" y="connsiteY11283"/>
                </a:cxn>
                <a:cxn ang="0">
                  <a:pos x="connsiteX11284" y="connsiteY11284"/>
                </a:cxn>
                <a:cxn ang="0">
                  <a:pos x="connsiteX11285" y="connsiteY11285"/>
                </a:cxn>
                <a:cxn ang="0">
                  <a:pos x="connsiteX11286" y="connsiteY11286"/>
                </a:cxn>
                <a:cxn ang="0">
                  <a:pos x="connsiteX11287" y="connsiteY11287"/>
                </a:cxn>
                <a:cxn ang="0">
                  <a:pos x="connsiteX11288" y="connsiteY11288"/>
                </a:cxn>
                <a:cxn ang="0">
                  <a:pos x="connsiteX11289" y="connsiteY11289"/>
                </a:cxn>
                <a:cxn ang="0">
                  <a:pos x="connsiteX11290" y="connsiteY11290"/>
                </a:cxn>
                <a:cxn ang="0">
                  <a:pos x="connsiteX11291" y="connsiteY11291"/>
                </a:cxn>
                <a:cxn ang="0">
                  <a:pos x="connsiteX11292" y="connsiteY11292"/>
                </a:cxn>
                <a:cxn ang="0">
                  <a:pos x="connsiteX11293" y="connsiteY11293"/>
                </a:cxn>
                <a:cxn ang="0">
                  <a:pos x="connsiteX11294" y="connsiteY11294"/>
                </a:cxn>
                <a:cxn ang="0">
                  <a:pos x="connsiteX11295" y="connsiteY11295"/>
                </a:cxn>
                <a:cxn ang="0">
                  <a:pos x="connsiteX11296" y="connsiteY11296"/>
                </a:cxn>
                <a:cxn ang="0">
                  <a:pos x="connsiteX11297" y="connsiteY11297"/>
                </a:cxn>
                <a:cxn ang="0">
                  <a:pos x="connsiteX11298" y="connsiteY11298"/>
                </a:cxn>
                <a:cxn ang="0">
                  <a:pos x="connsiteX11299" y="connsiteY11299"/>
                </a:cxn>
                <a:cxn ang="0">
                  <a:pos x="connsiteX11300" y="connsiteY11300"/>
                </a:cxn>
                <a:cxn ang="0">
                  <a:pos x="connsiteX11301" y="connsiteY11301"/>
                </a:cxn>
                <a:cxn ang="0">
                  <a:pos x="connsiteX11302" y="connsiteY11302"/>
                </a:cxn>
                <a:cxn ang="0">
                  <a:pos x="connsiteX11303" y="connsiteY11303"/>
                </a:cxn>
                <a:cxn ang="0">
                  <a:pos x="connsiteX11304" y="connsiteY11304"/>
                </a:cxn>
                <a:cxn ang="0">
                  <a:pos x="connsiteX11305" y="connsiteY11305"/>
                </a:cxn>
                <a:cxn ang="0">
                  <a:pos x="connsiteX11306" y="connsiteY11306"/>
                </a:cxn>
                <a:cxn ang="0">
                  <a:pos x="connsiteX11307" y="connsiteY11307"/>
                </a:cxn>
                <a:cxn ang="0">
                  <a:pos x="connsiteX11308" y="connsiteY11308"/>
                </a:cxn>
                <a:cxn ang="0">
                  <a:pos x="connsiteX11309" y="connsiteY11309"/>
                </a:cxn>
                <a:cxn ang="0">
                  <a:pos x="connsiteX11310" y="connsiteY11310"/>
                </a:cxn>
                <a:cxn ang="0">
                  <a:pos x="connsiteX11311" y="connsiteY11311"/>
                </a:cxn>
                <a:cxn ang="0">
                  <a:pos x="connsiteX11312" y="connsiteY11312"/>
                </a:cxn>
                <a:cxn ang="0">
                  <a:pos x="connsiteX11313" y="connsiteY11313"/>
                </a:cxn>
                <a:cxn ang="0">
                  <a:pos x="connsiteX11314" y="connsiteY11314"/>
                </a:cxn>
                <a:cxn ang="0">
                  <a:pos x="connsiteX11315" y="connsiteY11315"/>
                </a:cxn>
                <a:cxn ang="0">
                  <a:pos x="connsiteX11316" y="connsiteY11316"/>
                </a:cxn>
                <a:cxn ang="0">
                  <a:pos x="connsiteX11317" y="connsiteY11317"/>
                </a:cxn>
                <a:cxn ang="0">
                  <a:pos x="connsiteX11318" y="connsiteY11318"/>
                </a:cxn>
                <a:cxn ang="0">
                  <a:pos x="connsiteX11319" y="connsiteY11319"/>
                </a:cxn>
                <a:cxn ang="0">
                  <a:pos x="connsiteX11320" y="connsiteY11320"/>
                </a:cxn>
                <a:cxn ang="0">
                  <a:pos x="connsiteX11321" y="connsiteY11321"/>
                </a:cxn>
                <a:cxn ang="0">
                  <a:pos x="connsiteX11322" y="connsiteY11322"/>
                </a:cxn>
                <a:cxn ang="0">
                  <a:pos x="connsiteX11323" y="connsiteY11323"/>
                </a:cxn>
                <a:cxn ang="0">
                  <a:pos x="connsiteX11324" y="connsiteY11324"/>
                </a:cxn>
                <a:cxn ang="0">
                  <a:pos x="connsiteX11325" y="connsiteY11325"/>
                </a:cxn>
                <a:cxn ang="0">
                  <a:pos x="connsiteX11326" y="connsiteY11326"/>
                </a:cxn>
                <a:cxn ang="0">
                  <a:pos x="connsiteX11327" y="connsiteY11327"/>
                </a:cxn>
                <a:cxn ang="0">
                  <a:pos x="connsiteX11328" y="connsiteY11328"/>
                </a:cxn>
                <a:cxn ang="0">
                  <a:pos x="connsiteX11329" y="connsiteY11329"/>
                </a:cxn>
                <a:cxn ang="0">
                  <a:pos x="connsiteX11330" y="connsiteY11330"/>
                </a:cxn>
                <a:cxn ang="0">
                  <a:pos x="connsiteX11331" y="connsiteY11331"/>
                </a:cxn>
                <a:cxn ang="0">
                  <a:pos x="connsiteX11332" y="connsiteY11332"/>
                </a:cxn>
                <a:cxn ang="0">
                  <a:pos x="connsiteX11333" y="connsiteY11333"/>
                </a:cxn>
                <a:cxn ang="0">
                  <a:pos x="connsiteX11334" y="connsiteY11334"/>
                </a:cxn>
                <a:cxn ang="0">
                  <a:pos x="connsiteX11335" y="connsiteY11335"/>
                </a:cxn>
                <a:cxn ang="0">
                  <a:pos x="connsiteX11336" y="connsiteY11336"/>
                </a:cxn>
                <a:cxn ang="0">
                  <a:pos x="connsiteX11337" y="connsiteY11337"/>
                </a:cxn>
                <a:cxn ang="0">
                  <a:pos x="connsiteX11338" y="connsiteY11338"/>
                </a:cxn>
                <a:cxn ang="0">
                  <a:pos x="connsiteX11339" y="connsiteY11339"/>
                </a:cxn>
                <a:cxn ang="0">
                  <a:pos x="connsiteX11340" y="connsiteY11340"/>
                </a:cxn>
                <a:cxn ang="0">
                  <a:pos x="connsiteX11341" y="connsiteY11341"/>
                </a:cxn>
                <a:cxn ang="0">
                  <a:pos x="connsiteX11342" y="connsiteY11342"/>
                </a:cxn>
                <a:cxn ang="0">
                  <a:pos x="connsiteX11343" y="connsiteY11343"/>
                </a:cxn>
                <a:cxn ang="0">
                  <a:pos x="connsiteX11344" y="connsiteY11344"/>
                </a:cxn>
                <a:cxn ang="0">
                  <a:pos x="connsiteX11345" y="connsiteY11345"/>
                </a:cxn>
                <a:cxn ang="0">
                  <a:pos x="connsiteX11346" y="connsiteY11346"/>
                </a:cxn>
                <a:cxn ang="0">
                  <a:pos x="connsiteX11347" y="connsiteY11347"/>
                </a:cxn>
                <a:cxn ang="0">
                  <a:pos x="connsiteX11348" y="connsiteY11348"/>
                </a:cxn>
                <a:cxn ang="0">
                  <a:pos x="connsiteX11349" y="connsiteY11349"/>
                </a:cxn>
                <a:cxn ang="0">
                  <a:pos x="connsiteX11350" y="connsiteY11350"/>
                </a:cxn>
                <a:cxn ang="0">
                  <a:pos x="connsiteX11351" y="connsiteY11351"/>
                </a:cxn>
                <a:cxn ang="0">
                  <a:pos x="connsiteX11352" y="connsiteY11352"/>
                </a:cxn>
                <a:cxn ang="0">
                  <a:pos x="connsiteX11353" y="connsiteY11353"/>
                </a:cxn>
                <a:cxn ang="0">
                  <a:pos x="connsiteX11354" y="connsiteY11354"/>
                </a:cxn>
                <a:cxn ang="0">
                  <a:pos x="connsiteX11355" y="connsiteY11355"/>
                </a:cxn>
                <a:cxn ang="0">
                  <a:pos x="connsiteX11356" y="connsiteY11356"/>
                </a:cxn>
                <a:cxn ang="0">
                  <a:pos x="connsiteX11357" y="connsiteY11357"/>
                </a:cxn>
                <a:cxn ang="0">
                  <a:pos x="connsiteX11358" y="connsiteY11358"/>
                </a:cxn>
                <a:cxn ang="0">
                  <a:pos x="connsiteX11359" y="connsiteY11359"/>
                </a:cxn>
                <a:cxn ang="0">
                  <a:pos x="connsiteX11360" y="connsiteY11360"/>
                </a:cxn>
                <a:cxn ang="0">
                  <a:pos x="connsiteX11361" y="connsiteY11361"/>
                </a:cxn>
                <a:cxn ang="0">
                  <a:pos x="connsiteX11362" y="connsiteY11362"/>
                </a:cxn>
                <a:cxn ang="0">
                  <a:pos x="connsiteX11363" y="connsiteY11363"/>
                </a:cxn>
                <a:cxn ang="0">
                  <a:pos x="connsiteX11364" y="connsiteY11364"/>
                </a:cxn>
                <a:cxn ang="0">
                  <a:pos x="connsiteX11365" y="connsiteY11365"/>
                </a:cxn>
                <a:cxn ang="0">
                  <a:pos x="connsiteX11366" y="connsiteY11366"/>
                </a:cxn>
                <a:cxn ang="0">
                  <a:pos x="connsiteX11367" y="connsiteY11367"/>
                </a:cxn>
                <a:cxn ang="0">
                  <a:pos x="connsiteX11368" y="connsiteY11368"/>
                </a:cxn>
                <a:cxn ang="0">
                  <a:pos x="connsiteX11369" y="connsiteY11369"/>
                </a:cxn>
                <a:cxn ang="0">
                  <a:pos x="connsiteX11370" y="connsiteY11370"/>
                </a:cxn>
                <a:cxn ang="0">
                  <a:pos x="connsiteX11371" y="connsiteY11371"/>
                </a:cxn>
                <a:cxn ang="0">
                  <a:pos x="connsiteX11372" y="connsiteY11372"/>
                </a:cxn>
                <a:cxn ang="0">
                  <a:pos x="connsiteX11373" y="connsiteY11373"/>
                </a:cxn>
                <a:cxn ang="0">
                  <a:pos x="connsiteX11374" y="connsiteY11374"/>
                </a:cxn>
                <a:cxn ang="0">
                  <a:pos x="connsiteX11375" y="connsiteY11375"/>
                </a:cxn>
                <a:cxn ang="0">
                  <a:pos x="connsiteX11376" y="connsiteY11376"/>
                </a:cxn>
                <a:cxn ang="0">
                  <a:pos x="connsiteX11377" y="connsiteY11377"/>
                </a:cxn>
                <a:cxn ang="0">
                  <a:pos x="connsiteX11378" y="connsiteY11378"/>
                </a:cxn>
                <a:cxn ang="0">
                  <a:pos x="connsiteX11379" y="connsiteY11379"/>
                </a:cxn>
                <a:cxn ang="0">
                  <a:pos x="connsiteX11380" y="connsiteY11380"/>
                </a:cxn>
                <a:cxn ang="0">
                  <a:pos x="connsiteX11381" y="connsiteY11381"/>
                </a:cxn>
                <a:cxn ang="0">
                  <a:pos x="connsiteX11382" y="connsiteY11382"/>
                </a:cxn>
                <a:cxn ang="0">
                  <a:pos x="connsiteX11383" y="connsiteY11383"/>
                </a:cxn>
                <a:cxn ang="0">
                  <a:pos x="connsiteX11384" y="connsiteY11384"/>
                </a:cxn>
                <a:cxn ang="0">
                  <a:pos x="connsiteX11385" y="connsiteY11385"/>
                </a:cxn>
                <a:cxn ang="0">
                  <a:pos x="connsiteX11386" y="connsiteY11386"/>
                </a:cxn>
                <a:cxn ang="0">
                  <a:pos x="connsiteX11387" y="connsiteY11387"/>
                </a:cxn>
                <a:cxn ang="0">
                  <a:pos x="connsiteX11388" y="connsiteY11388"/>
                </a:cxn>
                <a:cxn ang="0">
                  <a:pos x="connsiteX11389" y="connsiteY11389"/>
                </a:cxn>
                <a:cxn ang="0">
                  <a:pos x="connsiteX11390" y="connsiteY11390"/>
                </a:cxn>
                <a:cxn ang="0">
                  <a:pos x="connsiteX11391" y="connsiteY11391"/>
                </a:cxn>
                <a:cxn ang="0">
                  <a:pos x="connsiteX11392" y="connsiteY11392"/>
                </a:cxn>
                <a:cxn ang="0">
                  <a:pos x="connsiteX11393" y="connsiteY11393"/>
                </a:cxn>
                <a:cxn ang="0">
                  <a:pos x="connsiteX11394" y="connsiteY11394"/>
                </a:cxn>
                <a:cxn ang="0">
                  <a:pos x="connsiteX11395" y="connsiteY11395"/>
                </a:cxn>
                <a:cxn ang="0">
                  <a:pos x="connsiteX11396" y="connsiteY11396"/>
                </a:cxn>
                <a:cxn ang="0">
                  <a:pos x="connsiteX11397" y="connsiteY11397"/>
                </a:cxn>
                <a:cxn ang="0">
                  <a:pos x="connsiteX11398" y="connsiteY11398"/>
                </a:cxn>
                <a:cxn ang="0">
                  <a:pos x="connsiteX11399" y="connsiteY11399"/>
                </a:cxn>
                <a:cxn ang="0">
                  <a:pos x="connsiteX11400" y="connsiteY11400"/>
                </a:cxn>
                <a:cxn ang="0">
                  <a:pos x="connsiteX11401" y="connsiteY11401"/>
                </a:cxn>
                <a:cxn ang="0">
                  <a:pos x="connsiteX11402" y="connsiteY11402"/>
                </a:cxn>
                <a:cxn ang="0">
                  <a:pos x="connsiteX11403" y="connsiteY11403"/>
                </a:cxn>
                <a:cxn ang="0">
                  <a:pos x="connsiteX11404" y="connsiteY11404"/>
                </a:cxn>
                <a:cxn ang="0">
                  <a:pos x="connsiteX11405" y="connsiteY11405"/>
                </a:cxn>
                <a:cxn ang="0">
                  <a:pos x="connsiteX11406" y="connsiteY11406"/>
                </a:cxn>
                <a:cxn ang="0">
                  <a:pos x="connsiteX11407" y="connsiteY11407"/>
                </a:cxn>
                <a:cxn ang="0">
                  <a:pos x="connsiteX11408" y="connsiteY11408"/>
                </a:cxn>
                <a:cxn ang="0">
                  <a:pos x="connsiteX11409" y="connsiteY11409"/>
                </a:cxn>
                <a:cxn ang="0">
                  <a:pos x="connsiteX11410" y="connsiteY11410"/>
                </a:cxn>
                <a:cxn ang="0">
                  <a:pos x="connsiteX11411" y="connsiteY11411"/>
                </a:cxn>
                <a:cxn ang="0">
                  <a:pos x="connsiteX11412" y="connsiteY11412"/>
                </a:cxn>
                <a:cxn ang="0">
                  <a:pos x="connsiteX11413" y="connsiteY11413"/>
                </a:cxn>
                <a:cxn ang="0">
                  <a:pos x="connsiteX11414" y="connsiteY11414"/>
                </a:cxn>
                <a:cxn ang="0">
                  <a:pos x="connsiteX11415" y="connsiteY11415"/>
                </a:cxn>
                <a:cxn ang="0">
                  <a:pos x="connsiteX11416" y="connsiteY11416"/>
                </a:cxn>
                <a:cxn ang="0">
                  <a:pos x="connsiteX11417" y="connsiteY11417"/>
                </a:cxn>
                <a:cxn ang="0">
                  <a:pos x="connsiteX11418" y="connsiteY11418"/>
                </a:cxn>
                <a:cxn ang="0">
                  <a:pos x="connsiteX11419" y="connsiteY11419"/>
                </a:cxn>
                <a:cxn ang="0">
                  <a:pos x="connsiteX11420" y="connsiteY11420"/>
                </a:cxn>
                <a:cxn ang="0">
                  <a:pos x="connsiteX11421" y="connsiteY11421"/>
                </a:cxn>
                <a:cxn ang="0">
                  <a:pos x="connsiteX11422" y="connsiteY11422"/>
                </a:cxn>
                <a:cxn ang="0">
                  <a:pos x="connsiteX11423" y="connsiteY11423"/>
                </a:cxn>
                <a:cxn ang="0">
                  <a:pos x="connsiteX11424" y="connsiteY11424"/>
                </a:cxn>
                <a:cxn ang="0">
                  <a:pos x="connsiteX11425" y="connsiteY11425"/>
                </a:cxn>
                <a:cxn ang="0">
                  <a:pos x="connsiteX11426" y="connsiteY11426"/>
                </a:cxn>
                <a:cxn ang="0">
                  <a:pos x="connsiteX11427" y="connsiteY11427"/>
                </a:cxn>
                <a:cxn ang="0">
                  <a:pos x="connsiteX11428" y="connsiteY11428"/>
                </a:cxn>
                <a:cxn ang="0">
                  <a:pos x="connsiteX11429" y="connsiteY11429"/>
                </a:cxn>
                <a:cxn ang="0">
                  <a:pos x="connsiteX11430" y="connsiteY11430"/>
                </a:cxn>
                <a:cxn ang="0">
                  <a:pos x="connsiteX11431" y="connsiteY11431"/>
                </a:cxn>
                <a:cxn ang="0">
                  <a:pos x="connsiteX11432" y="connsiteY11432"/>
                </a:cxn>
                <a:cxn ang="0">
                  <a:pos x="connsiteX11433" y="connsiteY11433"/>
                </a:cxn>
                <a:cxn ang="0">
                  <a:pos x="connsiteX11434" y="connsiteY11434"/>
                </a:cxn>
                <a:cxn ang="0">
                  <a:pos x="connsiteX11435" y="connsiteY11435"/>
                </a:cxn>
                <a:cxn ang="0">
                  <a:pos x="connsiteX11436" y="connsiteY11436"/>
                </a:cxn>
                <a:cxn ang="0">
                  <a:pos x="connsiteX11437" y="connsiteY11437"/>
                </a:cxn>
                <a:cxn ang="0">
                  <a:pos x="connsiteX11438" y="connsiteY11438"/>
                </a:cxn>
                <a:cxn ang="0">
                  <a:pos x="connsiteX11439" y="connsiteY11439"/>
                </a:cxn>
                <a:cxn ang="0">
                  <a:pos x="connsiteX11440" y="connsiteY11440"/>
                </a:cxn>
                <a:cxn ang="0">
                  <a:pos x="connsiteX11441" y="connsiteY11441"/>
                </a:cxn>
                <a:cxn ang="0">
                  <a:pos x="connsiteX11442" y="connsiteY11442"/>
                </a:cxn>
                <a:cxn ang="0">
                  <a:pos x="connsiteX11443" y="connsiteY11443"/>
                </a:cxn>
                <a:cxn ang="0">
                  <a:pos x="connsiteX11444" y="connsiteY11444"/>
                </a:cxn>
                <a:cxn ang="0">
                  <a:pos x="connsiteX11445" y="connsiteY11445"/>
                </a:cxn>
                <a:cxn ang="0">
                  <a:pos x="connsiteX11446" y="connsiteY11446"/>
                </a:cxn>
                <a:cxn ang="0">
                  <a:pos x="connsiteX11447" y="connsiteY11447"/>
                </a:cxn>
                <a:cxn ang="0">
                  <a:pos x="connsiteX11448" y="connsiteY11448"/>
                </a:cxn>
                <a:cxn ang="0">
                  <a:pos x="connsiteX11449" y="connsiteY11449"/>
                </a:cxn>
                <a:cxn ang="0">
                  <a:pos x="connsiteX11450" y="connsiteY11450"/>
                </a:cxn>
                <a:cxn ang="0">
                  <a:pos x="connsiteX11451" y="connsiteY11451"/>
                </a:cxn>
                <a:cxn ang="0">
                  <a:pos x="connsiteX11452" y="connsiteY11452"/>
                </a:cxn>
                <a:cxn ang="0">
                  <a:pos x="connsiteX11453" y="connsiteY11453"/>
                </a:cxn>
                <a:cxn ang="0">
                  <a:pos x="connsiteX11454" y="connsiteY11454"/>
                </a:cxn>
                <a:cxn ang="0">
                  <a:pos x="connsiteX11455" y="connsiteY11455"/>
                </a:cxn>
                <a:cxn ang="0">
                  <a:pos x="connsiteX11456" y="connsiteY11456"/>
                </a:cxn>
                <a:cxn ang="0">
                  <a:pos x="connsiteX11457" y="connsiteY11457"/>
                </a:cxn>
                <a:cxn ang="0">
                  <a:pos x="connsiteX11458" y="connsiteY11458"/>
                </a:cxn>
                <a:cxn ang="0">
                  <a:pos x="connsiteX11459" y="connsiteY11459"/>
                </a:cxn>
                <a:cxn ang="0">
                  <a:pos x="connsiteX11460" y="connsiteY11460"/>
                </a:cxn>
                <a:cxn ang="0">
                  <a:pos x="connsiteX11461" y="connsiteY11461"/>
                </a:cxn>
                <a:cxn ang="0">
                  <a:pos x="connsiteX11462" y="connsiteY11462"/>
                </a:cxn>
                <a:cxn ang="0">
                  <a:pos x="connsiteX11463" y="connsiteY11463"/>
                </a:cxn>
                <a:cxn ang="0">
                  <a:pos x="connsiteX11464" y="connsiteY11464"/>
                </a:cxn>
                <a:cxn ang="0">
                  <a:pos x="connsiteX11465" y="connsiteY11465"/>
                </a:cxn>
                <a:cxn ang="0">
                  <a:pos x="connsiteX11466" y="connsiteY11466"/>
                </a:cxn>
                <a:cxn ang="0">
                  <a:pos x="connsiteX11467" y="connsiteY11467"/>
                </a:cxn>
                <a:cxn ang="0">
                  <a:pos x="connsiteX11468" y="connsiteY11468"/>
                </a:cxn>
                <a:cxn ang="0">
                  <a:pos x="connsiteX11469" y="connsiteY11469"/>
                </a:cxn>
                <a:cxn ang="0">
                  <a:pos x="connsiteX11470" y="connsiteY11470"/>
                </a:cxn>
                <a:cxn ang="0">
                  <a:pos x="connsiteX11471" y="connsiteY11471"/>
                </a:cxn>
                <a:cxn ang="0">
                  <a:pos x="connsiteX11472" y="connsiteY11472"/>
                </a:cxn>
                <a:cxn ang="0">
                  <a:pos x="connsiteX11473" y="connsiteY11473"/>
                </a:cxn>
                <a:cxn ang="0">
                  <a:pos x="connsiteX11474" y="connsiteY11474"/>
                </a:cxn>
                <a:cxn ang="0">
                  <a:pos x="connsiteX11475" y="connsiteY11475"/>
                </a:cxn>
                <a:cxn ang="0">
                  <a:pos x="connsiteX11476" y="connsiteY11476"/>
                </a:cxn>
                <a:cxn ang="0">
                  <a:pos x="connsiteX11477" y="connsiteY11477"/>
                </a:cxn>
                <a:cxn ang="0">
                  <a:pos x="connsiteX11478" y="connsiteY11478"/>
                </a:cxn>
                <a:cxn ang="0">
                  <a:pos x="connsiteX11479" y="connsiteY11479"/>
                </a:cxn>
                <a:cxn ang="0">
                  <a:pos x="connsiteX11480" y="connsiteY11480"/>
                </a:cxn>
                <a:cxn ang="0">
                  <a:pos x="connsiteX11481" y="connsiteY11481"/>
                </a:cxn>
                <a:cxn ang="0">
                  <a:pos x="connsiteX11482" y="connsiteY11482"/>
                </a:cxn>
                <a:cxn ang="0">
                  <a:pos x="connsiteX11483" y="connsiteY11483"/>
                </a:cxn>
                <a:cxn ang="0">
                  <a:pos x="connsiteX11484" y="connsiteY11484"/>
                </a:cxn>
                <a:cxn ang="0">
                  <a:pos x="connsiteX11485" y="connsiteY11485"/>
                </a:cxn>
                <a:cxn ang="0">
                  <a:pos x="connsiteX11486" y="connsiteY11486"/>
                </a:cxn>
                <a:cxn ang="0">
                  <a:pos x="connsiteX11487" y="connsiteY11487"/>
                </a:cxn>
                <a:cxn ang="0">
                  <a:pos x="connsiteX11488" y="connsiteY11488"/>
                </a:cxn>
                <a:cxn ang="0">
                  <a:pos x="connsiteX11489" y="connsiteY11489"/>
                </a:cxn>
                <a:cxn ang="0">
                  <a:pos x="connsiteX11490" y="connsiteY11490"/>
                </a:cxn>
                <a:cxn ang="0">
                  <a:pos x="connsiteX11491" y="connsiteY11491"/>
                </a:cxn>
                <a:cxn ang="0">
                  <a:pos x="connsiteX11492" y="connsiteY11492"/>
                </a:cxn>
                <a:cxn ang="0">
                  <a:pos x="connsiteX11493" y="connsiteY11493"/>
                </a:cxn>
                <a:cxn ang="0">
                  <a:pos x="connsiteX11494" y="connsiteY11494"/>
                </a:cxn>
                <a:cxn ang="0">
                  <a:pos x="connsiteX11495" y="connsiteY11495"/>
                </a:cxn>
                <a:cxn ang="0">
                  <a:pos x="connsiteX11496" y="connsiteY11496"/>
                </a:cxn>
                <a:cxn ang="0">
                  <a:pos x="connsiteX11497" y="connsiteY11497"/>
                </a:cxn>
                <a:cxn ang="0">
                  <a:pos x="connsiteX11498" y="connsiteY11498"/>
                </a:cxn>
                <a:cxn ang="0">
                  <a:pos x="connsiteX11499" y="connsiteY11499"/>
                </a:cxn>
                <a:cxn ang="0">
                  <a:pos x="connsiteX11500" y="connsiteY11500"/>
                </a:cxn>
                <a:cxn ang="0">
                  <a:pos x="connsiteX11501" y="connsiteY11501"/>
                </a:cxn>
                <a:cxn ang="0">
                  <a:pos x="connsiteX11502" y="connsiteY11502"/>
                </a:cxn>
                <a:cxn ang="0">
                  <a:pos x="connsiteX11503" y="connsiteY11503"/>
                </a:cxn>
                <a:cxn ang="0">
                  <a:pos x="connsiteX11504" y="connsiteY11504"/>
                </a:cxn>
                <a:cxn ang="0">
                  <a:pos x="connsiteX11505" y="connsiteY11505"/>
                </a:cxn>
                <a:cxn ang="0">
                  <a:pos x="connsiteX11506" y="connsiteY11506"/>
                </a:cxn>
                <a:cxn ang="0">
                  <a:pos x="connsiteX11507" y="connsiteY11507"/>
                </a:cxn>
                <a:cxn ang="0">
                  <a:pos x="connsiteX11508" y="connsiteY11508"/>
                </a:cxn>
                <a:cxn ang="0">
                  <a:pos x="connsiteX11509" y="connsiteY11509"/>
                </a:cxn>
                <a:cxn ang="0">
                  <a:pos x="connsiteX11510" y="connsiteY11510"/>
                </a:cxn>
                <a:cxn ang="0">
                  <a:pos x="connsiteX11511" y="connsiteY11511"/>
                </a:cxn>
                <a:cxn ang="0">
                  <a:pos x="connsiteX11512" y="connsiteY11512"/>
                </a:cxn>
                <a:cxn ang="0">
                  <a:pos x="connsiteX11513" y="connsiteY11513"/>
                </a:cxn>
                <a:cxn ang="0">
                  <a:pos x="connsiteX11514" y="connsiteY11514"/>
                </a:cxn>
                <a:cxn ang="0">
                  <a:pos x="connsiteX11515" y="connsiteY11515"/>
                </a:cxn>
                <a:cxn ang="0">
                  <a:pos x="connsiteX11516" y="connsiteY11516"/>
                </a:cxn>
                <a:cxn ang="0">
                  <a:pos x="connsiteX11517" y="connsiteY11517"/>
                </a:cxn>
                <a:cxn ang="0">
                  <a:pos x="connsiteX11518" y="connsiteY11518"/>
                </a:cxn>
                <a:cxn ang="0">
                  <a:pos x="connsiteX11519" y="connsiteY11519"/>
                </a:cxn>
                <a:cxn ang="0">
                  <a:pos x="connsiteX11520" y="connsiteY11520"/>
                </a:cxn>
                <a:cxn ang="0">
                  <a:pos x="connsiteX11521" y="connsiteY11521"/>
                </a:cxn>
                <a:cxn ang="0">
                  <a:pos x="connsiteX11522" y="connsiteY11522"/>
                </a:cxn>
                <a:cxn ang="0">
                  <a:pos x="connsiteX11523" y="connsiteY11523"/>
                </a:cxn>
                <a:cxn ang="0">
                  <a:pos x="connsiteX11524" y="connsiteY11524"/>
                </a:cxn>
                <a:cxn ang="0">
                  <a:pos x="connsiteX11525" y="connsiteY11525"/>
                </a:cxn>
                <a:cxn ang="0">
                  <a:pos x="connsiteX11526" y="connsiteY11526"/>
                </a:cxn>
                <a:cxn ang="0">
                  <a:pos x="connsiteX11527" y="connsiteY11527"/>
                </a:cxn>
                <a:cxn ang="0">
                  <a:pos x="connsiteX11528" y="connsiteY11528"/>
                </a:cxn>
                <a:cxn ang="0">
                  <a:pos x="connsiteX11529" y="connsiteY11529"/>
                </a:cxn>
                <a:cxn ang="0">
                  <a:pos x="connsiteX11530" y="connsiteY11530"/>
                </a:cxn>
                <a:cxn ang="0">
                  <a:pos x="connsiteX11531" y="connsiteY11531"/>
                </a:cxn>
                <a:cxn ang="0">
                  <a:pos x="connsiteX11532" y="connsiteY11532"/>
                </a:cxn>
                <a:cxn ang="0">
                  <a:pos x="connsiteX11533" y="connsiteY11533"/>
                </a:cxn>
                <a:cxn ang="0">
                  <a:pos x="connsiteX11534" y="connsiteY11534"/>
                </a:cxn>
                <a:cxn ang="0">
                  <a:pos x="connsiteX11535" y="connsiteY11535"/>
                </a:cxn>
                <a:cxn ang="0">
                  <a:pos x="connsiteX11536" y="connsiteY11536"/>
                </a:cxn>
                <a:cxn ang="0">
                  <a:pos x="connsiteX11537" y="connsiteY11537"/>
                </a:cxn>
                <a:cxn ang="0">
                  <a:pos x="connsiteX11538" y="connsiteY11538"/>
                </a:cxn>
                <a:cxn ang="0">
                  <a:pos x="connsiteX11539" y="connsiteY11539"/>
                </a:cxn>
                <a:cxn ang="0">
                  <a:pos x="connsiteX11540" y="connsiteY11540"/>
                </a:cxn>
                <a:cxn ang="0">
                  <a:pos x="connsiteX11541" y="connsiteY11541"/>
                </a:cxn>
                <a:cxn ang="0">
                  <a:pos x="connsiteX11542" y="connsiteY11542"/>
                </a:cxn>
                <a:cxn ang="0">
                  <a:pos x="connsiteX11543" y="connsiteY11543"/>
                </a:cxn>
                <a:cxn ang="0">
                  <a:pos x="connsiteX11544" y="connsiteY11544"/>
                </a:cxn>
                <a:cxn ang="0">
                  <a:pos x="connsiteX11545" y="connsiteY11545"/>
                </a:cxn>
                <a:cxn ang="0">
                  <a:pos x="connsiteX11546" y="connsiteY11546"/>
                </a:cxn>
                <a:cxn ang="0">
                  <a:pos x="connsiteX11547" y="connsiteY11547"/>
                </a:cxn>
                <a:cxn ang="0">
                  <a:pos x="connsiteX11548" y="connsiteY11548"/>
                </a:cxn>
                <a:cxn ang="0">
                  <a:pos x="connsiteX11549" y="connsiteY11549"/>
                </a:cxn>
                <a:cxn ang="0">
                  <a:pos x="connsiteX11550" y="connsiteY11550"/>
                </a:cxn>
                <a:cxn ang="0">
                  <a:pos x="connsiteX11551" y="connsiteY11551"/>
                </a:cxn>
                <a:cxn ang="0">
                  <a:pos x="connsiteX11552" y="connsiteY11552"/>
                </a:cxn>
                <a:cxn ang="0">
                  <a:pos x="connsiteX11553" y="connsiteY11553"/>
                </a:cxn>
                <a:cxn ang="0">
                  <a:pos x="connsiteX11554" y="connsiteY11554"/>
                </a:cxn>
                <a:cxn ang="0">
                  <a:pos x="connsiteX11555" y="connsiteY11555"/>
                </a:cxn>
                <a:cxn ang="0">
                  <a:pos x="connsiteX11556" y="connsiteY11556"/>
                </a:cxn>
                <a:cxn ang="0">
                  <a:pos x="connsiteX11557" y="connsiteY11557"/>
                </a:cxn>
                <a:cxn ang="0">
                  <a:pos x="connsiteX11558" y="connsiteY11558"/>
                </a:cxn>
                <a:cxn ang="0">
                  <a:pos x="connsiteX11559" y="connsiteY11559"/>
                </a:cxn>
                <a:cxn ang="0">
                  <a:pos x="connsiteX11560" y="connsiteY11560"/>
                </a:cxn>
                <a:cxn ang="0">
                  <a:pos x="connsiteX11561" y="connsiteY11561"/>
                </a:cxn>
                <a:cxn ang="0">
                  <a:pos x="connsiteX11562" y="connsiteY11562"/>
                </a:cxn>
                <a:cxn ang="0">
                  <a:pos x="connsiteX11563" y="connsiteY11563"/>
                </a:cxn>
                <a:cxn ang="0">
                  <a:pos x="connsiteX11564" y="connsiteY11564"/>
                </a:cxn>
                <a:cxn ang="0">
                  <a:pos x="connsiteX11565" y="connsiteY11565"/>
                </a:cxn>
                <a:cxn ang="0">
                  <a:pos x="connsiteX11566" y="connsiteY11566"/>
                </a:cxn>
                <a:cxn ang="0">
                  <a:pos x="connsiteX11567" y="connsiteY11567"/>
                </a:cxn>
                <a:cxn ang="0">
                  <a:pos x="connsiteX11568" y="connsiteY11568"/>
                </a:cxn>
                <a:cxn ang="0">
                  <a:pos x="connsiteX11569" y="connsiteY11569"/>
                </a:cxn>
                <a:cxn ang="0">
                  <a:pos x="connsiteX11570" y="connsiteY11570"/>
                </a:cxn>
                <a:cxn ang="0">
                  <a:pos x="connsiteX11571" y="connsiteY11571"/>
                </a:cxn>
                <a:cxn ang="0">
                  <a:pos x="connsiteX11572" y="connsiteY11572"/>
                </a:cxn>
                <a:cxn ang="0">
                  <a:pos x="connsiteX11573" y="connsiteY11573"/>
                </a:cxn>
                <a:cxn ang="0">
                  <a:pos x="connsiteX11574" y="connsiteY11574"/>
                </a:cxn>
                <a:cxn ang="0">
                  <a:pos x="connsiteX11575" y="connsiteY11575"/>
                </a:cxn>
                <a:cxn ang="0">
                  <a:pos x="connsiteX11576" y="connsiteY11576"/>
                </a:cxn>
                <a:cxn ang="0">
                  <a:pos x="connsiteX11577" y="connsiteY11577"/>
                </a:cxn>
                <a:cxn ang="0">
                  <a:pos x="connsiteX11578" y="connsiteY11578"/>
                </a:cxn>
                <a:cxn ang="0">
                  <a:pos x="connsiteX11579" y="connsiteY11579"/>
                </a:cxn>
                <a:cxn ang="0">
                  <a:pos x="connsiteX11580" y="connsiteY11580"/>
                </a:cxn>
                <a:cxn ang="0">
                  <a:pos x="connsiteX11581" y="connsiteY11581"/>
                </a:cxn>
                <a:cxn ang="0">
                  <a:pos x="connsiteX11582" y="connsiteY11582"/>
                </a:cxn>
                <a:cxn ang="0">
                  <a:pos x="connsiteX11583" y="connsiteY11583"/>
                </a:cxn>
                <a:cxn ang="0">
                  <a:pos x="connsiteX11584" y="connsiteY11584"/>
                </a:cxn>
                <a:cxn ang="0">
                  <a:pos x="connsiteX11585" y="connsiteY11585"/>
                </a:cxn>
                <a:cxn ang="0">
                  <a:pos x="connsiteX11586" y="connsiteY11586"/>
                </a:cxn>
                <a:cxn ang="0">
                  <a:pos x="connsiteX11587" y="connsiteY11587"/>
                </a:cxn>
                <a:cxn ang="0">
                  <a:pos x="connsiteX11588" y="connsiteY11588"/>
                </a:cxn>
                <a:cxn ang="0">
                  <a:pos x="connsiteX11589" y="connsiteY11589"/>
                </a:cxn>
                <a:cxn ang="0">
                  <a:pos x="connsiteX11590" y="connsiteY11590"/>
                </a:cxn>
                <a:cxn ang="0">
                  <a:pos x="connsiteX11591" y="connsiteY11591"/>
                </a:cxn>
                <a:cxn ang="0">
                  <a:pos x="connsiteX11592" y="connsiteY11592"/>
                </a:cxn>
                <a:cxn ang="0">
                  <a:pos x="connsiteX11593" y="connsiteY11593"/>
                </a:cxn>
                <a:cxn ang="0">
                  <a:pos x="connsiteX11594" y="connsiteY11594"/>
                </a:cxn>
                <a:cxn ang="0">
                  <a:pos x="connsiteX11595" y="connsiteY11595"/>
                </a:cxn>
                <a:cxn ang="0">
                  <a:pos x="connsiteX11596" y="connsiteY11596"/>
                </a:cxn>
                <a:cxn ang="0">
                  <a:pos x="connsiteX11597" y="connsiteY11597"/>
                </a:cxn>
                <a:cxn ang="0">
                  <a:pos x="connsiteX11598" y="connsiteY11598"/>
                </a:cxn>
                <a:cxn ang="0">
                  <a:pos x="connsiteX11599" y="connsiteY11599"/>
                </a:cxn>
                <a:cxn ang="0">
                  <a:pos x="connsiteX11600" y="connsiteY11600"/>
                </a:cxn>
                <a:cxn ang="0">
                  <a:pos x="connsiteX11601" y="connsiteY11601"/>
                </a:cxn>
                <a:cxn ang="0">
                  <a:pos x="connsiteX11602" y="connsiteY11602"/>
                </a:cxn>
                <a:cxn ang="0">
                  <a:pos x="connsiteX11603" y="connsiteY11603"/>
                </a:cxn>
                <a:cxn ang="0">
                  <a:pos x="connsiteX11604" y="connsiteY11604"/>
                </a:cxn>
                <a:cxn ang="0">
                  <a:pos x="connsiteX11605" y="connsiteY11605"/>
                </a:cxn>
                <a:cxn ang="0">
                  <a:pos x="connsiteX11606" y="connsiteY11606"/>
                </a:cxn>
                <a:cxn ang="0">
                  <a:pos x="connsiteX11607" y="connsiteY11607"/>
                </a:cxn>
                <a:cxn ang="0">
                  <a:pos x="connsiteX11608" y="connsiteY11608"/>
                </a:cxn>
                <a:cxn ang="0">
                  <a:pos x="connsiteX11609" y="connsiteY11609"/>
                </a:cxn>
                <a:cxn ang="0">
                  <a:pos x="connsiteX11610" y="connsiteY11610"/>
                </a:cxn>
                <a:cxn ang="0">
                  <a:pos x="connsiteX11611" y="connsiteY11611"/>
                </a:cxn>
                <a:cxn ang="0">
                  <a:pos x="connsiteX11612" y="connsiteY11612"/>
                </a:cxn>
                <a:cxn ang="0">
                  <a:pos x="connsiteX11613" y="connsiteY11613"/>
                </a:cxn>
                <a:cxn ang="0">
                  <a:pos x="connsiteX11614" y="connsiteY11614"/>
                </a:cxn>
                <a:cxn ang="0">
                  <a:pos x="connsiteX11615" y="connsiteY11615"/>
                </a:cxn>
                <a:cxn ang="0">
                  <a:pos x="connsiteX11616" y="connsiteY11616"/>
                </a:cxn>
                <a:cxn ang="0">
                  <a:pos x="connsiteX11617" y="connsiteY11617"/>
                </a:cxn>
                <a:cxn ang="0">
                  <a:pos x="connsiteX11618" y="connsiteY11618"/>
                </a:cxn>
                <a:cxn ang="0">
                  <a:pos x="connsiteX11619" y="connsiteY11619"/>
                </a:cxn>
                <a:cxn ang="0">
                  <a:pos x="connsiteX11620" y="connsiteY11620"/>
                </a:cxn>
                <a:cxn ang="0">
                  <a:pos x="connsiteX11621" y="connsiteY11621"/>
                </a:cxn>
                <a:cxn ang="0">
                  <a:pos x="connsiteX11622" y="connsiteY11622"/>
                </a:cxn>
                <a:cxn ang="0">
                  <a:pos x="connsiteX11623" y="connsiteY11623"/>
                </a:cxn>
                <a:cxn ang="0">
                  <a:pos x="connsiteX11624" y="connsiteY11624"/>
                </a:cxn>
                <a:cxn ang="0">
                  <a:pos x="connsiteX11625" y="connsiteY11625"/>
                </a:cxn>
                <a:cxn ang="0">
                  <a:pos x="connsiteX11626" y="connsiteY11626"/>
                </a:cxn>
                <a:cxn ang="0">
                  <a:pos x="connsiteX11627" y="connsiteY11627"/>
                </a:cxn>
                <a:cxn ang="0">
                  <a:pos x="connsiteX11628" y="connsiteY11628"/>
                </a:cxn>
                <a:cxn ang="0">
                  <a:pos x="connsiteX11629" y="connsiteY11629"/>
                </a:cxn>
                <a:cxn ang="0">
                  <a:pos x="connsiteX11630" y="connsiteY11630"/>
                </a:cxn>
                <a:cxn ang="0">
                  <a:pos x="connsiteX11631" y="connsiteY11631"/>
                </a:cxn>
                <a:cxn ang="0">
                  <a:pos x="connsiteX11632" y="connsiteY11632"/>
                </a:cxn>
                <a:cxn ang="0">
                  <a:pos x="connsiteX11633" y="connsiteY11633"/>
                </a:cxn>
                <a:cxn ang="0">
                  <a:pos x="connsiteX11634" y="connsiteY11634"/>
                </a:cxn>
                <a:cxn ang="0">
                  <a:pos x="connsiteX11635" y="connsiteY11635"/>
                </a:cxn>
                <a:cxn ang="0">
                  <a:pos x="connsiteX11636" y="connsiteY11636"/>
                </a:cxn>
                <a:cxn ang="0">
                  <a:pos x="connsiteX11637" y="connsiteY11637"/>
                </a:cxn>
                <a:cxn ang="0">
                  <a:pos x="connsiteX11638" y="connsiteY11638"/>
                </a:cxn>
                <a:cxn ang="0">
                  <a:pos x="connsiteX11639" y="connsiteY11639"/>
                </a:cxn>
                <a:cxn ang="0">
                  <a:pos x="connsiteX11640" y="connsiteY11640"/>
                </a:cxn>
                <a:cxn ang="0">
                  <a:pos x="connsiteX11641" y="connsiteY11641"/>
                </a:cxn>
                <a:cxn ang="0">
                  <a:pos x="connsiteX11642" y="connsiteY11642"/>
                </a:cxn>
                <a:cxn ang="0">
                  <a:pos x="connsiteX11643" y="connsiteY11643"/>
                </a:cxn>
                <a:cxn ang="0">
                  <a:pos x="connsiteX11644" y="connsiteY11644"/>
                </a:cxn>
                <a:cxn ang="0">
                  <a:pos x="connsiteX11645" y="connsiteY11645"/>
                </a:cxn>
                <a:cxn ang="0">
                  <a:pos x="connsiteX11646" y="connsiteY11646"/>
                </a:cxn>
                <a:cxn ang="0">
                  <a:pos x="connsiteX11647" y="connsiteY11647"/>
                </a:cxn>
                <a:cxn ang="0">
                  <a:pos x="connsiteX11648" y="connsiteY11648"/>
                </a:cxn>
                <a:cxn ang="0">
                  <a:pos x="connsiteX11649" y="connsiteY11649"/>
                </a:cxn>
                <a:cxn ang="0">
                  <a:pos x="connsiteX11650" y="connsiteY11650"/>
                </a:cxn>
                <a:cxn ang="0">
                  <a:pos x="connsiteX11651" y="connsiteY11651"/>
                </a:cxn>
                <a:cxn ang="0">
                  <a:pos x="connsiteX11652" y="connsiteY11652"/>
                </a:cxn>
                <a:cxn ang="0">
                  <a:pos x="connsiteX11653" y="connsiteY11653"/>
                </a:cxn>
                <a:cxn ang="0">
                  <a:pos x="connsiteX11654" y="connsiteY11654"/>
                </a:cxn>
                <a:cxn ang="0">
                  <a:pos x="connsiteX11655" y="connsiteY11655"/>
                </a:cxn>
                <a:cxn ang="0">
                  <a:pos x="connsiteX11656" y="connsiteY11656"/>
                </a:cxn>
                <a:cxn ang="0">
                  <a:pos x="connsiteX11657" y="connsiteY11657"/>
                </a:cxn>
                <a:cxn ang="0">
                  <a:pos x="connsiteX11658" y="connsiteY11658"/>
                </a:cxn>
                <a:cxn ang="0">
                  <a:pos x="connsiteX11659" y="connsiteY11659"/>
                </a:cxn>
                <a:cxn ang="0">
                  <a:pos x="connsiteX11660" y="connsiteY11660"/>
                </a:cxn>
                <a:cxn ang="0">
                  <a:pos x="connsiteX11661" y="connsiteY11661"/>
                </a:cxn>
                <a:cxn ang="0">
                  <a:pos x="connsiteX11662" y="connsiteY11662"/>
                </a:cxn>
                <a:cxn ang="0">
                  <a:pos x="connsiteX11663" y="connsiteY11663"/>
                </a:cxn>
                <a:cxn ang="0">
                  <a:pos x="connsiteX11664" y="connsiteY11664"/>
                </a:cxn>
                <a:cxn ang="0">
                  <a:pos x="connsiteX11665" y="connsiteY11665"/>
                </a:cxn>
                <a:cxn ang="0">
                  <a:pos x="connsiteX11666" y="connsiteY11666"/>
                </a:cxn>
                <a:cxn ang="0">
                  <a:pos x="connsiteX11667" y="connsiteY11667"/>
                </a:cxn>
                <a:cxn ang="0">
                  <a:pos x="connsiteX11668" y="connsiteY11668"/>
                </a:cxn>
                <a:cxn ang="0">
                  <a:pos x="connsiteX11669" y="connsiteY11669"/>
                </a:cxn>
                <a:cxn ang="0">
                  <a:pos x="connsiteX11670" y="connsiteY11670"/>
                </a:cxn>
                <a:cxn ang="0">
                  <a:pos x="connsiteX11671" y="connsiteY11671"/>
                </a:cxn>
                <a:cxn ang="0">
                  <a:pos x="connsiteX11672" y="connsiteY11672"/>
                </a:cxn>
                <a:cxn ang="0">
                  <a:pos x="connsiteX11673" y="connsiteY11673"/>
                </a:cxn>
                <a:cxn ang="0">
                  <a:pos x="connsiteX11674" y="connsiteY11674"/>
                </a:cxn>
                <a:cxn ang="0">
                  <a:pos x="connsiteX11675" y="connsiteY11675"/>
                </a:cxn>
                <a:cxn ang="0">
                  <a:pos x="connsiteX11676" y="connsiteY11676"/>
                </a:cxn>
                <a:cxn ang="0">
                  <a:pos x="connsiteX11677" y="connsiteY11677"/>
                </a:cxn>
                <a:cxn ang="0">
                  <a:pos x="connsiteX11678" y="connsiteY11678"/>
                </a:cxn>
                <a:cxn ang="0">
                  <a:pos x="connsiteX11679" y="connsiteY11679"/>
                </a:cxn>
                <a:cxn ang="0">
                  <a:pos x="connsiteX11680" y="connsiteY11680"/>
                </a:cxn>
                <a:cxn ang="0">
                  <a:pos x="connsiteX11681" y="connsiteY11681"/>
                </a:cxn>
                <a:cxn ang="0">
                  <a:pos x="connsiteX11682" y="connsiteY11682"/>
                </a:cxn>
                <a:cxn ang="0">
                  <a:pos x="connsiteX11683" y="connsiteY11683"/>
                </a:cxn>
                <a:cxn ang="0">
                  <a:pos x="connsiteX11684" y="connsiteY11684"/>
                </a:cxn>
                <a:cxn ang="0">
                  <a:pos x="connsiteX11685" y="connsiteY11685"/>
                </a:cxn>
                <a:cxn ang="0">
                  <a:pos x="connsiteX11686" y="connsiteY11686"/>
                </a:cxn>
                <a:cxn ang="0">
                  <a:pos x="connsiteX11687" y="connsiteY11687"/>
                </a:cxn>
                <a:cxn ang="0">
                  <a:pos x="connsiteX11688" y="connsiteY11688"/>
                </a:cxn>
                <a:cxn ang="0">
                  <a:pos x="connsiteX11689" y="connsiteY11689"/>
                </a:cxn>
                <a:cxn ang="0">
                  <a:pos x="connsiteX11690" y="connsiteY11690"/>
                </a:cxn>
                <a:cxn ang="0">
                  <a:pos x="connsiteX11691" y="connsiteY11691"/>
                </a:cxn>
                <a:cxn ang="0">
                  <a:pos x="connsiteX11692" y="connsiteY11692"/>
                </a:cxn>
                <a:cxn ang="0">
                  <a:pos x="connsiteX11693" y="connsiteY11693"/>
                </a:cxn>
                <a:cxn ang="0">
                  <a:pos x="connsiteX11694" y="connsiteY11694"/>
                </a:cxn>
                <a:cxn ang="0">
                  <a:pos x="connsiteX11695" y="connsiteY11695"/>
                </a:cxn>
                <a:cxn ang="0">
                  <a:pos x="connsiteX11696" y="connsiteY11696"/>
                </a:cxn>
                <a:cxn ang="0">
                  <a:pos x="connsiteX11697" y="connsiteY11697"/>
                </a:cxn>
                <a:cxn ang="0">
                  <a:pos x="connsiteX11698" y="connsiteY11698"/>
                </a:cxn>
                <a:cxn ang="0">
                  <a:pos x="connsiteX11699" y="connsiteY11699"/>
                </a:cxn>
                <a:cxn ang="0">
                  <a:pos x="connsiteX11700" y="connsiteY11700"/>
                </a:cxn>
                <a:cxn ang="0">
                  <a:pos x="connsiteX11701" y="connsiteY11701"/>
                </a:cxn>
                <a:cxn ang="0">
                  <a:pos x="connsiteX11702" y="connsiteY11702"/>
                </a:cxn>
                <a:cxn ang="0">
                  <a:pos x="connsiteX11703" y="connsiteY11703"/>
                </a:cxn>
                <a:cxn ang="0">
                  <a:pos x="connsiteX11704" y="connsiteY11704"/>
                </a:cxn>
                <a:cxn ang="0">
                  <a:pos x="connsiteX11705" y="connsiteY11705"/>
                </a:cxn>
                <a:cxn ang="0">
                  <a:pos x="connsiteX11706" y="connsiteY11706"/>
                </a:cxn>
                <a:cxn ang="0">
                  <a:pos x="connsiteX11707" y="connsiteY11707"/>
                </a:cxn>
                <a:cxn ang="0">
                  <a:pos x="connsiteX11708" y="connsiteY11708"/>
                </a:cxn>
                <a:cxn ang="0">
                  <a:pos x="connsiteX11709" y="connsiteY11709"/>
                </a:cxn>
                <a:cxn ang="0">
                  <a:pos x="connsiteX11710" y="connsiteY11710"/>
                </a:cxn>
                <a:cxn ang="0">
                  <a:pos x="connsiteX11711" y="connsiteY11711"/>
                </a:cxn>
                <a:cxn ang="0">
                  <a:pos x="connsiteX11712" y="connsiteY11712"/>
                </a:cxn>
                <a:cxn ang="0">
                  <a:pos x="connsiteX11713" y="connsiteY11713"/>
                </a:cxn>
                <a:cxn ang="0">
                  <a:pos x="connsiteX11714" y="connsiteY11714"/>
                </a:cxn>
                <a:cxn ang="0">
                  <a:pos x="connsiteX11715" y="connsiteY11715"/>
                </a:cxn>
                <a:cxn ang="0">
                  <a:pos x="connsiteX11716" y="connsiteY11716"/>
                </a:cxn>
                <a:cxn ang="0">
                  <a:pos x="connsiteX11717" y="connsiteY11717"/>
                </a:cxn>
                <a:cxn ang="0">
                  <a:pos x="connsiteX11718" y="connsiteY11718"/>
                </a:cxn>
                <a:cxn ang="0">
                  <a:pos x="connsiteX11719" y="connsiteY11719"/>
                </a:cxn>
                <a:cxn ang="0">
                  <a:pos x="connsiteX11720" y="connsiteY11720"/>
                </a:cxn>
                <a:cxn ang="0">
                  <a:pos x="connsiteX11721" y="connsiteY11721"/>
                </a:cxn>
                <a:cxn ang="0">
                  <a:pos x="connsiteX11722" y="connsiteY11722"/>
                </a:cxn>
                <a:cxn ang="0">
                  <a:pos x="connsiteX11723" y="connsiteY11723"/>
                </a:cxn>
                <a:cxn ang="0">
                  <a:pos x="connsiteX11724" y="connsiteY11724"/>
                </a:cxn>
                <a:cxn ang="0">
                  <a:pos x="connsiteX11725" y="connsiteY11725"/>
                </a:cxn>
                <a:cxn ang="0">
                  <a:pos x="connsiteX11726" y="connsiteY11726"/>
                </a:cxn>
                <a:cxn ang="0">
                  <a:pos x="connsiteX11727" y="connsiteY11727"/>
                </a:cxn>
                <a:cxn ang="0">
                  <a:pos x="connsiteX11728" y="connsiteY11728"/>
                </a:cxn>
                <a:cxn ang="0">
                  <a:pos x="connsiteX11729" y="connsiteY11729"/>
                </a:cxn>
                <a:cxn ang="0">
                  <a:pos x="connsiteX11730" y="connsiteY11730"/>
                </a:cxn>
                <a:cxn ang="0">
                  <a:pos x="connsiteX11731" y="connsiteY11731"/>
                </a:cxn>
                <a:cxn ang="0">
                  <a:pos x="connsiteX11732" y="connsiteY11732"/>
                </a:cxn>
                <a:cxn ang="0">
                  <a:pos x="connsiteX11733" y="connsiteY11733"/>
                </a:cxn>
                <a:cxn ang="0">
                  <a:pos x="connsiteX11734" y="connsiteY11734"/>
                </a:cxn>
                <a:cxn ang="0">
                  <a:pos x="connsiteX11735" y="connsiteY11735"/>
                </a:cxn>
                <a:cxn ang="0">
                  <a:pos x="connsiteX11736" y="connsiteY11736"/>
                </a:cxn>
                <a:cxn ang="0">
                  <a:pos x="connsiteX11737" y="connsiteY11737"/>
                </a:cxn>
                <a:cxn ang="0">
                  <a:pos x="connsiteX11738" y="connsiteY11738"/>
                </a:cxn>
                <a:cxn ang="0">
                  <a:pos x="connsiteX11739" y="connsiteY11739"/>
                </a:cxn>
                <a:cxn ang="0">
                  <a:pos x="connsiteX11740" y="connsiteY11740"/>
                </a:cxn>
                <a:cxn ang="0">
                  <a:pos x="connsiteX11741" y="connsiteY11741"/>
                </a:cxn>
                <a:cxn ang="0">
                  <a:pos x="connsiteX11742" y="connsiteY11742"/>
                </a:cxn>
                <a:cxn ang="0">
                  <a:pos x="connsiteX11743" y="connsiteY11743"/>
                </a:cxn>
                <a:cxn ang="0">
                  <a:pos x="connsiteX11744" y="connsiteY11744"/>
                </a:cxn>
                <a:cxn ang="0">
                  <a:pos x="connsiteX11745" y="connsiteY11745"/>
                </a:cxn>
                <a:cxn ang="0">
                  <a:pos x="connsiteX11746" y="connsiteY11746"/>
                </a:cxn>
                <a:cxn ang="0">
                  <a:pos x="connsiteX11747" y="connsiteY11747"/>
                </a:cxn>
                <a:cxn ang="0">
                  <a:pos x="connsiteX11748" y="connsiteY11748"/>
                </a:cxn>
                <a:cxn ang="0">
                  <a:pos x="connsiteX11749" y="connsiteY11749"/>
                </a:cxn>
                <a:cxn ang="0">
                  <a:pos x="connsiteX11750" y="connsiteY11750"/>
                </a:cxn>
                <a:cxn ang="0">
                  <a:pos x="connsiteX11751" y="connsiteY11751"/>
                </a:cxn>
                <a:cxn ang="0">
                  <a:pos x="connsiteX11752" y="connsiteY11752"/>
                </a:cxn>
                <a:cxn ang="0">
                  <a:pos x="connsiteX11753" y="connsiteY11753"/>
                </a:cxn>
                <a:cxn ang="0">
                  <a:pos x="connsiteX11754" y="connsiteY11754"/>
                </a:cxn>
                <a:cxn ang="0">
                  <a:pos x="connsiteX11755" y="connsiteY11755"/>
                </a:cxn>
                <a:cxn ang="0">
                  <a:pos x="connsiteX11756" y="connsiteY11756"/>
                </a:cxn>
                <a:cxn ang="0">
                  <a:pos x="connsiteX11757" y="connsiteY11757"/>
                </a:cxn>
                <a:cxn ang="0">
                  <a:pos x="connsiteX11758" y="connsiteY11758"/>
                </a:cxn>
                <a:cxn ang="0">
                  <a:pos x="connsiteX11759" y="connsiteY11759"/>
                </a:cxn>
                <a:cxn ang="0">
                  <a:pos x="connsiteX11760" y="connsiteY11760"/>
                </a:cxn>
                <a:cxn ang="0">
                  <a:pos x="connsiteX11761" y="connsiteY11761"/>
                </a:cxn>
                <a:cxn ang="0">
                  <a:pos x="connsiteX11762" y="connsiteY11762"/>
                </a:cxn>
                <a:cxn ang="0">
                  <a:pos x="connsiteX11763" y="connsiteY11763"/>
                </a:cxn>
                <a:cxn ang="0">
                  <a:pos x="connsiteX11764" y="connsiteY11764"/>
                </a:cxn>
                <a:cxn ang="0">
                  <a:pos x="connsiteX11765" y="connsiteY11765"/>
                </a:cxn>
                <a:cxn ang="0">
                  <a:pos x="connsiteX11766" y="connsiteY11766"/>
                </a:cxn>
                <a:cxn ang="0">
                  <a:pos x="connsiteX11767" y="connsiteY11767"/>
                </a:cxn>
                <a:cxn ang="0">
                  <a:pos x="connsiteX11768" y="connsiteY11768"/>
                </a:cxn>
                <a:cxn ang="0">
                  <a:pos x="connsiteX11769" y="connsiteY11769"/>
                </a:cxn>
                <a:cxn ang="0">
                  <a:pos x="connsiteX11770" y="connsiteY11770"/>
                </a:cxn>
                <a:cxn ang="0">
                  <a:pos x="connsiteX11771" y="connsiteY11771"/>
                </a:cxn>
                <a:cxn ang="0">
                  <a:pos x="connsiteX11772" y="connsiteY11772"/>
                </a:cxn>
                <a:cxn ang="0">
                  <a:pos x="connsiteX11773" y="connsiteY11773"/>
                </a:cxn>
                <a:cxn ang="0">
                  <a:pos x="connsiteX11774" y="connsiteY11774"/>
                </a:cxn>
                <a:cxn ang="0">
                  <a:pos x="connsiteX11775" y="connsiteY11775"/>
                </a:cxn>
                <a:cxn ang="0">
                  <a:pos x="connsiteX11776" y="connsiteY11776"/>
                </a:cxn>
                <a:cxn ang="0">
                  <a:pos x="connsiteX11777" y="connsiteY11777"/>
                </a:cxn>
                <a:cxn ang="0">
                  <a:pos x="connsiteX11778" y="connsiteY11778"/>
                </a:cxn>
                <a:cxn ang="0">
                  <a:pos x="connsiteX11779" y="connsiteY11779"/>
                </a:cxn>
                <a:cxn ang="0">
                  <a:pos x="connsiteX11780" y="connsiteY11780"/>
                </a:cxn>
                <a:cxn ang="0">
                  <a:pos x="connsiteX11781" y="connsiteY11781"/>
                </a:cxn>
                <a:cxn ang="0">
                  <a:pos x="connsiteX11782" y="connsiteY11782"/>
                </a:cxn>
                <a:cxn ang="0">
                  <a:pos x="connsiteX11783" y="connsiteY11783"/>
                </a:cxn>
                <a:cxn ang="0">
                  <a:pos x="connsiteX11784" y="connsiteY11784"/>
                </a:cxn>
                <a:cxn ang="0">
                  <a:pos x="connsiteX11785" y="connsiteY11785"/>
                </a:cxn>
                <a:cxn ang="0">
                  <a:pos x="connsiteX11786" y="connsiteY11786"/>
                </a:cxn>
                <a:cxn ang="0">
                  <a:pos x="connsiteX11787" y="connsiteY11787"/>
                </a:cxn>
                <a:cxn ang="0">
                  <a:pos x="connsiteX11788" y="connsiteY11788"/>
                </a:cxn>
                <a:cxn ang="0">
                  <a:pos x="connsiteX11789" y="connsiteY11789"/>
                </a:cxn>
                <a:cxn ang="0">
                  <a:pos x="connsiteX11790" y="connsiteY11790"/>
                </a:cxn>
                <a:cxn ang="0">
                  <a:pos x="connsiteX11791" y="connsiteY11791"/>
                </a:cxn>
                <a:cxn ang="0">
                  <a:pos x="connsiteX11792" y="connsiteY11792"/>
                </a:cxn>
                <a:cxn ang="0">
                  <a:pos x="connsiteX11793" y="connsiteY11793"/>
                </a:cxn>
                <a:cxn ang="0">
                  <a:pos x="connsiteX11794" y="connsiteY11794"/>
                </a:cxn>
                <a:cxn ang="0">
                  <a:pos x="connsiteX11795" y="connsiteY11795"/>
                </a:cxn>
                <a:cxn ang="0">
                  <a:pos x="connsiteX11796" y="connsiteY11796"/>
                </a:cxn>
                <a:cxn ang="0">
                  <a:pos x="connsiteX11797" y="connsiteY11797"/>
                </a:cxn>
                <a:cxn ang="0">
                  <a:pos x="connsiteX11798" y="connsiteY11798"/>
                </a:cxn>
                <a:cxn ang="0">
                  <a:pos x="connsiteX11799" y="connsiteY11799"/>
                </a:cxn>
                <a:cxn ang="0">
                  <a:pos x="connsiteX11800" y="connsiteY11800"/>
                </a:cxn>
                <a:cxn ang="0">
                  <a:pos x="connsiteX11801" y="connsiteY11801"/>
                </a:cxn>
                <a:cxn ang="0">
                  <a:pos x="connsiteX11802" y="connsiteY11802"/>
                </a:cxn>
                <a:cxn ang="0">
                  <a:pos x="connsiteX11803" y="connsiteY11803"/>
                </a:cxn>
                <a:cxn ang="0">
                  <a:pos x="connsiteX11804" y="connsiteY11804"/>
                </a:cxn>
                <a:cxn ang="0">
                  <a:pos x="connsiteX11805" y="connsiteY11805"/>
                </a:cxn>
                <a:cxn ang="0">
                  <a:pos x="connsiteX11806" y="connsiteY11806"/>
                </a:cxn>
                <a:cxn ang="0">
                  <a:pos x="connsiteX11807" y="connsiteY11807"/>
                </a:cxn>
                <a:cxn ang="0">
                  <a:pos x="connsiteX11808" y="connsiteY11808"/>
                </a:cxn>
                <a:cxn ang="0">
                  <a:pos x="connsiteX11809" y="connsiteY11809"/>
                </a:cxn>
                <a:cxn ang="0">
                  <a:pos x="connsiteX11810" y="connsiteY11810"/>
                </a:cxn>
                <a:cxn ang="0">
                  <a:pos x="connsiteX11811" y="connsiteY11811"/>
                </a:cxn>
                <a:cxn ang="0">
                  <a:pos x="connsiteX11812" y="connsiteY11812"/>
                </a:cxn>
                <a:cxn ang="0">
                  <a:pos x="connsiteX11813" y="connsiteY11813"/>
                </a:cxn>
                <a:cxn ang="0">
                  <a:pos x="connsiteX11814" y="connsiteY11814"/>
                </a:cxn>
                <a:cxn ang="0">
                  <a:pos x="connsiteX11815" y="connsiteY11815"/>
                </a:cxn>
                <a:cxn ang="0">
                  <a:pos x="connsiteX11816" y="connsiteY11816"/>
                </a:cxn>
                <a:cxn ang="0">
                  <a:pos x="connsiteX11817" y="connsiteY11817"/>
                </a:cxn>
                <a:cxn ang="0">
                  <a:pos x="connsiteX11818" y="connsiteY11818"/>
                </a:cxn>
                <a:cxn ang="0">
                  <a:pos x="connsiteX11819" y="connsiteY11819"/>
                </a:cxn>
                <a:cxn ang="0">
                  <a:pos x="connsiteX11820" y="connsiteY11820"/>
                </a:cxn>
                <a:cxn ang="0">
                  <a:pos x="connsiteX11821" y="connsiteY11821"/>
                </a:cxn>
                <a:cxn ang="0">
                  <a:pos x="connsiteX11822" y="connsiteY11822"/>
                </a:cxn>
                <a:cxn ang="0">
                  <a:pos x="connsiteX11823" y="connsiteY11823"/>
                </a:cxn>
                <a:cxn ang="0">
                  <a:pos x="connsiteX11824" y="connsiteY11824"/>
                </a:cxn>
                <a:cxn ang="0">
                  <a:pos x="connsiteX11825" y="connsiteY11825"/>
                </a:cxn>
                <a:cxn ang="0">
                  <a:pos x="connsiteX11826" y="connsiteY11826"/>
                </a:cxn>
                <a:cxn ang="0">
                  <a:pos x="connsiteX11827" y="connsiteY11827"/>
                </a:cxn>
                <a:cxn ang="0">
                  <a:pos x="connsiteX11828" y="connsiteY11828"/>
                </a:cxn>
                <a:cxn ang="0">
                  <a:pos x="connsiteX11829" y="connsiteY11829"/>
                </a:cxn>
                <a:cxn ang="0">
                  <a:pos x="connsiteX11830" y="connsiteY11830"/>
                </a:cxn>
                <a:cxn ang="0">
                  <a:pos x="connsiteX11831" y="connsiteY11831"/>
                </a:cxn>
                <a:cxn ang="0">
                  <a:pos x="connsiteX11832" y="connsiteY11832"/>
                </a:cxn>
                <a:cxn ang="0">
                  <a:pos x="connsiteX11833" y="connsiteY11833"/>
                </a:cxn>
                <a:cxn ang="0">
                  <a:pos x="connsiteX11834" y="connsiteY11834"/>
                </a:cxn>
                <a:cxn ang="0">
                  <a:pos x="connsiteX11835" y="connsiteY11835"/>
                </a:cxn>
                <a:cxn ang="0">
                  <a:pos x="connsiteX11836" y="connsiteY11836"/>
                </a:cxn>
                <a:cxn ang="0">
                  <a:pos x="connsiteX11837" y="connsiteY11837"/>
                </a:cxn>
                <a:cxn ang="0">
                  <a:pos x="connsiteX11838" y="connsiteY11838"/>
                </a:cxn>
                <a:cxn ang="0">
                  <a:pos x="connsiteX11839" y="connsiteY11839"/>
                </a:cxn>
                <a:cxn ang="0">
                  <a:pos x="connsiteX11840" y="connsiteY11840"/>
                </a:cxn>
                <a:cxn ang="0">
                  <a:pos x="connsiteX11841" y="connsiteY11841"/>
                </a:cxn>
                <a:cxn ang="0">
                  <a:pos x="connsiteX11842" y="connsiteY11842"/>
                </a:cxn>
                <a:cxn ang="0">
                  <a:pos x="connsiteX11843" y="connsiteY11843"/>
                </a:cxn>
                <a:cxn ang="0">
                  <a:pos x="connsiteX11844" y="connsiteY11844"/>
                </a:cxn>
                <a:cxn ang="0">
                  <a:pos x="connsiteX11845" y="connsiteY11845"/>
                </a:cxn>
                <a:cxn ang="0">
                  <a:pos x="connsiteX11846" y="connsiteY11846"/>
                </a:cxn>
                <a:cxn ang="0">
                  <a:pos x="connsiteX11847" y="connsiteY11847"/>
                </a:cxn>
                <a:cxn ang="0">
                  <a:pos x="connsiteX11848" y="connsiteY11848"/>
                </a:cxn>
                <a:cxn ang="0">
                  <a:pos x="connsiteX11849" y="connsiteY11849"/>
                </a:cxn>
                <a:cxn ang="0">
                  <a:pos x="connsiteX11850" y="connsiteY11850"/>
                </a:cxn>
                <a:cxn ang="0">
                  <a:pos x="connsiteX11851" y="connsiteY11851"/>
                </a:cxn>
                <a:cxn ang="0">
                  <a:pos x="connsiteX11852" y="connsiteY11852"/>
                </a:cxn>
                <a:cxn ang="0">
                  <a:pos x="connsiteX11853" y="connsiteY11853"/>
                </a:cxn>
                <a:cxn ang="0">
                  <a:pos x="connsiteX11854" y="connsiteY11854"/>
                </a:cxn>
                <a:cxn ang="0">
                  <a:pos x="connsiteX11855" y="connsiteY11855"/>
                </a:cxn>
                <a:cxn ang="0">
                  <a:pos x="connsiteX11856" y="connsiteY11856"/>
                </a:cxn>
                <a:cxn ang="0">
                  <a:pos x="connsiteX11857" y="connsiteY11857"/>
                </a:cxn>
                <a:cxn ang="0">
                  <a:pos x="connsiteX11858" y="connsiteY11858"/>
                </a:cxn>
                <a:cxn ang="0">
                  <a:pos x="connsiteX11859" y="connsiteY11859"/>
                </a:cxn>
                <a:cxn ang="0">
                  <a:pos x="connsiteX11860" y="connsiteY11860"/>
                </a:cxn>
                <a:cxn ang="0">
                  <a:pos x="connsiteX11861" y="connsiteY11861"/>
                </a:cxn>
                <a:cxn ang="0">
                  <a:pos x="connsiteX11862" y="connsiteY11862"/>
                </a:cxn>
                <a:cxn ang="0">
                  <a:pos x="connsiteX11863" y="connsiteY11863"/>
                </a:cxn>
                <a:cxn ang="0">
                  <a:pos x="connsiteX11864" y="connsiteY11864"/>
                </a:cxn>
                <a:cxn ang="0">
                  <a:pos x="connsiteX11865" y="connsiteY11865"/>
                </a:cxn>
                <a:cxn ang="0">
                  <a:pos x="connsiteX11866" y="connsiteY11866"/>
                </a:cxn>
                <a:cxn ang="0">
                  <a:pos x="connsiteX11867" y="connsiteY11867"/>
                </a:cxn>
                <a:cxn ang="0">
                  <a:pos x="connsiteX11868" y="connsiteY11868"/>
                </a:cxn>
                <a:cxn ang="0">
                  <a:pos x="connsiteX11869" y="connsiteY11869"/>
                </a:cxn>
                <a:cxn ang="0">
                  <a:pos x="connsiteX11870" y="connsiteY11870"/>
                </a:cxn>
                <a:cxn ang="0">
                  <a:pos x="connsiteX11871" y="connsiteY11871"/>
                </a:cxn>
                <a:cxn ang="0">
                  <a:pos x="connsiteX11872" y="connsiteY11872"/>
                </a:cxn>
                <a:cxn ang="0">
                  <a:pos x="connsiteX11873" y="connsiteY11873"/>
                </a:cxn>
                <a:cxn ang="0">
                  <a:pos x="connsiteX11874" y="connsiteY11874"/>
                </a:cxn>
                <a:cxn ang="0">
                  <a:pos x="connsiteX11875" y="connsiteY11875"/>
                </a:cxn>
                <a:cxn ang="0">
                  <a:pos x="connsiteX11876" y="connsiteY11876"/>
                </a:cxn>
                <a:cxn ang="0">
                  <a:pos x="connsiteX11877" y="connsiteY11877"/>
                </a:cxn>
                <a:cxn ang="0">
                  <a:pos x="connsiteX11878" y="connsiteY11878"/>
                </a:cxn>
                <a:cxn ang="0">
                  <a:pos x="connsiteX11879" y="connsiteY11879"/>
                </a:cxn>
                <a:cxn ang="0">
                  <a:pos x="connsiteX11880" y="connsiteY11880"/>
                </a:cxn>
                <a:cxn ang="0">
                  <a:pos x="connsiteX11881" y="connsiteY11881"/>
                </a:cxn>
                <a:cxn ang="0">
                  <a:pos x="connsiteX11882" y="connsiteY11882"/>
                </a:cxn>
                <a:cxn ang="0">
                  <a:pos x="connsiteX11883" y="connsiteY11883"/>
                </a:cxn>
                <a:cxn ang="0">
                  <a:pos x="connsiteX11884" y="connsiteY11884"/>
                </a:cxn>
                <a:cxn ang="0">
                  <a:pos x="connsiteX11885" y="connsiteY11885"/>
                </a:cxn>
                <a:cxn ang="0">
                  <a:pos x="connsiteX11886" y="connsiteY11886"/>
                </a:cxn>
                <a:cxn ang="0">
                  <a:pos x="connsiteX11887" y="connsiteY11887"/>
                </a:cxn>
                <a:cxn ang="0">
                  <a:pos x="connsiteX11888" y="connsiteY11888"/>
                </a:cxn>
                <a:cxn ang="0">
                  <a:pos x="connsiteX11889" y="connsiteY11889"/>
                </a:cxn>
                <a:cxn ang="0">
                  <a:pos x="connsiteX11890" y="connsiteY11890"/>
                </a:cxn>
                <a:cxn ang="0">
                  <a:pos x="connsiteX11891" y="connsiteY11891"/>
                </a:cxn>
                <a:cxn ang="0">
                  <a:pos x="connsiteX11892" y="connsiteY11892"/>
                </a:cxn>
                <a:cxn ang="0">
                  <a:pos x="connsiteX11893" y="connsiteY11893"/>
                </a:cxn>
                <a:cxn ang="0">
                  <a:pos x="connsiteX11894" y="connsiteY11894"/>
                </a:cxn>
                <a:cxn ang="0">
                  <a:pos x="connsiteX11895" y="connsiteY11895"/>
                </a:cxn>
                <a:cxn ang="0">
                  <a:pos x="connsiteX11896" y="connsiteY11896"/>
                </a:cxn>
                <a:cxn ang="0">
                  <a:pos x="connsiteX11897" y="connsiteY11897"/>
                </a:cxn>
                <a:cxn ang="0">
                  <a:pos x="connsiteX11898" y="connsiteY11898"/>
                </a:cxn>
                <a:cxn ang="0">
                  <a:pos x="connsiteX11899" y="connsiteY11899"/>
                </a:cxn>
                <a:cxn ang="0">
                  <a:pos x="connsiteX11900" y="connsiteY11900"/>
                </a:cxn>
                <a:cxn ang="0">
                  <a:pos x="connsiteX11901" y="connsiteY11901"/>
                </a:cxn>
                <a:cxn ang="0">
                  <a:pos x="connsiteX11902" y="connsiteY11902"/>
                </a:cxn>
                <a:cxn ang="0">
                  <a:pos x="connsiteX11903" y="connsiteY11903"/>
                </a:cxn>
                <a:cxn ang="0">
                  <a:pos x="connsiteX11904" y="connsiteY11904"/>
                </a:cxn>
                <a:cxn ang="0">
                  <a:pos x="connsiteX11905" y="connsiteY11905"/>
                </a:cxn>
                <a:cxn ang="0">
                  <a:pos x="connsiteX11906" y="connsiteY11906"/>
                </a:cxn>
                <a:cxn ang="0">
                  <a:pos x="connsiteX11907" y="connsiteY11907"/>
                </a:cxn>
                <a:cxn ang="0">
                  <a:pos x="connsiteX11908" y="connsiteY11908"/>
                </a:cxn>
                <a:cxn ang="0">
                  <a:pos x="connsiteX11909" y="connsiteY11909"/>
                </a:cxn>
                <a:cxn ang="0">
                  <a:pos x="connsiteX11910" y="connsiteY11910"/>
                </a:cxn>
                <a:cxn ang="0">
                  <a:pos x="connsiteX11911" y="connsiteY11911"/>
                </a:cxn>
                <a:cxn ang="0">
                  <a:pos x="connsiteX11912" y="connsiteY11912"/>
                </a:cxn>
                <a:cxn ang="0">
                  <a:pos x="connsiteX11913" y="connsiteY11913"/>
                </a:cxn>
                <a:cxn ang="0">
                  <a:pos x="connsiteX11914" y="connsiteY11914"/>
                </a:cxn>
                <a:cxn ang="0">
                  <a:pos x="connsiteX11915" y="connsiteY11915"/>
                </a:cxn>
                <a:cxn ang="0">
                  <a:pos x="connsiteX11916" y="connsiteY11916"/>
                </a:cxn>
                <a:cxn ang="0">
                  <a:pos x="connsiteX11917" y="connsiteY11917"/>
                </a:cxn>
                <a:cxn ang="0">
                  <a:pos x="connsiteX11918" y="connsiteY11918"/>
                </a:cxn>
                <a:cxn ang="0">
                  <a:pos x="connsiteX11919" y="connsiteY11919"/>
                </a:cxn>
                <a:cxn ang="0">
                  <a:pos x="connsiteX11920" y="connsiteY11920"/>
                </a:cxn>
                <a:cxn ang="0">
                  <a:pos x="connsiteX11921" y="connsiteY11921"/>
                </a:cxn>
                <a:cxn ang="0">
                  <a:pos x="connsiteX11922" y="connsiteY11922"/>
                </a:cxn>
                <a:cxn ang="0">
                  <a:pos x="connsiteX11923" y="connsiteY11923"/>
                </a:cxn>
                <a:cxn ang="0">
                  <a:pos x="connsiteX11924" y="connsiteY11924"/>
                </a:cxn>
                <a:cxn ang="0">
                  <a:pos x="connsiteX11925" y="connsiteY11925"/>
                </a:cxn>
                <a:cxn ang="0">
                  <a:pos x="connsiteX11926" y="connsiteY11926"/>
                </a:cxn>
                <a:cxn ang="0">
                  <a:pos x="connsiteX11927" y="connsiteY11927"/>
                </a:cxn>
                <a:cxn ang="0">
                  <a:pos x="connsiteX11928" y="connsiteY11928"/>
                </a:cxn>
                <a:cxn ang="0">
                  <a:pos x="connsiteX11929" y="connsiteY11929"/>
                </a:cxn>
                <a:cxn ang="0">
                  <a:pos x="connsiteX11930" y="connsiteY11930"/>
                </a:cxn>
                <a:cxn ang="0">
                  <a:pos x="connsiteX11931" y="connsiteY11931"/>
                </a:cxn>
                <a:cxn ang="0">
                  <a:pos x="connsiteX11932" y="connsiteY11932"/>
                </a:cxn>
                <a:cxn ang="0">
                  <a:pos x="connsiteX11933" y="connsiteY11933"/>
                </a:cxn>
                <a:cxn ang="0">
                  <a:pos x="connsiteX11934" y="connsiteY11934"/>
                </a:cxn>
                <a:cxn ang="0">
                  <a:pos x="connsiteX11935" y="connsiteY11935"/>
                </a:cxn>
                <a:cxn ang="0">
                  <a:pos x="connsiteX11936" y="connsiteY11936"/>
                </a:cxn>
                <a:cxn ang="0">
                  <a:pos x="connsiteX11937" y="connsiteY11937"/>
                </a:cxn>
                <a:cxn ang="0">
                  <a:pos x="connsiteX11938" y="connsiteY11938"/>
                </a:cxn>
                <a:cxn ang="0">
                  <a:pos x="connsiteX11939" y="connsiteY11939"/>
                </a:cxn>
                <a:cxn ang="0">
                  <a:pos x="connsiteX11940" y="connsiteY11940"/>
                </a:cxn>
                <a:cxn ang="0">
                  <a:pos x="connsiteX11941" y="connsiteY11941"/>
                </a:cxn>
                <a:cxn ang="0">
                  <a:pos x="connsiteX11942" y="connsiteY11942"/>
                </a:cxn>
                <a:cxn ang="0">
                  <a:pos x="connsiteX11943" y="connsiteY11943"/>
                </a:cxn>
                <a:cxn ang="0">
                  <a:pos x="connsiteX11944" y="connsiteY11944"/>
                </a:cxn>
                <a:cxn ang="0">
                  <a:pos x="connsiteX11945" y="connsiteY11945"/>
                </a:cxn>
                <a:cxn ang="0">
                  <a:pos x="connsiteX11946" y="connsiteY11946"/>
                </a:cxn>
              </a:cxnLst>
              <a:rect l="l" t="t" r="r" b="b"/>
              <a:pathLst>
                <a:path w="13797425" h="17966907">
                  <a:moveTo>
                    <a:pt x="9113306" y="17947847"/>
                  </a:moveTo>
                  <a:lnTo>
                    <a:pt x="9113306" y="17952611"/>
                  </a:lnTo>
                  <a:lnTo>
                    <a:pt x="9118071" y="17962143"/>
                  </a:lnTo>
                  <a:lnTo>
                    <a:pt x="9113306" y="17966907"/>
                  </a:lnTo>
                  <a:lnTo>
                    <a:pt x="9108541" y="17966907"/>
                  </a:lnTo>
                  <a:lnTo>
                    <a:pt x="9108541" y="17962143"/>
                  </a:lnTo>
                  <a:lnTo>
                    <a:pt x="9108541" y="17952611"/>
                  </a:lnTo>
                  <a:close/>
                  <a:moveTo>
                    <a:pt x="9237199" y="17847779"/>
                  </a:moveTo>
                  <a:lnTo>
                    <a:pt x="9237199" y="17857311"/>
                  </a:lnTo>
                  <a:lnTo>
                    <a:pt x="9232433" y="17857311"/>
                  </a:lnTo>
                  <a:lnTo>
                    <a:pt x="9232433" y="17852547"/>
                  </a:lnTo>
                  <a:close/>
                  <a:moveTo>
                    <a:pt x="12691917" y="17485631"/>
                  </a:moveTo>
                  <a:lnTo>
                    <a:pt x="12682385" y="17499927"/>
                  </a:lnTo>
                  <a:lnTo>
                    <a:pt x="12663325" y="17504691"/>
                  </a:lnTo>
                  <a:lnTo>
                    <a:pt x="12644265" y="17504691"/>
                  </a:lnTo>
                  <a:lnTo>
                    <a:pt x="12634737" y="17499927"/>
                  </a:lnTo>
                  <a:lnTo>
                    <a:pt x="12629969" y="17495159"/>
                  </a:lnTo>
                  <a:lnTo>
                    <a:pt x="12658561" y="17499927"/>
                  </a:lnTo>
                  <a:lnTo>
                    <a:pt x="12672857" y="17495159"/>
                  </a:lnTo>
                  <a:close/>
                  <a:moveTo>
                    <a:pt x="10052037" y="17442743"/>
                  </a:moveTo>
                  <a:lnTo>
                    <a:pt x="10052037" y="17447511"/>
                  </a:lnTo>
                  <a:lnTo>
                    <a:pt x="10042507" y="17457039"/>
                  </a:lnTo>
                  <a:lnTo>
                    <a:pt x="10037741" y="17457039"/>
                  </a:lnTo>
                  <a:lnTo>
                    <a:pt x="10028211" y="17457039"/>
                  </a:lnTo>
                  <a:lnTo>
                    <a:pt x="10023446" y="17457039"/>
                  </a:lnTo>
                  <a:lnTo>
                    <a:pt x="10028211" y="17452275"/>
                  </a:lnTo>
                  <a:lnTo>
                    <a:pt x="10032976" y="17447511"/>
                  </a:lnTo>
                  <a:close/>
                  <a:moveTo>
                    <a:pt x="10113983" y="17428451"/>
                  </a:moveTo>
                  <a:lnTo>
                    <a:pt x="10113983" y="17433215"/>
                  </a:lnTo>
                  <a:lnTo>
                    <a:pt x="10099688" y="17437979"/>
                  </a:lnTo>
                  <a:lnTo>
                    <a:pt x="10094923" y="17452275"/>
                  </a:lnTo>
                  <a:lnTo>
                    <a:pt x="10085392" y="17457039"/>
                  </a:lnTo>
                  <a:lnTo>
                    <a:pt x="10080627" y="17457039"/>
                  </a:lnTo>
                  <a:lnTo>
                    <a:pt x="10075862" y="17457039"/>
                  </a:lnTo>
                  <a:lnTo>
                    <a:pt x="10075862" y="17452275"/>
                  </a:lnTo>
                  <a:lnTo>
                    <a:pt x="10075862" y="17447511"/>
                  </a:lnTo>
                  <a:lnTo>
                    <a:pt x="10080627" y="17442743"/>
                  </a:lnTo>
                  <a:lnTo>
                    <a:pt x="10085392" y="17437979"/>
                  </a:lnTo>
                  <a:lnTo>
                    <a:pt x="10109218" y="17433215"/>
                  </a:lnTo>
                  <a:close/>
                  <a:moveTo>
                    <a:pt x="11681709" y="17399859"/>
                  </a:moveTo>
                  <a:lnTo>
                    <a:pt x="11672181" y="17423683"/>
                  </a:lnTo>
                  <a:lnTo>
                    <a:pt x="11662649" y="17428451"/>
                  </a:lnTo>
                  <a:lnTo>
                    <a:pt x="11662649" y="17423683"/>
                  </a:lnTo>
                  <a:lnTo>
                    <a:pt x="11672181" y="17404623"/>
                  </a:lnTo>
                  <a:close/>
                  <a:moveTo>
                    <a:pt x="11586405" y="17309319"/>
                  </a:moveTo>
                  <a:lnTo>
                    <a:pt x="11595937" y="17314087"/>
                  </a:lnTo>
                  <a:lnTo>
                    <a:pt x="11595937" y="17328379"/>
                  </a:lnTo>
                  <a:lnTo>
                    <a:pt x="11595937" y="17337911"/>
                  </a:lnTo>
                  <a:lnTo>
                    <a:pt x="11572113" y="17347443"/>
                  </a:lnTo>
                  <a:lnTo>
                    <a:pt x="11581641" y="17318851"/>
                  </a:lnTo>
                  <a:close/>
                  <a:moveTo>
                    <a:pt x="9489751" y="17295027"/>
                  </a:moveTo>
                  <a:lnTo>
                    <a:pt x="9494516" y="17295027"/>
                  </a:lnTo>
                  <a:lnTo>
                    <a:pt x="9499281" y="17295027"/>
                  </a:lnTo>
                  <a:lnTo>
                    <a:pt x="9504046" y="17299791"/>
                  </a:lnTo>
                  <a:lnTo>
                    <a:pt x="9499281" y="17309319"/>
                  </a:lnTo>
                  <a:lnTo>
                    <a:pt x="9494516" y="17304555"/>
                  </a:lnTo>
                  <a:lnTo>
                    <a:pt x="9489751" y="17299791"/>
                  </a:lnTo>
                  <a:close/>
                  <a:moveTo>
                    <a:pt x="9256260" y="17147307"/>
                  </a:moveTo>
                  <a:lnTo>
                    <a:pt x="9261025" y="17147307"/>
                  </a:lnTo>
                  <a:lnTo>
                    <a:pt x="9256260" y="17156835"/>
                  </a:lnTo>
                  <a:lnTo>
                    <a:pt x="9246729" y="17161603"/>
                  </a:lnTo>
                  <a:lnTo>
                    <a:pt x="9241964" y="17161603"/>
                  </a:lnTo>
                  <a:lnTo>
                    <a:pt x="9241964" y="17156835"/>
                  </a:lnTo>
                  <a:close/>
                  <a:moveTo>
                    <a:pt x="12491781" y="17137779"/>
                  </a:moveTo>
                  <a:lnTo>
                    <a:pt x="12506077" y="17142543"/>
                  </a:lnTo>
                  <a:lnTo>
                    <a:pt x="12501313" y="17152075"/>
                  </a:lnTo>
                  <a:lnTo>
                    <a:pt x="12501313" y="17156839"/>
                  </a:lnTo>
                  <a:lnTo>
                    <a:pt x="12491781" y="17161603"/>
                  </a:lnTo>
                  <a:lnTo>
                    <a:pt x="12491781" y="17156839"/>
                  </a:lnTo>
                  <a:lnTo>
                    <a:pt x="12482253" y="17147307"/>
                  </a:lnTo>
                  <a:lnTo>
                    <a:pt x="12482253" y="17142543"/>
                  </a:lnTo>
                  <a:close/>
                  <a:moveTo>
                    <a:pt x="10533313" y="17113951"/>
                  </a:moveTo>
                  <a:lnTo>
                    <a:pt x="10509489" y="17137775"/>
                  </a:lnTo>
                  <a:lnTo>
                    <a:pt x="10495193" y="17142543"/>
                  </a:lnTo>
                  <a:lnTo>
                    <a:pt x="10485661" y="17137775"/>
                  </a:lnTo>
                  <a:lnTo>
                    <a:pt x="10504721" y="17118715"/>
                  </a:lnTo>
                  <a:close/>
                  <a:moveTo>
                    <a:pt x="10538077" y="17109187"/>
                  </a:moveTo>
                  <a:lnTo>
                    <a:pt x="10547609" y="17109187"/>
                  </a:lnTo>
                  <a:lnTo>
                    <a:pt x="10538077" y="17142543"/>
                  </a:lnTo>
                  <a:lnTo>
                    <a:pt x="10533313" y="17156835"/>
                  </a:lnTo>
                  <a:lnTo>
                    <a:pt x="10533313" y="17161603"/>
                  </a:lnTo>
                  <a:lnTo>
                    <a:pt x="10519017" y="17166367"/>
                  </a:lnTo>
                  <a:lnTo>
                    <a:pt x="10499957" y="17161603"/>
                  </a:lnTo>
                  <a:lnTo>
                    <a:pt x="10476133" y="17166367"/>
                  </a:lnTo>
                  <a:lnTo>
                    <a:pt x="10471369" y="17171131"/>
                  </a:lnTo>
                  <a:lnTo>
                    <a:pt x="10485661" y="17152071"/>
                  </a:lnTo>
                  <a:lnTo>
                    <a:pt x="10514253" y="17142543"/>
                  </a:lnTo>
                  <a:close/>
                  <a:moveTo>
                    <a:pt x="9075184" y="17047239"/>
                  </a:moveTo>
                  <a:lnTo>
                    <a:pt x="9084715" y="17047239"/>
                  </a:lnTo>
                  <a:lnTo>
                    <a:pt x="9084715" y="17056767"/>
                  </a:lnTo>
                  <a:lnTo>
                    <a:pt x="9084715" y="17061535"/>
                  </a:lnTo>
                  <a:lnTo>
                    <a:pt x="9089480" y="17066299"/>
                  </a:lnTo>
                  <a:lnTo>
                    <a:pt x="9094245" y="17071063"/>
                  </a:lnTo>
                  <a:lnTo>
                    <a:pt x="9094245" y="17075827"/>
                  </a:lnTo>
                  <a:lnTo>
                    <a:pt x="9099010" y="17075827"/>
                  </a:lnTo>
                  <a:lnTo>
                    <a:pt x="9108540" y="17075827"/>
                  </a:lnTo>
                  <a:lnTo>
                    <a:pt x="9113305" y="17075827"/>
                  </a:lnTo>
                  <a:lnTo>
                    <a:pt x="9113305" y="17080595"/>
                  </a:lnTo>
                  <a:lnTo>
                    <a:pt x="9118071" y="17080595"/>
                  </a:lnTo>
                  <a:lnTo>
                    <a:pt x="9118071" y="17075827"/>
                  </a:lnTo>
                  <a:lnTo>
                    <a:pt x="9122836" y="17080595"/>
                  </a:lnTo>
                  <a:lnTo>
                    <a:pt x="9127601" y="17085359"/>
                  </a:lnTo>
                  <a:lnTo>
                    <a:pt x="9132366" y="17085359"/>
                  </a:lnTo>
                  <a:lnTo>
                    <a:pt x="9132366" y="17080595"/>
                  </a:lnTo>
                  <a:lnTo>
                    <a:pt x="9132366" y="17075827"/>
                  </a:lnTo>
                  <a:lnTo>
                    <a:pt x="9127601" y="17075827"/>
                  </a:lnTo>
                  <a:lnTo>
                    <a:pt x="9127601" y="17071063"/>
                  </a:lnTo>
                  <a:lnTo>
                    <a:pt x="9122836" y="17066299"/>
                  </a:lnTo>
                  <a:lnTo>
                    <a:pt x="9127601" y="17061535"/>
                  </a:lnTo>
                  <a:lnTo>
                    <a:pt x="9132366" y="17056767"/>
                  </a:lnTo>
                  <a:lnTo>
                    <a:pt x="9137131" y="17056767"/>
                  </a:lnTo>
                  <a:lnTo>
                    <a:pt x="9141896" y="17061535"/>
                  </a:lnTo>
                  <a:lnTo>
                    <a:pt x="9141896" y="17056767"/>
                  </a:lnTo>
                  <a:lnTo>
                    <a:pt x="9146661" y="17052003"/>
                  </a:lnTo>
                  <a:lnTo>
                    <a:pt x="9151426" y="17052003"/>
                  </a:lnTo>
                  <a:lnTo>
                    <a:pt x="9160957" y="17047239"/>
                  </a:lnTo>
                  <a:lnTo>
                    <a:pt x="9170487" y="17047239"/>
                  </a:lnTo>
                  <a:lnTo>
                    <a:pt x="9170487" y="17056767"/>
                  </a:lnTo>
                  <a:lnTo>
                    <a:pt x="9180017" y="17056767"/>
                  </a:lnTo>
                  <a:lnTo>
                    <a:pt x="9184782" y="17061535"/>
                  </a:lnTo>
                  <a:lnTo>
                    <a:pt x="9184782" y="17071063"/>
                  </a:lnTo>
                  <a:lnTo>
                    <a:pt x="9189548" y="17071063"/>
                  </a:lnTo>
                  <a:lnTo>
                    <a:pt x="9199078" y="17061535"/>
                  </a:lnTo>
                  <a:lnTo>
                    <a:pt x="9203843" y="17052003"/>
                  </a:lnTo>
                  <a:lnTo>
                    <a:pt x="9218138" y="17047239"/>
                  </a:lnTo>
                  <a:lnTo>
                    <a:pt x="9222903" y="17047239"/>
                  </a:lnTo>
                  <a:lnTo>
                    <a:pt x="9227669" y="17052003"/>
                  </a:lnTo>
                  <a:lnTo>
                    <a:pt x="9232434" y="17056767"/>
                  </a:lnTo>
                  <a:lnTo>
                    <a:pt x="9232434" y="17061535"/>
                  </a:lnTo>
                  <a:lnTo>
                    <a:pt x="9232434" y="17066299"/>
                  </a:lnTo>
                  <a:lnTo>
                    <a:pt x="9237199" y="17071063"/>
                  </a:lnTo>
                  <a:lnTo>
                    <a:pt x="9241964" y="17075827"/>
                  </a:lnTo>
                  <a:lnTo>
                    <a:pt x="9237199" y="17085359"/>
                  </a:lnTo>
                  <a:lnTo>
                    <a:pt x="9241964" y="17090123"/>
                  </a:lnTo>
                  <a:lnTo>
                    <a:pt x="9246729" y="17099655"/>
                  </a:lnTo>
                  <a:lnTo>
                    <a:pt x="9251494" y="17085359"/>
                  </a:lnTo>
                  <a:lnTo>
                    <a:pt x="9256259" y="17075827"/>
                  </a:lnTo>
                  <a:lnTo>
                    <a:pt x="9261024" y="17066299"/>
                  </a:lnTo>
                  <a:lnTo>
                    <a:pt x="9265790" y="17066299"/>
                  </a:lnTo>
                  <a:lnTo>
                    <a:pt x="9265790" y="17071063"/>
                  </a:lnTo>
                  <a:lnTo>
                    <a:pt x="9265790" y="17080595"/>
                  </a:lnTo>
                  <a:lnTo>
                    <a:pt x="9261024" y="17085359"/>
                  </a:lnTo>
                  <a:lnTo>
                    <a:pt x="9265790" y="17090123"/>
                  </a:lnTo>
                  <a:lnTo>
                    <a:pt x="9275320" y="17090123"/>
                  </a:lnTo>
                  <a:lnTo>
                    <a:pt x="9280085" y="17090123"/>
                  </a:lnTo>
                  <a:lnTo>
                    <a:pt x="9265790" y="17118715"/>
                  </a:lnTo>
                  <a:lnTo>
                    <a:pt x="9251494" y="17133011"/>
                  </a:lnTo>
                  <a:lnTo>
                    <a:pt x="9241964" y="17142539"/>
                  </a:lnTo>
                  <a:lnTo>
                    <a:pt x="9232434" y="17147307"/>
                  </a:lnTo>
                  <a:lnTo>
                    <a:pt x="9227669" y="17142539"/>
                  </a:lnTo>
                  <a:lnTo>
                    <a:pt x="9222903" y="17142539"/>
                  </a:lnTo>
                  <a:lnTo>
                    <a:pt x="9218138" y="17142539"/>
                  </a:lnTo>
                  <a:lnTo>
                    <a:pt x="9218138" y="17137775"/>
                  </a:lnTo>
                  <a:lnTo>
                    <a:pt x="9227669" y="17133011"/>
                  </a:lnTo>
                  <a:lnTo>
                    <a:pt x="9237199" y="17133011"/>
                  </a:lnTo>
                  <a:lnTo>
                    <a:pt x="9251494" y="17113951"/>
                  </a:lnTo>
                  <a:lnTo>
                    <a:pt x="9251494" y="17109183"/>
                  </a:lnTo>
                  <a:lnTo>
                    <a:pt x="9241964" y="17113951"/>
                  </a:lnTo>
                  <a:lnTo>
                    <a:pt x="9208608" y="17142539"/>
                  </a:lnTo>
                  <a:lnTo>
                    <a:pt x="9203843" y="17142539"/>
                  </a:lnTo>
                  <a:lnTo>
                    <a:pt x="9203843" y="17137775"/>
                  </a:lnTo>
                  <a:lnTo>
                    <a:pt x="9199078" y="17133011"/>
                  </a:lnTo>
                  <a:lnTo>
                    <a:pt x="9180017" y="17128247"/>
                  </a:lnTo>
                  <a:lnTo>
                    <a:pt x="9175252" y="17118715"/>
                  </a:lnTo>
                  <a:lnTo>
                    <a:pt x="9165722" y="17113951"/>
                  </a:lnTo>
                  <a:lnTo>
                    <a:pt x="9151426" y="17109183"/>
                  </a:lnTo>
                  <a:lnTo>
                    <a:pt x="9132366" y="17104419"/>
                  </a:lnTo>
                  <a:lnTo>
                    <a:pt x="9118071" y="17094891"/>
                  </a:lnTo>
                  <a:lnTo>
                    <a:pt x="9099010" y="17090123"/>
                  </a:lnTo>
                  <a:lnTo>
                    <a:pt x="9070419" y="17085359"/>
                  </a:lnTo>
                  <a:lnTo>
                    <a:pt x="9065654" y="17080595"/>
                  </a:lnTo>
                  <a:lnTo>
                    <a:pt x="9032298" y="17071063"/>
                  </a:lnTo>
                  <a:lnTo>
                    <a:pt x="9022768" y="17066299"/>
                  </a:lnTo>
                  <a:lnTo>
                    <a:pt x="9022768" y="17056767"/>
                  </a:lnTo>
                  <a:lnTo>
                    <a:pt x="9027533" y="17052003"/>
                  </a:lnTo>
                  <a:lnTo>
                    <a:pt x="9032298" y="17052003"/>
                  </a:lnTo>
                  <a:lnTo>
                    <a:pt x="9037063" y="17056767"/>
                  </a:lnTo>
                  <a:lnTo>
                    <a:pt x="9041829" y="17056767"/>
                  </a:lnTo>
                  <a:lnTo>
                    <a:pt x="9046594" y="17052003"/>
                  </a:lnTo>
                  <a:lnTo>
                    <a:pt x="9051359" y="17052003"/>
                  </a:lnTo>
                  <a:lnTo>
                    <a:pt x="9060889" y="17056767"/>
                  </a:lnTo>
                  <a:lnTo>
                    <a:pt x="9065654" y="17056767"/>
                  </a:lnTo>
                  <a:lnTo>
                    <a:pt x="9065654" y="17052003"/>
                  </a:lnTo>
                  <a:close/>
                  <a:moveTo>
                    <a:pt x="8998942" y="17047239"/>
                  </a:moveTo>
                  <a:lnTo>
                    <a:pt x="9003708" y="17047239"/>
                  </a:lnTo>
                  <a:lnTo>
                    <a:pt x="9013238" y="17047239"/>
                  </a:lnTo>
                  <a:lnTo>
                    <a:pt x="9018003" y="17052003"/>
                  </a:lnTo>
                  <a:lnTo>
                    <a:pt x="9018003" y="17056767"/>
                  </a:lnTo>
                  <a:lnTo>
                    <a:pt x="9008473" y="17071063"/>
                  </a:lnTo>
                  <a:lnTo>
                    <a:pt x="8998942" y="17071063"/>
                  </a:lnTo>
                  <a:lnTo>
                    <a:pt x="8989412" y="17071063"/>
                  </a:lnTo>
                  <a:lnTo>
                    <a:pt x="8984647" y="17066299"/>
                  </a:lnTo>
                  <a:lnTo>
                    <a:pt x="8984647" y="17056767"/>
                  </a:lnTo>
                  <a:lnTo>
                    <a:pt x="8989412" y="17052003"/>
                  </a:lnTo>
                  <a:close/>
                  <a:moveTo>
                    <a:pt x="8894110" y="16975763"/>
                  </a:moveTo>
                  <a:lnTo>
                    <a:pt x="8908405" y="16975763"/>
                  </a:lnTo>
                  <a:lnTo>
                    <a:pt x="8917936" y="16980527"/>
                  </a:lnTo>
                  <a:lnTo>
                    <a:pt x="8932231" y="16985291"/>
                  </a:lnTo>
                  <a:lnTo>
                    <a:pt x="8932231" y="16994823"/>
                  </a:lnTo>
                  <a:lnTo>
                    <a:pt x="8932231" y="17004351"/>
                  </a:lnTo>
                  <a:lnTo>
                    <a:pt x="8927466" y="17009119"/>
                  </a:lnTo>
                  <a:lnTo>
                    <a:pt x="8922701" y="17009119"/>
                  </a:lnTo>
                  <a:lnTo>
                    <a:pt x="8917936" y="17018647"/>
                  </a:lnTo>
                  <a:lnTo>
                    <a:pt x="8917936" y="17023415"/>
                  </a:lnTo>
                  <a:lnTo>
                    <a:pt x="8913171" y="17023415"/>
                  </a:lnTo>
                  <a:lnTo>
                    <a:pt x="8903640" y="17018647"/>
                  </a:lnTo>
                  <a:lnTo>
                    <a:pt x="8894110" y="17004351"/>
                  </a:lnTo>
                  <a:lnTo>
                    <a:pt x="8889345" y="16990059"/>
                  </a:lnTo>
                  <a:lnTo>
                    <a:pt x="8889345" y="16980527"/>
                  </a:lnTo>
                  <a:close/>
                  <a:moveTo>
                    <a:pt x="13244673" y="16861399"/>
                  </a:moveTo>
                  <a:lnTo>
                    <a:pt x="13249437" y="16861399"/>
                  </a:lnTo>
                  <a:lnTo>
                    <a:pt x="13254201" y="16861399"/>
                  </a:lnTo>
                  <a:lnTo>
                    <a:pt x="13254201" y="16866167"/>
                  </a:lnTo>
                  <a:lnTo>
                    <a:pt x="13254201" y="16870931"/>
                  </a:lnTo>
                  <a:lnTo>
                    <a:pt x="13249437" y="16870931"/>
                  </a:lnTo>
                  <a:lnTo>
                    <a:pt x="13235141" y="16870931"/>
                  </a:lnTo>
                  <a:close/>
                  <a:moveTo>
                    <a:pt x="10952645" y="16818511"/>
                  </a:moveTo>
                  <a:lnTo>
                    <a:pt x="10962177" y="16818511"/>
                  </a:lnTo>
                  <a:lnTo>
                    <a:pt x="10947881" y="16832807"/>
                  </a:lnTo>
                  <a:lnTo>
                    <a:pt x="10928821" y="16847103"/>
                  </a:lnTo>
                  <a:lnTo>
                    <a:pt x="10914525" y="16847103"/>
                  </a:lnTo>
                  <a:lnTo>
                    <a:pt x="10919289" y="16837571"/>
                  </a:lnTo>
                  <a:lnTo>
                    <a:pt x="10938349" y="16823279"/>
                  </a:lnTo>
                  <a:close/>
                  <a:moveTo>
                    <a:pt x="12572789" y="16813747"/>
                  </a:moveTo>
                  <a:lnTo>
                    <a:pt x="12587085" y="16813747"/>
                  </a:lnTo>
                  <a:lnTo>
                    <a:pt x="12582317" y="16823279"/>
                  </a:lnTo>
                  <a:lnTo>
                    <a:pt x="12582317" y="16832811"/>
                  </a:lnTo>
                  <a:lnTo>
                    <a:pt x="12596613" y="16870931"/>
                  </a:lnTo>
                  <a:lnTo>
                    <a:pt x="12596613" y="16875695"/>
                  </a:lnTo>
                  <a:lnTo>
                    <a:pt x="12591849" y="16904287"/>
                  </a:lnTo>
                  <a:lnTo>
                    <a:pt x="12572789" y="16951939"/>
                  </a:lnTo>
                  <a:lnTo>
                    <a:pt x="12572789" y="16975763"/>
                  </a:lnTo>
                  <a:lnTo>
                    <a:pt x="12572789" y="16980527"/>
                  </a:lnTo>
                  <a:lnTo>
                    <a:pt x="12568025" y="16994823"/>
                  </a:lnTo>
                  <a:lnTo>
                    <a:pt x="12558493" y="17004355"/>
                  </a:lnTo>
                  <a:lnTo>
                    <a:pt x="12534669" y="17023415"/>
                  </a:lnTo>
                  <a:lnTo>
                    <a:pt x="12520373" y="17028179"/>
                  </a:lnTo>
                  <a:lnTo>
                    <a:pt x="12506077" y="17032947"/>
                  </a:lnTo>
                  <a:lnTo>
                    <a:pt x="12477485" y="17056771"/>
                  </a:lnTo>
                  <a:lnTo>
                    <a:pt x="12482249" y="17056771"/>
                  </a:lnTo>
                  <a:lnTo>
                    <a:pt x="12506077" y="17047239"/>
                  </a:lnTo>
                  <a:lnTo>
                    <a:pt x="12515605" y="17047239"/>
                  </a:lnTo>
                  <a:lnTo>
                    <a:pt x="12515605" y="17056771"/>
                  </a:lnTo>
                  <a:lnTo>
                    <a:pt x="12496545" y="17061535"/>
                  </a:lnTo>
                  <a:lnTo>
                    <a:pt x="12487017" y="17071067"/>
                  </a:lnTo>
                  <a:lnTo>
                    <a:pt x="12496545" y="17075831"/>
                  </a:lnTo>
                  <a:lnTo>
                    <a:pt x="12496545" y="17080595"/>
                  </a:lnTo>
                  <a:lnTo>
                    <a:pt x="12487017" y="17090127"/>
                  </a:lnTo>
                  <a:lnTo>
                    <a:pt x="12477485" y="17099655"/>
                  </a:lnTo>
                  <a:lnTo>
                    <a:pt x="12487017" y="17109187"/>
                  </a:lnTo>
                  <a:lnTo>
                    <a:pt x="12506077" y="17099655"/>
                  </a:lnTo>
                  <a:lnTo>
                    <a:pt x="12515605" y="17099655"/>
                  </a:lnTo>
                  <a:lnTo>
                    <a:pt x="12525137" y="17104423"/>
                  </a:lnTo>
                  <a:lnTo>
                    <a:pt x="12534669" y="17099655"/>
                  </a:lnTo>
                  <a:lnTo>
                    <a:pt x="12544197" y="17094891"/>
                  </a:lnTo>
                  <a:lnTo>
                    <a:pt x="12577553" y="17056771"/>
                  </a:lnTo>
                  <a:lnTo>
                    <a:pt x="12577553" y="17052007"/>
                  </a:lnTo>
                  <a:lnTo>
                    <a:pt x="12539433" y="17056771"/>
                  </a:lnTo>
                  <a:lnTo>
                    <a:pt x="12534669" y="17052007"/>
                  </a:lnTo>
                  <a:lnTo>
                    <a:pt x="12558493" y="17028179"/>
                  </a:lnTo>
                  <a:lnTo>
                    <a:pt x="12558493" y="17018651"/>
                  </a:lnTo>
                  <a:lnTo>
                    <a:pt x="12572789" y="16999591"/>
                  </a:lnTo>
                  <a:lnTo>
                    <a:pt x="12582317" y="16985295"/>
                  </a:lnTo>
                  <a:lnTo>
                    <a:pt x="12591849" y="16980527"/>
                  </a:lnTo>
                  <a:lnTo>
                    <a:pt x="12606145" y="16975763"/>
                  </a:lnTo>
                  <a:lnTo>
                    <a:pt x="12610909" y="16980527"/>
                  </a:lnTo>
                  <a:lnTo>
                    <a:pt x="12615673" y="16999591"/>
                  </a:lnTo>
                  <a:lnTo>
                    <a:pt x="12634733" y="16999591"/>
                  </a:lnTo>
                  <a:lnTo>
                    <a:pt x="12658561" y="16999591"/>
                  </a:lnTo>
                  <a:lnTo>
                    <a:pt x="12672857" y="17009119"/>
                  </a:lnTo>
                  <a:lnTo>
                    <a:pt x="12672857" y="17013883"/>
                  </a:lnTo>
                  <a:lnTo>
                    <a:pt x="12672857" y="17018651"/>
                  </a:lnTo>
                  <a:lnTo>
                    <a:pt x="12668089" y="17028179"/>
                  </a:lnTo>
                  <a:lnTo>
                    <a:pt x="12663325" y="17037711"/>
                  </a:lnTo>
                  <a:lnTo>
                    <a:pt x="12677621" y="17052007"/>
                  </a:lnTo>
                  <a:lnTo>
                    <a:pt x="12672857" y="17056771"/>
                  </a:lnTo>
                  <a:lnTo>
                    <a:pt x="12649029" y="17071067"/>
                  </a:lnTo>
                  <a:lnTo>
                    <a:pt x="12634733" y="17085363"/>
                  </a:lnTo>
                  <a:lnTo>
                    <a:pt x="12620441" y="17099655"/>
                  </a:lnTo>
                  <a:lnTo>
                    <a:pt x="12591849" y="17118719"/>
                  </a:lnTo>
                  <a:lnTo>
                    <a:pt x="12544197" y="17133011"/>
                  </a:lnTo>
                  <a:lnTo>
                    <a:pt x="12529901" y="17133011"/>
                  </a:lnTo>
                  <a:lnTo>
                    <a:pt x="12515605" y="17133011"/>
                  </a:lnTo>
                  <a:lnTo>
                    <a:pt x="12496545" y="17133011"/>
                  </a:lnTo>
                  <a:lnTo>
                    <a:pt x="12482249" y="17137779"/>
                  </a:lnTo>
                  <a:lnTo>
                    <a:pt x="12467957" y="17137779"/>
                  </a:lnTo>
                  <a:lnTo>
                    <a:pt x="12458425" y="17137779"/>
                  </a:lnTo>
                  <a:lnTo>
                    <a:pt x="12448893" y="17137779"/>
                  </a:lnTo>
                  <a:lnTo>
                    <a:pt x="12444129" y="17133011"/>
                  </a:lnTo>
                  <a:lnTo>
                    <a:pt x="12429833" y="17118719"/>
                  </a:lnTo>
                  <a:lnTo>
                    <a:pt x="12425069" y="17109187"/>
                  </a:lnTo>
                  <a:lnTo>
                    <a:pt x="12415541" y="17056771"/>
                  </a:lnTo>
                  <a:lnTo>
                    <a:pt x="12420305" y="17028179"/>
                  </a:lnTo>
                  <a:lnTo>
                    <a:pt x="12429833" y="17004355"/>
                  </a:lnTo>
                  <a:lnTo>
                    <a:pt x="12448893" y="16990059"/>
                  </a:lnTo>
                  <a:lnTo>
                    <a:pt x="12458425" y="16975763"/>
                  </a:lnTo>
                  <a:lnTo>
                    <a:pt x="12496545" y="16894755"/>
                  </a:lnTo>
                  <a:lnTo>
                    <a:pt x="12506077" y="16880459"/>
                  </a:lnTo>
                  <a:lnTo>
                    <a:pt x="12515605" y="16861399"/>
                  </a:lnTo>
                  <a:lnTo>
                    <a:pt x="12529901" y="16847103"/>
                  </a:lnTo>
                  <a:lnTo>
                    <a:pt x="12553729" y="16823279"/>
                  </a:lnTo>
                  <a:lnTo>
                    <a:pt x="12563257" y="16818515"/>
                  </a:lnTo>
                  <a:close/>
                  <a:moveTo>
                    <a:pt x="12024797" y="16804219"/>
                  </a:moveTo>
                  <a:lnTo>
                    <a:pt x="12024797" y="16823279"/>
                  </a:lnTo>
                  <a:lnTo>
                    <a:pt x="12029565" y="16837575"/>
                  </a:lnTo>
                  <a:lnTo>
                    <a:pt x="12010505" y="16866167"/>
                  </a:lnTo>
                  <a:lnTo>
                    <a:pt x="12039093" y="16899523"/>
                  </a:lnTo>
                  <a:lnTo>
                    <a:pt x="12043861" y="16904287"/>
                  </a:lnTo>
                  <a:lnTo>
                    <a:pt x="12048625" y="16913819"/>
                  </a:lnTo>
                  <a:lnTo>
                    <a:pt x="12043861" y="16923347"/>
                  </a:lnTo>
                  <a:lnTo>
                    <a:pt x="12039093" y="16928111"/>
                  </a:lnTo>
                  <a:lnTo>
                    <a:pt x="12053389" y="16932879"/>
                  </a:lnTo>
                  <a:lnTo>
                    <a:pt x="12053389" y="16937643"/>
                  </a:lnTo>
                  <a:lnTo>
                    <a:pt x="12058153" y="16942407"/>
                  </a:lnTo>
                  <a:lnTo>
                    <a:pt x="12067685" y="16937643"/>
                  </a:lnTo>
                  <a:lnTo>
                    <a:pt x="12077217" y="16918583"/>
                  </a:lnTo>
                  <a:lnTo>
                    <a:pt x="12101041" y="16923347"/>
                  </a:lnTo>
                  <a:lnTo>
                    <a:pt x="12110569" y="16928111"/>
                  </a:lnTo>
                  <a:lnTo>
                    <a:pt x="12115337" y="16928111"/>
                  </a:lnTo>
                  <a:lnTo>
                    <a:pt x="12124865" y="16928111"/>
                  </a:lnTo>
                  <a:lnTo>
                    <a:pt x="12139161" y="16937643"/>
                  </a:lnTo>
                  <a:lnTo>
                    <a:pt x="12162989" y="16947175"/>
                  </a:lnTo>
                  <a:lnTo>
                    <a:pt x="12186813" y="16947175"/>
                  </a:lnTo>
                  <a:lnTo>
                    <a:pt x="12224933" y="16942407"/>
                  </a:lnTo>
                  <a:lnTo>
                    <a:pt x="12229701" y="16937643"/>
                  </a:lnTo>
                  <a:lnTo>
                    <a:pt x="12272585" y="16937643"/>
                  </a:lnTo>
                  <a:lnTo>
                    <a:pt x="12310705" y="16932879"/>
                  </a:lnTo>
                  <a:lnTo>
                    <a:pt x="12325001" y="16937643"/>
                  </a:lnTo>
                  <a:lnTo>
                    <a:pt x="12329765" y="16942407"/>
                  </a:lnTo>
                  <a:lnTo>
                    <a:pt x="12334533" y="16947175"/>
                  </a:lnTo>
                  <a:lnTo>
                    <a:pt x="12310705" y="16961467"/>
                  </a:lnTo>
                  <a:lnTo>
                    <a:pt x="12286881" y="16980527"/>
                  </a:lnTo>
                  <a:lnTo>
                    <a:pt x="12258289" y="16999591"/>
                  </a:lnTo>
                  <a:lnTo>
                    <a:pt x="12253525" y="17004355"/>
                  </a:lnTo>
                  <a:lnTo>
                    <a:pt x="12253525" y="17023415"/>
                  </a:lnTo>
                  <a:lnTo>
                    <a:pt x="12253525" y="17037711"/>
                  </a:lnTo>
                  <a:lnTo>
                    <a:pt x="12258289" y="17037711"/>
                  </a:lnTo>
                  <a:lnTo>
                    <a:pt x="12263057" y="17042475"/>
                  </a:lnTo>
                  <a:lnTo>
                    <a:pt x="12253525" y="17047239"/>
                  </a:lnTo>
                  <a:lnTo>
                    <a:pt x="12220169" y="17052007"/>
                  </a:lnTo>
                  <a:lnTo>
                    <a:pt x="12210637" y="17047239"/>
                  </a:lnTo>
                  <a:lnTo>
                    <a:pt x="12201109" y="17042475"/>
                  </a:lnTo>
                  <a:lnTo>
                    <a:pt x="12196345" y="17028179"/>
                  </a:lnTo>
                  <a:lnTo>
                    <a:pt x="12182049" y="17028179"/>
                  </a:lnTo>
                  <a:lnTo>
                    <a:pt x="12177281" y="17028179"/>
                  </a:lnTo>
                  <a:lnTo>
                    <a:pt x="12196345" y="17013883"/>
                  </a:lnTo>
                  <a:lnTo>
                    <a:pt x="12186813" y="16999591"/>
                  </a:lnTo>
                  <a:lnTo>
                    <a:pt x="12182049" y="16999591"/>
                  </a:lnTo>
                  <a:lnTo>
                    <a:pt x="12172517" y="16994823"/>
                  </a:lnTo>
                  <a:lnTo>
                    <a:pt x="12172517" y="16980527"/>
                  </a:lnTo>
                  <a:lnTo>
                    <a:pt x="12182049" y="16975763"/>
                  </a:lnTo>
                  <a:lnTo>
                    <a:pt x="12186813" y="16970999"/>
                  </a:lnTo>
                  <a:lnTo>
                    <a:pt x="12172517" y="16975763"/>
                  </a:lnTo>
                  <a:lnTo>
                    <a:pt x="12162989" y="16985295"/>
                  </a:lnTo>
                  <a:lnTo>
                    <a:pt x="12153457" y="16990059"/>
                  </a:lnTo>
                  <a:lnTo>
                    <a:pt x="12139161" y="16999591"/>
                  </a:lnTo>
                  <a:lnTo>
                    <a:pt x="12158221" y="16999591"/>
                  </a:lnTo>
                  <a:lnTo>
                    <a:pt x="12148693" y="17009119"/>
                  </a:lnTo>
                  <a:lnTo>
                    <a:pt x="12139161" y="17009119"/>
                  </a:lnTo>
                  <a:lnTo>
                    <a:pt x="12091509" y="16994823"/>
                  </a:lnTo>
                  <a:lnTo>
                    <a:pt x="12081981" y="16990059"/>
                  </a:lnTo>
                  <a:lnTo>
                    <a:pt x="12067685" y="16980527"/>
                  </a:lnTo>
                  <a:lnTo>
                    <a:pt x="12058153" y="16961467"/>
                  </a:lnTo>
                  <a:lnTo>
                    <a:pt x="12062921" y="16961467"/>
                  </a:lnTo>
                  <a:lnTo>
                    <a:pt x="12062921" y="16956703"/>
                  </a:lnTo>
                  <a:lnTo>
                    <a:pt x="12062921" y="16951939"/>
                  </a:lnTo>
                  <a:lnTo>
                    <a:pt x="12048625" y="16951939"/>
                  </a:lnTo>
                  <a:lnTo>
                    <a:pt x="12024797" y="16951939"/>
                  </a:lnTo>
                  <a:lnTo>
                    <a:pt x="12010505" y="16947175"/>
                  </a:lnTo>
                  <a:lnTo>
                    <a:pt x="12010505" y="16918583"/>
                  </a:lnTo>
                  <a:lnTo>
                    <a:pt x="12005737" y="16909051"/>
                  </a:lnTo>
                  <a:lnTo>
                    <a:pt x="11986677" y="16899523"/>
                  </a:lnTo>
                  <a:lnTo>
                    <a:pt x="11967617" y="16899523"/>
                  </a:lnTo>
                  <a:lnTo>
                    <a:pt x="11962853" y="16885227"/>
                  </a:lnTo>
                  <a:lnTo>
                    <a:pt x="11972381" y="16870931"/>
                  </a:lnTo>
                  <a:lnTo>
                    <a:pt x="11981913" y="16851871"/>
                  </a:lnTo>
                  <a:lnTo>
                    <a:pt x="11991441" y="16837575"/>
                  </a:lnTo>
                  <a:lnTo>
                    <a:pt x="12000973" y="16828043"/>
                  </a:lnTo>
                  <a:close/>
                  <a:moveTo>
                    <a:pt x="13216081" y="16794687"/>
                  </a:moveTo>
                  <a:lnTo>
                    <a:pt x="13230377" y="16799455"/>
                  </a:lnTo>
                  <a:lnTo>
                    <a:pt x="13230377" y="16808983"/>
                  </a:lnTo>
                  <a:lnTo>
                    <a:pt x="13225609" y="16828043"/>
                  </a:lnTo>
                  <a:lnTo>
                    <a:pt x="13230377" y="16837575"/>
                  </a:lnTo>
                  <a:lnTo>
                    <a:pt x="13235141" y="16847107"/>
                  </a:lnTo>
                  <a:lnTo>
                    <a:pt x="13235141" y="16851871"/>
                  </a:lnTo>
                  <a:lnTo>
                    <a:pt x="13220845" y="16861399"/>
                  </a:lnTo>
                  <a:lnTo>
                    <a:pt x="13216081" y="16856635"/>
                  </a:lnTo>
                  <a:lnTo>
                    <a:pt x="13216081" y="16851871"/>
                  </a:lnTo>
                  <a:lnTo>
                    <a:pt x="13225609" y="16837575"/>
                  </a:lnTo>
                  <a:lnTo>
                    <a:pt x="13220845" y="16832811"/>
                  </a:lnTo>
                  <a:lnTo>
                    <a:pt x="13216081" y="16799455"/>
                  </a:lnTo>
                  <a:close/>
                  <a:moveTo>
                    <a:pt x="13568701" y="16666031"/>
                  </a:moveTo>
                  <a:lnTo>
                    <a:pt x="13563933" y="16685091"/>
                  </a:lnTo>
                  <a:lnTo>
                    <a:pt x="13554405" y="16713683"/>
                  </a:lnTo>
                  <a:lnTo>
                    <a:pt x="13544873" y="16723211"/>
                  </a:lnTo>
                  <a:lnTo>
                    <a:pt x="13535345" y="16723211"/>
                  </a:lnTo>
                  <a:lnTo>
                    <a:pt x="13535345" y="16713683"/>
                  </a:lnTo>
                  <a:lnTo>
                    <a:pt x="13549641" y="16704151"/>
                  </a:lnTo>
                  <a:lnTo>
                    <a:pt x="13554405" y="16689855"/>
                  </a:lnTo>
                  <a:lnTo>
                    <a:pt x="13554405" y="16685091"/>
                  </a:lnTo>
                  <a:lnTo>
                    <a:pt x="13554405" y="16680327"/>
                  </a:lnTo>
                  <a:lnTo>
                    <a:pt x="13563933" y="16675559"/>
                  </a:lnTo>
                  <a:close/>
                  <a:moveTo>
                    <a:pt x="12420305" y="16666031"/>
                  </a:moveTo>
                  <a:lnTo>
                    <a:pt x="12434601" y="16670795"/>
                  </a:lnTo>
                  <a:lnTo>
                    <a:pt x="12420305" y="16685091"/>
                  </a:lnTo>
                  <a:lnTo>
                    <a:pt x="12401245" y="16689855"/>
                  </a:lnTo>
                  <a:lnTo>
                    <a:pt x="12386949" y="16704151"/>
                  </a:lnTo>
                  <a:lnTo>
                    <a:pt x="12377417" y="16718447"/>
                  </a:lnTo>
                  <a:lnTo>
                    <a:pt x="12363121" y="16727975"/>
                  </a:lnTo>
                  <a:lnTo>
                    <a:pt x="12358357" y="16737507"/>
                  </a:lnTo>
                  <a:lnTo>
                    <a:pt x="12353593" y="16751803"/>
                  </a:lnTo>
                  <a:lnTo>
                    <a:pt x="12358357" y="16756567"/>
                  </a:lnTo>
                  <a:lnTo>
                    <a:pt x="12367889" y="16756567"/>
                  </a:lnTo>
                  <a:lnTo>
                    <a:pt x="12372653" y="16756567"/>
                  </a:lnTo>
                  <a:lnTo>
                    <a:pt x="12363121" y="16766099"/>
                  </a:lnTo>
                  <a:lnTo>
                    <a:pt x="12344061" y="16766099"/>
                  </a:lnTo>
                  <a:lnTo>
                    <a:pt x="12339297" y="16761331"/>
                  </a:lnTo>
                  <a:lnTo>
                    <a:pt x="12348829" y="16718447"/>
                  </a:lnTo>
                  <a:lnTo>
                    <a:pt x="12363121" y="16708915"/>
                  </a:lnTo>
                  <a:lnTo>
                    <a:pt x="12396477" y="16680327"/>
                  </a:lnTo>
                  <a:lnTo>
                    <a:pt x="12410773" y="16670795"/>
                  </a:lnTo>
                  <a:close/>
                  <a:moveTo>
                    <a:pt x="8608202" y="16632673"/>
                  </a:moveTo>
                  <a:lnTo>
                    <a:pt x="8617732" y="16632673"/>
                  </a:lnTo>
                  <a:lnTo>
                    <a:pt x="8627263" y="16632673"/>
                  </a:lnTo>
                  <a:lnTo>
                    <a:pt x="8646323" y="16637439"/>
                  </a:lnTo>
                  <a:lnTo>
                    <a:pt x="8651088" y="16642203"/>
                  </a:lnTo>
                  <a:lnTo>
                    <a:pt x="8651088" y="16646969"/>
                  </a:lnTo>
                  <a:lnTo>
                    <a:pt x="8641558" y="16646969"/>
                  </a:lnTo>
                  <a:lnTo>
                    <a:pt x="8612967" y="16651735"/>
                  </a:lnTo>
                  <a:lnTo>
                    <a:pt x="8598672" y="16646969"/>
                  </a:lnTo>
                  <a:lnTo>
                    <a:pt x="8598672" y="16642203"/>
                  </a:lnTo>
                  <a:lnTo>
                    <a:pt x="8598672" y="16637439"/>
                  </a:lnTo>
                  <a:close/>
                  <a:moveTo>
                    <a:pt x="11934261" y="16613615"/>
                  </a:moveTo>
                  <a:lnTo>
                    <a:pt x="11939025" y="16618379"/>
                  </a:lnTo>
                  <a:lnTo>
                    <a:pt x="11948557" y="16613615"/>
                  </a:lnTo>
                  <a:lnTo>
                    <a:pt x="11943793" y="16627911"/>
                  </a:lnTo>
                  <a:lnTo>
                    <a:pt x="11929497" y="16642203"/>
                  </a:lnTo>
                  <a:lnTo>
                    <a:pt x="11919965" y="16642203"/>
                  </a:lnTo>
                  <a:lnTo>
                    <a:pt x="11924733" y="16632675"/>
                  </a:lnTo>
                  <a:lnTo>
                    <a:pt x="11924733" y="16618379"/>
                  </a:lnTo>
                  <a:close/>
                  <a:moveTo>
                    <a:pt x="11948557" y="16580259"/>
                  </a:moveTo>
                  <a:lnTo>
                    <a:pt x="11948557" y="16585023"/>
                  </a:lnTo>
                  <a:lnTo>
                    <a:pt x="11953321" y="16594555"/>
                  </a:lnTo>
                  <a:lnTo>
                    <a:pt x="11934261" y="16608847"/>
                  </a:lnTo>
                  <a:lnTo>
                    <a:pt x="11943793" y="16589787"/>
                  </a:lnTo>
                  <a:lnTo>
                    <a:pt x="11943793" y="16585023"/>
                  </a:lnTo>
                  <a:close/>
                  <a:moveTo>
                    <a:pt x="8319911" y="16384887"/>
                  </a:moveTo>
                  <a:lnTo>
                    <a:pt x="8324676" y="16384887"/>
                  </a:lnTo>
                  <a:lnTo>
                    <a:pt x="8329442" y="16394417"/>
                  </a:lnTo>
                  <a:lnTo>
                    <a:pt x="8338972" y="16403947"/>
                  </a:lnTo>
                  <a:lnTo>
                    <a:pt x="8338972" y="16408713"/>
                  </a:lnTo>
                  <a:lnTo>
                    <a:pt x="8329442" y="16408713"/>
                  </a:lnTo>
                  <a:lnTo>
                    <a:pt x="8319911" y="16408713"/>
                  </a:lnTo>
                  <a:lnTo>
                    <a:pt x="8319911" y="16403947"/>
                  </a:lnTo>
                  <a:lnTo>
                    <a:pt x="8319911" y="16399183"/>
                  </a:lnTo>
                  <a:lnTo>
                    <a:pt x="8319911" y="16389653"/>
                  </a:lnTo>
                  <a:close/>
                  <a:moveTo>
                    <a:pt x="8291320" y="16380123"/>
                  </a:moveTo>
                  <a:lnTo>
                    <a:pt x="8310381" y="16384887"/>
                  </a:lnTo>
                  <a:lnTo>
                    <a:pt x="8315146" y="16384887"/>
                  </a:lnTo>
                  <a:lnTo>
                    <a:pt x="8315146" y="16394417"/>
                  </a:lnTo>
                  <a:lnTo>
                    <a:pt x="8315146" y="16399183"/>
                  </a:lnTo>
                  <a:lnTo>
                    <a:pt x="8310381" y="16399183"/>
                  </a:lnTo>
                  <a:lnTo>
                    <a:pt x="8310381" y="16403947"/>
                  </a:lnTo>
                  <a:lnTo>
                    <a:pt x="8300851" y="16408713"/>
                  </a:lnTo>
                  <a:lnTo>
                    <a:pt x="8286555" y="16408713"/>
                  </a:lnTo>
                  <a:lnTo>
                    <a:pt x="8281790" y="16408713"/>
                  </a:lnTo>
                  <a:lnTo>
                    <a:pt x="8272260" y="16418243"/>
                  </a:lnTo>
                  <a:lnTo>
                    <a:pt x="8267495" y="16413477"/>
                  </a:lnTo>
                  <a:lnTo>
                    <a:pt x="8267495" y="16394417"/>
                  </a:lnTo>
                  <a:lnTo>
                    <a:pt x="8272260" y="16389653"/>
                  </a:lnTo>
                  <a:lnTo>
                    <a:pt x="8281790" y="16384887"/>
                  </a:lnTo>
                  <a:close/>
                  <a:moveTo>
                    <a:pt x="2720887" y="16365827"/>
                  </a:moveTo>
                  <a:lnTo>
                    <a:pt x="2725652" y="16370591"/>
                  </a:lnTo>
                  <a:lnTo>
                    <a:pt x="2739948" y="16380119"/>
                  </a:lnTo>
                  <a:lnTo>
                    <a:pt x="2735182" y="16384887"/>
                  </a:lnTo>
                  <a:lnTo>
                    <a:pt x="2744713" y="16399179"/>
                  </a:lnTo>
                  <a:lnTo>
                    <a:pt x="2749478" y="16408711"/>
                  </a:lnTo>
                  <a:lnTo>
                    <a:pt x="2744713" y="16408711"/>
                  </a:lnTo>
                  <a:lnTo>
                    <a:pt x="2739948" y="16413475"/>
                  </a:lnTo>
                  <a:lnTo>
                    <a:pt x="2735182" y="16413475"/>
                  </a:lnTo>
                  <a:lnTo>
                    <a:pt x="2730417" y="16408711"/>
                  </a:lnTo>
                  <a:close/>
                  <a:moveTo>
                    <a:pt x="2706591" y="16327703"/>
                  </a:moveTo>
                  <a:lnTo>
                    <a:pt x="2735182" y="16361059"/>
                  </a:lnTo>
                  <a:lnTo>
                    <a:pt x="2754242" y="16370591"/>
                  </a:lnTo>
                  <a:lnTo>
                    <a:pt x="2754242" y="16375355"/>
                  </a:lnTo>
                  <a:lnTo>
                    <a:pt x="2754242" y="16380119"/>
                  </a:lnTo>
                  <a:lnTo>
                    <a:pt x="2730416" y="16361059"/>
                  </a:lnTo>
                  <a:lnTo>
                    <a:pt x="2711356" y="16341999"/>
                  </a:lnTo>
                  <a:close/>
                  <a:moveTo>
                    <a:pt x="11786541" y="16284819"/>
                  </a:moveTo>
                  <a:lnTo>
                    <a:pt x="11805601" y="16284819"/>
                  </a:lnTo>
                  <a:lnTo>
                    <a:pt x="11896141" y="16303879"/>
                  </a:lnTo>
                  <a:lnTo>
                    <a:pt x="11939025" y="16322943"/>
                  </a:lnTo>
                  <a:lnTo>
                    <a:pt x="11986677" y="16370591"/>
                  </a:lnTo>
                  <a:lnTo>
                    <a:pt x="11991441" y="16380123"/>
                  </a:lnTo>
                  <a:lnTo>
                    <a:pt x="11991441" y="16394419"/>
                  </a:lnTo>
                  <a:lnTo>
                    <a:pt x="11967617" y="16389651"/>
                  </a:lnTo>
                  <a:lnTo>
                    <a:pt x="11943793" y="16384887"/>
                  </a:lnTo>
                  <a:lnTo>
                    <a:pt x="11962853" y="16394419"/>
                  </a:lnTo>
                  <a:lnTo>
                    <a:pt x="11986677" y="16423007"/>
                  </a:lnTo>
                  <a:lnTo>
                    <a:pt x="11986677" y="16456363"/>
                  </a:lnTo>
                  <a:lnTo>
                    <a:pt x="11972381" y="16484955"/>
                  </a:lnTo>
                  <a:lnTo>
                    <a:pt x="11924729" y="16499251"/>
                  </a:lnTo>
                  <a:lnTo>
                    <a:pt x="11915201" y="16513547"/>
                  </a:lnTo>
                  <a:lnTo>
                    <a:pt x="11905669" y="16532607"/>
                  </a:lnTo>
                  <a:lnTo>
                    <a:pt x="11896141" y="16537371"/>
                  </a:lnTo>
                  <a:lnTo>
                    <a:pt x="11877081" y="16546903"/>
                  </a:lnTo>
                  <a:lnTo>
                    <a:pt x="11862785" y="16561199"/>
                  </a:lnTo>
                  <a:lnTo>
                    <a:pt x="11829429" y="16580259"/>
                  </a:lnTo>
                  <a:lnTo>
                    <a:pt x="11815133" y="16585023"/>
                  </a:lnTo>
                  <a:lnTo>
                    <a:pt x="11796073" y="16575491"/>
                  </a:lnTo>
                  <a:lnTo>
                    <a:pt x="11753185" y="16561199"/>
                  </a:lnTo>
                  <a:lnTo>
                    <a:pt x="11724597" y="16542135"/>
                  </a:lnTo>
                  <a:lnTo>
                    <a:pt x="11710301" y="16551667"/>
                  </a:lnTo>
                  <a:lnTo>
                    <a:pt x="11700769" y="16561199"/>
                  </a:lnTo>
                  <a:lnTo>
                    <a:pt x="11672181" y="16556431"/>
                  </a:lnTo>
                  <a:lnTo>
                    <a:pt x="11662649" y="16561199"/>
                  </a:lnTo>
                  <a:lnTo>
                    <a:pt x="11643589" y="16556431"/>
                  </a:lnTo>
                  <a:lnTo>
                    <a:pt x="11605469" y="16580259"/>
                  </a:lnTo>
                  <a:lnTo>
                    <a:pt x="11614997" y="16585023"/>
                  </a:lnTo>
                  <a:lnTo>
                    <a:pt x="11648353" y="16570727"/>
                  </a:lnTo>
                  <a:lnTo>
                    <a:pt x="11657885" y="16570727"/>
                  </a:lnTo>
                  <a:lnTo>
                    <a:pt x="11681709" y="16589787"/>
                  </a:lnTo>
                  <a:lnTo>
                    <a:pt x="11738893" y="16604083"/>
                  </a:lnTo>
                  <a:lnTo>
                    <a:pt x="11753185" y="16618379"/>
                  </a:lnTo>
                  <a:lnTo>
                    <a:pt x="11767481" y="16656499"/>
                  </a:lnTo>
                  <a:lnTo>
                    <a:pt x="11777013" y="16661267"/>
                  </a:lnTo>
                  <a:lnTo>
                    <a:pt x="11796073" y="16656499"/>
                  </a:lnTo>
                  <a:lnTo>
                    <a:pt x="11815133" y="16637439"/>
                  </a:lnTo>
                  <a:lnTo>
                    <a:pt x="11834193" y="16627911"/>
                  </a:lnTo>
                  <a:lnTo>
                    <a:pt x="11867549" y="16618379"/>
                  </a:lnTo>
                  <a:lnTo>
                    <a:pt x="11862785" y="16632675"/>
                  </a:lnTo>
                  <a:lnTo>
                    <a:pt x="11891377" y="16632675"/>
                  </a:lnTo>
                  <a:lnTo>
                    <a:pt x="11915201" y="16651735"/>
                  </a:lnTo>
                  <a:lnTo>
                    <a:pt x="11905669" y="16661267"/>
                  </a:lnTo>
                  <a:lnTo>
                    <a:pt x="11891377" y="16685091"/>
                  </a:lnTo>
                  <a:lnTo>
                    <a:pt x="11881845" y="16732743"/>
                  </a:lnTo>
                  <a:lnTo>
                    <a:pt x="11858021" y="16761331"/>
                  </a:lnTo>
                  <a:lnTo>
                    <a:pt x="11819897" y="16794687"/>
                  </a:lnTo>
                  <a:lnTo>
                    <a:pt x="11829429" y="16799455"/>
                  </a:lnTo>
                  <a:lnTo>
                    <a:pt x="11838957" y="16804219"/>
                  </a:lnTo>
                  <a:lnTo>
                    <a:pt x="11862785" y="16794687"/>
                  </a:lnTo>
                  <a:lnTo>
                    <a:pt x="11877081" y="16794687"/>
                  </a:lnTo>
                  <a:lnTo>
                    <a:pt x="11896141" y="16804219"/>
                  </a:lnTo>
                  <a:lnTo>
                    <a:pt x="11891377" y="16828043"/>
                  </a:lnTo>
                  <a:lnTo>
                    <a:pt x="11886609" y="16842339"/>
                  </a:lnTo>
                  <a:lnTo>
                    <a:pt x="11886609" y="16856635"/>
                  </a:lnTo>
                  <a:lnTo>
                    <a:pt x="11900905" y="16885227"/>
                  </a:lnTo>
                  <a:lnTo>
                    <a:pt x="11910437" y="16889991"/>
                  </a:lnTo>
                  <a:lnTo>
                    <a:pt x="11919965" y="16928111"/>
                  </a:lnTo>
                  <a:lnTo>
                    <a:pt x="11924729" y="16947171"/>
                  </a:lnTo>
                  <a:lnTo>
                    <a:pt x="11924729" y="16961467"/>
                  </a:lnTo>
                  <a:lnTo>
                    <a:pt x="11939025" y="16975763"/>
                  </a:lnTo>
                  <a:lnTo>
                    <a:pt x="11943793" y="16990059"/>
                  </a:lnTo>
                  <a:lnTo>
                    <a:pt x="11991441" y="16994823"/>
                  </a:lnTo>
                  <a:lnTo>
                    <a:pt x="12000973" y="16999591"/>
                  </a:lnTo>
                  <a:lnTo>
                    <a:pt x="12039093" y="17004355"/>
                  </a:lnTo>
                  <a:lnTo>
                    <a:pt x="12043861" y="17009119"/>
                  </a:lnTo>
                  <a:lnTo>
                    <a:pt x="12053389" y="17018651"/>
                  </a:lnTo>
                  <a:lnTo>
                    <a:pt x="12015269" y="17037711"/>
                  </a:lnTo>
                  <a:lnTo>
                    <a:pt x="12043861" y="17052007"/>
                  </a:lnTo>
                  <a:lnTo>
                    <a:pt x="12072449" y="17075831"/>
                  </a:lnTo>
                  <a:lnTo>
                    <a:pt x="12091509" y="17071067"/>
                  </a:lnTo>
                  <a:lnTo>
                    <a:pt x="12101041" y="17071067"/>
                  </a:lnTo>
                  <a:lnTo>
                    <a:pt x="12124865" y="17085363"/>
                  </a:lnTo>
                  <a:lnTo>
                    <a:pt x="12134397" y="17094891"/>
                  </a:lnTo>
                  <a:lnTo>
                    <a:pt x="12134397" y="17099655"/>
                  </a:lnTo>
                  <a:lnTo>
                    <a:pt x="12148693" y="17099655"/>
                  </a:lnTo>
                  <a:lnTo>
                    <a:pt x="12162989" y="17094891"/>
                  </a:lnTo>
                  <a:lnTo>
                    <a:pt x="12196345" y="17094891"/>
                  </a:lnTo>
                  <a:lnTo>
                    <a:pt x="12229701" y="17099655"/>
                  </a:lnTo>
                  <a:lnTo>
                    <a:pt x="12224933" y="17113951"/>
                  </a:lnTo>
                  <a:lnTo>
                    <a:pt x="12220169" y="17123483"/>
                  </a:lnTo>
                  <a:lnTo>
                    <a:pt x="12248761" y="17118719"/>
                  </a:lnTo>
                  <a:lnTo>
                    <a:pt x="12263053" y="17128247"/>
                  </a:lnTo>
                  <a:lnTo>
                    <a:pt x="12267821" y="17123483"/>
                  </a:lnTo>
                  <a:lnTo>
                    <a:pt x="12272585" y="17118719"/>
                  </a:lnTo>
                  <a:lnTo>
                    <a:pt x="12305941" y="17104423"/>
                  </a:lnTo>
                  <a:lnTo>
                    <a:pt x="12344061" y="17071067"/>
                  </a:lnTo>
                  <a:lnTo>
                    <a:pt x="12348829" y="17075831"/>
                  </a:lnTo>
                  <a:lnTo>
                    <a:pt x="12353593" y="17090127"/>
                  </a:lnTo>
                  <a:lnTo>
                    <a:pt x="12358357" y="17109187"/>
                  </a:lnTo>
                  <a:lnTo>
                    <a:pt x="12372653" y="17118719"/>
                  </a:lnTo>
                  <a:lnTo>
                    <a:pt x="12391713" y="17123483"/>
                  </a:lnTo>
                  <a:lnTo>
                    <a:pt x="12415541" y="17113951"/>
                  </a:lnTo>
                  <a:lnTo>
                    <a:pt x="12429833" y="17123483"/>
                  </a:lnTo>
                  <a:lnTo>
                    <a:pt x="12439365" y="17137779"/>
                  </a:lnTo>
                  <a:lnTo>
                    <a:pt x="12453661" y="17161603"/>
                  </a:lnTo>
                  <a:lnTo>
                    <a:pt x="12448893" y="17171135"/>
                  </a:lnTo>
                  <a:lnTo>
                    <a:pt x="12434601" y="17175899"/>
                  </a:lnTo>
                  <a:lnTo>
                    <a:pt x="12420305" y="17185431"/>
                  </a:lnTo>
                  <a:lnTo>
                    <a:pt x="12477485" y="17190195"/>
                  </a:lnTo>
                  <a:lnTo>
                    <a:pt x="12482249" y="17194959"/>
                  </a:lnTo>
                  <a:lnTo>
                    <a:pt x="12491781" y="17199723"/>
                  </a:lnTo>
                  <a:lnTo>
                    <a:pt x="12482249" y="17209255"/>
                  </a:lnTo>
                  <a:lnTo>
                    <a:pt x="12477485" y="17214019"/>
                  </a:lnTo>
                  <a:lnTo>
                    <a:pt x="12467957" y="17209255"/>
                  </a:lnTo>
                  <a:lnTo>
                    <a:pt x="12448893" y="17214019"/>
                  </a:lnTo>
                  <a:lnTo>
                    <a:pt x="12434601" y="17223551"/>
                  </a:lnTo>
                  <a:lnTo>
                    <a:pt x="12415541" y="17233079"/>
                  </a:lnTo>
                  <a:lnTo>
                    <a:pt x="12406009" y="17233079"/>
                  </a:lnTo>
                  <a:lnTo>
                    <a:pt x="12391713" y="17237847"/>
                  </a:lnTo>
                  <a:lnTo>
                    <a:pt x="12382185" y="17247375"/>
                  </a:lnTo>
                  <a:lnTo>
                    <a:pt x="12372653" y="17247375"/>
                  </a:lnTo>
                  <a:lnTo>
                    <a:pt x="12334533" y="17266435"/>
                  </a:lnTo>
                  <a:lnTo>
                    <a:pt x="12296409" y="17280731"/>
                  </a:lnTo>
                  <a:lnTo>
                    <a:pt x="12258289" y="17299791"/>
                  </a:lnTo>
                  <a:lnTo>
                    <a:pt x="12220169" y="17314087"/>
                  </a:lnTo>
                  <a:lnTo>
                    <a:pt x="12177281" y="17328383"/>
                  </a:lnTo>
                  <a:lnTo>
                    <a:pt x="12167753" y="17328383"/>
                  </a:lnTo>
                  <a:lnTo>
                    <a:pt x="12158221" y="17328383"/>
                  </a:lnTo>
                  <a:lnTo>
                    <a:pt x="12134397" y="17342679"/>
                  </a:lnTo>
                  <a:lnTo>
                    <a:pt x="12124865" y="17342679"/>
                  </a:lnTo>
                  <a:lnTo>
                    <a:pt x="12110569" y="17347443"/>
                  </a:lnTo>
                  <a:lnTo>
                    <a:pt x="12096277" y="17342679"/>
                  </a:lnTo>
                  <a:lnTo>
                    <a:pt x="12086745" y="17337915"/>
                  </a:lnTo>
                  <a:lnTo>
                    <a:pt x="12096277" y="17352207"/>
                  </a:lnTo>
                  <a:lnTo>
                    <a:pt x="12096277" y="17366503"/>
                  </a:lnTo>
                  <a:lnTo>
                    <a:pt x="12091509" y="17371271"/>
                  </a:lnTo>
                  <a:lnTo>
                    <a:pt x="12086745" y="17380799"/>
                  </a:lnTo>
                  <a:lnTo>
                    <a:pt x="12062921" y="17380799"/>
                  </a:lnTo>
                  <a:lnTo>
                    <a:pt x="12053389" y="17376035"/>
                  </a:lnTo>
                  <a:lnTo>
                    <a:pt x="12043861" y="17366503"/>
                  </a:lnTo>
                  <a:lnTo>
                    <a:pt x="12039093" y="17352207"/>
                  </a:lnTo>
                  <a:lnTo>
                    <a:pt x="12024797" y="17342679"/>
                  </a:lnTo>
                  <a:lnTo>
                    <a:pt x="12020033" y="17356975"/>
                  </a:lnTo>
                  <a:lnTo>
                    <a:pt x="12020033" y="17366503"/>
                  </a:lnTo>
                  <a:lnTo>
                    <a:pt x="12010505" y="17380799"/>
                  </a:lnTo>
                  <a:lnTo>
                    <a:pt x="12000973" y="17356975"/>
                  </a:lnTo>
                  <a:lnTo>
                    <a:pt x="11981913" y="17366503"/>
                  </a:lnTo>
                  <a:lnTo>
                    <a:pt x="11972381" y="17390331"/>
                  </a:lnTo>
                  <a:lnTo>
                    <a:pt x="11977149" y="17395095"/>
                  </a:lnTo>
                  <a:lnTo>
                    <a:pt x="11981913" y="17414155"/>
                  </a:lnTo>
                  <a:lnTo>
                    <a:pt x="11972381" y="17423687"/>
                  </a:lnTo>
                  <a:lnTo>
                    <a:pt x="11967617" y="17418919"/>
                  </a:lnTo>
                  <a:lnTo>
                    <a:pt x="11953321" y="17447511"/>
                  </a:lnTo>
                  <a:lnTo>
                    <a:pt x="11934261" y="17452275"/>
                  </a:lnTo>
                  <a:lnTo>
                    <a:pt x="11915201" y="17480867"/>
                  </a:lnTo>
                  <a:lnTo>
                    <a:pt x="11896141" y="17499927"/>
                  </a:lnTo>
                  <a:lnTo>
                    <a:pt x="11891377" y="17514223"/>
                  </a:lnTo>
                  <a:lnTo>
                    <a:pt x="11858021" y="17542815"/>
                  </a:lnTo>
                  <a:lnTo>
                    <a:pt x="11843725" y="17542815"/>
                  </a:lnTo>
                  <a:lnTo>
                    <a:pt x="11834193" y="17542815"/>
                  </a:lnTo>
                  <a:lnTo>
                    <a:pt x="11819897" y="17557111"/>
                  </a:lnTo>
                  <a:lnTo>
                    <a:pt x="11815133" y="17580935"/>
                  </a:lnTo>
                  <a:lnTo>
                    <a:pt x="11810369" y="17580935"/>
                  </a:lnTo>
                  <a:lnTo>
                    <a:pt x="11800837" y="17580935"/>
                  </a:lnTo>
                  <a:lnTo>
                    <a:pt x="11800837" y="17590463"/>
                  </a:lnTo>
                  <a:lnTo>
                    <a:pt x="11796073" y="17590463"/>
                  </a:lnTo>
                  <a:lnTo>
                    <a:pt x="11781777" y="17580935"/>
                  </a:lnTo>
                  <a:lnTo>
                    <a:pt x="11767481" y="17585699"/>
                  </a:lnTo>
                  <a:lnTo>
                    <a:pt x="11753185" y="17580935"/>
                  </a:lnTo>
                  <a:lnTo>
                    <a:pt x="11738893" y="17542815"/>
                  </a:lnTo>
                  <a:lnTo>
                    <a:pt x="11729361" y="17528519"/>
                  </a:lnTo>
                  <a:lnTo>
                    <a:pt x="11715065" y="17523755"/>
                  </a:lnTo>
                  <a:lnTo>
                    <a:pt x="11715065" y="17533283"/>
                  </a:lnTo>
                  <a:lnTo>
                    <a:pt x="11705537" y="17542815"/>
                  </a:lnTo>
                  <a:lnTo>
                    <a:pt x="11696005" y="17523755"/>
                  </a:lnTo>
                  <a:lnTo>
                    <a:pt x="11681709" y="17466571"/>
                  </a:lnTo>
                  <a:lnTo>
                    <a:pt x="11681709" y="17452275"/>
                  </a:lnTo>
                  <a:lnTo>
                    <a:pt x="11696005" y="17404623"/>
                  </a:lnTo>
                  <a:lnTo>
                    <a:pt x="11734125" y="17361739"/>
                  </a:lnTo>
                  <a:lnTo>
                    <a:pt x="11719829" y="17361739"/>
                  </a:lnTo>
                  <a:lnTo>
                    <a:pt x="11691241" y="17390331"/>
                  </a:lnTo>
                  <a:lnTo>
                    <a:pt x="11696005" y="17380799"/>
                  </a:lnTo>
                  <a:lnTo>
                    <a:pt x="11700769" y="17376035"/>
                  </a:lnTo>
                  <a:lnTo>
                    <a:pt x="11710301" y="17361739"/>
                  </a:lnTo>
                  <a:lnTo>
                    <a:pt x="11724597" y="17352207"/>
                  </a:lnTo>
                  <a:lnTo>
                    <a:pt x="11748421" y="17342679"/>
                  </a:lnTo>
                  <a:lnTo>
                    <a:pt x="11762717" y="17342679"/>
                  </a:lnTo>
                  <a:lnTo>
                    <a:pt x="11772245" y="17337915"/>
                  </a:lnTo>
                  <a:lnTo>
                    <a:pt x="11786541" y="17323619"/>
                  </a:lnTo>
                  <a:lnTo>
                    <a:pt x="11791309" y="17318851"/>
                  </a:lnTo>
                  <a:lnTo>
                    <a:pt x="11777013" y="17328383"/>
                  </a:lnTo>
                  <a:lnTo>
                    <a:pt x="11757953" y="17333147"/>
                  </a:lnTo>
                  <a:lnTo>
                    <a:pt x="11762717" y="17323619"/>
                  </a:lnTo>
                  <a:lnTo>
                    <a:pt x="11767481" y="17318851"/>
                  </a:lnTo>
                  <a:lnTo>
                    <a:pt x="11886609" y="17237847"/>
                  </a:lnTo>
                  <a:lnTo>
                    <a:pt x="11910437" y="17228315"/>
                  </a:lnTo>
                  <a:lnTo>
                    <a:pt x="11953321" y="17209255"/>
                  </a:lnTo>
                  <a:lnTo>
                    <a:pt x="11962853" y="17199723"/>
                  </a:lnTo>
                  <a:lnTo>
                    <a:pt x="11953321" y="17190195"/>
                  </a:lnTo>
                  <a:lnTo>
                    <a:pt x="11972381" y="17199723"/>
                  </a:lnTo>
                  <a:lnTo>
                    <a:pt x="11972381" y="17209255"/>
                  </a:lnTo>
                  <a:lnTo>
                    <a:pt x="11967617" y="17214019"/>
                  </a:lnTo>
                  <a:lnTo>
                    <a:pt x="11967617" y="17223551"/>
                  </a:lnTo>
                  <a:lnTo>
                    <a:pt x="11972381" y="17237847"/>
                  </a:lnTo>
                  <a:lnTo>
                    <a:pt x="11986677" y="17242611"/>
                  </a:lnTo>
                  <a:lnTo>
                    <a:pt x="12005737" y="17261671"/>
                  </a:lnTo>
                  <a:lnTo>
                    <a:pt x="11996209" y="17233079"/>
                  </a:lnTo>
                  <a:lnTo>
                    <a:pt x="12010505" y="17218787"/>
                  </a:lnTo>
                  <a:lnTo>
                    <a:pt x="12062921" y="17199723"/>
                  </a:lnTo>
                  <a:lnTo>
                    <a:pt x="12110569" y="17194959"/>
                  </a:lnTo>
                  <a:lnTo>
                    <a:pt x="12124865" y="17185431"/>
                  </a:lnTo>
                  <a:lnTo>
                    <a:pt x="12086745" y="17180663"/>
                  </a:lnTo>
                  <a:lnTo>
                    <a:pt x="12039093" y="17180663"/>
                  </a:lnTo>
                  <a:lnTo>
                    <a:pt x="12010505" y="17175899"/>
                  </a:lnTo>
                  <a:lnTo>
                    <a:pt x="11972381" y="17180663"/>
                  </a:lnTo>
                  <a:lnTo>
                    <a:pt x="11934261" y="17175899"/>
                  </a:lnTo>
                  <a:lnTo>
                    <a:pt x="11919965" y="17180663"/>
                  </a:lnTo>
                  <a:lnTo>
                    <a:pt x="11910437" y="17194959"/>
                  </a:lnTo>
                  <a:lnTo>
                    <a:pt x="11896141" y="17190195"/>
                  </a:lnTo>
                  <a:lnTo>
                    <a:pt x="11891377" y="17185431"/>
                  </a:lnTo>
                  <a:lnTo>
                    <a:pt x="11881845" y="17185431"/>
                  </a:lnTo>
                  <a:lnTo>
                    <a:pt x="11896141" y="17161603"/>
                  </a:lnTo>
                  <a:lnTo>
                    <a:pt x="11939025" y="17128247"/>
                  </a:lnTo>
                  <a:lnTo>
                    <a:pt x="11962853" y="17099655"/>
                  </a:lnTo>
                  <a:lnTo>
                    <a:pt x="11972381" y="17090127"/>
                  </a:lnTo>
                  <a:lnTo>
                    <a:pt x="11977149" y="17080595"/>
                  </a:lnTo>
                  <a:lnTo>
                    <a:pt x="11962853" y="17080595"/>
                  </a:lnTo>
                  <a:lnTo>
                    <a:pt x="11948557" y="17085363"/>
                  </a:lnTo>
                  <a:lnTo>
                    <a:pt x="11943793" y="17075831"/>
                  </a:lnTo>
                  <a:lnTo>
                    <a:pt x="11924729" y="17056771"/>
                  </a:lnTo>
                  <a:lnTo>
                    <a:pt x="11924729" y="17061535"/>
                  </a:lnTo>
                  <a:lnTo>
                    <a:pt x="11934261" y="17085363"/>
                  </a:lnTo>
                  <a:lnTo>
                    <a:pt x="11905669" y="17123483"/>
                  </a:lnTo>
                  <a:lnTo>
                    <a:pt x="11886609" y="17128247"/>
                  </a:lnTo>
                  <a:lnTo>
                    <a:pt x="11862785" y="17147307"/>
                  </a:lnTo>
                  <a:lnTo>
                    <a:pt x="11824665" y="17161603"/>
                  </a:lnTo>
                  <a:lnTo>
                    <a:pt x="11786541" y="17190195"/>
                  </a:lnTo>
                  <a:lnTo>
                    <a:pt x="11729361" y="17218787"/>
                  </a:lnTo>
                  <a:lnTo>
                    <a:pt x="11719829" y="17218787"/>
                  </a:lnTo>
                  <a:lnTo>
                    <a:pt x="11696005" y="17194959"/>
                  </a:lnTo>
                  <a:lnTo>
                    <a:pt x="11705537" y="17185431"/>
                  </a:lnTo>
                  <a:lnTo>
                    <a:pt x="11710301" y="17175899"/>
                  </a:lnTo>
                  <a:lnTo>
                    <a:pt x="11705537" y="17175899"/>
                  </a:lnTo>
                  <a:lnTo>
                    <a:pt x="11700769" y="17180663"/>
                  </a:lnTo>
                  <a:lnTo>
                    <a:pt x="11686473" y="17190195"/>
                  </a:lnTo>
                  <a:lnTo>
                    <a:pt x="11696005" y="17209255"/>
                  </a:lnTo>
                  <a:lnTo>
                    <a:pt x="11691241" y="17214019"/>
                  </a:lnTo>
                  <a:lnTo>
                    <a:pt x="11672181" y="17223551"/>
                  </a:lnTo>
                  <a:lnTo>
                    <a:pt x="11657885" y="17237847"/>
                  </a:lnTo>
                  <a:lnTo>
                    <a:pt x="11643589" y="17242611"/>
                  </a:lnTo>
                  <a:lnTo>
                    <a:pt x="11634057" y="17233079"/>
                  </a:lnTo>
                  <a:lnTo>
                    <a:pt x="11600701" y="17247375"/>
                  </a:lnTo>
                  <a:lnTo>
                    <a:pt x="11576877" y="17252139"/>
                  </a:lnTo>
                  <a:lnTo>
                    <a:pt x="11572113" y="17242611"/>
                  </a:lnTo>
                  <a:lnTo>
                    <a:pt x="11572113" y="17233079"/>
                  </a:lnTo>
                  <a:lnTo>
                    <a:pt x="11562581" y="17233079"/>
                  </a:lnTo>
                  <a:lnTo>
                    <a:pt x="11543521" y="17233079"/>
                  </a:lnTo>
                  <a:lnTo>
                    <a:pt x="11538757" y="17228315"/>
                  </a:lnTo>
                  <a:lnTo>
                    <a:pt x="11529225" y="17223551"/>
                  </a:lnTo>
                  <a:lnTo>
                    <a:pt x="11524461" y="17223551"/>
                  </a:lnTo>
                  <a:lnTo>
                    <a:pt x="11519697" y="17223551"/>
                  </a:lnTo>
                  <a:lnTo>
                    <a:pt x="11514929" y="17223551"/>
                  </a:lnTo>
                  <a:lnTo>
                    <a:pt x="11510165" y="17228315"/>
                  </a:lnTo>
                  <a:lnTo>
                    <a:pt x="11510165" y="17233079"/>
                  </a:lnTo>
                  <a:lnTo>
                    <a:pt x="11500633" y="17228315"/>
                  </a:lnTo>
                  <a:lnTo>
                    <a:pt x="11495869" y="17218787"/>
                  </a:lnTo>
                  <a:lnTo>
                    <a:pt x="11486341" y="17214019"/>
                  </a:lnTo>
                  <a:lnTo>
                    <a:pt x="11481573" y="17204491"/>
                  </a:lnTo>
                  <a:lnTo>
                    <a:pt x="11486341" y="17199723"/>
                  </a:lnTo>
                  <a:lnTo>
                    <a:pt x="11491105" y="17190195"/>
                  </a:lnTo>
                  <a:lnTo>
                    <a:pt x="11491105" y="17180663"/>
                  </a:lnTo>
                  <a:lnTo>
                    <a:pt x="11486341" y="17171135"/>
                  </a:lnTo>
                  <a:lnTo>
                    <a:pt x="11481573" y="17166367"/>
                  </a:lnTo>
                  <a:lnTo>
                    <a:pt x="11481573" y="17161603"/>
                  </a:lnTo>
                  <a:lnTo>
                    <a:pt x="11481573" y="17156839"/>
                  </a:lnTo>
                  <a:lnTo>
                    <a:pt x="11486341" y="17152075"/>
                  </a:lnTo>
                  <a:lnTo>
                    <a:pt x="11491105" y="17147307"/>
                  </a:lnTo>
                  <a:lnTo>
                    <a:pt x="11491105" y="17142543"/>
                  </a:lnTo>
                  <a:lnTo>
                    <a:pt x="11491105" y="17133011"/>
                  </a:lnTo>
                  <a:lnTo>
                    <a:pt x="11486341" y="17133011"/>
                  </a:lnTo>
                  <a:lnTo>
                    <a:pt x="11486341" y="17123483"/>
                  </a:lnTo>
                  <a:lnTo>
                    <a:pt x="11481573" y="17113951"/>
                  </a:lnTo>
                  <a:lnTo>
                    <a:pt x="11472045" y="17123483"/>
                  </a:lnTo>
                  <a:lnTo>
                    <a:pt x="11462513" y="17123483"/>
                  </a:lnTo>
                  <a:lnTo>
                    <a:pt x="11448217" y="17113951"/>
                  </a:lnTo>
                  <a:lnTo>
                    <a:pt x="11433921" y="17099655"/>
                  </a:lnTo>
                  <a:lnTo>
                    <a:pt x="11433921" y="17094891"/>
                  </a:lnTo>
                  <a:lnTo>
                    <a:pt x="11433921" y="17090127"/>
                  </a:lnTo>
                  <a:lnTo>
                    <a:pt x="11433921" y="17085363"/>
                  </a:lnTo>
                  <a:lnTo>
                    <a:pt x="11438689" y="17080595"/>
                  </a:lnTo>
                  <a:lnTo>
                    <a:pt x="11433921" y="17075831"/>
                  </a:lnTo>
                  <a:lnTo>
                    <a:pt x="11433921" y="17071067"/>
                  </a:lnTo>
                  <a:lnTo>
                    <a:pt x="11433921" y="17066299"/>
                  </a:lnTo>
                  <a:lnTo>
                    <a:pt x="11438689" y="17061535"/>
                  </a:lnTo>
                  <a:lnTo>
                    <a:pt x="11433921" y="17052007"/>
                  </a:lnTo>
                  <a:lnTo>
                    <a:pt x="11433921" y="17032947"/>
                  </a:lnTo>
                  <a:lnTo>
                    <a:pt x="11433921" y="16994823"/>
                  </a:lnTo>
                  <a:lnTo>
                    <a:pt x="11433921" y="16966235"/>
                  </a:lnTo>
                  <a:lnTo>
                    <a:pt x="11433921" y="16932879"/>
                  </a:lnTo>
                  <a:lnTo>
                    <a:pt x="11433921" y="16904287"/>
                  </a:lnTo>
                  <a:lnTo>
                    <a:pt x="11433921" y="16866167"/>
                  </a:lnTo>
                  <a:lnTo>
                    <a:pt x="11433921" y="16832811"/>
                  </a:lnTo>
                  <a:lnTo>
                    <a:pt x="11429157" y="16799455"/>
                  </a:lnTo>
                  <a:lnTo>
                    <a:pt x="11410097" y="16780395"/>
                  </a:lnTo>
                  <a:lnTo>
                    <a:pt x="11386273" y="16751803"/>
                  </a:lnTo>
                  <a:lnTo>
                    <a:pt x="11362445" y="16737507"/>
                  </a:lnTo>
                  <a:lnTo>
                    <a:pt x="11352917" y="16732743"/>
                  </a:lnTo>
                  <a:lnTo>
                    <a:pt x="11343385" y="16737507"/>
                  </a:lnTo>
                  <a:lnTo>
                    <a:pt x="11343385" y="16742271"/>
                  </a:lnTo>
                  <a:lnTo>
                    <a:pt x="11324325" y="16751803"/>
                  </a:lnTo>
                  <a:lnTo>
                    <a:pt x="11295733" y="16756567"/>
                  </a:lnTo>
                  <a:lnTo>
                    <a:pt x="11271909" y="16770863"/>
                  </a:lnTo>
                  <a:lnTo>
                    <a:pt x="11262377" y="16770863"/>
                  </a:lnTo>
                  <a:lnTo>
                    <a:pt x="11252849" y="16766099"/>
                  </a:lnTo>
                  <a:lnTo>
                    <a:pt x="11243317" y="16761331"/>
                  </a:lnTo>
                  <a:lnTo>
                    <a:pt x="11238553" y="16751803"/>
                  </a:lnTo>
                  <a:lnTo>
                    <a:pt x="11233789" y="16737507"/>
                  </a:lnTo>
                  <a:lnTo>
                    <a:pt x="11238553" y="16718447"/>
                  </a:lnTo>
                  <a:lnTo>
                    <a:pt x="11224257" y="16713683"/>
                  </a:lnTo>
                  <a:lnTo>
                    <a:pt x="11205197" y="16708915"/>
                  </a:lnTo>
                  <a:lnTo>
                    <a:pt x="11195665" y="16723211"/>
                  </a:lnTo>
                  <a:lnTo>
                    <a:pt x="11190901" y="16737507"/>
                  </a:lnTo>
                  <a:lnTo>
                    <a:pt x="11171841" y="16761331"/>
                  </a:lnTo>
                  <a:lnTo>
                    <a:pt x="11148017" y="16799455"/>
                  </a:lnTo>
                  <a:lnTo>
                    <a:pt x="11133721" y="16818515"/>
                  </a:lnTo>
                  <a:lnTo>
                    <a:pt x="11109893" y="16851871"/>
                  </a:lnTo>
                  <a:lnTo>
                    <a:pt x="11086069" y="16885227"/>
                  </a:lnTo>
                  <a:lnTo>
                    <a:pt x="11081305" y="16913815"/>
                  </a:lnTo>
                  <a:lnTo>
                    <a:pt x="11076537" y="16942407"/>
                  </a:lnTo>
                  <a:lnTo>
                    <a:pt x="11062241" y="16966235"/>
                  </a:lnTo>
                  <a:lnTo>
                    <a:pt x="11047949" y="16985295"/>
                  </a:lnTo>
                  <a:lnTo>
                    <a:pt x="11043181" y="17009119"/>
                  </a:lnTo>
                  <a:lnTo>
                    <a:pt x="11043181" y="17028179"/>
                  </a:lnTo>
                  <a:lnTo>
                    <a:pt x="11043181" y="17047239"/>
                  </a:lnTo>
                  <a:lnTo>
                    <a:pt x="11043181" y="17056771"/>
                  </a:lnTo>
                  <a:lnTo>
                    <a:pt x="11043181" y="17066299"/>
                  </a:lnTo>
                  <a:lnTo>
                    <a:pt x="11038417" y="17071067"/>
                  </a:lnTo>
                  <a:lnTo>
                    <a:pt x="11024121" y="17085363"/>
                  </a:lnTo>
                  <a:lnTo>
                    <a:pt x="11024121" y="17104423"/>
                  </a:lnTo>
                  <a:lnTo>
                    <a:pt x="11014593" y="17109187"/>
                  </a:lnTo>
                  <a:lnTo>
                    <a:pt x="10995533" y="17123483"/>
                  </a:lnTo>
                  <a:lnTo>
                    <a:pt x="10976469" y="17142543"/>
                  </a:lnTo>
                  <a:lnTo>
                    <a:pt x="10976469" y="17156839"/>
                  </a:lnTo>
                  <a:lnTo>
                    <a:pt x="10981237" y="17166367"/>
                  </a:lnTo>
                  <a:lnTo>
                    <a:pt x="10981237" y="17171135"/>
                  </a:lnTo>
                  <a:lnTo>
                    <a:pt x="10976469" y="17175899"/>
                  </a:lnTo>
                  <a:lnTo>
                    <a:pt x="10971705" y="17175899"/>
                  </a:lnTo>
                  <a:lnTo>
                    <a:pt x="10962177" y="17175899"/>
                  </a:lnTo>
                  <a:lnTo>
                    <a:pt x="10957409" y="17185431"/>
                  </a:lnTo>
                  <a:lnTo>
                    <a:pt x="10957409" y="17199723"/>
                  </a:lnTo>
                  <a:lnTo>
                    <a:pt x="10952645" y="17204491"/>
                  </a:lnTo>
                  <a:lnTo>
                    <a:pt x="10947881" y="17209255"/>
                  </a:lnTo>
                  <a:lnTo>
                    <a:pt x="10943113" y="17199723"/>
                  </a:lnTo>
                  <a:lnTo>
                    <a:pt x="10938349" y="17194959"/>
                  </a:lnTo>
                  <a:lnTo>
                    <a:pt x="10933585" y="17190195"/>
                  </a:lnTo>
                  <a:lnTo>
                    <a:pt x="10924053" y="17199723"/>
                  </a:lnTo>
                  <a:lnTo>
                    <a:pt x="10909757" y="17209255"/>
                  </a:lnTo>
                  <a:lnTo>
                    <a:pt x="10900229" y="17209255"/>
                  </a:lnTo>
                  <a:lnTo>
                    <a:pt x="10881169" y="17199723"/>
                  </a:lnTo>
                  <a:lnTo>
                    <a:pt x="10866873" y="17223551"/>
                  </a:lnTo>
                  <a:lnTo>
                    <a:pt x="10852577" y="17266435"/>
                  </a:lnTo>
                  <a:lnTo>
                    <a:pt x="10657209" y="17266435"/>
                  </a:lnTo>
                  <a:lnTo>
                    <a:pt x="10590497" y="17266435"/>
                  </a:lnTo>
                  <a:lnTo>
                    <a:pt x="10352241" y="17266435"/>
                  </a:lnTo>
                  <a:lnTo>
                    <a:pt x="10376065" y="17256907"/>
                  </a:lnTo>
                  <a:lnTo>
                    <a:pt x="10423717" y="17223551"/>
                  </a:lnTo>
                  <a:lnTo>
                    <a:pt x="10457073" y="17214019"/>
                  </a:lnTo>
                  <a:lnTo>
                    <a:pt x="10499957" y="17180663"/>
                  </a:lnTo>
                  <a:lnTo>
                    <a:pt x="10533313" y="17171135"/>
                  </a:lnTo>
                  <a:lnTo>
                    <a:pt x="10538077" y="17166367"/>
                  </a:lnTo>
                  <a:lnTo>
                    <a:pt x="10542845" y="17137779"/>
                  </a:lnTo>
                  <a:lnTo>
                    <a:pt x="10547609" y="17123483"/>
                  </a:lnTo>
                  <a:lnTo>
                    <a:pt x="10561905" y="17099655"/>
                  </a:lnTo>
                  <a:lnTo>
                    <a:pt x="10580965" y="17075831"/>
                  </a:lnTo>
                  <a:lnTo>
                    <a:pt x="10595261" y="17042475"/>
                  </a:lnTo>
                  <a:lnTo>
                    <a:pt x="10619085" y="17018651"/>
                  </a:lnTo>
                  <a:lnTo>
                    <a:pt x="10661973" y="17004355"/>
                  </a:lnTo>
                  <a:lnTo>
                    <a:pt x="10700093" y="16966235"/>
                  </a:lnTo>
                  <a:lnTo>
                    <a:pt x="10719153" y="16951939"/>
                  </a:lnTo>
                  <a:lnTo>
                    <a:pt x="10738213" y="16942407"/>
                  </a:lnTo>
                  <a:lnTo>
                    <a:pt x="10747745" y="16928111"/>
                  </a:lnTo>
                  <a:lnTo>
                    <a:pt x="10757273" y="16918583"/>
                  </a:lnTo>
                  <a:lnTo>
                    <a:pt x="10790629" y="16899523"/>
                  </a:lnTo>
                  <a:lnTo>
                    <a:pt x="10828753" y="16894755"/>
                  </a:lnTo>
                  <a:lnTo>
                    <a:pt x="10862109" y="16880459"/>
                  </a:lnTo>
                  <a:lnTo>
                    <a:pt x="10890697" y="16870931"/>
                  </a:lnTo>
                  <a:lnTo>
                    <a:pt x="10909757" y="16856635"/>
                  </a:lnTo>
                  <a:lnTo>
                    <a:pt x="10933585" y="16851871"/>
                  </a:lnTo>
                  <a:lnTo>
                    <a:pt x="11009825" y="16808983"/>
                  </a:lnTo>
                  <a:lnTo>
                    <a:pt x="11028889" y="16789923"/>
                  </a:lnTo>
                  <a:lnTo>
                    <a:pt x="11052713" y="16751803"/>
                  </a:lnTo>
                  <a:lnTo>
                    <a:pt x="11076537" y="16727975"/>
                  </a:lnTo>
                  <a:lnTo>
                    <a:pt x="11086069" y="16708915"/>
                  </a:lnTo>
                  <a:lnTo>
                    <a:pt x="11119425" y="16670795"/>
                  </a:lnTo>
                  <a:lnTo>
                    <a:pt x="11152781" y="16627911"/>
                  </a:lnTo>
                  <a:lnTo>
                    <a:pt x="11171841" y="16594555"/>
                  </a:lnTo>
                  <a:lnTo>
                    <a:pt x="11195665" y="16575491"/>
                  </a:lnTo>
                  <a:lnTo>
                    <a:pt x="11248081" y="16523075"/>
                  </a:lnTo>
                  <a:lnTo>
                    <a:pt x="11271909" y="16499251"/>
                  </a:lnTo>
                  <a:lnTo>
                    <a:pt x="11286205" y="16499251"/>
                  </a:lnTo>
                  <a:lnTo>
                    <a:pt x="11314793" y="16480191"/>
                  </a:lnTo>
                  <a:lnTo>
                    <a:pt x="11333857" y="16456363"/>
                  </a:lnTo>
                  <a:lnTo>
                    <a:pt x="11362445" y="16437303"/>
                  </a:lnTo>
                  <a:lnTo>
                    <a:pt x="11419629" y="16413479"/>
                  </a:lnTo>
                  <a:lnTo>
                    <a:pt x="11472045" y="16384887"/>
                  </a:lnTo>
                  <a:lnTo>
                    <a:pt x="11538757" y="16356295"/>
                  </a:lnTo>
                  <a:lnTo>
                    <a:pt x="11619761" y="16318175"/>
                  </a:lnTo>
                  <a:lnTo>
                    <a:pt x="11686473" y="16299115"/>
                  </a:lnTo>
                  <a:lnTo>
                    <a:pt x="11729361" y="16294351"/>
                  </a:lnTo>
                  <a:close/>
                  <a:moveTo>
                    <a:pt x="2311086" y="16260995"/>
                  </a:moveTo>
                  <a:lnTo>
                    <a:pt x="2325382" y="16260995"/>
                  </a:lnTo>
                  <a:lnTo>
                    <a:pt x="2330147" y="16265759"/>
                  </a:lnTo>
                  <a:lnTo>
                    <a:pt x="2334912" y="16284819"/>
                  </a:lnTo>
                  <a:lnTo>
                    <a:pt x="2315851" y="16284819"/>
                  </a:lnTo>
                  <a:lnTo>
                    <a:pt x="2306321" y="16280055"/>
                  </a:lnTo>
                  <a:lnTo>
                    <a:pt x="2306321" y="16270523"/>
                  </a:lnTo>
                  <a:close/>
                  <a:moveTo>
                    <a:pt x="13492457" y="16199047"/>
                  </a:moveTo>
                  <a:lnTo>
                    <a:pt x="13501989" y="16199047"/>
                  </a:lnTo>
                  <a:lnTo>
                    <a:pt x="13501989" y="16208579"/>
                  </a:lnTo>
                  <a:lnTo>
                    <a:pt x="13478161" y="16222875"/>
                  </a:lnTo>
                  <a:lnTo>
                    <a:pt x="13473397" y="16227639"/>
                  </a:lnTo>
                  <a:lnTo>
                    <a:pt x="13463869" y="16232403"/>
                  </a:lnTo>
                  <a:lnTo>
                    <a:pt x="13459101" y="16227639"/>
                  </a:lnTo>
                  <a:lnTo>
                    <a:pt x="13454337" y="16213343"/>
                  </a:lnTo>
                  <a:lnTo>
                    <a:pt x="13454337" y="16208579"/>
                  </a:lnTo>
                  <a:lnTo>
                    <a:pt x="13459101" y="16203815"/>
                  </a:lnTo>
                  <a:lnTo>
                    <a:pt x="13463869" y="16208579"/>
                  </a:lnTo>
                  <a:lnTo>
                    <a:pt x="13463869" y="16213343"/>
                  </a:lnTo>
                  <a:lnTo>
                    <a:pt x="13468633" y="16213343"/>
                  </a:lnTo>
                  <a:lnTo>
                    <a:pt x="13473397" y="16213343"/>
                  </a:lnTo>
                  <a:close/>
                  <a:moveTo>
                    <a:pt x="13568701" y="16170455"/>
                  </a:moveTo>
                  <a:lnTo>
                    <a:pt x="13573465" y="16170455"/>
                  </a:lnTo>
                  <a:lnTo>
                    <a:pt x="13582993" y="16184751"/>
                  </a:lnTo>
                  <a:lnTo>
                    <a:pt x="13592525" y="16189519"/>
                  </a:lnTo>
                  <a:lnTo>
                    <a:pt x="13549641" y="16208579"/>
                  </a:lnTo>
                  <a:lnTo>
                    <a:pt x="13544873" y="16208579"/>
                  </a:lnTo>
                  <a:lnTo>
                    <a:pt x="13540109" y="16189519"/>
                  </a:lnTo>
                  <a:lnTo>
                    <a:pt x="13544873" y="16179987"/>
                  </a:lnTo>
                  <a:lnTo>
                    <a:pt x="13549641" y="16175223"/>
                  </a:lnTo>
                  <a:lnTo>
                    <a:pt x="13554405" y="16184751"/>
                  </a:lnTo>
                  <a:close/>
                  <a:moveTo>
                    <a:pt x="2554107" y="16165691"/>
                  </a:moveTo>
                  <a:lnTo>
                    <a:pt x="2558872" y="16165691"/>
                  </a:lnTo>
                  <a:lnTo>
                    <a:pt x="2573167" y="16165691"/>
                  </a:lnTo>
                  <a:lnTo>
                    <a:pt x="2592228" y="16175219"/>
                  </a:lnTo>
                  <a:lnTo>
                    <a:pt x="2606523" y="16189515"/>
                  </a:lnTo>
                  <a:lnTo>
                    <a:pt x="2630349" y="16222871"/>
                  </a:lnTo>
                  <a:lnTo>
                    <a:pt x="2635114" y="16227639"/>
                  </a:lnTo>
                  <a:lnTo>
                    <a:pt x="2601758" y="16208575"/>
                  </a:lnTo>
                  <a:lnTo>
                    <a:pt x="2582698" y="16199047"/>
                  </a:lnTo>
                  <a:lnTo>
                    <a:pt x="2577933" y="16189515"/>
                  </a:lnTo>
                  <a:lnTo>
                    <a:pt x="2577933" y="16184751"/>
                  </a:lnTo>
                  <a:lnTo>
                    <a:pt x="2558872" y="16175219"/>
                  </a:lnTo>
                  <a:close/>
                  <a:moveTo>
                    <a:pt x="2215783" y="16141863"/>
                  </a:moveTo>
                  <a:lnTo>
                    <a:pt x="2230079" y="16146631"/>
                  </a:lnTo>
                  <a:lnTo>
                    <a:pt x="2234844" y="16156159"/>
                  </a:lnTo>
                  <a:lnTo>
                    <a:pt x="2244374" y="16170455"/>
                  </a:lnTo>
                  <a:lnTo>
                    <a:pt x="2244374" y="16189515"/>
                  </a:lnTo>
                  <a:lnTo>
                    <a:pt x="2244374" y="16199047"/>
                  </a:lnTo>
                  <a:lnTo>
                    <a:pt x="2244374" y="16203811"/>
                  </a:lnTo>
                  <a:lnTo>
                    <a:pt x="2239609" y="16203811"/>
                  </a:lnTo>
                  <a:lnTo>
                    <a:pt x="2230079" y="16203811"/>
                  </a:lnTo>
                  <a:lnTo>
                    <a:pt x="2215783" y="16194279"/>
                  </a:lnTo>
                  <a:lnTo>
                    <a:pt x="2196723" y="16175219"/>
                  </a:lnTo>
                  <a:lnTo>
                    <a:pt x="2196723" y="16170455"/>
                  </a:lnTo>
                  <a:lnTo>
                    <a:pt x="2201488" y="16165691"/>
                  </a:lnTo>
                  <a:lnTo>
                    <a:pt x="2206253" y="16160923"/>
                  </a:lnTo>
                  <a:lnTo>
                    <a:pt x="2201488" y="16146631"/>
                  </a:lnTo>
                  <a:close/>
                  <a:moveTo>
                    <a:pt x="11986677" y="16122807"/>
                  </a:moveTo>
                  <a:lnTo>
                    <a:pt x="12005737" y="16122807"/>
                  </a:lnTo>
                  <a:lnTo>
                    <a:pt x="12062921" y="16141867"/>
                  </a:lnTo>
                  <a:lnTo>
                    <a:pt x="12134397" y="16156163"/>
                  </a:lnTo>
                  <a:lnTo>
                    <a:pt x="12167753" y="16165691"/>
                  </a:lnTo>
                  <a:lnTo>
                    <a:pt x="12205873" y="16179987"/>
                  </a:lnTo>
                  <a:lnTo>
                    <a:pt x="12239229" y="16199047"/>
                  </a:lnTo>
                  <a:lnTo>
                    <a:pt x="12315473" y="16251463"/>
                  </a:lnTo>
                  <a:lnTo>
                    <a:pt x="12329765" y="16256231"/>
                  </a:lnTo>
                  <a:lnTo>
                    <a:pt x="12367889" y="16280055"/>
                  </a:lnTo>
                  <a:lnTo>
                    <a:pt x="12377417" y="16299115"/>
                  </a:lnTo>
                  <a:lnTo>
                    <a:pt x="12386949" y="16318175"/>
                  </a:lnTo>
                  <a:lnTo>
                    <a:pt x="12377417" y="16322943"/>
                  </a:lnTo>
                  <a:lnTo>
                    <a:pt x="12367889" y="16327707"/>
                  </a:lnTo>
                  <a:lnTo>
                    <a:pt x="12305941" y="16332471"/>
                  </a:lnTo>
                  <a:lnTo>
                    <a:pt x="12253525" y="16318175"/>
                  </a:lnTo>
                  <a:lnTo>
                    <a:pt x="12215405" y="16308647"/>
                  </a:lnTo>
                  <a:lnTo>
                    <a:pt x="12177281" y="16294351"/>
                  </a:lnTo>
                  <a:lnTo>
                    <a:pt x="12096277" y="16256231"/>
                  </a:lnTo>
                  <a:lnTo>
                    <a:pt x="12081981" y="16241935"/>
                  </a:lnTo>
                  <a:lnTo>
                    <a:pt x="12077213" y="16222875"/>
                  </a:lnTo>
                  <a:lnTo>
                    <a:pt x="12062921" y="16203815"/>
                  </a:lnTo>
                  <a:lnTo>
                    <a:pt x="12043857" y="16189519"/>
                  </a:lnTo>
                  <a:lnTo>
                    <a:pt x="11958085" y="16151395"/>
                  </a:lnTo>
                  <a:lnTo>
                    <a:pt x="11948557" y="16137103"/>
                  </a:lnTo>
                  <a:lnTo>
                    <a:pt x="11967617" y="16127571"/>
                  </a:lnTo>
                  <a:close/>
                  <a:moveTo>
                    <a:pt x="2501691" y="16056091"/>
                  </a:moveTo>
                  <a:lnTo>
                    <a:pt x="2511222" y="16070387"/>
                  </a:lnTo>
                  <a:lnTo>
                    <a:pt x="2515987" y="16075151"/>
                  </a:lnTo>
                  <a:lnTo>
                    <a:pt x="2515987" y="16089447"/>
                  </a:lnTo>
                  <a:lnTo>
                    <a:pt x="2501691" y="16103743"/>
                  </a:lnTo>
                  <a:lnTo>
                    <a:pt x="2496926" y="16075151"/>
                  </a:lnTo>
                  <a:lnTo>
                    <a:pt x="2501691" y="16065623"/>
                  </a:lnTo>
                  <a:lnTo>
                    <a:pt x="2501691" y="16060859"/>
                  </a:lnTo>
                  <a:close/>
                  <a:moveTo>
                    <a:pt x="2454039" y="16008443"/>
                  </a:moveTo>
                  <a:lnTo>
                    <a:pt x="2458804" y="16008443"/>
                  </a:lnTo>
                  <a:lnTo>
                    <a:pt x="2468335" y="16013207"/>
                  </a:lnTo>
                  <a:lnTo>
                    <a:pt x="2477865" y="16027503"/>
                  </a:lnTo>
                  <a:lnTo>
                    <a:pt x="2482630" y="16032267"/>
                  </a:lnTo>
                  <a:lnTo>
                    <a:pt x="2487395" y="16041795"/>
                  </a:lnTo>
                  <a:lnTo>
                    <a:pt x="2487395" y="16056091"/>
                  </a:lnTo>
                  <a:lnTo>
                    <a:pt x="2482630" y="16070387"/>
                  </a:lnTo>
                  <a:lnTo>
                    <a:pt x="2473100" y="16084683"/>
                  </a:lnTo>
                  <a:lnTo>
                    <a:pt x="2468335" y="16098979"/>
                  </a:lnTo>
                  <a:lnTo>
                    <a:pt x="2458804" y="16079919"/>
                  </a:lnTo>
                  <a:lnTo>
                    <a:pt x="2444509" y="16032267"/>
                  </a:lnTo>
                  <a:lnTo>
                    <a:pt x="2444509" y="16022735"/>
                  </a:lnTo>
                  <a:close/>
                  <a:moveTo>
                    <a:pt x="13349505" y="15913139"/>
                  </a:moveTo>
                  <a:lnTo>
                    <a:pt x="13359033" y="15913139"/>
                  </a:lnTo>
                  <a:lnTo>
                    <a:pt x="13359033" y="15917907"/>
                  </a:lnTo>
                  <a:lnTo>
                    <a:pt x="13354269" y="15927435"/>
                  </a:lnTo>
                  <a:lnTo>
                    <a:pt x="13349505" y="15932199"/>
                  </a:lnTo>
                  <a:lnTo>
                    <a:pt x="13339973" y="15936967"/>
                  </a:lnTo>
                  <a:lnTo>
                    <a:pt x="13335209" y="15932199"/>
                  </a:lnTo>
                  <a:lnTo>
                    <a:pt x="13330445" y="15927435"/>
                  </a:lnTo>
                  <a:lnTo>
                    <a:pt x="13335209" y="15917907"/>
                  </a:lnTo>
                  <a:close/>
                  <a:moveTo>
                    <a:pt x="2015648" y="15898843"/>
                  </a:moveTo>
                  <a:lnTo>
                    <a:pt x="2044239" y="15898843"/>
                  </a:lnTo>
                  <a:lnTo>
                    <a:pt x="2077595" y="15908375"/>
                  </a:lnTo>
                  <a:lnTo>
                    <a:pt x="2158602" y="15951259"/>
                  </a:lnTo>
                  <a:lnTo>
                    <a:pt x="2234844" y="15984615"/>
                  </a:lnTo>
                  <a:lnTo>
                    <a:pt x="2311086" y="15998911"/>
                  </a:lnTo>
                  <a:lnTo>
                    <a:pt x="2368267" y="16017971"/>
                  </a:lnTo>
                  <a:lnTo>
                    <a:pt x="2406388" y="16022735"/>
                  </a:lnTo>
                  <a:lnTo>
                    <a:pt x="2415919" y="16027503"/>
                  </a:lnTo>
                  <a:lnTo>
                    <a:pt x="2425449" y="16032267"/>
                  </a:lnTo>
                  <a:lnTo>
                    <a:pt x="2434979" y="16046563"/>
                  </a:lnTo>
                  <a:lnTo>
                    <a:pt x="2449275" y="16084683"/>
                  </a:lnTo>
                  <a:lnTo>
                    <a:pt x="2463570" y="16103743"/>
                  </a:lnTo>
                  <a:lnTo>
                    <a:pt x="2492161" y="16146631"/>
                  </a:lnTo>
                  <a:lnTo>
                    <a:pt x="2511221" y="16175219"/>
                  </a:lnTo>
                  <a:lnTo>
                    <a:pt x="2515986" y="16184751"/>
                  </a:lnTo>
                  <a:lnTo>
                    <a:pt x="2511221" y="16189515"/>
                  </a:lnTo>
                  <a:lnTo>
                    <a:pt x="2511221" y="16194279"/>
                  </a:lnTo>
                  <a:lnTo>
                    <a:pt x="2525517" y="16222871"/>
                  </a:lnTo>
                  <a:lnTo>
                    <a:pt x="2554107" y="16246699"/>
                  </a:lnTo>
                  <a:lnTo>
                    <a:pt x="2577933" y="16260991"/>
                  </a:lnTo>
                  <a:lnTo>
                    <a:pt x="2625584" y="16280055"/>
                  </a:lnTo>
                  <a:lnTo>
                    <a:pt x="2658940" y="16294347"/>
                  </a:lnTo>
                  <a:lnTo>
                    <a:pt x="2668470" y="16308643"/>
                  </a:lnTo>
                  <a:lnTo>
                    <a:pt x="2678001" y="16322939"/>
                  </a:lnTo>
                  <a:lnTo>
                    <a:pt x="2682766" y="16327703"/>
                  </a:lnTo>
                  <a:lnTo>
                    <a:pt x="2697061" y="16361059"/>
                  </a:lnTo>
                  <a:lnTo>
                    <a:pt x="2716122" y="16389651"/>
                  </a:lnTo>
                  <a:lnTo>
                    <a:pt x="2735182" y="16446831"/>
                  </a:lnTo>
                  <a:lnTo>
                    <a:pt x="2739947" y="16442067"/>
                  </a:lnTo>
                  <a:lnTo>
                    <a:pt x="2739947" y="16427771"/>
                  </a:lnTo>
                  <a:lnTo>
                    <a:pt x="2744712" y="16423007"/>
                  </a:lnTo>
                  <a:lnTo>
                    <a:pt x="2749478" y="16423007"/>
                  </a:lnTo>
                  <a:lnTo>
                    <a:pt x="2754243" y="16427771"/>
                  </a:lnTo>
                  <a:lnTo>
                    <a:pt x="2754243" y="16442067"/>
                  </a:lnTo>
                  <a:lnTo>
                    <a:pt x="2768538" y="16480187"/>
                  </a:lnTo>
                  <a:lnTo>
                    <a:pt x="2763773" y="16489719"/>
                  </a:lnTo>
                  <a:lnTo>
                    <a:pt x="2759008" y="16489719"/>
                  </a:lnTo>
                  <a:lnTo>
                    <a:pt x="2744712" y="16484955"/>
                  </a:lnTo>
                  <a:lnTo>
                    <a:pt x="2735182" y="16489719"/>
                  </a:lnTo>
                  <a:lnTo>
                    <a:pt x="2730417" y="16504015"/>
                  </a:lnTo>
                  <a:lnTo>
                    <a:pt x="2720887" y="16508779"/>
                  </a:lnTo>
                  <a:lnTo>
                    <a:pt x="2668470" y="16494483"/>
                  </a:lnTo>
                  <a:lnTo>
                    <a:pt x="2639880" y="16484955"/>
                  </a:lnTo>
                  <a:lnTo>
                    <a:pt x="2596993" y="16465891"/>
                  </a:lnTo>
                  <a:lnTo>
                    <a:pt x="2549342" y="16446831"/>
                  </a:lnTo>
                  <a:lnTo>
                    <a:pt x="2520751" y="16432539"/>
                  </a:lnTo>
                  <a:lnTo>
                    <a:pt x="2496926" y="16418243"/>
                  </a:lnTo>
                  <a:lnTo>
                    <a:pt x="2482630" y="16408711"/>
                  </a:lnTo>
                  <a:lnTo>
                    <a:pt x="2477865" y="16394415"/>
                  </a:lnTo>
                  <a:lnTo>
                    <a:pt x="2477865" y="16389651"/>
                  </a:lnTo>
                  <a:lnTo>
                    <a:pt x="2511221" y="16361059"/>
                  </a:lnTo>
                  <a:lnTo>
                    <a:pt x="2525517" y="16341999"/>
                  </a:lnTo>
                  <a:lnTo>
                    <a:pt x="2530282" y="16327703"/>
                  </a:lnTo>
                  <a:lnTo>
                    <a:pt x="2530282" y="16318175"/>
                  </a:lnTo>
                  <a:lnTo>
                    <a:pt x="2530282" y="16299115"/>
                  </a:lnTo>
                  <a:lnTo>
                    <a:pt x="2525517" y="16318175"/>
                  </a:lnTo>
                  <a:lnTo>
                    <a:pt x="2520751" y="16332471"/>
                  </a:lnTo>
                  <a:lnTo>
                    <a:pt x="2515986" y="16341999"/>
                  </a:lnTo>
                  <a:lnTo>
                    <a:pt x="2511221" y="16346763"/>
                  </a:lnTo>
                  <a:lnTo>
                    <a:pt x="2473100" y="16351531"/>
                  </a:lnTo>
                  <a:lnTo>
                    <a:pt x="2444509" y="16351531"/>
                  </a:lnTo>
                  <a:lnTo>
                    <a:pt x="2430214" y="16361059"/>
                  </a:lnTo>
                  <a:lnTo>
                    <a:pt x="2425449" y="16365827"/>
                  </a:lnTo>
                  <a:lnTo>
                    <a:pt x="2415919" y="16361059"/>
                  </a:lnTo>
                  <a:lnTo>
                    <a:pt x="2396858" y="16341999"/>
                  </a:lnTo>
                  <a:lnTo>
                    <a:pt x="2373032" y="16327703"/>
                  </a:lnTo>
                  <a:lnTo>
                    <a:pt x="2373032" y="16322939"/>
                  </a:lnTo>
                  <a:lnTo>
                    <a:pt x="2392093" y="16318175"/>
                  </a:lnTo>
                  <a:lnTo>
                    <a:pt x="2401623" y="16303879"/>
                  </a:lnTo>
                  <a:lnTo>
                    <a:pt x="2396858" y="16303879"/>
                  </a:lnTo>
                  <a:lnTo>
                    <a:pt x="2392093" y="16303879"/>
                  </a:lnTo>
                  <a:lnTo>
                    <a:pt x="2387328" y="16303879"/>
                  </a:lnTo>
                  <a:lnTo>
                    <a:pt x="2377798" y="16289583"/>
                  </a:lnTo>
                  <a:lnTo>
                    <a:pt x="2368267" y="16284819"/>
                  </a:lnTo>
                  <a:lnTo>
                    <a:pt x="2358737" y="16289583"/>
                  </a:lnTo>
                  <a:lnTo>
                    <a:pt x="2349207" y="16289583"/>
                  </a:lnTo>
                  <a:lnTo>
                    <a:pt x="2344442" y="16280055"/>
                  </a:lnTo>
                  <a:lnTo>
                    <a:pt x="2353972" y="16260991"/>
                  </a:lnTo>
                  <a:lnTo>
                    <a:pt x="2353972" y="16256227"/>
                  </a:lnTo>
                  <a:lnTo>
                    <a:pt x="2339677" y="16260991"/>
                  </a:lnTo>
                  <a:lnTo>
                    <a:pt x="2334912" y="16260991"/>
                  </a:lnTo>
                  <a:lnTo>
                    <a:pt x="2334912" y="16251463"/>
                  </a:lnTo>
                  <a:lnTo>
                    <a:pt x="2330146" y="16246699"/>
                  </a:lnTo>
                  <a:lnTo>
                    <a:pt x="2315851" y="16251463"/>
                  </a:lnTo>
                  <a:lnTo>
                    <a:pt x="2306321" y="16241931"/>
                  </a:lnTo>
                  <a:lnTo>
                    <a:pt x="2301556" y="16246699"/>
                  </a:lnTo>
                  <a:lnTo>
                    <a:pt x="2301556" y="16256227"/>
                  </a:lnTo>
                  <a:lnTo>
                    <a:pt x="2296790" y="16256227"/>
                  </a:lnTo>
                  <a:lnTo>
                    <a:pt x="2277730" y="16241931"/>
                  </a:lnTo>
                  <a:lnTo>
                    <a:pt x="2272965" y="16241931"/>
                  </a:lnTo>
                  <a:lnTo>
                    <a:pt x="2268200" y="16256227"/>
                  </a:lnTo>
                  <a:lnTo>
                    <a:pt x="2263435" y="16256227"/>
                  </a:lnTo>
                  <a:lnTo>
                    <a:pt x="2258669" y="16251463"/>
                  </a:lnTo>
                  <a:lnTo>
                    <a:pt x="2258669" y="16218107"/>
                  </a:lnTo>
                  <a:lnTo>
                    <a:pt x="2258669" y="16213343"/>
                  </a:lnTo>
                  <a:lnTo>
                    <a:pt x="2258669" y="16208575"/>
                  </a:lnTo>
                  <a:lnTo>
                    <a:pt x="2272965" y="16199047"/>
                  </a:lnTo>
                  <a:lnTo>
                    <a:pt x="2320616" y="16194279"/>
                  </a:lnTo>
                  <a:lnTo>
                    <a:pt x="2325381" y="16189515"/>
                  </a:lnTo>
                  <a:lnTo>
                    <a:pt x="2292025" y="16189515"/>
                  </a:lnTo>
                  <a:lnTo>
                    <a:pt x="2282495" y="16184751"/>
                  </a:lnTo>
                  <a:lnTo>
                    <a:pt x="2272965" y="16175219"/>
                  </a:lnTo>
                  <a:lnTo>
                    <a:pt x="2263435" y="16175219"/>
                  </a:lnTo>
                  <a:lnTo>
                    <a:pt x="2258669" y="16175219"/>
                  </a:lnTo>
                  <a:lnTo>
                    <a:pt x="2249139" y="16165691"/>
                  </a:lnTo>
                  <a:lnTo>
                    <a:pt x="2239609" y="16137099"/>
                  </a:lnTo>
                  <a:lnTo>
                    <a:pt x="2230079" y="16132335"/>
                  </a:lnTo>
                  <a:lnTo>
                    <a:pt x="2211018" y="16127571"/>
                  </a:lnTo>
                  <a:lnTo>
                    <a:pt x="2201488" y="16122803"/>
                  </a:lnTo>
                  <a:lnTo>
                    <a:pt x="2196723" y="16132335"/>
                  </a:lnTo>
                  <a:lnTo>
                    <a:pt x="2191958" y="16137099"/>
                  </a:lnTo>
                  <a:lnTo>
                    <a:pt x="2182427" y="16141863"/>
                  </a:lnTo>
                  <a:lnTo>
                    <a:pt x="2168132" y="16137099"/>
                  </a:lnTo>
                  <a:lnTo>
                    <a:pt x="2163367" y="16132335"/>
                  </a:lnTo>
                  <a:lnTo>
                    <a:pt x="2158602" y="16122803"/>
                  </a:lnTo>
                  <a:lnTo>
                    <a:pt x="2153837" y="16108507"/>
                  </a:lnTo>
                  <a:lnTo>
                    <a:pt x="2158602" y="16098979"/>
                  </a:lnTo>
                  <a:lnTo>
                    <a:pt x="2158602" y="16089447"/>
                  </a:lnTo>
                  <a:lnTo>
                    <a:pt x="2158602" y="16084683"/>
                  </a:lnTo>
                  <a:lnTo>
                    <a:pt x="2153837" y="16079919"/>
                  </a:lnTo>
                  <a:lnTo>
                    <a:pt x="2149072" y="16075151"/>
                  </a:lnTo>
                  <a:lnTo>
                    <a:pt x="2144306" y="16079919"/>
                  </a:lnTo>
                  <a:lnTo>
                    <a:pt x="2144306" y="16084683"/>
                  </a:lnTo>
                  <a:lnTo>
                    <a:pt x="2144306" y="16089447"/>
                  </a:lnTo>
                  <a:lnTo>
                    <a:pt x="2134776" y="16098979"/>
                  </a:lnTo>
                  <a:lnTo>
                    <a:pt x="2125246" y="16089447"/>
                  </a:lnTo>
                  <a:lnTo>
                    <a:pt x="2120481" y="16075151"/>
                  </a:lnTo>
                  <a:lnTo>
                    <a:pt x="2115716" y="16070387"/>
                  </a:lnTo>
                  <a:lnTo>
                    <a:pt x="2082360" y="16070387"/>
                  </a:lnTo>
                  <a:lnTo>
                    <a:pt x="2068064" y="16079919"/>
                  </a:lnTo>
                  <a:lnTo>
                    <a:pt x="2058534" y="16079919"/>
                  </a:lnTo>
                  <a:lnTo>
                    <a:pt x="2053769" y="16079919"/>
                  </a:lnTo>
                  <a:lnTo>
                    <a:pt x="2053769" y="16070387"/>
                  </a:lnTo>
                  <a:lnTo>
                    <a:pt x="2058534" y="16056091"/>
                  </a:lnTo>
                  <a:lnTo>
                    <a:pt x="2058534" y="16037031"/>
                  </a:lnTo>
                  <a:lnTo>
                    <a:pt x="2053769" y="16032267"/>
                  </a:lnTo>
                  <a:lnTo>
                    <a:pt x="2039474" y="16027503"/>
                  </a:lnTo>
                  <a:lnTo>
                    <a:pt x="2039474" y="16022735"/>
                  </a:lnTo>
                  <a:lnTo>
                    <a:pt x="2044239" y="15998911"/>
                  </a:lnTo>
                  <a:lnTo>
                    <a:pt x="2053769" y="15994147"/>
                  </a:lnTo>
                  <a:lnTo>
                    <a:pt x="2058534" y="15994147"/>
                  </a:lnTo>
                  <a:lnTo>
                    <a:pt x="2087125" y="15994147"/>
                  </a:lnTo>
                  <a:lnTo>
                    <a:pt x="2096655" y="15994147"/>
                  </a:lnTo>
                  <a:lnTo>
                    <a:pt x="2110951" y="16008439"/>
                  </a:lnTo>
                  <a:lnTo>
                    <a:pt x="2110951" y="16003675"/>
                  </a:lnTo>
                  <a:lnTo>
                    <a:pt x="2106185" y="15989379"/>
                  </a:lnTo>
                  <a:lnTo>
                    <a:pt x="2106185" y="15979851"/>
                  </a:lnTo>
                  <a:lnTo>
                    <a:pt x="2115716" y="15965555"/>
                  </a:lnTo>
                  <a:lnTo>
                    <a:pt x="2106185" y="15965555"/>
                  </a:lnTo>
                  <a:lnTo>
                    <a:pt x="2072830" y="15960791"/>
                  </a:lnTo>
                  <a:lnTo>
                    <a:pt x="2072830" y="15965555"/>
                  </a:lnTo>
                  <a:lnTo>
                    <a:pt x="2072830" y="15979851"/>
                  </a:lnTo>
                  <a:lnTo>
                    <a:pt x="2053769" y="15989379"/>
                  </a:lnTo>
                  <a:lnTo>
                    <a:pt x="2039474" y="15989379"/>
                  </a:lnTo>
                  <a:lnTo>
                    <a:pt x="2025178" y="15989379"/>
                  </a:lnTo>
                  <a:lnTo>
                    <a:pt x="2010883" y="15979851"/>
                  </a:lnTo>
                  <a:lnTo>
                    <a:pt x="1991822" y="15960791"/>
                  </a:lnTo>
                  <a:lnTo>
                    <a:pt x="1977527" y="15936963"/>
                  </a:lnTo>
                  <a:lnTo>
                    <a:pt x="1977527" y="15927435"/>
                  </a:lnTo>
                  <a:lnTo>
                    <a:pt x="1987057" y="15913139"/>
                  </a:lnTo>
                  <a:lnTo>
                    <a:pt x="1991822" y="15908375"/>
                  </a:lnTo>
                  <a:close/>
                  <a:moveTo>
                    <a:pt x="13349505" y="15713003"/>
                  </a:moveTo>
                  <a:lnTo>
                    <a:pt x="13354269" y="15717771"/>
                  </a:lnTo>
                  <a:lnTo>
                    <a:pt x="13359033" y="15722535"/>
                  </a:lnTo>
                  <a:lnTo>
                    <a:pt x="13359033" y="15727299"/>
                  </a:lnTo>
                  <a:lnTo>
                    <a:pt x="13349505" y="15755891"/>
                  </a:lnTo>
                  <a:lnTo>
                    <a:pt x="13339973" y="15765423"/>
                  </a:lnTo>
                  <a:lnTo>
                    <a:pt x="13335209" y="15770187"/>
                  </a:lnTo>
                  <a:lnTo>
                    <a:pt x="13316149" y="15774951"/>
                  </a:lnTo>
                  <a:lnTo>
                    <a:pt x="13282793" y="15779715"/>
                  </a:lnTo>
                  <a:lnTo>
                    <a:pt x="13268497" y="15779715"/>
                  </a:lnTo>
                  <a:lnTo>
                    <a:pt x="13268497" y="15798779"/>
                  </a:lnTo>
                  <a:lnTo>
                    <a:pt x="13268497" y="15808307"/>
                  </a:lnTo>
                  <a:lnTo>
                    <a:pt x="13273261" y="15813071"/>
                  </a:lnTo>
                  <a:lnTo>
                    <a:pt x="13282793" y="15817839"/>
                  </a:lnTo>
                  <a:lnTo>
                    <a:pt x="13297089" y="15813071"/>
                  </a:lnTo>
                  <a:lnTo>
                    <a:pt x="13301853" y="15813071"/>
                  </a:lnTo>
                  <a:lnTo>
                    <a:pt x="13301853" y="15817839"/>
                  </a:lnTo>
                  <a:lnTo>
                    <a:pt x="13306617" y="15822603"/>
                  </a:lnTo>
                  <a:lnTo>
                    <a:pt x="13311385" y="15832135"/>
                  </a:lnTo>
                  <a:lnTo>
                    <a:pt x="13311385" y="15841663"/>
                  </a:lnTo>
                  <a:lnTo>
                    <a:pt x="13306617" y="15855959"/>
                  </a:lnTo>
                  <a:lnTo>
                    <a:pt x="13297089" y="15884551"/>
                  </a:lnTo>
                  <a:lnTo>
                    <a:pt x="13282793" y="15903611"/>
                  </a:lnTo>
                  <a:lnTo>
                    <a:pt x="13263733" y="15917907"/>
                  </a:lnTo>
                  <a:lnTo>
                    <a:pt x="13258965" y="15922671"/>
                  </a:lnTo>
                  <a:lnTo>
                    <a:pt x="13254201" y="15927435"/>
                  </a:lnTo>
                  <a:lnTo>
                    <a:pt x="13254201" y="15951263"/>
                  </a:lnTo>
                  <a:lnTo>
                    <a:pt x="13244673" y="15965555"/>
                  </a:lnTo>
                  <a:lnTo>
                    <a:pt x="13216081" y="16008443"/>
                  </a:lnTo>
                  <a:lnTo>
                    <a:pt x="13206549" y="16017975"/>
                  </a:lnTo>
                  <a:lnTo>
                    <a:pt x="13201785" y="16022739"/>
                  </a:lnTo>
                  <a:lnTo>
                    <a:pt x="13201785" y="16041799"/>
                  </a:lnTo>
                  <a:lnTo>
                    <a:pt x="13192253" y="16060859"/>
                  </a:lnTo>
                  <a:lnTo>
                    <a:pt x="13168429" y="16094215"/>
                  </a:lnTo>
                  <a:lnTo>
                    <a:pt x="13158897" y="16108511"/>
                  </a:lnTo>
                  <a:lnTo>
                    <a:pt x="13158897" y="16118039"/>
                  </a:lnTo>
                  <a:lnTo>
                    <a:pt x="13158897" y="16132335"/>
                  </a:lnTo>
                  <a:lnTo>
                    <a:pt x="13158897" y="16137103"/>
                  </a:lnTo>
                  <a:lnTo>
                    <a:pt x="13154133" y="16151395"/>
                  </a:lnTo>
                  <a:lnTo>
                    <a:pt x="13144605" y="16160927"/>
                  </a:lnTo>
                  <a:lnTo>
                    <a:pt x="13144605" y="16165691"/>
                  </a:lnTo>
                  <a:lnTo>
                    <a:pt x="13144605" y="16175223"/>
                  </a:lnTo>
                  <a:lnTo>
                    <a:pt x="13149369" y="16179987"/>
                  </a:lnTo>
                  <a:lnTo>
                    <a:pt x="13149369" y="16189519"/>
                  </a:lnTo>
                  <a:lnTo>
                    <a:pt x="13144605" y="16203815"/>
                  </a:lnTo>
                  <a:lnTo>
                    <a:pt x="13158897" y="16194283"/>
                  </a:lnTo>
                  <a:lnTo>
                    <a:pt x="13177961" y="16160927"/>
                  </a:lnTo>
                  <a:lnTo>
                    <a:pt x="13197021" y="16141867"/>
                  </a:lnTo>
                  <a:lnTo>
                    <a:pt x="13206549" y="16132335"/>
                  </a:lnTo>
                  <a:lnTo>
                    <a:pt x="13216081" y="16122807"/>
                  </a:lnTo>
                  <a:lnTo>
                    <a:pt x="13225609" y="16103747"/>
                  </a:lnTo>
                  <a:lnTo>
                    <a:pt x="13235141" y="16089451"/>
                  </a:lnTo>
                  <a:lnTo>
                    <a:pt x="13249437" y="16079919"/>
                  </a:lnTo>
                  <a:lnTo>
                    <a:pt x="13254201" y="16084687"/>
                  </a:lnTo>
                  <a:lnTo>
                    <a:pt x="13254201" y="16094215"/>
                  </a:lnTo>
                  <a:lnTo>
                    <a:pt x="13254201" y="16103747"/>
                  </a:lnTo>
                  <a:lnTo>
                    <a:pt x="13249437" y="16118039"/>
                  </a:lnTo>
                  <a:lnTo>
                    <a:pt x="13249437" y="16122807"/>
                  </a:lnTo>
                  <a:lnTo>
                    <a:pt x="13263733" y="16113275"/>
                  </a:lnTo>
                  <a:lnTo>
                    <a:pt x="13287557" y="16103747"/>
                  </a:lnTo>
                  <a:lnTo>
                    <a:pt x="13297089" y="16103747"/>
                  </a:lnTo>
                  <a:lnTo>
                    <a:pt x="13311385" y="16118039"/>
                  </a:lnTo>
                  <a:lnTo>
                    <a:pt x="13325677" y="16118039"/>
                  </a:lnTo>
                  <a:lnTo>
                    <a:pt x="13349505" y="16108511"/>
                  </a:lnTo>
                  <a:lnTo>
                    <a:pt x="13354269" y="16113275"/>
                  </a:lnTo>
                  <a:lnTo>
                    <a:pt x="13349505" y="16122807"/>
                  </a:lnTo>
                  <a:lnTo>
                    <a:pt x="13339973" y="16137103"/>
                  </a:lnTo>
                  <a:lnTo>
                    <a:pt x="13320913" y="16151395"/>
                  </a:lnTo>
                  <a:lnTo>
                    <a:pt x="13268497" y="16179987"/>
                  </a:lnTo>
                  <a:lnTo>
                    <a:pt x="13254201" y="16199047"/>
                  </a:lnTo>
                  <a:lnTo>
                    <a:pt x="13268497" y="16189519"/>
                  </a:lnTo>
                  <a:lnTo>
                    <a:pt x="13278029" y="16184751"/>
                  </a:lnTo>
                  <a:lnTo>
                    <a:pt x="13292321" y="16184751"/>
                  </a:lnTo>
                  <a:lnTo>
                    <a:pt x="13297089" y="16189519"/>
                  </a:lnTo>
                  <a:lnTo>
                    <a:pt x="13292321" y="16194283"/>
                  </a:lnTo>
                  <a:lnTo>
                    <a:pt x="13292321" y="16213343"/>
                  </a:lnTo>
                  <a:lnTo>
                    <a:pt x="13263733" y="16241935"/>
                  </a:lnTo>
                  <a:lnTo>
                    <a:pt x="13268497" y="16241935"/>
                  </a:lnTo>
                  <a:lnTo>
                    <a:pt x="13301853" y="16227639"/>
                  </a:lnTo>
                  <a:lnTo>
                    <a:pt x="13325677" y="16246699"/>
                  </a:lnTo>
                  <a:lnTo>
                    <a:pt x="13354269" y="16237171"/>
                  </a:lnTo>
                  <a:lnTo>
                    <a:pt x="13373329" y="16232403"/>
                  </a:lnTo>
                  <a:lnTo>
                    <a:pt x="13373329" y="16237171"/>
                  </a:lnTo>
                  <a:lnTo>
                    <a:pt x="13378093" y="16246699"/>
                  </a:lnTo>
                  <a:lnTo>
                    <a:pt x="13378093" y="16260995"/>
                  </a:lnTo>
                  <a:lnTo>
                    <a:pt x="13387625" y="16256231"/>
                  </a:lnTo>
                  <a:lnTo>
                    <a:pt x="13387625" y="16251463"/>
                  </a:lnTo>
                  <a:lnTo>
                    <a:pt x="13387625" y="16227639"/>
                  </a:lnTo>
                  <a:lnTo>
                    <a:pt x="13392389" y="16222875"/>
                  </a:lnTo>
                  <a:lnTo>
                    <a:pt x="13397157" y="16227639"/>
                  </a:lnTo>
                  <a:lnTo>
                    <a:pt x="13397157" y="16232403"/>
                  </a:lnTo>
                  <a:lnTo>
                    <a:pt x="13401921" y="16251463"/>
                  </a:lnTo>
                  <a:lnTo>
                    <a:pt x="13397157" y="16270527"/>
                  </a:lnTo>
                  <a:lnTo>
                    <a:pt x="13392389" y="16284819"/>
                  </a:lnTo>
                  <a:lnTo>
                    <a:pt x="13378093" y="16308647"/>
                  </a:lnTo>
                  <a:lnTo>
                    <a:pt x="13378093" y="16318175"/>
                  </a:lnTo>
                  <a:lnTo>
                    <a:pt x="13378093" y="16332471"/>
                  </a:lnTo>
                  <a:lnTo>
                    <a:pt x="13392389" y="16322943"/>
                  </a:lnTo>
                  <a:lnTo>
                    <a:pt x="13392389" y="16318175"/>
                  </a:lnTo>
                  <a:lnTo>
                    <a:pt x="13392389" y="16308647"/>
                  </a:lnTo>
                  <a:lnTo>
                    <a:pt x="13392389" y="16303879"/>
                  </a:lnTo>
                  <a:lnTo>
                    <a:pt x="13406685" y="16289587"/>
                  </a:lnTo>
                  <a:lnTo>
                    <a:pt x="13420981" y="16280055"/>
                  </a:lnTo>
                  <a:lnTo>
                    <a:pt x="13425745" y="16275291"/>
                  </a:lnTo>
                  <a:lnTo>
                    <a:pt x="13430513" y="16280055"/>
                  </a:lnTo>
                  <a:lnTo>
                    <a:pt x="13430513" y="16284819"/>
                  </a:lnTo>
                  <a:lnTo>
                    <a:pt x="13435277" y="16284819"/>
                  </a:lnTo>
                  <a:lnTo>
                    <a:pt x="13444805" y="16275291"/>
                  </a:lnTo>
                  <a:lnTo>
                    <a:pt x="13454337" y="16265759"/>
                  </a:lnTo>
                  <a:lnTo>
                    <a:pt x="13463869" y="16265759"/>
                  </a:lnTo>
                  <a:lnTo>
                    <a:pt x="13473397" y="16256231"/>
                  </a:lnTo>
                  <a:lnTo>
                    <a:pt x="13487693" y="16241935"/>
                  </a:lnTo>
                  <a:lnTo>
                    <a:pt x="13497225" y="16232403"/>
                  </a:lnTo>
                  <a:lnTo>
                    <a:pt x="13511517" y="16222875"/>
                  </a:lnTo>
                  <a:lnTo>
                    <a:pt x="13516285" y="16222875"/>
                  </a:lnTo>
                  <a:lnTo>
                    <a:pt x="13511517" y="16237171"/>
                  </a:lnTo>
                  <a:lnTo>
                    <a:pt x="13516285" y="16256231"/>
                  </a:lnTo>
                  <a:lnTo>
                    <a:pt x="13516285" y="16265759"/>
                  </a:lnTo>
                  <a:lnTo>
                    <a:pt x="13516285" y="16270527"/>
                  </a:lnTo>
                  <a:lnTo>
                    <a:pt x="13525813" y="16256231"/>
                  </a:lnTo>
                  <a:lnTo>
                    <a:pt x="13530577" y="16251463"/>
                  </a:lnTo>
                  <a:lnTo>
                    <a:pt x="13540109" y="16246699"/>
                  </a:lnTo>
                  <a:lnTo>
                    <a:pt x="13544873" y="16246699"/>
                  </a:lnTo>
                  <a:lnTo>
                    <a:pt x="13592525" y="16241935"/>
                  </a:lnTo>
                  <a:lnTo>
                    <a:pt x="13611585" y="16246699"/>
                  </a:lnTo>
                  <a:lnTo>
                    <a:pt x="13625881" y="16256231"/>
                  </a:lnTo>
                  <a:lnTo>
                    <a:pt x="13644941" y="16275291"/>
                  </a:lnTo>
                  <a:lnTo>
                    <a:pt x="13654473" y="16284819"/>
                  </a:lnTo>
                  <a:lnTo>
                    <a:pt x="13654473" y="16303879"/>
                  </a:lnTo>
                  <a:lnTo>
                    <a:pt x="13654473" y="16318175"/>
                  </a:lnTo>
                  <a:lnTo>
                    <a:pt x="13640177" y="16332471"/>
                  </a:lnTo>
                  <a:lnTo>
                    <a:pt x="13625881" y="16342003"/>
                  </a:lnTo>
                  <a:lnTo>
                    <a:pt x="13616353" y="16351531"/>
                  </a:lnTo>
                  <a:lnTo>
                    <a:pt x="13616353" y="16361063"/>
                  </a:lnTo>
                  <a:lnTo>
                    <a:pt x="13611585" y="16365827"/>
                  </a:lnTo>
                  <a:lnTo>
                    <a:pt x="13602057" y="16375359"/>
                  </a:lnTo>
                  <a:lnTo>
                    <a:pt x="13563933" y="16399183"/>
                  </a:lnTo>
                  <a:lnTo>
                    <a:pt x="13573465" y="16399183"/>
                  </a:lnTo>
                  <a:lnTo>
                    <a:pt x="13597289" y="16394419"/>
                  </a:lnTo>
                  <a:lnTo>
                    <a:pt x="13611585" y="16394419"/>
                  </a:lnTo>
                  <a:lnTo>
                    <a:pt x="13611585" y="16399183"/>
                  </a:lnTo>
                  <a:lnTo>
                    <a:pt x="13606821" y="16403947"/>
                  </a:lnTo>
                  <a:lnTo>
                    <a:pt x="13592525" y="16413479"/>
                  </a:lnTo>
                  <a:lnTo>
                    <a:pt x="13592525" y="16418243"/>
                  </a:lnTo>
                  <a:lnTo>
                    <a:pt x="13606821" y="16423011"/>
                  </a:lnTo>
                  <a:lnTo>
                    <a:pt x="13621117" y="16423011"/>
                  </a:lnTo>
                  <a:lnTo>
                    <a:pt x="13635413" y="16423011"/>
                  </a:lnTo>
                  <a:lnTo>
                    <a:pt x="13635413" y="16432539"/>
                  </a:lnTo>
                  <a:lnTo>
                    <a:pt x="13621117" y="16451599"/>
                  </a:lnTo>
                  <a:lnTo>
                    <a:pt x="13621117" y="16461131"/>
                  </a:lnTo>
                  <a:lnTo>
                    <a:pt x="13606821" y="16470659"/>
                  </a:lnTo>
                  <a:lnTo>
                    <a:pt x="13578229" y="16489719"/>
                  </a:lnTo>
                  <a:lnTo>
                    <a:pt x="13568701" y="16494487"/>
                  </a:lnTo>
                  <a:lnTo>
                    <a:pt x="13573465" y="16494487"/>
                  </a:lnTo>
                  <a:lnTo>
                    <a:pt x="13597289" y="16484955"/>
                  </a:lnTo>
                  <a:lnTo>
                    <a:pt x="13611585" y="16480191"/>
                  </a:lnTo>
                  <a:lnTo>
                    <a:pt x="13621117" y="16480191"/>
                  </a:lnTo>
                  <a:lnTo>
                    <a:pt x="13630645" y="16470659"/>
                  </a:lnTo>
                  <a:lnTo>
                    <a:pt x="13644941" y="16465895"/>
                  </a:lnTo>
                  <a:lnTo>
                    <a:pt x="13659237" y="16470659"/>
                  </a:lnTo>
                  <a:lnTo>
                    <a:pt x="13678297" y="16451599"/>
                  </a:lnTo>
                  <a:lnTo>
                    <a:pt x="13687829" y="16451599"/>
                  </a:lnTo>
                  <a:lnTo>
                    <a:pt x="13702125" y="16451599"/>
                  </a:lnTo>
                  <a:lnTo>
                    <a:pt x="13711653" y="16451599"/>
                  </a:lnTo>
                  <a:lnTo>
                    <a:pt x="13725949" y="16437303"/>
                  </a:lnTo>
                  <a:lnTo>
                    <a:pt x="13735481" y="16432539"/>
                  </a:lnTo>
                  <a:lnTo>
                    <a:pt x="13740245" y="16437303"/>
                  </a:lnTo>
                  <a:lnTo>
                    <a:pt x="13740245" y="16451599"/>
                  </a:lnTo>
                  <a:lnTo>
                    <a:pt x="13735481" y="16465895"/>
                  </a:lnTo>
                  <a:lnTo>
                    <a:pt x="13735481" y="16470659"/>
                  </a:lnTo>
                  <a:lnTo>
                    <a:pt x="13721185" y="16489719"/>
                  </a:lnTo>
                  <a:lnTo>
                    <a:pt x="13716417" y="16499251"/>
                  </a:lnTo>
                  <a:lnTo>
                    <a:pt x="13706889" y="16499251"/>
                  </a:lnTo>
                  <a:lnTo>
                    <a:pt x="13697357" y="16499251"/>
                  </a:lnTo>
                  <a:lnTo>
                    <a:pt x="13692593" y="16504015"/>
                  </a:lnTo>
                  <a:lnTo>
                    <a:pt x="13683061" y="16518311"/>
                  </a:lnTo>
                  <a:lnTo>
                    <a:pt x="13659237" y="16532607"/>
                  </a:lnTo>
                  <a:lnTo>
                    <a:pt x="13649709" y="16537371"/>
                  </a:lnTo>
                  <a:lnTo>
                    <a:pt x="13654473" y="16546903"/>
                  </a:lnTo>
                  <a:lnTo>
                    <a:pt x="13659237" y="16561199"/>
                  </a:lnTo>
                  <a:lnTo>
                    <a:pt x="13654473" y="16565963"/>
                  </a:lnTo>
                  <a:lnTo>
                    <a:pt x="13635413" y="16570727"/>
                  </a:lnTo>
                  <a:lnTo>
                    <a:pt x="13630645" y="16570727"/>
                  </a:lnTo>
                  <a:lnTo>
                    <a:pt x="13625881" y="16575495"/>
                  </a:lnTo>
                  <a:lnTo>
                    <a:pt x="13606821" y="16580259"/>
                  </a:lnTo>
                  <a:lnTo>
                    <a:pt x="13621117" y="16585023"/>
                  </a:lnTo>
                  <a:lnTo>
                    <a:pt x="13640177" y="16580259"/>
                  </a:lnTo>
                  <a:lnTo>
                    <a:pt x="13644941" y="16580259"/>
                  </a:lnTo>
                  <a:lnTo>
                    <a:pt x="13640177" y="16594555"/>
                  </a:lnTo>
                  <a:lnTo>
                    <a:pt x="13635413" y="16604083"/>
                  </a:lnTo>
                  <a:lnTo>
                    <a:pt x="13611585" y="16632675"/>
                  </a:lnTo>
                  <a:lnTo>
                    <a:pt x="13606821" y="16632675"/>
                  </a:lnTo>
                  <a:lnTo>
                    <a:pt x="13611585" y="16646971"/>
                  </a:lnTo>
                  <a:lnTo>
                    <a:pt x="13616353" y="16661267"/>
                  </a:lnTo>
                  <a:lnTo>
                    <a:pt x="13625881" y="16666031"/>
                  </a:lnTo>
                  <a:lnTo>
                    <a:pt x="13640177" y="16666031"/>
                  </a:lnTo>
                  <a:lnTo>
                    <a:pt x="13649709" y="16666031"/>
                  </a:lnTo>
                  <a:lnTo>
                    <a:pt x="13664001" y="16646971"/>
                  </a:lnTo>
                  <a:lnTo>
                    <a:pt x="13702125" y="16585023"/>
                  </a:lnTo>
                  <a:lnTo>
                    <a:pt x="13730713" y="16570727"/>
                  </a:lnTo>
                  <a:lnTo>
                    <a:pt x="13754541" y="16551667"/>
                  </a:lnTo>
                  <a:lnTo>
                    <a:pt x="13764069" y="16556431"/>
                  </a:lnTo>
                  <a:lnTo>
                    <a:pt x="13764069" y="16565963"/>
                  </a:lnTo>
                  <a:lnTo>
                    <a:pt x="13749773" y="16580259"/>
                  </a:lnTo>
                  <a:lnTo>
                    <a:pt x="13745009" y="16589787"/>
                  </a:lnTo>
                  <a:lnTo>
                    <a:pt x="13725949" y="16627911"/>
                  </a:lnTo>
                  <a:lnTo>
                    <a:pt x="13721185" y="16646971"/>
                  </a:lnTo>
                  <a:lnTo>
                    <a:pt x="13716417" y="16666031"/>
                  </a:lnTo>
                  <a:lnTo>
                    <a:pt x="13716417" y="16699387"/>
                  </a:lnTo>
                  <a:lnTo>
                    <a:pt x="13721185" y="16704151"/>
                  </a:lnTo>
                  <a:lnTo>
                    <a:pt x="13725949" y="16713683"/>
                  </a:lnTo>
                  <a:lnTo>
                    <a:pt x="13735481" y="16704151"/>
                  </a:lnTo>
                  <a:lnTo>
                    <a:pt x="13754541" y="16689855"/>
                  </a:lnTo>
                  <a:lnTo>
                    <a:pt x="13764069" y="16675559"/>
                  </a:lnTo>
                  <a:lnTo>
                    <a:pt x="13773601" y="16646971"/>
                  </a:lnTo>
                  <a:lnTo>
                    <a:pt x="13778365" y="16637439"/>
                  </a:lnTo>
                  <a:lnTo>
                    <a:pt x="13783129" y="16637439"/>
                  </a:lnTo>
                  <a:lnTo>
                    <a:pt x="13787897" y="16646971"/>
                  </a:lnTo>
                  <a:lnTo>
                    <a:pt x="13787897" y="16656499"/>
                  </a:lnTo>
                  <a:lnTo>
                    <a:pt x="13797425" y="16675559"/>
                  </a:lnTo>
                  <a:lnTo>
                    <a:pt x="13797425" y="16689855"/>
                  </a:lnTo>
                  <a:lnTo>
                    <a:pt x="13797425" y="16708915"/>
                  </a:lnTo>
                  <a:lnTo>
                    <a:pt x="13792661" y="16718447"/>
                  </a:lnTo>
                  <a:lnTo>
                    <a:pt x="13759305" y="16794691"/>
                  </a:lnTo>
                  <a:lnTo>
                    <a:pt x="13759305" y="16804219"/>
                  </a:lnTo>
                  <a:lnTo>
                    <a:pt x="13764069" y="16813751"/>
                  </a:lnTo>
                  <a:lnTo>
                    <a:pt x="13759305" y="16823279"/>
                  </a:lnTo>
                  <a:lnTo>
                    <a:pt x="13749773" y="16856635"/>
                  </a:lnTo>
                  <a:lnTo>
                    <a:pt x="13740245" y="16880463"/>
                  </a:lnTo>
                  <a:lnTo>
                    <a:pt x="13730713" y="16889991"/>
                  </a:lnTo>
                  <a:lnTo>
                    <a:pt x="13725949" y="16894755"/>
                  </a:lnTo>
                  <a:lnTo>
                    <a:pt x="13716417" y="16899523"/>
                  </a:lnTo>
                  <a:lnTo>
                    <a:pt x="13711653" y="16894755"/>
                  </a:lnTo>
                  <a:lnTo>
                    <a:pt x="13702125" y="16885227"/>
                  </a:lnTo>
                  <a:lnTo>
                    <a:pt x="13697357" y="16880463"/>
                  </a:lnTo>
                  <a:lnTo>
                    <a:pt x="13692593" y="16880463"/>
                  </a:lnTo>
                  <a:lnTo>
                    <a:pt x="13683061" y="16880463"/>
                  </a:lnTo>
                  <a:lnTo>
                    <a:pt x="13659237" y="16899523"/>
                  </a:lnTo>
                  <a:lnTo>
                    <a:pt x="13654473" y="16899523"/>
                  </a:lnTo>
                  <a:lnTo>
                    <a:pt x="13649709" y="16899523"/>
                  </a:lnTo>
                  <a:lnTo>
                    <a:pt x="13649709" y="16889991"/>
                  </a:lnTo>
                  <a:lnTo>
                    <a:pt x="13649709" y="16842339"/>
                  </a:lnTo>
                  <a:lnTo>
                    <a:pt x="13654473" y="16828047"/>
                  </a:lnTo>
                  <a:lnTo>
                    <a:pt x="13649709" y="16813751"/>
                  </a:lnTo>
                  <a:lnTo>
                    <a:pt x="13654473" y="16794691"/>
                  </a:lnTo>
                  <a:lnTo>
                    <a:pt x="13654473" y="16785159"/>
                  </a:lnTo>
                  <a:lnTo>
                    <a:pt x="13649709" y="16785159"/>
                  </a:lnTo>
                  <a:lnTo>
                    <a:pt x="13644941" y="16785159"/>
                  </a:lnTo>
                  <a:lnTo>
                    <a:pt x="13635413" y="16794691"/>
                  </a:lnTo>
                  <a:lnTo>
                    <a:pt x="13621117" y="16813751"/>
                  </a:lnTo>
                  <a:lnTo>
                    <a:pt x="13611585" y="16828047"/>
                  </a:lnTo>
                  <a:lnTo>
                    <a:pt x="13587761" y="16851871"/>
                  </a:lnTo>
                  <a:lnTo>
                    <a:pt x="13573465" y="16856635"/>
                  </a:lnTo>
                  <a:lnTo>
                    <a:pt x="13568701" y="16851871"/>
                  </a:lnTo>
                  <a:lnTo>
                    <a:pt x="13559169" y="16842339"/>
                  </a:lnTo>
                  <a:lnTo>
                    <a:pt x="13559169" y="16837575"/>
                  </a:lnTo>
                  <a:lnTo>
                    <a:pt x="13563933" y="16823279"/>
                  </a:lnTo>
                  <a:lnTo>
                    <a:pt x="13573465" y="16794691"/>
                  </a:lnTo>
                  <a:lnTo>
                    <a:pt x="13592525" y="16756567"/>
                  </a:lnTo>
                  <a:lnTo>
                    <a:pt x="13606821" y="16727979"/>
                  </a:lnTo>
                  <a:lnTo>
                    <a:pt x="13611585" y="16713683"/>
                  </a:lnTo>
                  <a:lnTo>
                    <a:pt x="13606821" y="16708915"/>
                  </a:lnTo>
                  <a:lnTo>
                    <a:pt x="13602057" y="16699387"/>
                  </a:lnTo>
                  <a:lnTo>
                    <a:pt x="13597289" y="16666031"/>
                  </a:lnTo>
                  <a:lnTo>
                    <a:pt x="13587761" y="16642207"/>
                  </a:lnTo>
                  <a:lnTo>
                    <a:pt x="13578229" y="16632675"/>
                  </a:lnTo>
                  <a:lnTo>
                    <a:pt x="13559169" y="16618379"/>
                  </a:lnTo>
                  <a:lnTo>
                    <a:pt x="13554405" y="16618379"/>
                  </a:lnTo>
                  <a:lnTo>
                    <a:pt x="13549641" y="16637439"/>
                  </a:lnTo>
                  <a:lnTo>
                    <a:pt x="13525813" y="16689855"/>
                  </a:lnTo>
                  <a:lnTo>
                    <a:pt x="13521049" y="16708915"/>
                  </a:lnTo>
                  <a:lnTo>
                    <a:pt x="13516285" y="16718447"/>
                  </a:lnTo>
                  <a:lnTo>
                    <a:pt x="13511517" y="16723211"/>
                  </a:lnTo>
                  <a:lnTo>
                    <a:pt x="13501989" y="16727979"/>
                  </a:lnTo>
                  <a:lnTo>
                    <a:pt x="13501989" y="16718447"/>
                  </a:lnTo>
                  <a:lnTo>
                    <a:pt x="13516285" y="16694623"/>
                  </a:lnTo>
                  <a:lnTo>
                    <a:pt x="13511517" y="16689855"/>
                  </a:lnTo>
                  <a:lnTo>
                    <a:pt x="13497225" y="16708915"/>
                  </a:lnTo>
                  <a:lnTo>
                    <a:pt x="13487693" y="16723211"/>
                  </a:lnTo>
                  <a:lnTo>
                    <a:pt x="13473397" y="16727979"/>
                  </a:lnTo>
                  <a:lnTo>
                    <a:pt x="13463869" y="16723211"/>
                  </a:lnTo>
                  <a:lnTo>
                    <a:pt x="13454337" y="16727979"/>
                  </a:lnTo>
                  <a:lnTo>
                    <a:pt x="13416217" y="16775627"/>
                  </a:lnTo>
                  <a:lnTo>
                    <a:pt x="13416217" y="16794691"/>
                  </a:lnTo>
                  <a:lnTo>
                    <a:pt x="13411449" y="16804219"/>
                  </a:lnTo>
                  <a:lnTo>
                    <a:pt x="13392389" y="16828047"/>
                  </a:lnTo>
                  <a:lnTo>
                    <a:pt x="13382861" y="16837575"/>
                  </a:lnTo>
                  <a:lnTo>
                    <a:pt x="13368565" y="16837575"/>
                  </a:lnTo>
                  <a:lnTo>
                    <a:pt x="13359033" y="16837575"/>
                  </a:lnTo>
                  <a:lnTo>
                    <a:pt x="13349505" y="16837575"/>
                  </a:lnTo>
                  <a:lnTo>
                    <a:pt x="13330445" y="16842339"/>
                  </a:lnTo>
                  <a:lnTo>
                    <a:pt x="13306617" y="16847107"/>
                  </a:lnTo>
                  <a:lnTo>
                    <a:pt x="13301853" y="16847107"/>
                  </a:lnTo>
                  <a:lnTo>
                    <a:pt x="13292321" y="16842339"/>
                  </a:lnTo>
                  <a:lnTo>
                    <a:pt x="13282793" y="16832811"/>
                  </a:lnTo>
                  <a:lnTo>
                    <a:pt x="13282793" y="16828047"/>
                  </a:lnTo>
                  <a:lnTo>
                    <a:pt x="13282793" y="16823279"/>
                  </a:lnTo>
                  <a:lnTo>
                    <a:pt x="13287557" y="16813751"/>
                  </a:lnTo>
                  <a:lnTo>
                    <a:pt x="13301853" y="16799455"/>
                  </a:lnTo>
                  <a:lnTo>
                    <a:pt x="13311385" y="16794691"/>
                  </a:lnTo>
                  <a:lnTo>
                    <a:pt x="13335209" y="16789923"/>
                  </a:lnTo>
                  <a:lnTo>
                    <a:pt x="13354269" y="16780395"/>
                  </a:lnTo>
                  <a:lnTo>
                    <a:pt x="13368565" y="16766099"/>
                  </a:lnTo>
                  <a:lnTo>
                    <a:pt x="13373329" y="16756567"/>
                  </a:lnTo>
                  <a:lnTo>
                    <a:pt x="13401921" y="16713683"/>
                  </a:lnTo>
                  <a:lnTo>
                    <a:pt x="13435277" y="16699387"/>
                  </a:lnTo>
                  <a:lnTo>
                    <a:pt x="13454337" y="16685091"/>
                  </a:lnTo>
                  <a:lnTo>
                    <a:pt x="13463869" y="16670795"/>
                  </a:lnTo>
                  <a:lnTo>
                    <a:pt x="13463869" y="16661267"/>
                  </a:lnTo>
                  <a:lnTo>
                    <a:pt x="13449573" y="16670795"/>
                  </a:lnTo>
                  <a:lnTo>
                    <a:pt x="13440041" y="16675559"/>
                  </a:lnTo>
                  <a:lnTo>
                    <a:pt x="13425745" y="16670795"/>
                  </a:lnTo>
                  <a:lnTo>
                    <a:pt x="13420981" y="16666031"/>
                  </a:lnTo>
                  <a:lnTo>
                    <a:pt x="13401921" y="16666031"/>
                  </a:lnTo>
                  <a:lnTo>
                    <a:pt x="13373329" y="16666031"/>
                  </a:lnTo>
                  <a:lnTo>
                    <a:pt x="13368565" y="16670795"/>
                  </a:lnTo>
                  <a:lnTo>
                    <a:pt x="13368565" y="16689855"/>
                  </a:lnTo>
                  <a:lnTo>
                    <a:pt x="13363801" y="16699387"/>
                  </a:lnTo>
                  <a:lnTo>
                    <a:pt x="13359033" y="16704151"/>
                  </a:lnTo>
                  <a:lnTo>
                    <a:pt x="13354269" y="16708915"/>
                  </a:lnTo>
                  <a:lnTo>
                    <a:pt x="13339973" y="16708915"/>
                  </a:lnTo>
                  <a:lnTo>
                    <a:pt x="13311385" y="16704151"/>
                  </a:lnTo>
                  <a:lnTo>
                    <a:pt x="13306617" y="16699387"/>
                  </a:lnTo>
                  <a:lnTo>
                    <a:pt x="13297089" y="16694623"/>
                  </a:lnTo>
                  <a:lnTo>
                    <a:pt x="13263733" y="16704151"/>
                  </a:lnTo>
                  <a:lnTo>
                    <a:pt x="13254201" y="16699387"/>
                  </a:lnTo>
                  <a:lnTo>
                    <a:pt x="13263733" y="16694623"/>
                  </a:lnTo>
                  <a:lnTo>
                    <a:pt x="13297089" y="16680327"/>
                  </a:lnTo>
                  <a:lnTo>
                    <a:pt x="13301853" y="16632675"/>
                  </a:lnTo>
                  <a:lnTo>
                    <a:pt x="13297089" y="16627911"/>
                  </a:lnTo>
                  <a:lnTo>
                    <a:pt x="13287557" y="16632675"/>
                  </a:lnTo>
                  <a:lnTo>
                    <a:pt x="13273261" y="16642207"/>
                  </a:lnTo>
                  <a:lnTo>
                    <a:pt x="13258965" y="16637439"/>
                  </a:lnTo>
                  <a:lnTo>
                    <a:pt x="13254201" y="16632675"/>
                  </a:lnTo>
                  <a:lnTo>
                    <a:pt x="13254201" y="16637439"/>
                  </a:lnTo>
                  <a:lnTo>
                    <a:pt x="13239905" y="16661267"/>
                  </a:lnTo>
                  <a:lnTo>
                    <a:pt x="13235141" y="16666031"/>
                  </a:lnTo>
                  <a:lnTo>
                    <a:pt x="13225609" y="16666031"/>
                  </a:lnTo>
                  <a:lnTo>
                    <a:pt x="13201785" y="16675559"/>
                  </a:lnTo>
                  <a:lnTo>
                    <a:pt x="13163665" y="16680327"/>
                  </a:lnTo>
                  <a:lnTo>
                    <a:pt x="13154133" y="16685091"/>
                  </a:lnTo>
                  <a:lnTo>
                    <a:pt x="13125545" y="16685091"/>
                  </a:lnTo>
                  <a:lnTo>
                    <a:pt x="13044537" y="16670795"/>
                  </a:lnTo>
                  <a:lnTo>
                    <a:pt x="13015945" y="16670795"/>
                  </a:lnTo>
                  <a:lnTo>
                    <a:pt x="12982589" y="16666031"/>
                  </a:lnTo>
                  <a:lnTo>
                    <a:pt x="12973057" y="16661267"/>
                  </a:lnTo>
                  <a:lnTo>
                    <a:pt x="12925409" y="16661267"/>
                  </a:lnTo>
                  <a:lnTo>
                    <a:pt x="12911113" y="16661267"/>
                  </a:lnTo>
                  <a:lnTo>
                    <a:pt x="12911113" y="16651735"/>
                  </a:lnTo>
                  <a:lnTo>
                    <a:pt x="12911113" y="16646971"/>
                  </a:lnTo>
                  <a:lnTo>
                    <a:pt x="12896817" y="16656499"/>
                  </a:lnTo>
                  <a:lnTo>
                    <a:pt x="12882521" y="16666031"/>
                  </a:lnTo>
                  <a:lnTo>
                    <a:pt x="12868225" y="16670795"/>
                  </a:lnTo>
                  <a:lnTo>
                    <a:pt x="12815809" y="16685091"/>
                  </a:lnTo>
                  <a:lnTo>
                    <a:pt x="12787221" y="16685091"/>
                  </a:lnTo>
                  <a:lnTo>
                    <a:pt x="12772925" y="16675559"/>
                  </a:lnTo>
                  <a:lnTo>
                    <a:pt x="12768157" y="16670795"/>
                  </a:lnTo>
                  <a:lnTo>
                    <a:pt x="12758629" y="16646971"/>
                  </a:lnTo>
                  <a:lnTo>
                    <a:pt x="12749097" y="16618379"/>
                  </a:lnTo>
                  <a:lnTo>
                    <a:pt x="12749097" y="16613615"/>
                  </a:lnTo>
                  <a:lnTo>
                    <a:pt x="12753865" y="16599319"/>
                  </a:lnTo>
                  <a:lnTo>
                    <a:pt x="12763393" y="16585023"/>
                  </a:lnTo>
                  <a:lnTo>
                    <a:pt x="12811045" y="16546903"/>
                  </a:lnTo>
                  <a:lnTo>
                    <a:pt x="12853929" y="16508783"/>
                  </a:lnTo>
                  <a:lnTo>
                    <a:pt x="12868225" y="16489719"/>
                  </a:lnTo>
                  <a:lnTo>
                    <a:pt x="12882521" y="16480191"/>
                  </a:lnTo>
                  <a:lnTo>
                    <a:pt x="12911113" y="16465895"/>
                  </a:lnTo>
                  <a:lnTo>
                    <a:pt x="12911113" y="16461131"/>
                  </a:lnTo>
                  <a:lnTo>
                    <a:pt x="12887285" y="16465895"/>
                  </a:lnTo>
                  <a:lnTo>
                    <a:pt x="12868225" y="16461131"/>
                  </a:lnTo>
                  <a:lnTo>
                    <a:pt x="12849165" y="16456367"/>
                  </a:lnTo>
                  <a:lnTo>
                    <a:pt x="12815809" y="16461131"/>
                  </a:lnTo>
                  <a:lnTo>
                    <a:pt x="12782453" y="16461131"/>
                  </a:lnTo>
                  <a:lnTo>
                    <a:pt x="12782453" y="16456367"/>
                  </a:lnTo>
                  <a:lnTo>
                    <a:pt x="12796749" y="16437303"/>
                  </a:lnTo>
                  <a:lnTo>
                    <a:pt x="12830105" y="16408715"/>
                  </a:lnTo>
                  <a:lnTo>
                    <a:pt x="12834869" y="16408715"/>
                  </a:lnTo>
                  <a:lnTo>
                    <a:pt x="12825341" y="16423011"/>
                  </a:lnTo>
                  <a:lnTo>
                    <a:pt x="12820573" y="16432539"/>
                  </a:lnTo>
                  <a:lnTo>
                    <a:pt x="12825341" y="16437303"/>
                  </a:lnTo>
                  <a:lnTo>
                    <a:pt x="12830105" y="16442071"/>
                  </a:lnTo>
                  <a:lnTo>
                    <a:pt x="12849165" y="16446835"/>
                  </a:lnTo>
                  <a:lnTo>
                    <a:pt x="12853929" y="16437303"/>
                  </a:lnTo>
                  <a:lnTo>
                    <a:pt x="12863461" y="16408715"/>
                  </a:lnTo>
                  <a:lnTo>
                    <a:pt x="12877757" y="16375359"/>
                  </a:lnTo>
                  <a:lnTo>
                    <a:pt x="12887285" y="16351531"/>
                  </a:lnTo>
                  <a:lnTo>
                    <a:pt x="12901581" y="16327707"/>
                  </a:lnTo>
                  <a:lnTo>
                    <a:pt x="12906349" y="16327707"/>
                  </a:lnTo>
                  <a:lnTo>
                    <a:pt x="12911113" y="16332471"/>
                  </a:lnTo>
                  <a:lnTo>
                    <a:pt x="12934937" y="16337235"/>
                  </a:lnTo>
                  <a:lnTo>
                    <a:pt x="12953997" y="16351531"/>
                  </a:lnTo>
                  <a:lnTo>
                    <a:pt x="12963529" y="16356299"/>
                  </a:lnTo>
                  <a:lnTo>
                    <a:pt x="12963529" y="16351531"/>
                  </a:lnTo>
                  <a:lnTo>
                    <a:pt x="12958765" y="16346767"/>
                  </a:lnTo>
                  <a:lnTo>
                    <a:pt x="12949233" y="16337235"/>
                  </a:lnTo>
                  <a:lnTo>
                    <a:pt x="12949233" y="16332471"/>
                  </a:lnTo>
                  <a:lnTo>
                    <a:pt x="12953997" y="16308647"/>
                  </a:lnTo>
                  <a:lnTo>
                    <a:pt x="12963529" y="16299115"/>
                  </a:lnTo>
                  <a:lnTo>
                    <a:pt x="12968293" y="16294351"/>
                  </a:lnTo>
                  <a:lnTo>
                    <a:pt x="12949233" y="16294351"/>
                  </a:lnTo>
                  <a:lnTo>
                    <a:pt x="12934937" y="16289587"/>
                  </a:lnTo>
                  <a:lnTo>
                    <a:pt x="12930173" y="16275291"/>
                  </a:lnTo>
                  <a:lnTo>
                    <a:pt x="12930173" y="16256231"/>
                  </a:lnTo>
                  <a:lnTo>
                    <a:pt x="12934937" y="16246699"/>
                  </a:lnTo>
                  <a:lnTo>
                    <a:pt x="12944469" y="16227639"/>
                  </a:lnTo>
                  <a:lnTo>
                    <a:pt x="12958765" y="16218107"/>
                  </a:lnTo>
                  <a:lnTo>
                    <a:pt x="12968293" y="16222875"/>
                  </a:lnTo>
                  <a:lnTo>
                    <a:pt x="12987353" y="16237171"/>
                  </a:lnTo>
                  <a:lnTo>
                    <a:pt x="12996885" y="16232403"/>
                  </a:lnTo>
                  <a:lnTo>
                    <a:pt x="12996885" y="16227639"/>
                  </a:lnTo>
                  <a:lnTo>
                    <a:pt x="12977825" y="16203815"/>
                  </a:lnTo>
                  <a:lnTo>
                    <a:pt x="12973057" y="16189519"/>
                  </a:lnTo>
                  <a:lnTo>
                    <a:pt x="12973057" y="16179987"/>
                  </a:lnTo>
                  <a:lnTo>
                    <a:pt x="13006413" y="16103747"/>
                  </a:lnTo>
                  <a:lnTo>
                    <a:pt x="13025477" y="16060859"/>
                  </a:lnTo>
                  <a:lnTo>
                    <a:pt x="13044537" y="15994147"/>
                  </a:lnTo>
                  <a:lnTo>
                    <a:pt x="13054065" y="15984619"/>
                  </a:lnTo>
                  <a:lnTo>
                    <a:pt x="13063597" y="15965555"/>
                  </a:lnTo>
                  <a:lnTo>
                    <a:pt x="13068361" y="15960791"/>
                  </a:lnTo>
                  <a:lnTo>
                    <a:pt x="13082657" y="15960791"/>
                  </a:lnTo>
                  <a:lnTo>
                    <a:pt x="13092189" y="15956027"/>
                  </a:lnTo>
                  <a:lnTo>
                    <a:pt x="13077893" y="15951263"/>
                  </a:lnTo>
                  <a:lnTo>
                    <a:pt x="13073125" y="15946495"/>
                  </a:lnTo>
                  <a:lnTo>
                    <a:pt x="13073125" y="15936967"/>
                  </a:lnTo>
                  <a:lnTo>
                    <a:pt x="13077893" y="15932199"/>
                  </a:lnTo>
                  <a:lnTo>
                    <a:pt x="13082657" y="15927435"/>
                  </a:lnTo>
                  <a:lnTo>
                    <a:pt x="13096953" y="15917907"/>
                  </a:lnTo>
                  <a:lnTo>
                    <a:pt x="13111249" y="15898847"/>
                  </a:lnTo>
                  <a:lnTo>
                    <a:pt x="13116013" y="15879783"/>
                  </a:lnTo>
                  <a:lnTo>
                    <a:pt x="13116013" y="15870255"/>
                  </a:lnTo>
                  <a:lnTo>
                    <a:pt x="13111249" y="15865491"/>
                  </a:lnTo>
                  <a:lnTo>
                    <a:pt x="13116013" y="15860723"/>
                  </a:lnTo>
                  <a:lnTo>
                    <a:pt x="13120777" y="15855959"/>
                  </a:lnTo>
                  <a:lnTo>
                    <a:pt x="13144605" y="15832135"/>
                  </a:lnTo>
                  <a:lnTo>
                    <a:pt x="13149369" y="15827367"/>
                  </a:lnTo>
                  <a:lnTo>
                    <a:pt x="13158897" y="15794011"/>
                  </a:lnTo>
                  <a:lnTo>
                    <a:pt x="13168429" y="15779715"/>
                  </a:lnTo>
                  <a:lnTo>
                    <a:pt x="13177961" y="15774951"/>
                  </a:lnTo>
                  <a:lnTo>
                    <a:pt x="13192253" y="15765423"/>
                  </a:lnTo>
                  <a:lnTo>
                    <a:pt x="13244673" y="15741595"/>
                  </a:lnTo>
                  <a:lnTo>
                    <a:pt x="13273261" y="15722535"/>
                  </a:lnTo>
                  <a:lnTo>
                    <a:pt x="13292321" y="15722535"/>
                  </a:lnTo>
                  <a:lnTo>
                    <a:pt x="13297089" y="15736831"/>
                  </a:lnTo>
                  <a:lnTo>
                    <a:pt x="13325677" y="15746359"/>
                  </a:lnTo>
                  <a:lnTo>
                    <a:pt x="13330445" y="15736831"/>
                  </a:lnTo>
                  <a:lnTo>
                    <a:pt x="13320913" y="15722535"/>
                  </a:lnTo>
                  <a:lnTo>
                    <a:pt x="13325677" y="15717771"/>
                  </a:lnTo>
                  <a:close/>
                  <a:moveTo>
                    <a:pt x="2025178" y="15684415"/>
                  </a:moveTo>
                  <a:lnTo>
                    <a:pt x="2029944" y="15689179"/>
                  </a:lnTo>
                  <a:lnTo>
                    <a:pt x="2034709" y="15693943"/>
                  </a:lnTo>
                  <a:lnTo>
                    <a:pt x="2044239" y="15713003"/>
                  </a:lnTo>
                  <a:lnTo>
                    <a:pt x="2044239" y="15717771"/>
                  </a:lnTo>
                  <a:lnTo>
                    <a:pt x="2044239" y="15736831"/>
                  </a:lnTo>
                  <a:lnTo>
                    <a:pt x="2044239" y="15746359"/>
                  </a:lnTo>
                  <a:lnTo>
                    <a:pt x="2039474" y="15751127"/>
                  </a:lnTo>
                  <a:lnTo>
                    <a:pt x="2034709" y="15751127"/>
                  </a:lnTo>
                  <a:lnTo>
                    <a:pt x="2025178" y="15746359"/>
                  </a:lnTo>
                  <a:lnTo>
                    <a:pt x="2015648" y="15736831"/>
                  </a:lnTo>
                  <a:lnTo>
                    <a:pt x="2010883" y="15708239"/>
                  </a:lnTo>
                  <a:lnTo>
                    <a:pt x="2010883" y="15703475"/>
                  </a:lnTo>
                  <a:lnTo>
                    <a:pt x="2010883" y="15698711"/>
                  </a:lnTo>
                  <a:close/>
                  <a:moveTo>
                    <a:pt x="13387625" y="15612935"/>
                  </a:moveTo>
                  <a:lnTo>
                    <a:pt x="13387625" y="15631999"/>
                  </a:lnTo>
                  <a:lnTo>
                    <a:pt x="13373329" y="15641527"/>
                  </a:lnTo>
                  <a:lnTo>
                    <a:pt x="13368565" y="15641527"/>
                  </a:lnTo>
                  <a:lnTo>
                    <a:pt x="13368565" y="15636763"/>
                  </a:lnTo>
                  <a:lnTo>
                    <a:pt x="13368565" y="15627231"/>
                  </a:lnTo>
                  <a:lnTo>
                    <a:pt x="13378093" y="15617703"/>
                  </a:lnTo>
                  <a:close/>
                  <a:moveTo>
                    <a:pt x="9627940" y="15589111"/>
                  </a:moveTo>
                  <a:lnTo>
                    <a:pt x="9642235" y="15589111"/>
                  </a:lnTo>
                  <a:lnTo>
                    <a:pt x="9642235" y="15593879"/>
                  </a:lnTo>
                  <a:lnTo>
                    <a:pt x="9632705" y="15608171"/>
                  </a:lnTo>
                  <a:lnTo>
                    <a:pt x="9632705" y="15612939"/>
                  </a:lnTo>
                  <a:lnTo>
                    <a:pt x="9627940" y="15622467"/>
                  </a:lnTo>
                  <a:lnTo>
                    <a:pt x="9623174" y="15627231"/>
                  </a:lnTo>
                  <a:lnTo>
                    <a:pt x="9618409" y="15627231"/>
                  </a:lnTo>
                  <a:lnTo>
                    <a:pt x="9599349" y="15627231"/>
                  </a:lnTo>
                  <a:lnTo>
                    <a:pt x="9589818" y="15617703"/>
                  </a:lnTo>
                  <a:lnTo>
                    <a:pt x="9580288" y="15608171"/>
                  </a:lnTo>
                  <a:close/>
                  <a:moveTo>
                    <a:pt x="1548667" y="15574815"/>
                  </a:moveTo>
                  <a:lnTo>
                    <a:pt x="1562962" y="15589111"/>
                  </a:lnTo>
                  <a:lnTo>
                    <a:pt x="1558197" y="15622467"/>
                  </a:lnTo>
                  <a:lnTo>
                    <a:pt x="1548667" y="15617703"/>
                  </a:lnTo>
                  <a:lnTo>
                    <a:pt x="1548667" y="15608171"/>
                  </a:lnTo>
                  <a:lnTo>
                    <a:pt x="1543900" y="15589111"/>
                  </a:lnTo>
                  <a:lnTo>
                    <a:pt x="1548667" y="15579583"/>
                  </a:lnTo>
                  <a:close/>
                  <a:moveTo>
                    <a:pt x="1972762" y="15412803"/>
                  </a:moveTo>
                  <a:lnTo>
                    <a:pt x="1991823" y="15412803"/>
                  </a:lnTo>
                  <a:lnTo>
                    <a:pt x="1991823" y="15422331"/>
                  </a:lnTo>
                  <a:lnTo>
                    <a:pt x="1987058" y="15474747"/>
                  </a:lnTo>
                  <a:lnTo>
                    <a:pt x="1982293" y="15493811"/>
                  </a:lnTo>
                  <a:lnTo>
                    <a:pt x="1977528" y="15503339"/>
                  </a:lnTo>
                  <a:lnTo>
                    <a:pt x="1972762" y="15512871"/>
                  </a:lnTo>
                  <a:lnTo>
                    <a:pt x="1963232" y="15512871"/>
                  </a:lnTo>
                  <a:lnTo>
                    <a:pt x="1967997" y="15498575"/>
                  </a:lnTo>
                  <a:lnTo>
                    <a:pt x="1967997" y="15493811"/>
                  </a:lnTo>
                  <a:lnTo>
                    <a:pt x="1963232" y="15484279"/>
                  </a:lnTo>
                  <a:lnTo>
                    <a:pt x="1963232" y="15469983"/>
                  </a:lnTo>
                  <a:lnTo>
                    <a:pt x="1963232" y="15436627"/>
                  </a:lnTo>
                  <a:close/>
                  <a:moveTo>
                    <a:pt x="1839338" y="15403271"/>
                  </a:moveTo>
                  <a:lnTo>
                    <a:pt x="1844103" y="15408039"/>
                  </a:lnTo>
                  <a:lnTo>
                    <a:pt x="1848868" y="15408039"/>
                  </a:lnTo>
                  <a:lnTo>
                    <a:pt x="1877459" y="15441391"/>
                  </a:lnTo>
                  <a:lnTo>
                    <a:pt x="1882224" y="15460455"/>
                  </a:lnTo>
                  <a:lnTo>
                    <a:pt x="1886989" y="15484279"/>
                  </a:lnTo>
                  <a:lnTo>
                    <a:pt x="1882224" y="15493807"/>
                  </a:lnTo>
                  <a:lnTo>
                    <a:pt x="1858398" y="15465219"/>
                  </a:lnTo>
                  <a:lnTo>
                    <a:pt x="1853633" y="15455687"/>
                  </a:lnTo>
                  <a:lnTo>
                    <a:pt x="1834573" y="15427099"/>
                  </a:lnTo>
                  <a:lnTo>
                    <a:pt x="1834573" y="15412803"/>
                  </a:lnTo>
                  <a:lnTo>
                    <a:pt x="1834573" y="15408039"/>
                  </a:lnTo>
                  <a:close/>
                  <a:moveTo>
                    <a:pt x="1796452" y="15307967"/>
                  </a:moveTo>
                  <a:lnTo>
                    <a:pt x="1801217" y="15307967"/>
                  </a:lnTo>
                  <a:lnTo>
                    <a:pt x="1805982" y="15312735"/>
                  </a:lnTo>
                  <a:lnTo>
                    <a:pt x="1820278" y="15341323"/>
                  </a:lnTo>
                  <a:lnTo>
                    <a:pt x="1825043" y="15360383"/>
                  </a:lnTo>
                  <a:lnTo>
                    <a:pt x="1815513" y="15355619"/>
                  </a:lnTo>
                  <a:lnTo>
                    <a:pt x="1810748" y="15350855"/>
                  </a:lnTo>
                  <a:lnTo>
                    <a:pt x="1801217" y="15331795"/>
                  </a:lnTo>
                  <a:lnTo>
                    <a:pt x="1796452" y="15322263"/>
                  </a:lnTo>
                  <a:close/>
                  <a:moveTo>
                    <a:pt x="9318206" y="15298439"/>
                  </a:moveTo>
                  <a:lnTo>
                    <a:pt x="9351562" y="15303203"/>
                  </a:lnTo>
                  <a:lnTo>
                    <a:pt x="9384918" y="15346091"/>
                  </a:lnTo>
                  <a:lnTo>
                    <a:pt x="9408744" y="15374679"/>
                  </a:lnTo>
                  <a:lnTo>
                    <a:pt x="9418274" y="15398507"/>
                  </a:lnTo>
                  <a:lnTo>
                    <a:pt x="9418274" y="15412803"/>
                  </a:lnTo>
                  <a:lnTo>
                    <a:pt x="9413509" y="15422331"/>
                  </a:lnTo>
                  <a:lnTo>
                    <a:pt x="9399213" y="15422331"/>
                  </a:lnTo>
                  <a:lnTo>
                    <a:pt x="9370623" y="15417567"/>
                  </a:lnTo>
                  <a:lnTo>
                    <a:pt x="9356327" y="15412803"/>
                  </a:lnTo>
                  <a:lnTo>
                    <a:pt x="9313441" y="15393743"/>
                  </a:lnTo>
                  <a:lnTo>
                    <a:pt x="9241964" y="15365151"/>
                  </a:lnTo>
                  <a:lnTo>
                    <a:pt x="9213373" y="15355619"/>
                  </a:lnTo>
                  <a:lnTo>
                    <a:pt x="9208608" y="15341327"/>
                  </a:lnTo>
                  <a:lnTo>
                    <a:pt x="9222903" y="15322263"/>
                  </a:lnTo>
                  <a:lnTo>
                    <a:pt x="9227669" y="15312735"/>
                  </a:lnTo>
                  <a:lnTo>
                    <a:pt x="9237199" y="15307971"/>
                  </a:lnTo>
                  <a:close/>
                  <a:moveTo>
                    <a:pt x="1424773" y="15293675"/>
                  </a:moveTo>
                  <a:lnTo>
                    <a:pt x="1429539" y="15298439"/>
                  </a:lnTo>
                  <a:lnTo>
                    <a:pt x="1443834" y="15303203"/>
                  </a:lnTo>
                  <a:lnTo>
                    <a:pt x="1462894" y="15327031"/>
                  </a:lnTo>
                  <a:lnTo>
                    <a:pt x="1467660" y="15350855"/>
                  </a:lnTo>
                  <a:lnTo>
                    <a:pt x="1462894" y="15374683"/>
                  </a:lnTo>
                  <a:lnTo>
                    <a:pt x="1439068" y="15384211"/>
                  </a:lnTo>
                  <a:lnTo>
                    <a:pt x="1424773" y="15379447"/>
                  </a:lnTo>
                  <a:lnTo>
                    <a:pt x="1420006" y="15379447"/>
                  </a:lnTo>
                  <a:lnTo>
                    <a:pt x="1410477" y="15388975"/>
                  </a:lnTo>
                  <a:lnTo>
                    <a:pt x="1420006" y="15388975"/>
                  </a:lnTo>
                  <a:lnTo>
                    <a:pt x="1439068" y="15403271"/>
                  </a:lnTo>
                  <a:lnTo>
                    <a:pt x="1448598" y="15417567"/>
                  </a:lnTo>
                  <a:lnTo>
                    <a:pt x="1467660" y="15422331"/>
                  </a:lnTo>
                  <a:lnTo>
                    <a:pt x="1491484" y="15431863"/>
                  </a:lnTo>
                  <a:lnTo>
                    <a:pt x="1472424" y="15455687"/>
                  </a:lnTo>
                  <a:lnTo>
                    <a:pt x="1472424" y="15465219"/>
                  </a:lnTo>
                  <a:lnTo>
                    <a:pt x="1496248" y="15498575"/>
                  </a:lnTo>
                  <a:lnTo>
                    <a:pt x="1496248" y="15503339"/>
                  </a:lnTo>
                  <a:lnTo>
                    <a:pt x="1501015" y="15508103"/>
                  </a:lnTo>
                  <a:lnTo>
                    <a:pt x="1520074" y="15503339"/>
                  </a:lnTo>
                  <a:lnTo>
                    <a:pt x="1524840" y="15508103"/>
                  </a:lnTo>
                  <a:lnTo>
                    <a:pt x="1524840" y="15512871"/>
                  </a:lnTo>
                  <a:lnTo>
                    <a:pt x="1510545" y="15531931"/>
                  </a:lnTo>
                  <a:lnTo>
                    <a:pt x="1515310" y="15536695"/>
                  </a:lnTo>
                  <a:lnTo>
                    <a:pt x="1524840" y="15536695"/>
                  </a:lnTo>
                  <a:lnTo>
                    <a:pt x="1539136" y="15536695"/>
                  </a:lnTo>
                  <a:lnTo>
                    <a:pt x="1543900" y="15555755"/>
                  </a:lnTo>
                  <a:lnTo>
                    <a:pt x="1529605" y="15574815"/>
                  </a:lnTo>
                  <a:lnTo>
                    <a:pt x="1496248" y="15550991"/>
                  </a:lnTo>
                  <a:lnTo>
                    <a:pt x="1481953" y="15531931"/>
                  </a:lnTo>
                  <a:lnTo>
                    <a:pt x="1477189" y="15512871"/>
                  </a:lnTo>
                  <a:lnTo>
                    <a:pt x="1467660" y="15498575"/>
                  </a:lnTo>
                  <a:lnTo>
                    <a:pt x="1439068" y="15474747"/>
                  </a:lnTo>
                  <a:lnTo>
                    <a:pt x="1391416" y="15422331"/>
                  </a:lnTo>
                  <a:lnTo>
                    <a:pt x="1381887" y="15412803"/>
                  </a:lnTo>
                  <a:lnTo>
                    <a:pt x="1367592" y="15388975"/>
                  </a:lnTo>
                  <a:lnTo>
                    <a:pt x="1367592" y="15379447"/>
                  </a:lnTo>
                  <a:lnTo>
                    <a:pt x="1367592" y="15374683"/>
                  </a:lnTo>
                  <a:lnTo>
                    <a:pt x="1372356" y="15369915"/>
                  </a:lnTo>
                  <a:lnTo>
                    <a:pt x="1386651" y="15365151"/>
                  </a:lnTo>
                  <a:lnTo>
                    <a:pt x="1386651" y="15355619"/>
                  </a:lnTo>
                  <a:lnTo>
                    <a:pt x="1334235" y="15336559"/>
                  </a:lnTo>
                  <a:lnTo>
                    <a:pt x="1329470" y="15331795"/>
                  </a:lnTo>
                  <a:lnTo>
                    <a:pt x="1319941" y="15322263"/>
                  </a:lnTo>
                  <a:lnTo>
                    <a:pt x="1324705" y="15317499"/>
                  </a:lnTo>
                  <a:lnTo>
                    <a:pt x="1353297" y="15322263"/>
                  </a:lnTo>
                  <a:lnTo>
                    <a:pt x="1381887" y="15312735"/>
                  </a:lnTo>
                  <a:lnTo>
                    <a:pt x="1400949" y="15307971"/>
                  </a:lnTo>
                  <a:lnTo>
                    <a:pt x="1410477" y="15303203"/>
                  </a:lnTo>
                  <a:close/>
                  <a:moveTo>
                    <a:pt x="1872694" y="15284143"/>
                  </a:moveTo>
                  <a:lnTo>
                    <a:pt x="1882224" y="15284143"/>
                  </a:lnTo>
                  <a:lnTo>
                    <a:pt x="1896519" y="15298439"/>
                  </a:lnTo>
                  <a:lnTo>
                    <a:pt x="1915580" y="15307971"/>
                  </a:lnTo>
                  <a:lnTo>
                    <a:pt x="1934640" y="15327031"/>
                  </a:lnTo>
                  <a:lnTo>
                    <a:pt x="1944171" y="15369915"/>
                  </a:lnTo>
                  <a:lnTo>
                    <a:pt x="1953701" y="15455687"/>
                  </a:lnTo>
                  <a:lnTo>
                    <a:pt x="1953701" y="15479515"/>
                  </a:lnTo>
                  <a:lnTo>
                    <a:pt x="1944171" y="15498575"/>
                  </a:lnTo>
                  <a:lnTo>
                    <a:pt x="1934640" y="15527167"/>
                  </a:lnTo>
                  <a:lnTo>
                    <a:pt x="1925110" y="15536695"/>
                  </a:lnTo>
                  <a:lnTo>
                    <a:pt x="1915580" y="15522399"/>
                  </a:lnTo>
                  <a:lnTo>
                    <a:pt x="1915580" y="15493811"/>
                  </a:lnTo>
                  <a:lnTo>
                    <a:pt x="1915580" y="15469983"/>
                  </a:lnTo>
                  <a:lnTo>
                    <a:pt x="1910815" y="15460455"/>
                  </a:lnTo>
                  <a:lnTo>
                    <a:pt x="1915580" y="15417567"/>
                  </a:lnTo>
                  <a:lnTo>
                    <a:pt x="1910815" y="15422331"/>
                  </a:lnTo>
                  <a:lnTo>
                    <a:pt x="1901284" y="15441395"/>
                  </a:lnTo>
                  <a:lnTo>
                    <a:pt x="1891754" y="15441395"/>
                  </a:lnTo>
                  <a:lnTo>
                    <a:pt x="1872694" y="15417567"/>
                  </a:lnTo>
                  <a:lnTo>
                    <a:pt x="1863163" y="15403271"/>
                  </a:lnTo>
                  <a:lnTo>
                    <a:pt x="1858398" y="15384211"/>
                  </a:lnTo>
                  <a:lnTo>
                    <a:pt x="1848868" y="15365151"/>
                  </a:lnTo>
                  <a:lnTo>
                    <a:pt x="1848868" y="15360387"/>
                  </a:lnTo>
                  <a:lnTo>
                    <a:pt x="1848868" y="15350855"/>
                  </a:lnTo>
                  <a:lnTo>
                    <a:pt x="1858398" y="15331795"/>
                  </a:lnTo>
                  <a:lnTo>
                    <a:pt x="1863163" y="15317499"/>
                  </a:lnTo>
                  <a:lnTo>
                    <a:pt x="1867929" y="15293675"/>
                  </a:lnTo>
                  <a:close/>
                  <a:moveTo>
                    <a:pt x="1839339" y="15269847"/>
                  </a:moveTo>
                  <a:lnTo>
                    <a:pt x="1844104" y="15279379"/>
                  </a:lnTo>
                  <a:lnTo>
                    <a:pt x="1848869" y="15288907"/>
                  </a:lnTo>
                  <a:lnTo>
                    <a:pt x="1848869" y="15327031"/>
                  </a:lnTo>
                  <a:lnTo>
                    <a:pt x="1834573" y="15327031"/>
                  </a:lnTo>
                  <a:lnTo>
                    <a:pt x="1829808" y="15322263"/>
                  </a:lnTo>
                  <a:lnTo>
                    <a:pt x="1825043" y="15317499"/>
                  </a:lnTo>
                  <a:lnTo>
                    <a:pt x="1825043" y="15312735"/>
                  </a:lnTo>
                  <a:lnTo>
                    <a:pt x="1825043" y="15298439"/>
                  </a:lnTo>
                  <a:lnTo>
                    <a:pt x="1834573" y="15279379"/>
                  </a:lnTo>
                  <a:lnTo>
                    <a:pt x="1834573" y="15274615"/>
                  </a:lnTo>
                  <a:close/>
                  <a:moveTo>
                    <a:pt x="9518341" y="15260319"/>
                  </a:moveTo>
                  <a:lnTo>
                    <a:pt x="9532637" y="15265083"/>
                  </a:lnTo>
                  <a:lnTo>
                    <a:pt x="9537402" y="15274615"/>
                  </a:lnTo>
                  <a:lnTo>
                    <a:pt x="9537402" y="15284143"/>
                  </a:lnTo>
                  <a:lnTo>
                    <a:pt x="9527872" y="15284143"/>
                  </a:lnTo>
                  <a:lnTo>
                    <a:pt x="9518341" y="15279379"/>
                  </a:lnTo>
                  <a:lnTo>
                    <a:pt x="9518341" y="15269847"/>
                  </a:lnTo>
                  <a:lnTo>
                    <a:pt x="9513576" y="15265083"/>
                  </a:lnTo>
                  <a:close/>
                  <a:moveTo>
                    <a:pt x="1648733" y="15188839"/>
                  </a:moveTo>
                  <a:lnTo>
                    <a:pt x="1658267" y="15193607"/>
                  </a:lnTo>
                  <a:lnTo>
                    <a:pt x="1686857" y="15212667"/>
                  </a:lnTo>
                  <a:lnTo>
                    <a:pt x="1715447" y="15231727"/>
                  </a:lnTo>
                  <a:lnTo>
                    <a:pt x="1729742" y="15241259"/>
                  </a:lnTo>
                  <a:lnTo>
                    <a:pt x="1758332" y="15293675"/>
                  </a:lnTo>
                  <a:lnTo>
                    <a:pt x="1753567" y="15298439"/>
                  </a:lnTo>
                  <a:lnTo>
                    <a:pt x="1744037" y="15312735"/>
                  </a:lnTo>
                  <a:lnTo>
                    <a:pt x="1739273" y="15312735"/>
                  </a:lnTo>
                  <a:lnTo>
                    <a:pt x="1729742" y="15312735"/>
                  </a:lnTo>
                  <a:lnTo>
                    <a:pt x="1696387" y="15265083"/>
                  </a:lnTo>
                  <a:lnTo>
                    <a:pt x="1672562" y="15250787"/>
                  </a:lnTo>
                  <a:lnTo>
                    <a:pt x="1653500" y="15226963"/>
                  </a:lnTo>
                  <a:lnTo>
                    <a:pt x="1639204" y="15212667"/>
                  </a:lnTo>
                  <a:close/>
                  <a:moveTo>
                    <a:pt x="1648733" y="15069711"/>
                  </a:moveTo>
                  <a:lnTo>
                    <a:pt x="1658267" y="15069711"/>
                  </a:lnTo>
                  <a:lnTo>
                    <a:pt x="1672562" y="15079243"/>
                  </a:lnTo>
                  <a:lnTo>
                    <a:pt x="1672562" y="15084007"/>
                  </a:lnTo>
                  <a:lnTo>
                    <a:pt x="1682090" y="15103067"/>
                  </a:lnTo>
                  <a:lnTo>
                    <a:pt x="1677325" y="15112599"/>
                  </a:lnTo>
                  <a:lnTo>
                    <a:pt x="1667795" y="15126895"/>
                  </a:lnTo>
                  <a:lnTo>
                    <a:pt x="1658267" y="15136423"/>
                  </a:lnTo>
                  <a:lnTo>
                    <a:pt x="1658267" y="15131659"/>
                  </a:lnTo>
                  <a:lnTo>
                    <a:pt x="1643968" y="15131659"/>
                  </a:lnTo>
                  <a:lnTo>
                    <a:pt x="1634440" y="15117363"/>
                  </a:lnTo>
                  <a:lnTo>
                    <a:pt x="1629673" y="15107835"/>
                  </a:lnTo>
                  <a:lnTo>
                    <a:pt x="1620142" y="15107835"/>
                  </a:lnTo>
                  <a:lnTo>
                    <a:pt x="1620142" y="15112599"/>
                  </a:lnTo>
                  <a:lnTo>
                    <a:pt x="1620142" y="15122131"/>
                  </a:lnTo>
                  <a:lnTo>
                    <a:pt x="1620142" y="15131659"/>
                  </a:lnTo>
                  <a:lnTo>
                    <a:pt x="1620142" y="15136423"/>
                  </a:lnTo>
                  <a:lnTo>
                    <a:pt x="1615378" y="15131659"/>
                  </a:lnTo>
                  <a:lnTo>
                    <a:pt x="1610614" y="15131659"/>
                  </a:lnTo>
                  <a:lnTo>
                    <a:pt x="1610614" y="15122131"/>
                  </a:lnTo>
                  <a:lnTo>
                    <a:pt x="1610614" y="15112599"/>
                  </a:lnTo>
                  <a:lnTo>
                    <a:pt x="1610614" y="15107835"/>
                  </a:lnTo>
                  <a:lnTo>
                    <a:pt x="1620142" y="15093539"/>
                  </a:lnTo>
                  <a:lnTo>
                    <a:pt x="1643968" y="15074479"/>
                  </a:lnTo>
                  <a:close/>
                  <a:moveTo>
                    <a:pt x="1243698" y="15050651"/>
                  </a:moveTo>
                  <a:lnTo>
                    <a:pt x="1253228" y="15050651"/>
                  </a:lnTo>
                  <a:lnTo>
                    <a:pt x="1267525" y="15055419"/>
                  </a:lnTo>
                  <a:lnTo>
                    <a:pt x="1305645" y="15060183"/>
                  </a:lnTo>
                  <a:lnTo>
                    <a:pt x="1319941" y="15074479"/>
                  </a:lnTo>
                  <a:lnTo>
                    <a:pt x="1353297" y="15064947"/>
                  </a:lnTo>
                  <a:lnTo>
                    <a:pt x="1358061" y="15064947"/>
                  </a:lnTo>
                  <a:lnTo>
                    <a:pt x="1367592" y="15074479"/>
                  </a:lnTo>
                  <a:lnTo>
                    <a:pt x="1372356" y="15084007"/>
                  </a:lnTo>
                  <a:lnTo>
                    <a:pt x="1381888" y="15103067"/>
                  </a:lnTo>
                  <a:lnTo>
                    <a:pt x="1381888" y="15126895"/>
                  </a:lnTo>
                  <a:lnTo>
                    <a:pt x="1381888" y="15131659"/>
                  </a:lnTo>
                  <a:lnTo>
                    <a:pt x="1372356" y="15141191"/>
                  </a:lnTo>
                  <a:lnTo>
                    <a:pt x="1319941" y="15174547"/>
                  </a:lnTo>
                  <a:lnTo>
                    <a:pt x="1319941" y="15179311"/>
                  </a:lnTo>
                  <a:lnTo>
                    <a:pt x="1319941" y="15184075"/>
                  </a:lnTo>
                  <a:lnTo>
                    <a:pt x="1324705" y="15184075"/>
                  </a:lnTo>
                  <a:lnTo>
                    <a:pt x="1334235" y="15184075"/>
                  </a:lnTo>
                  <a:lnTo>
                    <a:pt x="1377121" y="15179311"/>
                  </a:lnTo>
                  <a:lnTo>
                    <a:pt x="1381888" y="15169779"/>
                  </a:lnTo>
                  <a:lnTo>
                    <a:pt x="1381888" y="15145955"/>
                  </a:lnTo>
                  <a:lnTo>
                    <a:pt x="1391416" y="15131659"/>
                  </a:lnTo>
                  <a:lnTo>
                    <a:pt x="1391416" y="15122127"/>
                  </a:lnTo>
                  <a:lnTo>
                    <a:pt x="1386651" y="15093539"/>
                  </a:lnTo>
                  <a:lnTo>
                    <a:pt x="1386651" y="15084007"/>
                  </a:lnTo>
                  <a:lnTo>
                    <a:pt x="1415244" y="15084007"/>
                  </a:lnTo>
                  <a:lnTo>
                    <a:pt x="1434303" y="15074479"/>
                  </a:lnTo>
                  <a:lnTo>
                    <a:pt x="1453363" y="15055419"/>
                  </a:lnTo>
                  <a:lnTo>
                    <a:pt x="1458129" y="15055419"/>
                  </a:lnTo>
                  <a:lnTo>
                    <a:pt x="1458129" y="15088775"/>
                  </a:lnTo>
                  <a:lnTo>
                    <a:pt x="1453363" y="15098303"/>
                  </a:lnTo>
                  <a:lnTo>
                    <a:pt x="1434303" y="15136423"/>
                  </a:lnTo>
                  <a:lnTo>
                    <a:pt x="1424773" y="15169779"/>
                  </a:lnTo>
                  <a:lnTo>
                    <a:pt x="1420008" y="15203135"/>
                  </a:lnTo>
                  <a:lnTo>
                    <a:pt x="1420008" y="15255551"/>
                  </a:lnTo>
                  <a:lnTo>
                    <a:pt x="1415244" y="15274615"/>
                  </a:lnTo>
                  <a:lnTo>
                    <a:pt x="1405711" y="15288907"/>
                  </a:lnTo>
                  <a:lnTo>
                    <a:pt x="1353297" y="15307967"/>
                  </a:lnTo>
                  <a:lnTo>
                    <a:pt x="1324705" y="15303203"/>
                  </a:lnTo>
                  <a:lnTo>
                    <a:pt x="1300879" y="15288907"/>
                  </a:lnTo>
                  <a:lnTo>
                    <a:pt x="1291350" y="15274615"/>
                  </a:lnTo>
                  <a:lnTo>
                    <a:pt x="1300879" y="15260319"/>
                  </a:lnTo>
                  <a:lnTo>
                    <a:pt x="1305645" y="15260319"/>
                  </a:lnTo>
                  <a:lnTo>
                    <a:pt x="1319941" y="15260319"/>
                  </a:lnTo>
                  <a:lnTo>
                    <a:pt x="1334235" y="15269847"/>
                  </a:lnTo>
                  <a:lnTo>
                    <a:pt x="1339002" y="15269847"/>
                  </a:lnTo>
                  <a:lnTo>
                    <a:pt x="1339002" y="15265083"/>
                  </a:lnTo>
                  <a:lnTo>
                    <a:pt x="1300879" y="15236491"/>
                  </a:lnTo>
                  <a:lnTo>
                    <a:pt x="1277055" y="15222195"/>
                  </a:lnTo>
                  <a:lnTo>
                    <a:pt x="1267525" y="15207903"/>
                  </a:lnTo>
                  <a:lnTo>
                    <a:pt x="1267525" y="15198371"/>
                  </a:lnTo>
                  <a:lnTo>
                    <a:pt x="1262760" y="15193607"/>
                  </a:lnTo>
                  <a:lnTo>
                    <a:pt x="1243698" y="15150719"/>
                  </a:lnTo>
                  <a:lnTo>
                    <a:pt x="1238933" y="15136423"/>
                  </a:lnTo>
                  <a:lnTo>
                    <a:pt x="1234170" y="15112599"/>
                  </a:lnTo>
                  <a:lnTo>
                    <a:pt x="1234170" y="15093539"/>
                  </a:lnTo>
                  <a:lnTo>
                    <a:pt x="1238933" y="15055419"/>
                  </a:lnTo>
                  <a:close/>
                  <a:moveTo>
                    <a:pt x="1577257" y="14926759"/>
                  </a:moveTo>
                  <a:lnTo>
                    <a:pt x="1596319" y="14926759"/>
                  </a:lnTo>
                  <a:lnTo>
                    <a:pt x="1601083" y="14926759"/>
                  </a:lnTo>
                  <a:lnTo>
                    <a:pt x="1601083" y="14931523"/>
                  </a:lnTo>
                  <a:lnTo>
                    <a:pt x="1601083" y="14941055"/>
                  </a:lnTo>
                  <a:lnTo>
                    <a:pt x="1591553" y="14945819"/>
                  </a:lnTo>
                  <a:lnTo>
                    <a:pt x="1572492" y="14964879"/>
                  </a:lnTo>
                  <a:lnTo>
                    <a:pt x="1567729" y="14960115"/>
                  </a:lnTo>
                  <a:lnTo>
                    <a:pt x="1572492" y="14950583"/>
                  </a:lnTo>
                  <a:close/>
                  <a:moveTo>
                    <a:pt x="1686857" y="14817159"/>
                  </a:moveTo>
                  <a:lnTo>
                    <a:pt x="1686857" y="14836220"/>
                  </a:lnTo>
                  <a:lnTo>
                    <a:pt x="1663030" y="14874340"/>
                  </a:lnTo>
                  <a:lnTo>
                    <a:pt x="1634440" y="14893403"/>
                  </a:lnTo>
                  <a:lnTo>
                    <a:pt x="1629673" y="14888636"/>
                  </a:lnTo>
                  <a:lnTo>
                    <a:pt x="1643969" y="14869575"/>
                  </a:lnTo>
                  <a:lnTo>
                    <a:pt x="1672562" y="14840985"/>
                  </a:lnTo>
                  <a:close/>
                  <a:moveTo>
                    <a:pt x="12482249" y="14507426"/>
                  </a:moveTo>
                  <a:lnTo>
                    <a:pt x="12487017" y="14512191"/>
                  </a:lnTo>
                  <a:lnTo>
                    <a:pt x="12501313" y="14521721"/>
                  </a:lnTo>
                  <a:lnTo>
                    <a:pt x="12501313" y="14526486"/>
                  </a:lnTo>
                  <a:lnTo>
                    <a:pt x="12496545" y="14536017"/>
                  </a:lnTo>
                  <a:lnTo>
                    <a:pt x="12496545" y="14545547"/>
                  </a:lnTo>
                  <a:lnTo>
                    <a:pt x="12472721" y="14540782"/>
                  </a:lnTo>
                  <a:lnTo>
                    <a:pt x="12463189" y="14536017"/>
                  </a:lnTo>
                  <a:lnTo>
                    <a:pt x="12463189" y="14531252"/>
                  </a:lnTo>
                  <a:lnTo>
                    <a:pt x="12463189" y="14521721"/>
                  </a:lnTo>
                  <a:lnTo>
                    <a:pt x="12467957" y="14516956"/>
                  </a:lnTo>
                  <a:close/>
                  <a:moveTo>
                    <a:pt x="9728007" y="14426419"/>
                  </a:moveTo>
                  <a:lnTo>
                    <a:pt x="9732772" y="14426419"/>
                  </a:lnTo>
                  <a:lnTo>
                    <a:pt x="9737537" y="14459775"/>
                  </a:lnTo>
                  <a:lnTo>
                    <a:pt x="9732772" y="14474070"/>
                  </a:lnTo>
                  <a:lnTo>
                    <a:pt x="9728007" y="14488365"/>
                  </a:lnTo>
                  <a:lnTo>
                    <a:pt x="9718477" y="14497896"/>
                  </a:lnTo>
                  <a:lnTo>
                    <a:pt x="9708946" y="14507426"/>
                  </a:lnTo>
                  <a:lnTo>
                    <a:pt x="9704181" y="14512191"/>
                  </a:lnTo>
                  <a:lnTo>
                    <a:pt x="9694651" y="14512191"/>
                  </a:lnTo>
                  <a:lnTo>
                    <a:pt x="9699416" y="14502661"/>
                  </a:lnTo>
                  <a:lnTo>
                    <a:pt x="9704181" y="14483600"/>
                  </a:lnTo>
                  <a:lnTo>
                    <a:pt x="9708946" y="14469305"/>
                  </a:lnTo>
                  <a:lnTo>
                    <a:pt x="9708946" y="14455010"/>
                  </a:lnTo>
                  <a:lnTo>
                    <a:pt x="9713711" y="14440714"/>
                  </a:lnTo>
                  <a:lnTo>
                    <a:pt x="9718477" y="14431184"/>
                  </a:lnTo>
                  <a:close/>
                  <a:moveTo>
                    <a:pt x="9594583" y="14416888"/>
                  </a:moveTo>
                  <a:lnTo>
                    <a:pt x="9585053" y="14440714"/>
                  </a:lnTo>
                  <a:lnTo>
                    <a:pt x="9575523" y="14455009"/>
                  </a:lnTo>
                  <a:lnTo>
                    <a:pt x="9532636" y="14493130"/>
                  </a:lnTo>
                  <a:lnTo>
                    <a:pt x="9523106" y="14493130"/>
                  </a:lnTo>
                  <a:lnTo>
                    <a:pt x="9513576" y="14488365"/>
                  </a:lnTo>
                  <a:lnTo>
                    <a:pt x="9518341" y="14469304"/>
                  </a:lnTo>
                  <a:lnTo>
                    <a:pt x="9527871" y="14459774"/>
                  </a:lnTo>
                  <a:lnTo>
                    <a:pt x="9546932" y="14450244"/>
                  </a:lnTo>
                  <a:lnTo>
                    <a:pt x="9551697" y="14445479"/>
                  </a:lnTo>
                  <a:lnTo>
                    <a:pt x="9556462" y="14440714"/>
                  </a:lnTo>
                  <a:lnTo>
                    <a:pt x="9565992" y="14440714"/>
                  </a:lnTo>
                  <a:lnTo>
                    <a:pt x="9575523" y="14435948"/>
                  </a:lnTo>
                  <a:lnTo>
                    <a:pt x="9589818" y="14421653"/>
                  </a:lnTo>
                  <a:close/>
                  <a:moveTo>
                    <a:pt x="9642235" y="14378767"/>
                  </a:moveTo>
                  <a:lnTo>
                    <a:pt x="9642235" y="14388297"/>
                  </a:lnTo>
                  <a:lnTo>
                    <a:pt x="9651766" y="14393062"/>
                  </a:lnTo>
                  <a:lnTo>
                    <a:pt x="9656531" y="14397828"/>
                  </a:lnTo>
                  <a:lnTo>
                    <a:pt x="9661296" y="14402593"/>
                  </a:lnTo>
                  <a:lnTo>
                    <a:pt x="9666061" y="14416888"/>
                  </a:lnTo>
                  <a:lnTo>
                    <a:pt x="9670826" y="14421653"/>
                  </a:lnTo>
                  <a:lnTo>
                    <a:pt x="9685122" y="14426418"/>
                  </a:lnTo>
                  <a:lnTo>
                    <a:pt x="9689887" y="14431183"/>
                  </a:lnTo>
                  <a:lnTo>
                    <a:pt x="9694652" y="14445479"/>
                  </a:lnTo>
                  <a:lnTo>
                    <a:pt x="9689887" y="14450244"/>
                  </a:lnTo>
                  <a:lnTo>
                    <a:pt x="9694652" y="14455009"/>
                  </a:lnTo>
                  <a:lnTo>
                    <a:pt x="9699417" y="14459774"/>
                  </a:lnTo>
                  <a:lnTo>
                    <a:pt x="9694652" y="14474070"/>
                  </a:lnTo>
                  <a:lnTo>
                    <a:pt x="9680356" y="14502660"/>
                  </a:lnTo>
                  <a:lnTo>
                    <a:pt x="9670826" y="14531251"/>
                  </a:lnTo>
                  <a:lnTo>
                    <a:pt x="9656531" y="14578902"/>
                  </a:lnTo>
                  <a:lnTo>
                    <a:pt x="9647001" y="14583667"/>
                  </a:lnTo>
                  <a:lnTo>
                    <a:pt x="9642235" y="14569372"/>
                  </a:lnTo>
                  <a:lnTo>
                    <a:pt x="9661296" y="14512191"/>
                  </a:lnTo>
                  <a:lnTo>
                    <a:pt x="9661296" y="14502660"/>
                  </a:lnTo>
                  <a:lnTo>
                    <a:pt x="9661296" y="14497895"/>
                  </a:lnTo>
                  <a:lnTo>
                    <a:pt x="9656531" y="14488365"/>
                  </a:lnTo>
                  <a:lnTo>
                    <a:pt x="9647001" y="14497895"/>
                  </a:lnTo>
                  <a:lnTo>
                    <a:pt x="9618410" y="14564607"/>
                  </a:lnTo>
                  <a:lnTo>
                    <a:pt x="9613645" y="14578902"/>
                  </a:lnTo>
                  <a:lnTo>
                    <a:pt x="9604114" y="14583667"/>
                  </a:lnTo>
                  <a:lnTo>
                    <a:pt x="9599349" y="14583667"/>
                  </a:lnTo>
                  <a:lnTo>
                    <a:pt x="9589819" y="14583667"/>
                  </a:lnTo>
                  <a:lnTo>
                    <a:pt x="9561228" y="14602728"/>
                  </a:lnTo>
                  <a:lnTo>
                    <a:pt x="9604114" y="14521721"/>
                  </a:lnTo>
                  <a:lnTo>
                    <a:pt x="9604114" y="14516956"/>
                  </a:lnTo>
                  <a:lnTo>
                    <a:pt x="9599349" y="14512191"/>
                  </a:lnTo>
                  <a:lnTo>
                    <a:pt x="9594584" y="14516956"/>
                  </a:lnTo>
                  <a:lnTo>
                    <a:pt x="9561228" y="14564607"/>
                  </a:lnTo>
                  <a:lnTo>
                    <a:pt x="9542168" y="14583667"/>
                  </a:lnTo>
                  <a:lnTo>
                    <a:pt x="9527872" y="14578902"/>
                  </a:lnTo>
                  <a:lnTo>
                    <a:pt x="9523107" y="14574137"/>
                  </a:lnTo>
                  <a:lnTo>
                    <a:pt x="9527872" y="14569372"/>
                  </a:lnTo>
                  <a:lnTo>
                    <a:pt x="9561228" y="14516956"/>
                  </a:lnTo>
                  <a:lnTo>
                    <a:pt x="9589819" y="14478835"/>
                  </a:lnTo>
                  <a:lnTo>
                    <a:pt x="9604114" y="14455009"/>
                  </a:lnTo>
                  <a:lnTo>
                    <a:pt x="9608879" y="14435949"/>
                  </a:lnTo>
                  <a:lnTo>
                    <a:pt x="9608879" y="14421653"/>
                  </a:lnTo>
                  <a:lnTo>
                    <a:pt x="9608879" y="14402593"/>
                  </a:lnTo>
                  <a:lnTo>
                    <a:pt x="9613645" y="14397828"/>
                  </a:lnTo>
                  <a:lnTo>
                    <a:pt x="9613645" y="14402593"/>
                  </a:lnTo>
                  <a:lnTo>
                    <a:pt x="9613645" y="14421653"/>
                  </a:lnTo>
                  <a:lnTo>
                    <a:pt x="9608879" y="14459774"/>
                  </a:lnTo>
                  <a:lnTo>
                    <a:pt x="9604114" y="14478835"/>
                  </a:lnTo>
                  <a:lnTo>
                    <a:pt x="9594584" y="14493130"/>
                  </a:lnTo>
                  <a:lnTo>
                    <a:pt x="9599349" y="14497895"/>
                  </a:lnTo>
                  <a:lnTo>
                    <a:pt x="9613645" y="14488365"/>
                  </a:lnTo>
                  <a:lnTo>
                    <a:pt x="9623175" y="14469304"/>
                  </a:lnTo>
                  <a:lnTo>
                    <a:pt x="9627940" y="14440714"/>
                  </a:lnTo>
                  <a:lnTo>
                    <a:pt x="9637470" y="14416888"/>
                  </a:lnTo>
                  <a:close/>
                  <a:moveTo>
                    <a:pt x="9594583" y="14321586"/>
                  </a:moveTo>
                  <a:lnTo>
                    <a:pt x="9604114" y="14331116"/>
                  </a:lnTo>
                  <a:lnTo>
                    <a:pt x="9604114" y="14340646"/>
                  </a:lnTo>
                  <a:lnTo>
                    <a:pt x="9608879" y="14345412"/>
                  </a:lnTo>
                  <a:lnTo>
                    <a:pt x="9608879" y="14354942"/>
                  </a:lnTo>
                  <a:lnTo>
                    <a:pt x="9604114" y="14359707"/>
                  </a:lnTo>
                  <a:lnTo>
                    <a:pt x="9604114" y="14364472"/>
                  </a:lnTo>
                  <a:lnTo>
                    <a:pt x="9594583" y="14369237"/>
                  </a:lnTo>
                  <a:lnTo>
                    <a:pt x="9594583" y="14364472"/>
                  </a:lnTo>
                  <a:lnTo>
                    <a:pt x="9599348" y="14340646"/>
                  </a:lnTo>
                  <a:lnTo>
                    <a:pt x="9594583" y="14331116"/>
                  </a:lnTo>
                  <a:lnTo>
                    <a:pt x="9589818" y="14326351"/>
                  </a:lnTo>
                  <a:lnTo>
                    <a:pt x="9594583" y="14326351"/>
                  </a:lnTo>
                  <a:close/>
                  <a:moveTo>
                    <a:pt x="9542167" y="14302525"/>
                  </a:moveTo>
                  <a:lnTo>
                    <a:pt x="9546932" y="14302525"/>
                  </a:lnTo>
                  <a:lnTo>
                    <a:pt x="9551697" y="14312055"/>
                  </a:lnTo>
                  <a:lnTo>
                    <a:pt x="9551697" y="14316820"/>
                  </a:lnTo>
                  <a:lnTo>
                    <a:pt x="9546932" y="14331116"/>
                  </a:lnTo>
                  <a:lnTo>
                    <a:pt x="9542167" y="14335881"/>
                  </a:lnTo>
                  <a:lnTo>
                    <a:pt x="9537402" y="14331116"/>
                  </a:lnTo>
                  <a:lnTo>
                    <a:pt x="9537402" y="14316820"/>
                  </a:lnTo>
                  <a:close/>
                  <a:moveTo>
                    <a:pt x="12363121" y="14097625"/>
                  </a:moveTo>
                  <a:lnTo>
                    <a:pt x="12377417" y="14107155"/>
                  </a:lnTo>
                  <a:lnTo>
                    <a:pt x="12391713" y="14111920"/>
                  </a:lnTo>
                  <a:lnTo>
                    <a:pt x="12396481" y="14145276"/>
                  </a:lnTo>
                  <a:lnTo>
                    <a:pt x="12372653" y="14145276"/>
                  </a:lnTo>
                  <a:lnTo>
                    <a:pt x="12344061" y="14121450"/>
                  </a:lnTo>
                  <a:lnTo>
                    <a:pt x="12334533" y="14107155"/>
                  </a:lnTo>
                  <a:lnTo>
                    <a:pt x="12339297" y="14102390"/>
                  </a:lnTo>
                  <a:lnTo>
                    <a:pt x="12348829" y="14107155"/>
                  </a:lnTo>
                  <a:lnTo>
                    <a:pt x="12353593" y="14102390"/>
                  </a:lnTo>
                  <a:close/>
                  <a:moveTo>
                    <a:pt x="9565993" y="14088095"/>
                  </a:moveTo>
                  <a:lnTo>
                    <a:pt x="9570758" y="14092860"/>
                  </a:lnTo>
                  <a:lnTo>
                    <a:pt x="9570758" y="14107155"/>
                  </a:lnTo>
                  <a:lnTo>
                    <a:pt x="9570758" y="14116686"/>
                  </a:lnTo>
                  <a:lnTo>
                    <a:pt x="9570758" y="14121451"/>
                  </a:lnTo>
                  <a:lnTo>
                    <a:pt x="9561228" y="14116686"/>
                  </a:lnTo>
                  <a:lnTo>
                    <a:pt x="9561228" y="14135746"/>
                  </a:lnTo>
                  <a:lnTo>
                    <a:pt x="9556462" y="14135746"/>
                  </a:lnTo>
                  <a:lnTo>
                    <a:pt x="9551697" y="14126216"/>
                  </a:lnTo>
                  <a:lnTo>
                    <a:pt x="9556462" y="14116686"/>
                  </a:lnTo>
                  <a:lnTo>
                    <a:pt x="9556462" y="14107155"/>
                  </a:lnTo>
                  <a:lnTo>
                    <a:pt x="9556462" y="14102390"/>
                  </a:lnTo>
                  <a:lnTo>
                    <a:pt x="9561228" y="14092860"/>
                  </a:lnTo>
                  <a:close/>
                  <a:moveTo>
                    <a:pt x="11195665" y="13630643"/>
                  </a:moveTo>
                  <a:lnTo>
                    <a:pt x="11214725" y="13630643"/>
                  </a:lnTo>
                  <a:lnTo>
                    <a:pt x="11214725" y="13649704"/>
                  </a:lnTo>
                  <a:lnTo>
                    <a:pt x="11214725" y="13654469"/>
                  </a:lnTo>
                  <a:lnTo>
                    <a:pt x="11219493" y="13654469"/>
                  </a:lnTo>
                  <a:lnTo>
                    <a:pt x="11219493" y="13663999"/>
                  </a:lnTo>
                  <a:lnTo>
                    <a:pt x="11209961" y="13687825"/>
                  </a:lnTo>
                  <a:lnTo>
                    <a:pt x="11195665" y="13683060"/>
                  </a:lnTo>
                  <a:lnTo>
                    <a:pt x="11195665" y="13687825"/>
                  </a:lnTo>
                  <a:lnTo>
                    <a:pt x="11190901" y="13687825"/>
                  </a:lnTo>
                  <a:lnTo>
                    <a:pt x="11195665" y="13668764"/>
                  </a:lnTo>
                  <a:lnTo>
                    <a:pt x="11195665" y="13654469"/>
                  </a:lnTo>
                  <a:lnTo>
                    <a:pt x="11195665" y="13640173"/>
                  </a:lnTo>
                  <a:close/>
                  <a:moveTo>
                    <a:pt x="9494516" y="13454333"/>
                  </a:moveTo>
                  <a:lnTo>
                    <a:pt x="9499281" y="13459098"/>
                  </a:lnTo>
                  <a:lnTo>
                    <a:pt x="9499281" y="13468628"/>
                  </a:lnTo>
                  <a:lnTo>
                    <a:pt x="9489751" y="13478159"/>
                  </a:lnTo>
                  <a:lnTo>
                    <a:pt x="9480220" y="13482924"/>
                  </a:lnTo>
                  <a:lnTo>
                    <a:pt x="9475455" y="13487689"/>
                  </a:lnTo>
                  <a:lnTo>
                    <a:pt x="9475455" y="13482924"/>
                  </a:lnTo>
                  <a:lnTo>
                    <a:pt x="9480220" y="13468628"/>
                  </a:lnTo>
                  <a:lnTo>
                    <a:pt x="9484985" y="13468628"/>
                  </a:lnTo>
                  <a:close/>
                  <a:moveTo>
                    <a:pt x="9518341" y="13406682"/>
                  </a:moveTo>
                  <a:lnTo>
                    <a:pt x="9532637" y="13406682"/>
                  </a:lnTo>
                  <a:lnTo>
                    <a:pt x="9542167" y="13416212"/>
                  </a:lnTo>
                  <a:lnTo>
                    <a:pt x="9532637" y="13425743"/>
                  </a:lnTo>
                  <a:lnTo>
                    <a:pt x="9518341" y="13440038"/>
                  </a:lnTo>
                  <a:lnTo>
                    <a:pt x="9499281" y="13440038"/>
                  </a:lnTo>
                  <a:lnTo>
                    <a:pt x="9508811" y="13420977"/>
                  </a:lnTo>
                  <a:lnTo>
                    <a:pt x="9513576" y="13416212"/>
                  </a:lnTo>
                  <a:close/>
                  <a:moveTo>
                    <a:pt x="11905669" y="13206546"/>
                  </a:moveTo>
                  <a:lnTo>
                    <a:pt x="11924729" y="13206546"/>
                  </a:lnTo>
                  <a:lnTo>
                    <a:pt x="11943793" y="13230372"/>
                  </a:lnTo>
                  <a:lnTo>
                    <a:pt x="11948557" y="13230372"/>
                  </a:lnTo>
                  <a:lnTo>
                    <a:pt x="11962853" y="13254197"/>
                  </a:lnTo>
                  <a:lnTo>
                    <a:pt x="11958085" y="13273258"/>
                  </a:lnTo>
                  <a:lnTo>
                    <a:pt x="11939025" y="13268493"/>
                  </a:lnTo>
                  <a:lnTo>
                    <a:pt x="11910437" y="13249432"/>
                  </a:lnTo>
                  <a:lnTo>
                    <a:pt x="11900905" y="13239902"/>
                  </a:lnTo>
                  <a:lnTo>
                    <a:pt x="11896141" y="13225607"/>
                  </a:lnTo>
                  <a:lnTo>
                    <a:pt x="11896141" y="13211311"/>
                  </a:lnTo>
                  <a:close/>
                  <a:moveTo>
                    <a:pt x="11386273" y="13182721"/>
                  </a:moveTo>
                  <a:lnTo>
                    <a:pt x="11405333" y="13187486"/>
                  </a:lnTo>
                  <a:lnTo>
                    <a:pt x="11414861" y="13197016"/>
                  </a:lnTo>
                  <a:lnTo>
                    <a:pt x="11424393" y="13216077"/>
                  </a:lnTo>
                  <a:lnTo>
                    <a:pt x="11429157" y="13225607"/>
                  </a:lnTo>
                  <a:lnTo>
                    <a:pt x="11424393" y="13244668"/>
                  </a:lnTo>
                  <a:lnTo>
                    <a:pt x="11414861" y="13263728"/>
                  </a:lnTo>
                  <a:lnTo>
                    <a:pt x="11400565" y="13273258"/>
                  </a:lnTo>
                  <a:lnTo>
                    <a:pt x="11362445" y="13292319"/>
                  </a:lnTo>
                  <a:lnTo>
                    <a:pt x="11352917" y="13297084"/>
                  </a:lnTo>
                  <a:lnTo>
                    <a:pt x="11343385" y="13287554"/>
                  </a:lnTo>
                  <a:lnTo>
                    <a:pt x="11343385" y="13268493"/>
                  </a:lnTo>
                  <a:lnTo>
                    <a:pt x="11348149" y="13254198"/>
                  </a:lnTo>
                  <a:lnTo>
                    <a:pt x="11362445" y="13225607"/>
                  </a:lnTo>
                  <a:lnTo>
                    <a:pt x="11376741" y="13192251"/>
                  </a:lnTo>
                  <a:close/>
                  <a:moveTo>
                    <a:pt x="9775658" y="13111244"/>
                  </a:moveTo>
                  <a:lnTo>
                    <a:pt x="9799484" y="13111244"/>
                  </a:lnTo>
                  <a:lnTo>
                    <a:pt x="9794719" y="13120774"/>
                  </a:lnTo>
                  <a:lnTo>
                    <a:pt x="9780423" y="13130305"/>
                  </a:lnTo>
                  <a:lnTo>
                    <a:pt x="9756598" y="13139835"/>
                  </a:lnTo>
                  <a:lnTo>
                    <a:pt x="9732772" y="13139835"/>
                  </a:lnTo>
                  <a:lnTo>
                    <a:pt x="9732772" y="13135070"/>
                  </a:lnTo>
                  <a:lnTo>
                    <a:pt x="9742302" y="13125540"/>
                  </a:lnTo>
                  <a:close/>
                  <a:moveTo>
                    <a:pt x="11848489" y="12830101"/>
                  </a:moveTo>
                  <a:lnTo>
                    <a:pt x="11877077" y="12830101"/>
                  </a:lnTo>
                  <a:lnTo>
                    <a:pt x="11900905" y="12834866"/>
                  </a:lnTo>
                  <a:lnTo>
                    <a:pt x="11905669" y="12844396"/>
                  </a:lnTo>
                  <a:lnTo>
                    <a:pt x="11919965" y="12858692"/>
                  </a:lnTo>
                  <a:lnTo>
                    <a:pt x="11915201" y="12877752"/>
                  </a:lnTo>
                  <a:lnTo>
                    <a:pt x="11915201" y="12896813"/>
                  </a:lnTo>
                  <a:lnTo>
                    <a:pt x="11910433" y="12911108"/>
                  </a:lnTo>
                  <a:lnTo>
                    <a:pt x="11900905" y="12915873"/>
                  </a:lnTo>
                  <a:lnTo>
                    <a:pt x="11896141" y="12930169"/>
                  </a:lnTo>
                  <a:lnTo>
                    <a:pt x="11891373" y="12934934"/>
                  </a:lnTo>
                  <a:lnTo>
                    <a:pt x="11886609" y="12934934"/>
                  </a:lnTo>
                  <a:lnTo>
                    <a:pt x="11877077" y="12915873"/>
                  </a:lnTo>
                  <a:lnTo>
                    <a:pt x="11862785" y="12911108"/>
                  </a:lnTo>
                  <a:lnTo>
                    <a:pt x="11853253" y="12906343"/>
                  </a:lnTo>
                  <a:lnTo>
                    <a:pt x="11810369" y="12868222"/>
                  </a:lnTo>
                  <a:lnTo>
                    <a:pt x="11800837" y="12853927"/>
                  </a:lnTo>
                  <a:lnTo>
                    <a:pt x="11800837" y="12839631"/>
                  </a:lnTo>
                  <a:lnTo>
                    <a:pt x="11819897" y="12834866"/>
                  </a:lnTo>
                  <a:close/>
                  <a:moveTo>
                    <a:pt x="11843725" y="12744329"/>
                  </a:moveTo>
                  <a:lnTo>
                    <a:pt x="11848489" y="12744329"/>
                  </a:lnTo>
                  <a:lnTo>
                    <a:pt x="11858017" y="12749094"/>
                  </a:lnTo>
                  <a:lnTo>
                    <a:pt x="11862785" y="12763390"/>
                  </a:lnTo>
                  <a:lnTo>
                    <a:pt x="11867549" y="12768155"/>
                  </a:lnTo>
                  <a:lnTo>
                    <a:pt x="11872313" y="12763390"/>
                  </a:lnTo>
                  <a:lnTo>
                    <a:pt x="11877081" y="12768155"/>
                  </a:lnTo>
                  <a:lnTo>
                    <a:pt x="11877081" y="12777685"/>
                  </a:lnTo>
                  <a:lnTo>
                    <a:pt x="11881845" y="12782450"/>
                  </a:lnTo>
                  <a:lnTo>
                    <a:pt x="11891377" y="12791980"/>
                  </a:lnTo>
                  <a:lnTo>
                    <a:pt x="11891377" y="12796746"/>
                  </a:lnTo>
                  <a:lnTo>
                    <a:pt x="11891377" y="12801511"/>
                  </a:lnTo>
                  <a:lnTo>
                    <a:pt x="11886609" y="12811041"/>
                  </a:lnTo>
                  <a:lnTo>
                    <a:pt x="11881845" y="12811041"/>
                  </a:lnTo>
                  <a:lnTo>
                    <a:pt x="11843725" y="12791980"/>
                  </a:lnTo>
                  <a:lnTo>
                    <a:pt x="11834193" y="12768155"/>
                  </a:lnTo>
                  <a:lnTo>
                    <a:pt x="11834193" y="12758624"/>
                  </a:lnTo>
                  <a:lnTo>
                    <a:pt x="11834193" y="12749094"/>
                  </a:lnTo>
                  <a:close/>
                  <a:moveTo>
                    <a:pt x="7486014" y="12744329"/>
                  </a:moveTo>
                  <a:lnTo>
                    <a:pt x="7500309" y="12758624"/>
                  </a:lnTo>
                  <a:lnTo>
                    <a:pt x="7500309" y="12768155"/>
                  </a:lnTo>
                  <a:lnTo>
                    <a:pt x="7490779" y="12777685"/>
                  </a:lnTo>
                  <a:lnTo>
                    <a:pt x="7486014" y="12777685"/>
                  </a:lnTo>
                  <a:lnTo>
                    <a:pt x="7471718" y="12758624"/>
                  </a:lnTo>
                  <a:lnTo>
                    <a:pt x="7466953" y="12749094"/>
                  </a:lnTo>
                  <a:close/>
                  <a:moveTo>
                    <a:pt x="9546933" y="12587080"/>
                  </a:moveTo>
                  <a:lnTo>
                    <a:pt x="9570758" y="12591845"/>
                  </a:lnTo>
                  <a:lnTo>
                    <a:pt x="9580288" y="12591845"/>
                  </a:lnTo>
                  <a:lnTo>
                    <a:pt x="9589819" y="12587080"/>
                  </a:lnTo>
                  <a:lnTo>
                    <a:pt x="9599349" y="12587080"/>
                  </a:lnTo>
                  <a:lnTo>
                    <a:pt x="9608879" y="12596610"/>
                  </a:lnTo>
                  <a:lnTo>
                    <a:pt x="9627940" y="12625201"/>
                  </a:lnTo>
                  <a:lnTo>
                    <a:pt x="9637470" y="12639496"/>
                  </a:lnTo>
                  <a:lnTo>
                    <a:pt x="9642235" y="12663322"/>
                  </a:lnTo>
                  <a:lnTo>
                    <a:pt x="9637470" y="12687148"/>
                  </a:lnTo>
                  <a:lnTo>
                    <a:pt x="9632705" y="12715738"/>
                  </a:lnTo>
                  <a:lnTo>
                    <a:pt x="9623175" y="12734799"/>
                  </a:lnTo>
                  <a:lnTo>
                    <a:pt x="9608879" y="12758624"/>
                  </a:lnTo>
                  <a:lnTo>
                    <a:pt x="9599349" y="12787215"/>
                  </a:lnTo>
                  <a:lnTo>
                    <a:pt x="9585054" y="12820571"/>
                  </a:lnTo>
                  <a:lnTo>
                    <a:pt x="9580288" y="12839632"/>
                  </a:lnTo>
                  <a:lnTo>
                    <a:pt x="9570758" y="12853927"/>
                  </a:lnTo>
                  <a:lnTo>
                    <a:pt x="9561228" y="12858692"/>
                  </a:lnTo>
                  <a:lnTo>
                    <a:pt x="9556463" y="12858692"/>
                  </a:lnTo>
                  <a:lnTo>
                    <a:pt x="9542167" y="12844397"/>
                  </a:lnTo>
                  <a:lnTo>
                    <a:pt x="9527872" y="12820571"/>
                  </a:lnTo>
                  <a:lnTo>
                    <a:pt x="9513577" y="12806276"/>
                  </a:lnTo>
                  <a:lnTo>
                    <a:pt x="9494516" y="12796745"/>
                  </a:lnTo>
                  <a:lnTo>
                    <a:pt x="9484986" y="12782450"/>
                  </a:lnTo>
                  <a:lnTo>
                    <a:pt x="9484986" y="12772920"/>
                  </a:lnTo>
                  <a:lnTo>
                    <a:pt x="9484986" y="12725269"/>
                  </a:lnTo>
                  <a:lnTo>
                    <a:pt x="9484986" y="12706208"/>
                  </a:lnTo>
                  <a:lnTo>
                    <a:pt x="9484986" y="12687148"/>
                  </a:lnTo>
                  <a:lnTo>
                    <a:pt x="9489751" y="12672852"/>
                  </a:lnTo>
                  <a:lnTo>
                    <a:pt x="9499281" y="12653792"/>
                  </a:lnTo>
                  <a:lnTo>
                    <a:pt x="9523107" y="12610906"/>
                  </a:lnTo>
                  <a:lnTo>
                    <a:pt x="9537402" y="12591845"/>
                  </a:lnTo>
                  <a:close/>
                  <a:moveTo>
                    <a:pt x="11896141" y="12534663"/>
                  </a:moveTo>
                  <a:lnTo>
                    <a:pt x="11929497" y="12539428"/>
                  </a:lnTo>
                  <a:lnTo>
                    <a:pt x="11943789" y="12539428"/>
                  </a:lnTo>
                  <a:lnTo>
                    <a:pt x="11953321" y="12544193"/>
                  </a:lnTo>
                  <a:lnTo>
                    <a:pt x="11962853" y="12558489"/>
                  </a:lnTo>
                  <a:lnTo>
                    <a:pt x="11953321" y="12582315"/>
                  </a:lnTo>
                  <a:lnTo>
                    <a:pt x="11939025" y="12591845"/>
                  </a:lnTo>
                  <a:lnTo>
                    <a:pt x="11924729" y="12596610"/>
                  </a:lnTo>
                  <a:lnTo>
                    <a:pt x="11896141" y="12587080"/>
                  </a:lnTo>
                  <a:lnTo>
                    <a:pt x="11886609" y="12582315"/>
                  </a:lnTo>
                  <a:lnTo>
                    <a:pt x="11877081" y="12568019"/>
                  </a:lnTo>
                  <a:lnTo>
                    <a:pt x="11881845" y="12563254"/>
                  </a:lnTo>
                  <a:lnTo>
                    <a:pt x="11896141" y="12558489"/>
                  </a:lnTo>
                  <a:lnTo>
                    <a:pt x="11896141" y="12553724"/>
                  </a:lnTo>
                  <a:lnTo>
                    <a:pt x="11891373" y="12548958"/>
                  </a:lnTo>
                  <a:lnTo>
                    <a:pt x="11891373" y="12539428"/>
                  </a:lnTo>
                  <a:close/>
                  <a:moveTo>
                    <a:pt x="10366533" y="12477482"/>
                  </a:moveTo>
                  <a:lnTo>
                    <a:pt x="10376065" y="12477482"/>
                  </a:lnTo>
                  <a:lnTo>
                    <a:pt x="10385593" y="12477482"/>
                  </a:lnTo>
                  <a:lnTo>
                    <a:pt x="10399889" y="12487012"/>
                  </a:lnTo>
                  <a:lnTo>
                    <a:pt x="10447541" y="12496542"/>
                  </a:lnTo>
                  <a:lnTo>
                    <a:pt x="10461837" y="12501308"/>
                  </a:lnTo>
                  <a:lnTo>
                    <a:pt x="10466601" y="12510838"/>
                  </a:lnTo>
                  <a:lnTo>
                    <a:pt x="10461837" y="12515603"/>
                  </a:lnTo>
                  <a:lnTo>
                    <a:pt x="10457073" y="12520368"/>
                  </a:lnTo>
                  <a:lnTo>
                    <a:pt x="10423717" y="12515603"/>
                  </a:lnTo>
                  <a:lnTo>
                    <a:pt x="10385593" y="12496542"/>
                  </a:lnTo>
                  <a:lnTo>
                    <a:pt x="10366533" y="12482247"/>
                  </a:lnTo>
                  <a:close/>
                  <a:moveTo>
                    <a:pt x="10909757" y="12425065"/>
                  </a:moveTo>
                  <a:lnTo>
                    <a:pt x="10928817" y="12429830"/>
                  </a:lnTo>
                  <a:lnTo>
                    <a:pt x="10957409" y="12439360"/>
                  </a:lnTo>
                  <a:lnTo>
                    <a:pt x="10981237" y="12448891"/>
                  </a:lnTo>
                  <a:lnTo>
                    <a:pt x="11019357" y="12477481"/>
                  </a:lnTo>
                  <a:lnTo>
                    <a:pt x="11028885" y="12501307"/>
                  </a:lnTo>
                  <a:lnTo>
                    <a:pt x="11043181" y="12515602"/>
                  </a:lnTo>
                  <a:lnTo>
                    <a:pt x="11047949" y="12529898"/>
                  </a:lnTo>
                  <a:lnTo>
                    <a:pt x="11043181" y="12534663"/>
                  </a:lnTo>
                  <a:lnTo>
                    <a:pt x="11038417" y="12539428"/>
                  </a:lnTo>
                  <a:lnTo>
                    <a:pt x="11024121" y="12539428"/>
                  </a:lnTo>
                  <a:lnTo>
                    <a:pt x="11005061" y="12539428"/>
                  </a:lnTo>
                  <a:lnTo>
                    <a:pt x="10981237" y="12529898"/>
                  </a:lnTo>
                  <a:lnTo>
                    <a:pt x="10966941" y="12525133"/>
                  </a:lnTo>
                  <a:lnTo>
                    <a:pt x="10957409" y="12506072"/>
                  </a:lnTo>
                  <a:lnTo>
                    <a:pt x="10957409" y="12487012"/>
                  </a:lnTo>
                  <a:lnTo>
                    <a:pt x="10933585" y="12458421"/>
                  </a:lnTo>
                  <a:lnTo>
                    <a:pt x="10909757" y="12448891"/>
                  </a:lnTo>
                  <a:lnTo>
                    <a:pt x="10895465" y="12429830"/>
                  </a:lnTo>
                  <a:close/>
                  <a:moveTo>
                    <a:pt x="9180017" y="12391710"/>
                  </a:moveTo>
                  <a:lnTo>
                    <a:pt x="9194312" y="12391710"/>
                  </a:lnTo>
                  <a:lnTo>
                    <a:pt x="9208608" y="12396475"/>
                  </a:lnTo>
                  <a:lnTo>
                    <a:pt x="9213373" y="12401240"/>
                  </a:lnTo>
                  <a:lnTo>
                    <a:pt x="9222903" y="12410770"/>
                  </a:lnTo>
                  <a:lnTo>
                    <a:pt x="9222903" y="12425066"/>
                  </a:lnTo>
                  <a:lnTo>
                    <a:pt x="9218138" y="12444126"/>
                  </a:lnTo>
                  <a:lnTo>
                    <a:pt x="9218138" y="12463187"/>
                  </a:lnTo>
                  <a:lnTo>
                    <a:pt x="9208608" y="12477482"/>
                  </a:lnTo>
                  <a:lnTo>
                    <a:pt x="9194312" y="12506073"/>
                  </a:lnTo>
                  <a:lnTo>
                    <a:pt x="9151426" y="12548959"/>
                  </a:lnTo>
                  <a:lnTo>
                    <a:pt x="9137131" y="12572785"/>
                  </a:lnTo>
                  <a:lnTo>
                    <a:pt x="9127600" y="12587080"/>
                  </a:lnTo>
                  <a:lnTo>
                    <a:pt x="9056124" y="12653792"/>
                  </a:lnTo>
                  <a:lnTo>
                    <a:pt x="9046593" y="12658557"/>
                  </a:lnTo>
                  <a:lnTo>
                    <a:pt x="9037063" y="12653792"/>
                  </a:lnTo>
                  <a:lnTo>
                    <a:pt x="9018003" y="12644261"/>
                  </a:lnTo>
                  <a:lnTo>
                    <a:pt x="8998942" y="12644261"/>
                  </a:lnTo>
                  <a:lnTo>
                    <a:pt x="8951291" y="12668087"/>
                  </a:lnTo>
                  <a:lnTo>
                    <a:pt x="8946526" y="12663322"/>
                  </a:lnTo>
                  <a:lnTo>
                    <a:pt x="8946526" y="12639496"/>
                  </a:lnTo>
                  <a:lnTo>
                    <a:pt x="8936996" y="12620436"/>
                  </a:lnTo>
                  <a:lnTo>
                    <a:pt x="8917935" y="12587080"/>
                  </a:lnTo>
                  <a:lnTo>
                    <a:pt x="8917935" y="12582315"/>
                  </a:lnTo>
                  <a:lnTo>
                    <a:pt x="8917935" y="12572785"/>
                  </a:lnTo>
                  <a:lnTo>
                    <a:pt x="8917935" y="12563254"/>
                  </a:lnTo>
                  <a:lnTo>
                    <a:pt x="8941761" y="12529898"/>
                  </a:lnTo>
                  <a:lnTo>
                    <a:pt x="8998942" y="12420301"/>
                  </a:lnTo>
                  <a:lnTo>
                    <a:pt x="9013238" y="12410770"/>
                  </a:lnTo>
                  <a:lnTo>
                    <a:pt x="9041828" y="12425066"/>
                  </a:lnTo>
                  <a:lnTo>
                    <a:pt x="9056124" y="12429831"/>
                  </a:lnTo>
                  <a:lnTo>
                    <a:pt x="9065654" y="12429831"/>
                  </a:lnTo>
                  <a:lnTo>
                    <a:pt x="9103775" y="12406005"/>
                  </a:lnTo>
                  <a:lnTo>
                    <a:pt x="9141896" y="12406005"/>
                  </a:lnTo>
                  <a:close/>
                  <a:moveTo>
                    <a:pt x="9804249" y="12215400"/>
                  </a:moveTo>
                  <a:lnTo>
                    <a:pt x="9851900" y="12220165"/>
                  </a:lnTo>
                  <a:lnTo>
                    <a:pt x="9856666" y="12220165"/>
                  </a:lnTo>
                  <a:lnTo>
                    <a:pt x="9870961" y="12234460"/>
                  </a:lnTo>
                  <a:lnTo>
                    <a:pt x="9885256" y="12234460"/>
                  </a:lnTo>
                  <a:lnTo>
                    <a:pt x="9894787" y="12248756"/>
                  </a:lnTo>
                  <a:lnTo>
                    <a:pt x="9909082" y="12286877"/>
                  </a:lnTo>
                  <a:lnTo>
                    <a:pt x="9913847" y="12291642"/>
                  </a:lnTo>
                  <a:lnTo>
                    <a:pt x="9913847" y="12305937"/>
                  </a:lnTo>
                  <a:lnTo>
                    <a:pt x="9904317" y="12320232"/>
                  </a:lnTo>
                  <a:lnTo>
                    <a:pt x="9894787" y="12329763"/>
                  </a:lnTo>
                  <a:lnTo>
                    <a:pt x="9870961" y="12339293"/>
                  </a:lnTo>
                  <a:lnTo>
                    <a:pt x="9847135" y="12344058"/>
                  </a:lnTo>
                  <a:lnTo>
                    <a:pt x="9837605" y="12339293"/>
                  </a:lnTo>
                  <a:lnTo>
                    <a:pt x="9799484" y="12301172"/>
                  </a:lnTo>
                  <a:lnTo>
                    <a:pt x="9766128" y="12263051"/>
                  </a:lnTo>
                  <a:lnTo>
                    <a:pt x="9756598" y="12239226"/>
                  </a:lnTo>
                  <a:lnTo>
                    <a:pt x="9761363" y="12229695"/>
                  </a:lnTo>
                  <a:lnTo>
                    <a:pt x="9775658" y="12220165"/>
                  </a:lnTo>
                  <a:close/>
                  <a:moveTo>
                    <a:pt x="9975794" y="12148688"/>
                  </a:moveTo>
                  <a:lnTo>
                    <a:pt x="10032976" y="12186809"/>
                  </a:lnTo>
                  <a:lnTo>
                    <a:pt x="10047271" y="12210635"/>
                  </a:lnTo>
                  <a:lnTo>
                    <a:pt x="10047271" y="12248756"/>
                  </a:lnTo>
                  <a:lnTo>
                    <a:pt x="10028210" y="12253521"/>
                  </a:lnTo>
                  <a:lnTo>
                    <a:pt x="10009150" y="12243991"/>
                  </a:lnTo>
                  <a:lnTo>
                    <a:pt x="9985324" y="12229695"/>
                  </a:lnTo>
                  <a:lnTo>
                    <a:pt x="9937673" y="12182044"/>
                  </a:lnTo>
                  <a:close/>
                  <a:moveTo>
                    <a:pt x="9885256" y="12020030"/>
                  </a:moveTo>
                  <a:lnTo>
                    <a:pt x="9899552" y="12020030"/>
                  </a:lnTo>
                  <a:lnTo>
                    <a:pt x="9904317" y="12024795"/>
                  </a:lnTo>
                  <a:lnTo>
                    <a:pt x="9909082" y="12029560"/>
                  </a:lnTo>
                  <a:lnTo>
                    <a:pt x="9894787" y="12039091"/>
                  </a:lnTo>
                  <a:lnTo>
                    <a:pt x="9885256" y="12053386"/>
                  </a:lnTo>
                  <a:lnTo>
                    <a:pt x="9851900" y="12048621"/>
                  </a:lnTo>
                  <a:lnTo>
                    <a:pt x="9847135" y="12043856"/>
                  </a:lnTo>
                  <a:lnTo>
                    <a:pt x="9842370" y="12039091"/>
                  </a:lnTo>
                  <a:lnTo>
                    <a:pt x="9851900" y="12029560"/>
                  </a:lnTo>
                  <a:close/>
                  <a:moveTo>
                    <a:pt x="8660618" y="11329086"/>
                  </a:moveTo>
                  <a:lnTo>
                    <a:pt x="8665384" y="11329086"/>
                  </a:lnTo>
                  <a:lnTo>
                    <a:pt x="8670149" y="11333851"/>
                  </a:lnTo>
                  <a:lnTo>
                    <a:pt x="8674914" y="11352912"/>
                  </a:lnTo>
                  <a:lnTo>
                    <a:pt x="8708270" y="11371972"/>
                  </a:lnTo>
                  <a:lnTo>
                    <a:pt x="8717800" y="11391033"/>
                  </a:lnTo>
                  <a:lnTo>
                    <a:pt x="8727330" y="11414858"/>
                  </a:lnTo>
                  <a:lnTo>
                    <a:pt x="8727330" y="11438684"/>
                  </a:lnTo>
                  <a:lnTo>
                    <a:pt x="8727330" y="11452979"/>
                  </a:lnTo>
                  <a:lnTo>
                    <a:pt x="8713035" y="11467275"/>
                  </a:lnTo>
                  <a:lnTo>
                    <a:pt x="8708270" y="11476805"/>
                  </a:lnTo>
                  <a:lnTo>
                    <a:pt x="8708270" y="11481570"/>
                  </a:lnTo>
                  <a:lnTo>
                    <a:pt x="8736861" y="11510161"/>
                  </a:lnTo>
                  <a:lnTo>
                    <a:pt x="8755921" y="11576873"/>
                  </a:lnTo>
                  <a:lnTo>
                    <a:pt x="8765451" y="11581638"/>
                  </a:lnTo>
                  <a:lnTo>
                    <a:pt x="8770216" y="11576873"/>
                  </a:lnTo>
                  <a:lnTo>
                    <a:pt x="8779747" y="11557812"/>
                  </a:lnTo>
                  <a:lnTo>
                    <a:pt x="8803572" y="11505396"/>
                  </a:lnTo>
                  <a:lnTo>
                    <a:pt x="8813103" y="11500631"/>
                  </a:lnTo>
                  <a:lnTo>
                    <a:pt x="8822633" y="11500631"/>
                  </a:lnTo>
                  <a:lnTo>
                    <a:pt x="8860754" y="11533986"/>
                  </a:lnTo>
                  <a:lnTo>
                    <a:pt x="8875049" y="11553047"/>
                  </a:lnTo>
                  <a:lnTo>
                    <a:pt x="8879814" y="11581638"/>
                  </a:lnTo>
                  <a:lnTo>
                    <a:pt x="8889345" y="11591168"/>
                  </a:lnTo>
                  <a:lnTo>
                    <a:pt x="8917936" y="11605463"/>
                  </a:lnTo>
                  <a:lnTo>
                    <a:pt x="8946526" y="11610228"/>
                  </a:lnTo>
                  <a:lnTo>
                    <a:pt x="8979882" y="11624524"/>
                  </a:lnTo>
                  <a:lnTo>
                    <a:pt x="8994178" y="11634054"/>
                  </a:lnTo>
                  <a:lnTo>
                    <a:pt x="9022768" y="11681705"/>
                  </a:lnTo>
                  <a:lnTo>
                    <a:pt x="9027534" y="11686470"/>
                  </a:lnTo>
                  <a:lnTo>
                    <a:pt x="9060889" y="11705531"/>
                  </a:lnTo>
                  <a:lnTo>
                    <a:pt x="9108541" y="11753182"/>
                  </a:lnTo>
                  <a:lnTo>
                    <a:pt x="9122836" y="11757947"/>
                  </a:lnTo>
                  <a:lnTo>
                    <a:pt x="9170487" y="11777008"/>
                  </a:lnTo>
                  <a:lnTo>
                    <a:pt x="9189548" y="11786538"/>
                  </a:lnTo>
                  <a:lnTo>
                    <a:pt x="9208608" y="11800834"/>
                  </a:lnTo>
                  <a:lnTo>
                    <a:pt x="9227669" y="11834189"/>
                  </a:lnTo>
                  <a:lnTo>
                    <a:pt x="9246730" y="11881841"/>
                  </a:lnTo>
                  <a:lnTo>
                    <a:pt x="9265790" y="11958083"/>
                  </a:lnTo>
                  <a:lnTo>
                    <a:pt x="9265790" y="11972378"/>
                  </a:lnTo>
                  <a:lnTo>
                    <a:pt x="9265790" y="11981908"/>
                  </a:lnTo>
                  <a:lnTo>
                    <a:pt x="9256260" y="11991439"/>
                  </a:lnTo>
                  <a:lnTo>
                    <a:pt x="9227669" y="12024794"/>
                  </a:lnTo>
                  <a:lnTo>
                    <a:pt x="9232434" y="12029560"/>
                  </a:lnTo>
                  <a:lnTo>
                    <a:pt x="9261025" y="12029560"/>
                  </a:lnTo>
                  <a:lnTo>
                    <a:pt x="9318206" y="12010499"/>
                  </a:lnTo>
                  <a:lnTo>
                    <a:pt x="9351562" y="12020029"/>
                  </a:lnTo>
                  <a:lnTo>
                    <a:pt x="9365858" y="12024794"/>
                  </a:lnTo>
                  <a:lnTo>
                    <a:pt x="9370623" y="12024794"/>
                  </a:lnTo>
                  <a:lnTo>
                    <a:pt x="9384918" y="12000969"/>
                  </a:lnTo>
                  <a:lnTo>
                    <a:pt x="9399214" y="12000969"/>
                  </a:lnTo>
                  <a:lnTo>
                    <a:pt x="9418274" y="12024794"/>
                  </a:lnTo>
                  <a:lnTo>
                    <a:pt x="9432570" y="12043855"/>
                  </a:lnTo>
                  <a:lnTo>
                    <a:pt x="9437335" y="12058150"/>
                  </a:lnTo>
                  <a:lnTo>
                    <a:pt x="9437335" y="12067681"/>
                  </a:lnTo>
                  <a:lnTo>
                    <a:pt x="9423039" y="12072446"/>
                  </a:lnTo>
                  <a:lnTo>
                    <a:pt x="9456395" y="12081976"/>
                  </a:lnTo>
                  <a:lnTo>
                    <a:pt x="9484986" y="12105802"/>
                  </a:lnTo>
                  <a:lnTo>
                    <a:pt x="9480221" y="12120097"/>
                  </a:lnTo>
                  <a:lnTo>
                    <a:pt x="9446865" y="12148688"/>
                  </a:lnTo>
                  <a:lnTo>
                    <a:pt x="9413509" y="12177279"/>
                  </a:lnTo>
                  <a:lnTo>
                    <a:pt x="9380153" y="12220165"/>
                  </a:lnTo>
                  <a:lnTo>
                    <a:pt x="9365858" y="12224930"/>
                  </a:lnTo>
                  <a:lnTo>
                    <a:pt x="9361093" y="12224930"/>
                  </a:lnTo>
                  <a:lnTo>
                    <a:pt x="9342032" y="12215400"/>
                  </a:lnTo>
                  <a:lnTo>
                    <a:pt x="9313441" y="12196339"/>
                  </a:lnTo>
                  <a:lnTo>
                    <a:pt x="9218139" y="12153453"/>
                  </a:lnTo>
                  <a:lnTo>
                    <a:pt x="9189548" y="12143923"/>
                  </a:lnTo>
                  <a:lnTo>
                    <a:pt x="9156192" y="12139158"/>
                  </a:lnTo>
                  <a:lnTo>
                    <a:pt x="9151427" y="12129627"/>
                  </a:lnTo>
                  <a:lnTo>
                    <a:pt x="9141897" y="12062916"/>
                  </a:lnTo>
                  <a:lnTo>
                    <a:pt x="9127601" y="12048620"/>
                  </a:lnTo>
                  <a:lnTo>
                    <a:pt x="9070420" y="12034325"/>
                  </a:lnTo>
                  <a:lnTo>
                    <a:pt x="9051359" y="12024794"/>
                  </a:lnTo>
                  <a:lnTo>
                    <a:pt x="9051359" y="12015264"/>
                  </a:lnTo>
                  <a:lnTo>
                    <a:pt x="9056124" y="11991439"/>
                  </a:lnTo>
                  <a:lnTo>
                    <a:pt x="9046594" y="11977143"/>
                  </a:lnTo>
                  <a:lnTo>
                    <a:pt x="9027534" y="11977143"/>
                  </a:lnTo>
                  <a:lnTo>
                    <a:pt x="9008473" y="11981908"/>
                  </a:lnTo>
                  <a:lnTo>
                    <a:pt x="8979882" y="12000969"/>
                  </a:lnTo>
                  <a:lnTo>
                    <a:pt x="8965587" y="12015264"/>
                  </a:lnTo>
                  <a:lnTo>
                    <a:pt x="8960822" y="12029560"/>
                  </a:lnTo>
                  <a:lnTo>
                    <a:pt x="8956057" y="12062916"/>
                  </a:lnTo>
                  <a:lnTo>
                    <a:pt x="8956057" y="12081976"/>
                  </a:lnTo>
                  <a:lnTo>
                    <a:pt x="8946526" y="12101037"/>
                  </a:lnTo>
                  <a:lnTo>
                    <a:pt x="8898875" y="12153453"/>
                  </a:lnTo>
                  <a:lnTo>
                    <a:pt x="8879814" y="12172513"/>
                  </a:lnTo>
                  <a:lnTo>
                    <a:pt x="8860754" y="12177279"/>
                  </a:lnTo>
                  <a:lnTo>
                    <a:pt x="8855989" y="12182044"/>
                  </a:lnTo>
                  <a:lnTo>
                    <a:pt x="8841693" y="12201104"/>
                  </a:lnTo>
                  <a:lnTo>
                    <a:pt x="8822633" y="12248755"/>
                  </a:lnTo>
                  <a:lnTo>
                    <a:pt x="8813103" y="12263051"/>
                  </a:lnTo>
                  <a:lnTo>
                    <a:pt x="8803572" y="12277346"/>
                  </a:lnTo>
                  <a:lnTo>
                    <a:pt x="8779747" y="12301172"/>
                  </a:lnTo>
                  <a:lnTo>
                    <a:pt x="8751156" y="12315467"/>
                  </a:lnTo>
                  <a:lnTo>
                    <a:pt x="8708270" y="12339293"/>
                  </a:lnTo>
                  <a:lnTo>
                    <a:pt x="8684444" y="12344058"/>
                  </a:lnTo>
                  <a:lnTo>
                    <a:pt x="8670149" y="12339293"/>
                  </a:lnTo>
                  <a:lnTo>
                    <a:pt x="8655853" y="12291642"/>
                  </a:lnTo>
                  <a:lnTo>
                    <a:pt x="8636793" y="12158218"/>
                  </a:lnTo>
                  <a:lnTo>
                    <a:pt x="8632028" y="12148688"/>
                  </a:lnTo>
                  <a:lnTo>
                    <a:pt x="8627263" y="12143923"/>
                  </a:lnTo>
                  <a:lnTo>
                    <a:pt x="8617732" y="12139158"/>
                  </a:lnTo>
                  <a:lnTo>
                    <a:pt x="8543873" y="12158218"/>
                  </a:lnTo>
                  <a:lnTo>
                    <a:pt x="8500987" y="12153453"/>
                  </a:lnTo>
                  <a:lnTo>
                    <a:pt x="8458100" y="12186809"/>
                  </a:lnTo>
                  <a:lnTo>
                    <a:pt x="8448570" y="12186809"/>
                  </a:lnTo>
                  <a:lnTo>
                    <a:pt x="8429510" y="12186809"/>
                  </a:lnTo>
                  <a:lnTo>
                    <a:pt x="8410449" y="12182044"/>
                  </a:lnTo>
                  <a:lnTo>
                    <a:pt x="8410449" y="12177279"/>
                  </a:lnTo>
                  <a:lnTo>
                    <a:pt x="8405684" y="12162983"/>
                  </a:lnTo>
                  <a:lnTo>
                    <a:pt x="8405684" y="12153453"/>
                  </a:lnTo>
                  <a:lnTo>
                    <a:pt x="8410449" y="12134392"/>
                  </a:lnTo>
                  <a:lnTo>
                    <a:pt x="8429510" y="12096271"/>
                  </a:lnTo>
                  <a:lnTo>
                    <a:pt x="8448570" y="12072446"/>
                  </a:lnTo>
                  <a:lnTo>
                    <a:pt x="8453335" y="12062916"/>
                  </a:lnTo>
                  <a:lnTo>
                    <a:pt x="8524812" y="12015264"/>
                  </a:lnTo>
                  <a:lnTo>
                    <a:pt x="8543873" y="12000969"/>
                  </a:lnTo>
                  <a:lnTo>
                    <a:pt x="8553403" y="11986674"/>
                  </a:lnTo>
                  <a:lnTo>
                    <a:pt x="8553403" y="11972378"/>
                  </a:lnTo>
                  <a:lnTo>
                    <a:pt x="8548638" y="11948552"/>
                  </a:lnTo>
                  <a:lnTo>
                    <a:pt x="8539108" y="11900901"/>
                  </a:lnTo>
                  <a:lnTo>
                    <a:pt x="8534343" y="11853250"/>
                  </a:lnTo>
                  <a:lnTo>
                    <a:pt x="8534343" y="11829424"/>
                  </a:lnTo>
                  <a:lnTo>
                    <a:pt x="8539108" y="11796068"/>
                  </a:lnTo>
                  <a:lnTo>
                    <a:pt x="8558168" y="11710296"/>
                  </a:lnTo>
                  <a:lnTo>
                    <a:pt x="8562933" y="11667410"/>
                  </a:lnTo>
                  <a:lnTo>
                    <a:pt x="8572464" y="11514926"/>
                  </a:lnTo>
                  <a:lnTo>
                    <a:pt x="8579611" y="11472040"/>
                  </a:lnTo>
                  <a:lnTo>
                    <a:pt x="8584376" y="11433919"/>
                  </a:lnTo>
                  <a:lnTo>
                    <a:pt x="8593907" y="11410093"/>
                  </a:lnTo>
                  <a:lnTo>
                    <a:pt x="8617732" y="11362442"/>
                  </a:lnTo>
                  <a:lnTo>
                    <a:pt x="8636793" y="11338616"/>
                  </a:lnTo>
                  <a:close/>
                  <a:moveTo>
                    <a:pt x="8741626" y="11286200"/>
                  </a:moveTo>
                  <a:lnTo>
                    <a:pt x="8755921" y="11290965"/>
                  </a:lnTo>
                  <a:lnTo>
                    <a:pt x="8755921" y="11295730"/>
                  </a:lnTo>
                  <a:lnTo>
                    <a:pt x="8760686" y="11305261"/>
                  </a:lnTo>
                  <a:lnTo>
                    <a:pt x="8765451" y="11319556"/>
                  </a:lnTo>
                  <a:lnTo>
                    <a:pt x="8784511" y="11348147"/>
                  </a:lnTo>
                  <a:lnTo>
                    <a:pt x="8794042" y="11376738"/>
                  </a:lnTo>
                  <a:lnTo>
                    <a:pt x="8808337" y="11424389"/>
                  </a:lnTo>
                  <a:lnTo>
                    <a:pt x="8808337" y="11438684"/>
                  </a:lnTo>
                  <a:lnTo>
                    <a:pt x="8803572" y="11448215"/>
                  </a:lnTo>
                  <a:lnTo>
                    <a:pt x="8798807" y="11457745"/>
                  </a:lnTo>
                  <a:lnTo>
                    <a:pt x="8789277" y="11462510"/>
                  </a:lnTo>
                  <a:lnTo>
                    <a:pt x="8779746" y="11457745"/>
                  </a:lnTo>
                  <a:lnTo>
                    <a:pt x="8770216" y="11448215"/>
                  </a:lnTo>
                  <a:lnTo>
                    <a:pt x="8765451" y="11429154"/>
                  </a:lnTo>
                  <a:lnTo>
                    <a:pt x="8755921" y="11414859"/>
                  </a:lnTo>
                  <a:lnTo>
                    <a:pt x="8736860" y="11395798"/>
                  </a:lnTo>
                  <a:lnTo>
                    <a:pt x="8732095" y="11391033"/>
                  </a:lnTo>
                  <a:lnTo>
                    <a:pt x="8722565" y="11362442"/>
                  </a:lnTo>
                  <a:lnTo>
                    <a:pt x="8722565" y="11338616"/>
                  </a:lnTo>
                  <a:lnTo>
                    <a:pt x="8717800" y="11314791"/>
                  </a:lnTo>
                  <a:lnTo>
                    <a:pt x="8717800" y="11305261"/>
                  </a:lnTo>
                  <a:lnTo>
                    <a:pt x="8722565" y="11290965"/>
                  </a:lnTo>
                  <a:close/>
                  <a:moveTo>
                    <a:pt x="8836928" y="11243314"/>
                  </a:moveTo>
                  <a:lnTo>
                    <a:pt x="8884579" y="11267140"/>
                  </a:lnTo>
                  <a:lnTo>
                    <a:pt x="8908405" y="11286200"/>
                  </a:lnTo>
                  <a:lnTo>
                    <a:pt x="8936996" y="11310026"/>
                  </a:lnTo>
                  <a:lnTo>
                    <a:pt x="8946526" y="11324321"/>
                  </a:lnTo>
                  <a:lnTo>
                    <a:pt x="8951291" y="11338616"/>
                  </a:lnTo>
                  <a:lnTo>
                    <a:pt x="8946526" y="11348147"/>
                  </a:lnTo>
                  <a:lnTo>
                    <a:pt x="8936996" y="11362442"/>
                  </a:lnTo>
                  <a:lnTo>
                    <a:pt x="8946526" y="11371972"/>
                  </a:lnTo>
                  <a:lnTo>
                    <a:pt x="8965587" y="11386268"/>
                  </a:lnTo>
                  <a:lnTo>
                    <a:pt x="8984647" y="11395798"/>
                  </a:lnTo>
                  <a:lnTo>
                    <a:pt x="9018003" y="11400563"/>
                  </a:lnTo>
                  <a:lnTo>
                    <a:pt x="9022768" y="11405328"/>
                  </a:lnTo>
                  <a:lnTo>
                    <a:pt x="9022768" y="11410093"/>
                  </a:lnTo>
                  <a:lnTo>
                    <a:pt x="9018003" y="11424389"/>
                  </a:lnTo>
                  <a:lnTo>
                    <a:pt x="9008473" y="11438684"/>
                  </a:lnTo>
                  <a:lnTo>
                    <a:pt x="8998942" y="11438684"/>
                  </a:lnTo>
                  <a:lnTo>
                    <a:pt x="8979882" y="11429154"/>
                  </a:lnTo>
                  <a:lnTo>
                    <a:pt x="8975117" y="11424389"/>
                  </a:lnTo>
                  <a:lnTo>
                    <a:pt x="8965587" y="11410093"/>
                  </a:lnTo>
                  <a:lnTo>
                    <a:pt x="8960821" y="11410093"/>
                  </a:lnTo>
                  <a:lnTo>
                    <a:pt x="8960821" y="11414858"/>
                  </a:lnTo>
                  <a:lnTo>
                    <a:pt x="8956056" y="11419624"/>
                  </a:lnTo>
                  <a:lnTo>
                    <a:pt x="8960821" y="11424389"/>
                  </a:lnTo>
                  <a:lnTo>
                    <a:pt x="8956056" y="11424389"/>
                  </a:lnTo>
                  <a:lnTo>
                    <a:pt x="8936996" y="11424389"/>
                  </a:lnTo>
                  <a:lnTo>
                    <a:pt x="8932231" y="11419624"/>
                  </a:lnTo>
                  <a:lnTo>
                    <a:pt x="8932231" y="11405328"/>
                  </a:lnTo>
                  <a:lnTo>
                    <a:pt x="8946526" y="11391033"/>
                  </a:lnTo>
                  <a:lnTo>
                    <a:pt x="8936996" y="11381503"/>
                  </a:lnTo>
                  <a:lnTo>
                    <a:pt x="8932231" y="11376737"/>
                  </a:lnTo>
                  <a:lnTo>
                    <a:pt x="8913170" y="11386268"/>
                  </a:lnTo>
                  <a:lnTo>
                    <a:pt x="8898875" y="11391033"/>
                  </a:lnTo>
                  <a:lnTo>
                    <a:pt x="8884579" y="11381503"/>
                  </a:lnTo>
                  <a:lnTo>
                    <a:pt x="8879814" y="11343382"/>
                  </a:lnTo>
                  <a:lnTo>
                    <a:pt x="8879814" y="11329086"/>
                  </a:lnTo>
                  <a:lnTo>
                    <a:pt x="8870284" y="11319556"/>
                  </a:lnTo>
                  <a:lnTo>
                    <a:pt x="8865519" y="11305261"/>
                  </a:lnTo>
                  <a:lnTo>
                    <a:pt x="8860754" y="11300495"/>
                  </a:lnTo>
                  <a:lnTo>
                    <a:pt x="8841693" y="11290965"/>
                  </a:lnTo>
                  <a:lnTo>
                    <a:pt x="8832163" y="11271905"/>
                  </a:lnTo>
                  <a:lnTo>
                    <a:pt x="8827398" y="11262374"/>
                  </a:lnTo>
                  <a:lnTo>
                    <a:pt x="8832163" y="11252844"/>
                  </a:lnTo>
                  <a:close/>
                  <a:moveTo>
                    <a:pt x="9022768" y="11167072"/>
                  </a:moveTo>
                  <a:lnTo>
                    <a:pt x="9037063" y="11186132"/>
                  </a:lnTo>
                  <a:lnTo>
                    <a:pt x="9056124" y="11190897"/>
                  </a:lnTo>
                  <a:lnTo>
                    <a:pt x="9065654" y="11190897"/>
                  </a:lnTo>
                  <a:lnTo>
                    <a:pt x="9070419" y="11195663"/>
                  </a:lnTo>
                  <a:lnTo>
                    <a:pt x="9056124" y="11214723"/>
                  </a:lnTo>
                  <a:lnTo>
                    <a:pt x="9046594" y="11219488"/>
                  </a:lnTo>
                  <a:lnTo>
                    <a:pt x="9037063" y="11205193"/>
                  </a:lnTo>
                  <a:lnTo>
                    <a:pt x="9022768" y="11190897"/>
                  </a:lnTo>
                  <a:lnTo>
                    <a:pt x="9022768" y="11176602"/>
                  </a:lnTo>
                  <a:close/>
                  <a:moveTo>
                    <a:pt x="5141571" y="10900225"/>
                  </a:moveTo>
                  <a:lnTo>
                    <a:pt x="5160631" y="10904990"/>
                  </a:lnTo>
                  <a:lnTo>
                    <a:pt x="5184457" y="10904990"/>
                  </a:lnTo>
                  <a:lnTo>
                    <a:pt x="5179692" y="10933581"/>
                  </a:lnTo>
                  <a:lnTo>
                    <a:pt x="5170162" y="10957407"/>
                  </a:lnTo>
                  <a:lnTo>
                    <a:pt x="5165397" y="10962172"/>
                  </a:lnTo>
                  <a:lnTo>
                    <a:pt x="5160631" y="10947877"/>
                  </a:lnTo>
                  <a:lnTo>
                    <a:pt x="5146336" y="10924051"/>
                  </a:lnTo>
                  <a:close/>
                  <a:moveTo>
                    <a:pt x="12263053" y="10828748"/>
                  </a:moveTo>
                  <a:lnTo>
                    <a:pt x="12272585" y="10828748"/>
                  </a:lnTo>
                  <a:lnTo>
                    <a:pt x="12277349" y="10833513"/>
                  </a:lnTo>
                  <a:lnTo>
                    <a:pt x="12263053" y="10852574"/>
                  </a:lnTo>
                  <a:lnTo>
                    <a:pt x="12229697" y="10881165"/>
                  </a:lnTo>
                  <a:lnTo>
                    <a:pt x="12210637" y="10890695"/>
                  </a:lnTo>
                  <a:lnTo>
                    <a:pt x="12201109" y="10881165"/>
                  </a:lnTo>
                  <a:lnTo>
                    <a:pt x="12210637" y="10876400"/>
                  </a:lnTo>
                  <a:lnTo>
                    <a:pt x="12220169" y="10857339"/>
                  </a:lnTo>
                  <a:lnTo>
                    <a:pt x="12234465" y="10843043"/>
                  </a:lnTo>
                  <a:lnTo>
                    <a:pt x="12239229" y="10833513"/>
                  </a:lnTo>
                  <a:close/>
                  <a:moveTo>
                    <a:pt x="5146336" y="10633378"/>
                  </a:moveTo>
                  <a:lnTo>
                    <a:pt x="5155867" y="10652439"/>
                  </a:lnTo>
                  <a:lnTo>
                    <a:pt x="5160632" y="10681029"/>
                  </a:lnTo>
                  <a:lnTo>
                    <a:pt x="5155867" y="10695325"/>
                  </a:lnTo>
                  <a:lnTo>
                    <a:pt x="5165397" y="10709620"/>
                  </a:lnTo>
                  <a:lnTo>
                    <a:pt x="5170162" y="10714385"/>
                  </a:lnTo>
                  <a:lnTo>
                    <a:pt x="5174927" y="10728681"/>
                  </a:lnTo>
                  <a:lnTo>
                    <a:pt x="5170162" y="10742976"/>
                  </a:lnTo>
                  <a:lnTo>
                    <a:pt x="5165397" y="10776332"/>
                  </a:lnTo>
                  <a:lnTo>
                    <a:pt x="5160632" y="10771567"/>
                  </a:lnTo>
                  <a:lnTo>
                    <a:pt x="5155867" y="10757271"/>
                  </a:lnTo>
                  <a:lnTo>
                    <a:pt x="5146336" y="10747741"/>
                  </a:lnTo>
                  <a:lnTo>
                    <a:pt x="5132041" y="10728681"/>
                  </a:lnTo>
                  <a:lnTo>
                    <a:pt x="5132041" y="10690560"/>
                  </a:lnTo>
                  <a:lnTo>
                    <a:pt x="5136806" y="10676264"/>
                  </a:lnTo>
                  <a:lnTo>
                    <a:pt x="5136806" y="10647673"/>
                  </a:lnTo>
                  <a:close/>
                  <a:moveTo>
                    <a:pt x="4970027" y="10504719"/>
                  </a:moveTo>
                  <a:lnTo>
                    <a:pt x="4974792" y="10504719"/>
                  </a:lnTo>
                  <a:lnTo>
                    <a:pt x="4989087" y="10509484"/>
                  </a:lnTo>
                  <a:lnTo>
                    <a:pt x="5003383" y="10504719"/>
                  </a:lnTo>
                  <a:lnTo>
                    <a:pt x="5012913" y="10519014"/>
                  </a:lnTo>
                  <a:lnTo>
                    <a:pt x="5017678" y="10538075"/>
                  </a:lnTo>
                  <a:lnTo>
                    <a:pt x="5017678" y="10542840"/>
                  </a:lnTo>
                  <a:lnTo>
                    <a:pt x="5012913" y="10547605"/>
                  </a:lnTo>
                  <a:lnTo>
                    <a:pt x="4984322" y="10528545"/>
                  </a:lnTo>
                  <a:lnTo>
                    <a:pt x="4974792" y="10514249"/>
                  </a:lnTo>
                  <a:close/>
                  <a:moveTo>
                    <a:pt x="10404657" y="10457068"/>
                  </a:moveTo>
                  <a:lnTo>
                    <a:pt x="10447541" y="10471363"/>
                  </a:lnTo>
                  <a:lnTo>
                    <a:pt x="10480897" y="10485659"/>
                  </a:lnTo>
                  <a:lnTo>
                    <a:pt x="10528549" y="10490424"/>
                  </a:lnTo>
                  <a:lnTo>
                    <a:pt x="10542845" y="10495189"/>
                  </a:lnTo>
                  <a:lnTo>
                    <a:pt x="10547609" y="10499954"/>
                  </a:lnTo>
                  <a:lnTo>
                    <a:pt x="10552373" y="10509484"/>
                  </a:lnTo>
                  <a:lnTo>
                    <a:pt x="10557141" y="10547605"/>
                  </a:lnTo>
                  <a:lnTo>
                    <a:pt x="10557141" y="10566666"/>
                  </a:lnTo>
                  <a:lnTo>
                    <a:pt x="10557141" y="10580961"/>
                  </a:lnTo>
                  <a:lnTo>
                    <a:pt x="10523785" y="10585726"/>
                  </a:lnTo>
                  <a:lnTo>
                    <a:pt x="10447541" y="10585726"/>
                  </a:lnTo>
                  <a:lnTo>
                    <a:pt x="10404657" y="10580961"/>
                  </a:lnTo>
                  <a:lnTo>
                    <a:pt x="10390361" y="10576196"/>
                  </a:lnTo>
                  <a:lnTo>
                    <a:pt x="10376065" y="10566666"/>
                  </a:lnTo>
                  <a:lnTo>
                    <a:pt x="10357005" y="10533310"/>
                  </a:lnTo>
                  <a:lnTo>
                    <a:pt x="10347473" y="10499954"/>
                  </a:lnTo>
                  <a:lnTo>
                    <a:pt x="10347473" y="10485659"/>
                  </a:lnTo>
                  <a:lnTo>
                    <a:pt x="10347473" y="10476128"/>
                  </a:lnTo>
                  <a:lnTo>
                    <a:pt x="10352241" y="10466598"/>
                  </a:lnTo>
                  <a:close/>
                  <a:moveTo>
                    <a:pt x="4927141" y="10452303"/>
                  </a:moveTo>
                  <a:lnTo>
                    <a:pt x="4946202" y="10476128"/>
                  </a:lnTo>
                  <a:lnTo>
                    <a:pt x="4950967" y="10490424"/>
                  </a:lnTo>
                  <a:lnTo>
                    <a:pt x="4950967" y="10499954"/>
                  </a:lnTo>
                  <a:lnTo>
                    <a:pt x="4941437" y="10499954"/>
                  </a:lnTo>
                  <a:lnTo>
                    <a:pt x="4922376" y="10476128"/>
                  </a:lnTo>
                  <a:close/>
                  <a:moveTo>
                    <a:pt x="8481926" y="10366531"/>
                  </a:moveTo>
                  <a:lnTo>
                    <a:pt x="8500986" y="10376061"/>
                  </a:lnTo>
                  <a:lnTo>
                    <a:pt x="8520047" y="10399887"/>
                  </a:lnTo>
                  <a:lnTo>
                    <a:pt x="8524812" y="10418947"/>
                  </a:lnTo>
                  <a:lnTo>
                    <a:pt x="8524812" y="10438008"/>
                  </a:lnTo>
                  <a:lnTo>
                    <a:pt x="8524812" y="10466599"/>
                  </a:lnTo>
                  <a:lnTo>
                    <a:pt x="8529577" y="10499954"/>
                  </a:lnTo>
                  <a:lnTo>
                    <a:pt x="8534342" y="10523780"/>
                  </a:lnTo>
                  <a:lnTo>
                    <a:pt x="8529577" y="10542840"/>
                  </a:lnTo>
                  <a:lnTo>
                    <a:pt x="8520047" y="10571431"/>
                  </a:lnTo>
                  <a:lnTo>
                    <a:pt x="8515282" y="10585727"/>
                  </a:lnTo>
                  <a:lnTo>
                    <a:pt x="8505751" y="10600022"/>
                  </a:lnTo>
                  <a:lnTo>
                    <a:pt x="8500986" y="10604787"/>
                  </a:lnTo>
                  <a:lnTo>
                    <a:pt x="8491456" y="10604787"/>
                  </a:lnTo>
                  <a:lnTo>
                    <a:pt x="8481926" y="10600022"/>
                  </a:lnTo>
                  <a:lnTo>
                    <a:pt x="8458100" y="10576196"/>
                  </a:lnTo>
                  <a:lnTo>
                    <a:pt x="8453335" y="10561901"/>
                  </a:lnTo>
                  <a:lnTo>
                    <a:pt x="8448570" y="10552371"/>
                  </a:lnTo>
                  <a:lnTo>
                    <a:pt x="8448570" y="10538075"/>
                  </a:lnTo>
                  <a:lnTo>
                    <a:pt x="8453335" y="10523780"/>
                  </a:lnTo>
                  <a:lnTo>
                    <a:pt x="8458100" y="10490424"/>
                  </a:lnTo>
                  <a:lnTo>
                    <a:pt x="8443805" y="10466599"/>
                  </a:lnTo>
                  <a:lnTo>
                    <a:pt x="8443805" y="10452303"/>
                  </a:lnTo>
                  <a:lnTo>
                    <a:pt x="8443805" y="10447538"/>
                  </a:lnTo>
                  <a:lnTo>
                    <a:pt x="8453335" y="10428478"/>
                  </a:lnTo>
                  <a:lnTo>
                    <a:pt x="8453335" y="10414182"/>
                  </a:lnTo>
                  <a:lnTo>
                    <a:pt x="8462865" y="10399887"/>
                  </a:lnTo>
                  <a:close/>
                  <a:moveTo>
                    <a:pt x="10171164" y="10352235"/>
                  </a:moveTo>
                  <a:lnTo>
                    <a:pt x="10204521" y="10361765"/>
                  </a:lnTo>
                  <a:lnTo>
                    <a:pt x="10285525" y="10395121"/>
                  </a:lnTo>
                  <a:lnTo>
                    <a:pt x="10290293" y="10409416"/>
                  </a:lnTo>
                  <a:lnTo>
                    <a:pt x="10295057" y="10423712"/>
                  </a:lnTo>
                  <a:lnTo>
                    <a:pt x="10299821" y="10438007"/>
                  </a:lnTo>
                  <a:lnTo>
                    <a:pt x="10299821" y="10466598"/>
                  </a:lnTo>
                  <a:lnTo>
                    <a:pt x="10295057" y="10476128"/>
                  </a:lnTo>
                  <a:lnTo>
                    <a:pt x="10290293" y="10499954"/>
                  </a:lnTo>
                  <a:lnTo>
                    <a:pt x="10285525" y="10509484"/>
                  </a:lnTo>
                  <a:lnTo>
                    <a:pt x="10295057" y="10600022"/>
                  </a:lnTo>
                  <a:lnTo>
                    <a:pt x="10295057" y="10647673"/>
                  </a:lnTo>
                  <a:lnTo>
                    <a:pt x="10285525" y="10685794"/>
                  </a:lnTo>
                  <a:lnTo>
                    <a:pt x="10275997" y="10719150"/>
                  </a:lnTo>
                  <a:lnTo>
                    <a:pt x="10256937" y="10742975"/>
                  </a:lnTo>
                  <a:lnTo>
                    <a:pt x="10247405" y="10757271"/>
                  </a:lnTo>
                  <a:lnTo>
                    <a:pt x="10185461" y="10790626"/>
                  </a:lnTo>
                  <a:lnTo>
                    <a:pt x="10142573" y="10800157"/>
                  </a:lnTo>
                  <a:lnTo>
                    <a:pt x="10099687" y="10800157"/>
                  </a:lnTo>
                  <a:lnTo>
                    <a:pt x="10042505" y="10809687"/>
                  </a:lnTo>
                  <a:lnTo>
                    <a:pt x="10018680" y="10804922"/>
                  </a:lnTo>
                  <a:lnTo>
                    <a:pt x="10004384" y="10804922"/>
                  </a:lnTo>
                  <a:lnTo>
                    <a:pt x="9994854" y="10795392"/>
                  </a:lnTo>
                  <a:lnTo>
                    <a:pt x="9985324" y="10776331"/>
                  </a:lnTo>
                  <a:lnTo>
                    <a:pt x="9971029" y="10738210"/>
                  </a:lnTo>
                  <a:lnTo>
                    <a:pt x="9961498" y="10700089"/>
                  </a:lnTo>
                  <a:lnTo>
                    <a:pt x="9947203" y="10623847"/>
                  </a:lnTo>
                  <a:lnTo>
                    <a:pt x="9947203" y="10619082"/>
                  </a:lnTo>
                  <a:lnTo>
                    <a:pt x="9961498" y="10557135"/>
                  </a:lnTo>
                  <a:lnTo>
                    <a:pt x="9975794" y="10519014"/>
                  </a:lnTo>
                  <a:lnTo>
                    <a:pt x="10004384" y="10457068"/>
                  </a:lnTo>
                  <a:lnTo>
                    <a:pt x="10037740" y="10399886"/>
                  </a:lnTo>
                  <a:lnTo>
                    <a:pt x="10042505" y="10390356"/>
                  </a:lnTo>
                  <a:lnTo>
                    <a:pt x="10056801" y="10376061"/>
                  </a:lnTo>
                  <a:lnTo>
                    <a:pt x="10094922" y="10361765"/>
                  </a:lnTo>
                  <a:lnTo>
                    <a:pt x="10123512" y="10366530"/>
                  </a:lnTo>
                  <a:lnTo>
                    <a:pt x="10137808" y="10361765"/>
                  </a:lnTo>
                  <a:lnTo>
                    <a:pt x="10152103" y="10357000"/>
                  </a:lnTo>
                  <a:close/>
                  <a:moveTo>
                    <a:pt x="9689886" y="10347470"/>
                  </a:moveTo>
                  <a:lnTo>
                    <a:pt x="9704181" y="10366531"/>
                  </a:lnTo>
                  <a:lnTo>
                    <a:pt x="9708946" y="10385591"/>
                  </a:lnTo>
                  <a:lnTo>
                    <a:pt x="9685121" y="10414182"/>
                  </a:lnTo>
                  <a:lnTo>
                    <a:pt x="9670825" y="10418947"/>
                  </a:lnTo>
                  <a:lnTo>
                    <a:pt x="9656530" y="10395121"/>
                  </a:lnTo>
                  <a:lnTo>
                    <a:pt x="9656530" y="10385591"/>
                  </a:lnTo>
                  <a:lnTo>
                    <a:pt x="9656530" y="10357000"/>
                  </a:lnTo>
                  <a:close/>
                  <a:moveTo>
                    <a:pt x="5627614" y="10252168"/>
                  </a:moveTo>
                  <a:lnTo>
                    <a:pt x="5637145" y="10252168"/>
                  </a:lnTo>
                  <a:lnTo>
                    <a:pt x="5670501" y="10252168"/>
                  </a:lnTo>
                  <a:lnTo>
                    <a:pt x="5684796" y="10256933"/>
                  </a:lnTo>
                  <a:lnTo>
                    <a:pt x="5708622" y="10285524"/>
                  </a:lnTo>
                  <a:lnTo>
                    <a:pt x="5708622" y="10295054"/>
                  </a:lnTo>
                  <a:lnTo>
                    <a:pt x="5713387" y="10304584"/>
                  </a:lnTo>
                  <a:lnTo>
                    <a:pt x="5708622" y="10314115"/>
                  </a:lnTo>
                  <a:lnTo>
                    <a:pt x="5694326" y="10323645"/>
                  </a:lnTo>
                  <a:lnTo>
                    <a:pt x="5689561" y="10328410"/>
                  </a:lnTo>
                  <a:lnTo>
                    <a:pt x="5670501" y="10318880"/>
                  </a:lnTo>
                  <a:lnTo>
                    <a:pt x="5646675" y="10304584"/>
                  </a:lnTo>
                  <a:lnTo>
                    <a:pt x="5627614" y="10290289"/>
                  </a:lnTo>
                  <a:lnTo>
                    <a:pt x="5618084" y="10271228"/>
                  </a:lnTo>
                  <a:lnTo>
                    <a:pt x="5618084" y="10261698"/>
                  </a:lnTo>
                  <a:close/>
                  <a:moveTo>
                    <a:pt x="10275997" y="10199751"/>
                  </a:moveTo>
                  <a:lnTo>
                    <a:pt x="10295057" y="10204516"/>
                  </a:lnTo>
                  <a:lnTo>
                    <a:pt x="10309353" y="10223577"/>
                  </a:lnTo>
                  <a:lnTo>
                    <a:pt x="10323649" y="10266463"/>
                  </a:lnTo>
                  <a:lnTo>
                    <a:pt x="10337945" y="10285523"/>
                  </a:lnTo>
                  <a:lnTo>
                    <a:pt x="10337945" y="10304584"/>
                  </a:lnTo>
                  <a:lnTo>
                    <a:pt x="10333177" y="10309349"/>
                  </a:lnTo>
                  <a:lnTo>
                    <a:pt x="10333177" y="10318879"/>
                  </a:lnTo>
                  <a:lnTo>
                    <a:pt x="10337945" y="10323644"/>
                  </a:lnTo>
                  <a:lnTo>
                    <a:pt x="10337945" y="10328409"/>
                  </a:lnTo>
                  <a:lnTo>
                    <a:pt x="10333177" y="10342705"/>
                  </a:lnTo>
                  <a:lnTo>
                    <a:pt x="10328413" y="10347470"/>
                  </a:lnTo>
                  <a:lnTo>
                    <a:pt x="10314117" y="10352235"/>
                  </a:lnTo>
                  <a:lnTo>
                    <a:pt x="10295057" y="10323644"/>
                  </a:lnTo>
                  <a:lnTo>
                    <a:pt x="10261701" y="10295054"/>
                  </a:lnTo>
                  <a:lnTo>
                    <a:pt x="10247405" y="10275993"/>
                  </a:lnTo>
                  <a:lnTo>
                    <a:pt x="10242641" y="10261698"/>
                  </a:lnTo>
                  <a:lnTo>
                    <a:pt x="10247405" y="10247402"/>
                  </a:lnTo>
                  <a:lnTo>
                    <a:pt x="10247405" y="10228342"/>
                  </a:lnTo>
                  <a:lnTo>
                    <a:pt x="10261701" y="10204516"/>
                  </a:lnTo>
                  <a:close/>
                  <a:moveTo>
                    <a:pt x="6089832" y="10142570"/>
                  </a:moveTo>
                  <a:lnTo>
                    <a:pt x="6118423" y="10156865"/>
                  </a:lnTo>
                  <a:lnTo>
                    <a:pt x="6132718" y="10166396"/>
                  </a:lnTo>
                  <a:lnTo>
                    <a:pt x="6132718" y="10175926"/>
                  </a:lnTo>
                  <a:lnTo>
                    <a:pt x="6137483" y="10190221"/>
                  </a:lnTo>
                  <a:lnTo>
                    <a:pt x="6132718" y="10218812"/>
                  </a:lnTo>
                  <a:lnTo>
                    <a:pt x="6123188" y="10223577"/>
                  </a:lnTo>
                  <a:lnTo>
                    <a:pt x="6118423" y="10247403"/>
                  </a:lnTo>
                  <a:lnTo>
                    <a:pt x="6108892" y="10247403"/>
                  </a:lnTo>
                  <a:lnTo>
                    <a:pt x="6099362" y="10242638"/>
                  </a:lnTo>
                  <a:lnTo>
                    <a:pt x="6051711" y="10214047"/>
                  </a:lnTo>
                  <a:lnTo>
                    <a:pt x="6046946" y="10209282"/>
                  </a:lnTo>
                  <a:lnTo>
                    <a:pt x="6051711" y="10194986"/>
                  </a:lnTo>
                  <a:lnTo>
                    <a:pt x="6070772" y="10180691"/>
                  </a:lnTo>
                  <a:lnTo>
                    <a:pt x="6080302" y="10166396"/>
                  </a:lnTo>
                  <a:close/>
                  <a:moveTo>
                    <a:pt x="6323323" y="10052032"/>
                  </a:moveTo>
                  <a:lnTo>
                    <a:pt x="6342384" y="10056797"/>
                  </a:lnTo>
                  <a:lnTo>
                    <a:pt x="6351914" y="10071093"/>
                  </a:lnTo>
                  <a:lnTo>
                    <a:pt x="6361445" y="10090153"/>
                  </a:lnTo>
                  <a:lnTo>
                    <a:pt x="6370975" y="10099683"/>
                  </a:lnTo>
                  <a:lnTo>
                    <a:pt x="6375740" y="10109214"/>
                  </a:lnTo>
                  <a:lnTo>
                    <a:pt x="6370975" y="10152100"/>
                  </a:lnTo>
                  <a:lnTo>
                    <a:pt x="6366210" y="10166395"/>
                  </a:lnTo>
                  <a:lnTo>
                    <a:pt x="6361445" y="10171160"/>
                  </a:lnTo>
                  <a:lnTo>
                    <a:pt x="6347149" y="10185456"/>
                  </a:lnTo>
                  <a:lnTo>
                    <a:pt x="6342384" y="10190221"/>
                  </a:lnTo>
                  <a:lnTo>
                    <a:pt x="6337619" y="10180691"/>
                  </a:lnTo>
                  <a:lnTo>
                    <a:pt x="6328089" y="10161630"/>
                  </a:lnTo>
                  <a:lnTo>
                    <a:pt x="6323323" y="10161630"/>
                  </a:lnTo>
                  <a:lnTo>
                    <a:pt x="6313793" y="10171160"/>
                  </a:lnTo>
                  <a:lnTo>
                    <a:pt x="6309028" y="10161630"/>
                  </a:lnTo>
                  <a:lnTo>
                    <a:pt x="6309028" y="10147335"/>
                  </a:lnTo>
                  <a:lnTo>
                    <a:pt x="6309028" y="10128274"/>
                  </a:lnTo>
                  <a:lnTo>
                    <a:pt x="6313793" y="10094918"/>
                  </a:lnTo>
                  <a:lnTo>
                    <a:pt x="6313793" y="10080623"/>
                  </a:lnTo>
                  <a:lnTo>
                    <a:pt x="6309028" y="10075858"/>
                  </a:lnTo>
                  <a:lnTo>
                    <a:pt x="6313793" y="10066327"/>
                  </a:lnTo>
                  <a:lnTo>
                    <a:pt x="6318558" y="10056797"/>
                  </a:lnTo>
                  <a:close/>
                  <a:moveTo>
                    <a:pt x="6380504" y="10013911"/>
                  </a:moveTo>
                  <a:lnTo>
                    <a:pt x="6394800" y="10018676"/>
                  </a:lnTo>
                  <a:lnTo>
                    <a:pt x="6399565" y="10032972"/>
                  </a:lnTo>
                  <a:lnTo>
                    <a:pt x="6404330" y="10047267"/>
                  </a:lnTo>
                  <a:lnTo>
                    <a:pt x="6404330" y="10061562"/>
                  </a:lnTo>
                  <a:lnTo>
                    <a:pt x="6404330" y="10090153"/>
                  </a:lnTo>
                  <a:lnTo>
                    <a:pt x="6380504" y="10080623"/>
                  </a:lnTo>
                  <a:lnTo>
                    <a:pt x="6375739" y="10071092"/>
                  </a:lnTo>
                  <a:lnTo>
                    <a:pt x="6366209" y="10052032"/>
                  </a:lnTo>
                  <a:lnTo>
                    <a:pt x="6366209" y="10047267"/>
                  </a:lnTo>
                  <a:lnTo>
                    <a:pt x="6366209" y="10037737"/>
                  </a:lnTo>
                  <a:lnTo>
                    <a:pt x="6375739" y="10018676"/>
                  </a:lnTo>
                  <a:close/>
                  <a:moveTo>
                    <a:pt x="7862459" y="9904313"/>
                  </a:moveTo>
                  <a:lnTo>
                    <a:pt x="7871990" y="9909078"/>
                  </a:lnTo>
                  <a:lnTo>
                    <a:pt x="7881520" y="9928139"/>
                  </a:lnTo>
                  <a:lnTo>
                    <a:pt x="7886285" y="9942434"/>
                  </a:lnTo>
                  <a:lnTo>
                    <a:pt x="7891050" y="9961495"/>
                  </a:lnTo>
                  <a:lnTo>
                    <a:pt x="7891050" y="9971025"/>
                  </a:lnTo>
                  <a:lnTo>
                    <a:pt x="7876755" y="9975790"/>
                  </a:lnTo>
                  <a:lnTo>
                    <a:pt x="7871990" y="9961495"/>
                  </a:lnTo>
                  <a:lnTo>
                    <a:pt x="7862459" y="9956729"/>
                  </a:lnTo>
                  <a:lnTo>
                    <a:pt x="7857694" y="9942434"/>
                  </a:lnTo>
                  <a:lnTo>
                    <a:pt x="7848164" y="9942434"/>
                  </a:lnTo>
                  <a:lnTo>
                    <a:pt x="7848164" y="9923374"/>
                  </a:lnTo>
                  <a:lnTo>
                    <a:pt x="7852929" y="9913843"/>
                  </a:lnTo>
                  <a:close/>
                  <a:moveTo>
                    <a:pt x="9766128" y="9899548"/>
                  </a:moveTo>
                  <a:lnTo>
                    <a:pt x="9785188" y="9899548"/>
                  </a:lnTo>
                  <a:lnTo>
                    <a:pt x="9789954" y="9904313"/>
                  </a:lnTo>
                  <a:lnTo>
                    <a:pt x="9794719" y="9909078"/>
                  </a:lnTo>
                  <a:lnTo>
                    <a:pt x="9804249" y="9932904"/>
                  </a:lnTo>
                  <a:lnTo>
                    <a:pt x="9804249" y="9937669"/>
                  </a:lnTo>
                  <a:lnTo>
                    <a:pt x="9794719" y="9956729"/>
                  </a:lnTo>
                  <a:lnTo>
                    <a:pt x="9770893" y="9980555"/>
                  </a:lnTo>
                  <a:lnTo>
                    <a:pt x="9756598" y="10004381"/>
                  </a:lnTo>
                  <a:lnTo>
                    <a:pt x="9751833" y="10013911"/>
                  </a:lnTo>
                  <a:lnTo>
                    <a:pt x="9751833" y="10023441"/>
                  </a:lnTo>
                  <a:lnTo>
                    <a:pt x="9747067" y="10032971"/>
                  </a:lnTo>
                  <a:lnTo>
                    <a:pt x="9728007" y="10061562"/>
                  </a:lnTo>
                  <a:lnTo>
                    <a:pt x="9718477" y="10090153"/>
                  </a:lnTo>
                  <a:lnTo>
                    <a:pt x="9704181" y="10104448"/>
                  </a:lnTo>
                  <a:lnTo>
                    <a:pt x="9675591" y="10118744"/>
                  </a:lnTo>
                  <a:lnTo>
                    <a:pt x="9651765" y="10137804"/>
                  </a:lnTo>
                  <a:lnTo>
                    <a:pt x="9637470" y="10137804"/>
                  </a:lnTo>
                  <a:lnTo>
                    <a:pt x="9627939" y="10133039"/>
                  </a:lnTo>
                  <a:lnTo>
                    <a:pt x="9623174" y="10118744"/>
                  </a:lnTo>
                  <a:lnTo>
                    <a:pt x="9618409" y="10104448"/>
                  </a:lnTo>
                  <a:lnTo>
                    <a:pt x="9623174" y="10094918"/>
                  </a:lnTo>
                  <a:lnTo>
                    <a:pt x="9627939" y="10090153"/>
                  </a:lnTo>
                  <a:lnTo>
                    <a:pt x="9637470" y="10071092"/>
                  </a:lnTo>
                  <a:lnTo>
                    <a:pt x="9647000" y="10047267"/>
                  </a:lnTo>
                  <a:lnTo>
                    <a:pt x="9661295" y="10032971"/>
                  </a:lnTo>
                  <a:lnTo>
                    <a:pt x="9694651" y="10013911"/>
                  </a:lnTo>
                  <a:lnTo>
                    <a:pt x="9699416" y="10009146"/>
                  </a:lnTo>
                  <a:lnTo>
                    <a:pt x="9713712" y="9966260"/>
                  </a:lnTo>
                  <a:lnTo>
                    <a:pt x="9718477" y="9956729"/>
                  </a:lnTo>
                  <a:lnTo>
                    <a:pt x="9737537" y="9956729"/>
                  </a:lnTo>
                  <a:lnTo>
                    <a:pt x="9737537" y="9947199"/>
                  </a:lnTo>
                  <a:lnTo>
                    <a:pt x="9732772" y="9937669"/>
                  </a:lnTo>
                  <a:lnTo>
                    <a:pt x="9732772" y="9928139"/>
                  </a:lnTo>
                  <a:lnTo>
                    <a:pt x="9737537" y="9913843"/>
                  </a:lnTo>
                  <a:lnTo>
                    <a:pt x="9747067" y="9904313"/>
                  </a:lnTo>
                  <a:close/>
                  <a:moveTo>
                    <a:pt x="9966264" y="9875723"/>
                  </a:moveTo>
                  <a:lnTo>
                    <a:pt x="9975794" y="9875723"/>
                  </a:lnTo>
                  <a:lnTo>
                    <a:pt x="9994855" y="9890018"/>
                  </a:lnTo>
                  <a:lnTo>
                    <a:pt x="10032976" y="9890018"/>
                  </a:lnTo>
                  <a:lnTo>
                    <a:pt x="10042506" y="9904314"/>
                  </a:lnTo>
                  <a:lnTo>
                    <a:pt x="10047271" y="9909079"/>
                  </a:lnTo>
                  <a:lnTo>
                    <a:pt x="10047271" y="9918609"/>
                  </a:lnTo>
                  <a:lnTo>
                    <a:pt x="10042506" y="9923374"/>
                  </a:lnTo>
                  <a:lnTo>
                    <a:pt x="10023445" y="9951965"/>
                  </a:lnTo>
                  <a:lnTo>
                    <a:pt x="10013915" y="9971026"/>
                  </a:lnTo>
                  <a:lnTo>
                    <a:pt x="10009150" y="9994851"/>
                  </a:lnTo>
                  <a:lnTo>
                    <a:pt x="9994855" y="10004382"/>
                  </a:lnTo>
                  <a:lnTo>
                    <a:pt x="9975794" y="10013912"/>
                  </a:lnTo>
                  <a:lnTo>
                    <a:pt x="9961499" y="10009147"/>
                  </a:lnTo>
                  <a:lnTo>
                    <a:pt x="9951968" y="9999617"/>
                  </a:lnTo>
                  <a:lnTo>
                    <a:pt x="9947203" y="9985321"/>
                  </a:lnTo>
                  <a:lnTo>
                    <a:pt x="9937673" y="9947200"/>
                  </a:lnTo>
                  <a:lnTo>
                    <a:pt x="9937673" y="9932905"/>
                  </a:lnTo>
                  <a:lnTo>
                    <a:pt x="9942438" y="9904314"/>
                  </a:lnTo>
                  <a:lnTo>
                    <a:pt x="9942438" y="9890018"/>
                  </a:lnTo>
                  <a:lnTo>
                    <a:pt x="9947203" y="9885253"/>
                  </a:lnTo>
                  <a:close/>
                  <a:moveTo>
                    <a:pt x="7933936" y="9875723"/>
                  </a:moveTo>
                  <a:lnTo>
                    <a:pt x="7933936" y="9885253"/>
                  </a:lnTo>
                  <a:lnTo>
                    <a:pt x="7938701" y="9913844"/>
                  </a:lnTo>
                  <a:lnTo>
                    <a:pt x="7924406" y="9947200"/>
                  </a:lnTo>
                  <a:lnTo>
                    <a:pt x="7919641" y="9956730"/>
                  </a:lnTo>
                  <a:lnTo>
                    <a:pt x="7914876" y="9956730"/>
                  </a:lnTo>
                  <a:lnTo>
                    <a:pt x="7910110" y="9956730"/>
                  </a:lnTo>
                  <a:lnTo>
                    <a:pt x="7895815" y="9923374"/>
                  </a:lnTo>
                  <a:lnTo>
                    <a:pt x="7891050" y="9904314"/>
                  </a:lnTo>
                  <a:lnTo>
                    <a:pt x="7895815" y="9899549"/>
                  </a:lnTo>
                  <a:lnTo>
                    <a:pt x="7910110" y="9885253"/>
                  </a:lnTo>
                  <a:lnTo>
                    <a:pt x="7914876" y="9880488"/>
                  </a:lnTo>
                  <a:lnTo>
                    <a:pt x="7929171" y="9885253"/>
                  </a:lnTo>
                  <a:close/>
                  <a:moveTo>
                    <a:pt x="6199429" y="9813776"/>
                  </a:moveTo>
                  <a:lnTo>
                    <a:pt x="6208959" y="9818541"/>
                  </a:lnTo>
                  <a:lnTo>
                    <a:pt x="6232785" y="9832836"/>
                  </a:lnTo>
                  <a:lnTo>
                    <a:pt x="6242315" y="9851897"/>
                  </a:lnTo>
                  <a:lnTo>
                    <a:pt x="6247080" y="9866192"/>
                  </a:lnTo>
                  <a:lnTo>
                    <a:pt x="6242315" y="9866192"/>
                  </a:lnTo>
                  <a:lnTo>
                    <a:pt x="6237550" y="9875722"/>
                  </a:lnTo>
                  <a:lnTo>
                    <a:pt x="6228020" y="9885253"/>
                  </a:lnTo>
                  <a:lnTo>
                    <a:pt x="6223255" y="9894783"/>
                  </a:lnTo>
                  <a:lnTo>
                    <a:pt x="6208959" y="9899548"/>
                  </a:lnTo>
                  <a:lnTo>
                    <a:pt x="6208959" y="9885253"/>
                  </a:lnTo>
                  <a:lnTo>
                    <a:pt x="6208959" y="9880488"/>
                  </a:lnTo>
                  <a:lnTo>
                    <a:pt x="6204194" y="9875722"/>
                  </a:lnTo>
                  <a:lnTo>
                    <a:pt x="6213724" y="9866192"/>
                  </a:lnTo>
                  <a:lnTo>
                    <a:pt x="6218489" y="9856662"/>
                  </a:lnTo>
                  <a:lnTo>
                    <a:pt x="6213724" y="9851897"/>
                  </a:lnTo>
                  <a:lnTo>
                    <a:pt x="6199429" y="9842367"/>
                  </a:lnTo>
                  <a:lnTo>
                    <a:pt x="6194664" y="9832836"/>
                  </a:lnTo>
                  <a:lnTo>
                    <a:pt x="6194664" y="9823306"/>
                  </a:lnTo>
                  <a:close/>
                  <a:moveTo>
                    <a:pt x="7061918" y="9794715"/>
                  </a:moveTo>
                  <a:lnTo>
                    <a:pt x="7076213" y="9794715"/>
                  </a:lnTo>
                  <a:lnTo>
                    <a:pt x="7090509" y="9804245"/>
                  </a:lnTo>
                  <a:lnTo>
                    <a:pt x="7104804" y="9818541"/>
                  </a:lnTo>
                  <a:lnTo>
                    <a:pt x="7128630" y="9847131"/>
                  </a:lnTo>
                  <a:lnTo>
                    <a:pt x="7128630" y="9861427"/>
                  </a:lnTo>
                  <a:lnTo>
                    <a:pt x="7123865" y="9885252"/>
                  </a:lnTo>
                  <a:lnTo>
                    <a:pt x="7119100" y="9904313"/>
                  </a:lnTo>
                  <a:lnTo>
                    <a:pt x="7109569" y="9913843"/>
                  </a:lnTo>
                  <a:lnTo>
                    <a:pt x="7095274" y="9923373"/>
                  </a:lnTo>
                  <a:lnTo>
                    <a:pt x="7080978" y="9923373"/>
                  </a:lnTo>
                  <a:lnTo>
                    <a:pt x="7071448" y="9918608"/>
                  </a:lnTo>
                  <a:lnTo>
                    <a:pt x="7076213" y="9899547"/>
                  </a:lnTo>
                  <a:lnTo>
                    <a:pt x="7080978" y="9894782"/>
                  </a:lnTo>
                  <a:lnTo>
                    <a:pt x="7080978" y="9875722"/>
                  </a:lnTo>
                  <a:lnTo>
                    <a:pt x="7080978" y="9847131"/>
                  </a:lnTo>
                  <a:lnTo>
                    <a:pt x="7076213" y="9832836"/>
                  </a:lnTo>
                  <a:lnTo>
                    <a:pt x="7066683" y="9823306"/>
                  </a:lnTo>
                  <a:lnTo>
                    <a:pt x="7061918" y="9823306"/>
                  </a:lnTo>
                  <a:lnTo>
                    <a:pt x="7057153" y="9832836"/>
                  </a:lnTo>
                  <a:lnTo>
                    <a:pt x="7061918" y="9847131"/>
                  </a:lnTo>
                  <a:lnTo>
                    <a:pt x="7057153" y="9870957"/>
                  </a:lnTo>
                  <a:lnTo>
                    <a:pt x="7052388" y="9899547"/>
                  </a:lnTo>
                  <a:lnTo>
                    <a:pt x="7047622" y="9913843"/>
                  </a:lnTo>
                  <a:lnTo>
                    <a:pt x="7038092" y="9909078"/>
                  </a:lnTo>
                  <a:lnTo>
                    <a:pt x="7033327" y="9899547"/>
                  </a:lnTo>
                  <a:lnTo>
                    <a:pt x="7033327" y="9880487"/>
                  </a:lnTo>
                  <a:lnTo>
                    <a:pt x="7033327" y="9861427"/>
                  </a:lnTo>
                  <a:lnTo>
                    <a:pt x="7033327" y="9847131"/>
                  </a:lnTo>
                  <a:lnTo>
                    <a:pt x="7038092" y="9818541"/>
                  </a:lnTo>
                  <a:lnTo>
                    <a:pt x="7047622" y="9799480"/>
                  </a:lnTo>
                  <a:close/>
                  <a:moveTo>
                    <a:pt x="290673" y="9780421"/>
                  </a:moveTo>
                  <a:lnTo>
                    <a:pt x="300203" y="9785186"/>
                  </a:lnTo>
                  <a:lnTo>
                    <a:pt x="324029" y="9794716"/>
                  </a:lnTo>
                  <a:lnTo>
                    <a:pt x="333560" y="9809012"/>
                  </a:lnTo>
                  <a:lnTo>
                    <a:pt x="304969" y="9813777"/>
                  </a:lnTo>
                  <a:lnTo>
                    <a:pt x="295438" y="9832837"/>
                  </a:lnTo>
                  <a:lnTo>
                    <a:pt x="271613" y="9813777"/>
                  </a:lnTo>
                  <a:lnTo>
                    <a:pt x="266847" y="9804246"/>
                  </a:lnTo>
                  <a:close/>
                  <a:moveTo>
                    <a:pt x="11414861" y="9766125"/>
                  </a:moveTo>
                  <a:lnTo>
                    <a:pt x="11429157" y="9770890"/>
                  </a:lnTo>
                  <a:lnTo>
                    <a:pt x="11438689" y="9789951"/>
                  </a:lnTo>
                  <a:lnTo>
                    <a:pt x="11424393" y="9809011"/>
                  </a:lnTo>
                  <a:lnTo>
                    <a:pt x="11414861" y="9828072"/>
                  </a:lnTo>
                  <a:lnTo>
                    <a:pt x="11410097" y="9832837"/>
                  </a:lnTo>
                  <a:lnTo>
                    <a:pt x="11367213" y="9813776"/>
                  </a:lnTo>
                  <a:lnTo>
                    <a:pt x="11367213" y="9794716"/>
                  </a:lnTo>
                  <a:lnTo>
                    <a:pt x="11386273" y="9780420"/>
                  </a:lnTo>
                  <a:lnTo>
                    <a:pt x="11400565" y="9770890"/>
                  </a:lnTo>
                  <a:close/>
                  <a:moveTo>
                    <a:pt x="9809014" y="9742299"/>
                  </a:moveTo>
                  <a:lnTo>
                    <a:pt x="9818544" y="9742299"/>
                  </a:lnTo>
                  <a:lnTo>
                    <a:pt x="9832840" y="9751829"/>
                  </a:lnTo>
                  <a:lnTo>
                    <a:pt x="9842370" y="9775655"/>
                  </a:lnTo>
                  <a:lnTo>
                    <a:pt x="9842370" y="9785185"/>
                  </a:lnTo>
                  <a:lnTo>
                    <a:pt x="9832840" y="9799480"/>
                  </a:lnTo>
                  <a:lnTo>
                    <a:pt x="9789953" y="9828071"/>
                  </a:lnTo>
                  <a:lnTo>
                    <a:pt x="9766128" y="9847132"/>
                  </a:lnTo>
                  <a:lnTo>
                    <a:pt x="9751832" y="9851897"/>
                  </a:lnTo>
                  <a:lnTo>
                    <a:pt x="9737537" y="9847132"/>
                  </a:lnTo>
                  <a:lnTo>
                    <a:pt x="9713711" y="9856662"/>
                  </a:lnTo>
                  <a:lnTo>
                    <a:pt x="9704181" y="9856662"/>
                  </a:lnTo>
                  <a:lnTo>
                    <a:pt x="9713711" y="9837602"/>
                  </a:lnTo>
                  <a:lnTo>
                    <a:pt x="9747067" y="9785185"/>
                  </a:lnTo>
                  <a:lnTo>
                    <a:pt x="9775658" y="9780420"/>
                  </a:lnTo>
                  <a:lnTo>
                    <a:pt x="9785188" y="9770890"/>
                  </a:lnTo>
                  <a:lnTo>
                    <a:pt x="9794719" y="9775655"/>
                  </a:lnTo>
                  <a:lnTo>
                    <a:pt x="9799484" y="9766125"/>
                  </a:lnTo>
                  <a:lnTo>
                    <a:pt x="9799484" y="9751829"/>
                  </a:lnTo>
                  <a:close/>
                  <a:moveTo>
                    <a:pt x="9589818" y="9708943"/>
                  </a:moveTo>
                  <a:lnTo>
                    <a:pt x="9613644" y="9718473"/>
                  </a:lnTo>
                  <a:lnTo>
                    <a:pt x="9623174" y="9747064"/>
                  </a:lnTo>
                  <a:lnTo>
                    <a:pt x="9627939" y="9751829"/>
                  </a:lnTo>
                  <a:lnTo>
                    <a:pt x="9618409" y="9766125"/>
                  </a:lnTo>
                  <a:lnTo>
                    <a:pt x="9594583" y="9789950"/>
                  </a:lnTo>
                  <a:lnTo>
                    <a:pt x="9546932" y="9799481"/>
                  </a:lnTo>
                  <a:lnTo>
                    <a:pt x="9518341" y="9789950"/>
                  </a:lnTo>
                  <a:lnTo>
                    <a:pt x="9532636" y="9823306"/>
                  </a:lnTo>
                  <a:lnTo>
                    <a:pt x="9532636" y="9837602"/>
                  </a:lnTo>
                  <a:lnTo>
                    <a:pt x="9532636" y="9842367"/>
                  </a:lnTo>
                  <a:lnTo>
                    <a:pt x="9518341" y="9842367"/>
                  </a:lnTo>
                  <a:lnTo>
                    <a:pt x="9499281" y="9832837"/>
                  </a:lnTo>
                  <a:lnTo>
                    <a:pt x="9489750" y="9823306"/>
                  </a:lnTo>
                  <a:lnTo>
                    <a:pt x="9489750" y="9809011"/>
                  </a:lnTo>
                  <a:lnTo>
                    <a:pt x="9484985" y="9804246"/>
                  </a:lnTo>
                  <a:lnTo>
                    <a:pt x="9480220" y="9813776"/>
                  </a:lnTo>
                  <a:lnTo>
                    <a:pt x="9475455" y="9809011"/>
                  </a:lnTo>
                  <a:lnTo>
                    <a:pt x="9465925" y="9789950"/>
                  </a:lnTo>
                  <a:lnTo>
                    <a:pt x="9456394" y="9780420"/>
                  </a:lnTo>
                  <a:lnTo>
                    <a:pt x="9403978" y="9770890"/>
                  </a:lnTo>
                  <a:lnTo>
                    <a:pt x="9403978" y="9766125"/>
                  </a:lnTo>
                  <a:lnTo>
                    <a:pt x="9403978" y="9756594"/>
                  </a:lnTo>
                  <a:lnTo>
                    <a:pt x="9413508" y="9742299"/>
                  </a:lnTo>
                  <a:lnTo>
                    <a:pt x="9423039" y="9737534"/>
                  </a:lnTo>
                  <a:lnTo>
                    <a:pt x="9456394" y="9742299"/>
                  </a:lnTo>
                  <a:lnTo>
                    <a:pt x="9456394" y="9737534"/>
                  </a:lnTo>
                  <a:lnTo>
                    <a:pt x="9456394" y="9723238"/>
                  </a:lnTo>
                  <a:lnTo>
                    <a:pt x="9461160" y="9713708"/>
                  </a:lnTo>
                  <a:lnTo>
                    <a:pt x="9480220" y="9718473"/>
                  </a:lnTo>
                  <a:lnTo>
                    <a:pt x="9494515" y="9713708"/>
                  </a:lnTo>
                  <a:lnTo>
                    <a:pt x="9499281" y="9723238"/>
                  </a:lnTo>
                  <a:lnTo>
                    <a:pt x="9508811" y="9742299"/>
                  </a:lnTo>
                  <a:lnTo>
                    <a:pt x="9518341" y="9737534"/>
                  </a:lnTo>
                  <a:lnTo>
                    <a:pt x="9532636" y="9742299"/>
                  </a:lnTo>
                  <a:lnTo>
                    <a:pt x="9546932" y="9732769"/>
                  </a:lnTo>
                  <a:lnTo>
                    <a:pt x="9570757" y="9713708"/>
                  </a:lnTo>
                  <a:close/>
                  <a:moveTo>
                    <a:pt x="6752185" y="9685117"/>
                  </a:moveTo>
                  <a:lnTo>
                    <a:pt x="6766480" y="9694647"/>
                  </a:lnTo>
                  <a:lnTo>
                    <a:pt x="6780775" y="9713708"/>
                  </a:lnTo>
                  <a:lnTo>
                    <a:pt x="6809366" y="9742298"/>
                  </a:lnTo>
                  <a:lnTo>
                    <a:pt x="6814131" y="9751829"/>
                  </a:lnTo>
                  <a:lnTo>
                    <a:pt x="6814131" y="9761359"/>
                  </a:lnTo>
                  <a:lnTo>
                    <a:pt x="6799836" y="9766124"/>
                  </a:lnTo>
                  <a:lnTo>
                    <a:pt x="6799836" y="9775654"/>
                  </a:lnTo>
                  <a:lnTo>
                    <a:pt x="6804601" y="9785185"/>
                  </a:lnTo>
                  <a:lnTo>
                    <a:pt x="6809366" y="9789950"/>
                  </a:lnTo>
                  <a:lnTo>
                    <a:pt x="6818896" y="9785185"/>
                  </a:lnTo>
                  <a:lnTo>
                    <a:pt x="6823661" y="9770889"/>
                  </a:lnTo>
                  <a:lnTo>
                    <a:pt x="6828427" y="9766124"/>
                  </a:lnTo>
                  <a:lnTo>
                    <a:pt x="6837957" y="9770889"/>
                  </a:lnTo>
                  <a:lnTo>
                    <a:pt x="6857017" y="9799480"/>
                  </a:lnTo>
                  <a:lnTo>
                    <a:pt x="6876078" y="9823306"/>
                  </a:lnTo>
                  <a:lnTo>
                    <a:pt x="6895138" y="9842366"/>
                  </a:lnTo>
                  <a:lnTo>
                    <a:pt x="6923729" y="9861427"/>
                  </a:lnTo>
                  <a:lnTo>
                    <a:pt x="6980911" y="9918608"/>
                  </a:lnTo>
                  <a:lnTo>
                    <a:pt x="6999971" y="9956729"/>
                  </a:lnTo>
                  <a:lnTo>
                    <a:pt x="7019032" y="10013911"/>
                  </a:lnTo>
                  <a:lnTo>
                    <a:pt x="7038092" y="10056797"/>
                  </a:lnTo>
                  <a:lnTo>
                    <a:pt x="7052388" y="10090153"/>
                  </a:lnTo>
                  <a:lnTo>
                    <a:pt x="7071448" y="10113978"/>
                  </a:lnTo>
                  <a:lnTo>
                    <a:pt x="7095274" y="10142569"/>
                  </a:lnTo>
                  <a:lnTo>
                    <a:pt x="7119099" y="10118743"/>
                  </a:lnTo>
                  <a:lnTo>
                    <a:pt x="7128630" y="10113978"/>
                  </a:lnTo>
                  <a:lnTo>
                    <a:pt x="7138160" y="10123508"/>
                  </a:lnTo>
                  <a:lnTo>
                    <a:pt x="7142925" y="10142569"/>
                  </a:lnTo>
                  <a:lnTo>
                    <a:pt x="7138160" y="10152099"/>
                  </a:lnTo>
                  <a:lnTo>
                    <a:pt x="7128630" y="10166395"/>
                  </a:lnTo>
                  <a:lnTo>
                    <a:pt x="7114334" y="10180690"/>
                  </a:lnTo>
                  <a:lnTo>
                    <a:pt x="7090509" y="10180690"/>
                  </a:lnTo>
                  <a:lnTo>
                    <a:pt x="7080978" y="10185455"/>
                  </a:lnTo>
                  <a:lnTo>
                    <a:pt x="7061918" y="10204516"/>
                  </a:lnTo>
                  <a:lnTo>
                    <a:pt x="7047622" y="10228341"/>
                  </a:lnTo>
                  <a:lnTo>
                    <a:pt x="7023797" y="10237871"/>
                  </a:lnTo>
                  <a:lnTo>
                    <a:pt x="6985676" y="10280758"/>
                  </a:lnTo>
                  <a:lnTo>
                    <a:pt x="6966615" y="10295053"/>
                  </a:lnTo>
                  <a:lnTo>
                    <a:pt x="6938024" y="10299818"/>
                  </a:lnTo>
                  <a:lnTo>
                    <a:pt x="6871313" y="10266462"/>
                  </a:lnTo>
                  <a:lnTo>
                    <a:pt x="6833192" y="10271227"/>
                  </a:lnTo>
                  <a:lnTo>
                    <a:pt x="6799836" y="10266462"/>
                  </a:lnTo>
                  <a:lnTo>
                    <a:pt x="6761715" y="10233106"/>
                  </a:lnTo>
                  <a:lnTo>
                    <a:pt x="6737889" y="10209281"/>
                  </a:lnTo>
                  <a:lnTo>
                    <a:pt x="6680708" y="10180690"/>
                  </a:lnTo>
                  <a:lnTo>
                    <a:pt x="6675942" y="10175925"/>
                  </a:lnTo>
                  <a:lnTo>
                    <a:pt x="6675942" y="10166395"/>
                  </a:lnTo>
                  <a:lnTo>
                    <a:pt x="6675942" y="10152099"/>
                  </a:lnTo>
                  <a:lnTo>
                    <a:pt x="6671177" y="10142569"/>
                  </a:lnTo>
                  <a:lnTo>
                    <a:pt x="6666412" y="10137804"/>
                  </a:lnTo>
                  <a:lnTo>
                    <a:pt x="6656882" y="10137804"/>
                  </a:lnTo>
                  <a:lnTo>
                    <a:pt x="6652117" y="10147334"/>
                  </a:lnTo>
                  <a:lnTo>
                    <a:pt x="6633056" y="10156864"/>
                  </a:lnTo>
                  <a:lnTo>
                    <a:pt x="6609231" y="10156864"/>
                  </a:lnTo>
                  <a:lnTo>
                    <a:pt x="6594935" y="10147334"/>
                  </a:lnTo>
                  <a:lnTo>
                    <a:pt x="6590170" y="10137804"/>
                  </a:lnTo>
                  <a:lnTo>
                    <a:pt x="6585405" y="10128274"/>
                  </a:lnTo>
                  <a:lnTo>
                    <a:pt x="6580640" y="10113978"/>
                  </a:lnTo>
                  <a:lnTo>
                    <a:pt x="6580640" y="10104448"/>
                  </a:lnTo>
                  <a:lnTo>
                    <a:pt x="6575875" y="10099683"/>
                  </a:lnTo>
                  <a:lnTo>
                    <a:pt x="6566345" y="10099683"/>
                  </a:lnTo>
                  <a:lnTo>
                    <a:pt x="6552049" y="10104448"/>
                  </a:lnTo>
                  <a:lnTo>
                    <a:pt x="6547284" y="10113978"/>
                  </a:lnTo>
                  <a:lnTo>
                    <a:pt x="6552049" y="10123508"/>
                  </a:lnTo>
                  <a:lnTo>
                    <a:pt x="6547284" y="10128274"/>
                  </a:lnTo>
                  <a:lnTo>
                    <a:pt x="6523458" y="10128274"/>
                  </a:lnTo>
                  <a:lnTo>
                    <a:pt x="6513928" y="10123508"/>
                  </a:lnTo>
                  <a:lnTo>
                    <a:pt x="6494868" y="10104448"/>
                  </a:lnTo>
                  <a:lnTo>
                    <a:pt x="6485337" y="10085387"/>
                  </a:lnTo>
                  <a:lnTo>
                    <a:pt x="6471042" y="10056797"/>
                  </a:lnTo>
                  <a:lnTo>
                    <a:pt x="6475807" y="10047266"/>
                  </a:lnTo>
                  <a:lnTo>
                    <a:pt x="6480572" y="10023441"/>
                  </a:lnTo>
                  <a:lnTo>
                    <a:pt x="6490103" y="10013911"/>
                  </a:lnTo>
                  <a:lnTo>
                    <a:pt x="6547284" y="10004380"/>
                  </a:lnTo>
                  <a:lnTo>
                    <a:pt x="6575875" y="9994850"/>
                  </a:lnTo>
                  <a:lnTo>
                    <a:pt x="6604466" y="9975790"/>
                  </a:lnTo>
                  <a:lnTo>
                    <a:pt x="6637821" y="9932903"/>
                  </a:lnTo>
                  <a:lnTo>
                    <a:pt x="6647352" y="9923373"/>
                  </a:lnTo>
                  <a:lnTo>
                    <a:pt x="6647352" y="9913843"/>
                  </a:lnTo>
                  <a:lnTo>
                    <a:pt x="6642587" y="9904313"/>
                  </a:lnTo>
                  <a:lnTo>
                    <a:pt x="6633056" y="9880487"/>
                  </a:lnTo>
                  <a:lnTo>
                    <a:pt x="6628291" y="9866192"/>
                  </a:lnTo>
                  <a:lnTo>
                    <a:pt x="6633056" y="9856661"/>
                  </a:lnTo>
                  <a:lnTo>
                    <a:pt x="6647352" y="9856661"/>
                  </a:lnTo>
                  <a:lnTo>
                    <a:pt x="6642587" y="9847131"/>
                  </a:lnTo>
                  <a:lnTo>
                    <a:pt x="6633056" y="9837601"/>
                  </a:lnTo>
                  <a:lnTo>
                    <a:pt x="6633056" y="9828071"/>
                  </a:lnTo>
                  <a:lnTo>
                    <a:pt x="6633056" y="9818540"/>
                  </a:lnTo>
                  <a:lnTo>
                    <a:pt x="6642587" y="9813775"/>
                  </a:lnTo>
                  <a:lnTo>
                    <a:pt x="6656882" y="9818540"/>
                  </a:lnTo>
                  <a:lnTo>
                    <a:pt x="6680708" y="9856661"/>
                  </a:lnTo>
                  <a:lnTo>
                    <a:pt x="6695003" y="9861427"/>
                  </a:lnTo>
                  <a:lnTo>
                    <a:pt x="6709298" y="9866192"/>
                  </a:lnTo>
                  <a:lnTo>
                    <a:pt x="6690238" y="9842366"/>
                  </a:lnTo>
                  <a:lnTo>
                    <a:pt x="6671177" y="9789950"/>
                  </a:lnTo>
                  <a:lnTo>
                    <a:pt x="6671177" y="9775654"/>
                  </a:lnTo>
                  <a:lnTo>
                    <a:pt x="6671177" y="9761359"/>
                  </a:lnTo>
                  <a:lnTo>
                    <a:pt x="6675942" y="9732768"/>
                  </a:lnTo>
                  <a:lnTo>
                    <a:pt x="6680708" y="9723238"/>
                  </a:lnTo>
                  <a:lnTo>
                    <a:pt x="6685473" y="9713708"/>
                  </a:lnTo>
                  <a:lnTo>
                    <a:pt x="6704533" y="9699412"/>
                  </a:lnTo>
                  <a:lnTo>
                    <a:pt x="6733124" y="9689882"/>
                  </a:lnTo>
                  <a:close/>
                  <a:moveTo>
                    <a:pt x="8419979" y="9556459"/>
                  </a:moveTo>
                  <a:lnTo>
                    <a:pt x="8448570" y="9570754"/>
                  </a:lnTo>
                  <a:lnTo>
                    <a:pt x="8467630" y="9575520"/>
                  </a:lnTo>
                  <a:lnTo>
                    <a:pt x="8481925" y="9570754"/>
                  </a:lnTo>
                  <a:lnTo>
                    <a:pt x="8496221" y="9575520"/>
                  </a:lnTo>
                  <a:lnTo>
                    <a:pt x="8505751" y="9589815"/>
                  </a:lnTo>
                  <a:lnTo>
                    <a:pt x="8510516" y="9604110"/>
                  </a:lnTo>
                  <a:lnTo>
                    <a:pt x="8510516" y="9613640"/>
                  </a:lnTo>
                  <a:lnTo>
                    <a:pt x="8505751" y="9623171"/>
                  </a:lnTo>
                  <a:lnTo>
                    <a:pt x="8477160" y="9632701"/>
                  </a:lnTo>
                  <a:lnTo>
                    <a:pt x="8458100" y="9627936"/>
                  </a:lnTo>
                  <a:lnTo>
                    <a:pt x="8439039" y="9618406"/>
                  </a:lnTo>
                  <a:lnTo>
                    <a:pt x="8429509" y="9623171"/>
                  </a:lnTo>
                  <a:lnTo>
                    <a:pt x="8405683" y="9613640"/>
                  </a:lnTo>
                  <a:lnTo>
                    <a:pt x="8396153" y="9604110"/>
                  </a:lnTo>
                  <a:lnTo>
                    <a:pt x="8386623" y="9585050"/>
                  </a:lnTo>
                  <a:lnTo>
                    <a:pt x="8386623" y="9575520"/>
                  </a:lnTo>
                  <a:lnTo>
                    <a:pt x="8410449" y="9565989"/>
                  </a:lnTo>
                  <a:close/>
                  <a:moveTo>
                    <a:pt x="6304262" y="9313438"/>
                  </a:moveTo>
                  <a:lnTo>
                    <a:pt x="6323323" y="9313438"/>
                  </a:lnTo>
                  <a:lnTo>
                    <a:pt x="6337618" y="9322968"/>
                  </a:lnTo>
                  <a:lnTo>
                    <a:pt x="6361444" y="9346794"/>
                  </a:lnTo>
                  <a:lnTo>
                    <a:pt x="6356679" y="9356324"/>
                  </a:lnTo>
                  <a:lnTo>
                    <a:pt x="6356679" y="9370619"/>
                  </a:lnTo>
                  <a:lnTo>
                    <a:pt x="6356679" y="9389680"/>
                  </a:lnTo>
                  <a:lnTo>
                    <a:pt x="6356679" y="9394445"/>
                  </a:lnTo>
                  <a:lnTo>
                    <a:pt x="6356679" y="9399210"/>
                  </a:lnTo>
                  <a:lnTo>
                    <a:pt x="6323323" y="9380150"/>
                  </a:lnTo>
                  <a:lnTo>
                    <a:pt x="6309027" y="9370619"/>
                  </a:lnTo>
                  <a:lnTo>
                    <a:pt x="6304262" y="9361089"/>
                  </a:lnTo>
                  <a:lnTo>
                    <a:pt x="6299497" y="9346794"/>
                  </a:lnTo>
                  <a:lnTo>
                    <a:pt x="6299497" y="9322968"/>
                  </a:lnTo>
                  <a:close/>
                  <a:moveTo>
                    <a:pt x="7228698" y="8670145"/>
                  </a:moveTo>
                  <a:lnTo>
                    <a:pt x="7247758" y="8670145"/>
                  </a:lnTo>
                  <a:lnTo>
                    <a:pt x="7257288" y="8674910"/>
                  </a:lnTo>
                  <a:lnTo>
                    <a:pt x="7266818" y="8703501"/>
                  </a:lnTo>
                  <a:lnTo>
                    <a:pt x="7266818" y="8741622"/>
                  </a:lnTo>
                  <a:lnTo>
                    <a:pt x="7295409" y="8779743"/>
                  </a:lnTo>
                  <a:lnTo>
                    <a:pt x="7314470" y="8784508"/>
                  </a:lnTo>
                  <a:lnTo>
                    <a:pt x="7328765" y="8779743"/>
                  </a:lnTo>
                  <a:lnTo>
                    <a:pt x="7371651" y="8779743"/>
                  </a:lnTo>
                  <a:lnTo>
                    <a:pt x="7381182" y="8794038"/>
                  </a:lnTo>
                  <a:lnTo>
                    <a:pt x="7381182" y="8803569"/>
                  </a:lnTo>
                  <a:lnTo>
                    <a:pt x="7376416" y="8827394"/>
                  </a:lnTo>
                  <a:lnTo>
                    <a:pt x="7381182" y="8846455"/>
                  </a:lnTo>
                  <a:lnTo>
                    <a:pt x="7409772" y="8879811"/>
                  </a:lnTo>
                  <a:lnTo>
                    <a:pt x="7433598" y="8903636"/>
                  </a:lnTo>
                  <a:lnTo>
                    <a:pt x="7457424" y="8932227"/>
                  </a:lnTo>
                  <a:lnTo>
                    <a:pt x="7495544" y="8994174"/>
                  </a:lnTo>
                  <a:lnTo>
                    <a:pt x="7500310" y="9008469"/>
                  </a:lnTo>
                  <a:lnTo>
                    <a:pt x="7505075" y="9027530"/>
                  </a:lnTo>
                  <a:lnTo>
                    <a:pt x="7514605" y="9094241"/>
                  </a:lnTo>
                  <a:lnTo>
                    <a:pt x="7519370" y="9122832"/>
                  </a:lnTo>
                  <a:lnTo>
                    <a:pt x="7514605" y="9194309"/>
                  </a:lnTo>
                  <a:lnTo>
                    <a:pt x="7509840" y="9208604"/>
                  </a:lnTo>
                  <a:lnTo>
                    <a:pt x="7500310" y="9227665"/>
                  </a:lnTo>
                  <a:lnTo>
                    <a:pt x="7505075" y="9232430"/>
                  </a:lnTo>
                  <a:lnTo>
                    <a:pt x="7533666" y="9251490"/>
                  </a:lnTo>
                  <a:lnTo>
                    <a:pt x="7552726" y="9289611"/>
                  </a:lnTo>
                  <a:lnTo>
                    <a:pt x="7567022" y="9299142"/>
                  </a:lnTo>
                  <a:lnTo>
                    <a:pt x="7595612" y="9322967"/>
                  </a:lnTo>
                  <a:lnTo>
                    <a:pt x="7600378" y="9327732"/>
                  </a:lnTo>
                  <a:lnTo>
                    <a:pt x="7605142" y="9342028"/>
                  </a:lnTo>
                  <a:lnTo>
                    <a:pt x="7619438" y="9394444"/>
                  </a:lnTo>
                  <a:lnTo>
                    <a:pt x="7648028" y="9442096"/>
                  </a:lnTo>
                  <a:lnTo>
                    <a:pt x="7648028" y="9451626"/>
                  </a:lnTo>
                  <a:lnTo>
                    <a:pt x="7643264" y="9475451"/>
                  </a:lnTo>
                  <a:lnTo>
                    <a:pt x="7648028" y="9484982"/>
                  </a:lnTo>
                  <a:lnTo>
                    <a:pt x="7657559" y="9489747"/>
                  </a:lnTo>
                  <a:lnTo>
                    <a:pt x="7667089" y="9489747"/>
                  </a:lnTo>
                  <a:lnTo>
                    <a:pt x="7676620" y="9470686"/>
                  </a:lnTo>
                  <a:lnTo>
                    <a:pt x="7681384" y="9465921"/>
                  </a:lnTo>
                  <a:lnTo>
                    <a:pt x="7690915" y="9470686"/>
                  </a:lnTo>
                  <a:lnTo>
                    <a:pt x="7700445" y="9484982"/>
                  </a:lnTo>
                  <a:lnTo>
                    <a:pt x="7709976" y="9518338"/>
                  </a:lnTo>
                  <a:lnTo>
                    <a:pt x="7724270" y="9542163"/>
                  </a:lnTo>
                  <a:lnTo>
                    <a:pt x="7719506" y="9546928"/>
                  </a:lnTo>
                  <a:lnTo>
                    <a:pt x="7714740" y="9556459"/>
                  </a:lnTo>
                  <a:lnTo>
                    <a:pt x="7676620" y="9561224"/>
                  </a:lnTo>
                  <a:lnTo>
                    <a:pt x="7657559" y="9556459"/>
                  </a:lnTo>
                  <a:lnTo>
                    <a:pt x="7638498" y="9546928"/>
                  </a:lnTo>
                  <a:lnTo>
                    <a:pt x="7624203" y="9532633"/>
                  </a:lnTo>
                  <a:lnTo>
                    <a:pt x="7609908" y="9513572"/>
                  </a:lnTo>
                  <a:lnTo>
                    <a:pt x="7605142" y="9513572"/>
                  </a:lnTo>
                  <a:lnTo>
                    <a:pt x="7600378" y="9532633"/>
                  </a:lnTo>
                  <a:lnTo>
                    <a:pt x="7586082" y="9556459"/>
                  </a:lnTo>
                  <a:lnTo>
                    <a:pt x="7576552" y="9575519"/>
                  </a:lnTo>
                  <a:lnTo>
                    <a:pt x="7586082" y="9585049"/>
                  </a:lnTo>
                  <a:lnTo>
                    <a:pt x="7633733" y="9585049"/>
                  </a:lnTo>
                  <a:lnTo>
                    <a:pt x="7648028" y="9589814"/>
                  </a:lnTo>
                  <a:lnTo>
                    <a:pt x="7657559" y="9604110"/>
                  </a:lnTo>
                  <a:lnTo>
                    <a:pt x="7643264" y="9632701"/>
                  </a:lnTo>
                  <a:lnTo>
                    <a:pt x="7609908" y="9670822"/>
                  </a:lnTo>
                  <a:lnTo>
                    <a:pt x="7538430" y="9751829"/>
                  </a:lnTo>
                  <a:lnTo>
                    <a:pt x="7514605" y="9775654"/>
                  </a:lnTo>
                  <a:lnTo>
                    <a:pt x="7519370" y="9780420"/>
                  </a:lnTo>
                  <a:lnTo>
                    <a:pt x="7528900" y="9780420"/>
                  </a:lnTo>
                  <a:lnTo>
                    <a:pt x="7552726" y="9775654"/>
                  </a:lnTo>
                  <a:lnTo>
                    <a:pt x="7576552" y="9766124"/>
                  </a:lnTo>
                  <a:lnTo>
                    <a:pt x="7605142" y="9770889"/>
                  </a:lnTo>
                  <a:lnTo>
                    <a:pt x="7619438" y="9780420"/>
                  </a:lnTo>
                  <a:lnTo>
                    <a:pt x="7614672" y="9789950"/>
                  </a:lnTo>
                  <a:lnTo>
                    <a:pt x="7624203" y="9804245"/>
                  </a:lnTo>
                  <a:lnTo>
                    <a:pt x="7667089" y="9837601"/>
                  </a:lnTo>
                  <a:lnTo>
                    <a:pt x="7700445" y="9828071"/>
                  </a:lnTo>
                  <a:lnTo>
                    <a:pt x="7729036" y="9799480"/>
                  </a:lnTo>
                  <a:lnTo>
                    <a:pt x="7752862" y="9780420"/>
                  </a:lnTo>
                  <a:lnTo>
                    <a:pt x="7781452" y="9785185"/>
                  </a:lnTo>
                  <a:lnTo>
                    <a:pt x="7786218" y="9785185"/>
                  </a:lnTo>
                  <a:lnTo>
                    <a:pt x="7786218" y="9794715"/>
                  </a:lnTo>
                  <a:lnTo>
                    <a:pt x="7762392" y="9813775"/>
                  </a:lnTo>
                  <a:lnTo>
                    <a:pt x="7743331" y="9832836"/>
                  </a:lnTo>
                  <a:lnTo>
                    <a:pt x="7743331" y="9837601"/>
                  </a:lnTo>
                  <a:lnTo>
                    <a:pt x="7767157" y="9828071"/>
                  </a:lnTo>
                  <a:lnTo>
                    <a:pt x="7819573" y="9842366"/>
                  </a:lnTo>
                  <a:lnTo>
                    <a:pt x="7843399" y="9847131"/>
                  </a:lnTo>
                  <a:lnTo>
                    <a:pt x="7862460" y="9842366"/>
                  </a:lnTo>
                  <a:lnTo>
                    <a:pt x="7881520" y="9847131"/>
                  </a:lnTo>
                  <a:lnTo>
                    <a:pt x="7895815" y="9861427"/>
                  </a:lnTo>
                  <a:lnTo>
                    <a:pt x="7900580" y="9866192"/>
                  </a:lnTo>
                  <a:lnTo>
                    <a:pt x="7886285" y="9870957"/>
                  </a:lnTo>
                  <a:lnTo>
                    <a:pt x="7871990" y="9870957"/>
                  </a:lnTo>
                  <a:lnTo>
                    <a:pt x="7862460" y="9880487"/>
                  </a:lnTo>
                  <a:lnTo>
                    <a:pt x="7848164" y="9894782"/>
                  </a:lnTo>
                  <a:lnTo>
                    <a:pt x="7843399" y="9918608"/>
                  </a:lnTo>
                  <a:lnTo>
                    <a:pt x="7838634" y="9942434"/>
                  </a:lnTo>
                  <a:lnTo>
                    <a:pt x="7829104" y="9951964"/>
                  </a:lnTo>
                  <a:lnTo>
                    <a:pt x="7810043" y="9947199"/>
                  </a:lnTo>
                  <a:lnTo>
                    <a:pt x="7805278" y="9942434"/>
                  </a:lnTo>
                  <a:lnTo>
                    <a:pt x="7805278" y="9932904"/>
                  </a:lnTo>
                  <a:lnTo>
                    <a:pt x="7800512" y="9928138"/>
                  </a:lnTo>
                  <a:lnTo>
                    <a:pt x="7786218" y="9937669"/>
                  </a:lnTo>
                  <a:lnTo>
                    <a:pt x="7776687" y="9937669"/>
                  </a:lnTo>
                  <a:lnTo>
                    <a:pt x="7771922" y="9942434"/>
                  </a:lnTo>
                  <a:lnTo>
                    <a:pt x="7848164" y="10023441"/>
                  </a:lnTo>
                  <a:lnTo>
                    <a:pt x="7876754" y="10094918"/>
                  </a:lnTo>
                  <a:lnTo>
                    <a:pt x="7891050" y="10118744"/>
                  </a:lnTo>
                  <a:lnTo>
                    <a:pt x="7895815" y="10128274"/>
                  </a:lnTo>
                  <a:lnTo>
                    <a:pt x="7881520" y="10147334"/>
                  </a:lnTo>
                  <a:lnTo>
                    <a:pt x="7881520" y="10161630"/>
                  </a:lnTo>
                  <a:lnTo>
                    <a:pt x="7886285" y="10204516"/>
                  </a:lnTo>
                  <a:lnTo>
                    <a:pt x="7886285" y="10237872"/>
                  </a:lnTo>
                  <a:lnTo>
                    <a:pt x="7876754" y="10295053"/>
                  </a:lnTo>
                  <a:lnTo>
                    <a:pt x="7886285" y="10314114"/>
                  </a:lnTo>
                  <a:lnTo>
                    <a:pt x="7900580" y="10328409"/>
                  </a:lnTo>
                  <a:lnTo>
                    <a:pt x="7910110" y="10352235"/>
                  </a:lnTo>
                  <a:lnTo>
                    <a:pt x="7919641" y="10357000"/>
                  </a:lnTo>
                  <a:lnTo>
                    <a:pt x="7924406" y="10371295"/>
                  </a:lnTo>
                  <a:lnTo>
                    <a:pt x="7929171" y="10385591"/>
                  </a:lnTo>
                  <a:lnTo>
                    <a:pt x="7933936" y="10385591"/>
                  </a:lnTo>
                  <a:lnTo>
                    <a:pt x="7938702" y="10380826"/>
                  </a:lnTo>
                  <a:lnTo>
                    <a:pt x="7943466" y="10366530"/>
                  </a:lnTo>
                  <a:lnTo>
                    <a:pt x="7948232" y="10352235"/>
                  </a:lnTo>
                  <a:lnTo>
                    <a:pt x="7967292" y="10328409"/>
                  </a:lnTo>
                  <a:lnTo>
                    <a:pt x="7981588" y="10290288"/>
                  </a:lnTo>
                  <a:lnTo>
                    <a:pt x="7986352" y="10275993"/>
                  </a:lnTo>
                  <a:lnTo>
                    <a:pt x="7981588" y="10242637"/>
                  </a:lnTo>
                  <a:lnTo>
                    <a:pt x="7986352" y="10233106"/>
                  </a:lnTo>
                  <a:lnTo>
                    <a:pt x="8000648" y="10185455"/>
                  </a:lnTo>
                  <a:lnTo>
                    <a:pt x="8005413" y="10152099"/>
                  </a:lnTo>
                  <a:lnTo>
                    <a:pt x="8010178" y="10099683"/>
                  </a:lnTo>
                  <a:lnTo>
                    <a:pt x="8019708" y="10061562"/>
                  </a:lnTo>
                  <a:lnTo>
                    <a:pt x="8038769" y="10032971"/>
                  </a:lnTo>
                  <a:lnTo>
                    <a:pt x="8067360" y="9971025"/>
                  </a:lnTo>
                  <a:lnTo>
                    <a:pt x="8081655" y="9956729"/>
                  </a:lnTo>
                  <a:lnTo>
                    <a:pt x="8091186" y="9951964"/>
                  </a:lnTo>
                  <a:lnTo>
                    <a:pt x="8115011" y="9951964"/>
                  </a:lnTo>
                  <a:lnTo>
                    <a:pt x="8129306" y="9971025"/>
                  </a:lnTo>
                  <a:lnTo>
                    <a:pt x="8153132" y="10009146"/>
                  </a:lnTo>
                  <a:lnTo>
                    <a:pt x="8181723" y="10042502"/>
                  </a:lnTo>
                  <a:lnTo>
                    <a:pt x="8229374" y="10090153"/>
                  </a:lnTo>
                  <a:lnTo>
                    <a:pt x="8243670" y="10104448"/>
                  </a:lnTo>
                  <a:lnTo>
                    <a:pt x="8272260" y="10152099"/>
                  </a:lnTo>
                  <a:lnTo>
                    <a:pt x="8286556" y="10194986"/>
                  </a:lnTo>
                  <a:lnTo>
                    <a:pt x="8291321" y="10256932"/>
                  </a:lnTo>
                  <a:lnTo>
                    <a:pt x="8300851" y="10295053"/>
                  </a:lnTo>
                  <a:lnTo>
                    <a:pt x="8305616" y="10309348"/>
                  </a:lnTo>
                  <a:lnTo>
                    <a:pt x="8310382" y="10323644"/>
                  </a:lnTo>
                  <a:lnTo>
                    <a:pt x="8310382" y="10352235"/>
                  </a:lnTo>
                  <a:lnTo>
                    <a:pt x="8305616" y="10371295"/>
                  </a:lnTo>
                  <a:lnTo>
                    <a:pt x="8300851" y="10385591"/>
                  </a:lnTo>
                  <a:lnTo>
                    <a:pt x="8296086" y="10390356"/>
                  </a:lnTo>
                  <a:lnTo>
                    <a:pt x="8281790" y="10395121"/>
                  </a:lnTo>
                  <a:lnTo>
                    <a:pt x="8262730" y="10390356"/>
                  </a:lnTo>
                  <a:lnTo>
                    <a:pt x="8257965" y="10385591"/>
                  </a:lnTo>
                  <a:lnTo>
                    <a:pt x="8248434" y="10357000"/>
                  </a:lnTo>
                  <a:lnTo>
                    <a:pt x="8243670" y="10352235"/>
                  </a:lnTo>
                  <a:lnTo>
                    <a:pt x="8224609" y="10376060"/>
                  </a:lnTo>
                  <a:lnTo>
                    <a:pt x="8224609" y="10385591"/>
                  </a:lnTo>
                  <a:lnTo>
                    <a:pt x="8229374" y="10428477"/>
                  </a:lnTo>
                  <a:lnTo>
                    <a:pt x="8229374" y="10499954"/>
                  </a:lnTo>
                  <a:lnTo>
                    <a:pt x="8229374" y="10514249"/>
                  </a:lnTo>
                  <a:lnTo>
                    <a:pt x="8248434" y="10590491"/>
                  </a:lnTo>
                  <a:lnTo>
                    <a:pt x="8281790" y="10652438"/>
                  </a:lnTo>
                  <a:lnTo>
                    <a:pt x="8358032" y="10762036"/>
                  </a:lnTo>
                  <a:lnTo>
                    <a:pt x="8362798" y="10771566"/>
                  </a:lnTo>
                  <a:lnTo>
                    <a:pt x="8372328" y="10819217"/>
                  </a:lnTo>
                  <a:lnTo>
                    <a:pt x="8372328" y="10828747"/>
                  </a:lnTo>
                  <a:lnTo>
                    <a:pt x="8381858" y="10833512"/>
                  </a:lnTo>
                  <a:lnTo>
                    <a:pt x="8386624" y="10833512"/>
                  </a:lnTo>
                  <a:lnTo>
                    <a:pt x="8396154" y="10828747"/>
                  </a:lnTo>
                  <a:lnTo>
                    <a:pt x="8424744" y="10795392"/>
                  </a:lnTo>
                  <a:lnTo>
                    <a:pt x="8448570" y="10762036"/>
                  </a:lnTo>
                  <a:lnTo>
                    <a:pt x="8462865" y="10742975"/>
                  </a:lnTo>
                  <a:lnTo>
                    <a:pt x="8472396" y="10738210"/>
                  </a:lnTo>
                  <a:lnTo>
                    <a:pt x="8486691" y="10733445"/>
                  </a:lnTo>
                  <a:lnTo>
                    <a:pt x="8496221" y="10723915"/>
                  </a:lnTo>
                  <a:lnTo>
                    <a:pt x="8505752" y="10709619"/>
                  </a:lnTo>
                  <a:lnTo>
                    <a:pt x="8505752" y="10695324"/>
                  </a:lnTo>
                  <a:lnTo>
                    <a:pt x="8515282" y="10642907"/>
                  </a:lnTo>
                  <a:lnTo>
                    <a:pt x="8520047" y="10614317"/>
                  </a:lnTo>
                  <a:lnTo>
                    <a:pt x="8529577" y="10580961"/>
                  </a:lnTo>
                  <a:lnTo>
                    <a:pt x="8534342" y="10566665"/>
                  </a:lnTo>
                  <a:lnTo>
                    <a:pt x="8593906" y="10476128"/>
                  </a:lnTo>
                  <a:lnTo>
                    <a:pt x="8598672" y="10466598"/>
                  </a:lnTo>
                  <a:lnTo>
                    <a:pt x="8622497" y="10357000"/>
                  </a:lnTo>
                  <a:lnTo>
                    <a:pt x="8632027" y="10309348"/>
                  </a:lnTo>
                  <a:lnTo>
                    <a:pt x="8632027" y="10275993"/>
                  </a:lnTo>
                  <a:lnTo>
                    <a:pt x="8632027" y="10252167"/>
                  </a:lnTo>
                  <a:lnTo>
                    <a:pt x="8632027" y="10228341"/>
                  </a:lnTo>
                  <a:lnTo>
                    <a:pt x="8636793" y="10214046"/>
                  </a:lnTo>
                  <a:lnTo>
                    <a:pt x="8646323" y="10199751"/>
                  </a:lnTo>
                  <a:lnTo>
                    <a:pt x="8655853" y="10185455"/>
                  </a:lnTo>
                  <a:lnTo>
                    <a:pt x="8665383" y="10171160"/>
                  </a:lnTo>
                  <a:lnTo>
                    <a:pt x="8670148" y="10166395"/>
                  </a:lnTo>
                  <a:lnTo>
                    <a:pt x="8679679" y="10166395"/>
                  </a:lnTo>
                  <a:lnTo>
                    <a:pt x="8693974" y="10180690"/>
                  </a:lnTo>
                  <a:lnTo>
                    <a:pt x="8703504" y="10180690"/>
                  </a:lnTo>
                  <a:lnTo>
                    <a:pt x="8765451" y="10166395"/>
                  </a:lnTo>
                  <a:lnTo>
                    <a:pt x="8765451" y="10161630"/>
                  </a:lnTo>
                  <a:lnTo>
                    <a:pt x="8727330" y="10137804"/>
                  </a:lnTo>
                  <a:lnTo>
                    <a:pt x="8732095" y="10123509"/>
                  </a:lnTo>
                  <a:lnTo>
                    <a:pt x="8732095" y="10109213"/>
                  </a:lnTo>
                  <a:lnTo>
                    <a:pt x="8746390" y="10090153"/>
                  </a:lnTo>
                  <a:lnTo>
                    <a:pt x="8760686" y="10085388"/>
                  </a:lnTo>
                  <a:lnTo>
                    <a:pt x="8760686" y="10075857"/>
                  </a:lnTo>
                  <a:lnTo>
                    <a:pt x="8760686" y="10061562"/>
                  </a:lnTo>
                  <a:lnTo>
                    <a:pt x="8765451" y="10037736"/>
                  </a:lnTo>
                  <a:lnTo>
                    <a:pt x="8760686" y="10028206"/>
                  </a:lnTo>
                  <a:lnTo>
                    <a:pt x="8727330" y="9994850"/>
                  </a:lnTo>
                  <a:lnTo>
                    <a:pt x="8708269" y="9999615"/>
                  </a:lnTo>
                  <a:lnTo>
                    <a:pt x="8703504" y="9994850"/>
                  </a:lnTo>
                  <a:lnTo>
                    <a:pt x="8684444" y="9966259"/>
                  </a:lnTo>
                  <a:lnTo>
                    <a:pt x="8679679" y="9928138"/>
                  </a:lnTo>
                  <a:lnTo>
                    <a:pt x="8679679" y="9913843"/>
                  </a:lnTo>
                  <a:lnTo>
                    <a:pt x="8679679" y="9890017"/>
                  </a:lnTo>
                  <a:lnTo>
                    <a:pt x="8684444" y="9880487"/>
                  </a:lnTo>
                  <a:lnTo>
                    <a:pt x="8679679" y="9870957"/>
                  </a:lnTo>
                  <a:lnTo>
                    <a:pt x="8679679" y="9856662"/>
                  </a:lnTo>
                  <a:lnTo>
                    <a:pt x="8674914" y="9842366"/>
                  </a:lnTo>
                  <a:lnTo>
                    <a:pt x="8679679" y="9828071"/>
                  </a:lnTo>
                  <a:lnTo>
                    <a:pt x="8679679" y="9813775"/>
                  </a:lnTo>
                  <a:lnTo>
                    <a:pt x="8670148" y="9794715"/>
                  </a:lnTo>
                  <a:lnTo>
                    <a:pt x="8665383" y="9780420"/>
                  </a:lnTo>
                  <a:lnTo>
                    <a:pt x="8674914" y="9737533"/>
                  </a:lnTo>
                  <a:lnTo>
                    <a:pt x="8674914" y="9723238"/>
                  </a:lnTo>
                  <a:lnTo>
                    <a:pt x="8670148" y="9704178"/>
                  </a:lnTo>
                  <a:lnTo>
                    <a:pt x="8660618" y="9699412"/>
                  </a:lnTo>
                  <a:lnTo>
                    <a:pt x="8665383" y="9694647"/>
                  </a:lnTo>
                  <a:lnTo>
                    <a:pt x="8679679" y="9689882"/>
                  </a:lnTo>
                  <a:lnTo>
                    <a:pt x="8698739" y="9699412"/>
                  </a:lnTo>
                  <a:lnTo>
                    <a:pt x="8717800" y="9713708"/>
                  </a:lnTo>
                  <a:lnTo>
                    <a:pt x="8741625" y="9713708"/>
                  </a:lnTo>
                  <a:lnTo>
                    <a:pt x="8770216" y="9699412"/>
                  </a:lnTo>
                  <a:lnTo>
                    <a:pt x="8798807" y="9689882"/>
                  </a:lnTo>
                  <a:lnTo>
                    <a:pt x="8851223" y="9694647"/>
                  </a:lnTo>
                  <a:lnTo>
                    <a:pt x="8865519" y="9699412"/>
                  </a:lnTo>
                  <a:lnTo>
                    <a:pt x="8913170" y="9737533"/>
                  </a:lnTo>
                  <a:lnTo>
                    <a:pt x="8956056" y="9761359"/>
                  </a:lnTo>
                  <a:lnTo>
                    <a:pt x="8970351" y="9756594"/>
                  </a:lnTo>
                  <a:lnTo>
                    <a:pt x="9060889" y="9766124"/>
                  </a:lnTo>
                  <a:lnTo>
                    <a:pt x="9099010" y="9761359"/>
                  </a:lnTo>
                  <a:lnTo>
                    <a:pt x="9118070" y="9761359"/>
                  </a:lnTo>
                  <a:lnTo>
                    <a:pt x="9156191" y="9785185"/>
                  </a:lnTo>
                  <a:lnTo>
                    <a:pt x="9151426" y="9804245"/>
                  </a:lnTo>
                  <a:lnTo>
                    <a:pt x="9137131" y="9832836"/>
                  </a:lnTo>
                  <a:lnTo>
                    <a:pt x="9113305" y="9842366"/>
                  </a:lnTo>
                  <a:lnTo>
                    <a:pt x="9094245" y="9851896"/>
                  </a:lnTo>
                  <a:lnTo>
                    <a:pt x="9113305" y="9866192"/>
                  </a:lnTo>
                  <a:lnTo>
                    <a:pt x="9165722" y="9890017"/>
                  </a:lnTo>
                  <a:lnTo>
                    <a:pt x="9180017" y="9923373"/>
                  </a:lnTo>
                  <a:lnTo>
                    <a:pt x="9180017" y="9937669"/>
                  </a:lnTo>
                  <a:lnTo>
                    <a:pt x="9175252" y="9951964"/>
                  </a:lnTo>
                  <a:lnTo>
                    <a:pt x="9180017" y="9961494"/>
                  </a:lnTo>
                  <a:lnTo>
                    <a:pt x="9189547" y="9961494"/>
                  </a:lnTo>
                  <a:lnTo>
                    <a:pt x="9222903" y="9947199"/>
                  </a:lnTo>
                  <a:lnTo>
                    <a:pt x="9256259" y="9956729"/>
                  </a:lnTo>
                  <a:lnTo>
                    <a:pt x="9303910" y="9980555"/>
                  </a:lnTo>
                  <a:lnTo>
                    <a:pt x="9313441" y="9990085"/>
                  </a:lnTo>
                  <a:lnTo>
                    <a:pt x="9318206" y="10009146"/>
                  </a:lnTo>
                  <a:lnTo>
                    <a:pt x="9318206" y="10018676"/>
                  </a:lnTo>
                  <a:lnTo>
                    <a:pt x="9275320" y="10066327"/>
                  </a:lnTo>
                  <a:lnTo>
                    <a:pt x="9251494" y="10090153"/>
                  </a:lnTo>
                  <a:lnTo>
                    <a:pt x="9222903" y="10109213"/>
                  </a:lnTo>
                  <a:lnTo>
                    <a:pt x="9222903" y="10118744"/>
                  </a:lnTo>
                  <a:lnTo>
                    <a:pt x="9261024" y="10123509"/>
                  </a:lnTo>
                  <a:lnTo>
                    <a:pt x="9294380" y="10128274"/>
                  </a:lnTo>
                  <a:lnTo>
                    <a:pt x="9308676" y="10133039"/>
                  </a:lnTo>
                  <a:lnTo>
                    <a:pt x="9318206" y="10142569"/>
                  </a:lnTo>
                  <a:lnTo>
                    <a:pt x="9327736" y="10166395"/>
                  </a:lnTo>
                  <a:lnTo>
                    <a:pt x="9332501" y="10180690"/>
                  </a:lnTo>
                  <a:lnTo>
                    <a:pt x="9327736" y="10204516"/>
                  </a:lnTo>
                  <a:lnTo>
                    <a:pt x="9327736" y="10218811"/>
                  </a:lnTo>
                  <a:lnTo>
                    <a:pt x="9289615" y="10261697"/>
                  </a:lnTo>
                  <a:lnTo>
                    <a:pt x="9270555" y="10275993"/>
                  </a:lnTo>
                  <a:lnTo>
                    <a:pt x="9241964" y="10290288"/>
                  </a:lnTo>
                  <a:lnTo>
                    <a:pt x="9227668" y="10299818"/>
                  </a:lnTo>
                  <a:lnTo>
                    <a:pt x="9213373" y="10299818"/>
                  </a:lnTo>
                  <a:lnTo>
                    <a:pt x="9199078" y="10285523"/>
                  </a:lnTo>
                  <a:lnTo>
                    <a:pt x="9180017" y="10280758"/>
                  </a:lnTo>
                  <a:lnTo>
                    <a:pt x="9151426" y="10295053"/>
                  </a:lnTo>
                  <a:lnTo>
                    <a:pt x="9137131" y="10295053"/>
                  </a:lnTo>
                  <a:lnTo>
                    <a:pt x="9127601" y="10299818"/>
                  </a:lnTo>
                  <a:lnTo>
                    <a:pt x="9127601" y="10309348"/>
                  </a:lnTo>
                  <a:lnTo>
                    <a:pt x="9141896" y="10333174"/>
                  </a:lnTo>
                  <a:lnTo>
                    <a:pt x="9151426" y="10347470"/>
                  </a:lnTo>
                  <a:lnTo>
                    <a:pt x="9151426" y="10352235"/>
                  </a:lnTo>
                  <a:lnTo>
                    <a:pt x="9146661" y="10366530"/>
                  </a:lnTo>
                  <a:lnTo>
                    <a:pt x="9146661" y="10371295"/>
                  </a:lnTo>
                  <a:lnTo>
                    <a:pt x="9151426" y="10376060"/>
                  </a:lnTo>
                  <a:lnTo>
                    <a:pt x="9180017" y="10433242"/>
                  </a:lnTo>
                  <a:lnTo>
                    <a:pt x="9184782" y="10438007"/>
                  </a:lnTo>
                  <a:lnTo>
                    <a:pt x="9189547" y="10438007"/>
                  </a:lnTo>
                  <a:lnTo>
                    <a:pt x="9203843" y="10418946"/>
                  </a:lnTo>
                  <a:lnTo>
                    <a:pt x="9208608" y="10414181"/>
                  </a:lnTo>
                  <a:lnTo>
                    <a:pt x="9213373" y="10414181"/>
                  </a:lnTo>
                  <a:lnTo>
                    <a:pt x="9213373" y="10423712"/>
                  </a:lnTo>
                  <a:lnTo>
                    <a:pt x="9199078" y="10476128"/>
                  </a:lnTo>
                  <a:lnTo>
                    <a:pt x="9199078" y="10485658"/>
                  </a:lnTo>
                  <a:lnTo>
                    <a:pt x="9199078" y="10499954"/>
                  </a:lnTo>
                  <a:lnTo>
                    <a:pt x="9203843" y="10523779"/>
                  </a:lnTo>
                  <a:lnTo>
                    <a:pt x="9218138" y="10552370"/>
                  </a:lnTo>
                  <a:lnTo>
                    <a:pt x="9232433" y="10576196"/>
                  </a:lnTo>
                  <a:lnTo>
                    <a:pt x="9261024" y="10609552"/>
                  </a:lnTo>
                  <a:lnTo>
                    <a:pt x="9294380" y="10647672"/>
                  </a:lnTo>
                  <a:lnTo>
                    <a:pt x="9303910" y="10661968"/>
                  </a:lnTo>
                  <a:lnTo>
                    <a:pt x="9322971" y="10704854"/>
                  </a:lnTo>
                  <a:lnTo>
                    <a:pt x="9327736" y="10719150"/>
                  </a:lnTo>
                  <a:lnTo>
                    <a:pt x="9322971" y="10762036"/>
                  </a:lnTo>
                  <a:lnTo>
                    <a:pt x="9308676" y="10828747"/>
                  </a:lnTo>
                  <a:lnTo>
                    <a:pt x="9299145" y="10866868"/>
                  </a:lnTo>
                  <a:lnTo>
                    <a:pt x="9299145" y="10876398"/>
                  </a:lnTo>
                  <a:lnTo>
                    <a:pt x="9270555" y="10904990"/>
                  </a:lnTo>
                  <a:lnTo>
                    <a:pt x="9256259" y="10909754"/>
                  </a:lnTo>
                  <a:lnTo>
                    <a:pt x="9232433" y="10909754"/>
                  </a:lnTo>
                  <a:lnTo>
                    <a:pt x="9227668" y="10914520"/>
                  </a:lnTo>
                  <a:lnTo>
                    <a:pt x="9213373" y="10933580"/>
                  </a:lnTo>
                  <a:lnTo>
                    <a:pt x="9194312" y="10971701"/>
                  </a:lnTo>
                  <a:lnTo>
                    <a:pt x="9184782" y="10995527"/>
                  </a:lnTo>
                  <a:lnTo>
                    <a:pt x="9175252" y="11009822"/>
                  </a:lnTo>
                  <a:lnTo>
                    <a:pt x="9156191" y="11019352"/>
                  </a:lnTo>
                  <a:lnTo>
                    <a:pt x="9127601" y="11052708"/>
                  </a:lnTo>
                  <a:lnTo>
                    <a:pt x="9113305" y="11067004"/>
                  </a:lnTo>
                  <a:lnTo>
                    <a:pt x="9065654" y="11081299"/>
                  </a:lnTo>
                  <a:lnTo>
                    <a:pt x="9027533" y="11128950"/>
                  </a:lnTo>
                  <a:lnTo>
                    <a:pt x="9013238" y="11143246"/>
                  </a:lnTo>
                  <a:lnTo>
                    <a:pt x="8994177" y="11152776"/>
                  </a:lnTo>
                  <a:lnTo>
                    <a:pt x="8975117" y="11152776"/>
                  </a:lnTo>
                  <a:lnTo>
                    <a:pt x="8965586" y="11148011"/>
                  </a:lnTo>
                  <a:lnTo>
                    <a:pt x="8960821" y="11114655"/>
                  </a:lnTo>
                  <a:lnTo>
                    <a:pt x="8956056" y="11109890"/>
                  </a:lnTo>
                  <a:lnTo>
                    <a:pt x="8941761" y="11090829"/>
                  </a:lnTo>
                  <a:lnTo>
                    <a:pt x="8913170" y="11033648"/>
                  </a:lnTo>
                  <a:lnTo>
                    <a:pt x="8903640" y="11009822"/>
                  </a:lnTo>
                  <a:lnTo>
                    <a:pt x="8894109" y="11009822"/>
                  </a:lnTo>
                  <a:lnTo>
                    <a:pt x="8879814" y="11009822"/>
                  </a:lnTo>
                  <a:lnTo>
                    <a:pt x="8870284" y="11009822"/>
                  </a:lnTo>
                  <a:lnTo>
                    <a:pt x="8851223" y="10990762"/>
                  </a:lnTo>
                  <a:lnTo>
                    <a:pt x="8846458" y="10981232"/>
                  </a:lnTo>
                  <a:lnTo>
                    <a:pt x="8846458" y="10976466"/>
                  </a:lnTo>
                  <a:lnTo>
                    <a:pt x="8860754" y="10966936"/>
                  </a:lnTo>
                  <a:lnTo>
                    <a:pt x="8851223" y="10957406"/>
                  </a:lnTo>
                  <a:lnTo>
                    <a:pt x="8827398" y="10933580"/>
                  </a:lnTo>
                  <a:lnTo>
                    <a:pt x="8817867" y="10919285"/>
                  </a:lnTo>
                  <a:lnTo>
                    <a:pt x="8817867" y="10914520"/>
                  </a:lnTo>
                  <a:lnTo>
                    <a:pt x="8794042" y="10895459"/>
                  </a:lnTo>
                  <a:lnTo>
                    <a:pt x="8770216" y="10890694"/>
                  </a:lnTo>
                  <a:lnTo>
                    <a:pt x="8741625" y="10919285"/>
                  </a:lnTo>
                  <a:lnTo>
                    <a:pt x="8727330" y="10943110"/>
                  </a:lnTo>
                  <a:lnTo>
                    <a:pt x="8727330" y="10947876"/>
                  </a:lnTo>
                  <a:lnTo>
                    <a:pt x="8741625" y="10952641"/>
                  </a:lnTo>
                  <a:lnTo>
                    <a:pt x="8751156" y="10952641"/>
                  </a:lnTo>
                  <a:lnTo>
                    <a:pt x="8760686" y="10933580"/>
                  </a:lnTo>
                  <a:lnTo>
                    <a:pt x="8770216" y="10928815"/>
                  </a:lnTo>
                  <a:lnTo>
                    <a:pt x="8789277" y="10928815"/>
                  </a:lnTo>
                  <a:lnTo>
                    <a:pt x="8803572" y="10943110"/>
                  </a:lnTo>
                  <a:lnTo>
                    <a:pt x="8808337" y="10952641"/>
                  </a:lnTo>
                  <a:lnTo>
                    <a:pt x="8808337" y="10962171"/>
                  </a:lnTo>
                  <a:lnTo>
                    <a:pt x="8851223" y="11019352"/>
                  </a:lnTo>
                  <a:lnTo>
                    <a:pt x="8865519" y="11028883"/>
                  </a:lnTo>
                  <a:lnTo>
                    <a:pt x="8875049" y="11043178"/>
                  </a:lnTo>
                  <a:lnTo>
                    <a:pt x="8879814" y="11067004"/>
                  </a:lnTo>
                  <a:lnTo>
                    <a:pt x="8889344" y="11090829"/>
                  </a:lnTo>
                  <a:lnTo>
                    <a:pt x="8908405" y="11133716"/>
                  </a:lnTo>
                  <a:lnTo>
                    <a:pt x="8927465" y="11186132"/>
                  </a:lnTo>
                  <a:lnTo>
                    <a:pt x="8932230" y="11205192"/>
                  </a:lnTo>
                  <a:lnTo>
                    <a:pt x="8922700" y="11214722"/>
                  </a:lnTo>
                  <a:lnTo>
                    <a:pt x="8917935" y="11214722"/>
                  </a:lnTo>
                  <a:lnTo>
                    <a:pt x="8898875" y="11205192"/>
                  </a:lnTo>
                  <a:lnTo>
                    <a:pt x="8855988" y="11181367"/>
                  </a:lnTo>
                  <a:lnTo>
                    <a:pt x="8851223" y="11181367"/>
                  </a:lnTo>
                  <a:lnTo>
                    <a:pt x="8841693" y="11195662"/>
                  </a:lnTo>
                  <a:lnTo>
                    <a:pt x="8832163" y="11224253"/>
                  </a:lnTo>
                  <a:lnTo>
                    <a:pt x="8827398" y="11229018"/>
                  </a:lnTo>
                  <a:lnTo>
                    <a:pt x="8803572" y="11214722"/>
                  </a:lnTo>
                  <a:lnTo>
                    <a:pt x="8760686" y="11190897"/>
                  </a:lnTo>
                  <a:lnTo>
                    <a:pt x="8732095" y="11171836"/>
                  </a:lnTo>
                  <a:lnTo>
                    <a:pt x="8717800" y="11152776"/>
                  </a:lnTo>
                  <a:lnTo>
                    <a:pt x="8698739" y="11124185"/>
                  </a:lnTo>
                  <a:lnTo>
                    <a:pt x="8674914" y="11086064"/>
                  </a:lnTo>
                  <a:lnTo>
                    <a:pt x="8651088" y="11076534"/>
                  </a:lnTo>
                  <a:lnTo>
                    <a:pt x="8622497" y="11090829"/>
                  </a:lnTo>
                  <a:lnTo>
                    <a:pt x="8579611" y="11095594"/>
                  </a:lnTo>
                  <a:lnTo>
                    <a:pt x="8491456" y="11090829"/>
                  </a:lnTo>
                  <a:lnTo>
                    <a:pt x="8481926" y="11090829"/>
                  </a:lnTo>
                  <a:lnTo>
                    <a:pt x="8477161" y="11095594"/>
                  </a:lnTo>
                  <a:lnTo>
                    <a:pt x="8486691" y="11119420"/>
                  </a:lnTo>
                  <a:lnTo>
                    <a:pt x="8481926" y="11124185"/>
                  </a:lnTo>
                  <a:lnTo>
                    <a:pt x="8477161" y="11128950"/>
                  </a:lnTo>
                  <a:lnTo>
                    <a:pt x="8477161" y="11133716"/>
                  </a:lnTo>
                  <a:lnTo>
                    <a:pt x="8486691" y="11157541"/>
                  </a:lnTo>
                  <a:lnTo>
                    <a:pt x="8500986" y="11171836"/>
                  </a:lnTo>
                  <a:lnTo>
                    <a:pt x="8543873" y="11190897"/>
                  </a:lnTo>
                  <a:lnTo>
                    <a:pt x="8572463" y="11209958"/>
                  </a:lnTo>
                  <a:lnTo>
                    <a:pt x="8589141" y="11224253"/>
                  </a:lnTo>
                  <a:lnTo>
                    <a:pt x="8593906" y="11233783"/>
                  </a:lnTo>
                  <a:lnTo>
                    <a:pt x="8593906" y="11248078"/>
                  </a:lnTo>
                  <a:lnTo>
                    <a:pt x="8589141" y="11276669"/>
                  </a:lnTo>
                  <a:lnTo>
                    <a:pt x="8584376" y="11286200"/>
                  </a:lnTo>
                  <a:lnTo>
                    <a:pt x="8481926" y="11419623"/>
                  </a:lnTo>
                  <a:lnTo>
                    <a:pt x="8443805" y="11476804"/>
                  </a:lnTo>
                  <a:lnTo>
                    <a:pt x="8424744" y="11510160"/>
                  </a:lnTo>
                  <a:lnTo>
                    <a:pt x="8405684" y="11529221"/>
                  </a:lnTo>
                  <a:lnTo>
                    <a:pt x="8391388" y="11538751"/>
                  </a:lnTo>
                  <a:lnTo>
                    <a:pt x="8362798" y="11548282"/>
                  </a:lnTo>
                  <a:lnTo>
                    <a:pt x="8329442" y="11548282"/>
                  </a:lnTo>
                  <a:lnTo>
                    <a:pt x="8286556" y="11543516"/>
                  </a:lnTo>
                  <a:lnTo>
                    <a:pt x="8257965" y="11524456"/>
                  </a:lnTo>
                  <a:lnTo>
                    <a:pt x="8219844" y="11481570"/>
                  </a:lnTo>
                  <a:lnTo>
                    <a:pt x="8186488" y="11452979"/>
                  </a:lnTo>
                  <a:lnTo>
                    <a:pt x="8172192" y="11443449"/>
                  </a:lnTo>
                  <a:lnTo>
                    <a:pt x="8162662" y="11419623"/>
                  </a:lnTo>
                  <a:lnTo>
                    <a:pt x="8153132" y="11414858"/>
                  </a:lnTo>
                  <a:lnTo>
                    <a:pt x="8134072" y="11410093"/>
                  </a:lnTo>
                  <a:lnTo>
                    <a:pt x="8110246" y="11395798"/>
                  </a:lnTo>
                  <a:lnTo>
                    <a:pt x="8057830" y="11348146"/>
                  </a:lnTo>
                  <a:lnTo>
                    <a:pt x="8029239" y="11329086"/>
                  </a:lnTo>
                  <a:lnTo>
                    <a:pt x="8005413" y="11319556"/>
                  </a:lnTo>
                  <a:lnTo>
                    <a:pt x="7986352" y="11319556"/>
                  </a:lnTo>
                  <a:lnTo>
                    <a:pt x="7976822" y="11319556"/>
                  </a:lnTo>
                  <a:lnTo>
                    <a:pt x="7991118" y="11343381"/>
                  </a:lnTo>
                  <a:lnTo>
                    <a:pt x="7986352" y="11348146"/>
                  </a:lnTo>
                  <a:lnTo>
                    <a:pt x="7967292" y="11338616"/>
                  </a:lnTo>
                  <a:lnTo>
                    <a:pt x="7948232" y="11338616"/>
                  </a:lnTo>
                  <a:lnTo>
                    <a:pt x="7919641" y="11324320"/>
                  </a:lnTo>
                  <a:lnTo>
                    <a:pt x="7886285" y="11324320"/>
                  </a:lnTo>
                  <a:lnTo>
                    <a:pt x="7862460" y="11324320"/>
                  </a:lnTo>
                  <a:lnTo>
                    <a:pt x="7838634" y="11314790"/>
                  </a:lnTo>
                  <a:lnTo>
                    <a:pt x="7810043" y="11310025"/>
                  </a:lnTo>
                  <a:lnTo>
                    <a:pt x="7762392" y="11310025"/>
                  </a:lnTo>
                  <a:lnTo>
                    <a:pt x="7748096" y="11310025"/>
                  </a:lnTo>
                  <a:lnTo>
                    <a:pt x="7743331" y="11314790"/>
                  </a:lnTo>
                  <a:lnTo>
                    <a:pt x="7767157" y="11333851"/>
                  </a:lnTo>
                  <a:lnTo>
                    <a:pt x="7805278" y="11362442"/>
                  </a:lnTo>
                  <a:lnTo>
                    <a:pt x="7800512" y="11338616"/>
                  </a:lnTo>
                  <a:lnTo>
                    <a:pt x="7800512" y="11333851"/>
                  </a:lnTo>
                  <a:lnTo>
                    <a:pt x="7814808" y="11324320"/>
                  </a:lnTo>
                  <a:lnTo>
                    <a:pt x="7871990" y="11338616"/>
                  </a:lnTo>
                  <a:lnTo>
                    <a:pt x="7943466" y="11367207"/>
                  </a:lnTo>
                  <a:lnTo>
                    <a:pt x="7957762" y="11371972"/>
                  </a:lnTo>
                  <a:lnTo>
                    <a:pt x="7976822" y="11381502"/>
                  </a:lnTo>
                  <a:lnTo>
                    <a:pt x="8000648" y="11395798"/>
                  </a:lnTo>
                  <a:lnTo>
                    <a:pt x="8029239" y="11429153"/>
                  </a:lnTo>
                  <a:lnTo>
                    <a:pt x="8086420" y="11505395"/>
                  </a:lnTo>
                  <a:lnTo>
                    <a:pt x="8105481" y="11524456"/>
                  </a:lnTo>
                  <a:lnTo>
                    <a:pt x="8129306" y="11543516"/>
                  </a:lnTo>
                  <a:lnTo>
                    <a:pt x="8248434" y="11567342"/>
                  </a:lnTo>
                  <a:lnTo>
                    <a:pt x="8291321" y="11567342"/>
                  </a:lnTo>
                  <a:lnTo>
                    <a:pt x="8372328" y="11576872"/>
                  </a:lnTo>
                  <a:lnTo>
                    <a:pt x="8419979" y="11586402"/>
                  </a:lnTo>
                  <a:lnTo>
                    <a:pt x="8429510" y="11600698"/>
                  </a:lnTo>
                  <a:lnTo>
                    <a:pt x="8434275" y="11634054"/>
                  </a:lnTo>
                  <a:lnTo>
                    <a:pt x="8429510" y="11648349"/>
                  </a:lnTo>
                  <a:lnTo>
                    <a:pt x="8405684" y="11700766"/>
                  </a:lnTo>
                  <a:lnTo>
                    <a:pt x="8391388" y="11734122"/>
                  </a:lnTo>
                  <a:lnTo>
                    <a:pt x="8296086" y="11891370"/>
                  </a:lnTo>
                  <a:lnTo>
                    <a:pt x="8286556" y="11924726"/>
                  </a:lnTo>
                  <a:lnTo>
                    <a:pt x="8281790" y="11948552"/>
                  </a:lnTo>
                  <a:lnTo>
                    <a:pt x="8262730" y="11967612"/>
                  </a:lnTo>
                  <a:lnTo>
                    <a:pt x="8219844" y="12000968"/>
                  </a:lnTo>
                  <a:lnTo>
                    <a:pt x="8176958" y="12029559"/>
                  </a:lnTo>
                  <a:lnTo>
                    <a:pt x="8153132" y="12039090"/>
                  </a:lnTo>
                  <a:lnTo>
                    <a:pt x="8129306" y="12029559"/>
                  </a:lnTo>
                  <a:lnTo>
                    <a:pt x="8115011" y="12024794"/>
                  </a:lnTo>
                  <a:lnTo>
                    <a:pt x="8091186" y="11996203"/>
                  </a:lnTo>
                  <a:lnTo>
                    <a:pt x="8105481" y="12043855"/>
                  </a:lnTo>
                  <a:lnTo>
                    <a:pt x="8100716" y="12048620"/>
                  </a:lnTo>
                  <a:lnTo>
                    <a:pt x="8091186" y="12039090"/>
                  </a:lnTo>
                  <a:lnTo>
                    <a:pt x="8057830" y="12020029"/>
                  </a:lnTo>
                  <a:lnTo>
                    <a:pt x="8053064" y="12024794"/>
                  </a:lnTo>
                  <a:lnTo>
                    <a:pt x="8043534" y="12029559"/>
                  </a:lnTo>
                  <a:lnTo>
                    <a:pt x="8038769" y="12029559"/>
                  </a:lnTo>
                  <a:lnTo>
                    <a:pt x="8029239" y="12024794"/>
                  </a:lnTo>
                  <a:lnTo>
                    <a:pt x="8010178" y="12005734"/>
                  </a:lnTo>
                  <a:lnTo>
                    <a:pt x="8005413" y="12000968"/>
                  </a:lnTo>
                  <a:lnTo>
                    <a:pt x="8000648" y="11977143"/>
                  </a:lnTo>
                  <a:lnTo>
                    <a:pt x="7995883" y="11972378"/>
                  </a:lnTo>
                  <a:lnTo>
                    <a:pt x="7962527" y="11986673"/>
                  </a:lnTo>
                  <a:lnTo>
                    <a:pt x="7952997" y="11991438"/>
                  </a:lnTo>
                  <a:lnTo>
                    <a:pt x="7972058" y="12000968"/>
                  </a:lnTo>
                  <a:lnTo>
                    <a:pt x="7976822" y="12005734"/>
                  </a:lnTo>
                  <a:lnTo>
                    <a:pt x="7991118" y="12043855"/>
                  </a:lnTo>
                  <a:lnTo>
                    <a:pt x="7991118" y="12048620"/>
                  </a:lnTo>
                  <a:lnTo>
                    <a:pt x="7981588" y="12053385"/>
                  </a:lnTo>
                  <a:lnTo>
                    <a:pt x="7943466" y="12039090"/>
                  </a:lnTo>
                  <a:lnTo>
                    <a:pt x="7938702" y="12043855"/>
                  </a:lnTo>
                  <a:lnTo>
                    <a:pt x="7957762" y="12077210"/>
                  </a:lnTo>
                  <a:lnTo>
                    <a:pt x="7962527" y="12096271"/>
                  </a:lnTo>
                  <a:lnTo>
                    <a:pt x="7962527" y="12105801"/>
                  </a:lnTo>
                  <a:lnTo>
                    <a:pt x="7943466" y="12143922"/>
                  </a:lnTo>
                  <a:lnTo>
                    <a:pt x="7929171" y="12162983"/>
                  </a:lnTo>
                  <a:lnTo>
                    <a:pt x="7910110" y="12167748"/>
                  </a:lnTo>
                  <a:lnTo>
                    <a:pt x="7895815" y="12162983"/>
                  </a:lnTo>
                  <a:lnTo>
                    <a:pt x="7881520" y="12153452"/>
                  </a:lnTo>
                  <a:lnTo>
                    <a:pt x="7871990" y="12153452"/>
                  </a:lnTo>
                  <a:lnTo>
                    <a:pt x="7867224" y="12167748"/>
                  </a:lnTo>
                  <a:lnTo>
                    <a:pt x="7857694" y="12177278"/>
                  </a:lnTo>
                  <a:lnTo>
                    <a:pt x="7838634" y="12182043"/>
                  </a:lnTo>
                  <a:lnTo>
                    <a:pt x="7819573" y="12182043"/>
                  </a:lnTo>
                  <a:lnTo>
                    <a:pt x="7795748" y="12172513"/>
                  </a:lnTo>
                  <a:lnTo>
                    <a:pt x="7729036" y="12134392"/>
                  </a:lnTo>
                  <a:lnTo>
                    <a:pt x="7705210" y="12124862"/>
                  </a:lnTo>
                  <a:lnTo>
                    <a:pt x="7667089" y="12120097"/>
                  </a:lnTo>
                  <a:lnTo>
                    <a:pt x="7662324" y="12115332"/>
                  </a:lnTo>
                  <a:lnTo>
                    <a:pt x="7662324" y="12110566"/>
                  </a:lnTo>
                  <a:lnTo>
                    <a:pt x="7667089" y="12105801"/>
                  </a:lnTo>
                  <a:lnTo>
                    <a:pt x="7667089" y="12101036"/>
                  </a:lnTo>
                  <a:lnTo>
                    <a:pt x="7657559" y="12096271"/>
                  </a:lnTo>
                  <a:lnTo>
                    <a:pt x="7648028" y="12101036"/>
                  </a:lnTo>
                  <a:lnTo>
                    <a:pt x="7638498" y="12110566"/>
                  </a:lnTo>
                  <a:lnTo>
                    <a:pt x="7624203" y="12115332"/>
                  </a:lnTo>
                  <a:lnTo>
                    <a:pt x="7600378" y="12110566"/>
                  </a:lnTo>
                  <a:lnTo>
                    <a:pt x="7567022" y="12096271"/>
                  </a:lnTo>
                  <a:lnTo>
                    <a:pt x="7505075" y="12058150"/>
                  </a:lnTo>
                  <a:lnTo>
                    <a:pt x="7433598" y="12024794"/>
                  </a:lnTo>
                  <a:lnTo>
                    <a:pt x="7390712" y="11981908"/>
                  </a:lnTo>
                  <a:lnTo>
                    <a:pt x="7405007" y="12020029"/>
                  </a:lnTo>
                  <a:lnTo>
                    <a:pt x="7405007" y="12034324"/>
                  </a:lnTo>
                  <a:lnTo>
                    <a:pt x="7395477" y="12043855"/>
                  </a:lnTo>
                  <a:lnTo>
                    <a:pt x="7395477" y="12058150"/>
                  </a:lnTo>
                  <a:lnTo>
                    <a:pt x="7409772" y="12081976"/>
                  </a:lnTo>
                  <a:lnTo>
                    <a:pt x="7433598" y="12091506"/>
                  </a:lnTo>
                  <a:lnTo>
                    <a:pt x="7457424" y="12091506"/>
                  </a:lnTo>
                  <a:lnTo>
                    <a:pt x="7457424" y="12086741"/>
                  </a:lnTo>
                  <a:lnTo>
                    <a:pt x="7447894" y="12081976"/>
                  </a:lnTo>
                  <a:lnTo>
                    <a:pt x="7438363" y="12072446"/>
                  </a:lnTo>
                  <a:lnTo>
                    <a:pt x="7433598" y="12058150"/>
                  </a:lnTo>
                  <a:lnTo>
                    <a:pt x="7438363" y="12053385"/>
                  </a:lnTo>
                  <a:lnTo>
                    <a:pt x="7457424" y="12062915"/>
                  </a:lnTo>
                  <a:lnTo>
                    <a:pt x="7471719" y="12072446"/>
                  </a:lnTo>
                  <a:lnTo>
                    <a:pt x="7571786" y="12120097"/>
                  </a:lnTo>
                  <a:lnTo>
                    <a:pt x="7600378" y="12129627"/>
                  </a:lnTo>
                  <a:lnTo>
                    <a:pt x="7624203" y="12139157"/>
                  </a:lnTo>
                  <a:lnTo>
                    <a:pt x="7628968" y="12143922"/>
                  </a:lnTo>
                  <a:lnTo>
                    <a:pt x="7624203" y="12158218"/>
                  </a:lnTo>
                  <a:lnTo>
                    <a:pt x="7581317" y="12186808"/>
                  </a:lnTo>
                  <a:lnTo>
                    <a:pt x="7581317" y="12191574"/>
                  </a:lnTo>
                  <a:lnTo>
                    <a:pt x="7609908" y="12191574"/>
                  </a:lnTo>
                  <a:lnTo>
                    <a:pt x="7643264" y="12162983"/>
                  </a:lnTo>
                  <a:lnTo>
                    <a:pt x="7662324" y="12148688"/>
                  </a:lnTo>
                  <a:lnTo>
                    <a:pt x="7681384" y="12143922"/>
                  </a:lnTo>
                  <a:lnTo>
                    <a:pt x="7705210" y="12153452"/>
                  </a:lnTo>
                  <a:lnTo>
                    <a:pt x="7733801" y="12191574"/>
                  </a:lnTo>
                  <a:lnTo>
                    <a:pt x="7757626" y="12210634"/>
                  </a:lnTo>
                  <a:lnTo>
                    <a:pt x="7795748" y="12220164"/>
                  </a:lnTo>
                  <a:lnTo>
                    <a:pt x="7814808" y="12229694"/>
                  </a:lnTo>
                  <a:lnTo>
                    <a:pt x="7848164" y="12263050"/>
                  </a:lnTo>
                  <a:lnTo>
                    <a:pt x="7857694" y="12277346"/>
                  </a:lnTo>
                  <a:lnTo>
                    <a:pt x="7857694" y="12348823"/>
                  </a:lnTo>
                  <a:lnTo>
                    <a:pt x="7857694" y="12363118"/>
                  </a:lnTo>
                  <a:lnTo>
                    <a:pt x="7852929" y="12377414"/>
                  </a:lnTo>
                  <a:lnTo>
                    <a:pt x="7843399" y="12396474"/>
                  </a:lnTo>
                  <a:lnTo>
                    <a:pt x="7829104" y="12406004"/>
                  </a:lnTo>
                  <a:lnTo>
                    <a:pt x="7810043" y="12406004"/>
                  </a:lnTo>
                  <a:lnTo>
                    <a:pt x="7790982" y="12410770"/>
                  </a:lnTo>
                  <a:lnTo>
                    <a:pt x="7757626" y="12448890"/>
                  </a:lnTo>
                  <a:lnTo>
                    <a:pt x="7738566" y="12453656"/>
                  </a:lnTo>
                  <a:lnTo>
                    <a:pt x="7676620" y="12444125"/>
                  </a:lnTo>
                  <a:lnTo>
                    <a:pt x="7648028" y="12429830"/>
                  </a:lnTo>
                  <a:lnTo>
                    <a:pt x="7638498" y="12434595"/>
                  </a:lnTo>
                  <a:lnTo>
                    <a:pt x="7628968" y="12439360"/>
                  </a:lnTo>
                  <a:lnTo>
                    <a:pt x="7624203" y="12444125"/>
                  </a:lnTo>
                  <a:lnTo>
                    <a:pt x="7600378" y="12448890"/>
                  </a:lnTo>
                  <a:lnTo>
                    <a:pt x="7595612" y="12453656"/>
                  </a:lnTo>
                  <a:lnTo>
                    <a:pt x="7595612" y="12463186"/>
                  </a:lnTo>
                  <a:lnTo>
                    <a:pt x="7600378" y="12477481"/>
                  </a:lnTo>
                  <a:lnTo>
                    <a:pt x="7605142" y="12482246"/>
                  </a:lnTo>
                  <a:lnTo>
                    <a:pt x="7614672" y="12491776"/>
                  </a:lnTo>
                  <a:lnTo>
                    <a:pt x="7628968" y="12501307"/>
                  </a:lnTo>
                  <a:lnTo>
                    <a:pt x="7662324" y="12506072"/>
                  </a:lnTo>
                  <a:lnTo>
                    <a:pt x="7667089" y="12525132"/>
                  </a:lnTo>
                  <a:lnTo>
                    <a:pt x="7662324" y="12529898"/>
                  </a:lnTo>
                  <a:lnTo>
                    <a:pt x="7652794" y="12544193"/>
                  </a:lnTo>
                  <a:lnTo>
                    <a:pt x="7643264" y="12539428"/>
                  </a:lnTo>
                  <a:lnTo>
                    <a:pt x="7624203" y="12525132"/>
                  </a:lnTo>
                  <a:lnTo>
                    <a:pt x="7614672" y="12525132"/>
                  </a:lnTo>
                  <a:lnTo>
                    <a:pt x="7605142" y="12534663"/>
                  </a:lnTo>
                  <a:lnTo>
                    <a:pt x="7590847" y="12534663"/>
                  </a:lnTo>
                  <a:lnTo>
                    <a:pt x="7576552" y="12534663"/>
                  </a:lnTo>
                  <a:lnTo>
                    <a:pt x="7567022" y="12539428"/>
                  </a:lnTo>
                  <a:lnTo>
                    <a:pt x="7567022" y="12553723"/>
                  </a:lnTo>
                  <a:lnTo>
                    <a:pt x="7562256" y="12568018"/>
                  </a:lnTo>
                  <a:lnTo>
                    <a:pt x="7543196" y="12582314"/>
                  </a:lnTo>
                  <a:lnTo>
                    <a:pt x="7533666" y="12596609"/>
                  </a:lnTo>
                  <a:lnTo>
                    <a:pt x="7533666" y="12606140"/>
                  </a:lnTo>
                  <a:lnTo>
                    <a:pt x="7543196" y="12615670"/>
                  </a:lnTo>
                  <a:lnTo>
                    <a:pt x="7557491" y="12629965"/>
                  </a:lnTo>
                  <a:lnTo>
                    <a:pt x="7571786" y="12658556"/>
                  </a:lnTo>
                  <a:lnTo>
                    <a:pt x="7571786" y="12668086"/>
                  </a:lnTo>
                  <a:lnTo>
                    <a:pt x="7562256" y="12663321"/>
                  </a:lnTo>
                  <a:lnTo>
                    <a:pt x="7552726" y="12653791"/>
                  </a:lnTo>
                  <a:lnTo>
                    <a:pt x="7538430" y="12634730"/>
                  </a:lnTo>
                  <a:lnTo>
                    <a:pt x="7519370" y="12620435"/>
                  </a:lnTo>
                  <a:lnTo>
                    <a:pt x="7476484" y="12601374"/>
                  </a:lnTo>
                  <a:lnTo>
                    <a:pt x="7466954" y="12601374"/>
                  </a:lnTo>
                  <a:lnTo>
                    <a:pt x="7471719" y="12606140"/>
                  </a:lnTo>
                  <a:lnTo>
                    <a:pt x="7500310" y="12629965"/>
                  </a:lnTo>
                  <a:lnTo>
                    <a:pt x="7509840" y="12639496"/>
                  </a:lnTo>
                  <a:lnTo>
                    <a:pt x="7514605" y="12653791"/>
                  </a:lnTo>
                  <a:lnTo>
                    <a:pt x="7486014" y="12672851"/>
                  </a:lnTo>
                  <a:lnTo>
                    <a:pt x="7486014" y="12682382"/>
                  </a:lnTo>
                  <a:lnTo>
                    <a:pt x="7495544" y="12687147"/>
                  </a:lnTo>
                  <a:lnTo>
                    <a:pt x="7495544" y="12691912"/>
                  </a:lnTo>
                  <a:lnTo>
                    <a:pt x="7486014" y="12701442"/>
                  </a:lnTo>
                  <a:lnTo>
                    <a:pt x="7471719" y="12710972"/>
                  </a:lnTo>
                  <a:lnTo>
                    <a:pt x="7443128" y="12715738"/>
                  </a:lnTo>
                  <a:lnTo>
                    <a:pt x="7443128" y="12720502"/>
                  </a:lnTo>
                  <a:lnTo>
                    <a:pt x="7452658" y="12730033"/>
                  </a:lnTo>
                  <a:lnTo>
                    <a:pt x="7457424" y="12734798"/>
                  </a:lnTo>
                  <a:lnTo>
                    <a:pt x="7447894" y="12744328"/>
                  </a:lnTo>
                  <a:lnTo>
                    <a:pt x="7443128" y="12749094"/>
                  </a:lnTo>
                  <a:lnTo>
                    <a:pt x="7409772" y="12744328"/>
                  </a:lnTo>
                  <a:lnTo>
                    <a:pt x="7414538" y="12768154"/>
                  </a:lnTo>
                  <a:lnTo>
                    <a:pt x="7419302" y="12772919"/>
                  </a:lnTo>
                  <a:lnTo>
                    <a:pt x="7433598" y="12787214"/>
                  </a:lnTo>
                  <a:lnTo>
                    <a:pt x="7447894" y="12796745"/>
                  </a:lnTo>
                  <a:lnTo>
                    <a:pt x="7447894" y="12801510"/>
                  </a:lnTo>
                  <a:lnTo>
                    <a:pt x="7443128" y="12811040"/>
                  </a:lnTo>
                  <a:lnTo>
                    <a:pt x="7433598" y="12820570"/>
                  </a:lnTo>
                  <a:lnTo>
                    <a:pt x="7385946" y="12853926"/>
                  </a:lnTo>
                  <a:lnTo>
                    <a:pt x="7357356" y="12896812"/>
                  </a:lnTo>
                  <a:lnTo>
                    <a:pt x="7352590" y="12906342"/>
                  </a:lnTo>
                  <a:lnTo>
                    <a:pt x="7362121" y="12934934"/>
                  </a:lnTo>
                  <a:lnTo>
                    <a:pt x="7362121" y="12939698"/>
                  </a:lnTo>
                  <a:lnTo>
                    <a:pt x="7352590" y="12949228"/>
                  </a:lnTo>
                  <a:lnTo>
                    <a:pt x="7333530" y="12949228"/>
                  </a:lnTo>
                  <a:lnTo>
                    <a:pt x="7328765" y="12953994"/>
                  </a:lnTo>
                  <a:lnTo>
                    <a:pt x="7333530" y="12963524"/>
                  </a:lnTo>
                  <a:lnTo>
                    <a:pt x="7333530" y="12982584"/>
                  </a:lnTo>
                  <a:lnTo>
                    <a:pt x="7333530" y="13006410"/>
                  </a:lnTo>
                  <a:lnTo>
                    <a:pt x="7319235" y="13044531"/>
                  </a:lnTo>
                  <a:lnTo>
                    <a:pt x="7295409" y="13092182"/>
                  </a:lnTo>
                  <a:lnTo>
                    <a:pt x="7276348" y="13135068"/>
                  </a:lnTo>
                  <a:lnTo>
                    <a:pt x="7262054" y="13177955"/>
                  </a:lnTo>
                  <a:lnTo>
                    <a:pt x="7252523" y="13197016"/>
                  </a:lnTo>
                  <a:lnTo>
                    <a:pt x="7238228" y="13197016"/>
                  </a:lnTo>
                  <a:lnTo>
                    <a:pt x="7223932" y="13211310"/>
                  </a:lnTo>
                  <a:lnTo>
                    <a:pt x="7233462" y="13216076"/>
                  </a:lnTo>
                  <a:lnTo>
                    <a:pt x="7238228" y="13225606"/>
                  </a:lnTo>
                  <a:lnTo>
                    <a:pt x="7242993" y="13235136"/>
                  </a:lnTo>
                  <a:lnTo>
                    <a:pt x="7238228" y="13273258"/>
                  </a:lnTo>
                  <a:lnTo>
                    <a:pt x="7228698" y="13335204"/>
                  </a:lnTo>
                  <a:lnTo>
                    <a:pt x="7219167" y="13382855"/>
                  </a:lnTo>
                  <a:lnTo>
                    <a:pt x="7219167" y="13530574"/>
                  </a:lnTo>
                  <a:lnTo>
                    <a:pt x="7219167" y="13592521"/>
                  </a:lnTo>
                  <a:lnTo>
                    <a:pt x="7214402" y="13630642"/>
                  </a:lnTo>
                  <a:lnTo>
                    <a:pt x="7204872" y="13649702"/>
                  </a:lnTo>
                  <a:lnTo>
                    <a:pt x="7190576" y="13654468"/>
                  </a:lnTo>
                  <a:lnTo>
                    <a:pt x="7209637" y="13659232"/>
                  </a:lnTo>
                  <a:lnTo>
                    <a:pt x="7219167" y="13668763"/>
                  </a:lnTo>
                  <a:lnTo>
                    <a:pt x="7228698" y="13683058"/>
                  </a:lnTo>
                  <a:lnTo>
                    <a:pt x="7228698" y="13706884"/>
                  </a:lnTo>
                  <a:lnTo>
                    <a:pt x="7238228" y="13716414"/>
                  </a:lnTo>
                  <a:lnTo>
                    <a:pt x="7242993" y="13711649"/>
                  </a:lnTo>
                  <a:lnTo>
                    <a:pt x="7252523" y="13716414"/>
                  </a:lnTo>
                  <a:lnTo>
                    <a:pt x="7257288" y="13721179"/>
                  </a:lnTo>
                  <a:lnTo>
                    <a:pt x="7276348" y="13754535"/>
                  </a:lnTo>
                  <a:lnTo>
                    <a:pt x="7295409" y="13759300"/>
                  </a:lnTo>
                  <a:lnTo>
                    <a:pt x="7300174" y="13778360"/>
                  </a:lnTo>
                  <a:lnTo>
                    <a:pt x="7290644" y="13873664"/>
                  </a:lnTo>
                  <a:lnTo>
                    <a:pt x="7290644" y="13887958"/>
                  </a:lnTo>
                  <a:lnTo>
                    <a:pt x="7300174" y="13864133"/>
                  </a:lnTo>
                  <a:lnTo>
                    <a:pt x="7309704" y="13787891"/>
                  </a:lnTo>
                  <a:lnTo>
                    <a:pt x="7324000" y="13754535"/>
                  </a:lnTo>
                  <a:lnTo>
                    <a:pt x="7333530" y="13749770"/>
                  </a:lnTo>
                  <a:lnTo>
                    <a:pt x="7376416" y="13745005"/>
                  </a:lnTo>
                  <a:lnTo>
                    <a:pt x="7424068" y="13754535"/>
                  </a:lnTo>
                  <a:lnTo>
                    <a:pt x="7438363" y="13754535"/>
                  </a:lnTo>
                  <a:lnTo>
                    <a:pt x="7452658" y="13749770"/>
                  </a:lnTo>
                  <a:lnTo>
                    <a:pt x="7471719" y="13759300"/>
                  </a:lnTo>
                  <a:lnTo>
                    <a:pt x="7476484" y="13768830"/>
                  </a:lnTo>
                  <a:lnTo>
                    <a:pt x="7481249" y="13806952"/>
                  </a:lnTo>
                  <a:lnTo>
                    <a:pt x="7481249" y="13830777"/>
                  </a:lnTo>
                  <a:lnTo>
                    <a:pt x="7509840" y="13907019"/>
                  </a:lnTo>
                  <a:lnTo>
                    <a:pt x="7524136" y="13954670"/>
                  </a:lnTo>
                  <a:lnTo>
                    <a:pt x="7538430" y="14021382"/>
                  </a:lnTo>
                  <a:lnTo>
                    <a:pt x="7543196" y="14040442"/>
                  </a:lnTo>
                  <a:lnTo>
                    <a:pt x="7576552" y="14130980"/>
                  </a:lnTo>
                  <a:lnTo>
                    <a:pt x="7586082" y="14154806"/>
                  </a:lnTo>
                  <a:lnTo>
                    <a:pt x="7586082" y="14173866"/>
                  </a:lnTo>
                  <a:lnTo>
                    <a:pt x="7586082" y="14188162"/>
                  </a:lnTo>
                  <a:lnTo>
                    <a:pt x="7581317" y="14207222"/>
                  </a:lnTo>
                  <a:lnTo>
                    <a:pt x="7567022" y="14235813"/>
                  </a:lnTo>
                  <a:lnTo>
                    <a:pt x="7557491" y="14254874"/>
                  </a:lnTo>
                  <a:lnTo>
                    <a:pt x="7547961" y="14269169"/>
                  </a:lnTo>
                  <a:lnTo>
                    <a:pt x="7538430" y="14278699"/>
                  </a:lnTo>
                  <a:lnTo>
                    <a:pt x="7528900" y="14288230"/>
                  </a:lnTo>
                  <a:lnTo>
                    <a:pt x="7543196" y="14283464"/>
                  </a:lnTo>
                  <a:lnTo>
                    <a:pt x="7552726" y="14278699"/>
                  </a:lnTo>
                  <a:lnTo>
                    <a:pt x="7576552" y="14259638"/>
                  </a:lnTo>
                  <a:lnTo>
                    <a:pt x="7581317" y="14254874"/>
                  </a:lnTo>
                  <a:lnTo>
                    <a:pt x="7605142" y="14250108"/>
                  </a:lnTo>
                  <a:lnTo>
                    <a:pt x="7609908" y="14259638"/>
                  </a:lnTo>
                  <a:lnTo>
                    <a:pt x="7595612" y="14273934"/>
                  </a:lnTo>
                  <a:lnTo>
                    <a:pt x="7600378" y="14273934"/>
                  </a:lnTo>
                  <a:lnTo>
                    <a:pt x="7614672" y="14264404"/>
                  </a:lnTo>
                  <a:lnTo>
                    <a:pt x="7652794" y="14245343"/>
                  </a:lnTo>
                  <a:lnTo>
                    <a:pt x="7795748" y="14197692"/>
                  </a:lnTo>
                  <a:lnTo>
                    <a:pt x="7829104" y="14192926"/>
                  </a:lnTo>
                  <a:lnTo>
                    <a:pt x="7876754" y="14202457"/>
                  </a:lnTo>
                  <a:lnTo>
                    <a:pt x="7914876" y="14221518"/>
                  </a:lnTo>
                  <a:lnTo>
                    <a:pt x="7957762" y="14250108"/>
                  </a:lnTo>
                  <a:lnTo>
                    <a:pt x="8000648" y="14269169"/>
                  </a:lnTo>
                  <a:lnTo>
                    <a:pt x="8072125" y="14288230"/>
                  </a:lnTo>
                  <a:lnTo>
                    <a:pt x="8091186" y="14297760"/>
                  </a:lnTo>
                  <a:lnTo>
                    <a:pt x="8129306" y="14307290"/>
                  </a:lnTo>
                  <a:lnTo>
                    <a:pt x="8148367" y="14316820"/>
                  </a:lnTo>
                  <a:lnTo>
                    <a:pt x="8172192" y="14345411"/>
                  </a:lnTo>
                  <a:lnTo>
                    <a:pt x="8210314" y="14378766"/>
                  </a:lnTo>
                  <a:lnTo>
                    <a:pt x="8238904" y="14397827"/>
                  </a:lnTo>
                  <a:lnTo>
                    <a:pt x="8267495" y="14416888"/>
                  </a:lnTo>
                  <a:lnTo>
                    <a:pt x="8296086" y="14455008"/>
                  </a:lnTo>
                  <a:lnTo>
                    <a:pt x="8348502" y="14531250"/>
                  </a:lnTo>
                  <a:lnTo>
                    <a:pt x="8362798" y="14540781"/>
                  </a:lnTo>
                  <a:lnTo>
                    <a:pt x="8391388" y="14555076"/>
                  </a:lnTo>
                  <a:lnTo>
                    <a:pt x="8448570" y="14574137"/>
                  </a:lnTo>
                  <a:lnTo>
                    <a:pt x="8534342" y="14612258"/>
                  </a:lnTo>
                  <a:lnTo>
                    <a:pt x="8567698" y="14626554"/>
                  </a:lnTo>
                  <a:lnTo>
                    <a:pt x="8593906" y="14631318"/>
                  </a:lnTo>
                  <a:lnTo>
                    <a:pt x="8617732" y="14645614"/>
                  </a:lnTo>
                  <a:lnTo>
                    <a:pt x="8641558" y="14659909"/>
                  </a:lnTo>
                  <a:lnTo>
                    <a:pt x="8660618" y="14674204"/>
                  </a:lnTo>
                  <a:lnTo>
                    <a:pt x="8670148" y="14693265"/>
                  </a:lnTo>
                  <a:lnTo>
                    <a:pt x="8679679" y="14707560"/>
                  </a:lnTo>
                  <a:lnTo>
                    <a:pt x="8703504" y="14717090"/>
                  </a:lnTo>
                  <a:lnTo>
                    <a:pt x="8713035" y="14731386"/>
                  </a:lnTo>
                  <a:lnTo>
                    <a:pt x="8713035" y="14740916"/>
                  </a:lnTo>
                  <a:lnTo>
                    <a:pt x="8689209" y="14798098"/>
                  </a:lnTo>
                  <a:lnTo>
                    <a:pt x="8689209" y="14802863"/>
                  </a:lnTo>
                  <a:lnTo>
                    <a:pt x="8713035" y="14764742"/>
                  </a:lnTo>
                  <a:lnTo>
                    <a:pt x="8727330" y="14750446"/>
                  </a:lnTo>
                  <a:lnTo>
                    <a:pt x="8736860" y="14745682"/>
                  </a:lnTo>
                  <a:lnTo>
                    <a:pt x="8755921" y="14745682"/>
                  </a:lnTo>
                  <a:lnTo>
                    <a:pt x="8794042" y="14755212"/>
                  </a:lnTo>
                  <a:lnTo>
                    <a:pt x="8822633" y="14755212"/>
                  </a:lnTo>
                  <a:lnTo>
                    <a:pt x="8846458" y="14745682"/>
                  </a:lnTo>
                  <a:lnTo>
                    <a:pt x="8870284" y="14745682"/>
                  </a:lnTo>
                  <a:lnTo>
                    <a:pt x="8884579" y="14745682"/>
                  </a:lnTo>
                  <a:lnTo>
                    <a:pt x="8898875" y="14740916"/>
                  </a:lnTo>
                  <a:lnTo>
                    <a:pt x="8908405" y="14736151"/>
                  </a:lnTo>
                  <a:lnTo>
                    <a:pt x="8917935" y="14736151"/>
                  </a:lnTo>
                  <a:lnTo>
                    <a:pt x="8956056" y="14750446"/>
                  </a:lnTo>
                  <a:lnTo>
                    <a:pt x="8970351" y="14755212"/>
                  </a:lnTo>
                  <a:lnTo>
                    <a:pt x="9022768" y="14764742"/>
                  </a:lnTo>
                  <a:lnTo>
                    <a:pt x="9060889" y="14759977"/>
                  </a:lnTo>
                  <a:lnTo>
                    <a:pt x="9065654" y="14764742"/>
                  </a:lnTo>
                  <a:lnTo>
                    <a:pt x="9079949" y="14779038"/>
                  </a:lnTo>
                  <a:lnTo>
                    <a:pt x="9089480" y="14783802"/>
                  </a:lnTo>
                  <a:lnTo>
                    <a:pt x="9108540" y="14779038"/>
                  </a:lnTo>
                  <a:lnTo>
                    <a:pt x="9122836" y="14783802"/>
                  </a:lnTo>
                  <a:lnTo>
                    <a:pt x="9151426" y="14807628"/>
                  </a:lnTo>
                  <a:lnTo>
                    <a:pt x="9165722" y="14826688"/>
                  </a:lnTo>
                  <a:lnTo>
                    <a:pt x="9180017" y="14864810"/>
                  </a:lnTo>
                  <a:lnTo>
                    <a:pt x="9180017" y="14874340"/>
                  </a:lnTo>
                  <a:lnTo>
                    <a:pt x="9156191" y="14964879"/>
                  </a:lnTo>
                  <a:lnTo>
                    <a:pt x="9146661" y="14998235"/>
                  </a:lnTo>
                  <a:lnTo>
                    <a:pt x="9146661" y="15026827"/>
                  </a:lnTo>
                  <a:lnTo>
                    <a:pt x="9151426" y="15045887"/>
                  </a:lnTo>
                  <a:lnTo>
                    <a:pt x="9175252" y="15074475"/>
                  </a:lnTo>
                  <a:lnTo>
                    <a:pt x="9175252" y="15084007"/>
                  </a:lnTo>
                  <a:lnTo>
                    <a:pt x="9189547" y="15122127"/>
                  </a:lnTo>
                  <a:lnTo>
                    <a:pt x="9194312" y="15141187"/>
                  </a:lnTo>
                  <a:lnTo>
                    <a:pt x="9189547" y="15160251"/>
                  </a:lnTo>
                  <a:lnTo>
                    <a:pt x="9184782" y="15198371"/>
                  </a:lnTo>
                  <a:lnTo>
                    <a:pt x="9184782" y="15222195"/>
                  </a:lnTo>
                  <a:lnTo>
                    <a:pt x="9189547" y="15260315"/>
                  </a:lnTo>
                  <a:lnTo>
                    <a:pt x="9189547" y="15288907"/>
                  </a:lnTo>
                  <a:lnTo>
                    <a:pt x="9180017" y="15303203"/>
                  </a:lnTo>
                  <a:lnTo>
                    <a:pt x="9175252" y="15312735"/>
                  </a:lnTo>
                  <a:lnTo>
                    <a:pt x="9170487" y="15336559"/>
                  </a:lnTo>
                  <a:lnTo>
                    <a:pt x="9170487" y="15346091"/>
                  </a:lnTo>
                  <a:lnTo>
                    <a:pt x="9175252" y="15365151"/>
                  </a:lnTo>
                  <a:lnTo>
                    <a:pt x="9184782" y="15374679"/>
                  </a:lnTo>
                  <a:lnTo>
                    <a:pt x="9199078" y="15388975"/>
                  </a:lnTo>
                  <a:lnTo>
                    <a:pt x="9213373" y="15403271"/>
                  </a:lnTo>
                  <a:lnTo>
                    <a:pt x="9237199" y="15446155"/>
                  </a:lnTo>
                  <a:lnTo>
                    <a:pt x="9256259" y="15469983"/>
                  </a:lnTo>
                  <a:lnTo>
                    <a:pt x="9275320" y="15503339"/>
                  </a:lnTo>
                  <a:lnTo>
                    <a:pt x="9280085" y="15517635"/>
                  </a:lnTo>
                  <a:lnTo>
                    <a:pt x="9275320" y="15531931"/>
                  </a:lnTo>
                  <a:lnTo>
                    <a:pt x="9265789" y="15536695"/>
                  </a:lnTo>
                  <a:lnTo>
                    <a:pt x="9251494" y="15546223"/>
                  </a:lnTo>
                  <a:lnTo>
                    <a:pt x="9241964" y="15555755"/>
                  </a:lnTo>
                  <a:lnTo>
                    <a:pt x="9270555" y="15550991"/>
                  </a:lnTo>
                  <a:lnTo>
                    <a:pt x="9284850" y="15550991"/>
                  </a:lnTo>
                  <a:lnTo>
                    <a:pt x="9299145" y="15560519"/>
                  </a:lnTo>
                  <a:lnTo>
                    <a:pt x="9308676" y="15574815"/>
                  </a:lnTo>
                  <a:lnTo>
                    <a:pt x="9327736" y="15589111"/>
                  </a:lnTo>
                  <a:lnTo>
                    <a:pt x="9351562" y="15598639"/>
                  </a:lnTo>
                  <a:lnTo>
                    <a:pt x="9375387" y="15617703"/>
                  </a:lnTo>
                  <a:lnTo>
                    <a:pt x="9418273" y="15665351"/>
                  </a:lnTo>
                  <a:lnTo>
                    <a:pt x="9423039" y="15674883"/>
                  </a:lnTo>
                  <a:lnTo>
                    <a:pt x="9437334" y="15698707"/>
                  </a:lnTo>
                  <a:lnTo>
                    <a:pt x="9446864" y="15732063"/>
                  </a:lnTo>
                  <a:lnTo>
                    <a:pt x="9456394" y="15755891"/>
                  </a:lnTo>
                  <a:lnTo>
                    <a:pt x="9456394" y="15765419"/>
                  </a:lnTo>
                  <a:lnTo>
                    <a:pt x="9446864" y="15779715"/>
                  </a:lnTo>
                  <a:lnTo>
                    <a:pt x="9423039" y="15798775"/>
                  </a:lnTo>
                  <a:lnTo>
                    <a:pt x="9394448" y="15832131"/>
                  </a:lnTo>
                  <a:lnTo>
                    <a:pt x="9403978" y="15832131"/>
                  </a:lnTo>
                  <a:lnTo>
                    <a:pt x="9423039" y="15817835"/>
                  </a:lnTo>
                  <a:lnTo>
                    <a:pt x="9451629" y="15789247"/>
                  </a:lnTo>
                  <a:lnTo>
                    <a:pt x="9470690" y="15779715"/>
                  </a:lnTo>
                  <a:lnTo>
                    <a:pt x="9484985" y="15784479"/>
                  </a:lnTo>
                  <a:lnTo>
                    <a:pt x="9508811" y="15794011"/>
                  </a:lnTo>
                  <a:lnTo>
                    <a:pt x="9532637" y="15803543"/>
                  </a:lnTo>
                  <a:lnTo>
                    <a:pt x="9551697" y="15822603"/>
                  </a:lnTo>
                  <a:lnTo>
                    <a:pt x="9580288" y="15860723"/>
                  </a:lnTo>
                  <a:lnTo>
                    <a:pt x="9613644" y="15894079"/>
                  </a:lnTo>
                  <a:lnTo>
                    <a:pt x="9627939" y="15922671"/>
                  </a:lnTo>
                  <a:lnTo>
                    <a:pt x="9623174" y="15903607"/>
                  </a:lnTo>
                  <a:lnTo>
                    <a:pt x="9613644" y="15884547"/>
                  </a:lnTo>
                  <a:lnTo>
                    <a:pt x="9585053" y="15851191"/>
                  </a:lnTo>
                  <a:lnTo>
                    <a:pt x="9570758" y="15832131"/>
                  </a:lnTo>
                  <a:lnTo>
                    <a:pt x="9570758" y="15827367"/>
                  </a:lnTo>
                  <a:lnTo>
                    <a:pt x="9565992" y="15817835"/>
                  </a:lnTo>
                  <a:lnTo>
                    <a:pt x="9570758" y="15798775"/>
                  </a:lnTo>
                  <a:lnTo>
                    <a:pt x="9575523" y="15774951"/>
                  </a:lnTo>
                  <a:lnTo>
                    <a:pt x="9580288" y="15760655"/>
                  </a:lnTo>
                  <a:lnTo>
                    <a:pt x="9589818" y="15751123"/>
                  </a:lnTo>
                  <a:lnTo>
                    <a:pt x="9599348" y="15741595"/>
                  </a:lnTo>
                  <a:lnTo>
                    <a:pt x="9599348" y="15727299"/>
                  </a:lnTo>
                  <a:lnTo>
                    <a:pt x="9604113" y="15722535"/>
                  </a:lnTo>
                  <a:lnTo>
                    <a:pt x="9627939" y="15708239"/>
                  </a:lnTo>
                  <a:lnTo>
                    <a:pt x="9637469" y="15708239"/>
                  </a:lnTo>
                  <a:lnTo>
                    <a:pt x="9642234" y="15727299"/>
                  </a:lnTo>
                  <a:lnTo>
                    <a:pt x="9647000" y="15727299"/>
                  </a:lnTo>
                  <a:lnTo>
                    <a:pt x="9661295" y="15732063"/>
                  </a:lnTo>
                  <a:lnTo>
                    <a:pt x="9666060" y="15736831"/>
                  </a:lnTo>
                  <a:lnTo>
                    <a:pt x="9675590" y="15746359"/>
                  </a:lnTo>
                  <a:lnTo>
                    <a:pt x="9680355" y="15755891"/>
                  </a:lnTo>
                  <a:lnTo>
                    <a:pt x="9685121" y="15765419"/>
                  </a:lnTo>
                  <a:lnTo>
                    <a:pt x="9694651" y="15798775"/>
                  </a:lnTo>
                  <a:lnTo>
                    <a:pt x="9699416" y="15813071"/>
                  </a:lnTo>
                  <a:lnTo>
                    <a:pt x="9699416" y="15794011"/>
                  </a:lnTo>
                  <a:lnTo>
                    <a:pt x="9704181" y="15770187"/>
                  </a:lnTo>
                  <a:lnTo>
                    <a:pt x="9708946" y="15755891"/>
                  </a:lnTo>
                  <a:lnTo>
                    <a:pt x="9723242" y="15736831"/>
                  </a:lnTo>
                  <a:lnTo>
                    <a:pt x="9723242" y="15732063"/>
                  </a:lnTo>
                  <a:lnTo>
                    <a:pt x="9718476" y="15722535"/>
                  </a:lnTo>
                  <a:lnTo>
                    <a:pt x="9685121" y="15679647"/>
                  </a:lnTo>
                  <a:lnTo>
                    <a:pt x="9685121" y="15670119"/>
                  </a:lnTo>
                  <a:lnTo>
                    <a:pt x="9694651" y="15665351"/>
                  </a:lnTo>
                  <a:lnTo>
                    <a:pt x="9699416" y="15651059"/>
                  </a:lnTo>
                  <a:lnTo>
                    <a:pt x="9704181" y="15636763"/>
                  </a:lnTo>
                  <a:lnTo>
                    <a:pt x="9708946" y="15622467"/>
                  </a:lnTo>
                  <a:lnTo>
                    <a:pt x="9728007" y="15603407"/>
                  </a:lnTo>
                  <a:lnTo>
                    <a:pt x="9747067" y="15574815"/>
                  </a:lnTo>
                  <a:lnTo>
                    <a:pt x="9756598" y="15560519"/>
                  </a:lnTo>
                  <a:lnTo>
                    <a:pt x="9761363" y="15550991"/>
                  </a:lnTo>
                  <a:lnTo>
                    <a:pt x="9770893" y="15546223"/>
                  </a:lnTo>
                  <a:lnTo>
                    <a:pt x="9756598" y="15536695"/>
                  </a:lnTo>
                  <a:lnTo>
                    <a:pt x="9756598" y="15531931"/>
                  </a:lnTo>
                  <a:lnTo>
                    <a:pt x="9756598" y="15512867"/>
                  </a:lnTo>
                  <a:lnTo>
                    <a:pt x="9751832" y="15489043"/>
                  </a:lnTo>
                  <a:lnTo>
                    <a:pt x="9747067" y="15474747"/>
                  </a:lnTo>
                  <a:lnTo>
                    <a:pt x="9728007" y="15450923"/>
                  </a:lnTo>
                  <a:lnTo>
                    <a:pt x="9723242" y="15446155"/>
                  </a:lnTo>
                  <a:lnTo>
                    <a:pt x="9718476" y="15417567"/>
                  </a:lnTo>
                  <a:lnTo>
                    <a:pt x="9723242" y="15403271"/>
                  </a:lnTo>
                  <a:lnTo>
                    <a:pt x="9728007" y="15393739"/>
                  </a:lnTo>
                  <a:lnTo>
                    <a:pt x="9723242" y="15384211"/>
                  </a:lnTo>
                  <a:lnTo>
                    <a:pt x="9704181" y="15360383"/>
                  </a:lnTo>
                  <a:lnTo>
                    <a:pt x="9699416" y="15346091"/>
                  </a:lnTo>
                  <a:lnTo>
                    <a:pt x="9689886" y="15303203"/>
                  </a:lnTo>
                  <a:lnTo>
                    <a:pt x="9685121" y="15250787"/>
                  </a:lnTo>
                  <a:lnTo>
                    <a:pt x="9675590" y="15207899"/>
                  </a:lnTo>
                  <a:lnTo>
                    <a:pt x="9666060" y="15184075"/>
                  </a:lnTo>
                  <a:lnTo>
                    <a:pt x="9666060" y="15169779"/>
                  </a:lnTo>
                  <a:lnTo>
                    <a:pt x="9670825" y="15160251"/>
                  </a:lnTo>
                  <a:lnTo>
                    <a:pt x="9675590" y="15141187"/>
                  </a:lnTo>
                  <a:lnTo>
                    <a:pt x="9680355" y="15136423"/>
                  </a:lnTo>
                  <a:lnTo>
                    <a:pt x="9689886" y="15136423"/>
                  </a:lnTo>
                  <a:lnTo>
                    <a:pt x="9675590" y="15126895"/>
                  </a:lnTo>
                  <a:lnTo>
                    <a:pt x="9670825" y="15112599"/>
                  </a:lnTo>
                  <a:lnTo>
                    <a:pt x="9670825" y="15107831"/>
                  </a:lnTo>
                  <a:lnTo>
                    <a:pt x="9685121" y="15093539"/>
                  </a:lnTo>
                  <a:lnTo>
                    <a:pt x="9680355" y="15088771"/>
                  </a:lnTo>
                  <a:lnTo>
                    <a:pt x="9670825" y="15079243"/>
                  </a:lnTo>
                  <a:lnTo>
                    <a:pt x="9647000" y="15064947"/>
                  </a:lnTo>
                  <a:lnTo>
                    <a:pt x="9656530" y="15060183"/>
                  </a:lnTo>
                  <a:lnTo>
                    <a:pt x="9661295" y="15050651"/>
                  </a:lnTo>
                  <a:lnTo>
                    <a:pt x="9651765" y="15045887"/>
                  </a:lnTo>
                  <a:lnTo>
                    <a:pt x="9637469" y="15036355"/>
                  </a:lnTo>
                  <a:lnTo>
                    <a:pt x="9627939" y="15022059"/>
                  </a:lnTo>
                  <a:lnTo>
                    <a:pt x="9613644" y="15002999"/>
                  </a:lnTo>
                  <a:lnTo>
                    <a:pt x="9608879" y="14988703"/>
                  </a:lnTo>
                  <a:lnTo>
                    <a:pt x="9599348" y="14960115"/>
                  </a:lnTo>
                  <a:lnTo>
                    <a:pt x="9589818" y="14931523"/>
                  </a:lnTo>
                  <a:lnTo>
                    <a:pt x="9585053" y="14926759"/>
                  </a:lnTo>
                  <a:lnTo>
                    <a:pt x="9580288" y="14921991"/>
                  </a:lnTo>
                  <a:lnTo>
                    <a:pt x="9570758" y="14917227"/>
                  </a:lnTo>
                  <a:lnTo>
                    <a:pt x="9570758" y="14912463"/>
                  </a:lnTo>
                  <a:lnTo>
                    <a:pt x="9580288" y="14907699"/>
                  </a:lnTo>
                  <a:lnTo>
                    <a:pt x="9699416" y="14855280"/>
                  </a:lnTo>
                  <a:lnTo>
                    <a:pt x="9708946" y="14850514"/>
                  </a:lnTo>
                  <a:lnTo>
                    <a:pt x="9766128" y="14821924"/>
                  </a:lnTo>
                  <a:lnTo>
                    <a:pt x="9789953" y="14807628"/>
                  </a:lnTo>
                  <a:lnTo>
                    <a:pt x="9818544" y="14783802"/>
                  </a:lnTo>
                  <a:lnTo>
                    <a:pt x="9856665" y="14759977"/>
                  </a:lnTo>
                  <a:lnTo>
                    <a:pt x="9875726" y="14745682"/>
                  </a:lnTo>
                  <a:lnTo>
                    <a:pt x="9885256" y="14731386"/>
                  </a:lnTo>
                  <a:lnTo>
                    <a:pt x="9942437" y="14674204"/>
                  </a:lnTo>
                  <a:lnTo>
                    <a:pt x="9971028" y="14640848"/>
                  </a:lnTo>
                  <a:lnTo>
                    <a:pt x="9985324" y="14617023"/>
                  </a:lnTo>
                  <a:lnTo>
                    <a:pt x="10004384" y="14583667"/>
                  </a:lnTo>
                  <a:lnTo>
                    <a:pt x="10032975" y="14550311"/>
                  </a:lnTo>
                  <a:lnTo>
                    <a:pt x="10052035" y="14516956"/>
                  </a:lnTo>
                  <a:lnTo>
                    <a:pt x="10056801" y="14493130"/>
                  </a:lnTo>
                  <a:lnTo>
                    <a:pt x="10066331" y="14445478"/>
                  </a:lnTo>
                  <a:lnTo>
                    <a:pt x="10071096" y="14407358"/>
                  </a:lnTo>
                  <a:lnTo>
                    <a:pt x="10071096" y="14350176"/>
                  </a:lnTo>
                  <a:lnTo>
                    <a:pt x="10071096" y="14297760"/>
                  </a:lnTo>
                  <a:lnTo>
                    <a:pt x="10061566" y="14211987"/>
                  </a:lnTo>
                  <a:lnTo>
                    <a:pt x="10056801" y="14188162"/>
                  </a:lnTo>
                  <a:lnTo>
                    <a:pt x="10047270" y="14154806"/>
                  </a:lnTo>
                  <a:lnTo>
                    <a:pt x="10028210" y="14092859"/>
                  </a:lnTo>
                  <a:lnTo>
                    <a:pt x="10023445" y="14073798"/>
                  </a:lnTo>
                  <a:lnTo>
                    <a:pt x="10013914" y="14045208"/>
                  </a:lnTo>
                  <a:lnTo>
                    <a:pt x="9971028" y="13968966"/>
                  </a:lnTo>
                  <a:lnTo>
                    <a:pt x="9918612" y="13916550"/>
                  </a:lnTo>
                  <a:lnTo>
                    <a:pt x="9909082" y="13902254"/>
                  </a:lnTo>
                  <a:lnTo>
                    <a:pt x="9890021" y="13887958"/>
                  </a:lnTo>
                  <a:lnTo>
                    <a:pt x="9856665" y="13868898"/>
                  </a:lnTo>
                  <a:lnTo>
                    <a:pt x="9837605" y="13854602"/>
                  </a:lnTo>
                  <a:lnTo>
                    <a:pt x="9785188" y="13802186"/>
                  </a:lnTo>
                  <a:lnTo>
                    <a:pt x="9766128" y="13797421"/>
                  </a:lnTo>
                  <a:lnTo>
                    <a:pt x="9761363" y="13783126"/>
                  </a:lnTo>
                  <a:lnTo>
                    <a:pt x="9756598" y="13773596"/>
                  </a:lnTo>
                  <a:lnTo>
                    <a:pt x="9761363" y="13745005"/>
                  </a:lnTo>
                  <a:lnTo>
                    <a:pt x="9766128" y="13725944"/>
                  </a:lnTo>
                  <a:lnTo>
                    <a:pt x="9766128" y="13716414"/>
                  </a:lnTo>
                  <a:lnTo>
                    <a:pt x="9770893" y="13706884"/>
                  </a:lnTo>
                  <a:lnTo>
                    <a:pt x="9799484" y="13663998"/>
                  </a:lnTo>
                  <a:lnTo>
                    <a:pt x="9818544" y="13635407"/>
                  </a:lnTo>
                  <a:lnTo>
                    <a:pt x="9828074" y="13616346"/>
                  </a:lnTo>
                  <a:lnTo>
                    <a:pt x="9842370" y="13602051"/>
                  </a:lnTo>
                  <a:lnTo>
                    <a:pt x="9861430" y="13582990"/>
                  </a:lnTo>
                  <a:lnTo>
                    <a:pt x="9875726" y="13559165"/>
                  </a:lnTo>
                  <a:lnTo>
                    <a:pt x="9875726" y="13549634"/>
                  </a:lnTo>
                  <a:lnTo>
                    <a:pt x="9861430" y="13540104"/>
                  </a:lnTo>
                  <a:lnTo>
                    <a:pt x="9861430" y="13530574"/>
                  </a:lnTo>
                  <a:lnTo>
                    <a:pt x="9880491" y="13506748"/>
                  </a:lnTo>
                  <a:lnTo>
                    <a:pt x="9880491" y="13497218"/>
                  </a:lnTo>
                  <a:lnTo>
                    <a:pt x="9880491" y="13473392"/>
                  </a:lnTo>
                  <a:lnTo>
                    <a:pt x="9880491" y="13468628"/>
                  </a:lnTo>
                  <a:lnTo>
                    <a:pt x="9904316" y="13468628"/>
                  </a:lnTo>
                  <a:lnTo>
                    <a:pt x="9932907" y="13501984"/>
                  </a:lnTo>
                  <a:lnTo>
                    <a:pt x="9942437" y="13497218"/>
                  </a:lnTo>
                  <a:lnTo>
                    <a:pt x="9932907" y="13487688"/>
                  </a:lnTo>
                  <a:lnTo>
                    <a:pt x="9918612" y="13463862"/>
                  </a:lnTo>
                  <a:lnTo>
                    <a:pt x="9923377" y="13459097"/>
                  </a:lnTo>
                  <a:lnTo>
                    <a:pt x="9942437" y="13430506"/>
                  </a:lnTo>
                  <a:lnTo>
                    <a:pt x="9942437" y="13420976"/>
                  </a:lnTo>
                  <a:lnTo>
                    <a:pt x="9937672" y="13401916"/>
                  </a:lnTo>
                  <a:lnTo>
                    <a:pt x="9937672" y="13392386"/>
                  </a:lnTo>
                  <a:lnTo>
                    <a:pt x="9951968" y="13359030"/>
                  </a:lnTo>
                  <a:lnTo>
                    <a:pt x="9947203" y="13354264"/>
                  </a:lnTo>
                  <a:lnTo>
                    <a:pt x="9909082" y="13349500"/>
                  </a:lnTo>
                  <a:lnTo>
                    <a:pt x="9904316" y="13339969"/>
                  </a:lnTo>
                  <a:lnTo>
                    <a:pt x="9904316" y="13335204"/>
                  </a:lnTo>
                  <a:lnTo>
                    <a:pt x="9923377" y="13325674"/>
                  </a:lnTo>
                  <a:lnTo>
                    <a:pt x="9923377" y="13320908"/>
                  </a:lnTo>
                  <a:lnTo>
                    <a:pt x="9894786" y="13254197"/>
                  </a:lnTo>
                  <a:lnTo>
                    <a:pt x="9890021" y="13235136"/>
                  </a:lnTo>
                  <a:lnTo>
                    <a:pt x="9899551" y="13206546"/>
                  </a:lnTo>
                  <a:lnTo>
                    <a:pt x="9918612" y="13197016"/>
                  </a:lnTo>
                  <a:lnTo>
                    <a:pt x="9913847" y="13192250"/>
                  </a:lnTo>
                  <a:lnTo>
                    <a:pt x="9894786" y="13187485"/>
                  </a:lnTo>
                  <a:lnTo>
                    <a:pt x="9885256" y="13187485"/>
                  </a:lnTo>
                  <a:lnTo>
                    <a:pt x="9870961" y="13168424"/>
                  </a:lnTo>
                  <a:lnTo>
                    <a:pt x="9875726" y="13154129"/>
                  </a:lnTo>
                  <a:lnTo>
                    <a:pt x="9880491" y="13149364"/>
                  </a:lnTo>
                  <a:lnTo>
                    <a:pt x="9890021" y="13116008"/>
                  </a:lnTo>
                  <a:lnTo>
                    <a:pt x="9904316" y="13111243"/>
                  </a:lnTo>
                  <a:lnTo>
                    <a:pt x="9899551" y="13106478"/>
                  </a:lnTo>
                  <a:lnTo>
                    <a:pt x="9856665" y="13120774"/>
                  </a:lnTo>
                  <a:lnTo>
                    <a:pt x="9837605" y="13111243"/>
                  </a:lnTo>
                  <a:lnTo>
                    <a:pt x="9818544" y="13111243"/>
                  </a:lnTo>
                  <a:lnTo>
                    <a:pt x="9809014" y="13111243"/>
                  </a:lnTo>
                  <a:lnTo>
                    <a:pt x="9813779" y="13096948"/>
                  </a:lnTo>
                  <a:lnTo>
                    <a:pt x="9851900" y="13049296"/>
                  </a:lnTo>
                  <a:lnTo>
                    <a:pt x="9866195" y="13025470"/>
                  </a:lnTo>
                  <a:lnTo>
                    <a:pt x="9875726" y="13001645"/>
                  </a:lnTo>
                  <a:lnTo>
                    <a:pt x="9880491" y="12982584"/>
                  </a:lnTo>
                  <a:lnTo>
                    <a:pt x="9880491" y="12977820"/>
                  </a:lnTo>
                  <a:lnTo>
                    <a:pt x="9875726" y="12925403"/>
                  </a:lnTo>
                  <a:lnTo>
                    <a:pt x="9880491" y="12911108"/>
                  </a:lnTo>
                  <a:lnTo>
                    <a:pt x="9894786" y="12896812"/>
                  </a:lnTo>
                  <a:lnTo>
                    <a:pt x="9913847" y="12868222"/>
                  </a:lnTo>
                  <a:lnTo>
                    <a:pt x="9885256" y="12849161"/>
                  </a:lnTo>
                  <a:lnTo>
                    <a:pt x="9866195" y="12825336"/>
                  </a:lnTo>
                  <a:lnTo>
                    <a:pt x="9856665" y="12815805"/>
                  </a:lnTo>
                  <a:lnTo>
                    <a:pt x="9847135" y="12801510"/>
                  </a:lnTo>
                  <a:lnTo>
                    <a:pt x="9837605" y="12777684"/>
                  </a:lnTo>
                  <a:lnTo>
                    <a:pt x="9828074" y="12749094"/>
                  </a:lnTo>
                  <a:lnTo>
                    <a:pt x="9818544" y="12687147"/>
                  </a:lnTo>
                  <a:lnTo>
                    <a:pt x="9813779" y="12653791"/>
                  </a:lnTo>
                  <a:lnTo>
                    <a:pt x="9818544" y="12629965"/>
                  </a:lnTo>
                  <a:lnTo>
                    <a:pt x="9823309" y="12615670"/>
                  </a:lnTo>
                  <a:lnTo>
                    <a:pt x="9828074" y="12606140"/>
                  </a:lnTo>
                  <a:lnTo>
                    <a:pt x="9856665" y="12582314"/>
                  </a:lnTo>
                  <a:lnTo>
                    <a:pt x="9899551" y="12544193"/>
                  </a:lnTo>
                  <a:lnTo>
                    <a:pt x="9937672" y="12529898"/>
                  </a:lnTo>
                  <a:lnTo>
                    <a:pt x="9961498" y="12539428"/>
                  </a:lnTo>
                  <a:lnTo>
                    <a:pt x="10013914" y="12548958"/>
                  </a:lnTo>
                  <a:lnTo>
                    <a:pt x="10056801" y="12568018"/>
                  </a:lnTo>
                  <a:lnTo>
                    <a:pt x="10180693" y="12615670"/>
                  </a:lnTo>
                  <a:lnTo>
                    <a:pt x="10204521" y="12639496"/>
                  </a:lnTo>
                  <a:lnTo>
                    <a:pt x="10180693" y="12658556"/>
                  </a:lnTo>
                  <a:lnTo>
                    <a:pt x="10185461" y="12663321"/>
                  </a:lnTo>
                  <a:lnTo>
                    <a:pt x="10233109" y="12629965"/>
                  </a:lnTo>
                  <a:lnTo>
                    <a:pt x="10242641" y="12620435"/>
                  </a:lnTo>
                  <a:lnTo>
                    <a:pt x="10256937" y="12620435"/>
                  </a:lnTo>
                  <a:lnTo>
                    <a:pt x="10290293" y="12634730"/>
                  </a:lnTo>
                  <a:lnTo>
                    <a:pt x="10304589" y="12634730"/>
                  </a:lnTo>
                  <a:lnTo>
                    <a:pt x="10323649" y="12644260"/>
                  </a:lnTo>
                  <a:lnTo>
                    <a:pt x="10366533" y="12687147"/>
                  </a:lnTo>
                  <a:lnTo>
                    <a:pt x="10366533" y="12682382"/>
                  </a:lnTo>
                  <a:lnTo>
                    <a:pt x="10357005" y="12663321"/>
                  </a:lnTo>
                  <a:lnTo>
                    <a:pt x="10361769" y="12653791"/>
                  </a:lnTo>
                  <a:lnTo>
                    <a:pt x="10395125" y="12634730"/>
                  </a:lnTo>
                  <a:lnTo>
                    <a:pt x="10433245" y="12615670"/>
                  </a:lnTo>
                  <a:lnTo>
                    <a:pt x="10457073" y="12601374"/>
                  </a:lnTo>
                  <a:lnTo>
                    <a:pt x="10480897" y="12577549"/>
                  </a:lnTo>
                  <a:lnTo>
                    <a:pt x="10499957" y="12568018"/>
                  </a:lnTo>
                  <a:lnTo>
                    <a:pt x="10509489" y="12563254"/>
                  </a:lnTo>
                  <a:lnTo>
                    <a:pt x="10523785" y="12572784"/>
                  </a:lnTo>
                  <a:lnTo>
                    <a:pt x="10552373" y="12601374"/>
                  </a:lnTo>
                  <a:lnTo>
                    <a:pt x="10571433" y="12615670"/>
                  </a:lnTo>
                  <a:lnTo>
                    <a:pt x="10590497" y="12629965"/>
                  </a:lnTo>
                  <a:lnTo>
                    <a:pt x="10614321" y="12658556"/>
                  </a:lnTo>
                  <a:lnTo>
                    <a:pt x="10619085" y="12663321"/>
                  </a:lnTo>
                  <a:lnTo>
                    <a:pt x="10638145" y="12682382"/>
                  </a:lnTo>
                  <a:lnTo>
                    <a:pt x="10661973" y="12677616"/>
                  </a:lnTo>
                  <a:lnTo>
                    <a:pt x="10671501" y="12682382"/>
                  </a:lnTo>
                  <a:lnTo>
                    <a:pt x="10671501" y="12687147"/>
                  </a:lnTo>
                  <a:lnTo>
                    <a:pt x="10676269" y="12696677"/>
                  </a:lnTo>
                  <a:lnTo>
                    <a:pt x="10676269" y="12706207"/>
                  </a:lnTo>
                  <a:lnTo>
                    <a:pt x="10676269" y="12715738"/>
                  </a:lnTo>
                  <a:lnTo>
                    <a:pt x="10671501" y="12739563"/>
                  </a:lnTo>
                  <a:lnTo>
                    <a:pt x="10657209" y="12777684"/>
                  </a:lnTo>
                  <a:lnTo>
                    <a:pt x="10661973" y="12777684"/>
                  </a:lnTo>
                  <a:lnTo>
                    <a:pt x="10671501" y="12768154"/>
                  </a:lnTo>
                  <a:lnTo>
                    <a:pt x="10685797" y="12753858"/>
                  </a:lnTo>
                  <a:lnTo>
                    <a:pt x="10695329" y="12749094"/>
                  </a:lnTo>
                  <a:lnTo>
                    <a:pt x="10719153" y="12758624"/>
                  </a:lnTo>
                  <a:lnTo>
                    <a:pt x="10742981" y="12777684"/>
                  </a:lnTo>
                  <a:lnTo>
                    <a:pt x="10747745" y="12787214"/>
                  </a:lnTo>
                  <a:lnTo>
                    <a:pt x="10757273" y="12806275"/>
                  </a:lnTo>
                  <a:lnTo>
                    <a:pt x="10762041" y="12815805"/>
                  </a:lnTo>
                  <a:lnTo>
                    <a:pt x="10771569" y="12830100"/>
                  </a:lnTo>
                  <a:lnTo>
                    <a:pt x="10771569" y="12834866"/>
                  </a:lnTo>
                  <a:lnTo>
                    <a:pt x="10762041" y="12839631"/>
                  </a:lnTo>
                  <a:lnTo>
                    <a:pt x="10738213" y="12853926"/>
                  </a:lnTo>
                  <a:lnTo>
                    <a:pt x="10742981" y="12858691"/>
                  </a:lnTo>
                  <a:lnTo>
                    <a:pt x="10771569" y="12853926"/>
                  </a:lnTo>
                  <a:lnTo>
                    <a:pt x="10781101" y="12844396"/>
                  </a:lnTo>
                  <a:lnTo>
                    <a:pt x="10790629" y="12830100"/>
                  </a:lnTo>
                  <a:lnTo>
                    <a:pt x="10795397" y="12825336"/>
                  </a:lnTo>
                  <a:lnTo>
                    <a:pt x="10833517" y="12849161"/>
                  </a:lnTo>
                  <a:lnTo>
                    <a:pt x="10838281" y="12858691"/>
                  </a:lnTo>
                  <a:lnTo>
                    <a:pt x="10833517" y="12863456"/>
                  </a:lnTo>
                  <a:lnTo>
                    <a:pt x="10828753" y="12872986"/>
                  </a:lnTo>
                  <a:lnTo>
                    <a:pt x="10814457" y="12877752"/>
                  </a:lnTo>
                  <a:lnTo>
                    <a:pt x="10800161" y="12901578"/>
                  </a:lnTo>
                  <a:lnTo>
                    <a:pt x="10800161" y="12906342"/>
                  </a:lnTo>
                  <a:lnTo>
                    <a:pt x="10809693" y="12915873"/>
                  </a:lnTo>
                  <a:lnTo>
                    <a:pt x="10833517" y="12915873"/>
                  </a:lnTo>
                  <a:lnTo>
                    <a:pt x="10833517" y="12920638"/>
                  </a:lnTo>
                  <a:lnTo>
                    <a:pt x="10819221" y="12930168"/>
                  </a:lnTo>
                  <a:lnTo>
                    <a:pt x="10814457" y="12939698"/>
                  </a:lnTo>
                  <a:lnTo>
                    <a:pt x="10847813" y="12982584"/>
                  </a:lnTo>
                  <a:lnTo>
                    <a:pt x="10866873" y="13001645"/>
                  </a:lnTo>
                  <a:lnTo>
                    <a:pt x="10876401" y="13001645"/>
                  </a:lnTo>
                  <a:lnTo>
                    <a:pt x="10904993" y="13001645"/>
                  </a:lnTo>
                  <a:lnTo>
                    <a:pt x="10928821" y="13011176"/>
                  </a:lnTo>
                  <a:lnTo>
                    <a:pt x="10976469" y="13035001"/>
                  </a:lnTo>
                  <a:lnTo>
                    <a:pt x="11005061" y="13035001"/>
                  </a:lnTo>
                  <a:lnTo>
                    <a:pt x="11028889" y="13030236"/>
                  </a:lnTo>
                  <a:lnTo>
                    <a:pt x="11043181" y="13030236"/>
                  </a:lnTo>
                  <a:lnTo>
                    <a:pt x="11057477" y="13039766"/>
                  </a:lnTo>
                  <a:lnTo>
                    <a:pt x="11062241" y="13044531"/>
                  </a:lnTo>
                  <a:lnTo>
                    <a:pt x="11067009" y="13058826"/>
                  </a:lnTo>
                  <a:lnTo>
                    <a:pt x="11067009" y="13077887"/>
                  </a:lnTo>
                  <a:lnTo>
                    <a:pt x="11076537" y="13087418"/>
                  </a:lnTo>
                  <a:lnTo>
                    <a:pt x="11090833" y="13096948"/>
                  </a:lnTo>
                  <a:lnTo>
                    <a:pt x="11105129" y="13096948"/>
                  </a:lnTo>
                  <a:lnTo>
                    <a:pt x="11119425" y="13082652"/>
                  </a:lnTo>
                  <a:lnTo>
                    <a:pt x="11133721" y="13077887"/>
                  </a:lnTo>
                  <a:lnTo>
                    <a:pt x="11138485" y="13068357"/>
                  </a:lnTo>
                  <a:lnTo>
                    <a:pt x="11143249" y="13044531"/>
                  </a:lnTo>
                  <a:lnTo>
                    <a:pt x="11148017" y="13035001"/>
                  </a:lnTo>
                  <a:lnTo>
                    <a:pt x="11157545" y="13030236"/>
                  </a:lnTo>
                  <a:lnTo>
                    <a:pt x="11167077" y="13039766"/>
                  </a:lnTo>
                  <a:lnTo>
                    <a:pt x="11171841" y="13049296"/>
                  </a:lnTo>
                  <a:lnTo>
                    <a:pt x="11181373" y="13077887"/>
                  </a:lnTo>
                  <a:lnTo>
                    <a:pt x="11181373" y="13087418"/>
                  </a:lnTo>
                  <a:lnTo>
                    <a:pt x="11181373" y="13101712"/>
                  </a:lnTo>
                  <a:lnTo>
                    <a:pt x="11176605" y="13111243"/>
                  </a:lnTo>
                  <a:lnTo>
                    <a:pt x="11167077" y="13120774"/>
                  </a:lnTo>
                  <a:lnTo>
                    <a:pt x="11157545" y="13135068"/>
                  </a:lnTo>
                  <a:lnTo>
                    <a:pt x="11143249" y="13149364"/>
                  </a:lnTo>
                  <a:lnTo>
                    <a:pt x="11133721" y="13187485"/>
                  </a:lnTo>
                  <a:lnTo>
                    <a:pt x="11128953" y="13216076"/>
                  </a:lnTo>
                  <a:lnTo>
                    <a:pt x="11124189" y="13230371"/>
                  </a:lnTo>
                  <a:lnTo>
                    <a:pt x="11128953" y="13244666"/>
                  </a:lnTo>
                  <a:lnTo>
                    <a:pt x="11128953" y="13263727"/>
                  </a:lnTo>
                  <a:lnTo>
                    <a:pt x="11133721" y="13278022"/>
                  </a:lnTo>
                  <a:lnTo>
                    <a:pt x="11148017" y="13297083"/>
                  </a:lnTo>
                  <a:lnTo>
                    <a:pt x="11148017" y="13306613"/>
                  </a:lnTo>
                  <a:lnTo>
                    <a:pt x="11148017" y="13320908"/>
                  </a:lnTo>
                  <a:lnTo>
                    <a:pt x="11148017" y="13330439"/>
                  </a:lnTo>
                  <a:lnTo>
                    <a:pt x="11138485" y="13344734"/>
                  </a:lnTo>
                  <a:lnTo>
                    <a:pt x="11119425" y="13359030"/>
                  </a:lnTo>
                  <a:lnTo>
                    <a:pt x="11095597" y="13363794"/>
                  </a:lnTo>
                  <a:lnTo>
                    <a:pt x="11009825" y="13363794"/>
                  </a:lnTo>
                  <a:lnTo>
                    <a:pt x="10986001" y="13359030"/>
                  </a:lnTo>
                  <a:lnTo>
                    <a:pt x="10990765" y="13373325"/>
                  </a:lnTo>
                  <a:lnTo>
                    <a:pt x="11014593" y="13378090"/>
                  </a:lnTo>
                  <a:lnTo>
                    <a:pt x="11038417" y="13378090"/>
                  </a:lnTo>
                  <a:lnTo>
                    <a:pt x="11119425" y="13387620"/>
                  </a:lnTo>
                  <a:lnTo>
                    <a:pt x="11128953" y="13392386"/>
                  </a:lnTo>
                  <a:lnTo>
                    <a:pt x="11138485" y="13406681"/>
                  </a:lnTo>
                  <a:lnTo>
                    <a:pt x="11148017" y="13425742"/>
                  </a:lnTo>
                  <a:lnTo>
                    <a:pt x="11152781" y="13454332"/>
                  </a:lnTo>
                  <a:lnTo>
                    <a:pt x="11152781" y="13468628"/>
                  </a:lnTo>
                  <a:lnTo>
                    <a:pt x="11152781" y="13482923"/>
                  </a:lnTo>
                  <a:lnTo>
                    <a:pt x="11143249" y="13501984"/>
                  </a:lnTo>
                  <a:lnTo>
                    <a:pt x="11138485" y="13525809"/>
                  </a:lnTo>
                  <a:lnTo>
                    <a:pt x="11133721" y="13554400"/>
                  </a:lnTo>
                  <a:lnTo>
                    <a:pt x="11138485" y="13573460"/>
                  </a:lnTo>
                  <a:lnTo>
                    <a:pt x="11181373" y="13573460"/>
                  </a:lnTo>
                  <a:lnTo>
                    <a:pt x="11190901" y="13582990"/>
                  </a:lnTo>
                  <a:lnTo>
                    <a:pt x="11190901" y="13592521"/>
                  </a:lnTo>
                  <a:lnTo>
                    <a:pt x="11171841" y="13621112"/>
                  </a:lnTo>
                  <a:lnTo>
                    <a:pt x="11171841" y="13630642"/>
                  </a:lnTo>
                  <a:lnTo>
                    <a:pt x="11181373" y="13649702"/>
                  </a:lnTo>
                  <a:lnTo>
                    <a:pt x="11181373" y="13654468"/>
                  </a:lnTo>
                  <a:lnTo>
                    <a:pt x="11176605" y="13659232"/>
                  </a:lnTo>
                  <a:lnTo>
                    <a:pt x="11171841" y="13678293"/>
                  </a:lnTo>
                  <a:lnTo>
                    <a:pt x="11167077" y="13702118"/>
                  </a:lnTo>
                  <a:lnTo>
                    <a:pt x="11162309" y="13716414"/>
                  </a:lnTo>
                  <a:lnTo>
                    <a:pt x="11148017" y="13725944"/>
                  </a:lnTo>
                  <a:lnTo>
                    <a:pt x="11143249" y="13730710"/>
                  </a:lnTo>
                  <a:lnTo>
                    <a:pt x="11138485" y="13725944"/>
                  </a:lnTo>
                  <a:lnTo>
                    <a:pt x="11128953" y="13692588"/>
                  </a:lnTo>
                  <a:lnTo>
                    <a:pt x="11124189" y="13687824"/>
                  </a:lnTo>
                  <a:lnTo>
                    <a:pt x="11119425" y="13692588"/>
                  </a:lnTo>
                  <a:lnTo>
                    <a:pt x="11114661" y="13697354"/>
                  </a:lnTo>
                  <a:lnTo>
                    <a:pt x="11114661" y="13702118"/>
                  </a:lnTo>
                  <a:lnTo>
                    <a:pt x="11114661" y="13711649"/>
                  </a:lnTo>
                  <a:lnTo>
                    <a:pt x="11109893" y="13721179"/>
                  </a:lnTo>
                  <a:lnTo>
                    <a:pt x="11090833" y="13730710"/>
                  </a:lnTo>
                  <a:lnTo>
                    <a:pt x="11062241" y="13740240"/>
                  </a:lnTo>
                  <a:lnTo>
                    <a:pt x="11062241" y="13749770"/>
                  </a:lnTo>
                  <a:lnTo>
                    <a:pt x="11081305" y="13754535"/>
                  </a:lnTo>
                  <a:lnTo>
                    <a:pt x="11109893" y="13768830"/>
                  </a:lnTo>
                  <a:lnTo>
                    <a:pt x="11119425" y="13768830"/>
                  </a:lnTo>
                  <a:lnTo>
                    <a:pt x="11143249" y="13759300"/>
                  </a:lnTo>
                  <a:lnTo>
                    <a:pt x="11186137" y="13721179"/>
                  </a:lnTo>
                  <a:lnTo>
                    <a:pt x="11200433" y="13711649"/>
                  </a:lnTo>
                  <a:lnTo>
                    <a:pt x="11219493" y="13706884"/>
                  </a:lnTo>
                  <a:lnTo>
                    <a:pt x="11233789" y="13706884"/>
                  </a:lnTo>
                  <a:lnTo>
                    <a:pt x="11252849" y="13711649"/>
                  </a:lnTo>
                  <a:lnTo>
                    <a:pt x="11290969" y="13706884"/>
                  </a:lnTo>
                  <a:lnTo>
                    <a:pt x="11300501" y="13706884"/>
                  </a:lnTo>
                  <a:lnTo>
                    <a:pt x="11314793" y="13716414"/>
                  </a:lnTo>
                  <a:lnTo>
                    <a:pt x="11324325" y="13730710"/>
                  </a:lnTo>
                  <a:lnTo>
                    <a:pt x="11338621" y="13740240"/>
                  </a:lnTo>
                  <a:lnTo>
                    <a:pt x="11343385" y="13754535"/>
                  </a:lnTo>
                  <a:lnTo>
                    <a:pt x="11348149" y="13797421"/>
                  </a:lnTo>
                  <a:lnTo>
                    <a:pt x="11362445" y="13811716"/>
                  </a:lnTo>
                  <a:lnTo>
                    <a:pt x="11362445" y="13816482"/>
                  </a:lnTo>
                  <a:lnTo>
                    <a:pt x="11367213" y="13830777"/>
                  </a:lnTo>
                  <a:lnTo>
                    <a:pt x="11362445" y="13854602"/>
                  </a:lnTo>
                  <a:lnTo>
                    <a:pt x="11352917" y="13907019"/>
                  </a:lnTo>
                  <a:lnTo>
                    <a:pt x="11343385" y="13926080"/>
                  </a:lnTo>
                  <a:lnTo>
                    <a:pt x="11329089" y="13954670"/>
                  </a:lnTo>
                  <a:lnTo>
                    <a:pt x="11305265" y="13964200"/>
                  </a:lnTo>
                  <a:lnTo>
                    <a:pt x="11271909" y="13973731"/>
                  </a:lnTo>
                  <a:lnTo>
                    <a:pt x="11252849" y="13983261"/>
                  </a:lnTo>
                  <a:lnTo>
                    <a:pt x="11238553" y="13997556"/>
                  </a:lnTo>
                  <a:lnTo>
                    <a:pt x="11238553" y="14002322"/>
                  </a:lnTo>
                  <a:lnTo>
                    <a:pt x="11281437" y="13983261"/>
                  </a:lnTo>
                  <a:lnTo>
                    <a:pt x="11324325" y="13973731"/>
                  </a:lnTo>
                  <a:lnTo>
                    <a:pt x="11338621" y="13959436"/>
                  </a:lnTo>
                  <a:lnTo>
                    <a:pt x="11348149" y="13949906"/>
                  </a:lnTo>
                  <a:lnTo>
                    <a:pt x="11357681" y="13921314"/>
                  </a:lnTo>
                  <a:lnTo>
                    <a:pt x="11371977" y="13854602"/>
                  </a:lnTo>
                  <a:lnTo>
                    <a:pt x="11381505" y="13835542"/>
                  </a:lnTo>
                  <a:lnTo>
                    <a:pt x="11395801" y="13830777"/>
                  </a:lnTo>
                  <a:lnTo>
                    <a:pt x="11405333" y="13840308"/>
                  </a:lnTo>
                  <a:lnTo>
                    <a:pt x="11419629" y="13878428"/>
                  </a:lnTo>
                  <a:lnTo>
                    <a:pt x="11419629" y="13887958"/>
                  </a:lnTo>
                  <a:lnTo>
                    <a:pt x="11414861" y="13897489"/>
                  </a:lnTo>
                  <a:lnTo>
                    <a:pt x="11391037" y="13935610"/>
                  </a:lnTo>
                  <a:lnTo>
                    <a:pt x="11400565" y="13930845"/>
                  </a:lnTo>
                  <a:lnTo>
                    <a:pt x="11424393" y="13892724"/>
                  </a:lnTo>
                  <a:lnTo>
                    <a:pt x="11429157" y="13883194"/>
                  </a:lnTo>
                  <a:lnTo>
                    <a:pt x="11433921" y="13868898"/>
                  </a:lnTo>
                  <a:lnTo>
                    <a:pt x="11438689" y="13854602"/>
                  </a:lnTo>
                  <a:lnTo>
                    <a:pt x="11443453" y="13859368"/>
                  </a:lnTo>
                  <a:lnTo>
                    <a:pt x="11448217" y="13902254"/>
                  </a:lnTo>
                  <a:lnTo>
                    <a:pt x="11448217" y="13935610"/>
                  </a:lnTo>
                  <a:lnTo>
                    <a:pt x="11452985" y="13945140"/>
                  </a:lnTo>
                  <a:lnTo>
                    <a:pt x="11448217" y="13973731"/>
                  </a:lnTo>
                  <a:lnTo>
                    <a:pt x="11452985" y="13978496"/>
                  </a:lnTo>
                  <a:lnTo>
                    <a:pt x="11457749" y="13954670"/>
                  </a:lnTo>
                  <a:lnTo>
                    <a:pt x="11462513" y="13935610"/>
                  </a:lnTo>
                  <a:lnTo>
                    <a:pt x="11462513" y="13921314"/>
                  </a:lnTo>
                  <a:lnTo>
                    <a:pt x="11467277" y="13911784"/>
                  </a:lnTo>
                  <a:lnTo>
                    <a:pt x="11495869" y="13887958"/>
                  </a:lnTo>
                  <a:lnTo>
                    <a:pt x="11533989" y="13864133"/>
                  </a:lnTo>
                  <a:lnTo>
                    <a:pt x="11553053" y="13845072"/>
                  </a:lnTo>
                  <a:lnTo>
                    <a:pt x="11572113" y="13835542"/>
                  </a:lnTo>
                  <a:lnTo>
                    <a:pt x="11600701" y="13830777"/>
                  </a:lnTo>
                  <a:lnTo>
                    <a:pt x="11619761" y="13811716"/>
                  </a:lnTo>
                  <a:lnTo>
                    <a:pt x="11624529" y="13783126"/>
                  </a:lnTo>
                  <a:lnTo>
                    <a:pt x="11634057" y="13768830"/>
                  </a:lnTo>
                  <a:lnTo>
                    <a:pt x="11638825" y="13759300"/>
                  </a:lnTo>
                  <a:lnTo>
                    <a:pt x="11657885" y="13740240"/>
                  </a:lnTo>
                  <a:lnTo>
                    <a:pt x="11667413" y="13740240"/>
                  </a:lnTo>
                  <a:lnTo>
                    <a:pt x="11676945" y="13745005"/>
                  </a:lnTo>
                  <a:lnTo>
                    <a:pt x="11686473" y="13759300"/>
                  </a:lnTo>
                  <a:lnTo>
                    <a:pt x="11700769" y="13778360"/>
                  </a:lnTo>
                  <a:lnTo>
                    <a:pt x="11705537" y="13792656"/>
                  </a:lnTo>
                  <a:lnTo>
                    <a:pt x="11710301" y="13806952"/>
                  </a:lnTo>
                  <a:lnTo>
                    <a:pt x="11710301" y="13845072"/>
                  </a:lnTo>
                  <a:lnTo>
                    <a:pt x="11715065" y="13845072"/>
                  </a:lnTo>
                  <a:lnTo>
                    <a:pt x="11724597" y="13816482"/>
                  </a:lnTo>
                  <a:lnTo>
                    <a:pt x="11724597" y="13806952"/>
                  </a:lnTo>
                  <a:lnTo>
                    <a:pt x="11724597" y="13792656"/>
                  </a:lnTo>
                  <a:lnTo>
                    <a:pt x="11719829" y="13783126"/>
                  </a:lnTo>
                  <a:lnTo>
                    <a:pt x="11710301" y="13754535"/>
                  </a:lnTo>
                  <a:lnTo>
                    <a:pt x="11705537" y="13740240"/>
                  </a:lnTo>
                  <a:lnTo>
                    <a:pt x="11705537" y="13730710"/>
                  </a:lnTo>
                  <a:lnTo>
                    <a:pt x="11719829" y="13725944"/>
                  </a:lnTo>
                  <a:lnTo>
                    <a:pt x="11734125" y="13721179"/>
                  </a:lnTo>
                  <a:lnTo>
                    <a:pt x="11738893" y="13716414"/>
                  </a:lnTo>
                  <a:lnTo>
                    <a:pt x="11724597" y="13706884"/>
                  </a:lnTo>
                  <a:lnTo>
                    <a:pt x="11724597" y="13702118"/>
                  </a:lnTo>
                  <a:lnTo>
                    <a:pt x="11738893" y="13683058"/>
                  </a:lnTo>
                  <a:lnTo>
                    <a:pt x="11743657" y="13683058"/>
                  </a:lnTo>
                  <a:lnTo>
                    <a:pt x="11757953" y="13683058"/>
                  </a:lnTo>
                  <a:lnTo>
                    <a:pt x="11757953" y="13673528"/>
                  </a:lnTo>
                  <a:lnTo>
                    <a:pt x="11757953" y="13668763"/>
                  </a:lnTo>
                  <a:lnTo>
                    <a:pt x="11762717" y="13663998"/>
                  </a:lnTo>
                  <a:lnTo>
                    <a:pt x="11786541" y="13673528"/>
                  </a:lnTo>
                  <a:lnTo>
                    <a:pt x="11786541" y="13663998"/>
                  </a:lnTo>
                  <a:lnTo>
                    <a:pt x="11805601" y="13663998"/>
                  </a:lnTo>
                  <a:lnTo>
                    <a:pt x="11810369" y="13659232"/>
                  </a:lnTo>
                  <a:lnTo>
                    <a:pt x="11791309" y="13649702"/>
                  </a:lnTo>
                  <a:lnTo>
                    <a:pt x="11777013" y="13640172"/>
                  </a:lnTo>
                  <a:lnTo>
                    <a:pt x="11767481" y="13635407"/>
                  </a:lnTo>
                  <a:lnTo>
                    <a:pt x="11767481" y="13630642"/>
                  </a:lnTo>
                  <a:lnTo>
                    <a:pt x="11757953" y="13611582"/>
                  </a:lnTo>
                  <a:lnTo>
                    <a:pt x="11762717" y="13606816"/>
                  </a:lnTo>
                  <a:lnTo>
                    <a:pt x="11767481" y="13606816"/>
                  </a:lnTo>
                  <a:lnTo>
                    <a:pt x="11777013" y="13611582"/>
                  </a:lnTo>
                  <a:lnTo>
                    <a:pt x="11781777" y="13602051"/>
                  </a:lnTo>
                  <a:lnTo>
                    <a:pt x="11786541" y="13578226"/>
                  </a:lnTo>
                  <a:lnTo>
                    <a:pt x="11791309" y="13568695"/>
                  </a:lnTo>
                  <a:lnTo>
                    <a:pt x="11805601" y="13578226"/>
                  </a:lnTo>
                  <a:lnTo>
                    <a:pt x="11805601" y="13573460"/>
                  </a:lnTo>
                  <a:lnTo>
                    <a:pt x="11791309" y="13540104"/>
                  </a:lnTo>
                  <a:lnTo>
                    <a:pt x="11796073" y="13530574"/>
                  </a:lnTo>
                  <a:lnTo>
                    <a:pt x="11815133" y="13530574"/>
                  </a:lnTo>
                  <a:lnTo>
                    <a:pt x="11824665" y="13535340"/>
                  </a:lnTo>
                  <a:lnTo>
                    <a:pt x="11858021" y="13559165"/>
                  </a:lnTo>
                  <a:lnTo>
                    <a:pt x="11862785" y="13559165"/>
                  </a:lnTo>
                  <a:lnTo>
                    <a:pt x="11858021" y="13549634"/>
                  </a:lnTo>
                  <a:lnTo>
                    <a:pt x="11843725" y="13535340"/>
                  </a:lnTo>
                  <a:lnTo>
                    <a:pt x="11829429" y="13525809"/>
                  </a:lnTo>
                  <a:lnTo>
                    <a:pt x="11815133" y="13521044"/>
                  </a:lnTo>
                  <a:lnTo>
                    <a:pt x="11805601" y="13511514"/>
                  </a:lnTo>
                  <a:lnTo>
                    <a:pt x="11796073" y="13487688"/>
                  </a:lnTo>
                  <a:lnTo>
                    <a:pt x="11791309" y="13478158"/>
                  </a:lnTo>
                  <a:lnTo>
                    <a:pt x="11796073" y="13463862"/>
                  </a:lnTo>
                  <a:lnTo>
                    <a:pt x="11800837" y="13440036"/>
                  </a:lnTo>
                  <a:lnTo>
                    <a:pt x="11805601" y="13430506"/>
                  </a:lnTo>
                  <a:lnTo>
                    <a:pt x="11815133" y="13425742"/>
                  </a:lnTo>
                  <a:lnTo>
                    <a:pt x="11824665" y="13425742"/>
                  </a:lnTo>
                  <a:lnTo>
                    <a:pt x="11834193" y="13425742"/>
                  </a:lnTo>
                  <a:lnTo>
                    <a:pt x="11862785" y="13444802"/>
                  </a:lnTo>
                  <a:lnTo>
                    <a:pt x="11867549" y="13440036"/>
                  </a:lnTo>
                  <a:lnTo>
                    <a:pt x="11853253" y="13430506"/>
                  </a:lnTo>
                  <a:lnTo>
                    <a:pt x="11843725" y="13420976"/>
                  </a:lnTo>
                  <a:lnTo>
                    <a:pt x="11843725" y="13411446"/>
                  </a:lnTo>
                  <a:lnTo>
                    <a:pt x="11843725" y="13397150"/>
                  </a:lnTo>
                  <a:lnTo>
                    <a:pt x="11853253" y="13368560"/>
                  </a:lnTo>
                  <a:lnTo>
                    <a:pt x="11858021" y="13349500"/>
                  </a:lnTo>
                  <a:lnTo>
                    <a:pt x="11881845" y="13287552"/>
                  </a:lnTo>
                  <a:lnTo>
                    <a:pt x="11886609" y="13278022"/>
                  </a:lnTo>
                  <a:lnTo>
                    <a:pt x="11891377" y="13273258"/>
                  </a:lnTo>
                  <a:lnTo>
                    <a:pt x="11896141" y="13263727"/>
                  </a:lnTo>
                  <a:lnTo>
                    <a:pt x="11915201" y="13263727"/>
                  </a:lnTo>
                  <a:lnTo>
                    <a:pt x="11948557" y="13282788"/>
                  </a:lnTo>
                  <a:lnTo>
                    <a:pt x="11958085" y="13297083"/>
                  </a:lnTo>
                  <a:lnTo>
                    <a:pt x="11962853" y="13316144"/>
                  </a:lnTo>
                  <a:lnTo>
                    <a:pt x="11943793" y="13339969"/>
                  </a:lnTo>
                  <a:lnTo>
                    <a:pt x="11915201" y="13359030"/>
                  </a:lnTo>
                  <a:lnTo>
                    <a:pt x="11905669" y="13363794"/>
                  </a:lnTo>
                  <a:lnTo>
                    <a:pt x="11910437" y="13368560"/>
                  </a:lnTo>
                  <a:lnTo>
                    <a:pt x="11939025" y="13354264"/>
                  </a:lnTo>
                  <a:lnTo>
                    <a:pt x="11962853" y="13349500"/>
                  </a:lnTo>
                  <a:lnTo>
                    <a:pt x="11981913" y="13349500"/>
                  </a:lnTo>
                  <a:lnTo>
                    <a:pt x="11996209" y="13378090"/>
                  </a:lnTo>
                  <a:lnTo>
                    <a:pt x="12000973" y="13416211"/>
                  </a:lnTo>
                  <a:lnTo>
                    <a:pt x="11991441" y="13449567"/>
                  </a:lnTo>
                  <a:lnTo>
                    <a:pt x="12000973" y="13430506"/>
                  </a:lnTo>
                  <a:lnTo>
                    <a:pt x="12015269" y="13425742"/>
                  </a:lnTo>
                  <a:lnTo>
                    <a:pt x="12029565" y="13444802"/>
                  </a:lnTo>
                  <a:lnTo>
                    <a:pt x="12029565" y="13463862"/>
                  </a:lnTo>
                  <a:lnTo>
                    <a:pt x="12039093" y="13478158"/>
                  </a:lnTo>
                  <a:lnTo>
                    <a:pt x="12048625" y="13501984"/>
                  </a:lnTo>
                  <a:lnTo>
                    <a:pt x="12062921" y="13521044"/>
                  </a:lnTo>
                  <a:lnTo>
                    <a:pt x="12048625" y="13540104"/>
                  </a:lnTo>
                  <a:lnTo>
                    <a:pt x="12029565" y="13549634"/>
                  </a:lnTo>
                  <a:lnTo>
                    <a:pt x="12034329" y="13559165"/>
                  </a:lnTo>
                  <a:lnTo>
                    <a:pt x="12058153" y="13568695"/>
                  </a:lnTo>
                  <a:lnTo>
                    <a:pt x="12062921" y="13578226"/>
                  </a:lnTo>
                  <a:lnTo>
                    <a:pt x="12062921" y="13592521"/>
                  </a:lnTo>
                  <a:lnTo>
                    <a:pt x="12081981" y="13573460"/>
                  </a:lnTo>
                  <a:lnTo>
                    <a:pt x="12096277" y="13573460"/>
                  </a:lnTo>
                  <a:lnTo>
                    <a:pt x="12115337" y="13616346"/>
                  </a:lnTo>
                  <a:lnTo>
                    <a:pt x="12101041" y="13640172"/>
                  </a:lnTo>
                  <a:lnTo>
                    <a:pt x="12081981" y="13654468"/>
                  </a:lnTo>
                  <a:lnTo>
                    <a:pt x="12062921" y="13654468"/>
                  </a:lnTo>
                  <a:lnTo>
                    <a:pt x="12039093" y="13654468"/>
                  </a:lnTo>
                  <a:lnTo>
                    <a:pt x="12029565" y="13659232"/>
                  </a:lnTo>
                  <a:lnTo>
                    <a:pt x="12034329" y="13668763"/>
                  </a:lnTo>
                  <a:lnTo>
                    <a:pt x="12058153" y="13668763"/>
                  </a:lnTo>
                  <a:lnTo>
                    <a:pt x="12091509" y="13659232"/>
                  </a:lnTo>
                  <a:lnTo>
                    <a:pt x="12120101" y="13649702"/>
                  </a:lnTo>
                  <a:lnTo>
                    <a:pt x="12129633" y="13649702"/>
                  </a:lnTo>
                  <a:lnTo>
                    <a:pt x="12143925" y="13654468"/>
                  </a:lnTo>
                  <a:lnTo>
                    <a:pt x="12148693" y="13659232"/>
                  </a:lnTo>
                  <a:lnTo>
                    <a:pt x="12134397" y="13663998"/>
                  </a:lnTo>
                  <a:lnTo>
                    <a:pt x="12134397" y="13668763"/>
                  </a:lnTo>
                  <a:lnTo>
                    <a:pt x="12139161" y="13673528"/>
                  </a:lnTo>
                  <a:lnTo>
                    <a:pt x="12148693" y="13697354"/>
                  </a:lnTo>
                  <a:lnTo>
                    <a:pt x="12148693" y="13702118"/>
                  </a:lnTo>
                  <a:lnTo>
                    <a:pt x="12139161" y="13716414"/>
                  </a:lnTo>
                  <a:lnTo>
                    <a:pt x="12153457" y="13721179"/>
                  </a:lnTo>
                  <a:lnTo>
                    <a:pt x="12172517" y="13711649"/>
                  </a:lnTo>
                  <a:lnTo>
                    <a:pt x="12182049" y="13721179"/>
                  </a:lnTo>
                  <a:lnTo>
                    <a:pt x="12191577" y="13745005"/>
                  </a:lnTo>
                  <a:lnTo>
                    <a:pt x="12201109" y="13773596"/>
                  </a:lnTo>
                  <a:lnTo>
                    <a:pt x="12167753" y="13811716"/>
                  </a:lnTo>
                  <a:lnTo>
                    <a:pt x="12148693" y="13821247"/>
                  </a:lnTo>
                  <a:lnTo>
                    <a:pt x="12120101" y="13840308"/>
                  </a:lnTo>
                  <a:lnTo>
                    <a:pt x="12115337" y="13854602"/>
                  </a:lnTo>
                  <a:lnTo>
                    <a:pt x="12096277" y="13878428"/>
                  </a:lnTo>
                  <a:lnTo>
                    <a:pt x="12105805" y="13878428"/>
                  </a:lnTo>
                  <a:lnTo>
                    <a:pt x="12134397" y="13845072"/>
                  </a:lnTo>
                  <a:lnTo>
                    <a:pt x="12148693" y="13835542"/>
                  </a:lnTo>
                  <a:lnTo>
                    <a:pt x="12158221" y="13840308"/>
                  </a:lnTo>
                  <a:lnTo>
                    <a:pt x="12162989" y="13845072"/>
                  </a:lnTo>
                  <a:lnTo>
                    <a:pt x="12162989" y="13854602"/>
                  </a:lnTo>
                  <a:lnTo>
                    <a:pt x="12167753" y="13849838"/>
                  </a:lnTo>
                  <a:lnTo>
                    <a:pt x="12205873" y="13830777"/>
                  </a:lnTo>
                  <a:lnTo>
                    <a:pt x="12224933" y="13830777"/>
                  </a:lnTo>
                  <a:lnTo>
                    <a:pt x="12243993" y="13826012"/>
                  </a:lnTo>
                  <a:lnTo>
                    <a:pt x="12243993" y="13835542"/>
                  </a:lnTo>
                  <a:lnTo>
                    <a:pt x="12234465" y="13878428"/>
                  </a:lnTo>
                  <a:lnTo>
                    <a:pt x="12210637" y="13916550"/>
                  </a:lnTo>
                  <a:lnTo>
                    <a:pt x="12172517" y="13935610"/>
                  </a:lnTo>
                  <a:lnTo>
                    <a:pt x="12158221" y="13949906"/>
                  </a:lnTo>
                  <a:lnTo>
                    <a:pt x="12139161" y="13968966"/>
                  </a:lnTo>
                  <a:lnTo>
                    <a:pt x="12148693" y="13973731"/>
                  </a:lnTo>
                  <a:lnTo>
                    <a:pt x="12186813" y="13945140"/>
                  </a:lnTo>
                  <a:lnTo>
                    <a:pt x="12210637" y="13935610"/>
                  </a:lnTo>
                  <a:lnTo>
                    <a:pt x="12243993" y="13926080"/>
                  </a:lnTo>
                  <a:lnTo>
                    <a:pt x="12263057" y="13930845"/>
                  </a:lnTo>
                  <a:lnTo>
                    <a:pt x="12291645" y="13983261"/>
                  </a:lnTo>
                  <a:lnTo>
                    <a:pt x="12305941" y="13988026"/>
                  </a:lnTo>
                  <a:lnTo>
                    <a:pt x="12320237" y="13988026"/>
                  </a:lnTo>
                  <a:lnTo>
                    <a:pt x="12344061" y="14002322"/>
                  </a:lnTo>
                  <a:lnTo>
                    <a:pt x="12353593" y="14016617"/>
                  </a:lnTo>
                  <a:lnTo>
                    <a:pt x="12353593" y="14026148"/>
                  </a:lnTo>
                  <a:lnTo>
                    <a:pt x="12344061" y="14030912"/>
                  </a:lnTo>
                  <a:lnTo>
                    <a:pt x="12339297" y="14045208"/>
                  </a:lnTo>
                  <a:lnTo>
                    <a:pt x="12348829" y="14073798"/>
                  </a:lnTo>
                  <a:lnTo>
                    <a:pt x="12344061" y="14088094"/>
                  </a:lnTo>
                  <a:lnTo>
                    <a:pt x="12325001" y="14102390"/>
                  </a:lnTo>
                  <a:lnTo>
                    <a:pt x="12310705" y="14111920"/>
                  </a:lnTo>
                  <a:lnTo>
                    <a:pt x="12296409" y="14111920"/>
                  </a:lnTo>
                  <a:lnTo>
                    <a:pt x="12286881" y="14126215"/>
                  </a:lnTo>
                  <a:lnTo>
                    <a:pt x="12277349" y="14126215"/>
                  </a:lnTo>
                  <a:lnTo>
                    <a:pt x="12263057" y="14126215"/>
                  </a:lnTo>
                  <a:lnTo>
                    <a:pt x="12267821" y="14130980"/>
                  </a:lnTo>
                  <a:lnTo>
                    <a:pt x="12277349" y="14135745"/>
                  </a:lnTo>
                  <a:lnTo>
                    <a:pt x="12291645" y="14135745"/>
                  </a:lnTo>
                  <a:lnTo>
                    <a:pt x="12305941" y="14135745"/>
                  </a:lnTo>
                  <a:lnTo>
                    <a:pt x="12325001" y="14135745"/>
                  </a:lnTo>
                  <a:lnTo>
                    <a:pt x="12348829" y="14145276"/>
                  </a:lnTo>
                  <a:lnTo>
                    <a:pt x="12363121" y="14154806"/>
                  </a:lnTo>
                  <a:lnTo>
                    <a:pt x="12363121" y="14159571"/>
                  </a:lnTo>
                  <a:lnTo>
                    <a:pt x="12358357" y="14164336"/>
                  </a:lnTo>
                  <a:lnTo>
                    <a:pt x="12348829" y="14188162"/>
                  </a:lnTo>
                  <a:lnTo>
                    <a:pt x="12339297" y="14192926"/>
                  </a:lnTo>
                  <a:lnTo>
                    <a:pt x="12348829" y="14202457"/>
                  </a:lnTo>
                  <a:lnTo>
                    <a:pt x="12358357" y="14207222"/>
                  </a:lnTo>
                  <a:lnTo>
                    <a:pt x="12367889" y="14211987"/>
                  </a:lnTo>
                  <a:lnTo>
                    <a:pt x="12382185" y="14207222"/>
                  </a:lnTo>
                  <a:lnTo>
                    <a:pt x="12396477" y="14211987"/>
                  </a:lnTo>
                  <a:lnTo>
                    <a:pt x="12444129" y="14264404"/>
                  </a:lnTo>
                  <a:lnTo>
                    <a:pt x="12439365" y="14288230"/>
                  </a:lnTo>
                  <a:lnTo>
                    <a:pt x="12434601" y="14307290"/>
                  </a:lnTo>
                  <a:lnTo>
                    <a:pt x="12434601" y="14331116"/>
                  </a:lnTo>
                  <a:lnTo>
                    <a:pt x="12434601" y="14354941"/>
                  </a:lnTo>
                  <a:lnTo>
                    <a:pt x="12410773" y="14364472"/>
                  </a:lnTo>
                  <a:lnTo>
                    <a:pt x="12329765" y="14350176"/>
                  </a:lnTo>
                  <a:lnTo>
                    <a:pt x="12282117" y="14331116"/>
                  </a:lnTo>
                  <a:lnTo>
                    <a:pt x="12277349" y="14326350"/>
                  </a:lnTo>
                  <a:lnTo>
                    <a:pt x="12291645" y="14312055"/>
                  </a:lnTo>
                  <a:lnTo>
                    <a:pt x="12282117" y="14312055"/>
                  </a:lnTo>
                  <a:lnTo>
                    <a:pt x="12267821" y="14316820"/>
                  </a:lnTo>
                  <a:lnTo>
                    <a:pt x="12258289" y="14321585"/>
                  </a:lnTo>
                  <a:lnTo>
                    <a:pt x="12277349" y="14340646"/>
                  </a:lnTo>
                  <a:lnTo>
                    <a:pt x="12320237" y="14359706"/>
                  </a:lnTo>
                  <a:lnTo>
                    <a:pt x="12339297" y="14383532"/>
                  </a:lnTo>
                  <a:lnTo>
                    <a:pt x="12363121" y="14383532"/>
                  </a:lnTo>
                  <a:lnTo>
                    <a:pt x="12367889" y="14388297"/>
                  </a:lnTo>
                  <a:lnTo>
                    <a:pt x="12377417" y="14402592"/>
                  </a:lnTo>
                  <a:lnTo>
                    <a:pt x="12353593" y="14407358"/>
                  </a:lnTo>
                  <a:lnTo>
                    <a:pt x="12334533" y="14421653"/>
                  </a:lnTo>
                  <a:lnTo>
                    <a:pt x="12348829" y="14431183"/>
                  </a:lnTo>
                  <a:lnTo>
                    <a:pt x="12386949" y="14435948"/>
                  </a:lnTo>
                  <a:lnTo>
                    <a:pt x="12415541" y="14440714"/>
                  </a:lnTo>
                  <a:lnTo>
                    <a:pt x="12429833" y="14445478"/>
                  </a:lnTo>
                  <a:lnTo>
                    <a:pt x="12415541" y="14455008"/>
                  </a:lnTo>
                  <a:lnTo>
                    <a:pt x="12382185" y="14469304"/>
                  </a:lnTo>
                  <a:lnTo>
                    <a:pt x="12382185" y="14483600"/>
                  </a:lnTo>
                  <a:lnTo>
                    <a:pt x="12406009" y="14488364"/>
                  </a:lnTo>
                  <a:lnTo>
                    <a:pt x="12429833" y="14488364"/>
                  </a:lnTo>
                  <a:lnTo>
                    <a:pt x="12439365" y="14488364"/>
                  </a:lnTo>
                  <a:lnTo>
                    <a:pt x="12444129" y="14526486"/>
                  </a:lnTo>
                  <a:lnTo>
                    <a:pt x="12448897" y="14536016"/>
                  </a:lnTo>
                  <a:lnTo>
                    <a:pt x="12425069" y="14540781"/>
                  </a:lnTo>
                  <a:lnTo>
                    <a:pt x="12425069" y="14550311"/>
                  </a:lnTo>
                  <a:lnTo>
                    <a:pt x="12439365" y="14555076"/>
                  </a:lnTo>
                  <a:lnTo>
                    <a:pt x="12463189" y="14559842"/>
                  </a:lnTo>
                  <a:lnTo>
                    <a:pt x="12472721" y="14569372"/>
                  </a:lnTo>
                  <a:lnTo>
                    <a:pt x="12477485" y="14578902"/>
                  </a:lnTo>
                  <a:lnTo>
                    <a:pt x="12482249" y="14583667"/>
                  </a:lnTo>
                  <a:lnTo>
                    <a:pt x="12496545" y="14588432"/>
                  </a:lnTo>
                  <a:lnTo>
                    <a:pt x="12510841" y="14574137"/>
                  </a:lnTo>
                  <a:lnTo>
                    <a:pt x="12520373" y="14559842"/>
                  </a:lnTo>
                  <a:lnTo>
                    <a:pt x="12534669" y="14564606"/>
                  </a:lnTo>
                  <a:lnTo>
                    <a:pt x="12534669" y="14578902"/>
                  </a:lnTo>
                  <a:lnTo>
                    <a:pt x="12553729" y="14597962"/>
                  </a:lnTo>
                  <a:lnTo>
                    <a:pt x="12558493" y="14597962"/>
                  </a:lnTo>
                  <a:lnTo>
                    <a:pt x="12563257" y="14626554"/>
                  </a:lnTo>
                  <a:lnTo>
                    <a:pt x="12577553" y="14602728"/>
                  </a:lnTo>
                  <a:lnTo>
                    <a:pt x="12587085" y="14607493"/>
                  </a:lnTo>
                  <a:lnTo>
                    <a:pt x="12596613" y="14607493"/>
                  </a:lnTo>
                  <a:lnTo>
                    <a:pt x="12591849" y="14631318"/>
                  </a:lnTo>
                  <a:lnTo>
                    <a:pt x="12587085" y="14645614"/>
                  </a:lnTo>
                  <a:lnTo>
                    <a:pt x="12596613" y="14655144"/>
                  </a:lnTo>
                  <a:lnTo>
                    <a:pt x="12601381" y="14669440"/>
                  </a:lnTo>
                  <a:lnTo>
                    <a:pt x="12620441" y="14693265"/>
                  </a:lnTo>
                  <a:lnTo>
                    <a:pt x="12615673" y="14702796"/>
                  </a:lnTo>
                  <a:lnTo>
                    <a:pt x="12591849" y="14726621"/>
                  </a:lnTo>
                  <a:lnTo>
                    <a:pt x="12582317" y="14759977"/>
                  </a:lnTo>
                  <a:lnTo>
                    <a:pt x="12582317" y="14769507"/>
                  </a:lnTo>
                  <a:lnTo>
                    <a:pt x="12568025" y="14788568"/>
                  </a:lnTo>
                  <a:lnTo>
                    <a:pt x="12553729" y="14807628"/>
                  </a:lnTo>
                  <a:lnTo>
                    <a:pt x="12563257" y="14807628"/>
                  </a:lnTo>
                  <a:lnTo>
                    <a:pt x="12596613" y="14769507"/>
                  </a:lnTo>
                  <a:lnTo>
                    <a:pt x="12615673" y="14759977"/>
                  </a:lnTo>
                  <a:lnTo>
                    <a:pt x="12663325" y="14755212"/>
                  </a:lnTo>
                  <a:lnTo>
                    <a:pt x="12672857" y="14745682"/>
                  </a:lnTo>
                  <a:lnTo>
                    <a:pt x="12687153" y="14740916"/>
                  </a:lnTo>
                  <a:lnTo>
                    <a:pt x="12696681" y="14750446"/>
                  </a:lnTo>
                  <a:lnTo>
                    <a:pt x="12701445" y="14769507"/>
                  </a:lnTo>
                  <a:lnTo>
                    <a:pt x="12710977" y="14779038"/>
                  </a:lnTo>
                  <a:lnTo>
                    <a:pt x="12725273" y="14769507"/>
                  </a:lnTo>
                  <a:lnTo>
                    <a:pt x="12739569" y="14774272"/>
                  </a:lnTo>
                  <a:lnTo>
                    <a:pt x="12730037" y="14788568"/>
                  </a:lnTo>
                  <a:lnTo>
                    <a:pt x="12691917" y="14840984"/>
                  </a:lnTo>
                  <a:lnTo>
                    <a:pt x="12677621" y="14860044"/>
                  </a:lnTo>
                  <a:lnTo>
                    <a:pt x="12677621" y="14874340"/>
                  </a:lnTo>
                  <a:lnTo>
                    <a:pt x="12691917" y="14855280"/>
                  </a:lnTo>
                  <a:lnTo>
                    <a:pt x="12739569" y="14807628"/>
                  </a:lnTo>
                  <a:lnTo>
                    <a:pt x="12744333" y="14802863"/>
                  </a:lnTo>
                  <a:lnTo>
                    <a:pt x="12753865" y="14783802"/>
                  </a:lnTo>
                  <a:lnTo>
                    <a:pt x="12768157" y="14769507"/>
                  </a:lnTo>
                  <a:lnTo>
                    <a:pt x="12791985" y="14774272"/>
                  </a:lnTo>
                  <a:lnTo>
                    <a:pt x="12806281" y="14783802"/>
                  </a:lnTo>
                  <a:lnTo>
                    <a:pt x="12815809" y="14807628"/>
                  </a:lnTo>
                  <a:lnTo>
                    <a:pt x="12825341" y="14836219"/>
                  </a:lnTo>
                  <a:lnTo>
                    <a:pt x="12839637" y="14869574"/>
                  </a:lnTo>
                  <a:lnTo>
                    <a:pt x="12887285" y="14883870"/>
                  </a:lnTo>
                  <a:lnTo>
                    <a:pt x="12901581" y="14883870"/>
                  </a:lnTo>
                  <a:lnTo>
                    <a:pt x="12930173" y="14874340"/>
                  </a:lnTo>
                  <a:lnTo>
                    <a:pt x="12934937" y="14860044"/>
                  </a:lnTo>
                  <a:lnTo>
                    <a:pt x="12953997" y="14855280"/>
                  </a:lnTo>
                  <a:lnTo>
                    <a:pt x="12968293" y="14860044"/>
                  </a:lnTo>
                  <a:lnTo>
                    <a:pt x="12973061" y="14883870"/>
                  </a:lnTo>
                  <a:lnTo>
                    <a:pt x="12992121" y="14902931"/>
                  </a:lnTo>
                  <a:lnTo>
                    <a:pt x="13006413" y="14912463"/>
                  </a:lnTo>
                  <a:lnTo>
                    <a:pt x="13020709" y="14917227"/>
                  </a:lnTo>
                  <a:lnTo>
                    <a:pt x="13044537" y="14921991"/>
                  </a:lnTo>
                  <a:lnTo>
                    <a:pt x="13054065" y="14936287"/>
                  </a:lnTo>
                  <a:lnTo>
                    <a:pt x="13054065" y="14941055"/>
                  </a:lnTo>
                  <a:lnTo>
                    <a:pt x="13044537" y="14955347"/>
                  </a:lnTo>
                  <a:lnTo>
                    <a:pt x="13030241" y="14974411"/>
                  </a:lnTo>
                  <a:lnTo>
                    <a:pt x="13011181" y="14988703"/>
                  </a:lnTo>
                  <a:lnTo>
                    <a:pt x="12982589" y="14988703"/>
                  </a:lnTo>
                  <a:lnTo>
                    <a:pt x="12939705" y="14998235"/>
                  </a:lnTo>
                  <a:lnTo>
                    <a:pt x="12939705" y="15007767"/>
                  </a:lnTo>
                  <a:lnTo>
                    <a:pt x="12930173" y="15017295"/>
                  </a:lnTo>
                  <a:lnTo>
                    <a:pt x="12906349" y="15026827"/>
                  </a:lnTo>
                  <a:lnTo>
                    <a:pt x="12896817" y="15031591"/>
                  </a:lnTo>
                  <a:lnTo>
                    <a:pt x="12877757" y="15064947"/>
                  </a:lnTo>
                  <a:lnTo>
                    <a:pt x="12863461" y="15079243"/>
                  </a:lnTo>
                  <a:lnTo>
                    <a:pt x="12849165" y="15084007"/>
                  </a:lnTo>
                  <a:lnTo>
                    <a:pt x="12830105" y="15084007"/>
                  </a:lnTo>
                  <a:lnTo>
                    <a:pt x="12820573" y="15084007"/>
                  </a:lnTo>
                  <a:lnTo>
                    <a:pt x="12811045" y="15088771"/>
                  </a:lnTo>
                  <a:lnTo>
                    <a:pt x="12806281" y="15098303"/>
                  </a:lnTo>
                  <a:lnTo>
                    <a:pt x="12801513" y="15103067"/>
                  </a:lnTo>
                  <a:lnTo>
                    <a:pt x="12772925" y="15112599"/>
                  </a:lnTo>
                  <a:lnTo>
                    <a:pt x="12730037" y="15136423"/>
                  </a:lnTo>
                  <a:lnTo>
                    <a:pt x="12706213" y="15136423"/>
                  </a:lnTo>
                  <a:lnTo>
                    <a:pt x="12691917" y="15136423"/>
                  </a:lnTo>
                  <a:lnTo>
                    <a:pt x="12677621" y="15136423"/>
                  </a:lnTo>
                  <a:lnTo>
                    <a:pt x="12668089" y="15145955"/>
                  </a:lnTo>
                  <a:lnTo>
                    <a:pt x="12649029" y="15155483"/>
                  </a:lnTo>
                  <a:lnTo>
                    <a:pt x="12644265" y="15165015"/>
                  </a:lnTo>
                  <a:lnTo>
                    <a:pt x="12639501" y="15174543"/>
                  </a:lnTo>
                  <a:lnTo>
                    <a:pt x="12634737" y="15188839"/>
                  </a:lnTo>
                  <a:lnTo>
                    <a:pt x="12629969" y="15198371"/>
                  </a:lnTo>
                  <a:lnTo>
                    <a:pt x="12610909" y="15198371"/>
                  </a:lnTo>
                  <a:lnTo>
                    <a:pt x="12587085" y="15184075"/>
                  </a:lnTo>
                  <a:lnTo>
                    <a:pt x="12591849" y="15198371"/>
                  </a:lnTo>
                  <a:lnTo>
                    <a:pt x="12625205" y="15217431"/>
                  </a:lnTo>
                  <a:lnTo>
                    <a:pt x="12634737" y="15226959"/>
                  </a:lnTo>
                  <a:lnTo>
                    <a:pt x="12625205" y="15236491"/>
                  </a:lnTo>
                  <a:lnTo>
                    <a:pt x="12606145" y="15255551"/>
                  </a:lnTo>
                  <a:lnTo>
                    <a:pt x="12601381" y="15260315"/>
                  </a:lnTo>
                  <a:lnTo>
                    <a:pt x="12610909" y="15265083"/>
                  </a:lnTo>
                  <a:lnTo>
                    <a:pt x="12606145" y="15274611"/>
                  </a:lnTo>
                  <a:lnTo>
                    <a:pt x="12596613" y="15279379"/>
                  </a:lnTo>
                  <a:lnTo>
                    <a:pt x="12596613" y="15284143"/>
                  </a:lnTo>
                  <a:lnTo>
                    <a:pt x="12596613" y="15288907"/>
                  </a:lnTo>
                  <a:lnTo>
                    <a:pt x="12625205" y="15274611"/>
                  </a:lnTo>
                  <a:lnTo>
                    <a:pt x="12653797" y="15255551"/>
                  </a:lnTo>
                  <a:lnTo>
                    <a:pt x="12668089" y="15231727"/>
                  </a:lnTo>
                  <a:lnTo>
                    <a:pt x="12677621" y="15222195"/>
                  </a:lnTo>
                  <a:lnTo>
                    <a:pt x="12710977" y="15217431"/>
                  </a:lnTo>
                  <a:lnTo>
                    <a:pt x="12730037" y="15207899"/>
                  </a:lnTo>
                  <a:lnTo>
                    <a:pt x="12753865" y="15188839"/>
                  </a:lnTo>
                  <a:lnTo>
                    <a:pt x="12787221" y="15160251"/>
                  </a:lnTo>
                  <a:lnTo>
                    <a:pt x="12820573" y="15126895"/>
                  </a:lnTo>
                  <a:lnTo>
                    <a:pt x="12863461" y="15098303"/>
                  </a:lnTo>
                  <a:lnTo>
                    <a:pt x="12911113" y="15079243"/>
                  </a:lnTo>
                  <a:lnTo>
                    <a:pt x="12949233" y="15069711"/>
                  </a:lnTo>
                  <a:lnTo>
                    <a:pt x="12973061" y="15069711"/>
                  </a:lnTo>
                  <a:lnTo>
                    <a:pt x="12973061" y="15064947"/>
                  </a:lnTo>
                  <a:lnTo>
                    <a:pt x="12953997" y="15060183"/>
                  </a:lnTo>
                  <a:lnTo>
                    <a:pt x="12934937" y="15060183"/>
                  </a:lnTo>
                  <a:lnTo>
                    <a:pt x="12911113" y="15064947"/>
                  </a:lnTo>
                  <a:lnTo>
                    <a:pt x="12906349" y="15050651"/>
                  </a:lnTo>
                  <a:lnTo>
                    <a:pt x="12906349" y="15045887"/>
                  </a:lnTo>
                  <a:lnTo>
                    <a:pt x="12915877" y="15041123"/>
                  </a:lnTo>
                  <a:lnTo>
                    <a:pt x="12934937" y="15031591"/>
                  </a:lnTo>
                  <a:lnTo>
                    <a:pt x="13025477" y="15041123"/>
                  </a:lnTo>
                  <a:lnTo>
                    <a:pt x="13054065" y="15050651"/>
                  </a:lnTo>
                  <a:lnTo>
                    <a:pt x="13087421" y="15112599"/>
                  </a:lnTo>
                  <a:lnTo>
                    <a:pt x="13096953" y="15131659"/>
                  </a:lnTo>
                  <a:lnTo>
                    <a:pt x="13096953" y="15150719"/>
                  </a:lnTo>
                  <a:lnTo>
                    <a:pt x="13096953" y="15160251"/>
                  </a:lnTo>
                  <a:lnTo>
                    <a:pt x="13082657" y="15169779"/>
                  </a:lnTo>
                  <a:lnTo>
                    <a:pt x="13044537" y="15188839"/>
                  </a:lnTo>
                  <a:lnTo>
                    <a:pt x="13039769" y="15198371"/>
                  </a:lnTo>
                  <a:lnTo>
                    <a:pt x="13035005" y="15198371"/>
                  </a:lnTo>
                  <a:lnTo>
                    <a:pt x="13054065" y="15203135"/>
                  </a:lnTo>
                  <a:lnTo>
                    <a:pt x="13058833" y="15207899"/>
                  </a:lnTo>
                  <a:lnTo>
                    <a:pt x="13068361" y="15231727"/>
                  </a:lnTo>
                  <a:lnTo>
                    <a:pt x="13082657" y="15217431"/>
                  </a:lnTo>
                  <a:lnTo>
                    <a:pt x="13116013" y="15179311"/>
                  </a:lnTo>
                  <a:lnTo>
                    <a:pt x="13144605" y="15160251"/>
                  </a:lnTo>
                  <a:lnTo>
                    <a:pt x="13168429" y="15155483"/>
                  </a:lnTo>
                  <a:lnTo>
                    <a:pt x="13192253" y="15155483"/>
                  </a:lnTo>
                  <a:lnTo>
                    <a:pt x="13201785" y="15155483"/>
                  </a:lnTo>
                  <a:lnTo>
                    <a:pt x="13206549" y="15169779"/>
                  </a:lnTo>
                  <a:lnTo>
                    <a:pt x="13220845" y="15193607"/>
                  </a:lnTo>
                  <a:lnTo>
                    <a:pt x="13235141" y="15198371"/>
                  </a:lnTo>
                  <a:lnTo>
                    <a:pt x="13258965" y="15203135"/>
                  </a:lnTo>
                  <a:lnTo>
                    <a:pt x="13282793" y="15231727"/>
                  </a:lnTo>
                  <a:lnTo>
                    <a:pt x="13287557" y="15255551"/>
                  </a:lnTo>
                  <a:lnTo>
                    <a:pt x="13297089" y="15265083"/>
                  </a:lnTo>
                  <a:lnTo>
                    <a:pt x="13297089" y="15274611"/>
                  </a:lnTo>
                  <a:lnTo>
                    <a:pt x="13297089" y="15279379"/>
                  </a:lnTo>
                  <a:lnTo>
                    <a:pt x="13301853" y="15293671"/>
                  </a:lnTo>
                  <a:lnTo>
                    <a:pt x="13306617" y="15303203"/>
                  </a:lnTo>
                  <a:lnTo>
                    <a:pt x="13306617" y="15322263"/>
                  </a:lnTo>
                  <a:lnTo>
                    <a:pt x="13292321" y="15355619"/>
                  </a:lnTo>
                  <a:lnTo>
                    <a:pt x="13301853" y="15388975"/>
                  </a:lnTo>
                  <a:lnTo>
                    <a:pt x="13297089" y="15403271"/>
                  </a:lnTo>
                  <a:lnTo>
                    <a:pt x="13297089" y="15422331"/>
                  </a:lnTo>
                  <a:lnTo>
                    <a:pt x="13301853" y="15441391"/>
                  </a:lnTo>
                  <a:lnTo>
                    <a:pt x="13306617" y="15446155"/>
                  </a:lnTo>
                  <a:lnTo>
                    <a:pt x="13297089" y="15455687"/>
                  </a:lnTo>
                  <a:lnTo>
                    <a:pt x="13249437" y="15465219"/>
                  </a:lnTo>
                  <a:lnTo>
                    <a:pt x="13230377" y="15465219"/>
                  </a:lnTo>
                  <a:lnTo>
                    <a:pt x="13225609" y="15474747"/>
                  </a:lnTo>
                  <a:lnTo>
                    <a:pt x="13239905" y="15474747"/>
                  </a:lnTo>
                  <a:lnTo>
                    <a:pt x="13268497" y="15474747"/>
                  </a:lnTo>
                  <a:lnTo>
                    <a:pt x="13301853" y="15484279"/>
                  </a:lnTo>
                  <a:lnTo>
                    <a:pt x="13316149" y="15493807"/>
                  </a:lnTo>
                  <a:lnTo>
                    <a:pt x="13320913" y="15503339"/>
                  </a:lnTo>
                  <a:lnTo>
                    <a:pt x="13320913" y="15512867"/>
                  </a:lnTo>
                  <a:lnTo>
                    <a:pt x="13311385" y="15517635"/>
                  </a:lnTo>
                  <a:lnTo>
                    <a:pt x="13292321" y="15517635"/>
                  </a:lnTo>
                  <a:lnTo>
                    <a:pt x="13273261" y="15512867"/>
                  </a:lnTo>
                  <a:lnTo>
                    <a:pt x="13273261" y="15517635"/>
                  </a:lnTo>
                  <a:lnTo>
                    <a:pt x="13301853" y="15531931"/>
                  </a:lnTo>
                  <a:lnTo>
                    <a:pt x="13311385" y="15541459"/>
                  </a:lnTo>
                  <a:lnTo>
                    <a:pt x="13325677" y="15550991"/>
                  </a:lnTo>
                  <a:lnTo>
                    <a:pt x="13325677" y="15565283"/>
                  </a:lnTo>
                  <a:lnTo>
                    <a:pt x="13320913" y="15579579"/>
                  </a:lnTo>
                  <a:lnTo>
                    <a:pt x="13273261" y="15631995"/>
                  </a:lnTo>
                  <a:lnTo>
                    <a:pt x="13230377" y="15665351"/>
                  </a:lnTo>
                  <a:lnTo>
                    <a:pt x="13187489" y="15693943"/>
                  </a:lnTo>
                  <a:lnTo>
                    <a:pt x="13120777" y="15751123"/>
                  </a:lnTo>
                  <a:lnTo>
                    <a:pt x="13116013" y="15751123"/>
                  </a:lnTo>
                  <a:lnTo>
                    <a:pt x="13106481" y="15751123"/>
                  </a:lnTo>
                  <a:lnTo>
                    <a:pt x="13073125" y="15746359"/>
                  </a:lnTo>
                  <a:lnTo>
                    <a:pt x="13044537" y="15746359"/>
                  </a:lnTo>
                  <a:lnTo>
                    <a:pt x="12996885" y="15755891"/>
                  </a:lnTo>
                  <a:lnTo>
                    <a:pt x="12987353" y="15765419"/>
                  </a:lnTo>
                  <a:lnTo>
                    <a:pt x="12958765" y="15784479"/>
                  </a:lnTo>
                  <a:lnTo>
                    <a:pt x="12949233" y="15784479"/>
                  </a:lnTo>
                  <a:lnTo>
                    <a:pt x="12920641" y="15789247"/>
                  </a:lnTo>
                  <a:lnTo>
                    <a:pt x="12892053" y="15789247"/>
                  </a:lnTo>
                  <a:lnTo>
                    <a:pt x="12882521" y="15789247"/>
                  </a:lnTo>
                  <a:lnTo>
                    <a:pt x="12868225" y="15798775"/>
                  </a:lnTo>
                  <a:lnTo>
                    <a:pt x="12868225" y="15803543"/>
                  </a:lnTo>
                  <a:lnTo>
                    <a:pt x="12863461" y="15822603"/>
                  </a:lnTo>
                  <a:lnTo>
                    <a:pt x="12796749" y="15894079"/>
                  </a:lnTo>
                  <a:lnTo>
                    <a:pt x="12782453" y="15917903"/>
                  </a:lnTo>
                  <a:lnTo>
                    <a:pt x="12749097" y="15941731"/>
                  </a:lnTo>
                  <a:lnTo>
                    <a:pt x="12710977" y="15989383"/>
                  </a:lnTo>
                  <a:lnTo>
                    <a:pt x="12677621" y="16008443"/>
                  </a:lnTo>
                  <a:lnTo>
                    <a:pt x="12668089" y="16032267"/>
                  </a:lnTo>
                  <a:lnTo>
                    <a:pt x="12639501" y="16046563"/>
                  </a:lnTo>
                  <a:lnTo>
                    <a:pt x="12582317" y="16051327"/>
                  </a:lnTo>
                  <a:lnTo>
                    <a:pt x="12553729" y="16056091"/>
                  </a:lnTo>
                  <a:lnTo>
                    <a:pt x="12525137" y="16046563"/>
                  </a:lnTo>
                  <a:lnTo>
                    <a:pt x="12501313" y="16060859"/>
                  </a:lnTo>
                  <a:lnTo>
                    <a:pt x="12467957" y="16060859"/>
                  </a:lnTo>
                  <a:lnTo>
                    <a:pt x="12448897" y="16060859"/>
                  </a:lnTo>
                  <a:lnTo>
                    <a:pt x="12382185" y="16084683"/>
                  </a:lnTo>
                  <a:lnTo>
                    <a:pt x="12363121" y="16060859"/>
                  </a:lnTo>
                  <a:lnTo>
                    <a:pt x="12348829" y="16051327"/>
                  </a:lnTo>
                  <a:lnTo>
                    <a:pt x="12310705" y="16051327"/>
                  </a:lnTo>
                  <a:lnTo>
                    <a:pt x="12282117" y="16041799"/>
                  </a:lnTo>
                  <a:lnTo>
                    <a:pt x="12253525" y="16041799"/>
                  </a:lnTo>
                  <a:lnTo>
                    <a:pt x="12224933" y="16037031"/>
                  </a:lnTo>
                  <a:lnTo>
                    <a:pt x="12210637" y="16037031"/>
                  </a:lnTo>
                  <a:lnTo>
                    <a:pt x="12191577" y="16037031"/>
                  </a:lnTo>
                  <a:lnTo>
                    <a:pt x="12162989" y="16037031"/>
                  </a:lnTo>
                  <a:lnTo>
                    <a:pt x="12143925" y="16051327"/>
                  </a:lnTo>
                  <a:lnTo>
                    <a:pt x="12091509" y="16046563"/>
                  </a:lnTo>
                  <a:lnTo>
                    <a:pt x="12067685" y="16032267"/>
                  </a:lnTo>
                  <a:lnTo>
                    <a:pt x="12048625" y="16032267"/>
                  </a:lnTo>
                  <a:lnTo>
                    <a:pt x="12024797" y="16037031"/>
                  </a:lnTo>
                  <a:lnTo>
                    <a:pt x="12000973" y="16041799"/>
                  </a:lnTo>
                  <a:lnTo>
                    <a:pt x="11948557" y="16032267"/>
                  </a:lnTo>
                  <a:lnTo>
                    <a:pt x="11891377" y="16041799"/>
                  </a:lnTo>
                  <a:lnTo>
                    <a:pt x="11843725" y="16037031"/>
                  </a:lnTo>
                  <a:lnTo>
                    <a:pt x="11829429" y="16032267"/>
                  </a:lnTo>
                  <a:lnTo>
                    <a:pt x="11748421" y="16046563"/>
                  </a:lnTo>
                  <a:lnTo>
                    <a:pt x="11719829" y="16037031"/>
                  </a:lnTo>
                  <a:lnTo>
                    <a:pt x="11696005" y="16060859"/>
                  </a:lnTo>
                  <a:lnTo>
                    <a:pt x="11676945" y="16056091"/>
                  </a:lnTo>
                  <a:lnTo>
                    <a:pt x="11657885" y="16060859"/>
                  </a:lnTo>
                  <a:lnTo>
                    <a:pt x="11648353" y="16056091"/>
                  </a:lnTo>
                  <a:lnTo>
                    <a:pt x="11634057" y="16056091"/>
                  </a:lnTo>
                  <a:lnTo>
                    <a:pt x="11629293" y="16070387"/>
                  </a:lnTo>
                  <a:lnTo>
                    <a:pt x="11614997" y="16070387"/>
                  </a:lnTo>
                  <a:lnTo>
                    <a:pt x="11595937" y="16094215"/>
                  </a:lnTo>
                  <a:lnTo>
                    <a:pt x="11567345" y="16108511"/>
                  </a:lnTo>
                  <a:lnTo>
                    <a:pt x="11519697" y="16203811"/>
                  </a:lnTo>
                  <a:lnTo>
                    <a:pt x="11514929" y="16241931"/>
                  </a:lnTo>
                  <a:lnTo>
                    <a:pt x="11500633" y="16265759"/>
                  </a:lnTo>
                  <a:lnTo>
                    <a:pt x="11481573" y="16270523"/>
                  </a:lnTo>
                  <a:lnTo>
                    <a:pt x="11472045" y="16270523"/>
                  </a:lnTo>
                  <a:lnTo>
                    <a:pt x="11391037" y="16289583"/>
                  </a:lnTo>
                  <a:lnTo>
                    <a:pt x="11357681" y="16303879"/>
                  </a:lnTo>
                  <a:lnTo>
                    <a:pt x="11367213" y="16313411"/>
                  </a:lnTo>
                  <a:lnTo>
                    <a:pt x="11352917" y="16322939"/>
                  </a:lnTo>
                  <a:lnTo>
                    <a:pt x="11338621" y="16327707"/>
                  </a:lnTo>
                  <a:lnTo>
                    <a:pt x="11314793" y="16337235"/>
                  </a:lnTo>
                  <a:lnTo>
                    <a:pt x="11305265" y="16346767"/>
                  </a:lnTo>
                  <a:lnTo>
                    <a:pt x="11295733" y="16365827"/>
                  </a:lnTo>
                  <a:lnTo>
                    <a:pt x="11257613" y="16389651"/>
                  </a:lnTo>
                  <a:lnTo>
                    <a:pt x="11209961" y="16451599"/>
                  </a:lnTo>
                  <a:lnTo>
                    <a:pt x="11186137" y="16494483"/>
                  </a:lnTo>
                  <a:lnTo>
                    <a:pt x="11157545" y="16527839"/>
                  </a:lnTo>
                  <a:lnTo>
                    <a:pt x="11138485" y="16537371"/>
                  </a:lnTo>
                  <a:lnTo>
                    <a:pt x="11124189" y="16542135"/>
                  </a:lnTo>
                  <a:lnTo>
                    <a:pt x="11109893" y="16537371"/>
                  </a:lnTo>
                  <a:lnTo>
                    <a:pt x="11086069" y="16523075"/>
                  </a:lnTo>
                  <a:lnTo>
                    <a:pt x="11071773" y="16518311"/>
                  </a:lnTo>
                  <a:lnTo>
                    <a:pt x="11028889" y="16499251"/>
                  </a:lnTo>
                  <a:lnTo>
                    <a:pt x="10928821" y="16480191"/>
                  </a:lnTo>
                  <a:lnTo>
                    <a:pt x="10943113" y="16484955"/>
                  </a:lnTo>
                  <a:lnTo>
                    <a:pt x="10957409" y="16499251"/>
                  </a:lnTo>
                  <a:lnTo>
                    <a:pt x="10986001" y="16504015"/>
                  </a:lnTo>
                  <a:lnTo>
                    <a:pt x="11009825" y="16504015"/>
                  </a:lnTo>
                  <a:lnTo>
                    <a:pt x="11067009" y="16527839"/>
                  </a:lnTo>
                  <a:lnTo>
                    <a:pt x="11090833" y="16537371"/>
                  </a:lnTo>
                  <a:lnTo>
                    <a:pt x="11109893" y="16546903"/>
                  </a:lnTo>
                  <a:lnTo>
                    <a:pt x="11124189" y="16561195"/>
                  </a:lnTo>
                  <a:lnTo>
                    <a:pt x="11114661" y="16594551"/>
                  </a:lnTo>
                  <a:lnTo>
                    <a:pt x="11105129" y="16623143"/>
                  </a:lnTo>
                  <a:lnTo>
                    <a:pt x="11090833" y="16646967"/>
                  </a:lnTo>
                  <a:lnTo>
                    <a:pt x="11043181" y="16699387"/>
                  </a:lnTo>
                  <a:lnTo>
                    <a:pt x="11019357" y="16718447"/>
                  </a:lnTo>
                  <a:lnTo>
                    <a:pt x="10976469" y="16785159"/>
                  </a:lnTo>
                  <a:lnTo>
                    <a:pt x="10938349" y="16813747"/>
                  </a:lnTo>
                  <a:lnTo>
                    <a:pt x="10914525" y="16832807"/>
                  </a:lnTo>
                  <a:lnTo>
                    <a:pt x="10890697" y="16861399"/>
                  </a:lnTo>
                  <a:lnTo>
                    <a:pt x="10833517" y="16885227"/>
                  </a:lnTo>
                  <a:lnTo>
                    <a:pt x="10814457" y="16889991"/>
                  </a:lnTo>
                  <a:lnTo>
                    <a:pt x="10795397" y="16889991"/>
                  </a:lnTo>
                  <a:lnTo>
                    <a:pt x="10771569" y="16904287"/>
                  </a:lnTo>
                  <a:lnTo>
                    <a:pt x="10742981" y="16918579"/>
                  </a:lnTo>
                  <a:lnTo>
                    <a:pt x="10738213" y="16932875"/>
                  </a:lnTo>
                  <a:lnTo>
                    <a:pt x="10671501" y="16980527"/>
                  </a:lnTo>
                  <a:lnTo>
                    <a:pt x="10642913" y="16985291"/>
                  </a:lnTo>
                  <a:lnTo>
                    <a:pt x="10623853" y="16994823"/>
                  </a:lnTo>
                  <a:lnTo>
                    <a:pt x="10614321" y="17018647"/>
                  </a:lnTo>
                  <a:lnTo>
                    <a:pt x="10595261" y="17028179"/>
                  </a:lnTo>
                  <a:lnTo>
                    <a:pt x="10590497" y="17037711"/>
                  </a:lnTo>
                  <a:lnTo>
                    <a:pt x="10576201" y="17066299"/>
                  </a:lnTo>
                  <a:lnTo>
                    <a:pt x="10547609" y="17104419"/>
                  </a:lnTo>
                  <a:lnTo>
                    <a:pt x="10509489" y="17109187"/>
                  </a:lnTo>
                  <a:lnTo>
                    <a:pt x="10495193" y="17118715"/>
                  </a:lnTo>
                  <a:lnTo>
                    <a:pt x="10480897" y="17142543"/>
                  </a:lnTo>
                  <a:lnTo>
                    <a:pt x="10457073" y="17156835"/>
                  </a:lnTo>
                  <a:lnTo>
                    <a:pt x="10414185" y="17147307"/>
                  </a:lnTo>
                  <a:lnTo>
                    <a:pt x="10423717" y="17156835"/>
                  </a:lnTo>
                  <a:lnTo>
                    <a:pt x="10461837" y="17171131"/>
                  </a:lnTo>
                  <a:lnTo>
                    <a:pt x="10466601" y="17190191"/>
                  </a:lnTo>
                  <a:lnTo>
                    <a:pt x="10447541" y="17194959"/>
                  </a:lnTo>
                  <a:lnTo>
                    <a:pt x="10409421" y="17218783"/>
                  </a:lnTo>
                  <a:lnTo>
                    <a:pt x="10352237" y="17266435"/>
                  </a:lnTo>
                  <a:lnTo>
                    <a:pt x="10342709" y="17266435"/>
                  </a:lnTo>
                  <a:lnTo>
                    <a:pt x="10328413" y="17266435"/>
                  </a:lnTo>
                  <a:lnTo>
                    <a:pt x="10309353" y="17271199"/>
                  </a:lnTo>
                  <a:lnTo>
                    <a:pt x="10280761" y="17290259"/>
                  </a:lnTo>
                  <a:lnTo>
                    <a:pt x="10242641" y="17318851"/>
                  </a:lnTo>
                  <a:lnTo>
                    <a:pt x="10185461" y="17376031"/>
                  </a:lnTo>
                  <a:lnTo>
                    <a:pt x="10180693" y="17376031"/>
                  </a:lnTo>
                  <a:lnTo>
                    <a:pt x="10175929" y="17376031"/>
                  </a:lnTo>
                  <a:lnTo>
                    <a:pt x="10161633" y="17395095"/>
                  </a:lnTo>
                  <a:lnTo>
                    <a:pt x="10142573" y="17404623"/>
                  </a:lnTo>
                  <a:lnTo>
                    <a:pt x="10099687" y="17418919"/>
                  </a:lnTo>
                  <a:lnTo>
                    <a:pt x="10090156" y="17428451"/>
                  </a:lnTo>
                  <a:lnTo>
                    <a:pt x="10075861" y="17433215"/>
                  </a:lnTo>
                  <a:lnTo>
                    <a:pt x="10061566" y="17433215"/>
                  </a:lnTo>
                  <a:lnTo>
                    <a:pt x="10042505" y="17437979"/>
                  </a:lnTo>
                  <a:lnTo>
                    <a:pt x="10028210" y="17447511"/>
                  </a:lnTo>
                  <a:lnTo>
                    <a:pt x="9994854" y="17471335"/>
                  </a:lnTo>
                  <a:lnTo>
                    <a:pt x="9990089" y="17471335"/>
                  </a:lnTo>
                  <a:lnTo>
                    <a:pt x="9985324" y="17466571"/>
                  </a:lnTo>
                  <a:lnTo>
                    <a:pt x="9985324" y="17461807"/>
                  </a:lnTo>
                  <a:lnTo>
                    <a:pt x="9990089" y="17457039"/>
                  </a:lnTo>
                  <a:lnTo>
                    <a:pt x="10009149" y="17442743"/>
                  </a:lnTo>
                  <a:lnTo>
                    <a:pt x="10004384" y="17442743"/>
                  </a:lnTo>
                  <a:lnTo>
                    <a:pt x="9994854" y="17452275"/>
                  </a:lnTo>
                  <a:lnTo>
                    <a:pt x="9990089" y="17452275"/>
                  </a:lnTo>
                  <a:lnTo>
                    <a:pt x="9990089" y="17442743"/>
                  </a:lnTo>
                  <a:lnTo>
                    <a:pt x="9985324" y="17442743"/>
                  </a:lnTo>
                  <a:lnTo>
                    <a:pt x="9971028" y="17447511"/>
                  </a:lnTo>
                  <a:lnTo>
                    <a:pt x="9961498" y="17447511"/>
                  </a:lnTo>
                  <a:lnTo>
                    <a:pt x="9961498" y="17442743"/>
                  </a:lnTo>
                  <a:lnTo>
                    <a:pt x="9956733" y="17442743"/>
                  </a:lnTo>
                  <a:lnTo>
                    <a:pt x="9951968" y="17447511"/>
                  </a:lnTo>
                  <a:lnTo>
                    <a:pt x="9942437" y="17447511"/>
                  </a:lnTo>
                  <a:lnTo>
                    <a:pt x="9932907" y="17452275"/>
                  </a:lnTo>
                  <a:lnTo>
                    <a:pt x="9909082" y="17457039"/>
                  </a:lnTo>
                  <a:lnTo>
                    <a:pt x="9904316" y="17466571"/>
                  </a:lnTo>
                  <a:lnTo>
                    <a:pt x="9928142" y="17457039"/>
                  </a:lnTo>
                  <a:lnTo>
                    <a:pt x="9937672" y="17452275"/>
                  </a:lnTo>
                  <a:lnTo>
                    <a:pt x="9942437" y="17452275"/>
                  </a:lnTo>
                  <a:lnTo>
                    <a:pt x="9947203" y="17452275"/>
                  </a:lnTo>
                  <a:lnTo>
                    <a:pt x="9942437" y="17457039"/>
                  </a:lnTo>
                  <a:lnTo>
                    <a:pt x="9942437" y="17461807"/>
                  </a:lnTo>
                  <a:lnTo>
                    <a:pt x="9947203" y="17461807"/>
                  </a:lnTo>
                  <a:lnTo>
                    <a:pt x="9951968" y="17461807"/>
                  </a:lnTo>
                  <a:lnTo>
                    <a:pt x="9951968" y="17457039"/>
                  </a:lnTo>
                  <a:lnTo>
                    <a:pt x="9975793" y="17447511"/>
                  </a:lnTo>
                  <a:lnTo>
                    <a:pt x="9980559" y="17452275"/>
                  </a:lnTo>
                  <a:lnTo>
                    <a:pt x="9975793" y="17466571"/>
                  </a:lnTo>
                  <a:lnTo>
                    <a:pt x="9980559" y="17476099"/>
                  </a:lnTo>
                  <a:lnTo>
                    <a:pt x="9990089" y="17476099"/>
                  </a:lnTo>
                  <a:lnTo>
                    <a:pt x="9999619" y="17471335"/>
                  </a:lnTo>
                  <a:lnTo>
                    <a:pt x="10013914" y="17461807"/>
                  </a:lnTo>
                  <a:lnTo>
                    <a:pt x="10018680" y="17461807"/>
                  </a:lnTo>
                  <a:lnTo>
                    <a:pt x="10013914" y="17471335"/>
                  </a:lnTo>
                  <a:lnTo>
                    <a:pt x="10004384" y="17476099"/>
                  </a:lnTo>
                  <a:lnTo>
                    <a:pt x="9990089" y="17490395"/>
                  </a:lnTo>
                  <a:lnTo>
                    <a:pt x="9990089" y="17495159"/>
                  </a:lnTo>
                  <a:lnTo>
                    <a:pt x="9990089" y="17499927"/>
                  </a:lnTo>
                  <a:lnTo>
                    <a:pt x="9994854" y="17495159"/>
                  </a:lnTo>
                  <a:lnTo>
                    <a:pt x="10009149" y="17495159"/>
                  </a:lnTo>
                  <a:lnTo>
                    <a:pt x="10013914" y="17495159"/>
                  </a:lnTo>
                  <a:lnTo>
                    <a:pt x="10004384" y="17499927"/>
                  </a:lnTo>
                  <a:lnTo>
                    <a:pt x="9985324" y="17509455"/>
                  </a:lnTo>
                  <a:lnTo>
                    <a:pt x="9971028" y="17514223"/>
                  </a:lnTo>
                  <a:lnTo>
                    <a:pt x="9961498" y="17514223"/>
                  </a:lnTo>
                  <a:lnTo>
                    <a:pt x="9961498" y="17509455"/>
                  </a:lnTo>
                  <a:lnTo>
                    <a:pt x="9966263" y="17499927"/>
                  </a:lnTo>
                  <a:lnTo>
                    <a:pt x="9966263" y="17495159"/>
                  </a:lnTo>
                  <a:lnTo>
                    <a:pt x="9951968" y="17499927"/>
                  </a:lnTo>
                  <a:lnTo>
                    <a:pt x="9947203" y="17495159"/>
                  </a:lnTo>
                  <a:lnTo>
                    <a:pt x="9951968" y="17495159"/>
                  </a:lnTo>
                  <a:lnTo>
                    <a:pt x="9956733" y="17495159"/>
                  </a:lnTo>
                  <a:lnTo>
                    <a:pt x="9947203" y="17490395"/>
                  </a:lnTo>
                  <a:lnTo>
                    <a:pt x="9928142" y="17495159"/>
                  </a:lnTo>
                  <a:lnTo>
                    <a:pt x="9918612" y="17495159"/>
                  </a:lnTo>
                  <a:lnTo>
                    <a:pt x="9909082" y="17485631"/>
                  </a:lnTo>
                  <a:lnTo>
                    <a:pt x="9909082" y="17480867"/>
                  </a:lnTo>
                  <a:lnTo>
                    <a:pt x="9904316" y="17476099"/>
                  </a:lnTo>
                  <a:lnTo>
                    <a:pt x="9890021" y="17476099"/>
                  </a:lnTo>
                  <a:lnTo>
                    <a:pt x="9885256" y="17476099"/>
                  </a:lnTo>
                  <a:lnTo>
                    <a:pt x="9880491" y="17485631"/>
                  </a:lnTo>
                  <a:lnTo>
                    <a:pt x="9866195" y="17485631"/>
                  </a:lnTo>
                  <a:lnTo>
                    <a:pt x="9856665" y="17485631"/>
                  </a:lnTo>
                  <a:lnTo>
                    <a:pt x="9837605" y="17490395"/>
                  </a:lnTo>
                  <a:lnTo>
                    <a:pt x="9809014" y="17495159"/>
                  </a:lnTo>
                  <a:lnTo>
                    <a:pt x="9785188" y="17495159"/>
                  </a:lnTo>
                  <a:lnTo>
                    <a:pt x="9770893" y="17504691"/>
                  </a:lnTo>
                  <a:lnTo>
                    <a:pt x="9756598" y="17504691"/>
                  </a:lnTo>
                  <a:lnTo>
                    <a:pt x="9747067" y="17504691"/>
                  </a:lnTo>
                  <a:lnTo>
                    <a:pt x="9732772" y="17504691"/>
                  </a:lnTo>
                  <a:lnTo>
                    <a:pt x="9713711" y="17514223"/>
                  </a:lnTo>
                  <a:lnTo>
                    <a:pt x="9685121" y="17514223"/>
                  </a:lnTo>
                  <a:lnTo>
                    <a:pt x="9675590" y="17523751"/>
                  </a:lnTo>
                  <a:lnTo>
                    <a:pt x="9656530" y="17533283"/>
                  </a:lnTo>
                  <a:lnTo>
                    <a:pt x="9637469" y="17552343"/>
                  </a:lnTo>
                  <a:lnTo>
                    <a:pt x="9623174" y="17561871"/>
                  </a:lnTo>
                  <a:lnTo>
                    <a:pt x="9613644" y="17561871"/>
                  </a:lnTo>
                  <a:lnTo>
                    <a:pt x="9608879" y="17566639"/>
                  </a:lnTo>
                  <a:lnTo>
                    <a:pt x="9604113" y="17571403"/>
                  </a:lnTo>
                  <a:lnTo>
                    <a:pt x="9594583" y="17576167"/>
                  </a:lnTo>
                  <a:lnTo>
                    <a:pt x="9589818" y="17580935"/>
                  </a:lnTo>
                  <a:lnTo>
                    <a:pt x="9585053" y="17590463"/>
                  </a:lnTo>
                  <a:lnTo>
                    <a:pt x="9580288" y="17604759"/>
                  </a:lnTo>
                  <a:lnTo>
                    <a:pt x="9561227" y="17633351"/>
                  </a:lnTo>
                  <a:lnTo>
                    <a:pt x="9561227" y="17638115"/>
                  </a:lnTo>
                  <a:lnTo>
                    <a:pt x="9570758" y="17647647"/>
                  </a:lnTo>
                  <a:lnTo>
                    <a:pt x="9585053" y="17652411"/>
                  </a:lnTo>
                  <a:lnTo>
                    <a:pt x="9599348" y="17657175"/>
                  </a:lnTo>
                  <a:lnTo>
                    <a:pt x="9618409" y="17657175"/>
                  </a:lnTo>
                  <a:lnTo>
                    <a:pt x="9627939" y="17657175"/>
                  </a:lnTo>
                  <a:lnTo>
                    <a:pt x="9637469" y="17657175"/>
                  </a:lnTo>
                  <a:lnTo>
                    <a:pt x="9651765" y="17647647"/>
                  </a:lnTo>
                  <a:lnTo>
                    <a:pt x="9675590" y="17638115"/>
                  </a:lnTo>
                  <a:lnTo>
                    <a:pt x="9675590" y="17642879"/>
                  </a:lnTo>
                  <a:lnTo>
                    <a:pt x="9670825" y="17676235"/>
                  </a:lnTo>
                  <a:lnTo>
                    <a:pt x="9670825" y="17680999"/>
                  </a:lnTo>
                  <a:lnTo>
                    <a:pt x="9675590" y="17685767"/>
                  </a:lnTo>
                  <a:lnTo>
                    <a:pt x="9675590" y="17690531"/>
                  </a:lnTo>
                  <a:lnTo>
                    <a:pt x="9675590" y="17695295"/>
                  </a:lnTo>
                  <a:lnTo>
                    <a:pt x="9680355" y="17704827"/>
                  </a:lnTo>
                  <a:lnTo>
                    <a:pt x="9689886" y="17709591"/>
                  </a:lnTo>
                  <a:lnTo>
                    <a:pt x="9694651" y="17719123"/>
                  </a:lnTo>
                  <a:lnTo>
                    <a:pt x="9675590" y="17728651"/>
                  </a:lnTo>
                  <a:lnTo>
                    <a:pt x="9661295" y="17728651"/>
                  </a:lnTo>
                  <a:lnTo>
                    <a:pt x="9656530" y="17728651"/>
                  </a:lnTo>
                  <a:lnTo>
                    <a:pt x="9642234" y="17723887"/>
                  </a:lnTo>
                  <a:lnTo>
                    <a:pt x="9623174" y="17723887"/>
                  </a:lnTo>
                  <a:lnTo>
                    <a:pt x="9589818" y="17733419"/>
                  </a:lnTo>
                  <a:lnTo>
                    <a:pt x="9580288" y="17733419"/>
                  </a:lnTo>
                  <a:lnTo>
                    <a:pt x="9575523" y="17728651"/>
                  </a:lnTo>
                  <a:lnTo>
                    <a:pt x="9565992" y="17728651"/>
                  </a:lnTo>
                  <a:lnTo>
                    <a:pt x="9537402" y="17738183"/>
                  </a:lnTo>
                  <a:lnTo>
                    <a:pt x="9508811" y="17742947"/>
                  </a:lnTo>
                  <a:lnTo>
                    <a:pt x="9494516" y="17747711"/>
                  </a:lnTo>
                  <a:lnTo>
                    <a:pt x="9480220" y="17757243"/>
                  </a:lnTo>
                  <a:lnTo>
                    <a:pt x="9475455" y="17762007"/>
                  </a:lnTo>
                  <a:lnTo>
                    <a:pt x="9470690" y="17766775"/>
                  </a:lnTo>
                  <a:lnTo>
                    <a:pt x="9465925" y="17771539"/>
                  </a:lnTo>
                  <a:lnTo>
                    <a:pt x="9456394" y="17781067"/>
                  </a:lnTo>
                  <a:lnTo>
                    <a:pt x="9456394" y="17785835"/>
                  </a:lnTo>
                  <a:lnTo>
                    <a:pt x="9470690" y="17785835"/>
                  </a:lnTo>
                  <a:lnTo>
                    <a:pt x="9480220" y="17785835"/>
                  </a:lnTo>
                  <a:lnTo>
                    <a:pt x="9508811" y="17790599"/>
                  </a:lnTo>
                  <a:lnTo>
                    <a:pt x="9518341" y="17795363"/>
                  </a:lnTo>
                  <a:lnTo>
                    <a:pt x="9513576" y="17795363"/>
                  </a:lnTo>
                  <a:lnTo>
                    <a:pt x="9465925" y="17790599"/>
                  </a:lnTo>
                  <a:lnTo>
                    <a:pt x="9451629" y="17790599"/>
                  </a:lnTo>
                  <a:lnTo>
                    <a:pt x="9427804" y="17785835"/>
                  </a:lnTo>
                  <a:lnTo>
                    <a:pt x="9399213" y="17776303"/>
                  </a:lnTo>
                  <a:lnTo>
                    <a:pt x="9365857" y="17771539"/>
                  </a:lnTo>
                  <a:lnTo>
                    <a:pt x="9332501" y="17776303"/>
                  </a:lnTo>
                  <a:lnTo>
                    <a:pt x="9308676" y="17781067"/>
                  </a:lnTo>
                  <a:lnTo>
                    <a:pt x="9294380" y="17785835"/>
                  </a:lnTo>
                  <a:lnTo>
                    <a:pt x="9256259" y="17819191"/>
                  </a:lnTo>
                  <a:lnTo>
                    <a:pt x="9241964" y="17833483"/>
                  </a:lnTo>
                  <a:lnTo>
                    <a:pt x="9237199" y="17847779"/>
                  </a:lnTo>
                  <a:lnTo>
                    <a:pt x="9232433" y="17847779"/>
                  </a:lnTo>
                  <a:lnTo>
                    <a:pt x="9227668" y="17852547"/>
                  </a:lnTo>
                  <a:lnTo>
                    <a:pt x="9222903" y="17857311"/>
                  </a:lnTo>
                  <a:lnTo>
                    <a:pt x="9208608" y="17857311"/>
                  </a:lnTo>
                  <a:lnTo>
                    <a:pt x="9189547" y="17866839"/>
                  </a:lnTo>
                  <a:lnTo>
                    <a:pt x="9165722" y="17881135"/>
                  </a:lnTo>
                  <a:lnTo>
                    <a:pt x="9151426" y="17890667"/>
                  </a:lnTo>
                  <a:lnTo>
                    <a:pt x="9141896" y="17900195"/>
                  </a:lnTo>
                  <a:lnTo>
                    <a:pt x="9137131" y="17909727"/>
                  </a:lnTo>
                  <a:lnTo>
                    <a:pt x="9137131" y="17924023"/>
                  </a:lnTo>
                  <a:lnTo>
                    <a:pt x="9132366" y="17928787"/>
                  </a:lnTo>
                  <a:lnTo>
                    <a:pt x="9127601" y="17914491"/>
                  </a:lnTo>
                  <a:lnTo>
                    <a:pt x="9118070" y="17904963"/>
                  </a:lnTo>
                  <a:lnTo>
                    <a:pt x="9113305" y="17904963"/>
                  </a:lnTo>
                  <a:lnTo>
                    <a:pt x="9108540" y="17904963"/>
                  </a:lnTo>
                  <a:lnTo>
                    <a:pt x="9084715" y="17914491"/>
                  </a:lnTo>
                  <a:lnTo>
                    <a:pt x="9070419" y="17909727"/>
                  </a:lnTo>
                  <a:lnTo>
                    <a:pt x="9046594" y="17900195"/>
                  </a:lnTo>
                  <a:lnTo>
                    <a:pt x="9041828" y="17895431"/>
                  </a:lnTo>
                  <a:lnTo>
                    <a:pt x="9041828" y="17885903"/>
                  </a:lnTo>
                  <a:lnTo>
                    <a:pt x="9041828" y="17866839"/>
                  </a:lnTo>
                  <a:lnTo>
                    <a:pt x="9046594" y="17852547"/>
                  </a:lnTo>
                  <a:lnTo>
                    <a:pt x="9051359" y="17847779"/>
                  </a:lnTo>
                  <a:lnTo>
                    <a:pt x="9056124" y="17847779"/>
                  </a:lnTo>
                  <a:lnTo>
                    <a:pt x="9060889" y="17843015"/>
                  </a:lnTo>
                  <a:lnTo>
                    <a:pt x="9079949" y="17843015"/>
                  </a:lnTo>
                  <a:lnTo>
                    <a:pt x="9122836" y="17847779"/>
                  </a:lnTo>
                  <a:lnTo>
                    <a:pt x="9132366" y="17843015"/>
                  </a:lnTo>
                  <a:lnTo>
                    <a:pt x="9141896" y="17843015"/>
                  </a:lnTo>
                  <a:lnTo>
                    <a:pt x="9146661" y="17833483"/>
                  </a:lnTo>
                  <a:lnTo>
                    <a:pt x="9151426" y="17823955"/>
                  </a:lnTo>
                  <a:lnTo>
                    <a:pt x="9146661" y="17814423"/>
                  </a:lnTo>
                  <a:lnTo>
                    <a:pt x="9146661" y="17809659"/>
                  </a:lnTo>
                  <a:lnTo>
                    <a:pt x="9141896" y="17809659"/>
                  </a:lnTo>
                  <a:lnTo>
                    <a:pt x="9141896" y="17804895"/>
                  </a:lnTo>
                  <a:lnTo>
                    <a:pt x="9118070" y="17800131"/>
                  </a:lnTo>
                  <a:lnTo>
                    <a:pt x="9113305" y="17800131"/>
                  </a:lnTo>
                  <a:lnTo>
                    <a:pt x="9113305" y="17795363"/>
                  </a:lnTo>
                  <a:lnTo>
                    <a:pt x="9127601" y="17781067"/>
                  </a:lnTo>
                  <a:lnTo>
                    <a:pt x="9137131" y="17757243"/>
                  </a:lnTo>
                  <a:lnTo>
                    <a:pt x="9151426" y="17695295"/>
                  </a:lnTo>
                  <a:lnTo>
                    <a:pt x="9165722" y="17690531"/>
                  </a:lnTo>
                  <a:lnTo>
                    <a:pt x="9184782" y="17680999"/>
                  </a:lnTo>
                  <a:lnTo>
                    <a:pt x="9199078" y="17671471"/>
                  </a:lnTo>
                  <a:lnTo>
                    <a:pt x="9208608" y="17661939"/>
                  </a:lnTo>
                  <a:lnTo>
                    <a:pt x="9218138" y="17652411"/>
                  </a:lnTo>
                  <a:lnTo>
                    <a:pt x="9227668" y="17647647"/>
                  </a:lnTo>
                  <a:lnTo>
                    <a:pt x="9237199" y="17642879"/>
                  </a:lnTo>
                  <a:lnTo>
                    <a:pt x="9246729" y="17628583"/>
                  </a:lnTo>
                  <a:lnTo>
                    <a:pt x="9256259" y="17614291"/>
                  </a:lnTo>
                  <a:lnTo>
                    <a:pt x="9261024" y="17599995"/>
                  </a:lnTo>
                  <a:lnTo>
                    <a:pt x="9261024" y="17580935"/>
                  </a:lnTo>
                  <a:lnTo>
                    <a:pt x="9261024" y="17561871"/>
                  </a:lnTo>
                  <a:lnTo>
                    <a:pt x="9256259" y="17490395"/>
                  </a:lnTo>
                  <a:lnTo>
                    <a:pt x="9256259" y="17471335"/>
                  </a:lnTo>
                  <a:lnTo>
                    <a:pt x="9261024" y="17457039"/>
                  </a:lnTo>
                  <a:lnTo>
                    <a:pt x="9270555" y="17442743"/>
                  </a:lnTo>
                  <a:lnTo>
                    <a:pt x="9275320" y="17428451"/>
                  </a:lnTo>
                  <a:lnTo>
                    <a:pt x="9280085" y="17418919"/>
                  </a:lnTo>
                  <a:lnTo>
                    <a:pt x="9280085" y="17409387"/>
                  </a:lnTo>
                  <a:lnTo>
                    <a:pt x="9289615" y="17399859"/>
                  </a:lnTo>
                  <a:lnTo>
                    <a:pt x="9294380" y="17395095"/>
                  </a:lnTo>
                  <a:lnTo>
                    <a:pt x="9303910" y="17390327"/>
                  </a:lnTo>
                  <a:lnTo>
                    <a:pt x="9308676" y="17385563"/>
                  </a:lnTo>
                  <a:lnTo>
                    <a:pt x="9308676" y="17376031"/>
                  </a:lnTo>
                  <a:lnTo>
                    <a:pt x="9313441" y="17366503"/>
                  </a:lnTo>
                  <a:lnTo>
                    <a:pt x="9322971" y="17356971"/>
                  </a:lnTo>
                  <a:lnTo>
                    <a:pt x="9327736" y="17342675"/>
                  </a:lnTo>
                  <a:lnTo>
                    <a:pt x="9327736" y="17328383"/>
                  </a:lnTo>
                  <a:lnTo>
                    <a:pt x="9327736" y="17314087"/>
                  </a:lnTo>
                  <a:lnTo>
                    <a:pt x="9322971" y="17304555"/>
                  </a:lnTo>
                  <a:lnTo>
                    <a:pt x="9318206" y="17295027"/>
                  </a:lnTo>
                  <a:lnTo>
                    <a:pt x="9313441" y="17285495"/>
                  </a:lnTo>
                  <a:lnTo>
                    <a:pt x="9313441" y="17271199"/>
                  </a:lnTo>
                  <a:lnTo>
                    <a:pt x="9303910" y="17271199"/>
                  </a:lnTo>
                  <a:lnTo>
                    <a:pt x="9299145" y="17261671"/>
                  </a:lnTo>
                  <a:lnTo>
                    <a:pt x="9294380" y="17247375"/>
                  </a:lnTo>
                  <a:lnTo>
                    <a:pt x="9284850" y="17237843"/>
                  </a:lnTo>
                  <a:lnTo>
                    <a:pt x="9280085" y="17233079"/>
                  </a:lnTo>
                  <a:lnTo>
                    <a:pt x="9280085" y="17228315"/>
                  </a:lnTo>
                  <a:lnTo>
                    <a:pt x="9270555" y="17223547"/>
                  </a:lnTo>
                  <a:lnTo>
                    <a:pt x="9265789" y="17223547"/>
                  </a:lnTo>
                  <a:lnTo>
                    <a:pt x="9261024" y="17218783"/>
                  </a:lnTo>
                  <a:lnTo>
                    <a:pt x="9261024" y="17209255"/>
                  </a:lnTo>
                  <a:lnTo>
                    <a:pt x="9280085" y="17209255"/>
                  </a:lnTo>
                  <a:lnTo>
                    <a:pt x="9308676" y="17209255"/>
                  </a:lnTo>
                  <a:lnTo>
                    <a:pt x="9322971" y="17209255"/>
                  </a:lnTo>
                  <a:lnTo>
                    <a:pt x="9327736" y="17214019"/>
                  </a:lnTo>
                  <a:lnTo>
                    <a:pt x="9322971" y="17223547"/>
                  </a:lnTo>
                  <a:lnTo>
                    <a:pt x="9322971" y="17233079"/>
                  </a:lnTo>
                  <a:lnTo>
                    <a:pt x="9327736" y="17237843"/>
                  </a:lnTo>
                  <a:lnTo>
                    <a:pt x="9327736" y="17247375"/>
                  </a:lnTo>
                  <a:lnTo>
                    <a:pt x="9327736" y="17261671"/>
                  </a:lnTo>
                  <a:lnTo>
                    <a:pt x="9337266" y="17266435"/>
                  </a:lnTo>
                  <a:lnTo>
                    <a:pt x="9342031" y="17266435"/>
                  </a:lnTo>
                  <a:lnTo>
                    <a:pt x="9342031" y="17271199"/>
                  </a:lnTo>
                  <a:lnTo>
                    <a:pt x="9346797" y="17271199"/>
                  </a:lnTo>
                  <a:lnTo>
                    <a:pt x="9351562" y="17275967"/>
                  </a:lnTo>
                  <a:lnTo>
                    <a:pt x="9346797" y="17280731"/>
                  </a:lnTo>
                  <a:lnTo>
                    <a:pt x="9351562" y="17285495"/>
                  </a:lnTo>
                  <a:lnTo>
                    <a:pt x="9361092" y="17285495"/>
                  </a:lnTo>
                  <a:lnTo>
                    <a:pt x="9365857" y="17275967"/>
                  </a:lnTo>
                  <a:lnTo>
                    <a:pt x="9370622" y="17275967"/>
                  </a:lnTo>
                  <a:lnTo>
                    <a:pt x="9375387" y="17271199"/>
                  </a:lnTo>
                  <a:lnTo>
                    <a:pt x="9375387" y="17275967"/>
                  </a:lnTo>
                  <a:lnTo>
                    <a:pt x="9370622" y="17280731"/>
                  </a:lnTo>
                  <a:lnTo>
                    <a:pt x="9370622" y="17285495"/>
                  </a:lnTo>
                  <a:lnTo>
                    <a:pt x="9370622" y="17295027"/>
                  </a:lnTo>
                  <a:lnTo>
                    <a:pt x="9365857" y="17299791"/>
                  </a:lnTo>
                  <a:lnTo>
                    <a:pt x="9351562" y="17314087"/>
                  </a:lnTo>
                  <a:lnTo>
                    <a:pt x="9351562" y="17318851"/>
                  </a:lnTo>
                  <a:lnTo>
                    <a:pt x="9365857" y="17309323"/>
                  </a:lnTo>
                  <a:lnTo>
                    <a:pt x="9375387" y="17309323"/>
                  </a:lnTo>
                  <a:lnTo>
                    <a:pt x="9384918" y="17309323"/>
                  </a:lnTo>
                  <a:lnTo>
                    <a:pt x="9384918" y="17314087"/>
                  </a:lnTo>
                  <a:lnTo>
                    <a:pt x="9389683" y="17318851"/>
                  </a:lnTo>
                  <a:lnTo>
                    <a:pt x="9380152" y="17347443"/>
                  </a:lnTo>
                  <a:lnTo>
                    <a:pt x="9384918" y="17352207"/>
                  </a:lnTo>
                  <a:lnTo>
                    <a:pt x="9394448" y="17337911"/>
                  </a:lnTo>
                  <a:lnTo>
                    <a:pt x="9403978" y="17333147"/>
                  </a:lnTo>
                  <a:lnTo>
                    <a:pt x="9423039" y="17328383"/>
                  </a:lnTo>
                  <a:lnTo>
                    <a:pt x="9432569" y="17347443"/>
                  </a:lnTo>
                  <a:lnTo>
                    <a:pt x="9456394" y="17356971"/>
                  </a:lnTo>
                  <a:lnTo>
                    <a:pt x="9489750" y="17376031"/>
                  </a:lnTo>
                  <a:lnTo>
                    <a:pt x="9513576" y="17380799"/>
                  </a:lnTo>
                  <a:lnTo>
                    <a:pt x="9523106" y="17371267"/>
                  </a:lnTo>
                  <a:lnTo>
                    <a:pt x="9523106" y="17361739"/>
                  </a:lnTo>
                  <a:lnTo>
                    <a:pt x="9527871" y="17342675"/>
                  </a:lnTo>
                  <a:lnTo>
                    <a:pt x="9523106" y="17328383"/>
                  </a:lnTo>
                  <a:lnTo>
                    <a:pt x="9513576" y="17323615"/>
                  </a:lnTo>
                  <a:lnTo>
                    <a:pt x="9508811" y="17314087"/>
                  </a:lnTo>
                  <a:lnTo>
                    <a:pt x="9508811" y="17309323"/>
                  </a:lnTo>
                  <a:lnTo>
                    <a:pt x="9518341" y="17304555"/>
                  </a:lnTo>
                  <a:lnTo>
                    <a:pt x="9527871" y="17299791"/>
                  </a:lnTo>
                  <a:lnTo>
                    <a:pt x="9537402" y="17295027"/>
                  </a:lnTo>
                  <a:lnTo>
                    <a:pt x="9537402" y="17299791"/>
                  </a:lnTo>
                  <a:lnTo>
                    <a:pt x="9537402" y="17304555"/>
                  </a:lnTo>
                  <a:lnTo>
                    <a:pt x="9537402" y="17309323"/>
                  </a:lnTo>
                  <a:lnTo>
                    <a:pt x="9542167" y="17309323"/>
                  </a:lnTo>
                  <a:lnTo>
                    <a:pt x="9546932" y="17309323"/>
                  </a:lnTo>
                  <a:lnTo>
                    <a:pt x="9551697" y="17318851"/>
                  </a:lnTo>
                  <a:lnTo>
                    <a:pt x="9570758" y="17318851"/>
                  </a:lnTo>
                  <a:lnTo>
                    <a:pt x="9575523" y="17318851"/>
                  </a:lnTo>
                  <a:lnTo>
                    <a:pt x="9570758" y="17314087"/>
                  </a:lnTo>
                  <a:lnTo>
                    <a:pt x="9570758" y="17304555"/>
                  </a:lnTo>
                  <a:lnTo>
                    <a:pt x="9575523" y="17299791"/>
                  </a:lnTo>
                  <a:lnTo>
                    <a:pt x="9575523" y="17295027"/>
                  </a:lnTo>
                  <a:lnTo>
                    <a:pt x="9570758" y="17295027"/>
                  </a:lnTo>
                  <a:lnTo>
                    <a:pt x="9570758" y="17304555"/>
                  </a:lnTo>
                  <a:lnTo>
                    <a:pt x="9565992" y="17304555"/>
                  </a:lnTo>
                  <a:lnTo>
                    <a:pt x="9561227" y="17304555"/>
                  </a:lnTo>
                  <a:lnTo>
                    <a:pt x="9561227" y="17299791"/>
                  </a:lnTo>
                  <a:lnTo>
                    <a:pt x="9556462" y="17290259"/>
                  </a:lnTo>
                  <a:lnTo>
                    <a:pt x="9551697" y="17280731"/>
                  </a:lnTo>
                  <a:lnTo>
                    <a:pt x="9542167" y="17275967"/>
                  </a:lnTo>
                  <a:lnTo>
                    <a:pt x="9537402" y="17271199"/>
                  </a:lnTo>
                  <a:lnTo>
                    <a:pt x="9537402" y="17266435"/>
                  </a:lnTo>
                  <a:lnTo>
                    <a:pt x="9537402" y="17261671"/>
                  </a:lnTo>
                  <a:lnTo>
                    <a:pt x="9532637" y="17261671"/>
                  </a:lnTo>
                  <a:lnTo>
                    <a:pt x="9523106" y="17252139"/>
                  </a:lnTo>
                  <a:lnTo>
                    <a:pt x="9513576" y="17242611"/>
                  </a:lnTo>
                  <a:lnTo>
                    <a:pt x="9513576" y="17237843"/>
                  </a:lnTo>
                  <a:lnTo>
                    <a:pt x="9523106" y="17237843"/>
                  </a:lnTo>
                  <a:lnTo>
                    <a:pt x="9527871" y="17233079"/>
                  </a:lnTo>
                  <a:lnTo>
                    <a:pt x="9523106" y="17228315"/>
                  </a:lnTo>
                  <a:lnTo>
                    <a:pt x="9518341" y="17218783"/>
                  </a:lnTo>
                  <a:lnTo>
                    <a:pt x="9513576" y="17218783"/>
                  </a:lnTo>
                  <a:lnTo>
                    <a:pt x="9513576" y="17223547"/>
                  </a:lnTo>
                  <a:lnTo>
                    <a:pt x="9508811" y="17223547"/>
                  </a:lnTo>
                  <a:lnTo>
                    <a:pt x="9508811" y="17218783"/>
                  </a:lnTo>
                  <a:lnTo>
                    <a:pt x="9508811" y="17209255"/>
                  </a:lnTo>
                  <a:lnTo>
                    <a:pt x="9518341" y="17199723"/>
                  </a:lnTo>
                  <a:lnTo>
                    <a:pt x="9518341" y="17190191"/>
                  </a:lnTo>
                  <a:lnTo>
                    <a:pt x="9518341" y="17185427"/>
                  </a:lnTo>
                  <a:lnTo>
                    <a:pt x="9513576" y="17180663"/>
                  </a:lnTo>
                  <a:lnTo>
                    <a:pt x="9504046" y="17175899"/>
                  </a:lnTo>
                  <a:lnTo>
                    <a:pt x="9499281" y="17180663"/>
                  </a:lnTo>
                  <a:lnTo>
                    <a:pt x="9499281" y="17190191"/>
                  </a:lnTo>
                  <a:lnTo>
                    <a:pt x="9484985" y="17185427"/>
                  </a:lnTo>
                  <a:lnTo>
                    <a:pt x="9480220" y="17180663"/>
                  </a:lnTo>
                  <a:lnTo>
                    <a:pt x="9470690" y="17175899"/>
                  </a:lnTo>
                  <a:lnTo>
                    <a:pt x="9465925" y="17166367"/>
                  </a:lnTo>
                  <a:lnTo>
                    <a:pt x="9465925" y="17156835"/>
                  </a:lnTo>
                  <a:lnTo>
                    <a:pt x="9465925" y="17137775"/>
                  </a:lnTo>
                  <a:lnTo>
                    <a:pt x="9461160" y="17128247"/>
                  </a:lnTo>
                  <a:lnTo>
                    <a:pt x="9461160" y="17133011"/>
                  </a:lnTo>
                  <a:lnTo>
                    <a:pt x="9456394" y="17137775"/>
                  </a:lnTo>
                  <a:lnTo>
                    <a:pt x="9451629" y="17137775"/>
                  </a:lnTo>
                  <a:lnTo>
                    <a:pt x="9446864" y="17137775"/>
                  </a:lnTo>
                  <a:lnTo>
                    <a:pt x="9446864" y="17128247"/>
                  </a:lnTo>
                  <a:lnTo>
                    <a:pt x="9442099" y="17123483"/>
                  </a:lnTo>
                  <a:lnTo>
                    <a:pt x="9432569" y="17113951"/>
                  </a:lnTo>
                  <a:lnTo>
                    <a:pt x="9427804" y="17104419"/>
                  </a:lnTo>
                  <a:lnTo>
                    <a:pt x="9427804" y="17099655"/>
                  </a:lnTo>
                  <a:lnTo>
                    <a:pt x="9427804" y="17094891"/>
                  </a:lnTo>
                  <a:lnTo>
                    <a:pt x="9423039" y="17090127"/>
                  </a:lnTo>
                  <a:lnTo>
                    <a:pt x="9418273" y="17085359"/>
                  </a:lnTo>
                  <a:lnTo>
                    <a:pt x="9413508" y="17075831"/>
                  </a:lnTo>
                  <a:lnTo>
                    <a:pt x="9413508" y="17071063"/>
                  </a:lnTo>
                  <a:lnTo>
                    <a:pt x="9403978" y="17061535"/>
                  </a:lnTo>
                  <a:lnTo>
                    <a:pt x="9399213" y="17056771"/>
                  </a:lnTo>
                  <a:lnTo>
                    <a:pt x="9375387" y="17056771"/>
                  </a:lnTo>
                  <a:lnTo>
                    <a:pt x="9356327" y="17056771"/>
                  </a:lnTo>
                  <a:lnTo>
                    <a:pt x="9346797" y="17052003"/>
                  </a:lnTo>
                  <a:lnTo>
                    <a:pt x="9346797" y="17047239"/>
                  </a:lnTo>
                  <a:lnTo>
                    <a:pt x="9346797" y="17042475"/>
                  </a:lnTo>
                  <a:lnTo>
                    <a:pt x="9342031" y="17037711"/>
                  </a:lnTo>
                  <a:lnTo>
                    <a:pt x="9342031" y="17042475"/>
                  </a:lnTo>
                  <a:lnTo>
                    <a:pt x="9342031" y="17047239"/>
                  </a:lnTo>
                  <a:lnTo>
                    <a:pt x="9332501" y="17047239"/>
                  </a:lnTo>
                  <a:lnTo>
                    <a:pt x="9322971" y="17047239"/>
                  </a:lnTo>
                  <a:lnTo>
                    <a:pt x="9299145" y="17042475"/>
                  </a:lnTo>
                  <a:lnTo>
                    <a:pt x="9289615" y="17047239"/>
                  </a:lnTo>
                  <a:lnTo>
                    <a:pt x="9275320" y="17052003"/>
                  </a:lnTo>
                  <a:lnTo>
                    <a:pt x="9270555" y="17047239"/>
                  </a:lnTo>
                  <a:lnTo>
                    <a:pt x="9280085" y="17042475"/>
                  </a:lnTo>
                  <a:lnTo>
                    <a:pt x="9275320" y="17042475"/>
                  </a:lnTo>
                  <a:lnTo>
                    <a:pt x="9270555" y="17037711"/>
                  </a:lnTo>
                  <a:lnTo>
                    <a:pt x="9270555" y="17032943"/>
                  </a:lnTo>
                  <a:lnTo>
                    <a:pt x="9284850" y="17028179"/>
                  </a:lnTo>
                  <a:lnTo>
                    <a:pt x="9284850" y="17023415"/>
                  </a:lnTo>
                  <a:lnTo>
                    <a:pt x="9275320" y="17018647"/>
                  </a:lnTo>
                  <a:lnTo>
                    <a:pt x="9270555" y="17018647"/>
                  </a:lnTo>
                  <a:lnTo>
                    <a:pt x="9265789" y="17023415"/>
                  </a:lnTo>
                  <a:lnTo>
                    <a:pt x="9261024" y="17023415"/>
                  </a:lnTo>
                  <a:lnTo>
                    <a:pt x="9256259" y="17028179"/>
                  </a:lnTo>
                  <a:lnTo>
                    <a:pt x="9251494" y="17028179"/>
                  </a:lnTo>
                  <a:lnTo>
                    <a:pt x="9251494" y="17018647"/>
                  </a:lnTo>
                  <a:lnTo>
                    <a:pt x="9241964" y="17018647"/>
                  </a:lnTo>
                  <a:lnTo>
                    <a:pt x="9213373" y="17013883"/>
                  </a:lnTo>
                  <a:lnTo>
                    <a:pt x="9194312" y="17013883"/>
                  </a:lnTo>
                  <a:lnTo>
                    <a:pt x="9184782" y="17013883"/>
                  </a:lnTo>
                  <a:lnTo>
                    <a:pt x="9165722" y="17004355"/>
                  </a:lnTo>
                  <a:lnTo>
                    <a:pt x="9160957" y="16999587"/>
                  </a:lnTo>
                  <a:lnTo>
                    <a:pt x="9122836" y="17004355"/>
                  </a:lnTo>
                  <a:lnTo>
                    <a:pt x="9113305" y="17004355"/>
                  </a:lnTo>
                  <a:lnTo>
                    <a:pt x="9108540" y="17004355"/>
                  </a:lnTo>
                  <a:lnTo>
                    <a:pt x="9103775" y="16994823"/>
                  </a:lnTo>
                  <a:lnTo>
                    <a:pt x="9075184" y="16999587"/>
                  </a:lnTo>
                  <a:lnTo>
                    <a:pt x="9056124" y="17004355"/>
                  </a:lnTo>
                  <a:lnTo>
                    <a:pt x="8984647" y="16990059"/>
                  </a:lnTo>
                  <a:lnTo>
                    <a:pt x="8970351" y="16985291"/>
                  </a:lnTo>
                  <a:lnTo>
                    <a:pt x="8965586" y="16980527"/>
                  </a:lnTo>
                  <a:lnTo>
                    <a:pt x="8956056" y="16980527"/>
                  </a:lnTo>
                  <a:lnTo>
                    <a:pt x="8927465" y="16975763"/>
                  </a:lnTo>
                  <a:lnTo>
                    <a:pt x="8922700" y="16975763"/>
                  </a:lnTo>
                  <a:lnTo>
                    <a:pt x="8917935" y="16966231"/>
                  </a:lnTo>
                  <a:lnTo>
                    <a:pt x="8913170" y="16966231"/>
                  </a:lnTo>
                  <a:lnTo>
                    <a:pt x="8898875" y="16966231"/>
                  </a:lnTo>
                  <a:lnTo>
                    <a:pt x="8889344" y="16961467"/>
                  </a:lnTo>
                  <a:lnTo>
                    <a:pt x="8884579" y="16956703"/>
                  </a:lnTo>
                  <a:lnTo>
                    <a:pt x="8884579" y="16947171"/>
                  </a:lnTo>
                  <a:lnTo>
                    <a:pt x="8889344" y="16937643"/>
                  </a:lnTo>
                  <a:lnTo>
                    <a:pt x="8889344" y="16928111"/>
                  </a:lnTo>
                  <a:lnTo>
                    <a:pt x="8884579" y="16923347"/>
                  </a:lnTo>
                  <a:lnTo>
                    <a:pt x="8875049" y="16918579"/>
                  </a:lnTo>
                  <a:lnTo>
                    <a:pt x="8865519" y="16918579"/>
                  </a:lnTo>
                  <a:lnTo>
                    <a:pt x="8846458" y="16923347"/>
                  </a:lnTo>
                  <a:lnTo>
                    <a:pt x="8832163" y="16923347"/>
                  </a:lnTo>
                  <a:lnTo>
                    <a:pt x="8832163" y="16928111"/>
                  </a:lnTo>
                  <a:lnTo>
                    <a:pt x="8827398" y="16932875"/>
                  </a:lnTo>
                  <a:lnTo>
                    <a:pt x="8822633" y="16932875"/>
                  </a:lnTo>
                  <a:lnTo>
                    <a:pt x="8813102" y="16918579"/>
                  </a:lnTo>
                  <a:lnTo>
                    <a:pt x="8813102" y="16913815"/>
                  </a:lnTo>
                  <a:lnTo>
                    <a:pt x="8817867" y="16909051"/>
                  </a:lnTo>
                  <a:lnTo>
                    <a:pt x="8827398" y="16889991"/>
                  </a:lnTo>
                  <a:lnTo>
                    <a:pt x="8832163" y="16880459"/>
                  </a:lnTo>
                  <a:lnTo>
                    <a:pt x="8827398" y="16875695"/>
                  </a:lnTo>
                  <a:lnTo>
                    <a:pt x="8822633" y="16880459"/>
                  </a:lnTo>
                  <a:lnTo>
                    <a:pt x="8817867" y="16885227"/>
                  </a:lnTo>
                  <a:lnTo>
                    <a:pt x="8813102" y="16880459"/>
                  </a:lnTo>
                  <a:lnTo>
                    <a:pt x="8817867" y="16861399"/>
                  </a:lnTo>
                  <a:lnTo>
                    <a:pt x="8817867" y="16851871"/>
                  </a:lnTo>
                  <a:lnTo>
                    <a:pt x="8827398" y="16851871"/>
                  </a:lnTo>
                  <a:lnTo>
                    <a:pt x="8836928" y="16851871"/>
                  </a:lnTo>
                  <a:lnTo>
                    <a:pt x="8841693" y="16851871"/>
                  </a:lnTo>
                  <a:lnTo>
                    <a:pt x="8846458" y="16842339"/>
                  </a:lnTo>
                  <a:lnTo>
                    <a:pt x="8841693" y="16837575"/>
                  </a:lnTo>
                  <a:lnTo>
                    <a:pt x="8832163" y="16832807"/>
                  </a:lnTo>
                  <a:lnTo>
                    <a:pt x="8827398" y="16828043"/>
                  </a:lnTo>
                  <a:lnTo>
                    <a:pt x="8817867" y="16828043"/>
                  </a:lnTo>
                  <a:lnTo>
                    <a:pt x="8813102" y="16832807"/>
                  </a:lnTo>
                  <a:lnTo>
                    <a:pt x="8808337" y="16832807"/>
                  </a:lnTo>
                  <a:lnTo>
                    <a:pt x="8803572" y="16832807"/>
                  </a:lnTo>
                  <a:lnTo>
                    <a:pt x="8798807" y="16828043"/>
                  </a:lnTo>
                  <a:lnTo>
                    <a:pt x="8784512" y="16823279"/>
                  </a:lnTo>
                  <a:lnTo>
                    <a:pt x="8779746" y="16813747"/>
                  </a:lnTo>
                  <a:lnTo>
                    <a:pt x="8779746" y="16808983"/>
                  </a:lnTo>
                  <a:lnTo>
                    <a:pt x="8789277" y="16789923"/>
                  </a:lnTo>
                  <a:lnTo>
                    <a:pt x="8789277" y="16785159"/>
                  </a:lnTo>
                  <a:lnTo>
                    <a:pt x="8794042" y="16770863"/>
                  </a:lnTo>
                  <a:lnTo>
                    <a:pt x="8803572" y="16756567"/>
                  </a:lnTo>
                  <a:lnTo>
                    <a:pt x="8808337" y="16742271"/>
                  </a:lnTo>
                  <a:lnTo>
                    <a:pt x="8803572" y="16737507"/>
                  </a:lnTo>
                  <a:lnTo>
                    <a:pt x="8803572" y="16732739"/>
                  </a:lnTo>
                  <a:lnTo>
                    <a:pt x="8798807" y="16732739"/>
                  </a:lnTo>
                  <a:lnTo>
                    <a:pt x="8794042" y="16727975"/>
                  </a:lnTo>
                  <a:lnTo>
                    <a:pt x="8789277" y="16718447"/>
                  </a:lnTo>
                  <a:lnTo>
                    <a:pt x="8779746" y="16708915"/>
                  </a:lnTo>
                  <a:lnTo>
                    <a:pt x="8770216" y="16704151"/>
                  </a:lnTo>
                  <a:lnTo>
                    <a:pt x="8755921" y="16689855"/>
                  </a:lnTo>
                  <a:lnTo>
                    <a:pt x="8746390" y="16680323"/>
                  </a:lnTo>
                  <a:lnTo>
                    <a:pt x="8741625" y="16670795"/>
                  </a:lnTo>
                  <a:lnTo>
                    <a:pt x="8746390" y="16661263"/>
                  </a:lnTo>
                  <a:lnTo>
                    <a:pt x="8751156" y="16656499"/>
                  </a:lnTo>
                  <a:lnTo>
                    <a:pt x="8751156" y="16651735"/>
                  </a:lnTo>
                  <a:lnTo>
                    <a:pt x="8751156" y="16646967"/>
                  </a:lnTo>
                  <a:lnTo>
                    <a:pt x="8755921" y="16632675"/>
                  </a:lnTo>
                  <a:lnTo>
                    <a:pt x="8755921" y="16627907"/>
                  </a:lnTo>
                  <a:lnTo>
                    <a:pt x="8760686" y="16618379"/>
                  </a:lnTo>
                  <a:lnTo>
                    <a:pt x="8765451" y="16608847"/>
                  </a:lnTo>
                  <a:lnTo>
                    <a:pt x="8770216" y="16604083"/>
                  </a:lnTo>
                  <a:lnTo>
                    <a:pt x="8770216" y="16594551"/>
                  </a:lnTo>
                  <a:lnTo>
                    <a:pt x="8751156" y="16594551"/>
                  </a:lnTo>
                  <a:lnTo>
                    <a:pt x="8717800" y="16594551"/>
                  </a:lnTo>
                  <a:lnTo>
                    <a:pt x="8693974" y="16594551"/>
                  </a:lnTo>
                  <a:lnTo>
                    <a:pt x="8674914" y="16599319"/>
                  </a:lnTo>
                  <a:lnTo>
                    <a:pt x="8651088" y="16599319"/>
                  </a:lnTo>
                  <a:lnTo>
                    <a:pt x="8622497" y="16594551"/>
                  </a:lnTo>
                  <a:lnTo>
                    <a:pt x="8603437" y="16580255"/>
                  </a:lnTo>
                  <a:lnTo>
                    <a:pt x="8584376" y="16556431"/>
                  </a:lnTo>
                  <a:lnTo>
                    <a:pt x="8574846" y="16537371"/>
                  </a:lnTo>
                  <a:lnTo>
                    <a:pt x="8567698" y="16513547"/>
                  </a:lnTo>
                  <a:lnTo>
                    <a:pt x="8562933" y="16494483"/>
                  </a:lnTo>
                  <a:lnTo>
                    <a:pt x="8562933" y="16489719"/>
                  </a:lnTo>
                  <a:lnTo>
                    <a:pt x="8558168" y="16484955"/>
                  </a:lnTo>
                  <a:lnTo>
                    <a:pt x="8553403" y="16475423"/>
                  </a:lnTo>
                  <a:lnTo>
                    <a:pt x="8553403" y="16456363"/>
                  </a:lnTo>
                  <a:lnTo>
                    <a:pt x="8548638" y="16446835"/>
                  </a:lnTo>
                  <a:lnTo>
                    <a:pt x="8543873" y="16442067"/>
                  </a:lnTo>
                  <a:lnTo>
                    <a:pt x="8539107" y="16437303"/>
                  </a:lnTo>
                  <a:lnTo>
                    <a:pt x="8534342" y="16423007"/>
                  </a:lnTo>
                  <a:lnTo>
                    <a:pt x="8529577" y="16418243"/>
                  </a:lnTo>
                  <a:lnTo>
                    <a:pt x="8529577" y="16413479"/>
                  </a:lnTo>
                  <a:lnTo>
                    <a:pt x="8524812" y="16408711"/>
                  </a:lnTo>
                  <a:lnTo>
                    <a:pt x="8520047" y="16403947"/>
                  </a:lnTo>
                  <a:lnTo>
                    <a:pt x="8500986" y="16408711"/>
                  </a:lnTo>
                  <a:lnTo>
                    <a:pt x="8496221" y="16403947"/>
                  </a:lnTo>
                  <a:lnTo>
                    <a:pt x="8491456" y="16399183"/>
                  </a:lnTo>
                  <a:lnTo>
                    <a:pt x="8481926" y="16394415"/>
                  </a:lnTo>
                  <a:lnTo>
                    <a:pt x="8472396" y="16399183"/>
                  </a:lnTo>
                  <a:lnTo>
                    <a:pt x="8462865" y="16403947"/>
                  </a:lnTo>
                  <a:lnTo>
                    <a:pt x="8453335" y="16403947"/>
                  </a:lnTo>
                  <a:lnTo>
                    <a:pt x="8434275" y="16399183"/>
                  </a:lnTo>
                  <a:lnTo>
                    <a:pt x="8424744" y="16403947"/>
                  </a:lnTo>
                  <a:lnTo>
                    <a:pt x="8400919" y="16403947"/>
                  </a:lnTo>
                  <a:lnTo>
                    <a:pt x="8386624" y="16399183"/>
                  </a:lnTo>
                  <a:lnTo>
                    <a:pt x="8372328" y="16389651"/>
                  </a:lnTo>
                  <a:lnTo>
                    <a:pt x="8362798" y="16384887"/>
                  </a:lnTo>
                  <a:lnTo>
                    <a:pt x="8353268" y="16389651"/>
                  </a:lnTo>
                  <a:lnTo>
                    <a:pt x="8348502" y="16384887"/>
                  </a:lnTo>
                  <a:lnTo>
                    <a:pt x="8348502" y="16380123"/>
                  </a:lnTo>
                  <a:lnTo>
                    <a:pt x="8343737" y="16380123"/>
                  </a:lnTo>
                  <a:lnTo>
                    <a:pt x="8329442" y="16375355"/>
                  </a:lnTo>
                  <a:lnTo>
                    <a:pt x="8315146" y="16370591"/>
                  </a:lnTo>
                  <a:lnTo>
                    <a:pt x="8286556" y="16361063"/>
                  </a:lnTo>
                  <a:lnTo>
                    <a:pt x="8277026" y="16351531"/>
                  </a:lnTo>
                  <a:lnTo>
                    <a:pt x="8267495" y="16351531"/>
                  </a:lnTo>
                  <a:lnTo>
                    <a:pt x="8257965" y="16351531"/>
                  </a:lnTo>
                  <a:lnTo>
                    <a:pt x="8253200" y="16356295"/>
                  </a:lnTo>
                  <a:lnTo>
                    <a:pt x="8248434" y="16356295"/>
                  </a:lnTo>
                  <a:lnTo>
                    <a:pt x="8238904" y="16351531"/>
                  </a:lnTo>
                  <a:lnTo>
                    <a:pt x="8238904" y="16356295"/>
                  </a:lnTo>
                  <a:lnTo>
                    <a:pt x="8238904" y="16361063"/>
                  </a:lnTo>
                  <a:lnTo>
                    <a:pt x="8238904" y="16370591"/>
                  </a:lnTo>
                  <a:lnTo>
                    <a:pt x="8243670" y="16380123"/>
                  </a:lnTo>
                  <a:lnTo>
                    <a:pt x="8257965" y="16394415"/>
                  </a:lnTo>
                  <a:lnTo>
                    <a:pt x="8262730" y="16403947"/>
                  </a:lnTo>
                  <a:lnTo>
                    <a:pt x="8262730" y="16413479"/>
                  </a:lnTo>
                  <a:lnTo>
                    <a:pt x="8257965" y="16423007"/>
                  </a:lnTo>
                  <a:lnTo>
                    <a:pt x="8243670" y="16446835"/>
                  </a:lnTo>
                  <a:lnTo>
                    <a:pt x="8238904" y="16446835"/>
                  </a:lnTo>
                  <a:lnTo>
                    <a:pt x="8229374" y="16446835"/>
                  </a:lnTo>
                  <a:lnTo>
                    <a:pt x="8224609" y="16451599"/>
                  </a:lnTo>
                  <a:lnTo>
                    <a:pt x="8215079" y="16456363"/>
                  </a:lnTo>
                  <a:lnTo>
                    <a:pt x="8215079" y="16451599"/>
                  </a:lnTo>
                  <a:lnTo>
                    <a:pt x="8210314" y="16451599"/>
                  </a:lnTo>
                  <a:lnTo>
                    <a:pt x="8205548" y="16461127"/>
                  </a:lnTo>
                  <a:lnTo>
                    <a:pt x="8205548" y="16465895"/>
                  </a:lnTo>
                  <a:lnTo>
                    <a:pt x="8205548" y="16470659"/>
                  </a:lnTo>
                  <a:lnTo>
                    <a:pt x="8200784" y="16475423"/>
                  </a:lnTo>
                  <a:lnTo>
                    <a:pt x="8196018" y="16480191"/>
                  </a:lnTo>
                  <a:lnTo>
                    <a:pt x="8191253" y="16480191"/>
                  </a:lnTo>
                  <a:lnTo>
                    <a:pt x="8191253" y="16475423"/>
                  </a:lnTo>
                  <a:lnTo>
                    <a:pt x="8186488" y="16470659"/>
                  </a:lnTo>
                  <a:lnTo>
                    <a:pt x="8191253" y="16461127"/>
                  </a:lnTo>
                  <a:lnTo>
                    <a:pt x="8219844" y="16432539"/>
                  </a:lnTo>
                  <a:lnTo>
                    <a:pt x="8229374" y="16418243"/>
                  </a:lnTo>
                  <a:lnTo>
                    <a:pt x="8229374" y="16413479"/>
                  </a:lnTo>
                  <a:lnTo>
                    <a:pt x="8229374" y="16403947"/>
                  </a:lnTo>
                  <a:lnTo>
                    <a:pt x="8224609" y="16394415"/>
                  </a:lnTo>
                  <a:lnTo>
                    <a:pt x="8219844" y="16384887"/>
                  </a:lnTo>
                  <a:lnTo>
                    <a:pt x="8210314" y="16384887"/>
                  </a:lnTo>
                  <a:lnTo>
                    <a:pt x="8200784" y="16389651"/>
                  </a:lnTo>
                  <a:lnTo>
                    <a:pt x="8196018" y="16399183"/>
                  </a:lnTo>
                  <a:lnTo>
                    <a:pt x="8196018" y="16408711"/>
                  </a:lnTo>
                  <a:lnTo>
                    <a:pt x="8191253" y="16423007"/>
                  </a:lnTo>
                  <a:lnTo>
                    <a:pt x="8196018" y="16432539"/>
                  </a:lnTo>
                  <a:lnTo>
                    <a:pt x="8191253" y="16437303"/>
                  </a:lnTo>
                  <a:lnTo>
                    <a:pt x="8186488" y="16437303"/>
                  </a:lnTo>
                  <a:lnTo>
                    <a:pt x="8181723" y="16446835"/>
                  </a:lnTo>
                  <a:lnTo>
                    <a:pt x="8181723" y="16456363"/>
                  </a:lnTo>
                  <a:lnTo>
                    <a:pt x="8176958" y="16465895"/>
                  </a:lnTo>
                  <a:lnTo>
                    <a:pt x="8172192" y="16465895"/>
                  </a:lnTo>
                  <a:lnTo>
                    <a:pt x="8167428" y="16475423"/>
                  </a:lnTo>
                  <a:lnTo>
                    <a:pt x="8167428" y="16494483"/>
                  </a:lnTo>
                  <a:lnTo>
                    <a:pt x="8157897" y="16499251"/>
                  </a:lnTo>
                  <a:lnTo>
                    <a:pt x="8138836" y="16508779"/>
                  </a:lnTo>
                  <a:lnTo>
                    <a:pt x="8134072" y="16508779"/>
                  </a:lnTo>
                  <a:lnTo>
                    <a:pt x="8134072" y="16499251"/>
                  </a:lnTo>
                  <a:lnTo>
                    <a:pt x="8138836" y="16494483"/>
                  </a:lnTo>
                  <a:lnTo>
                    <a:pt x="8143602" y="16494483"/>
                  </a:lnTo>
                  <a:lnTo>
                    <a:pt x="8153132" y="16465895"/>
                  </a:lnTo>
                  <a:lnTo>
                    <a:pt x="8157897" y="16451599"/>
                  </a:lnTo>
                  <a:lnTo>
                    <a:pt x="8157897" y="16446835"/>
                  </a:lnTo>
                  <a:lnTo>
                    <a:pt x="8110246" y="16470659"/>
                  </a:lnTo>
                  <a:lnTo>
                    <a:pt x="8091186" y="16480191"/>
                  </a:lnTo>
                  <a:lnTo>
                    <a:pt x="8086420" y="16489719"/>
                  </a:lnTo>
                  <a:lnTo>
                    <a:pt x="8086420" y="16494483"/>
                  </a:lnTo>
                  <a:lnTo>
                    <a:pt x="8091186" y="16504015"/>
                  </a:lnTo>
                  <a:lnTo>
                    <a:pt x="8091186" y="16513547"/>
                  </a:lnTo>
                  <a:lnTo>
                    <a:pt x="8081655" y="16518311"/>
                  </a:lnTo>
                  <a:lnTo>
                    <a:pt x="8076890" y="16537371"/>
                  </a:lnTo>
                  <a:lnTo>
                    <a:pt x="8072125" y="16546903"/>
                  </a:lnTo>
                  <a:lnTo>
                    <a:pt x="8067360" y="16556431"/>
                  </a:lnTo>
                  <a:lnTo>
                    <a:pt x="8053064" y="16561195"/>
                  </a:lnTo>
                  <a:lnTo>
                    <a:pt x="8053064" y="16565963"/>
                  </a:lnTo>
                  <a:lnTo>
                    <a:pt x="8038769" y="16585023"/>
                  </a:lnTo>
                  <a:lnTo>
                    <a:pt x="8034004" y="16585023"/>
                  </a:lnTo>
                  <a:lnTo>
                    <a:pt x="8000648" y="16580255"/>
                  </a:lnTo>
                  <a:lnTo>
                    <a:pt x="7981588" y="16585023"/>
                  </a:lnTo>
                  <a:lnTo>
                    <a:pt x="7967292" y="16580255"/>
                  </a:lnTo>
                  <a:lnTo>
                    <a:pt x="7962527" y="16565963"/>
                  </a:lnTo>
                  <a:lnTo>
                    <a:pt x="7952997" y="16556431"/>
                  </a:lnTo>
                  <a:lnTo>
                    <a:pt x="7914876" y="16561195"/>
                  </a:lnTo>
                  <a:lnTo>
                    <a:pt x="7871990" y="16561195"/>
                  </a:lnTo>
                  <a:lnTo>
                    <a:pt x="7848164" y="16561195"/>
                  </a:lnTo>
                  <a:lnTo>
                    <a:pt x="7843399" y="16556431"/>
                  </a:lnTo>
                  <a:lnTo>
                    <a:pt x="7833868" y="16537371"/>
                  </a:lnTo>
                  <a:lnTo>
                    <a:pt x="7824338" y="16537371"/>
                  </a:lnTo>
                  <a:lnTo>
                    <a:pt x="7805278" y="16542135"/>
                  </a:lnTo>
                  <a:lnTo>
                    <a:pt x="7776687" y="16561195"/>
                  </a:lnTo>
                  <a:lnTo>
                    <a:pt x="7748096" y="16570727"/>
                  </a:lnTo>
                  <a:lnTo>
                    <a:pt x="7729036" y="16570727"/>
                  </a:lnTo>
                  <a:lnTo>
                    <a:pt x="7709976" y="16561195"/>
                  </a:lnTo>
                  <a:lnTo>
                    <a:pt x="7676620" y="16537371"/>
                  </a:lnTo>
                  <a:lnTo>
                    <a:pt x="7652794" y="16513547"/>
                  </a:lnTo>
                  <a:lnTo>
                    <a:pt x="7628968" y="16504015"/>
                  </a:lnTo>
                  <a:lnTo>
                    <a:pt x="7609908" y="16508779"/>
                  </a:lnTo>
                  <a:lnTo>
                    <a:pt x="7600378" y="16518311"/>
                  </a:lnTo>
                  <a:lnTo>
                    <a:pt x="7590847" y="16518311"/>
                  </a:lnTo>
                  <a:lnTo>
                    <a:pt x="7581317" y="16499251"/>
                  </a:lnTo>
                  <a:lnTo>
                    <a:pt x="7576552" y="16484955"/>
                  </a:lnTo>
                  <a:lnTo>
                    <a:pt x="7562256" y="16475423"/>
                  </a:lnTo>
                  <a:lnTo>
                    <a:pt x="7538430" y="16461127"/>
                  </a:lnTo>
                  <a:lnTo>
                    <a:pt x="7524136" y="16451599"/>
                  </a:lnTo>
                  <a:lnTo>
                    <a:pt x="7500310" y="16442067"/>
                  </a:lnTo>
                  <a:lnTo>
                    <a:pt x="7490780" y="16437303"/>
                  </a:lnTo>
                  <a:lnTo>
                    <a:pt x="7476484" y="16437303"/>
                  </a:lnTo>
                  <a:lnTo>
                    <a:pt x="7457424" y="16437303"/>
                  </a:lnTo>
                  <a:lnTo>
                    <a:pt x="7438363" y="16442067"/>
                  </a:lnTo>
                  <a:lnTo>
                    <a:pt x="7424068" y="16451599"/>
                  </a:lnTo>
                  <a:lnTo>
                    <a:pt x="7409772" y="16461127"/>
                  </a:lnTo>
                  <a:lnTo>
                    <a:pt x="7385946" y="16461127"/>
                  </a:lnTo>
                  <a:lnTo>
                    <a:pt x="7371651" y="16456363"/>
                  </a:lnTo>
                  <a:lnTo>
                    <a:pt x="7366886" y="16442067"/>
                  </a:lnTo>
                  <a:lnTo>
                    <a:pt x="7333530" y="16432539"/>
                  </a:lnTo>
                  <a:lnTo>
                    <a:pt x="7276348" y="16418243"/>
                  </a:lnTo>
                  <a:lnTo>
                    <a:pt x="7247758" y="16408711"/>
                  </a:lnTo>
                  <a:lnTo>
                    <a:pt x="7238228" y="16403947"/>
                  </a:lnTo>
                  <a:lnTo>
                    <a:pt x="7233462" y="16394415"/>
                  </a:lnTo>
                  <a:lnTo>
                    <a:pt x="7233462" y="16380123"/>
                  </a:lnTo>
                  <a:lnTo>
                    <a:pt x="7219167" y="16351531"/>
                  </a:lnTo>
                  <a:lnTo>
                    <a:pt x="7209637" y="16322939"/>
                  </a:lnTo>
                  <a:lnTo>
                    <a:pt x="7209637" y="16289583"/>
                  </a:lnTo>
                  <a:lnTo>
                    <a:pt x="7209637" y="16275287"/>
                  </a:lnTo>
                  <a:lnTo>
                    <a:pt x="7204872" y="16275287"/>
                  </a:lnTo>
                  <a:lnTo>
                    <a:pt x="7195342" y="16265759"/>
                  </a:lnTo>
                  <a:lnTo>
                    <a:pt x="7161986" y="16260995"/>
                  </a:lnTo>
                  <a:lnTo>
                    <a:pt x="7161986" y="16299115"/>
                  </a:lnTo>
                  <a:lnTo>
                    <a:pt x="7161986" y="16351531"/>
                  </a:lnTo>
                  <a:lnTo>
                    <a:pt x="2844780" y="16351531"/>
                  </a:lnTo>
                  <a:lnTo>
                    <a:pt x="2840015" y="16341999"/>
                  </a:lnTo>
                  <a:lnTo>
                    <a:pt x="2825720" y="16332471"/>
                  </a:lnTo>
                  <a:lnTo>
                    <a:pt x="2816189" y="16332471"/>
                  </a:lnTo>
                  <a:lnTo>
                    <a:pt x="2811424" y="16337235"/>
                  </a:lnTo>
                  <a:lnTo>
                    <a:pt x="2806659" y="16341999"/>
                  </a:lnTo>
                  <a:lnTo>
                    <a:pt x="2806659" y="16351531"/>
                  </a:lnTo>
                  <a:lnTo>
                    <a:pt x="2801894" y="16356295"/>
                  </a:lnTo>
                  <a:lnTo>
                    <a:pt x="2797129" y="16351531"/>
                  </a:lnTo>
                  <a:lnTo>
                    <a:pt x="2792364" y="16337235"/>
                  </a:lnTo>
                  <a:lnTo>
                    <a:pt x="2797129" y="16327707"/>
                  </a:lnTo>
                  <a:lnTo>
                    <a:pt x="2801894" y="16322939"/>
                  </a:lnTo>
                  <a:lnTo>
                    <a:pt x="2801894" y="16318175"/>
                  </a:lnTo>
                  <a:lnTo>
                    <a:pt x="2787598" y="16322939"/>
                  </a:lnTo>
                  <a:lnTo>
                    <a:pt x="2782834" y="16318175"/>
                  </a:lnTo>
                  <a:lnTo>
                    <a:pt x="2782834" y="16313411"/>
                  </a:lnTo>
                  <a:lnTo>
                    <a:pt x="2782834" y="16299115"/>
                  </a:lnTo>
                  <a:lnTo>
                    <a:pt x="2778068" y="16284819"/>
                  </a:lnTo>
                  <a:lnTo>
                    <a:pt x="2782834" y="16284819"/>
                  </a:lnTo>
                  <a:lnTo>
                    <a:pt x="2801894" y="16280055"/>
                  </a:lnTo>
                  <a:lnTo>
                    <a:pt x="2820954" y="16280055"/>
                  </a:lnTo>
                  <a:lnTo>
                    <a:pt x="2825720" y="16270523"/>
                  </a:lnTo>
                  <a:lnTo>
                    <a:pt x="2830485" y="16256227"/>
                  </a:lnTo>
                  <a:lnTo>
                    <a:pt x="2816189" y="16270523"/>
                  </a:lnTo>
                  <a:lnTo>
                    <a:pt x="2811424" y="16270523"/>
                  </a:lnTo>
                  <a:lnTo>
                    <a:pt x="2787598" y="16265759"/>
                  </a:lnTo>
                  <a:lnTo>
                    <a:pt x="2768538" y="16265759"/>
                  </a:lnTo>
                  <a:lnTo>
                    <a:pt x="2768538" y="16260995"/>
                  </a:lnTo>
                  <a:lnTo>
                    <a:pt x="2773303" y="16256227"/>
                  </a:lnTo>
                  <a:lnTo>
                    <a:pt x="2773303" y="16241931"/>
                  </a:lnTo>
                  <a:lnTo>
                    <a:pt x="2778068" y="16208579"/>
                  </a:lnTo>
                  <a:lnTo>
                    <a:pt x="2782834" y="16194283"/>
                  </a:lnTo>
                  <a:lnTo>
                    <a:pt x="2782834" y="16189515"/>
                  </a:lnTo>
                  <a:lnTo>
                    <a:pt x="2782834" y="16184751"/>
                  </a:lnTo>
                  <a:lnTo>
                    <a:pt x="2763773" y="16213343"/>
                  </a:lnTo>
                  <a:lnTo>
                    <a:pt x="2759008" y="16218107"/>
                  </a:lnTo>
                  <a:lnTo>
                    <a:pt x="2763773" y="16227639"/>
                  </a:lnTo>
                  <a:lnTo>
                    <a:pt x="2759008" y="16241931"/>
                  </a:lnTo>
                  <a:lnTo>
                    <a:pt x="2749478" y="16241931"/>
                  </a:lnTo>
                  <a:lnTo>
                    <a:pt x="2744712" y="16241931"/>
                  </a:lnTo>
                  <a:lnTo>
                    <a:pt x="2735182" y="16251463"/>
                  </a:lnTo>
                  <a:lnTo>
                    <a:pt x="2730417" y="16256227"/>
                  </a:lnTo>
                  <a:lnTo>
                    <a:pt x="2678001" y="16232403"/>
                  </a:lnTo>
                  <a:lnTo>
                    <a:pt x="2673236" y="16232403"/>
                  </a:lnTo>
                  <a:lnTo>
                    <a:pt x="2663705" y="16222871"/>
                  </a:lnTo>
                  <a:lnTo>
                    <a:pt x="2654175" y="16203811"/>
                  </a:lnTo>
                  <a:lnTo>
                    <a:pt x="2649410" y="16189515"/>
                  </a:lnTo>
                  <a:lnTo>
                    <a:pt x="2654175" y="16179987"/>
                  </a:lnTo>
                  <a:lnTo>
                    <a:pt x="2658940" y="16175223"/>
                  </a:lnTo>
                  <a:lnTo>
                    <a:pt x="2663705" y="16175223"/>
                  </a:lnTo>
                  <a:lnTo>
                    <a:pt x="2668470" y="16179987"/>
                  </a:lnTo>
                  <a:lnTo>
                    <a:pt x="2678001" y="16199047"/>
                  </a:lnTo>
                  <a:lnTo>
                    <a:pt x="2687531" y="16208579"/>
                  </a:lnTo>
                  <a:lnTo>
                    <a:pt x="2697061" y="16208579"/>
                  </a:lnTo>
                  <a:lnTo>
                    <a:pt x="2716122" y="16189515"/>
                  </a:lnTo>
                  <a:lnTo>
                    <a:pt x="2720887" y="16184751"/>
                  </a:lnTo>
                  <a:lnTo>
                    <a:pt x="2701826" y="16189515"/>
                  </a:lnTo>
                  <a:lnTo>
                    <a:pt x="2692296" y="16189515"/>
                  </a:lnTo>
                  <a:lnTo>
                    <a:pt x="2687531" y="16184751"/>
                  </a:lnTo>
                  <a:lnTo>
                    <a:pt x="2678001" y="16175223"/>
                  </a:lnTo>
                  <a:lnTo>
                    <a:pt x="2673236" y="16160927"/>
                  </a:lnTo>
                  <a:lnTo>
                    <a:pt x="2673236" y="16113275"/>
                  </a:lnTo>
                  <a:lnTo>
                    <a:pt x="2673236" y="16103743"/>
                  </a:lnTo>
                  <a:lnTo>
                    <a:pt x="2682766" y="16098979"/>
                  </a:lnTo>
                  <a:lnTo>
                    <a:pt x="2692296" y="16089447"/>
                  </a:lnTo>
                  <a:lnTo>
                    <a:pt x="2692296" y="16084683"/>
                  </a:lnTo>
                  <a:lnTo>
                    <a:pt x="2682766" y="16075155"/>
                  </a:lnTo>
                  <a:lnTo>
                    <a:pt x="2673236" y="16065623"/>
                  </a:lnTo>
                  <a:lnTo>
                    <a:pt x="2668470" y="16065623"/>
                  </a:lnTo>
                  <a:lnTo>
                    <a:pt x="2663705" y="16065623"/>
                  </a:lnTo>
                  <a:lnTo>
                    <a:pt x="2678001" y="16084683"/>
                  </a:lnTo>
                  <a:lnTo>
                    <a:pt x="2678001" y="16089447"/>
                  </a:lnTo>
                  <a:lnTo>
                    <a:pt x="2663705" y="16108511"/>
                  </a:lnTo>
                  <a:lnTo>
                    <a:pt x="2658940" y="16118039"/>
                  </a:lnTo>
                  <a:lnTo>
                    <a:pt x="2658940" y="16137099"/>
                  </a:lnTo>
                  <a:lnTo>
                    <a:pt x="2649410" y="16146631"/>
                  </a:lnTo>
                  <a:lnTo>
                    <a:pt x="2635114" y="16160927"/>
                  </a:lnTo>
                  <a:lnTo>
                    <a:pt x="2611289" y="16165691"/>
                  </a:lnTo>
                  <a:lnTo>
                    <a:pt x="2592228" y="16160927"/>
                  </a:lnTo>
                  <a:lnTo>
                    <a:pt x="2582698" y="16156159"/>
                  </a:lnTo>
                  <a:lnTo>
                    <a:pt x="2544577" y="16118039"/>
                  </a:lnTo>
                  <a:lnTo>
                    <a:pt x="2535047" y="16103743"/>
                  </a:lnTo>
                  <a:lnTo>
                    <a:pt x="2535047" y="16089447"/>
                  </a:lnTo>
                  <a:lnTo>
                    <a:pt x="2511221" y="16046563"/>
                  </a:lnTo>
                  <a:lnTo>
                    <a:pt x="2511221" y="16037031"/>
                  </a:lnTo>
                  <a:lnTo>
                    <a:pt x="2501691" y="16022739"/>
                  </a:lnTo>
                  <a:lnTo>
                    <a:pt x="2492161" y="16022739"/>
                  </a:lnTo>
                  <a:lnTo>
                    <a:pt x="2492161" y="16008443"/>
                  </a:lnTo>
                  <a:lnTo>
                    <a:pt x="2511221" y="15979851"/>
                  </a:lnTo>
                  <a:lnTo>
                    <a:pt x="2520752" y="15951259"/>
                  </a:lnTo>
                  <a:lnTo>
                    <a:pt x="2520752" y="15946495"/>
                  </a:lnTo>
                  <a:lnTo>
                    <a:pt x="2520752" y="15932199"/>
                  </a:lnTo>
                  <a:lnTo>
                    <a:pt x="2520752" y="15908375"/>
                  </a:lnTo>
                  <a:lnTo>
                    <a:pt x="2520752" y="15894079"/>
                  </a:lnTo>
                  <a:lnTo>
                    <a:pt x="2511221" y="15908375"/>
                  </a:lnTo>
                  <a:lnTo>
                    <a:pt x="2506456" y="15922671"/>
                  </a:lnTo>
                  <a:lnTo>
                    <a:pt x="2511221" y="15932199"/>
                  </a:lnTo>
                  <a:lnTo>
                    <a:pt x="2511221" y="15946495"/>
                  </a:lnTo>
                  <a:lnTo>
                    <a:pt x="2501691" y="15965555"/>
                  </a:lnTo>
                  <a:lnTo>
                    <a:pt x="2492161" y="15984615"/>
                  </a:lnTo>
                  <a:lnTo>
                    <a:pt x="2468335" y="15994147"/>
                  </a:lnTo>
                  <a:lnTo>
                    <a:pt x="2425449" y="15989383"/>
                  </a:lnTo>
                  <a:lnTo>
                    <a:pt x="2420684" y="15984615"/>
                  </a:lnTo>
                  <a:lnTo>
                    <a:pt x="2420684" y="15979851"/>
                  </a:lnTo>
                  <a:lnTo>
                    <a:pt x="2415919" y="15951259"/>
                  </a:lnTo>
                  <a:lnTo>
                    <a:pt x="2406388" y="15970319"/>
                  </a:lnTo>
                  <a:lnTo>
                    <a:pt x="2406388" y="15989383"/>
                  </a:lnTo>
                  <a:lnTo>
                    <a:pt x="2401623" y="15994147"/>
                  </a:lnTo>
                  <a:lnTo>
                    <a:pt x="2392093" y="15994147"/>
                  </a:lnTo>
                  <a:lnTo>
                    <a:pt x="2382563" y="15994147"/>
                  </a:lnTo>
                  <a:lnTo>
                    <a:pt x="2377798" y="15984615"/>
                  </a:lnTo>
                  <a:lnTo>
                    <a:pt x="2368267" y="15984615"/>
                  </a:lnTo>
                  <a:lnTo>
                    <a:pt x="2349207" y="15989383"/>
                  </a:lnTo>
                  <a:lnTo>
                    <a:pt x="2339676" y="15989383"/>
                  </a:lnTo>
                  <a:lnTo>
                    <a:pt x="2330146" y="15989383"/>
                  </a:lnTo>
                  <a:lnTo>
                    <a:pt x="2306321" y="15979851"/>
                  </a:lnTo>
                  <a:lnTo>
                    <a:pt x="2282495" y="15979851"/>
                  </a:lnTo>
                  <a:lnTo>
                    <a:pt x="2272965" y="15975087"/>
                  </a:lnTo>
                  <a:lnTo>
                    <a:pt x="2272965" y="15965555"/>
                  </a:lnTo>
                  <a:lnTo>
                    <a:pt x="2277730" y="15960791"/>
                  </a:lnTo>
                  <a:lnTo>
                    <a:pt x="2306321" y="15956027"/>
                  </a:lnTo>
                  <a:lnTo>
                    <a:pt x="2334912" y="15946495"/>
                  </a:lnTo>
                  <a:lnTo>
                    <a:pt x="2358737" y="15941731"/>
                  </a:lnTo>
                  <a:lnTo>
                    <a:pt x="2358737" y="15936963"/>
                  </a:lnTo>
                  <a:lnTo>
                    <a:pt x="2349207" y="15936963"/>
                  </a:lnTo>
                  <a:lnTo>
                    <a:pt x="2287260" y="15946495"/>
                  </a:lnTo>
                  <a:lnTo>
                    <a:pt x="2268200" y="15946495"/>
                  </a:lnTo>
                  <a:lnTo>
                    <a:pt x="2263434" y="15941731"/>
                  </a:lnTo>
                  <a:lnTo>
                    <a:pt x="2263434" y="15932199"/>
                  </a:lnTo>
                  <a:lnTo>
                    <a:pt x="2268200" y="15922671"/>
                  </a:lnTo>
                  <a:lnTo>
                    <a:pt x="2282495" y="15913139"/>
                  </a:lnTo>
                  <a:lnTo>
                    <a:pt x="2287260" y="15903607"/>
                  </a:lnTo>
                  <a:lnTo>
                    <a:pt x="2277730" y="15898843"/>
                  </a:lnTo>
                  <a:lnTo>
                    <a:pt x="2268200" y="15903607"/>
                  </a:lnTo>
                  <a:lnTo>
                    <a:pt x="2263434" y="15898843"/>
                  </a:lnTo>
                  <a:lnTo>
                    <a:pt x="2268200" y="15875019"/>
                  </a:lnTo>
                  <a:lnTo>
                    <a:pt x="2263434" y="15851191"/>
                  </a:lnTo>
                  <a:lnTo>
                    <a:pt x="2258670" y="15870255"/>
                  </a:lnTo>
                  <a:lnTo>
                    <a:pt x="2244374" y="15884547"/>
                  </a:lnTo>
                  <a:lnTo>
                    <a:pt x="2191958" y="15889315"/>
                  </a:lnTo>
                  <a:lnTo>
                    <a:pt x="2187192" y="15898843"/>
                  </a:lnTo>
                  <a:lnTo>
                    <a:pt x="2177662" y="15898843"/>
                  </a:lnTo>
                  <a:lnTo>
                    <a:pt x="2144306" y="15884547"/>
                  </a:lnTo>
                  <a:lnTo>
                    <a:pt x="2130011" y="15875019"/>
                  </a:lnTo>
                  <a:lnTo>
                    <a:pt x="2120481" y="15865487"/>
                  </a:lnTo>
                  <a:lnTo>
                    <a:pt x="2096655" y="15841663"/>
                  </a:lnTo>
                  <a:lnTo>
                    <a:pt x="2077595" y="15827367"/>
                  </a:lnTo>
                  <a:lnTo>
                    <a:pt x="2077595" y="15798775"/>
                  </a:lnTo>
                  <a:lnTo>
                    <a:pt x="2077595" y="15779715"/>
                  </a:lnTo>
                  <a:lnTo>
                    <a:pt x="2087125" y="15755891"/>
                  </a:lnTo>
                  <a:lnTo>
                    <a:pt x="2120481" y="15713003"/>
                  </a:lnTo>
                  <a:lnTo>
                    <a:pt x="2134776" y="15703475"/>
                  </a:lnTo>
                  <a:lnTo>
                    <a:pt x="2144306" y="15698707"/>
                  </a:lnTo>
                  <a:lnTo>
                    <a:pt x="2191958" y="15693943"/>
                  </a:lnTo>
                  <a:lnTo>
                    <a:pt x="2230079" y="15689179"/>
                  </a:lnTo>
                  <a:lnTo>
                    <a:pt x="2234844" y="15689179"/>
                  </a:lnTo>
                  <a:lnTo>
                    <a:pt x="2182428" y="15684415"/>
                  </a:lnTo>
                  <a:lnTo>
                    <a:pt x="2134776" y="15689179"/>
                  </a:lnTo>
                  <a:lnTo>
                    <a:pt x="2120481" y="15693943"/>
                  </a:lnTo>
                  <a:lnTo>
                    <a:pt x="2096655" y="15722535"/>
                  </a:lnTo>
                  <a:lnTo>
                    <a:pt x="2091890" y="15736831"/>
                  </a:lnTo>
                  <a:lnTo>
                    <a:pt x="2087125" y="15746359"/>
                  </a:lnTo>
                  <a:lnTo>
                    <a:pt x="2082360" y="15746359"/>
                  </a:lnTo>
                  <a:lnTo>
                    <a:pt x="2077595" y="15741595"/>
                  </a:lnTo>
                  <a:lnTo>
                    <a:pt x="2072830" y="15736831"/>
                  </a:lnTo>
                  <a:lnTo>
                    <a:pt x="2072830" y="15727299"/>
                  </a:lnTo>
                  <a:lnTo>
                    <a:pt x="2058534" y="15713003"/>
                  </a:lnTo>
                  <a:lnTo>
                    <a:pt x="2053769" y="15693943"/>
                  </a:lnTo>
                  <a:lnTo>
                    <a:pt x="2053769" y="15670119"/>
                  </a:lnTo>
                  <a:lnTo>
                    <a:pt x="2053769" y="15655823"/>
                  </a:lnTo>
                  <a:lnTo>
                    <a:pt x="2058534" y="15641527"/>
                  </a:lnTo>
                  <a:lnTo>
                    <a:pt x="2072830" y="15612935"/>
                  </a:lnTo>
                  <a:lnTo>
                    <a:pt x="2053769" y="15612935"/>
                  </a:lnTo>
                  <a:lnTo>
                    <a:pt x="2053769" y="15589111"/>
                  </a:lnTo>
                  <a:lnTo>
                    <a:pt x="2063299" y="15565283"/>
                  </a:lnTo>
                  <a:lnTo>
                    <a:pt x="2082360" y="15546223"/>
                  </a:lnTo>
                  <a:lnTo>
                    <a:pt x="2101420" y="15536695"/>
                  </a:lnTo>
                  <a:lnTo>
                    <a:pt x="2120481" y="15522399"/>
                  </a:lnTo>
                  <a:lnTo>
                    <a:pt x="2149072" y="15512867"/>
                  </a:lnTo>
                  <a:lnTo>
                    <a:pt x="2158602" y="15531931"/>
                  </a:lnTo>
                  <a:lnTo>
                    <a:pt x="2187192" y="15536695"/>
                  </a:lnTo>
                  <a:lnTo>
                    <a:pt x="2191958" y="15546223"/>
                  </a:lnTo>
                  <a:lnTo>
                    <a:pt x="2201488" y="15565283"/>
                  </a:lnTo>
                  <a:lnTo>
                    <a:pt x="2215783" y="15579579"/>
                  </a:lnTo>
                  <a:lnTo>
                    <a:pt x="2227697" y="15591495"/>
                  </a:lnTo>
                  <a:lnTo>
                    <a:pt x="2230079" y="15598639"/>
                  </a:lnTo>
                  <a:lnTo>
                    <a:pt x="2230079" y="15593875"/>
                  </a:lnTo>
                  <a:lnTo>
                    <a:pt x="2227697" y="15591495"/>
                  </a:lnTo>
                  <a:lnTo>
                    <a:pt x="2225314" y="15584347"/>
                  </a:lnTo>
                  <a:lnTo>
                    <a:pt x="2206253" y="15555755"/>
                  </a:lnTo>
                  <a:lnTo>
                    <a:pt x="2201488" y="15546223"/>
                  </a:lnTo>
                  <a:lnTo>
                    <a:pt x="2196723" y="15531931"/>
                  </a:lnTo>
                  <a:lnTo>
                    <a:pt x="2168132" y="15517635"/>
                  </a:lnTo>
                  <a:lnTo>
                    <a:pt x="2163367" y="15512867"/>
                  </a:lnTo>
                  <a:lnTo>
                    <a:pt x="2158602" y="15493807"/>
                  </a:lnTo>
                  <a:lnTo>
                    <a:pt x="2153836" y="15484279"/>
                  </a:lnTo>
                  <a:lnTo>
                    <a:pt x="2158602" y="15474747"/>
                  </a:lnTo>
                  <a:lnTo>
                    <a:pt x="2187192" y="15446155"/>
                  </a:lnTo>
                  <a:lnTo>
                    <a:pt x="2196723" y="15427095"/>
                  </a:lnTo>
                  <a:lnTo>
                    <a:pt x="2196723" y="15422331"/>
                  </a:lnTo>
                  <a:lnTo>
                    <a:pt x="2191958" y="15412799"/>
                  </a:lnTo>
                  <a:lnTo>
                    <a:pt x="2187192" y="15398507"/>
                  </a:lnTo>
                  <a:lnTo>
                    <a:pt x="2187192" y="15417567"/>
                  </a:lnTo>
                  <a:lnTo>
                    <a:pt x="2187192" y="15427095"/>
                  </a:lnTo>
                  <a:lnTo>
                    <a:pt x="2182428" y="15436627"/>
                  </a:lnTo>
                  <a:lnTo>
                    <a:pt x="2177662" y="15446155"/>
                  </a:lnTo>
                  <a:lnTo>
                    <a:pt x="2172897" y="15450923"/>
                  </a:lnTo>
                  <a:lnTo>
                    <a:pt x="2106185" y="15522399"/>
                  </a:lnTo>
                  <a:lnTo>
                    <a:pt x="2101420" y="15527163"/>
                  </a:lnTo>
                  <a:lnTo>
                    <a:pt x="2077595" y="15531931"/>
                  </a:lnTo>
                  <a:lnTo>
                    <a:pt x="2063299" y="15536695"/>
                  </a:lnTo>
                  <a:lnTo>
                    <a:pt x="2058534" y="15550991"/>
                  </a:lnTo>
                  <a:lnTo>
                    <a:pt x="2049004" y="15574815"/>
                  </a:lnTo>
                  <a:lnTo>
                    <a:pt x="2034708" y="15627231"/>
                  </a:lnTo>
                  <a:lnTo>
                    <a:pt x="2015648" y="15665351"/>
                  </a:lnTo>
                  <a:lnTo>
                    <a:pt x="2001352" y="15612935"/>
                  </a:lnTo>
                  <a:lnTo>
                    <a:pt x="1977527" y="15570051"/>
                  </a:lnTo>
                  <a:lnTo>
                    <a:pt x="2025178" y="15531931"/>
                  </a:lnTo>
                  <a:lnTo>
                    <a:pt x="2025178" y="15527163"/>
                  </a:lnTo>
                  <a:lnTo>
                    <a:pt x="2020413" y="15503339"/>
                  </a:lnTo>
                  <a:lnTo>
                    <a:pt x="2025178" y="15498575"/>
                  </a:lnTo>
                  <a:lnTo>
                    <a:pt x="2029943" y="15489043"/>
                  </a:lnTo>
                  <a:lnTo>
                    <a:pt x="2039474" y="15474747"/>
                  </a:lnTo>
                  <a:lnTo>
                    <a:pt x="2039474" y="15469983"/>
                  </a:lnTo>
                  <a:lnTo>
                    <a:pt x="2025178" y="15474747"/>
                  </a:lnTo>
                  <a:lnTo>
                    <a:pt x="2001352" y="15508103"/>
                  </a:lnTo>
                  <a:lnTo>
                    <a:pt x="1991822" y="15517635"/>
                  </a:lnTo>
                  <a:lnTo>
                    <a:pt x="1987057" y="15517635"/>
                  </a:lnTo>
                  <a:lnTo>
                    <a:pt x="1987057" y="15503339"/>
                  </a:lnTo>
                  <a:lnTo>
                    <a:pt x="2001352" y="15455687"/>
                  </a:lnTo>
                  <a:lnTo>
                    <a:pt x="2010883" y="15408035"/>
                  </a:lnTo>
                  <a:lnTo>
                    <a:pt x="2015648" y="15393739"/>
                  </a:lnTo>
                  <a:lnTo>
                    <a:pt x="2025178" y="15379447"/>
                  </a:lnTo>
                  <a:lnTo>
                    <a:pt x="2015648" y="15379447"/>
                  </a:lnTo>
                  <a:lnTo>
                    <a:pt x="1972762" y="15403271"/>
                  </a:lnTo>
                  <a:lnTo>
                    <a:pt x="1963232" y="15388975"/>
                  </a:lnTo>
                  <a:lnTo>
                    <a:pt x="1948936" y="15317499"/>
                  </a:lnTo>
                  <a:lnTo>
                    <a:pt x="1929876" y="15293671"/>
                  </a:lnTo>
                  <a:lnTo>
                    <a:pt x="1896520" y="15269847"/>
                  </a:lnTo>
                  <a:lnTo>
                    <a:pt x="1863164" y="15260315"/>
                  </a:lnTo>
                  <a:lnTo>
                    <a:pt x="1853634" y="15241255"/>
                  </a:lnTo>
                  <a:lnTo>
                    <a:pt x="1848868" y="15217431"/>
                  </a:lnTo>
                  <a:lnTo>
                    <a:pt x="1858399" y="15188839"/>
                  </a:lnTo>
                  <a:lnTo>
                    <a:pt x="1872694" y="15174543"/>
                  </a:lnTo>
                  <a:lnTo>
                    <a:pt x="1886990" y="15169779"/>
                  </a:lnTo>
                  <a:lnTo>
                    <a:pt x="1896520" y="15169779"/>
                  </a:lnTo>
                  <a:lnTo>
                    <a:pt x="1896520" y="15184075"/>
                  </a:lnTo>
                  <a:lnTo>
                    <a:pt x="1891755" y="15207899"/>
                  </a:lnTo>
                  <a:lnTo>
                    <a:pt x="1901285" y="15212667"/>
                  </a:lnTo>
                  <a:lnTo>
                    <a:pt x="1948936" y="15246023"/>
                  </a:lnTo>
                  <a:lnTo>
                    <a:pt x="1958466" y="15250787"/>
                  </a:lnTo>
                  <a:lnTo>
                    <a:pt x="1977527" y="15236491"/>
                  </a:lnTo>
                  <a:lnTo>
                    <a:pt x="1987057" y="15236491"/>
                  </a:lnTo>
                  <a:lnTo>
                    <a:pt x="2010883" y="15246023"/>
                  </a:lnTo>
                  <a:lnTo>
                    <a:pt x="2020413" y="15260315"/>
                  </a:lnTo>
                  <a:lnTo>
                    <a:pt x="2044239" y="15284143"/>
                  </a:lnTo>
                  <a:lnTo>
                    <a:pt x="2039474" y="15269847"/>
                  </a:lnTo>
                  <a:lnTo>
                    <a:pt x="2015648" y="15241255"/>
                  </a:lnTo>
                  <a:lnTo>
                    <a:pt x="2001352" y="15231727"/>
                  </a:lnTo>
                  <a:lnTo>
                    <a:pt x="1972762" y="15226959"/>
                  </a:lnTo>
                  <a:lnTo>
                    <a:pt x="1958466" y="15231727"/>
                  </a:lnTo>
                  <a:lnTo>
                    <a:pt x="1953701" y="15231727"/>
                  </a:lnTo>
                  <a:lnTo>
                    <a:pt x="1939406" y="15222195"/>
                  </a:lnTo>
                  <a:lnTo>
                    <a:pt x="1925110" y="15212667"/>
                  </a:lnTo>
                  <a:lnTo>
                    <a:pt x="1915580" y="15184075"/>
                  </a:lnTo>
                  <a:lnTo>
                    <a:pt x="1910815" y="15169779"/>
                  </a:lnTo>
                  <a:lnTo>
                    <a:pt x="1910815" y="15160251"/>
                  </a:lnTo>
                  <a:lnTo>
                    <a:pt x="1915580" y="15150719"/>
                  </a:lnTo>
                  <a:lnTo>
                    <a:pt x="1920345" y="15145955"/>
                  </a:lnTo>
                  <a:lnTo>
                    <a:pt x="1929876" y="15136423"/>
                  </a:lnTo>
                  <a:lnTo>
                    <a:pt x="1944171" y="15136423"/>
                  </a:lnTo>
                  <a:lnTo>
                    <a:pt x="1948936" y="15131659"/>
                  </a:lnTo>
                  <a:lnTo>
                    <a:pt x="1929876" y="15117363"/>
                  </a:lnTo>
                  <a:lnTo>
                    <a:pt x="1920345" y="15117363"/>
                  </a:lnTo>
                  <a:lnTo>
                    <a:pt x="1891755" y="15136423"/>
                  </a:lnTo>
                  <a:lnTo>
                    <a:pt x="1886990" y="15141187"/>
                  </a:lnTo>
                  <a:lnTo>
                    <a:pt x="1882224" y="15136423"/>
                  </a:lnTo>
                  <a:lnTo>
                    <a:pt x="1872694" y="15145955"/>
                  </a:lnTo>
                  <a:lnTo>
                    <a:pt x="1867929" y="15150719"/>
                  </a:lnTo>
                  <a:lnTo>
                    <a:pt x="1844103" y="15188839"/>
                  </a:lnTo>
                  <a:lnTo>
                    <a:pt x="1839338" y="15203135"/>
                  </a:lnTo>
                  <a:lnTo>
                    <a:pt x="1839338" y="15231727"/>
                  </a:lnTo>
                  <a:lnTo>
                    <a:pt x="1834573" y="15246023"/>
                  </a:lnTo>
                  <a:lnTo>
                    <a:pt x="1829808" y="15255551"/>
                  </a:lnTo>
                  <a:lnTo>
                    <a:pt x="1801217" y="15265083"/>
                  </a:lnTo>
                  <a:lnTo>
                    <a:pt x="1786922" y="15288907"/>
                  </a:lnTo>
                  <a:lnTo>
                    <a:pt x="1767862" y="15269847"/>
                  </a:lnTo>
                  <a:lnTo>
                    <a:pt x="1748801" y="15246023"/>
                  </a:lnTo>
                  <a:lnTo>
                    <a:pt x="1734506" y="15212667"/>
                  </a:lnTo>
                  <a:lnTo>
                    <a:pt x="1705916" y="15207899"/>
                  </a:lnTo>
                  <a:lnTo>
                    <a:pt x="1677325" y="15184075"/>
                  </a:lnTo>
                  <a:lnTo>
                    <a:pt x="1667795" y="15165015"/>
                  </a:lnTo>
                  <a:lnTo>
                    <a:pt x="1682090" y="15126895"/>
                  </a:lnTo>
                  <a:lnTo>
                    <a:pt x="1705916" y="15098303"/>
                  </a:lnTo>
                  <a:lnTo>
                    <a:pt x="1710680" y="15064947"/>
                  </a:lnTo>
                  <a:lnTo>
                    <a:pt x="1710680" y="15060183"/>
                  </a:lnTo>
                  <a:lnTo>
                    <a:pt x="1753567" y="15050651"/>
                  </a:lnTo>
                  <a:lnTo>
                    <a:pt x="1777395" y="15031591"/>
                  </a:lnTo>
                  <a:lnTo>
                    <a:pt x="1753567" y="15031591"/>
                  </a:lnTo>
                  <a:lnTo>
                    <a:pt x="1734506" y="15031591"/>
                  </a:lnTo>
                  <a:lnTo>
                    <a:pt x="1705916" y="15045887"/>
                  </a:lnTo>
                  <a:lnTo>
                    <a:pt x="1672562" y="15022059"/>
                  </a:lnTo>
                  <a:lnTo>
                    <a:pt x="1658263" y="14998235"/>
                  </a:lnTo>
                  <a:lnTo>
                    <a:pt x="1653500" y="14979175"/>
                  </a:lnTo>
                  <a:lnTo>
                    <a:pt x="1658263" y="14964879"/>
                  </a:lnTo>
                  <a:lnTo>
                    <a:pt x="1658263" y="14950583"/>
                  </a:lnTo>
                  <a:lnTo>
                    <a:pt x="1663030" y="14926759"/>
                  </a:lnTo>
                  <a:lnTo>
                    <a:pt x="1663030" y="14917227"/>
                  </a:lnTo>
                  <a:lnTo>
                    <a:pt x="1672562" y="14907699"/>
                  </a:lnTo>
                  <a:lnTo>
                    <a:pt x="1686857" y="14898167"/>
                  </a:lnTo>
                  <a:lnTo>
                    <a:pt x="1696385" y="14874340"/>
                  </a:lnTo>
                  <a:lnTo>
                    <a:pt x="1701152" y="14855280"/>
                  </a:lnTo>
                  <a:lnTo>
                    <a:pt x="1724975" y="14802863"/>
                  </a:lnTo>
                  <a:lnTo>
                    <a:pt x="1734506" y="14779038"/>
                  </a:lnTo>
                  <a:lnTo>
                    <a:pt x="1753567" y="14745682"/>
                  </a:lnTo>
                  <a:lnTo>
                    <a:pt x="1786922" y="14698030"/>
                  </a:lnTo>
                  <a:lnTo>
                    <a:pt x="1777395" y="14698030"/>
                  </a:lnTo>
                  <a:lnTo>
                    <a:pt x="1772627" y="14707560"/>
                  </a:lnTo>
                  <a:lnTo>
                    <a:pt x="1767862" y="14702796"/>
                  </a:lnTo>
                  <a:lnTo>
                    <a:pt x="1763096" y="14698030"/>
                  </a:lnTo>
                  <a:lnTo>
                    <a:pt x="1758332" y="14688500"/>
                  </a:lnTo>
                  <a:lnTo>
                    <a:pt x="1753567" y="14669440"/>
                  </a:lnTo>
                  <a:lnTo>
                    <a:pt x="1748801" y="14678970"/>
                  </a:lnTo>
                  <a:lnTo>
                    <a:pt x="1748801" y="14712326"/>
                  </a:lnTo>
                  <a:lnTo>
                    <a:pt x="1744037" y="14736151"/>
                  </a:lnTo>
                  <a:lnTo>
                    <a:pt x="1739272" y="14755212"/>
                  </a:lnTo>
                  <a:lnTo>
                    <a:pt x="1720211" y="14793332"/>
                  </a:lnTo>
                  <a:lnTo>
                    <a:pt x="1710680" y="14807628"/>
                  </a:lnTo>
                  <a:lnTo>
                    <a:pt x="1705916" y="14793332"/>
                  </a:lnTo>
                  <a:lnTo>
                    <a:pt x="1710680" y="14769507"/>
                  </a:lnTo>
                  <a:lnTo>
                    <a:pt x="1720211" y="14750446"/>
                  </a:lnTo>
                  <a:lnTo>
                    <a:pt x="1720211" y="14726621"/>
                  </a:lnTo>
                  <a:lnTo>
                    <a:pt x="1710680" y="14693265"/>
                  </a:lnTo>
                  <a:lnTo>
                    <a:pt x="1705916" y="14669440"/>
                  </a:lnTo>
                  <a:lnTo>
                    <a:pt x="1705916" y="14650379"/>
                  </a:lnTo>
                  <a:lnTo>
                    <a:pt x="1705916" y="14631318"/>
                  </a:lnTo>
                  <a:lnTo>
                    <a:pt x="1705916" y="14617023"/>
                  </a:lnTo>
                  <a:lnTo>
                    <a:pt x="1710680" y="14602728"/>
                  </a:lnTo>
                  <a:lnTo>
                    <a:pt x="1715447" y="14583667"/>
                  </a:lnTo>
                  <a:lnTo>
                    <a:pt x="1715447" y="14578902"/>
                  </a:lnTo>
                  <a:lnTo>
                    <a:pt x="1715447" y="14564606"/>
                  </a:lnTo>
                  <a:lnTo>
                    <a:pt x="1715447" y="14545546"/>
                  </a:lnTo>
                  <a:lnTo>
                    <a:pt x="1710680" y="14531250"/>
                  </a:lnTo>
                  <a:lnTo>
                    <a:pt x="1705916" y="14516956"/>
                  </a:lnTo>
                  <a:lnTo>
                    <a:pt x="1686857" y="14526486"/>
                  </a:lnTo>
                  <a:lnTo>
                    <a:pt x="1653500" y="14512190"/>
                  </a:lnTo>
                  <a:lnTo>
                    <a:pt x="1643968" y="14483600"/>
                  </a:lnTo>
                  <a:lnTo>
                    <a:pt x="1620143" y="14474069"/>
                  </a:lnTo>
                  <a:lnTo>
                    <a:pt x="1601083" y="14455008"/>
                  </a:lnTo>
                  <a:lnTo>
                    <a:pt x="1572492" y="14440714"/>
                  </a:lnTo>
                  <a:lnTo>
                    <a:pt x="1548667" y="14435948"/>
                  </a:lnTo>
                  <a:lnTo>
                    <a:pt x="1529607" y="14421653"/>
                  </a:lnTo>
                  <a:lnTo>
                    <a:pt x="1510545" y="14407358"/>
                  </a:lnTo>
                  <a:lnTo>
                    <a:pt x="1491484" y="14393062"/>
                  </a:lnTo>
                  <a:lnTo>
                    <a:pt x="1472424" y="14378766"/>
                  </a:lnTo>
                  <a:lnTo>
                    <a:pt x="1462894" y="14378766"/>
                  </a:lnTo>
                  <a:lnTo>
                    <a:pt x="1434304" y="14383532"/>
                  </a:lnTo>
                  <a:lnTo>
                    <a:pt x="1434304" y="14354941"/>
                  </a:lnTo>
                  <a:lnTo>
                    <a:pt x="1424773" y="14340646"/>
                  </a:lnTo>
                  <a:lnTo>
                    <a:pt x="1429539" y="14326350"/>
                  </a:lnTo>
                  <a:lnTo>
                    <a:pt x="1410478" y="14316820"/>
                  </a:lnTo>
                  <a:lnTo>
                    <a:pt x="1391416" y="14307290"/>
                  </a:lnTo>
                  <a:lnTo>
                    <a:pt x="1396182" y="14278699"/>
                  </a:lnTo>
                  <a:lnTo>
                    <a:pt x="1400949" y="14259638"/>
                  </a:lnTo>
                  <a:lnTo>
                    <a:pt x="1381888" y="14250108"/>
                  </a:lnTo>
                  <a:lnTo>
                    <a:pt x="1353297" y="14240578"/>
                  </a:lnTo>
                  <a:lnTo>
                    <a:pt x="1362826" y="14226282"/>
                  </a:lnTo>
                  <a:lnTo>
                    <a:pt x="1372356" y="14207222"/>
                  </a:lnTo>
                  <a:lnTo>
                    <a:pt x="1358061" y="14188162"/>
                  </a:lnTo>
                  <a:lnTo>
                    <a:pt x="1339002" y="14150040"/>
                  </a:lnTo>
                  <a:lnTo>
                    <a:pt x="1319941" y="14121450"/>
                  </a:lnTo>
                  <a:lnTo>
                    <a:pt x="1300879" y="14078564"/>
                  </a:lnTo>
                  <a:lnTo>
                    <a:pt x="1281820" y="14040442"/>
                  </a:lnTo>
                  <a:lnTo>
                    <a:pt x="1262760" y="14011852"/>
                  </a:lnTo>
                  <a:lnTo>
                    <a:pt x="1248463" y="13988026"/>
                  </a:lnTo>
                  <a:lnTo>
                    <a:pt x="1234170" y="13949906"/>
                  </a:lnTo>
                  <a:lnTo>
                    <a:pt x="1205578" y="13907019"/>
                  </a:lnTo>
                  <a:lnTo>
                    <a:pt x="1186517" y="13873664"/>
                  </a:lnTo>
                  <a:lnTo>
                    <a:pt x="1186517" y="13854602"/>
                  </a:lnTo>
                  <a:lnTo>
                    <a:pt x="1167456" y="13826012"/>
                  </a:lnTo>
                  <a:lnTo>
                    <a:pt x="1143632" y="13797421"/>
                  </a:lnTo>
                  <a:lnTo>
                    <a:pt x="1124570" y="13764066"/>
                  </a:lnTo>
                  <a:lnTo>
                    <a:pt x="1100747" y="13749770"/>
                  </a:lnTo>
                  <a:lnTo>
                    <a:pt x="1086450" y="13735474"/>
                  </a:lnTo>
                  <a:lnTo>
                    <a:pt x="1057857" y="13721179"/>
                  </a:lnTo>
                  <a:lnTo>
                    <a:pt x="1048327" y="13706884"/>
                  </a:lnTo>
                  <a:lnTo>
                    <a:pt x="1043562" y="13692588"/>
                  </a:lnTo>
                  <a:lnTo>
                    <a:pt x="1038798" y="13687824"/>
                  </a:lnTo>
                  <a:lnTo>
                    <a:pt x="1034032" y="13673528"/>
                  </a:lnTo>
                  <a:lnTo>
                    <a:pt x="1029267" y="13659232"/>
                  </a:lnTo>
                  <a:lnTo>
                    <a:pt x="1024503" y="13649702"/>
                  </a:lnTo>
                  <a:lnTo>
                    <a:pt x="995913" y="13630642"/>
                  </a:lnTo>
                  <a:lnTo>
                    <a:pt x="991148" y="13616346"/>
                  </a:lnTo>
                  <a:lnTo>
                    <a:pt x="967322" y="13602051"/>
                  </a:lnTo>
                  <a:lnTo>
                    <a:pt x="953027" y="13592521"/>
                  </a:lnTo>
                  <a:lnTo>
                    <a:pt x="948263" y="13587756"/>
                  </a:lnTo>
                  <a:lnTo>
                    <a:pt x="929200" y="13540104"/>
                  </a:lnTo>
                  <a:lnTo>
                    <a:pt x="929200" y="13525809"/>
                  </a:lnTo>
                  <a:lnTo>
                    <a:pt x="933968" y="13506748"/>
                  </a:lnTo>
                  <a:lnTo>
                    <a:pt x="929200" y="13497218"/>
                  </a:lnTo>
                  <a:lnTo>
                    <a:pt x="895844" y="13463862"/>
                  </a:lnTo>
                  <a:lnTo>
                    <a:pt x="881548" y="13449567"/>
                  </a:lnTo>
                  <a:lnTo>
                    <a:pt x="862488" y="13430506"/>
                  </a:lnTo>
                  <a:lnTo>
                    <a:pt x="829133" y="13454332"/>
                  </a:lnTo>
                  <a:lnTo>
                    <a:pt x="791010" y="13473392"/>
                  </a:lnTo>
                  <a:lnTo>
                    <a:pt x="767188" y="13482923"/>
                  </a:lnTo>
                  <a:lnTo>
                    <a:pt x="733830" y="13492453"/>
                  </a:lnTo>
                  <a:lnTo>
                    <a:pt x="743360" y="13511514"/>
                  </a:lnTo>
                  <a:lnTo>
                    <a:pt x="738596" y="13530574"/>
                  </a:lnTo>
                  <a:lnTo>
                    <a:pt x="729063" y="13535340"/>
                  </a:lnTo>
                  <a:lnTo>
                    <a:pt x="710005" y="13535340"/>
                  </a:lnTo>
                  <a:lnTo>
                    <a:pt x="710005" y="13592521"/>
                  </a:lnTo>
                  <a:lnTo>
                    <a:pt x="690945" y="13630642"/>
                  </a:lnTo>
                  <a:lnTo>
                    <a:pt x="657588" y="13630642"/>
                  </a:lnTo>
                  <a:lnTo>
                    <a:pt x="633763" y="13644937"/>
                  </a:lnTo>
                  <a:lnTo>
                    <a:pt x="605172" y="13663998"/>
                  </a:lnTo>
                  <a:lnTo>
                    <a:pt x="581346" y="13678293"/>
                  </a:lnTo>
                  <a:lnTo>
                    <a:pt x="557521" y="13706884"/>
                  </a:lnTo>
                  <a:lnTo>
                    <a:pt x="543225" y="13702118"/>
                  </a:lnTo>
                  <a:lnTo>
                    <a:pt x="547988" y="13678293"/>
                  </a:lnTo>
                  <a:lnTo>
                    <a:pt x="543225" y="13640172"/>
                  </a:lnTo>
                  <a:lnTo>
                    <a:pt x="533693" y="13606816"/>
                  </a:lnTo>
                  <a:lnTo>
                    <a:pt x="519398" y="13587756"/>
                  </a:lnTo>
                  <a:lnTo>
                    <a:pt x="490808" y="13563930"/>
                  </a:lnTo>
                  <a:lnTo>
                    <a:pt x="471749" y="13540104"/>
                  </a:lnTo>
                  <a:lnTo>
                    <a:pt x="438392" y="13511514"/>
                  </a:lnTo>
                  <a:lnTo>
                    <a:pt x="419333" y="13487688"/>
                  </a:lnTo>
                  <a:lnTo>
                    <a:pt x="400271" y="13468628"/>
                  </a:lnTo>
                  <a:lnTo>
                    <a:pt x="371681" y="13435272"/>
                  </a:lnTo>
                  <a:lnTo>
                    <a:pt x="362150" y="13397150"/>
                  </a:lnTo>
                  <a:lnTo>
                    <a:pt x="333560" y="13382855"/>
                  </a:lnTo>
                  <a:lnTo>
                    <a:pt x="304967" y="13368560"/>
                  </a:lnTo>
                  <a:lnTo>
                    <a:pt x="285908" y="13339969"/>
                  </a:lnTo>
                  <a:lnTo>
                    <a:pt x="290672" y="13316144"/>
                  </a:lnTo>
                  <a:lnTo>
                    <a:pt x="300203" y="13282788"/>
                  </a:lnTo>
                  <a:lnTo>
                    <a:pt x="300203" y="13258962"/>
                  </a:lnTo>
                  <a:lnTo>
                    <a:pt x="276376" y="13263727"/>
                  </a:lnTo>
                  <a:lnTo>
                    <a:pt x="243022" y="13263727"/>
                  </a:lnTo>
                  <a:lnTo>
                    <a:pt x="209665" y="13263727"/>
                  </a:lnTo>
                  <a:lnTo>
                    <a:pt x="185839" y="13287552"/>
                  </a:lnTo>
                  <a:lnTo>
                    <a:pt x="162016" y="13311378"/>
                  </a:lnTo>
                  <a:lnTo>
                    <a:pt x="128659" y="13292318"/>
                  </a:lnTo>
                  <a:lnTo>
                    <a:pt x="85774" y="13273258"/>
                  </a:lnTo>
                  <a:lnTo>
                    <a:pt x="76241" y="13301848"/>
                  </a:lnTo>
                  <a:lnTo>
                    <a:pt x="0" y="13273258"/>
                  </a:lnTo>
                  <a:lnTo>
                    <a:pt x="0" y="9780420"/>
                  </a:lnTo>
                  <a:lnTo>
                    <a:pt x="23826" y="9789950"/>
                  </a:lnTo>
                  <a:lnTo>
                    <a:pt x="95302" y="9804245"/>
                  </a:lnTo>
                  <a:lnTo>
                    <a:pt x="162016" y="9794715"/>
                  </a:lnTo>
                  <a:lnTo>
                    <a:pt x="285908" y="9842366"/>
                  </a:lnTo>
                  <a:lnTo>
                    <a:pt x="362150" y="9932904"/>
                  </a:lnTo>
                  <a:lnTo>
                    <a:pt x="424097" y="9975790"/>
                  </a:lnTo>
                  <a:lnTo>
                    <a:pt x="447923" y="10004380"/>
                  </a:lnTo>
                  <a:lnTo>
                    <a:pt x="490808" y="10028206"/>
                  </a:lnTo>
                  <a:lnTo>
                    <a:pt x="586111" y="10085388"/>
                  </a:lnTo>
                  <a:lnTo>
                    <a:pt x="614703" y="10090153"/>
                  </a:lnTo>
                  <a:lnTo>
                    <a:pt x="671883" y="10118744"/>
                  </a:lnTo>
                  <a:lnTo>
                    <a:pt x="705240" y="10113978"/>
                  </a:lnTo>
                  <a:lnTo>
                    <a:pt x="762420" y="10118744"/>
                  </a:lnTo>
                  <a:lnTo>
                    <a:pt x="800542" y="10142569"/>
                  </a:lnTo>
                  <a:lnTo>
                    <a:pt x="881548" y="10199751"/>
                  </a:lnTo>
                  <a:lnTo>
                    <a:pt x="895844" y="10204516"/>
                  </a:lnTo>
                  <a:lnTo>
                    <a:pt x="900610" y="10199751"/>
                  </a:lnTo>
                  <a:lnTo>
                    <a:pt x="876783" y="10142569"/>
                  </a:lnTo>
                  <a:lnTo>
                    <a:pt x="872020" y="10137804"/>
                  </a:lnTo>
                  <a:lnTo>
                    <a:pt x="838663" y="10113978"/>
                  </a:lnTo>
                  <a:lnTo>
                    <a:pt x="800542" y="10104448"/>
                  </a:lnTo>
                  <a:lnTo>
                    <a:pt x="800542" y="10099683"/>
                  </a:lnTo>
                  <a:lnTo>
                    <a:pt x="791010" y="10080622"/>
                  </a:lnTo>
                  <a:lnTo>
                    <a:pt x="795778" y="10071092"/>
                  </a:lnTo>
                  <a:lnTo>
                    <a:pt x="800542" y="10066327"/>
                  </a:lnTo>
                  <a:lnTo>
                    <a:pt x="829133" y="10071092"/>
                  </a:lnTo>
                  <a:lnTo>
                    <a:pt x="848193" y="10066327"/>
                  </a:lnTo>
                  <a:lnTo>
                    <a:pt x="848193" y="10056797"/>
                  </a:lnTo>
                  <a:lnTo>
                    <a:pt x="838663" y="10056797"/>
                  </a:lnTo>
                  <a:lnTo>
                    <a:pt x="824368" y="10047267"/>
                  </a:lnTo>
                  <a:lnTo>
                    <a:pt x="805307" y="10032971"/>
                  </a:lnTo>
                  <a:lnTo>
                    <a:pt x="795778" y="10018676"/>
                  </a:lnTo>
                  <a:lnTo>
                    <a:pt x="829133" y="9932904"/>
                  </a:lnTo>
                  <a:lnTo>
                    <a:pt x="843428" y="9942434"/>
                  </a:lnTo>
                  <a:lnTo>
                    <a:pt x="862488" y="9923373"/>
                  </a:lnTo>
                  <a:lnTo>
                    <a:pt x="891080" y="9932904"/>
                  </a:lnTo>
                  <a:lnTo>
                    <a:pt x="900610" y="9928138"/>
                  </a:lnTo>
                  <a:lnTo>
                    <a:pt x="900610" y="9880487"/>
                  </a:lnTo>
                  <a:lnTo>
                    <a:pt x="905375" y="9870957"/>
                  </a:lnTo>
                  <a:lnTo>
                    <a:pt x="914905" y="9861427"/>
                  </a:lnTo>
                  <a:lnTo>
                    <a:pt x="962558" y="9856662"/>
                  </a:lnTo>
                  <a:lnTo>
                    <a:pt x="1014972" y="9861427"/>
                  </a:lnTo>
                  <a:lnTo>
                    <a:pt x="1024503" y="9856662"/>
                  </a:lnTo>
                  <a:lnTo>
                    <a:pt x="1019737" y="9828071"/>
                  </a:lnTo>
                  <a:lnTo>
                    <a:pt x="1014972" y="9818540"/>
                  </a:lnTo>
                  <a:lnTo>
                    <a:pt x="1019737" y="9789950"/>
                  </a:lnTo>
                  <a:lnTo>
                    <a:pt x="1024503" y="9775654"/>
                  </a:lnTo>
                  <a:lnTo>
                    <a:pt x="1029267" y="9766124"/>
                  </a:lnTo>
                  <a:lnTo>
                    <a:pt x="1057857" y="9775654"/>
                  </a:lnTo>
                  <a:lnTo>
                    <a:pt x="1067388" y="9785185"/>
                  </a:lnTo>
                  <a:lnTo>
                    <a:pt x="1072152" y="9809010"/>
                  </a:lnTo>
                  <a:lnTo>
                    <a:pt x="1081685" y="9823306"/>
                  </a:lnTo>
                  <a:lnTo>
                    <a:pt x="1110275" y="9837601"/>
                  </a:lnTo>
                  <a:lnTo>
                    <a:pt x="1115042" y="9847131"/>
                  </a:lnTo>
                  <a:lnTo>
                    <a:pt x="1100747" y="9880487"/>
                  </a:lnTo>
                  <a:lnTo>
                    <a:pt x="1091214" y="9899548"/>
                  </a:lnTo>
                  <a:lnTo>
                    <a:pt x="1067388" y="9947199"/>
                  </a:lnTo>
                  <a:lnTo>
                    <a:pt x="1067388" y="9956729"/>
                  </a:lnTo>
                  <a:lnTo>
                    <a:pt x="1100747" y="9937669"/>
                  </a:lnTo>
                  <a:lnTo>
                    <a:pt x="1143632" y="9909078"/>
                  </a:lnTo>
                  <a:lnTo>
                    <a:pt x="1176986" y="9890017"/>
                  </a:lnTo>
                  <a:lnTo>
                    <a:pt x="1205578" y="9890017"/>
                  </a:lnTo>
                  <a:lnTo>
                    <a:pt x="1224638" y="9880487"/>
                  </a:lnTo>
                  <a:lnTo>
                    <a:pt x="1238933" y="9861427"/>
                  </a:lnTo>
                  <a:lnTo>
                    <a:pt x="1248463" y="9847131"/>
                  </a:lnTo>
                  <a:lnTo>
                    <a:pt x="1262760" y="9789950"/>
                  </a:lnTo>
                  <a:lnTo>
                    <a:pt x="1277055" y="9780420"/>
                  </a:lnTo>
                  <a:lnTo>
                    <a:pt x="1324705" y="9785185"/>
                  </a:lnTo>
                  <a:lnTo>
                    <a:pt x="1339002" y="9785185"/>
                  </a:lnTo>
                  <a:lnTo>
                    <a:pt x="1343766" y="9780420"/>
                  </a:lnTo>
                  <a:lnTo>
                    <a:pt x="1343766" y="9770889"/>
                  </a:lnTo>
                  <a:lnTo>
                    <a:pt x="1334236" y="9761359"/>
                  </a:lnTo>
                  <a:lnTo>
                    <a:pt x="1319941" y="9761359"/>
                  </a:lnTo>
                  <a:lnTo>
                    <a:pt x="1319941" y="9756594"/>
                  </a:lnTo>
                  <a:lnTo>
                    <a:pt x="1324705" y="9747064"/>
                  </a:lnTo>
                  <a:lnTo>
                    <a:pt x="1329471" y="9742298"/>
                  </a:lnTo>
                  <a:lnTo>
                    <a:pt x="1353297" y="9737533"/>
                  </a:lnTo>
                  <a:lnTo>
                    <a:pt x="1372356" y="9756594"/>
                  </a:lnTo>
                  <a:lnTo>
                    <a:pt x="1381888" y="9756594"/>
                  </a:lnTo>
                  <a:lnTo>
                    <a:pt x="1415244" y="9737533"/>
                  </a:lnTo>
                  <a:lnTo>
                    <a:pt x="1472424" y="9675587"/>
                  </a:lnTo>
                  <a:lnTo>
                    <a:pt x="1496250" y="9661291"/>
                  </a:lnTo>
                  <a:lnTo>
                    <a:pt x="1515310" y="9656526"/>
                  </a:lnTo>
                  <a:lnTo>
                    <a:pt x="1529607" y="9666056"/>
                  </a:lnTo>
                  <a:lnTo>
                    <a:pt x="1543900" y="9666056"/>
                  </a:lnTo>
                  <a:lnTo>
                    <a:pt x="1558197" y="9632701"/>
                  </a:lnTo>
                  <a:lnTo>
                    <a:pt x="1562962" y="9613640"/>
                  </a:lnTo>
                  <a:lnTo>
                    <a:pt x="1577257" y="9599345"/>
                  </a:lnTo>
                  <a:lnTo>
                    <a:pt x="1615378" y="9565989"/>
                  </a:lnTo>
                  <a:lnTo>
                    <a:pt x="1639204" y="9556459"/>
                  </a:lnTo>
                  <a:lnTo>
                    <a:pt x="1658263" y="9565989"/>
                  </a:lnTo>
                  <a:lnTo>
                    <a:pt x="1677325" y="9580284"/>
                  </a:lnTo>
                  <a:lnTo>
                    <a:pt x="1691620" y="9585049"/>
                  </a:lnTo>
                  <a:lnTo>
                    <a:pt x="1710680" y="9580284"/>
                  </a:lnTo>
                  <a:lnTo>
                    <a:pt x="1729742" y="9580284"/>
                  </a:lnTo>
                  <a:lnTo>
                    <a:pt x="1734506" y="9575519"/>
                  </a:lnTo>
                  <a:lnTo>
                    <a:pt x="1763096" y="9532633"/>
                  </a:lnTo>
                  <a:lnTo>
                    <a:pt x="1772627" y="9532633"/>
                  </a:lnTo>
                  <a:lnTo>
                    <a:pt x="1777395" y="9546928"/>
                  </a:lnTo>
                  <a:lnTo>
                    <a:pt x="1791687" y="9575519"/>
                  </a:lnTo>
                  <a:lnTo>
                    <a:pt x="1791687" y="9589814"/>
                  </a:lnTo>
                  <a:lnTo>
                    <a:pt x="1772627" y="9623170"/>
                  </a:lnTo>
                  <a:lnTo>
                    <a:pt x="1648733" y="9723238"/>
                  </a:lnTo>
                  <a:lnTo>
                    <a:pt x="1610614" y="9766124"/>
                  </a:lnTo>
                  <a:lnTo>
                    <a:pt x="1591553" y="9780420"/>
                  </a:lnTo>
                  <a:lnTo>
                    <a:pt x="1567729" y="9789950"/>
                  </a:lnTo>
                  <a:lnTo>
                    <a:pt x="1529607" y="9799480"/>
                  </a:lnTo>
                  <a:lnTo>
                    <a:pt x="1515310" y="9804245"/>
                  </a:lnTo>
                  <a:lnTo>
                    <a:pt x="1486720" y="9813775"/>
                  </a:lnTo>
                  <a:lnTo>
                    <a:pt x="1429539" y="9828071"/>
                  </a:lnTo>
                  <a:lnTo>
                    <a:pt x="1415244" y="9832836"/>
                  </a:lnTo>
                  <a:lnTo>
                    <a:pt x="1410478" y="9842366"/>
                  </a:lnTo>
                  <a:lnTo>
                    <a:pt x="1386651" y="9894782"/>
                  </a:lnTo>
                  <a:lnTo>
                    <a:pt x="1377121" y="9909078"/>
                  </a:lnTo>
                  <a:lnTo>
                    <a:pt x="1358061" y="9932904"/>
                  </a:lnTo>
                  <a:lnTo>
                    <a:pt x="1329471" y="9947199"/>
                  </a:lnTo>
                  <a:lnTo>
                    <a:pt x="1300879" y="9956729"/>
                  </a:lnTo>
                  <a:lnTo>
                    <a:pt x="1281820" y="9980555"/>
                  </a:lnTo>
                  <a:lnTo>
                    <a:pt x="1253228" y="10023441"/>
                  </a:lnTo>
                  <a:lnTo>
                    <a:pt x="1238933" y="10056797"/>
                  </a:lnTo>
                  <a:lnTo>
                    <a:pt x="1215107" y="10085388"/>
                  </a:lnTo>
                  <a:lnTo>
                    <a:pt x="1191283" y="10118744"/>
                  </a:lnTo>
                  <a:lnTo>
                    <a:pt x="1186517" y="10137804"/>
                  </a:lnTo>
                  <a:lnTo>
                    <a:pt x="1191283" y="10161630"/>
                  </a:lnTo>
                  <a:lnTo>
                    <a:pt x="1196047" y="10171160"/>
                  </a:lnTo>
                  <a:lnTo>
                    <a:pt x="1219873" y="10180690"/>
                  </a:lnTo>
                  <a:lnTo>
                    <a:pt x="1229403" y="10180690"/>
                  </a:lnTo>
                  <a:lnTo>
                    <a:pt x="1219873" y="10166395"/>
                  </a:lnTo>
                  <a:lnTo>
                    <a:pt x="1200812" y="10147334"/>
                  </a:lnTo>
                  <a:lnTo>
                    <a:pt x="1200812" y="10142569"/>
                  </a:lnTo>
                  <a:lnTo>
                    <a:pt x="1205578" y="10137804"/>
                  </a:lnTo>
                  <a:lnTo>
                    <a:pt x="1296115" y="10152099"/>
                  </a:lnTo>
                  <a:lnTo>
                    <a:pt x="1315174" y="10137804"/>
                  </a:lnTo>
                  <a:lnTo>
                    <a:pt x="1324705" y="10123509"/>
                  </a:lnTo>
                  <a:lnTo>
                    <a:pt x="1324705" y="10118744"/>
                  </a:lnTo>
                  <a:lnTo>
                    <a:pt x="1296115" y="10113978"/>
                  </a:lnTo>
                  <a:lnTo>
                    <a:pt x="1291350" y="10104448"/>
                  </a:lnTo>
                  <a:lnTo>
                    <a:pt x="1286584" y="10080622"/>
                  </a:lnTo>
                  <a:lnTo>
                    <a:pt x="1286584" y="10061562"/>
                  </a:lnTo>
                  <a:lnTo>
                    <a:pt x="1286584" y="10052032"/>
                  </a:lnTo>
                  <a:lnTo>
                    <a:pt x="1296115" y="10032971"/>
                  </a:lnTo>
                  <a:lnTo>
                    <a:pt x="1319941" y="10009146"/>
                  </a:lnTo>
                  <a:lnTo>
                    <a:pt x="1348531" y="9994850"/>
                  </a:lnTo>
                  <a:lnTo>
                    <a:pt x="1372356" y="9980555"/>
                  </a:lnTo>
                  <a:lnTo>
                    <a:pt x="1386651" y="9966259"/>
                  </a:lnTo>
                  <a:lnTo>
                    <a:pt x="1420008" y="9942434"/>
                  </a:lnTo>
                  <a:lnTo>
                    <a:pt x="1434304" y="9923373"/>
                  </a:lnTo>
                  <a:lnTo>
                    <a:pt x="1439068" y="9904313"/>
                  </a:lnTo>
                  <a:lnTo>
                    <a:pt x="1439068" y="9899548"/>
                  </a:lnTo>
                  <a:lnTo>
                    <a:pt x="1434304" y="9894782"/>
                  </a:lnTo>
                  <a:lnTo>
                    <a:pt x="1439068" y="9880487"/>
                  </a:lnTo>
                  <a:lnTo>
                    <a:pt x="1462894" y="9866192"/>
                  </a:lnTo>
                  <a:lnTo>
                    <a:pt x="1477189" y="9866192"/>
                  </a:lnTo>
                  <a:lnTo>
                    <a:pt x="1510545" y="9875722"/>
                  </a:lnTo>
                  <a:lnTo>
                    <a:pt x="1515310" y="9885252"/>
                  </a:lnTo>
                  <a:lnTo>
                    <a:pt x="1510545" y="9909078"/>
                  </a:lnTo>
                  <a:lnTo>
                    <a:pt x="1515310" y="9909078"/>
                  </a:lnTo>
                  <a:lnTo>
                    <a:pt x="1529607" y="9880487"/>
                  </a:lnTo>
                  <a:lnTo>
                    <a:pt x="1539136" y="9870957"/>
                  </a:lnTo>
                  <a:lnTo>
                    <a:pt x="1543900" y="9866192"/>
                  </a:lnTo>
                  <a:lnTo>
                    <a:pt x="1553431" y="9870957"/>
                  </a:lnTo>
                  <a:lnTo>
                    <a:pt x="1562962" y="9880487"/>
                  </a:lnTo>
                  <a:lnTo>
                    <a:pt x="1562962" y="9909078"/>
                  </a:lnTo>
                  <a:lnTo>
                    <a:pt x="1567729" y="9956729"/>
                  </a:lnTo>
                  <a:lnTo>
                    <a:pt x="1567729" y="9975790"/>
                  </a:lnTo>
                  <a:lnTo>
                    <a:pt x="1577257" y="9942434"/>
                  </a:lnTo>
                  <a:lnTo>
                    <a:pt x="1582024" y="9928138"/>
                  </a:lnTo>
                  <a:lnTo>
                    <a:pt x="1615378" y="9856662"/>
                  </a:lnTo>
                  <a:lnTo>
                    <a:pt x="1639204" y="9818540"/>
                  </a:lnTo>
                  <a:lnTo>
                    <a:pt x="1663030" y="9780420"/>
                  </a:lnTo>
                  <a:lnTo>
                    <a:pt x="1701152" y="9751829"/>
                  </a:lnTo>
                  <a:lnTo>
                    <a:pt x="1786922" y="9704178"/>
                  </a:lnTo>
                  <a:lnTo>
                    <a:pt x="1834573" y="9689882"/>
                  </a:lnTo>
                  <a:lnTo>
                    <a:pt x="1858399" y="9675587"/>
                  </a:lnTo>
                  <a:lnTo>
                    <a:pt x="1872694" y="9666056"/>
                  </a:lnTo>
                  <a:lnTo>
                    <a:pt x="1877459" y="9651761"/>
                  </a:lnTo>
                  <a:lnTo>
                    <a:pt x="1891755" y="9637466"/>
                  </a:lnTo>
                  <a:lnTo>
                    <a:pt x="1891755" y="9642231"/>
                  </a:lnTo>
                  <a:lnTo>
                    <a:pt x="1886990" y="9670822"/>
                  </a:lnTo>
                  <a:lnTo>
                    <a:pt x="1886990" y="9680352"/>
                  </a:lnTo>
                  <a:lnTo>
                    <a:pt x="1853634" y="9699412"/>
                  </a:lnTo>
                  <a:lnTo>
                    <a:pt x="1848868" y="9713708"/>
                  </a:lnTo>
                  <a:lnTo>
                    <a:pt x="1853634" y="9737533"/>
                  </a:lnTo>
                  <a:lnTo>
                    <a:pt x="1858399" y="9751829"/>
                  </a:lnTo>
                  <a:lnTo>
                    <a:pt x="1867929" y="9761359"/>
                  </a:lnTo>
                  <a:lnTo>
                    <a:pt x="1877459" y="9751829"/>
                  </a:lnTo>
                  <a:lnTo>
                    <a:pt x="1896520" y="9737533"/>
                  </a:lnTo>
                  <a:lnTo>
                    <a:pt x="1920345" y="9708943"/>
                  </a:lnTo>
                  <a:lnTo>
                    <a:pt x="1972762" y="9642231"/>
                  </a:lnTo>
                  <a:lnTo>
                    <a:pt x="1977527" y="9627935"/>
                  </a:lnTo>
                  <a:lnTo>
                    <a:pt x="1987057" y="9575519"/>
                  </a:lnTo>
                  <a:lnTo>
                    <a:pt x="2015648" y="9551693"/>
                  </a:lnTo>
                  <a:lnTo>
                    <a:pt x="2068064" y="9523103"/>
                  </a:lnTo>
                  <a:lnTo>
                    <a:pt x="2082360" y="9504042"/>
                  </a:lnTo>
                  <a:lnTo>
                    <a:pt x="2034708" y="9489747"/>
                  </a:lnTo>
                  <a:lnTo>
                    <a:pt x="2025178" y="9480216"/>
                  </a:lnTo>
                  <a:lnTo>
                    <a:pt x="2025178" y="9470686"/>
                  </a:lnTo>
                  <a:lnTo>
                    <a:pt x="2034708" y="9456391"/>
                  </a:lnTo>
                  <a:lnTo>
                    <a:pt x="2010883" y="9442096"/>
                  </a:lnTo>
                  <a:lnTo>
                    <a:pt x="2006118" y="9432565"/>
                  </a:lnTo>
                  <a:lnTo>
                    <a:pt x="2006118" y="9399209"/>
                  </a:lnTo>
                  <a:lnTo>
                    <a:pt x="2010883" y="9380149"/>
                  </a:lnTo>
                  <a:lnTo>
                    <a:pt x="2025178" y="9361088"/>
                  </a:lnTo>
                  <a:lnTo>
                    <a:pt x="2034708" y="9356323"/>
                  </a:lnTo>
                  <a:lnTo>
                    <a:pt x="2053769" y="9370619"/>
                  </a:lnTo>
                  <a:lnTo>
                    <a:pt x="2068064" y="9384914"/>
                  </a:lnTo>
                  <a:lnTo>
                    <a:pt x="2130011" y="9451626"/>
                  </a:lnTo>
                  <a:lnTo>
                    <a:pt x="2153836" y="9484982"/>
                  </a:lnTo>
                  <a:lnTo>
                    <a:pt x="2168132" y="9513572"/>
                  </a:lnTo>
                  <a:lnTo>
                    <a:pt x="2201488" y="9594580"/>
                  </a:lnTo>
                  <a:lnTo>
                    <a:pt x="2215783" y="9642231"/>
                  </a:lnTo>
                  <a:lnTo>
                    <a:pt x="2225314" y="9689882"/>
                  </a:lnTo>
                  <a:lnTo>
                    <a:pt x="2239609" y="9723238"/>
                  </a:lnTo>
                  <a:lnTo>
                    <a:pt x="2249139" y="9747064"/>
                  </a:lnTo>
                  <a:lnTo>
                    <a:pt x="2306321" y="9828071"/>
                  </a:lnTo>
                  <a:lnTo>
                    <a:pt x="2334912" y="9861427"/>
                  </a:lnTo>
                  <a:lnTo>
                    <a:pt x="2358737" y="9885252"/>
                  </a:lnTo>
                  <a:lnTo>
                    <a:pt x="2387328" y="9904313"/>
                  </a:lnTo>
                  <a:lnTo>
                    <a:pt x="2420684" y="9913843"/>
                  </a:lnTo>
                  <a:lnTo>
                    <a:pt x="2439744" y="9913843"/>
                  </a:lnTo>
                  <a:lnTo>
                    <a:pt x="2473100" y="9880487"/>
                  </a:lnTo>
                  <a:lnTo>
                    <a:pt x="2473100" y="9856662"/>
                  </a:lnTo>
                  <a:lnTo>
                    <a:pt x="2458805" y="9818540"/>
                  </a:lnTo>
                  <a:lnTo>
                    <a:pt x="2444510" y="9789950"/>
                  </a:lnTo>
                  <a:lnTo>
                    <a:pt x="2444510" y="9775654"/>
                  </a:lnTo>
                  <a:lnTo>
                    <a:pt x="2463570" y="9747064"/>
                  </a:lnTo>
                  <a:lnTo>
                    <a:pt x="2463570" y="9732768"/>
                  </a:lnTo>
                  <a:lnTo>
                    <a:pt x="2468335" y="9699412"/>
                  </a:lnTo>
                  <a:lnTo>
                    <a:pt x="2482630" y="9708943"/>
                  </a:lnTo>
                  <a:lnTo>
                    <a:pt x="2487396" y="9704178"/>
                  </a:lnTo>
                  <a:lnTo>
                    <a:pt x="2496926" y="9694647"/>
                  </a:lnTo>
                  <a:lnTo>
                    <a:pt x="2506456" y="9670822"/>
                  </a:lnTo>
                  <a:lnTo>
                    <a:pt x="2515986" y="9651761"/>
                  </a:lnTo>
                  <a:lnTo>
                    <a:pt x="2535047" y="9637466"/>
                  </a:lnTo>
                  <a:lnTo>
                    <a:pt x="2535047" y="9627935"/>
                  </a:lnTo>
                  <a:lnTo>
                    <a:pt x="2520752" y="9623170"/>
                  </a:lnTo>
                  <a:lnTo>
                    <a:pt x="2511221" y="9623170"/>
                  </a:lnTo>
                  <a:lnTo>
                    <a:pt x="2506456" y="9618405"/>
                  </a:lnTo>
                  <a:lnTo>
                    <a:pt x="2501691" y="9608875"/>
                  </a:lnTo>
                  <a:lnTo>
                    <a:pt x="2506456" y="9604110"/>
                  </a:lnTo>
                  <a:lnTo>
                    <a:pt x="2539812" y="9585049"/>
                  </a:lnTo>
                  <a:lnTo>
                    <a:pt x="2544577" y="9570754"/>
                  </a:lnTo>
                  <a:lnTo>
                    <a:pt x="2558872" y="9556459"/>
                  </a:lnTo>
                  <a:lnTo>
                    <a:pt x="2568403" y="9551693"/>
                  </a:lnTo>
                  <a:lnTo>
                    <a:pt x="2577933" y="9556459"/>
                  </a:lnTo>
                  <a:lnTo>
                    <a:pt x="2587463" y="9570754"/>
                  </a:lnTo>
                  <a:lnTo>
                    <a:pt x="2587463" y="9594580"/>
                  </a:lnTo>
                  <a:lnTo>
                    <a:pt x="2582698" y="9632701"/>
                  </a:lnTo>
                  <a:lnTo>
                    <a:pt x="2582698" y="9661291"/>
                  </a:lnTo>
                  <a:lnTo>
                    <a:pt x="2592228" y="9728003"/>
                  </a:lnTo>
                  <a:lnTo>
                    <a:pt x="2601758" y="9742298"/>
                  </a:lnTo>
                  <a:lnTo>
                    <a:pt x="2635114" y="9766124"/>
                  </a:lnTo>
                  <a:lnTo>
                    <a:pt x="2635114" y="9780420"/>
                  </a:lnTo>
                  <a:lnTo>
                    <a:pt x="2592228" y="9851896"/>
                  </a:lnTo>
                  <a:lnTo>
                    <a:pt x="2587463" y="9870957"/>
                  </a:lnTo>
                  <a:lnTo>
                    <a:pt x="2582698" y="9880487"/>
                  </a:lnTo>
                  <a:lnTo>
                    <a:pt x="2582698" y="9894782"/>
                  </a:lnTo>
                  <a:lnTo>
                    <a:pt x="2592228" y="9904313"/>
                  </a:lnTo>
                  <a:lnTo>
                    <a:pt x="2601758" y="9909078"/>
                  </a:lnTo>
                  <a:lnTo>
                    <a:pt x="2639880" y="9909078"/>
                  </a:lnTo>
                  <a:lnTo>
                    <a:pt x="2649410" y="9904313"/>
                  </a:lnTo>
                  <a:lnTo>
                    <a:pt x="2716122" y="9904313"/>
                  </a:lnTo>
                  <a:lnTo>
                    <a:pt x="2730417" y="9899548"/>
                  </a:lnTo>
                  <a:lnTo>
                    <a:pt x="2739947" y="9885252"/>
                  </a:lnTo>
                  <a:lnTo>
                    <a:pt x="2754243" y="9851896"/>
                  </a:lnTo>
                  <a:lnTo>
                    <a:pt x="2773303" y="9842366"/>
                  </a:lnTo>
                  <a:lnTo>
                    <a:pt x="2778068" y="9828071"/>
                  </a:lnTo>
                  <a:lnTo>
                    <a:pt x="2792364" y="9789950"/>
                  </a:lnTo>
                  <a:lnTo>
                    <a:pt x="2797129" y="9742298"/>
                  </a:lnTo>
                  <a:lnTo>
                    <a:pt x="2801894" y="9723238"/>
                  </a:lnTo>
                  <a:lnTo>
                    <a:pt x="2806659" y="9708943"/>
                  </a:lnTo>
                  <a:lnTo>
                    <a:pt x="2820954" y="9704178"/>
                  </a:lnTo>
                  <a:lnTo>
                    <a:pt x="2844780" y="9708943"/>
                  </a:lnTo>
                  <a:lnTo>
                    <a:pt x="2859076" y="9704178"/>
                  </a:lnTo>
                  <a:lnTo>
                    <a:pt x="2906727" y="9708943"/>
                  </a:lnTo>
                  <a:lnTo>
                    <a:pt x="2959143" y="9708943"/>
                  </a:lnTo>
                  <a:lnTo>
                    <a:pt x="3011560" y="9713708"/>
                  </a:lnTo>
                  <a:lnTo>
                    <a:pt x="3040150" y="9723238"/>
                  </a:lnTo>
                  <a:lnTo>
                    <a:pt x="3073506" y="9742298"/>
                  </a:lnTo>
                  <a:lnTo>
                    <a:pt x="3130688" y="9775654"/>
                  </a:lnTo>
                  <a:lnTo>
                    <a:pt x="3154514" y="9794715"/>
                  </a:lnTo>
                  <a:lnTo>
                    <a:pt x="3235520" y="9885252"/>
                  </a:lnTo>
                  <a:lnTo>
                    <a:pt x="3259346" y="9904313"/>
                  </a:lnTo>
                  <a:lnTo>
                    <a:pt x="3302232" y="9918608"/>
                  </a:lnTo>
                  <a:lnTo>
                    <a:pt x="3459482" y="9956729"/>
                  </a:lnTo>
                  <a:lnTo>
                    <a:pt x="3478542" y="9966259"/>
                  </a:lnTo>
                  <a:lnTo>
                    <a:pt x="3516663" y="10004380"/>
                  </a:lnTo>
                  <a:lnTo>
                    <a:pt x="3545254" y="10028206"/>
                  </a:lnTo>
                  <a:lnTo>
                    <a:pt x="3578610" y="10052032"/>
                  </a:lnTo>
                  <a:lnTo>
                    <a:pt x="3621496" y="10071092"/>
                  </a:lnTo>
                  <a:lnTo>
                    <a:pt x="3702503" y="10099683"/>
                  </a:lnTo>
                  <a:lnTo>
                    <a:pt x="3712033" y="10104448"/>
                  </a:lnTo>
                  <a:lnTo>
                    <a:pt x="3731094" y="10109213"/>
                  </a:lnTo>
                  <a:lnTo>
                    <a:pt x="3745389" y="10104448"/>
                  </a:lnTo>
                  <a:lnTo>
                    <a:pt x="3821631" y="10123509"/>
                  </a:lnTo>
                  <a:lnTo>
                    <a:pt x="3840692" y="10118744"/>
                  </a:lnTo>
                  <a:lnTo>
                    <a:pt x="3854987" y="10123509"/>
                  </a:lnTo>
                  <a:lnTo>
                    <a:pt x="3869282" y="10137804"/>
                  </a:lnTo>
                  <a:lnTo>
                    <a:pt x="3897873" y="10137804"/>
                  </a:lnTo>
                  <a:lnTo>
                    <a:pt x="3897873" y="10133039"/>
                  </a:lnTo>
                  <a:lnTo>
                    <a:pt x="3864518" y="10090153"/>
                  </a:lnTo>
                  <a:lnTo>
                    <a:pt x="3869282" y="10080622"/>
                  </a:lnTo>
                  <a:lnTo>
                    <a:pt x="3878813" y="10080622"/>
                  </a:lnTo>
                  <a:lnTo>
                    <a:pt x="3916934" y="10090153"/>
                  </a:lnTo>
                  <a:lnTo>
                    <a:pt x="3926464" y="10075857"/>
                  </a:lnTo>
                  <a:lnTo>
                    <a:pt x="3935994" y="10075857"/>
                  </a:lnTo>
                  <a:lnTo>
                    <a:pt x="3964585" y="10080622"/>
                  </a:lnTo>
                  <a:lnTo>
                    <a:pt x="3993176" y="10094918"/>
                  </a:lnTo>
                  <a:lnTo>
                    <a:pt x="4026532" y="10118744"/>
                  </a:lnTo>
                  <a:lnTo>
                    <a:pt x="4064653" y="10133039"/>
                  </a:lnTo>
                  <a:lnTo>
                    <a:pt x="4121834" y="10180690"/>
                  </a:lnTo>
                  <a:lnTo>
                    <a:pt x="4155190" y="10218811"/>
                  </a:lnTo>
                  <a:lnTo>
                    <a:pt x="4183781" y="10261697"/>
                  </a:lnTo>
                  <a:lnTo>
                    <a:pt x="4202842" y="10295053"/>
                  </a:lnTo>
                  <a:lnTo>
                    <a:pt x="4202842" y="10314114"/>
                  </a:lnTo>
                  <a:lnTo>
                    <a:pt x="4212372" y="10323644"/>
                  </a:lnTo>
                  <a:lnTo>
                    <a:pt x="4221902" y="10323644"/>
                  </a:lnTo>
                  <a:lnTo>
                    <a:pt x="4221902" y="10328409"/>
                  </a:lnTo>
                  <a:lnTo>
                    <a:pt x="4217137" y="10366530"/>
                  </a:lnTo>
                  <a:lnTo>
                    <a:pt x="4207606" y="10376060"/>
                  </a:lnTo>
                  <a:lnTo>
                    <a:pt x="4202842" y="10385591"/>
                  </a:lnTo>
                  <a:lnTo>
                    <a:pt x="4174251" y="10390356"/>
                  </a:lnTo>
                  <a:lnTo>
                    <a:pt x="4098009" y="10380826"/>
                  </a:lnTo>
                  <a:lnTo>
                    <a:pt x="4083713" y="10414181"/>
                  </a:lnTo>
                  <a:lnTo>
                    <a:pt x="4040827" y="10442772"/>
                  </a:lnTo>
                  <a:lnTo>
                    <a:pt x="4036062" y="10452302"/>
                  </a:lnTo>
                  <a:lnTo>
                    <a:pt x="4031297" y="10461833"/>
                  </a:lnTo>
                  <a:lnTo>
                    <a:pt x="4036062" y="10485658"/>
                  </a:lnTo>
                  <a:lnTo>
                    <a:pt x="4031297" y="10495188"/>
                  </a:lnTo>
                  <a:lnTo>
                    <a:pt x="3997941" y="10528544"/>
                  </a:lnTo>
                  <a:lnTo>
                    <a:pt x="3993176" y="10538075"/>
                  </a:lnTo>
                  <a:lnTo>
                    <a:pt x="4017002" y="10547605"/>
                  </a:lnTo>
                  <a:lnTo>
                    <a:pt x="4040827" y="10571430"/>
                  </a:lnTo>
                  <a:lnTo>
                    <a:pt x="4059888" y="10576196"/>
                  </a:lnTo>
                  <a:lnTo>
                    <a:pt x="4083713" y="10571430"/>
                  </a:lnTo>
                  <a:lnTo>
                    <a:pt x="4117069" y="10580961"/>
                  </a:lnTo>
                  <a:lnTo>
                    <a:pt x="4150425" y="10600021"/>
                  </a:lnTo>
                  <a:lnTo>
                    <a:pt x="4179016" y="10604786"/>
                  </a:lnTo>
                  <a:lnTo>
                    <a:pt x="4193311" y="10604786"/>
                  </a:lnTo>
                  <a:lnTo>
                    <a:pt x="4212372" y="10609552"/>
                  </a:lnTo>
                  <a:lnTo>
                    <a:pt x="4236198" y="10619082"/>
                  </a:lnTo>
                  <a:lnTo>
                    <a:pt x="4269553" y="10619082"/>
                  </a:lnTo>
                  <a:lnTo>
                    <a:pt x="4341030" y="10619082"/>
                  </a:lnTo>
                  <a:lnTo>
                    <a:pt x="4364856" y="10623847"/>
                  </a:lnTo>
                  <a:lnTo>
                    <a:pt x="4393446" y="10628612"/>
                  </a:lnTo>
                  <a:lnTo>
                    <a:pt x="4450628" y="10628612"/>
                  </a:lnTo>
                  <a:lnTo>
                    <a:pt x="4464924" y="10623847"/>
                  </a:lnTo>
                  <a:lnTo>
                    <a:pt x="4479219" y="10609552"/>
                  </a:lnTo>
                  <a:lnTo>
                    <a:pt x="4493514" y="10604786"/>
                  </a:lnTo>
                  <a:lnTo>
                    <a:pt x="4517340" y="10604786"/>
                  </a:lnTo>
                  <a:lnTo>
                    <a:pt x="4574522" y="10595256"/>
                  </a:lnTo>
                  <a:lnTo>
                    <a:pt x="4598347" y="10595256"/>
                  </a:lnTo>
                  <a:lnTo>
                    <a:pt x="4617408" y="10590491"/>
                  </a:lnTo>
                  <a:lnTo>
                    <a:pt x="4641233" y="10571430"/>
                  </a:lnTo>
                  <a:lnTo>
                    <a:pt x="4655528" y="10571430"/>
                  </a:lnTo>
                  <a:lnTo>
                    <a:pt x="4665059" y="10580961"/>
                  </a:lnTo>
                  <a:lnTo>
                    <a:pt x="4674589" y="10585726"/>
                  </a:lnTo>
                  <a:lnTo>
                    <a:pt x="4688884" y="10580961"/>
                  </a:lnTo>
                  <a:lnTo>
                    <a:pt x="4717475" y="10566665"/>
                  </a:lnTo>
                  <a:lnTo>
                    <a:pt x="4784187" y="10514249"/>
                  </a:lnTo>
                  <a:lnTo>
                    <a:pt x="4808012" y="10514249"/>
                  </a:lnTo>
                  <a:lnTo>
                    <a:pt x="4827073" y="10499954"/>
                  </a:lnTo>
                  <a:lnTo>
                    <a:pt x="4831838" y="10499954"/>
                  </a:lnTo>
                  <a:lnTo>
                    <a:pt x="4836604" y="10504719"/>
                  </a:lnTo>
                  <a:lnTo>
                    <a:pt x="4850899" y="10542840"/>
                  </a:lnTo>
                  <a:lnTo>
                    <a:pt x="4860429" y="10547605"/>
                  </a:lnTo>
                  <a:lnTo>
                    <a:pt x="4869960" y="10552370"/>
                  </a:lnTo>
                  <a:lnTo>
                    <a:pt x="4879490" y="10571430"/>
                  </a:lnTo>
                  <a:lnTo>
                    <a:pt x="4893785" y="10600021"/>
                  </a:lnTo>
                  <a:lnTo>
                    <a:pt x="4903315" y="10604786"/>
                  </a:lnTo>
                  <a:lnTo>
                    <a:pt x="4965262" y="10609552"/>
                  </a:lnTo>
                  <a:lnTo>
                    <a:pt x="4984322" y="10614317"/>
                  </a:lnTo>
                  <a:lnTo>
                    <a:pt x="4993852" y="10623847"/>
                  </a:lnTo>
                  <a:lnTo>
                    <a:pt x="4998618" y="10647672"/>
                  </a:lnTo>
                  <a:lnTo>
                    <a:pt x="5003383" y="10690559"/>
                  </a:lnTo>
                  <a:lnTo>
                    <a:pt x="5008148" y="10704854"/>
                  </a:lnTo>
                  <a:lnTo>
                    <a:pt x="5017678" y="10728680"/>
                  </a:lnTo>
                  <a:lnTo>
                    <a:pt x="5022444" y="10733445"/>
                  </a:lnTo>
                  <a:lnTo>
                    <a:pt x="5027208" y="10728680"/>
                  </a:lnTo>
                  <a:lnTo>
                    <a:pt x="5046269" y="10666733"/>
                  </a:lnTo>
                  <a:lnTo>
                    <a:pt x="5051034" y="10657203"/>
                  </a:lnTo>
                  <a:lnTo>
                    <a:pt x="5060564" y="10661968"/>
                  </a:lnTo>
                  <a:lnTo>
                    <a:pt x="5065330" y="10666733"/>
                  </a:lnTo>
                  <a:lnTo>
                    <a:pt x="5079625" y="10709619"/>
                  </a:lnTo>
                  <a:lnTo>
                    <a:pt x="5103450" y="10742975"/>
                  </a:lnTo>
                  <a:lnTo>
                    <a:pt x="5155867" y="10800156"/>
                  </a:lnTo>
                  <a:lnTo>
                    <a:pt x="5165397" y="10823982"/>
                  </a:lnTo>
                  <a:lnTo>
                    <a:pt x="5170162" y="10838278"/>
                  </a:lnTo>
                  <a:lnTo>
                    <a:pt x="5165397" y="10852573"/>
                  </a:lnTo>
                  <a:lnTo>
                    <a:pt x="5155867" y="10866868"/>
                  </a:lnTo>
                  <a:lnTo>
                    <a:pt x="5141572" y="10876398"/>
                  </a:lnTo>
                  <a:lnTo>
                    <a:pt x="5122511" y="10881164"/>
                  </a:lnTo>
                  <a:lnTo>
                    <a:pt x="5103450" y="10881164"/>
                  </a:lnTo>
                  <a:lnTo>
                    <a:pt x="5084390" y="10866868"/>
                  </a:lnTo>
                  <a:lnTo>
                    <a:pt x="5079625" y="10866868"/>
                  </a:lnTo>
                  <a:lnTo>
                    <a:pt x="5084390" y="10876398"/>
                  </a:lnTo>
                  <a:lnTo>
                    <a:pt x="5122511" y="10928815"/>
                  </a:lnTo>
                  <a:lnTo>
                    <a:pt x="5132042" y="10947876"/>
                  </a:lnTo>
                  <a:lnTo>
                    <a:pt x="5141572" y="10957406"/>
                  </a:lnTo>
                  <a:lnTo>
                    <a:pt x="5146336" y="10966936"/>
                  </a:lnTo>
                  <a:lnTo>
                    <a:pt x="5155867" y="10976466"/>
                  </a:lnTo>
                  <a:lnTo>
                    <a:pt x="5160632" y="10990762"/>
                  </a:lnTo>
                  <a:lnTo>
                    <a:pt x="5193988" y="11028883"/>
                  </a:lnTo>
                  <a:lnTo>
                    <a:pt x="5203518" y="11047943"/>
                  </a:lnTo>
                  <a:lnTo>
                    <a:pt x="5236874" y="11105125"/>
                  </a:lnTo>
                  <a:lnTo>
                    <a:pt x="5255934" y="11128950"/>
                  </a:lnTo>
                  <a:lnTo>
                    <a:pt x="5265465" y="11138480"/>
                  </a:lnTo>
                  <a:lnTo>
                    <a:pt x="5270230" y="11143246"/>
                  </a:lnTo>
                  <a:lnTo>
                    <a:pt x="5270230" y="11128950"/>
                  </a:lnTo>
                  <a:lnTo>
                    <a:pt x="5222578" y="11057474"/>
                  </a:lnTo>
                  <a:lnTo>
                    <a:pt x="5198753" y="11009822"/>
                  </a:lnTo>
                  <a:lnTo>
                    <a:pt x="5198753" y="10995527"/>
                  </a:lnTo>
                  <a:lnTo>
                    <a:pt x="5193988" y="10976466"/>
                  </a:lnTo>
                  <a:lnTo>
                    <a:pt x="5193988" y="10919285"/>
                  </a:lnTo>
                  <a:lnTo>
                    <a:pt x="5198753" y="10909754"/>
                  </a:lnTo>
                  <a:lnTo>
                    <a:pt x="5213048" y="10900224"/>
                  </a:lnTo>
                  <a:lnTo>
                    <a:pt x="5232109" y="10928815"/>
                  </a:lnTo>
                  <a:lnTo>
                    <a:pt x="5241639" y="10933580"/>
                  </a:lnTo>
                  <a:lnTo>
                    <a:pt x="5246404" y="10933580"/>
                  </a:lnTo>
                  <a:lnTo>
                    <a:pt x="5246404" y="10924050"/>
                  </a:lnTo>
                  <a:lnTo>
                    <a:pt x="5260700" y="10933580"/>
                  </a:lnTo>
                  <a:lnTo>
                    <a:pt x="5279760" y="10952641"/>
                  </a:lnTo>
                  <a:lnTo>
                    <a:pt x="5289290" y="10952641"/>
                  </a:lnTo>
                  <a:lnTo>
                    <a:pt x="5270230" y="10914520"/>
                  </a:lnTo>
                  <a:lnTo>
                    <a:pt x="5260700" y="10895459"/>
                  </a:lnTo>
                  <a:lnTo>
                    <a:pt x="5255934" y="10881164"/>
                  </a:lnTo>
                  <a:lnTo>
                    <a:pt x="5270230" y="10862103"/>
                  </a:lnTo>
                  <a:lnTo>
                    <a:pt x="5260700" y="10852573"/>
                  </a:lnTo>
                  <a:lnTo>
                    <a:pt x="5236874" y="10823982"/>
                  </a:lnTo>
                  <a:lnTo>
                    <a:pt x="5222578" y="10795392"/>
                  </a:lnTo>
                  <a:lnTo>
                    <a:pt x="5213048" y="10747740"/>
                  </a:lnTo>
                  <a:lnTo>
                    <a:pt x="5208284" y="10728680"/>
                  </a:lnTo>
                  <a:lnTo>
                    <a:pt x="5213048" y="10714384"/>
                  </a:lnTo>
                  <a:lnTo>
                    <a:pt x="5208284" y="10695324"/>
                  </a:lnTo>
                  <a:lnTo>
                    <a:pt x="5193988" y="10666733"/>
                  </a:lnTo>
                  <a:lnTo>
                    <a:pt x="5174928" y="10642907"/>
                  </a:lnTo>
                  <a:lnTo>
                    <a:pt x="5160632" y="10619082"/>
                  </a:lnTo>
                  <a:lnTo>
                    <a:pt x="5160632" y="10604786"/>
                  </a:lnTo>
                  <a:lnTo>
                    <a:pt x="5160632" y="10571430"/>
                  </a:lnTo>
                  <a:lnTo>
                    <a:pt x="5174928" y="10557135"/>
                  </a:lnTo>
                  <a:lnTo>
                    <a:pt x="5193988" y="10533310"/>
                  </a:lnTo>
                  <a:lnTo>
                    <a:pt x="5198753" y="10514249"/>
                  </a:lnTo>
                  <a:lnTo>
                    <a:pt x="5189223" y="10490423"/>
                  </a:lnTo>
                  <a:lnTo>
                    <a:pt x="5189223" y="10480893"/>
                  </a:lnTo>
                  <a:lnTo>
                    <a:pt x="5193988" y="10480893"/>
                  </a:lnTo>
                  <a:lnTo>
                    <a:pt x="5232109" y="10471363"/>
                  </a:lnTo>
                  <a:lnTo>
                    <a:pt x="5241639" y="10476128"/>
                  </a:lnTo>
                  <a:lnTo>
                    <a:pt x="5255934" y="10471363"/>
                  </a:lnTo>
                  <a:lnTo>
                    <a:pt x="5274995" y="10457068"/>
                  </a:lnTo>
                  <a:lnTo>
                    <a:pt x="5294056" y="10452302"/>
                  </a:lnTo>
                  <a:lnTo>
                    <a:pt x="5313116" y="10452302"/>
                  </a:lnTo>
                  <a:lnTo>
                    <a:pt x="5322646" y="10447537"/>
                  </a:lnTo>
                  <a:lnTo>
                    <a:pt x="5336942" y="10442772"/>
                  </a:lnTo>
                  <a:lnTo>
                    <a:pt x="5346472" y="10433242"/>
                  </a:lnTo>
                  <a:lnTo>
                    <a:pt x="5356002" y="10409416"/>
                  </a:lnTo>
                  <a:lnTo>
                    <a:pt x="5365532" y="10404651"/>
                  </a:lnTo>
                  <a:lnTo>
                    <a:pt x="5384593" y="10409416"/>
                  </a:lnTo>
                  <a:lnTo>
                    <a:pt x="5394124" y="10414181"/>
                  </a:lnTo>
                  <a:lnTo>
                    <a:pt x="5403654" y="10409416"/>
                  </a:lnTo>
                  <a:lnTo>
                    <a:pt x="5398888" y="10376060"/>
                  </a:lnTo>
                  <a:lnTo>
                    <a:pt x="5403654" y="10361765"/>
                  </a:lnTo>
                  <a:lnTo>
                    <a:pt x="5427479" y="10333174"/>
                  </a:lnTo>
                  <a:lnTo>
                    <a:pt x="5446540" y="10333174"/>
                  </a:lnTo>
                  <a:lnTo>
                    <a:pt x="5460835" y="10323644"/>
                  </a:lnTo>
                  <a:lnTo>
                    <a:pt x="5479896" y="10309348"/>
                  </a:lnTo>
                  <a:lnTo>
                    <a:pt x="5489426" y="10295053"/>
                  </a:lnTo>
                  <a:lnTo>
                    <a:pt x="5503721" y="10271228"/>
                  </a:lnTo>
                  <a:lnTo>
                    <a:pt x="5508486" y="10247402"/>
                  </a:lnTo>
                  <a:lnTo>
                    <a:pt x="5503721" y="10237872"/>
                  </a:lnTo>
                  <a:lnTo>
                    <a:pt x="5479896" y="10228341"/>
                  </a:lnTo>
                  <a:lnTo>
                    <a:pt x="5465600" y="10233106"/>
                  </a:lnTo>
                  <a:lnTo>
                    <a:pt x="5432244" y="10252167"/>
                  </a:lnTo>
                  <a:lnTo>
                    <a:pt x="5394124" y="10275993"/>
                  </a:lnTo>
                  <a:lnTo>
                    <a:pt x="5384593" y="10299818"/>
                  </a:lnTo>
                  <a:lnTo>
                    <a:pt x="5379828" y="10333174"/>
                  </a:lnTo>
                  <a:lnTo>
                    <a:pt x="5375063" y="10347470"/>
                  </a:lnTo>
                  <a:lnTo>
                    <a:pt x="5346472" y="10333174"/>
                  </a:lnTo>
                  <a:lnTo>
                    <a:pt x="5336942" y="10333174"/>
                  </a:lnTo>
                  <a:lnTo>
                    <a:pt x="5317882" y="10337939"/>
                  </a:lnTo>
                  <a:lnTo>
                    <a:pt x="5303586" y="10352235"/>
                  </a:lnTo>
                  <a:lnTo>
                    <a:pt x="5289290" y="10366530"/>
                  </a:lnTo>
                  <a:lnTo>
                    <a:pt x="5265465" y="10371295"/>
                  </a:lnTo>
                  <a:lnTo>
                    <a:pt x="5232109" y="10361765"/>
                  </a:lnTo>
                  <a:lnTo>
                    <a:pt x="5213048" y="10357000"/>
                  </a:lnTo>
                  <a:lnTo>
                    <a:pt x="5193988" y="10376060"/>
                  </a:lnTo>
                  <a:lnTo>
                    <a:pt x="5198753" y="10390356"/>
                  </a:lnTo>
                  <a:lnTo>
                    <a:pt x="5203518" y="10409416"/>
                  </a:lnTo>
                  <a:lnTo>
                    <a:pt x="5198753" y="10423712"/>
                  </a:lnTo>
                  <a:lnTo>
                    <a:pt x="5151102" y="10428477"/>
                  </a:lnTo>
                  <a:lnTo>
                    <a:pt x="5141572" y="10423712"/>
                  </a:lnTo>
                  <a:lnTo>
                    <a:pt x="5112981" y="10433242"/>
                  </a:lnTo>
                  <a:lnTo>
                    <a:pt x="5103450" y="10433242"/>
                  </a:lnTo>
                  <a:lnTo>
                    <a:pt x="5098686" y="10423712"/>
                  </a:lnTo>
                  <a:lnTo>
                    <a:pt x="5046269" y="10380826"/>
                  </a:lnTo>
                  <a:lnTo>
                    <a:pt x="5041504" y="10371295"/>
                  </a:lnTo>
                  <a:lnTo>
                    <a:pt x="5055800" y="10337939"/>
                  </a:lnTo>
                  <a:lnTo>
                    <a:pt x="5103450" y="10242637"/>
                  </a:lnTo>
                  <a:lnTo>
                    <a:pt x="5108216" y="10237872"/>
                  </a:lnTo>
                  <a:lnTo>
                    <a:pt x="5193988" y="10218811"/>
                  </a:lnTo>
                  <a:lnTo>
                    <a:pt x="5241639" y="10204516"/>
                  </a:lnTo>
                  <a:lnTo>
                    <a:pt x="5336942" y="10152099"/>
                  </a:lnTo>
                  <a:lnTo>
                    <a:pt x="5356002" y="10147334"/>
                  </a:lnTo>
                  <a:lnTo>
                    <a:pt x="5417949" y="10113978"/>
                  </a:lnTo>
                  <a:lnTo>
                    <a:pt x="5441774" y="10104448"/>
                  </a:lnTo>
                  <a:lnTo>
                    <a:pt x="5465600" y="10109213"/>
                  </a:lnTo>
                  <a:lnTo>
                    <a:pt x="5498956" y="10128274"/>
                  </a:lnTo>
                  <a:lnTo>
                    <a:pt x="5518016" y="10142569"/>
                  </a:lnTo>
                  <a:lnTo>
                    <a:pt x="5527547" y="10161630"/>
                  </a:lnTo>
                  <a:lnTo>
                    <a:pt x="5541842" y="10190220"/>
                  </a:lnTo>
                  <a:lnTo>
                    <a:pt x="5551372" y="10252167"/>
                  </a:lnTo>
                  <a:lnTo>
                    <a:pt x="5556138" y="10304583"/>
                  </a:lnTo>
                  <a:lnTo>
                    <a:pt x="5565668" y="10323644"/>
                  </a:lnTo>
                  <a:lnTo>
                    <a:pt x="5594258" y="10357000"/>
                  </a:lnTo>
                  <a:lnTo>
                    <a:pt x="5608554" y="10371295"/>
                  </a:lnTo>
                  <a:lnTo>
                    <a:pt x="5618084" y="10376060"/>
                  </a:lnTo>
                  <a:lnTo>
                    <a:pt x="5627614" y="10366530"/>
                  </a:lnTo>
                  <a:lnTo>
                    <a:pt x="5632380" y="10366530"/>
                  </a:lnTo>
                  <a:lnTo>
                    <a:pt x="5637145" y="10390356"/>
                  </a:lnTo>
                  <a:lnTo>
                    <a:pt x="5641910" y="10395121"/>
                  </a:lnTo>
                  <a:lnTo>
                    <a:pt x="5660970" y="10390356"/>
                  </a:lnTo>
                  <a:lnTo>
                    <a:pt x="5680031" y="10399886"/>
                  </a:lnTo>
                  <a:lnTo>
                    <a:pt x="5680031" y="10404651"/>
                  </a:lnTo>
                  <a:lnTo>
                    <a:pt x="5675266" y="10433242"/>
                  </a:lnTo>
                  <a:lnTo>
                    <a:pt x="5684796" y="10442772"/>
                  </a:lnTo>
                  <a:lnTo>
                    <a:pt x="5703856" y="10471363"/>
                  </a:lnTo>
                  <a:lnTo>
                    <a:pt x="5727682" y="10480893"/>
                  </a:lnTo>
                  <a:lnTo>
                    <a:pt x="5751508" y="10480893"/>
                  </a:lnTo>
                  <a:lnTo>
                    <a:pt x="5794394" y="10480893"/>
                  </a:lnTo>
                  <a:lnTo>
                    <a:pt x="5832515" y="10466598"/>
                  </a:lnTo>
                  <a:lnTo>
                    <a:pt x="5861106" y="10447537"/>
                  </a:lnTo>
                  <a:lnTo>
                    <a:pt x="5884932" y="10471363"/>
                  </a:lnTo>
                  <a:lnTo>
                    <a:pt x="5932582" y="10519014"/>
                  </a:lnTo>
                  <a:lnTo>
                    <a:pt x="5961174" y="10557135"/>
                  </a:lnTo>
                  <a:lnTo>
                    <a:pt x="5984999" y="10571430"/>
                  </a:lnTo>
                  <a:lnTo>
                    <a:pt x="6032650" y="10595256"/>
                  </a:lnTo>
                  <a:lnTo>
                    <a:pt x="6042180" y="10604786"/>
                  </a:lnTo>
                  <a:lnTo>
                    <a:pt x="6061241" y="10604786"/>
                  </a:lnTo>
                  <a:lnTo>
                    <a:pt x="6085067" y="10600021"/>
                  </a:lnTo>
                  <a:lnTo>
                    <a:pt x="6113658" y="10600021"/>
                  </a:lnTo>
                  <a:lnTo>
                    <a:pt x="6142248" y="10614317"/>
                  </a:lnTo>
                  <a:lnTo>
                    <a:pt x="6161309" y="10623847"/>
                  </a:lnTo>
                  <a:lnTo>
                    <a:pt x="6232786" y="10595256"/>
                  </a:lnTo>
                  <a:lnTo>
                    <a:pt x="6242316" y="10590491"/>
                  </a:lnTo>
                  <a:lnTo>
                    <a:pt x="6270907" y="10580961"/>
                  </a:lnTo>
                  <a:lnTo>
                    <a:pt x="6289968" y="10576196"/>
                  </a:lnTo>
                  <a:lnTo>
                    <a:pt x="6309028" y="10576196"/>
                  </a:lnTo>
                  <a:lnTo>
                    <a:pt x="6323323" y="10571430"/>
                  </a:lnTo>
                  <a:lnTo>
                    <a:pt x="6332854" y="10561900"/>
                  </a:lnTo>
                  <a:lnTo>
                    <a:pt x="6370974" y="10561900"/>
                  </a:lnTo>
                  <a:lnTo>
                    <a:pt x="6442452" y="10571430"/>
                  </a:lnTo>
                  <a:lnTo>
                    <a:pt x="6490102" y="10585726"/>
                  </a:lnTo>
                  <a:lnTo>
                    <a:pt x="6513928" y="10600021"/>
                  </a:lnTo>
                  <a:lnTo>
                    <a:pt x="6537754" y="10609552"/>
                  </a:lnTo>
                  <a:lnTo>
                    <a:pt x="6556814" y="10609552"/>
                  </a:lnTo>
                  <a:lnTo>
                    <a:pt x="6575875" y="10609552"/>
                  </a:lnTo>
                  <a:lnTo>
                    <a:pt x="6590170" y="10600021"/>
                  </a:lnTo>
                  <a:lnTo>
                    <a:pt x="6609231" y="10585726"/>
                  </a:lnTo>
                  <a:lnTo>
                    <a:pt x="6647352" y="10580961"/>
                  </a:lnTo>
                  <a:lnTo>
                    <a:pt x="6652117" y="10576196"/>
                  </a:lnTo>
                  <a:lnTo>
                    <a:pt x="6652117" y="10566665"/>
                  </a:lnTo>
                  <a:lnTo>
                    <a:pt x="6642586" y="10557135"/>
                  </a:lnTo>
                  <a:lnTo>
                    <a:pt x="6623526" y="10533310"/>
                  </a:lnTo>
                  <a:lnTo>
                    <a:pt x="6609231" y="10509484"/>
                  </a:lnTo>
                  <a:lnTo>
                    <a:pt x="6604466" y="10495188"/>
                  </a:lnTo>
                  <a:lnTo>
                    <a:pt x="6604466" y="10476128"/>
                  </a:lnTo>
                  <a:lnTo>
                    <a:pt x="6609231" y="10466598"/>
                  </a:lnTo>
                  <a:lnTo>
                    <a:pt x="6618761" y="10466598"/>
                  </a:lnTo>
                  <a:lnTo>
                    <a:pt x="6633056" y="10476128"/>
                  </a:lnTo>
                  <a:lnTo>
                    <a:pt x="6652117" y="10499954"/>
                  </a:lnTo>
                  <a:lnTo>
                    <a:pt x="6709298" y="10590491"/>
                  </a:lnTo>
                  <a:lnTo>
                    <a:pt x="6723594" y="10604786"/>
                  </a:lnTo>
                  <a:lnTo>
                    <a:pt x="6728359" y="10614317"/>
                  </a:lnTo>
                  <a:lnTo>
                    <a:pt x="6780776" y="10647672"/>
                  </a:lnTo>
                  <a:lnTo>
                    <a:pt x="6804601" y="10652438"/>
                  </a:lnTo>
                  <a:lnTo>
                    <a:pt x="6828426" y="10633377"/>
                  </a:lnTo>
                  <a:lnTo>
                    <a:pt x="6842722" y="10619082"/>
                  </a:lnTo>
                  <a:lnTo>
                    <a:pt x="6847487" y="10609552"/>
                  </a:lnTo>
                  <a:lnTo>
                    <a:pt x="6847487" y="10595256"/>
                  </a:lnTo>
                  <a:lnTo>
                    <a:pt x="6852252" y="10580961"/>
                  </a:lnTo>
                  <a:lnTo>
                    <a:pt x="6847487" y="10571430"/>
                  </a:lnTo>
                  <a:lnTo>
                    <a:pt x="6842722" y="10557135"/>
                  </a:lnTo>
                  <a:lnTo>
                    <a:pt x="6823662" y="10538075"/>
                  </a:lnTo>
                  <a:lnTo>
                    <a:pt x="6790306" y="10509484"/>
                  </a:lnTo>
                  <a:lnTo>
                    <a:pt x="6756950" y="10504719"/>
                  </a:lnTo>
                  <a:lnTo>
                    <a:pt x="6733124" y="10514249"/>
                  </a:lnTo>
                  <a:lnTo>
                    <a:pt x="6699768" y="10533310"/>
                  </a:lnTo>
                  <a:lnTo>
                    <a:pt x="6685473" y="10528544"/>
                  </a:lnTo>
                  <a:lnTo>
                    <a:pt x="6647352" y="10466598"/>
                  </a:lnTo>
                  <a:lnTo>
                    <a:pt x="6637822" y="10447537"/>
                  </a:lnTo>
                  <a:lnTo>
                    <a:pt x="6637822" y="10442772"/>
                  </a:lnTo>
                  <a:lnTo>
                    <a:pt x="6656882" y="10447537"/>
                  </a:lnTo>
                  <a:lnTo>
                    <a:pt x="6656882" y="10442772"/>
                  </a:lnTo>
                  <a:lnTo>
                    <a:pt x="6647352" y="10409416"/>
                  </a:lnTo>
                  <a:lnTo>
                    <a:pt x="6642586" y="10399886"/>
                  </a:lnTo>
                  <a:lnTo>
                    <a:pt x="6618761" y="10357000"/>
                  </a:lnTo>
                  <a:lnTo>
                    <a:pt x="6613996" y="10342704"/>
                  </a:lnTo>
                  <a:lnTo>
                    <a:pt x="6628292" y="10337939"/>
                  </a:lnTo>
                  <a:lnTo>
                    <a:pt x="6637822" y="10333174"/>
                  </a:lnTo>
                  <a:lnTo>
                    <a:pt x="6642586" y="10333174"/>
                  </a:lnTo>
                  <a:lnTo>
                    <a:pt x="6685473" y="10361765"/>
                  </a:lnTo>
                  <a:lnTo>
                    <a:pt x="6704534" y="10352235"/>
                  </a:lnTo>
                  <a:lnTo>
                    <a:pt x="6747420" y="10333174"/>
                  </a:lnTo>
                  <a:lnTo>
                    <a:pt x="6733124" y="10304583"/>
                  </a:lnTo>
                  <a:lnTo>
                    <a:pt x="6728359" y="10280758"/>
                  </a:lnTo>
                  <a:lnTo>
                    <a:pt x="6728359" y="10275993"/>
                  </a:lnTo>
                  <a:lnTo>
                    <a:pt x="6742654" y="10271228"/>
                  </a:lnTo>
                  <a:lnTo>
                    <a:pt x="6776010" y="10290288"/>
                  </a:lnTo>
                  <a:lnTo>
                    <a:pt x="6790306" y="10295053"/>
                  </a:lnTo>
                  <a:lnTo>
                    <a:pt x="6799836" y="10285523"/>
                  </a:lnTo>
                  <a:lnTo>
                    <a:pt x="6809366" y="10285523"/>
                  </a:lnTo>
                  <a:lnTo>
                    <a:pt x="6823662" y="10295053"/>
                  </a:lnTo>
                  <a:lnTo>
                    <a:pt x="6833192" y="10304583"/>
                  </a:lnTo>
                  <a:lnTo>
                    <a:pt x="6852252" y="10337939"/>
                  </a:lnTo>
                  <a:lnTo>
                    <a:pt x="6861782" y="10357000"/>
                  </a:lnTo>
                  <a:lnTo>
                    <a:pt x="6876078" y="10385591"/>
                  </a:lnTo>
                  <a:lnTo>
                    <a:pt x="6876078" y="10390356"/>
                  </a:lnTo>
                  <a:lnTo>
                    <a:pt x="6933260" y="10390356"/>
                  </a:lnTo>
                  <a:lnTo>
                    <a:pt x="6961850" y="10366530"/>
                  </a:lnTo>
                  <a:lnTo>
                    <a:pt x="6961850" y="10376060"/>
                  </a:lnTo>
                  <a:lnTo>
                    <a:pt x="6957085" y="10395121"/>
                  </a:lnTo>
                  <a:lnTo>
                    <a:pt x="6918964" y="10471363"/>
                  </a:lnTo>
                  <a:lnTo>
                    <a:pt x="6918964" y="10480893"/>
                  </a:lnTo>
                  <a:lnTo>
                    <a:pt x="6938024" y="10476128"/>
                  </a:lnTo>
                  <a:lnTo>
                    <a:pt x="6947555" y="10471363"/>
                  </a:lnTo>
                  <a:lnTo>
                    <a:pt x="6952320" y="10461833"/>
                  </a:lnTo>
                  <a:lnTo>
                    <a:pt x="6957085" y="10438007"/>
                  </a:lnTo>
                  <a:lnTo>
                    <a:pt x="6961850" y="10433242"/>
                  </a:lnTo>
                  <a:lnTo>
                    <a:pt x="7019032" y="10395121"/>
                  </a:lnTo>
                  <a:lnTo>
                    <a:pt x="7033327" y="10390356"/>
                  </a:lnTo>
                  <a:lnTo>
                    <a:pt x="7023797" y="10428477"/>
                  </a:lnTo>
                  <a:lnTo>
                    <a:pt x="7004736" y="10566665"/>
                  </a:lnTo>
                  <a:lnTo>
                    <a:pt x="6999972" y="10614317"/>
                  </a:lnTo>
                  <a:lnTo>
                    <a:pt x="6995206" y="10628612"/>
                  </a:lnTo>
                  <a:lnTo>
                    <a:pt x="6971380" y="10681028"/>
                  </a:lnTo>
                  <a:lnTo>
                    <a:pt x="6971380" y="10700089"/>
                  </a:lnTo>
                  <a:lnTo>
                    <a:pt x="6995206" y="10742975"/>
                  </a:lnTo>
                  <a:lnTo>
                    <a:pt x="6999972" y="10752505"/>
                  </a:lnTo>
                  <a:lnTo>
                    <a:pt x="7004736" y="10785861"/>
                  </a:lnTo>
                  <a:lnTo>
                    <a:pt x="7009502" y="10795392"/>
                  </a:lnTo>
                  <a:lnTo>
                    <a:pt x="7028562" y="10795392"/>
                  </a:lnTo>
                  <a:lnTo>
                    <a:pt x="7047622" y="10785861"/>
                  </a:lnTo>
                  <a:lnTo>
                    <a:pt x="7076214" y="10776331"/>
                  </a:lnTo>
                  <a:lnTo>
                    <a:pt x="7076214" y="10785861"/>
                  </a:lnTo>
                  <a:lnTo>
                    <a:pt x="7061918" y="10823982"/>
                  </a:lnTo>
                  <a:lnTo>
                    <a:pt x="7066683" y="10828747"/>
                  </a:lnTo>
                  <a:lnTo>
                    <a:pt x="7090508" y="10819217"/>
                  </a:lnTo>
                  <a:lnTo>
                    <a:pt x="7100039" y="10819217"/>
                  </a:lnTo>
                  <a:lnTo>
                    <a:pt x="7104804" y="10819217"/>
                  </a:lnTo>
                  <a:lnTo>
                    <a:pt x="7119100" y="10843043"/>
                  </a:lnTo>
                  <a:lnTo>
                    <a:pt x="7123864" y="10857338"/>
                  </a:lnTo>
                  <a:lnTo>
                    <a:pt x="7123864" y="10881164"/>
                  </a:lnTo>
                  <a:lnTo>
                    <a:pt x="7119100" y="10900224"/>
                  </a:lnTo>
                  <a:lnTo>
                    <a:pt x="7114334" y="10909754"/>
                  </a:lnTo>
                  <a:lnTo>
                    <a:pt x="7109569" y="10909754"/>
                  </a:lnTo>
                  <a:lnTo>
                    <a:pt x="7100039" y="10914520"/>
                  </a:lnTo>
                  <a:lnTo>
                    <a:pt x="7090508" y="10914520"/>
                  </a:lnTo>
                  <a:lnTo>
                    <a:pt x="7066683" y="10919285"/>
                  </a:lnTo>
                  <a:lnTo>
                    <a:pt x="7052388" y="10914520"/>
                  </a:lnTo>
                  <a:lnTo>
                    <a:pt x="7038092" y="10900224"/>
                  </a:lnTo>
                  <a:lnTo>
                    <a:pt x="7028562" y="10895459"/>
                  </a:lnTo>
                  <a:lnTo>
                    <a:pt x="7014266" y="10904990"/>
                  </a:lnTo>
                  <a:lnTo>
                    <a:pt x="6995206" y="10904990"/>
                  </a:lnTo>
                  <a:lnTo>
                    <a:pt x="6976146" y="10876398"/>
                  </a:lnTo>
                  <a:lnTo>
                    <a:pt x="6966616" y="10876398"/>
                  </a:lnTo>
                  <a:lnTo>
                    <a:pt x="6961850" y="10881164"/>
                  </a:lnTo>
                  <a:lnTo>
                    <a:pt x="6961850" y="10890694"/>
                  </a:lnTo>
                  <a:lnTo>
                    <a:pt x="6976146" y="10909754"/>
                  </a:lnTo>
                  <a:lnTo>
                    <a:pt x="7047622" y="11005057"/>
                  </a:lnTo>
                  <a:lnTo>
                    <a:pt x="7057153" y="11028883"/>
                  </a:lnTo>
                  <a:lnTo>
                    <a:pt x="7061918" y="11057474"/>
                  </a:lnTo>
                  <a:lnTo>
                    <a:pt x="7071448" y="11024118"/>
                  </a:lnTo>
                  <a:lnTo>
                    <a:pt x="7066683" y="11014587"/>
                  </a:lnTo>
                  <a:lnTo>
                    <a:pt x="7028562" y="10957406"/>
                  </a:lnTo>
                  <a:lnTo>
                    <a:pt x="7023797" y="10933580"/>
                  </a:lnTo>
                  <a:lnTo>
                    <a:pt x="7023797" y="10928815"/>
                  </a:lnTo>
                  <a:lnTo>
                    <a:pt x="7033327" y="10924050"/>
                  </a:lnTo>
                  <a:lnTo>
                    <a:pt x="7090508" y="10938345"/>
                  </a:lnTo>
                  <a:lnTo>
                    <a:pt x="7109569" y="10933580"/>
                  </a:lnTo>
                  <a:lnTo>
                    <a:pt x="7123864" y="10924050"/>
                  </a:lnTo>
                  <a:lnTo>
                    <a:pt x="7133395" y="10909754"/>
                  </a:lnTo>
                  <a:lnTo>
                    <a:pt x="7138160" y="10843043"/>
                  </a:lnTo>
                  <a:lnTo>
                    <a:pt x="7147690" y="10800156"/>
                  </a:lnTo>
                  <a:lnTo>
                    <a:pt x="7138160" y="10757270"/>
                  </a:lnTo>
                  <a:lnTo>
                    <a:pt x="7123864" y="10695324"/>
                  </a:lnTo>
                  <a:lnTo>
                    <a:pt x="7114334" y="10657203"/>
                  </a:lnTo>
                  <a:lnTo>
                    <a:pt x="7085744" y="10619082"/>
                  </a:lnTo>
                  <a:lnTo>
                    <a:pt x="7085744" y="10604786"/>
                  </a:lnTo>
                  <a:lnTo>
                    <a:pt x="7114334" y="10485658"/>
                  </a:lnTo>
                  <a:lnTo>
                    <a:pt x="7119100" y="10476128"/>
                  </a:lnTo>
                  <a:lnTo>
                    <a:pt x="7128630" y="10471363"/>
                  </a:lnTo>
                  <a:lnTo>
                    <a:pt x="7147690" y="10471363"/>
                  </a:lnTo>
                  <a:lnTo>
                    <a:pt x="7166750" y="10461833"/>
                  </a:lnTo>
                  <a:lnTo>
                    <a:pt x="7195342" y="10476128"/>
                  </a:lnTo>
                  <a:lnTo>
                    <a:pt x="7209637" y="10480893"/>
                  </a:lnTo>
                  <a:lnTo>
                    <a:pt x="7228698" y="10466598"/>
                  </a:lnTo>
                  <a:lnTo>
                    <a:pt x="7266818" y="10414181"/>
                  </a:lnTo>
                  <a:lnTo>
                    <a:pt x="7281114" y="10399886"/>
                  </a:lnTo>
                  <a:lnTo>
                    <a:pt x="7300174" y="10371295"/>
                  </a:lnTo>
                  <a:lnTo>
                    <a:pt x="7328765" y="10328409"/>
                  </a:lnTo>
                  <a:lnTo>
                    <a:pt x="7352590" y="10295053"/>
                  </a:lnTo>
                  <a:lnTo>
                    <a:pt x="7395477" y="10266462"/>
                  </a:lnTo>
                  <a:lnTo>
                    <a:pt x="7424068" y="10242637"/>
                  </a:lnTo>
                  <a:lnTo>
                    <a:pt x="7428832" y="10233106"/>
                  </a:lnTo>
                  <a:lnTo>
                    <a:pt x="7405007" y="10233106"/>
                  </a:lnTo>
                  <a:lnTo>
                    <a:pt x="7395477" y="10228341"/>
                  </a:lnTo>
                  <a:lnTo>
                    <a:pt x="7390712" y="10204516"/>
                  </a:lnTo>
                  <a:lnTo>
                    <a:pt x="7395477" y="10161630"/>
                  </a:lnTo>
                  <a:lnTo>
                    <a:pt x="7395477" y="10137804"/>
                  </a:lnTo>
                  <a:lnTo>
                    <a:pt x="7390712" y="10118744"/>
                  </a:lnTo>
                  <a:lnTo>
                    <a:pt x="7385946" y="10099683"/>
                  </a:lnTo>
                  <a:lnTo>
                    <a:pt x="7376416" y="10080622"/>
                  </a:lnTo>
                  <a:lnTo>
                    <a:pt x="7371651" y="10071092"/>
                  </a:lnTo>
                  <a:lnTo>
                    <a:pt x="7366886" y="10071092"/>
                  </a:lnTo>
                  <a:lnTo>
                    <a:pt x="7362121" y="10071092"/>
                  </a:lnTo>
                  <a:lnTo>
                    <a:pt x="7357356" y="10075857"/>
                  </a:lnTo>
                  <a:lnTo>
                    <a:pt x="7352590" y="10118744"/>
                  </a:lnTo>
                  <a:lnTo>
                    <a:pt x="7343060" y="10147334"/>
                  </a:lnTo>
                  <a:lnTo>
                    <a:pt x="7333530" y="10161630"/>
                  </a:lnTo>
                  <a:lnTo>
                    <a:pt x="7309704" y="10171160"/>
                  </a:lnTo>
                  <a:lnTo>
                    <a:pt x="7266818" y="10180690"/>
                  </a:lnTo>
                  <a:lnTo>
                    <a:pt x="7252523" y="10166395"/>
                  </a:lnTo>
                  <a:lnTo>
                    <a:pt x="7247758" y="10156864"/>
                  </a:lnTo>
                  <a:lnTo>
                    <a:pt x="7252523" y="10109213"/>
                  </a:lnTo>
                  <a:lnTo>
                    <a:pt x="7266818" y="10090153"/>
                  </a:lnTo>
                  <a:lnTo>
                    <a:pt x="7304940" y="10047267"/>
                  </a:lnTo>
                  <a:lnTo>
                    <a:pt x="7328765" y="10013911"/>
                  </a:lnTo>
                  <a:lnTo>
                    <a:pt x="7328765" y="10009146"/>
                  </a:lnTo>
                  <a:lnTo>
                    <a:pt x="7309704" y="10009146"/>
                  </a:lnTo>
                  <a:lnTo>
                    <a:pt x="7300174" y="10004380"/>
                  </a:lnTo>
                  <a:lnTo>
                    <a:pt x="7295409" y="9961494"/>
                  </a:lnTo>
                  <a:lnTo>
                    <a:pt x="7300174" y="9947199"/>
                  </a:lnTo>
                  <a:lnTo>
                    <a:pt x="7300174" y="9932904"/>
                  </a:lnTo>
                  <a:lnTo>
                    <a:pt x="7319235" y="9918608"/>
                  </a:lnTo>
                  <a:lnTo>
                    <a:pt x="7366886" y="9904313"/>
                  </a:lnTo>
                  <a:lnTo>
                    <a:pt x="7400242" y="9885252"/>
                  </a:lnTo>
                  <a:lnTo>
                    <a:pt x="7405007" y="9894782"/>
                  </a:lnTo>
                  <a:lnTo>
                    <a:pt x="7371651" y="9947199"/>
                  </a:lnTo>
                  <a:lnTo>
                    <a:pt x="7371651" y="9956729"/>
                  </a:lnTo>
                  <a:lnTo>
                    <a:pt x="7381182" y="9971025"/>
                  </a:lnTo>
                  <a:lnTo>
                    <a:pt x="7409772" y="9937669"/>
                  </a:lnTo>
                  <a:lnTo>
                    <a:pt x="7428832" y="9913843"/>
                  </a:lnTo>
                  <a:lnTo>
                    <a:pt x="7433598" y="9904313"/>
                  </a:lnTo>
                  <a:lnTo>
                    <a:pt x="7414538" y="9899548"/>
                  </a:lnTo>
                  <a:lnTo>
                    <a:pt x="7414538" y="9890017"/>
                  </a:lnTo>
                  <a:lnTo>
                    <a:pt x="7414538" y="9870957"/>
                  </a:lnTo>
                  <a:lnTo>
                    <a:pt x="7414538" y="9856662"/>
                  </a:lnTo>
                  <a:lnTo>
                    <a:pt x="7395477" y="9842366"/>
                  </a:lnTo>
                  <a:lnTo>
                    <a:pt x="7376416" y="9851896"/>
                  </a:lnTo>
                  <a:lnTo>
                    <a:pt x="7357356" y="9866192"/>
                  </a:lnTo>
                  <a:lnTo>
                    <a:pt x="7338296" y="9870957"/>
                  </a:lnTo>
                  <a:lnTo>
                    <a:pt x="7314470" y="9870957"/>
                  </a:lnTo>
                  <a:lnTo>
                    <a:pt x="7300174" y="9870957"/>
                  </a:lnTo>
                  <a:lnTo>
                    <a:pt x="7290644" y="9861427"/>
                  </a:lnTo>
                  <a:lnTo>
                    <a:pt x="7276348" y="9842366"/>
                  </a:lnTo>
                  <a:lnTo>
                    <a:pt x="7262054" y="9813775"/>
                  </a:lnTo>
                  <a:lnTo>
                    <a:pt x="7242993" y="9780420"/>
                  </a:lnTo>
                  <a:lnTo>
                    <a:pt x="7238228" y="9780420"/>
                  </a:lnTo>
                  <a:lnTo>
                    <a:pt x="7233462" y="9780420"/>
                  </a:lnTo>
                  <a:lnTo>
                    <a:pt x="7219167" y="9809010"/>
                  </a:lnTo>
                  <a:lnTo>
                    <a:pt x="7214402" y="9813775"/>
                  </a:lnTo>
                  <a:lnTo>
                    <a:pt x="7138160" y="9775654"/>
                  </a:lnTo>
                  <a:lnTo>
                    <a:pt x="7109569" y="9751829"/>
                  </a:lnTo>
                  <a:lnTo>
                    <a:pt x="7095274" y="9732768"/>
                  </a:lnTo>
                  <a:lnTo>
                    <a:pt x="7076214" y="9723238"/>
                  </a:lnTo>
                  <a:lnTo>
                    <a:pt x="7052388" y="9723238"/>
                  </a:lnTo>
                  <a:lnTo>
                    <a:pt x="7033327" y="9713708"/>
                  </a:lnTo>
                  <a:lnTo>
                    <a:pt x="7023797" y="9699412"/>
                  </a:lnTo>
                  <a:lnTo>
                    <a:pt x="7009502" y="9680352"/>
                  </a:lnTo>
                  <a:lnTo>
                    <a:pt x="7004736" y="9656526"/>
                  </a:lnTo>
                  <a:lnTo>
                    <a:pt x="6985676" y="9627935"/>
                  </a:lnTo>
                  <a:lnTo>
                    <a:pt x="6952320" y="9565989"/>
                  </a:lnTo>
                  <a:lnTo>
                    <a:pt x="6942790" y="9527868"/>
                  </a:lnTo>
                  <a:lnTo>
                    <a:pt x="6942790" y="9513572"/>
                  </a:lnTo>
                  <a:lnTo>
                    <a:pt x="6942790" y="9470686"/>
                  </a:lnTo>
                  <a:lnTo>
                    <a:pt x="6976146" y="9403974"/>
                  </a:lnTo>
                  <a:lnTo>
                    <a:pt x="6985676" y="9384914"/>
                  </a:lnTo>
                  <a:lnTo>
                    <a:pt x="6995206" y="9370619"/>
                  </a:lnTo>
                  <a:lnTo>
                    <a:pt x="7009502" y="9361088"/>
                  </a:lnTo>
                  <a:lnTo>
                    <a:pt x="7023797" y="9361088"/>
                  </a:lnTo>
                  <a:lnTo>
                    <a:pt x="7047622" y="9370619"/>
                  </a:lnTo>
                  <a:lnTo>
                    <a:pt x="7033327" y="9346793"/>
                  </a:lnTo>
                  <a:lnTo>
                    <a:pt x="7033327" y="9337263"/>
                  </a:lnTo>
                  <a:lnTo>
                    <a:pt x="7047622" y="9299142"/>
                  </a:lnTo>
                  <a:lnTo>
                    <a:pt x="7042858" y="9299142"/>
                  </a:lnTo>
                  <a:lnTo>
                    <a:pt x="6999972" y="9327732"/>
                  </a:lnTo>
                  <a:lnTo>
                    <a:pt x="6990441" y="9327732"/>
                  </a:lnTo>
                  <a:lnTo>
                    <a:pt x="6976146" y="9308672"/>
                  </a:lnTo>
                  <a:lnTo>
                    <a:pt x="6942790" y="9246725"/>
                  </a:lnTo>
                  <a:lnTo>
                    <a:pt x="6942790" y="9208604"/>
                  </a:lnTo>
                  <a:lnTo>
                    <a:pt x="6952320" y="9156188"/>
                  </a:lnTo>
                  <a:lnTo>
                    <a:pt x="6957085" y="9122832"/>
                  </a:lnTo>
                  <a:lnTo>
                    <a:pt x="6947555" y="9094241"/>
                  </a:lnTo>
                  <a:lnTo>
                    <a:pt x="6952320" y="9084711"/>
                  </a:lnTo>
                  <a:lnTo>
                    <a:pt x="6961850" y="9079946"/>
                  </a:lnTo>
                  <a:lnTo>
                    <a:pt x="6961850" y="9070416"/>
                  </a:lnTo>
                  <a:lnTo>
                    <a:pt x="6961850" y="9041825"/>
                  </a:lnTo>
                  <a:lnTo>
                    <a:pt x="6966616" y="9022764"/>
                  </a:lnTo>
                  <a:lnTo>
                    <a:pt x="6985676" y="8989408"/>
                  </a:lnTo>
                  <a:lnTo>
                    <a:pt x="7009502" y="8960818"/>
                  </a:lnTo>
                  <a:lnTo>
                    <a:pt x="7019032" y="8956053"/>
                  </a:lnTo>
                  <a:lnTo>
                    <a:pt x="7033327" y="8956053"/>
                  </a:lnTo>
                  <a:lnTo>
                    <a:pt x="7042858" y="8965583"/>
                  </a:lnTo>
                  <a:lnTo>
                    <a:pt x="7052388" y="8979878"/>
                  </a:lnTo>
                  <a:lnTo>
                    <a:pt x="7071448" y="8998939"/>
                  </a:lnTo>
                  <a:lnTo>
                    <a:pt x="7085744" y="8998939"/>
                  </a:lnTo>
                  <a:lnTo>
                    <a:pt x="7100039" y="8994174"/>
                  </a:lnTo>
                  <a:lnTo>
                    <a:pt x="7114334" y="8932227"/>
                  </a:lnTo>
                  <a:lnTo>
                    <a:pt x="7123864" y="8917932"/>
                  </a:lnTo>
                  <a:lnTo>
                    <a:pt x="7114334" y="8908401"/>
                  </a:lnTo>
                  <a:lnTo>
                    <a:pt x="7080978" y="8908401"/>
                  </a:lnTo>
                  <a:lnTo>
                    <a:pt x="7066683" y="8903636"/>
                  </a:lnTo>
                  <a:lnTo>
                    <a:pt x="7057153" y="8898871"/>
                  </a:lnTo>
                  <a:lnTo>
                    <a:pt x="7052388" y="8875045"/>
                  </a:lnTo>
                  <a:lnTo>
                    <a:pt x="7057153" y="8865515"/>
                  </a:lnTo>
                  <a:lnTo>
                    <a:pt x="7090508" y="8822629"/>
                  </a:lnTo>
                  <a:lnTo>
                    <a:pt x="7104804" y="8774978"/>
                  </a:lnTo>
                  <a:lnTo>
                    <a:pt x="7152456" y="8713031"/>
                  </a:lnTo>
                  <a:lnTo>
                    <a:pt x="7204872" y="8679675"/>
                  </a:lnTo>
                  <a:close/>
                  <a:moveTo>
                    <a:pt x="6895138" y="8043531"/>
                  </a:moveTo>
                  <a:lnTo>
                    <a:pt x="6904668" y="8057826"/>
                  </a:lnTo>
                  <a:lnTo>
                    <a:pt x="6909433" y="8072122"/>
                  </a:lnTo>
                  <a:lnTo>
                    <a:pt x="6914198" y="8076887"/>
                  </a:lnTo>
                  <a:lnTo>
                    <a:pt x="6928494" y="8091182"/>
                  </a:lnTo>
                  <a:lnTo>
                    <a:pt x="6938024" y="8105478"/>
                  </a:lnTo>
                  <a:lnTo>
                    <a:pt x="6938024" y="8124538"/>
                  </a:lnTo>
                  <a:lnTo>
                    <a:pt x="6933259" y="8148364"/>
                  </a:lnTo>
                  <a:lnTo>
                    <a:pt x="6923729" y="8167424"/>
                  </a:lnTo>
                  <a:lnTo>
                    <a:pt x="6918964" y="8172190"/>
                  </a:lnTo>
                  <a:lnTo>
                    <a:pt x="6909433" y="8181720"/>
                  </a:lnTo>
                  <a:lnTo>
                    <a:pt x="6880843" y="8186485"/>
                  </a:lnTo>
                  <a:lnTo>
                    <a:pt x="6861782" y="8148364"/>
                  </a:lnTo>
                  <a:lnTo>
                    <a:pt x="6857017" y="8115008"/>
                  </a:lnTo>
                  <a:lnTo>
                    <a:pt x="6861782" y="8091182"/>
                  </a:lnTo>
                  <a:lnTo>
                    <a:pt x="6861782" y="8076887"/>
                  </a:lnTo>
                  <a:lnTo>
                    <a:pt x="6871312" y="8062592"/>
                  </a:lnTo>
                  <a:close/>
                  <a:moveTo>
                    <a:pt x="4117069" y="7943463"/>
                  </a:moveTo>
                  <a:lnTo>
                    <a:pt x="4169485" y="7967289"/>
                  </a:lnTo>
                  <a:lnTo>
                    <a:pt x="4183781" y="7986349"/>
                  </a:lnTo>
                  <a:lnTo>
                    <a:pt x="4193311" y="8000645"/>
                  </a:lnTo>
                  <a:lnTo>
                    <a:pt x="4198076" y="8019705"/>
                  </a:lnTo>
                  <a:lnTo>
                    <a:pt x="4202841" y="8048296"/>
                  </a:lnTo>
                  <a:lnTo>
                    <a:pt x="4212372" y="8105477"/>
                  </a:lnTo>
                  <a:lnTo>
                    <a:pt x="4212372" y="8138833"/>
                  </a:lnTo>
                  <a:lnTo>
                    <a:pt x="4207606" y="8167424"/>
                  </a:lnTo>
                  <a:lnTo>
                    <a:pt x="4207606" y="8196015"/>
                  </a:lnTo>
                  <a:lnTo>
                    <a:pt x="4202841" y="8219840"/>
                  </a:lnTo>
                  <a:lnTo>
                    <a:pt x="4193311" y="8248431"/>
                  </a:lnTo>
                  <a:lnTo>
                    <a:pt x="4174250" y="8281787"/>
                  </a:lnTo>
                  <a:lnTo>
                    <a:pt x="4140895" y="8343734"/>
                  </a:lnTo>
                  <a:lnTo>
                    <a:pt x="4136130" y="8362794"/>
                  </a:lnTo>
                  <a:lnTo>
                    <a:pt x="4145660" y="8367559"/>
                  </a:lnTo>
                  <a:lnTo>
                    <a:pt x="4164720" y="8362794"/>
                  </a:lnTo>
                  <a:lnTo>
                    <a:pt x="4193311" y="8343734"/>
                  </a:lnTo>
                  <a:lnTo>
                    <a:pt x="4226667" y="8329438"/>
                  </a:lnTo>
                  <a:lnTo>
                    <a:pt x="4264788" y="8319908"/>
                  </a:lnTo>
                  <a:lnTo>
                    <a:pt x="4279083" y="8334204"/>
                  </a:lnTo>
                  <a:lnTo>
                    <a:pt x="4283848" y="8329438"/>
                  </a:lnTo>
                  <a:lnTo>
                    <a:pt x="4298144" y="8305613"/>
                  </a:lnTo>
                  <a:lnTo>
                    <a:pt x="4298144" y="8291317"/>
                  </a:lnTo>
                  <a:lnTo>
                    <a:pt x="4298144" y="8277022"/>
                  </a:lnTo>
                  <a:lnTo>
                    <a:pt x="4298144" y="8238901"/>
                  </a:lnTo>
                  <a:lnTo>
                    <a:pt x="4302909" y="8219840"/>
                  </a:lnTo>
                  <a:lnTo>
                    <a:pt x="4331500" y="8172189"/>
                  </a:lnTo>
                  <a:lnTo>
                    <a:pt x="4341030" y="8157894"/>
                  </a:lnTo>
                  <a:lnTo>
                    <a:pt x="4364856" y="8148364"/>
                  </a:lnTo>
                  <a:lnTo>
                    <a:pt x="4412507" y="8153129"/>
                  </a:lnTo>
                  <a:lnTo>
                    <a:pt x="4460158" y="8181719"/>
                  </a:lnTo>
                  <a:lnTo>
                    <a:pt x="4522105" y="8205545"/>
                  </a:lnTo>
                  <a:lnTo>
                    <a:pt x="4617407" y="8272257"/>
                  </a:lnTo>
                  <a:lnTo>
                    <a:pt x="4645998" y="8296083"/>
                  </a:lnTo>
                  <a:lnTo>
                    <a:pt x="4645998" y="8319908"/>
                  </a:lnTo>
                  <a:lnTo>
                    <a:pt x="4631703" y="8372325"/>
                  </a:lnTo>
                  <a:lnTo>
                    <a:pt x="4593582" y="8443802"/>
                  </a:lnTo>
                  <a:lnTo>
                    <a:pt x="4560226" y="8467627"/>
                  </a:lnTo>
                  <a:lnTo>
                    <a:pt x="4545930" y="8481923"/>
                  </a:lnTo>
                  <a:lnTo>
                    <a:pt x="4569756" y="8496218"/>
                  </a:lnTo>
                  <a:lnTo>
                    <a:pt x="4579286" y="8510513"/>
                  </a:lnTo>
                  <a:lnTo>
                    <a:pt x="4603112" y="8486688"/>
                  </a:lnTo>
                  <a:lnTo>
                    <a:pt x="4617407" y="8458097"/>
                  </a:lnTo>
                  <a:lnTo>
                    <a:pt x="4636468" y="8434271"/>
                  </a:lnTo>
                  <a:lnTo>
                    <a:pt x="4645998" y="8429506"/>
                  </a:lnTo>
                  <a:lnTo>
                    <a:pt x="4645998" y="8434271"/>
                  </a:lnTo>
                  <a:lnTo>
                    <a:pt x="4645998" y="8448567"/>
                  </a:lnTo>
                  <a:lnTo>
                    <a:pt x="4641233" y="8458097"/>
                  </a:lnTo>
                  <a:lnTo>
                    <a:pt x="4641233" y="8472392"/>
                  </a:lnTo>
                  <a:lnTo>
                    <a:pt x="4645998" y="8477157"/>
                  </a:lnTo>
                  <a:lnTo>
                    <a:pt x="4660293" y="8481923"/>
                  </a:lnTo>
                  <a:lnTo>
                    <a:pt x="4665058" y="8477157"/>
                  </a:lnTo>
                  <a:lnTo>
                    <a:pt x="4693649" y="8443802"/>
                  </a:lnTo>
                  <a:lnTo>
                    <a:pt x="4722240" y="8391385"/>
                  </a:lnTo>
                  <a:lnTo>
                    <a:pt x="4765126" y="8358029"/>
                  </a:lnTo>
                  <a:lnTo>
                    <a:pt x="4774656" y="8338969"/>
                  </a:lnTo>
                  <a:lnTo>
                    <a:pt x="4812778" y="8324673"/>
                  </a:lnTo>
                  <a:lnTo>
                    <a:pt x="4812778" y="8315143"/>
                  </a:lnTo>
                  <a:lnTo>
                    <a:pt x="4812778" y="8272257"/>
                  </a:lnTo>
                  <a:lnTo>
                    <a:pt x="4798482" y="8257962"/>
                  </a:lnTo>
                  <a:lnTo>
                    <a:pt x="4755596" y="8219840"/>
                  </a:lnTo>
                  <a:lnTo>
                    <a:pt x="4736536" y="8176954"/>
                  </a:lnTo>
                  <a:lnTo>
                    <a:pt x="4741301" y="8143598"/>
                  </a:lnTo>
                  <a:lnTo>
                    <a:pt x="4765126" y="8148364"/>
                  </a:lnTo>
                  <a:lnTo>
                    <a:pt x="4827073" y="8148364"/>
                  </a:lnTo>
                  <a:lnTo>
                    <a:pt x="4841368" y="8153129"/>
                  </a:lnTo>
                  <a:lnTo>
                    <a:pt x="4903315" y="8210310"/>
                  </a:lnTo>
                  <a:lnTo>
                    <a:pt x="4927140" y="8248431"/>
                  </a:lnTo>
                  <a:lnTo>
                    <a:pt x="4941436" y="8262727"/>
                  </a:lnTo>
                  <a:lnTo>
                    <a:pt x="4979557" y="8291317"/>
                  </a:lnTo>
                  <a:lnTo>
                    <a:pt x="4993852" y="8310378"/>
                  </a:lnTo>
                  <a:lnTo>
                    <a:pt x="5003382" y="8319908"/>
                  </a:lnTo>
                  <a:lnTo>
                    <a:pt x="5003382" y="8329438"/>
                  </a:lnTo>
                  <a:lnTo>
                    <a:pt x="5003382" y="8338969"/>
                  </a:lnTo>
                  <a:lnTo>
                    <a:pt x="4998617" y="8358029"/>
                  </a:lnTo>
                  <a:lnTo>
                    <a:pt x="5008148" y="8367559"/>
                  </a:lnTo>
                  <a:lnTo>
                    <a:pt x="5031973" y="8372325"/>
                  </a:lnTo>
                  <a:lnTo>
                    <a:pt x="5036738" y="8381855"/>
                  </a:lnTo>
                  <a:lnTo>
                    <a:pt x="5046269" y="8410446"/>
                  </a:lnTo>
                  <a:lnTo>
                    <a:pt x="5055799" y="8453332"/>
                  </a:lnTo>
                  <a:lnTo>
                    <a:pt x="5065329" y="8500983"/>
                  </a:lnTo>
                  <a:lnTo>
                    <a:pt x="5084390" y="8596286"/>
                  </a:lnTo>
                  <a:lnTo>
                    <a:pt x="5112980" y="8713031"/>
                  </a:lnTo>
                  <a:lnTo>
                    <a:pt x="5122511" y="8789273"/>
                  </a:lnTo>
                  <a:lnTo>
                    <a:pt x="5127276" y="8803569"/>
                  </a:lnTo>
                  <a:lnTo>
                    <a:pt x="5132041" y="8808334"/>
                  </a:lnTo>
                  <a:lnTo>
                    <a:pt x="5151102" y="8822629"/>
                  </a:lnTo>
                  <a:lnTo>
                    <a:pt x="5165397" y="8841690"/>
                  </a:lnTo>
                  <a:lnTo>
                    <a:pt x="5184457" y="8851220"/>
                  </a:lnTo>
                  <a:lnTo>
                    <a:pt x="5189222" y="8846455"/>
                  </a:lnTo>
                  <a:lnTo>
                    <a:pt x="5193988" y="8832160"/>
                  </a:lnTo>
                  <a:lnTo>
                    <a:pt x="5203518" y="8803569"/>
                  </a:lnTo>
                  <a:lnTo>
                    <a:pt x="5255934" y="8755917"/>
                  </a:lnTo>
                  <a:lnTo>
                    <a:pt x="5260699" y="8746387"/>
                  </a:lnTo>
                  <a:lnTo>
                    <a:pt x="5255934" y="8732092"/>
                  </a:lnTo>
                  <a:lnTo>
                    <a:pt x="5251169" y="8727327"/>
                  </a:lnTo>
                  <a:lnTo>
                    <a:pt x="5251169" y="8722562"/>
                  </a:lnTo>
                  <a:lnTo>
                    <a:pt x="5265464" y="8717796"/>
                  </a:lnTo>
                  <a:lnTo>
                    <a:pt x="5227344" y="8651085"/>
                  </a:lnTo>
                  <a:lnTo>
                    <a:pt x="5203518" y="8591520"/>
                  </a:lnTo>
                  <a:lnTo>
                    <a:pt x="5189222" y="8510513"/>
                  </a:lnTo>
                  <a:lnTo>
                    <a:pt x="5184457" y="8486688"/>
                  </a:lnTo>
                  <a:lnTo>
                    <a:pt x="5184457" y="8439036"/>
                  </a:lnTo>
                  <a:lnTo>
                    <a:pt x="5179692" y="8424741"/>
                  </a:lnTo>
                  <a:lnTo>
                    <a:pt x="5170162" y="8415211"/>
                  </a:lnTo>
                  <a:lnTo>
                    <a:pt x="5165397" y="8396150"/>
                  </a:lnTo>
                  <a:lnTo>
                    <a:pt x="5165397" y="8381855"/>
                  </a:lnTo>
                  <a:lnTo>
                    <a:pt x="5165397" y="8362794"/>
                  </a:lnTo>
                  <a:lnTo>
                    <a:pt x="5155867" y="8329438"/>
                  </a:lnTo>
                  <a:lnTo>
                    <a:pt x="5117746" y="8091182"/>
                  </a:lnTo>
                  <a:lnTo>
                    <a:pt x="5117746" y="8067356"/>
                  </a:lnTo>
                  <a:lnTo>
                    <a:pt x="5122511" y="8048296"/>
                  </a:lnTo>
                  <a:lnTo>
                    <a:pt x="5136806" y="8038766"/>
                  </a:lnTo>
                  <a:lnTo>
                    <a:pt x="5160632" y="8034000"/>
                  </a:lnTo>
                  <a:lnTo>
                    <a:pt x="5165397" y="8029235"/>
                  </a:lnTo>
                  <a:lnTo>
                    <a:pt x="5155867" y="8019705"/>
                  </a:lnTo>
                  <a:lnTo>
                    <a:pt x="5141571" y="7995879"/>
                  </a:lnTo>
                  <a:lnTo>
                    <a:pt x="5141571" y="7981584"/>
                  </a:lnTo>
                  <a:lnTo>
                    <a:pt x="5151102" y="7957758"/>
                  </a:lnTo>
                  <a:lnTo>
                    <a:pt x="5198753" y="7967289"/>
                  </a:lnTo>
                  <a:lnTo>
                    <a:pt x="5236874" y="7991114"/>
                  </a:lnTo>
                  <a:lnTo>
                    <a:pt x="5294055" y="8043531"/>
                  </a:lnTo>
                  <a:lnTo>
                    <a:pt x="5298820" y="8038766"/>
                  </a:lnTo>
                  <a:lnTo>
                    <a:pt x="5308351" y="8014940"/>
                  </a:lnTo>
                  <a:lnTo>
                    <a:pt x="5317881" y="7995879"/>
                  </a:lnTo>
                  <a:lnTo>
                    <a:pt x="5336941" y="8000645"/>
                  </a:lnTo>
                  <a:lnTo>
                    <a:pt x="5394123" y="8038766"/>
                  </a:lnTo>
                  <a:lnTo>
                    <a:pt x="5456070" y="8105477"/>
                  </a:lnTo>
                  <a:lnTo>
                    <a:pt x="5498956" y="8138833"/>
                  </a:lnTo>
                  <a:lnTo>
                    <a:pt x="5527546" y="8186485"/>
                  </a:lnTo>
                  <a:lnTo>
                    <a:pt x="5546607" y="8224606"/>
                  </a:lnTo>
                  <a:lnTo>
                    <a:pt x="5560902" y="8257962"/>
                  </a:lnTo>
                  <a:lnTo>
                    <a:pt x="5560902" y="8272257"/>
                  </a:lnTo>
                  <a:lnTo>
                    <a:pt x="5556137" y="8281787"/>
                  </a:lnTo>
                  <a:lnTo>
                    <a:pt x="5560902" y="8300848"/>
                  </a:lnTo>
                  <a:lnTo>
                    <a:pt x="5570433" y="8319908"/>
                  </a:lnTo>
                  <a:lnTo>
                    <a:pt x="5575198" y="8338969"/>
                  </a:lnTo>
                  <a:lnTo>
                    <a:pt x="5575198" y="8377090"/>
                  </a:lnTo>
                  <a:lnTo>
                    <a:pt x="5584728" y="8429506"/>
                  </a:lnTo>
                  <a:lnTo>
                    <a:pt x="5589493" y="8453332"/>
                  </a:lnTo>
                  <a:lnTo>
                    <a:pt x="5641910" y="8674910"/>
                  </a:lnTo>
                  <a:lnTo>
                    <a:pt x="5651440" y="8713031"/>
                  </a:lnTo>
                  <a:lnTo>
                    <a:pt x="5660970" y="8727327"/>
                  </a:lnTo>
                  <a:lnTo>
                    <a:pt x="5699091" y="8813099"/>
                  </a:lnTo>
                  <a:lnTo>
                    <a:pt x="5718152" y="8875046"/>
                  </a:lnTo>
                  <a:lnTo>
                    <a:pt x="5722917" y="8913167"/>
                  </a:lnTo>
                  <a:lnTo>
                    <a:pt x="5722917" y="8927462"/>
                  </a:lnTo>
                  <a:lnTo>
                    <a:pt x="5727682" y="8946523"/>
                  </a:lnTo>
                  <a:lnTo>
                    <a:pt x="5722917" y="8970348"/>
                  </a:lnTo>
                  <a:lnTo>
                    <a:pt x="5722917" y="8994174"/>
                  </a:lnTo>
                  <a:lnTo>
                    <a:pt x="5713386" y="9008469"/>
                  </a:lnTo>
                  <a:lnTo>
                    <a:pt x="5703856" y="9037060"/>
                  </a:lnTo>
                  <a:lnTo>
                    <a:pt x="5694326" y="9089476"/>
                  </a:lnTo>
                  <a:lnTo>
                    <a:pt x="5689561" y="9103772"/>
                  </a:lnTo>
                  <a:lnTo>
                    <a:pt x="5699091" y="9122832"/>
                  </a:lnTo>
                  <a:lnTo>
                    <a:pt x="5756272" y="9189544"/>
                  </a:lnTo>
                  <a:lnTo>
                    <a:pt x="5789628" y="9270551"/>
                  </a:lnTo>
                  <a:lnTo>
                    <a:pt x="5803924" y="9280082"/>
                  </a:lnTo>
                  <a:lnTo>
                    <a:pt x="5846810" y="9332498"/>
                  </a:lnTo>
                  <a:lnTo>
                    <a:pt x="5889696" y="9356324"/>
                  </a:lnTo>
                  <a:lnTo>
                    <a:pt x="5903992" y="9370619"/>
                  </a:lnTo>
                  <a:lnTo>
                    <a:pt x="5918287" y="9389680"/>
                  </a:lnTo>
                  <a:lnTo>
                    <a:pt x="5923052" y="9389680"/>
                  </a:lnTo>
                  <a:lnTo>
                    <a:pt x="5932582" y="9384914"/>
                  </a:lnTo>
                  <a:lnTo>
                    <a:pt x="5937348" y="9380149"/>
                  </a:lnTo>
                  <a:lnTo>
                    <a:pt x="5937348" y="9370619"/>
                  </a:lnTo>
                  <a:lnTo>
                    <a:pt x="5923052" y="9337263"/>
                  </a:lnTo>
                  <a:lnTo>
                    <a:pt x="5923052" y="9322968"/>
                  </a:lnTo>
                  <a:lnTo>
                    <a:pt x="5927817" y="9318203"/>
                  </a:lnTo>
                  <a:lnTo>
                    <a:pt x="5975468" y="9380149"/>
                  </a:lnTo>
                  <a:lnTo>
                    <a:pt x="5999294" y="9408740"/>
                  </a:lnTo>
                  <a:lnTo>
                    <a:pt x="6037415" y="9432566"/>
                  </a:lnTo>
                  <a:lnTo>
                    <a:pt x="6094596" y="9494512"/>
                  </a:lnTo>
                  <a:lnTo>
                    <a:pt x="6104127" y="9494512"/>
                  </a:lnTo>
                  <a:lnTo>
                    <a:pt x="6132718" y="9489747"/>
                  </a:lnTo>
                  <a:lnTo>
                    <a:pt x="6142248" y="9494512"/>
                  </a:lnTo>
                  <a:lnTo>
                    <a:pt x="6147013" y="9499278"/>
                  </a:lnTo>
                  <a:lnTo>
                    <a:pt x="6151778" y="9508808"/>
                  </a:lnTo>
                  <a:lnTo>
                    <a:pt x="6151778" y="9542164"/>
                  </a:lnTo>
                  <a:lnTo>
                    <a:pt x="6161308" y="9561224"/>
                  </a:lnTo>
                  <a:lnTo>
                    <a:pt x="6213725" y="9551694"/>
                  </a:lnTo>
                  <a:lnTo>
                    <a:pt x="6223255" y="9556459"/>
                  </a:lnTo>
                  <a:lnTo>
                    <a:pt x="6232785" y="9561224"/>
                  </a:lnTo>
                  <a:lnTo>
                    <a:pt x="6242316" y="9570754"/>
                  </a:lnTo>
                  <a:lnTo>
                    <a:pt x="6251846" y="9608876"/>
                  </a:lnTo>
                  <a:lnTo>
                    <a:pt x="6261376" y="9685118"/>
                  </a:lnTo>
                  <a:lnTo>
                    <a:pt x="6261376" y="9708943"/>
                  </a:lnTo>
                  <a:lnTo>
                    <a:pt x="6261376" y="9751829"/>
                  </a:lnTo>
                  <a:lnTo>
                    <a:pt x="6251846" y="9766125"/>
                  </a:lnTo>
                  <a:lnTo>
                    <a:pt x="6242316" y="9775655"/>
                  </a:lnTo>
                  <a:lnTo>
                    <a:pt x="6213725" y="9766125"/>
                  </a:lnTo>
                  <a:lnTo>
                    <a:pt x="6194664" y="9756594"/>
                  </a:lnTo>
                  <a:lnTo>
                    <a:pt x="6185134" y="9737534"/>
                  </a:lnTo>
                  <a:lnTo>
                    <a:pt x="6175604" y="9699413"/>
                  </a:lnTo>
                  <a:lnTo>
                    <a:pt x="6175604" y="9689883"/>
                  </a:lnTo>
                  <a:lnTo>
                    <a:pt x="6170838" y="9699413"/>
                  </a:lnTo>
                  <a:lnTo>
                    <a:pt x="6161308" y="9732769"/>
                  </a:lnTo>
                  <a:lnTo>
                    <a:pt x="6156543" y="9751829"/>
                  </a:lnTo>
                  <a:lnTo>
                    <a:pt x="6147013" y="9761360"/>
                  </a:lnTo>
                  <a:lnTo>
                    <a:pt x="6132718" y="9756594"/>
                  </a:lnTo>
                  <a:lnTo>
                    <a:pt x="6113657" y="9742299"/>
                  </a:lnTo>
                  <a:lnTo>
                    <a:pt x="6075536" y="9704178"/>
                  </a:lnTo>
                  <a:lnTo>
                    <a:pt x="6066006" y="9694648"/>
                  </a:lnTo>
                  <a:lnTo>
                    <a:pt x="6056476" y="9694648"/>
                  </a:lnTo>
                  <a:lnTo>
                    <a:pt x="6037415" y="9708943"/>
                  </a:lnTo>
                  <a:lnTo>
                    <a:pt x="6013590" y="9732769"/>
                  </a:lnTo>
                  <a:lnTo>
                    <a:pt x="5999294" y="9751829"/>
                  </a:lnTo>
                  <a:lnTo>
                    <a:pt x="6004059" y="9761360"/>
                  </a:lnTo>
                  <a:lnTo>
                    <a:pt x="6008824" y="9775655"/>
                  </a:lnTo>
                  <a:lnTo>
                    <a:pt x="6008824" y="9794716"/>
                  </a:lnTo>
                  <a:lnTo>
                    <a:pt x="6008824" y="9809011"/>
                  </a:lnTo>
                  <a:lnTo>
                    <a:pt x="6004059" y="9818541"/>
                  </a:lnTo>
                  <a:lnTo>
                    <a:pt x="5994529" y="9828071"/>
                  </a:lnTo>
                  <a:lnTo>
                    <a:pt x="5975468" y="9828071"/>
                  </a:lnTo>
                  <a:lnTo>
                    <a:pt x="5946878" y="9818541"/>
                  </a:lnTo>
                  <a:lnTo>
                    <a:pt x="5927817" y="9804246"/>
                  </a:lnTo>
                  <a:lnTo>
                    <a:pt x="5889696" y="9770890"/>
                  </a:lnTo>
                  <a:lnTo>
                    <a:pt x="5880166" y="9766125"/>
                  </a:lnTo>
                  <a:lnTo>
                    <a:pt x="5870636" y="9775655"/>
                  </a:lnTo>
                  <a:lnTo>
                    <a:pt x="5865870" y="9785185"/>
                  </a:lnTo>
                  <a:lnTo>
                    <a:pt x="5870636" y="9799481"/>
                  </a:lnTo>
                  <a:lnTo>
                    <a:pt x="5889696" y="9818541"/>
                  </a:lnTo>
                  <a:lnTo>
                    <a:pt x="5913522" y="9851897"/>
                  </a:lnTo>
                  <a:lnTo>
                    <a:pt x="5923052" y="9856662"/>
                  </a:lnTo>
                  <a:lnTo>
                    <a:pt x="5927817" y="9856662"/>
                  </a:lnTo>
                  <a:lnTo>
                    <a:pt x="5927817" y="9861427"/>
                  </a:lnTo>
                  <a:lnTo>
                    <a:pt x="5932582" y="9880488"/>
                  </a:lnTo>
                  <a:lnTo>
                    <a:pt x="5927817" y="9909079"/>
                  </a:lnTo>
                  <a:lnTo>
                    <a:pt x="5918287" y="9966260"/>
                  </a:lnTo>
                  <a:lnTo>
                    <a:pt x="5918287" y="9980556"/>
                  </a:lnTo>
                  <a:lnTo>
                    <a:pt x="5923052" y="9975790"/>
                  </a:lnTo>
                  <a:lnTo>
                    <a:pt x="5956408" y="9918609"/>
                  </a:lnTo>
                  <a:lnTo>
                    <a:pt x="5970703" y="9904314"/>
                  </a:lnTo>
                  <a:lnTo>
                    <a:pt x="6008824" y="9880488"/>
                  </a:lnTo>
                  <a:lnTo>
                    <a:pt x="6023120" y="9861427"/>
                  </a:lnTo>
                  <a:lnTo>
                    <a:pt x="6070771" y="9856662"/>
                  </a:lnTo>
                  <a:lnTo>
                    <a:pt x="6085066" y="9866192"/>
                  </a:lnTo>
                  <a:lnTo>
                    <a:pt x="6094596" y="9880488"/>
                  </a:lnTo>
                  <a:lnTo>
                    <a:pt x="6094596" y="9890018"/>
                  </a:lnTo>
                  <a:lnTo>
                    <a:pt x="6085066" y="9909079"/>
                  </a:lnTo>
                  <a:lnTo>
                    <a:pt x="6080301" y="9923374"/>
                  </a:lnTo>
                  <a:lnTo>
                    <a:pt x="6080301" y="9932904"/>
                  </a:lnTo>
                  <a:lnTo>
                    <a:pt x="6085066" y="9947200"/>
                  </a:lnTo>
                  <a:lnTo>
                    <a:pt x="6085066" y="9956730"/>
                  </a:lnTo>
                  <a:lnTo>
                    <a:pt x="6094596" y="9966260"/>
                  </a:lnTo>
                  <a:lnTo>
                    <a:pt x="6108892" y="9961495"/>
                  </a:lnTo>
                  <a:lnTo>
                    <a:pt x="6113657" y="9966260"/>
                  </a:lnTo>
                  <a:lnTo>
                    <a:pt x="6118422" y="9975790"/>
                  </a:lnTo>
                  <a:lnTo>
                    <a:pt x="6123187" y="9990086"/>
                  </a:lnTo>
                  <a:lnTo>
                    <a:pt x="6127952" y="10013911"/>
                  </a:lnTo>
                  <a:lnTo>
                    <a:pt x="6113657" y="10056798"/>
                  </a:lnTo>
                  <a:lnTo>
                    <a:pt x="6094596" y="10075858"/>
                  </a:lnTo>
                  <a:lnTo>
                    <a:pt x="6037415" y="10104449"/>
                  </a:lnTo>
                  <a:lnTo>
                    <a:pt x="6018354" y="10118744"/>
                  </a:lnTo>
                  <a:lnTo>
                    <a:pt x="5975468" y="10128274"/>
                  </a:lnTo>
                  <a:lnTo>
                    <a:pt x="5961173" y="10142570"/>
                  </a:lnTo>
                  <a:lnTo>
                    <a:pt x="5951643" y="10147335"/>
                  </a:lnTo>
                  <a:lnTo>
                    <a:pt x="5908756" y="10142570"/>
                  </a:lnTo>
                  <a:lnTo>
                    <a:pt x="5865870" y="10152100"/>
                  </a:lnTo>
                  <a:lnTo>
                    <a:pt x="5808689" y="10137805"/>
                  </a:lnTo>
                  <a:lnTo>
                    <a:pt x="5770568" y="10128274"/>
                  </a:lnTo>
                  <a:lnTo>
                    <a:pt x="5727682" y="10099684"/>
                  </a:lnTo>
                  <a:lnTo>
                    <a:pt x="5708621" y="10109214"/>
                  </a:lnTo>
                  <a:lnTo>
                    <a:pt x="5689561" y="10123509"/>
                  </a:lnTo>
                  <a:lnTo>
                    <a:pt x="5608554" y="10104449"/>
                  </a:lnTo>
                  <a:lnTo>
                    <a:pt x="5599024" y="10090154"/>
                  </a:lnTo>
                  <a:lnTo>
                    <a:pt x="5599024" y="10080623"/>
                  </a:lnTo>
                  <a:lnTo>
                    <a:pt x="5622849" y="10047267"/>
                  </a:lnTo>
                  <a:lnTo>
                    <a:pt x="5622849" y="10037737"/>
                  </a:lnTo>
                  <a:lnTo>
                    <a:pt x="5622849" y="10032972"/>
                  </a:lnTo>
                  <a:lnTo>
                    <a:pt x="5584728" y="10028207"/>
                  </a:lnTo>
                  <a:lnTo>
                    <a:pt x="5541842" y="10009146"/>
                  </a:lnTo>
                  <a:lnTo>
                    <a:pt x="5498956" y="10004381"/>
                  </a:lnTo>
                  <a:lnTo>
                    <a:pt x="5465600" y="10004381"/>
                  </a:lnTo>
                  <a:lnTo>
                    <a:pt x="5446539" y="9999616"/>
                  </a:lnTo>
                  <a:lnTo>
                    <a:pt x="5427479" y="9985321"/>
                  </a:lnTo>
                  <a:lnTo>
                    <a:pt x="5413184" y="9971025"/>
                  </a:lnTo>
                  <a:lnTo>
                    <a:pt x="5413184" y="9961495"/>
                  </a:lnTo>
                  <a:lnTo>
                    <a:pt x="5413184" y="9947200"/>
                  </a:lnTo>
                  <a:lnTo>
                    <a:pt x="5413184" y="9918609"/>
                  </a:lnTo>
                  <a:lnTo>
                    <a:pt x="5413184" y="9899548"/>
                  </a:lnTo>
                  <a:lnTo>
                    <a:pt x="5403653" y="9885253"/>
                  </a:lnTo>
                  <a:lnTo>
                    <a:pt x="5384593" y="9875723"/>
                  </a:lnTo>
                  <a:lnTo>
                    <a:pt x="5365532" y="9875723"/>
                  </a:lnTo>
                  <a:lnTo>
                    <a:pt x="5351237" y="9890018"/>
                  </a:lnTo>
                  <a:lnTo>
                    <a:pt x="5332176" y="9918609"/>
                  </a:lnTo>
                  <a:lnTo>
                    <a:pt x="5308351" y="9990086"/>
                  </a:lnTo>
                  <a:lnTo>
                    <a:pt x="5294055" y="10004381"/>
                  </a:lnTo>
                  <a:lnTo>
                    <a:pt x="5255934" y="10056798"/>
                  </a:lnTo>
                  <a:lnTo>
                    <a:pt x="5241639" y="10066328"/>
                  </a:lnTo>
                  <a:lnTo>
                    <a:pt x="5174927" y="10090154"/>
                  </a:lnTo>
                  <a:lnTo>
                    <a:pt x="5098685" y="10099684"/>
                  </a:lnTo>
                  <a:lnTo>
                    <a:pt x="5070094" y="10113979"/>
                  </a:lnTo>
                  <a:lnTo>
                    <a:pt x="5041504" y="10142570"/>
                  </a:lnTo>
                  <a:lnTo>
                    <a:pt x="5008148" y="10175926"/>
                  </a:lnTo>
                  <a:lnTo>
                    <a:pt x="4927140" y="10209282"/>
                  </a:lnTo>
                  <a:lnTo>
                    <a:pt x="4850898" y="10228342"/>
                  </a:lnTo>
                  <a:lnTo>
                    <a:pt x="4769891" y="10237872"/>
                  </a:lnTo>
                  <a:lnTo>
                    <a:pt x="4712710" y="10252168"/>
                  </a:lnTo>
                  <a:lnTo>
                    <a:pt x="4693649" y="10242638"/>
                  </a:lnTo>
                  <a:lnTo>
                    <a:pt x="4665058" y="10247403"/>
                  </a:lnTo>
                  <a:lnTo>
                    <a:pt x="4636468" y="10266463"/>
                  </a:lnTo>
                  <a:lnTo>
                    <a:pt x="4607877" y="10271228"/>
                  </a:lnTo>
                  <a:lnTo>
                    <a:pt x="4483984" y="10275994"/>
                  </a:lnTo>
                  <a:lnTo>
                    <a:pt x="4426802" y="10290289"/>
                  </a:lnTo>
                  <a:lnTo>
                    <a:pt x="4398211" y="10295054"/>
                  </a:lnTo>
                  <a:lnTo>
                    <a:pt x="4369621" y="10295054"/>
                  </a:lnTo>
                  <a:lnTo>
                    <a:pt x="4355325" y="10285524"/>
                  </a:lnTo>
                  <a:lnTo>
                    <a:pt x="4336265" y="10271228"/>
                  </a:lnTo>
                  <a:lnTo>
                    <a:pt x="4321969" y="10242638"/>
                  </a:lnTo>
                  <a:lnTo>
                    <a:pt x="4288614" y="10171161"/>
                  </a:lnTo>
                  <a:lnTo>
                    <a:pt x="4279083" y="10137805"/>
                  </a:lnTo>
                  <a:lnTo>
                    <a:pt x="4283848" y="10085388"/>
                  </a:lnTo>
                  <a:lnTo>
                    <a:pt x="4279083" y="10056798"/>
                  </a:lnTo>
                  <a:lnTo>
                    <a:pt x="4269553" y="9990086"/>
                  </a:lnTo>
                  <a:lnTo>
                    <a:pt x="4264788" y="9985321"/>
                  </a:lnTo>
                  <a:lnTo>
                    <a:pt x="4207606" y="9961495"/>
                  </a:lnTo>
                  <a:lnTo>
                    <a:pt x="4169485" y="9951965"/>
                  </a:lnTo>
                  <a:lnTo>
                    <a:pt x="4107539" y="9947200"/>
                  </a:lnTo>
                  <a:lnTo>
                    <a:pt x="4036062" y="9951965"/>
                  </a:lnTo>
                  <a:lnTo>
                    <a:pt x="3964585" y="9947200"/>
                  </a:lnTo>
                  <a:lnTo>
                    <a:pt x="3926464" y="9937669"/>
                  </a:lnTo>
                  <a:lnTo>
                    <a:pt x="3888343" y="9923374"/>
                  </a:lnTo>
                  <a:lnTo>
                    <a:pt x="3826396" y="9880488"/>
                  </a:lnTo>
                  <a:lnTo>
                    <a:pt x="3821631" y="9880488"/>
                  </a:lnTo>
                  <a:lnTo>
                    <a:pt x="3816866" y="9866192"/>
                  </a:lnTo>
                  <a:lnTo>
                    <a:pt x="3812101" y="9842367"/>
                  </a:lnTo>
                  <a:lnTo>
                    <a:pt x="3793040" y="9813776"/>
                  </a:lnTo>
                  <a:lnTo>
                    <a:pt x="3750154" y="9751829"/>
                  </a:lnTo>
                  <a:lnTo>
                    <a:pt x="3735859" y="9713708"/>
                  </a:lnTo>
                  <a:lnTo>
                    <a:pt x="3731094" y="9704178"/>
                  </a:lnTo>
                  <a:lnTo>
                    <a:pt x="3726329" y="9675587"/>
                  </a:lnTo>
                  <a:lnTo>
                    <a:pt x="3721563" y="9627936"/>
                  </a:lnTo>
                  <a:lnTo>
                    <a:pt x="3716798" y="9599345"/>
                  </a:lnTo>
                  <a:lnTo>
                    <a:pt x="3726329" y="9580285"/>
                  </a:lnTo>
                  <a:lnTo>
                    <a:pt x="3731094" y="9575520"/>
                  </a:lnTo>
                  <a:lnTo>
                    <a:pt x="3821631" y="9542164"/>
                  </a:lnTo>
                  <a:lnTo>
                    <a:pt x="3978880" y="9504043"/>
                  </a:lnTo>
                  <a:lnTo>
                    <a:pt x="4126599" y="9480217"/>
                  </a:lnTo>
                  <a:lnTo>
                    <a:pt x="4193311" y="9480217"/>
                  </a:lnTo>
                  <a:lnTo>
                    <a:pt x="4231432" y="9494512"/>
                  </a:lnTo>
                  <a:lnTo>
                    <a:pt x="4269553" y="9499278"/>
                  </a:lnTo>
                  <a:lnTo>
                    <a:pt x="4341030" y="9504043"/>
                  </a:lnTo>
                  <a:lnTo>
                    <a:pt x="4431567" y="9518338"/>
                  </a:lnTo>
                  <a:lnTo>
                    <a:pt x="4450628" y="9518338"/>
                  </a:lnTo>
                  <a:lnTo>
                    <a:pt x="4488749" y="9504043"/>
                  </a:lnTo>
                  <a:lnTo>
                    <a:pt x="4503044" y="9494512"/>
                  </a:lnTo>
                  <a:lnTo>
                    <a:pt x="4564991" y="9499278"/>
                  </a:lnTo>
                  <a:lnTo>
                    <a:pt x="4574521" y="9489747"/>
                  </a:lnTo>
                  <a:lnTo>
                    <a:pt x="4588816" y="9480217"/>
                  </a:lnTo>
                  <a:lnTo>
                    <a:pt x="4574521" y="9461156"/>
                  </a:lnTo>
                  <a:lnTo>
                    <a:pt x="4512574" y="9418270"/>
                  </a:lnTo>
                  <a:lnTo>
                    <a:pt x="4350560" y="9337263"/>
                  </a:lnTo>
                  <a:lnTo>
                    <a:pt x="4312439" y="9318203"/>
                  </a:lnTo>
                  <a:lnTo>
                    <a:pt x="4255258" y="9303907"/>
                  </a:lnTo>
                  <a:lnTo>
                    <a:pt x="4221902" y="9299142"/>
                  </a:lnTo>
                  <a:lnTo>
                    <a:pt x="4183781" y="9308672"/>
                  </a:lnTo>
                  <a:lnTo>
                    <a:pt x="4164720" y="9308672"/>
                  </a:lnTo>
                  <a:lnTo>
                    <a:pt x="4126599" y="9327733"/>
                  </a:lnTo>
                  <a:lnTo>
                    <a:pt x="4088478" y="9337263"/>
                  </a:lnTo>
                  <a:lnTo>
                    <a:pt x="4012236" y="9346793"/>
                  </a:lnTo>
                  <a:lnTo>
                    <a:pt x="3907403" y="9351558"/>
                  </a:lnTo>
                  <a:lnTo>
                    <a:pt x="3893108" y="9351558"/>
                  </a:lnTo>
                  <a:lnTo>
                    <a:pt x="3869282" y="9337263"/>
                  </a:lnTo>
                  <a:lnTo>
                    <a:pt x="3854987" y="9332498"/>
                  </a:lnTo>
                  <a:lnTo>
                    <a:pt x="3750154" y="9342028"/>
                  </a:lnTo>
                  <a:lnTo>
                    <a:pt x="3659617" y="9332498"/>
                  </a:lnTo>
                  <a:lnTo>
                    <a:pt x="3554784" y="9208605"/>
                  </a:lnTo>
                  <a:lnTo>
                    <a:pt x="3535724" y="9170484"/>
                  </a:lnTo>
                  <a:lnTo>
                    <a:pt x="3540489" y="9156188"/>
                  </a:lnTo>
                  <a:lnTo>
                    <a:pt x="3550019" y="9137128"/>
                  </a:lnTo>
                  <a:lnTo>
                    <a:pt x="3602435" y="9089476"/>
                  </a:lnTo>
                  <a:lnTo>
                    <a:pt x="3621496" y="9079946"/>
                  </a:lnTo>
                  <a:lnTo>
                    <a:pt x="3702503" y="9051355"/>
                  </a:lnTo>
                  <a:lnTo>
                    <a:pt x="3778745" y="9022765"/>
                  </a:lnTo>
                  <a:lnTo>
                    <a:pt x="3840692" y="8994174"/>
                  </a:lnTo>
                  <a:lnTo>
                    <a:pt x="3869282" y="8979878"/>
                  </a:lnTo>
                  <a:lnTo>
                    <a:pt x="3897873" y="8979878"/>
                  </a:lnTo>
                  <a:lnTo>
                    <a:pt x="3921699" y="8970348"/>
                  </a:lnTo>
                  <a:lnTo>
                    <a:pt x="3916934" y="8960818"/>
                  </a:lnTo>
                  <a:lnTo>
                    <a:pt x="3897873" y="8951288"/>
                  </a:lnTo>
                  <a:lnTo>
                    <a:pt x="3897873" y="8936992"/>
                  </a:lnTo>
                  <a:lnTo>
                    <a:pt x="3907403" y="8927462"/>
                  </a:lnTo>
                  <a:lnTo>
                    <a:pt x="3945524" y="8917932"/>
                  </a:lnTo>
                  <a:lnTo>
                    <a:pt x="3988411" y="8927462"/>
                  </a:lnTo>
                  <a:lnTo>
                    <a:pt x="4007471" y="8927462"/>
                  </a:lnTo>
                  <a:lnTo>
                    <a:pt x="4012236" y="8917932"/>
                  </a:lnTo>
                  <a:lnTo>
                    <a:pt x="4007471" y="8908402"/>
                  </a:lnTo>
                  <a:lnTo>
                    <a:pt x="3969350" y="8889341"/>
                  </a:lnTo>
                  <a:lnTo>
                    <a:pt x="3783510" y="8941757"/>
                  </a:lnTo>
                  <a:lnTo>
                    <a:pt x="3697738" y="8946523"/>
                  </a:lnTo>
                  <a:lnTo>
                    <a:pt x="3635791" y="8965583"/>
                  </a:lnTo>
                  <a:lnTo>
                    <a:pt x="3602435" y="8965583"/>
                  </a:lnTo>
                  <a:lnTo>
                    <a:pt x="3564314" y="8941757"/>
                  </a:lnTo>
                  <a:lnTo>
                    <a:pt x="3559549" y="8936992"/>
                  </a:lnTo>
                  <a:lnTo>
                    <a:pt x="3559549" y="8927462"/>
                  </a:lnTo>
                  <a:lnTo>
                    <a:pt x="3569079" y="8898871"/>
                  </a:lnTo>
                  <a:lnTo>
                    <a:pt x="3611966" y="8884576"/>
                  </a:lnTo>
                  <a:lnTo>
                    <a:pt x="3635791" y="8832160"/>
                  </a:lnTo>
                  <a:lnTo>
                    <a:pt x="3611966" y="8832160"/>
                  </a:lnTo>
                  <a:lnTo>
                    <a:pt x="3535724" y="8841690"/>
                  </a:lnTo>
                  <a:lnTo>
                    <a:pt x="3502368" y="8836925"/>
                  </a:lnTo>
                  <a:lnTo>
                    <a:pt x="3459482" y="8817864"/>
                  </a:lnTo>
                  <a:lnTo>
                    <a:pt x="3445186" y="8798804"/>
                  </a:lnTo>
                  <a:lnTo>
                    <a:pt x="3440421" y="8779743"/>
                  </a:lnTo>
                  <a:lnTo>
                    <a:pt x="3440421" y="8760683"/>
                  </a:lnTo>
                  <a:lnTo>
                    <a:pt x="3440421" y="8708266"/>
                  </a:lnTo>
                  <a:lnTo>
                    <a:pt x="3445186" y="8674910"/>
                  </a:lnTo>
                  <a:lnTo>
                    <a:pt x="3445186" y="8670145"/>
                  </a:lnTo>
                  <a:lnTo>
                    <a:pt x="3502368" y="8581990"/>
                  </a:lnTo>
                  <a:lnTo>
                    <a:pt x="3535724" y="8562930"/>
                  </a:lnTo>
                  <a:lnTo>
                    <a:pt x="3559549" y="8529574"/>
                  </a:lnTo>
                  <a:lnTo>
                    <a:pt x="3559549" y="8520044"/>
                  </a:lnTo>
                  <a:lnTo>
                    <a:pt x="3554784" y="8505748"/>
                  </a:lnTo>
                  <a:lnTo>
                    <a:pt x="3530958" y="8477157"/>
                  </a:lnTo>
                  <a:lnTo>
                    <a:pt x="3521428" y="8462862"/>
                  </a:lnTo>
                  <a:lnTo>
                    <a:pt x="3516663" y="8448567"/>
                  </a:lnTo>
                  <a:lnTo>
                    <a:pt x="3521428" y="8424741"/>
                  </a:lnTo>
                  <a:lnTo>
                    <a:pt x="3535724" y="8391385"/>
                  </a:lnTo>
                  <a:lnTo>
                    <a:pt x="3573845" y="8338969"/>
                  </a:lnTo>
                  <a:lnTo>
                    <a:pt x="3664382" y="8234136"/>
                  </a:lnTo>
                  <a:lnTo>
                    <a:pt x="3712033" y="8191250"/>
                  </a:lnTo>
                  <a:lnTo>
                    <a:pt x="3754919" y="8167424"/>
                  </a:lnTo>
                  <a:lnTo>
                    <a:pt x="3816866" y="8115008"/>
                  </a:lnTo>
                  <a:lnTo>
                    <a:pt x="3974115" y="8029235"/>
                  </a:lnTo>
                  <a:close/>
                  <a:moveTo>
                    <a:pt x="9427804" y="7729032"/>
                  </a:moveTo>
                  <a:lnTo>
                    <a:pt x="9461160" y="7729032"/>
                  </a:lnTo>
                  <a:lnTo>
                    <a:pt x="9508811" y="7762388"/>
                  </a:lnTo>
                  <a:lnTo>
                    <a:pt x="9542167" y="7762388"/>
                  </a:lnTo>
                  <a:lnTo>
                    <a:pt x="9599349" y="7790979"/>
                  </a:lnTo>
                  <a:lnTo>
                    <a:pt x="9623174" y="7795744"/>
                  </a:lnTo>
                  <a:lnTo>
                    <a:pt x="9794719" y="7781448"/>
                  </a:lnTo>
                  <a:lnTo>
                    <a:pt x="9828075" y="7790979"/>
                  </a:lnTo>
                  <a:lnTo>
                    <a:pt x="9937673" y="7852925"/>
                  </a:lnTo>
                  <a:lnTo>
                    <a:pt x="9961498" y="7876751"/>
                  </a:lnTo>
                  <a:lnTo>
                    <a:pt x="9975794" y="7900577"/>
                  </a:lnTo>
                  <a:lnTo>
                    <a:pt x="9990089" y="7943463"/>
                  </a:lnTo>
                  <a:lnTo>
                    <a:pt x="9994854" y="7952993"/>
                  </a:lnTo>
                  <a:lnTo>
                    <a:pt x="10032975" y="7976819"/>
                  </a:lnTo>
                  <a:lnTo>
                    <a:pt x="10047271" y="8010175"/>
                  </a:lnTo>
                  <a:lnTo>
                    <a:pt x="10052036" y="8024470"/>
                  </a:lnTo>
                  <a:lnTo>
                    <a:pt x="10061566" y="8062591"/>
                  </a:lnTo>
                  <a:lnTo>
                    <a:pt x="10080626" y="8081652"/>
                  </a:lnTo>
                  <a:lnTo>
                    <a:pt x="10099687" y="8091182"/>
                  </a:lnTo>
                  <a:lnTo>
                    <a:pt x="10104452" y="8100712"/>
                  </a:lnTo>
                  <a:lnTo>
                    <a:pt x="10104452" y="8148363"/>
                  </a:lnTo>
                  <a:lnTo>
                    <a:pt x="10109217" y="8167424"/>
                  </a:lnTo>
                  <a:lnTo>
                    <a:pt x="10128278" y="8191250"/>
                  </a:lnTo>
                  <a:lnTo>
                    <a:pt x="10137808" y="8210310"/>
                  </a:lnTo>
                  <a:lnTo>
                    <a:pt x="10123513" y="8229371"/>
                  </a:lnTo>
                  <a:lnTo>
                    <a:pt x="10090157" y="8238901"/>
                  </a:lnTo>
                  <a:lnTo>
                    <a:pt x="9994854" y="8229371"/>
                  </a:lnTo>
                  <a:lnTo>
                    <a:pt x="9866196" y="8200780"/>
                  </a:lnTo>
                  <a:lnTo>
                    <a:pt x="9789954" y="8210310"/>
                  </a:lnTo>
                  <a:lnTo>
                    <a:pt x="9751833" y="8219840"/>
                  </a:lnTo>
                  <a:lnTo>
                    <a:pt x="9661295" y="8267492"/>
                  </a:lnTo>
                  <a:lnTo>
                    <a:pt x="9632704" y="8272257"/>
                  </a:lnTo>
                  <a:lnTo>
                    <a:pt x="9604114" y="8277022"/>
                  </a:lnTo>
                  <a:lnTo>
                    <a:pt x="9556462" y="8238901"/>
                  </a:lnTo>
                  <a:lnTo>
                    <a:pt x="9537402" y="8219840"/>
                  </a:lnTo>
                  <a:lnTo>
                    <a:pt x="9532637" y="8200780"/>
                  </a:lnTo>
                  <a:lnTo>
                    <a:pt x="9518341" y="8157894"/>
                  </a:lnTo>
                  <a:lnTo>
                    <a:pt x="9508811" y="8105477"/>
                  </a:lnTo>
                  <a:lnTo>
                    <a:pt x="9504046" y="8057826"/>
                  </a:lnTo>
                  <a:lnTo>
                    <a:pt x="9499281" y="8024470"/>
                  </a:lnTo>
                  <a:lnTo>
                    <a:pt x="9480220" y="8014940"/>
                  </a:lnTo>
                  <a:lnTo>
                    <a:pt x="9427804" y="8000644"/>
                  </a:lnTo>
                  <a:lnTo>
                    <a:pt x="9413509" y="7981584"/>
                  </a:lnTo>
                  <a:lnTo>
                    <a:pt x="9403978" y="7967289"/>
                  </a:lnTo>
                  <a:lnTo>
                    <a:pt x="9399213" y="7938698"/>
                  </a:lnTo>
                  <a:lnTo>
                    <a:pt x="9399213" y="7914872"/>
                  </a:lnTo>
                  <a:lnTo>
                    <a:pt x="9403978" y="7891046"/>
                  </a:lnTo>
                  <a:lnTo>
                    <a:pt x="9403978" y="7886281"/>
                  </a:lnTo>
                  <a:lnTo>
                    <a:pt x="9413509" y="7886281"/>
                  </a:lnTo>
                  <a:lnTo>
                    <a:pt x="9399213" y="7857691"/>
                  </a:lnTo>
                  <a:lnTo>
                    <a:pt x="9394448" y="7824335"/>
                  </a:lnTo>
                  <a:lnTo>
                    <a:pt x="9389683" y="7781448"/>
                  </a:lnTo>
                  <a:lnTo>
                    <a:pt x="9394448" y="7752858"/>
                  </a:lnTo>
                  <a:lnTo>
                    <a:pt x="9399213" y="7738562"/>
                  </a:lnTo>
                  <a:lnTo>
                    <a:pt x="9408744" y="7733797"/>
                  </a:lnTo>
                  <a:close/>
                  <a:moveTo>
                    <a:pt x="5546607" y="7729032"/>
                  </a:moveTo>
                  <a:lnTo>
                    <a:pt x="5575198" y="7729032"/>
                  </a:lnTo>
                  <a:lnTo>
                    <a:pt x="5608554" y="7738562"/>
                  </a:lnTo>
                  <a:lnTo>
                    <a:pt x="5651440" y="7790979"/>
                  </a:lnTo>
                  <a:lnTo>
                    <a:pt x="5670500" y="7800509"/>
                  </a:lnTo>
                  <a:lnTo>
                    <a:pt x="5680031" y="7810039"/>
                  </a:lnTo>
                  <a:lnTo>
                    <a:pt x="5689561" y="7833865"/>
                  </a:lnTo>
                  <a:lnTo>
                    <a:pt x="5694326" y="7852925"/>
                  </a:lnTo>
                  <a:lnTo>
                    <a:pt x="5694326" y="7895811"/>
                  </a:lnTo>
                  <a:lnTo>
                    <a:pt x="5689561" y="7952993"/>
                  </a:lnTo>
                  <a:lnTo>
                    <a:pt x="5684796" y="7976818"/>
                  </a:lnTo>
                  <a:lnTo>
                    <a:pt x="5656205" y="8053060"/>
                  </a:lnTo>
                  <a:lnTo>
                    <a:pt x="5627614" y="8100712"/>
                  </a:lnTo>
                  <a:lnTo>
                    <a:pt x="5622849" y="8124537"/>
                  </a:lnTo>
                  <a:lnTo>
                    <a:pt x="5613319" y="8148363"/>
                  </a:lnTo>
                  <a:lnTo>
                    <a:pt x="5594258" y="8172188"/>
                  </a:lnTo>
                  <a:lnTo>
                    <a:pt x="5579963" y="8186484"/>
                  </a:lnTo>
                  <a:lnTo>
                    <a:pt x="5570433" y="8191249"/>
                  </a:lnTo>
                  <a:lnTo>
                    <a:pt x="5556137" y="8176954"/>
                  </a:lnTo>
                  <a:lnTo>
                    <a:pt x="5532312" y="8153128"/>
                  </a:lnTo>
                  <a:lnTo>
                    <a:pt x="5498956" y="8095947"/>
                  </a:lnTo>
                  <a:lnTo>
                    <a:pt x="5456070" y="8038765"/>
                  </a:lnTo>
                  <a:lnTo>
                    <a:pt x="5451305" y="8005409"/>
                  </a:lnTo>
                  <a:lnTo>
                    <a:pt x="5441774" y="7981584"/>
                  </a:lnTo>
                  <a:lnTo>
                    <a:pt x="5384593" y="7924402"/>
                  </a:lnTo>
                  <a:lnTo>
                    <a:pt x="5351237" y="7895811"/>
                  </a:lnTo>
                  <a:lnTo>
                    <a:pt x="5322646" y="7886281"/>
                  </a:lnTo>
                  <a:lnTo>
                    <a:pt x="5317881" y="7867221"/>
                  </a:lnTo>
                  <a:lnTo>
                    <a:pt x="5336942" y="7819569"/>
                  </a:lnTo>
                  <a:lnTo>
                    <a:pt x="5360767" y="7781448"/>
                  </a:lnTo>
                  <a:lnTo>
                    <a:pt x="5370297" y="7767153"/>
                  </a:lnTo>
                  <a:lnTo>
                    <a:pt x="5413184" y="7752858"/>
                  </a:lnTo>
                  <a:close/>
                  <a:moveTo>
                    <a:pt x="8529577" y="7676616"/>
                  </a:moveTo>
                  <a:lnTo>
                    <a:pt x="8598672" y="7681381"/>
                  </a:lnTo>
                  <a:lnTo>
                    <a:pt x="8727330" y="7705207"/>
                  </a:lnTo>
                  <a:lnTo>
                    <a:pt x="8746391" y="7719502"/>
                  </a:lnTo>
                  <a:lnTo>
                    <a:pt x="8746391" y="7729032"/>
                  </a:lnTo>
                  <a:lnTo>
                    <a:pt x="8755921" y="7752858"/>
                  </a:lnTo>
                  <a:lnTo>
                    <a:pt x="8751156" y="7767153"/>
                  </a:lnTo>
                  <a:lnTo>
                    <a:pt x="8713035" y="7819570"/>
                  </a:lnTo>
                  <a:lnTo>
                    <a:pt x="8670148" y="7857691"/>
                  </a:lnTo>
                  <a:lnTo>
                    <a:pt x="8641558" y="7895812"/>
                  </a:lnTo>
                  <a:lnTo>
                    <a:pt x="8589141" y="7976819"/>
                  </a:lnTo>
                  <a:lnTo>
                    <a:pt x="8574846" y="8005410"/>
                  </a:lnTo>
                  <a:lnTo>
                    <a:pt x="8515282" y="8167424"/>
                  </a:lnTo>
                  <a:lnTo>
                    <a:pt x="8500986" y="8196015"/>
                  </a:lnTo>
                  <a:lnTo>
                    <a:pt x="8491456" y="8215075"/>
                  </a:lnTo>
                  <a:lnTo>
                    <a:pt x="8486691" y="8272257"/>
                  </a:lnTo>
                  <a:lnTo>
                    <a:pt x="8491456" y="8291318"/>
                  </a:lnTo>
                  <a:lnTo>
                    <a:pt x="8500986" y="8324673"/>
                  </a:lnTo>
                  <a:lnTo>
                    <a:pt x="8534342" y="8396150"/>
                  </a:lnTo>
                  <a:lnTo>
                    <a:pt x="8543873" y="8429506"/>
                  </a:lnTo>
                  <a:lnTo>
                    <a:pt x="8539108" y="8458097"/>
                  </a:lnTo>
                  <a:lnTo>
                    <a:pt x="8539108" y="8529574"/>
                  </a:lnTo>
                  <a:lnTo>
                    <a:pt x="8539108" y="8567695"/>
                  </a:lnTo>
                  <a:lnTo>
                    <a:pt x="8539108" y="8601051"/>
                  </a:lnTo>
                  <a:lnTo>
                    <a:pt x="8543873" y="8651085"/>
                  </a:lnTo>
                  <a:lnTo>
                    <a:pt x="8558168" y="8713031"/>
                  </a:lnTo>
                  <a:lnTo>
                    <a:pt x="8584376" y="8779743"/>
                  </a:lnTo>
                  <a:lnTo>
                    <a:pt x="8627262" y="8841690"/>
                  </a:lnTo>
                  <a:lnTo>
                    <a:pt x="8660618" y="8884576"/>
                  </a:lnTo>
                  <a:lnTo>
                    <a:pt x="8693974" y="8917932"/>
                  </a:lnTo>
                  <a:lnTo>
                    <a:pt x="8732095" y="8960818"/>
                  </a:lnTo>
                  <a:lnTo>
                    <a:pt x="8741625" y="8984644"/>
                  </a:lnTo>
                  <a:lnTo>
                    <a:pt x="8722565" y="9008469"/>
                  </a:lnTo>
                  <a:lnTo>
                    <a:pt x="8684444" y="9046590"/>
                  </a:lnTo>
                  <a:lnTo>
                    <a:pt x="8627262" y="9060886"/>
                  </a:lnTo>
                  <a:lnTo>
                    <a:pt x="8598672" y="9075181"/>
                  </a:lnTo>
                  <a:lnTo>
                    <a:pt x="8562933" y="9108537"/>
                  </a:lnTo>
                  <a:lnTo>
                    <a:pt x="8520047" y="9137128"/>
                  </a:lnTo>
                  <a:lnTo>
                    <a:pt x="8500986" y="9151423"/>
                  </a:lnTo>
                  <a:lnTo>
                    <a:pt x="8505752" y="9160953"/>
                  </a:lnTo>
                  <a:lnTo>
                    <a:pt x="8543873" y="9146658"/>
                  </a:lnTo>
                  <a:lnTo>
                    <a:pt x="8572463" y="9132362"/>
                  </a:lnTo>
                  <a:lnTo>
                    <a:pt x="8617732" y="9094242"/>
                  </a:lnTo>
                  <a:lnTo>
                    <a:pt x="8646323" y="9079946"/>
                  </a:lnTo>
                  <a:lnTo>
                    <a:pt x="8732095" y="9079946"/>
                  </a:lnTo>
                  <a:lnTo>
                    <a:pt x="8746391" y="9089476"/>
                  </a:lnTo>
                  <a:lnTo>
                    <a:pt x="8736860" y="9113302"/>
                  </a:lnTo>
                  <a:lnTo>
                    <a:pt x="8736860" y="9118067"/>
                  </a:lnTo>
                  <a:lnTo>
                    <a:pt x="8736860" y="9127597"/>
                  </a:lnTo>
                  <a:lnTo>
                    <a:pt x="8746391" y="9141893"/>
                  </a:lnTo>
                  <a:lnTo>
                    <a:pt x="8765451" y="9156188"/>
                  </a:lnTo>
                  <a:lnTo>
                    <a:pt x="8774981" y="9141893"/>
                  </a:lnTo>
                  <a:lnTo>
                    <a:pt x="8779746" y="9108537"/>
                  </a:lnTo>
                  <a:lnTo>
                    <a:pt x="8789277" y="8979878"/>
                  </a:lnTo>
                  <a:lnTo>
                    <a:pt x="8798807" y="8941757"/>
                  </a:lnTo>
                  <a:lnTo>
                    <a:pt x="8798807" y="8903636"/>
                  </a:lnTo>
                  <a:lnTo>
                    <a:pt x="8798807" y="8870280"/>
                  </a:lnTo>
                  <a:lnTo>
                    <a:pt x="8794042" y="8846455"/>
                  </a:lnTo>
                  <a:lnTo>
                    <a:pt x="8770216" y="8832160"/>
                  </a:lnTo>
                  <a:lnTo>
                    <a:pt x="8741625" y="8836925"/>
                  </a:lnTo>
                  <a:lnTo>
                    <a:pt x="8727330" y="8832160"/>
                  </a:lnTo>
                  <a:lnTo>
                    <a:pt x="8708270" y="8827394"/>
                  </a:lnTo>
                  <a:lnTo>
                    <a:pt x="8693974" y="8813099"/>
                  </a:lnTo>
                  <a:lnTo>
                    <a:pt x="8684444" y="8798804"/>
                  </a:lnTo>
                  <a:lnTo>
                    <a:pt x="8665383" y="8755917"/>
                  </a:lnTo>
                  <a:lnTo>
                    <a:pt x="8651088" y="8732092"/>
                  </a:lnTo>
                  <a:lnTo>
                    <a:pt x="8617732" y="8684440"/>
                  </a:lnTo>
                  <a:lnTo>
                    <a:pt x="8603437" y="8670145"/>
                  </a:lnTo>
                  <a:lnTo>
                    <a:pt x="8612967" y="8651085"/>
                  </a:lnTo>
                  <a:lnTo>
                    <a:pt x="8641558" y="8632024"/>
                  </a:lnTo>
                  <a:lnTo>
                    <a:pt x="8660618" y="8615346"/>
                  </a:lnTo>
                  <a:lnTo>
                    <a:pt x="8684444" y="8558165"/>
                  </a:lnTo>
                  <a:lnTo>
                    <a:pt x="8693974" y="8548634"/>
                  </a:lnTo>
                  <a:lnTo>
                    <a:pt x="8741625" y="8553400"/>
                  </a:lnTo>
                  <a:lnTo>
                    <a:pt x="8808337" y="8601051"/>
                  </a:lnTo>
                  <a:lnTo>
                    <a:pt x="8846458" y="8636789"/>
                  </a:lnTo>
                  <a:lnTo>
                    <a:pt x="8855988" y="8641554"/>
                  </a:lnTo>
                  <a:lnTo>
                    <a:pt x="8855988" y="8632024"/>
                  </a:lnTo>
                  <a:lnTo>
                    <a:pt x="8846458" y="8615346"/>
                  </a:lnTo>
                  <a:lnTo>
                    <a:pt x="8803572" y="8567695"/>
                  </a:lnTo>
                  <a:lnTo>
                    <a:pt x="8779746" y="8534339"/>
                  </a:lnTo>
                  <a:lnTo>
                    <a:pt x="8770216" y="8510513"/>
                  </a:lnTo>
                  <a:lnTo>
                    <a:pt x="8774981" y="8496218"/>
                  </a:lnTo>
                  <a:lnTo>
                    <a:pt x="8798807" y="8486688"/>
                  </a:lnTo>
                  <a:lnTo>
                    <a:pt x="8803572" y="8472392"/>
                  </a:lnTo>
                  <a:lnTo>
                    <a:pt x="8770216" y="8458097"/>
                  </a:lnTo>
                  <a:lnTo>
                    <a:pt x="8751156" y="8458097"/>
                  </a:lnTo>
                  <a:lnTo>
                    <a:pt x="8736860" y="8467627"/>
                  </a:lnTo>
                  <a:lnTo>
                    <a:pt x="8722565" y="8467627"/>
                  </a:lnTo>
                  <a:lnTo>
                    <a:pt x="8693974" y="8448567"/>
                  </a:lnTo>
                  <a:lnTo>
                    <a:pt x="8684444" y="8439036"/>
                  </a:lnTo>
                  <a:lnTo>
                    <a:pt x="8665383" y="8405681"/>
                  </a:lnTo>
                  <a:lnTo>
                    <a:pt x="8660618" y="8372325"/>
                  </a:lnTo>
                  <a:lnTo>
                    <a:pt x="8651088" y="8353264"/>
                  </a:lnTo>
                  <a:lnTo>
                    <a:pt x="8646323" y="8338969"/>
                  </a:lnTo>
                  <a:lnTo>
                    <a:pt x="8646323" y="8291318"/>
                  </a:lnTo>
                  <a:lnTo>
                    <a:pt x="8646323" y="8267492"/>
                  </a:lnTo>
                  <a:lnTo>
                    <a:pt x="8646323" y="8243666"/>
                  </a:lnTo>
                  <a:lnTo>
                    <a:pt x="8655853" y="8219841"/>
                  </a:lnTo>
                  <a:lnTo>
                    <a:pt x="8674914" y="8186485"/>
                  </a:lnTo>
                  <a:lnTo>
                    <a:pt x="8684444" y="8176954"/>
                  </a:lnTo>
                  <a:lnTo>
                    <a:pt x="8703504" y="8172189"/>
                  </a:lnTo>
                  <a:lnTo>
                    <a:pt x="8746391" y="8186485"/>
                  </a:lnTo>
                  <a:lnTo>
                    <a:pt x="8860754" y="8253196"/>
                  </a:lnTo>
                  <a:lnTo>
                    <a:pt x="8860754" y="8234136"/>
                  </a:lnTo>
                  <a:lnTo>
                    <a:pt x="8732095" y="8143599"/>
                  </a:lnTo>
                  <a:lnTo>
                    <a:pt x="8684444" y="8119773"/>
                  </a:lnTo>
                  <a:lnTo>
                    <a:pt x="8674914" y="8091182"/>
                  </a:lnTo>
                  <a:lnTo>
                    <a:pt x="8741625" y="7962524"/>
                  </a:lnTo>
                  <a:lnTo>
                    <a:pt x="8803572" y="7933933"/>
                  </a:lnTo>
                  <a:lnTo>
                    <a:pt x="8836928" y="7900577"/>
                  </a:lnTo>
                  <a:lnTo>
                    <a:pt x="8889344" y="7895812"/>
                  </a:lnTo>
                  <a:lnTo>
                    <a:pt x="8936996" y="7919638"/>
                  </a:lnTo>
                  <a:lnTo>
                    <a:pt x="8936996" y="7914872"/>
                  </a:lnTo>
                  <a:lnTo>
                    <a:pt x="8913170" y="7871986"/>
                  </a:lnTo>
                  <a:lnTo>
                    <a:pt x="8917935" y="7857691"/>
                  </a:lnTo>
                  <a:lnTo>
                    <a:pt x="8946526" y="7833865"/>
                  </a:lnTo>
                  <a:lnTo>
                    <a:pt x="8994177" y="7800509"/>
                  </a:lnTo>
                  <a:lnTo>
                    <a:pt x="9056124" y="7776684"/>
                  </a:lnTo>
                  <a:lnTo>
                    <a:pt x="9065654" y="7767153"/>
                  </a:lnTo>
                  <a:lnTo>
                    <a:pt x="9084715" y="7757623"/>
                  </a:lnTo>
                  <a:lnTo>
                    <a:pt x="9113305" y="7748093"/>
                  </a:lnTo>
                  <a:lnTo>
                    <a:pt x="9184782" y="7743328"/>
                  </a:lnTo>
                  <a:lnTo>
                    <a:pt x="9222903" y="7748093"/>
                  </a:lnTo>
                  <a:lnTo>
                    <a:pt x="9275320" y="7767153"/>
                  </a:lnTo>
                  <a:lnTo>
                    <a:pt x="9308676" y="7800509"/>
                  </a:lnTo>
                  <a:lnTo>
                    <a:pt x="9318206" y="7819570"/>
                  </a:lnTo>
                  <a:lnTo>
                    <a:pt x="9332501" y="7886282"/>
                  </a:lnTo>
                  <a:lnTo>
                    <a:pt x="9346797" y="7976819"/>
                  </a:lnTo>
                  <a:lnTo>
                    <a:pt x="9365857" y="8014940"/>
                  </a:lnTo>
                  <a:lnTo>
                    <a:pt x="9399213" y="8034001"/>
                  </a:lnTo>
                  <a:lnTo>
                    <a:pt x="9418274" y="8057826"/>
                  </a:lnTo>
                  <a:lnTo>
                    <a:pt x="9432569" y="8081652"/>
                  </a:lnTo>
                  <a:lnTo>
                    <a:pt x="9437334" y="8110243"/>
                  </a:lnTo>
                  <a:lnTo>
                    <a:pt x="9427804" y="8148364"/>
                  </a:lnTo>
                  <a:lnTo>
                    <a:pt x="9432569" y="8186485"/>
                  </a:lnTo>
                  <a:lnTo>
                    <a:pt x="9446864" y="8219841"/>
                  </a:lnTo>
                  <a:lnTo>
                    <a:pt x="9461160" y="8243666"/>
                  </a:lnTo>
                  <a:lnTo>
                    <a:pt x="9484985" y="8267492"/>
                  </a:lnTo>
                  <a:lnTo>
                    <a:pt x="9484985" y="8281787"/>
                  </a:lnTo>
                  <a:lnTo>
                    <a:pt x="9475455" y="8296083"/>
                  </a:lnTo>
                  <a:lnTo>
                    <a:pt x="9461160" y="8315143"/>
                  </a:lnTo>
                  <a:lnTo>
                    <a:pt x="9423039" y="8377090"/>
                  </a:lnTo>
                  <a:lnTo>
                    <a:pt x="9370622" y="8448567"/>
                  </a:lnTo>
                  <a:lnTo>
                    <a:pt x="9337266" y="8505748"/>
                  </a:lnTo>
                  <a:lnTo>
                    <a:pt x="9332501" y="8524809"/>
                  </a:lnTo>
                  <a:lnTo>
                    <a:pt x="9408743" y="8429506"/>
                  </a:lnTo>
                  <a:lnTo>
                    <a:pt x="9432569" y="8434271"/>
                  </a:lnTo>
                  <a:lnTo>
                    <a:pt x="9432569" y="8448567"/>
                  </a:lnTo>
                  <a:lnTo>
                    <a:pt x="9418274" y="8491453"/>
                  </a:lnTo>
                  <a:lnTo>
                    <a:pt x="9399213" y="8534339"/>
                  </a:lnTo>
                  <a:lnTo>
                    <a:pt x="9380153" y="8558165"/>
                  </a:lnTo>
                  <a:lnTo>
                    <a:pt x="9384918" y="8567695"/>
                  </a:lnTo>
                  <a:lnTo>
                    <a:pt x="9418274" y="8610581"/>
                  </a:lnTo>
                  <a:lnTo>
                    <a:pt x="9413508" y="8620111"/>
                  </a:lnTo>
                  <a:lnTo>
                    <a:pt x="9394448" y="8615346"/>
                  </a:lnTo>
                  <a:lnTo>
                    <a:pt x="9389683" y="8620111"/>
                  </a:lnTo>
                  <a:lnTo>
                    <a:pt x="9384918" y="8627259"/>
                  </a:lnTo>
                  <a:lnTo>
                    <a:pt x="9380153" y="8636789"/>
                  </a:lnTo>
                  <a:lnTo>
                    <a:pt x="9380153" y="8655850"/>
                  </a:lnTo>
                  <a:lnTo>
                    <a:pt x="9380153" y="8679675"/>
                  </a:lnTo>
                  <a:lnTo>
                    <a:pt x="9380153" y="8693971"/>
                  </a:lnTo>
                  <a:lnTo>
                    <a:pt x="9380153" y="8703501"/>
                  </a:lnTo>
                  <a:lnTo>
                    <a:pt x="9380153" y="8708266"/>
                  </a:lnTo>
                  <a:lnTo>
                    <a:pt x="9394448" y="8708266"/>
                  </a:lnTo>
                  <a:lnTo>
                    <a:pt x="9399213" y="8698736"/>
                  </a:lnTo>
                  <a:lnTo>
                    <a:pt x="9418274" y="8670145"/>
                  </a:lnTo>
                  <a:lnTo>
                    <a:pt x="9465925" y="8591520"/>
                  </a:lnTo>
                  <a:lnTo>
                    <a:pt x="9499281" y="8558165"/>
                  </a:lnTo>
                  <a:lnTo>
                    <a:pt x="9508811" y="8558165"/>
                  </a:lnTo>
                  <a:lnTo>
                    <a:pt x="9537402" y="8577225"/>
                  </a:lnTo>
                  <a:lnTo>
                    <a:pt x="9546932" y="8577225"/>
                  </a:lnTo>
                  <a:lnTo>
                    <a:pt x="9513576" y="8510513"/>
                  </a:lnTo>
                  <a:lnTo>
                    <a:pt x="9508811" y="8496218"/>
                  </a:lnTo>
                  <a:lnTo>
                    <a:pt x="9518341" y="8472392"/>
                  </a:lnTo>
                  <a:lnTo>
                    <a:pt x="9518341" y="8462862"/>
                  </a:lnTo>
                  <a:lnTo>
                    <a:pt x="9537402" y="8443802"/>
                  </a:lnTo>
                  <a:lnTo>
                    <a:pt x="9551697" y="8439036"/>
                  </a:lnTo>
                  <a:lnTo>
                    <a:pt x="9561228" y="8439036"/>
                  </a:lnTo>
                  <a:lnTo>
                    <a:pt x="9575523" y="8472392"/>
                  </a:lnTo>
                  <a:lnTo>
                    <a:pt x="9580288" y="8496218"/>
                  </a:lnTo>
                  <a:lnTo>
                    <a:pt x="9589818" y="8505748"/>
                  </a:lnTo>
                  <a:lnTo>
                    <a:pt x="9618409" y="8491453"/>
                  </a:lnTo>
                  <a:lnTo>
                    <a:pt x="9632704" y="8467627"/>
                  </a:lnTo>
                  <a:lnTo>
                    <a:pt x="9651765" y="8481923"/>
                  </a:lnTo>
                  <a:lnTo>
                    <a:pt x="9680356" y="8524809"/>
                  </a:lnTo>
                  <a:lnTo>
                    <a:pt x="9680356" y="8567695"/>
                  </a:lnTo>
                  <a:lnTo>
                    <a:pt x="9680356" y="8610581"/>
                  </a:lnTo>
                  <a:lnTo>
                    <a:pt x="9680356" y="8641554"/>
                  </a:lnTo>
                  <a:lnTo>
                    <a:pt x="9718477" y="8698736"/>
                  </a:lnTo>
                  <a:lnTo>
                    <a:pt x="9742302" y="8722562"/>
                  </a:lnTo>
                  <a:lnTo>
                    <a:pt x="9747067" y="8722562"/>
                  </a:lnTo>
                  <a:lnTo>
                    <a:pt x="9747067" y="8713031"/>
                  </a:lnTo>
                  <a:lnTo>
                    <a:pt x="9742302" y="8693971"/>
                  </a:lnTo>
                  <a:lnTo>
                    <a:pt x="9728007" y="8674910"/>
                  </a:lnTo>
                  <a:lnTo>
                    <a:pt x="9713712" y="8646320"/>
                  </a:lnTo>
                  <a:lnTo>
                    <a:pt x="9704181" y="8615346"/>
                  </a:lnTo>
                  <a:lnTo>
                    <a:pt x="9708946" y="8529574"/>
                  </a:lnTo>
                  <a:lnTo>
                    <a:pt x="9728007" y="8486688"/>
                  </a:lnTo>
                  <a:lnTo>
                    <a:pt x="9747067" y="8496218"/>
                  </a:lnTo>
                  <a:lnTo>
                    <a:pt x="9770893" y="8524809"/>
                  </a:lnTo>
                  <a:lnTo>
                    <a:pt x="9789954" y="8524809"/>
                  </a:lnTo>
                  <a:lnTo>
                    <a:pt x="9818544" y="8520044"/>
                  </a:lnTo>
                  <a:lnTo>
                    <a:pt x="9880491" y="8572460"/>
                  </a:lnTo>
                  <a:lnTo>
                    <a:pt x="9913847" y="8577225"/>
                  </a:lnTo>
                  <a:lnTo>
                    <a:pt x="9913847" y="8553400"/>
                  </a:lnTo>
                  <a:lnTo>
                    <a:pt x="9885256" y="8543869"/>
                  </a:lnTo>
                  <a:lnTo>
                    <a:pt x="9851900" y="8515278"/>
                  </a:lnTo>
                  <a:lnTo>
                    <a:pt x="9794719" y="8481923"/>
                  </a:lnTo>
                  <a:lnTo>
                    <a:pt x="9770893" y="8443802"/>
                  </a:lnTo>
                  <a:lnTo>
                    <a:pt x="9766128" y="8424741"/>
                  </a:lnTo>
                  <a:lnTo>
                    <a:pt x="9766128" y="8405681"/>
                  </a:lnTo>
                  <a:lnTo>
                    <a:pt x="9766128" y="8386620"/>
                  </a:lnTo>
                  <a:lnTo>
                    <a:pt x="9770893" y="8372325"/>
                  </a:lnTo>
                  <a:lnTo>
                    <a:pt x="9785188" y="8358029"/>
                  </a:lnTo>
                  <a:lnTo>
                    <a:pt x="9837605" y="8310378"/>
                  </a:lnTo>
                  <a:lnTo>
                    <a:pt x="9875726" y="8291318"/>
                  </a:lnTo>
                  <a:lnTo>
                    <a:pt x="9909082" y="8286552"/>
                  </a:lnTo>
                  <a:lnTo>
                    <a:pt x="9956733" y="8286552"/>
                  </a:lnTo>
                  <a:lnTo>
                    <a:pt x="10013915" y="8296083"/>
                  </a:lnTo>
                  <a:lnTo>
                    <a:pt x="10042505" y="8305613"/>
                  </a:lnTo>
                  <a:lnTo>
                    <a:pt x="10075861" y="8338969"/>
                  </a:lnTo>
                  <a:lnTo>
                    <a:pt x="10123512" y="8372325"/>
                  </a:lnTo>
                  <a:lnTo>
                    <a:pt x="10137808" y="8377090"/>
                  </a:lnTo>
                  <a:lnTo>
                    <a:pt x="10156868" y="8377090"/>
                  </a:lnTo>
                  <a:lnTo>
                    <a:pt x="10175929" y="8367560"/>
                  </a:lnTo>
                  <a:lnTo>
                    <a:pt x="10199753" y="8372325"/>
                  </a:lnTo>
                  <a:lnTo>
                    <a:pt x="10261701" y="8419976"/>
                  </a:lnTo>
                  <a:lnTo>
                    <a:pt x="10280761" y="8443802"/>
                  </a:lnTo>
                  <a:lnTo>
                    <a:pt x="10290293" y="8472392"/>
                  </a:lnTo>
                  <a:lnTo>
                    <a:pt x="10295057" y="8500983"/>
                  </a:lnTo>
                  <a:lnTo>
                    <a:pt x="10299821" y="8529574"/>
                  </a:lnTo>
                  <a:lnTo>
                    <a:pt x="10299821" y="8548634"/>
                  </a:lnTo>
                  <a:lnTo>
                    <a:pt x="10247405" y="8641554"/>
                  </a:lnTo>
                  <a:lnTo>
                    <a:pt x="10223581" y="8660615"/>
                  </a:lnTo>
                  <a:lnTo>
                    <a:pt x="10209285" y="8693971"/>
                  </a:lnTo>
                  <a:lnTo>
                    <a:pt x="10185461" y="8760683"/>
                  </a:lnTo>
                  <a:lnTo>
                    <a:pt x="10166399" y="8798804"/>
                  </a:lnTo>
                  <a:lnTo>
                    <a:pt x="10161634" y="8803569"/>
                  </a:lnTo>
                  <a:lnTo>
                    <a:pt x="10166399" y="8808334"/>
                  </a:lnTo>
                  <a:lnTo>
                    <a:pt x="10180693" y="8789273"/>
                  </a:lnTo>
                  <a:lnTo>
                    <a:pt x="10199753" y="8746387"/>
                  </a:lnTo>
                  <a:lnTo>
                    <a:pt x="10214049" y="8703501"/>
                  </a:lnTo>
                  <a:lnTo>
                    <a:pt x="10242641" y="8670145"/>
                  </a:lnTo>
                  <a:lnTo>
                    <a:pt x="10285529" y="8632024"/>
                  </a:lnTo>
                  <a:lnTo>
                    <a:pt x="10323649" y="8615346"/>
                  </a:lnTo>
                  <a:lnTo>
                    <a:pt x="10357005" y="8615346"/>
                  </a:lnTo>
                  <a:lnTo>
                    <a:pt x="10380829" y="8620111"/>
                  </a:lnTo>
                  <a:lnTo>
                    <a:pt x="10404657" y="8627259"/>
                  </a:lnTo>
                  <a:lnTo>
                    <a:pt x="10418949" y="8636789"/>
                  </a:lnTo>
                  <a:lnTo>
                    <a:pt x="10423717" y="8646320"/>
                  </a:lnTo>
                  <a:lnTo>
                    <a:pt x="10433245" y="8674910"/>
                  </a:lnTo>
                  <a:lnTo>
                    <a:pt x="10433245" y="8693971"/>
                  </a:lnTo>
                  <a:lnTo>
                    <a:pt x="10423717" y="8717796"/>
                  </a:lnTo>
                  <a:lnTo>
                    <a:pt x="10414185" y="8741622"/>
                  </a:lnTo>
                  <a:lnTo>
                    <a:pt x="10366533" y="8770213"/>
                  </a:lnTo>
                  <a:lnTo>
                    <a:pt x="10342709" y="8794038"/>
                  </a:lnTo>
                  <a:lnTo>
                    <a:pt x="10323649" y="8798804"/>
                  </a:lnTo>
                  <a:lnTo>
                    <a:pt x="10275997" y="8808334"/>
                  </a:lnTo>
                  <a:lnTo>
                    <a:pt x="10275997" y="8817864"/>
                  </a:lnTo>
                  <a:lnTo>
                    <a:pt x="10314117" y="8827394"/>
                  </a:lnTo>
                  <a:lnTo>
                    <a:pt x="10357005" y="8827394"/>
                  </a:lnTo>
                  <a:lnTo>
                    <a:pt x="10352237" y="8841690"/>
                  </a:lnTo>
                  <a:lnTo>
                    <a:pt x="10333177" y="8879811"/>
                  </a:lnTo>
                  <a:lnTo>
                    <a:pt x="10328413" y="8908402"/>
                  </a:lnTo>
                  <a:lnTo>
                    <a:pt x="10333177" y="8936992"/>
                  </a:lnTo>
                  <a:lnTo>
                    <a:pt x="10333177" y="8956053"/>
                  </a:lnTo>
                  <a:lnTo>
                    <a:pt x="10318881" y="9003704"/>
                  </a:lnTo>
                  <a:lnTo>
                    <a:pt x="10304589" y="9041825"/>
                  </a:lnTo>
                  <a:lnTo>
                    <a:pt x="10309353" y="9051355"/>
                  </a:lnTo>
                  <a:lnTo>
                    <a:pt x="10347473" y="8994174"/>
                  </a:lnTo>
                  <a:lnTo>
                    <a:pt x="10357005" y="8927462"/>
                  </a:lnTo>
                  <a:lnTo>
                    <a:pt x="10371301" y="8870280"/>
                  </a:lnTo>
                  <a:lnTo>
                    <a:pt x="10385593" y="8836925"/>
                  </a:lnTo>
                  <a:lnTo>
                    <a:pt x="10399889" y="8827394"/>
                  </a:lnTo>
                  <a:lnTo>
                    <a:pt x="10442777" y="8822629"/>
                  </a:lnTo>
                  <a:lnTo>
                    <a:pt x="10466601" y="8789273"/>
                  </a:lnTo>
                  <a:lnTo>
                    <a:pt x="10485661" y="8779743"/>
                  </a:lnTo>
                  <a:lnTo>
                    <a:pt x="10495193" y="8779743"/>
                  </a:lnTo>
                  <a:lnTo>
                    <a:pt x="10509489" y="8789273"/>
                  </a:lnTo>
                  <a:lnTo>
                    <a:pt x="10509489" y="8803569"/>
                  </a:lnTo>
                  <a:lnTo>
                    <a:pt x="10485661" y="8865515"/>
                  </a:lnTo>
                  <a:lnTo>
                    <a:pt x="10433245" y="8960818"/>
                  </a:lnTo>
                  <a:lnTo>
                    <a:pt x="10452305" y="8946522"/>
                  </a:lnTo>
                  <a:lnTo>
                    <a:pt x="10466601" y="8927462"/>
                  </a:lnTo>
                  <a:lnTo>
                    <a:pt x="10485661" y="8903636"/>
                  </a:lnTo>
                  <a:lnTo>
                    <a:pt x="10509489" y="8870280"/>
                  </a:lnTo>
                  <a:lnTo>
                    <a:pt x="10523785" y="8898871"/>
                  </a:lnTo>
                  <a:lnTo>
                    <a:pt x="10542845" y="8922697"/>
                  </a:lnTo>
                  <a:lnTo>
                    <a:pt x="10557141" y="8975113"/>
                  </a:lnTo>
                  <a:lnTo>
                    <a:pt x="10580965" y="8998939"/>
                  </a:lnTo>
                  <a:lnTo>
                    <a:pt x="10590497" y="9018000"/>
                  </a:lnTo>
                  <a:lnTo>
                    <a:pt x="10590497" y="8984644"/>
                  </a:lnTo>
                  <a:lnTo>
                    <a:pt x="10571433" y="8917932"/>
                  </a:lnTo>
                  <a:lnTo>
                    <a:pt x="10576201" y="8894106"/>
                  </a:lnTo>
                  <a:lnTo>
                    <a:pt x="10590497" y="8879811"/>
                  </a:lnTo>
                  <a:lnTo>
                    <a:pt x="10633381" y="8822629"/>
                  </a:lnTo>
                  <a:lnTo>
                    <a:pt x="10666737" y="8841690"/>
                  </a:lnTo>
                  <a:lnTo>
                    <a:pt x="10685797" y="8860750"/>
                  </a:lnTo>
                  <a:lnTo>
                    <a:pt x="10695329" y="8855985"/>
                  </a:lnTo>
                  <a:lnTo>
                    <a:pt x="10719153" y="8855985"/>
                  </a:lnTo>
                  <a:lnTo>
                    <a:pt x="10757273" y="8865515"/>
                  </a:lnTo>
                  <a:lnTo>
                    <a:pt x="10795397" y="8879811"/>
                  </a:lnTo>
                  <a:lnTo>
                    <a:pt x="10833517" y="8903636"/>
                  </a:lnTo>
                  <a:lnTo>
                    <a:pt x="10862109" y="8932227"/>
                  </a:lnTo>
                  <a:lnTo>
                    <a:pt x="10881169" y="8960818"/>
                  </a:lnTo>
                  <a:lnTo>
                    <a:pt x="10890697" y="8979878"/>
                  </a:lnTo>
                  <a:lnTo>
                    <a:pt x="10895465" y="8989409"/>
                  </a:lnTo>
                  <a:lnTo>
                    <a:pt x="10904993" y="9022765"/>
                  </a:lnTo>
                  <a:lnTo>
                    <a:pt x="10900229" y="9041825"/>
                  </a:lnTo>
                  <a:lnTo>
                    <a:pt x="10871637" y="9084711"/>
                  </a:lnTo>
                  <a:lnTo>
                    <a:pt x="10857341" y="9103772"/>
                  </a:lnTo>
                  <a:lnTo>
                    <a:pt x="10838281" y="9113302"/>
                  </a:lnTo>
                  <a:lnTo>
                    <a:pt x="10800161" y="9103772"/>
                  </a:lnTo>
                  <a:lnTo>
                    <a:pt x="10785865" y="9108537"/>
                  </a:lnTo>
                  <a:lnTo>
                    <a:pt x="10771569" y="9122832"/>
                  </a:lnTo>
                  <a:lnTo>
                    <a:pt x="10728685" y="9184779"/>
                  </a:lnTo>
                  <a:lnTo>
                    <a:pt x="10704857" y="9208605"/>
                  </a:lnTo>
                  <a:lnTo>
                    <a:pt x="10681033" y="9227665"/>
                  </a:lnTo>
                  <a:lnTo>
                    <a:pt x="10676269" y="9237195"/>
                  </a:lnTo>
                  <a:lnTo>
                    <a:pt x="10728685" y="9237195"/>
                  </a:lnTo>
                  <a:lnTo>
                    <a:pt x="10742981" y="9218135"/>
                  </a:lnTo>
                  <a:lnTo>
                    <a:pt x="10752509" y="9184779"/>
                  </a:lnTo>
                  <a:lnTo>
                    <a:pt x="10776337" y="9151423"/>
                  </a:lnTo>
                  <a:lnTo>
                    <a:pt x="10814457" y="9132362"/>
                  </a:lnTo>
                  <a:lnTo>
                    <a:pt x="10876401" y="9165718"/>
                  </a:lnTo>
                  <a:lnTo>
                    <a:pt x="10904993" y="9165718"/>
                  </a:lnTo>
                  <a:lnTo>
                    <a:pt x="10924053" y="9132362"/>
                  </a:lnTo>
                  <a:lnTo>
                    <a:pt x="10947881" y="9108537"/>
                  </a:lnTo>
                  <a:lnTo>
                    <a:pt x="10962177" y="9103772"/>
                  </a:lnTo>
                  <a:lnTo>
                    <a:pt x="10966941" y="9103772"/>
                  </a:lnTo>
                  <a:lnTo>
                    <a:pt x="10986001" y="9132362"/>
                  </a:lnTo>
                  <a:lnTo>
                    <a:pt x="10990765" y="9151423"/>
                  </a:lnTo>
                  <a:lnTo>
                    <a:pt x="10990765" y="9203840"/>
                  </a:lnTo>
                  <a:lnTo>
                    <a:pt x="10986001" y="9218135"/>
                  </a:lnTo>
                  <a:lnTo>
                    <a:pt x="10971705" y="9256256"/>
                  </a:lnTo>
                  <a:lnTo>
                    <a:pt x="10928821" y="9308672"/>
                  </a:lnTo>
                  <a:lnTo>
                    <a:pt x="10904993" y="9332498"/>
                  </a:lnTo>
                  <a:lnTo>
                    <a:pt x="10871637" y="9342028"/>
                  </a:lnTo>
                  <a:lnTo>
                    <a:pt x="10843045" y="9361089"/>
                  </a:lnTo>
                  <a:lnTo>
                    <a:pt x="10828753" y="9375384"/>
                  </a:lnTo>
                  <a:lnTo>
                    <a:pt x="10819221" y="9399210"/>
                  </a:lnTo>
                  <a:lnTo>
                    <a:pt x="10809693" y="9413505"/>
                  </a:lnTo>
                  <a:lnTo>
                    <a:pt x="10795397" y="9423035"/>
                  </a:lnTo>
                  <a:lnTo>
                    <a:pt x="10809693" y="9442096"/>
                  </a:lnTo>
                  <a:lnTo>
                    <a:pt x="10819221" y="9442096"/>
                  </a:lnTo>
                  <a:lnTo>
                    <a:pt x="10823985" y="9432566"/>
                  </a:lnTo>
                  <a:lnTo>
                    <a:pt x="10843045" y="9389679"/>
                  </a:lnTo>
                  <a:lnTo>
                    <a:pt x="10857341" y="9370619"/>
                  </a:lnTo>
                  <a:lnTo>
                    <a:pt x="10866873" y="9365854"/>
                  </a:lnTo>
                  <a:lnTo>
                    <a:pt x="10871637" y="9370619"/>
                  </a:lnTo>
                  <a:lnTo>
                    <a:pt x="10881169" y="9375384"/>
                  </a:lnTo>
                  <a:lnTo>
                    <a:pt x="10890697" y="9389679"/>
                  </a:lnTo>
                  <a:lnTo>
                    <a:pt x="10890697" y="9427800"/>
                  </a:lnTo>
                  <a:lnTo>
                    <a:pt x="10866873" y="9565989"/>
                  </a:lnTo>
                  <a:lnTo>
                    <a:pt x="10885933" y="9527868"/>
                  </a:lnTo>
                  <a:lnTo>
                    <a:pt x="10924053" y="9384914"/>
                  </a:lnTo>
                  <a:lnTo>
                    <a:pt x="10933585" y="9356324"/>
                  </a:lnTo>
                  <a:lnTo>
                    <a:pt x="10957409" y="9322968"/>
                  </a:lnTo>
                  <a:lnTo>
                    <a:pt x="11000297" y="9280082"/>
                  </a:lnTo>
                  <a:lnTo>
                    <a:pt x="11038417" y="9256256"/>
                  </a:lnTo>
                  <a:lnTo>
                    <a:pt x="11076537" y="9237195"/>
                  </a:lnTo>
                  <a:lnTo>
                    <a:pt x="11095597" y="9227665"/>
                  </a:lnTo>
                  <a:lnTo>
                    <a:pt x="11119425" y="9232430"/>
                  </a:lnTo>
                  <a:lnTo>
                    <a:pt x="11138485" y="9256256"/>
                  </a:lnTo>
                  <a:lnTo>
                    <a:pt x="11157545" y="9261021"/>
                  </a:lnTo>
                  <a:lnTo>
                    <a:pt x="11181373" y="9256256"/>
                  </a:lnTo>
                  <a:lnTo>
                    <a:pt x="11200433" y="9256256"/>
                  </a:lnTo>
                  <a:lnTo>
                    <a:pt x="11219493" y="9265786"/>
                  </a:lnTo>
                  <a:lnTo>
                    <a:pt x="11233789" y="9284847"/>
                  </a:lnTo>
                  <a:lnTo>
                    <a:pt x="11262377" y="9303907"/>
                  </a:lnTo>
                  <a:lnTo>
                    <a:pt x="11324325" y="9342028"/>
                  </a:lnTo>
                  <a:lnTo>
                    <a:pt x="11329089" y="9346793"/>
                  </a:lnTo>
                  <a:lnTo>
                    <a:pt x="11338621" y="9361089"/>
                  </a:lnTo>
                  <a:lnTo>
                    <a:pt x="11343385" y="9380149"/>
                  </a:lnTo>
                  <a:lnTo>
                    <a:pt x="11343385" y="9399210"/>
                  </a:lnTo>
                  <a:lnTo>
                    <a:pt x="11333857" y="9418270"/>
                  </a:lnTo>
                  <a:lnTo>
                    <a:pt x="11324325" y="9432566"/>
                  </a:lnTo>
                  <a:lnTo>
                    <a:pt x="11314793" y="9437331"/>
                  </a:lnTo>
                  <a:lnTo>
                    <a:pt x="11300501" y="9446861"/>
                  </a:lnTo>
                  <a:lnTo>
                    <a:pt x="11276673" y="9475452"/>
                  </a:lnTo>
                  <a:lnTo>
                    <a:pt x="11271909" y="9480217"/>
                  </a:lnTo>
                  <a:lnTo>
                    <a:pt x="11233789" y="9489747"/>
                  </a:lnTo>
                  <a:lnTo>
                    <a:pt x="11200433" y="9494512"/>
                  </a:lnTo>
                  <a:lnTo>
                    <a:pt x="11176605" y="9508808"/>
                  </a:lnTo>
                  <a:lnTo>
                    <a:pt x="11133721" y="9537398"/>
                  </a:lnTo>
                  <a:lnTo>
                    <a:pt x="11081305" y="9589815"/>
                  </a:lnTo>
                  <a:lnTo>
                    <a:pt x="11081305" y="9604110"/>
                  </a:lnTo>
                  <a:lnTo>
                    <a:pt x="11100365" y="9608875"/>
                  </a:lnTo>
                  <a:lnTo>
                    <a:pt x="11119425" y="9604110"/>
                  </a:lnTo>
                  <a:lnTo>
                    <a:pt x="11148017" y="9565989"/>
                  </a:lnTo>
                  <a:lnTo>
                    <a:pt x="11167077" y="9551694"/>
                  </a:lnTo>
                  <a:lnTo>
                    <a:pt x="11205197" y="9537398"/>
                  </a:lnTo>
                  <a:lnTo>
                    <a:pt x="11257613" y="9527868"/>
                  </a:lnTo>
                  <a:lnTo>
                    <a:pt x="11281437" y="9527868"/>
                  </a:lnTo>
                  <a:lnTo>
                    <a:pt x="11281437" y="9532633"/>
                  </a:lnTo>
                  <a:lnTo>
                    <a:pt x="11286205" y="9542164"/>
                  </a:lnTo>
                  <a:lnTo>
                    <a:pt x="11286205" y="9556459"/>
                  </a:lnTo>
                  <a:lnTo>
                    <a:pt x="11281437" y="9575519"/>
                  </a:lnTo>
                  <a:lnTo>
                    <a:pt x="11271909" y="9585050"/>
                  </a:lnTo>
                  <a:lnTo>
                    <a:pt x="11243317" y="9632701"/>
                  </a:lnTo>
                  <a:lnTo>
                    <a:pt x="11262377" y="9646996"/>
                  </a:lnTo>
                  <a:lnTo>
                    <a:pt x="11286205" y="9651762"/>
                  </a:lnTo>
                  <a:lnTo>
                    <a:pt x="11300501" y="9637466"/>
                  </a:lnTo>
                  <a:lnTo>
                    <a:pt x="11310029" y="9608875"/>
                  </a:lnTo>
                  <a:lnTo>
                    <a:pt x="11324325" y="9594580"/>
                  </a:lnTo>
                  <a:lnTo>
                    <a:pt x="11338621" y="9589815"/>
                  </a:lnTo>
                  <a:lnTo>
                    <a:pt x="11352917" y="9585050"/>
                  </a:lnTo>
                  <a:lnTo>
                    <a:pt x="11367213" y="9570754"/>
                  </a:lnTo>
                  <a:lnTo>
                    <a:pt x="11367213" y="9565989"/>
                  </a:lnTo>
                  <a:lnTo>
                    <a:pt x="11352917" y="9551694"/>
                  </a:lnTo>
                  <a:lnTo>
                    <a:pt x="11348149" y="9542164"/>
                  </a:lnTo>
                  <a:lnTo>
                    <a:pt x="11357681" y="9518338"/>
                  </a:lnTo>
                  <a:lnTo>
                    <a:pt x="11367213" y="9494512"/>
                  </a:lnTo>
                  <a:lnTo>
                    <a:pt x="11381505" y="9480217"/>
                  </a:lnTo>
                  <a:lnTo>
                    <a:pt x="11391037" y="9475452"/>
                  </a:lnTo>
                  <a:lnTo>
                    <a:pt x="11424393" y="9494512"/>
                  </a:lnTo>
                  <a:lnTo>
                    <a:pt x="11443453" y="9523103"/>
                  </a:lnTo>
                  <a:lnTo>
                    <a:pt x="11500633" y="9608875"/>
                  </a:lnTo>
                  <a:lnTo>
                    <a:pt x="11510165" y="9623171"/>
                  </a:lnTo>
                  <a:lnTo>
                    <a:pt x="11524461" y="9685117"/>
                  </a:lnTo>
                  <a:lnTo>
                    <a:pt x="11529225" y="9713708"/>
                  </a:lnTo>
                  <a:lnTo>
                    <a:pt x="11524461" y="9732769"/>
                  </a:lnTo>
                  <a:lnTo>
                    <a:pt x="11524461" y="9747064"/>
                  </a:lnTo>
                  <a:lnTo>
                    <a:pt x="11514929" y="9751829"/>
                  </a:lnTo>
                  <a:lnTo>
                    <a:pt x="11505401" y="9751829"/>
                  </a:lnTo>
                  <a:lnTo>
                    <a:pt x="11433921" y="9723238"/>
                  </a:lnTo>
                  <a:lnTo>
                    <a:pt x="11395801" y="9728004"/>
                  </a:lnTo>
                  <a:lnTo>
                    <a:pt x="11381505" y="9737534"/>
                  </a:lnTo>
                  <a:lnTo>
                    <a:pt x="11371977" y="9747064"/>
                  </a:lnTo>
                  <a:lnTo>
                    <a:pt x="11362445" y="9761359"/>
                  </a:lnTo>
                  <a:lnTo>
                    <a:pt x="11357681" y="9775655"/>
                  </a:lnTo>
                  <a:lnTo>
                    <a:pt x="11343385" y="9785185"/>
                  </a:lnTo>
                  <a:lnTo>
                    <a:pt x="11295733" y="9785185"/>
                  </a:lnTo>
                  <a:lnTo>
                    <a:pt x="11271909" y="9794715"/>
                  </a:lnTo>
                  <a:lnTo>
                    <a:pt x="11224257" y="9813776"/>
                  </a:lnTo>
                  <a:lnTo>
                    <a:pt x="11209961" y="9828071"/>
                  </a:lnTo>
                  <a:lnTo>
                    <a:pt x="11205197" y="9842366"/>
                  </a:lnTo>
                  <a:lnTo>
                    <a:pt x="11233789" y="9842366"/>
                  </a:lnTo>
                  <a:lnTo>
                    <a:pt x="11276673" y="9818541"/>
                  </a:lnTo>
                  <a:lnTo>
                    <a:pt x="11319561" y="9813776"/>
                  </a:lnTo>
                  <a:lnTo>
                    <a:pt x="11391037" y="9861427"/>
                  </a:lnTo>
                  <a:lnTo>
                    <a:pt x="11414861" y="9866192"/>
                  </a:lnTo>
                  <a:lnTo>
                    <a:pt x="11429157" y="9861427"/>
                  </a:lnTo>
                  <a:lnTo>
                    <a:pt x="11443453" y="9856662"/>
                  </a:lnTo>
                  <a:lnTo>
                    <a:pt x="11500633" y="9861427"/>
                  </a:lnTo>
                  <a:lnTo>
                    <a:pt x="11519697" y="9866192"/>
                  </a:lnTo>
                  <a:lnTo>
                    <a:pt x="11548285" y="9885253"/>
                  </a:lnTo>
                  <a:lnTo>
                    <a:pt x="11591173" y="9923374"/>
                  </a:lnTo>
                  <a:lnTo>
                    <a:pt x="11600701" y="9932904"/>
                  </a:lnTo>
                  <a:lnTo>
                    <a:pt x="11605469" y="9942434"/>
                  </a:lnTo>
                  <a:lnTo>
                    <a:pt x="11610233" y="9956730"/>
                  </a:lnTo>
                  <a:lnTo>
                    <a:pt x="11605469" y="9985320"/>
                  </a:lnTo>
                  <a:lnTo>
                    <a:pt x="11600701" y="9994851"/>
                  </a:lnTo>
                  <a:lnTo>
                    <a:pt x="11586405" y="10004381"/>
                  </a:lnTo>
                  <a:lnTo>
                    <a:pt x="11524461" y="9994851"/>
                  </a:lnTo>
                  <a:lnTo>
                    <a:pt x="11505401" y="9990086"/>
                  </a:lnTo>
                  <a:lnTo>
                    <a:pt x="11481573" y="9994851"/>
                  </a:lnTo>
                  <a:lnTo>
                    <a:pt x="11462513" y="9994851"/>
                  </a:lnTo>
                  <a:lnTo>
                    <a:pt x="11438689" y="9980555"/>
                  </a:lnTo>
                  <a:lnTo>
                    <a:pt x="11410097" y="9961495"/>
                  </a:lnTo>
                  <a:lnTo>
                    <a:pt x="11371977" y="9980555"/>
                  </a:lnTo>
                  <a:lnTo>
                    <a:pt x="11338621" y="9966260"/>
                  </a:lnTo>
                  <a:lnTo>
                    <a:pt x="11305265" y="9980555"/>
                  </a:lnTo>
                  <a:lnTo>
                    <a:pt x="11238553" y="10028206"/>
                  </a:lnTo>
                  <a:lnTo>
                    <a:pt x="11248081" y="10032972"/>
                  </a:lnTo>
                  <a:lnTo>
                    <a:pt x="11338621" y="9994851"/>
                  </a:lnTo>
                  <a:lnTo>
                    <a:pt x="11352917" y="9994851"/>
                  </a:lnTo>
                  <a:lnTo>
                    <a:pt x="11381505" y="10013911"/>
                  </a:lnTo>
                  <a:lnTo>
                    <a:pt x="11429157" y="10042502"/>
                  </a:lnTo>
                  <a:lnTo>
                    <a:pt x="11438689" y="10052032"/>
                  </a:lnTo>
                  <a:lnTo>
                    <a:pt x="11438689" y="10099684"/>
                  </a:lnTo>
                  <a:lnTo>
                    <a:pt x="11433921" y="10128274"/>
                  </a:lnTo>
                  <a:lnTo>
                    <a:pt x="11419629" y="10161630"/>
                  </a:lnTo>
                  <a:lnTo>
                    <a:pt x="11400565" y="10156865"/>
                  </a:lnTo>
                  <a:lnTo>
                    <a:pt x="11352917" y="10137804"/>
                  </a:lnTo>
                  <a:lnTo>
                    <a:pt x="11329089" y="10133039"/>
                  </a:lnTo>
                  <a:lnTo>
                    <a:pt x="11314793" y="10137804"/>
                  </a:lnTo>
                  <a:lnTo>
                    <a:pt x="11295733" y="10152100"/>
                  </a:lnTo>
                  <a:lnTo>
                    <a:pt x="11286205" y="10152100"/>
                  </a:lnTo>
                  <a:lnTo>
                    <a:pt x="11209961" y="10123509"/>
                  </a:lnTo>
                  <a:lnTo>
                    <a:pt x="11195665" y="10123509"/>
                  </a:lnTo>
                  <a:lnTo>
                    <a:pt x="11190901" y="10128274"/>
                  </a:lnTo>
                  <a:lnTo>
                    <a:pt x="11195665" y="10133039"/>
                  </a:lnTo>
                  <a:lnTo>
                    <a:pt x="11267145" y="10171160"/>
                  </a:lnTo>
                  <a:lnTo>
                    <a:pt x="11314793" y="10175926"/>
                  </a:lnTo>
                  <a:lnTo>
                    <a:pt x="11348149" y="10185456"/>
                  </a:lnTo>
                  <a:lnTo>
                    <a:pt x="11367213" y="10199751"/>
                  </a:lnTo>
                  <a:lnTo>
                    <a:pt x="11376741" y="10209282"/>
                  </a:lnTo>
                  <a:lnTo>
                    <a:pt x="11376741" y="10233107"/>
                  </a:lnTo>
                  <a:lnTo>
                    <a:pt x="11395801" y="10261698"/>
                  </a:lnTo>
                  <a:lnTo>
                    <a:pt x="11410097" y="10275993"/>
                  </a:lnTo>
                  <a:lnTo>
                    <a:pt x="11419629" y="10275993"/>
                  </a:lnTo>
                  <a:lnTo>
                    <a:pt x="11438689" y="10266463"/>
                  </a:lnTo>
                  <a:lnTo>
                    <a:pt x="11452985" y="10261698"/>
                  </a:lnTo>
                  <a:lnTo>
                    <a:pt x="11467277" y="10271228"/>
                  </a:lnTo>
                  <a:lnTo>
                    <a:pt x="11486341" y="10285524"/>
                  </a:lnTo>
                  <a:lnTo>
                    <a:pt x="11505401" y="10290288"/>
                  </a:lnTo>
                  <a:lnTo>
                    <a:pt x="11524461" y="10299819"/>
                  </a:lnTo>
                  <a:lnTo>
                    <a:pt x="11538757" y="10299819"/>
                  </a:lnTo>
                  <a:lnTo>
                    <a:pt x="11581641" y="10295054"/>
                  </a:lnTo>
                  <a:lnTo>
                    <a:pt x="11595937" y="10304584"/>
                  </a:lnTo>
                  <a:lnTo>
                    <a:pt x="11600701" y="10309349"/>
                  </a:lnTo>
                  <a:lnTo>
                    <a:pt x="11595937" y="10318879"/>
                  </a:lnTo>
                  <a:lnTo>
                    <a:pt x="11557817" y="10337940"/>
                  </a:lnTo>
                  <a:lnTo>
                    <a:pt x="11553053" y="10357000"/>
                  </a:lnTo>
                  <a:lnTo>
                    <a:pt x="11572113" y="10385591"/>
                  </a:lnTo>
                  <a:lnTo>
                    <a:pt x="11586405" y="10404652"/>
                  </a:lnTo>
                  <a:lnTo>
                    <a:pt x="11581641" y="10418947"/>
                  </a:lnTo>
                  <a:lnTo>
                    <a:pt x="11572113" y="10452303"/>
                  </a:lnTo>
                  <a:lnTo>
                    <a:pt x="11567345" y="10466598"/>
                  </a:lnTo>
                  <a:lnTo>
                    <a:pt x="11572113" y="10471364"/>
                  </a:lnTo>
                  <a:lnTo>
                    <a:pt x="11600701" y="10442773"/>
                  </a:lnTo>
                  <a:lnTo>
                    <a:pt x="11605469" y="10447538"/>
                  </a:lnTo>
                  <a:lnTo>
                    <a:pt x="11605469" y="10485659"/>
                  </a:lnTo>
                  <a:lnTo>
                    <a:pt x="11610233" y="10480894"/>
                  </a:lnTo>
                  <a:lnTo>
                    <a:pt x="11619761" y="10447538"/>
                  </a:lnTo>
                  <a:lnTo>
                    <a:pt x="11614997" y="10409417"/>
                  </a:lnTo>
                  <a:lnTo>
                    <a:pt x="11629293" y="10390356"/>
                  </a:lnTo>
                  <a:lnTo>
                    <a:pt x="11681709" y="10376061"/>
                  </a:lnTo>
                  <a:lnTo>
                    <a:pt x="11672181" y="10442773"/>
                  </a:lnTo>
                  <a:lnTo>
                    <a:pt x="11672181" y="10480894"/>
                  </a:lnTo>
                  <a:lnTo>
                    <a:pt x="11648353" y="10533310"/>
                  </a:lnTo>
                  <a:lnTo>
                    <a:pt x="11629293" y="10552370"/>
                  </a:lnTo>
                  <a:lnTo>
                    <a:pt x="11629293" y="10557136"/>
                  </a:lnTo>
                  <a:lnTo>
                    <a:pt x="11643589" y="10566666"/>
                  </a:lnTo>
                  <a:lnTo>
                    <a:pt x="11653117" y="10566666"/>
                  </a:lnTo>
                  <a:lnTo>
                    <a:pt x="11657885" y="10557136"/>
                  </a:lnTo>
                  <a:lnTo>
                    <a:pt x="11676945" y="10514250"/>
                  </a:lnTo>
                  <a:lnTo>
                    <a:pt x="11715065" y="10466598"/>
                  </a:lnTo>
                  <a:lnTo>
                    <a:pt x="11719829" y="10466598"/>
                  </a:lnTo>
                  <a:lnTo>
                    <a:pt x="11719829" y="10480894"/>
                  </a:lnTo>
                  <a:lnTo>
                    <a:pt x="11715065" y="10514250"/>
                  </a:lnTo>
                  <a:lnTo>
                    <a:pt x="11734125" y="10528545"/>
                  </a:lnTo>
                  <a:lnTo>
                    <a:pt x="11753185" y="10514250"/>
                  </a:lnTo>
                  <a:lnTo>
                    <a:pt x="11757953" y="10499954"/>
                  </a:lnTo>
                  <a:lnTo>
                    <a:pt x="11781777" y="10504719"/>
                  </a:lnTo>
                  <a:lnTo>
                    <a:pt x="11791309" y="10509484"/>
                  </a:lnTo>
                  <a:lnTo>
                    <a:pt x="11791309" y="10523780"/>
                  </a:lnTo>
                  <a:lnTo>
                    <a:pt x="11781777" y="10580961"/>
                  </a:lnTo>
                  <a:lnTo>
                    <a:pt x="11786541" y="10590492"/>
                  </a:lnTo>
                  <a:lnTo>
                    <a:pt x="11805601" y="10628613"/>
                  </a:lnTo>
                  <a:lnTo>
                    <a:pt x="11810369" y="10628613"/>
                  </a:lnTo>
                  <a:lnTo>
                    <a:pt x="11805601" y="10609552"/>
                  </a:lnTo>
                  <a:lnTo>
                    <a:pt x="11800837" y="10566666"/>
                  </a:lnTo>
                  <a:lnTo>
                    <a:pt x="11805601" y="10547606"/>
                  </a:lnTo>
                  <a:lnTo>
                    <a:pt x="11824665" y="10519015"/>
                  </a:lnTo>
                  <a:lnTo>
                    <a:pt x="11858021" y="10485659"/>
                  </a:lnTo>
                  <a:lnTo>
                    <a:pt x="11872313" y="10476128"/>
                  </a:lnTo>
                  <a:lnTo>
                    <a:pt x="11881845" y="10480894"/>
                  </a:lnTo>
                  <a:lnTo>
                    <a:pt x="11896141" y="10499954"/>
                  </a:lnTo>
                  <a:lnTo>
                    <a:pt x="11891377" y="10509484"/>
                  </a:lnTo>
                  <a:lnTo>
                    <a:pt x="11877081" y="10519015"/>
                  </a:lnTo>
                  <a:lnTo>
                    <a:pt x="11867549" y="10542840"/>
                  </a:lnTo>
                  <a:lnTo>
                    <a:pt x="11858021" y="10566666"/>
                  </a:lnTo>
                  <a:lnTo>
                    <a:pt x="11867549" y="10585726"/>
                  </a:lnTo>
                  <a:lnTo>
                    <a:pt x="11896141" y="10585726"/>
                  </a:lnTo>
                  <a:lnTo>
                    <a:pt x="11924733" y="10561901"/>
                  </a:lnTo>
                  <a:lnTo>
                    <a:pt x="11943793" y="10571431"/>
                  </a:lnTo>
                  <a:lnTo>
                    <a:pt x="11962853" y="10604787"/>
                  </a:lnTo>
                  <a:lnTo>
                    <a:pt x="12000973" y="10652438"/>
                  </a:lnTo>
                  <a:lnTo>
                    <a:pt x="12024797" y="10638143"/>
                  </a:lnTo>
                  <a:lnTo>
                    <a:pt x="12048625" y="10676264"/>
                  </a:lnTo>
                  <a:lnTo>
                    <a:pt x="12015269" y="10704855"/>
                  </a:lnTo>
                  <a:lnTo>
                    <a:pt x="12024797" y="10762036"/>
                  </a:lnTo>
                  <a:lnTo>
                    <a:pt x="11977149" y="10762036"/>
                  </a:lnTo>
                  <a:lnTo>
                    <a:pt x="11953321" y="10766801"/>
                  </a:lnTo>
                  <a:lnTo>
                    <a:pt x="11934261" y="10762036"/>
                  </a:lnTo>
                  <a:lnTo>
                    <a:pt x="11915201" y="10762036"/>
                  </a:lnTo>
                  <a:lnTo>
                    <a:pt x="11934261" y="10776332"/>
                  </a:lnTo>
                  <a:lnTo>
                    <a:pt x="11967617" y="10781097"/>
                  </a:lnTo>
                  <a:lnTo>
                    <a:pt x="11972381" y="10800157"/>
                  </a:lnTo>
                  <a:lnTo>
                    <a:pt x="11996209" y="10800157"/>
                  </a:lnTo>
                  <a:lnTo>
                    <a:pt x="12015269" y="10795392"/>
                  </a:lnTo>
                  <a:lnTo>
                    <a:pt x="12053389" y="10800157"/>
                  </a:lnTo>
                  <a:lnTo>
                    <a:pt x="12053389" y="10776332"/>
                  </a:lnTo>
                  <a:lnTo>
                    <a:pt x="12077217" y="10766801"/>
                  </a:lnTo>
                  <a:lnTo>
                    <a:pt x="12091509" y="10752506"/>
                  </a:lnTo>
                  <a:lnTo>
                    <a:pt x="12101041" y="10757271"/>
                  </a:lnTo>
                  <a:lnTo>
                    <a:pt x="12134397" y="10766801"/>
                  </a:lnTo>
                  <a:lnTo>
                    <a:pt x="12177281" y="10809688"/>
                  </a:lnTo>
                  <a:lnTo>
                    <a:pt x="12158221" y="10833513"/>
                  </a:lnTo>
                  <a:lnTo>
                    <a:pt x="12153457" y="10857339"/>
                  </a:lnTo>
                  <a:lnTo>
                    <a:pt x="12143925" y="10876399"/>
                  </a:lnTo>
                  <a:lnTo>
                    <a:pt x="12143925" y="10895460"/>
                  </a:lnTo>
                  <a:lnTo>
                    <a:pt x="12134397" y="10904990"/>
                  </a:lnTo>
                  <a:lnTo>
                    <a:pt x="12072449" y="10976467"/>
                  </a:lnTo>
                  <a:lnTo>
                    <a:pt x="12081981" y="10976467"/>
                  </a:lnTo>
                  <a:lnTo>
                    <a:pt x="12110573" y="10957406"/>
                  </a:lnTo>
                  <a:lnTo>
                    <a:pt x="12158221" y="10933581"/>
                  </a:lnTo>
                  <a:lnTo>
                    <a:pt x="12186813" y="10924050"/>
                  </a:lnTo>
                  <a:lnTo>
                    <a:pt x="12205873" y="10928816"/>
                  </a:lnTo>
                  <a:lnTo>
                    <a:pt x="12220169" y="10933581"/>
                  </a:lnTo>
                  <a:lnTo>
                    <a:pt x="12224933" y="10924050"/>
                  </a:lnTo>
                  <a:lnTo>
                    <a:pt x="12243993" y="10933581"/>
                  </a:lnTo>
                  <a:lnTo>
                    <a:pt x="12277349" y="10943111"/>
                  </a:lnTo>
                  <a:lnTo>
                    <a:pt x="12320237" y="10885930"/>
                  </a:lnTo>
                  <a:lnTo>
                    <a:pt x="12344061" y="10895460"/>
                  </a:lnTo>
                  <a:lnTo>
                    <a:pt x="12363121" y="10933581"/>
                  </a:lnTo>
                  <a:lnTo>
                    <a:pt x="12415541" y="10990762"/>
                  </a:lnTo>
                  <a:lnTo>
                    <a:pt x="12439365" y="11028883"/>
                  </a:lnTo>
                  <a:lnTo>
                    <a:pt x="12448897" y="11043179"/>
                  </a:lnTo>
                  <a:lnTo>
                    <a:pt x="12448897" y="11057474"/>
                  </a:lnTo>
                  <a:lnTo>
                    <a:pt x="12425069" y="11076535"/>
                  </a:lnTo>
                  <a:lnTo>
                    <a:pt x="12410773" y="11076535"/>
                  </a:lnTo>
                  <a:lnTo>
                    <a:pt x="12382185" y="11047944"/>
                  </a:lnTo>
                  <a:lnTo>
                    <a:pt x="12353593" y="11033648"/>
                  </a:lnTo>
                  <a:lnTo>
                    <a:pt x="12334533" y="11033648"/>
                  </a:lnTo>
                  <a:lnTo>
                    <a:pt x="12320237" y="11047944"/>
                  </a:lnTo>
                  <a:lnTo>
                    <a:pt x="12325001" y="11052709"/>
                  </a:lnTo>
                  <a:lnTo>
                    <a:pt x="12391713" y="11100360"/>
                  </a:lnTo>
                  <a:lnTo>
                    <a:pt x="12406009" y="11133716"/>
                  </a:lnTo>
                  <a:lnTo>
                    <a:pt x="12406009" y="11152777"/>
                  </a:lnTo>
                  <a:lnTo>
                    <a:pt x="12358357" y="11176602"/>
                  </a:lnTo>
                  <a:lnTo>
                    <a:pt x="12344061" y="11176602"/>
                  </a:lnTo>
                  <a:lnTo>
                    <a:pt x="12315473" y="11167072"/>
                  </a:lnTo>
                  <a:lnTo>
                    <a:pt x="12296413" y="11143246"/>
                  </a:lnTo>
                  <a:lnTo>
                    <a:pt x="12277349" y="11138481"/>
                  </a:lnTo>
                  <a:lnTo>
                    <a:pt x="12258289" y="11133716"/>
                  </a:lnTo>
                  <a:lnTo>
                    <a:pt x="12253525" y="11138481"/>
                  </a:lnTo>
                  <a:lnTo>
                    <a:pt x="12277349" y="11171837"/>
                  </a:lnTo>
                  <a:lnTo>
                    <a:pt x="12272585" y="11186132"/>
                  </a:lnTo>
                  <a:lnTo>
                    <a:pt x="12263057" y="11190898"/>
                  </a:lnTo>
                  <a:lnTo>
                    <a:pt x="12253525" y="11209958"/>
                  </a:lnTo>
                  <a:lnTo>
                    <a:pt x="12301177" y="11238549"/>
                  </a:lnTo>
                  <a:lnTo>
                    <a:pt x="12334533" y="11271905"/>
                  </a:lnTo>
                  <a:lnTo>
                    <a:pt x="12339297" y="11281435"/>
                  </a:lnTo>
                  <a:lnTo>
                    <a:pt x="12315473" y="11290966"/>
                  </a:lnTo>
                  <a:lnTo>
                    <a:pt x="12301177" y="11290966"/>
                  </a:lnTo>
                  <a:lnTo>
                    <a:pt x="12263057" y="11290966"/>
                  </a:lnTo>
                  <a:lnTo>
                    <a:pt x="12243993" y="11281435"/>
                  </a:lnTo>
                  <a:lnTo>
                    <a:pt x="12239229" y="11290966"/>
                  </a:lnTo>
                  <a:lnTo>
                    <a:pt x="12258289" y="11305261"/>
                  </a:lnTo>
                  <a:lnTo>
                    <a:pt x="12267821" y="11314791"/>
                  </a:lnTo>
                  <a:lnTo>
                    <a:pt x="12272585" y="11333852"/>
                  </a:lnTo>
                  <a:lnTo>
                    <a:pt x="12277349" y="11348147"/>
                  </a:lnTo>
                  <a:lnTo>
                    <a:pt x="12277349" y="11357677"/>
                  </a:lnTo>
                  <a:lnTo>
                    <a:pt x="12263057" y="11371972"/>
                  </a:lnTo>
                  <a:lnTo>
                    <a:pt x="12243993" y="11400563"/>
                  </a:lnTo>
                  <a:lnTo>
                    <a:pt x="12234465" y="11433919"/>
                  </a:lnTo>
                  <a:lnTo>
                    <a:pt x="12215405" y="11438684"/>
                  </a:lnTo>
                  <a:lnTo>
                    <a:pt x="12210637" y="11429154"/>
                  </a:lnTo>
                  <a:lnTo>
                    <a:pt x="12186813" y="11438684"/>
                  </a:lnTo>
                  <a:lnTo>
                    <a:pt x="12158221" y="11424389"/>
                  </a:lnTo>
                  <a:lnTo>
                    <a:pt x="12143925" y="11410094"/>
                  </a:lnTo>
                  <a:lnTo>
                    <a:pt x="12110573" y="11352912"/>
                  </a:lnTo>
                  <a:lnTo>
                    <a:pt x="12110573" y="11357677"/>
                  </a:lnTo>
                  <a:lnTo>
                    <a:pt x="12120101" y="11391033"/>
                  </a:lnTo>
                  <a:lnTo>
                    <a:pt x="12115337" y="11405328"/>
                  </a:lnTo>
                  <a:lnTo>
                    <a:pt x="12081981" y="11419624"/>
                  </a:lnTo>
                  <a:lnTo>
                    <a:pt x="12081981" y="11424389"/>
                  </a:lnTo>
                  <a:lnTo>
                    <a:pt x="12101041" y="11433919"/>
                  </a:lnTo>
                  <a:lnTo>
                    <a:pt x="12129633" y="11443450"/>
                  </a:lnTo>
                  <a:lnTo>
                    <a:pt x="12124865" y="11467275"/>
                  </a:lnTo>
                  <a:lnTo>
                    <a:pt x="12124865" y="11586403"/>
                  </a:lnTo>
                  <a:lnTo>
                    <a:pt x="12120101" y="11629290"/>
                  </a:lnTo>
                  <a:lnTo>
                    <a:pt x="12105805" y="11662645"/>
                  </a:lnTo>
                  <a:lnTo>
                    <a:pt x="12086745" y="11700766"/>
                  </a:lnTo>
                  <a:lnTo>
                    <a:pt x="12067685" y="11676941"/>
                  </a:lnTo>
                  <a:lnTo>
                    <a:pt x="12058153" y="11653115"/>
                  </a:lnTo>
                  <a:lnTo>
                    <a:pt x="12053389" y="11643585"/>
                  </a:lnTo>
                  <a:lnTo>
                    <a:pt x="12043861" y="11634054"/>
                  </a:lnTo>
                  <a:lnTo>
                    <a:pt x="12029565" y="11629290"/>
                  </a:lnTo>
                  <a:lnTo>
                    <a:pt x="12015269" y="11629290"/>
                  </a:lnTo>
                  <a:lnTo>
                    <a:pt x="12000973" y="11648350"/>
                  </a:lnTo>
                  <a:lnTo>
                    <a:pt x="11986677" y="11629290"/>
                  </a:lnTo>
                  <a:lnTo>
                    <a:pt x="11972381" y="11610229"/>
                  </a:lnTo>
                  <a:lnTo>
                    <a:pt x="11977149" y="11553048"/>
                  </a:lnTo>
                  <a:lnTo>
                    <a:pt x="11981913" y="11524457"/>
                  </a:lnTo>
                  <a:lnTo>
                    <a:pt x="11972381" y="11538752"/>
                  </a:lnTo>
                  <a:lnTo>
                    <a:pt x="11953321" y="11576873"/>
                  </a:lnTo>
                  <a:lnTo>
                    <a:pt x="11939025" y="11629290"/>
                  </a:lnTo>
                  <a:lnTo>
                    <a:pt x="11919965" y="11610229"/>
                  </a:lnTo>
                  <a:lnTo>
                    <a:pt x="11905669" y="11586403"/>
                  </a:lnTo>
                  <a:lnTo>
                    <a:pt x="11891377" y="11562578"/>
                  </a:lnTo>
                  <a:lnTo>
                    <a:pt x="11872313" y="11533987"/>
                  </a:lnTo>
                  <a:lnTo>
                    <a:pt x="11853253" y="11500631"/>
                  </a:lnTo>
                  <a:lnTo>
                    <a:pt x="11843725" y="11462510"/>
                  </a:lnTo>
                  <a:lnTo>
                    <a:pt x="11838957" y="11452980"/>
                  </a:lnTo>
                  <a:lnTo>
                    <a:pt x="11824665" y="11419624"/>
                  </a:lnTo>
                  <a:lnTo>
                    <a:pt x="11819897" y="11410094"/>
                  </a:lnTo>
                  <a:lnTo>
                    <a:pt x="11815133" y="11405328"/>
                  </a:lnTo>
                  <a:lnTo>
                    <a:pt x="11805601" y="11386268"/>
                  </a:lnTo>
                  <a:lnTo>
                    <a:pt x="11810369" y="11362442"/>
                  </a:lnTo>
                  <a:lnTo>
                    <a:pt x="11824665" y="11338617"/>
                  </a:lnTo>
                  <a:lnTo>
                    <a:pt x="11838957" y="11319556"/>
                  </a:lnTo>
                  <a:lnTo>
                    <a:pt x="11862785" y="11300496"/>
                  </a:lnTo>
                  <a:lnTo>
                    <a:pt x="11891377" y="11290966"/>
                  </a:lnTo>
                  <a:lnTo>
                    <a:pt x="11905669" y="11267140"/>
                  </a:lnTo>
                  <a:lnTo>
                    <a:pt x="11919965" y="11219488"/>
                  </a:lnTo>
                  <a:lnTo>
                    <a:pt x="11939025" y="11190898"/>
                  </a:lnTo>
                  <a:lnTo>
                    <a:pt x="11958085" y="11171837"/>
                  </a:lnTo>
                  <a:lnTo>
                    <a:pt x="11948557" y="11171837"/>
                  </a:lnTo>
                  <a:lnTo>
                    <a:pt x="11924733" y="11186132"/>
                  </a:lnTo>
                  <a:lnTo>
                    <a:pt x="11905669" y="11205193"/>
                  </a:lnTo>
                  <a:lnTo>
                    <a:pt x="11886609" y="11243314"/>
                  </a:lnTo>
                  <a:lnTo>
                    <a:pt x="11867549" y="11267140"/>
                  </a:lnTo>
                  <a:lnTo>
                    <a:pt x="11819897" y="11290966"/>
                  </a:lnTo>
                  <a:lnTo>
                    <a:pt x="11805601" y="11295730"/>
                  </a:lnTo>
                  <a:lnTo>
                    <a:pt x="11786541" y="11300496"/>
                  </a:lnTo>
                  <a:lnTo>
                    <a:pt x="11738893" y="11295730"/>
                  </a:lnTo>
                  <a:lnTo>
                    <a:pt x="11729361" y="11286200"/>
                  </a:lnTo>
                  <a:lnTo>
                    <a:pt x="11734125" y="11262375"/>
                  </a:lnTo>
                  <a:lnTo>
                    <a:pt x="11767481" y="11214723"/>
                  </a:lnTo>
                  <a:lnTo>
                    <a:pt x="11762717" y="11214723"/>
                  </a:lnTo>
                  <a:lnTo>
                    <a:pt x="11753185" y="11229019"/>
                  </a:lnTo>
                  <a:lnTo>
                    <a:pt x="11734125" y="11243314"/>
                  </a:lnTo>
                  <a:lnTo>
                    <a:pt x="11724597" y="11248079"/>
                  </a:lnTo>
                  <a:lnTo>
                    <a:pt x="11705537" y="11243314"/>
                  </a:lnTo>
                  <a:lnTo>
                    <a:pt x="11681709" y="11214723"/>
                  </a:lnTo>
                  <a:lnTo>
                    <a:pt x="11672181" y="11205193"/>
                  </a:lnTo>
                  <a:lnTo>
                    <a:pt x="11648353" y="11195663"/>
                  </a:lnTo>
                  <a:lnTo>
                    <a:pt x="11638825" y="11186132"/>
                  </a:lnTo>
                  <a:lnTo>
                    <a:pt x="11600701" y="11119421"/>
                  </a:lnTo>
                  <a:lnTo>
                    <a:pt x="11595937" y="11100360"/>
                  </a:lnTo>
                  <a:lnTo>
                    <a:pt x="11591173" y="11081300"/>
                  </a:lnTo>
                  <a:lnTo>
                    <a:pt x="11576877" y="11062239"/>
                  </a:lnTo>
                  <a:lnTo>
                    <a:pt x="11557817" y="11052709"/>
                  </a:lnTo>
                  <a:lnTo>
                    <a:pt x="11553053" y="11052709"/>
                  </a:lnTo>
                  <a:lnTo>
                    <a:pt x="11562581" y="11071770"/>
                  </a:lnTo>
                  <a:lnTo>
                    <a:pt x="11562581" y="11081300"/>
                  </a:lnTo>
                  <a:lnTo>
                    <a:pt x="11543521" y="11090830"/>
                  </a:lnTo>
                  <a:lnTo>
                    <a:pt x="11529225" y="11090830"/>
                  </a:lnTo>
                  <a:lnTo>
                    <a:pt x="11510165" y="11076535"/>
                  </a:lnTo>
                  <a:lnTo>
                    <a:pt x="11510165" y="11095595"/>
                  </a:lnTo>
                  <a:lnTo>
                    <a:pt x="11529225" y="11128951"/>
                  </a:lnTo>
                  <a:lnTo>
                    <a:pt x="11529225" y="11171837"/>
                  </a:lnTo>
                  <a:lnTo>
                    <a:pt x="11519697" y="11176602"/>
                  </a:lnTo>
                  <a:lnTo>
                    <a:pt x="11510165" y="11176602"/>
                  </a:lnTo>
                  <a:lnTo>
                    <a:pt x="11500633" y="11171837"/>
                  </a:lnTo>
                  <a:lnTo>
                    <a:pt x="11472045" y="11138481"/>
                  </a:lnTo>
                  <a:lnTo>
                    <a:pt x="11443453" y="11119421"/>
                  </a:lnTo>
                  <a:lnTo>
                    <a:pt x="11419629" y="11105126"/>
                  </a:lnTo>
                  <a:lnTo>
                    <a:pt x="11419629" y="11114656"/>
                  </a:lnTo>
                  <a:lnTo>
                    <a:pt x="11433921" y="11152777"/>
                  </a:lnTo>
                  <a:lnTo>
                    <a:pt x="11448217" y="11190898"/>
                  </a:lnTo>
                  <a:lnTo>
                    <a:pt x="11472045" y="11224254"/>
                  </a:lnTo>
                  <a:lnTo>
                    <a:pt x="11510165" y="11262375"/>
                  </a:lnTo>
                  <a:lnTo>
                    <a:pt x="11529225" y="11281435"/>
                  </a:lnTo>
                  <a:lnTo>
                    <a:pt x="11514929" y="11314791"/>
                  </a:lnTo>
                  <a:lnTo>
                    <a:pt x="11500633" y="11324321"/>
                  </a:lnTo>
                  <a:lnTo>
                    <a:pt x="11495869" y="11324321"/>
                  </a:lnTo>
                  <a:lnTo>
                    <a:pt x="11472045" y="11324321"/>
                  </a:lnTo>
                  <a:lnTo>
                    <a:pt x="11429157" y="11310026"/>
                  </a:lnTo>
                  <a:lnTo>
                    <a:pt x="11405333" y="11290966"/>
                  </a:lnTo>
                  <a:lnTo>
                    <a:pt x="11376741" y="11248079"/>
                  </a:lnTo>
                  <a:lnTo>
                    <a:pt x="11329089" y="11200428"/>
                  </a:lnTo>
                  <a:lnTo>
                    <a:pt x="11319561" y="11200428"/>
                  </a:lnTo>
                  <a:lnTo>
                    <a:pt x="11286205" y="11219488"/>
                  </a:lnTo>
                  <a:lnTo>
                    <a:pt x="11290969" y="11219488"/>
                  </a:lnTo>
                  <a:lnTo>
                    <a:pt x="11310029" y="11224254"/>
                  </a:lnTo>
                  <a:lnTo>
                    <a:pt x="11329089" y="11229019"/>
                  </a:lnTo>
                  <a:lnTo>
                    <a:pt x="11367213" y="11267140"/>
                  </a:lnTo>
                  <a:lnTo>
                    <a:pt x="11371977" y="11281435"/>
                  </a:lnTo>
                  <a:lnTo>
                    <a:pt x="11362445" y="11295730"/>
                  </a:lnTo>
                  <a:lnTo>
                    <a:pt x="11362445" y="11319556"/>
                  </a:lnTo>
                  <a:lnTo>
                    <a:pt x="11371977" y="11343382"/>
                  </a:lnTo>
                  <a:lnTo>
                    <a:pt x="11381505" y="11362442"/>
                  </a:lnTo>
                  <a:lnTo>
                    <a:pt x="11405333" y="11371972"/>
                  </a:lnTo>
                  <a:lnTo>
                    <a:pt x="11419629" y="11376738"/>
                  </a:lnTo>
                  <a:lnTo>
                    <a:pt x="11419629" y="11381503"/>
                  </a:lnTo>
                  <a:lnTo>
                    <a:pt x="11410097" y="11438684"/>
                  </a:lnTo>
                  <a:lnTo>
                    <a:pt x="11405333" y="11452980"/>
                  </a:lnTo>
                  <a:lnTo>
                    <a:pt x="11410097" y="11462510"/>
                  </a:lnTo>
                  <a:lnTo>
                    <a:pt x="11414861" y="11462510"/>
                  </a:lnTo>
                  <a:lnTo>
                    <a:pt x="11443453" y="11438684"/>
                  </a:lnTo>
                  <a:lnTo>
                    <a:pt x="11457749" y="11433919"/>
                  </a:lnTo>
                  <a:lnTo>
                    <a:pt x="11467277" y="11429154"/>
                  </a:lnTo>
                  <a:lnTo>
                    <a:pt x="11481573" y="11438684"/>
                  </a:lnTo>
                  <a:lnTo>
                    <a:pt x="11495869" y="11452980"/>
                  </a:lnTo>
                  <a:lnTo>
                    <a:pt x="11500633" y="11467275"/>
                  </a:lnTo>
                  <a:lnTo>
                    <a:pt x="11505401" y="11481570"/>
                  </a:lnTo>
                  <a:lnTo>
                    <a:pt x="11510165" y="11491101"/>
                  </a:lnTo>
                  <a:lnTo>
                    <a:pt x="11538757" y="11510161"/>
                  </a:lnTo>
                  <a:lnTo>
                    <a:pt x="11533989" y="11514926"/>
                  </a:lnTo>
                  <a:lnTo>
                    <a:pt x="11505401" y="11538752"/>
                  </a:lnTo>
                  <a:lnTo>
                    <a:pt x="11505401" y="11543517"/>
                  </a:lnTo>
                  <a:lnTo>
                    <a:pt x="11510165" y="11543517"/>
                  </a:lnTo>
                  <a:lnTo>
                    <a:pt x="11529225" y="11557812"/>
                  </a:lnTo>
                  <a:lnTo>
                    <a:pt x="11548285" y="11581638"/>
                  </a:lnTo>
                  <a:lnTo>
                    <a:pt x="11557817" y="11610229"/>
                  </a:lnTo>
                  <a:lnTo>
                    <a:pt x="11557817" y="11619759"/>
                  </a:lnTo>
                  <a:lnTo>
                    <a:pt x="11557817" y="11634054"/>
                  </a:lnTo>
                  <a:lnTo>
                    <a:pt x="11562581" y="11638820"/>
                  </a:lnTo>
                  <a:lnTo>
                    <a:pt x="11572113" y="11643585"/>
                  </a:lnTo>
                  <a:lnTo>
                    <a:pt x="11576877" y="11638820"/>
                  </a:lnTo>
                  <a:lnTo>
                    <a:pt x="11586405" y="11643585"/>
                  </a:lnTo>
                  <a:lnTo>
                    <a:pt x="11586405" y="11662645"/>
                  </a:lnTo>
                  <a:lnTo>
                    <a:pt x="11600701" y="11724592"/>
                  </a:lnTo>
                  <a:lnTo>
                    <a:pt x="11605469" y="11738888"/>
                  </a:lnTo>
                  <a:lnTo>
                    <a:pt x="11610233" y="11738888"/>
                  </a:lnTo>
                  <a:lnTo>
                    <a:pt x="11610233" y="11681706"/>
                  </a:lnTo>
                  <a:lnTo>
                    <a:pt x="11614997" y="11672176"/>
                  </a:lnTo>
                  <a:lnTo>
                    <a:pt x="11634057" y="11681706"/>
                  </a:lnTo>
                  <a:lnTo>
                    <a:pt x="11657885" y="11705532"/>
                  </a:lnTo>
                  <a:lnTo>
                    <a:pt x="11676945" y="11724592"/>
                  </a:lnTo>
                  <a:lnTo>
                    <a:pt x="11681709" y="11734122"/>
                  </a:lnTo>
                  <a:lnTo>
                    <a:pt x="11667413" y="11753183"/>
                  </a:lnTo>
                  <a:lnTo>
                    <a:pt x="11667413" y="11762713"/>
                  </a:lnTo>
                  <a:lnTo>
                    <a:pt x="11681709" y="11772243"/>
                  </a:lnTo>
                  <a:lnTo>
                    <a:pt x="11691241" y="11767478"/>
                  </a:lnTo>
                  <a:lnTo>
                    <a:pt x="11696005" y="11748418"/>
                  </a:lnTo>
                  <a:lnTo>
                    <a:pt x="11710301" y="11729357"/>
                  </a:lnTo>
                  <a:lnTo>
                    <a:pt x="11724597" y="11715062"/>
                  </a:lnTo>
                  <a:lnTo>
                    <a:pt x="11748421" y="11724592"/>
                  </a:lnTo>
                  <a:lnTo>
                    <a:pt x="11772245" y="11757948"/>
                  </a:lnTo>
                  <a:lnTo>
                    <a:pt x="11777013" y="11767478"/>
                  </a:lnTo>
                  <a:lnTo>
                    <a:pt x="11791309" y="11781774"/>
                  </a:lnTo>
                  <a:lnTo>
                    <a:pt x="11800837" y="11772243"/>
                  </a:lnTo>
                  <a:lnTo>
                    <a:pt x="11824665" y="11805599"/>
                  </a:lnTo>
                  <a:lnTo>
                    <a:pt x="11815133" y="11824660"/>
                  </a:lnTo>
                  <a:lnTo>
                    <a:pt x="11791309" y="11843720"/>
                  </a:lnTo>
                  <a:lnTo>
                    <a:pt x="11786541" y="11853250"/>
                  </a:lnTo>
                  <a:lnTo>
                    <a:pt x="11791309" y="11853250"/>
                  </a:lnTo>
                  <a:lnTo>
                    <a:pt x="11843725" y="11853250"/>
                  </a:lnTo>
                  <a:lnTo>
                    <a:pt x="11853253" y="11862781"/>
                  </a:lnTo>
                  <a:lnTo>
                    <a:pt x="11858021" y="11877076"/>
                  </a:lnTo>
                  <a:lnTo>
                    <a:pt x="11834193" y="11924728"/>
                  </a:lnTo>
                  <a:lnTo>
                    <a:pt x="11815133" y="11919962"/>
                  </a:lnTo>
                  <a:lnTo>
                    <a:pt x="11791309" y="11919962"/>
                  </a:lnTo>
                  <a:lnTo>
                    <a:pt x="11777013" y="11924728"/>
                  </a:lnTo>
                  <a:lnTo>
                    <a:pt x="11777013" y="11929492"/>
                  </a:lnTo>
                  <a:lnTo>
                    <a:pt x="11815133" y="11953318"/>
                  </a:lnTo>
                  <a:lnTo>
                    <a:pt x="11824665" y="11972378"/>
                  </a:lnTo>
                  <a:lnTo>
                    <a:pt x="11838957" y="11986674"/>
                  </a:lnTo>
                  <a:lnTo>
                    <a:pt x="11848489" y="12005734"/>
                  </a:lnTo>
                  <a:lnTo>
                    <a:pt x="11848489" y="12010500"/>
                  </a:lnTo>
                  <a:lnTo>
                    <a:pt x="11838957" y="12020030"/>
                  </a:lnTo>
                  <a:lnTo>
                    <a:pt x="11843725" y="12024795"/>
                  </a:lnTo>
                  <a:lnTo>
                    <a:pt x="11867549" y="12034326"/>
                  </a:lnTo>
                  <a:lnTo>
                    <a:pt x="11881845" y="12024795"/>
                  </a:lnTo>
                  <a:lnTo>
                    <a:pt x="11900905" y="12024795"/>
                  </a:lnTo>
                  <a:lnTo>
                    <a:pt x="11919965" y="12024795"/>
                  </a:lnTo>
                  <a:lnTo>
                    <a:pt x="11919965" y="12029560"/>
                  </a:lnTo>
                  <a:lnTo>
                    <a:pt x="11919965" y="12048620"/>
                  </a:lnTo>
                  <a:lnTo>
                    <a:pt x="11900905" y="12067681"/>
                  </a:lnTo>
                  <a:lnTo>
                    <a:pt x="11905669" y="12067681"/>
                  </a:lnTo>
                  <a:lnTo>
                    <a:pt x="11924733" y="12062916"/>
                  </a:lnTo>
                  <a:lnTo>
                    <a:pt x="11934261" y="12072446"/>
                  </a:lnTo>
                  <a:lnTo>
                    <a:pt x="11948557" y="12110568"/>
                  </a:lnTo>
                  <a:lnTo>
                    <a:pt x="11962853" y="12139158"/>
                  </a:lnTo>
                  <a:lnTo>
                    <a:pt x="11948557" y="12143924"/>
                  </a:lnTo>
                  <a:lnTo>
                    <a:pt x="11939025" y="12148688"/>
                  </a:lnTo>
                  <a:lnTo>
                    <a:pt x="11939025" y="12186810"/>
                  </a:lnTo>
                  <a:lnTo>
                    <a:pt x="11948557" y="12224930"/>
                  </a:lnTo>
                  <a:lnTo>
                    <a:pt x="11948557" y="12263052"/>
                  </a:lnTo>
                  <a:lnTo>
                    <a:pt x="11943793" y="12291642"/>
                  </a:lnTo>
                  <a:lnTo>
                    <a:pt x="11934261" y="12301172"/>
                  </a:lnTo>
                  <a:lnTo>
                    <a:pt x="11919965" y="12301172"/>
                  </a:lnTo>
                  <a:lnTo>
                    <a:pt x="11915201" y="12291642"/>
                  </a:lnTo>
                  <a:lnTo>
                    <a:pt x="11886609" y="12196340"/>
                  </a:lnTo>
                  <a:lnTo>
                    <a:pt x="11881845" y="12177279"/>
                  </a:lnTo>
                  <a:lnTo>
                    <a:pt x="11872313" y="12162984"/>
                  </a:lnTo>
                  <a:lnTo>
                    <a:pt x="11838957" y="12120098"/>
                  </a:lnTo>
                  <a:lnTo>
                    <a:pt x="11838957" y="12124863"/>
                  </a:lnTo>
                  <a:lnTo>
                    <a:pt x="11848489" y="12143924"/>
                  </a:lnTo>
                  <a:lnTo>
                    <a:pt x="11853253" y="12172514"/>
                  </a:lnTo>
                  <a:lnTo>
                    <a:pt x="11862785" y="12234460"/>
                  </a:lnTo>
                  <a:lnTo>
                    <a:pt x="11867549" y="12267816"/>
                  </a:lnTo>
                  <a:lnTo>
                    <a:pt x="11867549" y="12282112"/>
                  </a:lnTo>
                  <a:lnTo>
                    <a:pt x="11862785" y="12286877"/>
                  </a:lnTo>
                  <a:lnTo>
                    <a:pt x="11858021" y="12291642"/>
                  </a:lnTo>
                  <a:lnTo>
                    <a:pt x="11862785" y="12305938"/>
                  </a:lnTo>
                  <a:lnTo>
                    <a:pt x="11886609" y="12344058"/>
                  </a:lnTo>
                  <a:lnTo>
                    <a:pt x="11896141" y="12363119"/>
                  </a:lnTo>
                  <a:lnTo>
                    <a:pt x="11905669" y="12386945"/>
                  </a:lnTo>
                  <a:lnTo>
                    <a:pt x="11915201" y="12406006"/>
                  </a:lnTo>
                  <a:lnTo>
                    <a:pt x="11919965" y="12410770"/>
                  </a:lnTo>
                  <a:lnTo>
                    <a:pt x="11919965" y="12420300"/>
                  </a:lnTo>
                  <a:lnTo>
                    <a:pt x="11910437" y="12425066"/>
                  </a:lnTo>
                  <a:lnTo>
                    <a:pt x="11891377" y="12425066"/>
                  </a:lnTo>
                  <a:lnTo>
                    <a:pt x="11881845" y="12425066"/>
                  </a:lnTo>
                  <a:lnTo>
                    <a:pt x="11848489" y="12401240"/>
                  </a:lnTo>
                  <a:lnTo>
                    <a:pt x="11843725" y="12406006"/>
                  </a:lnTo>
                  <a:lnTo>
                    <a:pt x="11862785" y="12487012"/>
                  </a:lnTo>
                  <a:lnTo>
                    <a:pt x="11862785" y="12506073"/>
                  </a:lnTo>
                  <a:lnTo>
                    <a:pt x="11853253" y="12510838"/>
                  </a:lnTo>
                  <a:lnTo>
                    <a:pt x="11843725" y="12506073"/>
                  </a:lnTo>
                  <a:lnTo>
                    <a:pt x="11829429" y="12482248"/>
                  </a:lnTo>
                  <a:lnTo>
                    <a:pt x="11805601" y="12458422"/>
                  </a:lnTo>
                  <a:lnTo>
                    <a:pt x="11781777" y="12429831"/>
                  </a:lnTo>
                  <a:lnTo>
                    <a:pt x="11753185" y="12410770"/>
                  </a:lnTo>
                  <a:lnTo>
                    <a:pt x="11748421" y="12410770"/>
                  </a:lnTo>
                  <a:lnTo>
                    <a:pt x="11743657" y="12415536"/>
                  </a:lnTo>
                  <a:lnTo>
                    <a:pt x="11738893" y="12415536"/>
                  </a:lnTo>
                  <a:lnTo>
                    <a:pt x="11734125" y="12410770"/>
                  </a:lnTo>
                  <a:lnTo>
                    <a:pt x="11724597" y="12396475"/>
                  </a:lnTo>
                  <a:lnTo>
                    <a:pt x="11715065" y="12386945"/>
                  </a:lnTo>
                  <a:lnTo>
                    <a:pt x="11676945" y="12348824"/>
                  </a:lnTo>
                  <a:lnTo>
                    <a:pt x="11672181" y="12348824"/>
                  </a:lnTo>
                  <a:lnTo>
                    <a:pt x="11676945" y="12358354"/>
                  </a:lnTo>
                  <a:lnTo>
                    <a:pt x="11681709" y="12382180"/>
                  </a:lnTo>
                  <a:lnTo>
                    <a:pt x="11676945" y="12386945"/>
                  </a:lnTo>
                  <a:lnTo>
                    <a:pt x="11667413" y="12386945"/>
                  </a:lnTo>
                  <a:lnTo>
                    <a:pt x="11648353" y="12377414"/>
                  </a:lnTo>
                  <a:lnTo>
                    <a:pt x="11634057" y="12353589"/>
                  </a:lnTo>
                  <a:lnTo>
                    <a:pt x="11619761" y="12310702"/>
                  </a:lnTo>
                  <a:lnTo>
                    <a:pt x="11610233" y="12291642"/>
                  </a:lnTo>
                  <a:lnTo>
                    <a:pt x="11610233" y="12305938"/>
                  </a:lnTo>
                  <a:lnTo>
                    <a:pt x="11614997" y="12344058"/>
                  </a:lnTo>
                  <a:lnTo>
                    <a:pt x="11614997" y="12358354"/>
                  </a:lnTo>
                  <a:lnTo>
                    <a:pt x="11605469" y="12363119"/>
                  </a:lnTo>
                  <a:lnTo>
                    <a:pt x="11600701" y="12358354"/>
                  </a:lnTo>
                  <a:lnTo>
                    <a:pt x="11595937" y="12348824"/>
                  </a:lnTo>
                  <a:lnTo>
                    <a:pt x="11591173" y="12329763"/>
                  </a:lnTo>
                  <a:lnTo>
                    <a:pt x="11581641" y="12315468"/>
                  </a:lnTo>
                  <a:lnTo>
                    <a:pt x="11567345" y="12305938"/>
                  </a:lnTo>
                  <a:lnTo>
                    <a:pt x="11562581" y="12296408"/>
                  </a:lnTo>
                  <a:lnTo>
                    <a:pt x="11557817" y="12277347"/>
                  </a:lnTo>
                  <a:lnTo>
                    <a:pt x="11553053" y="12277347"/>
                  </a:lnTo>
                  <a:lnTo>
                    <a:pt x="11529225" y="12277347"/>
                  </a:lnTo>
                  <a:lnTo>
                    <a:pt x="11514929" y="12267816"/>
                  </a:lnTo>
                  <a:lnTo>
                    <a:pt x="11481573" y="12220166"/>
                  </a:lnTo>
                  <a:lnTo>
                    <a:pt x="11448217" y="12162984"/>
                  </a:lnTo>
                  <a:lnTo>
                    <a:pt x="11424393" y="12134393"/>
                  </a:lnTo>
                  <a:lnTo>
                    <a:pt x="11419629" y="12129628"/>
                  </a:lnTo>
                  <a:lnTo>
                    <a:pt x="11429157" y="12162984"/>
                  </a:lnTo>
                  <a:lnTo>
                    <a:pt x="11443453" y="12215400"/>
                  </a:lnTo>
                  <a:lnTo>
                    <a:pt x="11443453" y="12239226"/>
                  </a:lnTo>
                  <a:lnTo>
                    <a:pt x="11438689" y="12239226"/>
                  </a:lnTo>
                  <a:lnTo>
                    <a:pt x="11424393" y="12229696"/>
                  </a:lnTo>
                  <a:lnTo>
                    <a:pt x="11362445" y="12162984"/>
                  </a:lnTo>
                  <a:lnTo>
                    <a:pt x="11324325" y="12134393"/>
                  </a:lnTo>
                  <a:lnTo>
                    <a:pt x="11300501" y="12124863"/>
                  </a:lnTo>
                  <a:lnTo>
                    <a:pt x="11267145" y="12124863"/>
                  </a:lnTo>
                  <a:lnTo>
                    <a:pt x="11257613" y="12139158"/>
                  </a:lnTo>
                  <a:lnTo>
                    <a:pt x="11276673" y="12177279"/>
                  </a:lnTo>
                  <a:lnTo>
                    <a:pt x="11295733" y="12205870"/>
                  </a:lnTo>
                  <a:lnTo>
                    <a:pt x="11314793" y="12224930"/>
                  </a:lnTo>
                  <a:lnTo>
                    <a:pt x="11343385" y="12263052"/>
                  </a:lnTo>
                  <a:lnTo>
                    <a:pt x="11367213" y="12310702"/>
                  </a:lnTo>
                  <a:lnTo>
                    <a:pt x="11376741" y="12324998"/>
                  </a:lnTo>
                  <a:lnTo>
                    <a:pt x="11414861" y="12344058"/>
                  </a:lnTo>
                  <a:lnTo>
                    <a:pt x="11433921" y="12353589"/>
                  </a:lnTo>
                  <a:lnTo>
                    <a:pt x="11452985" y="12353589"/>
                  </a:lnTo>
                  <a:lnTo>
                    <a:pt x="11452985" y="12358354"/>
                  </a:lnTo>
                  <a:lnTo>
                    <a:pt x="11443453" y="12372650"/>
                  </a:lnTo>
                  <a:lnTo>
                    <a:pt x="11443453" y="12382180"/>
                  </a:lnTo>
                  <a:lnTo>
                    <a:pt x="11481573" y="12401240"/>
                  </a:lnTo>
                  <a:lnTo>
                    <a:pt x="11500633" y="12415536"/>
                  </a:lnTo>
                  <a:lnTo>
                    <a:pt x="11514929" y="12434596"/>
                  </a:lnTo>
                  <a:lnTo>
                    <a:pt x="11524461" y="12439361"/>
                  </a:lnTo>
                  <a:lnTo>
                    <a:pt x="11562581" y="12487012"/>
                  </a:lnTo>
                  <a:lnTo>
                    <a:pt x="11567345" y="12496542"/>
                  </a:lnTo>
                  <a:lnTo>
                    <a:pt x="11600701" y="12510838"/>
                  </a:lnTo>
                  <a:lnTo>
                    <a:pt x="11614997" y="12520368"/>
                  </a:lnTo>
                  <a:lnTo>
                    <a:pt x="11629293" y="12553724"/>
                  </a:lnTo>
                  <a:lnTo>
                    <a:pt x="11643589" y="12568020"/>
                  </a:lnTo>
                  <a:lnTo>
                    <a:pt x="11657885" y="12606140"/>
                  </a:lnTo>
                  <a:lnTo>
                    <a:pt x="11667413" y="12620436"/>
                  </a:lnTo>
                  <a:lnTo>
                    <a:pt x="11696005" y="12639496"/>
                  </a:lnTo>
                  <a:lnTo>
                    <a:pt x="11710301" y="12644262"/>
                  </a:lnTo>
                  <a:lnTo>
                    <a:pt x="11715065" y="12653792"/>
                  </a:lnTo>
                  <a:lnTo>
                    <a:pt x="11715065" y="12672852"/>
                  </a:lnTo>
                  <a:lnTo>
                    <a:pt x="11710301" y="12677618"/>
                  </a:lnTo>
                  <a:lnTo>
                    <a:pt x="11691241" y="12691913"/>
                  </a:lnTo>
                  <a:lnTo>
                    <a:pt x="11696005" y="12706208"/>
                  </a:lnTo>
                  <a:lnTo>
                    <a:pt x="11705537" y="12734799"/>
                  </a:lnTo>
                  <a:lnTo>
                    <a:pt x="11705537" y="12753860"/>
                  </a:lnTo>
                  <a:lnTo>
                    <a:pt x="11696005" y="12758624"/>
                  </a:lnTo>
                  <a:lnTo>
                    <a:pt x="11672181" y="12768155"/>
                  </a:lnTo>
                  <a:lnTo>
                    <a:pt x="11662649" y="12768155"/>
                  </a:lnTo>
                  <a:lnTo>
                    <a:pt x="11648353" y="12758624"/>
                  </a:lnTo>
                  <a:lnTo>
                    <a:pt x="11629293" y="12749094"/>
                  </a:lnTo>
                  <a:lnTo>
                    <a:pt x="11586405" y="12720504"/>
                  </a:lnTo>
                  <a:lnTo>
                    <a:pt x="11529225" y="12701443"/>
                  </a:lnTo>
                  <a:lnTo>
                    <a:pt x="11505401" y="12687148"/>
                  </a:lnTo>
                  <a:lnTo>
                    <a:pt x="11500633" y="12677618"/>
                  </a:lnTo>
                  <a:lnTo>
                    <a:pt x="11491105" y="12672852"/>
                  </a:lnTo>
                  <a:lnTo>
                    <a:pt x="11343385" y="12644262"/>
                  </a:lnTo>
                  <a:lnTo>
                    <a:pt x="11319561" y="12639496"/>
                  </a:lnTo>
                  <a:lnTo>
                    <a:pt x="11300501" y="12629966"/>
                  </a:lnTo>
                  <a:lnTo>
                    <a:pt x="11286205" y="12615671"/>
                  </a:lnTo>
                  <a:lnTo>
                    <a:pt x="11233789" y="12587080"/>
                  </a:lnTo>
                  <a:lnTo>
                    <a:pt x="11224257" y="12582315"/>
                  </a:lnTo>
                  <a:lnTo>
                    <a:pt x="11186137" y="12529898"/>
                  </a:lnTo>
                  <a:lnTo>
                    <a:pt x="11157545" y="12472717"/>
                  </a:lnTo>
                  <a:lnTo>
                    <a:pt x="11148017" y="12463187"/>
                  </a:lnTo>
                  <a:lnTo>
                    <a:pt x="11119425" y="12458422"/>
                  </a:lnTo>
                  <a:lnTo>
                    <a:pt x="11095597" y="12463187"/>
                  </a:lnTo>
                  <a:lnTo>
                    <a:pt x="11076537" y="12467952"/>
                  </a:lnTo>
                  <a:lnTo>
                    <a:pt x="11052713" y="12467952"/>
                  </a:lnTo>
                  <a:lnTo>
                    <a:pt x="11033653" y="12458422"/>
                  </a:lnTo>
                  <a:lnTo>
                    <a:pt x="11000297" y="12429831"/>
                  </a:lnTo>
                  <a:lnTo>
                    <a:pt x="10962177" y="12415536"/>
                  </a:lnTo>
                  <a:lnTo>
                    <a:pt x="10933585" y="12391710"/>
                  </a:lnTo>
                  <a:lnTo>
                    <a:pt x="10914525" y="12382180"/>
                  </a:lnTo>
                  <a:lnTo>
                    <a:pt x="10919289" y="12377414"/>
                  </a:lnTo>
                  <a:lnTo>
                    <a:pt x="10943113" y="12344058"/>
                  </a:lnTo>
                  <a:lnTo>
                    <a:pt x="10933585" y="12344058"/>
                  </a:lnTo>
                  <a:lnTo>
                    <a:pt x="10890697" y="12372650"/>
                  </a:lnTo>
                  <a:lnTo>
                    <a:pt x="10876401" y="12363119"/>
                  </a:lnTo>
                  <a:lnTo>
                    <a:pt x="10852577" y="12344058"/>
                  </a:lnTo>
                  <a:lnTo>
                    <a:pt x="10838281" y="12320233"/>
                  </a:lnTo>
                  <a:lnTo>
                    <a:pt x="10800161" y="12263052"/>
                  </a:lnTo>
                  <a:lnTo>
                    <a:pt x="10776337" y="12239226"/>
                  </a:lnTo>
                  <a:lnTo>
                    <a:pt x="10781101" y="12234460"/>
                  </a:lnTo>
                  <a:lnTo>
                    <a:pt x="10804925" y="12234460"/>
                  </a:lnTo>
                  <a:lnTo>
                    <a:pt x="10823985" y="12234460"/>
                  </a:lnTo>
                  <a:lnTo>
                    <a:pt x="10838281" y="12229696"/>
                  </a:lnTo>
                  <a:lnTo>
                    <a:pt x="10862109" y="12205870"/>
                  </a:lnTo>
                  <a:lnTo>
                    <a:pt x="10871637" y="12191574"/>
                  </a:lnTo>
                  <a:lnTo>
                    <a:pt x="10871637" y="12182044"/>
                  </a:lnTo>
                  <a:lnTo>
                    <a:pt x="10852577" y="12182044"/>
                  </a:lnTo>
                  <a:lnTo>
                    <a:pt x="10847813" y="12177279"/>
                  </a:lnTo>
                  <a:lnTo>
                    <a:pt x="10843045" y="12167749"/>
                  </a:lnTo>
                  <a:lnTo>
                    <a:pt x="10833517" y="12153454"/>
                  </a:lnTo>
                  <a:lnTo>
                    <a:pt x="10819221" y="12139158"/>
                  </a:lnTo>
                  <a:lnTo>
                    <a:pt x="10800161" y="12134393"/>
                  </a:lnTo>
                  <a:lnTo>
                    <a:pt x="10742981" y="12139158"/>
                  </a:lnTo>
                  <a:lnTo>
                    <a:pt x="10728685" y="12129628"/>
                  </a:lnTo>
                  <a:lnTo>
                    <a:pt x="10733449" y="12120098"/>
                  </a:lnTo>
                  <a:lnTo>
                    <a:pt x="10742981" y="12091507"/>
                  </a:lnTo>
                  <a:lnTo>
                    <a:pt x="10747745" y="12081976"/>
                  </a:lnTo>
                  <a:lnTo>
                    <a:pt x="10752509" y="12072446"/>
                  </a:lnTo>
                  <a:lnTo>
                    <a:pt x="10747745" y="12072446"/>
                  </a:lnTo>
                  <a:lnTo>
                    <a:pt x="10742981" y="12072446"/>
                  </a:lnTo>
                  <a:lnTo>
                    <a:pt x="10704857" y="12101037"/>
                  </a:lnTo>
                  <a:lnTo>
                    <a:pt x="10700093" y="12096272"/>
                  </a:lnTo>
                  <a:lnTo>
                    <a:pt x="10685797" y="12072446"/>
                  </a:lnTo>
                  <a:lnTo>
                    <a:pt x="10676269" y="12039090"/>
                  </a:lnTo>
                  <a:lnTo>
                    <a:pt x="10671501" y="12029560"/>
                  </a:lnTo>
                  <a:lnTo>
                    <a:pt x="10661973" y="12024795"/>
                  </a:lnTo>
                  <a:lnTo>
                    <a:pt x="10633381" y="11991439"/>
                  </a:lnTo>
                  <a:lnTo>
                    <a:pt x="10595261" y="11934258"/>
                  </a:lnTo>
                  <a:lnTo>
                    <a:pt x="10576201" y="11915197"/>
                  </a:lnTo>
                  <a:lnTo>
                    <a:pt x="10561905" y="11900902"/>
                  </a:lnTo>
                  <a:lnTo>
                    <a:pt x="10547609" y="11891372"/>
                  </a:lnTo>
                  <a:lnTo>
                    <a:pt x="10552373" y="11881841"/>
                  </a:lnTo>
                  <a:lnTo>
                    <a:pt x="10576201" y="11834190"/>
                  </a:lnTo>
                  <a:lnTo>
                    <a:pt x="10576201" y="11824660"/>
                  </a:lnTo>
                  <a:lnTo>
                    <a:pt x="10557141" y="11829425"/>
                  </a:lnTo>
                  <a:lnTo>
                    <a:pt x="10523785" y="11819894"/>
                  </a:lnTo>
                  <a:lnTo>
                    <a:pt x="10504721" y="11829425"/>
                  </a:lnTo>
                  <a:lnTo>
                    <a:pt x="10495193" y="11829425"/>
                  </a:lnTo>
                  <a:lnTo>
                    <a:pt x="10485661" y="11824660"/>
                  </a:lnTo>
                  <a:lnTo>
                    <a:pt x="10476133" y="11829425"/>
                  </a:lnTo>
                  <a:lnTo>
                    <a:pt x="10471369" y="11867546"/>
                  </a:lnTo>
                  <a:lnTo>
                    <a:pt x="10466601" y="11877076"/>
                  </a:lnTo>
                  <a:lnTo>
                    <a:pt x="10461837" y="11881841"/>
                  </a:lnTo>
                  <a:lnTo>
                    <a:pt x="10452305" y="11881841"/>
                  </a:lnTo>
                  <a:lnTo>
                    <a:pt x="10447541" y="11877076"/>
                  </a:lnTo>
                  <a:lnTo>
                    <a:pt x="10447541" y="11867546"/>
                  </a:lnTo>
                  <a:lnTo>
                    <a:pt x="10442777" y="11815130"/>
                  </a:lnTo>
                  <a:lnTo>
                    <a:pt x="10433245" y="11810364"/>
                  </a:lnTo>
                  <a:lnTo>
                    <a:pt x="10399889" y="11805599"/>
                  </a:lnTo>
                  <a:lnTo>
                    <a:pt x="10390361" y="11800834"/>
                  </a:lnTo>
                  <a:lnTo>
                    <a:pt x="10385593" y="11791304"/>
                  </a:lnTo>
                  <a:lnTo>
                    <a:pt x="10376065" y="11777008"/>
                  </a:lnTo>
                  <a:lnTo>
                    <a:pt x="10371301" y="11753183"/>
                  </a:lnTo>
                  <a:lnTo>
                    <a:pt x="10366533" y="11738888"/>
                  </a:lnTo>
                  <a:lnTo>
                    <a:pt x="10357005" y="11734122"/>
                  </a:lnTo>
                  <a:lnTo>
                    <a:pt x="10352237" y="11738888"/>
                  </a:lnTo>
                  <a:lnTo>
                    <a:pt x="10347473" y="11743652"/>
                  </a:lnTo>
                  <a:lnTo>
                    <a:pt x="10337945" y="11748418"/>
                  </a:lnTo>
                  <a:lnTo>
                    <a:pt x="10318881" y="11748418"/>
                  </a:lnTo>
                  <a:lnTo>
                    <a:pt x="10318881" y="11757948"/>
                  </a:lnTo>
                  <a:lnTo>
                    <a:pt x="10337945" y="11777008"/>
                  </a:lnTo>
                  <a:lnTo>
                    <a:pt x="10347473" y="11800834"/>
                  </a:lnTo>
                  <a:lnTo>
                    <a:pt x="10361769" y="11834190"/>
                  </a:lnTo>
                  <a:lnTo>
                    <a:pt x="10357005" y="11858016"/>
                  </a:lnTo>
                  <a:lnTo>
                    <a:pt x="10323649" y="11867546"/>
                  </a:lnTo>
                  <a:lnTo>
                    <a:pt x="10295057" y="11872311"/>
                  </a:lnTo>
                  <a:lnTo>
                    <a:pt x="10275997" y="11867546"/>
                  </a:lnTo>
                  <a:lnTo>
                    <a:pt x="10256937" y="11858016"/>
                  </a:lnTo>
                  <a:lnTo>
                    <a:pt x="10233109" y="11838955"/>
                  </a:lnTo>
                  <a:lnTo>
                    <a:pt x="10194989" y="11848485"/>
                  </a:lnTo>
                  <a:lnTo>
                    <a:pt x="10190225" y="11896136"/>
                  </a:lnTo>
                  <a:lnTo>
                    <a:pt x="10180693" y="11896136"/>
                  </a:lnTo>
                  <a:lnTo>
                    <a:pt x="10147338" y="11896136"/>
                  </a:lnTo>
                  <a:lnTo>
                    <a:pt x="10133043" y="11900902"/>
                  </a:lnTo>
                  <a:lnTo>
                    <a:pt x="10090157" y="11924728"/>
                  </a:lnTo>
                  <a:lnTo>
                    <a:pt x="10075861" y="11929492"/>
                  </a:lnTo>
                  <a:lnTo>
                    <a:pt x="10066331" y="11924728"/>
                  </a:lnTo>
                  <a:lnTo>
                    <a:pt x="10052036" y="11934258"/>
                  </a:lnTo>
                  <a:lnTo>
                    <a:pt x="10037740" y="11948553"/>
                  </a:lnTo>
                  <a:lnTo>
                    <a:pt x="10018680" y="11948553"/>
                  </a:lnTo>
                  <a:lnTo>
                    <a:pt x="9990089" y="11939023"/>
                  </a:lnTo>
                  <a:lnTo>
                    <a:pt x="9971028" y="11934258"/>
                  </a:lnTo>
                  <a:lnTo>
                    <a:pt x="9951968" y="11934258"/>
                  </a:lnTo>
                  <a:lnTo>
                    <a:pt x="9932907" y="11929492"/>
                  </a:lnTo>
                  <a:lnTo>
                    <a:pt x="9913847" y="11910432"/>
                  </a:lnTo>
                  <a:lnTo>
                    <a:pt x="9894786" y="11905667"/>
                  </a:lnTo>
                  <a:lnTo>
                    <a:pt x="9875726" y="11905667"/>
                  </a:lnTo>
                  <a:lnTo>
                    <a:pt x="9870961" y="11905667"/>
                  </a:lnTo>
                  <a:lnTo>
                    <a:pt x="9842370" y="11867546"/>
                  </a:lnTo>
                  <a:lnTo>
                    <a:pt x="9832840" y="11858016"/>
                  </a:lnTo>
                  <a:lnTo>
                    <a:pt x="9813779" y="11815130"/>
                  </a:lnTo>
                  <a:lnTo>
                    <a:pt x="9809014" y="11796069"/>
                  </a:lnTo>
                  <a:lnTo>
                    <a:pt x="9809014" y="11777008"/>
                  </a:lnTo>
                  <a:lnTo>
                    <a:pt x="9809014" y="11762713"/>
                  </a:lnTo>
                  <a:lnTo>
                    <a:pt x="9818544" y="11743652"/>
                  </a:lnTo>
                  <a:lnTo>
                    <a:pt x="9823310" y="11696001"/>
                  </a:lnTo>
                  <a:lnTo>
                    <a:pt x="9832840" y="11676941"/>
                  </a:lnTo>
                  <a:lnTo>
                    <a:pt x="9837605" y="11662645"/>
                  </a:lnTo>
                  <a:lnTo>
                    <a:pt x="9856665" y="11643585"/>
                  </a:lnTo>
                  <a:lnTo>
                    <a:pt x="9923377" y="11610229"/>
                  </a:lnTo>
                  <a:lnTo>
                    <a:pt x="9937672" y="11600699"/>
                  </a:lnTo>
                  <a:lnTo>
                    <a:pt x="9937672" y="11591168"/>
                  </a:lnTo>
                  <a:lnTo>
                    <a:pt x="9923377" y="11548282"/>
                  </a:lnTo>
                  <a:lnTo>
                    <a:pt x="9923377" y="11538752"/>
                  </a:lnTo>
                  <a:lnTo>
                    <a:pt x="9928142" y="11533987"/>
                  </a:lnTo>
                  <a:lnTo>
                    <a:pt x="9937672" y="11510161"/>
                  </a:lnTo>
                  <a:lnTo>
                    <a:pt x="9942438" y="11505396"/>
                  </a:lnTo>
                  <a:lnTo>
                    <a:pt x="9956733" y="11500631"/>
                  </a:lnTo>
                  <a:lnTo>
                    <a:pt x="9980559" y="11510161"/>
                  </a:lnTo>
                  <a:lnTo>
                    <a:pt x="10004384" y="11514926"/>
                  </a:lnTo>
                  <a:lnTo>
                    <a:pt x="10028210" y="11519692"/>
                  </a:lnTo>
                  <a:lnTo>
                    <a:pt x="10075861" y="11533987"/>
                  </a:lnTo>
                  <a:lnTo>
                    <a:pt x="10142573" y="11567343"/>
                  </a:lnTo>
                  <a:lnTo>
                    <a:pt x="10180693" y="11586403"/>
                  </a:lnTo>
                  <a:lnTo>
                    <a:pt x="10204521" y="11619759"/>
                  </a:lnTo>
                  <a:lnTo>
                    <a:pt x="10228345" y="11653115"/>
                  </a:lnTo>
                  <a:lnTo>
                    <a:pt x="10228345" y="11667410"/>
                  </a:lnTo>
                  <a:lnTo>
                    <a:pt x="10218817" y="11691236"/>
                  </a:lnTo>
                  <a:lnTo>
                    <a:pt x="10214049" y="11700766"/>
                  </a:lnTo>
                  <a:lnTo>
                    <a:pt x="10214049" y="11705532"/>
                  </a:lnTo>
                  <a:lnTo>
                    <a:pt x="10218817" y="11715062"/>
                  </a:lnTo>
                  <a:lnTo>
                    <a:pt x="10237877" y="11729357"/>
                  </a:lnTo>
                  <a:lnTo>
                    <a:pt x="10242641" y="11724592"/>
                  </a:lnTo>
                  <a:lnTo>
                    <a:pt x="10237877" y="11710297"/>
                  </a:lnTo>
                  <a:lnTo>
                    <a:pt x="10242641" y="11696001"/>
                  </a:lnTo>
                  <a:lnTo>
                    <a:pt x="10252173" y="11681706"/>
                  </a:lnTo>
                  <a:lnTo>
                    <a:pt x="10252173" y="11667410"/>
                  </a:lnTo>
                  <a:lnTo>
                    <a:pt x="10247405" y="11648350"/>
                  </a:lnTo>
                  <a:lnTo>
                    <a:pt x="10237877" y="11634054"/>
                  </a:lnTo>
                  <a:lnTo>
                    <a:pt x="10228345" y="11624524"/>
                  </a:lnTo>
                  <a:lnTo>
                    <a:pt x="10185461" y="11576873"/>
                  </a:lnTo>
                  <a:lnTo>
                    <a:pt x="10180693" y="11562578"/>
                  </a:lnTo>
                  <a:lnTo>
                    <a:pt x="10194989" y="11553048"/>
                  </a:lnTo>
                  <a:lnTo>
                    <a:pt x="10256937" y="11572108"/>
                  </a:lnTo>
                  <a:lnTo>
                    <a:pt x="10280761" y="11567343"/>
                  </a:lnTo>
                  <a:lnTo>
                    <a:pt x="10290293" y="11548282"/>
                  </a:lnTo>
                  <a:lnTo>
                    <a:pt x="10299821" y="11538752"/>
                  </a:lnTo>
                  <a:lnTo>
                    <a:pt x="10309353" y="11529222"/>
                  </a:lnTo>
                  <a:lnTo>
                    <a:pt x="10333177" y="11529222"/>
                  </a:lnTo>
                  <a:lnTo>
                    <a:pt x="10361769" y="11533987"/>
                  </a:lnTo>
                  <a:lnTo>
                    <a:pt x="10376065" y="11538752"/>
                  </a:lnTo>
                  <a:lnTo>
                    <a:pt x="10385593" y="11533987"/>
                  </a:lnTo>
                  <a:lnTo>
                    <a:pt x="10404657" y="11524457"/>
                  </a:lnTo>
                  <a:lnTo>
                    <a:pt x="10428481" y="11491101"/>
                  </a:lnTo>
                  <a:lnTo>
                    <a:pt x="10442777" y="11486336"/>
                  </a:lnTo>
                  <a:lnTo>
                    <a:pt x="10466601" y="11481570"/>
                  </a:lnTo>
                  <a:lnTo>
                    <a:pt x="10480897" y="11476806"/>
                  </a:lnTo>
                  <a:lnTo>
                    <a:pt x="10514253" y="11491101"/>
                  </a:lnTo>
                  <a:lnTo>
                    <a:pt x="10533313" y="11491101"/>
                  </a:lnTo>
                  <a:lnTo>
                    <a:pt x="10533313" y="11467275"/>
                  </a:lnTo>
                  <a:lnTo>
                    <a:pt x="10519017" y="11429154"/>
                  </a:lnTo>
                  <a:lnTo>
                    <a:pt x="10504721" y="11386268"/>
                  </a:lnTo>
                  <a:lnTo>
                    <a:pt x="10490429" y="11371972"/>
                  </a:lnTo>
                  <a:lnTo>
                    <a:pt x="10457073" y="11343382"/>
                  </a:lnTo>
                  <a:lnTo>
                    <a:pt x="10418949" y="11290966"/>
                  </a:lnTo>
                  <a:lnTo>
                    <a:pt x="10399889" y="11257610"/>
                  </a:lnTo>
                  <a:lnTo>
                    <a:pt x="10395125" y="11243314"/>
                  </a:lnTo>
                  <a:lnTo>
                    <a:pt x="10399889" y="11229019"/>
                  </a:lnTo>
                  <a:lnTo>
                    <a:pt x="10404657" y="11214723"/>
                  </a:lnTo>
                  <a:lnTo>
                    <a:pt x="10476133" y="11157542"/>
                  </a:lnTo>
                  <a:lnTo>
                    <a:pt x="10528549" y="11100360"/>
                  </a:lnTo>
                  <a:lnTo>
                    <a:pt x="10552373" y="11067004"/>
                  </a:lnTo>
                  <a:lnTo>
                    <a:pt x="10561905" y="11047944"/>
                  </a:lnTo>
                  <a:lnTo>
                    <a:pt x="10576201" y="11033648"/>
                  </a:lnTo>
                  <a:lnTo>
                    <a:pt x="10590497" y="11024118"/>
                  </a:lnTo>
                  <a:lnTo>
                    <a:pt x="10614321" y="11009823"/>
                  </a:lnTo>
                  <a:lnTo>
                    <a:pt x="10623853" y="10995528"/>
                  </a:lnTo>
                  <a:lnTo>
                    <a:pt x="10623853" y="10971702"/>
                  </a:lnTo>
                  <a:lnTo>
                    <a:pt x="10628617" y="10952641"/>
                  </a:lnTo>
                  <a:lnTo>
                    <a:pt x="10652441" y="10890695"/>
                  </a:lnTo>
                  <a:lnTo>
                    <a:pt x="10671501" y="10876399"/>
                  </a:lnTo>
                  <a:lnTo>
                    <a:pt x="10700093" y="10862104"/>
                  </a:lnTo>
                  <a:lnTo>
                    <a:pt x="10719153" y="10852574"/>
                  </a:lnTo>
                  <a:lnTo>
                    <a:pt x="10742981" y="10800157"/>
                  </a:lnTo>
                  <a:lnTo>
                    <a:pt x="10738213" y="10790627"/>
                  </a:lnTo>
                  <a:lnTo>
                    <a:pt x="10728685" y="10781097"/>
                  </a:lnTo>
                  <a:lnTo>
                    <a:pt x="10719153" y="10766801"/>
                  </a:lnTo>
                  <a:lnTo>
                    <a:pt x="10685797" y="10638143"/>
                  </a:lnTo>
                  <a:lnTo>
                    <a:pt x="10661973" y="10571431"/>
                  </a:lnTo>
                  <a:lnTo>
                    <a:pt x="10633381" y="10519015"/>
                  </a:lnTo>
                  <a:lnTo>
                    <a:pt x="10609557" y="10452303"/>
                  </a:lnTo>
                  <a:lnTo>
                    <a:pt x="10571433" y="10385591"/>
                  </a:lnTo>
                  <a:lnTo>
                    <a:pt x="10566669" y="10366530"/>
                  </a:lnTo>
                  <a:lnTo>
                    <a:pt x="10576201" y="10347470"/>
                  </a:lnTo>
                  <a:lnTo>
                    <a:pt x="10571433" y="10342705"/>
                  </a:lnTo>
                  <a:lnTo>
                    <a:pt x="10528549" y="10371296"/>
                  </a:lnTo>
                  <a:lnTo>
                    <a:pt x="10519017" y="10371296"/>
                  </a:lnTo>
                  <a:lnTo>
                    <a:pt x="10504721" y="10357000"/>
                  </a:lnTo>
                  <a:lnTo>
                    <a:pt x="10490429" y="10342705"/>
                  </a:lnTo>
                  <a:lnTo>
                    <a:pt x="10480897" y="10314114"/>
                  </a:lnTo>
                  <a:lnTo>
                    <a:pt x="10485661" y="10299819"/>
                  </a:lnTo>
                  <a:lnTo>
                    <a:pt x="10490429" y="10285524"/>
                  </a:lnTo>
                  <a:lnTo>
                    <a:pt x="10499957" y="10252168"/>
                  </a:lnTo>
                  <a:lnTo>
                    <a:pt x="10499957" y="10233107"/>
                  </a:lnTo>
                  <a:lnTo>
                    <a:pt x="10495193" y="10218812"/>
                  </a:lnTo>
                  <a:lnTo>
                    <a:pt x="10490429" y="10204516"/>
                  </a:lnTo>
                  <a:lnTo>
                    <a:pt x="10485661" y="10199751"/>
                  </a:lnTo>
                  <a:lnTo>
                    <a:pt x="10476133" y="10194986"/>
                  </a:lnTo>
                  <a:lnTo>
                    <a:pt x="10452305" y="10194986"/>
                  </a:lnTo>
                  <a:lnTo>
                    <a:pt x="10447541" y="10199751"/>
                  </a:lnTo>
                  <a:lnTo>
                    <a:pt x="10466601" y="10252168"/>
                  </a:lnTo>
                  <a:lnTo>
                    <a:pt x="10466601" y="10261698"/>
                  </a:lnTo>
                  <a:lnTo>
                    <a:pt x="10433245" y="10271228"/>
                  </a:lnTo>
                  <a:lnTo>
                    <a:pt x="10423717" y="10266463"/>
                  </a:lnTo>
                  <a:lnTo>
                    <a:pt x="10409421" y="10261698"/>
                  </a:lnTo>
                  <a:lnTo>
                    <a:pt x="10399889" y="10252168"/>
                  </a:lnTo>
                  <a:lnTo>
                    <a:pt x="10361769" y="10194986"/>
                  </a:lnTo>
                  <a:lnTo>
                    <a:pt x="10357005" y="10175926"/>
                  </a:lnTo>
                  <a:lnTo>
                    <a:pt x="10357005" y="10161630"/>
                  </a:lnTo>
                  <a:lnTo>
                    <a:pt x="10357005" y="10152100"/>
                  </a:lnTo>
                  <a:lnTo>
                    <a:pt x="10347473" y="10156865"/>
                  </a:lnTo>
                  <a:lnTo>
                    <a:pt x="10337945" y="10156865"/>
                  </a:lnTo>
                  <a:lnTo>
                    <a:pt x="10323649" y="10152100"/>
                  </a:lnTo>
                  <a:lnTo>
                    <a:pt x="10323649" y="10147335"/>
                  </a:lnTo>
                  <a:lnTo>
                    <a:pt x="10347473" y="10113979"/>
                  </a:lnTo>
                  <a:lnTo>
                    <a:pt x="10347473" y="10104448"/>
                  </a:lnTo>
                  <a:lnTo>
                    <a:pt x="10337945" y="10094918"/>
                  </a:lnTo>
                  <a:lnTo>
                    <a:pt x="10318881" y="10094918"/>
                  </a:lnTo>
                  <a:lnTo>
                    <a:pt x="10314117" y="10085388"/>
                  </a:lnTo>
                  <a:lnTo>
                    <a:pt x="10318881" y="10075858"/>
                  </a:lnTo>
                  <a:lnTo>
                    <a:pt x="10342709" y="10061562"/>
                  </a:lnTo>
                  <a:lnTo>
                    <a:pt x="10352237" y="10052032"/>
                  </a:lnTo>
                  <a:lnTo>
                    <a:pt x="10337945" y="10042502"/>
                  </a:lnTo>
                  <a:lnTo>
                    <a:pt x="10328413" y="10042502"/>
                  </a:lnTo>
                  <a:lnTo>
                    <a:pt x="10314117" y="10056797"/>
                  </a:lnTo>
                  <a:lnTo>
                    <a:pt x="10290293" y="10094918"/>
                  </a:lnTo>
                  <a:lnTo>
                    <a:pt x="10275997" y="10109214"/>
                  </a:lnTo>
                  <a:lnTo>
                    <a:pt x="10252173" y="10090153"/>
                  </a:lnTo>
                  <a:lnTo>
                    <a:pt x="10237877" y="10085388"/>
                  </a:lnTo>
                  <a:lnTo>
                    <a:pt x="10228345" y="10090153"/>
                  </a:lnTo>
                  <a:lnTo>
                    <a:pt x="10209285" y="10118744"/>
                  </a:lnTo>
                  <a:lnTo>
                    <a:pt x="10175929" y="10137804"/>
                  </a:lnTo>
                  <a:lnTo>
                    <a:pt x="10113982" y="10185456"/>
                  </a:lnTo>
                  <a:lnTo>
                    <a:pt x="10090157" y="10204516"/>
                  </a:lnTo>
                  <a:lnTo>
                    <a:pt x="10061566" y="10199751"/>
                  </a:lnTo>
                  <a:lnTo>
                    <a:pt x="10056801" y="10190221"/>
                  </a:lnTo>
                  <a:lnTo>
                    <a:pt x="10056801" y="10175926"/>
                  </a:lnTo>
                  <a:lnTo>
                    <a:pt x="10056801" y="10161630"/>
                  </a:lnTo>
                  <a:lnTo>
                    <a:pt x="10061566" y="10147335"/>
                  </a:lnTo>
                  <a:lnTo>
                    <a:pt x="10061566" y="10137804"/>
                  </a:lnTo>
                  <a:lnTo>
                    <a:pt x="10061566" y="10080623"/>
                  </a:lnTo>
                  <a:lnTo>
                    <a:pt x="10066331" y="10066328"/>
                  </a:lnTo>
                  <a:lnTo>
                    <a:pt x="10075861" y="10056797"/>
                  </a:lnTo>
                  <a:lnTo>
                    <a:pt x="10090157" y="10047267"/>
                  </a:lnTo>
                  <a:lnTo>
                    <a:pt x="10137808" y="10056797"/>
                  </a:lnTo>
                  <a:lnTo>
                    <a:pt x="10156868" y="10056797"/>
                  </a:lnTo>
                  <a:lnTo>
                    <a:pt x="10171164" y="10042502"/>
                  </a:lnTo>
                  <a:lnTo>
                    <a:pt x="10190225" y="10023442"/>
                  </a:lnTo>
                  <a:lnTo>
                    <a:pt x="10204521" y="9999616"/>
                  </a:lnTo>
                  <a:lnTo>
                    <a:pt x="10204521" y="9975790"/>
                  </a:lnTo>
                  <a:lnTo>
                    <a:pt x="10190225" y="9937669"/>
                  </a:lnTo>
                  <a:lnTo>
                    <a:pt x="10185461" y="9928139"/>
                  </a:lnTo>
                  <a:lnTo>
                    <a:pt x="10142573" y="9899548"/>
                  </a:lnTo>
                  <a:lnTo>
                    <a:pt x="10123512" y="9890018"/>
                  </a:lnTo>
                  <a:lnTo>
                    <a:pt x="10104452" y="9885253"/>
                  </a:lnTo>
                  <a:lnTo>
                    <a:pt x="10090157" y="9875722"/>
                  </a:lnTo>
                  <a:lnTo>
                    <a:pt x="10080626" y="9861427"/>
                  </a:lnTo>
                  <a:lnTo>
                    <a:pt x="10071096" y="9842366"/>
                  </a:lnTo>
                  <a:lnTo>
                    <a:pt x="10071096" y="9828071"/>
                  </a:lnTo>
                  <a:lnTo>
                    <a:pt x="10071096" y="9809011"/>
                  </a:lnTo>
                  <a:lnTo>
                    <a:pt x="10080626" y="9794715"/>
                  </a:lnTo>
                  <a:lnTo>
                    <a:pt x="10113982" y="9780420"/>
                  </a:lnTo>
                  <a:lnTo>
                    <a:pt x="10113982" y="9775655"/>
                  </a:lnTo>
                  <a:lnTo>
                    <a:pt x="10085392" y="9766124"/>
                  </a:lnTo>
                  <a:lnTo>
                    <a:pt x="10071096" y="9766124"/>
                  </a:lnTo>
                  <a:lnTo>
                    <a:pt x="10061566" y="9780420"/>
                  </a:lnTo>
                  <a:lnTo>
                    <a:pt x="10042505" y="9809011"/>
                  </a:lnTo>
                  <a:lnTo>
                    <a:pt x="10032975" y="9818541"/>
                  </a:lnTo>
                  <a:lnTo>
                    <a:pt x="10009150" y="9799480"/>
                  </a:lnTo>
                  <a:lnTo>
                    <a:pt x="9990089" y="9794715"/>
                  </a:lnTo>
                  <a:lnTo>
                    <a:pt x="9980559" y="9789950"/>
                  </a:lnTo>
                  <a:lnTo>
                    <a:pt x="9975794" y="9780420"/>
                  </a:lnTo>
                  <a:lnTo>
                    <a:pt x="9980559" y="9770890"/>
                  </a:lnTo>
                  <a:lnTo>
                    <a:pt x="9990089" y="9766124"/>
                  </a:lnTo>
                  <a:lnTo>
                    <a:pt x="10013915" y="9737534"/>
                  </a:lnTo>
                  <a:lnTo>
                    <a:pt x="10018680" y="9723238"/>
                  </a:lnTo>
                  <a:lnTo>
                    <a:pt x="9999619" y="9704178"/>
                  </a:lnTo>
                  <a:lnTo>
                    <a:pt x="9994854" y="9699413"/>
                  </a:lnTo>
                  <a:lnTo>
                    <a:pt x="9956733" y="9689882"/>
                  </a:lnTo>
                  <a:lnTo>
                    <a:pt x="9918612" y="9699413"/>
                  </a:lnTo>
                  <a:lnTo>
                    <a:pt x="9904317" y="9694648"/>
                  </a:lnTo>
                  <a:lnTo>
                    <a:pt x="9894786" y="9670822"/>
                  </a:lnTo>
                  <a:lnTo>
                    <a:pt x="9890021" y="9637466"/>
                  </a:lnTo>
                  <a:lnTo>
                    <a:pt x="9890021" y="9604110"/>
                  </a:lnTo>
                  <a:lnTo>
                    <a:pt x="9885256" y="9546929"/>
                  </a:lnTo>
                  <a:lnTo>
                    <a:pt x="9875726" y="9513573"/>
                  </a:lnTo>
                  <a:lnTo>
                    <a:pt x="9861430" y="9508808"/>
                  </a:lnTo>
                  <a:lnTo>
                    <a:pt x="9813779" y="9523103"/>
                  </a:lnTo>
                  <a:lnTo>
                    <a:pt x="9804249" y="9523103"/>
                  </a:lnTo>
                  <a:lnTo>
                    <a:pt x="9794719" y="9518338"/>
                  </a:lnTo>
                  <a:lnTo>
                    <a:pt x="9761363" y="9475452"/>
                  </a:lnTo>
                  <a:lnTo>
                    <a:pt x="9751832" y="9465922"/>
                  </a:lnTo>
                  <a:lnTo>
                    <a:pt x="9742302" y="9461156"/>
                  </a:lnTo>
                  <a:lnTo>
                    <a:pt x="9718477" y="9418270"/>
                  </a:lnTo>
                  <a:lnTo>
                    <a:pt x="9708946" y="9408740"/>
                  </a:lnTo>
                  <a:lnTo>
                    <a:pt x="9699416" y="9389679"/>
                  </a:lnTo>
                  <a:lnTo>
                    <a:pt x="9685121" y="9356324"/>
                  </a:lnTo>
                  <a:lnTo>
                    <a:pt x="9670825" y="9342028"/>
                  </a:lnTo>
                  <a:lnTo>
                    <a:pt x="9656530" y="9356324"/>
                  </a:lnTo>
                  <a:lnTo>
                    <a:pt x="9642235" y="9375384"/>
                  </a:lnTo>
                  <a:lnTo>
                    <a:pt x="9627939" y="9399210"/>
                  </a:lnTo>
                  <a:lnTo>
                    <a:pt x="9618409" y="9423035"/>
                  </a:lnTo>
                  <a:lnTo>
                    <a:pt x="9618409" y="9437331"/>
                  </a:lnTo>
                  <a:lnTo>
                    <a:pt x="9627939" y="9451626"/>
                  </a:lnTo>
                  <a:lnTo>
                    <a:pt x="9680356" y="9475452"/>
                  </a:lnTo>
                  <a:lnTo>
                    <a:pt x="9694651" y="9489747"/>
                  </a:lnTo>
                  <a:lnTo>
                    <a:pt x="9704181" y="9513573"/>
                  </a:lnTo>
                  <a:lnTo>
                    <a:pt x="9713712" y="9542164"/>
                  </a:lnTo>
                  <a:lnTo>
                    <a:pt x="9718477" y="9575519"/>
                  </a:lnTo>
                  <a:lnTo>
                    <a:pt x="9718477" y="9604110"/>
                  </a:lnTo>
                  <a:lnTo>
                    <a:pt x="9713712" y="9618406"/>
                  </a:lnTo>
                  <a:lnTo>
                    <a:pt x="9699416" y="9632701"/>
                  </a:lnTo>
                  <a:lnTo>
                    <a:pt x="9666060" y="9656527"/>
                  </a:lnTo>
                  <a:lnTo>
                    <a:pt x="9637470" y="9670822"/>
                  </a:lnTo>
                  <a:lnTo>
                    <a:pt x="9604114" y="9675587"/>
                  </a:lnTo>
                  <a:lnTo>
                    <a:pt x="9585053" y="9670822"/>
                  </a:lnTo>
                  <a:lnTo>
                    <a:pt x="9499281" y="9623171"/>
                  </a:lnTo>
                  <a:lnTo>
                    <a:pt x="9484985" y="9623171"/>
                  </a:lnTo>
                  <a:lnTo>
                    <a:pt x="9465925" y="9618406"/>
                  </a:lnTo>
                  <a:lnTo>
                    <a:pt x="9423039" y="9599345"/>
                  </a:lnTo>
                  <a:lnTo>
                    <a:pt x="9399213" y="9599345"/>
                  </a:lnTo>
                  <a:lnTo>
                    <a:pt x="9356327" y="9580284"/>
                  </a:lnTo>
                  <a:lnTo>
                    <a:pt x="9284850" y="9570754"/>
                  </a:lnTo>
                  <a:lnTo>
                    <a:pt x="9270555" y="9580284"/>
                  </a:lnTo>
                  <a:lnTo>
                    <a:pt x="9289615" y="9599345"/>
                  </a:lnTo>
                  <a:lnTo>
                    <a:pt x="9303910" y="9613640"/>
                  </a:lnTo>
                  <a:lnTo>
                    <a:pt x="9318206" y="9613640"/>
                  </a:lnTo>
                  <a:lnTo>
                    <a:pt x="9342032" y="9632701"/>
                  </a:lnTo>
                  <a:lnTo>
                    <a:pt x="9365857" y="9670822"/>
                  </a:lnTo>
                  <a:lnTo>
                    <a:pt x="9380153" y="9689882"/>
                  </a:lnTo>
                  <a:lnTo>
                    <a:pt x="9394448" y="9718473"/>
                  </a:lnTo>
                  <a:lnTo>
                    <a:pt x="9394448" y="9728004"/>
                  </a:lnTo>
                  <a:lnTo>
                    <a:pt x="9384918" y="9747064"/>
                  </a:lnTo>
                  <a:lnTo>
                    <a:pt x="9280085" y="9646996"/>
                  </a:lnTo>
                  <a:lnTo>
                    <a:pt x="9222903" y="9685117"/>
                  </a:lnTo>
                  <a:lnTo>
                    <a:pt x="9194313" y="9694648"/>
                  </a:lnTo>
                  <a:lnTo>
                    <a:pt x="9170487" y="9699413"/>
                  </a:lnTo>
                  <a:lnTo>
                    <a:pt x="9137131" y="9685117"/>
                  </a:lnTo>
                  <a:lnTo>
                    <a:pt x="9070419" y="9637466"/>
                  </a:lnTo>
                  <a:lnTo>
                    <a:pt x="9041828" y="9623171"/>
                  </a:lnTo>
                  <a:lnTo>
                    <a:pt x="9032298" y="9618406"/>
                  </a:lnTo>
                  <a:lnTo>
                    <a:pt x="8975117" y="9637466"/>
                  </a:lnTo>
                  <a:lnTo>
                    <a:pt x="8922700" y="9642231"/>
                  </a:lnTo>
                  <a:lnTo>
                    <a:pt x="8822633" y="9623171"/>
                  </a:lnTo>
                  <a:lnTo>
                    <a:pt x="8784512" y="9608875"/>
                  </a:lnTo>
                  <a:lnTo>
                    <a:pt x="8770216" y="9594580"/>
                  </a:lnTo>
                  <a:lnTo>
                    <a:pt x="8760686" y="9589815"/>
                  </a:lnTo>
                  <a:lnTo>
                    <a:pt x="8736860" y="9589815"/>
                  </a:lnTo>
                  <a:lnTo>
                    <a:pt x="8679679" y="9570754"/>
                  </a:lnTo>
                  <a:lnTo>
                    <a:pt x="8622497" y="9608875"/>
                  </a:lnTo>
                  <a:lnTo>
                    <a:pt x="8562933" y="9575519"/>
                  </a:lnTo>
                  <a:lnTo>
                    <a:pt x="8543873" y="9556459"/>
                  </a:lnTo>
                  <a:lnTo>
                    <a:pt x="8534342" y="9542164"/>
                  </a:lnTo>
                  <a:lnTo>
                    <a:pt x="8515282" y="9489747"/>
                  </a:lnTo>
                  <a:lnTo>
                    <a:pt x="8515282" y="9461156"/>
                  </a:lnTo>
                  <a:lnTo>
                    <a:pt x="8520047" y="9437331"/>
                  </a:lnTo>
                  <a:lnTo>
                    <a:pt x="8524812" y="9418270"/>
                  </a:lnTo>
                  <a:lnTo>
                    <a:pt x="8529577" y="9408740"/>
                  </a:lnTo>
                  <a:lnTo>
                    <a:pt x="8496221" y="9437331"/>
                  </a:lnTo>
                  <a:lnTo>
                    <a:pt x="8481926" y="9442096"/>
                  </a:lnTo>
                  <a:lnTo>
                    <a:pt x="8467631" y="9446861"/>
                  </a:lnTo>
                  <a:lnTo>
                    <a:pt x="8415214" y="9432566"/>
                  </a:lnTo>
                  <a:lnTo>
                    <a:pt x="8410449" y="9437331"/>
                  </a:lnTo>
                  <a:lnTo>
                    <a:pt x="8410449" y="9451626"/>
                  </a:lnTo>
                  <a:lnTo>
                    <a:pt x="8424744" y="9465922"/>
                  </a:lnTo>
                  <a:lnTo>
                    <a:pt x="8424744" y="9475452"/>
                  </a:lnTo>
                  <a:lnTo>
                    <a:pt x="8400919" y="9480217"/>
                  </a:lnTo>
                  <a:lnTo>
                    <a:pt x="8358033" y="9475452"/>
                  </a:lnTo>
                  <a:lnTo>
                    <a:pt x="8338972" y="9475452"/>
                  </a:lnTo>
                  <a:lnTo>
                    <a:pt x="8329442" y="9480217"/>
                  </a:lnTo>
                  <a:lnTo>
                    <a:pt x="8310381" y="9504042"/>
                  </a:lnTo>
                  <a:lnTo>
                    <a:pt x="8305616" y="9508808"/>
                  </a:lnTo>
                  <a:lnTo>
                    <a:pt x="8296086" y="9508808"/>
                  </a:lnTo>
                  <a:lnTo>
                    <a:pt x="8253200" y="9451626"/>
                  </a:lnTo>
                  <a:lnTo>
                    <a:pt x="8215079" y="9418270"/>
                  </a:lnTo>
                  <a:lnTo>
                    <a:pt x="8176958" y="9403975"/>
                  </a:lnTo>
                  <a:lnTo>
                    <a:pt x="8157897" y="9394444"/>
                  </a:lnTo>
                  <a:lnTo>
                    <a:pt x="8148367" y="9380149"/>
                  </a:lnTo>
                  <a:lnTo>
                    <a:pt x="8091185" y="9270551"/>
                  </a:lnTo>
                  <a:lnTo>
                    <a:pt x="8081655" y="9246726"/>
                  </a:lnTo>
                  <a:lnTo>
                    <a:pt x="8067360" y="9156188"/>
                  </a:lnTo>
                  <a:lnTo>
                    <a:pt x="8057830" y="9137128"/>
                  </a:lnTo>
                  <a:lnTo>
                    <a:pt x="8053064" y="9127597"/>
                  </a:lnTo>
                  <a:lnTo>
                    <a:pt x="8067360" y="9122832"/>
                  </a:lnTo>
                  <a:lnTo>
                    <a:pt x="8119776" y="9132362"/>
                  </a:lnTo>
                  <a:lnTo>
                    <a:pt x="8172193" y="9132362"/>
                  </a:lnTo>
                  <a:lnTo>
                    <a:pt x="8200783" y="9141893"/>
                  </a:lnTo>
                  <a:lnTo>
                    <a:pt x="8229374" y="9160953"/>
                  </a:lnTo>
                  <a:lnTo>
                    <a:pt x="8272260" y="9180014"/>
                  </a:lnTo>
                  <a:lnTo>
                    <a:pt x="8305616" y="9180014"/>
                  </a:lnTo>
                  <a:lnTo>
                    <a:pt x="8353268" y="9175249"/>
                  </a:lnTo>
                  <a:lnTo>
                    <a:pt x="8405684" y="9160953"/>
                  </a:lnTo>
                  <a:lnTo>
                    <a:pt x="8415214" y="9151423"/>
                  </a:lnTo>
                  <a:lnTo>
                    <a:pt x="8377093" y="9132362"/>
                  </a:lnTo>
                  <a:lnTo>
                    <a:pt x="8348502" y="9103772"/>
                  </a:lnTo>
                  <a:lnTo>
                    <a:pt x="8315146" y="9070416"/>
                  </a:lnTo>
                  <a:lnTo>
                    <a:pt x="8300851" y="9056120"/>
                  </a:lnTo>
                  <a:lnTo>
                    <a:pt x="8272260" y="9046590"/>
                  </a:lnTo>
                  <a:lnTo>
                    <a:pt x="8186488" y="9037060"/>
                  </a:lnTo>
                  <a:lnTo>
                    <a:pt x="8110246" y="9018000"/>
                  </a:lnTo>
                  <a:lnTo>
                    <a:pt x="8057830" y="8984644"/>
                  </a:lnTo>
                  <a:lnTo>
                    <a:pt x="8014943" y="8951288"/>
                  </a:lnTo>
                  <a:lnTo>
                    <a:pt x="7995883" y="8932227"/>
                  </a:lnTo>
                  <a:lnTo>
                    <a:pt x="7991118" y="8917932"/>
                  </a:lnTo>
                  <a:lnTo>
                    <a:pt x="7986353" y="8870280"/>
                  </a:lnTo>
                  <a:lnTo>
                    <a:pt x="7976822" y="8794038"/>
                  </a:lnTo>
                  <a:lnTo>
                    <a:pt x="7972057" y="8741622"/>
                  </a:lnTo>
                  <a:lnTo>
                    <a:pt x="7962527" y="8713031"/>
                  </a:lnTo>
                  <a:lnTo>
                    <a:pt x="7962527" y="8689206"/>
                  </a:lnTo>
                  <a:lnTo>
                    <a:pt x="7976822" y="8636789"/>
                  </a:lnTo>
                  <a:lnTo>
                    <a:pt x="8019709" y="8586755"/>
                  </a:lnTo>
                  <a:lnTo>
                    <a:pt x="8019709" y="8577225"/>
                  </a:lnTo>
                  <a:lnTo>
                    <a:pt x="8010178" y="8572460"/>
                  </a:lnTo>
                  <a:lnTo>
                    <a:pt x="7995883" y="8558165"/>
                  </a:lnTo>
                  <a:lnTo>
                    <a:pt x="7991118" y="8539104"/>
                  </a:lnTo>
                  <a:lnTo>
                    <a:pt x="7986353" y="8505748"/>
                  </a:lnTo>
                  <a:lnTo>
                    <a:pt x="7986353" y="8477157"/>
                  </a:lnTo>
                  <a:lnTo>
                    <a:pt x="7991118" y="8453332"/>
                  </a:lnTo>
                  <a:lnTo>
                    <a:pt x="7995883" y="8424741"/>
                  </a:lnTo>
                  <a:lnTo>
                    <a:pt x="8014943" y="8372325"/>
                  </a:lnTo>
                  <a:lnTo>
                    <a:pt x="8038769" y="8310378"/>
                  </a:lnTo>
                  <a:lnTo>
                    <a:pt x="8067360" y="8248431"/>
                  </a:lnTo>
                  <a:lnTo>
                    <a:pt x="8072125" y="8229371"/>
                  </a:lnTo>
                  <a:lnTo>
                    <a:pt x="8076890" y="8176954"/>
                  </a:lnTo>
                  <a:lnTo>
                    <a:pt x="8076890" y="8138833"/>
                  </a:lnTo>
                  <a:lnTo>
                    <a:pt x="8081655" y="8110243"/>
                  </a:lnTo>
                  <a:lnTo>
                    <a:pt x="8086420" y="8086417"/>
                  </a:lnTo>
                  <a:lnTo>
                    <a:pt x="8105481" y="8048296"/>
                  </a:lnTo>
                  <a:lnTo>
                    <a:pt x="8129306" y="8010175"/>
                  </a:lnTo>
                  <a:lnTo>
                    <a:pt x="8162662" y="7976819"/>
                  </a:lnTo>
                  <a:lnTo>
                    <a:pt x="8162662" y="7967289"/>
                  </a:lnTo>
                  <a:lnTo>
                    <a:pt x="8162662" y="7948228"/>
                  </a:lnTo>
                  <a:lnTo>
                    <a:pt x="8167428" y="7933933"/>
                  </a:lnTo>
                  <a:lnTo>
                    <a:pt x="8167428" y="7929168"/>
                  </a:lnTo>
                  <a:lnTo>
                    <a:pt x="8253200" y="7824335"/>
                  </a:lnTo>
                  <a:lnTo>
                    <a:pt x="8291321" y="7776684"/>
                  </a:lnTo>
                  <a:lnTo>
                    <a:pt x="8324677" y="7752858"/>
                  </a:lnTo>
                  <a:lnTo>
                    <a:pt x="8362798" y="7729032"/>
                  </a:lnTo>
                  <a:lnTo>
                    <a:pt x="8472396" y="7690911"/>
                  </a:lnTo>
                  <a:close/>
                  <a:moveTo>
                    <a:pt x="6404330" y="7624199"/>
                  </a:moveTo>
                  <a:lnTo>
                    <a:pt x="6537754" y="7748092"/>
                  </a:lnTo>
                  <a:lnTo>
                    <a:pt x="6556814" y="7738562"/>
                  </a:lnTo>
                  <a:lnTo>
                    <a:pt x="6594935" y="7729032"/>
                  </a:lnTo>
                  <a:lnTo>
                    <a:pt x="6637821" y="7714736"/>
                  </a:lnTo>
                  <a:lnTo>
                    <a:pt x="6695003" y="7695676"/>
                  </a:lnTo>
                  <a:lnTo>
                    <a:pt x="6728359" y="7671850"/>
                  </a:lnTo>
                  <a:lnTo>
                    <a:pt x="6742654" y="7662320"/>
                  </a:lnTo>
                  <a:lnTo>
                    <a:pt x="6771245" y="7657555"/>
                  </a:lnTo>
                  <a:lnTo>
                    <a:pt x="6780775" y="7657555"/>
                  </a:lnTo>
                  <a:lnTo>
                    <a:pt x="6823661" y="7671850"/>
                  </a:lnTo>
                  <a:lnTo>
                    <a:pt x="6837957" y="7686146"/>
                  </a:lnTo>
                  <a:lnTo>
                    <a:pt x="6847487" y="7695676"/>
                  </a:lnTo>
                  <a:lnTo>
                    <a:pt x="6857017" y="7714736"/>
                  </a:lnTo>
                  <a:lnTo>
                    <a:pt x="6871313" y="7762388"/>
                  </a:lnTo>
                  <a:lnTo>
                    <a:pt x="6876078" y="7776683"/>
                  </a:lnTo>
                  <a:lnTo>
                    <a:pt x="6876078" y="7781448"/>
                  </a:lnTo>
                  <a:lnTo>
                    <a:pt x="6857017" y="7810039"/>
                  </a:lnTo>
                  <a:lnTo>
                    <a:pt x="6847487" y="7824334"/>
                  </a:lnTo>
                  <a:lnTo>
                    <a:pt x="6828426" y="7833865"/>
                  </a:lnTo>
                  <a:lnTo>
                    <a:pt x="6814131" y="7838630"/>
                  </a:lnTo>
                  <a:lnTo>
                    <a:pt x="6799836" y="7857690"/>
                  </a:lnTo>
                  <a:lnTo>
                    <a:pt x="6780775" y="7852925"/>
                  </a:lnTo>
                  <a:lnTo>
                    <a:pt x="6776010" y="7871986"/>
                  </a:lnTo>
                  <a:lnTo>
                    <a:pt x="6776010" y="7886281"/>
                  </a:lnTo>
                  <a:lnTo>
                    <a:pt x="6780775" y="7891046"/>
                  </a:lnTo>
                  <a:lnTo>
                    <a:pt x="6790305" y="7891046"/>
                  </a:lnTo>
                  <a:lnTo>
                    <a:pt x="6799836" y="7881516"/>
                  </a:lnTo>
                  <a:lnTo>
                    <a:pt x="6818896" y="7886281"/>
                  </a:lnTo>
                  <a:lnTo>
                    <a:pt x="6828426" y="7895811"/>
                  </a:lnTo>
                  <a:lnTo>
                    <a:pt x="6837957" y="7919637"/>
                  </a:lnTo>
                  <a:lnTo>
                    <a:pt x="6833192" y="7938698"/>
                  </a:lnTo>
                  <a:lnTo>
                    <a:pt x="6799836" y="7962523"/>
                  </a:lnTo>
                  <a:lnTo>
                    <a:pt x="6747419" y="7991114"/>
                  </a:lnTo>
                  <a:lnTo>
                    <a:pt x="6690238" y="8081651"/>
                  </a:lnTo>
                  <a:lnTo>
                    <a:pt x="6656882" y="8119772"/>
                  </a:lnTo>
                  <a:lnTo>
                    <a:pt x="6652117" y="8134068"/>
                  </a:lnTo>
                  <a:lnTo>
                    <a:pt x="6647352" y="8143598"/>
                  </a:lnTo>
                  <a:lnTo>
                    <a:pt x="6652117" y="8167424"/>
                  </a:lnTo>
                  <a:lnTo>
                    <a:pt x="6652117" y="8176954"/>
                  </a:lnTo>
                  <a:lnTo>
                    <a:pt x="6661647" y="8181719"/>
                  </a:lnTo>
                  <a:lnTo>
                    <a:pt x="6690238" y="8148363"/>
                  </a:lnTo>
                  <a:lnTo>
                    <a:pt x="6709298" y="8134068"/>
                  </a:lnTo>
                  <a:lnTo>
                    <a:pt x="6728359" y="8124538"/>
                  </a:lnTo>
                  <a:lnTo>
                    <a:pt x="6761715" y="8124538"/>
                  </a:lnTo>
                  <a:lnTo>
                    <a:pt x="6776010" y="8129303"/>
                  </a:lnTo>
                  <a:lnTo>
                    <a:pt x="6799836" y="8148363"/>
                  </a:lnTo>
                  <a:lnTo>
                    <a:pt x="6823661" y="8176954"/>
                  </a:lnTo>
                  <a:lnTo>
                    <a:pt x="6828426" y="8191249"/>
                  </a:lnTo>
                  <a:lnTo>
                    <a:pt x="6823661" y="8200780"/>
                  </a:lnTo>
                  <a:lnTo>
                    <a:pt x="6814131" y="8210310"/>
                  </a:lnTo>
                  <a:lnTo>
                    <a:pt x="6814131" y="8219840"/>
                  </a:lnTo>
                  <a:lnTo>
                    <a:pt x="6837957" y="8234136"/>
                  </a:lnTo>
                  <a:lnTo>
                    <a:pt x="6861782" y="8272257"/>
                  </a:lnTo>
                  <a:lnTo>
                    <a:pt x="6861782" y="8296082"/>
                  </a:lnTo>
                  <a:lnTo>
                    <a:pt x="6852252" y="8319908"/>
                  </a:lnTo>
                  <a:lnTo>
                    <a:pt x="6847487" y="8334203"/>
                  </a:lnTo>
                  <a:lnTo>
                    <a:pt x="6852252" y="8343734"/>
                  </a:lnTo>
                  <a:lnTo>
                    <a:pt x="6866548" y="8338968"/>
                  </a:lnTo>
                  <a:lnTo>
                    <a:pt x="6895138" y="8310378"/>
                  </a:lnTo>
                  <a:lnTo>
                    <a:pt x="6923729" y="8296082"/>
                  </a:lnTo>
                  <a:lnTo>
                    <a:pt x="6938024" y="8300847"/>
                  </a:lnTo>
                  <a:lnTo>
                    <a:pt x="6942790" y="8305612"/>
                  </a:lnTo>
                  <a:lnTo>
                    <a:pt x="6952320" y="8338968"/>
                  </a:lnTo>
                  <a:lnTo>
                    <a:pt x="6961850" y="8381854"/>
                  </a:lnTo>
                  <a:lnTo>
                    <a:pt x="6961850" y="8415210"/>
                  </a:lnTo>
                  <a:lnTo>
                    <a:pt x="6957085" y="8443801"/>
                  </a:lnTo>
                  <a:lnTo>
                    <a:pt x="6947555" y="8462862"/>
                  </a:lnTo>
                  <a:lnTo>
                    <a:pt x="6928494" y="8491452"/>
                  </a:lnTo>
                  <a:lnTo>
                    <a:pt x="6914199" y="8500983"/>
                  </a:lnTo>
                  <a:lnTo>
                    <a:pt x="6904668" y="8500983"/>
                  </a:lnTo>
                  <a:lnTo>
                    <a:pt x="6904668" y="8505748"/>
                  </a:lnTo>
                  <a:lnTo>
                    <a:pt x="6923729" y="8529574"/>
                  </a:lnTo>
                  <a:lnTo>
                    <a:pt x="6933259" y="8543869"/>
                  </a:lnTo>
                  <a:lnTo>
                    <a:pt x="6938024" y="8562929"/>
                  </a:lnTo>
                  <a:lnTo>
                    <a:pt x="6938024" y="8577225"/>
                  </a:lnTo>
                  <a:lnTo>
                    <a:pt x="6933259" y="8591520"/>
                  </a:lnTo>
                  <a:lnTo>
                    <a:pt x="6909434" y="8641554"/>
                  </a:lnTo>
                  <a:lnTo>
                    <a:pt x="6914199" y="8646319"/>
                  </a:lnTo>
                  <a:lnTo>
                    <a:pt x="6918964" y="8651084"/>
                  </a:lnTo>
                  <a:lnTo>
                    <a:pt x="6933259" y="8679675"/>
                  </a:lnTo>
                  <a:lnTo>
                    <a:pt x="6933259" y="8746387"/>
                  </a:lnTo>
                  <a:lnTo>
                    <a:pt x="6880843" y="8765447"/>
                  </a:lnTo>
                  <a:lnTo>
                    <a:pt x="6871313" y="8784508"/>
                  </a:lnTo>
                  <a:lnTo>
                    <a:pt x="6857017" y="8808334"/>
                  </a:lnTo>
                  <a:lnTo>
                    <a:pt x="6837957" y="8827394"/>
                  </a:lnTo>
                  <a:lnTo>
                    <a:pt x="6799836" y="8846455"/>
                  </a:lnTo>
                  <a:lnTo>
                    <a:pt x="6780775" y="8846455"/>
                  </a:lnTo>
                  <a:lnTo>
                    <a:pt x="6690238" y="8832159"/>
                  </a:lnTo>
                  <a:lnTo>
                    <a:pt x="6680708" y="8822629"/>
                  </a:lnTo>
                  <a:lnTo>
                    <a:pt x="6671177" y="8803568"/>
                  </a:lnTo>
                  <a:lnTo>
                    <a:pt x="6671177" y="8779743"/>
                  </a:lnTo>
                  <a:lnTo>
                    <a:pt x="6666412" y="8760682"/>
                  </a:lnTo>
                  <a:lnTo>
                    <a:pt x="6671177" y="8746387"/>
                  </a:lnTo>
                  <a:lnTo>
                    <a:pt x="6671177" y="8741622"/>
                  </a:lnTo>
                  <a:lnTo>
                    <a:pt x="6666412" y="8736857"/>
                  </a:lnTo>
                  <a:lnTo>
                    <a:pt x="6656882" y="8751152"/>
                  </a:lnTo>
                  <a:lnTo>
                    <a:pt x="6647352" y="8774978"/>
                  </a:lnTo>
                  <a:lnTo>
                    <a:pt x="6652117" y="8803568"/>
                  </a:lnTo>
                  <a:lnTo>
                    <a:pt x="6680708" y="8884576"/>
                  </a:lnTo>
                  <a:lnTo>
                    <a:pt x="6685473" y="8917932"/>
                  </a:lnTo>
                  <a:lnTo>
                    <a:pt x="6690238" y="8932227"/>
                  </a:lnTo>
                  <a:lnTo>
                    <a:pt x="6685473" y="8941757"/>
                  </a:lnTo>
                  <a:lnTo>
                    <a:pt x="6652117" y="8984643"/>
                  </a:lnTo>
                  <a:lnTo>
                    <a:pt x="6633056" y="9003704"/>
                  </a:lnTo>
                  <a:lnTo>
                    <a:pt x="6613996" y="9008469"/>
                  </a:lnTo>
                  <a:lnTo>
                    <a:pt x="6594935" y="9003704"/>
                  </a:lnTo>
                  <a:lnTo>
                    <a:pt x="6575875" y="8984643"/>
                  </a:lnTo>
                  <a:lnTo>
                    <a:pt x="6561579" y="8975113"/>
                  </a:lnTo>
                  <a:lnTo>
                    <a:pt x="6532989" y="8979878"/>
                  </a:lnTo>
                  <a:lnTo>
                    <a:pt x="6528224" y="8965583"/>
                  </a:lnTo>
                  <a:lnTo>
                    <a:pt x="6518693" y="8951288"/>
                  </a:lnTo>
                  <a:lnTo>
                    <a:pt x="6499633" y="8884576"/>
                  </a:lnTo>
                  <a:lnTo>
                    <a:pt x="6471042" y="8836924"/>
                  </a:lnTo>
                  <a:lnTo>
                    <a:pt x="6447216" y="8784508"/>
                  </a:lnTo>
                  <a:lnTo>
                    <a:pt x="6385270" y="8708266"/>
                  </a:lnTo>
                  <a:lnTo>
                    <a:pt x="6356679" y="8660615"/>
                  </a:lnTo>
                  <a:lnTo>
                    <a:pt x="6313793" y="8586755"/>
                  </a:lnTo>
                  <a:lnTo>
                    <a:pt x="6294732" y="8572460"/>
                  </a:lnTo>
                  <a:lnTo>
                    <a:pt x="6280437" y="8562929"/>
                  </a:lnTo>
                  <a:lnTo>
                    <a:pt x="6251846" y="8558164"/>
                  </a:lnTo>
                  <a:lnTo>
                    <a:pt x="6242316" y="8548634"/>
                  </a:lnTo>
                  <a:lnTo>
                    <a:pt x="6232786" y="8524808"/>
                  </a:lnTo>
                  <a:lnTo>
                    <a:pt x="6218490" y="8505748"/>
                  </a:lnTo>
                  <a:lnTo>
                    <a:pt x="6208960" y="8500983"/>
                  </a:lnTo>
                  <a:lnTo>
                    <a:pt x="6199430" y="8505748"/>
                  </a:lnTo>
                  <a:lnTo>
                    <a:pt x="6170839" y="8524808"/>
                  </a:lnTo>
                  <a:lnTo>
                    <a:pt x="6137483" y="8505748"/>
                  </a:lnTo>
                  <a:lnTo>
                    <a:pt x="6127953" y="8491452"/>
                  </a:lnTo>
                  <a:lnTo>
                    <a:pt x="6123188" y="8467627"/>
                  </a:lnTo>
                  <a:lnTo>
                    <a:pt x="6118423" y="8458097"/>
                  </a:lnTo>
                  <a:lnTo>
                    <a:pt x="6108892" y="8443801"/>
                  </a:lnTo>
                  <a:lnTo>
                    <a:pt x="6099362" y="8415210"/>
                  </a:lnTo>
                  <a:lnTo>
                    <a:pt x="6027885" y="8358029"/>
                  </a:lnTo>
                  <a:lnTo>
                    <a:pt x="5989764" y="8296082"/>
                  </a:lnTo>
                  <a:lnTo>
                    <a:pt x="5980234" y="8272257"/>
                  </a:lnTo>
                  <a:lnTo>
                    <a:pt x="5980234" y="8262726"/>
                  </a:lnTo>
                  <a:lnTo>
                    <a:pt x="5984999" y="8229370"/>
                  </a:lnTo>
                  <a:lnTo>
                    <a:pt x="5994529" y="8191249"/>
                  </a:lnTo>
                  <a:lnTo>
                    <a:pt x="6008825" y="8157893"/>
                  </a:lnTo>
                  <a:lnTo>
                    <a:pt x="6013590" y="8143598"/>
                  </a:lnTo>
                  <a:lnTo>
                    <a:pt x="6042181" y="8110242"/>
                  </a:lnTo>
                  <a:lnTo>
                    <a:pt x="6061241" y="8105477"/>
                  </a:lnTo>
                  <a:lnTo>
                    <a:pt x="6089832" y="8110242"/>
                  </a:lnTo>
                  <a:lnTo>
                    <a:pt x="6104127" y="8115007"/>
                  </a:lnTo>
                  <a:lnTo>
                    <a:pt x="6118423" y="8134068"/>
                  </a:lnTo>
                  <a:lnTo>
                    <a:pt x="6123188" y="8157893"/>
                  </a:lnTo>
                  <a:lnTo>
                    <a:pt x="6132718" y="8176954"/>
                  </a:lnTo>
                  <a:lnTo>
                    <a:pt x="6151779" y="8196014"/>
                  </a:lnTo>
                  <a:lnTo>
                    <a:pt x="6166074" y="8205545"/>
                  </a:lnTo>
                  <a:lnTo>
                    <a:pt x="6180369" y="8238901"/>
                  </a:lnTo>
                  <a:lnTo>
                    <a:pt x="6194665" y="8281787"/>
                  </a:lnTo>
                  <a:lnTo>
                    <a:pt x="6208960" y="8291317"/>
                  </a:lnTo>
                  <a:lnTo>
                    <a:pt x="6237551" y="8296082"/>
                  </a:lnTo>
                  <a:lnTo>
                    <a:pt x="6266142" y="8291317"/>
                  </a:lnTo>
                  <a:lnTo>
                    <a:pt x="6328088" y="8267491"/>
                  </a:lnTo>
                  <a:lnTo>
                    <a:pt x="6332853" y="8262726"/>
                  </a:lnTo>
                  <a:lnTo>
                    <a:pt x="6337618" y="8248431"/>
                  </a:lnTo>
                  <a:lnTo>
                    <a:pt x="6342384" y="8157893"/>
                  </a:lnTo>
                  <a:lnTo>
                    <a:pt x="6347149" y="8157893"/>
                  </a:lnTo>
                  <a:lnTo>
                    <a:pt x="6370974" y="8200780"/>
                  </a:lnTo>
                  <a:lnTo>
                    <a:pt x="6375739" y="8205545"/>
                  </a:lnTo>
                  <a:lnTo>
                    <a:pt x="6385270" y="8196014"/>
                  </a:lnTo>
                  <a:lnTo>
                    <a:pt x="6390035" y="8176954"/>
                  </a:lnTo>
                  <a:lnTo>
                    <a:pt x="6390035" y="8167424"/>
                  </a:lnTo>
                  <a:lnTo>
                    <a:pt x="6375739" y="8115007"/>
                  </a:lnTo>
                  <a:lnTo>
                    <a:pt x="6366209" y="8095947"/>
                  </a:lnTo>
                  <a:lnTo>
                    <a:pt x="6361444" y="8081651"/>
                  </a:lnTo>
                  <a:lnTo>
                    <a:pt x="6351914" y="8076886"/>
                  </a:lnTo>
                  <a:lnTo>
                    <a:pt x="6337618" y="8081651"/>
                  </a:lnTo>
                  <a:lnTo>
                    <a:pt x="6323323" y="8072121"/>
                  </a:lnTo>
                  <a:lnTo>
                    <a:pt x="6318558" y="8057826"/>
                  </a:lnTo>
                  <a:lnTo>
                    <a:pt x="6323323" y="8038765"/>
                  </a:lnTo>
                  <a:lnTo>
                    <a:pt x="6328088" y="8019705"/>
                  </a:lnTo>
                  <a:lnTo>
                    <a:pt x="6337618" y="8010174"/>
                  </a:lnTo>
                  <a:lnTo>
                    <a:pt x="6351914" y="8005409"/>
                  </a:lnTo>
                  <a:lnTo>
                    <a:pt x="6370974" y="8010174"/>
                  </a:lnTo>
                  <a:lnTo>
                    <a:pt x="6394800" y="8034000"/>
                  </a:lnTo>
                  <a:lnTo>
                    <a:pt x="6409095" y="8038765"/>
                  </a:lnTo>
                  <a:lnTo>
                    <a:pt x="6432921" y="8029235"/>
                  </a:lnTo>
                  <a:lnTo>
                    <a:pt x="6404330" y="8014940"/>
                  </a:lnTo>
                  <a:lnTo>
                    <a:pt x="6366209" y="7962523"/>
                  </a:lnTo>
                  <a:lnTo>
                    <a:pt x="6347149" y="7952993"/>
                  </a:lnTo>
                  <a:lnTo>
                    <a:pt x="6328088" y="7976819"/>
                  </a:lnTo>
                  <a:lnTo>
                    <a:pt x="6313793" y="7986349"/>
                  </a:lnTo>
                  <a:lnTo>
                    <a:pt x="6285202" y="7995879"/>
                  </a:lnTo>
                  <a:lnTo>
                    <a:pt x="6266142" y="7995879"/>
                  </a:lnTo>
                  <a:lnTo>
                    <a:pt x="6180369" y="7910107"/>
                  </a:lnTo>
                  <a:lnTo>
                    <a:pt x="6175604" y="7905342"/>
                  </a:lnTo>
                  <a:lnTo>
                    <a:pt x="6166074" y="7881516"/>
                  </a:lnTo>
                  <a:lnTo>
                    <a:pt x="6166074" y="7871986"/>
                  </a:lnTo>
                  <a:lnTo>
                    <a:pt x="6175604" y="7857690"/>
                  </a:lnTo>
                  <a:lnTo>
                    <a:pt x="6199430" y="7833865"/>
                  </a:lnTo>
                  <a:lnTo>
                    <a:pt x="6232786" y="7824334"/>
                  </a:lnTo>
                  <a:lnTo>
                    <a:pt x="6251846" y="7819569"/>
                  </a:lnTo>
                  <a:lnTo>
                    <a:pt x="6270907" y="7833865"/>
                  </a:lnTo>
                  <a:lnTo>
                    <a:pt x="6299497" y="7876751"/>
                  </a:lnTo>
                  <a:lnTo>
                    <a:pt x="6323323" y="7900576"/>
                  </a:lnTo>
                  <a:lnTo>
                    <a:pt x="6328088" y="7895811"/>
                  </a:lnTo>
                  <a:lnTo>
                    <a:pt x="6323323" y="7867221"/>
                  </a:lnTo>
                  <a:lnTo>
                    <a:pt x="6309028" y="7833865"/>
                  </a:lnTo>
                  <a:lnTo>
                    <a:pt x="6304263" y="7824334"/>
                  </a:lnTo>
                  <a:lnTo>
                    <a:pt x="6280437" y="7810039"/>
                  </a:lnTo>
                  <a:lnTo>
                    <a:pt x="6266142" y="7786213"/>
                  </a:lnTo>
                  <a:lnTo>
                    <a:pt x="6256611" y="7767153"/>
                  </a:lnTo>
                  <a:lnTo>
                    <a:pt x="6251846" y="7748092"/>
                  </a:lnTo>
                  <a:lnTo>
                    <a:pt x="6251846" y="7729032"/>
                  </a:lnTo>
                  <a:lnTo>
                    <a:pt x="6256611" y="7714736"/>
                  </a:lnTo>
                  <a:lnTo>
                    <a:pt x="6261376" y="7705206"/>
                  </a:lnTo>
                  <a:lnTo>
                    <a:pt x="6328088" y="7686146"/>
                  </a:lnTo>
                  <a:lnTo>
                    <a:pt x="6375739" y="7709971"/>
                  </a:lnTo>
                  <a:lnTo>
                    <a:pt x="6409095" y="7709971"/>
                  </a:lnTo>
                  <a:lnTo>
                    <a:pt x="6418626" y="7681381"/>
                  </a:lnTo>
                  <a:lnTo>
                    <a:pt x="6413860" y="7676615"/>
                  </a:lnTo>
                  <a:lnTo>
                    <a:pt x="6399565" y="7686146"/>
                  </a:lnTo>
                  <a:lnTo>
                    <a:pt x="6380505" y="7686146"/>
                  </a:lnTo>
                  <a:lnTo>
                    <a:pt x="6370974" y="7667085"/>
                  </a:lnTo>
                  <a:lnTo>
                    <a:pt x="6370974" y="7657555"/>
                  </a:lnTo>
                  <a:lnTo>
                    <a:pt x="6385270" y="7633729"/>
                  </a:lnTo>
                  <a:close/>
                  <a:moveTo>
                    <a:pt x="6747418" y="7528897"/>
                  </a:moveTo>
                  <a:lnTo>
                    <a:pt x="6766479" y="7533662"/>
                  </a:lnTo>
                  <a:lnTo>
                    <a:pt x="6771244" y="7543192"/>
                  </a:lnTo>
                  <a:lnTo>
                    <a:pt x="6771244" y="7552723"/>
                  </a:lnTo>
                  <a:lnTo>
                    <a:pt x="6766479" y="7567018"/>
                  </a:lnTo>
                  <a:lnTo>
                    <a:pt x="6756949" y="7590844"/>
                  </a:lnTo>
                  <a:lnTo>
                    <a:pt x="6737888" y="7614670"/>
                  </a:lnTo>
                  <a:lnTo>
                    <a:pt x="6695002" y="7657556"/>
                  </a:lnTo>
                  <a:lnTo>
                    <a:pt x="6675942" y="7671851"/>
                  </a:lnTo>
                  <a:lnTo>
                    <a:pt x="6628290" y="7681381"/>
                  </a:lnTo>
                  <a:lnTo>
                    <a:pt x="6609230" y="7676616"/>
                  </a:lnTo>
                  <a:lnTo>
                    <a:pt x="6599700" y="7690912"/>
                  </a:lnTo>
                  <a:lnTo>
                    <a:pt x="6590169" y="7700442"/>
                  </a:lnTo>
                  <a:lnTo>
                    <a:pt x="6566344" y="7700442"/>
                  </a:lnTo>
                  <a:lnTo>
                    <a:pt x="6513927" y="7671851"/>
                  </a:lnTo>
                  <a:lnTo>
                    <a:pt x="6499632" y="7662321"/>
                  </a:lnTo>
                  <a:lnTo>
                    <a:pt x="6494867" y="7652791"/>
                  </a:lnTo>
                  <a:lnTo>
                    <a:pt x="6499632" y="7648025"/>
                  </a:lnTo>
                  <a:lnTo>
                    <a:pt x="6509162" y="7638495"/>
                  </a:lnTo>
                  <a:lnTo>
                    <a:pt x="6547283" y="7624200"/>
                  </a:lnTo>
                  <a:lnTo>
                    <a:pt x="6561579" y="7614670"/>
                  </a:lnTo>
                  <a:lnTo>
                    <a:pt x="6566344" y="7600374"/>
                  </a:lnTo>
                  <a:lnTo>
                    <a:pt x="6575874" y="7590844"/>
                  </a:lnTo>
                  <a:lnTo>
                    <a:pt x="6590169" y="7581314"/>
                  </a:lnTo>
                  <a:lnTo>
                    <a:pt x="6628290" y="7576548"/>
                  </a:lnTo>
                  <a:lnTo>
                    <a:pt x="6709297" y="7538427"/>
                  </a:lnTo>
                  <a:close/>
                  <a:moveTo>
                    <a:pt x="7433597" y="7495541"/>
                  </a:moveTo>
                  <a:lnTo>
                    <a:pt x="7471718" y="7505071"/>
                  </a:lnTo>
                  <a:lnTo>
                    <a:pt x="7533665" y="7528897"/>
                  </a:lnTo>
                  <a:lnTo>
                    <a:pt x="7562256" y="7547957"/>
                  </a:lnTo>
                  <a:lnTo>
                    <a:pt x="7576551" y="7562253"/>
                  </a:lnTo>
                  <a:lnTo>
                    <a:pt x="7605142" y="7600374"/>
                  </a:lnTo>
                  <a:lnTo>
                    <a:pt x="7619437" y="7609904"/>
                  </a:lnTo>
                  <a:lnTo>
                    <a:pt x="7676619" y="7590844"/>
                  </a:lnTo>
                  <a:lnTo>
                    <a:pt x="7714740" y="7581313"/>
                  </a:lnTo>
                  <a:lnTo>
                    <a:pt x="7795747" y="7590844"/>
                  </a:lnTo>
                  <a:lnTo>
                    <a:pt x="7867224" y="7624199"/>
                  </a:lnTo>
                  <a:lnTo>
                    <a:pt x="7895815" y="7648025"/>
                  </a:lnTo>
                  <a:lnTo>
                    <a:pt x="7910110" y="7671851"/>
                  </a:lnTo>
                  <a:lnTo>
                    <a:pt x="7910110" y="7695676"/>
                  </a:lnTo>
                  <a:lnTo>
                    <a:pt x="7895815" y="7733797"/>
                  </a:lnTo>
                  <a:lnTo>
                    <a:pt x="7876754" y="7771918"/>
                  </a:lnTo>
                  <a:lnTo>
                    <a:pt x="7848163" y="7829100"/>
                  </a:lnTo>
                  <a:lnTo>
                    <a:pt x="7819573" y="7857691"/>
                  </a:lnTo>
                  <a:lnTo>
                    <a:pt x="7814807" y="7871986"/>
                  </a:lnTo>
                  <a:lnTo>
                    <a:pt x="7810042" y="7891047"/>
                  </a:lnTo>
                  <a:lnTo>
                    <a:pt x="7800512" y="7919637"/>
                  </a:lnTo>
                  <a:lnTo>
                    <a:pt x="7771921" y="7981584"/>
                  </a:lnTo>
                  <a:lnTo>
                    <a:pt x="7762391" y="7991114"/>
                  </a:lnTo>
                  <a:lnTo>
                    <a:pt x="7724270" y="8019705"/>
                  </a:lnTo>
                  <a:lnTo>
                    <a:pt x="7738565" y="8029235"/>
                  </a:lnTo>
                  <a:lnTo>
                    <a:pt x="7743331" y="8043531"/>
                  </a:lnTo>
                  <a:lnTo>
                    <a:pt x="7738565" y="8067356"/>
                  </a:lnTo>
                  <a:lnTo>
                    <a:pt x="7714740" y="8129303"/>
                  </a:lnTo>
                  <a:lnTo>
                    <a:pt x="7686149" y="8191250"/>
                  </a:lnTo>
                  <a:lnTo>
                    <a:pt x="7667088" y="8224606"/>
                  </a:lnTo>
                  <a:lnTo>
                    <a:pt x="7638498" y="8277022"/>
                  </a:lnTo>
                  <a:lnTo>
                    <a:pt x="7619437" y="8291318"/>
                  </a:lnTo>
                  <a:lnTo>
                    <a:pt x="7595612" y="8296083"/>
                  </a:lnTo>
                  <a:lnTo>
                    <a:pt x="7447893" y="8248431"/>
                  </a:lnTo>
                  <a:lnTo>
                    <a:pt x="7409772" y="8253196"/>
                  </a:lnTo>
                  <a:lnTo>
                    <a:pt x="7309704" y="8277022"/>
                  </a:lnTo>
                  <a:lnTo>
                    <a:pt x="7319234" y="8286552"/>
                  </a:lnTo>
                  <a:lnTo>
                    <a:pt x="7352590" y="8300848"/>
                  </a:lnTo>
                  <a:lnTo>
                    <a:pt x="7376416" y="8319908"/>
                  </a:lnTo>
                  <a:lnTo>
                    <a:pt x="7409772" y="8377090"/>
                  </a:lnTo>
                  <a:lnTo>
                    <a:pt x="7414537" y="8391385"/>
                  </a:lnTo>
                  <a:lnTo>
                    <a:pt x="7414537" y="8410446"/>
                  </a:lnTo>
                  <a:lnTo>
                    <a:pt x="7414537" y="8443802"/>
                  </a:lnTo>
                  <a:lnTo>
                    <a:pt x="7409772" y="8448567"/>
                  </a:lnTo>
                  <a:lnTo>
                    <a:pt x="7362120" y="8534339"/>
                  </a:lnTo>
                  <a:lnTo>
                    <a:pt x="7347825" y="8601051"/>
                  </a:lnTo>
                  <a:lnTo>
                    <a:pt x="7338295" y="8646320"/>
                  </a:lnTo>
                  <a:lnTo>
                    <a:pt x="7319234" y="8660615"/>
                  </a:lnTo>
                  <a:lnTo>
                    <a:pt x="7262053" y="8641554"/>
                  </a:lnTo>
                  <a:lnTo>
                    <a:pt x="7247757" y="8641554"/>
                  </a:lnTo>
                  <a:lnTo>
                    <a:pt x="7185811" y="8655850"/>
                  </a:lnTo>
                  <a:lnTo>
                    <a:pt x="7157220" y="8651085"/>
                  </a:lnTo>
                  <a:lnTo>
                    <a:pt x="7161985" y="8572460"/>
                  </a:lnTo>
                  <a:lnTo>
                    <a:pt x="7157220" y="8491453"/>
                  </a:lnTo>
                  <a:lnTo>
                    <a:pt x="7147690" y="8405681"/>
                  </a:lnTo>
                  <a:lnTo>
                    <a:pt x="7100038" y="8262727"/>
                  </a:lnTo>
                  <a:lnTo>
                    <a:pt x="7095273" y="8234136"/>
                  </a:lnTo>
                  <a:lnTo>
                    <a:pt x="7090508" y="8205545"/>
                  </a:lnTo>
                  <a:lnTo>
                    <a:pt x="7090508" y="8176954"/>
                  </a:lnTo>
                  <a:lnTo>
                    <a:pt x="7090508" y="8148364"/>
                  </a:lnTo>
                  <a:lnTo>
                    <a:pt x="7095273" y="8081652"/>
                  </a:lnTo>
                  <a:lnTo>
                    <a:pt x="7095273" y="8053061"/>
                  </a:lnTo>
                  <a:lnTo>
                    <a:pt x="7090508" y="7967289"/>
                  </a:lnTo>
                  <a:lnTo>
                    <a:pt x="7085743" y="7843395"/>
                  </a:lnTo>
                  <a:lnTo>
                    <a:pt x="7085743" y="7781449"/>
                  </a:lnTo>
                  <a:lnTo>
                    <a:pt x="7085743" y="7767153"/>
                  </a:lnTo>
                  <a:lnTo>
                    <a:pt x="7095273" y="7748093"/>
                  </a:lnTo>
                  <a:lnTo>
                    <a:pt x="7114334" y="7733797"/>
                  </a:lnTo>
                  <a:lnTo>
                    <a:pt x="7128629" y="7733797"/>
                  </a:lnTo>
                  <a:lnTo>
                    <a:pt x="7185811" y="7771918"/>
                  </a:lnTo>
                  <a:lnTo>
                    <a:pt x="7214401" y="7786214"/>
                  </a:lnTo>
                  <a:lnTo>
                    <a:pt x="7233462" y="7786214"/>
                  </a:lnTo>
                  <a:lnTo>
                    <a:pt x="7233462" y="7781449"/>
                  </a:lnTo>
                  <a:lnTo>
                    <a:pt x="7219167" y="7771918"/>
                  </a:lnTo>
                  <a:lnTo>
                    <a:pt x="7204871" y="7752858"/>
                  </a:lnTo>
                  <a:lnTo>
                    <a:pt x="7176280" y="7705207"/>
                  </a:lnTo>
                  <a:lnTo>
                    <a:pt x="7166750" y="7662321"/>
                  </a:lnTo>
                  <a:lnTo>
                    <a:pt x="7161985" y="7648025"/>
                  </a:lnTo>
                  <a:lnTo>
                    <a:pt x="7161985" y="7633730"/>
                  </a:lnTo>
                  <a:lnTo>
                    <a:pt x="7161985" y="7619434"/>
                  </a:lnTo>
                  <a:lnTo>
                    <a:pt x="7166750" y="7605139"/>
                  </a:lnTo>
                  <a:lnTo>
                    <a:pt x="7181046" y="7581313"/>
                  </a:lnTo>
                  <a:lnTo>
                    <a:pt x="7190576" y="7571783"/>
                  </a:lnTo>
                  <a:lnTo>
                    <a:pt x="7228697" y="7547957"/>
                  </a:lnTo>
                  <a:lnTo>
                    <a:pt x="7266818" y="7533662"/>
                  </a:lnTo>
                  <a:lnTo>
                    <a:pt x="7352590" y="7519367"/>
                  </a:lnTo>
                  <a:lnTo>
                    <a:pt x="7376416" y="7528897"/>
                  </a:lnTo>
                  <a:lnTo>
                    <a:pt x="7414537" y="7500306"/>
                  </a:lnTo>
                  <a:close/>
                  <a:moveTo>
                    <a:pt x="3044915" y="7281110"/>
                  </a:moveTo>
                  <a:lnTo>
                    <a:pt x="3073506" y="7290640"/>
                  </a:lnTo>
                  <a:lnTo>
                    <a:pt x="3106862" y="7314466"/>
                  </a:lnTo>
                  <a:lnTo>
                    <a:pt x="3144983" y="7352587"/>
                  </a:lnTo>
                  <a:lnTo>
                    <a:pt x="3197399" y="7395473"/>
                  </a:lnTo>
                  <a:lnTo>
                    <a:pt x="3292702" y="7452655"/>
                  </a:lnTo>
                  <a:lnTo>
                    <a:pt x="3349883" y="7462185"/>
                  </a:lnTo>
                  <a:lnTo>
                    <a:pt x="3326058" y="7509836"/>
                  </a:lnTo>
                  <a:lnTo>
                    <a:pt x="3321293" y="7519366"/>
                  </a:lnTo>
                  <a:lnTo>
                    <a:pt x="3321293" y="7533662"/>
                  </a:lnTo>
                  <a:lnTo>
                    <a:pt x="3364179" y="7481245"/>
                  </a:lnTo>
                  <a:lnTo>
                    <a:pt x="3388004" y="7476480"/>
                  </a:lnTo>
                  <a:lnTo>
                    <a:pt x="3407065" y="7481245"/>
                  </a:lnTo>
                  <a:lnTo>
                    <a:pt x="3411830" y="7490776"/>
                  </a:lnTo>
                  <a:lnTo>
                    <a:pt x="3416595" y="7500306"/>
                  </a:lnTo>
                  <a:lnTo>
                    <a:pt x="3416595" y="7524132"/>
                  </a:lnTo>
                  <a:lnTo>
                    <a:pt x="3416595" y="7581313"/>
                  </a:lnTo>
                  <a:lnTo>
                    <a:pt x="3421360" y="7586078"/>
                  </a:lnTo>
                  <a:lnTo>
                    <a:pt x="3426126" y="7581313"/>
                  </a:lnTo>
                  <a:lnTo>
                    <a:pt x="3435656" y="7571783"/>
                  </a:lnTo>
                  <a:lnTo>
                    <a:pt x="3478542" y="7486011"/>
                  </a:lnTo>
                  <a:lnTo>
                    <a:pt x="3497602" y="7462185"/>
                  </a:lnTo>
                  <a:lnTo>
                    <a:pt x="3507133" y="7457420"/>
                  </a:lnTo>
                  <a:lnTo>
                    <a:pt x="3564314" y="7443124"/>
                  </a:lnTo>
                  <a:lnTo>
                    <a:pt x="3597670" y="7443124"/>
                  </a:lnTo>
                  <a:lnTo>
                    <a:pt x="3640556" y="7452655"/>
                  </a:lnTo>
                  <a:lnTo>
                    <a:pt x="3669147" y="7462185"/>
                  </a:lnTo>
                  <a:lnTo>
                    <a:pt x="3716798" y="7500306"/>
                  </a:lnTo>
                  <a:lnTo>
                    <a:pt x="3759684" y="7538427"/>
                  </a:lnTo>
                  <a:lnTo>
                    <a:pt x="3793040" y="7581313"/>
                  </a:lnTo>
                  <a:lnTo>
                    <a:pt x="3912169" y="7738562"/>
                  </a:lnTo>
                  <a:lnTo>
                    <a:pt x="3964585" y="7781449"/>
                  </a:lnTo>
                  <a:lnTo>
                    <a:pt x="3983646" y="7810039"/>
                  </a:lnTo>
                  <a:lnTo>
                    <a:pt x="3993176" y="7829100"/>
                  </a:lnTo>
                  <a:lnTo>
                    <a:pt x="3997941" y="7852925"/>
                  </a:lnTo>
                  <a:lnTo>
                    <a:pt x="4002706" y="7871986"/>
                  </a:lnTo>
                  <a:lnTo>
                    <a:pt x="3997941" y="7895812"/>
                  </a:lnTo>
                  <a:lnTo>
                    <a:pt x="3993176" y="7910107"/>
                  </a:lnTo>
                  <a:lnTo>
                    <a:pt x="3978880" y="7919637"/>
                  </a:lnTo>
                  <a:lnTo>
                    <a:pt x="3907403" y="7972054"/>
                  </a:lnTo>
                  <a:lnTo>
                    <a:pt x="3869282" y="7986349"/>
                  </a:lnTo>
                  <a:lnTo>
                    <a:pt x="3831161" y="8010175"/>
                  </a:lnTo>
                  <a:lnTo>
                    <a:pt x="3740624" y="8086417"/>
                  </a:lnTo>
                  <a:lnTo>
                    <a:pt x="3678677" y="8124538"/>
                  </a:lnTo>
                  <a:lnTo>
                    <a:pt x="3597670" y="8196015"/>
                  </a:lnTo>
                  <a:lnTo>
                    <a:pt x="3445186" y="8315143"/>
                  </a:lnTo>
                  <a:lnTo>
                    <a:pt x="3426126" y="8334204"/>
                  </a:lnTo>
                  <a:lnTo>
                    <a:pt x="3416595" y="8353264"/>
                  </a:lnTo>
                  <a:lnTo>
                    <a:pt x="3373709" y="8481922"/>
                  </a:lnTo>
                  <a:lnTo>
                    <a:pt x="3359414" y="8510513"/>
                  </a:lnTo>
                  <a:lnTo>
                    <a:pt x="3316528" y="8539104"/>
                  </a:lnTo>
                  <a:lnTo>
                    <a:pt x="3268876" y="8548634"/>
                  </a:lnTo>
                  <a:lnTo>
                    <a:pt x="3254581" y="8558164"/>
                  </a:lnTo>
                  <a:lnTo>
                    <a:pt x="3249816" y="8601051"/>
                  </a:lnTo>
                  <a:lnTo>
                    <a:pt x="3230755" y="8670145"/>
                  </a:lnTo>
                  <a:lnTo>
                    <a:pt x="3225990" y="8717796"/>
                  </a:lnTo>
                  <a:lnTo>
                    <a:pt x="3211695" y="8846455"/>
                  </a:lnTo>
                  <a:lnTo>
                    <a:pt x="3206930" y="8860750"/>
                  </a:lnTo>
                  <a:lnTo>
                    <a:pt x="3202164" y="8884576"/>
                  </a:lnTo>
                  <a:lnTo>
                    <a:pt x="3183104" y="8908402"/>
                  </a:lnTo>
                  <a:lnTo>
                    <a:pt x="3135453" y="8936992"/>
                  </a:lnTo>
                  <a:lnTo>
                    <a:pt x="3102097" y="8956053"/>
                  </a:lnTo>
                  <a:lnTo>
                    <a:pt x="3049680" y="8965583"/>
                  </a:lnTo>
                  <a:lnTo>
                    <a:pt x="3040150" y="8956053"/>
                  </a:lnTo>
                  <a:lnTo>
                    <a:pt x="3025855" y="8936992"/>
                  </a:lnTo>
                  <a:lnTo>
                    <a:pt x="3016324" y="8936992"/>
                  </a:lnTo>
                  <a:lnTo>
                    <a:pt x="3006794" y="8941757"/>
                  </a:lnTo>
                  <a:lnTo>
                    <a:pt x="2944848" y="9027530"/>
                  </a:lnTo>
                  <a:lnTo>
                    <a:pt x="2882901" y="9060886"/>
                  </a:lnTo>
                  <a:lnTo>
                    <a:pt x="2854310" y="9094242"/>
                  </a:lnTo>
                  <a:lnTo>
                    <a:pt x="2835250" y="9108537"/>
                  </a:lnTo>
                  <a:lnTo>
                    <a:pt x="2820954" y="9113302"/>
                  </a:lnTo>
                  <a:lnTo>
                    <a:pt x="2797129" y="9108537"/>
                  </a:lnTo>
                  <a:lnTo>
                    <a:pt x="2778068" y="9094242"/>
                  </a:lnTo>
                  <a:lnTo>
                    <a:pt x="2763773" y="9075181"/>
                  </a:lnTo>
                  <a:lnTo>
                    <a:pt x="2749477" y="9051355"/>
                  </a:lnTo>
                  <a:lnTo>
                    <a:pt x="2720886" y="8951288"/>
                  </a:lnTo>
                  <a:lnTo>
                    <a:pt x="2706591" y="8917932"/>
                  </a:lnTo>
                  <a:lnTo>
                    <a:pt x="2697061" y="8898871"/>
                  </a:lnTo>
                  <a:lnTo>
                    <a:pt x="2663705" y="8836924"/>
                  </a:lnTo>
                  <a:lnTo>
                    <a:pt x="2654175" y="8822629"/>
                  </a:lnTo>
                  <a:lnTo>
                    <a:pt x="2539812" y="8746387"/>
                  </a:lnTo>
                  <a:lnTo>
                    <a:pt x="2482630" y="8703501"/>
                  </a:lnTo>
                  <a:lnTo>
                    <a:pt x="2468335" y="8684440"/>
                  </a:lnTo>
                  <a:lnTo>
                    <a:pt x="2454039" y="8674910"/>
                  </a:lnTo>
                  <a:lnTo>
                    <a:pt x="2382562" y="8684440"/>
                  </a:lnTo>
                  <a:lnTo>
                    <a:pt x="2368267" y="8679675"/>
                  </a:lnTo>
                  <a:lnTo>
                    <a:pt x="2368267" y="8674910"/>
                  </a:lnTo>
                  <a:lnTo>
                    <a:pt x="2377797" y="8651084"/>
                  </a:lnTo>
                  <a:lnTo>
                    <a:pt x="2382562" y="8636789"/>
                  </a:lnTo>
                  <a:lnTo>
                    <a:pt x="2382562" y="8624876"/>
                  </a:lnTo>
                  <a:lnTo>
                    <a:pt x="2382562" y="8601051"/>
                  </a:lnTo>
                  <a:lnTo>
                    <a:pt x="2382562" y="8596286"/>
                  </a:lnTo>
                  <a:lnTo>
                    <a:pt x="2411153" y="8572460"/>
                  </a:lnTo>
                  <a:lnTo>
                    <a:pt x="2406388" y="8567695"/>
                  </a:lnTo>
                  <a:lnTo>
                    <a:pt x="2401623" y="8558164"/>
                  </a:lnTo>
                  <a:lnTo>
                    <a:pt x="2401623" y="8543869"/>
                  </a:lnTo>
                  <a:lnTo>
                    <a:pt x="2401623" y="8534339"/>
                  </a:lnTo>
                  <a:lnTo>
                    <a:pt x="2411153" y="8529574"/>
                  </a:lnTo>
                  <a:lnTo>
                    <a:pt x="2420683" y="8510513"/>
                  </a:lnTo>
                  <a:lnTo>
                    <a:pt x="2430214" y="8472392"/>
                  </a:lnTo>
                  <a:lnTo>
                    <a:pt x="2439744" y="8448566"/>
                  </a:lnTo>
                  <a:lnTo>
                    <a:pt x="2454039" y="8434271"/>
                  </a:lnTo>
                  <a:lnTo>
                    <a:pt x="2473100" y="8396150"/>
                  </a:lnTo>
                  <a:lnTo>
                    <a:pt x="2487395" y="8381855"/>
                  </a:lnTo>
                  <a:lnTo>
                    <a:pt x="2501691" y="8362794"/>
                  </a:lnTo>
                  <a:lnTo>
                    <a:pt x="2501691" y="8353264"/>
                  </a:lnTo>
                  <a:lnTo>
                    <a:pt x="2496925" y="8348499"/>
                  </a:lnTo>
                  <a:lnTo>
                    <a:pt x="2496925" y="8334204"/>
                  </a:lnTo>
                  <a:lnTo>
                    <a:pt x="2496925" y="8286552"/>
                  </a:lnTo>
                  <a:lnTo>
                    <a:pt x="2496925" y="8262726"/>
                  </a:lnTo>
                  <a:lnTo>
                    <a:pt x="2501691" y="8243666"/>
                  </a:lnTo>
                  <a:lnTo>
                    <a:pt x="2506456" y="8229371"/>
                  </a:lnTo>
                  <a:lnTo>
                    <a:pt x="2511221" y="8219840"/>
                  </a:lnTo>
                  <a:lnTo>
                    <a:pt x="2563637" y="8186484"/>
                  </a:lnTo>
                  <a:lnTo>
                    <a:pt x="2568402" y="8176954"/>
                  </a:lnTo>
                  <a:lnTo>
                    <a:pt x="2568402" y="8162659"/>
                  </a:lnTo>
                  <a:lnTo>
                    <a:pt x="2568402" y="8153129"/>
                  </a:lnTo>
                  <a:lnTo>
                    <a:pt x="2563637" y="8143598"/>
                  </a:lnTo>
                  <a:lnTo>
                    <a:pt x="2554107" y="8134068"/>
                  </a:lnTo>
                  <a:lnTo>
                    <a:pt x="2539812" y="8134068"/>
                  </a:lnTo>
                  <a:lnTo>
                    <a:pt x="2530281" y="8115008"/>
                  </a:lnTo>
                  <a:lnTo>
                    <a:pt x="2525516" y="8105477"/>
                  </a:lnTo>
                  <a:lnTo>
                    <a:pt x="2530281" y="8076886"/>
                  </a:lnTo>
                  <a:lnTo>
                    <a:pt x="2554107" y="8034000"/>
                  </a:lnTo>
                  <a:lnTo>
                    <a:pt x="2563637" y="8014940"/>
                  </a:lnTo>
                  <a:lnTo>
                    <a:pt x="2592228" y="7919637"/>
                  </a:lnTo>
                  <a:lnTo>
                    <a:pt x="2639879" y="7857691"/>
                  </a:lnTo>
                  <a:lnTo>
                    <a:pt x="2654175" y="7795744"/>
                  </a:lnTo>
                  <a:lnTo>
                    <a:pt x="2687531" y="7724267"/>
                  </a:lnTo>
                  <a:lnTo>
                    <a:pt x="2687531" y="7714737"/>
                  </a:lnTo>
                  <a:lnTo>
                    <a:pt x="2678000" y="7690911"/>
                  </a:lnTo>
                  <a:lnTo>
                    <a:pt x="2644644" y="7676616"/>
                  </a:lnTo>
                  <a:lnTo>
                    <a:pt x="2625584" y="7652790"/>
                  </a:lnTo>
                  <a:lnTo>
                    <a:pt x="2616054" y="7619434"/>
                  </a:lnTo>
                  <a:lnTo>
                    <a:pt x="2568402" y="7452655"/>
                  </a:lnTo>
                  <a:lnTo>
                    <a:pt x="2558872" y="7443124"/>
                  </a:lnTo>
                  <a:lnTo>
                    <a:pt x="2554107" y="7419299"/>
                  </a:lnTo>
                  <a:lnTo>
                    <a:pt x="2544577" y="7409768"/>
                  </a:lnTo>
                  <a:lnTo>
                    <a:pt x="2549342" y="7395473"/>
                  </a:lnTo>
                  <a:lnTo>
                    <a:pt x="2739947" y="7343057"/>
                  </a:lnTo>
                  <a:lnTo>
                    <a:pt x="2873371" y="7328761"/>
                  </a:lnTo>
                  <a:lnTo>
                    <a:pt x="3006794" y="7285875"/>
                  </a:lnTo>
                  <a:close/>
                  <a:moveTo>
                    <a:pt x="6809365" y="7233459"/>
                  </a:moveTo>
                  <a:lnTo>
                    <a:pt x="6823661" y="7252520"/>
                  </a:lnTo>
                  <a:lnTo>
                    <a:pt x="6828426" y="7262050"/>
                  </a:lnTo>
                  <a:lnTo>
                    <a:pt x="6828426" y="7271580"/>
                  </a:lnTo>
                  <a:lnTo>
                    <a:pt x="6818896" y="7290641"/>
                  </a:lnTo>
                  <a:lnTo>
                    <a:pt x="6771244" y="7328762"/>
                  </a:lnTo>
                  <a:lnTo>
                    <a:pt x="6761714" y="7314467"/>
                  </a:lnTo>
                  <a:lnTo>
                    <a:pt x="6756949" y="7300171"/>
                  </a:lnTo>
                  <a:lnTo>
                    <a:pt x="6795070" y="7247754"/>
                  </a:lnTo>
                  <a:close/>
                  <a:moveTo>
                    <a:pt x="7080978" y="7228694"/>
                  </a:moveTo>
                  <a:lnTo>
                    <a:pt x="7104803" y="7228694"/>
                  </a:lnTo>
                  <a:lnTo>
                    <a:pt x="7133394" y="7257285"/>
                  </a:lnTo>
                  <a:lnTo>
                    <a:pt x="7142924" y="7285875"/>
                  </a:lnTo>
                  <a:lnTo>
                    <a:pt x="7142924" y="7295406"/>
                  </a:lnTo>
                  <a:lnTo>
                    <a:pt x="7138159" y="7304936"/>
                  </a:lnTo>
                  <a:lnTo>
                    <a:pt x="7133394" y="7309701"/>
                  </a:lnTo>
                  <a:lnTo>
                    <a:pt x="7119098" y="7304936"/>
                  </a:lnTo>
                  <a:lnTo>
                    <a:pt x="7066682" y="7276345"/>
                  </a:lnTo>
                  <a:lnTo>
                    <a:pt x="7057152" y="7266815"/>
                  </a:lnTo>
                  <a:lnTo>
                    <a:pt x="7052387" y="7257285"/>
                  </a:lnTo>
                  <a:lnTo>
                    <a:pt x="7066682" y="7247754"/>
                  </a:lnTo>
                  <a:lnTo>
                    <a:pt x="7071447" y="7238224"/>
                  </a:lnTo>
                  <a:close/>
                  <a:moveTo>
                    <a:pt x="5727682" y="6747416"/>
                  </a:moveTo>
                  <a:lnTo>
                    <a:pt x="5770568" y="6752181"/>
                  </a:lnTo>
                  <a:lnTo>
                    <a:pt x="5794394" y="6771242"/>
                  </a:lnTo>
                  <a:lnTo>
                    <a:pt x="5803924" y="6785537"/>
                  </a:lnTo>
                  <a:lnTo>
                    <a:pt x="5808689" y="6799832"/>
                  </a:lnTo>
                  <a:lnTo>
                    <a:pt x="5818220" y="6833188"/>
                  </a:lnTo>
                  <a:lnTo>
                    <a:pt x="5818220" y="6857014"/>
                  </a:lnTo>
                  <a:lnTo>
                    <a:pt x="5832515" y="6880839"/>
                  </a:lnTo>
                  <a:lnTo>
                    <a:pt x="5837280" y="6895135"/>
                  </a:lnTo>
                  <a:lnTo>
                    <a:pt x="5837280" y="6914195"/>
                  </a:lnTo>
                  <a:lnTo>
                    <a:pt x="5832515" y="6928490"/>
                  </a:lnTo>
                  <a:lnTo>
                    <a:pt x="5827750" y="6942786"/>
                  </a:lnTo>
                  <a:lnTo>
                    <a:pt x="5808689" y="6961846"/>
                  </a:lnTo>
                  <a:lnTo>
                    <a:pt x="5761038" y="6990437"/>
                  </a:lnTo>
                  <a:lnTo>
                    <a:pt x="5732447" y="6990437"/>
                  </a:lnTo>
                  <a:lnTo>
                    <a:pt x="5680031" y="6971377"/>
                  </a:lnTo>
                  <a:lnTo>
                    <a:pt x="5651440" y="6938021"/>
                  </a:lnTo>
                  <a:lnTo>
                    <a:pt x="5641910" y="6923725"/>
                  </a:lnTo>
                  <a:lnTo>
                    <a:pt x="5641910" y="6914195"/>
                  </a:lnTo>
                  <a:lnTo>
                    <a:pt x="5646675" y="6904665"/>
                  </a:lnTo>
                  <a:lnTo>
                    <a:pt x="5656205" y="6880839"/>
                  </a:lnTo>
                  <a:lnTo>
                    <a:pt x="5670501" y="6814128"/>
                  </a:lnTo>
                  <a:lnTo>
                    <a:pt x="5680031" y="6795067"/>
                  </a:lnTo>
                  <a:lnTo>
                    <a:pt x="5708622" y="6756946"/>
                  </a:lnTo>
                  <a:close/>
                  <a:moveTo>
                    <a:pt x="7204871" y="6623523"/>
                  </a:moveTo>
                  <a:lnTo>
                    <a:pt x="7242992" y="6628288"/>
                  </a:lnTo>
                  <a:lnTo>
                    <a:pt x="7276348" y="6647349"/>
                  </a:lnTo>
                  <a:lnTo>
                    <a:pt x="7300174" y="6675939"/>
                  </a:lnTo>
                  <a:lnTo>
                    <a:pt x="7357355" y="6752181"/>
                  </a:lnTo>
                  <a:lnTo>
                    <a:pt x="7381181" y="6799833"/>
                  </a:lnTo>
                  <a:lnTo>
                    <a:pt x="7395476" y="6842719"/>
                  </a:lnTo>
                  <a:lnTo>
                    <a:pt x="7405006" y="6871310"/>
                  </a:lnTo>
                  <a:lnTo>
                    <a:pt x="7419302" y="6928491"/>
                  </a:lnTo>
                  <a:lnTo>
                    <a:pt x="7414537" y="6952317"/>
                  </a:lnTo>
                  <a:lnTo>
                    <a:pt x="7414537" y="6980907"/>
                  </a:lnTo>
                  <a:lnTo>
                    <a:pt x="7414537" y="6995203"/>
                  </a:lnTo>
                  <a:lnTo>
                    <a:pt x="7424067" y="7038089"/>
                  </a:lnTo>
                  <a:lnTo>
                    <a:pt x="7424067" y="7057149"/>
                  </a:lnTo>
                  <a:lnTo>
                    <a:pt x="7424067" y="7095270"/>
                  </a:lnTo>
                  <a:lnTo>
                    <a:pt x="7424067" y="7147687"/>
                  </a:lnTo>
                  <a:lnTo>
                    <a:pt x="7419302" y="7157217"/>
                  </a:lnTo>
                  <a:lnTo>
                    <a:pt x="7414537" y="7161982"/>
                  </a:lnTo>
                  <a:lnTo>
                    <a:pt x="7414537" y="7176278"/>
                  </a:lnTo>
                  <a:lnTo>
                    <a:pt x="7414537" y="7195338"/>
                  </a:lnTo>
                  <a:lnTo>
                    <a:pt x="7409772" y="7209634"/>
                  </a:lnTo>
                  <a:lnTo>
                    <a:pt x="7400241" y="7214399"/>
                  </a:lnTo>
                  <a:lnTo>
                    <a:pt x="7343060" y="7223929"/>
                  </a:lnTo>
                  <a:lnTo>
                    <a:pt x="7309704" y="7219164"/>
                  </a:lnTo>
                  <a:lnTo>
                    <a:pt x="7257288" y="7228694"/>
                  </a:lnTo>
                  <a:lnTo>
                    <a:pt x="7233462" y="7223929"/>
                  </a:lnTo>
                  <a:lnTo>
                    <a:pt x="7214401" y="7214399"/>
                  </a:lnTo>
                  <a:lnTo>
                    <a:pt x="7190576" y="7190573"/>
                  </a:lnTo>
                  <a:lnTo>
                    <a:pt x="7142924" y="7133391"/>
                  </a:lnTo>
                  <a:lnTo>
                    <a:pt x="7114334" y="7133391"/>
                  </a:lnTo>
                  <a:lnTo>
                    <a:pt x="7052387" y="7114331"/>
                  </a:lnTo>
                  <a:lnTo>
                    <a:pt x="7014266" y="7052384"/>
                  </a:lnTo>
                  <a:lnTo>
                    <a:pt x="6999971" y="7042854"/>
                  </a:lnTo>
                  <a:lnTo>
                    <a:pt x="6985675" y="7057149"/>
                  </a:lnTo>
                  <a:lnTo>
                    <a:pt x="6985675" y="7052384"/>
                  </a:lnTo>
                  <a:lnTo>
                    <a:pt x="6980910" y="7042854"/>
                  </a:lnTo>
                  <a:lnTo>
                    <a:pt x="6976145" y="7023794"/>
                  </a:lnTo>
                  <a:lnTo>
                    <a:pt x="6971380" y="7009498"/>
                  </a:lnTo>
                  <a:lnTo>
                    <a:pt x="6942789" y="7014263"/>
                  </a:lnTo>
                  <a:lnTo>
                    <a:pt x="6938024" y="7009498"/>
                  </a:lnTo>
                  <a:lnTo>
                    <a:pt x="6938024" y="6990438"/>
                  </a:lnTo>
                  <a:lnTo>
                    <a:pt x="6938024" y="6976142"/>
                  </a:lnTo>
                  <a:lnTo>
                    <a:pt x="6942789" y="6952317"/>
                  </a:lnTo>
                  <a:lnTo>
                    <a:pt x="6971380" y="6880840"/>
                  </a:lnTo>
                  <a:lnTo>
                    <a:pt x="6985675" y="6876075"/>
                  </a:lnTo>
                  <a:lnTo>
                    <a:pt x="6999971" y="6866544"/>
                  </a:lnTo>
                  <a:lnTo>
                    <a:pt x="7009501" y="6828423"/>
                  </a:lnTo>
                  <a:lnTo>
                    <a:pt x="7009501" y="6790302"/>
                  </a:lnTo>
                  <a:lnTo>
                    <a:pt x="7038092" y="6737886"/>
                  </a:lnTo>
                  <a:lnTo>
                    <a:pt x="7052387" y="6723591"/>
                  </a:lnTo>
                  <a:lnTo>
                    <a:pt x="7080978" y="6685470"/>
                  </a:lnTo>
                  <a:lnTo>
                    <a:pt x="7176280" y="6628288"/>
                  </a:lnTo>
                  <a:close/>
                  <a:moveTo>
                    <a:pt x="6971380" y="6609227"/>
                  </a:moveTo>
                  <a:lnTo>
                    <a:pt x="7009501" y="6633053"/>
                  </a:lnTo>
                  <a:lnTo>
                    <a:pt x="7023797" y="6652113"/>
                  </a:lnTo>
                  <a:lnTo>
                    <a:pt x="7038092" y="6671174"/>
                  </a:lnTo>
                  <a:lnTo>
                    <a:pt x="7033327" y="6675939"/>
                  </a:lnTo>
                  <a:lnTo>
                    <a:pt x="7019032" y="6699765"/>
                  </a:lnTo>
                  <a:lnTo>
                    <a:pt x="7004736" y="6718825"/>
                  </a:lnTo>
                  <a:lnTo>
                    <a:pt x="6995206" y="6718825"/>
                  </a:lnTo>
                  <a:lnTo>
                    <a:pt x="6976146" y="6699765"/>
                  </a:lnTo>
                  <a:lnTo>
                    <a:pt x="6957085" y="6709295"/>
                  </a:lnTo>
                  <a:lnTo>
                    <a:pt x="6933259" y="6747416"/>
                  </a:lnTo>
                  <a:lnTo>
                    <a:pt x="6923729" y="6771242"/>
                  </a:lnTo>
                  <a:lnTo>
                    <a:pt x="6918964" y="6776007"/>
                  </a:lnTo>
                  <a:lnTo>
                    <a:pt x="6895139" y="6785537"/>
                  </a:lnTo>
                  <a:lnTo>
                    <a:pt x="6885608" y="6780772"/>
                  </a:lnTo>
                  <a:lnTo>
                    <a:pt x="6880843" y="6756946"/>
                  </a:lnTo>
                  <a:lnTo>
                    <a:pt x="6871313" y="6723590"/>
                  </a:lnTo>
                  <a:lnTo>
                    <a:pt x="6876078" y="6699765"/>
                  </a:lnTo>
                  <a:lnTo>
                    <a:pt x="6895139" y="6680704"/>
                  </a:lnTo>
                  <a:lnTo>
                    <a:pt x="6947555" y="6652113"/>
                  </a:lnTo>
                  <a:lnTo>
                    <a:pt x="6961850" y="6637818"/>
                  </a:lnTo>
                  <a:lnTo>
                    <a:pt x="6966615" y="6623522"/>
                  </a:lnTo>
                  <a:lnTo>
                    <a:pt x="6966615" y="6613992"/>
                  </a:lnTo>
                  <a:close/>
                  <a:moveTo>
                    <a:pt x="3140219" y="6428158"/>
                  </a:moveTo>
                  <a:lnTo>
                    <a:pt x="3144984" y="6432923"/>
                  </a:lnTo>
                  <a:lnTo>
                    <a:pt x="3144984" y="6447219"/>
                  </a:lnTo>
                  <a:lnTo>
                    <a:pt x="3140219" y="6485339"/>
                  </a:lnTo>
                  <a:lnTo>
                    <a:pt x="3135454" y="6504395"/>
                  </a:lnTo>
                  <a:lnTo>
                    <a:pt x="3130688" y="6523455"/>
                  </a:lnTo>
                  <a:lnTo>
                    <a:pt x="3125923" y="6537751"/>
                  </a:lnTo>
                  <a:lnTo>
                    <a:pt x="3111628" y="6547281"/>
                  </a:lnTo>
                  <a:lnTo>
                    <a:pt x="3102098" y="6552046"/>
                  </a:lnTo>
                  <a:lnTo>
                    <a:pt x="3087802" y="6547281"/>
                  </a:lnTo>
                  <a:lnTo>
                    <a:pt x="3092567" y="6528220"/>
                  </a:lnTo>
                  <a:lnTo>
                    <a:pt x="3121158" y="6485339"/>
                  </a:lnTo>
                  <a:lnTo>
                    <a:pt x="3121158" y="6471043"/>
                  </a:lnTo>
                  <a:lnTo>
                    <a:pt x="3121158" y="6461515"/>
                  </a:lnTo>
                  <a:lnTo>
                    <a:pt x="3121158" y="6447219"/>
                  </a:lnTo>
                  <a:lnTo>
                    <a:pt x="3125923" y="6432923"/>
                  </a:lnTo>
                  <a:close/>
                  <a:moveTo>
                    <a:pt x="7257288" y="6390038"/>
                  </a:moveTo>
                  <a:lnTo>
                    <a:pt x="7262053" y="6390038"/>
                  </a:lnTo>
                  <a:lnTo>
                    <a:pt x="7266818" y="6404334"/>
                  </a:lnTo>
                  <a:lnTo>
                    <a:pt x="7271583" y="6442455"/>
                  </a:lnTo>
                  <a:lnTo>
                    <a:pt x="7276348" y="6461515"/>
                  </a:lnTo>
                  <a:lnTo>
                    <a:pt x="7290644" y="6499636"/>
                  </a:lnTo>
                  <a:lnTo>
                    <a:pt x="7295409" y="6523455"/>
                  </a:lnTo>
                  <a:lnTo>
                    <a:pt x="7295409" y="6528221"/>
                  </a:lnTo>
                  <a:lnTo>
                    <a:pt x="7290644" y="6537751"/>
                  </a:lnTo>
                  <a:lnTo>
                    <a:pt x="7262053" y="6547281"/>
                  </a:lnTo>
                  <a:lnTo>
                    <a:pt x="7242992" y="6547281"/>
                  </a:lnTo>
                  <a:lnTo>
                    <a:pt x="7223932" y="6532986"/>
                  </a:lnTo>
                  <a:lnTo>
                    <a:pt x="7219167" y="6518690"/>
                  </a:lnTo>
                  <a:lnTo>
                    <a:pt x="7214401" y="6499636"/>
                  </a:lnTo>
                  <a:lnTo>
                    <a:pt x="7214401" y="6475811"/>
                  </a:lnTo>
                  <a:lnTo>
                    <a:pt x="7209636" y="6456748"/>
                  </a:lnTo>
                  <a:lnTo>
                    <a:pt x="7204871" y="6442455"/>
                  </a:lnTo>
                  <a:lnTo>
                    <a:pt x="7200106" y="6432923"/>
                  </a:lnTo>
                  <a:lnTo>
                    <a:pt x="7204871" y="6423394"/>
                  </a:lnTo>
                  <a:lnTo>
                    <a:pt x="7209636" y="6418628"/>
                  </a:lnTo>
                  <a:lnTo>
                    <a:pt x="7228697" y="6413862"/>
                  </a:lnTo>
                  <a:close/>
                  <a:moveTo>
                    <a:pt x="3631026" y="6313794"/>
                  </a:moveTo>
                  <a:lnTo>
                    <a:pt x="3650086" y="6313794"/>
                  </a:lnTo>
                  <a:lnTo>
                    <a:pt x="3669147" y="6323325"/>
                  </a:lnTo>
                  <a:lnTo>
                    <a:pt x="3673912" y="6337621"/>
                  </a:lnTo>
                  <a:lnTo>
                    <a:pt x="3650086" y="6409098"/>
                  </a:lnTo>
                  <a:lnTo>
                    <a:pt x="3635791" y="6437688"/>
                  </a:lnTo>
                  <a:lnTo>
                    <a:pt x="3611965" y="6513924"/>
                  </a:lnTo>
                  <a:lnTo>
                    <a:pt x="3559549" y="6633052"/>
                  </a:lnTo>
                  <a:lnTo>
                    <a:pt x="3540488" y="6652113"/>
                  </a:lnTo>
                  <a:lnTo>
                    <a:pt x="3497602" y="6694999"/>
                  </a:lnTo>
                  <a:lnTo>
                    <a:pt x="3464246" y="6690234"/>
                  </a:lnTo>
                  <a:lnTo>
                    <a:pt x="3426125" y="6661643"/>
                  </a:lnTo>
                  <a:lnTo>
                    <a:pt x="3388004" y="6652113"/>
                  </a:lnTo>
                  <a:lnTo>
                    <a:pt x="3378474" y="6642583"/>
                  </a:lnTo>
                  <a:lnTo>
                    <a:pt x="3373709" y="6633052"/>
                  </a:lnTo>
                  <a:lnTo>
                    <a:pt x="3388004" y="6599696"/>
                  </a:lnTo>
                  <a:lnTo>
                    <a:pt x="3402300" y="6580636"/>
                  </a:lnTo>
                  <a:lnTo>
                    <a:pt x="3435656" y="6532985"/>
                  </a:lnTo>
                  <a:lnTo>
                    <a:pt x="3497602" y="6447219"/>
                  </a:lnTo>
                  <a:lnTo>
                    <a:pt x="3535723" y="6413862"/>
                  </a:lnTo>
                  <a:lnTo>
                    <a:pt x="3573844" y="6390038"/>
                  </a:lnTo>
                  <a:lnTo>
                    <a:pt x="3611965" y="6337621"/>
                  </a:lnTo>
                  <a:close/>
                  <a:moveTo>
                    <a:pt x="9680356" y="6289968"/>
                  </a:moveTo>
                  <a:lnTo>
                    <a:pt x="9694652" y="6299500"/>
                  </a:lnTo>
                  <a:lnTo>
                    <a:pt x="9708947" y="6318561"/>
                  </a:lnTo>
                  <a:lnTo>
                    <a:pt x="9689886" y="6370978"/>
                  </a:lnTo>
                  <a:lnTo>
                    <a:pt x="9675591" y="6394802"/>
                  </a:lnTo>
                  <a:lnTo>
                    <a:pt x="9670826" y="6432923"/>
                  </a:lnTo>
                  <a:lnTo>
                    <a:pt x="9675591" y="6471043"/>
                  </a:lnTo>
                  <a:lnTo>
                    <a:pt x="9661296" y="6471043"/>
                  </a:lnTo>
                  <a:lnTo>
                    <a:pt x="9627940" y="6494872"/>
                  </a:lnTo>
                  <a:lnTo>
                    <a:pt x="9599349" y="6499636"/>
                  </a:lnTo>
                  <a:lnTo>
                    <a:pt x="9585053" y="6485339"/>
                  </a:lnTo>
                  <a:lnTo>
                    <a:pt x="9575523" y="6461515"/>
                  </a:lnTo>
                  <a:lnTo>
                    <a:pt x="9594584" y="6413862"/>
                  </a:lnTo>
                  <a:lnTo>
                    <a:pt x="9623174" y="6380507"/>
                  </a:lnTo>
                  <a:lnTo>
                    <a:pt x="9656530" y="6328090"/>
                  </a:lnTo>
                  <a:close/>
                  <a:moveTo>
                    <a:pt x="5923053" y="6185136"/>
                  </a:moveTo>
                  <a:lnTo>
                    <a:pt x="5980234" y="6185136"/>
                  </a:lnTo>
                  <a:lnTo>
                    <a:pt x="5999295" y="6204199"/>
                  </a:lnTo>
                  <a:lnTo>
                    <a:pt x="6008825" y="6261380"/>
                  </a:lnTo>
                  <a:lnTo>
                    <a:pt x="6018355" y="6323325"/>
                  </a:lnTo>
                  <a:lnTo>
                    <a:pt x="6027885" y="6332857"/>
                  </a:lnTo>
                  <a:lnTo>
                    <a:pt x="6056476" y="6375742"/>
                  </a:lnTo>
                  <a:lnTo>
                    <a:pt x="6089832" y="6418626"/>
                  </a:lnTo>
                  <a:lnTo>
                    <a:pt x="6089832" y="6423392"/>
                  </a:lnTo>
                  <a:lnTo>
                    <a:pt x="6085067" y="6432923"/>
                  </a:lnTo>
                  <a:lnTo>
                    <a:pt x="6042181" y="6456748"/>
                  </a:lnTo>
                  <a:lnTo>
                    <a:pt x="6027885" y="6471043"/>
                  </a:lnTo>
                  <a:lnTo>
                    <a:pt x="6013590" y="6509159"/>
                  </a:lnTo>
                  <a:lnTo>
                    <a:pt x="6004060" y="6528220"/>
                  </a:lnTo>
                  <a:lnTo>
                    <a:pt x="5946878" y="6537750"/>
                  </a:lnTo>
                  <a:lnTo>
                    <a:pt x="5889697" y="6537750"/>
                  </a:lnTo>
                  <a:lnTo>
                    <a:pt x="5899227" y="6499636"/>
                  </a:lnTo>
                  <a:lnTo>
                    <a:pt x="5927818" y="6437688"/>
                  </a:lnTo>
                  <a:lnTo>
                    <a:pt x="5903992" y="6413862"/>
                  </a:lnTo>
                  <a:lnTo>
                    <a:pt x="5818220" y="6456748"/>
                  </a:lnTo>
                  <a:lnTo>
                    <a:pt x="5784864" y="6428158"/>
                  </a:lnTo>
                  <a:lnTo>
                    <a:pt x="5813455" y="6361445"/>
                  </a:lnTo>
                  <a:lnTo>
                    <a:pt x="5784864" y="6356681"/>
                  </a:lnTo>
                  <a:lnTo>
                    <a:pt x="5741978" y="6356681"/>
                  </a:lnTo>
                  <a:lnTo>
                    <a:pt x="5718152" y="6318561"/>
                  </a:lnTo>
                  <a:lnTo>
                    <a:pt x="5727682" y="6266144"/>
                  </a:lnTo>
                  <a:lnTo>
                    <a:pt x="5780099" y="6242319"/>
                  </a:lnTo>
                  <a:lnTo>
                    <a:pt x="5846810" y="6218492"/>
                  </a:lnTo>
                  <a:close/>
                  <a:moveTo>
                    <a:pt x="5746743" y="5946883"/>
                  </a:moveTo>
                  <a:lnTo>
                    <a:pt x="5770568" y="5946883"/>
                  </a:lnTo>
                  <a:lnTo>
                    <a:pt x="5780099" y="5951644"/>
                  </a:lnTo>
                  <a:lnTo>
                    <a:pt x="5784864" y="5965940"/>
                  </a:lnTo>
                  <a:lnTo>
                    <a:pt x="5784864" y="5980235"/>
                  </a:lnTo>
                  <a:lnTo>
                    <a:pt x="5775334" y="6004061"/>
                  </a:lnTo>
                  <a:lnTo>
                    <a:pt x="5784864" y="6004061"/>
                  </a:lnTo>
                  <a:lnTo>
                    <a:pt x="5808690" y="5994532"/>
                  </a:lnTo>
                  <a:lnTo>
                    <a:pt x="5822985" y="5989767"/>
                  </a:lnTo>
                  <a:lnTo>
                    <a:pt x="5842045" y="6013593"/>
                  </a:lnTo>
                  <a:lnTo>
                    <a:pt x="5846811" y="6032653"/>
                  </a:lnTo>
                  <a:lnTo>
                    <a:pt x="5908757" y="6075538"/>
                  </a:lnTo>
                  <a:lnTo>
                    <a:pt x="5927818" y="6089834"/>
                  </a:lnTo>
                  <a:lnTo>
                    <a:pt x="5932583" y="6104129"/>
                  </a:lnTo>
                  <a:lnTo>
                    <a:pt x="5923053" y="6123191"/>
                  </a:lnTo>
                  <a:lnTo>
                    <a:pt x="5903992" y="6142250"/>
                  </a:lnTo>
                  <a:lnTo>
                    <a:pt x="5889697" y="6161310"/>
                  </a:lnTo>
                  <a:lnTo>
                    <a:pt x="5861106" y="6170842"/>
                  </a:lnTo>
                  <a:lnTo>
                    <a:pt x="5737212" y="6175606"/>
                  </a:lnTo>
                  <a:lnTo>
                    <a:pt x="5722917" y="6166076"/>
                  </a:lnTo>
                  <a:lnTo>
                    <a:pt x="5718152" y="6147015"/>
                  </a:lnTo>
                  <a:lnTo>
                    <a:pt x="5703857" y="6070774"/>
                  </a:lnTo>
                  <a:lnTo>
                    <a:pt x="5689561" y="6032653"/>
                  </a:lnTo>
                  <a:lnTo>
                    <a:pt x="5684796" y="6004061"/>
                  </a:lnTo>
                  <a:lnTo>
                    <a:pt x="5689561" y="5984999"/>
                  </a:lnTo>
                  <a:lnTo>
                    <a:pt x="5703857" y="5970705"/>
                  </a:lnTo>
                  <a:close/>
                  <a:moveTo>
                    <a:pt x="6604465" y="5927820"/>
                  </a:moveTo>
                  <a:lnTo>
                    <a:pt x="6633056" y="5946880"/>
                  </a:lnTo>
                  <a:lnTo>
                    <a:pt x="6671177" y="5989767"/>
                  </a:lnTo>
                  <a:lnTo>
                    <a:pt x="6680707" y="6008828"/>
                  </a:lnTo>
                  <a:lnTo>
                    <a:pt x="6723593" y="6037416"/>
                  </a:lnTo>
                  <a:lnTo>
                    <a:pt x="6747419" y="6046948"/>
                  </a:lnTo>
                  <a:lnTo>
                    <a:pt x="6761714" y="6061242"/>
                  </a:lnTo>
                  <a:lnTo>
                    <a:pt x="6766479" y="6080303"/>
                  </a:lnTo>
                  <a:lnTo>
                    <a:pt x="6766479" y="6108893"/>
                  </a:lnTo>
                  <a:lnTo>
                    <a:pt x="6766479" y="6132722"/>
                  </a:lnTo>
                  <a:lnTo>
                    <a:pt x="6756949" y="6147015"/>
                  </a:lnTo>
                  <a:lnTo>
                    <a:pt x="6756949" y="6166074"/>
                  </a:lnTo>
                  <a:lnTo>
                    <a:pt x="6761714" y="6189903"/>
                  </a:lnTo>
                  <a:lnTo>
                    <a:pt x="6785540" y="6242319"/>
                  </a:lnTo>
                  <a:lnTo>
                    <a:pt x="6790305" y="6270909"/>
                  </a:lnTo>
                  <a:lnTo>
                    <a:pt x="6790305" y="6294734"/>
                  </a:lnTo>
                  <a:lnTo>
                    <a:pt x="6790305" y="6318561"/>
                  </a:lnTo>
                  <a:lnTo>
                    <a:pt x="6776010" y="6351917"/>
                  </a:lnTo>
                  <a:lnTo>
                    <a:pt x="6771245" y="6399567"/>
                  </a:lnTo>
                  <a:lnTo>
                    <a:pt x="6771245" y="6423392"/>
                  </a:lnTo>
                  <a:lnTo>
                    <a:pt x="6780775" y="6466279"/>
                  </a:lnTo>
                  <a:lnTo>
                    <a:pt x="6780775" y="6480573"/>
                  </a:lnTo>
                  <a:lnTo>
                    <a:pt x="6766479" y="6513925"/>
                  </a:lnTo>
                  <a:lnTo>
                    <a:pt x="6733124" y="6542515"/>
                  </a:lnTo>
                  <a:lnTo>
                    <a:pt x="6737889" y="6556811"/>
                  </a:lnTo>
                  <a:lnTo>
                    <a:pt x="6804600" y="6590167"/>
                  </a:lnTo>
                  <a:lnTo>
                    <a:pt x="6809366" y="6594932"/>
                  </a:lnTo>
                  <a:lnTo>
                    <a:pt x="6809366" y="6671174"/>
                  </a:lnTo>
                  <a:lnTo>
                    <a:pt x="6823661" y="6752181"/>
                  </a:lnTo>
                  <a:lnTo>
                    <a:pt x="6818896" y="6756946"/>
                  </a:lnTo>
                  <a:lnTo>
                    <a:pt x="6799835" y="6728355"/>
                  </a:lnTo>
                  <a:lnTo>
                    <a:pt x="6771245" y="6699764"/>
                  </a:lnTo>
                  <a:lnTo>
                    <a:pt x="6737889" y="6756946"/>
                  </a:lnTo>
                  <a:lnTo>
                    <a:pt x="6742654" y="6852249"/>
                  </a:lnTo>
                  <a:lnTo>
                    <a:pt x="6761714" y="6895135"/>
                  </a:lnTo>
                  <a:lnTo>
                    <a:pt x="6771245" y="6918960"/>
                  </a:lnTo>
                  <a:lnTo>
                    <a:pt x="6766479" y="6933256"/>
                  </a:lnTo>
                  <a:lnTo>
                    <a:pt x="6747419" y="6942786"/>
                  </a:lnTo>
                  <a:lnTo>
                    <a:pt x="6742654" y="6938021"/>
                  </a:lnTo>
                  <a:lnTo>
                    <a:pt x="6723593" y="6918960"/>
                  </a:lnTo>
                  <a:lnTo>
                    <a:pt x="6709298" y="6890370"/>
                  </a:lnTo>
                  <a:lnTo>
                    <a:pt x="6704533" y="6890370"/>
                  </a:lnTo>
                  <a:lnTo>
                    <a:pt x="6704533" y="6904665"/>
                  </a:lnTo>
                  <a:lnTo>
                    <a:pt x="6704533" y="6918960"/>
                  </a:lnTo>
                  <a:lnTo>
                    <a:pt x="6718828" y="6942786"/>
                  </a:lnTo>
                  <a:lnTo>
                    <a:pt x="6723593" y="6976142"/>
                  </a:lnTo>
                  <a:lnTo>
                    <a:pt x="6718828" y="6985672"/>
                  </a:lnTo>
                  <a:lnTo>
                    <a:pt x="6699768" y="6990437"/>
                  </a:lnTo>
                  <a:lnTo>
                    <a:pt x="6671177" y="6990437"/>
                  </a:lnTo>
                  <a:lnTo>
                    <a:pt x="6628291" y="7004733"/>
                  </a:lnTo>
                  <a:lnTo>
                    <a:pt x="6609230" y="7009498"/>
                  </a:lnTo>
                  <a:lnTo>
                    <a:pt x="6585405" y="6999968"/>
                  </a:lnTo>
                  <a:lnTo>
                    <a:pt x="6561579" y="6999968"/>
                  </a:lnTo>
                  <a:lnTo>
                    <a:pt x="6537753" y="6999968"/>
                  </a:lnTo>
                  <a:lnTo>
                    <a:pt x="6523458" y="6995202"/>
                  </a:lnTo>
                  <a:lnTo>
                    <a:pt x="6509163" y="6980907"/>
                  </a:lnTo>
                  <a:lnTo>
                    <a:pt x="6494867" y="6985672"/>
                  </a:lnTo>
                  <a:lnTo>
                    <a:pt x="6461511" y="7019028"/>
                  </a:lnTo>
                  <a:lnTo>
                    <a:pt x="6413860" y="7009498"/>
                  </a:lnTo>
                  <a:lnTo>
                    <a:pt x="6370974" y="7004733"/>
                  </a:lnTo>
                  <a:lnTo>
                    <a:pt x="6361444" y="6995202"/>
                  </a:lnTo>
                  <a:lnTo>
                    <a:pt x="6351913" y="6971377"/>
                  </a:lnTo>
                  <a:lnTo>
                    <a:pt x="6328088" y="6895135"/>
                  </a:lnTo>
                  <a:lnTo>
                    <a:pt x="6332853" y="6876074"/>
                  </a:lnTo>
                  <a:lnTo>
                    <a:pt x="6380504" y="6866544"/>
                  </a:lnTo>
                  <a:lnTo>
                    <a:pt x="6380504" y="6861779"/>
                  </a:lnTo>
                  <a:lnTo>
                    <a:pt x="6347148" y="6833188"/>
                  </a:lnTo>
                  <a:lnTo>
                    <a:pt x="6309027" y="6814128"/>
                  </a:lnTo>
                  <a:lnTo>
                    <a:pt x="6289967" y="6799832"/>
                  </a:lnTo>
                  <a:lnTo>
                    <a:pt x="6294732" y="6771241"/>
                  </a:lnTo>
                  <a:lnTo>
                    <a:pt x="6294732" y="6761711"/>
                  </a:lnTo>
                  <a:lnTo>
                    <a:pt x="6361444" y="6728355"/>
                  </a:lnTo>
                  <a:lnTo>
                    <a:pt x="6409095" y="6661644"/>
                  </a:lnTo>
                  <a:lnTo>
                    <a:pt x="6442451" y="6633053"/>
                  </a:lnTo>
                  <a:lnTo>
                    <a:pt x="6442451" y="6618757"/>
                  </a:lnTo>
                  <a:lnTo>
                    <a:pt x="6471042" y="6609227"/>
                  </a:lnTo>
                  <a:lnTo>
                    <a:pt x="6528223" y="6599697"/>
                  </a:lnTo>
                  <a:lnTo>
                    <a:pt x="6532988" y="6580636"/>
                  </a:lnTo>
                  <a:lnTo>
                    <a:pt x="6418625" y="6590167"/>
                  </a:lnTo>
                  <a:lnTo>
                    <a:pt x="6266141" y="6628288"/>
                  </a:lnTo>
                  <a:lnTo>
                    <a:pt x="6218490" y="6647348"/>
                  </a:lnTo>
                  <a:lnTo>
                    <a:pt x="6175604" y="6637818"/>
                  </a:lnTo>
                  <a:lnTo>
                    <a:pt x="6008824" y="6694999"/>
                  </a:lnTo>
                  <a:lnTo>
                    <a:pt x="5999294" y="6694999"/>
                  </a:lnTo>
                  <a:lnTo>
                    <a:pt x="5984999" y="6675939"/>
                  </a:lnTo>
                  <a:lnTo>
                    <a:pt x="5965938" y="6642583"/>
                  </a:lnTo>
                  <a:lnTo>
                    <a:pt x="5980233" y="6618757"/>
                  </a:lnTo>
                  <a:lnTo>
                    <a:pt x="6027885" y="6571106"/>
                  </a:lnTo>
                  <a:lnTo>
                    <a:pt x="6051710" y="6528220"/>
                  </a:lnTo>
                  <a:lnTo>
                    <a:pt x="6051710" y="6504394"/>
                  </a:lnTo>
                  <a:lnTo>
                    <a:pt x="6070771" y="6466279"/>
                  </a:lnTo>
                  <a:lnTo>
                    <a:pt x="6099362" y="6461515"/>
                  </a:lnTo>
                  <a:lnTo>
                    <a:pt x="6156543" y="6494869"/>
                  </a:lnTo>
                  <a:lnTo>
                    <a:pt x="6185134" y="6528220"/>
                  </a:lnTo>
                  <a:lnTo>
                    <a:pt x="6208960" y="6542515"/>
                  </a:lnTo>
                  <a:lnTo>
                    <a:pt x="6232785" y="6537750"/>
                  </a:lnTo>
                  <a:lnTo>
                    <a:pt x="6251846" y="6513925"/>
                  </a:lnTo>
                  <a:lnTo>
                    <a:pt x="6247081" y="6513925"/>
                  </a:lnTo>
                  <a:lnTo>
                    <a:pt x="6208960" y="6523455"/>
                  </a:lnTo>
                  <a:lnTo>
                    <a:pt x="6204194" y="6523455"/>
                  </a:lnTo>
                  <a:lnTo>
                    <a:pt x="6185134" y="6485339"/>
                  </a:lnTo>
                  <a:lnTo>
                    <a:pt x="6175604" y="6461515"/>
                  </a:lnTo>
                  <a:lnTo>
                    <a:pt x="6170838" y="6437688"/>
                  </a:lnTo>
                  <a:lnTo>
                    <a:pt x="6170838" y="6423392"/>
                  </a:lnTo>
                  <a:lnTo>
                    <a:pt x="6180369" y="6390038"/>
                  </a:lnTo>
                  <a:lnTo>
                    <a:pt x="6137483" y="6380506"/>
                  </a:lnTo>
                  <a:lnTo>
                    <a:pt x="6118422" y="6361445"/>
                  </a:lnTo>
                  <a:lnTo>
                    <a:pt x="6113657" y="6332857"/>
                  </a:lnTo>
                  <a:lnTo>
                    <a:pt x="6113657" y="6323325"/>
                  </a:lnTo>
                  <a:lnTo>
                    <a:pt x="6127952" y="6289968"/>
                  </a:lnTo>
                  <a:lnTo>
                    <a:pt x="6166073" y="6247084"/>
                  </a:lnTo>
                  <a:lnTo>
                    <a:pt x="6161308" y="6232787"/>
                  </a:lnTo>
                  <a:lnTo>
                    <a:pt x="6108892" y="6232787"/>
                  </a:lnTo>
                  <a:lnTo>
                    <a:pt x="6094596" y="6228023"/>
                  </a:lnTo>
                  <a:lnTo>
                    <a:pt x="6070771" y="6199431"/>
                  </a:lnTo>
                  <a:lnTo>
                    <a:pt x="6075536" y="6170842"/>
                  </a:lnTo>
                  <a:lnTo>
                    <a:pt x="6099362" y="6127955"/>
                  </a:lnTo>
                  <a:lnTo>
                    <a:pt x="6113657" y="6099366"/>
                  </a:lnTo>
                  <a:lnTo>
                    <a:pt x="6127952" y="6089834"/>
                  </a:lnTo>
                  <a:lnTo>
                    <a:pt x="6142248" y="6089834"/>
                  </a:lnTo>
                  <a:lnTo>
                    <a:pt x="6185134" y="6108893"/>
                  </a:lnTo>
                  <a:lnTo>
                    <a:pt x="6194664" y="6118426"/>
                  </a:lnTo>
                  <a:lnTo>
                    <a:pt x="6228020" y="6161310"/>
                  </a:lnTo>
                  <a:lnTo>
                    <a:pt x="6237550" y="6185136"/>
                  </a:lnTo>
                  <a:lnTo>
                    <a:pt x="6232785" y="6208963"/>
                  </a:lnTo>
                  <a:lnTo>
                    <a:pt x="6242315" y="6228023"/>
                  </a:lnTo>
                  <a:lnTo>
                    <a:pt x="6266141" y="6251848"/>
                  </a:lnTo>
                  <a:lnTo>
                    <a:pt x="6370974" y="6380506"/>
                  </a:lnTo>
                  <a:lnTo>
                    <a:pt x="6390034" y="6413862"/>
                  </a:lnTo>
                  <a:lnTo>
                    <a:pt x="6399565" y="6423392"/>
                  </a:lnTo>
                  <a:lnTo>
                    <a:pt x="6428155" y="6437688"/>
                  </a:lnTo>
                  <a:lnTo>
                    <a:pt x="6442451" y="6432923"/>
                  </a:lnTo>
                  <a:lnTo>
                    <a:pt x="6451981" y="6423392"/>
                  </a:lnTo>
                  <a:lnTo>
                    <a:pt x="6451981" y="6413862"/>
                  </a:lnTo>
                  <a:lnTo>
                    <a:pt x="6409095" y="6366211"/>
                  </a:lnTo>
                  <a:lnTo>
                    <a:pt x="6394800" y="6342386"/>
                  </a:lnTo>
                  <a:lnTo>
                    <a:pt x="6390034" y="6309029"/>
                  </a:lnTo>
                  <a:lnTo>
                    <a:pt x="6390034" y="6299500"/>
                  </a:lnTo>
                  <a:lnTo>
                    <a:pt x="6404330" y="6294734"/>
                  </a:lnTo>
                  <a:lnTo>
                    <a:pt x="6437686" y="6299500"/>
                  </a:lnTo>
                  <a:lnTo>
                    <a:pt x="6475807" y="6289968"/>
                  </a:lnTo>
                  <a:lnTo>
                    <a:pt x="6432921" y="6280440"/>
                  </a:lnTo>
                  <a:lnTo>
                    <a:pt x="6404330" y="6261380"/>
                  </a:lnTo>
                  <a:lnTo>
                    <a:pt x="6375739" y="6256613"/>
                  </a:lnTo>
                  <a:lnTo>
                    <a:pt x="6342383" y="6228023"/>
                  </a:lnTo>
                  <a:lnTo>
                    <a:pt x="6342383" y="6218492"/>
                  </a:lnTo>
                  <a:lnTo>
                    <a:pt x="6347148" y="6208963"/>
                  </a:lnTo>
                  <a:lnTo>
                    <a:pt x="6399565" y="6194667"/>
                  </a:lnTo>
                  <a:lnTo>
                    <a:pt x="6409095" y="6189903"/>
                  </a:lnTo>
                  <a:lnTo>
                    <a:pt x="6409095" y="6185136"/>
                  </a:lnTo>
                  <a:lnTo>
                    <a:pt x="6394800" y="6161310"/>
                  </a:lnTo>
                  <a:lnTo>
                    <a:pt x="6375739" y="6151780"/>
                  </a:lnTo>
                  <a:lnTo>
                    <a:pt x="6304262" y="6127955"/>
                  </a:lnTo>
                  <a:lnTo>
                    <a:pt x="6275671" y="6099366"/>
                  </a:lnTo>
                  <a:lnTo>
                    <a:pt x="6270906" y="6085069"/>
                  </a:lnTo>
                  <a:lnTo>
                    <a:pt x="6266141" y="6075538"/>
                  </a:lnTo>
                  <a:lnTo>
                    <a:pt x="6275671" y="6042184"/>
                  </a:lnTo>
                  <a:lnTo>
                    <a:pt x="6313792" y="5999297"/>
                  </a:lnTo>
                  <a:lnTo>
                    <a:pt x="6347148" y="5980235"/>
                  </a:lnTo>
                  <a:lnTo>
                    <a:pt x="6394800" y="5965940"/>
                  </a:lnTo>
                  <a:lnTo>
                    <a:pt x="6432921" y="5970705"/>
                  </a:lnTo>
                  <a:lnTo>
                    <a:pt x="6456746" y="5975472"/>
                  </a:lnTo>
                  <a:lnTo>
                    <a:pt x="6509163" y="6042184"/>
                  </a:lnTo>
                  <a:lnTo>
                    <a:pt x="6532988" y="6089834"/>
                  </a:lnTo>
                  <a:lnTo>
                    <a:pt x="6580640" y="6080303"/>
                  </a:lnTo>
                  <a:lnTo>
                    <a:pt x="6566344" y="6032653"/>
                  </a:lnTo>
                  <a:lnTo>
                    <a:pt x="6556814" y="5980235"/>
                  </a:lnTo>
                  <a:lnTo>
                    <a:pt x="6571109" y="5961176"/>
                  </a:lnTo>
                  <a:close/>
                  <a:moveTo>
                    <a:pt x="6309028" y="5889699"/>
                  </a:moveTo>
                  <a:lnTo>
                    <a:pt x="6332853" y="5889699"/>
                  </a:lnTo>
                  <a:lnTo>
                    <a:pt x="6361444" y="5899231"/>
                  </a:lnTo>
                  <a:lnTo>
                    <a:pt x="6289967" y="5956411"/>
                  </a:lnTo>
                  <a:lnTo>
                    <a:pt x="6213725" y="6004061"/>
                  </a:lnTo>
                  <a:lnTo>
                    <a:pt x="6175604" y="6008828"/>
                  </a:lnTo>
                  <a:lnTo>
                    <a:pt x="6156543" y="5999297"/>
                  </a:lnTo>
                  <a:lnTo>
                    <a:pt x="6151778" y="5989767"/>
                  </a:lnTo>
                  <a:lnTo>
                    <a:pt x="6170839" y="5970705"/>
                  </a:lnTo>
                  <a:lnTo>
                    <a:pt x="6223255" y="5946880"/>
                  </a:lnTo>
                  <a:lnTo>
                    <a:pt x="6256611" y="5899231"/>
                  </a:lnTo>
                  <a:lnTo>
                    <a:pt x="6266141" y="5894463"/>
                  </a:lnTo>
                  <a:close/>
                  <a:moveTo>
                    <a:pt x="5027209" y="5842046"/>
                  </a:moveTo>
                  <a:lnTo>
                    <a:pt x="5070095" y="5884934"/>
                  </a:lnTo>
                  <a:lnTo>
                    <a:pt x="5079625" y="5884934"/>
                  </a:lnTo>
                  <a:lnTo>
                    <a:pt x="5084390" y="5899231"/>
                  </a:lnTo>
                  <a:lnTo>
                    <a:pt x="5079625" y="5918290"/>
                  </a:lnTo>
                  <a:lnTo>
                    <a:pt x="5074860" y="5937351"/>
                  </a:lnTo>
                  <a:lnTo>
                    <a:pt x="5060565" y="5970705"/>
                  </a:lnTo>
                  <a:lnTo>
                    <a:pt x="5055800" y="5984999"/>
                  </a:lnTo>
                  <a:lnTo>
                    <a:pt x="5055800" y="5999297"/>
                  </a:lnTo>
                  <a:lnTo>
                    <a:pt x="5070095" y="6032653"/>
                  </a:lnTo>
                  <a:lnTo>
                    <a:pt x="5070095" y="6056478"/>
                  </a:lnTo>
                  <a:lnTo>
                    <a:pt x="5074860" y="6094599"/>
                  </a:lnTo>
                  <a:lnTo>
                    <a:pt x="5074860" y="6099366"/>
                  </a:lnTo>
                  <a:lnTo>
                    <a:pt x="5103451" y="6132722"/>
                  </a:lnTo>
                  <a:lnTo>
                    <a:pt x="5127277" y="6170842"/>
                  </a:lnTo>
                  <a:lnTo>
                    <a:pt x="5136807" y="6232789"/>
                  </a:lnTo>
                  <a:lnTo>
                    <a:pt x="5127277" y="6256613"/>
                  </a:lnTo>
                  <a:lnTo>
                    <a:pt x="5108216" y="6285204"/>
                  </a:lnTo>
                  <a:lnTo>
                    <a:pt x="5093921" y="6313794"/>
                  </a:lnTo>
                  <a:lnTo>
                    <a:pt x="5093921" y="6332857"/>
                  </a:lnTo>
                  <a:lnTo>
                    <a:pt x="5093921" y="6342386"/>
                  </a:lnTo>
                  <a:lnTo>
                    <a:pt x="5108216" y="6351917"/>
                  </a:lnTo>
                  <a:lnTo>
                    <a:pt x="5127277" y="6351917"/>
                  </a:lnTo>
                  <a:lnTo>
                    <a:pt x="5151102" y="6342386"/>
                  </a:lnTo>
                  <a:lnTo>
                    <a:pt x="5179693" y="6347151"/>
                  </a:lnTo>
                  <a:lnTo>
                    <a:pt x="5189223" y="6366211"/>
                  </a:lnTo>
                  <a:lnTo>
                    <a:pt x="5198754" y="6390038"/>
                  </a:lnTo>
                  <a:lnTo>
                    <a:pt x="5198754" y="6404334"/>
                  </a:lnTo>
                  <a:lnTo>
                    <a:pt x="5198754" y="6413862"/>
                  </a:lnTo>
                  <a:lnTo>
                    <a:pt x="5193988" y="6423392"/>
                  </a:lnTo>
                  <a:lnTo>
                    <a:pt x="5160632" y="6490105"/>
                  </a:lnTo>
                  <a:lnTo>
                    <a:pt x="5151102" y="6513925"/>
                  </a:lnTo>
                  <a:lnTo>
                    <a:pt x="5165398" y="6518690"/>
                  </a:lnTo>
                  <a:lnTo>
                    <a:pt x="5170163" y="6513925"/>
                  </a:lnTo>
                  <a:lnTo>
                    <a:pt x="5203519" y="6466280"/>
                  </a:lnTo>
                  <a:lnTo>
                    <a:pt x="5227344" y="6451984"/>
                  </a:lnTo>
                  <a:lnTo>
                    <a:pt x="5246405" y="6447219"/>
                  </a:lnTo>
                  <a:lnTo>
                    <a:pt x="5279761" y="6456748"/>
                  </a:lnTo>
                  <a:lnTo>
                    <a:pt x="5289291" y="6466280"/>
                  </a:lnTo>
                  <a:lnTo>
                    <a:pt x="5298821" y="6475811"/>
                  </a:lnTo>
                  <a:lnTo>
                    <a:pt x="5303586" y="6485339"/>
                  </a:lnTo>
                  <a:lnTo>
                    <a:pt x="5317882" y="6532986"/>
                  </a:lnTo>
                  <a:lnTo>
                    <a:pt x="5327412" y="6590167"/>
                  </a:lnTo>
                  <a:lnTo>
                    <a:pt x="5327412" y="6585402"/>
                  </a:lnTo>
                  <a:lnTo>
                    <a:pt x="5327412" y="6552046"/>
                  </a:lnTo>
                  <a:lnTo>
                    <a:pt x="5327412" y="6528220"/>
                  </a:lnTo>
                  <a:lnTo>
                    <a:pt x="5360768" y="6509160"/>
                  </a:lnTo>
                  <a:lnTo>
                    <a:pt x="5360768" y="6504395"/>
                  </a:lnTo>
                  <a:lnTo>
                    <a:pt x="5351238" y="6490105"/>
                  </a:lnTo>
                  <a:lnTo>
                    <a:pt x="5341707" y="6466280"/>
                  </a:lnTo>
                  <a:lnTo>
                    <a:pt x="5332177" y="6432923"/>
                  </a:lnTo>
                  <a:lnTo>
                    <a:pt x="5336942" y="6418628"/>
                  </a:lnTo>
                  <a:lnTo>
                    <a:pt x="5341707" y="6404334"/>
                  </a:lnTo>
                  <a:lnTo>
                    <a:pt x="5360768" y="6370978"/>
                  </a:lnTo>
                  <a:lnTo>
                    <a:pt x="5384594" y="6351917"/>
                  </a:lnTo>
                  <a:lnTo>
                    <a:pt x="5403654" y="6347151"/>
                  </a:lnTo>
                  <a:lnTo>
                    <a:pt x="5484661" y="6380507"/>
                  </a:lnTo>
                  <a:lnTo>
                    <a:pt x="5513252" y="6409098"/>
                  </a:lnTo>
                  <a:lnTo>
                    <a:pt x="5527547" y="6423392"/>
                  </a:lnTo>
                  <a:lnTo>
                    <a:pt x="5527547" y="6432923"/>
                  </a:lnTo>
                  <a:lnTo>
                    <a:pt x="5537078" y="6461515"/>
                  </a:lnTo>
                  <a:lnTo>
                    <a:pt x="5551373" y="6547281"/>
                  </a:lnTo>
                  <a:lnTo>
                    <a:pt x="5551373" y="6575872"/>
                  </a:lnTo>
                  <a:lnTo>
                    <a:pt x="5541843" y="6618758"/>
                  </a:lnTo>
                  <a:lnTo>
                    <a:pt x="5518017" y="6704530"/>
                  </a:lnTo>
                  <a:lnTo>
                    <a:pt x="5513252" y="6756947"/>
                  </a:lnTo>
                  <a:lnTo>
                    <a:pt x="5489426" y="6895135"/>
                  </a:lnTo>
                  <a:lnTo>
                    <a:pt x="5470366" y="6933256"/>
                  </a:lnTo>
                  <a:lnTo>
                    <a:pt x="5451305" y="6957082"/>
                  </a:lnTo>
                  <a:lnTo>
                    <a:pt x="5375063" y="6999968"/>
                  </a:lnTo>
                  <a:lnTo>
                    <a:pt x="5317882" y="7047619"/>
                  </a:lnTo>
                  <a:lnTo>
                    <a:pt x="5303586" y="7052384"/>
                  </a:lnTo>
                  <a:lnTo>
                    <a:pt x="5289291" y="7052384"/>
                  </a:lnTo>
                  <a:lnTo>
                    <a:pt x="5241640" y="7038089"/>
                  </a:lnTo>
                  <a:lnTo>
                    <a:pt x="5184458" y="7009498"/>
                  </a:lnTo>
                  <a:lnTo>
                    <a:pt x="5151102" y="7019029"/>
                  </a:lnTo>
                  <a:lnTo>
                    <a:pt x="5122512" y="7038089"/>
                  </a:lnTo>
                  <a:lnTo>
                    <a:pt x="5098686" y="7047619"/>
                  </a:lnTo>
                  <a:lnTo>
                    <a:pt x="5079625" y="7042854"/>
                  </a:lnTo>
                  <a:lnTo>
                    <a:pt x="5060565" y="7033324"/>
                  </a:lnTo>
                  <a:lnTo>
                    <a:pt x="5036739" y="7014264"/>
                  </a:lnTo>
                  <a:lnTo>
                    <a:pt x="5051034" y="7004733"/>
                  </a:lnTo>
                  <a:lnTo>
                    <a:pt x="5055800" y="6995203"/>
                  </a:lnTo>
                  <a:lnTo>
                    <a:pt x="5051034" y="6985673"/>
                  </a:lnTo>
                  <a:lnTo>
                    <a:pt x="5027209" y="6971377"/>
                  </a:lnTo>
                  <a:lnTo>
                    <a:pt x="4998618" y="7004733"/>
                  </a:lnTo>
                  <a:lnTo>
                    <a:pt x="4922376" y="7080975"/>
                  </a:lnTo>
                  <a:lnTo>
                    <a:pt x="4817543" y="7104801"/>
                  </a:lnTo>
                  <a:lnTo>
                    <a:pt x="4784187" y="7123862"/>
                  </a:lnTo>
                  <a:lnTo>
                    <a:pt x="4760362" y="7142922"/>
                  </a:lnTo>
                  <a:lnTo>
                    <a:pt x="4746066" y="7157217"/>
                  </a:lnTo>
                  <a:lnTo>
                    <a:pt x="4727006" y="7200104"/>
                  </a:lnTo>
                  <a:lnTo>
                    <a:pt x="4698415" y="7228694"/>
                  </a:lnTo>
                  <a:lnTo>
                    <a:pt x="4641234" y="7257285"/>
                  </a:lnTo>
                  <a:lnTo>
                    <a:pt x="4574522" y="7304936"/>
                  </a:lnTo>
                  <a:lnTo>
                    <a:pt x="4450628" y="7357353"/>
                  </a:lnTo>
                  <a:lnTo>
                    <a:pt x="4374386" y="7366883"/>
                  </a:lnTo>
                  <a:lnTo>
                    <a:pt x="4293379" y="7347822"/>
                  </a:lnTo>
                  <a:lnTo>
                    <a:pt x="4269554" y="7333527"/>
                  </a:lnTo>
                  <a:lnTo>
                    <a:pt x="4245728" y="7314467"/>
                  </a:lnTo>
                  <a:lnTo>
                    <a:pt x="4193312" y="7266815"/>
                  </a:lnTo>
                  <a:lnTo>
                    <a:pt x="4179016" y="7247755"/>
                  </a:lnTo>
                  <a:lnTo>
                    <a:pt x="4159956" y="7209634"/>
                  </a:lnTo>
                  <a:lnTo>
                    <a:pt x="4169486" y="7181043"/>
                  </a:lnTo>
                  <a:lnTo>
                    <a:pt x="4198077" y="7152452"/>
                  </a:lnTo>
                  <a:lnTo>
                    <a:pt x="4240963" y="7123862"/>
                  </a:lnTo>
                  <a:lnTo>
                    <a:pt x="4321970" y="7085740"/>
                  </a:lnTo>
                  <a:lnTo>
                    <a:pt x="4398212" y="7023794"/>
                  </a:lnTo>
                  <a:lnTo>
                    <a:pt x="4426803" y="7014264"/>
                  </a:lnTo>
                  <a:lnTo>
                    <a:pt x="4498280" y="7004733"/>
                  </a:lnTo>
                  <a:lnTo>
                    <a:pt x="4536401" y="7009498"/>
                  </a:lnTo>
                  <a:lnTo>
                    <a:pt x="4564992" y="7009498"/>
                  </a:lnTo>
                  <a:lnTo>
                    <a:pt x="4584052" y="6999968"/>
                  </a:lnTo>
                  <a:lnTo>
                    <a:pt x="4607878" y="6976142"/>
                  </a:lnTo>
                  <a:lnTo>
                    <a:pt x="4645999" y="6933256"/>
                  </a:lnTo>
                  <a:lnTo>
                    <a:pt x="4674589" y="6890370"/>
                  </a:lnTo>
                  <a:lnTo>
                    <a:pt x="4684120" y="6871310"/>
                  </a:lnTo>
                  <a:lnTo>
                    <a:pt x="4674589" y="6857014"/>
                  </a:lnTo>
                  <a:lnTo>
                    <a:pt x="4660294" y="6852249"/>
                  </a:lnTo>
                  <a:lnTo>
                    <a:pt x="4612643" y="6895135"/>
                  </a:lnTo>
                  <a:lnTo>
                    <a:pt x="4588817" y="6909431"/>
                  </a:lnTo>
                  <a:lnTo>
                    <a:pt x="4564992" y="6909431"/>
                  </a:lnTo>
                  <a:lnTo>
                    <a:pt x="4531636" y="6923726"/>
                  </a:lnTo>
                  <a:lnTo>
                    <a:pt x="4498280" y="6928491"/>
                  </a:lnTo>
                  <a:lnTo>
                    <a:pt x="4488749" y="6928491"/>
                  </a:lnTo>
                  <a:lnTo>
                    <a:pt x="4455394" y="6890370"/>
                  </a:lnTo>
                  <a:lnTo>
                    <a:pt x="4436333" y="6880840"/>
                  </a:lnTo>
                  <a:lnTo>
                    <a:pt x="4431568" y="6885605"/>
                  </a:lnTo>
                  <a:lnTo>
                    <a:pt x="4422038" y="6895135"/>
                  </a:lnTo>
                  <a:lnTo>
                    <a:pt x="4407742" y="6928491"/>
                  </a:lnTo>
                  <a:lnTo>
                    <a:pt x="4398212" y="6938022"/>
                  </a:lnTo>
                  <a:lnTo>
                    <a:pt x="4383917" y="6947552"/>
                  </a:lnTo>
                  <a:lnTo>
                    <a:pt x="4321970" y="6952317"/>
                  </a:lnTo>
                  <a:lnTo>
                    <a:pt x="4264788" y="6971377"/>
                  </a:lnTo>
                  <a:lnTo>
                    <a:pt x="4250493" y="6961847"/>
                  </a:lnTo>
                  <a:lnTo>
                    <a:pt x="4240963" y="6942787"/>
                  </a:lnTo>
                  <a:lnTo>
                    <a:pt x="4240963" y="6933256"/>
                  </a:lnTo>
                  <a:lnTo>
                    <a:pt x="4240963" y="6895135"/>
                  </a:lnTo>
                  <a:lnTo>
                    <a:pt x="4236198" y="6880840"/>
                  </a:lnTo>
                  <a:lnTo>
                    <a:pt x="4240963" y="6852249"/>
                  </a:lnTo>
                  <a:lnTo>
                    <a:pt x="4245728" y="6828424"/>
                  </a:lnTo>
                  <a:lnTo>
                    <a:pt x="4255258" y="6814128"/>
                  </a:lnTo>
                  <a:lnTo>
                    <a:pt x="4298144" y="6766477"/>
                  </a:lnTo>
                  <a:lnTo>
                    <a:pt x="4302909" y="6756947"/>
                  </a:lnTo>
                  <a:lnTo>
                    <a:pt x="4283849" y="6756947"/>
                  </a:lnTo>
                  <a:lnTo>
                    <a:pt x="4236198" y="6780772"/>
                  </a:lnTo>
                  <a:lnTo>
                    <a:pt x="4231432" y="6776007"/>
                  </a:lnTo>
                  <a:lnTo>
                    <a:pt x="4221902" y="6747416"/>
                  </a:lnTo>
                  <a:lnTo>
                    <a:pt x="4217137" y="6747416"/>
                  </a:lnTo>
                  <a:lnTo>
                    <a:pt x="4207607" y="6756947"/>
                  </a:lnTo>
                  <a:lnTo>
                    <a:pt x="4207607" y="6771242"/>
                  </a:lnTo>
                  <a:lnTo>
                    <a:pt x="4198077" y="6833189"/>
                  </a:lnTo>
                  <a:lnTo>
                    <a:pt x="4193312" y="6866545"/>
                  </a:lnTo>
                  <a:lnTo>
                    <a:pt x="4174251" y="6857014"/>
                  </a:lnTo>
                  <a:lnTo>
                    <a:pt x="4150425" y="6837954"/>
                  </a:lnTo>
                  <a:lnTo>
                    <a:pt x="4140895" y="6837954"/>
                  </a:lnTo>
                  <a:lnTo>
                    <a:pt x="4136130" y="6842719"/>
                  </a:lnTo>
                  <a:lnTo>
                    <a:pt x="4140895" y="6852249"/>
                  </a:lnTo>
                  <a:lnTo>
                    <a:pt x="4164721" y="6909431"/>
                  </a:lnTo>
                  <a:lnTo>
                    <a:pt x="4164721" y="6923726"/>
                  </a:lnTo>
                  <a:lnTo>
                    <a:pt x="4145660" y="6957082"/>
                  </a:lnTo>
                  <a:lnTo>
                    <a:pt x="4083714" y="7009498"/>
                  </a:lnTo>
                  <a:lnTo>
                    <a:pt x="4059888" y="7023794"/>
                  </a:lnTo>
                  <a:lnTo>
                    <a:pt x="4050358" y="7019029"/>
                  </a:lnTo>
                  <a:lnTo>
                    <a:pt x="4040827" y="7004733"/>
                  </a:lnTo>
                  <a:lnTo>
                    <a:pt x="4036062" y="6980908"/>
                  </a:lnTo>
                  <a:lnTo>
                    <a:pt x="4017002" y="6947552"/>
                  </a:lnTo>
                  <a:lnTo>
                    <a:pt x="4007471" y="6942787"/>
                  </a:lnTo>
                  <a:lnTo>
                    <a:pt x="3997941" y="6942787"/>
                  </a:lnTo>
                  <a:lnTo>
                    <a:pt x="3988411" y="6947552"/>
                  </a:lnTo>
                  <a:lnTo>
                    <a:pt x="3978881" y="6961847"/>
                  </a:lnTo>
                  <a:lnTo>
                    <a:pt x="3974116" y="6976142"/>
                  </a:lnTo>
                  <a:lnTo>
                    <a:pt x="3969350" y="7004733"/>
                  </a:lnTo>
                  <a:lnTo>
                    <a:pt x="3955055" y="7028559"/>
                  </a:lnTo>
                  <a:lnTo>
                    <a:pt x="3950290" y="7028559"/>
                  </a:lnTo>
                  <a:lnTo>
                    <a:pt x="3883578" y="6985673"/>
                  </a:lnTo>
                  <a:lnTo>
                    <a:pt x="3831162" y="6904666"/>
                  </a:lnTo>
                  <a:lnTo>
                    <a:pt x="3773980" y="6918961"/>
                  </a:lnTo>
                  <a:lnTo>
                    <a:pt x="3750155" y="6914196"/>
                  </a:lnTo>
                  <a:lnTo>
                    <a:pt x="3673913" y="6885605"/>
                  </a:lnTo>
                  <a:lnTo>
                    <a:pt x="3659617" y="6871310"/>
                  </a:lnTo>
                  <a:lnTo>
                    <a:pt x="3654852" y="6847484"/>
                  </a:lnTo>
                  <a:lnTo>
                    <a:pt x="3654852" y="6833189"/>
                  </a:lnTo>
                  <a:lnTo>
                    <a:pt x="3659617" y="6818893"/>
                  </a:lnTo>
                  <a:lnTo>
                    <a:pt x="3669147" y="6795068"/>
                  </a:lnTo>
                  <a:lnTo>
                    <a:pt x="3688208" y="6752182"/>
                  </a:lnTo>
                  <a:lnTo>
                    <a:pt x="3697738" y="6737886"/>
                  </a:lnTo>
                  <a:lnTo>
                    <a:pt x="3712034" y="6728356"/>
                  </a:lnTo>
                  <a:lnTo>
                    <a:pt x="3726329" y="6718826"/>
                  </a:lnTo>
                  <a:lnTo>
                    <a:pt x="3769215" y="6714060"/>
                  </a:lnTo>
                  <a:lnTo>
                    <a:pt x="3874048" y="6714060"/>
                  </a:lnTo>
                  <a:lnTo>
                    <a:pt x="3893108" y="6709295"/>
                  </a:lnTo>
                  <a:lnTo>
                    <a:pt x="4007471" y="6628288"/>
                  </a:lnTo>
                  <a:lnTo>
                    <a:pt x="4021767" y="6618758"/>
                  </a:lnTo>
                  <a:lnTo>
                    <a:pt x="4040827" y="6590167"/>
                  </a:lnTo>
                  <a:lnTo>
                    <a:pt x="4045592" y="6580637"/>
                  </a:lnTo>
                  <a:lnTo>
                    <a:pt x="4045592" y="6575872"/>
                  </a:lnTo>
                  <a:lnTo>
                    <a:pt x="3902639" y="6637818"/>
                  </a:lnTo>
                  <a:lnTo>
                    <a:pt x="3840692" y="6652114"/>
                  </a:lnTo>
                  <a:lnTo>
                    <a:pt x="3745389" y="6642584"/>
                  </a:lnTo>
                  <a:lnTo>
                    <a:pt x="3726329" y="6633053"/>
                  </a:lnTo>
                  <a:lnTo>
                    <a:pt x="3726329" y="6613993"/>
                  </a:lnTo>
                  <a:lnTo>
                    <a:pt x="3745389" y="6566342"/>
                  </a:lnTo>
                  <a:lnTo>
                    <a:pt x="3754920" y="6547281"/>
                  </a:lnTo>
                  <a:lnTo>
                    <a:pt x="3778745" y="6532986"/>
                  </a:lnTo>
                  <a:lnTo>
                    <a:pt x="3845457" y="6509160"/>
                  </a:lnTo>
                  <a:lnTo>
                    <a:pt x="3931229" y="6490105"/>
                  </a:lnTo>
                  <a:lnTo>
                    <a:pt x="3988411" y="6490105"/>
                  </a:lnTo>
                  <a:lnTo>
                    <a:pt x="4036062" y="6471043"/>
                  </a:lnTo>
                  <a:lnTo>
                    <a:pt x="4064653" y="6451984"/>
                  </a:lnTo>
                  <a:lnTo>
                    <a:pt x="3969350" y="6456748"/>
                  </a:lnTo>
                  <a:lnTo>
                    <a:pt x="3854987" y="6461515"/>
                  </a:lnTo>
                  <a:lnTo>
                    <a:pt x="3835927" y="6456748"/>
                  </a:lnTo>
                  <a:lnTo>
                    <a:pt x="3802571" y="6432923"/>
                  </a:lnTo>
                  <a:lnTo>
                    <a:pt x="3802571" y="6413862"/>
                  </a:lnTo>
                  <a:lnTo>
                    <a:pt x="3816866" y="6390038"/>
                  </a:lnTo>
                  <a:lnTo>
                    <a:pt x="3821631" y="6375742"/>
                  </a:lnTo>
                  <a:lnTo>
                    <a:pt x="3812101" y="6337621"/>
                  </a:lnTo>
                  <a:lnTo>
                    <a:pt x="3812101" y="6323325"/>
                  </a:lnTo>
                  <a:lnTo>
                    <a:pt x="3835927" y="6294734"/>
                  </a:lnTo>
                  <a:lnTo>
                    <a:pt x="3874048" y="6261380"/>
                  </a:lnTo>
                  <a:lnTo>
                    <a:pt x="3897874" y="6256613"/>
                  </a:lnTo>
                  <a:lnTo>
                    <a:pt x="3940760" y="6266144"/>
                  </a:lnTo>
                  <a:lnTo>
                    <a:pt x="4069418" y="6280440"/>
                  </a:lnTo>
                  <a:lnTo>
                    <a:pt x="4098009" y="6275673"/>
                  </a:lnTo>
                  <a:lnTo>
                    <a:pt x="4078948" y="6261380"/>
                  </a:lnTo>
                  <a:lnTo>
                    <a:pt x="4059888" y="6247084"/>
                  </a:lnTo>
                  <a:lnTo>
                    <a:pt x="3959820" y="6232789"/>
                  </a:lnTo>
                  <a:lnTo>
                    <a:pt x="3935995" y="6223259"/>
                  </a:lnTo>
                  <a:lnTo>
                    <a:pt x="3935995" y="6208963"/>
                  </a:lnTo>
                  <a:lnTo>
                    <a:pt x="3931229" y="6194667"/>
                  </a:lnTo>
                  <a:lnTo>
                    <a:pt x="3931229" y="6170842"/>
                  </a:lnTo>
                  <a:lnTo>
                    <a:pt x="3940760" y="6147015"/>
                  </a:lnTo>
                  <a:lnTo>
                    <a:pt x="3969350" y="6099366"/>
                  </a:lnTo>
                  <a:lnTo>
                    <a:pt x="4064653" y="6061245"/>
                  </a:lnTo>
                  <a:lnTo>
                    <a:pt x="4098009" y="6056478"/>
                  </a:lnTo>
                  <a:lnTo>
                    <a:pt x="4136130" y="6056478"/>
                  </a:lnTo>
                  <a:lnTo>
                    <a:pt x="4169486" y="6075538"/>
                  </a:lnTo>
                  <a:lnTo>
                    <a:pt x="4188546" y="6089834"/>
                  </a:lnTo>
                  <a:lnTo>
                    <a:pt x="4198077" y="6108893"/>
                  </a:lnTo>
                  <a:lnTo>
                    <a:pt x="4202842" y="6127955"/>
                  </a:lnTo>
                  <a:lnTo>
                    <a:pt x="4202842" y="6156547"/>
                  </a:lnTo>
                  <a:lnTo>
                    <a:pt x="4202842" y="6170842"/>
                  </a:lnTo>
                  <a:lnTo>
                    <a:pt x="4207607" y="6189903"/>
                  </a:lnTo>
                  <a:lnTo>
                    <a:pt x="4231432" y="6237553"/>
                  </a:lnTo>
                  <a:lnTo>
                    <a:pt x="4245728" y="6251849"/>
                  </a:lnTo>
                  <a:lnTo>
                    <a:pt x="4317205" y="6223259"/>
                  </a:lnTo>
                  <a:lnTo>
                    <a:pt x="4350561" y="6218492"/>
                  </a:lnTo>
                  <a:lnTo>
                    <a:pt x="4379152" y="6228023"/>
                  </a:lnTo>
                  <a:lnTo>
                    <a:pt x="4422038" y="6256613"/>
                  </a:lnTo>
                  <a:lnTo>
                    <a:pt x="4479219" y="6342386"/>
                  </a:lnTo>
                  <a:lnTo>
                    <a:pt x="4550696" y="6428158"/>
                  </a:lnTo>
                  <a:lnTo>
                    <a:pt x="4550696" y="6442455"/>
                  </a:lnTo>
                  <a:lnTo>
                    <a:pt x="4522105" y="6471043"/>
                  </a:lnTo>
                  <a:lnTo>
                    <a:pt x="4517340" y="6485339"/>
                  </a:lnTo>
                  <a:lnTo>
                    <a:pt x="4522105" y="6494869"/>
                  </a:lnTo>
                  <a:lnTo>
                    <a:pt x="4550696" y="6499636"/>
                  </a:lnTo>
                  <a:lnTo>
                    <a:pt x="4574522" y="6494869"/>
                  </a:lnTo>
                  <a:lnTo>
                    <a:pt x="4603112" y="6499636"/>
                  </a:lnTo>
                  <a:lnTo>
                    <a:pt x="4607878" y="6509160"/>
                  </a:lnTo>
                  <a:lnTo>
                    <a:pt x="4617408" y="6537751"/>
                  </a:lnTo>
                  <a:lnTo>
                    <a:pt x="4626938" y="6594932"/>
                  </a:lnTo>
                  <a:lnTo>
                    <a:pt x="4645999" y="6633053"/>
                  </a:lnTo>
                  <a:lnTo>
                    <a:pt x="4660294" y="6661644"/>
                  </a:lnTo>
                  <a:lnTo>
                    <a:pt x="4679355" y="6675939"/>
                  </a:lnTo>
                  <a:lnTo>
                    <a:pt x="4703180" y="6675939"/>
                  </a:lnTo>
                  <a:lnTo>
                    <a:pt x="4731771" y="6666409"/>
                  </a:lnTo>
                  <a:lnTo>
                    <a:pt x="4769892" y="6671174"/>
                  </a:lnTo>
                  <a:lnTo>
                    <a:pt x="4984323" y="6699765"/>
                  </a:lnTo>
                  <a:lnTo>
                    <a:pt x="4998618" y="6695000"/>
                  </a:lnTo>
                  <a:lnTo>
                    <a:pt x="5008148" y="6675939"/>
                  </a:lnTo>
                  <a:lnTo>
                    <a:pt x="5012914" y="6652114"/>
                  </a:lnTo>
                  <a:lnTo>
                    <a:pt x="5017679" y="6628288"/>
                  </a:lnTo>
                  <a:lnTo>
                    <a:pt x="5012914" y="6594932"/>
                  </a:lnTo>
                  <a:lnTo>
                    <a:pt x="5008148" y="6580637"/>
                  </a:lnTo>
                  <a:lnTo>
                    <a:pt x="4874725" y="6475811"/>
                  </a:lnTo>
                  <a:lnTo>
                    <a:pt x="4865194" y="6432923"/>
                  </a:lnTo>
                  <a:lnTo>
                    <a:pt x="4927141" y="6375742"/>
                  </a:lnTo>
                  <a:lnTo>
                    <a:pt x="4931906" y="6361445"/>
                  </a:lnTo>
                  <a:lnTo>
                    <a:pt x="4931906" y="6342386"/>
                  </a:lnTo>
                  <a:lnTo>
                    <a:pt x="4931906" y="6318561"/>
                  </a:lnTo>
                  <a:lnTo>
                    <a:pt x="4922376" y="6294734"/>
                  </a:lnTo>
                  <a:lnTo>
                    <a:pt x="4889020" y="6247084"/>
                  </a:lnTo>
                  <a:lnTo>
                    <a:pt x="4855664" y="6242319"/>
                  </a:lnTo>
                  <a:lnTo>
                    <a:pt x="4812778" y="6199432"/>
                  </a:lnTo>
                  <a:lnTo>
                    <a:pt x="4803248" y="6185136"/>
                  </a:lnTo>
                  <a:lnTo>
                    <a:pt x="4798483" y="6170842"/>
                  </a:lnTo>
                  <a:lnTo>
                    <a:pt x="4793718" y="6147015"/>
                  </a:lnTo>
                  <a:lnTo>
                    <a:pt x="4793718" y="6127955"/>
                  </a:lnTo>
                  <a:lnTo>
                    <a:pt x="4803248" y="6113661"/>
                  </a:lnTo>
                  <a:lnTo>
                    <a:pt x="4846134" y="6070774"/>
                  </a:lnTo>
                  <a:lnTo>
                    <a:pt x="4865194" y="6042184"/>
                  </a:lnTo>
                  <a:lnTo>
                    <a:pt x="4922376" y="5927820"/>
                  </a:lnTo>
                  <a:lnTo>
                    <a:pt x="4946202" y="5880170"/>
                  </a:lnTo>
                  <a:lnTo>
                    <a:pt x="4965262" y="5861109"/>
                  </a:lnTo>
                  <a:lnTo>
                    <a:pt x="4984323" y="5846814"/>
                  </a:lnTo>
                  <a:close/>
                  <a:moveTo>
                    <a:pt x="7943467" y="5832518"/>
                  </a:moveTo>
                  <a:lnTo>
                    <a:pt x="7976823" y="5832518"/>
                  </a:lnTo>
                  <a:lnTo>
                    <a:pt x="8000649" y="5865875"/>
                  </a:lnTo>
                  <a:lnTo>
                    <a:pt x="8010179" y="5880170"/>
                  </a:lnTo>
                  <a:lnTo>
                    <a:pt x="8014944" y="5894463"/>
                  </a:lnTo>
                  <a:lnTo>
                    <a:pt x="8014944" y="5908759"/>
                  </a:lnTo>
                  <a:lnTo>
                    <a:pt x="8014944" y="5923054"/>
                  </a:lnTo>
                  <a:lnTo>
                    <a:pt x="8000649" y="5951644"/>
                  </a:lnTo>
                  <a:lnTo>
                    <a:pt x="7995883" y="5970705"/>
                  </a:lnTo>
                  <a:lnTo>
                    <a:pt x="7995883" y="5989767"/>
                  </a:lnTo>
                  <a:lnTo>
                    <a:pt x="7995883" y="6018357"/>
                  </a:lnTo>
                  <a:lnTo>
                    <a:pt x="8000649" y="6037418"/>
                  </a:lnTo>
                  <a:lnTo>
                    <a:pt x="8010179" y="6042184"/>
                  </a:lnTo>
                  <a:lnTo>
                    <a:pt x="8010179" y="6051713"/>
                  </a:lnTo>
                  <a:lnTo>
                    <a:pt x="8000649" y="6061245"/>
                  </a:lnTo>
                  <a:lnTo>
                    <a:pt x="7976823" y="6056478"/>
                  </a:lnTo>
                  <a:lnTo>
                    <a:pt x="7972058" y="6066009"/>
                  </a:lnTo>
                  <a:lnTo>
                    <a:pt x="7957762" y="6061245"/>
                  </a:lnTo>
                  <a:lnTo>
                    <a:pt x="7943467" y="6042184"/>
                  </a:lnTo>
                  <a:lnTo>
                    <a:pt x="7919641" y="6004061"/>
                  </a:lnTo>
                  <a:lnTo>
                    <a:pt x="7900581" y="5946883"/>
                  </a:lnTo>
                  <a:lnTo>
                    <a:pt x="7881520" y="5899231"/>
                  </a:lnTo>
                  <a:lnTo>
                    <a:pt x="7881520" y="5884934"/>
                  </a:lnTo>
                  <a:lnTo>
                    <a:pt x="7886285" y="5865875"/>
                  </a:lnTo>
                  <a:lnTo>
                    <a:pt x="7905346" y="5846814"/>
                  </a:lnTo>
                  <a:close/>
                  <a:moveTo>
                    <a:pt x="4236197" y="5789633"/>
                  </a:moveTo>
                  <a:lnTo>
                    <a:pt x="4264788" y="5803928"/>
                  </a:lnTo>
                  <a:lnTo>
                    <a:pt x="4283849" y="5822987"/>
                  </a:lnTo>
                  <a:lnTo>
                    <a:pt x="4293379" y="5837282"/>
                  </a:lnTo>
                  <a:lnTo>
                    <a:pt x="4298144" y="5865875"/>
                  </a:lnTo>
                  <a:lnTo>
                    <a:pt x="4288614" y="5894463"/>
                  </a:lnTo>
                  <a:lnTo>
                    <a:pt x="4264788" y="5918290"/>
                  </a:lnTo>
                  <a:lnTo>
                    <a:pt x="4102773" y="5884934"/>
                  </a:lnTo>
                  <a:lnTo>
                    <a:pt x="4093243" y="5875406"/>
                  </a:lnTo>
                  <a:lnTo>
                    <a:pt x="4088478" y="5861109"/>
                  </a:lnTo>
                  <a:lnTo>
                    <a:pt x="4117069" y="5818222"/>
                  </a:lnTo>
                  <a:lnTo>
                    <a:pt x="4155190" y="5803928"/>
                  </a:lnTo>
                  <a:close/>
                  <a:moveTo>
                    <a:pt x="7052387" y="5670502"/>
                  </a:moveTo>
                  <a:lnTo>
                    <a:pt x="7085743" y="5675267"/>
                  </a:lnTo>
                  <a:lnTo>
                    <a:pt x="7166750" y="5703860"/>
                  </a:lnTo>
                  <a:lnTo>
                    <a:pt x="7247758" y="5746745"/>
                  </a:lnTo>
                  <a:lnTo>
                    <a:pt x="7295409" y="5780101"/>
                  </a:lnTo>
                  <a:lnTo>
                    <a:pt x="7324000" y="5784865"/>
                  </a:lnTo>
                  <a:lnTo>
                    <a:pt x="7352590" y="5775337"/>
                  </a:lnTo>
                  <a:lnTo>
                    <a:pt x="7371651" y="5775337"/>
                  </a:lnTo>
                  <a:lnTo>
                    <a:pt x="7405007" y="5803926"/>
                  </a:lnTo>
                  <a:lnTo>
                    <a:pt x="7433598" y="5846814"/>
                  </a:lnTo>
                  <a:lnTo>
                    <a:pt x="7457423" y="5865874"/>
                  </a:lnTo>
                  <a:lnTo>
                    <a:pt x="7462188" y="5875403"/>
                  </a:lnTo>
                  <a:lnTo>
                    <a:pt x="7466954" y="5884934"/>
                  </a:lnTo>
                  <a:lnTo>
                    <a:pt x="7466954" y="5918290"/>
                  </a:lnTo>
                  <a:lnTo>
                    <a:pt x="7466954" y="5932587"/>
                  </a:lnTo>
                  <a:lnTo>
                    <a:pt x="7466954" y="5946880"/>
                  </a:lnTo>
                  <a:lnTo>
                    <a:pt x="7457423" y="5975472"/>
                  </a:lnTo>
                  <a:lnTo>
                    <a:pt x="7447893" y="6008828"/>
                  </a:lnTo>
                  <a:lnTo>
                    <a:pt x="7433598" y="6037416"/>
                  </a:lnTo>
                  <a:lnTo>
                    <a:pt x="7424067" y="6066009"/>
                  </a:lnTo>
                  <a:lnTo>
                    <a:pt x="7414537" y="6094599"/>
                  </a:lnTo>
                  <a:lnTo>
                    <a:pt x="7433598" y="6075538"/>
                  </a:lnTo>
                  <a:lnTo>
                    <a:pt x="7500309" y="5975472"/>
                  </a:lnTo>
                  <a:lnTo>
                    <a:pt x="7543196" y="5989767"/>
                  </a:lnTo>
                  <a:lnTo>
                    <a:pt x="7609907" y="5980235"/>
                  </a:lnTo>
                  <a:lnTo>
                    <a:pt x="7686149" y="5937351"/>
                  </a:lnTo>
                  <a:lnTo>
                    <a:pt x="7724270" y="5932587"/>
                  </a:lnTo>
                  <a:lnTo>
                    <a:pt x="7762392" y="5937351"/>
                  </a:lnTo>
                  <a:lnTo>
                    <a:pt x="7790982" y="5951644"/>
                  </a:lnTo>
                  <a:lnTo>
                    <a:pt x="7852929" y="6004061"/>
                  </a:lnTo>
                  <a:lnTo>
                    <a:pt x="7871989" y="6027886"/>
                  </a:lnTo>
                  <a:lnTo>
                    <a:pt x="7881520" y="6046948"/>
                  </a:lnTo>
                  <a:lnTo>
                    <a:pt x="7881520" y="6061242"/>
                  </a:lnTo>
                  <a:lnTo>
                    <a:pt x="7871989" y="6080303"/>
                  </a:lnTo>
                  <a:lnTo>
                    <a:pt x="7833868" y="6070774"/>
                  </a:lnTo>
                  <a:lnTo>
                    <a:pt x="7771922" y="6056478"/>
                  </a:lnTo>
                  <a:lnTo>
                    <a:pt x="7757626" y="6051713"/>
                  </a:lnTo>
                  <a:lnTo>
                    <a:pt x="7748096" y="6051713"/>
                  </a:lnTo>
                  <a:lnTo>
                    <a:pt x="7743331" y="6061242"/>
                  </a:lnTo>
                  <a:lnTo>
                    <a:pt x="7748096" y="6089834"/>
                  </a:lnTo>
                  <a:lnTo>
                    <a:pt x="7757626" y="6094599"/>
                  </a:lnTo>
                  <a:lnTo>
                    <a:pt x="7833868" y="6099366"/>
                  </a:lnTo>
                  <a:lnTo>
                    <a:pt x="8076890" y="6189903"/>
                  </a:lnTo>
                  <a:lnTo>
                    <a:pt x="8091185" y="6218492"/>
                  </a:lnTo>
                  <a:lnTo>
                    <a:pt x="8086420" y="6232787"/>
                  </a:lnTo>
                  <a:lnTo>
                    <a:pt x="8076890" y="6247084"/>
                  </a:lnTo>
                  <a:lnTo>
                    <a:pt x="8057830" y="6266144"/>
                  </a:lnTo>
                  <a:lnTo>
                    <a:pt x="7919641" y="6285204"/>
                  </a:lnTo>
                  <a:lnTo>
                    <a:pt x="7838634" y="6266144"/>
                  </a:lnTo>
                  <a:lnTo>
                    <a:pt x="7771922" y="6237552"/>
                  </a:lnTo>
                  <a:lnTo>
                    <a:pt x="7748096" y="6242319"/>
                  </a:lnTo>
                  <a:lnTo>
                    <a:pt x="7767157" y="6285204"/>
                  </a:lnTo>
                  <a:lnTo>
                    <a:pt x="7805278" y="6294734"/>
                  </a:lnTo>
                  <a:lnTo>
                    <a:pt x="7843399" y="6318561"/>
                  </a:lnTo>
                  <a:lnTo>
                    <a:pt x="7857694" y="6337621"/>
                  </a:lnTo>
                  <a:lnTo>
                    <a:pt x="7929171" y="6351915"/>
                  </a:lnTo>
                  <a:lnTo>
                    <a:pt x="7938701" y="6366211"/>
                  </a:lnTo>
                  <a:lnTo>
                    <a:pt x="7962527" y="6404332"/>
                  </a:lnTo>
                  <a:lnTo>
                    <a:pt x="7981587" y="6409098"/>
                  </a:lnTo>
                  <a:lnTo>
                    <a:pt x="8000648" y="6437688"/>
                  </a:lnTo>
                  <a:lnTo>
                    <a:pt x="8014943" y="6480573"/>
                  </a:lnTo>
                  <a:lnTo>
                    <a:pt x="8019708" y="6485339"/>
                  </a:lnTo>
                  <a:lnTo>
                    <a:pt x="8043534" y="6480573"/>
                  </a:lnTo>
                  <a:lnTo>
                    <a:pt x="8081655" y="6518690"/>
                  </a:lnTo>
                  <a:lnTo>
                    <a:pt x="8091185" y="6537750"/>
                  </a:lnTo>
                  <a:lnTo>
                    <a:pt x="8091185" y="6556811"/>
                  </a:lnTo>
                  <a:lnTo>
                    <a:pt x="8081655" y="6580636"/>
                  </a:lnTo>
                  <a:lnTo>
                    <a:pt x="8067360" y="6613992"/>
                  </a:lnTo>
                  <a:lnTo>
                    <a:pt x="8024474" y="6652113"/>
                  </a:lnTo>
                  <a:lnTo>
                    <a:pt x="8024474" y="6661643"/>
                  </a:lnTo>
                  <a:lnTo>
                    <a:pt x="8072125" y="6656878"/>
                  </a:lnTo>
                  <a:lnTo>
                    <a:pt x="8081655" y="6661643"/>
                  </a:lnTo>
                  <a:lnTo>
                    <a:pt x="8134072" y="6733120"/>
                  </a:lnTo>
                  <a:lnTo>
                    <a:pt x="8143602" y="6733120"/>
                  </a:lnTo>
                  <a:lnTo>
                    <a:pt x="8148367" y="6728355"/>
                  </a:lnTo>
                  <a:lnTo>
                    <a:pt x="8153132" y="6704530"/>
                  </a:lnTo>
                  <a:lnTo>
                    <a:pt x="8153132" y="6680704"/>
                  </a:lnTo>
                  <a:lnTo>
                    <a:pt x="8143602" y="6647348"/>
                  </a:lnTo>
                  <a:lnTo>
                    <a:pt x="8148367" y="6623522"/>
                  </a:lnTo>
                  <a:lnTo>
                    <a:pt x="8157897" y="6613992"/>
                  </a:lnTo>
                  <a:lnTo>
                    <a:pt x="8167427" y="6604462"/>
                  </a:lnTo>
                  <a:lnTo>
                    <a:pt x="8176958" y="6604462"/>
                  </a:lnTo>
                  <a:lnTo>
                    <a:pt x="8191253" y="6613992"/>
                  </a:lnTo>
                  <a:lnTo>
                    <a:pt x="8248435" y="6694999"/>
                  </a:lnTo>
                  <a:lnTo>
                    <a:pt x="8319912" y="6656878"/>
                  </a:lnTo>
                  <a:lnTo>
                    <a:pt x="8334207" y="6675939"/>
                  </a:lnTo>
                  <a:lnTo>
                    <a:pt x="8348502" y="6709295"/>
                  </a:lnTo>
                  <a:lnTo>
                    <a:pt x="8353267" y="6714060"/>
                  </a:lnTo>
                  <a:lnTo>
                    <a:pt x="8377093" y="6647348"/>
                  </a:lnTo>
                  <a:lnTo>
                    <a:pt x="8396154" y="6628288"/>
                  </a:lnTo>
                  <a:lnTo>
                    <a:pt x="8462865" y="6709295"/>
                  </a:lnTo>
                  <a:lnTo>
                    <a:pt x="8505752" y="6728355"/>
                  </a:lnTo>
                  <a:lnTo>
                    <a:pt x="8524812" y="6742650"/>
                  </a:lnTo>
                  <a:lnTo>
                    <a:pt x="8553403" y="6761711"/>
                  </a:lnTo>
                  <a:lnTo>
                    <a:pt x="8598672" y="6771241"/>
                  </a:lnTo>
                  <a:lnTo>
                    <a:pt x="8603437" y="6737885"/>
                  </a:lnTo>
                  <a:lnTo>
                    <a:pt x="8579611" y="6704530"/>
                  </a:lnTo>
                  <a:lnTo>
                    <a:pt x="8593906" y="6685469"/>
                  </a:lnTo>
                  <a:lnTo>
                    <a:pt x="8655853" y="6652113"/>
                  </a:lnTo>
                  <a:lnTo>
                    <a:pt x="8689209" y="6656878"/>
                  </a:lnTo>
                  <a:lnTo>
                    <a:pt x="8746390" y="6613992"/>
                  </a:lnTo>
                  <a:lnTo>
                    <a:pt x="8784512" y="6609227"/>
                  </a:lnTo>
                  <a:lnTo>
                    <a:pt x="8808337" y="6609227"/>
                  </a:lnTo>
                  <a:lnTo>
                    <a:pt x="8879814" y="6537750"/>
                  </a:lnTo>
                  <a:lnTo>
                    <a:pt x="8898875" y="6528220"/>
                  </a:lnTo>
                  <a:lnTo>
                    <a:pt x="8913170" y="6504394"/>
                  </a:lnTo>
                  <a:lnTo>
                    <a:pt x="8941761" y="6504394"/>
                  </a:lnTo>
                  <a:lnTo>
                    <a:pt x="9022768" y="6547280"/>
                  </a:lnTo>
                  <a:lnTo>
                    <a:pt x="9041828" y="6542515"/>
                  </a:lnTo>
                  <a:lnTo>
                    <a:pt x="9127601" y="6504394"/>
                  </a:lnTo>
                  <a:lnTo>
                    <a:pt x="9160957" y="6494869"/>
                  </a:lnTo>
                  <a:lnTo>
                    <a:pt x="9189548" y="6494869"/>
                  </a:lnTo>
                  <a:lnTo>
                    <a:pt x="9270555" y="6518690"/>
                  </a:lnTo>
                  <a:lnTo>
                    <a:pt x="9327736" y="6542515"/>
                  </a:lnTo>
                  <a:lnTo>
                    <a:pt x="9346797" y="6556811"/>
                  </a:lnTo>
                  <a:lnTo>
                    <a:pt x="9342032" y="6590166"/>
                  </a:lnTo>
                  <a:lnTo>
                    <a:pt x="9342032" y="6599697"/>
                  </a:lnTo>
                  <a:lnTo>
                    <a:pt x="9351562" y="6604462"/>
                  </a:lnTo>
                  <a:lnTo>
                    <a:pt x="9370622" y="6613992"/>
                  </a:lnTo>
                  <a:lnTo>
                    <a:pt x="9442099" y="6613992"/>
                  </a:lnTo>
                  <a:lnTo>
                    <a:pt x="9475455" y="6623522"/>
                  </a:lnTo>
                  <a:lnTo>
                    <a:pt x="9504046" y="6652113"/>
                  </a:lnTo>
                  <a:lnTo>
                    <a:pt x="9508811" y="6666408"/>
                  </a:lnTo>
                  <a:lnTo>
                    <a:pt x="9508811" y="6675939"/>
                  </a:lnTo>
                  <a:lnTo>
                    <a:pt x="9480220" y="6709295"/>
                  </a:lnTo>
                  <a:lnTo>
                    <a:pt x="9484986" y="6718825"/>
                  </a:lnTo>
                  <a:lnTo>
                    <a:pt x="9508811" y="6723590"/>
                  </a:lnTo>
                  <a:lnTo>
                    <a:pt x="9565992" y="6728355"/>
                  </a:lnTo>
                  <a:lnTo>
                    <a:pt x="9580288" y="6737885"/>
                  </a:lnTo>
                  <a:lnTo>
                    <a:pt x="9589818" y="6776006"/>
                  </a:lnTo>
                  <a:lnTo>
                    <a:pt x="9604114" y="6833188"/>
                  </a:lnTo>
                  <a:lnTo>
                    <a:pt x="9604114" y="6852248"/>
                  </a:lnTo>
                  <a:lnTo>
                    <a:pt x="9585053" y="6890370"/>
                  </a:lnTo>
                  <a:lnTo>
                    <a:pt x="9532637" y="6938021"/>
                  </a:lnTo>
                  <a:lnTo>
                    <a:pt x="9470690" y="6980907"/>
                  </a:lnTo>
                  <a:lnTo>
                    <a:pt x="9465925" y="6990437"/>
                  </a:lnTo>
                  <a:lnTo>
                    <a:pt x="9484986" y="7009498"/>
                  </a:lnTo>
                  <a:lnTo>
                    <a:pt x="9504046" y="7019028"/>
                  </a:lnTo>
                  <a:lnTo>
                    <a:pt x="9523106" y="7014263"/>
                  </a:lnTo>
                  <a:lnTo>
                    <a:pt x="9570758" y="6999967"/>
                  </a:lnTo>
                  <a:lnTo>
                    <a:pt x="9580288" y="6999967"/>
                  </a:lnTo>
                  <a:lnTo>
                    <a:pt x="9599348" y="7019028"/>
                  </a:lnTo>
                  <a:lnTo>
                    <a:pt x="9613644" y="7033323"/>
                  </a:lnTo>
                  <a:lnTo>
                    <a:pt x="9618409" y="7061914"/>
                  </a:lnTo>
                  <a:lnTo>
                    <a:pt x="9604114" y="7080974"/>
                  </a:lnTo>
                  <a:lnTo>
                    <a:pt x="9537402" y="7109565"/>
                  </a:lnTo>
                  <a:lnTo>
                    <a:pt x="9494516" y="7076209"/>
                  </a:lnTo>
                  <a:lnTo>
                    <a:pt x="9480220" y="7066679"/>
                  </a:lnTo>
                  <a:lnTo>
                    <a:pt x="9470690" y="7071444"/>
                  </a:lnTo>
                  <a:lnTo>
                    <a:pt x="9475455" y="7085740"/>
                  </a:lnTo>
                  <a:lnTo>
                    <a:pt x="9499281" y="7114330"/>
                  </a:lnTo>
                  <a:lnTo>
                    <a:pt x="9504046" y="7133391"/>
                  </a:lnTo>
                  <a:lnTo>
                    <a:pt x="9494516" y="7142921"/>
                  </a:lnTo>
                  <a:lnTo>
                    <a:pt x="9494516" y="7161982"/>
                  </a:lnTo>
                  <a:lnTo>
                    <a:pt x="9494516" y="7185807"/>
                  </a:lnTo>
                  <a:lnTo>
                    <a:pt x="9494516" y="7214398"/>
                  </a:lnTo>
                  <a:lnTo>
                    <a:pt x="9484986" y="7257284"/>
                  </a:lnTo>
                  <a:lnTo>
                    <a:pt x="9484986" y="7262049"/>
                  </a:lnTo>
                  <a:lnTo>
                    <a:pt x="9337266" y="7266814"/>
                  </a:lnTo>
                  <a:lnTo>
                    <a:pt x="9318206" y="7276345"/>
                  </a:lnTo>
                  <a:lnTo>
                    <a:pt x="9275320" y="7304936"/>
                  </a:lnTo>
                  <a:lnTo>
                    <a:pt x="9241964" y="7319231"/>
                  </a:lnTo>
                  <a:lnTo>
                    <a:pt x="9222903" y="7323996"/>
                  </a:lnTo>
                  <a:lnTo>
                    <a:pt x="9203843" y="7319231"/>
                  </a:lnTo>
                  <a:lnTo>
                    <a:pt x="9151426" y="7285875"/>
                  </a:lnTo>
                  <a:lnTo>
                    <a:pt x="9113306" y="7295405"/>
                  </a:lnTo>
                  <a:lnTo>
                    <a:pt x="9099010" y="7290640"/>
                  </a:lnTo>
                  <a:lnTo>
                    <a:pt x="9070419" y="7271580"/>
                  </a:lnTo>
                  <a:lnTo>
                    <a:pt x="9060889" y="7257284"/>
                  </a:lnTo>
                  <a:lnTo>
                    <a:pt x="9051359" y="7233459"/>
                  </a:lnTo>
                  <a:lnTo>
                    <a:pt x="9041828" y="7195338"/>
                  </a:lnTo>
                  <a:lnTo>
                    <a:pt x="9041828" y="7171512"/>
                  </a:lnTo>
                  <a:lnTo>
                    <a:pt x="9046594" y="7138156"/>
                  </a:lnTo>
                  <a:lnTo>
                    <a:pt x="9041828" y="7119096"/>
                  </a:lnTo>
                  <a:lnTo>
                    <a:pt x="9032298" y="7119096"/>
                  </a:lnTo>
                  <a:lnTo>
                    <a:pt x="9022768" y="7114330"/>
                  </a:lnTo>
                  <a:lnTo>
                    <a:pt x="8994177" y="7080974"/>
                  </a:lnTo>
                  <a:lnTo>
                    <a:pt x="8975117" y="7071444"/>
                  </a:lnTo>
                  <a:lnTo>
                    <a:pt x="8975117" y="7076209"/>
                  </a:lnTo>
                  <a:lnTo>
                    <a:pt x="8979882" y="7100035"/>
                  </a:lnTo>
                  <a:lnTo>
                    <a:pt x="8984647" y="7109565"/>
                  </a:lnTo>
                  <a:lnTo>
                    <a:pt x="8998942" y="7128626"/>
                  </a:lnTo>
                  <a:lnTo>
                    <a:pt x="9003708" y="7152451"/>
                  </a:lnTo>
                  <a:lnTo>
                    <a:pt x="8994177" y="7209633"/>
                  </a:lnTo>
                  <a:lnTo>
                    <a:pt x="8994177" y="7219163"/>
                  </a:lnTo>
                  <a:lnTo>
                    <a:pt x="8975117" y="7257284"/>
                  </a:lnTo>
                  <a:lnTo>
                    <a:pt x="8960821" y="7266814"/>
                  </a:lnTo>
                  <a:lnTo>
                    <a:pt x="8922700" y="7271580"/>
                  </a:lnTo>
                  <a:lnTo>
                    <a:pt x="8865519" y="7300170"/>
                  </a:lnTo>
                  <a:lnTo>
                    <a:pt x="8836928" y="7304936"/>
                  </a:lnTo>
                  <a:lnTo>
                    <a:pt x="8798807" y="7295405"/>
                  </a:lnTo>
                  <a:lnTo>
                    <a:pt x="8774981" y="7281110"/>
                  </a:lnTo>
                  <a:lnTo>
                    <a:pt x="8760686" y="7266814"/>
                  </a:lnTo>
                  <a:lnTo>
                    <a:pt x="8741625" y="7247754"/>
                  </a:lnTo>
                  <a:lnTo>
                    <a:pt x="8736860" y="7242989"/>
                  </a:lnTo>
                  <a:lnTo>
                    <a:pt x="8732095" y="7290640"/>
                  </a:lnTo>
                  <a:lnTo>
                    <a:pt x="8722565" y="7300170"/>
                  </a:lnTo>
                  <a:lnTo>
                    <a:pt x="8713035" y="7295405"/>
                  </a:lnTo>
                  <a:lnTo>
                    <a:pt x="8693974" y="7281110"/>
                  </a:lnTo>
                  <a:lnTo>
                    <a:pt x="8674914" y="7247754"/>
                  </a:lnTo>
                  <a:lnTo>
                    <a:pt x="8670148" y="7247754"/>
                  </a:lnTo>
                  <a:lnTo>
                    <a:pt x="8670148" y="7266814"/>
                  </a:lnTo>
                  <a:lnTo>
                    <a:pt x="8665383" y="7281110"/>
                  </a:lnTo>
                  <a:lnTo>
                    <a:pt x="8660618" y="7285875"/>
                  </a:lnTo>
                  <a:lnTo>
                    <a:pt x="8617732" y="7309701"/>
                  </a:lnTo>
                  <a:lnTo>
                    <a:pt x="8598672" y="7309701"/>
                  </a:lnTo>
                  <a:lnTo>
                    <a:pt x="8574846" y="7285875"/>
                  </a:lnTo>
                  <a:lnTo>
                    <a:pt x="8558168" y="7285875"/>
                  </a:lnTo>
                  <a:lnTo>
                    <a:pt x="8539107" y="7300170"/>
                  </a:lnTo>
                  <a:lnTo>
                    <a:pt x="8491456" y="7276345"/>
                  </a:lnTo>
                  <a:lnTo>
                    <a:pt x="8477161" y="7276345"/>
                  </a:lnTo>
                  <a:lnTo>
                    <a:pt x="8486691" y="7314466"/>
                  </a:lnTo>
                  <a:lnTo>
                    <a:pt x="8472396" y="7319231"/>
                  </a:lnTo>
                  <a:lnTo>
                    <a:pt x="8439040" y="7319231"/>
                  </a:lnTo>
                  <a:lnTo>
                    <a:pt x="8377093" y="7304936"/>
                  </a:lnTo>
                  <a:lnTo>
                    <a:pt x="8343737" y="7323996"/>
                  </a:lnTo>
                  <a:lnTo>
                    <a:pt x="8277025" y="7314466"/>
                  </a:lnTo>
                  <a:lnTo>
                    <a:pt x="8215079" y="7309701"/>
                  </a:lnTo>
                  <a:lnTo>
                    <a:pt x="8200783" y="7300170"/>
                  </a:lnTo>
                  <a:lnTo>
                    <a:pt x="8191253" y="7285875"/>
                  </a:lnTo>
                  <a:lnTo>
                    <a:pt x="8191253" y="7266814"/>
                  </a:lnTo>
                  <a:lnTo>
                    <a:pt x="8196018" y="7242989"/>
                  </a:lnTo>
                  <a:lnTo>
                    <a:pt x="8205548" y="7209633"/>
                  </a:lnTo>
                  <a:lnTo>
                    <a:pt x="8219844" y="7161982"/>
                  </a:lnTo>
                  <a:lnTo>
                    <a:pt x="8224609" y="7138156"/>
                  </a:lnTo>
                  <a:lnTo>
                    <a:pt x="8210314" y="7128626"/>
                  </a:lnTo>
                  <a:lnTo>
                    <a:pt x="8205548" y="7114330"/>
                  </a:lnTo>
                  <a:lnTo>
                    <a:pt x="8196018" y="7109565"/>
                  </a:lnTo>
                  <a:lnTo>
                    <a:pt x="8172192" y="7128626"/>
                  </a:lnTo>
                  <a:lnTo>
                    <a:pt x="8157897" y="7181042"/>
                  </a:lnTo>
                  <a:lnTo>
                    <a:pt x="8148367" y="7195338"/>
                  </a:lnTo>
                  <a:lnTo>
                    <a:pt x="8143602" y="7185807"/>
                  </a:lnTo>
                  <a:lnTo>
                    <a:pt x="8138837" y="7152451"/>
                  </a:lnTo>
                  <a:lnTo>
                    <a:pt x="8134072" y="7138156"/>
                  </a:lnTo>
                  <a:lnTo>
                    <a:pt x="8124541" y="7138156"/>
                  </a:lnTo>
                  <a:lnTo>
                    <a:pt x="8119776" y="7147686"/>
                  </a:lnTo>
                  <a:lnTo>
                    <a:pt x="8115011" y="7161982"/>
                  </a:lnTo>
                  <a:lnTo>
                    <a:pt x="8105481" y="7166747"/>
                  </a:lnTo>
                  <a:lnTo>
                    <a:pt x="8091185" y="7161982"/>
                  </a:lnTo>
                  <a:lnTo>
                    <a:pt x="8091185" y="7171512"/>
                  </a:lnTo>
                  <a:lnTo>
                    <a:pt x="8091185" y="7190572"/>
                  </a:lnTo>
                  <a:lnTo>
                    <a:pt x="8095950" y="7209633"/>
                  </a:lnTo>
                  <a:lnTo>
                    <a:pt x="8091185" y="7228694"/>
                  </a:lnTo>
                  <a:lnTo>
                    <a:pt x="8081655" y="7242989"/>
                  </a:lnTo>
                  <a:lnTo>
                    <a:pt x="8053064" y="7266814"/>
                  </a:lnTo>
                  <a:lnTo>
                    <a:pt x="8034004" y="7276345"/>
                  </a:lnTo>
                  <a:lnTo>
                    <a:pt x="7991118" y="7281110"/>
                  </a:lnTo>
                  <a:lnTo>
                    <a:pt x="7962527" y="7271580"/>
                  </a:lnTo>
                  <a:lnTo>
                    <a:pt x="7910110" y="7242989"/>
                  </a:lnTo>
                  <a:lnTo>
                    <a:pt x="7881520" y="7242989"/>
                  </a:lnTo>
                  <a:lnTo>
                    <a:pt x="7843399" y="7190572"/>
                  </a:lnTo>
                  <a:lnTo>
                    <a:pt x="7814808" y="7181042"/>
                  </a:lnTo>
                  <a:lnTo>
                    <a:pt x="7819573" y="7161982"/>
                  </a:lnTo>
                  <a:lnTo>
                    <a:pt x="7829103" y="7128626"/>
                  </a:lnTo>
                  <a:lnTo>
                    <a:pt x="7829103" y="7119096"/>
                  </a:lnTo>
                  <a:lnTo>
                    <a:pt x="7790982" y="7166747"/>
                  </a:lnTo>
                  <a:lnTo>
                    <a:pt x="7786217" y="7185807"/>
                  </a:lnTo>
                  <a:lnTo>
                    <a:pt x="7790982" y="7219163"/>
                  </a:lnTo>
                  <a:lnTo>
                    <a:pt x="7786217" y="7223928"/>
                  </a:lnTo>
                  <a:lnTo>
                    <a:pt x="7757626" y="7209633"/>
                  </a:lnTo>
                  <a:lnTo>
                    <a:pt x="7729036" y="7219163"/>
                  </a:lnTo>
                  <a:lnTo>
                    <a:pt x="7724270" y="7214398"/>
                  </a:lnTo>
                  <a:lnTo>
                    <a:pt x="7705210" y="7190572"/>
                  </a:lnTo>
                  <a:lnTo>
                    <a:pt x="7676619" y="7166747"/>
                  </a:lnTo>
                  <a:lnTo>
                    <a:pt x="7662324" y="7133391"/>
                  </a:lnTo>
                  <a:lnTo>
                    <a:pt x="7638498" y="7042854"/>
                  </a:lnTo>
                  <a:lnTo>
                    <a:pt x="7628968" y="6980907"/>
                  </a:lnTo>
                  <a:lnTo>
                    <a:pt x="7628968" y="6966612"/>
                  </a:lnTo>
                  <a:lnTo>
                    <a:pt x="7643263" y="6947551"/>
                  </a:lnTo>
                  <a:lnTo>
                    <a:pt x="7643263" y="6938021"/>
                  </a:lnTo>
                  <a:lnTo>
                    <a:pt x="7624203" y="6899900"/>
                  </a:lnTo>
                  <a:lnTo>
                    <a:pt x="7600377" y="6871309"/>
                  </a:lnTo>
                  <a:lnTo>
                    <a:pt x="7595612" y="6852248"/>
                  </a:lnTo>
                  <a:lnTo>
                    <a:pt x="7590847" y="6828423"/>
                  </a:lnTo>
                  <a:lnTo>
                    <a:pt x="7586082" y="6799832"/>
                  </a:lnTo>
                  <a:lnTo>
                    <a:pt x="7586082" y="6776006"/>
                  </a:lnTo>
                  <a:lnTo>
                    <a:pt x="7590847" y="6761711"/>
                  </a:lnTo>
                  <a:lnTo>
                    <a:pt x="7605142" y="6718825"/>
                  </a:lnTo>
                  <a:lnTo>
                    <a:pt x="7638498" y="6633053"/>
                  </a:lnTo>
                  <a:lnTo>
                    <a:pt x="7643263" y="6618757"/>
                  </a:lnTo>
                  <a:lnTo>
                    <a:pt x="7643263" y="6604462"/>
                  </a:lnTo>
                  <a:lnTo>
                    <a:pt x="7638498" y="6561576"/>
                  </a:lnTo>
                  <a:lnTo>
                    <a:pt x="7633733" y="6518690"/>
                  </a:lnTo>
                  <a:lnTo>
                    <a:pt x="7624203" y="6485339"/>
                  </a:lnTo>
                  <a:lnTo>
                    <a:pt x="7605142" y="6442455"/>
                  </a:lnTo>
                  <a:lnTo>
                    <a:pt x="7581317" y="6394802"/>
                  </a:lnTo>
                  <a:lnTo>
                    <a:pt x="7543196" y="6313794"/>
                  </a:lnTo>
                  <a:lnTo>
                    <a:pt x="7519370" y="6247084"/>
                  </a:lnTo>
                  <a:lnTo>
                    <a:pt x="7486014" y="6156547"/>
                  </a:lnTo>
                  <a:lnTo>
                    <a:pt x="7466954" y="6147015"/>
                  </a:lnTo>
                  <a:lnTo>
                    <a:pt x="7452658" y="6151780"/>
                  </a:lnTo>
                  <a:lnTo>
                    <a:pt x="7409772" y="6185136"/>
                  </a:lnTo>
                  <a:lnTo>
                    <a:pt x="7395477" y="6199431"/>
                  </a:lnTo>
                  <a:lnTo>
                    <a:pt x="7395477" y="6208963"/>
                  </a:lnTo>
                  <a:lnTo>
                    <a:pt x="7366886" y="6208963"/>
                  </a:lnTo>
                  <a:lnTo>
                    <a:pt x="7281114" y="6204196"/>
                  </a:lnTo>
                  <a:lnTo>
                    <a:pt x="7252523" y="6194667"/>
                  </a:lnTo>
                  <a:lnTo>
                    <a:pt x="7228697" y="6194667"/>
                  </a:lnTo>
                  <a:lnTo>
                    <a:pt x="7185811" y="6218492"/>
                  </a:lnTo>
                  <a:lnTo>
                    <a:pt x="7142925" y="6213727"/>
                  </a:lnTo>
                  <a:lnTo>
                    <a:pt x="7114334" y="6147015"/>
                  </a:lnTo>
                  <a:lnTo>
                    <a:pt x="7057152" y="6113659"/>
                  </a:lnTo>
                  <a:lnTo>
                    <a:pt x="7038092" y="6094599"/>
                  </a:lnTo>
                  <a:lnTo>
                    <a:pt x="7023797" y="6066009"/>
                  </a:lnTo>
                  <a:lnTo>
                    <a:pt x="7028562" y="6051713"/>
                  </a:lnTo>
                  <a:lnTo>
                    <a:pt x="7061918" y="6032653"/>
                  </a:lnTo>
                  <a:lnTo>
                    <a:pt x="7076213" y="6013592"/>
                  </a:lnTo>
                  <a:lnTo>
                    <a:pt x="7085743" y="5999297"/>
                  </a:lnTo>
                  <a:lnTo>
                    <a:pt x="7052387" y="6013592"/>
                  </a:lnTo>
                  <a:lnTo>
                    <a:pt x="7033327" y="6013592"/>
                  </a:lnTo>
                  <a:lnTo>
                    <a:pt x="6928494" y="5923054"/>
                  </a:lnTo>
                  <a:lnTo>
                    <a:pt x="6899903" y="5903995"/>
                  </a:lnTo>
                  <a:lnTo>
                    <a:pt x="6890373" y="5899231"/>
                  </a:lnTo>
                  <a:lnTo>
                    <a:pt x="6890373" y="5884934"/>
                  </a:lnTo>
                  <a:lnTo>
                    <a:pt x="6890373" y="5875403"/>
                  </a:lnTo>
                  <a:lnTo>
                    <a:pt x="6895138" y="5851578"/>
                  </a:lnTo>
                  <a:lnTo>
                    <a:pt x="6923729" y="5880170"/>
                  </a:lnTo>
                  <a:lnTo>
                    <a:pt x="6938024" y="5880170"/>
                  </a:lnTo>
                  <a:lnTo>
                    <a:pt x="6961850" y="5875403"/>
                  </a:lnTo>
                  <a:lnTo>
                    <a:pt x="6966615" y="5856341"/>
                  </a:lnTo>
                  <a:lnTo>
                    <a:pt x="6961850" y="5846814"/>
                  </a:lnTo>
                  <a:lnTo>
                    <a:pt x="6928494" y="5818221"/>
                  </a:lnTo>
                  <a:lnTo>
                    <a:pt x="6909434" y="5794396"/>
                  </a:lnTo>
                  <a:lnTo>
                    <a:pt x="6904668" y="5775337"/>
                  </a:lnTo>
                  <a:lnTo>
                    <a:pt x="6909434" y="5751509"/>
                  </a:lnTo>
                  <a:lnTo>
                    <a:pt x="6914199" y="5737215"/>
                  </a:lnTo>
                  <a:lnTo>
                    <a:pt x="6923729" y="5727684"/>
                  </a:lnTo>
                  <a:lnTo>
                    <a:pt x="6942789" y="5727684"/>
                  </a:lnTo>
                  <a:lnTo>
                    <a:pt x="6971380" y="5713388"/>
                  </a:lnTo>
                  <a:lnTo>
                    <a:pt x="7019031" y="5684799"/>
                  </a:lnTo>
                  <a:close/>
                  <a:moveTo>
                    <a:pt x="3826397" y="5327414"/>
                  </a:moveTo>
                  <a:lnTo>
                    <a:pt x="3850222" y="5332178"/>
                  </a:lnTo>
                  <a:lnTo>
                    <a:pt x="3874048" y="5351238"/>
                  </a:lnTo>
                  <a:lnTo>
                    <a:pt x="3902639" y="5389360"/>
                  </a:lnTo>
                  <a:lnTo>
                    <a:pt x="3974116" y="5460836"/>
                  </a:lnTo>
                  <a:lnTo>
                    <a:pt x="3988411" y="5489428"/>
                  </a:lnTo>
                  <a:lnTo>
                    <a:pt x="3988411" y="5498959"/>
                  </a:lnTo>
                  <a:lnTo>
                    <a:pt x="3983646" y="5513253"/>
                  </a:lnTo>
                  <a:lnTo>
                    <a:pt x="3964585" y="5532313"/>
                  </a:lnTo>
                  <a:lnTo>
                    <a:pt x="3874048" y="5594262"/>
                  </a:lnTo>
                  <a:lnTo>
                    <a:pt x="3854987" y="5622851"/>
                  </a:lnTo>
                  <a:lnTo>
                    <a:pt x="3859753" y="5646679"/>
                  </a:lnTo>
                  <a:lnTo>
                    <a:pt x="3893108" y="5694328"/>
                  </a:lnTo>
                  <a:lnTo>
                    <a:pt x="3926464" y="5737215"/>
                  </a:lnTo>
                  <a:lnTo>
                    <a:pt x="3935995" y="5761041"/>
                  </a:lnTo>
                  <a:lnTo>
                    <a:pt x="3921699" y="5780101"/>
                  </a:lnTo>
                  <a:lnTo>
                    <a:pt x="3888343" y="5775337"/>
                  </a:lnTo>
                  <a:lnTo>
                    <a:pt x="3878813" y="5775337"/>
                  </a:lnTo>
                  <a:lnTo>
                    <a:pt x="3864518" y="5784865"/>
                  </a:lnTo>
                  <a:lnTo>
                    <a:pt x="3869283" y="5803926"/>
                  </a:lnTo>
                  <a:lnTo>
                    <a:pt x="3902639" y="5865874"/>
                  </a:lnTo>
                  <a:lnTo>
                    <a:pt x="3912169" y="5899231"/>
                  </a:lnTo>
                  <a:lnTo>
                    <a:pt x="3912169" y="5913522"/>
                  </a:lnTo>
                  <a:lnTo>
                    <a:pt x="3907404" y="5932587"/>
                  </a:lnTo>
                  <a:lnTo>
                    <a:pt x="3893108" y="5956411"/>
                  </a:lnTo>
                  <a:lnTo>
                    <a:pt x="3869283" y="5984999"/>
                  </a:lnTo>
                  <a:lnTo>
                    <a:pt x="3831162" y="6008828"/>
                  </a:lnTo>
                  <a:lnTo>
                    <a:pt x="3750155" y="6037416"/>
                  </a:lnTo>
                  <a:lnTo>
                    <a:pt x="3745390" y="6061242"/>
                  </a:lnTo>
                  <a:lnTo>
                    <a:pt x="3750155" y="6080303"/>
                  </a:lnTo>
                  <a:lnTo>
                    <a:pt x="3745390" y="6123191"/>
                  </a:lnTo>
                  <a:lnTo>
                    <a:pt x="3740624" y="6142250"/>
                  </a:lnTo>
                  <a:lnTo>
                    <a:pt x="3731094" y="6175606"/>
                  </a:lnTo>
                  <a:lnTo>
                    <a:pt x="3726329" y="6189903"/>
                  </a:lnTo>
                  <a:lnTo>
                    <a:pt x="3712034" y="6204196"/>
                  </a:lnTo>
                  <a:lnTo>
                    <a:pt x="3697738" y="6208963"/>
                  </a:lnTo>
                  <a:lnTo>
                    <a:pt x="3673913" y="6208963"/>
                  </a:lnTo>
                  <a:lnTo>
                    <a:pt x="3635792" y="6180371"/>
                  </a:lnTo>
                  <a:lnTo>
                    <a:pt x="3616731" y="6161310"/>
                  </a:lnTo>
                  <a:lnTo>
                    <a:pt x="3592905" y="6123191"/>
                  </a:lnTo>
                  <a:lnTo>
                    <a:pt x="3592905" y="6094599"/>
                  </a:lnTo>
                  <a:lnTo>
                    <a:pt x="3592905" y="6061242"/>
                  </a:lnTo>
                  <a:lnTo>
                    <a:pt x="3597671" y="6008828"/>
                  </a:lnTo>
                  <a:lnTo>
                    <a:pt x="3611966" y="5956411"/>
                  </a:lnTo>
                  <a:lnTo>
                    <a:pt x="3621496" y="5899231"/>
                  </a:lnTo>
                  <a:lnTo>
                    <a:pt x="3626261" y="5865874"/>
                  </a:lnTo>
                  <a:lnTo>
                    <a:pt x="3621496" y="5851578"/>
                  </a:lnTo>
                  <a:lnTo>
                    <a:pt x="3611966" y="5851578"/>
                  </a:lnTo>
                  <a:lnTo>
                    <a:pt x="3583375" y="5875403"/>
                  </a:lnTo>
                  <a:lnTo>
                    <a:pt x="3559550" y="5880170"/>
                  </a:lnTo>
                  <a:lnTo>
                    <a:pt x="3545254" y="5899231"/>
                  </a:lnTo>
                  <a:lnTo>
                    <a:pt x="3535724" y="5923054"/>
                  </a:lnTo>
                  <a:lnTo>
                    <a:pt x="3530959" y="5946880"/>
                  </a:lnTo>
                  <a:lnTo>
                    <a:pt x="3526194" y="5999297"/>
                  </a:lnTo>
                  <a:lnTo>
                    <a:pt x="3521429" y="6027886"/>
                  </a:lnTo>
                  <a:lnTo>
                    <a:pt x="3502368" y="6042184"/>
                  </a:lnTo>
                  <a:lnTo>
                    <a:pt x="3478542" y="6042184"/>
                  </a:lnTo>
                  <a:lnTo>
                    <a:pt x="3469012" y="6051713"/>
                  </a:lnTo>
                  <a:lnTo>
                    <a:pt x="3464247" y="6066009"/>
                  </a:lnTo>
                  <a:lnTo>
                    <a:pt x="3469012" y="6085069"/>
                  </a:lnTo>
                  <a:lnTo>
                    <a:pt x="3492838" y="6113659"/>
                  </a:lnTo>
                  <a:lnTo>
                    <a:pt x="3497603" y="6147015"/>
                  </a:lnTo>
                  <a:lnTo>
                    <a:pt x="3492838" y="6166074"/>
                  </a:lnTo>
                  <a:lnTo>
                    <a:pt x="3469012" y="6204196"/>
                  </a:lnTo>
                  <a:lnTo>
                    <a:pt x="3459482" y="6218492"/>
                  </a:lnTo>
                  <a:lnTo>
                    <a:pt x="3445186" y="6280440"/>
                  </a:lnTo>
                  <a:lnTo>
                    <a:pt x="3440421" y="6294734"/>
                  </a:lnTo>
                  <a:lnTo>
                    <a:pt x="3426126" y="6304265"/>
                  </a:lnTo>
                  <a:lnTo>
                    <a:pt x="3411831" y="6304265"/>
                  </a:lnTo>
                  <a:lnTo>
                    <a:pt x="3397535" y="6285204"/>
                  </a:lnTo>
                  <a:lnTo>
                    <a:pt x="3378475" y="6242319"/>
                  </a:lnTo>
                  <a:lnTo>
                    <a:pt x="3368944" y="6208963"/>
                  </a:lnTo>
                  <a:lnTo>
                    <a:pt x="3359414" y="6180371"/>
                  </a:lnTo>
                  <a:lnTo>
                    <a:pt x="3354649" y="6166074"/>
                  </a:lnTo>
                  <a:lnTo>
                    <a:pt x="3345119" y="6175606"/>
                  </a:lnTo>
                  <a:lnTo>
                    <a:pt x="3335589" y="6204196"/>
                  </a:lnTo>
                  <a:lnTo>
                    <a:pt x="3335589" y="6228023"/>
                  </a:lnTo>
                  <a:lnTo>
                    <a:pt x="3340354" y="6261380"/>
                  </a:lnTo>
                  <a:lnTo>
                    <a:pt x="3335589" y="6285204"/>
                  </a:lnTo>
                  <a:lnTo>
                    <a:pt x="3321293" y="6309029"/>
                  </a:lnTo>
                  <a:lnTo>
                    <a:pt x="3326058" y="6323325"/>
                  </a:lnTo>
                  <a:lnTo>
                    <a:pt x="3349884" y="6351915"/>
                  </a:lnTo>
                  <a:lnTo>
                    <a:pt x="3354649" y="6366211"/>
                  </a:lnTo>
                  <a:lnTo>
                    <a:pt x="3354649" y="6390038"/>
                  </a:lnTo>
                  <a:lnTo>
                    <a:pt x="3354649" y="6399567"/>
                  </a:lnTo>
                  <a:lnTo>
                    <a:pt x="3340354" y="6394802"/>
                  </a:lnTo>
                  <a:lnTo>
                    <a:pt x="3335589" y="6423392"/>
                  </a:lnTo>
                  <a:lnTo>
                    <a:pt x="3321293" y="6442455"/>
                  </a:lnTo>
                  <a:lnTo>
                    <a:pt x="3297468" y="6475809"/>
                  </a:lnTo>
                  <a:lnTo>
                    <a:pt x="3254581" y="6480573"/>
                  </a:lnTo>
                  <a:lnTo>
                    <a:pt x="3225991" y="6499636"/>
                  </a:lnTo>
                  <a:lnTo>
                    <a:pt x="3216460" y="6499636"/>
                  </a:lnTo>
                  <a:lnTo>
                    <a:pt x="3211695" y="6471043"/>
                  </a:lnTo>
                  <a:lnTo>
                    <a:pt x="3202165" y="6413862"/>
                  </a:lnTo>
                  <a:lnTo>
                    <a:pt x="3192635" y="6380506"/>
                  </a:lnTo>
                  <a:lnTo>
                    <a:pt x="3183105" y="6366211"/>
                  </a:lnTo>
                  <a:lnTo>
                    <a:pt x="3168809" y="6299500"/>
                  </a:lnTo>
                  <a:lnTo>
                    <a:pt x="3159279" y="6280440"/>
                  </a:lnTo>
                  <a:lnTo>
                    <a:pt x="3154514" y="6270909"/>
                  </a:lnTo>
                  <a:lnTo>
                    <a:pt x="3149749" y="6266144"/>
                  </a:lnTo>
                  <a:lnTo>
                    <a:pt x="3140218" y="6280440"/>
                  </a:lnTo>
                  <a:lnTo>
                    <a:pt x="3121158" y="6375742"/>
                  </a:lnTo>
                  <a:lnTo>
                    <a:pt x="3092567" y="6399567"/>
                  </a:lnTo>
                  <a:lnTo>
                    <a:pt x="3073507" y="6399567"/>
                  </a:lnTo>
                  <a:lnTo>
                    <a:pt x="3059211" y="6399567"/>
                  </a:lnTo>
                  <a:lnTo>
                    <a:pt x="3016325" y="6375742"/>
                  </a:lnTo>
                  <a:lnTo>
                    <a:pt x="2982969" y="6366211"/>
                  </a:lnTo>
                  <a:lnTo>
                    <a:pt x="2959144" y="6375742"/>
                  </a:lnTo>
                  <a:lnTo>
                    <a:pt x="2921023" y="6413862"/>
                  </a:lnTo>
                  <a:lnTo>
                    <a:pt x="2906727" y="6423392"/>
                  </a:lnTo>
                  <a:lnTo>
                    <a:pt x="2887667" y="6418626"/>
                  </a:lnTo>
                  <a:lnTo>
                    <a:pt x="2878136" y="6404332"/>
                  </a:lnTo>
                  <a:lnTo>
                    <a:pt x="2868606" y="6380506"/>
                  </a:lnTo>
                  <a:lnTo>
                    <a:pt x="2868606" y="6366211"/>
                  </a:lnTo>
                  <a:lnTo>
                    <a:pt x="2873371" y="6361445"/>
                  </a:lnTo>
                  <a:lnTo>
                    <a:pt x="2882902" y="6332857"/>
                  </a:lnTo>
                  <a:lnTo>
                    <a:pt x="2882902" y="6323325"/>
                  </a:lnTo>
                  <a:lnTo>
                    <a:pt x="2873371" y="6309029"/>
                  </a:lnTo>
                  <a:lnTo>
                    <a:pt x="2873371" y="6294734"/>
                  </a:lnTo>
                  <a:lnTo>
                    <a:pt x="2878136" y="6285204"/>
                  </a:lnTo>
                  <a:lnTo>
                    <a:pt x="2878136" y="6280440"/>
                  </a:lnTo>
                  <a:lnTo>
                    <a:pt x="2873371" y="6280440"/>
                  </a:lnTo>
                  <a:lnTo>
                    <a:pt x="2863841" y="6280440"/>
                  </a:lnTo>
                  <a:lnTo>
                    <a:pt x="2825720" y="6299500"/>
                  </a:lnTo>
                  <a:lnTo>
                    <a:pt x="2830485" y="6280440"/>
                  </a:lnTo>
                  <a:lnTo>
                    <a:pt x="2849546" y="6237552"/>
                  </a:lnTo>
                  <a:lnTo>
                    <a:pt x="2887667" y="6156547"/>
                  </a:lnTo>
                  <a:lnTo>
                    <a:pt x="2901962" y="6132722"/>
                  </a:lnTo>
                  <a:lnTo>
                    <a:pt x="2911492" y="6123191"/>
                  </a:lnTo>
                  <a:lnTo>
                    <a:pt x="3030620" y="6099366"/>
                  </a:lnTo>
                  <a:lnTo>
                    <a:pt x="3035386" y="6089834"/>
                  </a:lnTo>
                  <a:lnTo>
                    <a:pt x="3092567" y="5975472"/>
                  </a:lnTo>
                  <a:lnTo>
                    <a:pt x="3106862" y="5951644"/>
                  </a:lnTo>
                  <a:lnTo>
                    <a:pt x="3125923" y="5927820"/>
                  </a:lnTo>
                  <a:lnTo>
                    <a:pt x="3206930" y="5861107"/>
                  </a:lnTo>
                  <a:lnTo>
                    <a:pt x="3211695" y="5842046"/>
                  </a:lnTo>
                  <a:lnTo>
                    <a:pt x="3225991" y="5794396"/>
                  </a:lnTo>
                  <a:lnTo>
                    <a:pt x="3230756" y="5784865"/>
                  </a:lnTo>
                  <a:lnTo>
                    <a:pt x="3249816" y="5765805"/>
                  </a:lnTo>
                  <a:lnTo>
                    <a:pt x="3306998" y="5665736"/>
                  </a:lnTo>
                  <a:lnTo>
                    <a:pt x="3359414" y="5594262"/>
                  </a:lnTo>
                  <a:lnTo>
                    <a:pt x="3388005" y="5551374"/>
                  </a:lnTo>
                  <a:lnTo>
                    <a:pt x="3421361" y="5503722"/>
                  </a:lnTo>
                  <a:lnTo>
                    <a:pt x="3464247" y="5484664"/>
                  </a:lnTo>
                  <a:lnTo>
                    <a:pt x="3592905" y="5446541"/>
                  </a:lnTo>
                  <a:lnTo>
                    <a:pt x="3683443" y="5494193"/>
                  </a:lnTo>
                  <a:lnTo>
                    <a:pt x="3707268" y="5498959"/>
                  </a:lnTo>
                  <a:lnTo>
                    <a:pt x="3716799" y="5484664"/>
                  </a:lnTo>
                  <a:lnTo>
                    <a:pt x="3726329" y="5465600"/>
                  </a:lnTo>
                  <a:lnTo>
                    <a:pt x="3740624" y="5470368"/>
                  </a:lnTo>
                  <a:lnTo>
                    <a:pt x="3773980" y="5479896"/>
                  </a:lnTo>
                  <a:lnTo>
                    <a:pt x="3783511" y="5475132"/>
                  </a:lnTo>
                  <a:lnTo>
                    <a:pt x="3797806" y="5451308"/>
                  </a:lnTo>
                  <a:lnTo>
                    <a:pt x="3788276" y="5437012"/>
                  </a:lnTo>
                  <a:lnTo>
                    <a:pt x="3745390" y="5413187"/>
                  </a:lnTo>
                  <a:lnTo>
                    <a:pt x="3740624" y="5398891"/>
                  </a:lnTo>
                  <a:lnTo>
                    <a:pt x="3745390" y="5389360"/>
                  </a:lnTo>
                  <a:lnTo>
                    <a:pt x="3759685" y="5360770"/>
                  </a:lnTo>
                  <a:lnTo>
                    <a:pt x="3773980" y="5341710"/>
                  </a:lnTo>
                  <a:close/>
                  <a:moveTo>
                    <a:pt x="7833868" y="5251173"/>
                  </a:moveTo>
                  <a:lnTo>
                    <a:pt x="7862459" y="5255937"/>
                  </a:lnTo>
                  <a:lnTo>
                    <a:pt x="7900580" y="5270233"/>
                  </a:lnTo>
                  <a:lnTo>
                    <a:pt x="7938701" y="5294057"/>
                  </a:lnTo>
                  <a:lnTo>
                    <a:pt x="7991117" y="5370299"/>
                  </a:lnTo>
                  <a:lnTo>
                    <a:pt x="8010178" y="5403655"/>
                  </a:lnTo>
                  <a:lnTo>
                    <a:pt x="8014943" y="5451308"/>
                  </a:lnTo>
                  <a:lnTo>
                    <a:pt x="8014943" y="5479896"/>
                  </a:lnTo>
                  <a:lnTo>
                    <a:pt x="8010178" y="5498959"/>
                  </a:lnTo>
                  <a:lnTo>
                    <a:pt x="8005413" y="5513253"/>
                  </a:lnTo>
                  <a:lnTo>
                    <a:pt x="7991117" y="5527549"/>
                  </a:lnTo>
                  <a:lnTo>
                    <a:pt x="7952996" y="5570434"/>
                  </a:lnTo>
                  <a:lnTo>
                    <a:pt x="7933936" y="5570434"/>
                  </a:lnTo>
                  <a:lnTo>
                    <a:pt x="7810043" y="5484664"/>
                  </a:lnTo>
                  <a:lnTo>
                    <a:pt x="7786217" y="5446541"/>
                  </a:lnTo>
                  <a:lnTo>
                    <a:pt x="7781452" y="5417951"/>
                  </a:lnTo>
                  <a:lnTo>
                    <a:pt x="7781452" y="5375065"/>
                  </a:lnTo>
                  <a:lnTo>
                    <a:pt x="7781452" y="5322650"/>
                  </a:lnTo>
                  <a:lnTo>
                    <a:pt x="7786217" y="5284529"/>
                  </a:lnTo>
                  <a:lnTo>
                    <a:pt x="7795747" y="5270233"/>
                  </a:lnTo>
                  <a:lnTo>
                    <a:pt x="7810043" y="5260701"/>
                  </a:lnTo>
                  <a:close/>
                  <a:moveTo>
                    <a:pt x="5489426" y="5179696"/>
                  </a:moveTo>
                  <a:lnTo>
                    <a:pt x="5532312" y="5189224"/>
                  </a:lnTo>
                  <a:lnTo>
                    <a:pt x="5551373" y="5217816"/>
                  </a:lnTo>
                  <a:lnTo>
                    <a:pt x="5579963" y="5260701"/>
                  </a:lnTo>
                  <a:lnTo>
                    <a:pt x="5613319" y="5327414"/>
                  </a:lnTo>
                  <a:lnTo>
                    <a:pt x="5622850" y="5360770"/>
                  </a:lnTo>
                  <a:lnTo>
                    <a:pt x="5627615" y="5398891"/>
                  </a:lnTo>
                  <a:lnTo>
                    <a:pt x="5632380" y="5422716"/>
                  </a:lnTo>
                  <a:lnTo>
                    <a:pt x="5660971" y="5427483"/>
                  </a:lnTo>
                  <a:lnTo>
                    <a:pt x="5694327" y="5479896"/>
                  </a:lnTo>
                  <a:lnTo>
                    <a:pt x="5703857" y="5498959"/>
                  </a:lnTo>
                  <a:lnTo>
                    <a:pt x="5708622" y="5541845"/>
                  </a:lnTo>
                  <a:lnTo>
                    <a:pt x="5708622" y="5560904"/>
                  </a:lnTo>
                  <a:lnTo>
                    <a:pt x="5703857" y="5603790"/>
                  </a:lnTo>
                  <a:lnTo>
                    <a:pt x="5694327" y="5618086"/>
                  </a:lnTo>
                  <a:lnTo>
                    <a:pt x="5670501" y="5632380"/>
                  </a:lnTo>
                  <a:lnTo>
                    <a:pt x="5622850" y="5603790"/>
                  </a:lnTo>
                  <a:lnTo>
                    <a:pt x="5589494" y="5589498"/>
                  </a:lnTo>
                  <a:lnTo>
                    <a:pt x="5565668" y="5537077"/>
                  </a:lnTo>
                  <a:lnTo>
                    <a:pt x="5537077" y="5470368"/>
                  </a:lnTo>
                  <a:lnTo>
                    <a:pt x="5513252" y="5389360"/>
                  </a:lnTo>
                  <a:lnTo>
                    <a:pt x="5508486" y="5346474"/>
                  </a:lnTo>
                  <a:lnTo>
                    <a:pt x="5494191" y="5317882"/>
                  </a:lnTo>
                  <a:lnTo>
                    <a:pt x="5484661" y="5270233"/>
                  </a:lnTo>
                  <a:lnTo>
                    <a:pt x="5456070" y="5198756"/>
                  </a:lnTo>
                  <a:lnTo>
                    <a:pt x="5460835" y="5189224"/>
                  </a:lnTo>
                  <a:close/>
                  <a:moveTo>
                    <a:pt x="7109569" y="5151103"/>
                  </a:moveTo>
                  <a:lnTo>
                    <a:pt x="7147690" y="5179696"/>
                  </a:lnTo>
                  <a:lnTo>
                    <a:pt x="7190576" y="5165399"/>
                  </a:lnTo>
                  <a:lnTo>
                    <a:pt x="7238228" y="5160635"/>
                  </a:lnTo>
                  <a:lnTo>
                    <a:pt x="7338295" y="5174930"/>
                  </a:lnTo>
                  <a:lnTo>
                    <a:pt x="7409772" y="5165399"/>
                  </a:lnTo>
                  <a:lnTo>
                    <a:pt x="7424068" y="5170167"/>
                  </a:lnTo>
                  <a:lnTo>
                    <a:pt x="7452658" y="5189226"/>
                  </a:lnTo>
                  <a:lnTo>
                    <a:pt x="7466954" y="5208284"/>
                  </a:lnTo>
                  <a:lnTo>
                    <a:pt x="7476484" y="5246409"/>
                  </a:lnTo>
                  <a:lnTo>
                    <a:pt x="7447893" y="5270233"/>
                  </a:lnTo>
                  <a:lnTo>
                    <a:pt x="7419302" y="5379831"/>
                  </a:lnTo>
                  <a:lnTo>
                    <a:pt x="7414537" y="5389360"/>
                  </a:lnTo>
                  <a:lnTo>
                    <a:pt x="7381181" y="5389360"/>
                  </a:lnTo>
                  <a:lnTo>
                    <a:pt x="7366886" y="5398891"/>
                  </a:lnTo>
                  <a:lnTo>
                    <a:pt x="7276349" y="5384595"/>
                  </a:lnTo>
                  <a:lnTo>
                    <a:pt x="7033327" y="5375067"/>
                  </a:lnTo>
                  <a:lnTo>
                    <a:pt x="7019032" y="5360771"/>
                  </a:lnTo>
                  <a:lnTo>
                    <a:pt x="6990441" y="5294057"/>
                  </a:lnTo>
                  <a:lnTo>
                    <a:pt x="6985676" y="5270233"/>
                  </a:lnTo>
                  <a:lnTo>
                    <a:pt x="6995206" y="5236877"/>
                  </a:lnTo>
                  <a:lnTo>
                    <a:pt x="6999971" y="5217816"/>
                  </a:lnTo>
                  <a:lnTo>
                    <a:pt x="7009502" y="5208284"/>
                  </a:lnTo>
                  <a:lnTo>
                    <a:pt x="7080979" y="5155871"/>
                  </a:lnTo>
                  <a:close/>
                  <a:moveTo>
                    <a:pt x="6104127" y="5070095"/>
                  </a:moveTo>
                  <a:lnTo>
                    <a:pt x="6151778" y="5074862"/>
                  </a:lnTo>
                  <a:lnTo>
                    <a:pt x="6199430" y="5103453"/>
                  </a:lnTo>
                  <a:lnTo>
                    <a:pt x="6218490" y="5122515"/>
                  </a:lnTo>
                  <a:lnTo>
                    <a:pt x="6228020" y="5136808"/>
                  </a:lnTo>
                  <a:lnTo>
                    <a:pt x="6242316" y="5160635"/>
                  </a:lnTo>
                  <a:lnTo>
                    <a:pt x="6247081" y="5170164"/>
                  </a:lnTo>
                  <a:lnTo>
                    <a:pt x="6247081" y="5193989"/>
                  </a:lnTo>
                  <a:lnTo>
                    <a:pt x="6185134" y="5198756"/>
                  </a:lnTo>
                  <a:lnTo>
                    <a:pt x="6156544" y="5203520"/>
                  </a:lnTo>
                  <a:lnTo>
                    <a:pt x="6142248" y="5222580"/>
                  </a:lnTo>
                  <a:lnTo>
                    <a:pt x="6118423" y="5227345"/>
                  </a:lnTo>
                  <a:lnTo>
                    <a:pt x="6080302" y="5222580"/>
                  </a:lnTo>
                  <a:lnTo>
                    <a:pt x="6032650" y="5198756"/>
                  </a:lnTo>
                  <a:lnTo>
                    <a:pt x="6023120" y="5165399"/>
                  </a:lnTo>
                  <a:lnTo>
                    <a:pt x="6018355" y="5117747"/>
                  </a:lnTo>
                  <a:lnTo>
                    <a:pt x="6018355" y="5089158"/>
                  </a:lnTo>
                  <a:lnTo>
                    <a:pt x="6023120" y="5084394"/>
                  </a:lnTo>
                  <a:lnTo>
                    <a:pt x="6051711" y="5079626"/>
                  </a:lnTo>
                  <a:close/>
                  <a:moveTo>
                    <a:pt x="4164720" y="4936672"/>
                  </a:moveTo>
                  <a:lnTo>
                    <a:pt x="4169485" y="4946204"/>
                  </a:lnTo>
                  <a:lnTo>
                    <a:pt x="4169485" y="4970029"/>
                  </a:lnTo>
                  <a:lnTo>
                    <a:pt x="4174250" y="4993857"/>
                  </a:lnTo>
                  <a:lnTo>
                    <a:pt x="4188546" y="4998621"/>
                  </a:lnTo>
                  <a:lnTo>
                    <a:pt x="4202841" y="5012917"/>
                  </a:lnTo>
                  <a:lnTo>
                    <a:pt x="4236197" y="5060566"/>
                  </a:lnTo>
                  <a:lnTo>
                    <a:pt x="4255257" y="5070098"/>
                  </a:lnTo>
                  <a:lnTo>
                    <a:pt x="4260022" y="5079627"/>
                  </a:lnTo>
                  <a:lnTo>
                    <a:pt x="4264788" y="5093922"/>
                  </a:lnTo>
                  <a:lnTo>
                    <a:pt x="4279083" y="5122515"/>
                  </a:lnTo>
                  <a:lnTo>
                    <a:pt x="4279083" y="5132043"/>
                  </a:lnTo>
                  <a:lnTo>
                    <a:pt x="4260022" y="5160635"/>
                  </a:lnTo>
                  <a:lnTo>
                    <a:pt x="4245727" y="5179696"/>
                  </a:lnTo>
                  <a:lnTo>
                    <a:pt x="4202841" y="5203520"/>
                  </a:lnTo>
                  <a:lnTo>
                    <a:pt x="4174250" y="5203520"/>
                  </a:lnTo>
                  <a:lnTo>
                    <a:pt x="4121834" y="5165399"/>
                  </a:lnTo>
                  <a:lnTo>
                    <a:pt x="4064652" y="5060566"/>
                  </a:lnTo>
                  <a:lnTo>
                    <a:pt x="4059887" y="5017681"/>
                  </a:lnTo>
                  <a:lnTo>
                    <a:pt x="4078948" y="5012917"/>
                  </a:lnTo>
                  <a:lnTo>
                    <a:pt x="4093243" y="4998621"/>
                  </a:lnTo>
                  <a:lnTo>
                    <a:pt x="4102773" y="4984325"/>
                  </a:lnTo>
                  <a:lnTo>
                    <a:pt x="4121834" y="4965264"/>
                  </a:lnTo>
                  <a:close/>
                  <a:moveTo>
                    <a:pt x="4769892" y="4917612"/>
                  </a:moveTo>
                  <a:lnTo>
                    <a:pt x="4898550" y="4936672"/>
                  </a:lnTo>
                  <a:lnTo>
                    <a:pt x="4903315" y="4936672"/>
                  </a:lnTo>
                  <a:lnTo>
                    <a:pt x="4903315" y="4950968"/>
                  </a:lnTo>
                  <a:lnTo>
                    <a:pt x="4893785" y="4993857"/>
                  </a:lnTo>
                  <a:lnTo>
                    <a:pt x="4879489" y="5027209"/>
                  </a:lnTo>
                  <a:lnTo>
                    <a:pt x="4812778" y="5065331"/>
                  </a:lnTo>
                  <a:lnTo>
                    <a:pt x="4727005" y="5103453"/>
                  </a:lnTo>
                  <a:lnTo>
                    <a:pt x="4707945" y="5117747"/>
                  </a:lnTo>
                  <a:lnTo>
                    <a:pt x="4707945" y="5127279"/>
                  </a:lnTo>
                  <a:lnTo>
                    <a:pt x="4717475" y="5141575"/>
                  </a:lnTo>
                  <a:lnTo>
                    <a:pt x="4731770" y="5155868"/>
                  </a:lnTo>
                  <a:lnTo>
                    <a:pt x="4798482" y="5155868"/>
                  </a:lnTo>
                  <a:lnTo>
                    <a:pt x="4812778" y="5160635"/>
                  </a:lnTo>
                  <a:lnTo>
                    <a:pt x="4817543" y="5170164"/>
                  </a:lnTo>
                  <a:lnTo>
                    <a:pt x="4822308" y="5189224"/>
                  </a:lnTo>
                  <a:lnTo>
                    <a:pt x="4827073" y="5208284"/>
                  </a:lnTo>
                  <a:lnTo>
                    <a:pt x="4827073" y="5274997"/>
                  </a:lnTo>
                  <a:lnTo>
                    <a:pt x="4822308" y="5313118"/>
                  </a:lnTo>
                  <a:lnTo>
                    <a:pt x="4812778" y="5346474"/>
                  </a:lnTo>
                  <a:lnTo>
                    <a:pt x="4784187" y="5370299"/>
                  </a:lnTo>
                  <a:lnTo>
                    <a:pt x="4736536" y="5403655"/>
                  </a:lnTo>
                  <a:lnTo>
                    <a:pt x="4703180" y="5417951"/>
                  </a:lnTo>
                  <a:lnTo>
                    <a:pt x="4679354" y="5413187"/>
                  </a:lnTo>
                  <a:lnTo>
                    <a:pt x="4650763" y="5413187"/>
                  </a:lnTo>
                  <a:lnTo>
                    <a:pt x="4536400" y="5475132"/>
                  </a:lnTo>
                  <a:lnTo>
                    <a:pt x="4503044" y="5475132"/>
                  </a:lnTo>
                  <a:lnTo>
                    <a:pt x="4474454" y="5460836"/>
                  </a:lnTo>
                  <a:lnTo>
                    <a:pt x="4431568" y="5403655"/>
                  </a:lnTo>
                  <a:lnTo>
                    <a:pt x="4383916" y="5379831"/>
                  </a:lnTo>
                  <a:lnTo>
                    <a:pt x="4364856" y="5356006"/>
                  </a:lnTo>
                  <a:lnTo>
                    <a:pt x="4350560" y="5341710"/>
                  </a:lnTo>
                  <a:lnTo>
                    <a:pt x="4345795" y="5322650"/>
                  </a:lnTo>
                  <a:lnTo>
                    <a:pt x="4341030" y="5303590"/>
                  </a:lnTo>
                  <a:lnTo>
                    <a:pt x="4345795" y="5289293"/>
                  </a:lnTo>
                  <a:lnTo>
                    <a:pt x="4355326" y="5279761"/>
                  </a:lnTo>
                  <a:lnTo>
                    <a:pt x="4355326" y="5265465"/>
                  </a:lnTo>
                  <a:lnTo>
                    <a:pt x="4350560" y="5236877"/>
                  </a:lnTo>
                  <a:lnTo>
                    <a:pt x="4345795" y="5203520"/>
                  </a:lnTo>
                  <a:lnTo>
                    <a:pt x="4331500" y="5160635"/>
                  </a:lnTo>
                  <a:lnTo>
                    <a:pt x="4331500" y="5136808"/>
                  </a:lnTo>
                  <a:lnTo>
                    <a:pt x="4331500" y="5117747"/>
                  </a:lnTo>
                  <a:lnTo>
                    <a:pt x="4331500" y="5098686"/>
                  </a:lnTo>
                  <a:lnTo>
                    <a:pt x="4341030" y="5070095"/>
                  </a:lnTo>
                  <a:lnTo>
                    <a:pt x="4345795" y="5060566"/>
                  </a:lnTo>
                  <a:lnTo>
                    <a:pt x="4369621" y="5055802"/>
                  </a:lnTo>
                  <a:lnTo>
                    <a:pt x="4402977" y="5036741"/>
                  </a:lnTo>
                  <a:lnTo>
                    <a:pt x="4483984" y="4989089"/>
                  </a:lnTo>
                  <a:lnTo>
                    <a:pt x="4655528" y="4927144"/>
                  </a:lnTo>
                  <a:lnTo>
                    <a:pt x="4707945" y="4936672"/>
                  </a:lnTo>
                  <a:lnTo>
                    <a:pt x="4731770" y="4922379"/>
                  </a:lnTo>
                  <a:close/>
                  <a:moveTo>
                    <a:pt x="5951642" y="4788954"/>
                  </a:moveTo>
                  <a:lnTo>
                    <a:pt x="5965938" y="4803250"/>
                  </a:lnTo>
                  <a:lnTo>
                    <a:pt x="5970703" y="4831842"/>
                  </a:lnTo>
                  <a:lnTo>
                    <a:pt x="5937347" y="4884259"/>
                  </a:lnTo>
                  <a:lnTo>
                    <a:pt x="5918287" y="4898551"/>
                  </a:lnTo>
                  <a:lnTo>
                    <a:pt x="5899226" y="4889023"/>
                  </a:lnTo>
                  <a:lnTo>
                    <a:pt x="5894461" y="4879492"/>
                  </a:lnTo>
                  <a:lnTo>
                    <a:pt x="5894461" y="4869963"/>
                  </a:lnTo>
                  <a:lnTo>
                    <a:pt x="5894461" y="4855666"/>
                  </a:lnTo>
                  <a:lnTo>
                    <a:pt x="5918287" y="4808014"/>
                  </a:lnTo>
                  <a:lnTo>
                    <a:pt x="5942112" y="4793720"/>
                  </a:lnTo>
                  <a:close/>
                  <a:moveTo>
                    <a:pt x="4746066" y="4407743"/>
                  </a:moveTo>
                  <a:lnTo>
                    <a:pt x="4779422" y="4407743"/>
                  </a:lnTo>
                  <a:lnTo>
                    <a:pt x="4822308" y="4450632"/>
                  </a:lnTo>
                  <a:lnTo>
                    <a:pt x="4850899" y="4469691"/>
                  </a:lnTo>
                  <a:lnTo>
                    <a:pt x="4869959" y="4493517"/>
                  </a:lnTo>
                  <a:lnTo>
                    <a:pt x="4898550" y="4541169"/>
                  </a:lnTo>
                  <a:lnTo>
                    <a:pt x="4908080" y="4536402"/>
                  </a:lnTo>
                  <a:lnTo>
                    <a:pt x="4922375" y="4545933"/>
                  </a:lnTo>
                  <a:lnTo>
                    <a:pt x="4927140" y="4560230"/>
                  </a:lnTo>
                  <a:lnTo>
                    <a:pt x="4941436" y="4617411"/>
                  </a:lnTo>
                  <a:lnTo>
                    <a:pt x="4946201" y="4646003"/>
                  </a:lnTo>
                  <a:lnTo>
                    <a:pt x="4946201" y="4684122"/>
                  </a:lnTo>
                  <a:lnTo>
                    <a:pt x="4946201" y="4712712"/>
                  </a:lnTo>
                  <a:lnTo>
                    <a:pt x="4936671" y="4741305"/>
                  </a:lnTo>
                  <a:lnTo>
                    <a:pt x="4922375" y="4755597"/>
                  </a:lnTo>
                  <a:lnTo>
                    <a:pt x="4889020" y="4765129"/>
                  </a:lnTo>
                  <a:lnTo>
                    <a:pt x="4841368" y="4750833"/>
                  </a:lnTo>
                  <a:lnTo>
                    <a:pt x="4798482" y="4769893"/>
                  </a:lnTo>
                  <a:lnTo>
                    <a:pt x="4779422" y="4769893"/>
                  </a:lnTo>
                  <a:lnTo>
                    <a:pt x="4727005" y="4760365"/>
                  </a:lnTo>
                  <a:lnTo>
                    <a:pt x="4712710" y="4750833"/>
                  </a:lnTo>
                  <a:lnTo>
                    <a:pt x="4684119" y="4717477"/>
                  </a:lnTo>
                  <a:lnTo>
                    <a:pt x="4660294" y="4698416"/>
                  </a:lnTo>
                  <a:lnTo>
                    <a:pt x="4650763" y="4707948"/>
                  </a:lnTo>
                  <a:lnTo>
                    <a:pt x="4641233" y="4741305"/>
                  </a:lnTo>
                  <a:lnTo>
                    <a:pt x="4617407" y="4774658"/>
                  </a:lnTo>
                  <a:lnTo>
                    <a:pt x="4607877" y="4784189"/>
                  </a:lnTo>
                  <a:lnTo>
                    <a:pt x="4569756" y="4779425"/>
                  </a:lnTo>
                  <a:lnTo>
                    <a:pt x="4512575" y="4717477"/>
                  </a:lnTo>
                  <a:lnTo>
                    <a:pt x="4445863" y="4736537"/>
                  </a:lnTo>
                  <a:lnTo>
                    <a:pt x="4374386" y="4774658"/>
                  </a:lnTo>
                  <a:lnTo>
                    <a:pt x="4345795" y="4779425"/>
                  </a:lnTo>
                  <a:lnTo>
                    <a:pt x="4341030" y="4769893"/>
                  </a:lnTo>
                  <a:lnTo>
                    <a:pt x="4331500" y="4741305"/>
                  </a:lnTo>
                  <a:lnTo>
                    <a:pt x="4331500" y="4727008"/>
                  </a:lnTo>
                  <a:lnTo>
                    <a:pt x="4350560" y="4684122"/>
                  </a:lnTo>
                  <a:lnTo>
                    <a:pt x="4398212" y="4636471"/>
                  </a:lnTo>
                  <a:lnTo>
                    <a:pt x="4431568" y="4612647"/>
                  </a:lnTo>
                  <a:lnTo>
                    <a:pt x="4498279" y="4574526"/>
                  </a:lnTo>
                  <a:lnTo>
                    <a:pt x="4574521" y="4555462"/>
                  </a:lnTo>
                  <a:lnTo>
                    <a:pt x="4607877" y="4531637"/>
                  </a:lnTo>
                  <a:lnTo>
                    <a:pt x="4626938" y="4498283"/>
                  </a:lnTo>
                  <a:lnTo>
                    <a:pt x="4674589" y="4445865"/>
                  </a:lnTo>
                  <a:lnTo>
                    <a:pt x="4707945" y="4426804"/>
                  </a:lnTo>
                  <a:close/>
                  <a:moveTo>
                    <a:pt x="6685472" y="4369623"/>
                  </a:moveTo>
                  <a:lnTo>
                    <a:pt x="6709298" y="4369623"/>
                  </a:lnTo>
                  <a:lnTo>
                    <a:pt x="6780775" y="4379155"/>
                  </a:lnTo>
                  <a:lnTo>
                    <a:pt x="6814131" y="4388683"/>
                  </a:lnTo>
                  <a:lnTo>
                    <a:pt x="6847487" y="4407743"/>
                  </a:lnTo>
                  <a:lnTo>
                    <a:pt x="6885608" y="4436336"/>
                  </a:lnTo>
                  <a:lnTo>
                    <a:pt x="6938024" y="4464928"/>
                  </a:lnTo>
                  <a:lnTo>
                    <a:pt x="6957085" y="4483987"/>
                  </a:lnTo>
                  <a:lnTo>
                    <a:pt x="6990440" y="4536402"/>
                  </a:lnTo>
                  <a:lnTo>
                    <a:pt x="6990440" y="4555462"/>
                  </a:lnTo>
                  <a:lnTo>
                    <a:pt x="6990440" y="4569758"/>
                  </a:lnTo>
                  <a:lnTo>
                    <a:pt x="6999971" y="4588818"/>
                  </a:lnTo>
                  <a:lnTo>
                    <a:pt x="7033327" y="4607881"/>
                  </a:lnTo>
                  <a:lnTo>
                    <a:pt x="7100038" y="4598350"/>
                  </a:lnTo>
                  <a:lnTo>
                    <a:pt x="7123864" y="4612647"/>
                  </a:lnTo>
                  <a:lnTo>
                    <a:pt x="7181045" y="4665062"/>
                  </a:lnTo>
                  <a:lnTo>
                    <a:pt x="7200106" y="4698416"/>
                  </a:lnTo>
                  <a:lnTo>
                    <a:pt x="7204871" y="4722243"/>
                  </a:lnTo>
                  <a:lnTo>
                    <a:pt x="7204871" y="4731773"/>
                  </a:lnTo>
                  <a:lnTo>
                    <a:pt x="7185810" y="4755597"/>
                  </a:lnTo>
                  <a:lnTo>
                    <a:pt x="7142924" y="4793721"/>
                  </a:lnTo>
                  <a:lnTo>
                    <a:pt x="7133394" y="4822311"/>
                  </a:lnTo>
                  <a:lnTo>
                    <a:pt x="7171515" y="4860431"/>
                  </a:lnTo>
                  <a:lnTo>
                    <a:pt x="7190576" y="4893787"/>
                  </a:lnTo>
                  <a:lnTo>
                    <a:pt x="7195341" y="4912847"/>
                  </a:lnTo>
                  <a:lnTo>
                    <a:pt x="7195341" y="4936676"/>
                  </a:lnTo>
                  <a:lnTo>
                    <a:pt x="7171515" y="4998621"/>
                  </a:lnTo>
                  <a:lnTo>
                    <a:pt x="7157220" y="5017681"/>
                  </a:lnTo>
                  <a:lnTo>
                    <a:pt x="7128629" y="5017681"/>
                  </a:lnTo>
                  <a:lnTo>
                    <a:pt x="7114334" y="5022446"/>
                  </a:lnTo>
                  <a:lnTo>
                    <a:pt x="7080978" y="5051038"/>
                  </a:lnTo>
                  <a:lnTo>
                    <a:pt x="7028561" y="5079630"/>
                  </a:lnTo>
                  <a:lnTo>
                    <a:pt x="6957085" y="5089158"/>
                  </a:lnTo>
                  <a:lnTo>
                    <a:pt x="6938024" y="5108218"/>
                  </a:lnTo>
                  <a:lnTo>
                    <a:pt x="6899903" y="5136811"/>
                  </a:lnTo>
                  <a:lnTo>
                    <a:pt x="6876077" y="5141575"/>
                  </a:lnTo>
                  <a:lnTo>
                    <a:pt x="6866547" y="5122515"/>
                  </a:lnTo>
                  <a:lnTo>
                    <a:pt x="6861782" y="5098690"/>
                  </a:lnTo>
                  <a:lnTo>
                    <a:pt x="6866547" y="5084394"/>
                  </a:lnTo>
                  <a:lnTo>
                    <a:pt x="6871312" y="5065334"/>
                  </a:lnTo>
                  <a:lnTo>
                    <a:pt x="6857017" y="5046272"/>
                  </a:lnTo>
                  <a:lnTo>
                    <a:pt x="6809366" y="5008153"/>
                  </a:lnTo>
                  <a:lnTo>
                    <a:pt x="6776010" y="4955736"/>
                  </a:lnTo>
                  <a:lnTo>
                    <a:pt x="6771245" y="4941440"/>
                  </a:lnTo>
                  <a:lnTo>
                    <a:pt x="6771245" y="4927144"/>
                  </a:lnTo>
                  <a:lnTo>
                    <a:pt x="6837956" y="4917614"/>
                  </a:lnTo>
                  <a:lnTo>
                    <a:pt x="6866547" y="4908083"/>
                  </a:lnTo>
                  <a:lnTo>
                    <a:pt x="6880843" y="4889023"/>
                  </a:lnTo>
                  <a:lnTo>
                    <a:pt x="6880843" y="4879492"/>
                  </a:lnTo>
                  <a:lnTo>
                    <a:pt x="6871312" y="4874727"/>
                  </a:lnTo>
                  <a:lnTo>
                    <a:pt x="6823661" y="4841370"/>
                  </a:lnTo>
                  <a:lnTo>
                    <a:pt x="6747419" y="4822311"/>
                  </a:lnTo>
                  <a:lnTo>
                    <a:pt x="6742654" y="4798486"/>
                  </a:lnTo>
                  <a:lnTo>
                    <a:pt x="6709298" y="4746069"/>
                  </a:lnTo>
                  <a:lnTo>
                    <a:pt x="6704533" y="4698416"/>
                  </a:lnTo>
                  <a:lnTo>
                    <a:pt x="6699768" y="4688888"/>
                  </a:lnTo>
                  <a:lnTo>
                    <a:pt x="6675942" y="4665062"/>
                  </a:lnTo>
                  <a:lnTo>
                    <a:pt x="6675942" y="4660296"/>
                  </a:lnTo>
                  <a:lnTo>
                    <a:pt x="6666412" y="4631707"/>
                  </a:lnTo>
                  <a:lnTo>
                    <a:pt x="6666412" y="4612647"/>
                  </a:lnTo>
                  <a:lnTo>
                    <a:pt x="6666412" y="4598350"/>
                  </a:lnTo>
                  <a:lnTo>
                    <a:pt x="6709298" y="4564994"/>
                  </a:lnTo>
                  <a:lnTo>
                    <a:pt x="6704533" y="4545933"/>
                  </a:lnTo>
                  <a:lnTo>
                    <a:pt x="6671177" y="4460160"/>
                  </a:lnTo>
                  <a:lnTo>
                    <a:pt x="6666412" y="4412508"/>
                  </a:lnTo>
                  <a:lnTo>
                    <a:pt x="6666412" y="4393448"/>
                  </a:lnTo>
                  <a:close/>
                  <a:moveTo>
                    <a:pt x="5827750" y="3916936"/>
                  </a:moveTo>
                  <a:lnTo>
                    <a:pt x="5870636" y="3950292"/>
                  </a:lnTo>
                  <a:lnTo>
                    <a:pt x="5908757" y="3964588"/>
                  </a:lnTo>
                  <a:lnTo>
                    <a:pt x="5951643" y="4021769"/>
                  </a:lnTo>
                  <a:lnTo>
                    <a:pt x="5989764" y="4131367"/>
                  </a:lnTo>
                  <a:lnTo>
                    <a:pt x="5994529" y="4145663"/>
                  </a:lnTo>
                  <a:lnTo>
                    <a:pt x="5994529" y="4164723"/>
                  </a:lnTo>
                  <a:lnTo>
                    <a:pt x="5989764" y="4188548"/>
                  </a:lnTo>
                  <a:lnTo>
                    <a:pt x="5984999" y="4217140"/>
                  </a:lnTo>
                  <a:lnTo>
                    <a:pt x="5980234" y="4236201"/>
                  </a:lnTo>
                  <a:lnTo>
                    <a:pt x="5999294" y="4260025"/>
                  </a:lnTo>
                  <a:lnTo>
                    <a:pt x="6004059" y="4269557"/>
                  </a:lnTo>
                  <a:lnTo>
                    <a:pt x="5999294" y="4293381"/>
                  </a:lnTo>
                  <a:lnTo>
                    <a:pt x="6004059" y="4307678"/>
                  </a:lnTo>
                  <a:lnTo>
                    <a:pt x="6013590" y="4293381"/>
                  </a:lnTo>
                  <a:lnTo>
                    <a:pt x="6027885" y="4264790"/>
                  </a:lnTo>
                  <a:lnTo>
                    <a:pt x="6027885" y="4250497"/>
                  </a:lnTo>
                  <a:lnTo>
                    <a:pt x="6032650" y="4202844"/>
                  </a:lnTo>
                  <a:lnTo>
                    <a:pt x="6061241" y="4179020"/>
                  </a:lnTo>
                  <a:lnTo>
                    <a:pt x="6099362" y="4145663"/>
                  </a:lnTo>
                  <a:lnTo>
                    <a:pt x="6113657" y="4140899"/>
                  </a:lnTo>
                  <a:lnTo>
                    <a:pt x="6137483" y="4145663"/>
                  </a:lnTo>
                  <a:lnTo>
                    <a:pt x="6204195" y="4226669"/>
                  </a:lnTo>
                  <a:lnTo>
                    <a:pt x="6228020" y="4231435"/>
                  </a:lnTo>
                  <a:lnTo>
                    <a:pt x="6237550" y="4240965"/>
                  </a:lnTo>
                  <a:lnTo>
                    <a:pt x="6242316" y="4260025"/>
                  </a:lnTo>
                  <a:lnTo>
                    <a:pt x="6242316" y="4279085"/>
                  </a:lnTo>
                  <a:lnTo>
                    <a:pt x="6232785" y="4326738"/>
                  </a:lnTo>
                  <a:lnTo>
                    <a:pt x="6228020" y="4355327"/>
                  </a:lnTo>
                  <a:lnTo>
                    <a:pt x="6228020" y="4374391"/>
                  </a:lnTo>
                  <a:lnTo>
                    <a:pt x="6261376" y="4388683"/>
                  </a:lnTo>
                  <a:lnTo>
                    <a:pt x="6337618" y="4360095"/>
                  </a:lnTo>
                  <a:lnTo>
                    <a:pt x="6404330" y="4431572"/>
                  </a:lnTo>
                  <a:lnTo>
                    <a:pt x="6437686" y="4517342"/>
                  </a:lnTo>
                  <a:lnTo>
                    <a:pt x="6466276" y="4545933"/>
                  </a:lnTo>
                  <a:lnTo>
                    <a:pt x="6471042" y="4560230"/>
                  </a:lnTo>
                  <a:lnTo>
                    <a:pt x="6461511" y="4579290"/>
                  </a:lnTo>
                  <a:lnTo>
                    <a:pt x="6456746" y="4617411"/>
                  </a:lnTo>
                  <a:lnTo>
                    <a:pt x="6432921" y="4646003"/>
                  </a:lnTo>
                  <a:lnTo>
                    <a:pt x="6428156" y="4660296"/>
                  </a:lnTo>
                  <a:lnTo>
                    <a:pt x="6442451" y="4693652"/>
                  </a:lnTo>
                  <a:lnTo>
                    <a:pt x="6442451" y="4717477"/>
                  </a:lnTo>
                  <a:lnTo>
                    <a:pt x="6437686" y="4746069"/>
                  </a:lnTo>
                  <a:lnTo>
                    <a:pt x="6442451" y="4765129"/>
                  </a:lnTo>
                  <a:lnTo>
                    <a:pt x="6475807" y="4784189"/>
                  </a:lnTo>
                  <a:lnTo>
                    <a:pt x="6542518" y="4908083"/>
                  </a:lnTo>
                  <a:lnTo>
                    <a:pt x="6552049" y="4941440"/>
                  </a:lnTo>
                  <a:lnTo>
                    <a:pt x="6561579" y="4984325"/>
                  </a:lnTo>
                  <a:lnTo>
                    <a:pt x="6561579" y="4998621"/>
                  </a:lnTo>
                  <a:lnTo>
                    <a:pt x="6552049" y="5022446"/>
                  </a:lnTo>
                  <a:lnTo>
                    <a:pt x="6542518" y="5089158"/>
                  </a:lnTo>
                  <a:lnTo>
                    <a:pt x="6532988" y="5103454"/>
                  </a:lnTo>
                  <a:lnTo>
                    <a:pt x="6509163" y="5112983"/>
                  </a:lnTo>
                  <a:lnTo>
                    <a:pt x="6456746" y="5127279"/>
                  </a:lnTo>
                  <a:lnTo>
                    <a:pt x="6413860" y="5151103"/>
                  </a:lnTo>
                  <a:lnTo>
                    <a:pt x="6361444" y="5122515"/>
                  </a:lnTo>
                  <a:lnTo>
                    <a:pt x="6313792" y="5074862"/>
                  </a:lnTo>
                  <a:lnTo>
                    <a:pt x="6299497" y="5046272"/>
                  </a:lnTo>
                  <a:lnTo>
                    <a:pt x="6285202" y="5012917"/>
                  </a:lnTo>
                  <a:lnTo>
                    <a:pt x="6285202" y="4998621"/>
                  </a:lnTo>
                  <a:lnTo>
                    <a:pt x="6280437" y="4941440"/>
                  </a:lnTo>
                  <a:lnTo>
                    <a:pt x="6275672" y="4927144"/>
                  </a:lnTo>
                  <a:lnTo>
                    <a:pt x="6256611" y="4898551"/>
                  </a:lnTo>
                  <a:lnTo>
                    <a:pt x="6237550" y="4850902"/>
                  </a:lnTo>
                  <a:lnTo>
                    <a:pt x="6204195" y="4846137"/>
                  </a:lnTo>
                  <a:lnTo>
                    <a:pt x="6118422" y="4793721"/>
                  </a:lnTo>
                  <a:lnTo>
                    <a:pt x="6085066" y="4784189"/>
                  </a:lnTo>
                  <a:lnTo>
                    <a:pt x="6046946" y="4784189"/>
                  </a:lnTo>
                  <a:lnTo>
                    <a:pt x="5999294" y="4808016"/>
                  </a:lnTo>
                  <a:lnTo>
                    <a:pt x="5989764" y="4803250"/>
                  </a:lnTo>
                  <a:lnTo>
                    <a:pt x="5980234" y="4784189"/>
                  </a:lnTo>
                  <a:lnTo>
                    <a:pt x="5970704" y="4760365"/>
                  </a:lnTo>
                  <a:lnTo>
                    <a:pt x="5970704" y="4746069"/>
                  </a:lnTo>
                  <a:lnTo>
                    <a:pt x="5980234" y="4712712"/>
                  </a:lnTo>
                  <a:lnTo>
                    <a:pt x="5832515" y="4750833"/>
                  </a:lnTo>
                  <a:lnTo>
                    <a:pt x="5789629" y="4798486"/>
                  </a:lnTo>
                  <a:lnTo>
                    <a:pt x="5727682" y="4788954"/>
                  </a:lnTo>
                  <a:lnTo>
                    <a:pt x="5699091" y="4769897"/>
                  </a:lnTo>
                  <a:lnTo>
                    <a:pt x="5660970" y="4727008"/>
                  </a:lnTo>
                  <a:lnTo>
                    <a:pt x="5641910" y="4688888"/>
                  </a:lnTo>
                  <a:lnTo>
                    <a:pt x="5627614" y="4636471"/>
                  </a:lnTo>
                  <a:lnTo>
                    <a:pt x="5622849" y="4598350"/>
                  </a:lnTo>
                  <a:lnTo>
                    <a:pt x="5637145" y="4569758"/>
                  </a:lnTo>
                  <a:lnTo>
                    <a:pt x="5651440" y="4555462"/>
                  </a:lnTo>
                  <a:lnTo>
                    <a:pt x="5665736" y="4550698"/>
                  </a:lnTo>
                  <a:lnTo>
                    <a:pt x="5746743" y="4579290"/>
                  </a:lnTo>
                  <a:lnTo>
                    <a:pt x="5818220" y="4598350"/>
                  </a:lnTo>
                  <a:lnTo>
                    <a:pt x="5846810" y="4579290"/>
                  </a:lnTo>
                  <a:lnTo>
                    <a:pt x="5861106" y="4536402"/>
                  </a:lnTo>
                  <a:lnTo>
                    <a:pt x="5846810" y="4517342"/>
                  </a:lnTo>
                  <a:lnTo>
                    <a:pt x="5775333" y="4507813"/>
                  </a:lnTo>
                  <a:lnTo>
                    <a:pt x="5789629" y="4483987"/>
                  </a:lnTo>
                  <a:lnTo>
                    <a:pt x="5846810" y="4460160"/>
                  </a:lnTo>
                  <a:lnTo>
                    <a:pt x="5880166" y="4426804"/>
                  </a:lnTo>
                  <a:lnTo>
                    <a:pt x="5870636" y="4412508"/>
                  </a:lnTo>
                  <a:lnTo>
                    <a:pt x="5856340" y="4398215"/>
                  </a:lnTo>
                  <a:lnTo>
                    <a:pt x="5780098" y="4402979"/>
                  </a:lnTo>
                  <a:lnTo>
                    <a:pt x="5751508" y="4388683"/>
                  </a:lnTo>
                  <a:lnTo>
                    <a:pt x="5751508" y="4379155"/>
                  </a:lnTo>
                  <a:lnTo>
                    <a:pt x="5756273" y="4364859"/>
                  </a:lnTo>
                  <a:lnTo>
                    <a:pt x="5799159" y="4288617"/>
                  </a:lnTo>
                  <a:lnTo>
                    <a:pt x="5799159" y="4279085"/>
                  </a:lnTo>
                  <a:lnTo>
                    <a:pt x="5780098" y="4255261"/>
                  </a:lnTo>
                  <a:lnTo>
                    <a:pt x="5761038" y="4221904"/>
                  </a:lnTo>
                  <a:lnTo>
                    <a:pt x="5756273" y="4217140"/>
                  </a:lnTo>
                  <a:lnTo>
                    <a:pt x="5718152" y="4245731"/>
                  </a:lnTo>
                  <a:lnTo>
                    <a:pt x="5665736" y="4350562"/>
                  </a:lnTo>
                  <a:lnTo>
                    <a:pt x="5651440" y="4369623"/>
                  </a:lnTo>
                  <a:lnTo>
                    <a:pt x="5641910" y="4364859"/>
                  </a:lnTo>
                  <a:lnTo>
                    <a:pt x="5627614" y="4350562"/>
                  </a:lnTo>
                  <a:lnTo>
                    <a:pt x="5627614" y="4326738"/>
                  </a:lnTo>
                  <a:lnTo>
                    <a:pt x="5641910" y="4302912"/>
                  </a:lnTo>
                  <a:lnTo>
                    <a:pt x="5665736" y="4217140"/>
                  </a:lnTo>
                  <a:lnTo>
                    <a:pt x="5665736" y="4188548"/>
                  </a:lnTo>
                  <a:lnTo>
                    <a:pt x="5637145" y="4169488"/>
                  </a:lnTo>
                  <a:lnTo>
                    <a:pt x="5575198" y="4183784"/>
                  </a:lnTo>
                  <a:lnTo>
                    <a:pt x="5541842" y="4183784"/>
                  </a:lnTo>
                  <a:lnTo>
                    <a:pt x="5537077" y="4159958"/>
                  </a:lnTo>
                  <a:lnTo>
                    <a:pt x="5532312" y="4117071"/>
                  </a:lnTo>
                  <a:lnTo>
                    <a:pt x="5537077" y="4074186"/>
                  </a:lnTo>
                  <a:lnTo>
                    <a:pt x="5541842" y="4012238"/>
                  </a:lnTo>
                  <a:lnTo>
                    <a:pt x="5556138" y="3959823"/>
                  </a:lnTo>
                  <a:lnTo>
                    <a:pt x="5565668" y="3940761"/>
                  </a:lnTo>
                  <a:lnTo>
                    <a:pt x="5646675" y="3955057"/>
                  </a:lnTo>
                  <a:lnTo>
                    <a:pt x="5784864" y="3921700"/>
                  </a:lnTo>
                  <a:close/>
                  <a:moveTo>
                    <a:pt x="6447217" y="3221228"/>
                  </a:moveTo>
                  <a:lnTo>
                    <a:pt x="6494868" y="3240289"/>
                  </a:lnTo>
                  <a:lnTo>
                    <a:pt x="6537754" y="3240289"/>
                  </a:lnTo>
                  <a:lnTo>
                    <a:pt x="6556815" y="3254584"/>
                  </a:lnTo>
                  <a:lnTo>
                    <a:pt x="6575875" y="3278409"/>
                  </a:lnTo>
                  <a:lnTo>
                    <a:pt x="6590171" y="3321295"/>
                  </a:lnTo>
                  <a:lnTo>
                    <a:pt x="6594936" y="3368947"/>
                  </a:lnTo>
                  <a:lnTo>
                    <a:pt x="6594936" y="3488075"/>
                  </a:lnTo>
                  <a:lnTo>
                    <a:pt x="6594936" y="3545256"/>
                  </a:lnTo>
                  <a:lnTo>
                    <a:pt x="6585406" y="3588142"/>
                  </a:lnTo>
                  <a:lnTo>
                    <a:pt x="6580641" y="3597671"/>
                  </a:lnTo>
                  <a:lnTo>
                    <a:pt x="6571110" y="3597671"/>
                  </a:lnTo>
                  <a:lnTo>
                    <a:pt x="6528224" y="3564317"/>
                  </a:lnTo>
                  <a:lnTo>
                    <a:pt x="6513929" y="3545256"/>
                  </a:lnTo>
                  <a:lnTo>
                    <a:pt x="6513929" y="3530960"/>
                  </a:lnTo>
                  <a:lnTo>
                    <a:pt x="6509164" y="3497605"/>
                  </a:lnTo>
                  <a:lnTo>
                    <a:pt x="6480573" y="3454717"/>
                  </a:lnTo>
                  <a:lnTo>
                    <a:pt x="6428156" y="3459484"/>
                  </a:lnTo>
                  <a:lnTo>
                    <a:pt x="6404331" y="3459484"/>
                  </a:lnTo>
                  <a:lnTo>
                    <a:pt x="6394800" y="3445189"/>
                  </a:lnTo>
                  <a:lnTo>
                    <a:pt x="6390035" y="3426128"/>
                  </a:lnTo>
                  <a:lnTo>
                    <a:pt x="6385270" y="3354650"/>
                  </a:lnTo>
                  <a:lnTo>
                    <a:pt x="6385270" y="3326059"/>
                  </a:lnTo>
                  <a:lnTo>
                    <a:pt x="6394800" y="3278409"/>
                  </a:lnTo>
                  <a:lnTo>
                    <a:pt x="6394800" y="3268878"/>
                  </a:lnTo>
                  <a:lnTo>
                    <a:pt x="6437686" y="3225993"/>
                  </a:lnTo>
                  <a:close/>
                  <a:moveTo>
                    <a:pt x="7447894" y="2034711"/>
                  </a:moveTo>
                  <a:lnTo>
                    <a:pt x="7490780" y="2053771"/>
                  </a:lnTo>
                  <a:lnTo>
                    <a:pt x="7590847" y="2125248"/>
                  </a:lnTo>
                  <a:lnTo>
                    <a:pt x="7624203" y="2158604"/>
                  </a:lnTo>
                  <a:lnTo>
                    <a:pt x="7652794" y="2220551"/>
                  </a:lnTo>
                  <a:lnTo>
                    <a:pt x="7671855" y="2272967"/>
                  </a:lnTo>
                  <a:lnTo>
                    <a:pt x="7690915" y="2358741"/>
                  </a:lnTo>
                  <a:lnTo>
                    <a:pt x="7767157" y="2554112"/>
                  </a:lnTo>
                  <a:lnTo>
                    <a:pt x="7800513" y="2625587"/>
                  </a:lnTo>
                  <a:lnTo>
                    <a:pt x="7862460" y="2711359"/>
                  </a:lnTo>
                  <a:lnTo>
                    <a:pt x="7867225" y="2744713"/>
                  </a:lnTo>
                  <a:lnTo>
                    <a:pt x="7867225" y="2759008"/>
                  </a:lnTo>
                  <a:lnTo>
                    <a:pt x="7867225" y="2801896"/>
                  </a:lnTo>
                  <a:lnTo>
                    <a:pt x="7881520" y="2820957"/>
                  </a:lnTo>
                  <a:lnTo>
                    <a:pt x="7933937" y="2844783"/>
                  </a:lnTo>
                  <a:lnTo>
                    <a:pt x="7991118" y="2892434"/>
                  </a:lnTo>
                  <a:lnTo>
                    <a:pt x="8000648" y="2892434"/>
                  </a:lnTo>
                  <a:lnTo>
                    <a:pt x="8019709" y="2863843"/>
                  </a:lnTo>
                  <a:lnTo>
                    <a:pt x="8043535" y="2854314"/>
                  </a:lnTo>
                  <a:lnTo>
                    <a:pt x="8072126" y="2863843"/>
                  </a:lnTo>
                  <a:lnTo>
                    <a:pt x="8086421" y="2882902"/>
                  </a:lnTo>
                  <a:lnTo>
                    <a:pt x="8095951" y="2911495"/>
                  </a:lnTo>
                  <a:lnTo>
                    <a:pt x="8100716" y="2930558"/>
                  </a:lnTo>
                  <a:lnTo>
                    <a:pt x="8100716" y="2949616"/>
                  </a:lnTo>
                  <a:lnTo>
                    <a:pt x="8091186" y="2978207"/>
                  </a:lnTo>
                  <a:lnTo>
                    <a:pt x="8091186" y="2992503"/>
                  </a:lnTo>
                  <a:lnTo>
                    <a:pt x="8100716" y="3006797"/>
                  </a:lnTo>
                  <a:lnTo>
                    <a:pt x="8100716" y="3025858"/>
                  </a:lnTo>
                  <a:lnTo>
                    <a:pt x="8091186" y="3087803"/>
                  </a:lnTo>
                  <a:lnTo>
                    <a:pt x="8091186" y="3111631"/>
                  </a:lnTo>
                  <a:lnTo>
                    <a:pt x="8119777" y="3173575"/>
                  </a:lnTo>
                  <a:lnTo>
                    <a:pt x="8143602" y="3202165"/>
                  </a:lnTo>
                  <a:lnTo>
                    <a:pt x="8196019" y="3235524"/>
                  </a:lnTo>
                  <a:lnTo>
                    <a:pt x="8229375" y="3230759"/>
                  </a:lnTo>
                  <a:lnTo>
                    <a:pt x="8248435" y="3254584"/>
                  </a:lnTo>
                  <a:lnTo>
                    <a:pt x="8248435" y="3240289"/>
                  </a:lnTo>
                  <a:lnTo>
                    <a:pt x="8238905" y="3202165"/>
                  </a:lnTo>
                  <a:lnTo>
                    <a:pt x="8219844" y="3149752"/>
                  </a:lnTo>
                  <a:lnTo>
                    <a:pt x="8186489" y="3121159"/>
                  </a:lnTo>
                  <a:lnTo>
                    <a:pt x="8176958" y="3087803"/>
                  </a:lnTo>
                  <a:lnTo>
                    <a:pt x="8176958" y="3035388"/>
                  </a:lnTo>
                  <a:lnTo>
                    <a:pt x="8176958" y="2997264"/>
                  </a:lnTo>
                  <a:lnTo>
                    <a:pt x="8196019" y="2968677"/>
                  </a:lnTo>
                  <a:lnTo>
                    <a:pt x="8215079" y="2959145"/>
                  </a:lnTo>
                  <a:lnTo>
                    <a:pt x="8257966" y="2959145"/>
                  </a:lnTo>
                  <a:lnTo>
                    <a:pt x="8286556" y="2973441"/>
                  </a:lnTo>
                  <a:lnTo>
                    <a:pt x="8329442" y="3011562"/>
                  </a:lnTo>
                  <a:lnTo>
                    <a:pt x="8334208" y="3035388"/>
                  </a:lnTo>
                  <a:lnTo>
                    <a:pt x="8338973" y="3078275"/>
                  </a:lnTo>
                  <a:lnTo>
                    <a:pt x="8338973" y="3164046"/>
                  </a:lnTo>
                  <a:lnTo>
                    <a:pt x="8338973" y="3183108"/>
                  </a:lnTo>
                  <a:lnTo>
                    <a:pt x="8300852" y="3230759"/>
                  </a:lnTo>
                  <a:lnTo>
                    <a:pt x="8291321" y="3264114"/>
                  </a:lnTo>
                  <a:lnTo>
                    <a:pt x="8300852" y="3273644"/>
                  </a:lnTo>
                  <a:lnTo>
                    <a:pt x="8334208" y="3283174"/>
                  </a:lnTo>
                  <a:lnTo>
                    <a:pt x="8386624" y="3311766"/>
                  </a:lnTo>
                  <a:lnTo>
                    <a:pt x="8405684" y="3316530"/>
                  </a:lnTo>
                  <a:lnTo>
                    <a:pt x="8424745" y="3383243"/>
                  </a:lnTo>
                  <a:lnTo>
                    <a:pt x="8439040" y="3449955"/>
                  </a:lnTo>
                  <a:lnTo>
                    <a:pt x="8429510" y="3526193"/>
                  </a:lnTo>
                  <a:lnTo>
                    <a:pt x="8415215" y="3654855"/>
                  </a:lnTo>
                  <a:lnTo>
                    <a:pt x="8400919" y="3678680"/>
                  </a:lnTo>
                  <a:lnTo>
                    <a:pt x="8391389" y="3721567"/>
                  </a:lnTo>
                  <a:lnTo>
                    <a:pt x="8396154" y="3731097"/>
                  </a:lnTo>
                  <a:lnTo>
                    <a:pt x="8448571" y="3716801"/>
                  </a:lnTo>
                  <a:lnTo>
                    <a:pt x="8458101" y="3707271"/>
                  </a:lnTo>
                  <a:lnTo>
                    <a:pt x="8491457" y="3664384"/>
                  </a:lnTo>
                  <a:lnTo>
                    <a:pt x="8539108" y="3678680"/>
                  </a:lnTo>
                  <a:lnTo>
                    <a:pt x="8558169" y="3688211"/>
                  </a:lnTo>
                  <a:lnTo>
                    <a:pt x="8562934" y="3702505"/>
                  </a:lnTo>
                  <a:lnTo>
                    <a:pt x="8574847" y="3750157"/>
                  </a:lnTo>
                  <a:lnTo>
                    <a:pt x="8589142" y="3812105"/>
                  </a:lnTo>
                  <a:lnTo>
                    <a:pt x="8598672" y="3802574"/>
                  </a:lnTo>
                  <a:lnTo>
                    <a:pt x="8622498" y="3731097"/>
                  </a:lnTo>
                  <a:lnTo>
                    <a:pt x="8627263" y="3712037"/>
                  </a:lnTo>
                  <a:lnTo>
                    <a:pt x="8641558" y="3692976"/>
                  </a:lnTo>
                  <a:lnTo>
                    <a:pt x="8646324" y="3697740"/>
                  </a:lnTo>
                  <a:lnTo>
                    <a:pt x="8665384" y="3764453"/>
                  </a:lnTo>
                  <a:lnTo>
                    <a:pt x="8717800" y="3888346"/>
                  </a:lnTo>
                  <a:lnTo>
                    <a:pt x="8736861" y="3940763"/>
                  </a:lnTo>
                  <a:lnTo>
                    <a:pt x="8736861" y="3974119"/>
                  </a:lnTo>
                  <a:lnTo>
                    <a:pt x="8717800" y="4017005"/>
                  </a:lnTo>
                  <a:lnTo>
                    <a:pt x="8698740" y="4040830"/>
                  </a:lnTo>
                  <a:lnTo>
                    <a:pt x="8574847" y="4131367"/>
                  </a:lnTo>
                  <a:lnTo>
                    <a:pt x="8520048" y="4179020"/>
                  </a:lnTo>
                  <a:lnTo>
                    <a:pt x="8491457" y="4217140"/>
                  </a:lnTo>
                  <a:lnTo>
                    <a:pt x="8481927" y="4231435"/>
                  </a:lnTo>
                  <a:lnTo>
                    <a:pt x="8448571" y="4226669"/>
                  </a:lnTo>
                  <a:lnTo>
                    <a:pt x="8443806" y="4231435"/>
                  </a:lnTo>
                  <a:lnTo>
                    <a:pt x="8434275" y="4293381"/>
                  </a:lnTo>
                  <a:lnTo>
                    <a:pt x="8424745" y="4321971"/>
                  </a:lnTo>
                  <a:lnTo>
                    <a:pt x="8396154" y="4364859"/>
                  </a:lnTo>
                  <a:lnTo>
                    <a:pt x="8362798" y="4441100"/>
                  </a:lnTo>
                  <a:lnTo>
                    <a:pt x="8338973" y="4474456"/>
                  </a:lnTo>
                  <a:lnTo>
                    <a:pt x="8300852" y="4450632"/>
                  </a:lnTo>
                  <a:lnTo>
                    <a:pt x="8291321" y="4412510"/>
                  </a:lnTo>
                  <a:lnTo>
                    <a:pt x="8286556" y="4331502"/>
                  </a:lnTo>
                  <a:lnTo>
                    <a:pt x="8286556" y="4298146"/>
                  </a:lnTo>
                  <a:lnTo>
                    <a:pt x="8286556" y="4279085"/>
                  </a:lnTo>
                  <a:lnTo>
                    <a:pt x="8291321" y="4250497"/>
                  </a:lnTo>
                  <a:lnTo>
                    <a:pt x="8310382" y="4179020"/>
                  </a:lnTo>
                  <a:lnTo>
                    <a:pt x="8305617" y="4174252"/>
                  </a:lnTo>
                  <a:lnTo>
                    <a:pt x="8296086" y="4179020"/>
                  </a:lnTo>
                  <a:lnTo>
                    <a:pt x="8272261" y="4217140"/>
                  </a:lnTo>
                  <a:lnTo>
                    <a:pt x="8262731" y="4231435"/>
                  </a:lnTo>
                  <a:lnTo>
                    <a:pt x="8253200" y="4264790"/>
                  </a:lnTo>
                  <a:lnTo>
                    <a:pt x="8248435" y="4321971"/>
                  </a:lnTo>
                  <a:lnTo>
                    <a:pt x="8253200" y="4417275"/>
                  </a:lnTo>
                  <a:lnTo>
                    <a:pt x="8248435" y="4455396"/>
                  </a:lnTo>
                  <a:lnTo>
                    <a:pt x="8238905" y="4474456"/>
                  </a:lnTo>
                  <a:lnTo>
                    <a:pt x="8243670" y="4488753"/>
                  </a:lnTo>
                  <a:lnTo>
                    <a:pt x="8272261" y="4512577"/>
                  </a:lnTo>
                  <a:lnTo>
                    <a:pt x="8277026" y="4522109"/>
                  </a:lnTo>
                  <a:lnTo>
                    <a:pt x="8281791" y="4536404"/>
                  </a:lnTo>
                  <a:lnTo>
                    <a:pt x="8281791" y="4560230"/>
                  </a:lnTo>
                  <a:lnTo>
                    <a:pt x="8281791" y="4584054"/>
                  </a:lnTo>
                  <a:lnTo>
                    <a:pt x="8272261" y="4617411"/>
                  </a:lnTo>
                  <a:lnTo>
                    <a:pt x="8257966" y="4631707"/>
                  </a:lnTo>
                  <a:lnTo>
                    <a:pt x="8234140" y="4612647"/>
                  </a:lnTo>
                  <a:lnTo>
                    <a:pt x="8191254" y="4531637"/>
                  </a:lnTo>
                  <a:lnTo>
                    <a:pt x="8167428" y="4536404"/>
                  </a:lnTo>
                  <a:lnTo>
                    <a:pt x="8162663" y="4545933"/>
                  </a:lnTo>
                  <a:lnTo>
                    <a:pt x="8167428" y="4574526"/>
                  </a:lnTo>
                  <a:lnTo>
                    <a:pt x="8181724" y="4641235"/>
                  </a:lnTo>
                  <a:lnTo>
                    <a:pt x="8186489" y="4698416"/>
                  </a:lnTo>
                  <a:lnTo>
                    <a:pt x="8176958" y="4741305"/>
                  </a:lnTo>
                  <a:lnTo>
                    <a:pt x="8167428" y="4812782"/>
                  </a:lnTo>
                  <a:lnTo>
                    <a:pt x="8157898" y="4850902"/>
                  </a:lnTo>
                  <a:lnTo>
                    <a:pt x="8153133" y="4855666"/>
                  </a:lnTo>
                  <a:lnTo>
                    <a:pt x="8129307" y="4855666"/>
                  </a:lnTo>
                  <a:lnTo>
                    <a:pt x="8110246" y="4836606"/>
                  </a:lnTo>
                  <a:lnTo>
                    <a:pt x="8048300" y="4712712"/>
                  </a:lnTo>
                  <a:lnTo>
                    <a:pt x="8019709" y="4660296"/>
                  </a:lnTo>
                  <a:lnTo>
                    <a:pt x="7976823" y="4555462"/>
                  </a:lnTo>
                  <a:lnTo>
                    <a:pt x="7967293" y="4531637"/>
                  </a:lnTo>
                  <a:lnTo>
                    <a:pt x="7962528" y="4526873"/>
                  </a:lnTo>
                  <a:lnTo>
                    <a:pt x="7952997" y="4574526"/>
                  </a:lnTo>
                  <a:lnTo>
                    <a:pt x="7967293" y="4617411"/>
                  </a:lnTo>
                  <a:lnTo>
                    <a:pt x="8005414" y="4712712"/>
                  </a:lnTo>
                  <a:lnTo>
                    <a:pt x="8029239" y="4784189"/>
                  </a:lnTo>
                  <a:lnTo>
                    <a:pt x="8043535" y="4841370"/>
                  </a:lnTo>
                  <a:lnTo>
                    <a:pt x="8048300" y="4865199"/>
                  </a:lnTo>
                  <a:lnTo>
                    <a:pt x="8038770" y="4874727"/>
                  </a:lnTo>
                  <a:lnTo>
                    <a:pt x="8034004" y="4869963"/>
                  </a:lnTo>
                  <a:lnTo>
                    <a:pt x="8019709" y="4850902"/>
                  </a:lnTo>
                  <a:lnTo>
                    <a:pt x="7986353" y="4817546"/>
                  </a:lnTo>
                  <a:lnTo>
                    <a:pt x="7972058" y="4798486"/>
                  </a:lnTo>
                  <a:lnTo>
                    <a:pt x="7962528" y="4774658"/>
                  </a:lnTo>
                  <a:lnTo>
                    <a:pt x="7943467" y="4755597"/>
                  </a:lnTo>
                  <a:lnTo>
                    <a:pt x="7919641" y="4746069"/>
                  </a:lnTo>
                  <a:lnTo>
                    <a:pt x="7895816" y="4741305"/>
                  </a:lnTo>
                  <a:lnTo>
                    <a:pt x="7871990" y="4750833"/>
                  </a:lnTo>
                  <a:lnTo>
                    <a:pt x="7867225" y="4760365"/>
                  </a:lnTo>
                  <a:lnTo>
                    <a:pt x="7895816" y="4793721"/>
                  </a:lnTo>
                  <a:lnTo>
                    <a:pt x="7905346" y="4808016"/>
                  </a:lnTo>
                  <a:lnTo>
                    <a:pt x="7910111" y="4831842"/>
                  </a:lnTo>
                  <a:lnTo>
                    <a:pt x="7914876" y="4855666"/>
                  </a:lnTo>
                  <a:lnTo>
                    <a:pt x="7905346" y="4869963"/>
                  </a:lnTo>
                  <a:lnTo>
                    <a:pt x="7871990" y="4884259"/>
                  </a:lnTo>
                  <a:lnTo>
                    <a:pt x="7824339" y="4874727"/>
                  </a:lnTo>
                  <a:lnTo>
                    <a:pt x="7748097" y="4850902"/>
                  </a:lnTo>
                  <a:lnTo>
                    <a:pt x="7671855" y="4817546"/>
                  </a:lnTo>
                  <a:lnTo>
                    <a:pt x="7600378" y="4755597"/>
                  </a:lnTo>
                  <a:lnTo>
                    <a:pt x="7547961" y="4698416"/>
                  </a:lnTo>
                  <a:lnTo>
                    <a:pt x="7528901" y="4665062"/>
                  </a:lnTo>
                  <a:lnTo>
                    <a:pt x="7524136" y="4641235"/>
                  </a:lnTo>
                  <a:lnTo>
                    <a:pt x="7543196" y="4622175"/>
                  </a:lnTo>
                  <a:lnTo>
                    <a:pt x="7609908" y="4593585"/>
                  </a:lnTo>
                  <a:lnTo>
                    <a:pt x="7676620" y="4579290"/>
                  </a:lnTo>
                  <a:lnTo>
                    <a:pt x="7667090" y="4564994"/>
                  </a:lnTo>
                  <a:lnTo>
                    <a:pt x="7543196" y="4526873"/>
                  </a:lnTo>
                  <a:lnTo>
                    <a:pt x="7505075" y="4522109"/>
                  </a:lnTo>
                  <a:lnTo>
                    <a:pt x="7481250" y="4531637"/>
                  </a:lnTo>
                  <a:lnTo>
                    <a:pt x="7457424" y="4526873"/>
                  </a:lnTo>
                  <a:lnTo>
                    <a:pt x="7438363" y="4498283"/>
                  </a:lnTo>
                  <a:lnTo>
                    <a:pt x="7414538" y="4445865"/>
                  </a:lnTo>
                  <a:lnTo>
                    <a:pt x="7400242" y="4412510"/>
                  </a:lnTo>
                  <a:lnTo>
                    <a:pt x="7400242" y="4398215"/>
                  </a:lnTo>
                  <a:lnTo>
                    <a:pt x="7409773" y="4393448"/>
                  </a:lnTo>
                  <a:lnTo>
                    <a:pt x="7466954" y="4398215"/>
                  </a:lnTo>
                  <a:lnTo>
                    <a:pt x="7471719" y="4393448"/>
                  </a:lnTo>
                  <a:lnTo>
                    <a:pt x="7447894" y="4369623"/>
                  </a:lnTo>
                  <a:lnTo>
                    <a:pt x="7357356" y="4317206"/>
                  </a:lnTo>
                  <a:lnTo>
                    <a:pt x="7324000" y="4269557"/>
                  </a:lnTo>
                  <a:lnTo>
                    <a:pt x="7319235" y="4250497"/>
                  </a:lnTo>
                  <a:lnTo>
                    <a:pt x="7314470" y="4231435"/>
                  </a:lnTo>
                  <a:lnTo>
                    <a:pt x="7314470" y="4217140"/>
                  </a:lnTo>
                  <a:lnTo>
                    <a:pt x="7352591" y="4179020"/>
                  </a:lnTo>
                  <a:lnTo>
                    <a:pt x="7452659" y="4098010"/>
                  </a:lnTo>
                  <a:lnTo>
                    <a:pt x="7486015" y="4083715"/>
                  </a:lnTo>
                  <a:lnTo>
                    <a:pt x="7524136" y="4083715"/>
                  </a:lnTo>
                  <a:lnTo>
                    <a:pt x="7547961" y="4059890"/>
                  </a:lnTo>
                  <a:lnTo>
                    <a:pt x="7567022" y="3978884"/>
                  </a:lnTo>
                  <a:lnTo>
                    <a:pt x="7676620" y="3945528"/>
                  </a:lnTo>
                  <a:lnTo>
                    <a:pt x="7757627" y="3912172"/>
                  </a:lnTo>
                  <a:lnTo>
                    <a:pt x="7762392" y="3902640"/>
                  </a:lnTo>
                  <a:lnTo>
                    <a:pt x="7700445" y="3907407"/>
                  </a:lnTo>
                  <a:lnTo>
                    <a:pt x="7614673" y="3902640"/>
                  </a:lnTo>
                  <a:lnTo>
                    <a:pt x="7581317" y="3845459"/>
                  </a:lnTo>
                  <a:lnTo>
                    <a:pt x="7552726" y="3835930"/>
                  </a:lnTo>
                  <a:lnTo>
                    <a:pt x="7524136" y="3835930"/>
                  </a:lnTo>
                  <a:lnTo>
                    <a:pt x="7495545" y="3854991"/>
                  </a:lnTo>
                  <a:lnTo>
                    <a:pt x="7438363" y="3902640"/>
                  </a:lnTo>
                  <a:lnTo>
                    <a:pt x="7414538" y="3916936"/>
                  </a:lnTo>
                  <a:lnTo>
                    <a:pt x="7352591" y="3969352"/>
                  </a:lnTo>
                  <a:lnTo>
                    <a:pt x="7338296" y="3964588"/>
                  </a:lnTo>
                  <a:lnTo>
                    <a:pt x="7328765" y="3959823"/>
                  </a:lnTo>
                  <a:lnTo>
                    <a:pt x="7324000" y="3950292"/>
                  </a:lnTo>
                  <a:lnTo>
                    <a:pt x="7338296" y="3916936"/>
                  </a:lnTo>
                  <a:lnTo>
                    <a:pt x="7352591" y="3888346"/>
                  </a:lnTo>
                  <a:lnTo>
                    <a:pt x="7347826" y="3883579"/>
                  </a:lnTo>
                  <a:lnTo>
                    <a:pt x="7324000" y="3878815"/>
                  </a:lnTo>
                  <a:lnTo>
                    <a:pt x="7300175" y="3878815"/>
                  </a:lnTo>
                  <a:lnTo>
                    <a:pt x="7281114" y="3888346"/>
                  </a:lnTo>
                  <a:lnTo>
                    <a:pt x="7209637" y="3931232"/>
                  </a:lnTo>
                  <a:lnTo>
                    <a:pt x="7181046" y="3969352"/>
                  </a:lnTo>
                  <a:lnTo>
                    <a:pt x="7171516" y="3969352"/>
                  </a:lnTo>
                  <a:lnTo>
                    <a:pt x="7138160" y="3916936"/>
                  </a:lnTo>
                  <a:lnTo>
                    <a:pt x="7085744" y="3888346"/>
                  </a:lnTo>
                  <a:lnTo>
                    <a:pt x="7071448" y="3864519"/>
                  </a:lnTo>
                  <a:lnTo>
                    <a:pt x="7080979" y="3769217"/>
                  </a:lnTo>
                  <a:lnTo>
                    <a:pt x="7100039" y="3750157"/>
                  </a:lnTo>
                  <a:lnTo>
                    <a:pt x="7138160" y="3735861"/>
                  </a:lnTo>
                  <a:lnTo>
                    <a:pt x="7262054" y="3650090"/>
                  </a:lnTo>
                  <a:lnTo>
                    <a:pt x="7266819" y="3631028"/>
                  </a:lnTo>
                  <a:lnTo>
                    <a:pt x="7281114" y="3588143"/>
                  </a:lnTo>
                  <a:lnTo>
                    <a:pt x="7252523" y="3597673"/>
                  </a:lnTo>
                  <a:lnTo>
                    <a:pt x="7190577" y="3640559"/>
                  </a:lnTo>
                  <a:lnTo>
                    <a:pt x="7138160" y="3659620"/>
                  </a:lnTo>
                  <a:lnTo>
                    <a:pt x="7100039" y="3659620"/>
                  </a:lnTo>
                  <a:lnTo>
                    <a:pt x="7071448" y="3654855"/>
                  </a:lnTo>
                  <a:lnTo>
                    <a:pt x="7052388" y="3640559"/>
                  </a:lnTo>
                  <a:lnTo>
                    <a:pt x="7028562" y="3616733"/>
                  </a:lnTo>
                  <a:lnTo>
                    <a:pt x="6957085" y="3488076"/>
                  </a:lnTo>
                  <a:lnTo>
                    <a:pt x="6938025" y="3426128"/>
                  </a:lnTo>
                  <a:lnTo>
                    <a:pt x="6933260" y="3373711"/>
                  </a:lnTo>
                  <a:lnTo>
                    <a:pt x="6928495" y="3330827"/>
                  </a:lnTo>
                  <a:lnTo>
                    <a:pt x="6909434" y="3230759"/>
                  </a:lnTo>
                  <a:lnTo>
                    <a:pt x="7061918" y="3292705"/>
                  </a:lnTo>
                  <a:lnTo>
                    <a:pt x="7123865" y="3306998"/>
                  </a:lnTo>
                  <a:lnTo>
                    <a:pt x="7242993" y="3311766"/>
                  </a:lnTo>
                  <a:lnTo>
                    <a:pt x="7247758" y="3302234"/>
                  </a:lnTo>
                  <a:lnTo>
                    <a:pt x="7247758" y="3287940"/>
                  </a:lnTo>
                  <a:lnTo>
                    <a:pt x="7247758" y="3259349"/>
                  </a:lnTo>
                  <a:lnTo>
                    <a:pt x="7247758" y="3240289"/>
                  </a:lnTo>
                  <a:lnTo>
                    <a:pt x="7252523" y="3225993"/>
                  </a:lnTo>
                  <a:lnTo>
                    <a:pt x="7295409" y="3187872"/>
                  </a:lnTo>
                  <a:lnTo>
                    <a:pt x="7300175" y="3178342"/>
                  </a:lnTo>
                  <a:lnTo>
                    <a:pt x="7252523" y="3168812"/>
                  </a:lnTo>
                  <a:lnTo>
                    <a:pt x="7157221" y="3230759"/>
                  </a:lnTo>
                  <a:lnTo>
                    <a:pt x="7123865" y="3230759"/>
                  </a:lnTo>
                  <a:lnTo>
                    <a:pt x="7085744" y="3144986"/>
                  </a:lnTo>
                  <a:lnTo>
                    <a:pt x="7042858" y="3159280"/>
                  </a:lnTo>
                  <a:lnTo>
                    <a:pt x="7023797" y="3154516"/>
                  </a:lnTo>
                  <a:lnTo>
                    <a:pt x="6995206" y="3130688"/>
                  </a:lnTo>
                  <a:lnTo>
                    <a:pt x="6980911" y="3111631"/>
                  </a:lnTo>
                  <a:lnTo>
                    <a:pt x="6971381" y="3087803"/>
                  </a:lnTo>
                  <a:lnTo>
                    <a:pt x="6966616" y="3063978"/>
                  </a:lnTo>
                  <a:lnTo>
                    <a:pt x="6971381" y="3049684"/>
                  </a:lnTo>
                  <a:lnTo>
                    <a:pt x="6976146" y="3030622"/>
                  </a:lnTo>
                  <a:lnTo>
                    <a:pt x="7014267" y="3006797"/>
                  </a:lnTo>
                  <a:lnTo>
                    <a:pt x="7028562" y="3002029"/>
                  </a:lnTo>
                  <a:lnTo>
                    <a:pt x="7071448" y="3021093"/>
                  </a:lnTo>
                  <a:lnTo>
                    <a:pt x="7100039" y="3016326"/>
                  </a:lnTo>
                  <a:lnTo>
                    <a:pt x="7090509" y="2992503"/>
                  </a:lnTo>
                  <a:lnTo>
                    <a:pt x="7042858" y="2921026"/>
                  </a:lnTo>
                  <a:lnTo>
                    <a:pt x="7004737" y="2840019"/>
                  </a:lnTo>
                  <a:lnTo>
                    <a:pt x="7009502" y="2711359"/>
                  </a:lnTo>
                  <a:lnTo>
                    <a:pt x="7042858" y="2682768"/>
                  </a:lnTo>
                  <a:lnTo>
                    <a:pt x="7076214" y="2678000"/>
                  </a:lnTo>
                  <a:lnTo>
                    <a:pt x="7104804" y="2711359"/>
                  </a:lnTo>
                  <a:lnTo>
                    <a:pt x="7152456" y="2716125"/>
                  </a:lnTo>
                  <a:lnTo>
                    <a:pt x="7181046" y="2754244"/>
                  </a:lnTo>
                  <a:lnTo>
                    <a:pt x="7204872" y="2825723"/>
                  </a:lnTo>
                  <a:lnTo>
                    <a:pt x="7228698" y="2825723"/>
                  </a:lnTo>
                  <a:lnTo>
                    <a:pt x="7266819" y="2835253"/>
                  </a:lnTo>
                  <a:lnTo>
                    <a:pt x="7352591" y="2835253"/>
                  </a:lnTo>
                  <a:lnTo>
                    <a:pt x="7338296" y="2811426"/>
                  </a:lnTo>
                  <a:lnTo>
                    <a:pt x="7309705" y="2787601"/>
                  </a:lnTo>
                  <a:lnTo>
                    <a:pt x="7247758" y="2759008"/>
                  </a:lnTo>
                  <a:lnTo>
                    <a:pt x="7219167" y="2649412"/>
                  </a:lnTo>
                  <a:lnTo>
                    <a:pt x="7157221" y="2596997"/>
                  </a:lnTo>
                  <a:lnTo>
                    <a:pt x="7104804" y="2568405"/>
                  </a:lnTo>
                  <a:lnTo>
                    <a:pt x="7104804" y="2544580"/>
                  </a:lnTo>
                  <a:lnTo>
                    <a:pt x="7142925" y="2406390"/>
                  </a:lnTo>
                  <a:lnTo>
                    <a:pt x="7190577" y="2358741"/>
                  </a:lnTo>
                  <a:lnTo>
                    <a:pt x="7262054" y="2373035"/>
                  </a:lnTo>
                  <a:lnTo>
                    <a:pt x="7309705" y="2349209"/>
                  </a:lnTo>
                  <a:lnTo>
                    <a:pt x="7371652" y="2301558"/>
                  </a:lnTo>
                  <a:lnTo>
                    <a:pt x="7428833" y="2320618"/>
                  </a:lnTo>
                  <a:lnTo>
                    <a:pt x="7443128" y="2320618"/>
                  </a:lnTo>
                  <a:lnTo>
                    <a:pt x="7452659" y="2306323"/>
                  </a:lnTo>
                  <a:lnTo>
                    <a:pt x="7462189" y="2277732"/>
                  </a:lnTo>
                  <a:lnTo>
                    <a:pt x="7462189" y="2249142"/>
                  </a:lnTo>
                  <a:lnTo>
                    <a:pt x="7452659" y="2225316"/>
                  </a:lnTo>
                  <a:lnTo>
                    <a:pt x="7433598" y="2196725"/>
                  </a:lnTo>
                  <a:lnTo>
                    <a:pt x="7357356" y="2191960"/>
                  </a:lnTo>
                  <a:lnTo>
                    <a:pt x="7324000" y="2177665"/>
                  </a:lnTo>
                  <a:lnTo>
                    <a:pt x="7309705" y="2163369"/>
                  </a:lnTo>
                  <a:lnTo>
                    <a:pt x="7309705" y="2139544"/>
                  </a:lnTo>
                  <a:lnTo>
                    <a:pt x="7304940" y="2110953"/>
                  </a:lnTo>
                  <a:lnTo>
                    <a:pt x="7304940" y="2087127"/>
                  </a:lnTo>
                  <a:lnTo>
                    <a:pt x="7309705" y="2068067"/>
                  </a:lnTo>
                  <a:lnTo>
                    <a:pt x="7314470" y="2063302"/>
                  </a:lnTo>
                  <a:lnTo>
                    <a:pt x="7333530" y="2049006"/>
                  </a:lnTo>
                  <a:lnTo>
                    <a:pt x="7405007" y="2049006"/>
                  </a:lnTo>
                  <a:close/>
                  <a:moveTo>
                    <a:pt x="11090833" y="0"/>
                  </a:moveTo>
                  <a:lnTo>
                    <a:pt x="11109893" y="9529"/>
                  </a:lnTo>
                  <a:lnTo>
                    <a:pt x="11124189" y="28591"/>
                  </a:lnTo>
                  <a:lnTo>
                    <a:pt x="11157545" y="119127"/>
                  </a:lnTo>
                  <a:lnTo>
                    <a:pt x="11167077" y="128658"/>
                  </a:lnTo>
                  <a:lnTo>
                    <a:pt x="11295733" y="152485"/>
                  </a:lnTo>
                  <a:lnTo>
                    <a:pt x="11338621" y="142954"/>
                  </a:lnTo>
                  <a:lnTo>
                    <a:pt x="11386273" y="200135"/>
                  </a:lnTo>
                  <a:lnTo>
                    <a:pt x="11414861" y="204900"/>
                  </a:lnTo>
                  <a:lnTo>
                    <a:pt x="11457749" y="195371"/>
                  </a:lnTo>
                  <a:lnTo>
                    <a:pt x="11495869" y="209666"/>
                  </a:lnTo>
                  <a:lnTo>
                    <a:pt x="11619761" y="219197"/>
                  </a:lnTo>
                  <a:lnTo>
                    <a:pt x="11648353" y="243022"/>
                  </a:lnTo>
                  <a:lnTo>
                    <a:pt x="11648353" y="271613"/>
                  </a:lnTo>
                  <a:lnTo>
                    <a:pt x="11619761" y="328794"/>
                  </a:lnTo>
                  <a:lnTo>
                    <a:pt x="11581641" y="381211"/>
                  </a:lnTo>
                  <a:lnTo>
                    <a:pt x="11343385" y="552755"/>
                  </a:lnTo>
                  <a:lnTo>
                    <a:pt x="11329089" y="586111"/>
                  </a:lnTo>
                  <a:lnTo>
                    <a:pt x="11371977" y="590876"/>
                  </a:lnTo>
                  <a:lnTo>
                    <a:pt x="11443453" y="586111"/>
                  </a:lnTo>
                  <a:lnTo>
                    <a:pt x="11495869" y="567050"/>
                  </a:lnTo>
                  <a:lnTo>
                    <a:pt x="11557817" y="505104"/>
                  </a:lnTo>
                  <a:lnTo>
                    <a:pt x="11576877" y="505104"/>
                  </a:lnTo>
                  <a:lnTo>
                    <a:pt x="11619761" y="476513"/>
                  </a:lnTo>
                  <a:lnTo>
                    <a:pt x="11696005" y="395506"/>
                  </a:lnTo>
                  <a:lnTo>
                    <a:pt x="11757953" y="347855"/>
                  </a:lnTo>
                  <a:lnTo>
                    <a:pt x="11781777" y="371680"/>
                  </a:lnTo>
                  <a:lnTo>
                    <a:pt x="11805601" y="400271"/>
                  </a:lnTo>
                  <a:lnTo>
                    <a:pt x="11824665" y="405036"/>
                  </a:lnTo>
                  <a:lnTo>
                    <a:pt x="11829429" y="381211"/>
                  </a:lnTo>
                  <a:lnTo>
                    <a:pt x="11843725" y="314499"/>
                  </a:lnTo>
                  <a:lnTo>
                    <a:pt x="11853253" y="290674"/>
                  </a:lnTo>
                  <a:lnTo>
                    <a:pt x="11872313" y="276378"/>
                  </a:lnTo>
                  <a:lnTo>
                    <a:pt x="11886609" y="276378"/>
                  </a:lnTo>
                  <a:lnTo>
                    <a:pt x="11905669" y="304970"/>
                  </a:lnTo>
                  <a:lnTo>
                    <a:pt x="11924729" y="381211"/>
                  </a:lnTo>
                  <a:lnTo>
                    <a:pt x="11948557" y="428862"/>
                  </a:lnTo>
                  <a:lnTo>
                    <a:pt x="11958085" y="428862"/>
                  </a:lnTo>
                  <a:lnTo>
                    <a:pt x="12005737" y="371680"/>
                  </a:lnTo>
                  <a:lnTo>
                    <a:pt x="12029565" y="366915"/>
                  </a:lnTo>
                  <a:lnTo>
                    <a:pt x="12081981" y="385976"/>
                  </a:lnTo>
                  <a:lnTo>
                    <a:pt x="12105805" y="414568"/>
                  </a:lnTo>
                  <a:lnTo>
                    <a:pt x="12105805" y="438392"/>
                  </a:lnTo>
                  <a:lnTo>
                    <a:pt x="12096277" y="466983"/>
                  </a:lnTo>
                  <a:lnTo>
                    <a:pt x="12086745" y="490809"/>
                  </a:lnTo>
                  <a:lnTo>
                    <a:pt x="12081981" y="509869"/>
                  </a:lnTo>
                  <a:lnTo>
                    <a:pt x="12091509" y="533695"/>
                  </a:lnTo>
                  <a:lnTo>
                    <a:pt x="12120101" y="586111"/>
                  </a:lnTo>
                  <a:lnTo>
                    <a:pt x="12167753" y="690944"/>
                  </a:lnTo>
                  <a:lnTo>
                    <a:pt x="12167753" y="729065"/>
                  </a:lnTo>
                  <a:lnTo>
                    <a:pt x="12143925" y="810072"/>
                  </a:lnTo>
                  <a:lnTo>
                    <a:pt x="12143925" y="829133"/>
                  </a:lnTo>
                  <a:lnTo>
                    <a:pt x="12263053" y="748126"/>
                  </a:lnTo>
                  <a:lnTo>
                    <a:pt x="12386949" y="781482"/>
                  </a:lnTo>
                  <a:lnTo>
                    <a:pt x="12420305" y="810072"/>
                  </a:lnTo>
                  <a:lnTo>
                    <a:pt x="12434601" y="838663"/>
                  </a:lnTo>
                  <a:lnTo>
                    <a:pt x="12448893" y="886314"/>
                  </a:lnTo>
                  <a:lnTo>
                    <a:pt x="12463189" y="957791"/>
                  </a:lnTo>
                  <a:lnTo>
                    <a:pt x="12453661" y="1029268"/>
                  </a:lnTo>
                  <a:lnTo>
                    <a:pt x="12396477" y="1138866"/>
                  </a:lnTo>
                  <a:lnTo>
                    <a:pt x="12344061" y="1224638"/>
                  </a:lnTo>
                  <a:lnTo>
                    <a:pt x="12310705" y="1300880"/>
                  </a:lnTo>
                  <a:lnTo>
                    <a:pt x="12258289" y="1339001"/>
                  </a:lnTo>
                  <a:lnTo>
                    <a:pt x="12091509" y="1520076"/>
                  </a:lnTo>
                  <a:lnTo>
                    <a:pt x="12005737" y="1577258"/>
                  </a:lnTo>
                  <a:lnTo>
                    <a:pt x="11958085" y="1634439"/>
                  </a:lnTo>
                  <a:lnTo>
                    <a:pt x="11934261" y="1643969"/>
                  </a:lnTo>
                  <a:lnTo>
                    <a:pt x="11834193" y="1629674"/>
                  </a:lnTo>
                  <a:lnTo>
                    <a:pt x="11805601" y="1663030"/>
                  </a:lnTo>
                  <a:lnTo>
                    <a:pt x="11791309" y="1715446"/>
                  </a:lnTo>
                  <a:lnTo>
                    <a:pt x="11757953" y="1739273"/>
                  </a:lnTo>
                  <a:lnTo>
                    <a:pt x="11710301" y="1753567"/>
                  </a:lnTo>
                  <a:lnTo>
                    <a:pt x="11614997" y="1767863"/>
                  </a:lnTo>
                  <a:lnTo>
                    <a:pt x="11595937" y="1825044"/>
                  </a:lnTo>
                  <a:lnTo>
                    <a:pt x="11586405" y="1863165"/>
                  </a:lnTo>
                  <a:lnTo>
                    <a:pt x="11576877" y="1896521"/>
                  </a:lnTo>
                  <a:lnTo>
                    <a:pt x="11572113" y="1910817"/>
                  </a:lnTo>
                  <a:lnTo>
                    <a:pt x="11295733" y="2110952"/>
                  </a:lnTo>
                  <a:lnTo>
                    <a:pt x="11286205" y="2139543"/>
                  </a:lnTo>
                  <a:lnTo>
                    <a:pt x="11314793" y="2153838"/>
                  </a:lnTo>
                  <a:lnTo>
                    <a:pt x="11352917" y="2139543"/>
                  </a:lnTo>
                  <a:lnTo>
                    <a:pt x="11753185" y="1901286"/>
                  </a:lnTo>
                  <a:lnTo>
                    <a:pt x="11834193" y="1882226"/>
                  </a:lnTo>
                  <a:lnTo>
                    <a:pt x="11905669" y="1901286"/>
                  </a:lnTo>
                  <a:lnTo>
                    <a:pt x="11896141" y="1958468"/>
                  </a:lnTo>
                  <a:lnTo>
                    <a:pt x="11796073" y="2115717"/>
                  </a:lnTo>
                  <a:lnTo>
                    <a:pt x="11662649" y="2258671"/>
                  </a:lnTo>
                  <a:lnTo>
                    <a:pt x="11600701" y="2363505"/>
                  </a:lnTo>
                  <a:lnTo>
                    <a:pt x="11438689" y="2544580"/>
                  </a:lnTo>
                  <a:lnTo>
                    <a:pt x="11300497" y="2720889"/>
                  </a:lnTo>
                  <a:lnTo>
                    <a:pt x="11252849" y="2811426"/>
                  </a:lnTo>
                  <a:lnTo>
                    <a:pt x="11181369" y="2963909"/>
                  </a:lnTo>
                  <a:lnTo>
                    <a:pt x="11157545" y="3002029"/>
                  </a:lnTo>
                  <a:lnTo>
                    <a:pt x="11128953" y="3016326"/>
                  </a:lnTo>
                  <a:lnTo>
                    <a:pt x="11095597" y="3011562"/>
                  </a:lnTo>
                  <a:lnTo>
                    <a:pt x="11067009" y="2987736"/>
                  </a:lnTo>
                  <a:lnTo>
                    <a:pt x="11024121" y="2930551"/>
                  </a:lnTo>
                  <a:lnTo>
                    <a:pt x="10990765" y="2863841"/>
                  </a:lnTo>
                  <a:lnTo>
                    <a:pt x="10976469" y="2854313"/>
                  </a:lnTo>
                  <a:lnTo>
                    <a:pt x="10986001" y="2887668"/>
                  </a:lnTo>
                  <a:lnTo>
                    <a:pt x="11057477" y="3102099"/>
                  </a:lnTo>
                  <a:lnTo>
                    <a:pt x="11047949" y="3140220"/>
                  </a:lnTo>
                  <a:lnTo>
                    <a:pt x="10919289" y="3183104"/>
                  </a:lnTo>
                  <a:lnTo>
                    <a:pt x="10857341" y="3221227"/>
                  </a:lnTo>
                  <a:lnTo>
                    <a:pt x="10828753" y="3230756"/>
                  </a:lnTo>
                  <a:lnTo>
                    <a:pt x="10809689" y="3225993"/>
                  </a:lnTo>
                  <a:lnTo>
                    <a:pt x="10785865" y="3225993"/>
                  </a:lnTo>
                  <a:lnTo>
                    <a:pt x="10766805" y="3240287"/>
                  </a:lnTo>
                  <a:lnTo>
                    <a:pt x="10766805" y="3259349"/>
                  </a:lnTo>
                  <a:lnTo>
                    <a:pt x="10785865" y="3273642"/>
                  </a:lnTo>
                  <a:lnTo>
                    <a:pt x="10838281" y="3287937"/>
                  </a:lnTo>
                  <a:lnTo>
                    <a:pt x="10952645" y="3245053"/>
                  </a:lnTo>
                  <a:lnTo>
                    <a:pt x="10971705" y="3245053"/>
                  </a:lnTo>
                  <a:lnTo>
                    <a:pt x="11000297" y="3268878"/>
                  </a:lnTo>
                  <a:lnTo>
                    <a:pt x="11000297" y="3287937"/>
                  </a:lnTo>
                  <a:lnTo>
                    <a:pt x="10971705" y="3354650"/>
                  </a:lnTo>
                  <a:lnTo>
                    <a:pt x="10876401" y="3430892"/>
                  </a:lnTo>
                  <a:lnTo>
                    <a:pt x="10890697" y="3435656"/>
                  </a:lnTo>
                  <a:lnTo>
                    <a:pt x="10914525" y="3464249"/>
                  </a:lnTo>
                  <a:lnTo>
                    <a:pt x="10914525" y="3488073"/>
                  </a:lnTo>
                  <a:lnTo>
                    <a:pt x="10885933" y="3545254"/>
                  </a:lnTo>
                  <a:lnTo>
                    <a:pt x="10871637" y="3564315"/>
                  </a:lnTo>
                  <a:lnTo>
                    <a:pt x="10781101" y="3616731"/>
                  </a:lnTo>
                  <a:lnTo>
                    <a:pt x="10742981" y="3631027"/>
                  </a:lnTo>
                  <a:lnTo>
                    <a:pt x="10709625" y="3626263"/>
                  </a:lnTo>
                  <a:lnTo>
                    <a:pt x="10552373" y="3507134"/>
                  </a:lnTo>
                  <a:lnTo>
                    <a:pt x="10495193" y="3492839"/>
                  </a:lnTo>
                  <a:lnTo>
                    <a:pt x="10442777" y="3459481"/>
                  </a:lnTo>
                  <a:lnTo>
                    <a:pt x="10399889" y="3464249"/>
                  </a:lnTo>
                  <a:lnTo>
                    <a:pt x="10361769" y="3502369"/>
                  </a:lnTo>
                  <a:lnTo>
                    <a:pt x="10380829" y="3516665"/>
                  </a:lnTo>
                  <a:lnTo>
                    <a:pt x="10457073" y="3550021"/>
                  </a:lnTo>
                  <a:lnTo>
                    <a:pt x="10519017" y="3559550"/>
                  </a:lnTo>
                  <a:lnTo>
                    <a:pt x="10547609" y="3569082"/>
                  </a:lnTo>
                  <a:lnTo>
                    <a:pt x="10557141" y="3592907"/>
                  </a:lnTo>
                  <a:lnTo>
                    <a:pt x="10585729" y="3669148"/>
                  </a:lnTo>
                  <a:lnTo>
                    <a:pt x="10590493" y="3707271"/>
                  </a:lnTo>
                  <a:lnTo>
                    <a:pt x="10580965" y="3745390"/>
                  </a:lnTo>
                  <a:lnTo>
                    <a:pt x="10576201" y="3773982"/>
                  </a:lnTo>
                  <a:lnTo>
                    <a:pt x="10561905" y="3788278"/>
                  </a:lnTo>
                  <a:lnTo>
                    <a:pt x="10547609" y="3797806"/>
                  </a:lnTo>
                  <a:lnTo>
                    <a:pt x="10485661" y="3793042"/>
                  </a:lnTo>
                  <a:lnTo>
                    <a:pt x="10461837" y="3802572"/>
                  </a:lnTo>
                  <a:lnTo>
                    <a:pt x="10433245" y="3821634"/>
                  </a:lnTo>
                  <a:lnTo>
                    <a:pt x="10399889" y="3831163"/>
                  </a:lnTo>
                  <a:lnTo>
                    <a:pt x="10337945" y="3826398"/>
                  </a:lnTo>
                  <a:lnTo>
                    <a:pt x="10266465" y="3859755"/>
                  </a:lnTo>
                  <a:lnTo>
                    <a:pt x="10228345" y="3864519"/>
                  </a:lnTo>
                  <a:lnTo>
                    <a:pt x="10185461" y="3850223"/>
                  </a:lnTo>
                  <a:lnTo>
                    <a:pt x="10142573" y="3816867"/>
                  </a:lnTo>
                  <a:lnTo>
                    <a:pt x="10094922" y="3797806"/>
                  </a:lnTo>
                  <a:lnTo>
                    <a:pt x="10009149" y="3783512"/>
                  </a:lnTo>
                  <a:lnTo>
                    <a:pt x="10018680" y="3802572"/>
                  </a:lnTo>
                  <a:lnTo>
                    <a:pt x="10047270" y="3812102"/>
                  </a:lnTo>
                  <a:lnTo>
                    <a:pt x="10104452" y="3864519"/>
                  </a:lnTo>
                  <a:lnTo>
                    <a:pt x="10133042" y="3940760"/>
                  </a:lnTo>
                  <a:lnTo>
                    <a:pt x="10161633" y="3955056"/>
                  </a:lnTo>
                  <a:lnTo>
                    <a:pt x="10214049" y="4012237"/>
                  </a:lnTo>
                  <a:lnTo>
                    <a:pt x="10252169" y="4021769"/>
                  </a:lnTo>
                  <a:lnTo>
                    <a:pt x="10295057" y="4045594"/>
                  </a:lnTo>
                  <a:lnTo>
                    <a:pt x="10352237" y="4017002"/>
                  </a:lnTo>
                  <a:lnTo>
                    <a:pt x="10390361" y="4021769"/>
                  </a:lnTo>
                  <a:lnTo>
                    <a:pt x="10380829" y="4169488"/>
                  </a:lnTo>
                  <a:lnTo>
                    <a:pt x="10361769" y="4183784"/>
                  </a:lnTo>
                  <a:lnTo>
                    <a:pt x="10271233" y="4183784"/>
                  </a:lnTo>
                  <a:lnTo>
                    <a:pt x="10228345" y="4159956"/>
                  </a:lnTo>
                  <a:lnTo>
                    <a:pt x="10209285" y="4140895"/>
                  </a:lnTo>
                  <a:lnTo>
                    <a:pt x="10166398" y="4112307"/>
                  </a:lnTo>
                  <a:lnTo>
                    <a:pt x="10128278" y="4131367"/>
                  </a:lnTo>
                  <a:lnTo>
                    <a:pt x="10090156" y="4126600"/>
                  </a:lnTo>
                  <a:lnTo>
                    <a:pt x="10066331" y="4140895"/>
                  </a:lnTo>
                  <a:lnTo>
                    <a:pt x="10032975" y="4140895"/>
                  </a:lnTo>
                  <a:lnTo>
                    <a:pt x="9932907" y="4164723"/>
                  </a:lnTo>
                  <a:lnTo>
                    <a:pt x="9880491" y="4164723"/>
                  </a:lnTo>
                  <a:lnTo>
                    <a:pt x="9842370" y="4150427"/>
                  </a:lnTo>
                  <a:lnTo>
                    <a:pt x="9799484" y="4145660"/>
                  </a:lnTo>
                  <a:lnTo>
                    <a:pt x="9747067" y="4150427"/>
                  </a:lnTo>
                  <a:lnTo>
                    <a:pt x="9751832" y="4164723"/>
                  </a:lnTo>
                  <a:lnTo>
                    <a:pt x="9775658" y="4169488"/>
                  </a:lnTo>
                  <a:lnTo>
                    <a:pt x="9804249" y="4198077"/>
                  </a:lnTo>
                  <a:lnTo>
                    <a:pt x="9832840" y="4240965"/>
                  </a:lnTo>
                  <a:lnTo>
                    <a:pt x="9856665" y="4260025"/>
                  </a:lnTo>
                  <a:lnTo>
                    <a:pt x="9885256" y="4250494"/>
                  </a:lnTo>
                  <a:lnTo>
                    <a:pt x="9913847" y="4231433"/>
                  </a:lnTo>
                  <a:lnTo>
                    <a:pt x="10023444" y="4198077"/>
                  </a:lnTo>
                  <a:lnTo>
                    <a:pt x="10071096" y="4193312"/>
                  </a:lnTo>
                  <a:lnTo>
                    <a:pt x="10109217" y="4207608"/>
                  </a:lnTo>
                  <a:lnTo>
                    <a:pt x="10137808" y="4221904"/>
                  </a:lnTo>
                  <a:lnTo>
                    <a:pt x="10156868" y="4245729"/>
                  </a:lnTo>
                  <a:lnTo>
                    <a:pt x="10185461" y="4302910"/>
                  </a:lnTo>
                  <a:lnTo>
                    <a:pt x="10247405" y="4307676"/>
                  </a:lnTo>
                  <a:lnTo>
                    <a:pt x="10290293" y="4326735"/>
                  </a:lnTo>
                  <a:lnTo>
                    <a:pt x="10366533" y="4407743"/>
                  </a:lnTo>
                  <a:lnTo>
                    <a:pt x="10385593" y="4412508"/>
                  </a:lnTo>
                  <a:lnTo>
                    <a:pt x="10395125" y="4436336"/>
                  </a:lnTo>
                  <a:lnTo>
                    <a:pt x="10380829" y="4483985"/>
                  </a:lnTo>
                  <a:lnTo>
                    <a:pt x="10380829" y="4517341"/>
                  </a:lnTo>
                  <a:lnTo>
                    <a:pt x="10328413" y="4574522"/>
                  </a:lnTo>
                  <a:lnTo>
                    <a:pt x="10247405" y="4593582"/>
                  </a:lnTo>
                  <a:lnTo>
                    <a:pt x="10156868" y="4588818"/>
                  </a:lnTo>
                  <a:lnTo>
                    <a:pt x="10094922" y="4593582"/>
                  </a:lnTo>
                  <a:lnTo>
                    <a:pt x="10085391" y="4603114"/>
                  </a:lnTo>
                  <a:lnTo>
                    <a:pt x="10128278" y="4617411"/>
                  </a:lnTo>
                  <a:lnTo>
                    <a:pt x="10233109" y="4688888"/>
                  </a:lnTo>
                  <a:lnTo>
                    <a:pt x="10271233" y="4722240"/>
                  </a:lnTo>
                  <a:lnTo>
                    <a:pt x="10275997" y="4746069"/>
                  </a:lnTo>
                  <a:lnTo>
                    <a:pt x="10223581" y="4827074"/>
                  </a:lnTo>
                  <a:lnTo>
                    <a:pt x="10171164" y="4989089"/>
                  </a:lnTo>
                  <a:lnTo>
                    <a:pt x="10156868" y="4998621"/>
                  </a:lnTo>
                  <a:lnTo>
                    <a:pt x="10137808" y="5003385"/>
                  </a:lnTo>
                  <a:lnTo>
                    <a:pt x="10094922" y="5003385"/>
                  </a:lnTo>
                  <a:lnTo>
                    <a:pt x="10042505" y="5041505"/>
                  </a:lnTo>
                  <a:lnTo>
                    <a:pt x="9999619" y="5051038"/>
                  </a:lnTo>
                  <a:lnTo>
                    <a:pt x="9923377" y="5036741"/>
                  </a:lnTo>
                  <a:lnTo>
                    <a:pt x="9837605" y="5036741"/>
                  </a:lnTo>
                  <a:lnTo>
                    <a:pt x="9828074" y="5060566"/>
                  </a:lnTo>
                  <a:lnTo>
                    <a:pt x="9828074" y="5108218"/>
                  </a:lnTo>
                  <a:lnTo>
                    <a:pt x="9828074" y="5184460"/>
                  </a:lnTo>
                  <a:lnTo>
                    <a:pt x="9832840" y="5279761"/>
                  </a:lnTo>
                  <a:lnTo>
                    <a:pt x="9828074" y="5351238"/>
                  </a:lnTo>
                  <a:lnTo>
                    <a:pt x="9813779" y="5394123"/>
                  </a:lnTo>
                  <a:lnTo>
                    <a:pt x="9794718" y="5427480"/>
                  </a:lnTo>
                  <a:lnTo>
                    <a:pt x="9761363" y="5456072"/>
                  </a:lnTo>
                  <a:lnTo>
                    <a:pt x="9728007" y="5475132"/>
                  </a:lnTo>
                  <a:lnTo>
                    <a:pt x="9704181" y="5484664"/>
                  </a:lnTo>
                  <a:lnTo>
                    <a:pt x="9661295" y="5484664"/>
                  </a:lnTo>
                  <a:lnTo>
                    <a:pt x="9542167" y="5508489"/>
                  </a:lnTo>
                  <a:lnTo>
                    <a:pt x="9484985" y="5503722"/>
                  </a:lnTo>
                  <a:lnTo>
                    <a:pt x="9437334" y="5494193"/>
                  </a:lnTo>
                  <a:lnTo>
                    <a:pt x="9389683" y="5465600"/>
                  </a:lnTo>
                  <a:lnTo>
                    <a:pt x="9313441" y="5375065"/>
                  </a:lnTo>
                  <a:lnTo>
                    <a:pt x="9289615" y="5356003"/>
                  </a:lnTo>
                  <a:lnTo>
                    <a:pt x="9265789" y="5346474"/>
                  </a:lnTo>
                  <a:lnTo>
                    <a:pt x="9270554" y="5365535"/>
                  </a:lnTo>
                  <a:lnTo>
                    <a:pt x="9289615" y="5413187"/>
                  </a:lnTo>
                  <a:lnTo>
                    <a:pt x="9313441" y="5446541"/>
                  </a:lnTo>
                  <a:lnTo>
                    <a:pt x="9327736" y="5460836"/>
                  </a:lnTo>
                  <a:lnTo>
                    <a:pt x="9322971" y="5475132"/>
                  </a:lnTo>
                  <a:lnTo>
                    <a:pt x="9289615" y="5498959"/>
                  </a:lnTo>
                  <a:lnTo>
                    <a:pt x="9251494" y="5508489"/>
                  </a:lnTo>
                  <a:lnTo>
                    <a:pt x="9203843" y="5508489"/>
                  </a:lnTo>
                  <a:lnTo>
                    <a:pt x="9203843" y="5518018"/>
                  </a:lnTo>
                  <a:lnTo>
                    <a:pt x="9218138" y="5541845"/>
                  </a:lnTo>
                  <a:lnTo>
                    <a:pt x="9237198" y="5565670"/>
                  </a:lnTo>
                  <a:lnTo>
                    <a:pt x="9251494" y="5575202"/>
                  </a:lnTo>
                  <a:lnTo>
                    <a:pt x="9284850" y="5565670"/>
                  </a:lnTo>
                  <a:lnTo>
                    <a:pt x="9327736" y="5537077"/>
                  </a:lnTo>
                  <a:lnTo>
                    <a:pt x="9351562" y="5527549"/>
                  </a:lnTo>
                  <a:lnTo>
                    <a:pt x="9403978" y="5537077"/>
                  </a:lnTo>
                  <a:lnTo>
                    <a:pt x="9423038" y="5546608"/>
                  </a:lnTo>
                  <a:lnTo>
                    <a:pt x="9484985" y="5613322"/>
                  </a:lnTo>
                  <a:lnTo>
                    <a:pt x="9494516" y="5613322"/>
                  </a:lnTo>
                  <a:lnTo>
                    <a:pt x="9537402" y="5579966"/>
                  </a:lnTo>
                  <a:lnTo>
                    <a:pt x="9604113" y="5579966"/>
                  </a:lnTo>
                  <a:lnTo>
                    <a:pt x="9627939" y="5608555"/>
                  </a:lnTo>
                  <a:lnTo>
                    <a:pt x="9637469" y="5656207"/>
                  </a:lnTo>
                  <a:lnTo>
                    <a:pt x="9642234" y="5699092"/>
                  </a:lnTo>
                  <a:lnTo>
                    <a:pt x="9632704" y="5732447"/>
                  </a:lnTo>
                  <a:lnTo>
                    <a:pt x="9647000" y="5761041"/>
                  </a:lnTo>
                  <a:lnTo>
                    <a:pt x="9685120" y="5789628"/>
                  </a:lnTo>
                  <a:lnTo>
                    <a:pt x="9713711" y="5799160"/>
                  </a:lnTo>
                  <a:lnTo>
                    <a:pt x="9737537" y="5780101"/>
                  </a:lnTo>
                  <a:lnTo>
                    <a:pt x="9766128" y="5741980"/>
                  </a:lnTo>
                  <a:lnTo>
                    <a:pt x="9780423" y="5732447"/>
                  </a:lnTo>
                  <a:lnTo>
                    <a:pt x="9794718" y="5732447"/>
                  </a:lnTo>
                  <a:lnTo>
                    <a:pt x="9813779" y="5761041"/>
                  </a:lnTo>
                  <a:lnTo>
                    <a:pt x="9837605" y="5818221"/>
                  </a:lnTo>
                  <a:lnTo>
                    <a:pt x="9842370" y="5884931"/>
                  </a:lnTo>
                  <a:lnTo>
                    <a:pt x="9818544" y="5961176"/>
                  </a:lnTo>
                  <a:lnTo>
                    <a:pt x="9794718" y="6008828"/>
                  </a:lnTo>
                  <a:lnTo>
                    <a:pt x="9694651" y="6089834"/>
                  </a:lnTo>
                  <a:lnTo>
                    <a:pt x="9661295" y="6123190"/>
                  </a:lnTo>
                  <a:lnTo>
                    <a:pt x="9637469" y="6156547"/>
                  </a:lnTo>
                  <a:lnTo>
                    <a:pt x="9604113" y="6185136"/>
                  </a:lnTo>
                  <a:lnTo>
                    <a:pt x="9532636" y="6223255"/>
                  </a:lnTo>
                  <a:lnTo>
                    <a:pt x="9499281" y="6228023"/>
                  </a:lnTo>
                  <a:lnTo>
                    <a:pt x="9418273" y="6270909"/>
                  </a:lnTo>
                  <a:lnTo>
                    <a:pt x="9403978" y="6275673"/>
                  </a:lnTo>
                  <a:lnTo>
                    <a:pt x="9375387" y="6266144"/>
                  </a:lnTo>
                  <a:lnTo>
                    <a:pt x="9370622" y="6247084"/>
                  </a:lnTo>
                  <a:lnTo>
                    <a:pt x="9375387" y="6208961"/>
                  </a:lnTo>
                  <a:lnTo>
                    <a:pt x="9384918" y="6175606"/>
                  </a:lnTo>
                  <a:lnTo>
                    <a:pt x="9394448" y="6147015"/>
                  </a:lnTo>
                  <a:lnTo>
                    <a:pt x="9399213" y="6118426"/>
                  </a:lnTo>
                  <a:lnTo>
                    <a:pt x="9375387" y="6080303"/>
                  </a:lnTo>
                  <a:lnTo>
                    <a:pt x="9361092" y="6061242"/>
                  </a:lnTo>
                  <a:lnTo>
                    <a:pt x="9342031" y="6051713"/>
                  </a:lnTo>
                  <a:lnTo>
                    <a:pt x="9313441" y="6056477"/>
                  </a:lnTo>
                  <a:lnTo>
                    <a:pt x="9294380" y="6066009"/>
                  </a:lnTo>
                  <a:lnTo>
                    <a:pt x="9280085" y="6070773"/>
                  </a:lnTo>
                  <a:lnTo>
                    <a:pt x="9261024" y="6061242"/>
                  </a:lnTo>
                  <a:lnTo>
                    <a:pt x="9241964" y="6042184"/>
                  </a:lnTo>
                  <a:lnTo>
                    <a:pt x="9208608" y="5970705"/>
                  </a:lnTo>
                  <a:lnTo>
                    <a:pt x="9194312" y="5961176"/>
                  </a:lnTo>
                  <a:lnTo>
                    <a:pt x="9180017" y="5965940"/>
                  </a:lnTo>
                  <a:lnTo>
                    <a:pt x="9165722" y="5951644"/>
                  </a:lnTo>
                  <a:lnTo>
                    <a:pt x="9151426" y="5932584"/>
                  </a:lnTo>
                  <a:lnTo>
                    <a:pt x="9132366" y="5908759"/>
                  </a:lnTo>
                  <a:lnTo>
                    <a:pt x="9137131" y="5923054"/>
                  </a:lnTo>
                  <a:lnTo>
                    <a:pt x="9156191" y="5965940"/>
                  </a:lnTo>
                  <a:lnTo>
                    <a:pt x="9175252" y="6008828"/>
                  </a:lnTo>
                  <a:lnTo>
                    <a:pt x="9180017" y="6046948"/>
                  </a:lnTo>
                  <a:lnTo>
                    <a:pt x="9180017" y="6080303"/>
                  </a:lnTo>
                  <a:lnTo>
                    <a:pt x="8998942" y="6099363"/>
                  </a:lnTo>
                  <a:lnTo>
                    <a:pt x="8917935" y="6089834"/>
                  </a:lnTo>
                  <a:lnTo>
                    <a:pt x="8903640" y="6061242"/>
                  </a:lnTo>
                  <a:lnTo>
                    <a:pt x="8865519" y="5942115"/>
                  </a:lnTo>
                  <a:lnTo>
                    <a:pt x="8860754" y="6151779"/>
                  </a:lnTo>
                  <a:lnTo>
                    <a:pt x="8722565" y="6189900"/>
                  </a:lnTo>
                  <a:lnTo>
                    <a:pt x="8693974" y="6180371"/>
                  </a:lnTo>
                  <a:lnTo>
                    <a:pt x="8641558" y="6156547"/>
                  </a:lnTo>
                  <a:lnTo>
                    <a:pt x="8572463" y="6104129"/>
                  </a:lnTo>
                  <a:lnTo>
                    <a:pt x="8543872" y="6066009"/>
                  </a:lnTo>
                  <a:lnTo>
                    <a:pt x="8534342" y="6027886"/>
                  </a:lnTo>
                  <a:lnTo>
                    <a:pt x="8524812" y="6004061"/>
                  </a:lnTo>
                  <a:lnTo>
                    <a:pt x="8520047" y="5999296"/>
                  </a:lnTo>
                  <a:lnTo>
                    <a:pt x="8505751" y="6046948"/>
                  </a:lnTo>
                  <a:lnTo>
                    <a:pt x="8486691" y="6142250"/>
                  </a:lnTo>
                  <a:lnTo>
                    <a:pt x="8439040" y="6118426"/>
                  </a:lnTo>
                  <a:lnTo>
                    <a:pt x="8381858" y="6094598"/>
                  </a:lnTo>
                  <a:lnTo>
                    <a:pt x="8358032" y="5999296"/>
                  </a:lnTo>
                  <a:lnTo>
                    <a:pt x="8358032" y="6132719"/>
                  </a:lnTo>
                  <a:lnTo>
                    <a:pt x="8262730" y="6118426"/>
                  </a:lnTo>
                  <a:lnTo>
                    <a:pt x="8219844" y="6123190"/>
                  </a:lnTo>
                  <a:lnTo>
                    <a:pt x="8205548" y="6004061"/>
                  </a:lnTo>
                  <a:lnTo>
                    <a:pt x="8200783" y="5875403"/>
                  </a:lnTo>
                  <a:lnTo>
                    <a:pt x="8181723" y="5956409"/>
                  </a:lnTo>
                  <a:lnTo>
                    <a:pt x="8191253" y="6027886"/>
                  </a:lnTo>
                  <a:lnTo>
                    <a:pt x="8196018" y="6108893"/>
                  </a:lnTo>
                  <a:lnTo>
                    <a:pt x="8153132" y="6085069"/>
                  </a:lnTo>
                  <a:lnTo>
                    <a:pt x="8067360" y="6075538"/>
                  </a:lnTo>
                  <a:lnTo>
                    <a:pt x="8034004" y="6066009"/>
                  </a:lnTo>
                  <a:lnTo>
                    <a:pt x="8038769" y="5951644"/>
                  </a:lnTo>
                  <a:lnTo>
                    <a:pt x="8043534" y="5837282"/>
                  </a:lnTo>
                  <a:lnTo>
                    <a:pt x="8157897" y="5722920"/>
                  </a:lnTo>
                  <a:lnTo>
                    <a:pt x="8191253" y="5665736"/>
                  </a:lnTo>
                  <a:lnTo>
                    <a:pt x="8215079" y="5646679"/>
                  </a:lnTo>
                  <a:lnTo>
                    <a:pt x="8257965" y="5632380"/>
                  </a:lnTo>
                  <a:lnTo>
                    <a:pt x="8305616" y="5622850"/>
                  </a:lnTo>
                  <a:lnTo>
                    <a:pt x="8338972" y="5627616"/>
                  </a:lnTo>
                  <a:lnTo>
                    <a:pt x="8381858" y="5622850"/>
                  </a:lnTo>
                  <a:lnTo>
                    <a:pt x="8424744" y="5603790"/>
                  </a:lnTo>
                  <a:lnTo>
                    <a:pt x="8458100" y="5594262"/>
                  </a:lnTo>
                  <a:lnTo>
                    <a:pt x="8462865" y="5589494"/>
                  </a:lnTo>
                  <a:lnTo>
                    <a:pt x="8453335" y="5575202"/>
                  </a:lnTo>
                  <a:lnTo>
                    <a:pt x="8419979" y="5498959"/>
                  </a:lnTo>
                  <a:lnTo>
                    <a:pt x="8405684" y="5484664"/>
                  </a:lnTo>
                  <a:lnTo>
                    <a:pt x="8396154" y="5475132"/>
                  </a:lnTo>
                  <a:lnTo>
                    <a:pt x="8367563" y="5475132"/>
                  </a:lnTo>
                  <a:lnTo>
                    <a:pt x="8343737" y="5437012"/>
                  </a:lnTo>
                  <a:lnTo>
                    <a:pt x="8329442" y="5408419"/>
                  </a:lnTo>
                  <a:lnTo>
                    <a:pt x="8315146" y="5370299"/>
                  </a:lnTo>
                  <a:lnTo>
                    <a:pt x="8291321" y="5289293"/>
                  </a:lnTo>
                  <a:lnTo>
                    <a:pt x="8262730" y="5203520"/>
                  </a:lnTo>
                  <a:lnTo>
                    <a:pt x="8277025" y="5155867"/>
                  </a:lnTo>
                  <a:lnTo>
                    <a:pt x="8315146" y="5117747"/>
                  </a:lnTo>
                  <a:lnTo>
                    <a:pt x="8358032" y="5089158"/>
                  </a:lnTo>
                  <a:lnTo>
                    <a:pt x="8400919" y="5074862"/>
                  </a:lnTo>
                  <a:lnTo>
                    <a:pt x="8434275" y="5074862"/>
                  </a:lnTo>
                  <a:lnTo>
                    <a:pt x="8472396" y="5098686"/>
                  </a:lnTo>
                  <a:lnTo>
                    <a:pt x="8529577" y="5136807"/>
                  </a:lnTo>
                  <a:lnTo>
                    <a:pt x="8562933" y="5184460"/>
                  </a:lnTo>
                  <a:lnTo>
                    <a:pt x="8603437" y="5279761"/>
                  </a:lnTo>
                  <a:lnTo>
                    <a:pt x="8632027" y="5356003"/>
                  </a:lnTo>
                  <a:lnTo>
                    <a:pt x="8655853" y="5389359"/>
                  </a:lnTo>
                  <a:lnTo>
                    <a:pt x="8755921" y="5451308"/>
                  </a:lnTo>
                  <a:lnTo>
                    <a:pt x="8789276" y="5465600"/>
                  </a:lnTo>
                  <a:lnTo>
                    <a:pt x="8827398" y="5460836"/>
                  </a:lnTo>
                  <a:lnTo>
                    <a:pt x="8908405" y="5441776"/>
                  </a:lnTo>
                  <a:lnTo>
                    <a:pt x="8946526" y="5427480"/>
                  </a:lnTo>
                  <a:lnTo>
                    <a:pt x="8960821" y="5403655"/>
                  </a:lnTo>
                  <a:lnTo>
                    <a:pt x="8970351" y="5375065"/>
                  </a:lnTo>
                  <a:lnTo>
                    <a:pt x="8984647" y="5351238"/>
                  </a:lnTo>
                  <a:lnTo>
                    <a:pt x="9018003" y="5303590"/>
                  </a:lnTo>
                  <a:lnTo>
                    <a:pt x="9075184" y="5193989"/>
                  </a:lnTo>
                  <a:lnTo>
                    <a:pt x="9103775" y="5108218"/>
                  </a:lnTo>
                  <a:lnTo>
                    <a:pt x="9108540" y="5079626"/>
                  </a:lnTo>
                  <a:lnTo>
                    <a:pt x="9118070" y="5041505"/>
                  </a:lnTo>
                  <a:lnTo>
                    <a:pt x="9122836" y="5003385"/>
                  </a:lnTo>
                  <a:lnTo>
                    <a:pt x="9103775" y="5022445"/>
                  </a:lnTo>
                  <a:lnTo>
                    <a:pt x="9008472" y="5236877"/>
                  </a:lnTo>
                  <a:lnTo>
                    <a:pt x="8989412" y="5274997"/>
                  </a:lnTo>
                  <a:lnTo>
                    <a:pt x="8936996" y="5341710"/>
                  </a:lnTo>
                  <a:lnTo>
                    <a:pt x="8913170" y="5351238"/>
                  </a:lnTo>
                  <a:lnTo>
                    <a:pt x="8875049" y="5346474"/>
                  </a:lnTo>
                  <a:lnTo>
                    <a:pt x="8827398" y="5317882"/>
                  </a:lnTo>
                  <a:lnTo>
                    <a:pt x="8770216" y="5365535"/>
                  </a:lnTo>
                  <a:lnTo>
                    <a:pt x="8732095" y="5351238"/>
                  </a:lnTo>
                  <a:lnTo>
                    <a:pt x="8698739" y="5322646"/>
                  </a:lnTo>
                  <a:lnTo>
                    <a:pt x="8698739" y="5170164"/>
                  </a:lnTo>
                  <a:lnTo>
                    <a:pt x="8660618" y="5051038"/>
                  </a:lnTo>
                  <a:lnTo>
                    <a:pt x="8703504" y="4989089"/>
                  </a:lnTo>
                  <a:lnTo>
                    <a:pt x="8741625" y="4950968"/>
                  </a:lnTo>
                  <a:lnTo>
                    <a:pt x="8803572" y="4846135"/>
                  </a:lnTo>
                  <a:lnTo>
                    <a:pt x="8817867" y="4846135"/>
                  </a:lnTo>
                  <a:lnTo>
                    <a:pt x="8865519" y="4860431"/>
                  </a:lnTo>
                  <a:lnTo>
                    <a:pt x="8841693" y="4841370"/>
                  </a:lnTo>
                  <a:lnTo>
                    <a:pt x="8817867" y="4803250"/>
                  </a:lnTo>
                  <a:lnTo>
                    <a:pt x="8760686" y="4812778"/>
                  </a:lnTo>
                  <a:lnTo>
                    <a:pt x="8779746" y="4588818"/>
                  </a:lnTo>
                  <a:lnTo>
                    <a:pt x="8741625" y="4755597"/>
                  </a:lnTo>
                  <a:lnTo>
                    <a:pt x="8703504" y="4846135"/>
                  </a:lnTo>
                  <a:lnTo>
                    <a:pt x="8679679" y="4889023"/>
                  </a:lnTo>
                  <a:lnTo>
                    <a:pt x="8655853" y="4912847"/>
                  </a:lnTo>
                  <a:lnTo>
                    <a:pt x="8558168" y="4931908"/>
                  </a:lnTo>
                  <a:lnTo>
                    <a:pt x="8579611" y="4855666"/>
                  </a:lnTo>
                  <a:lnTo>
                    <a:pt x="8603437" y="4736537"/>
                  </a:lnTo>
                  <a:lnTo>
                    <a:pt x="8579611" y="4779424"/>
                  </a:lnTo>
                  <a:lnTo>
                    <a:pt x="8524812" y="4846135"/>
                  </a:lnTo>
                  <a:lnTo>
                    <a:pt x="8481926" y="4879491"/>
                  </a:lnTo>
                  <a:lnTo>
                    <a:pt x="8448570" y="4898551"/>
                  </a:lnTo>
                  <a:lnTo>
                    <a:pt x="8381858" y="4893787"/>
                  </a:lnTo>
                  <a:lnTo>
                    <a:pt x="8348502" y="4860431"/>
                  </a:lnTo>
                  <a:lnTo>
                    <a:pt x="8358032" y="4779424"/>
                  </a:lnTo>
                  <a:lnTo>
                    <a:pt x="8358032" y="4674592"/>
                  </a:lnTo>
                  <a:lnTo>
                    <a:pt x="8381858" y="4626939"/>
                  </a:lnTo>
                  <a:lnTo>
                    <a:pt x="8410449" y="4564994"/>
                  </a:lnTo>
                  <a:lnTo>
                    <a:pt x="8443805" y="4483985"/>
                  </a:lnTo>
                  <a:lnTo>
                    <a:pt x="8467630" y="4393447"/>
                  </a:lnTo>
                  <a:lnTo>
                    <a:pt x="8553403" y="4355327"/>
                  </a:lnTo>
                  <a:lnTo>
                    <a:pt x="8636792" y="4336266"/>
                  </a:lnTo>
                  <a:lnTo>
                    <a:pt x="8708269" y="4293381"/>
                  </a:lnTo>
                  <a:lnTo>
                    <a:pt x="8746390" y="4283849"/>
                  </a:lnTo>
                  <a:lnTo>
                    <a:pt x="8779746" y="4307676"/>
                  </a:lnTo>
                  <a:lnTo>
                    <a:pt x="8917935" y="4341031"/>
                  </a:lnTo>
                  <a:lnTo>
                    <a:pt x="8970351" y="4369623"/>
                  </a:lnTo>
                  <a:lnTo>
                    <a:pt x="8998942" y="4388683"/>
                  </a:lnTo>
                  <a:lnTo>
                    <a:pt x="9013238" y="4398212"/>
                  </a:lnTo>
                  <a:lnTo>
                    <a:pt x="9037063" y="4369623"/>
                  </a:lnTo>
                  <a:lnTo>
                    <a:pt x="9060889" y="4336266"/>
                  </a:lnTo>
                  <a:lnTo>
                    <a:pt x="9146661" y="4341031"/>
                  </a:lnTo>
                  <a:lnTo>
                    <a:pt x="9170487" y="4336266"/>
                  </a:lnTo>
                  <a:lnTo>
                    <a:pt x="9189547" y="4321971"/>
                  </a:lnTo>
                  <a:lnTo>
                    <a:pt x="9218138" y="4293381"/>
                  </a:lnTo>
                  <a:lnTo>
                    <a:pt x="9246729" y="4250494"/>
                  </a:lnTo>
                  <a:lnTo>
                    <a:pt x="9251494" y="4231433"/>
                  </a:lnTo>
                  <a:lnTo>
                    <a:pt x="9232433" y="4231433"/>
                  </a:lnTo>
                  <a:lnTo>
                    <a:pt x="9208608" y="4240965"/>
                  </a:lnTo>
                  <a:lnTo>
                    <a:pt x="9175252" y="4274320"/>
                  </a:lnTo>
                  <a:lnTo>
                    <a:pt x="9146661" y="4288614"/>
                  </a:lnTo>
                  <a:lnTo>
                    <a:pt x="9113305" y="4288614"/>
                  </a:lnTo>
                  <a:lnTo>
                    <a:pt x="9051359" y="4260025"/>
                  </a:lnTo>
                  <a:lnTo>
                    <a:pt x="8936996" y="4255258"/>
                  </a:lnTo>
                  <a:lnTo>
                    <a:pt x="8879814" y="4245729"/>
                  </a:lnTo>
                  <a:lnTo>
                    <a:pt x="8851223" y="4231433"/>
                  </a:lnTo>
                  <a:lnTo>
                    <a:pt x="8836928" y="4212372"/>
                  </a:lnTo>
                  <a:lnTo>
                    <a:pt x="8822632" y="4188548"/>
                  </a:lnTo>
                  <a:lnTo>
                    <a:pt x="8813102" y="4155191"/>
                  </a:lnTo>
                  <a:lnTo>
                    <a:pt x="8817867" y="4126600"/>
                  </a:lnTo>
                  <a:lnTo>
                    <a:pt x="8841693" y="4112307"/>
                  </a:lnTo>
                  <a:lnTo>
                    <a:pt x="8860754" y="4112307"/>
                  </a:lnTo>
                  <a:lnTo>
                    <a:pt x="8894109" y="4131367"/>
                  </a:lnTo>
                  <a:lnTo>
                    <a:pt x="8927465" y="4164723"/>
                  </a:lnTo>
                  <a:lnTo>
                    <a:pt x="8970351" y="4169488"/>
                  </a:lnTo>
                  <a:lnTo>
                    <a:pt x="8956056" y="4136131"/>
                  </a:lnTo>
                  <a:lnTo>
                    <a:pt x="8903640" y="4078950"/>
                  </a:lnTo>
                  <a:lnTo>
                    <a:pt x="8870284" y="4026533"/>
                  </a:lnTo>
                  <a:lnTo>
                    <a:pt x="8841693" y="3959821"/>
                  </a:lnTo>
                  <a:lnTo>
                    <a:pt x="8817867" y="3897875"/>
                  </a:lnTo>
                  <a:lnTo>
                    <a:pt x="8770216" y="3797806"/>
                  </a:lnTo>
                  <a:lnTo>
                    <a:pt x="8732095" y="3697740"/>
                  </a:lnTo>
                  <a:lnTo>
                    <a:pt x="8703504" y="3650088"/>
                  </a:lnTo>
                  <a:lnTo>
                    <a:pt x="8674914" y="3626263"/>
                  </a:lnTo>
                  <a:lnTo>
                    <a:pt x="8584376" y="3602437"/>
                  </a:lnTo>
                  <a:lnTo>
                    <a:pt x="8567698" y="3583375"/>
                  </a:lnTo>
                  <a:lnTo>
                    <a:pt x="8524812" y="3492839"/>
                  </a:lnTo>
                  <a:lnTo>
                    <a:pt x="8515282" y="3335591"/>
                  </a:lnTo>
                  <a:lnTo>
                    <a:pt x="8496221" y="3240287"/>
                  </a:lnTo>
                  <a:lnTo>
                    <a:pt x="8515282" y="3116394"/>
                  </a:lnTo>
                  <a:lnTo>
                    <a:pt x="8543872" y="3063978"/>
                  </a:lnTo>
                  <a:lnTo>
                    <a:pt x="8722565" y="3106865"/>
                  </a:lnTo>
                  <a:lnTo>
                    <a:pt x="8798807" y="3097334"/>
                  </a:lnTo>
                  <a:lnTo>
                    <a:pt x="8894109" y="3116394"/>
                  </a:lnTo>
                  <a:lnTo>
                    <a:pt x="8946526" y="3144984"/>
                  </a:lnTo>
                  <a:lnTo>
                    <a:pt x="9003707" y="3221227"/>
                  </a:lnTo>
                  <a:lnTo>
                    <a:pt x="9056124" y="3306998"/>
                  </a:lnTo>
                  <a:lnTo>
                    <a:pt x="9108540" y="3359415"/>
                  </a:lnTo>
                  <a:lnTo>
                    <a:pt x="9156191" y="3435656"/>
                  </a:lnTo>
                  <a:lnTo>
                    <a:pt x="9208608" y="3545254"/>
                  </a:lnTo>
                  <a:lnTo>
                    <a:pt x="9237198" y="3602437"/>
                  </a:lnTo>
                  <a:lnTo>
                    <a:pt x="9261024" y="3631027"/>
                  </a:lnTo>
                  <a:lnTo>
                    <a:pt x="9299145" y="3659619"/>
                  </a:lnTo>
                  <a:lnTo>
                    <a:pt x="9365857" y="3692975"/>
                  </a:lnTo>
                  <a:lnTo>
                    <a:pt x="9423038" y="3707271"/>
                  </a:lnTo>
                  <a:lnTo>
                    <a:pt x="9451629" y="3702504"/>
                  </a:lnTo>
                  <a:lnTo>
                    <a:pt x="9484985" y="3678680"/>
                  </a:lnTo>
                  <a:lnTo>
                    <a:pt x="9508811" y="3645323"/>
                  </a:lnTo>
                  <a:lnTo>
                    <a:pt x="9480220" y="3640559"/>
                  </a:lnTo>
                  <a:lnTo>
                    <a:pt x="9413508" y="3640559"/>
                  </a:lnTo>
                  <a:lnTo>
                    <a:pt x="9370622" y="3626263"/>
                  </a:lnTo>
                  <a:lnTo>
                    <a:pt x="9342031" y="3588142"/>
                  </a:lnTo>
                  <a:lnTo>
                    <a:pt x="9313441" y="3540490"/>
                  </a:lnTo>
                  <a:lnTo>
                    <a:pt x="9270554" y="3449953"/>
                  </a:lnTo>
                  <a:lnTo>
                    <a:pt x="9237198" y="3392772"/>
                  </a:lnTo>
                  <a:lnTo>
                    <a:pt x="9160956" y="3292704"/>
                  </a:lnTo>
                  <a:lnTo>
                    <a:pt x="9108540" y="3192636"/>
                  </a:lnTo>
                  <a:lnTo>
                    <a:pt x="9065654" y="3102099"/>
                  </a:lnTo>
                  <a:lnTo>
                    <a:pt x="9060889" y="3059213"/>
                  </a:lnTo>
                  <a:lnTo>
                    <a:pt x="9089480" y="3030622"/>
                  </a:lnTo>
                  <a:lnTo>
                    <a:pt x="9132366" y="3011562"/>
                  </a:lnTo>
                  <a:lnTo>
                    <a:pt x="9375387" y="2944849"/>
                  </a:lnTo>
                  <a:lnTo>
                    <a:pt x="9518341" y="2863841"/>
                  </a:lnTo>
                  <a:lnTo>
                    <a:pt x="9575523" y="2773306"/>
                  </a:lnTo>
                  <a:lnTo>
                    <a:pt x="9585053" y="2749476"/>
                  </a:lnTo>
                  <a:lnTo>
                    <a:pt x="9780423" y="2620819"/>
                  </a:lnTo>
                  <a:lnTo>
                    <a:pt x="9913847" y="2568402"/>
                  </a:lnTo>
                  <a:lnTo>
                    <a:pt x="9971028" y="2563638"/>
                  </a:lnTo>
                  <a:lnTo>
                    <a:pt x="10018680" y="2539814"/>
                  </a:lnTo>
                  <a:lnTo>
                    <a:pt x="10018680" y="2525520"/>
                  </a:lnTo>
                  <a:lnTo>
                    <a:pt x="9975793" y="2511220"/>
                  </a:lnTo>
                  <a:lnTo>
                    <a:pt x="9932907" y="2501693"/>
                  </a:lnTo>
                  <a:lnTo>
                    <a:pt x="9837605" y="2501693"/>
                  </a:lnTo>
                  <a:lnTo>
                    <a:pt x="9751832" y="2482631"/>
                  </a:lnTo>
                  <a:lnTo>
                    <a:pt x="9728007" y="2454043"/>
                  </a:lnTo>
                  <a:lnTo>
                    <a:pt x="9732772" y="2406390"/>
                  </a:lnTo>
                  <a:lnTo>
                    <a:pt x="9742302" y="2363505"/>
                  </a:lnTo>
                  <a:lnTo>
                    <a:pt x="9766128" y="2292027"/>
                  </a:lnTo>
                  <a:lnTo>
                    <a:pt x="9794718" y="2239610"/>
                  </a:lnTo>
                  <a:lnTo>
                    <a:pt x="9913847" y="2082361"/>
                  </a:lnTo>
                  <a:lnTo>
                    <a:pt x="9990089" y="2010884"/>
                  </a:lnTo>
                  <a:lnTo>
                    <a:pt x="10013914" y="1967998"/>
                  </a:lnTo>
                  <a:lnTo>
                    <a:pt x="9842370" y="2068066"/>
                  </a:lnTo>
                  <a:lnTo>
                    <a:pt x="9785188" y="2144308"/>
                  </a:lnTo>
                  <a:lnTo>
                    <a:pt x="9723242" y="2253906"/>
                  </a:lnTo>
                  <a:lnTo>
                    <a:pt x="9694651" y="2287262"/>
                  </a:lnTo>
                  <a:lnTo>
                    <a:pt x="9670825" y="2277731"/>
                  </a:lnTo>
                  <a:lnTo>
                    <a:pt x="9651765" y="2287262"/>
                  </a:lnTo>
                  <a:lnTo>
                    <a:pt x="9632704" y="2315853"/>
                  </a:lnTo>
                  <a:lnTo>
                    <a:pt x="9618409" y="2368270"/>
                  </a:lnTo>
                  <a:lnTo>
                    <a:pt x="9608878" y="2444511"/>
                  </a:lnTo>
                  <a:lnTo>
                    <a:pt x="9599348" y="2496928"/>
                  </a:lnTo>
                  <a:lnTo>
                    <a:pt x="9589818" y="2525520"/>
                  </a:lnTo>
                  <a:lnTo>
                    <a:pt x="9565992" y="2563638"/>
                  </a:lnTo>
                  <a:lnTo>
                    <a:pt x="9504046" y="2639880"/>
                  </a:lnTo>
                  <a:lnTo>
                    <a:pt x="9370622" y="2744713"/>
                  </a:lnTo>
                  <a:lnTo>
                    <a:pt x="9322971" y="2773306"/>
                  </a:lnTo>
                  <a:lnTo>
                    <a:pt x="9284850" y="2778070"/>
                  </a:lnTo>
                  <a:lnTo>
                    <a:pt x="9156191" y="2835251"/>
                  </a:lnTo>
                  <a:lnTo>
                    <a:pt x="9118070" y="2835251"/>
                  </a:lnTo>
                  <a:lnTo>
                    <a:pt x="9075184" y="2820955"/>
                  </a:lnTo>
                  <a:lnTo>
                    <a:pt x="9094245" y="2768540"/>
                  </a:lnTo>
                  <a:lnTo>
                    <a:pt x="9160956" y="2673238"/>
                  </a:lnTo>
                  <a:lnTo>
                    <a:pt x="9180017" y="2630351"/>
                  </a:lnTo>
                  <a:lnTo>
                    <a:pt x="9137131" y="2639880"/>
                  </a:lnTo>
                  <a:lnTo>
                    <a:pt x="9094245" y="2668474"/>
                  </a:lnTo>
                  <a:lnTo>
                    <a:pt x="8994177" y="2687532"/>
                  </a:lnTo>
                  <a:lnTo>
                    <a:pt x="8956056" y="2725655"/>
                  </a:lnTo>
                  <a:lnTo>
                    <a:pt x="8917935" y="2797132"/>
                  </a:lnTo>
                  <a:lnTo>
                    <a:pt x="8889344" y="2840015"/>
                  </a:lnTo>
                  <a:lnTo>
                    <a:pt x="8865519" y="2859077"/>
                  </a:lnTo>
                  <a:lnTo>
                    <a:pt x="8836928" y="2868609"/>
                  </a:lnTo>
                  <a:lnTo>
                    <a:pt x="8722565" y="2873370"/>
                  </a:lnTo>
                  <a:lnTo>
                    <a:pt x="8698739" y="2868609"/>
                  </a:lnTo>
                  <a:lnTo>
                    <a:pt x="8632027" y="2816189"/>
                  </a:lnTo>
                  <a:lnTo>
                    <a:pt x="8574846" y="2835251"/>
                  </a:lnTo>
                  <a:lnTo>
                    <a:pt x="8553403" y="2830487"/>
                  </a:lnTo>
                  <a:lnTo>
                    <a:pt x="8510517" y="2792366"/>
                  </a:lnTo>
                  <a:lnTo>
                    <a:pt x="8496221" y="2768540"/>
                  </a:lnTo>
                  <a:lnTo>
                    <a:pt x="8496221" y="2735183"/>
                  </a:lnTo>
                  <a:lnTo>
                    <a:pt x="8524812" y="2673238"/>
                  </a:lnTo>
                  <a:lnTo>
                    <a:pt x="8553403" y="2616057"/>
                  </a:lnTo>
                  <a:lnTo>
                    <a:pt x="8646323" y="2482631"/>
                  </a:lnTo>
                  <a:lnTo>
                    <a:pt x="8708269" y="2420686"/>
                  </a:lnTo>
                  <a:lnTo>
                    <a:pt x="8794042" y="2363505"/>
                  </a:lnTo>
                  <a:lnTo>
                    <a:pt x="9003707" y="2301558"/>
                  </a:lnTo>
                  <a:lnTo>
                    <a:pt x="9013238" y="2258671"/>
                  </a:lnTo>
                  <a:lnTo>
                    <a:pt x="8803572" y="2306322"/>
                  </a:lnTo>
                  <a:lnTo>
                    <a:pt x="8622497" y="2373034"/>
                  </a:lnTo>
                  <a:lnTo>
                    <a:pt x="8593906" y="2396862"/>
                  </a:lnTo>
                  <a:lnTo>
                    <a:pt x="8558168" y="2454043"/>
                  </a:lnTo>
                  <a:lnTo>
                    <a:pt x="8424744" y="2673238"/>
                  </a:lnTo>
                  <a:lnTo>
                    <a:pt x="8386623" y="2730419"/>
                  </a:lnTo>
                  <a:lnTo>
                    <a:pt x="8324677" y="2744713"/>
                  </a:lnTo>
                  <a:lnTo>
                    <a:pt x="8277025" y="2725655"/>
                  </a:lnTo>
                  <a:lnTo>
                    <a:pt x="8243669" y="2697063"/>
                  </a:lnTo>
                  <a:lnTo>
                    <a:pt x="8181723" y="2635114"/>
                  </a:lnTo>
                  <a:lnTo>
                    <a:pt x="8134072" y="2596997"/>
                  </a:lnTo>
                  <a:lnTo>
                    <a:pt x="8115011" y="2573169"/>
                  </a:lnTo>
                  <a:lnTo>
                    <a:pt x="8100716" y="2549344"/>
                  </a:lnTo>
                  <a:lnTo>
                    <a:pt x="8091185" y="2525520"/>
                  </a:lnTo>
                  <a:lnTo>
                    <a:pt x="8081655" y="2492161"/>
                  </a:lnTo>
                  <a:lnTo>
                    <a:pt x="8095950" y="2463571"/>
                  </a:lnTo>
                  <a:lnTo>
                    <a:pt x="8215079" y="2406390"/>
                  </a:lnTo>
                  <a:lnTo>
                    <a:pt x="8377093" y="2415922"/>
                  </a:lnTo>
                  <a:lnTo>
                    <a:pt x="8448570" y="2406390"/>
                  </a:lnTo>
                  <a:lnTo>
                    <a:pt x="8520047" y="2373034"/>
                  </a:lnTo>
                  <a:lnTo>
                    <a:pt x="8617732" y="2282496"/>
                  </a:lnTo>
                  <a:lnTo>
                    <a:pt x="8732095" y="2158603"/>
                  </a:lnTo>
                  <a:lnTo>
                    <a:pt x="8755921" y="2115717"/>
                  </a:lnTo>
                  <a:lnTo>
                    <a:pt x="8713034" y="2106187"/>
                  </a:lnTo>
                  <a:lnTo>
                    <a:pt x="8684444" y="2115717"/>
                  </a:lnTo>
                  <a:lnTo>
                    <a:pt x="8608202" y="2163368"/>
                  </a:lnTo>
                  <a:lnTo>
                    <a:pt x="8496221" y="2282496"/>
                  </a:lnTo>
                  <a:lnTo>
                    <a:pt x="8391388" y="2325382"/>
                  </a:lnTo>
                  <a:lnTo>
                    <a:pt x="8138837" y="2349209"/>
                  </a:lnTo>
                  <a:lnTo>
                    <a:pt x="8062595" y="2382563"/>
                  </a:lnTo>
                  <a:lnTo>
                    <a:pt x="8024474" y="2373034"/>
                  </a:lnTo>
                  <a:lnTo>
                    <a:pt x="8000648" y="2339677"/>
                  </a:lnTo>
                  <a:lnTo>
                    <a:pt x="7972057" y="2282496"/>
                  </a:lnTo>
                  <a:lnTo>
                    <a:pt x="7976822" y="2234845"/>
                  </a:lnTo>
                  <a:lnTo>
                    <a:pt x="8034004" y="2177664"/>
                  </a:lnTo>
                  <a:lnTo>
                    <a:pt x="8081655" y="2163368"/>
                  </a:lnTo>
                  <a:lnTo>
                    <a:pt x="8091185" y="2153838"/>
                  </a:lnTo>
                  <a:lnTo>
                    <a:pt x="8024474" y="2101423"/>
                  </a:lnTo>
                  <a:lnTo>
                    <a:pt x="8019708" y="2072831"/>
                  </a:lnTo>
                  <a:lnTo>
                    <a:pt x="8057829" y="2010884"/>
                  </a:lnTo>
                  <a:lnTo>
                    <a:pt x="8138837" y="1920348"/>
                  </a:lnTo>
                  <a:lnTo>
                    <a:pt x="8181723" y="1891756"/>
                  </a:lnTo>
                  <a:lnTo>
                    <a:pt x="8257965" y="1872696"/>
                  </a:lnTo>
                  <a:lnTo>
                    <a:pt x="8338972" y="1882226"/>
                  </a:lnTo>
                  <a:lnTo>
                    <a:pt x="8343737" y="1867931"/>
                  </a:lnTo>
                  <a:lnTo>
                    <a:pt x="8262730" y="1829809"/>
                  </a:lnTo>
                  <a:lnTo>
                    <a:pt x="8205548" y="1825044"/>
                  </a:lnTo>
                  <a:lnTo>
                    <a:pt x="8129306" y="1848871"/>
                  </a:lnTo>
                  <a:lnTo>
                    <a:pt x="7919641" y="1996589"/>
                  </a:lnTo>
                  <a:lnTo>
                    <a:pt x="7900580" y="1991825"/>
                  </a:lnTo>
                  <a:lnTo>
                    <a:pt x="7871989" y="1967998"/>
                  </a:lnTo>
                  <a:lnTo>
                    <a:pt x="7881520" y="1929878"/>
                  </a:lnTo>
                  <a:lnTo>
                    <a:pt x="7991118" y="1772628"/>
                  </a:lnTo>
                  <a:lnTo>
                    <a:pt x="7995883" y="1748802"/>
                  </a:lnTo>
                  <a:lnTo>
                    <a:pt x="7914876" y="1753567"/>
                  </a:lnTo>
                  <a:lnTo>
                    <a:pt x="7891050" y="1744037"/>
                  </a:lnTo>
                  <a:lnTo>
                    <a:pt x="7871989" y="1724977"/>
                  </a:lnTo>
                  <a:lnTo>
                    <a:pt x="7838634" y="1744037"/>
                  </a:lnTo>
                  <a:lnTo>
                    <a:pt x="7795747" y="1796454"/>
                  </a:lnTo>
                  <a:lnTo>
                    <a:pt x="7767157" y="1815514"/>
                  </a:lnTo>
                  <a:lnTo>
                    <a:pt x="7748096" y="1810748"/>
                  </a:lnTo>
                  <a:lnTo>
                    <a:pt x="7705210" y="1748802"/>
                  </a:lnTo>
                  <a:lnTo>
                    <a:pt x="7709975" y="1696386"/>
                  </a:lnTo>
                  <a:lnTo>
                    <a:pt x="7743331" y="1629674"/>
                  </a:lnTo>
                  <a:lnTo>
                    <a:pt x="7776687" y="1582023"/>
                  </a:lnTo>
                  <a:lnTo>
                    <a:pt x="7819573" y="1539138"/>
                  </a:lnTo>
                  <a:lnTo>
                    <a:pt x="7891050" y="1486721"/>
                  </a:lnTo>
                  <a:lnTo>
                    <a:pt x="7943466" y="1467660"/>
                  </a:lnTo>
                  <a:lnTo>
                    <a:pt x="8024474" y="1467660"/>
                  </a:lnTo>
                  <a:lnTo>
                    <a:pt x="8062595" y="1443834"/>
                  </a:lnTo>
                  <a:lnTo>
                    <a:pt x="8100716" y="1396183"/>
                  </a:lnTo>
                  <a:lnTo>
                    <a:pt x="8143602" y="1329471"/>
                  </a:lnTo>
                  <a:lnTo>
                    <a:pt x="8191253" y="1281820"/>
                  </a:lnTo>
                  <a:lnTo>
                    <a:pt x="8267495" y="1238934"/>
                  </a:lnTo>
                  <a:lnTo>
                    <a:pt x="8334207" y="1253229"/>
                  </a:lnTo>
                  <a:lnTo>
                    <a:pt x="8372328" y="1286586"/>
                  </a:lnTo>
                  <a:lnTo>
                    <a:pt x="8400919" y="1348531"/>
                  </a:lnTo>
                  <a:lnTo>
                    <a:pt x="8434275" y="1396183"/>
                  </a:lnTo>
                  <a:lnTo>
                    <a:pt x="8434275" y="1358061"/>
                  </a:lnTo>
                  <a:lnTo>
                    <a:pt x="8462865" y="1310411"/>
                  </a:lnTo>
                  <a:lnTo>
                    <a:pt x="8491456" y="1291350"/>
                  </a:lnTo>
                  <a:lnTo>
                    <a:pt x="8534342" y="1296115"/>
                  </a:lnTo>
                  <a:lnTo>
                    <a:pt x="8567698" y="1319941"/>
                  </a:lnTo>
                  <a:lnTo>
                    <a:pt x="8608202" y="1377122"/>
                  </a:lnTo>
                  <a:lnTo>
                    <a:pt x="8646323" y="1400948"/>
                  </a:lnTo>
                  <a:lnTo>
                    <a:pt x="8660618" y="1400948"/>
                  </a:lnTo>
                  <a:lnTo>
                    <a:pt x="8684444" y="1367592"/>
                  </a:lnTo>
                  <a:lnTo>
                    <a:pt x="8736860" y="1367592"/>
                  </a:lnTo>
                  <a:lnTo>
                    <a:pt x="8736860" y="1353297"/>
                  </a:lnTo>
                  <a:lnTo>
                    <a:pt x="8717800" y="1319941"/>
                  </a:lnTo>
                  <a:lnTo>
                    <a:pt x="8698739" y="1300880"/>
                  </a:lnTo>
                  <a:lnTo>
                    <a:pt x="8500986" y="1134101"/>
                  </a:lnTo>
                  <a:lnTo>
                    <a:pt x="8496221" y="1100745"/>
                  </a:lnTo>
                  <a:lnTo>
                    <a:pt x="8562933" y="1067389"/>
                  </a:lnTo>
                  <a:lnTo>
                    <a:pt x="8603437" y="1024503"/>
                  </a:lnTo>
                  <a:lnTo>
                    <a:pt x="8622497" y="1014973"/>
                  </a:lnTo>
                  <a:lnTo>
                    <a:pt x="8670148" y="929200"/>
                  </a:lnTo>
                  <a:lnTo>
                    <a:pt x="8703504" y="881550"/>
                  </a:lnTo>
                  <a:lnTo>
                    <a:pt x="8760686" y="829133"/>
                  </a:lnTo>
                  <a:lnTo>
                    <a:pt x="8784511" y="843428"/>
                  </a:lnTo>
                  <a:lnTo>
                    <a:pt x="8817867" y="891079"/>
                  </a:lnTo>
                  <a:lnTo>
                    <a:pt x="8846458" y="919670"/>
                  </a:lnTo>
                  <a:lnTo>
                    <a:pt x="8927465" y="948261"/>
                  </a:lnTo>
                  <a:lnTo>
                    <a:pt x="8965586" y="976853"/>
                  </a:lnTo>
                  <a:lnTo>
                    <a:pt x="9032298" y="1134101"/>
                  </a:lnTo>
                  <a:lnTo>
                    <a:pt x="9056124" y="1186517"/>
                  </a:lnTo>
                  <a:lnTo>
                    <a:pt x="9094245" y="1238934"/>
                  </a:lnTo>
                  <a:lnTo>
                    <a:pt x="9113305" y="1262759"/>
                  </a:lnTo>
                  <a:lnTo>
                    <a:pt x="9156191" y="1272290"/>
                  </a:lnTo>
                  <a:lnTo>
                    <a:pt x="9165722" y="1243699"/>
                  </a:lnTo>
                  <a:lnTo>
                    <a:pt x="9113305" y="1167457"/>
                  </a:lnTo>
                  <a:lnTo>
                    <a:pt x="9099010" y="1124571"/>
                  </a:lnTo>
                  <a:lnTo>
                    <a:pt x="9103775" y="1086450"/>
                  </a:lnTo>
                  <a:lnTo>
                    <a:pt x="9113305" y="1067389"/>
                  </a:lnTo>
                  <a:lnTo>
                    <a:pt x="9132366" y="1067389"/>
                  </a:lnTo>
                  <a:lnTo>
                    <a:pt x="9170487" y="1100745"/>
                  </a:lnTo>
                  <a:lnTo>
                    <a:pt x="9280085" y="1210343"/>
                  </a:lnTo>
                  <a:lnTo>
                    <a:pt x="9442099" y="1343766"/>
                  </a:lnTo>
                  <a:lnTo>
                    <a:pt x="9504046" y="1372357"/>
                  </a:lnTo>
                  <a:lnTo>
                    <a:pt x="9542167" y="1420008"/>
                  </a:lnTo>
                  <a:lnTo>
                    <a:pt x="9575523" y="1477191"/>
                  </a:lnTo>
                  <a:lnTo>
                    <a:pt x="9608878" y="1515311"/>
                  </a:lnTo>
                  <a:lnTo>
                    <a:pt x="9618409" y="1510546"/>
                  </a:lnTo>
                  <a:lnTo>
                    <a:pt x="9585053" y="1424774"/>
                  </a:lnTo>
                  <a:lnTo>
                    <a:pt x="9504046" y="1315175"/>
                  </a:lnTo>
                  <a:lnTo>
                    <a:pt x="9299145" y="1129336"/>
                  </a:lnTo>
                  <a:lnTo>
                    <a:pt x="9213373" y="1029268"/>
                  </a:lnTo>
                  <a:lnTo>
                    <a:pt x="9175252" y="962556"/>
                  </a:lnTo>
                  <a:lnTo>
                    <a:pt x="9146661" y="895844"/>
                  </a:lnTo>
                  <a:lnTo>
                    <a:pt x="9141896" y="857723"/>
                  </a:lnTo>
                  <a:lnTo>
                    <a:pt x="9170487" y="810072"/>
                  </a:lnTo>
                  <a:lnTo>
                    <a:pt x="9208608" y="776716"/>
                  </a:lnTo>
                  <a:lnTo>
                    <a:pt x="9261024" y="762421"/>
                  </a:lnTo>
                  <a:lnTo>
                    <a:pt x="9265789" y="748126"/>
                  </a:lnTo>
                  <a:lnTo>
                    <a:pt x="9222903" y="690944"/>
                  </a:lnTo>
                  <a:lnTo>
                    <a:pt x="9194312" y="648058"/>
                  </a:lnTo>
                  <a:lnTo>
                    <a:pt x="9194312" y="614703"/>
                  </a:lnTo>
                  <a:lnTo>
                    <a:pt x="9246729" y="590876"/>
                  </a:lnTo>
                  <a:lnTo>
                    <a:pt x="9280085" y="595643"/>
                  </a:lnTo>
                  <a:lnTo>
                    <a:pt x="9342031" y="657588"/>
                  </a:lnTo>
                  <a:lnTo>
                    <a:pt x="9389683" y="681416"/>
                  </a:lnTo>
                  <a:lnTo>
                    <a:pt x="9399213" y="667120"/>
                  </a:lnTo>
                  <a:lnTo>
                    <a:pt x="9346796" y="509869"/>
                  </a:lnTo>
                  <a:lnTo>
                    <a:pt x="9342031" y="471749"/>
                  </a:lnTo>
                  <a:lnTo>
                    <a:pt x="9351562" y="452688"/>
                  </a:lnTo>
                  <a:lnTo>
                    <a:pt x="9370622" y="428862"/>
                  </a:lnTo>
                  <a:lnTo>
                    <a:pt x="9423038" y="443157"/>
                  </a:lnTo>
                  <a:lnTo>
                    <a:pt x="9513576" y="519399"/>
                  </a:lnTo>
                  <a:lnTo>
                    <a:pt x="9675590" y="557520"/>
                  </a:lnTo>
                  <a:lnTo>
                    <a:pt x="9723242" y="552755"/>
                  </a:lnTo>
                  <a:lnTo>
                    <a:pt x="9713711" y="533695"/>
                  </a:lnTo>
                  <a:lnTo>
                    <a:pt x="9651765" y="486045"/>
                  </a:lnTo>
                  <a:lnTo>
                    <a:pt x="9580288" y="419332"/>
                  </a:lnTo>
                  <a:lnTo>
                    <a:pt x="9551697" y="381211"/>
                  </a:lnTo>
                  <a:lnTo>
                    <a:pt x="9532636" y="328794"/>
                  </a:lnTo>
                  <a:lnTo>
                    <a:pt x="9504046" y="285908"/>
                  </a:lnTo>
                  <a:lnTo>
                    <a:pt x="9504046" y="262082"/>
                  </a:lnTo>
                  <a:lnTo>
                    <a:pt x="9542167" y="228727"/>
                  </a:lnTo>
                  <a:lnTo>
                    <a:pt x="9656530" y="233493"/>
                  </a:lnTo>
                  <a:lnTo>
                    <a:pt x="9756598" y="290674"/>
                  </a:lnTo>
                  <a:lnTo>
                    <a:pt x="9842370" y="266848"/>
                  </a:lnTo>
                  <a:lnTo>
                    <a:pt x="9899551" y="281143"/>
                  </a:lnTo>
                  <a:lnTo>
                    <a:pt x="9918612" y="300204"/>
                  </a:lnTo>
                  <a:lnTo>
                    <a:pt x="9961498" y="357387"/>
                  </a:lnTo>
                  <a:lnTo>
                    <a:pt x="10085391" y="562286"/>
                  </a:lnTo>
                  <a:lnTo>
                    <a:pt x="10099687" y="595643"/>
                  </a:lnTo>
                  <a:lnTo>
                    <a:pt x="10113982" y="643293"/>
                  </a:lnTo>
                  <a:lnTo>
                    <a:pt x="10128278" y="710005"/>
                  </a:lnTo>
                  <a:lnTo>
                    <a:pt x="10152103" y="729065"/>
                  </a:lnTo>
                  <a:lnTo>
                    <a:pt x="10190225" y="681416"/>
                  </a:lnTo>
                  <a:lnTo>
                    <a:pt x="10218813" y="638528"/>
                  </a:lnTo>
                  <a:lnTo>
                    <a:pt x="10209285" y="595643"/>
                  </a:lnTo>
                  <a:lnTo>
                    <a:pt x="10137808" y="495574"/>
                  </a:lnTo>
                  <a:lnTo>
                    <a:pt x="10123512" y="457453"/>
                  </a:lnTo>
                  <a:lnTo>
                    <a:pt x="10085391" y="381211"/>
                  </a:lnTo>
                  <a:lnTo>
                    <a:pt x="10009149" y="252552"/>
                  </a:lnTo>
                  <a:lnTo>
                    <a:pt x="9990089" y="190606"/>
                  </a:lnTo>
                  <a:lnTo>
                    <a:pt x="9975793" y="138189"/>
                  </a:lnTo>
                  <a:lnTo>
                    <a:pt x="10190225" y="90537"/>
                  </a:lnTo>
                  <a:lnTo>
                    <a:pt x="10399889" y="133423"/>
                  </a:lnTo>
                  <a:lnTo>
                    <a:pt x="10433245" y="162015"/>
                  </a:lnTo>
                  <a:lnTo>
                    <a:pt x="10457073" y="204900"/>
                  </a:lnTo>
                  <a:lnTo>
                    <a:pt x="10476133" y="271613"/>
                  </a:lnTo>
                  <a:lnTo>
                    <a:pt x="10509489" y="338325"/>
                  </a:lnTo>
                  <a:lnTo>
                    <a:pt x="10576201" y="438392"/>
                  </a:lnTo>
                  <a:lnTo>
                    <a:pt x="10671501" y="500339"/>
                  </a:lnTo>
                  <a:lnTo>
                    <a:pt x="10657205" y="457453"/>
                  </a:lnTo>
                  <a:lnTo>
                    <a:pt x="10580965" y="347855"/>
                  </a:lnTo>
                  <a:lnTo>
                    <a:pt x="10552373" y="271613"/>
                  </a:lnTo>
                  <a:lnTo>
                    <a:pt x="10552373" y="219197"/>
                  </a:lnTo>
                  <a:lnTo>
                    <a:pt x="10557141" y="181075"/>
                  </a:lnTo>
                  <a:lnTo>
                    <a:pt x="10566669" y="152485"/>
                  </a:lnTo>
                  <a:lnTo>
                    <a:pt x="10647677" y="47650"/>
                  </a:lnTo>
                  <a:lnTo>
                    <a:pt x="10766805" y="14296"/>
                  </a:lnTo>
                  <a:lnTo>
                    <a:pt x="10776333" y="19060"/>
                  </a:lnTo>
                  <a:lnTo>
                    <a:pt x="10866873" y="181075"/>
                  </a:lnTo>
                  <a:lnTo>
                    <a:pt x="10909757" y="247787"/>
                  </a:lnTo>
                  <a:lnTo>
                    <a:pt x="10943113" y="276378"/>
                  </a:lnTo>
                  <a:lnTo>
                    <a:pt x="10943113" y="262082"/>
                  </a:lnTo>
                  <a:lnTo>
                    <a:pt x="10900229" y="190606"/>
                  </a:lnTo>
                  <a:lnTo>
                    <a:pt x="10871637" y="147719"/>
                  </a:lnTo>
                  <a:lnTo>
                    <a:pt x="10866873" y="123894"/>
                  </a:lnTo>
                  <a:lnTo>
                    <a:pt x="10919289" y="42885"/>
                  </a:lnTo>
                  <a:lnTo>
                    <a:pt x="10952645" y="2382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1" name="Freeform 4380">
              <a:extLst>
                <a:ext uri="{FF2B5EF4-FFF2-40B4-BE49-F238E27FC236}">
                  <a16:creationId xmlns:a16="http://schemas.microsoft.com/office/drawing/2014/main" id="{01821BE8-BD20-41AE-B95A-1C898967AD69}"/>
                </a:ext>
              </a:extLst>
            </p:cNvPr>
            <p:cNvSpPr/>
            <p:nvPr/>
          </p:nvSpPr>
          <p:spPr bwMode="auto">
            <a:xfrm>
              <a:off x="5449545" y="4031855"/>
              <a:ext cx="113319" cy="71692"/>
            </a:xfrm>
            <a:custGeom>
              <a:avLst/>
              <a:gdLst>
                <a:gd name="T0" fmla="*/ 190 w 294"/>
                <a:gd name="T1" fmla="*/ 12 h 186"/>
                <a:gd name="T2" fmla="*/ 184 w 294"/>
                <a:gd name="T3" fmla="*/ 6 h 186"/>
                <a:gd name="T4" fmla="*/ 180 w 294"/>
                <a:gd name="T5" fmla="*/ 8 h 186"/>
                <a:gd name="T6" fmla="*/ 166 w 294"/>
                <a:gd name="T7" fmla="*/ 0 h 186"/>
                <a:gd name="T8" fmla="*/ 160 w 294"/>
                <a:gd name="T9" fmla="*/ 12 h 186"/>
                <a:gd name="T10" fmla="*/ 170 w 294"/>
                <a:gd name="T11" fmla="*/ 12 h 186"/>
                <a:gd name="T12" fmla="*/ 164 w 294"/>
                <a:gd name="T13" fmla="*/ 16 h 186"/>
                <a:gd name="T14" fmla="*/ 160 w 294"/>
                <a:gd name="T15" fmla="*/ 18 h 186"/>
                <a:gd name="T16" fmla="*/ 138 w 294"/>
                <a:gd name="T17" fmla="*/ 20 h 186"/>
                <a:gd name="T18" fmla="*/ 108 w 294"/>
                <a:gd name="T19" fmla="*/ 18 h 186"/>
                <a:gd name="T20" fmla="*/ 94 w 294"/>
                <a:gd name="T21" fmla="*/ 32 h 186"/>
                <a:gd name="T22" fmla="*/ 80 w 294"/>
                <a:gd name="T23" fmla="*/ 34 h 186"/>
                <a:gd name="T24" fmla="*/ 76 w 294"/>
                <a:gd name="T25" fmla="*/ 28 h 186"/>
                <a:gd name="T26" fmla="*/ 60 w 294"/>
                <a:gd name="T27" fmla="*/ 38 h 186"/>
                <a:gd name="T28" fmla="*/ 68 w 294"/>
                <a:gd name="T29" fmla="*/ 42 h 186"/>
                <a:gd name="T30" fmla="*/ 64 w 294"/>
                <a:gd name="T31" fmla="*/ 50 h 186"/>
                <a:gd name="T32" fmla="*/ 46 w 294"/>
                <a:gd name="T33" fmla="*/ 72 h 186"/>
                <a:gd name="T34" fmla="*/ 30 w 294"/>
                <a:gd name="T35" fmla="*/ 82 h 186"/>
                <a:gd name="T36" fmla="*/ 20 w 294"/>
                <a:gd name="T37" fmla="*/ 106 h 186"/>
                <a:gd name="T38" fmla="*/ 8 w 294"/>
                <a:gd name="T39" fmla="*/ 122 h 186"/>
                <a:gd name="T40" fmla="*/ 10 w 294"/>
                <a:gd name="T41" fmla="*/ 134 h 186"/>
                <a:gd name="T42" fmla="*/ 4 w 294"/>
                <a:gd name="T43" fmla="*/ 148 h 186"/>
                <a:gd name="T44" fmla="*/ 2 w 294"/>
                <a:gd name="T45" fmla="*/ 158 h 186"/>
                <a:gd name="T46" fmla="*/ 20 w 294"/>
                <a:gd name="T47" fmla="*/ 146 h 186"/>
                <a:gd name="T48" fmla="*/ 16 w 294"/>
                <a:gd name="T49" fmla="*/ 138 h 186"/>
                <a:gd name="T50" fmla="*/ 40 w 294"/>
                <a:gd name="T51" fmla="*/ 128 h 186"/>
                <a:gd name="T52" fmla="*/ 52 w 294"/>
                <a:gd name="T53" fmla="*/ 136 h 186"/>
                <a:gd name="T54" fmla="*/ 52 w 294"/>
                <a:gd name="T55" fmla="*/ 154 h 186"/>
                <a:gd name="T56" fmla="*/ 60 w 294"/>
                <a:gd name="T57" fmla="*/ 166 h 186"/>
                <a:gd name="T58" fmla="*/ 68 w 294"/>
                <a:gd name="T59" fmla="*/ 178 h 186"/>
                <a:gd name="T60" fmla="*/ 88 w 294"/>
                <a:gd name="T61" fmla="*/ 178 h 186"/>
                <a:gd name="T62" fmla="*/ 106 w 294"/>
                <a:gd name="T63" fmla="*/ 172 h 186"/>
                <a:gd name="T64" fmla="*/ 132 w 294"/>
                <a:gd name="T65" fmla="*/ 168 h 186"/>
                <a:gd name="T66" fmla="*/ 140 w 294"/>
                <a:gd name="T67" fmla="*/ 152 h 186"/>
                <a:gd name="T68" fmla="*/ 148 w 294"/>
                <a:gd name="T69" fmla="*/ 138 h 186"/>
                <a:gd name="T70" fmla="*/ 160 w 294"/>
                <a:gd name="T71" fmla="*/ 128 h 186"/>
                <a:gd name="T72" fmla="*/ 162 w 294"/>
                <a:gd name="T73" fmla="*/ 144 h 186"/>
                <a:gd name="T74" fmla="*/ 174 w 294"/>
                <a:gd name="T75" fmla="*/ 160 h 186"/>
                <a:gd name="T76" fmla="*/ 184 w 294"/>
                <a:gd name="T77" fmla="*/ 170 h 186"/>
                <a:gd name="T78" fmla="*/ 194 w 294"/>
                <a:gd name="T79" fmla="*/ 186 h 186"/>
                <a:gd name="T80" fmla="*/ 200 w 294"/>
                <a:gd name="T81" fmla="*/ 178 h 186"/>
                <a:gd name="T82" fmla="*/ 200 w 294"/>
                <a:gd name="T83" fmla="*/ 166 h 186"/>
                <a:gd name="T84" fmla="*/ 214 w 294"/>
                <a:gd name="T85" fmla="*/ 144 h 186"/>
                <a:gd name="T86" fmla="*/ 218 w 294"/>
                <a:gd name="T87" fmla="*/ 124 h 186"/>
                <a:gd name="T88" fmla="*/ 226 w 294"/>
                <a:gd name="T89" fmla="*/ 130 h 186"/>
                <a:gd name="T90" fmla="*/ 236 w 294"/>
                <a:gd name="T91" fmla="*/ 142 h 186"/>
                <a:gd name="T92" fmla="*/ 256 w 294"/>
                <a:gd name="T93" fmla="*/ 136 h 186"/>
                <a:gd name="T94" fmla="*/ 266 w 294"/>
                <a:gd name="T95" fmla="*/ 148 h 186"/>
                <a:gd name="T96" fmla="*/ 274 w 294"/>
                <a:gd name="T97" fmla="*/ 146 h 186"/>
                <a:gd name="T98" fmla="*/ 270 w 294"/>
                <a:gd name="T99" fmla="*/ 130 h 186"/>
                <a:gd name="T100" fmla="*/ 268 w 294"/>
                <a:gd name="T101" fmla="*/ 118 h 186"/>
                <a:gd name="T102" fmla="*/ 276 w 294"/>
                <a:gd name="T103" fmla="*/ 112 h 186"/>
                <a:gd name="T104" fmla="*/ 292 w 294"/>
                <a:gd name="T105" fmla="*/ 118 h 186"/>
                <a:gd name="T106" fmla="*/ 290 w 294"/>
                <a:gd name="T107" fmla="*/ 108 h 186"/>
                <a:gd name="T108" fmla="*/ 294 w 294"/>
                <a:gd name="T109" fmla="*/ 84 h 186"/>
                <a:gd name="T110" fmla="*/ 276 w 294"/>
                <a:gd name="T111" fmla="*/ 88 h 186"/>
                <a:gd name="T112" fmla="*/ 256 w 294"/>
                <a:gd name="T113" fmla="*/ 82 h 186"/>
                <a:gd name="T114" fmla="*/ 246 w 294"/>
                <a:gd name="T115" fmla="*/ 72 h 186"/>
                <a:gd name="T116" fmla="*/ 232 w 294"/>
                <a:gd name="T117" fmla="*/ 70 h 186"/>
                <a:gd name="T118" fmla="*/ 230 w 294"/>
                <a:gd name="T119" fmla="*/ 58 h 186"/>
                <a:gd name="T120" fmla="*/ 240 w 294"/>
                <a:gd name="T121" fmla="*/ 30 h 186"/>
                <a:gd name="T122" fmla="*/ 214 w 294"/>
                <a:gd name="T123" fmla="*/ 18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4" h="186">
                  <a:moveTo>
                    <a:pt x="210" y="10"/>
                  </a:moveTo>
                  <a:lnTo>
                    <a:pt x="206" y="10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88" y="8"/>
                  </a:lnTo>
                  <a:lnTo>
                    <a:pt x="184" y="6"/>
                  </a:lnTo>
                  <a:lnTo>
                    <a:pt x="184" y="6"/>
                  </a:lnTo>
                  <a:lnTo>
                    <a:pt x="182" y="8"/>
                  </a:lnTo>
                  <a:lnTo>
                    <a:pt x="180" y="8"/>
                  </a:lnTo>
                  <a:lnTo>
                    <a:pt x="174" y="0"/>
                  </a:lnTo>
                  <a:lnTo>
                    <a:pt x="170" y="0"/>
                  </a:lnTo>
                  <a:lnTo>
                    <a:pt x="166" y="0"/>
                  </a:lnTo>
                  <a:lnTo>
                    <a:pt x="162" y="4"/>
                  </a:lnTo>
                  <a:lnTo>
                    <a:pt x="158" y="8"/>
                  </a:lnTo>
                  <a:lnTo>
                    <a:pt x="160" y="12"/>
                  </a:lnTo>
                  <a:lnTo>
                    <a:pt x="162" y="12"/>
                  </a:lnTo>
                  <a:lnTo>
                    <a:pt x="168" y="12"/>
                  </a:lnTo>
                  <a:lnTo>
                    <a:pt x="170" y="12"/>
                  </a:lnTo>
                  <a:lnTo>
                    <a:pt x="170" y="14"/>
                  </a:lnTo>
                  <a:lnTo>
                    <a:pt x="170" y="14"/>
                  </a:lnTo>
                  <a:lnTo>
                    <a:pt x="164" y="16"/>
                  </a:lnTo>
                  <a:lnTo>
                    <a:pt x="162" y="18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54" y="16"/>
                  </a:lnTo>
                  <a:lnTo>
                    <a:pt x="146" y="16"/>
                  </a:lnTo>
                  <a:lnTo>
                    <a:pt x="138" y="20"/>
                  </a:lnTo>
                  <a:lnTo>
                    <a:pt x="128" y="20"/>
                  </a:lnTo>
                  <a:lnTo>
                    <a:pt x="112" y="20"/>
                  </a:lnTo>
                  <a:lnTo>
                    <a:pt x="108" y="18"/>
                  </a:lnTo>
                  <a:lnTo>
                    <a:pt x="100" y="22"/>
                  </a:lnTo>
                  <a:lnTo>
                    <a:pt x="98" y="26"/>
                  </a:lnTo>
                  <a:lnTo>
                    <a:pt x="94" y="32"/>
                  </a:lnTo>
                  <a:lnTo>
                    <a:pt x="90" y="34"/>
                  </a:lnTo>
                  <a:lnTo>
                    <a:pt x="84" y="34"/>
                  </a:lnTo>
                  <a:lnTo>
                    <a:pt x="80" y="34"/>
                  </a:lnTo>
                  <a:lnTo>
                    <a:pt x="78" y="32"/>
                  </a:lnTo>
                  <a:lnTo>
                    <a:pt x="78" y="30"/>
                  </a:lnTo>
                  <a:lnTo>
                    <a:pt x="76" y="28"/>
                  </a:lnTo>
                  <a:lnTo>
                    <a:pt x="70" y="28"/>
                  </a:lnTo>
                  <a:lnTo>
                    <a:pt x="66" y="32"/>
                  </a:lnTo>
                  <a:lnTo>
                    <a:pt x="60" y="38"/>
                  </a:lnTo>
                  <a:lnTo>
                    <a:pt x="62" y="40"/>
                  </a:lnTo>
                  <a:lnTo>
                    <a:pt x="66" y="42"/>
                  </a:lnTo>
                  <a:lnTo>
                    <a:pt x="68" y="42"/>
                  </a:lnTo>
                  <a:lnTo>
                    <a:pt x="68" y="44"/>
                  </a:lnTo>
                  <a:lnTo>
                    <a:pt x="66" y="46"/>
                  </a:lnTo>
                  <a:lnTo>
                    <a:pt x="64" y="50"/>
                  </a:lnTo>
                  <a:lnTo>
                    <a:pt x="56" y="60"/>
                  </a:lnTo>
                  <a:lnTo>
                    <a:pt x="46" y="70"/>
                  </a:lnTo>
                  <a:lnTo>
                    <a:pt x="46" y="72"/>
                  </a:lnTo>
                  <a:lnTo>
                    <a:pt x="42" y="74"/>
                  </a:lnTo>
                  <a:lnTo>
                    <a:pt x="32" y="80"/>
                  </a:lnTo>
                  <a:lnTo>
                    <a:pt x="30" y="82"/>
                  </a:lnTo>
                  <a:lnTo>
                    <a:pt x="30" y="92"/>
                  </a:lnTo>
                  <a:lnTo>
                    <a:pt x="28" y="98"/>
                  </a:lnTo>
                  <a:lnTo>
                    <a:pt x="20" y="106"/>
                  </a:lnTo>
                  <a:lnTo>
                    <a:pt x="12" y="112"/>
                  </a:lnTo>
                  <a:lnTo>
                    <a:pt x="10" y="116"/>
                  </a:lnTo>
                  <a:lnTo>
                    <a:pt x="8" y="122"/>
                  </a:lnTo>
                  <a:lnTo>
                    <a:pt x="6" y="128"/>
                  </a:lnTo>
                  <a:lnTo>
                    <a:pt x="6" y="130"/>
                  </a:lnTo>
                  <a:lnTo>
                    <a:pt x="10" y="134"/>
                  </a:lnTo>
                  <a:lnTo>
                    <a:pt x="10" y="138"/>
                  </a:lnTo>
                  <a:lnTo>
                    <a:pt x="8" y="144"/>
                  </a:lnTo>
                  <a:lnTo>
                    <a:pt x="4" y="148"/>
                  </a:lnTo>
                  <a:lnTo>
                    <a:pt x="0" y="150"/>
                  </a:lnTo>
                  <a:lnTo>
                    <a:pt x="0" y="156"/>
                  </a:lnTo>
                  <a:lnTo>
                    <a:pt x="2" y="158"/>
                  </a:lnTo>
                  <a:lnTo>
                    <a:pt x="8" y="156"/>
                  </a:lnTo>
                  <a:lnTo>
                    <a:pt x="14" y="152"/>
                  </a:lnTo>
                  <a:lnTo>
                    <a:pt x="20" y="146"/>
                  </a:lnTo>
                  <a:lnTo>
                    <a:pt x="16" y="142"/>
                  </a:lnTo>
                  <a:lnTo>
                    <a:pt x="16" y="140"/>
                  </a:lnTo>
                  <a:lnTo>
                    <a:pt x="16" y="138"/>
                  </a:lnTo>
                  <a:lnTo>
                    <a:pt x="22" y="132"/>
                  </a:lnTo>
                  <a:lnTo>
                    <a:pt x="30" y="130"/>
                  </a:lnTo>
                  <a:lnTo>
                    <a:pt x="40" y="128"/>
                  </a:lnTo>
                  <a:lnTo>
                    <a:pt x="52" y="130"/>
                  </a:lnTo>
                  <a:lnTo>
                    <a:pt x="52" y="132"/>
                  </a:lnTo>
                  <a:lnTo>
                    <a:pt x="52" y="136"/>
                  </a:lnTo>
                  <a:lnTo>
                    <a:pt x="52" y="140"/>
                  </a:lnTo>
                  <a:lnTo>
                    <a:pt x="56" y="144"/>
                  </a:lnTo>
                  <a:lnTo>
                    <a:pt x="52" y="154"/>
                  </a:lnTo>
                  <a:lnTo>
                    <a:pt x="54" y="158"/>
                  </a:lnTo>
                  <a:lnTo>
                    <a:pt x="58" y="162"/>
                  </a:lnTo>
                  <a:lnTo>
                    <a:pt x="60" y="166"/>
                  </a:lnTo>
                  <a:lnTo>
                    <a:pt x="64" y="168"/>
                  </a:lnTo>
                  <a:lnTo>
                    <a:pt x="68" y="174"/>
                  </a:lnTo>
                  <a:lnTo>
                    <a:pt x="68" y="178"/>
                  </a:lnTo>
                  <a:lnTo>
                    <a:pt x="70" y="180"/>
                  </a:lnTo>
                  <a:lnTo>
                    <a:pt x="76" y="182"/>
                  </a:lnTo>
                  <a:lnTo>
                    <a:pt x="88" y="178"/>
                  </a:lnTo>
                  <a:lnTo>
                    <a:pt x="96" y="176"/>
                  </a:lnTo>
                  <a:lnTo>
                    <a:pt x="102" y="172"/>
                  </a:lnTo>
                  <a:lnTo>
                    <a:pt x="106" y="172"/>
                  </a:lnTo>
                  <a:lnTo>
                    <a:pt x="118" y="178"/>
                  </a:lnTo>
                  <a:lnTo>
                    <a:pt x="122" y="176"/>
                  </a:lnTo>
                  <a:lnTo>
                    <a:pt x="132" y="168"/>
                  </a:lnTo>
                  <a:lnTo>
                    <a:pt x="134" y="166"/>
                  </a:lnTo>
                  <a:lnTo>
                    <a:pt x="140" y="156"/>
                  </a:lnTo>
                  <a:lnTo>
                    <a:pt x="140" y="152"/>
                  </a:lnTo>
                  <a:lnTo>
                    <a:pt x="138" y="146"/>
                  </a:lnTo>
                  <a:lnTo>
                    <a:pt x="138" y="144"/>
                  </a:lnTo>
                  <a:lnTo>
                    <a:pt x="148" y="138"/>
                  </a:lnTo>
                  <a:lnTo>
                    <a:pt x="152" y="132"/>
                  </a:lnTo>
                  <a:lnTo>
                    <a:pt x="156" y="128"/>
                  </a:lnTo>
                  <a:lnTo>
                    <a:pt x="160" y="128"/>
                  </a:lnTo>
                  <a:lnTo>
                    <a:pt x="162" y="130"/>
                  </a:lnTo>
                  <a:lnTo>
                    <a:pt x="162" y="132"/>
                  </a:lnTo>
                  <a:lnTo>
                    <a:pt x="162" y="144"/>
                  </a:lnTo>
                  <a:lnTo>
                    <a:pt x="162" y="148"/>
                  </a:lnTo>
                  <a:lnTo>
                    <a:pt x="170" y="156"/>
                  </a:lnTo>
                  <a:lnTo>
                    <a:pt x="174" y="160"/>
                  </a:lnTo>
                  <a:lnTo>
                    <a:pt x="186" y="164"/>
                  </a:lnTo>
                  <a:lnTo>
                    <a:pt x="186" y="164"/>
                  </a:lnTo>
                  <a:lnTo>
                    <a:pt x="184" y="170"/>
                  </a:lnTo>
                  <a:lnTo>
                    <a:pt x="190" y="178"/>
                  </a:lnTo>
                  <a:lnTo>
                    <a:pt x="192" y="184"/>
                  </a:lnTo>
                  <a:lnTo>
                    <a:pt x="194" y="186"/>
                  </a:lnTo>
                  <a:lnTo>
                    <a:pt x="200" y="186"/>
                  </a:lnTo>
                  <a:lnTo>
                    <a:pt x="202" y="182"/>
                  </a:lnTo>
                  <a:lnTo>
                    <a:pt x="200" y="178"/>
                  </a:lnTo>
                  <a:lnTo>
                    <a:pt x="198" y="172"/>
                  </a:lnTo>
                  <a:lnTo>
                    <a:pt x="198" y="170"/>
                  </a:lnTo>
                  <a:lnTo>
                    <a:pt x="200" y="166"/>
                  </a:lnTo>
                  <a:lnTo>
                    <a:pt x="202" y="160"/>
                  </a:lnTo>
                  <a:lnTo>
                    <a:pt x="212" y="150"/>
                  </a:lnTo>
                  <a:lnTo>
                    <a:pt x="214" y="144"/>
                  </a:lnTo>
                  <a:lnTo>
                    <a:pt x="216" y="134"/>
                  </a:lnTo>
                  <a:lnTo>
                    <a:pt x="216" y="126"/>
                  </a:lnTo>
                  <a:lnTo>
                    <a:pt x="218" y="124"/>
                  </a:lnTo>
                  <a:lnTo>
                    <a:pt x="224" y="124"/>
                  </a:lnTo>
                  <a:lnTo>
                    <a:pt x="226" y="124"/>
                  </a:lnTo>
                  <a:lnTo>
                    <a:pt x="226" y="130"/>
                  </a:lnTo>
                  <a:lnTo>
                    <a:pt x="230" y="138"/>
                  </a:lnTo>
                  <a:lnTo>
                    <a:pt x="232" y="142"/>
                  </a:lnTo>
                  <a:lnTo>
                    <a:pt x="236" y="142"/>
                  </a:lnTo>
                  <a:lnTo>
                    <a:pt x="240" y="142"/>
                  </a:lnTo>
                  <a:lnTo>
                    <a:pt x="250" y="138"/>
                  </a:lnTo>
                  <a:lnTo>
                    <a:pt x="256" y="136"/>
                  </a:lnTo>
                  <a:lnTo>
                    <a:pt x="260" y="136"/>
                  </a:lnTo>
                  <a:lnTo>
                    <a:pt x="262" y="140"/>
                  </a:lnTo>
                  <a:lnTo>
                    <a:pt x="266" y="148"/>
                  </a:lnTo>
                  <a:lnTo>
                    <a:pt x="270" y="148"/>
                  </a:lnTo>
                  <a:lnTo>
                    <a:pt x="272" y="148"/>
                  </a:lnTo>
                  <a:lnTo>
                    <a:pt x="274" y="146"/>
                  </a:lnTo>
                  <a:lnTo>
                    <a:pt x="272" y="144"/>
                  </a:lnTo>
                  <a:lnTo>
                    <a:pt x="270" y="136"/>
                  </a:lnTo>
                  <a:lnTo>
                    <a:pt x="270" y="130"/>
                  </a:lnTo>
                  <a:lnTo>
                    <a:pt x="266" y="128"/>
                  </a:lnTo>
                  <a:lnTo>
                    <a:pt x="266" y="124"/>
                  </a:lnTo>
                  <a:lnTo>
                    <a:pt x="268" y="118"/>
                  </a:lnTo>
                  <a:lnTo>
                    <a:pt x="270" y="114"/>
                  </a:lnTo>
                  <a:lnTo>
                    <a:pt x="272" y="112"/>
                  </a:lnTo>
                  <a:lnTo>
                    <a:pt x="276" y="112"/>
                  </a:lnTo>
                  <a:lnTo>
                    <a:pt x="282" y="116"/>
                  </a:lnTo>
                  <a:lnTo>
                    <a:pt x="288" y="118"/>
                  </a:lnTo>
                  <a:lnTo>
                    <a:pt x="292" y="118"/>
                  </a:lnTo>
                  <a:lnTo>
                    <a:pt x="292" y="116"/>
                  </a:lnTo>
                  <a:lnTo>
                    <a:pt x="292" y="112"/>
                  </a:lnTo>
                  <a:lnTo>
                    <a:pt x="290" y="108"/>
                  </a:lnTo>
                  <a:lnTo>
                    <a:pt x="290" y="100"/>
                  </a:lnTo>
                  <a:lnTo>
                    <a:pt x="294" y="88"/>
                  </a:lnTo>
                  <a:lnTo>
                    <a:pt x="294" y="84"/>
                  </a:lnTo>
                  <a:lnTo>
                    <a:pt x="290" y="78"/>
                  </a:lnTo>
                  <a:lnTo>
                    <a:pt x="286" y="76"/>
                  </a:lnTo>
                  <a:lnTo>
                    <a:pt x="276" y="88"/>
                  </a:lnTo>
                  <a:lnTo>
                    <a:pt x="272" y="90"/>
                  </a:lnTo>
                  <a:lnTo>
                    <a:pt x="264" y="86"/>
                  </a:lnTo>
                  <a:lnTo>
                    <a:pt x="256" y="82"/>
                  </a:lnTo>
                  <a:lnTo>
                    <a:pt x="254" y="78"/>
                  </a:lnTo>
                  <a:lnTo>
                    <a:pt x="254" y="74"/>
                  </a:lnTo>
                  <a:lnTo>
                    <a:pt x="246" y="72"/>
                  </a:lnTo>
                  <a:lnTo>
                    <a:pt x="238" y="70"/>
                  </a:lnTo>
                  <a:lnTo>
                    <a:pt x="236" y="70"/>
                  </a:lnTo>
                  <a:lnTo>
                    <a:pt x="232" y="70"/>
                  </a:lnTo>
                  <a:lnTo>
                    <a:pt x="230" y="70"/>
                  </a:lnTo>
                  <a:lnTo>
                    <a:pt x="230" y="66"/>
                  </a:lnTo>
                  <a:lnTo>
                    <a:pt x="230" y="58"/>
                  </a:lnTo>
                  <a:lnTo>
                    <a:pt x="232" y="50"/>
                  </a:lnTo>
                  <a:lnTo>
                    <a:pt x="238" y="38"/>
                  </a:lnTo>
                  <a:lnTo>
                    <a:pt x="240" y="30"/>
                  </a:lnTo>
                  <a:lnTo>
                    <a:pt x="234" y="26"/>
                  </a:lnTo>
                  <a:lnTo>
                    <a:pt x="228" y="26"/>
                  </a:lnTo>
                  <a:lnTo>
                    <a:pt x="214" y="18"/>
                  </a:lnTo>
                  <a:lnTo>
                    <a:pt x="210" y="1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2" name="Freeform 60">
              <a:extLst>
                <a:ext uri="{FF2B5EF4-FFF2-40B4-BE49-F238E27FC236}">
                  <a16:creationId xmlns:a16="http://schemas.microsoft.com/office/drawing/2014/main" id="{9811AA82-EEB3-49D8-8117-F57397BF3A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02653" y="5858447"/>
              <a:ext cx="316830" cy="1261925"/>
            </a:xfrm>
            <a:custGeom>
              <a:avLst/>
              <a:gdLst>
                <a:gd name="connsiteX0" fmla="*/ 1753567 w 1958467"/>
                <a:gd name="connsiteY0" fmla="*/ 7776688 h 7800512"/>
                <a:gd name="connsiteX1" fmla="*/ 1786921 w 1958467"/>
                <a:gd name="connsiteY1" fmla="*/ 7781452 h 7800512"/>
                <a:gd name="connsiteX2" fmla="*/ 1791687 w 1958467"/>
                <a:gd name="connsiteY2" fmla="*/ 7781452 h 7800512"/>
                <a:gd name="connsiteX3" fmla="*/ 1791687 w 1958467"/>
                <a:gd name="connsiteY3" fmla="*/ 7786216 h 7800512"/>
                <a:gd name="connsiteX4" fmla="*/ 1786921 w 1958467"/>
                <a:gd name="connsiteY4" fmla="*/ 7795748 h 7800512"/>
                <a:gd name="connsiteX5" fmla="*/ 1782157 w 1958467"/>
                <a:gd name="connsiteY5" fmla="*/ 7795748 h 7800512"/>
                <a:gd name="connsiteX6" fmla="*/ 1777391 w 1958467"/>
                <a:gd name="connsiteY6" fmla="*/ 7800512 h 7800512"/>
                <a:gd name="connsiteX7" fmla="*/ 1763097 w 1958467"/>
                <a:gd name="connsiteY7" fmla="*/ 7790980 h 7800512"/>
                <a:gd name="connsiteX8" fmla="*/ 1744037 w 1958467"/>
                <a:gd name="connsiteY8" fmla="*/ 7790980 h 7800512"/>
                <a:gd name="connsiteX9" fmla="*/ 1739271 w 1958467"/>
                <a:gd name="connsiteY9" fmla="*/ 7790980 h 7800512"/>
                <a:gd name="connsiteX10" fmla="*/ 1739271 w 1958467"/>
                <a:gd name="connsiteY10" fmla="*/ 7786216 h 7800512"/>
                <a:gd name="connsiteX11" fmla="*/ 1744037 w 1958467"/>
                <a:gd name="connsiteY11" fmla="*/ 7781452 h 7800512"/>
                <a:gd name="connsiteX12" fmla="*/ 1810749 w 1958467"/>
                <a:gd name="connsiteY12" fmla="*/ 7714740 h 7800512"/>
                <a:gd name="connsiteX13" fmla="*/ 1815513 w 1958467"/>
                <a:gd name="connsiteY13" fmla="*/ 7714740 h 7800512"/>
                <a:gd name="connsiteX14" fmla="*/ 1815513 w 1958467"/>
                <a:gd name="connsiteY14" fmla="*/ 7719504 h 7800512"/>
                <a:gd name="connsiteX15" fmla="*/ 1825043 w 1958467"/>
                <a:gd name="connsiteY15" fmla="*/ 7743328 h 7800512"/>
                <a:gd name="connsiteX16" fmla="*/ 1829809 w 1958467"/>
                <a:gd name="connsiteY16" fmla="*/ 7757624 h 7800512"/>
                <a:gd name="connsiteX17" fmla="*/ 1829809 w 1958467"/>
                <a:gd name="connsiteY17" fmla="*/ 7762388 h 7800512"/>
                <a:gd name="connsiteX18" fmla="*/ 1825043 w 1958467"/>
                <a:gd name="connsiteY18" fmla="*/ 7767156 h 7800512"/>
                <a:gd name="connsiteX19" fmla="*/ 1820279 w 1958467"/>
                <a:gd name="connsiteY19" fmla="*/ 7767156 h 7800512"/>
                <a:gd name="connsiteX20" fmla="*/ 1815513 w 1958467"/>
                <a:gd name="connsiteY20" fmla="*/ 7762388 h 7800512"/>
                <a:gd name="connsiteX21" fmla="*/ 1810749 w 1958467"/>
                <a:gd name="connsiteY21" fmla="*/ 7757624 h 7800512"/>
                <a:gd name="connsiteX22" fmla="*/ 1786923 w 1958467"/>
                <a:gd name="connsiteY22" fmla="*/ 7752860 h 7800512"/>
                <a:gd name="connsiteX23" fmla="*/ 1782159 w 1958467"/>
                <a:gd name="connsiteY23" fmla="*/ 7748096 h 7800512"/>
                <a:gd name="connsiteX24" fmla="*/ 1786923 w 1958467"/>
                <a:gd name="connsiteY24" fmla="*/ 7738564 h 7800512"/>
                <a:gd name="connsiteX25" fmla="*/ 1791689 w 1958467"/>
                <a:gd name="connsiteY25" fmla="*/ 7733800 h 7800512"/>
                <a:gd name="connsiteX26" fmla="*/ 1801219 w 1958467"/>
                <a:gd name="connsiteY26" fmla="*/ 7729036 h 7800512"/>
                <a:gd name="connsiteX27" fmla="*/ 1948937 w 1958467"/>
                <a:gd name="connsiteY27" fmla="*/ 7595612 h 7800512"/>
                <a:gd name="connsiteX28" fmla="*/ 1958467 w 1958467"/>
                <a:gd name="connsiteY28" fmla="*/ 7605140 h 7800512"/>
                <a:gd name="connsiteX29" fmla="*/ 1953701 w 1958467"/>
                <a:gd name="connsiteY29" fmla="*/ 7614672 h 7800512"/>
                <a:gd name="connsiteX30" fmla="*/ 1944171 w 1958467"/>
                <a:gd name="connsiteY30" fmla="*/ 7628968 h 7800512"/>
                <a:gd name="connsiteX31" fmla="*/ 1934641 w 1958467"/>
                <a:gd name="connsiteY31" fmla="*/ 7624200 h 7800512"/>
                <a:gd name="connsiteX32" fmla="*/ 1929875 w 1958467"/>
                <a:gd name="connsiteY32" fmla="*/ 7624200 h 7800512"/>
                <a:gd name="connsiteX33" fmla="*/ 1929875 w 1958467"/>
                <a:gd name="connsiteY33" fmla="*/ 7614672 h 7800512"/>
                <a:gd name="connsiteX34" fmla="*/ 1929875 w 1958467"/>
                <a:gd name="connsiteY34" fmla="*/ 7609908 h 7800512"/>
                <a:gd name="connsiteX35" fmla="*/ 1934641 w 1958467"/>
                <a:gd name="connsiteY35" fmla="*/ 7605140 h 7800512"/>
                <a:gd name="connsiteX36" fmla="*/ 1944171 w 1958467"/>
                <a:gd name="connsiteY36" fmla="*/ 7600376 h 7800512"/>
                <a:gd name="connsiteX37" fmla="*/ 1701149 w 1958467"/>
                <a:gd name="connsiteY37" fmla="*/ 7533664 h 7800512"/>
                <a:gd name="connsiteX38" fmla="*/ 1734505 w 1958467"/>
                <a:gd name="connsiteY38" fmla="*/ 7533664 h 7800512"/>
                <a:gd name="connsiteX39" fmla="*/ 1805983 w 1958467"/>
                <a:gd name="connsiteY39" fmla="*/ 7543196 h 7800512"/>
                <a:gd name="connsiteX40" fmla="*/ 1834573 w 1958467"/>
                <a:gd name="connsiteY40" fmla="*/ 7547960 h 7800512"/>
                <a:gd name="connsiteX41" fmla="*/ 1853633 w 1958467"/>
                <a:gd name="connsiteY41" fmla="*/ 7571784 h 7800512"/>
                <a:gd name="connsiteX42" fmla="*/ 1858399 w 1958467"/>
                <a:gd name="connsiteY42" fmla="*/ 7586080 h 7800512"/>
                <a:gd name="connsiteX43" fmla="*/ 1858399 w 1958467"/>
                <a:gd name="connsiteY43" fmla="*/ 7595612 h 7800512"/>
                <a:gd name="connsiteX44" fmla="*/ 1853633 w 1958467"/>
                <a:gd name="connsiteY44" fmla="*/ 7605140 h 7800512"/>
                <a:gd name="connsiteX45" fmla="*/ 1844103 w 1958467"/>
                <a:gd name="connsiteY45" fmla="*/ 7619436 h 7800512"/>
                <a:gd name="connsiteX46" fmla="*/ 1829809 w 1958467"/>
                <a:gd name="connsiteY46" fmla="*/ 7628968 h 7800512"/>
                <a:gd name="connsiteX47" fmla="*/ 1820279 w 1958467"/>
                <a:gd name="connsiteY47" fmla="*/ 7633732 h 7800512"/>
                <a:gd name="connsiteX48" fmla="*/ 1810747 w 1958467"/>
                <a:gd name="connsiteY48" fmla="*/ 7628968 h 7800512"/>
                <a:gd name="connsiteX49" fmla="*/ 1805983 w 1958467"/>
                <a:gd name="connsiteY49" fmla="*/ 7619436 h 7800512"/>
                <a:gd name="connsiteX50" fmla="*/ 1801217 w 1958467"/>
                <a:gd name="connsiteY50" fmla="*/ 7605140 h 7800512"/>
                <a:gd name="connsiteX51" fmla="*/ 1801217 w 1958467"/>
                <a:gd name="connsiteY51" fmla="*/ 7600376 h 7800512"/>
                <a:gd name="connsiteX52" fmla="*/ 1796453 w 1958467"/>
                <a:gd name="connsiteY52" fmla="*/ 7600376 h 7800512"/>
                <a:gd name="connsiteX53" fmla="*/ 1786923 w 1958467"/>
                <a:gd name="connsiteY53" fmla="*/ 7600376 h 7800512"/>
                <a:gd name="connsiteX54" fmla="*/ 1782157 w 1958467"/>
                <a:gd name="connsiteY54" fmla="*/ 7605140 h 7800512"/>
                <a:gd name="connsiteX55" fmla="*/ 1763097 w 1958467"/>
                <a:gd name="connsiteY55" fmla="*/ 7619436 h 7800512"/>
                <a:gd name="connsiteX56" fmla="*/ 1758331 w 1958467"/>
                <a:gd name="connsiteY56" fmla="*/ 7624200 h 7800512"/>
                <a:gd name="connsiteX57" fmla="*/ 1753567 w 1958467"/>
                <a:gd name="connsiteY57" fmla="*/ 7624200 h 7800512"/>
                <a:gd name="connsiteX58" fmla="*/ 1705915 w 1958467"/>
                <a:gd name="connsiteY58" fmla="*/ 7614672 h 7800512"/>
                <a:gd name="connsiteX59" fmla="*/ 1701149 w 1958467"/>
                <a:gd name="connsiteY59" fmla="*/ 7609908 h 7800512"/>
                <a:gd name="connsiteX60" fmla="*/ 1696385 w 1958467"/>
                <a:gd name="connsiteY60" fmla="*/ 7600376 h 7800512"/>
                <a:gd name="connsiteX61" fmla="*/ 1686855 w 1958467"/>
                <a:gd name="connsiteY61" fmla="*/ 7571784 h 7800512"/>
                <a:gd name="connsiteX62" fmla="*/ 1667795 w 1958467"/>
                <a:gd name="connsiteY62" fmla="*/ 7547960 h 7800512"/>
                <a:gd name="connsiteX63" fmla="*/ 1420007 w 1958467"/>
                <a:gd name="connsiteY63" fmla="*/ 7519368 h 7800512"/>
                <a:gd name="connsiteX64" fmla="*/ 1448599 w 1958467"/>
                <a:gd name="connsiteY64" fmla="*/ 7528900 h 7800512"/>
                <a:gd name="connsiteX65" fmla="*/ 1577257 w 1958467"/>
                <a:gd name="connsiteY65" fmla="*/ 7557492 h 7800512"/>
                <a:gd name="connsiteX66" fmla="*/ 1615377 w 1958467"/>
                <a:gd name="connsiteY66" fmla="*/ 7543196 h 7800512"/>
                <a:gd name="connsiteX67" fmla="*/ 1643969 w 1958467"/>
                <a:gd name="connsiteY67" fmla="*/ 7543196 h 7800512"/>
                <a:gd name="connsiteX68" fmla="*/ 1653499 w 1958467"/>
                <a:gd name="connsiteY68" fmla="*/ 7562256 h 7800512"/>
                <a:gd name="connsiteX69" fmla="*/ 1620143 w 1958467"/>
                <a:gd name="connsiteY69" fmla="*/ 7586080 h 7800512"/>
                <a:gd name="connsiteX70" fmla="*/ 1620143 w 1958467"/>
                <a:gd name="connsiteY70" fmla="*/ 7595612 h 7800512"/>
                <a:gd name="connsiteX71" fmla="*/ 1624907 w 1958467"/>
                <a:gd name="connsiteY71" fmla="*/ 7600376 h 7800512"/>
                <a:gd name="connsiteX72" fmla="*/ 1658263 w 1958467"/>
                <a:gd name="connsiteY72" fmla="*/ 7605140 h 7800512"/>
                <a:gd name="connsiteX73" fmla="*/ 1663029 w 1958467"/>
                <a:gd name="connsiteY73" fmla="*/ 7614672 h 7800512"/>
                <a:gd name="connsiteX74" fmla="*/ 1672559 w 1958467"/>
                <a:gd name="connsiteY74" fmla="*/ 7624200 h 7800512"/>
                <a:gd name="connsiteX75" fmla="*/ 1667793 w 1958467"/>
                <a:gd name="connsiteY75" fmla="*/ 7638496 h 7800512"/>
                <a:gd name="connsiteX76" fmla="*/ 1663029 w 1958467"/>
                <a:gd name="connsiteY76" fmla="*/ 7643264 h 7800512"/>
                <a:gd name="connsiteX77" fmla="*/ 1667793 w 1958467"/>
                <a:gd name="connsiteY77" fmla="*/ 7652792 h 7800512"/>
                <a:gd name="connsiteX78" fmla="*/ 1691619 w 1958467"/>
                <a:gd name="connsiteY78" fmla="*/ 7671852 h 7800512"/>
                <a:gd name="connsiteX79" fmla="*/ 1701149 w 1958467"/>
                <a:gd name="connsiteY79" fmla="*/ 7681384 h 7800512"/>
                <a:gd name="connsiteX80" fmla="*/ 1705915 w 1958467"/>
                <a:gd name="connsiteY80" fmla="*/ 7695680 h 7800512"/>
                <a:gd name="connsiteX81" fmla="*/ 1710679 w 1958467"/>
                <a:gd name="connsiteY81" fmla="*/ 7714740 h 7800512"/>
                <a:gd name="connsiteX82" fmla="*/ 1710679 w 1958467"/>
                <a:gd name="connsiteY82" fmla="*/ 7729036 h 7800512"/>
                <a:gd name="connsiteX83" fmla="*/ 1701149 w 1958467"/>
                <a:gd name="connsiteY83" fmla="*/ 7733800 h 7800512"/>
                <a:gd name="connsiteX84" fmla="*/ 1691619 w 1958467"/>
                <a:gd name="connsiteY84" fmla="*/ 7729036 h 7800512"/>
                <a:gd name="connsiteX85" fmla="*/ 1682089 w 1958467"/>
                <a:gd name="connsiteY85" fmla="*/ 7719504 h 7800512"/>
                <a:gd name="connsiteX86" fmla="*/ 1672559 w 1958467"/>
                <a:gd name="connsiteY86" fmla="*/ 7695680 h 7800512"/>
                <a:gd name="connsiteX87" fmla="*/ 1663029 w 1958467"/>
                <a:gd name="connsiteY87" fmla="*/ 7690912 h 7800512"/>
                <a:gd name="connsiteX88" fmla="*/ 1643969 w 1958467"/>
                <a:gd name="connsiteY88" fmla="*/ 7686148 h 7800512"/>
                <a:gd name="connsiteX89" fmla="*/ 1624907 w 1958467"/>
                <a:gd name="connsiteY89" fmla="*/ 7676620 h 7800512"/>
                <a:gd name="connsiteX90" fmla="*/ 1605847 w 1958467"/>
                <a:gd name="connsiteY90" fmla="*/ 7676620 h 7800512"/>
                <a:gd name="connsiteX91" fmla="*/ 1591551 w 1958467"/>
                <a:gd name="connsiteY91" fmla="*/ 7671852 h 7800512"/>
                <a:gd name="connsiteX92" fmla="*/ 1582021 w 1958467"/>
                <a:gd name="connsiteY92" fmla="*/ 7676620 h 7800512"/>
                <a:gd name="connsiteX93" fmla="*/ 1577257 w 1958467"/>
                <a:gd name="connsiteY93" fmla="*/ 7667088 h 7800512"/>
                <a:gd name="connsiteX94" fmla="*/ 1572491 w 1958467"/>
                <a:gd name="connsiteY94" fmla="*/ 7652792 h 7800512"/>
                <a:gd name="connsiteX95" fmla="*/ 1572491 w 1958467"/>
                <a:gd name="connsiteY95" fmla="*/ 7648028 h 7800512"/>
                <a:gd name="connsiteX96" fmla="*/ 1577257 w 1958467"/>
                <a:gd name="connsiteY96" fmla="*/ 7624200 h 7800512"/>
                <a:gd name="connsiteX97" fmla="*/ 1577257 w 1958467"/>
                <a:gd name="connsiteY97" fmla="*/ 7619436 h 7800512"/>
                <a:gd name="connsiteX98" fmla="*/ 1572491 w 1958467"/>
                <a:gd name="connsiteY98" fmla="*/ 7619436 h 7800512"/>
                <a:gd name="connsiteX99" fmla="*/ 1558195 w 1958467"/>
                <a:gd name="connsiteY99" fmla="*/ 7624200 h 7800512"/>
                <a:gd name="connsiteX100" fmla="*/ 1553431 w 1958467"/>
                <a:gd name="connsiteY100" fmla="*/ 7619436 h 7800512"/>
                <a:gd name="connsiteX101" fmla="*/ 1534371 w 1958467"/>
                <a:gd name="connsiteY101" fmla="*/ 7600376 h 7800512"/>
                <a:gd name="connsiteX102" fmla="*/ 1529605 w 1958467"/>
                <a:gd name="connsiteY102" fmla="*/ 7600376 h 7800512"/>
                <a:gd name="connsiteX103" fmla="*/ 1515309 w 1958467"/>
                <a:gd name="connsiteY103" fmla="*/ 7600376 h 7800512"/>
                <a:gd name="connsiteX104" fmla="*/ 1505779 w 1958467"/>
                <a:gd name="connsiteY104" fmla="*/ 7628968 h 7800512"/>
                <a:gd name="connsiteX105" fmla="*/ 1505779 w 1958467"/>
                <a:gd name="connsiteY105" fmla="*/ 7633732 h 7800512"/>
                <a:gd name="connsiteX106" fmla="*/ 1515309 w 1958467"/>
                <a:gd name="connsiteY106" fmla="*/ 7652792 h 7800512"/>
                <a:gd name="connsiteX107" fmla="*/ 1529605 w 1958467"/>
                <a:gd name="connsiteY107" fmla="*/ 7681384 h 7800512"/>
                <a:gd name="connsiteX108" fmla="*/ 1520075 w 1958467"/>
                <a:gd name="connsiteY108" fmla="*/ 7681384 h 7800512"/>
                <a:gd name="connsiteX109" fmla="*/ 1496249 w 1958467"/>
                <a:gd name="connsiteY109" fmla="*/ 7676620 h 7800512"/>
                <a:gd name="connsiteX110" fmla="*/ 1486719 w 1958467"/>
                <a:gd name="connsiteY110" fmla="*/ 7667088 h 7800512"/>
                <a:gd name="connsiteX111" fmla="*/ 1481955 w 1958467"/>
                <a:gd name="connsiteY111" fmla="*/ 7652792 h 7800512"/>
                <a:gd name="connsiteX112" fmla="*/ 1462893 w 1958467"/>
                <a:gd name="connsiteY112" fmla="*/ 7643264 h 7800512"/>
                <a:gd name="connsiteX113" fmla="*/ 1458129 w 1958467"/>
                <a:gd name="connsiteY113" fmla="*/ 7638496 h 7800512"/>
                <a:gd name="connsiteX114" fmla="*/ 1458129 w 1958467"/>
                <a:gd name="connsiteY114" fmla="*/ 7633732 h 7800512"/>
                <a:gd name="connsiteX115" fmla="*/ 1458129 w 1958467"/>
                <a:gd name="connsiteY115" fmla="*/ 7614672 h 7800512"/>
                <a:gd name="connsiteX116" fmla="*/ 1453363 w 1958467"/>
                <a:gd name="connsiteY116" fmla="*/ 7614672 h 7800512"/>
                <a:gd name="connsiteX117" fmla="*/ 1429537 w 1958467"/>
                <a:gd name="connsiteY117" fmla="*/ 7619436 h 7800512"/>
                <a:gd name="connsiteX118" fmla="*/ 1424773 w 1958467"/>
                <a:gd name="connsiteY118" fmla="*/ 7614672 h 7800512"/>
                <a:gd name="connsiteX119" fmla="*/ 1424773 w 1958467"/>
                <a:gd name="connsiteY119" fmla="*/ 7605140 h 7800512"/>
                <a:gd name="connsiteX120" fmla="*/ 1420007 w 1958467"/>
                <a:gd name="connsiteY120" fmla="*/ 7600376 h 7800512"/>
                <a:gd name="connsiteX121" fmla="*/ 1405711 w 1958467"/>
                <a:gd name="connsiteY121" fmla="*/ 7590848 h 7800512"/>
                <a:gd name="connsiteX122" fmla="*/ 1405711 w 1958467"/>
                <a:gd name="connsiteY122" fmla="*/ 7586080 h 7800512"/>
                <a:gd name="connsiteX123" fmla="*/ 1410477 w 1958467"/>
                <a:gd name="connsiteY123" fmla="*/ 7581316 h 7800512"/>
                <a:gd name="connsiteX124" fmla="*/ 1415243 w 1958467"/>
                <a:gd name="connsiteY124" fmla="*/ 7571784 h 7800512"/>
                <a:gd name="connsiteX125" fmla="*/ 1181751 w 1958467"/>
                <a:gd name="connsiteY125" fmla="*/ 7509840 h 7800512"/>
                <a:gd name="connsiteX126" fmla="*/ 1186517 w 1958467"/>
                <a:gd name="connsiteY126" fmla="*/ 7509840 h 7800512"/>
                <a:gd name="connsiteX127" fmla="*/ 1215107 w 1958467"/>
                <a:gd name="connsiteY127" fmla="*/ 7509840 h 7800512"/>
                <a:gd name="connsiteX128" fmla="*/ 1234167 w 1958467"/>
                <a:gd name="connsiteY128" fmla="*/ 7514604 h 7800512"/>
                <a:gd name="connsiteX129" fmla="*/ 1248463 w 1958467"/>
                <a:gd name="connsiteY129" fmla="*/ 7514604 h 7800512"/>
                <a:gd name="connsiteX130" fmla="*/ 1257993 w 1958467"/>
                <a:gd name="connsiteY130" fmla="*/ 7533664 h 7800512"/>
                <a:gd name="connsiteX131" fmla="*/ 1257993 w 1958467"/>
                <a:gd name="connsiteY131" fmla="*/ 7538428 h 7800512"/>
                <a:gd name="connsiteX132" fmla="*/ 1277053 w 1958467"/>
                <a:gd name="connsiteY132" fmla="*/ 7543196 h 7800512"/>
                <a:gd name="connsiteX133" fmla="*/ 1286585 w 1958467"/>
                <a:gd name="connsiteY133" fmla="*/ 7538428 h 7800512"/>
                <a:gd name="connsiteX134" fmla="*/ 1305645 w 1958467"/>
                <a:gd name="connsiteY134" fmla="*/ 7538428 h 7800512"/>
                <a:gd name="connsiteX135" fmla="*/ 1319939 w 1958467"/>
                <a:gd name="connsiteY135" fmla="*/ 7533664 h 7800512"/>
                <a:gd name="connsiteX136" fmla="*/ 1339001 w 1958467"/>
                <a:gd name="connsiteY136" fmla="*/ 7528900 h 7800512"/>
                <a:gd name="connsiteX137" fmla="*/ 1358061 w 1958467"/>
                <a:gd name="connsiteY137" fmla="*/ 7571784 h 7800512"/>
                <a:gd name="connsiteX138" fmla="*/ 1358061 w 1958467"/>
                <a:gd name="connsiteY138" fmla="*/ 7581316 h 7800512"/>
                <a:gd name="connsiteX139" fmla="*/ 1339001 w 1958467"/>
                <a:gd name="connsiteY139" fmla="*/ 7595612 h 7800512"/>
                <a:gd name="connsiteX140" fmla="*/ 1329471 w 1958467"/>
                <a:gd name="connsiteY140" fmla="*/ 7600376 h 7800512"/>
                <a:gd name="connsiteX141" fmla="*/ 1319939 w 1958467"/>
                <a:gd name="connsiteY141" fmla="*/ 7595612 h 7800512"/>
                <a:gd name="connsiteX142" fmla="*/ 1319939 w 1958467"/>
                <a:gd name="connsiteY142" fmla="*/ 7590844 h 7800512"/>
                <a:gd name="connsiteX143" fmla="*/ 1319939 w 1958467"/>
                <a:gd name="connsiteY143" fmla="*/ 7581316 h 7800512"/>
                <a:gd name="connsiteX144" fmla="*/ 1310409 w 1958467"/>
                <a:gd name="connsiteY144" fmla="*/ 7576552 h 7800512"/>
                <a:gd name="connsiteX145" fmla="*/ 1305645 w 1958467"/>
                <a:gd name="connsiteY145" fmla="*/ 7576552 h 7800512"/>
                <a:gd name="connsiteX146" fmla="*/ 1291349 w 1958467"/>
                <a:gd name="connsiteY146" fmla="*/ 7581316 h 7800512"/>
                <a:gd name="connsiteX147" fmla="*/ 1286585 w 1958467"/>
                <a:gd name="connsiteY147" fmla="*/ 7581316 h 7800512"/>
                <a:gd name="connsiteX148" fmla="*/ 1277053 w 1958467"/>
                <a:gd name="connsiteY148" fmla="*/ 7576552 h 7800512"/>
                <a:gd name="connsiteX149" fmla="*/ 1257993 w 1958467"/>
                <a:gd name="connsiteY149" fmla="*/ 7571784 h 7800512"/>
                <a:gd name="connsiteX150" fmla="*/ 1253229 w 1958467"/>
                <a:gd name="connsiteY150" fmla="*/ 7562256 h 7800512"/>
                <a:gd name="connsiteX151" fmla="*/ 1253229 w 1958467"/>
                <a:gd name="connsiteY151" fmla="*/ 7552724 h 7800512"/>
                <a:gd name="connsiteX152" fmla="*/ 1248463 w 1958467"/>
                <a:gd name="connsiteY152" fmla="*/ 7547960 h 7800512"/>
                <a:gd name="connsiteX153" fmla="*/ 1229403 w 1958467"/>
                <a:gd name="connsiteY153" fmla="*/ 7533664 h 7800512"/>
                <a:gd name="connsiteX154" fmla="*/ 1215107 w 1958467"/>
                <a:gd name="connsiteY154" fmla="*/ 7524136 h 7800512"/>
                <a:gd name="connsiteX155" fmla="*/ 1205577 w 1958467"/>
                <a:gd name="connsiteY155" fmla="*/ 7524136 h 7800512"/>
                <a:gd name="connsiteX156" fmla="*/ 1200811 w 1958467"/>
                <a:gd name="connsiteY156" fmla="*/ 7524136 h 7800512"/>
                <a:gd name="connsiteX157" fmla="*/ 1196047 w 1958467"/>
                <a:gd name="connsiteY157" fmla="*/ 7528900 h 7800512"/>
                <a:gd name="connsiteX158" fmla="*/ 1186517 w 1958467"/>
                <a:gd name="connsiteY158" fmla="*/ 7533664 h 7800512"/>
                <a:gd name="connsiteX159" fmla="*/ 1181751 w 1958467"/>
                <a:gd name="connsiteY159" fmla="*/ 7533664 h 7800512"/>
                <a:gd name="connsiteX160" fmla="*/ 1181751 w 1958467"/>
                <a:gd name="connsiteY160" fmla="*/ 7528900 h 7800512"/>
                <a:gd name="connsiteX161" fmla="*/ 1176987 w 1958467"/>
                <a:gd name="connsiteY161" fmla="*/ 7524136 h 7800512"/>
                <a:gd name="connsiteX162" fmla="*/ 1091213 w 1958467"/>
                <a:gd name="connsiteY162" fmla="*/ 7252520 h 7800512"/>
                <a:gd name="connsiteX163" fmla="*/ 1138865 w 1958467"/>
                <a:gd name="connsiteY163" fmla="*/ 7262052 h 7800512"/>
                <a:gd name="connsiteX164" fmla="*/ 1162691 w 1958467"/>
                <a:gd name="connsiteY164" fmla="*/ 7271584 h 7800512"/>
                <a:gd name="connsiteX165" fmla="*/ 1186517 w 1958467"/>
                <a:gd name="connsiteY165" fmla="*/ 7290644 h 7800512"/>
                <a:gd name="connsiteX166" fmla="*/ 1219873 w 1958467"/>
                <a:gd name="connsiteY166" fmla="*/ 7314468 h 7800512"/>
                <a:gd name="connsiteX167" fmla="*/ 1243697 w 1958467"/>
                <a:gd name="connsiteY167" fmla="*/ 7314468 h 7800512"/>
                <a:gd name="connsiteX168" fmla="*/ 1243697 w 1958467"/>
                <a:gd name="connsiteY168" fmla="*/ 7328764 h 7800512"/>
                <a:gd name="connsiteX169" fmla="*/ 1248463 w 1958467"/>
                <a:gd name="connsiteY169" fmla="*/ 7347824 h 7800512"/>
                <a:gd name="connsiteX170" fmla="*/ 1243697 w 1958467"/>
                <a:gd name="connsiteY170" fmla="*/ 7357356 h 7800512"/>
                <a:gd name="connsiteX171" fmla="*/ 1234167 w 1958467"/>
                <a:gd name="connsiteY171" fmla="*/ 7366884 h 7800512"/>
                <a:gd name="connsiteX172" fmla="*/ 1229403 w 1958467"/>
                <a:gd name="connsiteY172" fmla="*/ 7381180 h 7800512"/>
                <a:gd name="connsiteX173" fmla="*/ 1224637 w 1958467"/>
                <a:gd name="connsiteY173" fmla="*/ 7385944 h 7800512"/>
                <a:gd name="connsiteX174" fmla="*/ 1200811 w 1958467"/>
                <a:gd name="connsiteY174" fmla="*/ 7366884 h 7800512"/>
                <a:gd name="connsiteX175" fmla="*/ 1172221 w 1958467"/>
                <a:gd name="connsiteY175" fmla="*/ 7343060 h 7800512"/>
                <a:gd name="connsiteX176" fmla="*/ 1162691 w 1958467"/>
                <a:gd name="connsiteY176" fmla="*/ 7347824 h 7800512"/>
                <a:gd name="connsiteX177" fmla="*/ 1143631 w 1958467"/>
                <a:gd name="connsiteY177" fmla="*/ 7343060 h 7800512"/>
                <a:gd name="connsiteX178" fmla="*/ 1129335 w 1958467"/>
                <a:gd name="connsiteY178" fmla="*/ 7343060 h 7800512"/>
                <a:gd name="connsiteX179" fmla="*/ 1119805 w 1958467"/>
                <a:gd name="connsiteY179" fmla="*/ 7357356 h 7800512"/>
                <a:gd name="connsiteX180" fmla="*/ 1100745 w 1958467"/>
                <a:gd name="connsiteY180" fmla="*/ 7362120 h 7800512"/>
                <a:gd name="connsiteX181" fmla="*/ 1095979 w 1958467"/>
                <a:gd name="connsiteY181" fmla="*/ 7338296 h 7800512"/>
                <a:gd name="connsiteX182" fmla="*/ 1076919 w 1958467"/>
                <a:gd name="connsiteY182" fmla="*/ 7314468 h 7800512"/>
                <a:gd name="connsiteX183" fmla="*/ 1057859 w 1958467"/>
                <a:gd name="connsiteY183" fmla="*/ 7295408 h 7800512"/>
                <a:gd name="connsiteX184" fmla="*/ 1067389 w 1958467"/>
                <a:gd name="connsiteY184" fmla="*/ 7266816 h 7800512"/>
                <a:gd name="connsiteX185" fmla="*/ 1081683 w 1958467"/>
                <a:gd name="connsiteY185" fmla="*/ 7262052 h 7800512"/>
                <a:gd name="connsiteX186" fmla="*/ 924435 w 1958467"/>
                <a:gd name="connsiteY186" fmla="*/ 7123864 h 7800512"/>
                <a:gd name="connsiteX187" fmla="*/ 929199 w 1958467"/>
                <a:gd name="connsiteY187" fmla="*/ 7128628 h 7800512"/>
                <a:gd name="connsiteX188" fmla="*/ 938729 w 1958467"/>
                <a:gd name="connsiteY188" fmla="*/ 7133396 h 7800512"/>
                <a:gd name="connsiteX189" fmla="*/ 943495 w 1958467"/>
                <a:gd name="connsiteY189" fmla="*/ 7138160 h 7800512"/>
                <a:gd name="connsiteX190" fmla="*/ 948261 w 1958467"/>
                <a:gd name="connsiteY190" fmla="*/ 7147688 h 7800512"/>
                <a:gd name="connsiteX191" fmla="*/ 953025 w 1958467"/>
                <a:gd name="connsiteY191" fmla="*/ 7166752 h 7800512"/>
                <a:gd name="connsiteX192" fmla="*/ 953025 w 1958467"/>
                <a:gd name="connsiteY192" fmla="*/ 7171516 h 7800512"/>
                <a:gd name="connsiteX193" fmla="*/ 962555 w 1958467"/>
                <a:gd name="connsiteY193" fmla="*/ 7166752 h 7800512"/>
                <a:gd name="connsiteX194" fmla="*/ 986381 w 1958467"/>
                <a:gd name="connsiteY194" fmla="*/ 7166752 h 7800512"/>
                <a:gd name="connsiteX195" fmla="*/ 1014971 w 1958467"/>
                <a:gd name="connsiteY195" fmla="*/ 7176280 h 7800512"/>
                <a:gd name="connsiteX196" fmla="*/ 1019737 w 1958467"/>
                <a:gd name="connsiteY196" fmla="*/ 7176280 h 7800512"/>
                <a:gd name="connsiteX197" fmla="*/ 1034033 w 1958467"/>
                <a:gd name="connsiteY197" fmla="*/ 7200104 h 7800512"/>
                <a:gd name="connsiteX198" fmla="*/ 1043563 w 1958467"/>
                <a:gd name="connsiteY198" fmla="*/ 7209636 h 7800512"/>
                <a:gd name="connsiteX199" fmla="*/ 1057859 w 1958467"/>
                <a:gd name="connsiteY199" fmla="*/ 7233460 h 7800512"/>
                <a:gd name="connsiteX200" fmla="*/ 1043563 w 1958467"/>
                <a:gd name="connsiteY200" fmla="*/ 7247756 h 7800512"/>
                <a:gd name="connsiteX201" fmla="*/ 1034033 w 1958467"/>
                <a:gd name="connsiteY201" fmla="*/ 7266816 h 7800512"/>
                <a:gd name="connsiteX202" fmla="*/ 1034033 w 1958467"/>
                <a:gd name="connsiteY202" fmla="*/ 7276348 h 7800512"/>
                <a:gd name="connsiteX203" fmla="*/ 1029267 w 1958467"/>
                <a:gd name="connsiteY203" fmla="*/ 7285880 h 7800512"/>
                <a:gd name="connsiteX204" fmla="*/ 1019737 w 1958467"/>
                <a:gd name="connsiteY204" fmla="*/ 7290644 h 7800512"/>
                <a:gd name="connsiteX205" fmla="*/ 1005441 w 1958467"/>
                <a:gd name="connsiteY205" fmla="*/ 7304940 h 7800512"/>
                <a:gd name="connsiteX206" fmla="*/ 986381 w 1958467"/>
                <a:gd name="connsiteY206" fmla="*/ 7304940 h 7800512"/>
                <a:gd name="connsiteX207" fmla="*/ 967321 w 1958467"/>
                <a:gd name="connsiteY207" fmla="*/ 7309704 h 7800512"/>
                <a:gd name="connsiteX208" fmla="*/ 962555 w 1958467"/>
                <a:gd name="connsiteY208" fmla="*/ 7314468 h 7800512"/>
                <a:gd name="connsiteX209" fmla="*/ 953025 w 1958467"/>
                <a:gd name="connsiteY209" fmla="*/ 7319232 h 7800512"/>
                <a:gd name="connsiteX210" fmla="*/ 948261 w 1958467"/>
                <a:gd name="connsiteY210" fmla="*/ 7314468 h 7800512"/>
                <a:gd name="connsiteX211" fmla="*/ 943495 w 1958467"/>
                <a:gd name="connsiteY211" fmla="*/ 7309704 h 7800512"/>
                <a:gd name="connsiteX212" fmla="*/ 943495 w 1958467"/>
                <a:gd name="connsiteY212" fmla="*/ 7300172 h 7800512"/>
                <a:gd name="connsiteX213" fmla="*/ 953025 w 1958467"/>
                <a:gd name="connsiteY213" fmla="*/ 7295408 h 7800512"/>
                <a:gd name="connsiteX214" fmla="*/ 967321 w 1958467"/>
                <a:gd name="connsiteY214" fmla="*/ 7271584 h 7800512"/>
                <a:gd name="connsiteX215" fmla="*/ 972085 w 1958467"/>
                <a:gd name="connsiteY215" fmla="*/ 7247756 h 7800512"/>
                <a:gd name="connsiteX216" fmla="*/ 953025 w 1958467"/>
                <a:gd name="connsiteY216" fmla="*/ 7242992 h 7800512"/>
                <a:gd name="connsiteX217" fmla="*/ 943495 w 1958467"/>
                <a:gd name="connsiteY217" fmla="*/ 7247756 h 7800512"/>
                <a:gd name="connsiteX218" fmla="*/ 938729 w 1958467"/>
                <a:gd name="connsiteY218" fmla="*/ 7247756 h 7800512"/>
                <a:gd name="connsiteX219" fmla="*/ 929199 w 1958467"/>
                <a:gd name="connsiteY219" fmla="*/ 7238228 h 7800512"/>
                <a:gd name="connsiteX220" fmla="*/ 924435 w 1958467"/>
                <a:gd name="connsiteY220" fmla="*/ 7252524 h 7800512"/>
                <a:gd name="connsiteX221" fmla="*/ 919669 w 1958467"/>
                <a:gd name="connsiteY221" fmla="*/ 7262052 h 7800512"/>
                <a:gd name="connsiteX222" fmla="*/ 924435 w 1958467"/>
                <a:gd name="connsiteY222" fmla="*/ 7276348 h 7800512"/>
                <a:gd name="connsiteX223" fmla="*/ 924435 w 1958467"/>
                <a:gd name="connsiteY223" fmla="*/ 7281112 h 7800512"/>
                <a:gd name="connsiteX224" fmla="*/ 914905 w 1958467"/>
                <a:gd name="connsiteY224" fmla="*/ 7285880 h 7800512"/>
                <a:gd name="connsiteX225" fmla="*/ 900609 w 1958467"/>
                <a:gd name="connsiteY225" fmla="*/ 7281112 h 7800512"/>
                <a:gd name="connsiteX226" fmla="*/ 886313 w 1958467"/>
                <a:gd name="connsiteY226" fmla="*/ 7266816 h 7800512"/>
                <a:gd name="connsiteX227" fmla="*/ 886313 w 1958467"/>
                <a:gd name="connsiteY227" fmla="*/ 7262052 h 7800512"/>
                <a:gd name="connsiteX228" fmla="*/ 891079 w 1958467"/>
                <a:gd name="connsiteY228" fmla="*/ 7238228 h 7800512"/>
                <a:gd name="connsiteX229" fmla="*/ 891079 w 1958467"/>
                <a:gd name="connsiteY229" fmla="*/ 7228696 h 7800512"/>
                <a:gd name="connsiteX230" fmla="*/ 886313 w 1958467"/>
                <a:gd name="connsiteY230" fmla="*/ 7209636 h 7800512"/>
                <a:gd name="connsiteX231" fmla="*/ 876783 w 1958467"/>
                <a:gd name="connsiteY231" fmla="*/ 7209636 h 7800512"/>
                <a:gd name="connsiteX232" fmla="*/ 862487 w 1958467"/>
                <a:gd name="connsiteY232" fmla="*/ 7214400 h 7800512"/>
                <a:gd name="connsiteX233" fmla="*/ 843427 w 1958467"/>
                <a:gd name="connsiteY233" fmla="*/ 7190576 h 7800512"/>
                <a:gd name="connsiteX234" fmla="*/ 833897 w 1958467"/>
                <a:gd name="connsiteY234" fmla="*/ 7171516 h 7800512"/>
                <a:gd name="connsiteX235" fmla="*/ 800541 w 1958467"/>
                <a:gd name="connsiteY235" fmla="*/ 7161984 h 7800512"/>
                <a:gd name="connsiteX236" fmla="*/ 829131 w 1958467"/>
                <a:gd name="connsiteY236" fmla="*/ 7133396 h 7800512"/>
                <a:gd name="connsiteX237" fmla="*/ 867253 w 1958467"/>
                <a:gd name="connsiteY237" fmla="*/ 7128628 h 7800512"/>
                <a:gd name="connsiteX238" fmla="*/ 876783 w 1958467"/>
                <a:gd name="connsiteY238" fmla="*/ 7142924 h 7800512"/>
                <a:gd name="connsiteX239" fmla="*/ 919669 w 1958467"/>
                <a:gd name="connsiteY239" fmla="*/ 7152456 h 7800512"/>
                <a:gd name="connsiteX240" fmla="*/ 914905 w 1958467"/>
                <a:gd name="connsiteY240" fmla="*/ 7138160 h 7800512"/>
                <a:gd name="connsiteX241" fmla="*/ 919669 w 1958467"/>
                <a:gd name="connsiteY241" fmla="*/ 7133396 h 7800512"/>
                <a:gd name="connsiteX242" fmla="*/ 671883 w 1958467"/>
                <a:gd name="connsiteY242" fmla="*/ 6952320 h 7800512"/>
                <a:gd name="connsiteX243" fmla="*/ 690943 w 1958467"/>
                <a:gd name="connsiteY243" fmla="*/ 6961848 h 7800512"/>
                <a:gd name="connsiteX244" fmla="*/ 705239 w 1958467"/>
                <a:gd name="connsiteY244" fmla="*/ 6976144 h 7800512"/>
                <a:gd name="connsiteX245" fmla="*/ 714769 w 1958467"/>
                <a:gd name="connsiteY245" fmla="*/ 6985676 h 7800512"/>
                <a:gd name="connsiteX246" fmla="*/ 719535 w 1958467"/>
                <a:gd name="connsiteY246" fmla="*/ 6999972 h 7800512"/>
                <a:gd name="connsiteX247" fmla="*/ 719535 w 1958467"/>
                <a:gd name="connsiteY247" fmla="*/ 7004736 h 7800512"/>
                <a:gd name="connsiteX248" fmla="*/ 729065 w 1958467"/>
                <a:gd name="connsiteY248" fmla="*/ 7004736 h 7800512"/>
                <a:gd name="connsiteX249" fmla="*/ 733829 w 1958467"/>
                <a:gd name="connsiteY249" fmla="*/ 7009500 h 7800512"/>
                <a:gd name="connsiteX250" fmla="*/ 767185 w 1958467"/>
                <a:gd name="connsiteY250" fmla="*/ 7014264 h 7800512"/>
                <a:gd name="connsiteX251" fmla="*/ 795777 w 1958467"/>
                <a:gd name="connsiteY251" fmla="*/ 7023796 h 7800512"/>
                <a:gd name="connsiteX252" fmla="*/ 814837 w 1958467"/>
                <a:gd name="connsiteY252" fmla="*/ 7033328 h 7800512"/>
                <a:gd name="connsiteX253" fmla="*/ 833897 w 1958467"/>
                <a:gd name="connsiteY253" fmla="*/ 7038092 h 7800512"/>
                <a:gd name="connsiteX254" fmla="*/ 848193 w 1958467"/>
                <a:gd name="connsiteY254" fmla="*/ 7052388 h 7800512"/>
                <a:gd name="connsiteX255" fmla="*/ 857723 w 1958467"/>
                <a:gd name="connsiteY255" fmla="*/ 7057152 h 7800512"/>
                <a:gd name="connsiteX256" fmla="*/ 862489 w 1958467"/>
                <a:gd name="connsiteY256" fmla="*/ 7057152 h 7800512"/>
                <a:gd name="connsiteX257" fmla="*/ 886315 w 1958467"/>
                <a:gd name="connsiteY257" fmla="*/ 7085744 h 7800512"/>
                <a:gd name="connsiteX258" fmla="*/ 886315 w 1958467"/>
                <a:gd name="connsiteY258" fmla="*/ 7090508 h 7800512"/>
                <a:gd name="connsiteX259" fmla="*/ 914905 w 1958467"/>
                <a:gd name="connsiteY259" fmla="*/ 7109568 h 7800512"/>
                <a:gd name="connsiteX260" fmla="*/ 914905 w 1958467"/>
                <a:gd name="connsiteY260" fmla="*/ 7114332 h 7800512"/>
                <a:gd name="connsiteX261" fmla="*/ 900609 w 1958467"/>
                <a:gd name="connsiteY261" fmla="*/ 7114332 h 7800512"/>
                <a:gd name="connsiteX262" fmla="*/ 872019 w 1958467"/>
                <a:gd name="connsiteY262" fmla="*/ 7104804 h 7800512"/>
                <a:gd name="connsiteX263" fmla="*/ 857723 w 1958467"/>
                <a:gd name="connsiteY263" fmla="*/ 7104804 h 7800512"/>
                <a:gd name="connsiteX264" fmla="*/ 848193 w 1958467"/>
                <a:gd name="connsiteY264" fmla="*/ 7100036 h 7800512"/>
                <a:gd name="connsiteX265" fmla="*/ 843427 w 1958467"/>
                <a:gd name="connsiteY265" fmla="*/ 7100036 h 7800512"/>
                <a:gd name="connsiteX266" fmla="*/ 843427 w 1958467"/>
                <a:gd name="connsiteY266" fmla="*/ 7085744 h 7800512"/>
                <a:gd name="connsiteX267" fmla="*/ 838663 w 1958467"/>
                <a:gd name="connsiteY267" fmla="*/ 7080976 h 7800512"/>
                <a:gd name="connsiteX268" fmla="*/ 810073 w 1958467"/>
                <a:gd name="connsiteY268" fmla="*/ 7052388 h 7800512"/>
                <a:gd name="connsiteX269" fmla="*/ 800541 w 1958467"/>
                <a:gd name="connsiteY269" fmla="*/ 7047620 h 7800512"/>
                <a:gd name="connsiteX270" fmla="*/ 781481 w 1958467"/>
                <a:gd name="connsiteY270" fmla="*/ 7042856 h 7800512"/>
                <a:gd name="connsiteX271" fmla="*/ 757655 w 1958467"/>
                <a:gd name="connsiteY271" fmla="*/ 7042856 h 7800512"/>
                <a:gd name="connsiteX272" fmla="*/ 743361 w 1958467"/>
                <a:gd name="connsiteY272" fmla="*/ 7042856 h 7800512"/>
                <a:gd name="connsiteX273" fmla="*/ 738595 w 1958467"/>
                <a:gd name="connsiteY273" fmla="*/ 7042856 h 7800512"/>
                <a:gd name="connsiteX274" fmla="*/ 714769 w 1958467"/>
                <a:gd name="connsiteY274" fmla="*/ 7019032 h 7800512"/>
                <a:gd name="connsiteX275" fmla="*/ 690943 w 1958467"/>
                <a:gd name="connsiteY275" fmla="*/ 6999972 h 7800512"/>
                <a:gd name="connsiteX276" fmla="*/ 681413 w 1958467"/>
                <a:gd name="connsiteY276" fmla="*/ 6976144 h 7800512"/>
                <a:gd name="connsiteX277" fmla="*/ 667119 w 1958467"/>
                <a:gd name="connsiteY277" fmla="*/ 6961848 h 7800512"/>
                <a:gd name="connsiteX278" fmla="*/ 667119 w 1958467"/>
                <a:gd name="connsiteY278" fmla="*/ 6957084 h 7800512"/>
                <a:gd name="connsiteX279" fmla="*/ 1481955 w 1958467"/>
                <a:gd name="connsiteY279" fmla="*/ 6890372 h 7800512"/>
                <a:gd name="connsiteX280" fmla="*/ 1496249 w 1958467"/>
                <a:gd name="connsiteY280" fmla="*/ 6890372 h 7800512"/>
                <a:gd name="connsiteX281" fmla="*/ 1534371 w 1958467"/>
                <a:gd name="connsiteY281" fmla="*/ 6933260 h 7800512"/>
                <a:gd name="connsiteX282" fmla="*/ 1548667 w 1958467"/>
                <a:gd name="connsiteY282" fmla="*/ 6938024 h 7800512"/>
                <a:gd name="connsiteX283" fmla="*/ 1591553 w 1958467"/>
                <a:gd name="connsiteY283" fmla="*/ 6914196 h 7800512"/>
                <a:gd name="connsiteX284" fmla="*/ 1596317 w 1958467"/>
                <a:gd name="connsiteY284" fmla="*/ 6914196 h 7800512"/>
                <a:gd name="connsiteX285" fmla="*/ 1615379 w 1958467"/>
                <a:gd name="connsiteY285" fmla="*/ 6928492 h 7800512"/>
                <a:gd name="connsiteX286" fmla="*/ 1615379 w 1958467"/>
                <a:gd name="connsiteY286" fmla="*/ 6933260 h 7800512"/>
                <a:gd name="connsiteX287" fmla="*/ 1615379 w 1958467"/>
                <a:gd name="connsiteY287" fmla="*/ 7009500 h 7800512"/>
                <a:gd name="connsiteX288" fmla="*/ 1615379 w 1958467"/>
                <a:gd name="connsiteY288" fmla="*/ 7085744 h 7800512"/>
                <a:gd name="connsiteX289" fmla="*/ 1615379 w 1958467"/>
                <a:gd name="connsiteY289" fmla="*/ 7228696 h 7800512"/>
                <a:gd name="connsiteX290" fmla="*/ 1615379 w 1958467"/>
                <a:gd name="connsiteY290" fmla="*/ 7300172 h 7800512"/>
                <a:gd name="connsiteX291" fmla="*/ 1615379 w 1958467"/>
                <a:gd name="connsiteY291" fmla="*/ 7371648 h 7800512"/>
                <a:gd name="connsiteX292" fmla="*/ 1615379 w 1958467"/>
                <a:gd name="connsiteY292" fmla="*/ 7452656 h 7800512"/>
                <a:gd name="connsiteX293" fmla="*/ 1615379 w 1958467"/>
                <a:gd name="connsiteY293" fmla="*/ 7514604 h 7800512"/>
                <a:gd name="connsiteX294" fmla="*/ 1591553 w 1958467"/>
                <a:gd name="connsiteY294" fmla="*/ 7514604 h 7800512"/>
                <a:gd name="connsiteX295" fmla="*/ 1586787 w 1958467"/>
                <a:gd name="connsiteY295" fmla="*/ 7519368 h 7800512"/>
                <a:gd name="connsiteX296" fmla="*/ 1548667 w 1958467"/>
                <a:gd name="connsiteY296" fmla="*/ 7528900 h 7800512"/>
                <a:gd name="connsiteX297" fmla="*/ 1481955 w 1958467"/>
                <a:gd name="connsiteY297" fmla="*/ 7514604 h 7800512"/>
                <a:gd name="connsiteX298" fmla="*/ 1467659 w 1958467"/>
                <a:gd name="connsiteY298" fmla="*/ 7500308 h 7800512"/>
                <a:gd name="connsiteX299" fmla="*/ 1448599 w 1958467"/>
                <a:gd name="connsiteY299" fmla="*/ 7476484 h 7800512"/>
                <a:gd name="connsiteX300" fmla="*/ 1439069 w 1958467"/>
                <a:gd name="connsiteY300" fmla="*/ 7481248 h 7800512"/>
                <a:gd name="connsiteX301" fmla="*/ 1420007 w 1958467"/>
                <a:gd name="connsiteY301" fmla="*/ 7495544 h 7800512"/>
                <a:gd name="connsiteX302" fmla="*/ 1400947 w 1958467"/>
                <a:gd name="connsiteY302" fmla="*/ 7500308 h 7800512"/>
                <a:gd name="connsiteX303" fmla="*/ 1381887 w 1958467"/>
                <a:gd name="connsiteY303" fmla="*/ 7505072 h 7800512"/>
                <a:gd name="connsiteX304" fmla="*/ 1367591 w 1958467"/>
                <a:gd name="connsiteY304" fmla="*/ 7490776 h 7800512"/>
                <a:gd name="connsiteX305" fmla="*/ 1362827 w 1958467"/>
                <a:gd name="connsiteY305" fmla="*/ 7486012 h 7800512"/>
                <a:gd name="connsiteX306" fmla="*/ 1358061 w 1958467"/>
                <a:gd name="connsiteY306" fmla="*/ 7486012 h 7800512"/>
                <a:gd name="connsiteX307" fmla="*/ 1324705 w 1958467"/>
                <a:gd name="connsiteY307" fmla="*/ 7500308 h 7800512"/>
                <a:gd name="connsiteX308" fmla="*/ 1286585 w 1958467"/>
                <a:gd name="connsiteY308" fmla="*/ 7486012 h 7800512"/>
                <a:gd name="connsiteX309" fmla="*/ 1257993 w 1958467"/>
                <a:gd name="connsiteY309" fmla="*/ 7476484 h 7800512"/>
                <a:gd name="connsiteX310" fmla="*/ 1210341 w 1958467"/>
                <a:gd name="connsiteY310" fmla="*/ 7471716 h 7800512"/>
                <a:gd name="connsiteX311" fmla="*/ 1176987 w 1958467"/>
                <a:gd name="connsiteY311" fmla="*/ 7447892 h 7800512"/>
                <a:gd name="connsiteX312" fmla="*/ 1119805 w 1958467"/>
                <a:gd name="connsiteY312" fmla="*/ 7452656 h 7800512"/>
                <a:gd name="connsiteX313" fmla="*/ 1105509 w 1958467"/>
                <a:gd name="connsiteY313" fmla="*/ 7443128 h 7800512"/>
                <a:gd name="connsiteX314" fmla="*/ 1100743 w 1958467"/>
                <a:gd name="connsiteY314" fmla="*/ 7424068 h 7800512"/>
                <a:gd name="connsiteX315" fmla="*/ 1105509 w 1958467"/>
                <a:gd name="connsiteY315" fmla="*/ 7414536 h 7800512"/>
                <a:gd name="connsiteX316" fmla="*/ 1119805 w 1958467"/>
                <a:gd name="connsiteY316" fmla="*/ 7409772 h 7800512"/>
                <a:gd name="connsiteX317" fmla="*/ 1124569 w 1958467"/>
                <a:gd name="connsiteY317" fmla="*/ 7400240 h 7800512"/>
                <a:gd name="connsiteX318" fmla="*/ 1134099 w 1958467"/>
                <a:gd name="connsiteY318" fmla="*/ 7400240 h 7800512"/>
                <a:gd name="connsiteX319" fmla="*/ 1153161 w 1958467"/>
                <a:gd name="connsiteY319" fmla="*/ 7414536 h 7800512"/>
                <a:gd name="connsiteX320" fmla="*/ 1157925 w 1958467"/>
                <a:gd name="connsiteY320" fmla="*/ 7414536 h 7800512"/>
                <a:gd name="connsiteX321" fmla="*/ 1167455 w 1958467"/>
                <a:gd name="connsiteY321" fmla="*/ 7405004 h 7800512"/>
                <a:gd name="connsiteX322" fmla="*/ 1186517 w 1958467"/>
                <a:gd name="connsiteY322" fmla="*/ 7390712 h 7800512"/>
                <a:gd name="connsiteX323" fmla="*/ 1191281 w 1958467"/>
                <a:gd name="connsiteY323" fmla="*/ 7390712 h 7800512"/>
                <a:gd name="connsiteX324" fmla="*/ 1224637 w 1958467"/>
                <a:gd name="connsiteY324" fmla="*/ 7405004 h 7800512"/>
                <a:gd name="connsiteX325" fmla="*/ 1234167 w 1958467"/>
                <a:gd name="connsiteY325" fmla="*/ 7400240 h 7800512"/>
                <a:gd name="connsiteX326" fmla="*/ 1253229 w 1958467"/>
                <a:gd name="connsiteY326" fmla="*/ 7395476 h 7800512"/>
                <a:gd name="connsiteX327" fmla="*/ 1257993 w 1958467"/>
                <a:gd name="connsiteY327" fmla="*/ 7390712 h 7800512"/>
                <a:gd name="connsiteX328" fmla="*/ 1257993 w 1958467"/>
                <a:gd name="connsiteY328" fmla="*/ 7381180 h 7800512"/>
                <a:gd name="connsiteX329" fmla="*/ 1262759 w 1958467"/>
                <a:gd name="connsiteY329" fmla="*/ 7376416 h 7800512"/>
                <a:gd name="connsiteX330" fmla="*/ 1277053 w 1958467"/>
                <a:gd name="connsiteY330" fmla="*/ 7371648 h 7800512"/>
                <a:gd name="connsiteX331" fmla="*/ 1296115 w 1958467"/>
                <a:gd name="connsiteY331" fmla="*/ 7376416 h 7800512"/>
                <a:gd name="connsiteX332" fmla="*/ 1296115 w 1958467"/>
                <a:gd name="connsiteY332" fmla="*/ 7395476 h 7800512"/>
                <a:gd name="connsiteX333" fmla="*/ 1291349 w 1958467"/>
                <a:gd name="connsiteY333" fmla="*/ 7414536 h 7800512"/>
                <a:gd name="connsiteX334" fmla="*/ 1315175 w 1958467"/>
                <a:gd name="connsiteY334" fmla="*/ 7419300 h 7800512"/>
                <a:gd name="connsiteX335" fmla="*/ 1339001 w 1958467"/>
                <a:gd name="connsiteY335" fmla="*/ 7419300 h 7800512"/>
                <a:gd name="connsiteX336" fmla="*/ 1353295 w 1958467"/>
                <a:gd name="connsiteY336" fmla="*/ 7424068 h 7800512"/>
                <a:gd name="connsiteX337" fmla="*/ 1358061 w 1958467"/>
                <a:gd name="connsiteY337" fmla="*/ 7414536 h 7800512"/>
                <a:gd name="connsiteX338" fmla="*/ 1329471 w 1958467"/>
                <a:gd name="connsiteY338" fmla="*/ 7381180 h 7800512"/>
                <a:gd name="connsiteX339" fmla="*/ 1319939 w 1958467"/>
                <a:gd name="connsiteY339" fmla="*/ 7366884 h 7800512"/>
                <a:gd name="connsiteX340" fmla="*/ 1305645 w 1958467"/>
                <a:gd name="connsiteY340" fmla="*/ 7352588 h 7800512"/>
                <a:gd name="connsiteX341" fmla="*/ 1286585 w 1958467"/>
                <a:gd name="connsiteY341" fmla="*/ 7347824 h 7800512"/>
                <a:gd name="connsiteX342" fmla="*/ 1267523 w 1958467"/>
                <a:gd name="connsiteY342" fmla="*/ 7314468 h 7800512"/>
                <a:gd name="connsiteX343" fmla="*/ 1267523 w 1958467"/>
                <a:gd name="connsiteY343" fmla="*/ 7281112 h 7800512"/>
                <a:gd name="connsiteX344" fmla="*/ 1267523 w 1958467"/>
                <a:gd name="connsiteY344" fmla="*/ 7252520 h 7800512"/>
                <a:gd name="connsiteX345" fmla="*/ 1300879 w 1958467"/>
                <a:gd name="connsiteY345" fmla="*/ 7238228 h 7800512"/>
                <a:gd name="connsiteX346" fmla="*/ 1296115 w 1958467"/>
                <a:gd name="connsiteY346" fmla="*/ 7209636 h 7800512"/>
                <a:gd name="connsiteX347" fmla="*/ 1305645 w 1958467"/>
                <a:gd name="connsiteY347" fmla="*/ 7190576 h 7800512"/>
                <a:gd name="connsiteX348" fmla="*/ 1319939 w 1958467"/>
                <a:gd name="connsiteY348" fmla="*/ 7185808 h 7800512"/>
                <a:gd name="connsiteX349" fmla="*/ 1334235 w 1958467"/>
                <a:gd name="connsiteY349" fmla="*/ 7257288 h 7800512"/>
                <a:gd name="connsiteX350" fmla="*/ 1343765 w 1958467"/>
                <a:gd name="connsiteY350" fmla="*/ 7281112 h 7800512"/>
                <a:gd name="connsiteX351" fmla="*/ 1329471 w 1958467"/>
                <a:gd name="connsiteY351" fmla="*/ 7285876 h 7800512"/>
                <a:gd name="connsiteX352" fmla="*/ 1305645 w 1958467"/>
                <a:gd name="connsiteY352" fmla="*/ 7285876 h 7800512"/>
                <a:gd name="connsiteX353" fmla="*/ 1319939 w 1958467"/>
                <a:gd name="connsiteY353" fmla="*/ 7319232 h 7800512"/>
                <a:gd name="connsiteX354" fmla="*/ 1343765 w 1958467"/>
                <a:gd name="connsiteY354" fmla="*/ 7333528 h 7800512"/>
                <a:gd name="connsiteX355" fmla="*/ 1362827 w 1958467"/>
                <a:gd name="connsiteY355" fmla="*/ 7357356 h 7800512"/>
                <a:gd name="connsiteX356" fmla="*/ 1367591 w 1958467"/>
                <a:gd name="connsiteY356" fmla="*/ 7376416 h 7800512"/>
                <a:gd name="connsiteX357" fmla="*/ 1377121 w 1958467"/>
                <a:gd name="connsiteY357" fmla="*/ 7385944 h 7800512"/>
                <a:gd name="connsiteX358" fmla="*/ 1405713 w 1958467"/>
                <a:gd name="connsiteY358" fmla="*/ 7385944 h 7800512"/>
                <a:gd name="connsiteX359" fmla="*/ 1424773 w 1958467"/>
                <a:gd name="connsiteY359" fmla="*/ 7381180 h 7800512"/>
                <a:gd name="connsiteX360" fmla="*/ 1434303 w 1958467"/>
                <a:gd name="connsiteY360" fmla="*/ 7366884 h 7800512"/>
                <a:gd name="connsiteX361" fmla="*/ 1443833 w 1958467"/>
                <a:gd name="connsiteY361" fmla="*/ 7366884 h 7800512"/>
                <a:gd name="connsiteX362" fmla="*/ 1462893 w 1958467"/>
                <a:gd name="connsiteY362" fmla="*/ 7381180 h 7800512"/>
                <a:gd name="connsiteX363" fmla="*/ 1496249 w 1958467"/>
                <a:gd name="connsiteY363" fmla="*/ 7390712 h 7800512"/>
                <a:gd name="connsiteX364" fmla="*/ 1501015 w 1958467"/>
                <a:gd name="connsiteY364" fmla="*/ 7400240 h 7800512"/>
                <a:gd name="connsiteX365" fmla="*/ 1510545 w 1958467"/>
                <a:gd name="connsiteY365" fmla="*/ 7414536 h 7800512"/>
                <a:gd name="connsiteX366" fmla="*/ 1510545 w 1958467"/>
                <a:gd name="connsiteY366" fmla="*/ 7428832 h 7800512"/>
                <a:gd name="connsiteX367" fmla="*/ 1510545 w 1958467"/>
                <a:gd name="connsiteY367" fmla="*/ 7438360 h 7800512"/>
                <a:gd name="connsiteX368" fmla="*/ 1520075 w 1958467"/>
                <a:gd name="connsiteY368" fmla="*/ 7433596 h 7800512"/>
                <a:gd name="connsiteX369" fmla="*/ 1534371 w 1958467"/>
                <a:gd name="connsiteY369" fmla="*/ 7414536 h 7800512"/>
                <a:gd name="connsiteX370" fmla="*/ 1539135 w 1958467"/>
                <a:gd name="connsiteY370" fmla="*/ 7405004 h 7800512"/>
                <a:gd name="connsiteX371" fmla="*/ 1548667 w 1958467"/>
                <a:gd name="connsiteY371" fmla="*/ 7405004 h 7800512"/>
                <a:gd name="connsiteX372" fmla="*/ 1553431 w 1958467"/>
                <a:gd name="connsiteY372" fmla="*/ 7400240 h 7800512"/>
                <a:gd name="connsiteX373" fmla="*/ 1553431 w 1958467"/>
                <a:gd name="connsiteY373" fmla="*/ 7390712 h 7800512"/>
                <a:gd name="connsiteX374" fmla="*/ 1529605 w 1958467"/>
                <a:gd name="connsiteY374" fmla="*/ 7376416 h 7800512"/>
                <a:gd name="connsiteX375" fmla="*/ 1405713 w 1958467"/>
                <a:gd name="connsiteY375" fmla="*/ 7314468 h 7800512"/>
                <a:gd name="connsiteX376" fmla="*/ 1391417 w 1958467"/>
                <a:gd name="connsiteY376" fmla="*/ 7285876 h 7800512"/>
                <a:gd name="connsiteX377" fmla="*/ 1381887 w 1958467"/>
                <a:gd name="connsiteY377" fmla="*/ 7252520 h 7800512"/>
                <a:gd name="connsiteX378" fmla="*/ 1381887 w 1958467"/>
                <a:gd name="connsiteY378" fmla="*/ 7219164 h 7800512"/>
                <a:gd name="connsiteX379" fmla="*/ 1391417 w 1958467"/>
                <a:gd name="connsiteY379" fmla="*/ 7209636 h 7800512"/>
                <a:gd name="connsiteX380" fmla="*/ 1410477 w 1958467"/>
                <a:gd name="connsiteY380" fmla="*/ 7195340 h 7800512"/>
                <a:gd name="connsiteX381" fmla="*/ 1453363 w 1958467"/>
                <a:gd name="connsiteY381" fmla="*/ 7176280 h 7800512"/>
                <a:gd name="connsiteX382" fmla="*/ 1501015 w 1958467"/>
                <a:gd name="connsiteY382" fmla="*/ 7152452 h 7800512"/>
                <a:gd name="connsiteX383" fmla="*/ 1505781 w 1958467"/>
                <a:gd name="connsiteY383" fmla="*/ 7147688 h 7800512"/>
                <a:gd name="connsiteX384" fmla="*/ 1505781 w 1958467"/>
                <a:gd name="connsiteY384" fmla="*/ 7128628 h 7800512"/>
                <a:gd name="connsiteX385" fmla="*/ 1496249 w 1958467"/>
                <a:gd name="connsiteY385" fmla="*/ 7119100 h 7800512"/>
                <a:gd name="connsiteX386" fmla="*/ 1481955 w 1958467"/>
                <a:gd name="connsiteY386" fmla="*/ 7109568 h 7800512"/>
                <a:gd name="connsiteX387" fmla="*/ 1458129 w 1958467"/>
                <a:gd name="connsiteY387" fmla="*/ 7109568 h 7800512"/>
                <a:gd name="connsiteX388" fmla="*/ 1443833 w 1958467"/>
                <a:gd name="connsiteY388" fmla="*/ 7109568 h 7800512"/>
                <a:gd name="connsiteX389" fmla="*/ 1424773 w 1958467"/>
                <a:gd name="connsiteY389" fmla="*/ 7114332 h 7800512"/>
                <a:gd name="connsiteX390" fmla="*/ 1391417 w 1958467"/>
                <a:gd name="connsiteY390" fmla="*/ 7128628 h 7800512"/>
                <a:gd name="connsiteX391" fmla="*/ 1372357 w 1958467"/>
                <a:gd name="connsiteY391" fmla="*/ 7128628 h 7800512"/>
                <a:gd name="connsiteX392" fmla="*/ 1353295 w 1958467"/>
                <a:gd name="connsiteY392" fmla="*/ 7119100 h 7800512"/>
                <a:gd name="connsiteX393" fmla="*/ 1339001 w 1958467"/>
                <a:gd name="connsiteY393" fmla="*/ 7100036 h 7800512"/>
                <a:gd name="connsiteX394" fmla="*/ 1329471 w 1958467"/>
                <a:gd name="connsiteY394" fmla="*/ 7076212 h 7800512"/>
                <a:gd name="connsiteX395" fmla="*/ 1329471 w 1958467"/>
                <a:gd name="connsiteY395" fmla="*/ 7057152 h 7800512"/>
                <a:gd name="connsiteX396" fmla="*/ 1334235 w 1958467"/>
                <a:gd name="connsiteY396" fmla="*/ 7042856 h 7800512"/>
                <a:gd name="connsiteX397" fmla="*/ 1343765 w 1958467"/>
                <a:gd name="connsiteY397" fmla="*/ 7028560 h 7800512"/>
                <a:gd name="connsiteX398" fmla="*/ 1353295 w 1958467"/>
                <a:gd name="connsiteY398" fmla="*/ 7023796 h 7800512"/>
                <a:gd name="connsiteX399" fmla="*/ 1362827 w 1958467"/>
                <a:gd name="connsiteY399" fmla="*/ 7023796 h 7800512"/>
                <a:gd name="connsiteX400" fmla="*/ 1372357 w 1958467"/>
                <a:gd name="connsiteY400" fmla="*/ 7019032 h 7800512"/>
                <a:gd name="connsiteX401" fmla="*/ 1377121 w 1958467"/>
                <a:gd name="connsiteY401" fmla="*/ 7014264 h 7800512"/>
                <a:gd name="connsiteX402" fmla="*/ 1381887 w 1958467"/>
                <a:gd name="connsiteY402" fmla="*/ 7004736 h 7800512"/>
                <a:gd name="connsiteX403" fmla="*/ 1381887 w 1958467"/>
                <a:gd name="connsiteY403" fmla="*/ 6999968 h 7800512"/>
                <a:gd name="connsiteX404" fmla="*/ 1377121 w 1958467"/>
                <a:gd name="connsiteY404" fmla="*/ 6995204 h 7800512"/>
                <a:gd name="connsiteX405" fmla="*/ 1362827 w 1958467"/>
                <a:gd name="connsiteY405" fmla="*/ 6985676 h 7800512"/>
                <a:gd name="connsiteX406" fmla="*/ 1358061 w 1958467"/>
                <a:gd name="connsiteY406" fmla="*/ 6971380 h 7800512"/>
                <a:gd name="connsiteX407" fmla="*/ 1343765 w 1958467"/>
                <a:gd name="connsiteY407" fmla="*/ 6957084 h 7800512"/>
                <a:gd name="connsiteX408" fmla="*/ 1353295 w 1958467"/>
                <a:gd name="connsiteY408" fmla="*/ 6952320 h 7800512"/>
                <a:gd name="connsiteX409" fmla="*/ 1372357 w 1958467"/>
                <a:gd name="connsiteY409" fmla="*/ 6947552 h 7800512"/>
                <a:gd name="connsiteX410" fmla="*/ 1391417 w 1958467"/>
                <a:gd name="connsiteY410" fmla="*/ 6961848 h 7800512"/>
                <a:gd name="connsiteX411" fmla="*/ 1405713 w 1958467"/>
                <a:gd name="connsiteY411" fmla="*/ 6976144 h 7800512"/>
                <a:gd name="connsiteX412" fmla="*/ 1415243 w 1958467"/>
                <a:gd name="connsiteY412" fmla="*/ 6976144 h 7800512"/>
                <a:gd name="connsiteX413" fmla="*/ 1420007 w 1958467"/>
                <a:gd name="connsiteY413" fmla="*/ 6971380 h 7800512"/>
                <a:gd name="connsiteX414" fmla="*/ 1439069 w 1958467"/>
                <a:gd name="connsiteY414" fmla="*/ 6952320 h 7800512"/>
                <a:gd name="connsiteX415" fmla="*/ 1458129 w 1958467"/>
                <a:gd name="connsiteY415" fmla="*/ 6928492 h 7800512"/>
                <a:gd name="connsiteX416" fmla="*/ 1472425 w 1958467"/>
                <a:gd name="connsiteY416" fmla="*/ 6904668 h 7800512"/>
                <a:gd name="connsiteX417" fmla="*/ 705239 w 1958467"/>
                <a:gd name="connsiteY417" fmla="*/ 6695000 h 7800512"/>
                <a:gd name="connsiteX418" fmla="*/ 710005 w 1958467"/>
                <a:gd name="connsiteY418" fmla="*/ 6695000 h 7800512"/>
                <a:gd name="connsiteX419" fmla="*/ 724299 w 1958467"/>
                <a:gd name="connsiteY419" fmla="*/ 6699768 h 7800512"/>
                <a:gd name="connsiteX420" fmla="*/ 729065 w 1958467"/>
                <a:gd name="connsiteY420" fmla="*/ 6704532 h 7800512"/>
                <a:gd name="connsiteX421" fmla="*/ 733831 w 1958467"/>
                <a:gd name="connsiteY421" fmla="*/ 6718828 h 7800512"/>
                <a:gd name="connsiteX422" fmla="*/ 757655 w 1958467"/>
                <a:gd name="connsiteY422" fmla="*/ 6733124 h 7800512"/>
                <a:gd name="connsiteX423" fmla="*/ 762421 w 1958467"/>
                <a:gd name="connsiteY423" fmla="*/ 6737888 h 7800512"/>
                <a:gd name="connsiteX424" fmla="*/ 757655 w 1958467"/>
                <a:gd name="connsiteY424" fmla="*/ 6742652 h 7800512"/>
                <a:gd name="connsiteX425" fmla="*/ 757655 w 1958467"/>
                <a:gd name="connsiteY425" fmla="*/ 6747420 h 7800512"/>
                <a:gd name="connsiteX426" fmla="*/ 752891 w 1958467"/>
                <a:gd name="connsiteY426" fmla="*/ 6752184 h 7800512"/>
                <a:gd name="connsiteX427" fmla="*/ 733831 w 1958467"/>
                <a:gd name="connsiteY427" fmla="*/ 6742652 h 7800512"/>
                <a:gd name="connsiteX428" fmla="*/ 724299 w 1958467"/>
                <a:gd name="connsiteY428" fmla="*/ 6737888 h 7800512"/>
                <a:gd name="connsiteX429" fmla="*/ 714769 w 1958467"/>
                <a:gd name="connsiteY429" fmla="*/ 6723592 h 7800512"/>
                <a:gd name="connsiteX430" fmla="*/ 710005 w 1958467"/>
                <a:gd name="connsiteY430" fmla="*/ 6714064 h 7800512"/>
                <a:gd name="connsiteX431" fmla="*/ 652823 w 1958467"/>
                <a:gd name="connsiteY431" fmla="*/ 6671176 h 7800512"/>
                <a:gd name="connsiteX432" fmla="*/ 657587 w 1958467"/>
                <a:gd name="connsiteY432" fmla="*/ 6718828 h 7800512"/>
                <a:gd name="connsiteX433" fmla="*/ 662353 w 1958467"/>
                <a:gd name="connsiteY433" fmla="*/ 6728360 h 7800512"/>
                <a:gd name="connsiteX434" fmla="*/ 676647 w 1958467"/>
                <a:gd name="connsiteY434" fmla="*/ 6733124 h 7800512"/>
                <a:gd name="connsiteX435" fmla="*/ 695707 w 1958467"/>
                <a:gd name="connsiteY435" fmla="*/ 6756948 h 7800512"/>
                <a:gd name="connsiteX436" fmla="*/ 695707 w 1958467"/>
                <a:gd name="connsiteY436" fmla="*/ 6761716 h 7800512"/>
                <a:gd name="connsiteX437" fmla="*/ 676647 w 1958467"/>
                <a:gd name="connsiteY437" fmla="*/ 6804600 h 7800512"/>
                <a:gd name="connsiteX438" fmla="*/ 671883 w 1958467"/>
                <a:gd name="connsiteY438" fmla="*/ 6837956 h 7800512"/>
                <a:gd name="connsiteX439" fmla="*/ 643291 w 1958467"/>
                <a:gd name="connsiteY439" fmla="*/ 6833192 h 7800512"/>
                <a:gd name="connsiteX440" fmla="*/ 633761 w 1958467"/>
                <a:gd name="connsiteY440" fmla="*/ 6804600 h 7800512"/>
                <a:gd name="connsiteX441" fmla="*/ 619467 w 1958467"/>
                <a:gd name="connsiteY441" fmla="*/ 6776008 h 7800512"/>
                <a:gd name="connsiteX442" fmla="*/ 614701 w 1958467"/>
                <a:gd name="connsiteY442" fmla="*/ 6737888 h 7800512"/>
                <a:gd name="connsiteX443" fmla="*/ 605171 w 1958467"/>
                <a:gd name="connsiteY443" fmla="*/ 6709296 h 7800512"/>
                <a:gd name="connsiteX444" fmla="*/ 619467 w 1958467"/>
                <a:gd name="connsiteY444" fmla="*/ 6695004 h 7800512"/>
                <a:gd name="connsiteX445" fmla="*/ 633761 w 1958467"/>
                <a:gd name="connsiteY445" fmla="*/ 6699768 h 7800512"/>
                <a:gd name="connsiteX446" fmla="*/ 638527 w 1958467"/>
                <a:gd name="connsiteY446" fmla="*/ 6675944 h 7800512"/>
                <a:gd name="connsiteX447" fmla="*/ 662353 w 1958467"/>
                <a:gd name="connsiteY447" fmla="*/ 6566344 h 7800512"/>
                <a:gd name="connsiteX448" fmla="*/ 681413 w 1958467"/>
                <a:gd name="connsiteY448" fmla="*/ 6566344 h 7800512"/>
                <a:gd name="connsiteX449" fmla="*/ 690943 w 1958467"/>
                <a:gd name="connsiteY449" fmla="*/ 6575876 h 7800512"/>
                <a:gd name="connsiteX450" fmla="*/ 690943 w 1958467"/>
                <a:gd name="connsiteY450" fmla="*/ 6580640 h 7800512"/>
                <a:gd name="connsiteX451" fmla="*/ 690943 w 1958467"/>
                <a:gd name="connsiteY451" fmla="*/ 6604464 h 7800512"/>
                <a:gd name="connsiteX452" fmla="*/ 686177 w 1958467"/>
                <a:gd name="connsiteY452" fmla="*/ 6609232 h 7800512"/>
                <a:gd name="connsiteX453" fmla="*/ 681413 w 1958467"/>
                <a:gd name="connsiteY453" fmla="*/ 6613996 h 7800512"/>
                <a:gd name="connsiteX454" fmla="*/ 671883 w 1958467"/>
                <a:gd name="connsiteY454" fmla="*/ 6604464 h 7800512"/>
                <a:gd name="connsiteX455" fmla="*/ 662353 w 1958467"/>
                <a:gd name="connsiteY455" fmla="*/ 6604464 h 7800512"/>
                <a:gd name="connsiteX456" fmla="*/ 652823 w 1958467"/>
                <a:gd name="connsiteY456" fmla="*/ 6618760 h 7800512"/>
                <a:gd name="connsiteX457" fmla="*/ 643291 w 1958467"/>
                <a:gd name="connsiteY457" fmla="*/ 6623524 h 7800512"/>
                <a:gd name="connsiteX458" fmla="*/ 633761 w 1958467"/>
                <a:gd name="connsiteY458" fmla="*/ 6618760 h 7800512"/>
                <a:gd name="connsiteX459" fmla="*/ 614701 w 1958467"/>
                <a:gd name="connsiteY459" fmla="*/ 6613996 h 7800512"/>
                <a:gd name="connsiteX460" fmla="*/ 600405 w 1958467"/>
                <a:gd name="connsiteY460" fmla="*/ 6642588 h 7800512"/>
                <a:gd name="connsiteX461" fmla="*/ 590875 w 1958467"/>
                <a:gd name="connsiteY461" fmla="*/ 6656880 h 7800512"/>
                <a:gd name="connsiteX462" fmla="*/ 576579 w 1958467"/>
                <a:gd name="connsiteY462" fmla="*/ 6671176 h 7800512"/>
                <a:gd name="connsiteX463" fmla="*/ 576579 w 1958467"/>
                <a:gd name="connsiteY463" fmla="*/ 6652116 h 7800512"/>
                <a:gd name="connsiteX464" fmla="*/ 586111 w 1958467"/>
                <a:gd name="connsiteY464" fmla="*/ 6628292 h 7800512"/>
                <a:gd name="connsiteX465" fmla="*/ 590875 w 1958467"/>
                <a:gd name="connsiteY465" fmla="*/ 6609232 h 7800512"/>
                <a:gd name="connsiteX466" fmla="*/ 600405 w 1958467"/>
                <a:gd name="connsiteY466" fmla="*/ 6580640 h 7800512"/>
                <a:gd name="connsiteX467" fmla="*/ 614701 w 1958467"/>
                <a:gd name="connsiteY467" fmla="*/ 6594936 h 7800512"/>
                <a:gd name="connsiteX468" fmla="*/ 643291 w 1958467"/>
                <a:gd name="connsiteY468" fmla="*/ 6585404 h 7800512"/>
                <a:gd name="connsiteX469" fmla="*/ 557521 w 1958467"/>
                <a:gd name="connsiteY469" fmla="*/ 6385268 h 7800512"/>
                <a:gd name="connsiteX470" fmla="*/ 576581 w 1958467"/>
                <a:gd name="connsiteY470" fmla="*/ 6385268 h 7800512"/>
                <a:gd name="connsiteX471" fmla="*/ 600407 w 1958467"/>
                <a:gd name="connsiteY471" fmla="*/ 6390036 h 7800512"/>
                <a:gd name="connsiteX472" fmla="*/ 605171 w 1958467"/>
                <a:gd name="connsiteY472" fmla="*/ 6394800 h 7800512"/>
                <a:gd name="connsiteX473" fmla="*/ 595641 w 1958467"/>
                <a:gd name="connsiteY473" fmla="*/ 6404328 h 7800512"/>
                <a:gd name="connsiteX474" fmla="*/ 590877 w 1958467"/>
                <a:gd name="connsiteY474" fmla="*/ 6409096 h 7800512"/>
                <a:gd name="connsiteX475" fmla="*/ 576581 w 1958467"/>
                <a:gd name="connsiteY475" fmla="*/ 6413860 h 7800512"/>
                <a:gd name="connsiteX476" fmla="*/ 576581 w 1958467"/>
                <a:gd name="connsiteY476" fmla="*/ 6432920 h 7800512"/>
                <a:gd name="connsiteX477" fmla="*/ 571815 w 1958467"/>
                <a:gd name="connsiteY477" fmla="*/ 6456744 h 7800512"/>
                <a:gd name="connsiteX478" fmla="*/ 557521 w 1958467"/>
                <a:gd name="connsiteY478" fmla="*/ 6456744 h 7800512"/>
                <a:gd name="connsiteX479" fmla="*/ 552755 w 1958467"/>
                <a:gd name="connsiteY479" fmla="*/ 6447216 h 7800512"/>
                <a:gd name="connsiteX480" fmla="*/ 552755 w 1958467"/>
                <a:gd name="connsiteY480" fmla="*/ 6437684 h 7800512"/>
                <a:gd name="connsiteX481" fmla="*/ 547991 w 1958467"/>
                <a:gd name="connsiteY481" fmla="*/ 6428156 h 7800512"/>
                <a:gd name="connsiteX482" fmla="*/ 552755 w 1958467"/>
                <a:gd name="connsiteY482" fmla="*/ 6413860 h 7800512"/>
                <a:gd name="connsiteX483" fmla="*/ 557521 w 1958467"/>
                <a:gd name="connsiteY483" fmla="*/ 6399564 h 7800512"/>
                <a:gd name="connsiteX484" fmla="*/ 571815 w 1958467"/>
                <a:gd name="connsiteY484" fmla="*/ 6270904 h 7800512"/>
                <a:gd name="connsiteX485" fmla="*/ 590877 w 1958467"/>
                <a:gd name="connsiteY485" fmla="*/ 6280436 h 7800512"/>
                <a:gd name="connsiteX486" fmla="*/ 605171 w 1958467"/>
                <a:gd name="connsiteY486" fmla="*/ 6280436 h 7800512"/>
                <a:gd name="connsiteX487" fmla="*/ 619467 w 1958467"/>
                <a:gd name="connsiteY487" fmla="*/ 6289968 h 7800512"/>
                <a:gd name="connsiteX488" fmla="*/ 643293 w 1958467"/>
                <a:gd name="connsiteY488" fmla="*/ 6294732 h 7800512"/>
                <a:gd name="connsiteX489" fmla="*/ 648059 w 1958467"/>
                <a:gd name="connsiteY489" fmla="*/ 6313792 h 7800512"/>
                <a:gd name="connsiteX490" fmla="*/ 628997 w 1958467"/>
                <a:gd name="connsiteY490" fmla="*/ 6328088 h 7800512"/>
                <a:gd name="connsiteX491" fmla="*/ 614701 w 1958467"/>
                <a:gd name="connsiteY491" fmla="*/ 6342384 h 7800512"/>
                <a:gd name="connsiteX492" fmla="*/ 581345 w 1958467"/>
                <a:gd name="connsiteY492" fmla="*/ 6361444 h 7800512"/>
                <a:gd name="connsiteX493" fmla="*/ 576581 w 1958467"/>
                <a:gd name="connsiteY493" fmla="*/ 6351912 h 7800512"/>
                <a:gd name="connsiteX494" fmla="*/ 552755 w 1958467"/>
                <a:gd name="connsiteY494" fmla="*/ 6351912 h 7800512"/>
                <a:gd name="connsiteX495" fmla="*/ 557521 w 1958467"/>
                <a:gd name="connsiteY495" fmla="*/ 6332852 h 7800512"/>
                <a:gd name="connsiteX496" fmla="*/ 562285 w 1958467"/>
                <a:gd name="connsiteY496" fmla="*/ 6313792 h 7800512"/>
                <a:gd name="connsiteX497" fmla="*/ 562285 w 1958467"/>
                <a:gd name="connsiteY497" fmla="*/ 6309028 h 7800512"/>
                <a:gd name="connsiteX498" fmla="*/ 567051 w 1958467"/>
                <a:gd name="connsiteY498" fmla="*/ 6294732 h 7800512"/>
                <a:gd name="connsiteX499" fmla="*/ 586111 w 1958467"/>
                <a:gd name="connsiteY499" fmla="*/ 5975468 h 7800512"/>
                <a:gd name="connsiteX500" fmla="*/ 605171 w 1958467"/>
                <a:gd name="connsiteY500" fmla="*/ 5975468 h 7800512"/>
                <a:gd name="connsiteX501" fmla="*/ 605171 w 1958467"/>
                <a:gd name="connsiteY501" fmla="*/ 5989764 h 7800512"/>
                <a:gd name="connsiteX502" fmla="*/ 605171 w 1958467"/>
                <a:gd name="connsiteY502" fmla="*/ 6008824 h 7800512"/>
                <a:gd name="connsiteX503" fmla="*/ 581345 w 1958467"/>
                <a:gd name="connsiteY503" fmla="*/ 6042180 h 7800512"/>
                <a:gd name="connsiteX504" fmla="*/ 562285 w 1958467"/>
                <a:gd name="connsiteY504" fmla="*/ 6066004 h 7800512"/>
                <a:gd name="connsiteX505" fmla="*/ 543225 w 1958467"/>
                <a:gd name="connsiteY505" fmla="*/ 6080300 h 7800512"/>
                <a:gd name="connsiteX506" fmla="*/ 533695 w 1958467"/>
                <a:gd name="connsiteY506" fmla="*/ 6080300 h 7800512"/>
                <a:gd name="connsiteX507" fmla="*/ 524163 w 1958467"/>
                <a:gd name="connsiteY507" fmla="*/ 6075536 h 7800512"/>
                <a:gd name="connsiteX508" fmla="*/ 533695 w 1958467"/>
                <a:gd name="connsiteY508" fmla="*/ 6061240 h 7800512"/>
                <a:gd name="connsiteX509" fmla="*/ 547989 w 1958467"/>
                <a:gd name="connsiteY509" fmla="*/ 6046944 h 7800512"/>
                <a:gd name="connsiteX510" fmla="*/ 543225 w 1958467"/>
                <a:gd name="connsiteY510" fmla="*/ 6027884 h 7800512"/>
                <a:gd name="connsiteX511" fmla="*/ 538459 w 1958467"/>
                <a:gd name="connsiteY511" fmla="*/ 6023120 h 7800512"/>
                <a:gd name="connsiteX512" fmla="*/ 533695 w 1958467"/>
                <a:gd name="connsiteY512" fmla="*/ 6023120 h 7800512"/>
                <a:gd name="connsiteX513" fmla="*/ 524163 w 1958467"/>
                <a:gd name="connsiteY513" fmla="*/ 6013588 h 7800512"/>
                <a:gd name="connsiteX514" fmla="*/ 524163 w 1958467"/>
                <a:gd name="connsiteY514" fmla="*/ 5999292 h 7800512"/>
                <a:gd name="connsiteX515" fmla="*/ 533695 w 1958467"/>
                <a:gd name="connsiteY515" fmla="*/ 5994528 h 7800512"/>
                <a:gd name="connsiteX516" fmla="*/ 538459 w 1958467"/>
                <a:gd name="connsiteY516" fmla="*/ 5989764 h 7800512"/>
                <a:gd name="connsiteX517" fmla="*/ 547989 w 1958467"/>
                <a:gd name="connsiteY517" fmla="*/ 5989764 h 7800512"/>
                <a:gd name="connsiteX518" fmla="*/ 576581 w 1958467"/>
                <a:gd name="connsiteY518" fmla="*/ 5980232 h 7800512"/>
                <a:gd name="connsiteX519" fmla="*/ 652823 w 1958467"/>
                <a:gd name="connsiteY519" fmla="*/ 5956408 h 7800512"/>
                <a:gd name="connsiteX520" fmla="*/ 662353 w 1958467"/>
                <a:gd name="connsiteY520" fmla="*/ 5956408 h 7800512"/>
                <a:gd name="connsiteX521" fmla="*/ 676649 w 1958467"/>
                <a:gd name="connsiteY521" fmla="*/ 5970704 h 7800512"/>
                <a:gd name="connsiteX522" fmla="*/ 690943 w 1958467"/>
                <a:gd name="connsiteY522" fmla="*/ 5970704 h 7800512"/>
                <a:gd name="connsiteX523" fmla="*/ 695709 w 1958467"/>
                <a:gd name="connsiteY523" fmla="*/ 5970704 h 7800512"/>
                <a:gd name="connsiteX524" fmla="*/ 695709 w 1958467"/>
                <a:gd name="connsiteY524" fmla="*/ 5984996 h 7800512"/>
                <a:gd name="connsiteX525" fmla="*/ 705239 w 1958467"/>
                <a:gd name="connsiteY525" fmla="*/ 6061240 h 7800512"/>
                <a:gd name="connsiteX526" fmla="*/ 705239 w 1958467"/>
                <a:gd name="connsiteY526" fmla="*/ 6099360 h 7800512"/>
                <a:gd name="connsiteX527" fmla="*/ 705239 w 1958467"/>
                <a:gd name="connsiteY527" fmla="*/ 6132716 h 7800512"/>
                <a:gd name="connsiteX528" fmla="*/ 695709 w 1958467"/>
                <a:gd name="connsiteY528" fmla="*/ 6175604 h 7800512"/>
                <a:gd name="connsiteX529" fmla="*/ 700473 w 1958467"/>
                <a:gd name="connsiteY529" fmla="*/ 6185132 h 7800512"/>
                <a:gd name="connsiteX530" fmla="*/ 705239 w 1958467"/>
                <a:gd name="connsiteY530" fmla="*/ 6189896 h 7800512"/>
                <a:gd name="connsiteX531" fmla="*/ 705239 w 1958467"/>
                <a:gd name="connsiteY531" fmla="*/ 6194664 h 7800512"/>
                <a:gd name="connsiteX532" fmla="*/ 705239 w 1958467"/>
                <a:gd name="connsiteY532" fmla="*/ 6213724 h 7800512"/>
                <a:gd name="connsiteX533" fmla="*/ 700473 w 1958467"/>
                <a:gd name="connsiteY533" fmla="*/ 6232784 h 7800512"/>
                <a:gd name="connsiteX534" fmla="*/ 695709 w 1958467"/>
                <a:gd name="connsiteY534" fmla="*/ 6247080 h 7800512"/>
                <a:gd name="connsiteX535" fmla="*/ 690943 w 1958467"/>
                <a:gd name="connsiteY535" fmla="*/ 6266140 h 7800512"/>
                <a:gd name="connsiteX536" fmla="*/ 686179 w 1958467"/>
                <a:gd name="connsiteY536" fmla="*/ 6270904 h 7800512"/>
                <a:gd name="connsiteX537" fmla="*/ 667117 w 1958467"/>
                <a:gd name="connsiteY537" fmla="*/ 6270904 h 7800512"/>
                <a:gd name="connsiteX538" fmla="*/ 657587 w 1958467"/>
                <a:gd name="connsiteY538" fmla="*/ 6270904 h 7800512"/>
                <a:gd name="connsiteX539" fmla="*/ 652823 w 1958467"/>
                <a:gd name="connsiteY539" fmla="*/ 6251844 h 7800512"/>
                <a:gd name="connsiteX540" fmla="*/ 648057 w 1958467"/>
                <a:gd name="connsiteY540" fmla="*/ 6237548 h 7800512"/>
                <a:gd name="connsiteX541" fmla="*/ 652823 w 1958467"/>
                <a:gd name="connsiteY541" fmla="*/ 6223252 h 7800512"/>
                <a:gd name="connsiteX542" fmla="*/ 643293 w 1958467"/>
                <a:gd name="connsiteY542" fmla="*/ 6204192 h 7800512"/>
                <a:gd name="connsiteX543" fmla="*/ 638527 w 1958467"/>
                <a:gd name="connsiteY543" fmla="*/ 6194664 h 7800512"/>
                <a:gd name="connsiteX544" fmla="*/ 643293 w 1958467"/>
                <a:gd name="connsiteY544" fmla="*/ 6180368 h 7800512"/>
                <a:gd name="connsiteX545" fmla="*/ 652823 w 1958467"/>
                <a:gd name="connsiteY545" fmla="*/ 6170836 h 7800512"/>
                <a:gd name="connsiteX546" fmla="*/ 652823 w 1958467"/>
                <a:gd name="connsiteY546" fmla="*/ 6151776 h 7800512"/>
                <a:gd name="connsiteX547" fmla="*/ 657587 w 1958467"/>
                <a:gd name="connsiteY547" fmla="*/ 6147012 h 7800512"/>
                <a:gd name="connsiteX548" fmla="*/ 667117 w 1958467"/>
                <a:gd name="connsiteY548" fmla="*/ 6137480 h 7800512"/>
                <a:gd name="connsiteX549" fmla="*/ 667117 w 1958467"/>
                <a:gd name="connsiteY549" fmla="*/ 6132716 h 7800512"/>
                <a:gd name="connsiteX550" fmla="*/ 667117 w 1958467"/>
                <a:gd name="connsiteY550" fmla="*/ 6127952 h 7800512"/>
                <a:gd name="connsiteX551" fmla="*/ 662353 w 1958467"/>
                <a:gd name="connsiteY551" fmla="*/ 6127952 h 7800512"/>
                <a:gd name="connsiteX552" fmla="*/ 628997 w 1958467"/>
                <a:gd name="connsiteY552" fmla="*/ 6156544 h 7800512"/>
                <a:gd name="connsiteX553" fmla="*/ 624231 w 1958467"/>
                <a:gd name="connsiteY553" fmla="*/ 6161308 h 7800512"/>
                <a:gd name="connsiteX554" fmla="*/ 624231 w 1958467"/>
                <a:gd name="connsiteY554" fmla="*/ 6170836 h 7800512"/>
                <a:gd name="connsiteX555" fmla="*/ 624231 w 1958467"/>
                <a:gd name="connsiteY555" fmla="*/ 6208960 h 7800512"/>
                <a:gd name="connsiteX556" fmla="*/ 619467 w 1958467"/>
                <a:gd name="connsiteY556" fmla="*/ 6228020 h 7800512"/>
                <a:gd name="connsiteX557" fmla="*/ 614701 w 1958467"/>
                <a:gd name="connsiteY557" fmla="*/ 6232784 h 7800512"/>
                <a:gd name="connsiteX558" fmla="*/ 595641 w 1958467"/>
                <a:gd name="connsiteY558" fmla="*/ 6232784 h 7800512"/>
                <a:gd name="connsiteX559" fmla="*/ 576581 w 1958467"/>
                <a:gd name="connsiteY559" fmla="*/ 6232784 h 7800512"/>
                <a:gd name="connsiteX560" fmla="*/ 552755 w 1958467"/>
                <a:gd name="connsiteY560" fmla="*/ 6213724 h 7800512"/>
                <a:gd name="connsiteX561" fmla="*/ 538459 w 1958467"/>
                <a:gd name="connsiteY561" fmla="*/ 6218488 h 7800512"/>
                <a:gd name="connsiteX562" fmla="*/ 533695 w 1958467"/>
                <a:gd name="connsiteY562" fmla="*/ 6194664 h 7800512"/>
                <a:gd name="connsiteX563" fmla="*/ 543225 w 1958467"/>
                <a:gd name="connsiteY563" fmla="*/ 6175604 h 7800512"/>
                <a:gd name="connsiteX564" fmla="*/ 571815 w 1958467"/>
                <a:gd name="connsiteY564" fmla="*/ 6175604 h 7800512"/>
                <a:gd name="connsiteX565" fmla="*/ 576581 w 1958467"/>
                <a:gd name="connsiteY565" fmla="*/ 6147012 h 7800512"/>
                <a:gd name="connsiteX566" fmla="*/ 567049 w 1958467"/>
                <a:gd name="connsiteY566" fmla="*/ 6137480 h 7800512"/>
                <a:gd name="connsiteX567" fmla="*/ 557519 w 1958467"/>
                <a:gd name="connsiteY567" fmla="*/ 6123188 h 7800512"/>
                <a:gd name="connsiteX568" fmla="*/ 547989 w 1958467"/>
                <a:gd name="connsiteY568" fmla="*/ 6113656 h 7800512"/>
                <a:gd name="connsiteX569" fmla="*/ 552755 w 1958467"/>
                <a:gd name="connsiteY569" fmla="*/ 6104124 h 7800512"/>
                <a:gd name="connsiteX570" fmla="*/ 571815 w 1958467"/>
                <a:gd name="connsiteY570" fmla="*/ 6089832 h 7800512"/>
                <a:gd name="connsiteX571" fmla="*/ 581345 w 1958467"/>
                <a:gd name="connsiteY571" fmla="*/ 6089832 h 7800512"/>
                <a:gd name="connsiteX572" fmla="*/ 590875 w 1958467"/>
                <a:gd name="connsiteY572" fmla="*/ 6099360 h 7800512"/>
                <a:gd name="connsiteX573" fmla="*/ 609937 w 1958467"/>
                <a:gd name="connsiteY573" fmla="*/ 6089832 h 7800512"/>
                <a:gd name="connsiteX574" fmla="*/ 609937 w 1958467"/>
                <a:gd name="connsiteY574" fmla="*/ 6070768 h 7800512"/>
                <a:gd name="connsiteX575" fmla="*/ 590875 w 1958467"/>
                <a:gd name="connsiteY575" fmla="*/ 6061240 h 7800512"/>
                <a:gd name="connsiteX576" fmla="*/ 595641 w 1958467"/>
                <a:gd name="connsiteY576" fmla="*/ 6046944 h 7800512"/>
                <a:gd name="connsiteX577" fmla="*/ 614701 w 1958467"/>
                <a:gd name="connsiteY577" fmla="*/ 6032648 h 7800512"/>
                <a:gd name="connsiteX578" fmla="*/ 628997 w 1958467"/>
                <a:gd name="connsiteY578" fmla="*/ 6018352 h 7800512"/>
                <a:gd name="connsiteX579" fmla="*/ 628997 w 1958467"/>
                <a:gd name="connsiteY579" fmla="*/ 5999292 h 7800512"/>
                <a:gd name="connsiteX580" fmla="*/ 624231 w 1958467"/>
                <a:gd name="connsiteY580" fmla="*/ 5984996 h 7800512"/>
                <a:gd name="connsiteX581" fmla="*/ 628997 w 1958467"/>
                <a:gd name="connsiteY581" fmla="*/ 5980232 h 7800512"/>
                <a:gd name="connsiteX582" fmla="*/ 638527 w 1958467"/>
                <a:gd name="connsiteY582" fmla="*/ 5965936 h 7800512"/>
                <a:gd name="connsiteX583" fmla="*/ 562285 w 1958467"/>
                <a:gd name="connsiteY583" fmla="*/ 5794392 h 7800512"/>
                <a:gd name="connsiteX584" fmla="*/ 571815 w 1958467"/>
                <a:gd name="connsiteY584" fmla="*/ 5808688 h 7800512"/>
                <a:gd name="connsiteX585" fmla="*/ 581345 w 1958467"/>
                <a:gd name="connsiteY585" fmla="*/ 5842044 h 7800512"/>
                <a:gd name="connsiteX586" fmla="*/ 600407 w 1958467"/>
                <a:gd name="connsiteY586" fmla="*/ 5889696 h 7800512"/>
                <a:gd name="connsiteX587" fmla="*/ 595641 w 1958467"/>
                <a:gd name="connsiteY587" fmla="*/ 5937348 h 7800512"/>
                <a:gd name="connsiteX588" fmla="*/ 586111 w 1958467"/>
                <a:gd name="connsiteY588" fmla="*/ 5951644 h 7800512"/>
                <a:gd name="connsiteX589" fmla="*/ 552755 w 1958467"/>
                <a:gd name="connsiteY589" fmla="*/ 5961172 h 7800512"/>
                <a:gd name="connsiteX590" fmla="*/ 543225 w 1958467"/>
                <a:gd name="connsiteY590" fmla="*/ 5970704 h 7800512"/>
                <a:gd name="connsiteX591" fmla="*/ 524165 w 1958467"/>
                <a:gd name="connsiteY591" fmla="*/ 5970704 h 7800512"/>
                <a:gd name="connsiteX592" fmla="*/ 519399 w 1958467"/>
                <a:gd name="connsiteY592" fmla="*/ 5927816 h 7800512"/>
                <a:gd name="connsiteX593" fmla="*/ 543225 w 1958467"/>
                <a:gd name="connsiteY593" fmla="*/ 5870636 h 7800512"/>
                <a:gd name="connsiteX594" fmla="*/ 543225 w 1958467"/>
                <a:gd name="connsiteY594" fmla="*/ 5846808 h 7800512"/>
                <a:gd name="connsiteX595" fmla="*/ 538459 w 1958467"/>
                <a:gd name="connsiteY595" fmla="*/ 5827748 h 7800512"/>
                <a:gd name="connsiteX596" fmla="*/ 533695 w 1958467"/>
                <a:gd name="connsiteY596" fmla="*/ 5813452 h 7800512"/>
                <a:gd name="connsiteX597" fmla="*/ 533695 w 1958467"/>
                <a:gd name="connsiteY597" fmla="*/ 5808688 h 7800512"/>
                <a:gd name="connsiteX598" fmla="*/ 638527 w 1958467"/>
                <a:gd name="connsiteY598" fmla="*/ 5756272 h 7800512"/>
                <a:gd name="connsiteX599" fmla="*/ 648057 w 1958467"/>
                <a:gd name="connsiteY599" fmla="*/ 5756272 h 7800512"/>
                <a:gd name="connsiteX600" fmla="*/ 648057 w 1958467"/>
                <a:gd name="connsiteY600" fmla="*/ 5794392 h 7800512"/>
                <a:gd name="connsiteX601" fmla="*/ 652823 w 1958467"/>
                <a:gd name="connsiteY601" fmla="*/ 5808688 h 7800512"/>
                <a:gd name="connsiteX602" fmla="*/ 662353 w 1958467"/>
                <a:gd name="connsiteY602" fmla="*/ 5822984 h 7800512"/>
                <a:gd name="connsiteX603" fmla="*/ 667119 w 1958467"/>
                <a:gd name="connsiteY603" fmla="*/ 5827748 h 7800512"/>
                <a:gd name="connsiteX604" fmla="*/ 667119 w 1958467"/>
                <a:gd name="connsiteY604" fmla="*/ 5842044 h 7800512"/>
                <a:gd name="connsiteX605" fmla="*/ 676649 w 1958467"/>
                <a:gd name="connsiteY605" fmla="*/ 5861104 h 7800512"/>
                <a:gd name="connsiteX606" fmla="*/ 681413 w 1958467"/>
                <a:gd name="connsiteY606" fmla="*/ 5870636 h 7800512"/>
                <a:gd name="connsiteX607" fmla="*/ 686179 w 1958467"/>
                <a:gd name="connsiteY607" fmla="*/ 5880164 h 7800512"/>
                <a:gd name="connsiteX608" fmla="*/ 686179 w 1958467"/>
                <a:gd name="connsiteY608" fmla="*/ 5884932 h 7800512"/>
                <a:gd name="connsiteX609" fmla="*/ 681413 w 1958467"/>
                <a:gd name="connsiteY609" fmla="*/ 5889696 h 7800512"/>
                <a:gd name="connsiteX610" fmla="*/ 690943 w 1958467"/>
                <a:gd name="connsiteY610" fmla="*/ 5932580 h 7800512"/>
                <a:gd name="connsiteX611" fmla="*/ 686179 w 1958467"/>
                <a:gd name="connsiteY611" fmla="*/ 5937348 h 7800512"/>
                <a:gd name="connsiteX612" fmla="*/ 667119 w 1958467"/>
                <a:gd name="connsiteY612" fmla="*/ 5932580 h 7800512"/>
                <a:gd name="connsiteX613" fmla="*/ 633763 w 1958467"/>
                <a:gd name="connsiteY613" fmla="*/ 5937348 h 7800512"/>
                <a:gd name="connsiteX614" fmla="*/ 619467 w 1958467"/>
                <a:gd name="connsiteY614" fmla="*/ 5918288 h 7800512"/>
                <a:gd name="connsiteX615" fmla="*/ 614701 w 1958467"/>
                <a:gd name="connsiteY615" fmla="*/ 5884932 h 7800512"/>
                <a:gd name="connsiteX616" fmla="*/ 609937 w 1958467"/>
                <a:gd name="connsiteY616" fmla="*/ 5875400 h 7800512"/>
                <a:gd name="connsiteX617" fmla="*/ 600407 w 1958467"/>
                <a:gd name="connsiteY617" fmla="*/ 5856340 h 7800512"/>
                <a:gd name="connsiteX618" fmla="*/ 595641 w 1958467"/>
                <a:gd name="connsiteY618" fmla="*/ 5842044 h 7800512"/>
                <a:gd name="connsiteX619" fmla="*/ 590877 w 1958467"/>
                <a:gd name="connsiteY619" fmla="*/ 5822984 h 7800512"/>
                <a:gd name="connsiteX620" fmla="*/ 586111 w 1958467"/>
                <a:gd name="connsiteY620" fmla="*/ 5803924 h 7800512"/>
                <a:gd name="connsiteX621" fmla="*/ 586111 w 1958467"/>
                <a:gd name="connsiteY621" fmla="*/ 5799160 h 7800512"/>
                <a:gd name="connsiteX622" fmla="*/ 590877 w 1958467"/>
                <a:gd name="connsiteY622" fmla="*/ 5784864 h 7800512"/>
                <a:gd name="connsiteX623" fmla="*/ 624233 w 1958467"/>
                <a:gd name="connsiteY623" fmla="*/ 5775332 h 7800512"/>
                <a:gd name="connsiteX624" fmla="*/ 609935 w 1958467"/>
                <a:gd name="connsiteY624" fmla="*/ 5718152 h 7800512"/>
                <a:gd name="connsiteX625" fmla="*/ 619465 w 1958467"/>
                <a:gd name="connsiteY625" fmla="*/ 5722916 h 7800512"/>
                <a:gd name="connsiteX626" fmla="*/ 633761 w 1958467"/>
                <a:gd name="connsiteY626" fmla="*/ 5727680 h 7800512"/>
                <a:gd name="connsiteX627" fmla="*/ 633761 w 1958467"/>
                <a:gd name="connsiteY627" fmla="*/ 5737212 h 7800512"/>
                <a:gd name="connsiteX628" fmla="*/ 614701 w 1958467"/>
                <a:gd name="connsiteY628" fmla="*/ 5746740 h 7800512"/>
                <a:gd name="connsiteX629" fmla="*/ 609935 w 1958467"/>
                <a:gd name="connsiteY629" fmla="*/ 5751508 h 7800512"/>
                <a:gd name="connsiteX630" fmla="*/ 605171 w 1958467"/>
                <a:gd name="connsiteY630" fmla="*/ 5756272 h 7800512"/>
                <a:gd name="connsiteX631" fmla="*/ 595641 w 1958467"/>
                <a:gd name="connsiteY631" fmla="*/ 5756272 h 7800512"/>
                <a:gd name="connsiteX632" fmla="*/ 590875 w 1958467"/>
                <a:gd name="connsiteY632" fmla="*/ 5746740 h 7800512"/>
                <a:gd name="connsiteX633" fmla="*/ 581345 w 1958467"/>
                <a:gd name="connsiteY633" fmla="*/ 5737212 h 7800512"/>
                <a:gd name="connsiteX634" fmla="*/ 590875 w 1958467"/>
                <a:gd name="connsiteY634" fmla="*/ 5727680 h 7800512"/>
                <a:gd name="connsiteX635" fmla="*/ 729065 w 1958467"/>
                <a:gd name="connsiteY635" fmla="*/ 5151100 h 7800512"/>
                <a:gd name="connsiteX636" fmla="*/ 733829 w 1958467"/>
                <a:gd name="connsiteY636" fmla="*/ 5170160 h 7800512"/>
                <a:gd name="connsiteX637" fmla="*/ 729065 w 1958467"/>
                <a:gd name="connsiteY637" fmla="*/ 5213048 h 7800512"/>
                <a:gd name="connsiteX638" fmla="*/ 743359 w 1958467"/>
                <a:gd name="connsiteY638" fmla="*/ 5236872 h 7800512"/>
                <a:gd name="connsiteX639" fmla="*/ 743359 w 1958467"/>
                <a:gd name="connsiteY639" fmla="*/ 5246404 h 7800512"/>
                <a:gd name="connsiteX640" fmla="*/ 738595 w 1958467"/>
                <a:gd name="connsiteY640" fmla="*/ 5255932 h 7800512"/>
                <a:gd name="connsiteX641" fmla="*/ 729065 w 1958467"/>
                <a:gd name="connsiteY641" fmla="*/ 5265464 h 7800512"/>
                <a:gd name="connsiteX642" fmla="*/ 719535 w 1958467"/>
                <a:gd name="connsiteY642" fmla="*/ 5274992 h 7800512"/>
                <a:gd name="connsiteX643" fmla="*/ 705239 w 1958467"/>
                <a:gd name="connsiteY643" fmla="*/ 5279760 h 7800512"/>
                <a:gd name="connsiteX644" fmla="*/ 690943 w 1958467"/>
                <a:gd name="connsiteY644" fmla="*/ 5270228 h 7800512"/>
                <a:gd name="connsiteX645" fmla="*/ 671883 w 1958467"/>
                <a:gd name="connsiteY645" fmla="*/ 5274992 h 7800512"/>
                <a:gd name="connsiteX646" fmla="*/ 671883 w 1958467"/>
                <a:gd name="connsiteY646" fmla="*/ 5255932 h 7800512"/>
                <a:gd name="connsiteX647" fmla="*/ 676649 w 1958467"/>
                <a:gd name="connsiteY647" fmla="*/ 5246404 h 7800512"/>
                <a:gd name="connsiteX648" fmla="*/ 690943 w 1958467"/>
                <a:gd name="connsiteY648" fmla="*/ 5227344 h 7800512"/>
                <a:gd name="connsiteX649" fmla="*/ 700473 w 1958467"/>
                <a:gd name="connsiteY649" fmla="*/ 5203516 h 7800512"/>
                <a:gd name="connsiteX650" fmla="*/ 700473 w 1958467"/>
                <a:gd name="connsiteY650" fmla="*/ 5174928 h 7800512"/>
                <a:gd name="connsiteX651" fmla="*/ 710005 w 1958467"/>
                <a:gd name="connsiteY651" fmla="*/ 5165396 h 7800512"/>
                <a:gd name="connsiteX652" fmla="*/ 714769 w 1958467"/>
                <a:gd name="connsiteY652" fmla="*/ 5155868 h 7800512"/>
                <a:gd name="connsiteX653" fmla="*/ 605171 w 1958467"/>
                <a:gd name="connsiteY653" fmla="*/ 5065328 h 7800512"/>
                <a:gd name="connsiteX654" fmla="*/ 609937 w 1958467"/>
                <a:gd name="connsiteY654" fmla="*/ 5065328 h 7800512"/>
                <a:gd name="connsiteX655" fmla="*/ 614701 w 1958467"/>
                <a:gd name="connsiteY655" fmla="*/ 5070096 h 7800512"/>
                <a:gd name="connsiteX656" fmla="*/ 619467 w 1958467"/>
                <a:gd name="connsiteY656" fmla="*/ 5084388 h 7800512"/>
                <a:gd name="connsiteX657" fmla="*/ 614701 w 1958467"/>
                <a:gd name="connsiteY657" fmla="*/ 5089156 h 7800512"/>
                <a:gd name="connsiteX658" fmla="*/ 609937 w 1958467"/>
                <a:gd name="connsiteY658" fmla="*/ 5089156 h 7800512"/>
                <a:gd name="connsiteX659" fmla="*/ 605171 w 1958467"/>
                <a:gd name="connsiteY659" fmla="*/ 5089156 h 7800512"/>
                <a:gd name="connsiteX660" fmla="*/ 605171 w 1958467"/>
                <a:gd name="connsiteY660" fmla="*/ 5079624 h 7800512"/>
                <a:gd name="connsiteX661" fmla="*/ 600407 w 1958467"/>
                <a:gd name="connsiteY661" fmla="*/ 5070096 h 7800512"/>
                <a:gd name="connsiteX662" fmla="*/ 814837 w 1958467"/>
                <a:gd name="connsiteY662" fmla="*/ 5012912 h 7800512"/>
                <a:gd name="connsiteX663" fmla="*/ 819601 w 1958467"/>
                <a:gd name="connsiteY663" fmla="*/ 5012912 h 7800512"/>
                <a:gd name="connsiteX664" fmla="*/ 829131 w 1958467"/>
                <a:gd name="connsiteY664" fmla="*/ 5012912 h 7800512"/>
                <a:gd name="connsiteX665" fmla="*/ 833897 w 1958467"/>
                <a:gd name="connsiteY665" fmla="*/ 5027208 h 7800512"/>
                <a:gd name="connsiteX666" fmla="*/ 838663 w 1958467"/>
                <a:gd name="connsiteY666" fmla="*/ 5041504 h 7800512"/>
                <a:gd name="connsiteX667" fmla="*/ 838663 w 1958467"/>
                <a:gd name="connsiteY667" fmla="*/ 5055800 h 7800512"/>
                <a:gd name="connsiteX668" fmla="*/ 833897 w 1958467"/>
                <a:gd name="connsiteY668" fmla="*/ 5070092 h 7800512"/>
                <a:gd name="connsiteX669" fmla="*/ 829131 w 1958467"/>
                <a:gd name="connsiteY669" fmla="*/ 5074860 h 7800512"/>
                <a:gd name="connsiteX670" fmla="*/ 824367 w 1958467"/>
                <a:gd name="connsiteY670" fmla="*/ 5074860 h 7800512"/>
                <a:gd name="connsiteX671" fmla="*/ 819601 w 1958467"/>
                <a:gd name="connsiteY671" fmla="*/ 5065328 h 7800512"/>
                <a:gd name="connsiteX672" fmla="*/ 819601 w 1958467"/>
                <a:gd name="connsiteY672" fmla="*/ 5055800 h 7800512"/>
                <a:gd name="connsiteX673" fmla="*/ 810071 w 1958467"/>
                <a:gd name="connsiteY673" fmla="*/ 5041504 h 7800512"/>
                <a:gd name="connsiteX674" fmla="*/ 805307 w 1958467"/>
                <a:gd name="connsiteY674" fmla="*/ 5031972 h 7800512"/>
                <a:gd name="connsiteX675" fmla="*/ 805307 w 1958467"/>
                <a:gd name="connsiteY675" fmla="*/ 5027208 h 7800512"/>
                <a:gd name="connsiteX676" fmla="*/ 900609 w 1958467"/>
                <a:gd name="connsiteY676" fmla="*/ 4965260 h 7800512"/>
                <a:gd name="connsiteX677" fmla="*/ 929199 w 1958467"/>
                <a:gd name="connsiteY677" fmla="*/ 4974792 h 7800512"/>
                <a:gd name="connsiteX678" fmla="*/ 957791 w 1958467"/>
                <a:gd name="connsiteY678" fmla="*/ 4993852 h 7800512"/>
                <a:gd name="connsiteX679" fmla="*/ 972087 w 1958467"/>
                <a:gd name="connsiteY679" fmla="*/ 5003384 h 7800512"/>
                <a:gd name="connsiteX680" fmla="*/ 972087 w 1958467"/>
                <a:gd name="connsiteY680" fmla="*/ 5012912 h 7800512"/>
                <a:gd name="connsiteX681" fmla="*/ 957791 w 1958467"/>
                <a:gd name="connsiteY681" fmla="*/ 5031972 h 7800512"/>
                <a:gd name="connsiteX682" fmla="*/ 953025 w 1958467"/>
                <a:gd name="connsiteY682" fmla="*/ 5046268 h 7800512"/>
                <a:gd name="connsiteX683" fmla="*/ 938731 w 1958467"/>
                <a:gd name="connsiteY683" fmla="*/ 5060564 h 7800512"/>
                <a:gd name="connsiteX684" fmla="*/ 900609 w 1958467"/>
                <a:gd name="connsiteY684" fmla="*/ 5079624 h 7800512"/>
                <a:gd name="connsiteX685" fmla="*/ 881549 w 1958467"/>
                <a:gd name="connsiteY685" fmla="*/ 5074860 h 7800512"/>
                <a:gd name="connsiteX686" fmla="*/ 872019 w 1958467"/>
                <a:gd name="connsiteY686" fmla="*/ 5060564 h 7800512"/>
                <a:gd name="connsiteX687" fmla="*/ 867253 w 1958467"/>
                <a:gd name="connsiteY687" fmla="*/ 5051032 h 7800512"/>
                <a:gd name="connsiteX688" fmla="*/ 867253 w 1958467"/>
                <a:gd name="connsiteY688" fmla="*/ 5031972 h 7800512"/>
                <a:gd name="connsiteX689" fmla="*/ 872019 w 1958467"/>
                <a:gd name="connsiteY689" fmla="*/ 5022444 h 7800512"/>
                <a:gd name="connsiteX690" fmla="*/ 886313 w 1958467"/>
                <a:gd name="connsiteY690" fmla="*/ 5008148 h 7800512"/>
                <a:gd name="connsiteX691" fmla="*/ 891079 w 1958467"/>
                <a:gd name="connsiteY691" fmla="*/ 4998616 h 7800512"/>
                <a:gd name="connsiteX692" fmla="*/ 891079 w 1958467"/>
                <a:gd name="connsiteY692" fmla="*/ 4989088 h 7800512"/>
                <a:gd name="connsiteX693" fmla="*/ 891079 w 1958467"/>
                <a:gd name="connsiteY693" fmla="*/ 4979556 h 7800512"/>
                <a:gd name="connsiteX694" fmla="*/ 895843 w 1958467"/>
                <a:gd name="connsiteY694" fmla="*/ 4970028 h 7800512"/>
                <a:gd name="connsiteX695" fmla="*/ 781481 w 1958467"/>
                <a:gd name="connsiteY695" fmla="*/ 4922376 h 7800512"/>
                <a:gd name="connsiteX696" fmla="*/ 795777 w 1958467"/>
                <a:gd name="connsiteY696" fmla="*/ 4922376 h 7800512"/>
                <a:gd name="connsiteX697" fmla="*/ 800541 w 1958467"/>
                <a:gd name="connsiteY697" fmla="*/ 4931904 h 7800512"/>
                <a:gd name="connsiteX698" fmla="*/ 805307 w 1958467"/>
                <a:gd name="connsiteY698" fmla="*/ 4941436 h 7800512"/>
                <a:gd name="connsiteX699" fmla="*/ 824367 w 1958467"/>
                <a:gd name="connsiteY699" fmla="*/ 4950964 h 7800512"/>
                <a:gd name="connsiteX700" fmla="*/ 824367 w 1958467"/>
                <a:gd name="connsiteY700" fmla="*/ 4960496 h 7800512"/>
                <a:gd name="connsiteX701" fmla="*/ 819601 w 1958467"/>
                <a:gd name="connsiteY701" fmla="*/ 4979556 h 7800512"/>
                <a:gd name="connsiteX702" fmla="*/ 814837 w 1958467"/>
                <a:gd name="connsiteY702" fmla="*/ 4989088 h 7800512"/>
                <a:gd name="connsiteX703" fmla="*/ 800541 w 1958467"/>
                <a:gd name="connsiteY703" fmla="*/ 4989088 h 7800512"/>
                <a:gd name="connsiteX704" fmla="*/ 781481 w 1958467"/>
                <a:gd name="connsiteY704" fmla="*/ 4998616 h 7800512"/>
                <a:gd name="connsiteX705" fmla="*/ 781481 w 1958467"/>
                <a:gd name="connsiteY705" fmla="*/ 5008148 h 7800512"/>
                <a:gd name="connsiteX706" fmla="*/ 776715 w 1958467"/>
                <a:gd name="connsiteY706" fmla="*/ 5022444 h 7800512"/>
                <a:gd name="connsiteX707" fmla="*/ 791011 w 1958467"/>
                <a:gd name="connsiteY707" fmla="*/ 5036736 h 7800512"/>
                <a:gd name="connsiteX708" fmla="*/ 795777 w 1958467"/>
                <a:gd name="connsiteY708" fmla="*/ 5051032 h 7800512"/>
                <a:gd name="connsiteX709" fmla="*/ 805307 w 1958467"/>
                <a:gd name="connsiteY709" fmla="*/ 5074860 h 7800512"/>
                <a:gd name="connsiteX710" fmla="*/ 810071 w 1958467"/>
                <a:gd name="connsiteY710" fmla="*/ 5098684 h 7800512"/>
                <a:gd name="connsiteX711" fmla="*/ 810071 w 1958467"/>
                <a:gd name="connsiteY711" fmla="*/ 5103448 h 7800512"/>
                <a:gd name="connsiteX712" fmla="*/ 810071 w 1958467"/>
                <a:gd name="connsiteY712" fmla="*/ 5117744 h 7800512"/>
                <a:gd name="connsiteX713" fmla="*/ 819601 w 1958467"/>
                <a:gd name="connsiteY713" fmla="*/ 5136804 h 7800512"/>
                <a:gd name="connsiteX714" fmla="*/ 819601 w 1958467"/>
                <a:gd name="connsiteY714" fmla="*/ 5146336 h 7800512"/>
                <a:gd name="connsiteX715" fmla="*/ 819601 w 1958467"/>
                <a:gd name="connsiteY715" fmla="*/ 5155868 h 7800512"/>
                <a:gd name="connsiteX716" fmla="*/ 819601 w 1958467"/>
                <a:gd name="connsiteY716" fmla="*/ 5170160 h 7800512"/>
                <a:gd name="connsiteX717" fmla="*/ 814837 w 1958467"/>
                <a:gd name="connsiteY717" fmla="*/ 5170160 h 7800512"/>
                <a:gd name="connsiteX718" fmla="*/ 805307 w 1958467"/>
                <a:gd name="connsiteY718" fmla="*/ 5174928 h 7800512"/>
                <a:gd name="connsiteX719" fmla="*/ 805307 w 1958467"/>
                <a:gd name="connsiteY719" fmla="*/ 5184456 h 7800512"/>
                <a:gd name="connsiteX720" fmla="*/ 800541 w 1958467"/>
                <a:gd name="connsiteY720" fmla="*/ 5184456 h 7800512"/>
                <a:gd name="connsiteX721" fmla="*/ 776715 w 1958467"/>
                <a:gd name="connsiteY721" fmla="*/ 5189224 h 7800512"/>
                <a:gd name="connsiteX722" fmla="*/ 762421 w 1958467"/>
                <a:gd name="connsiteY722" fmla="*/ 5184456 h 7800512"/>
                <a:gd name="connsiteX723" fmla="*/ 767185 w 1958467"/>
                <a:gd name="connsiteY723" fmla="*/ 5155868 h 7800512"/>
                <a:gd name="connsiteX724" fmla="*/ 748125 w 1958467"/>
                <a:gd name="connsiteY724" fmla="*/ 5141572 h 7800512"/>
                <a:gd name="connsiteX725" fmla="*/ 738595 w 1958467"/>
                <a:gd name="connsiteY725" fmla="*/ 5122512 h 7800512"/>
                <a:gd name="connsiteX726" fmla="*/ 724299 w 1958467"/>
                <a:gd name="connsiteY726" fmla="*/ 5089156 h 7800512"/>
                <a:gd name="connsiteX727" fmla="*/ 714769 w 1958467"/>
                <a:gd name="connsiteY727" fmla="*/ 5079624 h 7800512"/>
                <a:gd name="connsiteX728" fmla="*/ 700473 w 1958467"/>
                <a:gd name="connsiteY728" fmla="*/ 5055800 h 7800512"/>
                <a:gd name="connsiteX729" fmla="*/ 681413 w 1958467"/>
                <a:gd name="connsiteY729" fmla="*/ 5031972 h 7800512"/>
                <a:gd name="connsiteX730" fmla="*/ 705239 w 1958467"/>
                <a:gd name="connsiteY730" fmla="*/ 5017676 h 7800512"/>
                <a:gd name="connsiteX731" fmla="*/ 700473 w 1958467"/>
                <a:gd name="connsiteY731" fmla="*/ 4993852 h 7800512"/>
                <a:gd name="connsiteX732" fmla="*/ 714769 w 1958467"/>
                <a:gd name="connsiteY732" fmla="*/ 4984320 h 7800512"/>
                <a:gd name="connsiteX733" fmla="*/ 733829 w 1958467"/>
                <a:gd name="connsiteY733" fmla="*/ 4979556 h 7800512"/>
                <a:gd name="connsiteX734" fmla="*/ 748125 w 1958467"/>
                <a:gd name="connsiteY734" fmla="*/ 4984320 h 7800512"/>
                <a:gd name="connsiteX735" fmla="*/ 757655 w 1958467"/>
                <a:gd name="connsiteY735" fmla="*/ 4984320 h 7800512"/>
                <a:gd name="connsiteX736" fmla="*/ 762421 w 1958467"/>
                <a:gd name="connsiteY736" fmla="*/ 4974792 h 7800512"/>
                <a:gd name="connsiteX737" fmla="*/ 762421 w 1958467"/>
                <a:gd name="connsiteY737" fmla="*/ 4950964 h 7800512"/>
                <a:gd name="connsiteX738" fmla="*/ 767185 w 1958467"/>
                <a:gd name="connsiteY738" fmla="*/ 4931904 h 7800512"/>
                <a:gd name="connsiteX739" fmla="*/ 800541 w 1958467"/>
                <a:gd name="connsiteY739" fmla="*/ 4846132 h 7800512"/>
                <a:gd name="connsiteX740" fmla="*/ 805305 w 1958467"/>
                <a:gd name="connsiteY740" fmla="*/ 4846132 h 7800512"/>
                <a:gd name="connsiteX741" fmla="*/ 810071 w 1958467"/>
                <a:gd name="connsiteY741" fmla="*/ 4855664 h 7800512"/>
                <a:gd name="connsiteX742" fmla="*/ 810071 w 1958467"/>
                <a:gd name="connsiteY742" fmla="*/ 4865192 h 7800512"/>
                <a:gd name="connsiteX743" fmla="*/ 805305 w 1958467"/>
                <a:gd name="connsiteY743" fmla="*/ 4865192 h 7800512"/>
                <a:gd name="connsiteX744" fmla="*/ 795775 w 1958467"/>
                <a:gd name="connsiteY744" fmla="*/ 4865192 h 7800512"/>
                <a:gd name="connsiteX745" fmla="*/ 786245 w 1958467"/>
                <a:gd name="connsiteY745" fmla="*/ 4874724 h 7800512"/>
                <a:gd name="connsiteX746" fmla="*/ 762421 w 1958467"/>
                <a:gd name="connsiteY746" fmla="*/ 4865192 h 7800512"/>
                <a:gd name="connsiteX747" fmla="*/ 757655 w 1958467"/>
                <a:gd name="connsiteY747" fmla="*/ 4865192 h 7800512"/>
                <a:gd name="connsiteX748" fmla="*/ 757655 w 1958467"/>
                <a:gd name="connsiteY748" fmla="*/ 4850900 h 7800512"/>
                <a:gd name="connsiteX749" fmla="*/ 781481 w 1958467"/>
                <a:gd name="connsiteY749" fmla="*/ 4850900 h 7800512"/>
                <a:gd name="connsiteX750" fmla="*/ 662353 w 1958467"/>
                <a:gd name="connsiteY750" fmla="*/ 4788952 h 7800512"/>
                <a:gd name="connsiteX751" fmla="*/ 671883 w 1958467"/>
                <a:gd name="connsiteY751" fmla="*/ 4793716 h 7800512"/>
                <a:gd name="connsiteX752" fmla="*/ 671883 w 1958467"/>
                <a:gd name="connsiteY752" fmla="*/ 4798480 h 7800512"/>
                <a:gd name="connsiteX753" fmla="*/ 676647 w 1958467"/>
                <a:gd name="connsiteY753" fmla="*/ 4803248 h 7800512"/>
                <a:gd name="connsiteX754" fmla="*/ 676647 w 1958467"/>
                <a:gd name="connsiteY754" fmla="*/ 4808012 h 7800512"/>
                <a:gd name="connsiteX755" fmla="*/ 652823 w 1958467"/>
                <a:gd name="connsiteY755" fmla="*/ 4812776 h 7800512"/>
                <a:gd name="connsiteX756" fmla="*/ 648057 w 1958467"/>
                <a:gd name="connsiteY756" fmla="*/ 4803248 h 7800512"/>
                <a:gd name="connsiteX757" fmla="*/ 648057 w 1958467"/>
                <a:gd name="connsiteY757" fmla="*/ 4798480 h 7800512"/>
                <a:gd name="connsiteX758" fmla="*/ 652823 w 1958467"/>
                <a:gd name="connsiteY758" fmla="*/ 4793716 h 7800512"/>
                <a:gd name="connsiteX759" fmla="*/ 771951 w 1958467"/>
                <a:gd name="connsiteY759" fmla="*/ 4422036 h 7800512"/>
                <a:gd name="connsiteX760" fmla="*/ 819601 w 1958467"/>
                <a:gd name="connsiteY760" fmla="*/ 4436332 h 7800512"/>
                <a:gd name="connsiteX761" fmla="*/ 852957 w 1958467"/>
                <a:gd name="connsiteY761" fmla="*/ 4441096 h 7800512"/>
                <a:gd name="connsiteX762" fmla="*/ 852957 w 1958467"/>
                <a:gd name="connsiteY762" fmla="*/ 4460160 h 7800512"/>
                <a:gd name="connsiteX763" fmla="*/ 857723 w 1958467"/>
                <a:gd name="connsiteY763" fmla="*/ 4474452 h 7800512"/>
                <a:gd name="connsiteX764" fmla="*/ 862487 w 1958467"/>
                <a:gd name="connsiteY764" fmla="*/ 4498280 h 7800512"/>
                <a:gd name="connsiteX765" fmla="*/ 867253 w 1958467"/>
                <a:gd name="connsiteY765" fmla="*/ 4503044 h 7800512"/>
                <a:gd name="connsiteX766" fmla="*/ 867253 w 1958467"/>
                <a:gd name="connsiteY766" fmla="*/ 4522104 h 7800512"/>
                <a:gd name="connsiteX767" fmla="*/ 852957 w 1958467"/>
                <a:gd name="connsiteY767" fmla="*/ 4531636 h 7800512"/>
                <a:gd name="connsiteX768" fmla="*/ 852957 w 1958467"/>
                <a:gd name="connsiteY768" fmla="*/ 4545932 h 7800512"/>
                <a:gd name="connsiteX769" fmla="*/ 862487 w 1958467"/>
                <a:gd name="connsiteY769" fmla="*/ 4564992 h 7800512"/>
                <a:gd name="connsiteX770" fmla="*/ 848193 w 1958467"/>
                <a:gd name="connsiteY770" fmla="*/ 4569756 h 7800512"/>
                <a:gd name="connsiteX771" fmla="*/ 833897 w 1958467"/>
                <a:gd name="connsiteY771" fmla="*/ 4569756 h 7800512"/>
                <a:gd name="connsiteX772" fmla="*/ 833897 w 1958467"/>
                <a:gd name="connsiteY772" fmla="*/ 4574520 h 7800512"/>
                <a:gd name="connsiteX773" fmla="*/ 824367 w 1958467"/>
                <a:gd name="connsiteY773" fmla="*/ 4579288 h 7800512"/>
                <a:gd name="connsiteX774" fmla="*/ 810071 w 1958467"/>
                <a:gd name="connsiteY774" fmla="*/ 4588816 h 7800512"/>
                <a:gd name="connsiteX775" fmla="*/ 814837 w 1958467"/>
                <a:gd name="connsiteY775" fmla="*/ 4593580 h 7800512"/>
                <a:gd name="connsiteX776" fmla="*/ 829131 w 1958467"/>
                <a:gd name="connsiteY776" fmla="*/ 4612644 h 7800512"/>
                <a:gd name="connsiteX777" fmla="*/ 848193 w 1958467"/>
                <a:gd name="connsiteY777" fmla="*/ 4626936 h 7800512"/>
                <a:gd name="connsiteX778" fmla="*/ 852957 w 1958467"/>
                <a:gd name="connsiteY778" fmla="*/ 4646000 h 7800512"/>
                <a:gd name="connsiteX779" fmla="*/ 867253 w 1958467"/>
                <a:gd name="connsiteY779" fmla="*/ 4665060 h 7800512"/>
                <a:gd name="connsiteX780" fmla="*/ 862487 w 1958467"/>
                <a:gd name="connsiteY780" fmla="*/ 4674588 h 7800512"/>
                <a:gd name="connsiteX781" fmla="*/ 848193 w 1958467"/>
                <a:gd name="connsiteY781" fmla="*/ 4693648 h 7800512"/>
                <a:gd name="connsiteX782" fmla="*/ 833897 w 1958467"/>
                <a:gd name="connsiteY782" fmla="*/ 4703180 h 7800512"/>
                <a:gd name="connsiteX783" fmla="*/ 819601 w 1958467"/>
                <a:gd name="connsiteY783" fmla="*/ 4707944 h 7800512"/>
                <a:gd name="connsiteX784" fmla="*/ 819601 w 1958467"/>
                <a:gd name="connsiteY784" fmla="*/ 4741300 h 7800512"/>
                <a:gd name="connsiteX785" fmla="*/ 814837 w 1958467"/>
                <a:gd name="connsiteY785" fmla="*/ 4750832 h 7800512"/>
                <a:gd name="connsiteX786" fmla="*/ 800541 w 1958467"/>
                <a:gd name="connsiteY786" fmla="*/ 4755596 h 7800512"/>
                <a:gd name="connsiteX787" fmla="*/ 791011 w 1958467"/>
                <a:gd name="connsiteY787" fmla="*/ 4755596 h 7800512"/>
                <a:gd name="connsiteX788" fmla="*/ 781481 w 1958467"/>
                <a:gd name="connsiteY788" fmla="*/ 4750832 h 7800512"/>
                <a:gd name="connsiteX789" fmla="*/ 762421 w 1958467"/>
                <a:gd name="connsiteY789" fmla="*/ 4750832 h 7800512"/>
                <a:gd name="connsiteX790" fmla="*/ 743359 w 1958467"/>
                <a:gd name="connsiteY790" fmla="*/ 4746064 h 7800512"/>
                <a:gd name="connsiteX791" fmla="*/ 724299 w 1958467"/>
                <a:gd name="connsiteY791" fmla="*/ 4731772 h 7800512"/>
                <a:gd name="connsiteX792" fmla="*/ 719535 w 1958467"/>
                <a:gd name="connsiteY792" fmla="*/ 4727004 h 7800512"/>
                <a:gd name="connsiteX793" fmla="*/ 719535 w 1958467"/>
                <a:gd name="connsiteY793" fmla="*/ 4717476 h 7800512"/>
                <a:gd name="connsiteX794" fmla="*/ 733829 w 1958467"/>
                <a:gd name="connsiteY794" fmla="*/ 4693648 h 7800512"/>
                <a:gd name="connsiteX795" fmla="*/ 748125 w 1958467"/>
                <a:gd name="connsiteY795" fmla="*/ 4650764 h 7800512"/>
                <a:gd name="connsiteX796" fmla="*/ 752889 w 1958467"/>
                <a:gd name="connsiteY796" fmla="*/ 4588816 h 7800512"/>
                <a:gd name="connsiteX797" fmla="*/ 748125 w 1958467"/>
                <a:gd name="connsiteY797" fmla="*/ 4564992 h 7800512"/>
                <a:gd name="connsiteX798" fmla="*/ 748125 w 1958467"/>
                <a:gd name="connsiteY798" fmla="*/ 4555460 h 7800512"/>
                <a:gd name="connsiteX799" fmla="*/ 752889 w 1958467"/>
                <a:gd name="connsiteY799" fmla="*/ 4545932 h 7800512"/>
                <a:gd name="connsiteX800" fmla="*/ 752889 w 1958467"/>
                <a:gd name="connsiteY800" fmla="*/ 4531636 h 7800512"/>
                <a:gd name="connsiteX801" fmla="*/ 752889 w 1958467"/>
                <a:gd name="connsiteY801" fmla="*/ 4522104 h 7800512"/>
                <a:gd name="connsiteX802" fmla="*/ 752889 w 1958467"/>
                <a:gd name="connsiteY802" fmla="*/ 4507808 h 7800512"/>
                <a:gd name="connsiteX803" fmla="*/ 767185 w 1958467"/>
                <a:gd name="connsiteY803" fmla="*/ 4488748 h 7800512"/>
                <a:gd name="connsiteX804" fmla="*/ 771951 w 1958467"/>
                <a:gd name="connsiteY804" fmla="*/ 4474452 h 7800512"/>
                <a:gd name="connsiteX805" fmla="*/ 771951 w 1958467"/>
                <a:gd name="connsiteY805" fmla="*/ 4464924 h 7800512"/>
                <a:gd name="connsiteX806" fmla="*/ 776715 w 1958467"/>
                <a:gd name="connsiteY806" fmla="*/ 4441096 h 7800512"/>
                <a:gd name="connsiteX807" fmla="*/ 771951 w 1958467"/>
                <a:gd name="connsiteY807" fmla="*/ 4431568 h 7800512"/>
                <a:gd name="connsiteX808" fmla="*/ 767185 w 1958467"/>
                <a:gd name="connsiteY808" fmla="*/ 4426804 h 7800512"/>
                <a:gd name="connsiteX809" fmla="*/ 14295 w 1958467"/>
                <a:gd name="connsiteY809" fmla="*/ 2797128 h 7800512"/>
                <a:gd name="connsiteX810" fmla="*/ 19061 w 1958467"/>
                <a:gd name="connsiteY810" fmla="*/ 2797128 h 7800512"/>
                <a:gd name="connsiteX811" fmla="*/ 33356 w 1958467"/>
                <a:gd name="connsiteY811" fmla="*/ 2801892 h 7800512"/>
                <a:gd name="connsiteX812" fmla="*/ 33356 w 1958467"/>
                <a:gd name="connsiteY812" fmla="*/ 2806658 h 7800512"/>
                <a:gd name="connsiteX813" fmla="*/ 28591 w 1958467"/>
                <a:gd name="connsiteY813" fmla="*/ 2811424 h 7800512"/>
                <a:gd name="connsiteX814" fmla="*/ 0 w 1958467"/>
                <a:gd name="connsiteY814" fmla="*/ 2811424 h 7800512"/>
                <a:gd name="connsiteX815" fmla="*/ 9530 w 1958467"/>
                <a:gd name="connsiteY815" fmla="*/ 2801892 h 7800512"/>
                <a:gd name="connsiteX816" fmla="*/ 1481955 w 1958467"/>
                <a:gd name="connsiteY816" fmla="*/ 0 h 7800512"/>
                <a:gd name="connsiteX817" fmla="*/ 1481955 w 1958467"/>
                <a:gd name="connsiteY817" fmla="*/ 19060 h 7800512"/>
                <a:gd name="connsiteX818" fmla="*/ 1505781 w 1958467"/>
                <a:gd name="connsiteY818" fmla="*/ 42886 h 7800512"/>
                <a:gd name="connsiteX819" fmla="*/ 1510545 w 1958467"/>
                <a:gd name="connsiteY819" fmla="*/ 71476 h 7800512"/>
                <a:gd name="connsiteX820" fmla="*/ 1515311 w 1958467"/>
                <a:gd name="connsiteY820" fmla="*/ 76242 h 7800512"/>
                <a:gd name="connsiteX821" fmla="*/ 1543901 w 1958467"/>
                <a:gd name="connsiteY821" fmla="*/ 90536 h 7800512"/>
                <a:gd name="connsiteX822" fmla="*/ 1543901 w 1958467"/>
                <a:gd name="connsiteY822" fmla="*/ 95302 h 7800512"/>
                <a:gd name="connsiteX823" fmla="*/ 1539137 w 1958467"/>
                <a:gd name="connsiteY823" fmla="*/ 100066 h 7800512"/>
                <a:gd name="connsiteX824" fmla="*/ 1539137 w 1958467"/>
                <a:gd name="connsiteY824" fmla="*/ 104832 h 7800512"/>
                <a:gd name="connsiteX825" fmla="*/ 1539137 w 1958467"/>
                <a:gd name="connsiteY825" fmla="*/ 114362 h 7800512"/>
                <a:gd name="connsiteX826" fmla="*/ 1543901 w 1958467"/>
                <a:gd name="connsiteY826" fmla="*/ 128658 h 7800512"/>
                <a:gd name="connsiteX827" fmla="*/ 1548667 w 1958467"/>
                <a:gd name="connsiteY827" fmla="*/ 142952 h 7800512"/>
                <a:gd name="connsiteX828" fmla="*/ 1548667 w 1958467"/>
                <a:gd name="connsiteY828" fmla="*/ 152484 h 7800512"/>
                <a:gd name="connsiteX829" fmla="*/ 1553431 w 1958467"/>
                <a:gd name="connsiteY829" fmla="*/ 171544 h 7800512"/>
                <a:gd name="connsiteX830" fmla="*/ 1553431 w 1958467"/>
                <a:gd name="connsiteY830" fmla="*/ 190604 h 7800512"/>
                <a:gd name="connsiteX831" fmla="*/ 1562961 w 1958467"/>
                <a:gd name="connsiteY831" fmla="*/ 214430 h 7800512"/>
                <a:gd name="connsiteX832" fmla="*/ 1562961 w 1958467"/>
                <a:gd name="connsiteY832" fmla="*/ 233490 h 7800512"/>
                <a:gd name="connsiteX833" fmla="*/ 1562961 w 1958467"/>
                <a:gd name="connsiteY833" fmla="*/ 243020 h 7800512"/>
                <a:gd name="connsiteX834" fmla="*/ 1572491 w 1958467"/>
                <a:gd name="connsiteY834" fmla="*/ 252550 h 7800512"/>
                <a:gd name="connsiteX835" fmla="*/ 1582023 w 1958467"/>
                <a:gd name="connsiteY835" fmla="*/ 262080 h 7800512"/>
                <a:gd name="connsiteX836" fmla="*/ 1596317 w 1958467"/>
                <a:gd name="connsiteY836" fmla="*/ 271612 h 7800512"/>
                <a:gd name="connsiteX837" fmla="*/ 1610613 w 1958467"/>
                <a:gd name="connsiteY837" fmla="*/ 285906 h 7800512"/>
                <a:gd name="connsiteX838" fmla="*/ 1620143 w 1958467"/>
                <a:gd name="connsiteY838" fmla="*/ 295436 h 7800512"/>
                <a:gd name="connsiteX839" fmla="*/ 1629673 w 1958467"/>
                <a:gd name="connsiteY839" fmla="*/ 304968 h 7800512"/>
                <a:gd name="connsiteX840" fmla="*/ 1639203 w 1958467"/>
                <a:gd name="connsiteY840" fmla="*/ 309732 h 7800512"/>
                <a:gd name="connsiteX841" fmla="*/ 1643969 w 1958467"/>
                <a:gd name="connsiteY841" fmla="*/ 314498 h 7800512"/>
                <a:gd name="connsiteX842" fmla="*/ 1643969 w 1958467"/>
                <a:gd name="connsiteY842" fmla="*/ 319262 h 7800512"/>
                <a:gd name="connsiteX843" fmla="*/ 1639203 w 1958467"/>
                <a:gd name="connsiteY843" fmla="*/ 324028 h 7800512"/>
                <a:gd name="connsiteX844" fmla="*/ 1624909 w 1958467"/>
                <a:gd name="connsiteY844" fmla="*/ 338324 h 7800512"/>
                <a:gd name="connsiteX845" fmla="*/ 1605847 w 1958467"/>
                <a:gd name="connsiteY845" fmla="*/ 366914 h 7800512"/>
                <a:gd name="connsiteX846" fmla="*/ 1624909 w 1958467"/>
                <a:gd name="connsiteY846" fmla="*/ 390740 h 7800512"/>
                <a:gd name="connsiteX847" fmla="*/ 1629673 w 1958467"/>
                <a:gd name="connsiteY847" fmla="*/ 395504 h 7800512"/>
                <a:gd name="connsiteX848" fmla="*/ 1629673 w 1958467"/>
                <a:gd name="connsiteY848" fmla="*/ 405034 h 7800512"/>
                <a:gd name="connsiteX849" fmla="*/ 1620143 w 1958467"/>
                <a:gd name="connsiteY849" fmla="*/ 419330 h 7800512"/>
                <a:gd name="connsiteX850" fmla="*/ 1601083 w 1958467"/>
                <a:gd name="connsiteY850" fmla="*/ 424096 h 7800512"/>
                <a:gd name="connsiteX851" fmla="*/ 1596317 w 1958467"/>
                <a:gd name="connsiteY851" fmla="*/ 428860 h 7800512"/>
                <a:gd name="connsiteX852" fmla="*/ 1596317 w 1958467"/>
                <a:gd name="connsiteY852" fmla="*/ 433626 h 7800512"/>
                <a:gd name="connsiteX853" fmla="*/ 1601083 w 1958467"/>
                <a:gd name="connsiteY853" fmla="*/ 438390 h 7800512"/>
                <a:gd name="connsiteX854" fmla="*/ 1601083 w 1958467"/>
                <a:gd name="connsiteY854" fmla="*/ 447920 h 7800512"/>
                <a:gd name="connsiteX855" fmla="*/ 1610613 w 1958467"/>
                <a:gd name="connsiteY855" fmla="*/ 462216 h 7800512"/>
                <a:gd name="connsiteX856" fmla="*/ 1605847 w 1958467"/>
                <a:gd name="connsiteY856" fmla="*/ 466982 h 7800512"/>
                <a:gd name="connsiteX857" fmla="*/ 1596317 w 1958467"/>
                <a:gd name="connsiteY857" fmla="*/ 476512 h 7800512"/>
                <a:gd name="connsiteX858" fmla="*/ 1596317 w 1958467"/>
                <a:gd name="connsiteY858" fmla="*/ 481276 h 7800512"/>
                <a:gd name="connsiteX859" fmla="*/ 1601083 w 1958467"/>
                <a:gd name="connsiteY859" fmla="*/ 490808 h 7800512"/>
                <a:gd name="connsiteX860" fmla="*/ 1605847 w 1958467"/>
                <a:gd name="connsiteY860" fmla="*/ 495572 h 7800512"/>
                <a:gd name="connsiteX861" fmla="*/ 1639203 w 1958467"/>
                <a:gd name="connsiteY861" fmla="*/ 514632 h 7800512"/>
                <a:gd name="connsiteX862" fmla="*/ 1639203 w 1958467"/>
                <a:gd name="connsiteY862" fmla="*/ 519398 h 7800512"/>
                <a:gd name="connsiteX863" fmla="*/ 1629673 w 1958467"/>
                <a:gd name="connsiteY863" fmla="*/ 533694 h 7800512"/>
                <a:gd name="connsiteX864" fmla="*/ 1624909 w 1958467"/>
                <a:gd name="connsiteY864" fmla="*/ 538458 h 7800512"/>
                <a:gd name="connsiteX865" fmla="*/ 1629673 w 1958467"/>
                <a:gd name="connsiteY865" fmla="*/ 552754 h 7800512"/>
                <a:gd name="connsiteX866" fmla="*/ 1629673 w 1958467"/>
                <a:gd name="connsiteY866" fmla="*/ 562284 h 7800512"/>
                <a:gd name="connsiteX867" fmla="*/ 1634439 w 1958467"/>
                <a:gd name="connsiteY867" fmla="*/ 567050 h 7800512"/>
                <a:gd name="connsiteX868" fmla="*/ 1648735 w 1958467"/>
                <a:gd name="connsiteY868" fmla="*/ 571814 h 7800512"/>
                <a:gd name="connsiteX869" fmla="*/ 1667795 w 1958467"/>
                <a:gd name="connsiteY869" fmla="*/ 600404 h 7800512"/>
                <a:gd name="connsiteX870" fmla="*/ 1686855 w 1958467"/>
                <a:gd name="connsiteY870" fmla="*/ 628996 h 7800512"/>
                <a:gd name="connsiteX871" fmla="*/ 1686855 w 1958467"/>
                <a:gd name="connsiteY871" fmla="*/ 652822 h 7800512"/>
                <a:gd name="connsiteX872" fmla="*/ 1686855 w 1958467"/>
                <a:gd name="connsiteY872" fmla="*/ 681412 h 7800512"/>
                <a:gd name="connsiteX873" fmla="*/ 1696385 w 1958467"/>
                <a:gd name="connsiteY873" fmla="*/ 705238 h 7800512"/>
                <a:gd name="connsiteX874" fmla="*/ 1701151 w 1958467"/>
                <a:gd name="connsiteY874" fmla="*/ 724298 h 7800512"/>
                <a:gd name="connsiteX875" fmla="*/ 1705915 w 1958467"/>
                <a:gd name="connsiteY875" fmla="*/ 743358 h 7800512"/>
                <a:gd name="connsiteX876" fmla="*/ 1715445 w 1958467"/>
                <a:gd name="connsiteY876" fmla="*/ 757654 h 7800512"/>
                <a:gd name="connsiteX877" fmla="*/ 1724977 w 1958467"/>
                <a:gd name="connsiteY877" fmla="*/ 781480 h 7800512"/>
                <a:gd name="connsiteX878" fmla="*/ 1724977 w 1958467"/>
                <a:gd name="connsiteY878" fmla="*/ 795776 h 7800512"/>
                <a:gd name="connsiteX879" fmla="*/ 1724977 w 1958467"/>
                <a:gd name="connsiteY879" fmla="*/ 805306 h 7800512"/>
                <a:gd name="connsiteX880" fmla="*/ 1734507 w 1958467"/>
                <a:gd name="connsiteY880" fmla="*/ 829132 h 7800512"/>
                <a:gd name="connsiteX881" fmla="*/ 1734507 w 1958467"/>
                <a:gd name="connsiteY881" fmla="*/ 852956 h 7800512"/>
                <a:gd name="connsiteX882" fmla="*/ 1734507 w 1958467"/>
                <a:gd name="connsiteY882" fmla="*/ 872018 h 7800512"/>
                <a:gd name="connsiteX883" fmla="*/ 1734507 w 1958467"/>
                <a:gd name="connsiteY883" fmla="*/ 881548 h 7800512"/>
                <a:gd name="connsiteX884" fmla="*/ 1734507 w 1958467"/>
                <a:gd name="connsiteY884" fmla="*/ 886312 h 7800512"/>
                <a:gd name="connsiteX885" fmla="*/ 1744037 w 1958467"/>
                <a:gd name="connsiteY885" fmla="*/ 891078 h 7800512"/>
                <a:gd name="connsiteX886" fmla="*/ 1748801 w 1958467"/>
                <a:gd name="connsiteY886" fmla="*/ 895842 h 7800512"/>
                <a:gd name="connsiteX887" fmla="*/ 1763097 w 1958467"/>
                <a:gd name="connsiteY887" fmla="*/ 895842 h 7800512"/>
                <a:gd name="connsiteX888" fmla="*/ 1782157 w 1958467"/>
                <a:gd name="connsiteY888" fmla="*/ 895842 h 7800512"/>
                <a:gd name="connsiteX889" fmla="*/ 1815513 w 1958467"/>
                <a:gd name="connsiteY889" fmla="*/ 891078 h 7800512"/>
                <a:gd name="connsiteX890" fmla="*/ 1839339 w 1958467"/>
                <a:gd name="connsiteY890" fmla="*/ 886312 h 7800512"/>
                <a:gd name="connsiteX891" fmla="*/ 1872695 w 1958467"/>
                <a:gd name="connsiteY891" fmla="*/ 914904 h 7800512"/>
                <a:gd name="connsiteX892" fmla="*/ 1858399 w 1958467"/>
                <a:gd name="connsiteY892" fmla="*/ 957790 h 7800512"/>
                <a:gd name="connsiteX893" fmla="*/ 1839339 w 1958467"/>
                <a:gd name="connsiteY893" fmla="*/ 1024502 h 7800512"/>
                <a:gd name="connsiteX894" fmla="*/ 1820279 w 1958467"/>
                <a:gd name="connsiteY894" fmla="*/ 1076918 h 7800512"/>
                <a:gd name="connsiteX895" fmla="*/ 1820279 w 1958467"/>
                <a:gd name="connsiteY895" fmla="*/ 1081682 h 7800512"/>
                <a:gd name="connsiteX896" fmla="*/ 1815513 w 1958467"/>
                <a:gd name="connsiteY896" fmla="*/ 1091212 h 7800512"/>
                <a:gd name="connsiteX897" fmla="*/ 1782157 w 1958467"/>
                <a:gd name="connsiteY897" fmla="*/ 1105508 h 7800512"/>
                <a:gd name="connsiteX898" fmla="*/ 1734507 w 1958467"/>
                <a:gd name="connsiteY898" fmla="*/ 1129334 h 7800512"/>
                <a:gd name="connsiteX899" fmla="*/ 1677325 w 1958467"/>
                <a:gd name="connsiteY899" fmla="*/ 1153160 h 7800512"/>
                <a:gd name="connsiteX900" fmla="*/ 1667795 w 1958467"/>
                <a:gd name="connsiteY900" fmla="*/ 1167456 h 7800512"/>
                <a:gd name="connsiteX901" fmla="*/ 1658265 w 1958467"/>
                <a:gd name="connsiteY901" fmla="*/ 1172220 h 7800512"/>
                <a:gd name="connsiteX902" fmla="*/ 1648735 w 1958467"/>
                <a:gd name="connsiteY902" fmla="*/ 1181750 h 7800512"/>
                <a:gd name="connsiteX903" fmla="*/ 1643969 w 1958467"/>
                <a:gd name="connsiteY903" fmla="*/ 1186516 h 7800512"/>
                <a:gd name="connsiteX904" fmla="*/ 1634439 w 1958467"/>
                <a:gd name="connsiteY904" fmla="*/ 1196046 h 7800512"/>
                <a:gd name="connsiteX905" fmla="*/ 1629673 w 1958467"/>
                <a:gd name="connsiteY905" fmla="*/ 1215106 h 7800512"/>
                <a:gd name="connsiteX906" fmla="*/ 1629673 w 1958467"/>
                <a:gd name="connsiteY906" fmla="*/ 1229402 h 7800512"/>
                <a:gd name="connsiteX907" fmla="*/ 1634439 w 1958467"/>
                <a:gd name="connsiteY907" fmla="*/ 1238932 h 7800512"/>
                <a:gd name="connsiteX908" fmla="*/ 1643969 w 1958467"/>
                <a:gd name="connsiteY908" fmla="*/ 1243698 h 7800512"/>
                <a:gd name="connsiteX909" fmla="*/ 1643969 w 1958467"/>
                <a:gd name="connsiteY909" fmla="*/ 1257992 h 7800512"/>
                <a:gd name="connsiteX910" fmla="*/ 1648735 w 1958467"/>
                <a:gd name="connsiteY910" fmla="*/ 1267522 h 7800512"/>
                <a:gd name="connsiteX911" fmla="*/ 1658265 w 1958467"/>
                <a:gd name="connsiteY911" fmla="*/ 1272288 h 7800512"/>
                <a:gd name="connsiteX912" fmla="*/ 1653499 w 1958467"/>
                <a:gd name="connsiteY912" fmla="*/ 1281818 h 7800512"/>
                <a:gd name="connsiteX913" fmla="*/ 1648735 w 1958467"/>
                <a:gd name="connsiteY913" fmla="*/ 1281818 h 7800512"/>
                <a:gd name="connsiteX914" fmla="*/ 1639203 w 1958467"/>
                <a:gd name="connsiteY914" fmla="*/ 1286584 h 7800512"/>
                <a:gd name="connsiteX915" fmla="*/ 1629673 w 1958467"/>
                <a:gd name="connsiteY915" fmla="*/ 1300878 h 7800512"/>
                <a:gd name="connsiteX916" fmla="*/ 1624909 w 1958467"/>
                <a:gd name="connsiteY916" fmla="*/ 1329470 h 7800512"/>
                <a:gd name="connsiteX917" fmla="*/ 1620143 w 1958467"/>
                <a:gd name="connsiteY917" fmla="*/ 1343764 h 7800512"/>
                <a:gd name="connsiteX918" fmla="*/ 1629673 w 1958467"/>
                <a:gd name="connsiteY918" fmla="*/ 1372356 h 7800512"/>
                <a:gd name="connsiteX919" fmla="*/ 1634439 w 1958467"/>
                <a:gd name="connsiteY919" fmla="*/ 1386650 h 7800512"/>
                <a:gd name="connsiteX920" fmla="*/ 1648735 w 1958467"/>
                <a:gd name="connsiteY920" fmla="*/ 1443832 h 7800512"/>
                <a:gd name="connsiteX921" fmla="*/ 1653499 w 1958467"/>
                <a:gd name="connsiteY921" fmla="*/ 1458128 h 7800512"/>
                <a:gd name="connsiteX922" fmla="*/ 1634439 w 1958467"/>
                <a:gd name="connsiteY922" fmla="*/ 1477188 h 7800512"/>
                <a:gd name="connsiteX923" fmla="*/ 1624909 w 1958467"/>
                <a:gd name="connsiteY923" fmla="*/ 1491484 h 7800512"/>
                <a:gd name="connsiteX924" fmla="*/ 1624909 w 1958467"/>
                <a:gd name="connsiteY924" fmla="*/ 1505780 h 7800512"/>
                <a:gd name="connsiteX925" fmla="*/ 1624909 w 1958467"/>
                <a:gd name="connsiteY925" fmla="*/ 1515310 h 7800512"/>
                <a:gd name="connsiteX926" fmla="*/ 1624909 w 1958467"/>
                <a:gd name="connsiteY926" fmla="*/ 1520074 h 7800512"/>
                <a:gd name="connsiteX927" fmla="*/ 1639203 w 1958467"/>
                <a:gd name="connsiteY927" fmla="*/ 1548666 h 7800512"/>
                <a:gd name="connsiteX928" fmla="*/ 1658265 w 1958467"/>
                <a:gd name="connsiteY928" fmla="*/ 1572490 h 7800512"/>
                <a:gd name="connsiteX929" fmla="*/ 1667795 w 1958467"/>
                <a:gd name="connsiteY929" fmla="*/ 1582022 h 7800512"/>
                <a:gd name="connsiteX930" fmla="*/ 1667795 w 1958467"/>
                <a:gd name="connsiteY930" fmla="*/ 1601082 h 7800512"/>
                <a:gd name="connsiteX931" fmla="*/ 1663029 w 1958467"/>
                <a:gd name="connsiteY931" fmla="*/ 1610612 h 7800512"/>
                <a:gd name="connsiteX932" fmla="*/ 1653499 w 1958467"/>
                <a:gd name="connsiteY932" fmla="*/ 1615376 h 7800512"/>
                <a:gd name="connsiteX933" fmla="*/ 1634439 w 1958467"/>
                <a:gd name="connsiteY933" fmla="*/ 1620142 h 7800512"/>
                <a:gd name="connsiteX934" fmla="*/ 1624909 w 1958467"/>
                <a:gd name="connsiteY934" fmla="*/ 1629672 h 7800512"/>
                <a:gd name="connsiteX935" fmla="*/ 1615379 w 1958467"/>
                <a:gd name="connsiteY935" fmla="*/ 1629672 h 7800512"/>
                <a:gd name="connsiteX936" fmla="*/ 1605847 w 1958467"/>
                <a:gd name="connsiteY936" fmla="*/ 1624908 h 7800512"/>
                <a:gd name="connsiteX937" fmla="*/ 1596317 w 1958467"/>
                <a:gd name="connsiteY937" fmla="*/ 1624908 h 7800512"/>
                <a:gd name="connsiteX938" fmla="*/ 1582023 w 1958467"/>
                <a:gd name="connsiteY938" fmla="*/ 1634438 h 7800512"/>
                <a:gd name="connsiteX939" fmla="*/ 1577257 w 1958467"/>
                <a:gd name="connsiteY939" fmla="*/ 1648732 h 7800512"/>
                <a:gd name="connsiteX940" fmla="*/ 1567727 w 1958467"/>
                <a:gd name="connsiteY940" fmla="*/ 1677324 h 7800512"/>
                <a:gd name="connsiteX941" fmla="*/ 1558197 w 1958467"/>
                <a:gd name="connsiteY941" fmla="*/ 1686854 h 7800512"/>
                <a:gd name="connsiteX942" fmla="*/ 1553431 w 1958467"/>
                <a:gd name="connsiteY942" fmla="*/ 1705914 h 7800512"/>
                <a:gd name="connsiteX943" fmla="*/ 1539137 w 1958467"/>
                <a:gd name="connsiteY943" fmla="*/ 1734506 h 7800512"/>
                <a:gd name="connsiteX944" fmla="*/ 1534371 w 1958467"/>
                <a:gd name="connsiteY944" fmla="*/ 1753566 h 7800512"/>
                <a:gd name="connsiteX945" fmla="*/ 1534371 w 1958467"/>
                <a:gd name="connsiteY945" fmla="*/ 1767860 h 7800512"/>
                <a:gd name="connsiteX946" fmla="*/ 1520075 w 1958467"/>
                <a:gd name="connsiteY946" fmla="*/ 1777392 h 7800512"/>
                <a:gd name="connsiteX947" fmla="*/ 1505781 w 1958467"/>
                <a:gd name="connsiteY947" fmla="*/ 1796452 h 7800512"/>
                <a:gd name="connsiteX948" fmla="*/ 1496251 w 1958467"/>
                <a:gd name="connsiteY948" fmla="*/ 1810748 h 7800512"/>
                <a:gd name="connsiteX949" fmla="*/ 1491485 w 1958467"/>
                <a:gd name="connsiteY949" fmla="*/ 1815512 h 7800512"/>
                <a:gd name="connsiteX950" fmla="*/ 1481955 w 1958467"/>
                <a:gd name="connsiteY950" fmla="*/ 1815512 h 7800512"/>
                <a:gd name="connsiteX951" fmla="*/ 1477189 w 1958467"/>
                <a:gd name="connsiteY951" fmla="*/ 1834572 h 7800512"/>
                <a:gd name="connsiteX952" fmla="*/ 1458129 w 1958467"/>
                <a:gd name="connsiteY952" fmla="*/ 1853634 h 7800512"/>
                <a:gd name="connsiteX953" fmla="*/ 1453363 w 1958467"/>
                <a:gd name="connsiteY953" fmla="*/ 1882224 h 7800512"/>
                <a:gd name="connsiteX954" fmla="*/ 1443833 w 1958467"/>
                <a:gd name="connsiteY954" fmla="*/ 1896520 h 7800512"/>
                <a:gd name="connsiteX955" fmla="*/ 1443833 w 1958467"/>
                <a:gd name="connsiteY955" fmla="*/ 1920346 h 7800512"/>
                <a:gd name="connsiteX956" fmla="*/ 1434303 w 1958467"/>
                <a:gd name="connsiteY956" fmla="*/ 1967996 h 7800512"/>
                <a:gd name="connsiteX957" fmla="*/ 1429539 w 1958467"/>
                <a:gd name="connsiteY957" fmla="*/ 1977526 h 7800512"/>
                <a:gd name="connsiteX958" fmla="*/ 1420007 w 1958467"/>
                <a:gd name="connsiteY958" fmla="*/ 1987056 h 7800512"/>
                <a:gd name="connsiteX959" fmla="*/ 1405713 w 1958467"/>
                <a:gd name="connsiteY959" fmla="*/ 2006118 h 7800512"/>
                <a:gd name="connsiteX960" fmla="*/ 1400947 w 1958467"/>
                <a:gd name="connsiteY960" fmla="*/ 2015648 h 7800512"/>
                <a:gd name="connsiteX961" fmla="*/ 1405713 w 1958467"/>
                <a:gd name="connsiteY961" fmla="*/ 2058534 h 7800512"/>
                <a:gd name="connsiteX962" fmla="*/ 1415243 w 1958467"/>
                <a:gd name="connsiteY962" fmla="*/ 2096654 h 7800512"/>
                <a:gd name="connsiteX963" fmla="*/ 1415243 w 1958467"/>
                <a:gd name="connsiteY963" fmla="*/ 2115716 h 7800512"/>
                <a:gd name="connsiteX964" fmla="*/ 1410477 w 1958467"/>
                <a:gd name="connsiteY964" fmla="*/ 2144306 h 7800512"/>
                <a:gd name="connsiteX965" fmla="*/ 1410477 w 1958467"/>
                <a:gd name="connsiteY965" fmla="*/ 2153836 h 7800512"/>
                <a:gd name="connsiteX966" fmla="*/ 1415243 w 1958467"/>
                <a:gd name="connsiteY966" fmla="*/ 2158602 h 7800512"/>
                <a:gd name="connsiteX967" fmla="*/ 1424773 w 1958467"/>
                <a:gd name="connsiteY967" fmla="*/ 2158602 h 7800512"/>
                <a:gd name="connsiteX968" fmla="*/ 1429539 w 1958467"/>
                <a:gd name="connsiteY968" fmla="*/ 2172896 h 7800512"/>
                <a:gd name="connsiteX969" fmla="*/ 1420007 w 1958467"/>
                <a:gd name="connsiteY969" fmla="*/ 2177662 h 7800512"/>
                <a:gd name="connsiteX970" fmla="*/ 1420007 w 1958467"/>
                <a:gd name="connsiteY970" fmla="*/ 2191958 h 7800512"/>
                <a:gd name="connsiteX971" fmla="*/ 1410477 w 1958467"/>
                <a:gd name="connsiteY971" fmla="*/ 2201488 h 7800512"/>
                <a:gd name="connsiteX972" fmla="*/ 1386653 w 1958467"/>
                <a:gd name="connsiteY972" fmla="*/ 2211018 h 7800512"/>
                <a:gd name="connsiteX973" fmla="*/ 1381887 w 1958467"/>
                <a:gd name="connsiteY973" fmla="*/ 2206252 h 7800512"/>
                <a:gd name="connsiteX974" fmla="*/ 1377121 w 1958467"/>
                <a:gd name="connsiteY974" fmla="*/ 2206252 h 7800512"/>
                <a:gd name="connsiteX975" fmla="*/ 1377121 w 1958467"/>
                <a:gd name="connsiteY975" fmla="*/ 2220548 h 7800512"/>
                <a:gd name="connsiteX976" fmla="*/ 1372357 w 1958467"/>
                <a:gd name="connsiteY976" fmla="*/ 2230078 h 7800512"/>
                <a:gd name="connsiteX977" fmla="*/ 1362827 w 1958467"/>
                <a:gd name="connsiteY977" fmla="*/ 2263434 h 7800512"/>
                <a:gd name="connsiteX978" fmla="*/ 1353297 w 1958467"/>
                <a:gd name="connsiteY978" fmla="*/ 2292024 h 7800512"/>
                <a:gd name="connsiteX979" fmla="*/ 1348531 w 1958467"/>
                <a:gd name="connsiteY979" fmla="*/ 2301556 h 7800512"/>
                <a:gd name="connsiteX980" fmla="*/ 1353297 w 1958467"/>
                <a:gd name="connsiteY980" fmla="*/ 2311086 h 7800512"/>
                <a:gd name="connsiteX981" fmla="*/ 1353297 w 1958467"/>
                <a:gd name="connsiteY981" fmla="*/ 2320616 h 7800512"/>
                <a:gd name="connsiteX982" fmla="*/ 1353297 w 1958467"/>
                <a:gd name="connsiteY982" fmla="*/ 2325380 h 7800512"/>
                <a:gd name="connsiteX983" fmla="*/ 1348531 w 1958467"/>
                <a:gd name="connsiteY983" fmla="*/ 2330146 h 7800512"/>
                <a:gd name="connsiteX984" fmla="*/ 1343767 w 1958467"/>
                <a:gd name="connsiteY984" fmla="*/ 2344442 h 7800512"/>
                <a:gd name="connsiteX985" fmla="*/ 1339001 w 1958467"/>
                <a:gd name="connsiteY985" fmla="*/ 2344442 h 7800512"/>
                <a:gd name="connsiteX986" fmla="*/ 1329471 w 1958467"/>
                <a:gd name="connsiteY986" fmla="*/ 2339676 h 7800512"/>
                <a:gd name="connsiteX987" fmla="*/ 1324705 w 1958467"/>
                <a:gd name="connsiteY987" fmla="*/ 2349206 h 7800512"/>
                <a:gd name="connsiteX988" fmla="*/ 1319941 w 1958467"/>
                <a:gd name="connsiteY988" fmla="*/ 2358736 h 7800512"/>
                <a:gd name="connsiteX989" fmla="*/ 1315175 w 1958467"/>
                <a:gd name="connsiteY989" fmla="*/ 2377798 h 7800512"/>
                <a:gd name="connsiteX990" fmla="*/ 1315175 w 1958467"/>
                <a:gd name="connsiteY990" fmla="*/ 2396858 h 7800512"/>
                <a:gd name="connsiteX991" fmla="*/ 1310411 w 1958467"/>
                <a:gd name="connsiteY991" fmla="*/ 2425448 h 7800512"/>
                <a:gd name="connsiteX992" fmla="*/ 1319941 w 1958467"/>
                <a:gd name="connsiteY992" fmla="*/ 2439744 h 7800512"/>
                <a:gd name="connsiteX993" fmla="*/ 1334235 w 1958467"/>
                <a:gd name="connsiteY993" fmla="*/ 2473100 h 7800512"/>
                <a:gd name="connsiteX994" fmla="*/ 1343767 w 1958467"/>
                <a:gd name="connsiteY994" fmla="*/ 2482630 h 7800512"/>
                <a:gd name="connsiteX995" fmla="*/ 1353297 w 1958467"/>
                <a:gd name="connsiteY995" fmla="*/ 2482630 h 7800512"/>
                <a:gd name="connsiteX996" fmla="*/ 1358061 w 1958467"/>
                <a:gd name="connsiteY996" fmla="*/ 2487396 h 7800512"/>
                <a:gd name="connsiteX997" fmla="*/ 1362827 w 1958467"/>
                <a:gd name="connsiteY997" fmla="*/ 2496926 h 7800512"/>
                <a:gd name="connsiteX998" fmla="*/ 1358061 w 1958467"/>
                <a:gd name="connsiteY998" fmla="*/ 2511220 h 7800512"/>
                <a:gd name="connsiteX999" fmla="*/ 1348531 w 1958467"/>
                <a:gd name="connsiteY999" fmla="*/ 2511220 h 7800512"/>
                <a:gd name="connsiteX1000" fmla="*/ 1348531 w 1958467"/>
                <a:gd name="connsiteY1000" fmla="*/ 2520752 h 7800512"/>
                <a:gd name="connsiteX1001" fmla="*/ 1348531 w 1958467"/>
                <a:gd name="connsiteY1001" fmla="*/ 2535046 h 7800512"/>
                <a:gd name="connsiteX1002" fmla="*/ 1353297 w 1958467"/>
                <a:gd name="connsiteY1002" fmla="*/ 2554108 h 7800512"/>
                <a:gd name="connsiteX1003" fmla="*/ 1362827 w 1958467"/>
                <a:gd name="connsiteY1003" fmla="*/ 2558872 h 7800512"/>
                <a:gd name="connsiteX1004" fmla="*/ 1367591 w 1958467"/>
                <a:gd name="connsiteY1004" fmla="*/ 2582698 h 7800512"/>
                <a:gd name="connsiteX1005" fmla="*/ 1377121 w 1958467"/>
                <a:gd name="connsiteY1005" fmla="*/ 2592228 h 7800512"/>
                <a:gd name="connsiteX1006" fmla="*/ 1377121 w 1958467"/>
                <a:gd name="connsiteY1006" fmla="*/ 2620818 h 7800512"/>
                <a:gd name="connsiteX1007" fmla="*/ 1386653 w 1958467"/>
                <a:gd name="connsiteY1007" fmla="*/ 2654174 h 7800512"/>
                <a:gd name="connsiteX1008" fmla="*/ 1396183 w 1958467"/>
                <a:gd name="connsiteY1008" fmla="*/ 2663704 h 7800512"/>
                <a:gd name="connsiteX1009" fmla="*/ 1400947 w 1958467"/>
                <a:gd name="connsiteY1009" fmla="*/ 2668470 h 7800512"/>
                <a:gd name="connsiteX1010" fmla="*/ 1396183 w 1958467"/>
                <a:gd name="connsiteY1010" fmla="*/ 2682766 h 7800512"/>
                <a:gd name="connsiteX1011" fmla="*/ 1391417 w 1958467"/>
                <a:gd name="connsiteY1011" fmla="*/ 2692296 h 7800512"/>
                <a:gd name="connsiteX1012" fmla="*/ 1386653 w 1958467"/>
                <a:gd name="connsiteY1012" fmla="*/ 2711356 h 7800512"/>
                <a:gd name="connsiteX1013" fmla="*/ 1391417 w 1958467"/>
                <a:gd name="connsiteY1013" fmla="*/ 2725652 h 7800512"/>
                <a:gd name="connsiteX1014" fmla="*/ 1400947 w 1958467"/>
                <a:gd name="connsiteY1014" fmla="*/ 2739948 h 7800512"/>
                <a:gd name="connsiteX1015" fmla="*/ 1410477 w 1958467"/>
                <a:gd name="connsiteY1015" fmla="*/ 2739948 h 7800512"/>
                <a:gd name="connsiteX1016" fmla="*/ 1420007 w 1958467"/>
                <a:gd name="connsiteY1016" fmla="*/ 2735182 h 7800512"/>
                <a:gd name="connsiteX1017" fmla="*/ 1434303 w 1958467"/>
                <a:gd name="connsiteY1017" fmla="*/ 2739948 h 7800512"/>
                <a:gd name="connsiteX1018" fmla="*/ 1434303 w 1958467"/>
                <a:gd name="connsiteY1018" fmla="*/ 2754242 h 7800512"/>
                <a:gd name="connsiteX1019" fmla="*/ 1434303 w 1958467"/>
                <a:gd name="connsiteY1019" fmla="*/ 2763772 h 7800512"/>
                <a:gd name="connsiteX1020" fmla="*/ 1429539 w 1958467"/>
                <a:gd name="connsiteY1020" fmla="*/ 2778068 h 7800512"/>
                <a:gd name="connsiteX1021" fmla="*/ 1420007 w 1958467"/>
                <a:gd name="connsiteY1021" fmla="*/ 2801894 h 7800512"/>
                <a:gd name="connsiteX1022" fmla="*/ 1420007 w 1958467"/>
                <a:gd name="connsiteY1022" fmla="*/ 2825720 h 7800512"/>
                <a:gd name="connsiteX1023" fmla="*/ 1420007 w 1958467"/>
                <a:gd name="connsiteY1023" fmla="*/ 2863840 h 7800512"/>
                <a:gd name="connsiteX1024" fmla="*/ 1424773 w 1958467"/>
                <a:gd name="connsiteY1024" fmla="*/ 2892432 h 7800512"/>
                <a:gd name="connsiteX1025" fmla="*/ 1424773 w 1958467"/>
                <a:gd name="connsiteY1025" fmla="*/ 2911492 h 7800512"/>
                <a:gd name="connsiteX1026" fmla="*/ 1424773 w 1958467"/>
                <a:gd name="connsiteY1026" fmla="*/ 2916256 h 7800512"/>
                <a:gd name="connsiteX1027" fmla="*/ 1420007 w 1958467"/>
                <a:gd name="connsiteY1027" fmla="*/ 2925786 h 7800512"/>
                <a:gd name="connsiteX1028" fmla="*/ 1410477 w 1958467"/>
                <a:gd name="connsiteY1028" fmla="*/ 2925786 h 7800512"/>
                <a:gd name="connsiteX1029" fmla="*/ 1400947 w 1958467"/>
                <a:gd name="connsiteY1029" fmla="*/ 2925786 h 7800512"/>
                <a:gd name="connsiteX1030" fmla="*/ 1396183 w 1958467"/>
                <a:gd name="connsiteY1030" fmla="*/ 2930552 h 7800512"/>
                <a:gd name="connsiteX1031" fmla="*/ 1396183 w 1958467"/>
                <a:gd name="connsiteY1031" fmla="*/ 2940082 h 7800512"/>
                <a:gd name="connsiteX1032" fmla="*/ 1386653 w 1958467"/>
                <a:gd name="connsiteY1032" fmla="*/ 2959142 h 7800512"/>
                <a:gd name="connsiteX1033" fmla="*/ 1381887 w 1958467"/>
                <a:gd name="connsiteY1033" fmla="*/ 2968672 h 7800512"/>
                <a:gd name="connsiteX1034" fmla="*/ 1372357 w 1958467"/>
                <a:gd name="connsiteY1034" fmla="*/ 2987734 h 7800512"/>
                <a:gd name="connsiteX1035" fmla="*/ 1362827 w 1958467"/>
                <a:gd name="connsiteY1035" fmla="*/ 3002028 h 7800512"/>
                <a:gd name="connsiteX1036" fmla="*/ 1358061 w 1958467"/>
                <a:gd name="connsiteY1036" fmla="*/ 3016324 h 7800512"/>
                <a:gd name="connsiteX1037" fmla="*/ 1358061 w 1958467"/>
                <a:gd name="connsiteY1037" fmla="*/ 3021090 h 7800512"/>
                <a:gd name="connsiteX1038" fmla="*/ 1353297 w 1958467"/>
                <a:gd name="connsiteY1038" fmla="*/ 3040150 h 7800512"/>
                <a:gd name="connsiteX1039" fmla="*/ 1353297 w 1958467"/>
                <a:gd name="connsiteY1039" fmla="*/ 3049680 h 7800512"/>
                <a:gd name="connsiteX1040" fmla="*/ 1343767 w 1958467"/>
                <a:gd name="connsiteY1040" fmla="*/ 3092566 h 7800512"/>
                <a:gd name="connsiteX1041" fmla="*/ 1329471 w 1958467"/>
                <a:gd name="connsiteY1041" fmla="*/ 3102096 h 7800512"/>
                <a:gd name="connsiteX1042" fmla="*/ 1319941 w 1958467"/>
                <a:gd name="connsiteY1042" fmla="*/ 3106862 h 7800512"/>
                <a:gd name="connsiteX1043" fmla="*/ 1315175 w 1958467"/>
                <a:gd name="connsiteY1043" fmla="*/ 3111626 h 7800512"/>
                <a:gd name="connsiteX1044" fmla="*/ 1319941 w 1958467"/>
                <a:gd name="connsiteY1044" fmla="*/ 3125922 h 7800512"/>
                <a:gd name="connsiteX1045" fmla="*/ 1329471 w 1958467"/>
                <a:gd name="connsiteY1045" fmla="*/ 3125922 h 7800512"/>
                <a:gd name="connsiteX1046" fmla="*/ 1334235 w 1958467"/>
                <a:gd name="connsiteY1046" fmla="*/ 3135452 h 7800512"/>
                <a:gd name="connsiteX1047" fmla="*/ 1334235 w 1958467"/>
                <a:gd name="connsiteY1047" fmla="*/ 3154512 h 7800512"/>
                <a:gd name="connsiteX1048" fmla="*/ 1339001 w 1958467"/>
                <a:gd name="connsiteY1048" fmla="*/ 3164044 h 7800512"/>
                <a:gd name="connsiteX1049" fmla="*/ 1339001 w 1958467"/>
                <a:gd name="connsiteY1049" fmla="*/ 3183104 h 7800512"/>
                <a:gd name="connsiteX1050" fmla="*/ 1343767 w 1958467"/>
                <a:gd name="connsiteY1050" fmla="*/ 3211694 h 7800512"/>
                <a:gd name="connsiteX1051" fmla="*/ 1339001 w 1958467"/>
                <a:gd name="connsiteY1051" fmla="*/ 3235520 h 7800512"/>
                <a:gd name="connsiteX1052" fmla="*/ 1339001 w 1958467"/>
                <a:gd name="connsiteY1052" fmla="*/ 3249816 h 7800512"/>
                <a:gd name="connsiteX1053" fmla="*/ 1339001 w 1958467"/>
                <a:gd name="connsiteY1053" fmla="*/ 3268876 h 7800512"/>
                <a:gd name="connsiteX1054" fmla="*/ 1334235 w 1958467"/>
                <a:gd name="connsiteY1054" fmla="*/ 3283172 h 7800512"/>
                <a:gd name="connsiteX1055" fmla="*/ 1315175 w 1958467"/>
                <a:gd name="connsiteY1055" fmla="*/ 3283172 h 7800512"/>
                <a:gd name="connsiteX1056" fmla="*/ 1305645 w 1958467"/>
                <a:gd name="connsiteY1056" fmla="*/ 3297466 h 7800512"/>
                <a:gd name="connsiteX1057" fmla="*/ 1291349 w 1958467"/>
                <a:gd name="connsiteY1057" fmla="*/ 3311762 h 7800512"/>
                <a:gd name="connsiteX1058" fmla="*/ 1286585 w 1958467"/>
                <a:gd name="connsiteY1058" fmla="*/ 3321292 h 7800512"/>
                <a:gd name="connsiteX1059" fmla="*/ 1286585 w 1958467"/>
                <a:gd name="connsiteY1059" fmla="*/ 3335588 h 7800512"/>
                <a:gd name="connsiteX1060" fmla="*/ 1281819 w 1958467"/>
                <a:gd name="connsiteY1060" fmla="*/ 3335588 h 7800512"/>
                <a:gd name="connsiteX1061" fmla="*/ 1272289 w 1958467"/>
                <a:gd name="connsiteY1061" fmla="*/ 3335588 h 7800512"/>
                <a:gd name="connsiteX1062" fmla="*/ 1262759 w 1958467"/>
                <a:gd name="connsiteY1062" fmla="*/ 3340352 h 7800512"/>
                <a:gd name="connsiteX1063" fmla="*/ 1248463 w 1958467"/>
                <a:gd name="connsiteY1063" fmla="*/ 3349884 h 7800512"/>
                <a:gd name="connsiteX1064" fmla="*/ 1238933 w 1958467"/>
                <a:gd name="connsiteY1064" fmla="*/ 3359414 h 7800512"/>
                <a:gd name="connsiteX1065" fmla="*/ 1234169 w 1958467"/>
                <a:gd name="connsiteY1065" fmla="*/ 3368944 h 7800512"/>
                <a:gd name="connsiteX1066" fmla="*/ 1238933 w 1958467"/>
                <a:gd name="connsiteY1066" fmla="*/ 3383240 h 7800512"/>
                <a:gd name="connsiteX1067" fmla="*/ 1229403 w 1958467"/>
                <a:gd name="connsiteY1067" fmla="*/ 3388004 h 7800512"/>
                <a:gd name="connsiteX1068" fmla="*/ 1224637 w 1958467"/>
                <a:gd name="connsiteY1068" fmla="*/ 3407064 h 7800512"/>
                <a:gd name="connsiteX1069" fmla="*/ 1219873 w 1958467"/>
                <a:gd name="connsiteY1069" fmla="*/ 3421360 h 7800512"/>
                <a:gd name="connsiteX1070" fmla="*/ 1224637 w 1958467"/>
                <a:gd name="connsiteY1070" fmla="*/ 3435656 h 7800512"/>
                <a:gd name="connsiteX1071" fmla="*/ 1229403 w 1958467"/>
                <a:gd name="connsiteY1071" fmla="*/ 3464246 h 7800512"/>
                <a:gd name="connsiteX1072" fmla="*/ 1229403 w 1958467"/>
                <a:gd name="connsiteY1072" fmla="*/ 3473776 h 7800512"/>
                <a:gd name="connsiteX1073" fmla="*/ 1219873 w 1958467"/>
                <a:gd name="connsiteY1073" fmla="*/ 3497602 h 7800512"/>
                <a:gd name="connsiteX1074" fmla="*/ 1215107 w 1958467"/>
                <a:gd name="connsiteY1074" fmla="*/ 3511898 h 7800512"/>
                <a:gd name="connsiteX1075" fmla="*/ 1219873 w 1958467"/>
                <a:gd name="connsiteY1075" fmla="*/ 3530958 h 7800512"/>
                <a:gd name="connsiteX1076" fmla="*/ 1224637 w 1958467"/>
                <a:gd name="connsiteY1076" fmla="*/ 3540488 h 7800512"/>
                <a:gd name="connsiteX1077" fmla="*/ 1219873 w 1958467"/>
                <a:gd name="connsiteY1077" fmla="*/ 3559548 h 7800512"/>
                <a:gd name="connsiteX1078" fmla="*/ 1219873 w 1958467"/>
                <a:gd name="connsiteY1078" fmla="*/ 3573844 h 7800512"/>
                <a:gd name="connsiteX1079" fmla="*/ 1219873 w 1958467"/>
                <a:gd name="connsiteY1079" fmla="*/ 3602434 h 7800512"/>
                <a:gd name="connsiteX1080" fmla="*/ 1234169 w 1958467"/>
                <a:gd name="connsiteY1080" fmla="*/ 3631026 h 7800512"/>
                <a:gd name="connsiteX1081" fmla="*/ 1243699 w 1958467"/>
                <a:gd name="connsiteY1081" fmla="*/ 3654852 h 7800512"/>
                <a:gd name="connsiteX1082" fmla="*/ 1243699 w 1958467"/>
                <a:gd name="connsiteY1082" fmla="*/ 3688208 h 7800512"/>
                <a:gd name="connsiteX1083" fmla="*/ 1248463 w 1958467"/>
                <a:gd name="connsiteY1083" fmla="*/ 3712032 h 7800512"/>
                <a:gd name="connsiteX1084" fmla="*/ 1253229 w 1958467"/>
                <a:gd name="connsiteY1084" fmla="*/ 3735858 h 7800512"/>
                <a:gd name="connsiteX1085" fmla="*/ 1262759 w 1958467"/>
                <a:gd name="connsiteY1085" fmla="*/ 3745388 h 7800512"/>
                <a:gd name="connsiteX1086" fmla="*/ 1272289 w 1958467"/>
                <a:gd name="connsiteY1086" fmla="*/ 3754920 h 7800512"/>
                <a:gd name="connsiteX1087" fmla="*/ 1267523 w 1958467"/>
                <a:gd name="connsiteY1087" fmla="*/ 3769216 h 7800512"/>
                <a:gd name="connsiteX1088" fmla="*/ 1262759 w 1958467"/>
                <a:gd name="connsiteY1088" fmla="*/ 3783508 h 7800512"/>
                <a:gd name="connsiteX1089" fmla="*/ 1253229 w 1958467"/>
                <a:gd name="connsiteY1089" fmla="*/ 3797804 h 7800512"/>
                <a:gd name="connsiteX1090" fmla="*/ 1234169 w 1958467"/>
                <a:gd name="connsiteY1090" fmla="*/ 3797804 h 7800512"/>
                <a:gd name="connsiteX1091" fmla="*/ 1215107 w 1958467"/>
                <a:gd name="connsiteY1091" fmla="*/ 3812100 h 7800512"/>
                <a:gd name="connsiteX1092" fmla="*/ 1200813 w 1958467"/>
                <a:gd name="connsiteY1092" fmla="*/ 3816864 h 7800512"/>
                <a:gd name="connsiteX1093" fmla="*/ 1191281 w 1958467"/>
                <a:gd name="connsiteY1093" fmla="*/ 3826396 h 7800512"/>
                <a:gd name="connsiteX1094" fmla="*/ 1186517 w 1958467"/>
                <a:gd name="connsiteY1094" fmla="*/ 3835928 h 7800512"/>
                <a:gd name="connsiteX1095" fmla="*/ 1181751 w 1958467"/>
                <a:gd name="connsiteY1095" fmla="*/ 3845456 h 7800512"/>
                <a:gd name="connsiteX1096" fmla="*/ 1181751 w 1958467"/>
                <a:gd name="connsiteY1096" fmla="*/ 3888344 h 7800512"/>
                <a:gd name="connsiteX1097" fmla="*/ 1181751 w 1958467"/>
                <a:gd name="connsiteY1097" fmla="*/ 3907404 h 7800512"/>
                <a:gd name="connsiteX1098" fmla="*/ 1172221 w 1958467"/>
                <a:gd name="connsiteY1098" fmla="*/ 3931228 h 7800512"/>
                <a:gd name="connsiteX1099" fmla="*/ 1167457 w 1958467"/>
                <a:gd name="connsiteY1099" fmla="*/ 3945524 h 7800512"/>
                <a:gd name="connsiteX1100" fmla="*/ 1167457 w 1958467"/>
                <a:gd name="connsiteY1100" fmla="*/ 3955056 h 7800512"/>
                <a:gd name="connsiteX1101" fmla="*/ 1162691 w 1958467"/>
                <a:gd name="connsiteY1101" fmla="*/ 3959820 h 7800512"/>
                <a:gd name="connsiteX1102" fmla="*/ 1162691 w 1958467"/>
                <a:gd name="connsiteY1102" fmla="*/ 3969348 h 7800512"/>
                <a:gd name="connsiteX1103" fmla="*/ 1157927 w 1958467"/>
                <a:gd name="connsiteY1103" fmla="*/ 3974116 h 7800512"/>
                <a:gd name="connsiteX1104" fmla="*/ 1143631 w 1958467"/>
                <a:gd name="connsiteY1104" fmla="*/ 3969348 h 7800512"/>
                <a:gd name="connsiteX1105" fmla="*/ 1138865 w 1958467"/>
                <a:gd name="connsiteY1105" fmla="*/ 3969348 h 7800512"/>
                <a:gd name="connsiteX1106" fmla="*/ 1134101 w 1958467"/>
                <a:gd name="connsiteY1106" fmla="*/ 3978880 h 7800512"/>
                <a:gd name="connsiteX1107" fmla="*/ 1138865 w 1958467"/>
                <a:gd name="connsiteY1107" fmla="*/ 3993176 h 7800512"/>
                <a:gd name="connsiteX1108" fmla="*/ 1143631 w 1958467"/>
                <a:gd name="connsiteY1108" fmla="*/ 4017000 h 7800512"/>
                <a:gd name="connsiteX1109" fmla="*/ 1148395 w 1958467"/>
                <a:gd name="connsiteY1109" fmla="*/ 4026532 h 7800512"/>
                <a:gd name="connsiteX1110" fmla="*/ 1148395 w 1958467"/>
                <a:gd name="connsiteY1110" fmla="*/ 4036060 h 7800512"/>
                <a:gd name="connsiteX1111" fmla="*/ 1143631 w 1958467"/>
                <a:gd name="connsiteY1111" fmla="*/ 4055120 h 7800512"/>
                <a:gd name="connsiteX1112" fmla="*/ 1138865 w 1958467"/>
                <a:gd name="connsiteY1112" fmla="*/ 4069416 h 7800512"/>
                <a:gd name="connsiteX1113" fmla="*/ 1129335 w 1958467"/>
                <a:gd name="connsiteY1113" fmla="*/ 4069416 h 7800512"/>
                <a:gd name="connsiteX1114" fmla="*/ 1124571 w 1958467"/>
                <a:gd name="connsiteY1114" fmla="*/ 4074184 h 7800512"/>
                <a:gd name="connsiteX1115" fmla="*/ 1119805 w 1958467"/>
                <a:gd name="connsiteY1115" fmla="*/ 4088476 h 7800512"/>
                <a:gd name="connsiteX1116" fmla="*/ 1124571 w 1958467"/>
                <a:gd name="connsiteY1116" fmla="*/ 4102772 h 7800512"/>
                <a:gd name="connsiteX1117" fmla="*/ 1134101 w 1958467"/>
                <a:gd name="connsiteY1117" fmla="*/ 4112304 h 7800512"/>
                <a:gd name="connsiteX1118" fmla="*/ 1138865 w 1958467"/>
                <a:gd name="connsiteY1118" fmla="*/ 4117068 h 7800512"/>
                <a:gd name="connsiteX1119" fmla="*/ 1134101 w 1958467"/>
                <a:gd name="connsiteY1119" fmla="*/ 4126600 h 7800512"/>
                <a:gd name="connsiteX1120" fmla="*/ 1129335 w 1958467"/>
                <a:gd name="connsiteY1120" fmla="*/ 4131364 h 7800512"/>
                <a:gd name="connsiteX1121" fmla="*/ 1119805 w 1958467"/>
                <a:gd name="connsiteY1121" fmla="*/ 4140896 h 7800512"/>
                <a:gd name="connsiteX1122" fmla="*/ 1115039 w 1958467"/>
                <a:gd name="connsiteY1122" fmla="*/ 4159956 h 7800512"/>
                <a:gd name="connsiteX1123" fmla="*/ 1110275 w 1958467"/>
                <a:gd name="connsiteY1123" fmla="*/ 4179016 h 7800512"/>
                <a:gd name="connsiteX1124" fmla="*/ 1100745 w 1958467"/>
                <a:gd name="connsiteY1124" fmla="*/ 4193312 h 7800512"/>
                <a:gd name="connsiteX1125" fmla="*/ 1100745 w 1958467"/>
                <a:gd name="connsiteY1125" fmla="*/ 4212372 h 7800512"/>
                <a:gd name="connsiteX1126" fmla="*/ 1110275 w 1958467"/>
                <a:gd name="connsiteY1126" fmla="*/ 4236196 h 7800512"/>
                <a:gd name="connsiteX1127" fmla="*/ 1110275 w 1958467"/>
                <a:gd name="connsiteY1127" fmla="*/ 4255256 h 7800512"/>
                <a:gd name="connsiteX1128" fmla="*/ 1110275 w 1958467"/>
                <a:gd name="connsiteY1128" fmla="*/ 4317204 h 7800512"/>
                <a:gd name="connsiteX1129" fmla="*/ 1110275 w 1958467"/>
                <a:gd name="connsiteY1129" fmla="*/ 4336264 h 7800512"/>
                <a:gd name="connsiteX1130" fmla="*/ 1110275 w 1958467"/>
                <a:gd name="connsiteY1130" fmla="*/ 4374384 h 7800512"/>
                <a:gd name="connsiteX1131" fmla="*/ 1105509 w 1958467"/>
                <a:gd name="connsiteY1131" fmla="*/ 4383916 h 7800512"/>
                <a:gd name="connsiteX1132" fmla="*/ 1105509 w 1958467"/>
                <a:gd name="connsiteY1132" fmla="*/ 4393448 h 7800512"/>
                <a:gd name="connsiteX1133" fmla="*/ 1115039 w 1958467"/>
                <a:gd name="connsiteY1133" fmla="*/ 4417272 h 7800512"/>
                <a:gd name="connsiteX1134" fmla="*/ 1129335 w 1958467"/>
                <a:gd name="connsiteY1134" fmla="*/ 4455392 h 7800512"/>
                <a:gd name="connsiteX1135" fmla="*/ 1129335 w 1958467"/>
                <a:gd name="connsiteY1135" fmla="*/ 4474452 h 7800512"/>
                <a:gd name="connsiteX1136" fmla="*/ 1129335 w 1958467"/>
                <a:gd name="connsiteY1136" fmla="*/ 4483984 h 7800512"/>
                <a:gd name="connsiteX1137" fmla="*/ 1115039 w 1958467"/>
                <a:gd name="connsiteY1137" fmla="*/ 4493512 h 7800512"/>
                <a:gd name="connsiteX1138" fmla="*/ 1100745 w 1958467"/>
                <a:gd name="connsiteY1138" fmla="*/ 4498280 h 7800512"/>
                <a:gd name="connsiteX1139" fmla="*/ 1091215 w 1958467"/>
                <a:gd name="connsiteY1139" fmla="*/ 4493512 h 7800512"/>
                <a:gd name="connsiteX1140" fmla="*/ 1086449 w 1958467"/>
                <a:gd name="connsiteY1140" fmla="*/ 4493512 h 7800512"/>
                <a:gd name="connsiteX1141" fmla="*/ 1081685 w 1958467"/>
                <a:gd name="connsiteY1141" fmla="*/ 4507808 h 7800512"/>
                <a:gd name="connsiteX1142" fmla="*/ 1072153 w 1958467"/>
                <a:gd name="connsiteY1142" fmla="*/ 4517340 h 7800512"/>
                <a:gd name="connsiteX1143" fmla="*/ 1072153 w 1958467"/>
                <a:gd name="connsiteY1143" fmla="*/ 4526868 h 7800512"/>
                <a:gd name="connsiteX1144" fmla="*/ 1076919 w 1958467"/>
                <a:gd name="connsiteY1144" fmla="*/ 4541164 h 7800512"/>
                <a:gd name="connsiteX1145" fmla="*/ 1081685 w 1958467"/>
                <a:gd name="connsiteY1145" fmla="*/ 4564992 h 7800512"/>
                <a:gd name="connsiteX1146" fmla="*/ 1072153 w 1958467"/>
                <a:gd name="connsiteY1146" fmla="*/ 4574520 h 7800512"/>
                <a:gd name="connsiteX1147" fmla="*/ 1067389 w 1958467"/>
                <a:gd name="connsiteY1147" fmla="*/ 4588816 h 7800512"/>
                <a:gd name="connsiteX1148" fmla="*/ 1072153 w 1958467"/>
                <a:gd name="connsiteY1148" fmla="*/ 4603112 h 7800512"/>
                <a:gd name="connsiteX1149" fmla="*/ 1072153 w 1958467"/>
                <a:gd name="connsiteY1149" fmla="*/ 4626936 h 7800512"/>
                <a:gd name="connsiteX1150" fmla="*/ 1067389 w 1958467"/>
                <a:gd name="connsiteY1150" fmla="*/ 4674588 h 7800512"/>
                <a:gd name="connsiteX1151" fmla="*/ 1076919 w 1958467"/>
                <a:gd name="connsiteY1151" fmla="*/ 4688884 h 7800512"/>
                <a:gd name="connsiteX1152" fmla="*/ 1081685 w 1958467"/>
                <a:gd name="connsiteY1152" fmla="*/ 4698416 h 7800512"/>
                <a:gd name="connsiteX1153" fmla="*/ 1105509 w 1958467"/>
                <a:gd name="connsiteY1153" fmla="*/ 4707944 h 7800512"/>
                <a:gd name="connsiteX1154" fmla="*/ 1124571 w 1958467"/>
                <a:gd name="connsiteY1154" fmla="*/ 4712708 h 7800512"/>
                <a:gd name="connsiteX1155" fmla="*/ 1129335 w 1958467"/>
                <a:gd name="connsiteY1155" fmla="*/ 4727004 h 7800512"/>
                <a:gd name="connsiteX1156" fmla="*/ 1129335 w 1958467"/>
                <a:gd name="connsiteY1156" fmla="*/ 4741300 h 7800512"/>
                <a:gd name="connsiteX1157" fmla="*/ 1119805 w 1958467"/>
                <a:gd name="connsiteY1157" fmla="*/ 4746064 h 7800512"/>
                <a:gd name="connsiteX1158" fmla="*/ 1105509 w 1958467"/>
                <a:gd name="connsiteY1158" fmla="*/ 4750832 h 7800512"/>
                <a:gd name="connsiteX1159" fmla="*/ 1105509 w 1958467"/>
                <a:gd name="connsiteY1159" fmla="*/ 4769892 h 7800512"/>
                <a:gd name="connsiteX1160" fmla="*/ 1119805 w 1958467"/>
                <a:gd name="connsiteY1160" fmla="*/ 4788952 h 7800512"/>
                <a:gd name="connsiteX1161" fmla="*/ 1129335 w 1958467"/>
                <a:gd name="connsiteY1161" fmla="*/ 4803248 h 7800512"/>
                <a:gd name="connsiteX1162" fmla="*/ 1134101 w 1958467"/>
                <a:gd name="connsiteY1162" fmla="*/ 4817544 h 7800512"/>
                <a:gd name="connsiteX1163" fmla="*/ 1134101 w 1958467"/>
                <a:gd name="connsiteY1163" fmla="*/ 4827072 h 7800512"/>
                <a:gd name="connsiteX1164" fmla="*/ 1124571 w 1958467"/>
                <a:gd name="connsiteY1164" fmla="*/ 4836604 h 7800512"/>
                <a:gd name="connsiteX1165" fmla="*/ 1134101 w 1958467"/>
                <a:gd name="connsiteY1165" fmla="*/ 4860428 h 7800512"/>
                <a:gd name="connsiteX1166" fmla="*/ 1143631 w 1958467"/>
                <a:gd name="connsiteY1166" fmla="*/ 4874724 h 7800512"/>
                <a:gd name="connsiteX1167" fmla="*/ 1134101 w 1958467"/>
                <a:gd name="connsiteY1167" fmla="*/ 4889020 h 7800512"/>
                <a:gd name="connsiteX1168" fmla="*/ 1129335 w 1958467"/>
                <a:gd name="connsiteY1168" fmla="*/ 4908080 h 7800512"/>
                <a:gd name="connsiteX1169" fmla="*/ 1119805 w 1958467"/>
                <a:gd name="connsiteY1169" fmla="*/ 4912844 h 7800512"/>
                <a:gd name="connsiteX1170" fmla="*/ 1119805 w 1958467"/>
                <a:gd name="connsiteY1170" fmla="*/ 4922376 h 7800512"/>
                <a:gd name="connsiteX1171" fmla="*/ 1119805 w 1958467"/>
                <a:gd name="connsiteY1171" fmla="*/ 4946200 h 7800512"/>
                <a:gd name="connsiteX1172" fmla="*/ 1115039 w 1958467"/>
                <a:gd name="connsiteY1172" fmla="*/ 4965260 h 7800512"/>
                <a:gd name="connsiteX1173" fmla="*/ 1119805 w 1958467"/>
                <a:gd name="connsiteY1173" fmla="*/ 4974792 h 7800512"/>
                <a:gd name="connsiteX1174" fmla="*/ 1196047 w 1958467"/>
                <a:gd name="connsiteY1174" fmla="*/ 4984320 h 7800512"/>
                <a:gd name="connsiteX1175" fmla="*/ 1215107 w 1958467"/>
                <a:gd name="connsiteY1175" fmla="*/ 4989088 h 7800512"/>
                <a:gd name="connsiteX1176" fmla="*/ 1224637 w 1958467"/>
                <a:gd name="connsiteY1176" fmla="*/ 4998616 h 7800512"/>
                <a:gd name="connsiteX1177" fmla="*/ 1224637 w 1958467"/>
                <a:gd name="connsiteY1177" fmla="*/ 5012912 h 7800512"/>
                <a:gd name="connsiteX1178" fmla="*/ 1210343 w 1958467"/>
                <a:gd name="connsiteY1178" fmla="*/ 5031972 h 7800512"/>
                <a:gd name="connsiteX1179" fmla="*/ 1205577 w 1958467"/>
                <a:gd name="connsiteY1179" fmla="*/ 5060564 h 7800512"/>
                <a:gd name="connsiteX1180" fmla="*/ 1191281 w 1958467"/>
                <a:gd name="connsiteY1180" fmla="*/ 5065328 h 7800512"/>
                <a:gd name="connsiteX1181" fmla="*/ 1176987 w 1958467"/>
                <a:gd name="connsiteY1181" fmla="*/ 5055800 h 7800512"/>
                <a:gd name="connsiteX1182" fmla="*/ 1157927 w 1958467"/>
                <a:gd name="connsiteY1182" fmla="*/ 5060564 h 7800512"/>
                <a:gd name="connsiteX1183" fmla="*/ 1143631 w 1958467"/>
                <a:gd name="connsiteY1183" fmla="*/ 5060564 h 7800512"/>
                <a:gd name="connsiteX1184" fmla="*/ 1124571 w 1958467"/>
                <a:gd name="connsiteY1184" fmla="*/ 5060564 h 7800512"/>
                <a:gd name="connsiteX1185" fmla="*/ 1095979 w 1958467"/>
                <a:gd name="connsiteY1185" fmla="*/ 5065328 h 7800512"/>
                <a:gd name="connsiteX1186" fmla="*/ 1081685 w 1958467"/>
                <a:gd name="connsiteY1186" fmla="*/ 5060564 h 7800512"/>
                <a:gd name="connsiteX1187" fmla="*/ 1081685 w 1958467"/>
                <a:gd name="connsiteY1187" fmla="*/ 5070096 h 7800512"/>
                <a:gd name="connsiteX1188" fmla="*/ 1086449 w 1958467"/>
                <a:gd name="connsiteY1188" fmla="*/ 5089156 h 7800512"/>
                <a:gd name="connsiteX1189" fmla="*/ 1119805 w 1958467"/>
                <a:gd name="connsiteY1189" fmla="*/ 5093920 h 7800512"/>
                <a:gd name="connsiteX1190" fmla="*/ 1153161 w 1958467"/>
                <a:gd name="connsiteY1190" fmla="*/ 5108216 h 7800512"/>
                <a:gd name="connsiteX1191" fmla="*/ 1162691 w 1958467"/>
                <a:gd name="connsiteY1191" fmla="*/ 5127276 h 7800512"/>
                <a:gd name="connsiteX1192" fmla="*/ 1176987 w 1958467"/>
                <a:gd name="connsiteY1192" fmla="*/ 5146336 h 7800512"/>
                <a:gd name="connsiteX1193" fmla="*/ 1191281 w 1958467"/>
                <a:gd name="connsiteY1193" fmla="*/ 5160632 h 7800512"/>
                <a:gd name="connsiteX1194" fmla="*/ 1191281 w 1958467"/>
                <a:gd name="connsiteY1194" fmla="*/ 5184456 h 7800512"/>
                <a:gd name="connsiteX1195" fmla="*/ 1172221 w 1958467"/>
                <a:gd name="connsiteY1195" fmla="*/ 5208284 h 7800512"/>
                <a:gd name="connsiteX1196" fmla="*/ 1167457 w 1958467"/>
                <a:gd name="connsiteY1196" fmla="*/ 5222576 h 7800512"/>
                <a:gd name="connsiteX1197" fmla="*/ 1138865 w 1958467"/>
                <a:gd name="connsiteY1197" fmla="*/ 5227344 h 7800512"/>
                <a:gd name="connsiteX1198" fmla="*/ 1129335 w 1958467"/>
                <a:gd name="connsiteY1198" fmla="*/ 5236872 h 7800512"/>
                <a:gd name="connsiteX1199" fmla="*/ 1124571 w 1958467"/>
                <a:gd name="connsiteY1199" fmla="*/ 5270228 h 7800512"/>
                <a:gd name="connsiteX1200" fmla="*/ 1129335 w 1958467"/>
                <a:gd name="connsiteY1200" fmla="*/ 5298820 h 7800512"/>
                <a:gd name="connsiteX1201" fmla="*/ 1143631 w 1958467"/>
                <a:gd name="connsiteY1201" fmla="*/ 5308352 h 7800512"/>
                <a:gd name="connsiteX1202" fmla="*/ 1148395 w 1958467"/>
                <a:gd name="connsiteY1202" fmla="*/ 5322644 h 7800512"/>
                <a:gd name="connsiteX1203" fmla="*/ 1138865 w 1958467"/>
                <a:gd name="connsiteY1203" fmla="*/ 5341704 h 7800512"/>
                <a:gd name="connsiteX1204" fmla="*/ 1119805 w 1958467"/>
                <a:gd name="connsiteY1204" fmla="*/ 5356000 h 7800512"/>
                <a:gd name="connsiteX1205" fmla="*/ 1110275 w 1958467"/>
                <a:gd name="connsiteY1205" fmla="*/ 5370296 h 7800512"/>
                <a:gd name="connsiteX1206" fmla="*/ 1115039 w 1958467"/>
                <a:gd name="connsiteY1206" fmla="*/ 5379828 h 7800512"/>
                <a:gd name="connsiteX1207" fmla="*/ 1124571 w 1958467"/>
                <a:gd name="connsiteY1207" fmla="*/ 5394124 h 7800512"/>
                <a:gd name="connsiteX1208" fmla="*/ 1129335 w 1958467"/>
                <a:gd name="connsiteY1208" fmla="*/ 5403652 h 7800512"/>
                <a:gd name="connsiteX1209" fmla="*/ 1134101 w 1958467"/>
                <a:gd name="connsiteY1209" fmla="*/ 5432244 h 7800512"/>
                <a:gd name="connsiteX1210" fmla="*/ 1138865 w 1958467"/>
                <a:gd name="connsiteY1210" fmla="*/ 5465600 h 7800512"/>
                <a:gd name="connsiteX1211" fmla="*/ 1138865 w 1958467"/>
                <a:gd name="connsiteY1211" fmla="*/ 5479896 h 7800512"/>
                <a:gd name="connsiteX1212" fmla="*/ 1134101 w 1958467"/>
                <a:gd name="connsiteY1212" fmla="*/ 5494192 h 7800512"/>
                <a:gd name="connsiteX1213" fmla="*/ 1115039 w 1958467"/>
                <a:gd name="connsiteY1213" fmla="*/ 5513252 h 7800512"/>
                <a:gd name="connsiteX1214" fmla="*/ 1100745 w 1958467"/>
                <a:gd name="connsiteY1214" fmla="*/ 5522780 h 7800512"/>
                <a:gd name="connsiteX1215" fmla="*/ 1095979 w 1958467"/>
                <a:gd name="connsiteY1215" fmla="*/ 5546608 h 7800512"/>
                <a:gd name="connsiteX1216" fmla="*/ 1095979 w 1958467"/>
                <a:gd name="connsiteY1216" fmla="*/ 5565668 h 7800512"/>
                <a:gd name="connsiteX1217" fmla="*/ 1100745 w 1958467"/>
                <a:gd name="connsiteY1217" fmla="*/ 5579964 h 7800512"/>
                <a:gd name="connsiteX1218" fmla="*/ 1105509 w 1958467"/>
                <a:gd name="connsiteY1218" fmla="*/ 5594256 h 7800512"/>
                <a:gd name="connsiteX1219" fmla="*/ 1105509 w 1958467"/>
                <a:gd name="connsiteY1219" fmla="*/ 5608552 h 7800512"/>
                <a:gd name="connsiteX1220" fmla="*/ 1095979 w 1958467"/>
                <a:gd name="connsiteY1220" fmla="*/ 5608552 h 7800512"/>
                <a:gd name="connsiteX1221" fmla="*/ 1086449 w 1958467"/>
                <a:gd name="connsiteY1221" fmla="*/ 5618084 h 7800512"/>
                <a:gd name="connsiteX1222" fmla="*/ 1076919 w 1958467"/>
                <a:gd name="connsiteY1222" fmla="*/ 5637144 h 7800512"/>
                <a:gd name="connsiteX1223" fmla="*/ 1048329 w 1958467"/>
                <a:gd name="connsiteY1223" fmla="*/ 5660968 h 7800512"/>
                <a:gd name="connsiteX1224" fmla="*/ 1038797 w 1958467"/>
                <a:gd name="connsiteY1224" fmla="*/ 5675264 h 7800512"/>
                <a:gd name="connsiteX1225" fmla="*/ 1038797 w 1958467"/>
                <a:gd name="connsiteY1225" fmla="*/ 5694324 h 7800512"/>
                <a:gd name="connsiteX1226" fmla="*/ 1024503 w 1958467"/>
                <a:gd name="connsiteY1226" fmla="*/ 5718152 h 7800512"/>
                <a:gd name="connsiteX1227" fmla="*/ 1014973 w 1958467"/>
                <a:gd name="connsiteY1227" fmla="*/ 5741976 h 7800512"/>
                <a:gd name="connsiteX1228" fmla="*/ 1010207 w 1958467"/>
                <a:gd name="connsiteY1228" fmla="*/ 5761036 h 7800512"/>
                <a:gd name="connsiteX1229" fmla="*/ 1010207 w 1958467"/>
                <a:gd name="connsiteY1229" fmla="*/ 5784864 h 7800512"/>
                <a:gd name="connsiteX1230" fmla="*/ 1029267 w 1958467"/>
                <a:gd name="connsiteY1230" fmla="*/ 5794392 h 7800512"/>
                <a:gd name="connsiteX1231" fmla="*/ 1038797 w 1958467"/>
                <a:gd name="connsiteY1231" fmla="*/ 5818220 h 7800512"/>
                <a:gd name="connsiteX1232" fmla="*/ 1043563 w 1958467"/>
                <a:gd name="connsiteY1232" fmla="*/ 5846808 h 7800512"/>
                <a:gd name="connsiteX1233" fmla="*/ 1034033 w 1958467"/>
                <a:gd name="connsiteY1233" fmla="*/ 5875400 h 7800512"/>
                <a:gd name="connsiteX1234" fmla="*/ 1014973 w 1958467"/>
                <a:gd name="connsiteY1234" fmla="*/ 5889696 h 7800512"/>
                <a:gd name="connsiteX1235" fmla="*/ 1000677 w 1958467"/>
                <a:gd name="connsiteY1235" fmla="*/ 5903992 h 7800512"/>
                <a:gd name="connsiteX1236" fmla="*/ 995911 w 1958467"/>
                <a:gd name="connsiteY1236" fmla="*/ 5913520 h 7800512"/>
                <a:gd name="connsiteX1237" fmla="*/ 1000677 w 1958467"/>
                <a:gd name="connsiteY1237" fmla="*/ 5946876 h 7800512"/>
                <a:gd name="connsiteX1238" fmla="*/ 1000677 w 1958467"/>
                <a:gd name="connsiteY1238" fmla="*/ 5961172 h 7800512"/>
                <a:gd name="connsiteX1239" fmla="*/ 995911 w 1958467"/>
                <a:gd name="connsiteY1239" fmla="*/ 5980232 h 7800512"/>
                <a:gd name="connsiteX1240" fmla="*/ 991147 w 1958467"/>
                <a:gd name="connsiteY1240" fmla="*/ 5989764 h 7800512"/>
                <a:gd name="connsiteX1241" fmla="*/ 976851 w 1958467"/>
                <a:gd name="connsiteY1241" fmla="*/ 6004060 h 7800512"/>
                <a:gd name="connsiteX1242" fmla="*/ 957791 w 1958467"/>
                <a:gd name="connsiteY1242" fmla="*/ 6013588 h 7800512"/>
                <a:gd name="connsiteX1243" fmla="*/ 938731 w 1958467"/>
                <a:gd name="connsiteY1243" fmla="*/ 6023120 h 7800512"/>
                <a:gd name="connsiteX1244" fmla="*/ 929199 w 1958467"/>
                <a:gd name="connsiteY1244" fmla="*/ 6032648 h 7800512"/>
                <a:gd name="connsiteX1245" fmla="*/ 919669 w 1958467"/>
                <a:gd name="connsiteY1245" fmla="*/ 6051712 h 7800512"/>
                <a:gd name="connsiteX1246" fmla="*/ 910139 w 1958467"/>
                <a:gd name="connsiteY1246" fmla="*/ 6070772 h 7800512"/>
                <a:gd name="connsiteX1247" fmla="*/ 914905 w 1958467"/>
                <a:gd name="connsiteY1247" fmla="*/ 6099360 h 7800512"/>
                <a:gd name="connsiteX1248" fmla="*/ 862489 w 1958467"/>
                <a:gd name="connsiteY1248" fmla="*/ 6104128 h 7800512"/>
                <a:gd name="connsiteX1249" fmla="*/ 857723 w 1958467"/>
                <a:gd name="connsiteY1249" fmla="*/ 6123188 h 7800512"/>
                <a:gd name="connsiteX1250" fmla="*/ 848193 w 1958467"/>
                <a:gd name="connsiteY1250" fmla="*/ 6137484 h 7800512"/>
                <a:gd name="connsiteX1251" fmla="*/ 843427 w 1958467"/>
                <a:gd name="connsiteY1251" fmla="*/ 6166072 h 7800512"/>
                <a:gd name="connsiteX1252" fmla="*/ 857723 w 1958467"/>
                <a:gd name="connsiteY1252" fmla="*/ 6194664 h 7800512"/>
                <a:gd name="connsiteX1253" fmla="*/ 862489 w 1958467"/>
                <a:gd name="connsiteY1253" fmla="*/ 6218488 h 7800512"/>
                <a:gd name="connsiteX1254" fmla="*/ 852957 w 1958467"/>
                <a:gd name="connsiteY1254" fmla="*/ 6247080 h 7800512"/>
                <a:gd name="connsiteX1255" fmla="*/ 857723 w 1958467"/>
                <a:gd name="connsiteY1255" fmla="*/ 6275672 h 7800512"/>
                <a:gd name="connsiteX1256" fmla="*/ 857723 w 1958467"/>
                <a:gd name="connsiteY1256" fmla="*/ 6299496 h 7800512"/>
                <a:gd name="connsiteX1257" fmla="*/ 876783 w 1958467"/>
                <a:gd name="connsiteY1257" fmla="*/ 6323324 h 7800512"/>
                <a:gd name="connsiteX1258" fmla="*/ 886313 w 1958467"/>
                <a:gd name="connsiteY1258" fmla="*/ 6356680 h 7800512"/>
                <a:gd name="connsiteX1259" fmla="*/ 891079 w 1958467"/>
                <a:gd name="connsiteY1259" fmla="*/ 6385268 h 7800512"/>
                <a:gd name="connsiteX1260" fmla="*/ 895845 w 1958467"/>
                <a:gd name="connsiteY1260" fmla="*/ 6404328 h 7800512"/>
                <a:gd name="connsiteX1261" fmla="*/ 900609 w 1958467"/>
                <a:gd name="connsiteY1261" fmla="*/ 6418624 h 7800512"/>
                <a:gd name="connsiteX1262" fmla="*/ 910139 w 1958467"/>
                <a:gd name="connsiteY1262" fmla="*/ 6432920 h 7800512"/>
                <a:gd name="connsiteX1263" fmla="*/ 910139 w 1958467"/>
                <a:gd name="connsiteY1263" fmla="*/ 6447216 h 7800512"/>
                <a:gd name="connsiteX1264" fmla="*/ 924435 w 1958467"/>
                <a:gd name="connsiteY1264" fmla="*/ 6451980 h 7800512"/>
                <a:gd name="connsiteX1265" fmla="*/ 943495 w 1958467"/>
                <a:gd name="connsiteY1265" fmla="*/ 6437684 h 7800512"/>
                <a:gd name="connsiteX1266" fmla="*/ 957791 w 1958467"/>
                <a:gd name="connsiteY1266" fmla="*/ 6428156 h 7800512"/>
                <a:gd name="connsiteX1267" fmla="*/ 967321 w 1958467"/>
                <a:gd name="connsiteY1267" fmla="*/ 6423392 h 7800512"/>
                <a:gd name="connsiteX1268" fmla="*/ 995911 w 1958467"/>
                <a:gd name="connsiteY1268" fmla="*/ 6428156 h 7800512"/>
                <a:gd name="connsiteX1269" fmla="*/ 1010207 w 1958467"/>
                <a:gd name="connsiteY1269" fmla="*/ 6413860 h 7800512"/>
                <a:gd name="connsiteX1270" fmla="*/ 1019737 w 1958467"/>
                <a:gd name="connsiteY1270" fmla="*/ 6418624 h 7800512"/>
                <a:gd name="connsiteX1271" fmla="*/ 1029267 w 1958467"/>
                <a:gd name="connsiteY1271" fmla="*/ 6423392 h 7800512"/>
                <a:gd name="connsiteX1272" fmla="*/ 1038797 w 1958467"/>
                <a:gd name="connsiteY1272" fmla="*/ 6432920 h 7800512"/>
                <a:gd name="connsiteX1273" fmla="*/ 1043563 w 1958467"/>
                <a:gd name="connsiteY1273" fmla="*/ 6461512 h 7800512"/>
                <a:gd name="connsiteX1274" fmla="*/ 1048329 w 1958467"/>
                <a:gd name="connsiteY1274" fmla="*/ 6490100 h 7800512"/>
                <a:gd name="connsiteX1275" fmla="*/ 1043563 w 1958467"/>
                <a:gd name="connsiteY1275" fmla="*/ 6523456 h 7800512"/>
                <a:gd name="connsiteX1276" fmla="*/ 1034033 w 1958467"/>
                <a:gd name="connsiteY1276" fmla="*/ 6528224 h 7800512"/>
                <a:gd name="connsiteX1277" fmla="*/ 1034033 w 1958467"/>
                <a:gd name="connsiteY1277" fmla="*/ 6537752 h 7800512"/>
                <a:gd name="connsiteX1278" fmla="*/ 1034033 w 1958467"/>
                <a:gd name="connsiteY1278" fmla="*/ 6556812 h 7800512"/>
                <a:gd name="connsiteX1279" fmla="*/ 1043563 w 1958467"/>
                <a:gd name="connsiteY1279" fmla="*/ 6571108 h 7800512"/>
                <a:gd name="connsiteX1280" fmla="*/ 1043563 w 1958467"/>
                <a:gd name="connsiteY1280" fmla="*/ 6590168 h 7800512"/>
                <a:gd name="connsiteX1281" fmla="*/ 1034033 w 1958467"/>
                <a:gd name="connsiteY1281" fmla="*/ 6633056 h 7800512"/>
                <a:gd name="connsiteX1282" fmla="*/ 1029267 w 1958467"/>
                <a:gd name="connsiteY1282" fmla="*/ 6647352 h 7800512"/>
                <a:gd name="connsiteX1283" fmla="*/ 1038797 w 1958467"/>
                <a:gd name="connsiteY1283" fmla="*/ 6671176 h 7800512"/>
                <a:gd name="connsiteX1284" fmla="*/ 1048329 w 1958467"/>
                <a:gd name="connsiteY1284" fmla="*/ 6685472 h 7800512"/>
                <a:gd name="connsiteX1285" fmla="*/ 1067389 w 1958467"/>
                <a:gd name="connsiteY1285" fmla="*/ 6699768 h 7800512"/>
                <a:gd name="connsiteX1286" fmla="*/ 1086449 w 1958467"/>
                <a:gd name="connsiteY1286" fmla="*/ 6718828 h 7800512"/>
                <a:gd name="connsiteX1287" fmla="*/ 1100745 w 1958467"/>
                <a:gd name="connsiteY1287" fmla="*/ 6733124 h 7800512"/>
                <a:gd name="connsiteX1288" fmla="*/ 1095979 w 1958467"/>
                <a:gd name="connsiteY1288" fmla="*/ 6756948 h 7800512"/>
                <a:gd name="connsiteX1289" fmla="*/ 1105509 w 1958467"/>
                <a:gd name="connsiteY1289" fmla="*/ 6761712 h 7800512"/>
                <a:gd name="connsiteX1290" fmla="*/ 1134101 w 1958467"/>
                <a:gd name="connsiteY1290" fmla="*/ 6761712 h 7800512"/>
                <a:gd name="connsiteX1291" fmla="*/ 1181751 w 1958467"/>
                <a:gd name="connsiteY1291" fmla="*/ 6761712 h 7800512"/>
                <a:gd name="connsiteX1292" fmla="*/ 1257993 w 1958467"/>
                <a:gd name="connsiteY1292" fmla="*/ 6761712 h 7800512"/>
                <a:gd name="connsiteX1293" fmla="*/ 1329471 w 1958467"/>
                <a:gd name="connsiteY1293" fmla="*/ 6766480 h 7800512"/>
                <a:gd name="connsiteX1294" fmla="*/ 1410477 w 1958467"/>
                <a:gd name="connsiteY1294" fmla="*/ 6766480 h 7800512"/>
                <a:gd name="connsiteX1295" fmla="*/ 1448599 w 1958467"/>
                <a:gd name="connsiteY1295" fmla="*/ 6785540 h 7800512"/>
                <a:gd name="connsiteX1296" fmla="*/ 1481955 w 1958467"/>
                <a:gd name="connsiteY1296" fmla="*/ 6799836 h 7800512"/>
                <a:gd name="connsiteX1297" fmla="*/ 1524841 w 1958467"/>
                <a:gd name="connsiteY1297" fmla="*/ 6799836 h 7800512"/>
                <a:gd name="connsiteX1298" fmla="*/ 1572491 w 1958467"/>
                <a:gd name="connsiteY1298" fmla="*/ 6818896 h 7800512"/>
                <a:gd name="connsiteX1299" fmla="*/ 1605847 w 1958467"/>
                <a:gd name="connsiteY1299" fmla="*/ 6828424 h 7800512"/>
                <a:gd name="connsiteX1300" fmla="*/ 1624909 w 1958467"/>
                <a:gd name="connsiteY1300" fmla="*/ 6833192 h 7800512"/>
                <a:gd name="connsiteX1301" fmla="*/ 1643969 w 1958467"/>
                <a:gd name="connsiteY1301" fmla="*/ 6837956 h 7800512"/>
                <a:gd name="connsiteX1302" fmla="*/ 1643969 w 1958467"/>
                <a:gd name="connsiteY1302" fmla="*/ 6857016 h 7800512"/>
                <a:gd name="connsiteX1303" fmla="*/ 1558197 w 1958467"/>
                <a:gd name="connsiteY1303" fmla="*/ 6833192 h 7800512"/>
                <a:gd name="connsiteX1304" fmla="*/ 1539137 w 1958467"/>
                <a:gd name="connsiteY1304" fmla="*/ 6818896 h 7800512"/>
                <a:gd name="connsiteX1305" fmla="*/ 1520075 w 1958467"/>
                <a:gd name="connsiteY1305" fmla="*/ 6818896 h 7800512"/>
                <a:gd name="connsiteX1306" fmla="*/ 1491485 w 1958467"/>
                <a:gd name="connsiteY1306" fmla="*/ 6833192 h 7800512"/>
                <a:gd name="connsiteX1307" fmla="*/ 1472425 w 1958467"/>
                <a:gd name="connsiteY1307" fmla="*/ 6871312 h 7800512"/>
                <a:gd name="connsiteX1308" fmla="*/ 1462895 w 1958467"/>
                <a:gd name="connsiteY1308" fmla="*/ 6880840 h 7800512"/>
                <a:gd name="connsiteX1309" fmla="*/ 1439069 w 1958467"/>
                <a:gd name="connsiteY1309" fmla="*/ 6895136 h 7800512"/>
                <a:gd name="connsiteX1310" fmla="*/ 1420007 w 1958467"/>
                <a:gd name="connsiteY1310" fmla="*/ 6895136 h 7800512"/>
                <a:gd name="connsiteX1311" fmla="*/ 1343767 w 1958467"/>
                <a:gd name="connsiteY1311" fmla="*/ 6933260 h 7800512"/>
                <a:gd name="connsiteX1312" fmla="*/ 1315175 w 1958467"/>
                <a:gd name="connsiteY1312" fmla="*/ 6938024 h 7800512"/>
                <a:gd name="connsiteX1313" fmla="*/ 1296115 w 1958467"/>
                <a:gd name="connsiteY1313" fmla="*/ 6947552 h 7800512"/>
                <a:gd name="connsiteX1314" fmla="*/ 1281819 w 1958467"/>
                <a:gd name="connsiteY1314" fmla="*/ 6961848 h 7800512"/>
                <a:gd name="connsiteX1315" fmla="*/ 1272289 w 1958467"/>
                <a:gd name="connsiteY1315" fmla="*/ 6990440 h 7800512"/>
                <a:gd name="connsiteX1316" fmla="*/ 1277055 w 1958467"/>
                <a:gd name="connsiteY1316" fmla="*/ 7009500 h 7800512"/>
                <a:gd name="connsiteX1317" fmla="*/ 1253229 w 1958467"/>
                <a:gd name="connsiteY1317" fmla="*/ 7080976 h 7800512"/>
                <a:gd name="connsiteX1318" fmla="*/ 1248463 w 1958467"/>
                <a:gd name="connsiteY1318" fmla="*/ 7119100 h 7800512"/>
                <a:gd name="connsiteX1319" fmla="*/ 1248463 w 1958467"/>
                <a:gd name="connsiteY1319" fmla="*/ 7138160 h 7800512"/>
                <a:gd name="connsiteX1320" fmla="*/ 1257993 w 1958467"/>
                <a:gd name="connsiteY1320" fmla="*/ 7171516 h 7800512"/>
                <a:gd name="connsiteX1321" fmla="*/ 1248463 w 1958467"/>
                <a:gd name="connsiteY1321" fmla="*/ 7223932 h 7800512"/>
                <a:gd name="connsiteX1322" fmla="*/ 1234169 w 1958467"/>
                <a:gd name="connsiteY1322" fmla="*/ 7238228 h 7800512"/>
                <a:gd name="connsiteX1323" fmla="*/ 1200813 w 1958467"/>
                <a:gd name="connsiteY1323" fmla="*/ 7252520 h 7800512"/>
                <a:gd name="connsiteX1324" fmla="*/ 1176987 w 1958467"/>
                <a:gd name="connsiteY1324" fmla="*/ 7242992 h 7800512"/>
                <a:gd name="connsiteX1325" fmla="*/ 1138865 w 1958467"/>
                <a:gd name="connsiteY1325" fmla="*/ 7233460 h 7800512"/>
                <a:gd name="connsiteX1326" fmla="*/ 1110275 w 1958467"/>
                <a:gd name="connsiteY1326" fmla="*/ 7209636 h 7800512"/>
                <a:gd name="connsiteX1327" fmla="*/ 1076919 w 1958467"/>
                <a:gd name="connsiteY1327" fmla="*/ 7195340 h 7800512"/>
                <a:gd name="connsiteX1328" fmla="*/ 1062623 w 1958467"/>
                <a:gd name="connsiteY1328" fmla="*/ 7185808 h 7800512"/>
                <a:gd name="connsiteX1329" fmla="*/ 1034033 w 1958467"/>
                <a:gd name="connsiteY1329" fmla="*/ 7142924 h 7800512"/>
                <a:gd name="connsiteX1330" fmla="*/ 1029267 w 1958467"/>
                <a:gd name="connsiteY1330" fmla="*/ 7128628 h 7800512"/>
                <a:gd name="connsiteX1331" fmla="*/ 1024503 w 1958467"/>
                <a:gd name="connsiteY1331" fmla="*/ 7114332 h 7800512"/>
                <a:gd name="connsiteX1332" fmla="*/ 1043563 w 1958467"/>
                <a:gd name="connsiteY1332" fmla="*/ 7085744 h 7800512"/>
                <a:gd name="connsiteX1333" fmla="*/ 1053093 w 1958467"/>
                <a:gd name="connsiteY1333" fmla="*/ 7085744 h 7800512"/>
                <a:gd name="connsiteX1334" fmla="*/ 1076919 w 1958467"/>
                <a:gd name="connsiteY1334" fmla="*/ 7085744 h 7800512"/>
                <a:gd name="connsiteX1335" fmla="*/ 1100745 w 1958467"/>
                <a:gd name="connsiteY1335" fmla="*/ 7080976 h 7800512"/>
                <a:gd name="connsiteX1336" fmla="*/ 1115039 w 1958467"/>
                <a:gd name="connsiteY1336" fmla="*/ 7095272 h 7800512"/>
                <a:gd name="connsiteX1337" fmla="*/ 1119805 w 1958467"/>
                <a:gd name="connsiteY1337" fmla="*/ 7123864 h 7800512"/>
                <a:gd name="connsiteX1338" fmla="*/ 1110275 w 1958467"/>
                <a:gd name="connsiteY1338" fmla="*/ 7142924 h 7800512"/>
                <a:gd name="connsiteX1339" fmla="*/ 1105509 w 1958467"/>
                <a:gd name="connsiteY1339" fmla="*/ 7152456 h 7800512"/>
                <a:gd name="connsiteX1340" fmla="*/ 1110275 w 1958467"/>
                <a:gd name="connsiteY1340" fmla="*/ 7157220 h 7800512"/>
                <a:gd name="connsiteX1341" fmla="*/ 1124571 w 1958467"/>
                <a:gd name="connsiteY1341" fmla="*/ 7147688 h 7800512"/>
                <a:gd name="connsiteX1342" fmla="*/ 1129335 w 1958467"/>
                <a:gd name="connsiteY1342" fmla="*/ 7080976 h 7800512"/>
                <a:gd name="connsiteX1343" fmla="*/ 1186517 w 1958467"/>
                <a:gd name="connsiteY1343" fmla="*/ 7047620 h 7800512"/>
                <a:gd name="connsiteX1344" fmla="*/ 1200813 w 1958467"/>
                <a:gd name="connsiteY1344" fmla="*/ 7028560 h 7800512"/>
                <a:gd name="connsiteX1345" fmla="*/ 1219873 w 1958467"/>
                <a:gd name="connsiteY1345" fmla="*/ 6999972 h 7800512"/>
                <a:gd name="connsiteX1346" fmla="*/ 1219873 w 1958467"/>
                <a:gd name="connsiteY1346" fmla="*/ 6990440 h 7800512"/>
                <a:gd name="connsiteX1347" fmla="*/ 1224637 w 1958467"/>
                <a:gd name="connsiteY1347" fmla="*/ 6980912 h 7800512"/>
                <a:gd name="connsiteX1348" fmla="*/ 1210343 w 1958467"/>
                <a:gd name="connsiteY1348" fmla="*/ 6971380 h 7800512"/>
                <a:gd name="connsiteX1349" fmla="*/ 1186517 w 1958467"/>
                <a:gd name="connsiteY1349" fmla="*/ 6961848 h 7800512"/>
                <a:gd name="connsiteX1350" fmla="*/ 1105509 w 1958467"/>
                <a:gd name="connsiteY1350" fmla="*/ 7023796 h 7800512"/>
                <a:gd name="connsiteX1351" fmla="*/ 1072153 w 1958467"/>
                <a:gd name="connsiteY1351" fmla="*/ 7038092 h 7800512"/>
                <a:gd name="connsiteX1352" fmla="*/ 1048329 w 1958467"/>
                <a:gd name="connsiteY1352" fmla="*/ 7057152 h 7800512"/>
                <a:gd name="connsiteX1353" fmla="*/ 1019737 w 1958467"/>
                <a:gd name="connsiteY1353" fmla="*/ 7085744 h 7800512"/>
                <a:gd name="connsiteX1354" fmla="*/ 1014973 w 1958467"/>
                <a:gd name="connsiteY1354" fmla="*/ 7095272 h 7800512"/>
                <a:gd name="connsiteX1355" fmla="*/ 1010207 w 1958467"/>
                <a:gd name="connsiteY1355" fmla="*/ 7119100 h 7800512"/>
                <a:gd name="connsiteX1356" fmla="*/ 1005443 w 1958467"/>
                <a:gd name="connsiteY1356" fmla="*/ 7142924 h 7800512"/>
                <a:gd name="connsiteX1357" fmla="*/ 976851 w 1958467"/>
                <a:gd name="connsiteY1357" fmla="*/ 7128628 h 7800512"/>
                <a:gd name="connsiteX1358" fmla="*/ 933965 w 1958467"/>
                <a:gd name="connsiteY1358" fmla="*/ 7095272 h 7800512"/>
                <a:gd name="connsiteX1359" fmla="*/ 929199 w 1958467"/>
                <a:gd name="connsiteY1359" fmla="*/ 7085744 h 7800512"/>
                <a:gd name="connsiteX1360" fmla="*/ 933965 w 1958467"/>
                <a:gd name="connsiteY1360" fmla="*/ 7066680 h 7800512"/>
                <a:gd name="connsiteX1361" fmla="*/ 948261 w 1958467"/>
                <a:gd name="connsiteY1361" fmla="*/ 7052388 h 7800512"/>
                <a:gd name="connsiteX1362" fmla="*/ 948261 w 1958467"/>
                <a:gd name="connsiteY1362" fmla="*/ 7004736 h 7800512"/>
                <a:gd name="connsiteX1363" fmla="*/ 953025 w 1958467"/>
                <a:gd name="connsiteY1363" fmla="*/ 6985676 h 7800512"/>
                <a:gd name="connsiteX1364" fmla="*/ 962555 w 1958467"/>
                <a:gd name="connsiteY1364" fmla="*/ 6976144 h 7800512"/>
                <a:gd name="connsiteX1365" fmla="*/ 976851 w 1958467"/>
                <a:gd name="connsiteY1365" fmla="*/ 6957084 h 7800512"/>
                <a:gd name="connsiteX1366" fmla="*/ 986381 w 1958467"/>
                <a:gd name="connsiteY1366" fmla="*/ 6957084 h 7800512"/>
                <a:gd name="connsiteX1367" fmla="*/ 991147 w 1958467"/>
                <a:gd name="connsiteY1367" fmla="*/ 6961848 h 7800512"/>
                <a:gd name="connsiteX1368" fmla="*/ 991147 w 1958467"/>
                <a:gd name="connsiteY1368" fmla="*/ 6976144 h 7800512"/>
                <a:gd name="connsiteX1369" fmla="*/ 1019737 w 1958467"/>
                <a:gd name="connsiteY1369" fmla="*/ 6971380 h 7800512"/>
                <a:gd name="connsiteX1370" fmla="*/ 1072153 w 1958467"/>
                <a:gd name="connsiteY1370" fmla="*/ 6928492 h 7800512"/>
                <a:gd name="connsiteX1371" fmla="*/ 1095979 w 1958467"/>
                <a:gd name="connsiteY1371" fmla="*/ 6928492 h 7800512"/>
                <a:gd name="connsiteX1372" fmla="*/ 1124571 w 1958467"/>
                <a:gd name="connsiteY1372" fmla="*/ 6938024 h 7800512"/>
                <a:gd name="connsiteX1373" fmla="*/ 1153161 w 1958467"/>
                <a:gd name="connsiteY1373" fmla="*/ 6933260 h 7800512"/>
                <a:gd name="connsiteX1374" fmla="*/ 1162691 w 1958467"/>
                <a:gd name="connsiteY1374" fmla="*/ 6928492 h 7800512"/>
                <a:gd name="connsiteX1375" fmla="*/ 1167457 w 1958467"/>
                <a:gd name="connsiteY1375" fmla="*/ 6918964 h 7800512"/>
                <a:gd name="connsiteX1376" fmla="*/ 1143631 w 1958467"/>
                <a:gd name="connsiteY1376" fmla="*/ 6909432 h 7800512"/>
                <a:gd name="connsiteX1377" fmla="*/ 1119805 w 1958467"/>
                <a:gd name="connsiteY1377" fmla="*/ 6899904 h 7800512"/>
                <a:gd name="connsiteX1378" fmla="*/ 1057859 w 1958467"/>
                <a:gd name="connsiteY1378" fmla="*/ 6895136 h 7800512"/>
                <a:gd name="connsiteX1379" fmla="*/ 1043563 w 1958467"/>
                <a:gd name="connsiteY1379" fmla="*/ 6899904 h 7800512"/>
                <a:gd name="connsiteX1380" fmla="*/ 1024503 w 1958467"/>
                <a:gd name="connsiteY1380" fmla="*/ 6923728 h 7800512"/>
                <a:gd name="connsiteX1381" fmla="*/ 1014973 w 1958467"/>
                <a:gd name="connsiteY1381" fmla="*/ 6918964 h 7800512"/>
                <a:gd name="connsiteX1382" fmla="*/ 1010207 w 1958467"/>
                <a:gd name="connsiteY1382" fmla="*/ 6909432 h 7800512"/>
                <a:gd name="connsiteX1383" fmla="*/ 991147 w 1958467"/>
                <a:gd name="connsiteY1383" fmla="*/ 6899904 h 7800512"/>
                <a:gd name="connsiteX1384" fmla="*/ 981617 w 1958467"/>
                <a:gd name="connsiteY1384" fmla="*/ 6899904 h 7800512"/>
                <a:gd name="connsiteX1385" fmla="*/ 972087 w 1958467"/>
                <a:gd name="connsiteY1385" fmla="*/ 6914200 h 7800512"/>
                <a:gd name="connsiteX1386" fmla="*/ 972087 w 1958467"/>
                <a:gd name="connsiteY1386" fmla="*/ 6928492 h 7800512"/>
                <a:gd name="connsiteX1387" fmla="*/ 967321 w 1958467"/>
                <a:gd name="connsiteY1387" fmla="*/ 6947552 h 7800512"/>
                <a:gd name="connsiteX1388" fmla="*/ 943495 w 1958467"/>
                <a:gd name="connsiteY1388" fmla="*/ 6961848 h 7800512"/>
                <a:gd name="connsiteX1389" fmla="*/ 933965 w 1958467"/>
                <a:gd name="connsiteY1389" fmla="*/ 6995204 h 7800512"/>
                <a:gd name="connsiteX1390" fmla="*/ 933965 w 1958467"/>
                <a:gd name="connsiteY1390" fmla="*/ 7014264 h 7800512"/>
                <a:gd name="connsiteX1391" fmla="*/ 929199 w 1958467"/>
                <a:gd name="connsiteY1391" fmla="*/ 7028560 h 7800512"/>
                <a:gd name="connsiteX1392" fmla="*/ 924435 w 1958467"/>
                <a:gd name="connsiteY1392" fmla="*/ 7033328 h 7800512"/>
                <a:gd name="connsiteX1393" fmla="*/ 914905 w 1958467"/>
                <a:gd name="connsiteY1393" fmla="*/ 7038092 h 7800512"/>
                <a:gd name="connsiteX1394" fmla="*/ 881549 w 1958467"/>
                <a:gd name="connsiteY1394" fmla="*/ 7033328 h 7800512"/>
                <a:gd name="connsiteX1395" fmla="*/ 862489 w 1958467"/>
                <a:gd name="connsiteY1395" fmla="*/ 7014264 h 7800512"/>
                <a:gd name="connsiteX1396" fmla="*/ 857723 w 1958467"/>
                <a:gd name="connsiteY1396" fmla="*/ 6995204 h 7800512"/>
                <a:gd name="connsiteX1397" fmla="*/ 833897 w 1958467"/>
                <a:gd name="connsiteY1397" fmla="*/ 6980912 h 7800512"/>
                <a:gd name="connsiteX1398" fmla="*/ 881549 w 1958467"/>
                <a:gd name="connsiteY1398" fmla="*/ 6957084 h 7800512"/>
                <a:gd name="connsiteX1399" fmla="*/ 895845 w 1958467"/>
                <a:gd name="connsiteY1399" fmla="*/ 6947552 h 7800512"/>
                <a:gd name="connsiteX1400" fmla="*/ 910139 w 1958467"/>
                <a:gd name="connsiteY1400" fmla="*/ 6918964 h 7800512"/>
                <a:gd name="connsiteX1401" fmla="*/ 924435 w 1958467"/>
                <a:gd name="connsiteY1401" fmla="*/ 6899904 h 7800512"/>
                <a:gd name="connsiteX1402" fmla="*/ 914905 w 1958467"/>
                <a:gd name="connsiteY1402" fmla="*/ 6890372 h 7800512"/>
                <a:gd name="connsiteX1403" fmla="*/ 905375 w 1958467"/>
                <a:gd name="connsiteY1403" fmla="*/ 6890372 h 7800512"/>
                <a:gd name="connsiteX1404" fmla="*/ 905375 w 1958467"/>
                <a:gd name="connsiteY1404" fmla="*/ 6909432 h 7800512"/>
                <a:gd name="connsiteX1405" fmla="*/ 895845 w 1958467"/>
                <a:gd name="connsiteY1405" fmla="*/ 6923728 h 7800512"/>
                <a:gd name="connsiteX1406" fmla="*/ 876783 w 1958467"/>
                <a:gd name="connsiteY1406" fmla="*/ 6914200 h 7800512"/>
                <a:gd name="connsiteX1407" fmla="*/ 843427 w 1958467"/>
                <a:gd name="connsiteY1407" fmla="*/ 6938024 h 7800512"/>
                <a:gd name="connsiteX1408" fmla="*/ 824367 w 1958467"/>
                <a:gd name="connsiteY1408" fmla="*/ 6933260 h 7800512"/>
                <a:gd name="connsiteX1409" fmla="*/ 791011 w 1958467"/>
                <a:gd name="connsiteY1409" fmla="*/ 6938024 h 7800512"/>
                <a:gd name="connsiteX1410" fmla="*/ 776715 w 1958467"/>
                <a:gd name="connsiteY1410" fmla="*/ 6928492 h 7800512"/>
                <a:gd name="connsiteX1411" fmla="*/ 771951 w 1958467"/>
                <a:gd name="connsiteY1411" fmla="*/ 6914200 h 7800512"/>
                <a:gd name="connsiteX1412" fmla="*/ 776715 w 1958467"/>
                <a:gd name="connsiteY1412" fmla="*/ 6895136 h 7800512"/>
                <a:gd name="connsiteX1413" fmla="*/ 771951 w 1958467"/>
                <a:gd name="connsiteY1413" fmla="*/ 6866548 h 7800512"/>
                <a:gd name="connsiteX1414" fmla="*/ 762421 w 1958467"/>
                <a:gd name="connsiteY1414" fmla="*/ 6861780 h 7800512"/>
                <a:gd name="connsiteX1415" fmla="*/ 752891 w 1958467"/>
                <a:gd name="connsiteY1415" fmla="*/ 6861780 h 7800512"/>
                <a:gd name="connsiteX1416" fmla="*/ 752891 w 1958467"/>
                <a:gd name="connsiteY1416" fmla="*/ 6842720 h 7800512"/>
                <a:gd name="connsiteX1417" fmla="*/ 743361 w 1958467"/>
                <a:gd name="connsiteY1417" fmla="*/ 6814132 h 7800512"/>
                <a:gd name="connsiteX1418" fmla="*/ 738595 w 1958467"/>
                <a:gd name="connsiteY1418" fmla="*/ 6809364 h 7800512"/>
                <a:gd name="connsiteX1419" fmla="*/ 733829 w 1958467"/>
                <a:gd name="connsiteY1419" fmla="*/ 6795072 h 7800512"/>
                <a:gd name="connsiteX1420" fmla="*/ 738595 w 1958467"/>
                <a:gd name="connsiteY1420" fmla="*/ 6790304 h 7800512"/>
                <a:gd name="connsiteX1421" fmla="*/ 748125 w 1958467"/>
                <a:gd name="connsiteY1421" fmla="*/ 6795072 h 7800512"/>
                <a:gd name="connsiteX1422" fmla="*/ 757655 w 1958467"/>
                <a:gd name="connsiteY1422" fmla="*/ 6804600 h 7800512"/>
                <a:gd name="connsiteX1423" fmla="*/ 771951 w 1958467"/>
                <a:gd name="connsiteY1423" fmla="*/ 6804600 h 7800512"/>
                <a:gd name="connsiteX1424" fmla="*/ 805307 w 1958467"/>
                <a:gd name="connsiteY1424" fmla="*/ 6823660 h 7800512"/>
                <a:gd name="connsiteX1425" fmla="*/ 819603 w 1958467"/>
                <a:gd name="connsiteY1425" fmla="*/ 6818896 h 7800512"/>
                <a:gd name="connsiteX1426" fmla="*/ 824367 w 1958467"/>
                <a:gd name="connsiteY1426" fmla="*/ 6814132 h 7800512"/>
                <a:gd name="connsiteX1427" fmla="*/ 829133 w 1958467"/>
                <a:gd name="connsiteY1427" fmla="*/ 6799836 h 7800512"/>
                <a:gd name="connsiteX1428" fmla="*/ 829133 w 1958467"/>
                <a:gd name="connsiteY1428" fmla="*/ 6785540 h 7800512"/>
                <a:gd name="connsiteX1429" fmla="*/ 833897 w 1958467"/>
                <a:gd name="connsiteY1429" fmla="*/ 6785540 h 7800512"/>
                <a:gd name="connsiteX1430" fmla="*/ 852957 w 1958467"/>
                <a:gd name="connsiteY1430" fmla="*/ 6804600 h 7800512"/>
                <a:gd name="connsiteX1431" fmla="*/ 862489 w 1958467"/>
                <a:gd name="connsiteY1431" fmla="*/ 6799836 h 7800512"/>
                <a:gd name="connsiteX1432" fmla="*/ 886313 w 1958467"/>
                <a:gd name="connsiteY1432" fmla="*/ 6804600 h 7800512"/>
                <a:gd name="connsiteX1433" fmla="*/ 895845 w 1958467"/>
                <a:gd name="connsiteY1433" fmla="*/ 6804600 h 7800512"/>
                <a:gd name="connsiteX1434" fmla="*/ 914905 w 1958467"/>
                <a:gd name="connsiteY1434" fmla="*/ 6799836 h 7800512"/>
                <a:gd name="connsiteX1435" fmla="*/ 943495 w 1958467"/>
                <a:gd name="connsiteY1435" fmla="*/ 6776008 h 7800512"/>
                <a:gd name="connsiteX1436" fmla="*/ 957791 w 1958467"/>
                <a:gd name="connsiteY1436" fmla="*/ 6756948 h 7800512"/>
                <a:gd name="connsiteX1437" fmla="*/ 967321 w 1958467"/>
                <a:gd name="connsiteY1437" fmla="*/ 6752184 h 7800512"/>
                <a:gd name="connsiteX1438" fmla="*/ 976851 w 1958467"/>
                <a:gd name="connsiteY1438" fmla="*/ 6756948 h 7800512"/>
                <a:gd name="connsiteX1439" fmla="*/ 981617 w 1958467"/>
                <a:gd name="connsiteY1439" fmla="*/ 6761712 h 7800512"/>
                <a:gd name="connsiteX1440" fmla="*/ 981617 w 1958467"/>
                <a:gd name="connsiteY1440" fmla="*/ 6776008 h 7800512"/>
                <a:gd name="connsiteX1441" fmla="*/ 991147 w 1958467"/>
                <a:gd name="connsiteY1441" fmla="*/ 6790304 h 7800512"/>
                <a:gd name="connsiteX1442" fmla="*/ 1000677 w 1958467"/>
                <a:gd name="connsiteY1442" fmla="*/ 6799836 h 7800512"/>
                <a:gd name="connsiteX1443" fmla="*/ 1000677 w 1958467"/>
                <a:gd name="connsiteY1443" fmla="*/ 6814132 h 7800512"/>
                <a:gd name="connsiteX1444" fmla="*/ 1000677 w 1958467"/>
                <a:gd name="connsiteY1444" fmla="*/ 6828424 h 7800512"/>
                <a:gd name="connsiteX1445" fmla="*/ 981617 w 1958467"/>
                <a:gd name="connsiteY1445" fmla="*/ 6847488 h 7800512"/>
                <a:gd name="connsiteX1446" fmla="*/ 981617 w 1958467"/>
                <a:gd name="connsiteY1446" fmla="*/ 6857016 h 7800512"/>
                <a:gd name="connsiteX1447" fmla="*/ 986381 w 1958467"/>
                <a:gd name="connsiteY1447" fmla="*/ 6861780 h 7800512"/>
                <a:gd name="connsiteX1448" fmla="*/ 991147 w 1958467"/>
                <a:gd name="connsiteY1448" fmla="*/ 6857016 h 7800512"/>
                <a:gd name="connsiteX1449" fmla="*/ 1000677 w 1958467"/>
                <a:gd name="connsiteY1449" fmla="*/ 6847488 h 7800512"/>
                <a:gd name="connsiteX1450" fmla="*/ 1010207 w 1958467"/>
                <a:gd name="connsiteY1450" fmla="*/ 6837956 h 7800512"/>
                <a:gd name="connsiteX1451" fmla="*/ 1010207 w 1958467"/>
                <a:gd name="connsiteY1451" fmla="*/ 6828424 h 7800512"/>
                <a:gd name="connsiteX1452" fmla="*/ 1010207 w 1958467"/>
                <a:gd name="connsiteY1452" fmla="*/ 6818896 h 7800512"/>
                <a:gd name="connsiteX1453" fmla="*/ 1010207 w 1958467"/>
                <a:gd name="connsiteY1453" fmla="*/ 6809364 h 7800512"/>
                <a:gd name="connsiteX1454" fmla="*/ 995911 w 1958467"/>
                <a:gd name="connsiteY1454" fmla="*/ 6776008 h 7800512"/>
                <a:gd name="connsiteX1455" fmla="*/ 991147 w 1958467"/>
                <a:gd name="connsiteY1455" fmla="*/ 6766480 h 7800512"/>
                <a:gd name="connsiteX1456" fmla="*/ 991147 w 1958467"/>
                <a:gd name="connsiteY1456" fmla="*/ 6752184 h 7800512"/>
                <a:gd name="connsiteX1457" fmla="*/ 1010207 w 1958467"/>
                <a:gd name="connsiteY1457" fmla="*/ 6737888 h 7800512"/>
                <a:gd name="connsiteX1458" fmla="*/ 1014973 w 1958467"/>
                <a:gd name="connsiteY1458" fmla="*/ 6723592 h 7800512"/>
                <a:gd name="connsiteX1459" fmla="*/ 1014973 w 1958467"/>
                <a:gd name="connsiteY1459" fmla="*/ 6704532 h 7800512"/>
                <a:gd name="connsiteX1460" fmla="*/ 1005443 w 1958467"/>
                <a:gd name="connsiteY1460" fmla="*/ 6690236 h 7800512"/>
                <a:gd name="connsiteX1461" fmla="*/ 972087 w 1958467"/>
                <a:gd name="connsiteY1461" fmla="*/ 6656880 h 7800512"/>
                <a:gd name="connsiteX1462" fmla="*/ 914905 w 1958467"/>
                <a:gd name="connsiteY1462" fmla="*/ 6623524 h 7800512"/>
                <a:gd name="connsiteX1463" fmla="*/ 910139 w 1958467"/>
                <a:gd name="connsiteY1463" fmla="*/ 6628292 h 7800512"/>
                <a:gd name="connsiteX1464" fmla="*/ 905375 w 1958467"/>
                <a:gd name="connsiteY1464" fmla="*/ 6633056 h 7800512"/>
                <a:gd name="connsiteX1465" fmla="*/ 910139 w 1958467"/>
                <a:gd name="connsiteY1465" fmla="*/ 6637820 h 7800512"/>
                <a:gd name="connsiteX1466" fmla="*/ 914905 w 1958467"/>
                <a:gd name="connsiteY1466" fmla="*/ 6637820 h 7800512"/>
                <a:gd name="connsiteX1467" fmla="*/ 967321 w 1958467"/>
                <a:gd name="connsiteY1467" fmla="*/ 6666412 h 7800512"/>
                <a:gd name="connsiteX1468" fmla="*/ 981617 w 1958467"/>
                <a:gd name="connsiteY1468" fmla="*/ 6680708 h 7800512"/>
                <a:gd name="connsiteX1469" fmla="*/ 991147 w 1958467"/>
                <a:gd name="connsiteY1469" fmla="*/ 6685472 h 7800512"/>
                <a:gd name="connsiteX1470" fmla="*/ 1000677 w 1958467"/>
                <a:gd name="connsiteY1470" fmla="*/ 6699768 h 7800512"/>
                <a:gd name="connsiteX1471" fmla="*/ 995911 w 1958467"/>
                <a:gd name="connsiteY1471" fmla="*/ 6714064 h 7800512"/>
                <a:gd name="connsiteX1472" fmla="*/ 948261 w 1958467"/>
                <a:gd name="connsiteY1472" fmla="*/ 6728360 h 7800512"/>
                <a:gd name="connsiteX1473" fmla="*/ 905375 w 1958467"/>
                <a:gd name="connsiteY1473" fmla="*/ 6761712 h 7800512"/>
                <a:gd name="connsiteX1474" fmla="*/ 876783 w 1958467"/>
                <a:gd name="connsiteY1474" fmla="*/ 6780776 h 7800512"/>
                <a:gd name="connsiteX1475" fmla="*/ 852957 w 1958467"/>
                <a:gd name="connsiteY1475" fmla="*/ 6776008 h 7800512"/>
                <a:gd name="connsiteX1476" fmla="*/ 843427 w 1958467"/>
                <a:gd name="connsiteY1476" fmla="*/ 6756948 h 7800512"/>
                <a:gd name="connsiteX1477" fmla="*/ 833897 w 1958467"/>
                <a:gd name="connsiteY1477" fmla="*/ 6728360 h 7800512"/>
                <a:gd name="connsiteX1478" fmla="*/ 819603 w 1958467"/>
                <a:gd name="connsiteY1478" fmla="*/ 6714064 h 7800512"/>
                <a:gd name="connsiteX1479" fmla="*/ 810071 w 1958467"/>
                <a:gd name="connsiteY1479" fmla="*/ 6714064 h 7800512"/>
                <a:gd name="connsiteX1480" fmla="*/ 800541 w 1958467"/>
                <a:gd name="connsiteY1480" fmla="*/ 6709296 h 7800512"/>
                <a:gd name="connsiteX1481" fmla="*/ 795777 w 1958467"/>
                <a:gd name="connsiteY1481" fmla="*/ 6704532 h 7800512"/>
                <a:gd name="connsiteX1482" fmla="*/ 781481 w 1958467"/>
                <a:gd name="connsiteY1482" fmla="*/ 6709296 h 7800512"/>
                <a:gd name="connsiteX1483" fmla="*/ 757655 w 1958467"/>
                <a:gd name="connsiteY1483" fmla="*/ 6690236 h 7800512"/>
                <a:gd name="connsiteX1484" fmla="*/ 748125 w 1958467"/>
                <a:gd name="connsiteY1484" fmla="*/ 6685472 h 7800512"/>
                <a:gd name="connsiteX1485" fmla="*/ 767185 w 1958467"/>
                <a:gd name="connsiteY1485" fmla="*/ 6656880 h 7800512"/>
                <a:gd name="connsiteX1486" fmla="*/ 791011 w 1958467"/>
                <a:gd name="connsiteY1486" fmla="*/ 6666412 h 7800512"/>
                <a:gd name="connsiteX1487" fmla="*/ 795777 w 1958467"/>
                <a:gd name="connsiteY1487" fmla="*/ 6594936 h 7800512"/>
                <a:gd name="connsiteX1488" fmla="*/ 786247 w 1958467"/>
                <a:gd name="connsiteY1488" fmla="*/ 6580640 h 7800512"/>
                <a:gd name="connsiteX1489" fmla="*/ 757655 w 1958467"/>
                <a:gd name="connsiteY1489" fmla="*/ 6561580 h 7800512"/>
                <a:gd name="connsiteX1490" fmla="*/ 748125 w 1958467"/>
                <a:gd name="connsiteY1490" fmla="*/ 6566344 h 7800512"/>
                <a:gd name="connsiteX1491" fmla="*/ 729065 w 1958467"/>
                <a:gd name="connsiteY1491" fmla="*/ 6561580 h 7800512"/>
                <a:gd name="connsiteX1492" fmla="*/ 714769 w 1958467"/>
                <a:gd name="connsiteY1492" fmla="*/ 6552048 h 7800512"/>
                <a:gd name="connsiteX1493" fmla="*/ 700473 w 1958467"/>
                <a:gd name="connsiteY1493" fmla="*/ 6552048 h 7800512"/>
                <a:gd name="connsiteX1494" fmla="*/ 686179 w 1958467"/>
                <a:gd name="connsiteY1494" fmla="*/ 6547284 h 7800512"/>
                <a:gd name="connsiteX1495" fmla="*/ 671883 w 1958467"/>
                <a:gd name="connsiteY1495" fmla="*/ 6537752 h 7800512"/>
                <a:gd name="connsiteX1496" fmla="*/ 652823 w 1958467"/>
                <a:gd name="connsiteY1496" fmla="*/ 6528224 h 7800512"/>
                <a:gd name="connsiteX1497" fmla="*/ 624231 w 1958467"/>
                <a:gd name="connsiteY1497" fmla="*/ 6485336 h 7800512"/>
                <a:gd name="connsiteX1498" fmla="*/ 614701 w 1958467"/>
                <a:gd name="connsiteY1498" fmla="*/ 6461512 h 7800512"/>
                <a:gd name="connsiteX1499" fmla="*/ 605171 w 1958467"/>
                <a:gd name="connsiteY1499" fmla="*/ 6432920 h 7800512"/>
                <a:gd name="connsiteX1500" fmla="*/ 648057 w 1958467"/>
                <a:gd name="connsiteY1500" fmla="*/ 6432920 h 7800512"/>
                <a:gd name="connsiteX1501" fmla="*/ 671883 w 1958467"/>
                <a:gd name="connsiteY1501" fmla="*/ 6428156 h 7800512"/>
                <a:gd name="connsiteX1502" fmla="*/ 676649 w 1958467"/>
                <a:gd name="connsiteY1502" fmla="*/ 6418624 h 7800512"/>
                <a:gd name="connsiteX1503" fmla="*/ 667119 w 1958467"/>
                <a:gd name="connsiteY1503" fmla="*/ 6399564 h 7800512"/>
                <a:gd name="connsiteX1504" fmla="*/ 657587 w 1958467"/>
                <a:gd name="connsiteY1504" fmla="*/ 6385268 h 7800512"/>
                <a:gd name="connsiteX1505" fmla="*/ 667119 w 1958467"/>
                <a:gd name="connsiteY1505" fmla="*/ 6366208 h 7800512"/>
                <a:gd name="connsiteX1506" fmla="*/ 676649 w 1958467"/>
                <a:gd name="connsiteY1506" fmla="*/ 6356680 h 7800512"/>
                <a:gd name="connsiteX1507" fmla="*/ 690943 w 1958467"/>
                <a:gd name="connsiteY1507" fmla="*/ 6361444 h 7800512"/>
                <a:gd name="connsiteX1508" fmla="*/ 719535 w 1958467"/>
                <a:gd name="connsiteY1508" fmla="*/ 6385268 h 7800512"/>
                <a:gd name="connsiteX1509" fmla="*/ 729065 w 1958467"/>
                <a:gd name="connsiteY1509" fmla="*/ 6404328 h 7800512"/>
                <a:gd name="connsiteX1510" fmla="*/ 748125 w 1958467"/>
                <a:gd name="connsiteY1510" fmla="*/ 6456744 h 7800512"/>
                <a:gd name="connsiteX1511" fmla="*/ 752891 w 1958467"/>
                <a:gd name="connsiteY1511" fmla="*/ 6461512 h 7800512"/>
                <a:gd name="connsiteX1512" fmla="*/ 757655 w 1958467"/>
                <a:gd name="connsiteY1512" fmla="*/ 6466276 h 7800512"/>
                <a:gd name="connsiteX1513" fmla="*/ 800541 w 1958467"/>
                <a:gd name="connsiteY1513" fmla="*/ 6499632 h 7800512"/>
                <a:gd name="connsiteX1514" fmla="*/ 810071 w 1958467"/>
                <a:gd name="connsiteY1514" fmla="*/ 6499632 h 7800512"/>
                <a:gd name="connsiteX1515" fmla="*/ 805307 w 1958467"/>
                <a:gd name="connsiteY1515" fmla="*/ 6471040 h 7800512"/>
                <a:gd name="connsiteX1516" fmla="*/ 819603 w 1958467"/>
                <a:gd name="connsiteY1516" fmla="*/ 6437684 h 7800512"/>
                <a:gd name="connsiteX1517" fmla="*/ 833897 w 1958467"/>
                <a:gd name="connsiteY1517" fmla="*/ 6428156 h 7800512"/>
                <a:gd name="connsiteX1518" fmla="*/ 838663 w 1958467"/>
                <a:gd name="connsiteY1518" fmla="*/ 6428156 h 7800512"/>
                <a:gd name="connsiteX1519" fmla="*/ 838663 w 1958467"/>
                <a:gd name="connsiteY1519" fmla="*/ 6423392 h 7800512"/>
                <a:gd name="connsiteX1520" fmla="*/ 829133 w 1958467"/>
                <a:gd name="connsiteY1520" fmla="*/ 6409096 h 7800512"/>
                <a:gd name="connsiteX1521" fmla="*/ 833897 w 1958467"/>
                <a:gd name="connsiteY1521" fmla="*/ 6390032 h 7800512"/>
                <a:gd name="connsiteX1522" fmla="*/ 829133 w 1958467"/>
                <a:gd name="connsiteY1522" fmla="*/ 6390032 h 7800512"/>
                <a:gd name="connsiteX1523" fmla="*/ 819603 w 1958467"/>
                <a:gd name="connsiteY1523" fmla="*/ 6399564 h 7800512"/>
                <a:gd name="connsiteX1524" fmla="*/ 795777 w 1958467"/>
                <a:gd name="connsiteY1524" fmla="*/ 6461512 h 7800512"/>
                <a:gd name="connsiteX1525" fmla="*/ 781481 w 1958467"/>
                <a:gd name="connsiteY1525" fmla="*/ 6471040 h 7800512"/>
                <a:gd name="connsiteX1526" fmla="*/ 762421 w 1958467"/>
                <a:gd name="connsiteY1526" fmla="*/ 6442452 h 7800512"/>
                <a:gd name="connsiteX1527" fmla="*/ 752891 w 1958467"/>
                <a:gd name="connsiteY1527" fmla="*/ 6423392 h 7800512"/>
                <a:gd name="connsiteX1528" fmla="*/ 748125 w 1958467"/>
                <a:gd name="connsiteY1528" fmla="*/ 6418624 h 7800512"/>
                <a:gd name="connsiteX1529" fmla="*/ 748125 w 1958467"/>
                <a:gd name="connsiteY1529" fmla="*/ 6385268 h 7800512"/>
                <a:gd name="connsiteX1530" fmla="*/ 786247 w 1958467"/>
                <a:gd name="connsiteY1530" fmla="*/ 6394800 h 7800512"/>
                <a:gd name="connsiteX1531" fmla="*/ 771951 w 1958467"/>
                <a:gd name="connsiteY1531" fmla="*/ 6385268 h 7800512"/>
                <a:gd name="connsiteX1532" fmla="*/ 729065 w 1958467"/>
                <a:gd name="connsiteY1532" fmla="*/ 6366208 h 7800512"/>
                <a:gd name="connsiteX1533" fmla="*/ 719535 w 1958467"/>
                <a:gd name="connsiteY1533" fmla="*/ 6356680 h 7800512"/>
                <a:gd name="connsiteX1534" fmla="*/ 714769 w 1958467"/>
                <a:gd name="connsiteY1534" fmla="*/ 6351912 h 7800512"/>
                <a:gd name="connsiteX1535" fmla="*/ 695709 w 1958467"/>
                <a:gd name="connsiteY1535" fmla="*/ 6332852 h 7800512"/>
                <a:gd name="connsiteX1536" fmla="*/ 681413 w 1958467"/>
                <a:gd name="connsiteY1536" fmla="*/ 6313792 h 7800512"/>
                <a:gd name="connsiteX1537" fmla="*/ 710005 w 1958467"/>
                <a:gd name="connsiteY1537" fmla="*/ 6285200 h 7800512"/>
                <a:gd name="connsiteX1538" fmla="*/ 729065 w 1958467"/>
                <a:gd name="connsiteY1538" fmla="*/ 6261376 h 7800512"/>
                <a:gd name="connsiteX1539" fmla="*/ 776715 w 1958467"/>
                <a:gd name="connsiteY1539" fmla="*/ 6275672 h 7800512"/>
                <a:gd name="connsiteX1540" fmla="*/ 786247 w 1958467"/>
                <a:gd name="connsiteY1540" fmla="*/ 6266140 h 7800512"/>
                <a:gd name="connsiteX1541" fmla="*/ 776715 w 1958467"/>
                <a:gd name="connsiteY1541" fmla="*/ 6251844 h 7800512"/>
                <a:gd name="connsiteX1542" fmla="*/ 767185 w 1958467"/>
                <a:gd name="connsiteY1542" fmla="*/ 6256612 h 7800512"/>
                <a:gd name="connsiteX1543" fmla="*/ 752891 w 1958467"/>
                <a:gd name="connsiteY1543" fmla="*/ 6247080 h 7800512"/>
                <a:gd name="connsiteX1544" fmla="*/ 729065 w 1958467"/>
                <a:gd name="connsiteY1544" fmla="*/ 6213724 h 7800512"/>
                <a:gd name="connsiteX1545" fmla="*/ 729065 w 1958467"/>
                <a:gd name="connsiteY1545" fmla="*/ 6199428 h 7800512"/>
                <a:gd name="connsiteX1546" fmla="*/ 733829 w 1958467"/>
                <a:gd name="connsiteY1546" fmla="*/ 6170840 h 7800512"/>
                <a:gd name="connsiteX1547" fmla="*/ 743361 w 1958467"/>
                <a:gd name="connsiteY1547" fmla="*/ 6166072 h 7800512"/>
                <a:gd name="connsiteX1548" fmla="*/ 762421 w 1958467"/>
                <a:gd name="connsiteY1548" fmla="*/ 6161308 h 7800512"/>
                <a:gd name="connsiteX1549" fmla="*/ 786247 w 1958467"/>
                <a:gd name="connsiteY1549" fmla="*/ 6170840 h 7800512"/>
                <a:gd name="connsiteX1550" fmla="*/ 795777 w 1958467"/>
                <a:gd name="connsiteY1550" fmla="*/ 6175604 h 7800512"/>
                <a:gd name="connsiteX1551" fmla="*/ 805307 w 1958467"/>
                <a:gd name="connsiteY1551" fmla="*/ 6175604 h 7800512"/>
                <a:gd name="connsiteX1552" fmla="*/ 795777 w 1958467"/>
                <a:gd name="connsiteY1552" fmla="*/ 6151776 h 7800512"/>
                <a:gd name="connsiteX1553" fmla="*/ 781481 w 1958467"/>
                <a:gd name="connsiteY1553" fmla="*/ 6147012 h 7800512"/>
                <a:gd name="connsiteX1554" fmla="*/ 762421 w 1958467"/>
                <a:gd name="connsiteY1554" fmla="*/ 6132716 h 7800512"/>
                <a:gd name="connsiteX1555" fmla="*/ 767185 w 1958467"/>
                <a:gd name="connsiteY1555" fmla="*/ 6113656 h 7800512"/>
                <a:gd name="connsiteX1556" fmla="*/ 771951 w 1958467"/>
                <a:gd name="connsiteY1556" fmla="*/ 6099360 h 7800512"/>
                <a:gd name="connsiteX1557" fmla="*/ 776715 w 1958467"/>
                <a:gd name="connsiteY1557" fmla="*/ 6085064 h 7800512"/>
                <a:gd name="connsiteX1558" fmla="*/ 776715 w 1958467"/>
                <a:gd name="connsiteY1558" fmla="*/ 6066004 h 7800512"/>
                <a:gd name="connsiteX1559" fmla="*/ 776715 w 1958467"/>
                <a:gd name="connsiteY1559" fmla="*/ 6051712 h 7800512"/>
                <a:gd name="connsiteX1560" fmla="*/ 781481 w 1958467"/>
                <a:gd name="connsiteY1560" fmla="*/ 6042180 h 7800512"/>
                <a:gd name="connsiteX1561" fmla="*/ 791011 w 1958467"/>
                <a:gd name="connsiteY1561" fmla="*/ 6037416 h 7800512"/>
                <a:gd name="connsiteX1562" fmla="*/ 791011 w 1958467"/>
                <a:gd name="connsiteY1562" fmla="*/ 6032648 h 7800512"/>
                <a:gd name="connsiteX1563" fmla="*/ 776715 w 1958467"/>
                <a:gd name="connsiteY1563" fmla="*/ 6032648 h 7800512"/>
                <a:gd name="connsiteX1564" fmla="*/ 767185 w 1958467"/>
                <a:gd name="connsiteY1564" fmla="*/ 6051712 h 7800512"/>
                <a:gd name="connsiteX1565" fmla="*/ 767185 w 1958467"/>
                <a:gd name="connsiteY1565" fmla="*/ 6070772 h 7800512"/>
                <a:gd name="connsiteX1566" fmla="*/ 757655 w 1958467"/>
                <a:gd name="connsiteY1566" fmla="*/ 6089832 h 7800512"/>
                <a:gd name="connsiteX1567" fmla="*/ 752891 w 1958467"/>
                <a:gd name="connsiteY1567" fmla="*/ 6104128 h 7800512"/>
                <a:gd name="connsiteX1568" fmla="*/ 748125 w 1958467"/>
                <a:gd name="connsiteY1568" fmla="*/ 6123188 h 7800512"/>
                <a:gd name="connsiteX1569" fmla="*/ 743361 w 1958467"/>
                <a:gd name="connsiteY1569" fmla="*/ 6147012 h 7800512"/>
                <a:gd name="connsiteX1570" fmla="*/ 733829 w 1958467"/>
                <a:gd name="connsiteY1570" fmla="*/ 6137484 h 7800512"/>
                <a:gd name="connsiteX1571" fmla="*/ 724299 w 1958467"/>
                <a:gd name="connsiteY1571" fmla="*/ 6127952 h 7800512"/>
                <a:gd name="connsiteX1572" fmla="*/ 719535 w 1958467"/>
                <a:gd name="connsiteY1572" fmla="*/ 6123188 h 7800512"/>
                <a:gd name="connsiteX1573" fmla="*/ 724299 w 1958467"/>
                <a:gd name="connsiteY1573" fmla="*/ 6113656 h 7800512"/>
                <a:gd name="connsiteX1574" fmla="*/ 719535 w 1958467"/>
                <a:gd name="connsiteY1574" fmla="*/ 6037416 h 7800512"/>
                <a:gd name="connsiteX1575" fmla="*/ 719535 w 1958467"/>
                <a:gd name="connsiteY1575" fmla="*/ 5980232 h 7800512"/>
                <a:gd name="connsiteX1576" fmla="*/ 724299 w 1958467"/>
                <a:gd name="connsiteY1576" fmla="*/ 5932584 h 7800512"/>
                <a:gd name="connsiteX1577" fmla="*/ 743361 w 1958467"/>
                <a:gd name="connsiteY1577" fmla="*/ 5913520 h 7800512"/>
                <a:gd name="connsiteX1578" fmla="*/ 752891 w 1958467"/>
                <a:gd name="connsiteY1578" fmla="*/ 5908756 h 7800512"/>
                <a:gd name="connsiteX1579" fmla="*/ 757655 w 1958467"/>
                <a:gd name="connsiteY1579" fmla="*/ 5908756 h 7800512"/>
                <a:gd name="connsiteX1580" fmla="*/ 771951 w 1958467"/>
                <a:gd name="connsiteY1580" fmla="*/ 5908756 h 7800512"/>
                <a:gd name="connsiteX1581" fmla="*/ 776715 w 1958467"/>
                <a:gd name="connsiteY1581" fmla="*/ 5903992 h 7800512"/>
                <a:gd name="connsiteX1582" fmla="*/ 752891 w 1958467"/>
                <a:gd name="connsiteY1582" fmla="*/ 5894460 h 7800512"/>
                <a:gd name="connsiteX1583" fmla="*/ 738595 w 1958467"/>
                <a:gd name="connsiteY1583" fmla="*/ 5899224 h 7800512"/>
                <a:gd name="connsiteX1584" fmla="*/ 724299 w 1958467"/>
                <a:gd name="connsiteY1584" fmla="*/ 5908756 h 7800512"/>
                <a:gd name="connsiteX1585" fmla="*/ 705239 w 1958467"/>
                <a:gd name="connsiteY1585" fmla="*/ 5899224 h 7800512"/>
                <a:gd name="connsiteX1586" fmla="*/ 700473 w 1958467"/>
                <a:gd name="connsiteY1586" fmla="*/ 5875400 h 7800512"/>
                <a:gd name="connsiteX1587" fmla="*/ 690943 w 1958467"/>
                <a:gd name="connsiteY1587" fmla="*/ 5856340 h 7800512"/>
                <a:gd name="connsiteX1588" fmla="*/ 686179 w 1958467"/>
                <a:gd name="connsiteY1588" fmla="*/ 5827748 h 7800512"/>
                <a:gd name="connsiteX1589" fmla="*/ 686179 w 1958467"/>
                <a:gd name="connsiteY1589" fmla="*/ 5789628 h 7800512"/>
                <a:gd name="connsiteX1590" fmla="*/ 714769 w 1958467"/>
                <a:gd name="connsiteY1590" fmla="*/ 5794392 h 7800512"/>
                <a:gd name="connsiteX1591" fmla="*/ 738595 w 1958467"/>
                <a:gd name="connsiteY1591" fmla="*/ 5803924 h 7800512"/>
                <a:gd name="connsiteX1592" fmla="*/ 800541 w 1958467"/>
                <a:gd name="connsiteY1592" fmla="*/ 5803924 h 7800512"/>
                <a:gd name="connsiteX1593" fmla="*/ 852957 w 1958467"/>
                <a:gd name="connsiteY1593" fmla="*/ 5837280 h 7800512"/>
                <a:gd name="connsiteX1594" fmla="*/ 876783 w 1958467"/>
                <a:gd name="connsiteY1594" fmla="*/ 5832512 h 7800512"/>
                <a:gd name="connsiteX1595" fmla="*/ 872019 w 1958467"/>
                <a:gd name="connsiteY1595" fmla="*/ 5827748 h 7800512"/>
                <a:gd name="connsiteX1596" fmla="*/ 857723 w 1958467"/>
                <a:gd name="connsiteY1596" fmla="*/ 5818220 h 7800512"/>
                <a:gd name="connsiteX1597" fmla="*/ 848193 w 1958467"/>
                <a:gd name="connsiteY1597" fmla="*/ 5794392 h 7800512"/>
                <a:gd name="connsiteX1598" fmla="*/ 838663 w 1958467"/>
                <a:gd name="connsiteY1598" fmla="*/ 5789628 h 7800512"/>
                <a:gd name="connsiteX1599" fmla="*/ 838663 w 1958467"/>
                <a:gd name="connsiteY1599" fmla="*/ 5780096 h 7800512"/>
                <a:gd name="connsiteX1600" fmla="*/ 833897 w 1958467"/>
                <a:gd name="connsiteY1600" fmla="*/ 5765804 h 7800512"/>
                <a:gd name="connsiteX1601" fmla="*/ 824367 w 1958467"/>
                <a:gd name="connsiteY1601" fmla="*/ 5713384 h 7800512"/>
                <a:gd name="connsiteX1602" fmla="*/ 819603 w 1958467"/>
                <a:gd name="connsiteY1602" fmla="*/ 5713384 h 7800512"/>
                <a:gd name="connsiteX1603" fmla="*/ 814837 w 1958467"/>
                <a:gd name="connsiteY1603" fmla="*/ 5732448 h 7800512"/>
                <a:gd name="connsiteX1604" fmla="*/ 800541 w 1958467"/>
                <a:gd name="connsiteY1604" fmla="*/ 5761036 h 7800512"/>
                <a:gd name="connsiteX1605" fmla="*/ 786247 w 1958467"/>
                <a:gd name="connsiteY1605" fmla="*/ 5775332 h 7800512"/>
                <a:gd name="connsiteX1606" fmla="*/ 767185 w 1958467"/>
                <a:gd name="connsiteY1606" fmla="*/ 5780096 h 7800512"/>
                <a:gd name="connsiteX1607" fmla="*/ 743361 w 1958467"/>
                <a:gd name="connsiteY1607" fmla="*/ 5784864 h 7800512"/>
                <a:gd name="connsiteX1608" fmla="*/ 724299 w 1958467"/>
                <a:gd name="connsiteY1608" fmla="*/ 5780096 h 7800512"/>
                <a:gd name="connsiteX1609" fmla="*/ 719535 w 1958467"/>
                <a:gd name="connsiteY1609" fmla="*/ 5765804 h 7800512"/>
                <a:gd name="connsiteX1610" fmla="*/ 719535 w 1958467"/>
                <a:gd name="connsiteY1610" fmla="*/ 5751508 h 7800512"/>
                <a:gd name="connsiteX1611" fmla="*/ 710005 w 1958467"/>
                <a:gd name="connsiteY1611" fmla="*/ 5746744 h 7800512"/>
                <a:gd name="connsiteX1612" fmla="*/ 690943 w 1958467"/>
                <a:gd name="connsiteY1612" fmla="*/ 5737212 h 7800512"/>
                <a:gd name="connsiteX1613" fmla="*/ 681413 w 1958467"/>
                <a:gd name="connsiteY1613" fmla="*/ 5737212 h 7800512"/>
                <a:gd name="connsiteX1614" fmla="*/ 676649 w 1958467"/>
                <a:gd name="connsiteY1614" fmla="*/ 5722916 h 7800512"/>
                <a:gd name="connsiteX1615" fmla="*/ 686179 w 1958467"/>
                <a:gd name="connsiteY1615" fmla="*/ 5703856 h 7800512"/>
                <a:gd name="connsiteX1616" fmla="*/ 695709 w 1958467"/>
                <a:gd name="connsiteY1616" fmla="*/ 5689560 h 7800512"/>
                <a:gd name="connsiteX1617" fmla="*/ 705239 w 1958467"/>
                <a:gd name="connsiteY1617" fmla="*/ 5694324 h 7800512"/>
                <a:gd name="connsiteX1618" fmla="*/ 714769 w 1958467"/>
                <a:gd name="connsiteY1618" fmla="*/ 5699092 h 7800512"/>
                <a:gd name="connsiteX1619" fmla="*/ 729065 w 1958467"/>
                <a:gd name="connsiteY1619" fmla="*/ 5713384 h 7800512"/>
                <a:gd name="connsiteX1620" fmla="*/ 738595 w 1958467"/>
                <a:gd name="connsiteY1620" fmla="*/ 5718152 h 7800512"/>
                <a:gd name="connsiteX1621" fmla="*/ 752891 w 1958467"/>
                <a:gd name="connsiteY1621" fmla="*/ 5703856 h 7800512"/>
                <a:gd name="connsiteX1622" fmla="*/ 757655 w 1958467"/>
                <a:gd name="connsiteY1622" fmla="*/ 5699092 h 7800512"/>
                <a:gd name="connsiteX1623" fmla="*/ 748125 w 1958467"/>
                <a:gd name="connsiteY1623" fmla="*/ 5689560 h 7800512"/>
                <a:gd name="connsiteX1624" fmla="*/ 738595 w 1958467"/>
                <a:gd name="connsiteY1624" fmla="*/ 5689560 h 7800512"/>
                <a:gd name="connsiteX1625" fmla="*/ 729065 w 1958467"/>
                <a:gd name="connsiteY1625" fmla="*/ 5684796 h 7800512"/>
                <a:gd name="connsiteX1626" fmla="*/ 705239 w 1958467"/>
                <a:gd name="connsiteY1626" fmla="*/ 5660968 h 7800512"/>
                <a:gd name="connsiteX1627" fmla="*/ 714769 w 1958467"/>
                <a:gd name="connsiteY1627" fmla="*/ 5637144 h 7800512"/>
                <a:gd name="connsiteX1628" fmla="*/ 743361 w 1958467"/>
                <a:gd name="connsiteY1628" fmla="*/ 5608552 h 7800512"/>
                <a:gd name="connsiteX1629" fmla="*/ 752891 w 1958467"/>
                <a:gd name="connsiteY1629" fmla="*/ 5603788 h 7800512"/>
                <a:gd name="connsiteX1630" fmla="*/ 748125 w 1958467"/>
                <a:gd name="connsiteY1630" fmla="*/ 5579964 h 7800512"/>
                <a:gd name="connsiteX1631" fmla="*/ 752891 w 1958467"/>
                <a:gd name="connsiteY1631" fmla="*/ 5556136 h 7800512"/>
                <a:gd name="connsiteX1632" fmla="*/ 748125 w 1958467"/>
                <a:gd name="connsiteY1632" fmla="*/ 5532312 h 7800512"/>
                <a:gd name="connsiteX1633" fmla="*/ 729065 w 1958467"/>
                <a:gd name="connsiteY1633" fmla="*/ 5513252 h 7800512"/>
                <a:gd name="connsiteX1634" fmla="*/ 710005 w 1958467"/>
                <a:gd name="connsiteY1634" fmla="*/ 5508484 h 7800512"/>
                <a:gd name="connsiteX1635" fmla="*/ 705239 w 1958467"/>
                <a:gd name="connsiteY1635" fmla="*/ 5513252 h 7800512"/>
                <a:gd name="connsiteX1636" fmla="*/ 700473 w 1958467"/>
                <a:gd name="connsiteY1636" fmla="*/ 5522780 h 7800512"/>
                <a:gd name="connsiteX1637" fmla="*/ 705239 w 1958467"/>
                <a:gd name="connsiteY1637" fmla="*/ 5527544 h 7800512"/>
                <a:gd name="connsiteX1638" fmla="*/ 705239 w 1958467"/>
                <a:gd name="connsiteY1638" fmla="*/ 5532312 h 7800512"/>
                <a:gd name="connsiteX1639" fmla="*/ 700473 w 1958467"/>
                <a:gd name="connsiteY1639" fmla="*/ 5532312 h 7800512"/>
                <a:gd name="connsiteX1640" fmla="*/ 671883 w 1958467"/>
                <a:gd name="connsiteY1640" fmla="*/ 5527544 h 7800512"/>
                <a:gd name="connsiteX1641" fmla="*/ 652823 w 1958467"/>
                <a:gd name="connsiteY1641" fmla="*/ 5513252 h 7800512"/>
                <a:gd name="connsiteX1642" fmla="*/ 619467 w 1958467"/>
                <a:gd name="connsiteY1642" fmla="*/ 5503720 h 7800512"/>
                <a:gd name="connsiteX1643" fmla="*/ 619467 w 1958467"/>
                <a:gd name="connsiteY1643" fmla="*/ 5489424 h 7800512"/>
                <a:gd name="connsiteX1644" fmla="*/ 614701 w 1958467"/>
                <a:gd name="connsiteY1644" fmla="*/ 5475128 h 7800512"/>
                <a:gd name="connsiteX1645" fmla="*/ 624231 w 1958467"/>
                <a:gd name="connsiteY1645" fmla="*/ 5451304 h 7800512"/>
                <a:gd name="connsiteX1646" fmla="*/ 619467 w 1958467"/>
                <a:gd name="connsiteY1646" fmla="*/ 5451304 h 7800512"/>
                <a:gd name="connsiteX1647" fmla="*/ 600407 w 1958467"/>
                <a:gd name="connsiteY1647" fmla="*/ 5470364 h 7800512"/>
                <a:gd name="connsiteX1648" fmla="*/ 571815 w 1958467"/>
                <a:gd name="connsiteY1648" fmla="*/ 5479896 h 7800512"/>
                <a:gd name="connsiteX1649" fmla="*/ 547989 w 1958467"/>
                <a:gd name="connsiteY1649" fmla="*/ 5484660 h 7800512"/>
                <a:gd name="connsiteX1650" fmla="*/ 538459 w 1958467"/>
                <a:gd name="connsiteY1650" fmla="*/ 5489424 h 7800512"/>
                <a:gd name="connsiteX1651" fmla="*/ 533695 w 1958467"/>
                <a:gd name="connsiteY1651" fmla="*/ 5498956 h 7800512"/>
                <a:gd name="connsiteX1652" fmla="*/ 538459 w 1958467"/>
                <a:gd name="connsiteY1652" fmla="*/ 5503720 h 7800512"/>
                <a:gd name="connsiteX1653" fmla="*/ 552755 w 1958467"/>
                <a:gd name="connsiteY1653" fmla="*/ 5503720 h 7800512"/>
                <a:gd name="connsiteX1654" fmla="*/ 562285 w 1958467"/>
                <a:gd name="connsiteY1654" fmla="*/ 5527544 h 7800512"/>
                <a:gd name="connsiteX1655" fmla="*/ 557521 w 1958467"/>
                <a:gd name="connsiteY1655" fmla="*/ 5537076 h 7800512"/>
                <a:gd name="connsiteX1656" fmla="*/ 557521 w 1958467"/>
                <a:gd name="connsiteY1656" fmla="*/ 5546608 h 7800512"/>
                <a:gd name="connsiteX1657" fmla="*/ 543225 w 1958467"/>
                <a:gd name="connsiteY1657" fmla="*/ 5546608 h 7800512"/>
                <a:gd name="connsiteX1658" fmla="*/ 524165 w 1958467"/>
                <a:gd name="connsiteY1658" fmla="*/ 5527544 h 7800512"/>
                <a:gd name="connsiteX1659" fmla="*/ 514635 w 1958467"/>
                <a:gd name="connsiteY1659" fmla="*/ 5508484 h 7800512"/>
                <a:gd name="connsiteX1660" fmla="*/ 514635 w 1958467"/>
                <a:gd name="connsiteY1660" fmla="*/ 5494192 h 7800512"/>
                <a:gd name="connsiteX1661" fmla="*/ 519399 w 1958467"/>
                <a:gd name="connsiteY1661" fmla="*/ 5470364 h 7800512"/>
                <a:gd name="connsiteX1662" fmla="*/ 552755 w 1958467"/>
                <a:gd name="connsiteY1662" fmla="*/ 5441776 h 7800512"/>
                <a:gd name="connsiteX1663" fmla="*/ 562285 w 1958467"/>
                <a:gd name="connsiteY1663" fmla="*/ 5432244 h 7800512"/>
                <a:gd name="connsiteX1664" fmla="*/ 586111 w 1958467"/>
                <a:gd name="connsiteY1664" fmla="*/ 5417948 h 7800512"/>
                <a:gd name="connsiteX1665" fmla="*/ 609937 w 1958467"/>
                <a:gd name="connsiteY1665" fmla="*/ 5384592 h 7800512"/>
                <a:gd name="connsiteX1666" fmla="*/ 633763 w 1958467"/>
                <a:gd name="connsiteY1666" fmla="*/ 5370296 h 7800512"/>
                <a:gd name="connsiteX1667" fmla="*/ 624231 w 1958467"/>
                <a:gd name="connsiteY1667" fmla="*/ 5356000 h 7800512"/>
                <a:gd name="connsiteX1668" fmla="*/ 609937 w 1958467"/>
                <a:gd name="connsiteY1668" fmla="*/ 5332176 h 7800512"/>
                <a:gd name="connsiteX1669" fmla="*/ 614701 w 1958467"/>
                <a:gd name="connsiteY1669" fmla="*/ 5303584 h 7800512"/>
                <a:gd name="connsiteX1670" fmla="*/ 657587 w 1958467"/>
                <a:gd name="connsiteY1670" fmla="*/ 5294056 h 7800512"/>
                <a:gd name="connsiteX1671" fmla="*/ 681413 w 1958467"/>
                <a:gd name="connsiteY1671" fmla="*/ 5298820 h 7800512"/>
                <a:gd name="connsiteX1672" fmla="*/ 705239 w 1958467"/>
                <a:gd name="connsiteY1672" fmla="*/ 5298820 h 7800512"/>
                <a:gd name="connsiteX1673" fmla="*/ 719535 w 1958467"/>
                <a:gd name="connsiteY1673" fmla="*/ 5289288 h 7800512"/>
                <a:gd name="connsiteX1674" fmla="*/ 733829 w 1958467"/>
                <a:gd name="connsiteY1674" fmla="*/ 5289288 h 7800512"/>
                <a:gd name="connsiteX1675" fmla="*/ 752891 w 1958467"/>
                <a:gd name="connsiteY1675" fmla="*/ 5279760 h 7800512"/>
                <a:gd name="connsiteX1676" fmla="*/ 762421 w 1958467"/>
                <a:gd name="connsiteY1676" fmla="*/ 5270228 h 7800512"/>
                <a:gd name="connsiteX1677" fmla="*/ 767185 w 1958467"/>
                <a:gd name="connsiteY1677" fmla="*/ 5260700 h 7800512"/>
                <a:gd name="connsiteX1678" fmla="*/ 767185 w 1958467"/>
                <a:gd name="connsiteY1678" fmla="*/ 5255936 h 7800512"/>
                <a:gd name="connsiteX1679" fmla="*/ 762421 w 1958467"/>
                <a:gd name="connsiteY1679" fmla="*/ 5246404 h 7800512"/>
                <a:gd name="connsiteX1680" fmla="*/ 757655 w 1958467"/>
                <a:gd name="connsiteY1680" fmla="*/ 5222576 h 7800512"/>
                <a:gd name="connsiteX1681" fmla="*/ 762421 w 1958467"/>
                <a:gd name="connsiteY1681" fmla="*/ 5213048 h 7800512"/>
                <a:gd name="connsiteX1682" fmla="*/ 771951 w 1958467"/>
                <a:gd name="connsiteY1682" fmla="*/ 5203516 h 7800512"/>
                <a:gd name="connsiteX1683" fmla="*/ 786247 w 1958467"/>
                <a:gd name="connsiteY1683" fmla="*/ 5198752 h 7800512"/>
                <a:gd name="connsiteX1684" fmla="*/ 791011 w 1958467"/>
                <a:gd name="connsiteY1684" fmla="*/ 5203516 h 7800512"/>
                <a:gd name="connsiteX1685" fmla="*/ 805307 w 1958467"/>
                <a:gd name="connsiteY1685" fmla="*/ 5208284 h 7800512"/>
                <a:gd name="connsiteX1686" fmla="*/ 800541 w 1958467"/>
                <a:gd name="connsiteY1686" fmla="*/ 5222576 h 7800512"/>
                <a:gd name="connsiteX1687" fmla="*/ 795777 w 1958467"/>
                <a:gd name="connsiteY1687" fmla="*/ 5236872 h 7800512"/>
                <a:gd name="connsiteX1688" fmla="*/ 786247 w 1958467"/>
                <a:gd name="connsiteY1688" fmla="*/ 5298820 h 7800512"/>
                <a:gd name="connsiteX1689" fmla="*/ 776715 w 1958467"/>
                <a:gd name="connsiteY1689" fmla="*/ 5308352 h 7800512"/>
                <a:gd name="connsiteX1690" fmla="*/ 767185 w 1958467"/>
                <a:gd name="connsiteY1690" fmla="*/ 5322644 h 7800512"/>
                <a:gd name="connsiteX1691" fmla="*/ 776715 w 1958467"/>
                <a:gd name="connsiteY1691" fmla="*/ 5346472 h 7800512"/>
                <a:gd name="connsiteX1692" fmla="*/ 767185 w 1958467"/>
                <a:gd name="connsiteY1692" fmla="*/ 5365532 h 7800512"/>
                <a:gd name="connsiteX1693" fmla="*/ 724299 w 1958467"/>
                <a:gd name="connsiteY1693" fmla="*/ 5379828 h 7800512"/>
                <a:gd name="connsiteX1694" fmla="*/ 719535 w 1958467"/>
                <a:gd name="connsiteY1694" fmla="*/ 5384592 h 7800512"/>
                <a:gd name="connsiteX1695" fmla="*/ 719535 w 1958467"/>
                <a:gd name="connsiteY1695" fmla="*/ 5389356 h 7800512"/>
                <a:gd name="connsiteX1696" fmla="*/ 748125 w 1958467"/>
                <a:gd name="connsiteY1696" fmla="*/ 5389356 h 7800512"/>
                <a:gd name="connsiteX1697" fmla="*/ 767185 w 1958467"/>
                <a:gd name="connsiteY1697" fmla="*/ 5384592 h 7800512"/>
                <a:gd name="connsiteX1698" fmla="*/ 781481 w 1958467"/>
                <a:gd name="connsiteY1698" fmla="*/ 5370296 h 7800512"/>
                <a:gd name="connsiteX1699" fmla="*/ 791011 w 1958467"/>
                <a:gd name="connsiteY1699" fmla="*/ 5346472 h 7800512"/>
                <a:gd name="connsiteX1700" fmla="*/ 795777 w 1958467"/>
                <a:gd name="connsiteY1700" fmla="*/ 5298820 h 7800512"/>
                <a:gd name="connsiteX1701" fmla="*/ 810071 w 1958467"/>
                <a:gd name="connsiteY1701" fmla="*/ 5294056 h 7800512"/>
                <a:gd name="connsiteX1702" fmla="*/ 819603 w 1958467"/>
                <a:gd name="connsiteY1702" fmla="*/ 5289288 h 7800512"/>
                <a:gd name="connsiteX1703" fmla="*/ 824367 w 1958467"/>
                <a:gd name="connsiteY1703" fmla="*/ 5303584 h 7800512"/>
                <a:gd name="connsiteX1704" fmla="*/ 824367 w 1958467"/>
                <a:gd name="connsiteY1704" fmla="*/ 5327412 h 7800512"/>
                <a:gd name="connsiteX1705" fmla="*/ 824367 w 1958467"/>
                <a:gd name="connsiteY1705" fmla="*/ 5351236 h 7800512"/>
                <a:gd name="connsiteX1706" fmla="*/ 810071 w 1958467"/>
                <a:gd name="connsiteY1706" fmla="*/ 5417948 h 7800512"/>
                <a:gd name="connsiteX1707" fmla="*/ 791011 w 1958467"/>
                <a:gd name="connsiteY1707" fmla="*/ 5446540 h 7800512"/>
                <a:gd name="connsiteX1708" fmla="*/ 786247 w 1958467"/>
                <a:gd name="connsiteY1708" fmla="*/ 5456068 h 7800512"/>
                <a:gd name="connsiteX1709" fmla="*/ 786247 w 1958467"/>
                <a:gd name="connsiteY1709" fmla="*/ 5460836 h 7800512"/>
                <a:gd name="connsiteX1710" fmla="*/ 800541 w 1958467"/>
                <a:gd name="connsiteY1710" fmla="*/ 5460836 h 7800512"/>
                <a:gd name="connsiteX1711" fmla="*/ 814837 w 1958467"/>
                <a:gd name="connsiteY1711" fmla="*/ 5446540 h 7800512"/>
                <a:gd name="connsiteX1712" fmla="*/ 824367 w 1958467"/>
                <a:gd name="connsiteY1712" fmla="*/ 5427480 h 7800512"/>
                <a:gd name="connsiteX1713" fmla="*/ 833897 w 1958467"/>
                <a:gd name="connsiteY1713" fmla="*/ 5398888 h 7800512"/>
                <a:gd name="connsiteX1714" fmla="*/ 829133 w 1958467"/>
                <a:gd name="connsiteY1714" fmla="*/ 5379828 h 7800512"/>
                <a:gd name="connsiteX1715" fmla="*/ 833897 w 1958467"/>
                <a:gd name="connsiteY1715" fmla="*/ 5370296 h 7800512"/>
                <a:gd name="connsiteX1716" fmla="*/ 838663 w 1958467"/>
                <a:gd name="connsiteY1716" fmla="*/ 5332176 h 7800512"/>
                <a:gd name="connsiteX1717" fmla="*/ 843427 w 1958467"/>
                <a:gd name="connsiteY1717" fmla="*/ 5313116 h 7800512"/>
                <a:gd name="connsiteX1718" fmla="*/ 843427 w 1958467"/>
                <a:gd name="connsiteY1718" fmla="*/ 5284524 h 7800512"/>
                <a:gd name="connsiteX1719" fmla="*/ 833897 w 1958467"/>
                <a:gd name="connsiteY1719" fmla="*/ 5274996 h 7800512"/>
                <a:gd name="connsiteX1720" fmla="*/ 814837 w 1958467"/>
                <a:gd name="connsiteY1720" fmla="*/ 5265464 h 7800512"/>
                <a:gd name="connsiteX1721" fmla="*/ 814837 w 1958467"/>
                <a:gd name="connsiteY1721" fmla="*/ 5251168 h 7800512"/>
                <a:gd name="connsiteX1722" fmla="*/ 819603 w 1958467"/>
                <a:gd name="connsiteY1722" fmla="*/ 5217812 h 7800512"/>
                <a:gd name="connsiteX1723" fmla="*/ 848193 w 1958467"/>
                <a:gd name="connsiteY1723" fmla="*/ 5217812 h 7800512"/>
                <a:gd name="connsiteX1724" fmla="*/ 876783 w 1958467"/>
                <a:gd name="connsiteY1724" fmla="*/ 5193988 h 7800512"/>
                <a:gd name="connsiteX1725" fmla="*/ 891079 w 1958467"/>
                <a:gd name="connsiteY1725" fmla="*/ 5189224 h 7800512"/>
                <a:gd name="connsiteX1726" fmla="*/ 905375 w 1958467"/>
                <a:gd name="connsiteY1726" fmla="*/ 5189224 h 7800512"/>
                <a:gd name="connsiteX1727" fmla="*/ 938731 w 1958467"/>
                <a:gd name="connsiteY1727" fmla="*/ 5213048 h 7800512"/>
                <a:gd name="connsiteX1728" fmla="*/ 943495 w 1958467"/>
                <a:gd name="connsiteY1728" fmla="*/ 5213048 h 7800512"/>
                <a:gd name="connsiteX1729" fmla="*/ 943495 w 1958467"/>
                <a:gd name="connsiteY1729" fmla="*/ 5203516 h 7800512"/>
                <a:gd name="connsiteX1730" fmla="*/ 938731 w 1958467"/>
                <a:gd name="connsiteY1730" fmla="*/ 5198752 h 7800512"/>
                <a:gd name="connsiteX1731" fmla="*/ 924435 w 1958467"/>
                <a:gd name="connsiteY1731" fmla="*/ 5189224 h 7800512"/>
                <a:gd name="connsiteX1732" fmla="*/ 900609 w 1958467"/>
                <a:gd name="connsiteY1732" fmla="*/ 5165396 h 7800512"/>
                <a:gd name="connsiteX1733" fmla="*/ 867253 w 1958467"/>
                <a:gd name="connsiteY1733" fmla="*/ 5165396 h 7800512"/>
                <a:gd name="connsiteX1734" fmla="*/ 872019 w 1958467"/>
                <a:gd name="connsiteY1734" fmla="*/ 5132040 h 7800512"/>
                <a:gd name="connsiteX1735" fmla="*/ 876783 w 1958467"/>
                <a:gd name="connsiteY1735" fmla="*/ 5103448 h 7800512"/>
                <a:gd name="connsiteX1736" fmla="*/ 895845 w 1958467"/>
                <a:gd name="connsiteY1736" fmla="*/ 5103448 h 7800512"/>
                <a:gd name="connsiteX1737" fmla="*/ 924435 w 1958467"/>
                <a:gd name="connsiteY1737" fmla="*/ 5093920 h 7800512"/>
                <a:gd name="connsiteX1738" fmla="*/ 976851 w 1958467"/>
                <a:gd name="connsiteY1738" fmla="*/ 5051032 h 7800512"/>
                <a:gd name="connsiteX1739" fmla="*/ 986381 w 1958467"/>
                <a:gd name="connsiteY1739" fmla="*/ 5022444 h 7800512"/>
                <a:gd name="connsiteX1740" fmla="*/ 986381 w 1958467"/>
                <a:gd name="connsiteY1740" fmla="*/ 4984320 h 7800512"/>
                <a:gd name="connsiteX1741" fmla="*/ 962555 w 1958467"/>
                <a:gd name="connsiteY1741" fmla="*/ 4979556 h 7800512"/>
                <a:gd name="connsiteX1742" fmla="*/ 933965 w 1958467"/>
                <a:gd name="connsiteY1742" fmla="*/ 4955732 h 7800512"/>
                <a:gd name="connsiteX1743" fmla="*/ 914905 w 1958467"/>
                <a:gd name="connsiteY1743" fmla="*/ 4941436 h 7800512"/>
                <a:gd name="connsiteX1744" fmla="*/ 895845 w 1958467"/>
                <a:gd name="connsiteY1744" fmla="*/ 4927140 h 7800512"/>
                <a:gd name="connsiteX1745" fmla="*/ 895845 w 1958467"/>
                <a:gd name="connsiteY1745" fmla="*/ 4908080 h 7800512"/>
                <a:gd name="connsiteX1746" fmla="*/ 900609 w 1958467"/>
                <a:gd name="connsiteY1746" fmla="*/ 4869960 h 7800512"/>
                <a:gd name="connsiteX1747" fmla="*/ 924435 w 1958467"/>
                <a:gd name="connsiteY1747" fmla="*/ 4860428 h 7800512"/>
                <a:gd name="connsiteX1748" fmla="*/ 933965 w 1958467"/>
                <a:gd name="connsiteY1748" fmla="*/ 4812776 h 7800512"/>
                <a:gd name="connsiteX1749" fmla="*/ 919669 w 1958467"/>
                <a:gd name="connsiteY1749" fmla="*/ 4774656 h 7800512"/>
                <a:gd name="connsiteX1750" fmla="*/ 924435 w 1958467"/>
                <a:gd name="connsiteY1750" fmla="*/ 4746064 h 7800512"/>
                <a:gd name="connsiteX1751" fmla="*/ 943495 w 1958467"/>
                <a:gd name="connsiteY1751" fmla="*/ 4722240 h 7800512"/>
                <a:gd name="connsiteX1752" fmla="*/ 948261 w 1958467"/>
                <a:gd name="connsiteY1752" fmla="*/ 4703180 h 7800512"/>
                <a:gd name="connsiteX1753" fmla="*/ 953025 w 1958467"/>
                <a:gd name="connsiteY1753" fmla="*/ 4688884 h 7800512"/>
                <a:gd name="connsiteX1754" fmla="*/ 972087 w 1958467"/>
                <a:gd name="connsiteY1754" fmla="*/ 4684120 h 7800512"/>
                <a:gd name="connsiteX1755" fmla="*/ 972087 w 1958467"/>
                <a:gd name="connsiteY1755" fmla="*/ 4674588 h 7800512"/>
                <a:gd name="connsiteX1756" fmla="*/ 972087 w 1958467"/>
                <a:gd name="connsiteY1756" fmla="*/ 4655528 h 7800512"/>
                <a:gd name="connsiteX1757" fmla="*/ 957791 w 1958467"/>
                <a:gd name="connsiteY1757" fmla="*/ 4636468 h 7800512"/>
                <a:gd name="connsiteX1758" fmla="*/ 957791 w 1958467"/>
                <a:gd name="connsiteY1758" fmla="*/ 4607876 h 7800512"/>
                <a:gd name="connsiteX1759" fmla="*/ 972087 w 1958467"/>
                <a:gd name="connsiteY1759" fmla="*/ 4569756 h 7800512"/>
                <a:gd name="connsiteX1760" fmla="*/ 991147 w 1958467"/>
                <a:gd name="connsiteY1760" fmla="*/ 4574520 h 7800512"/>
                <a:gd name="connsiteX1761" fmla="*/ 991147 w 1958467"/>
                <a:gd name="connsiteY1761" fmla="*/ 4569756 h 7800512"/>
                <a:gd name="connsiteX1762" fmla="*/ 976851 w 1958467"/>
                <a:gd name="connsiteY1762" fmla="*/ 4550696 h 7800512"/>
                <a:gd name="connsiteX1763" fmla="*/ 967321 w 1958467"/>
                <a:gd name="connsiteY1763" fmla="*/ 4526868 h 7800512"/>
                <a:gd name="connsiteX1764" fmla="*/ 972087 w 1958467"/>
                <a:gd name="connsiteY1764" fmla="*/ 4517340 h 7800512"/>
                <a:gd name="connsiteX1765" fmla="*/ 981617 w 1958467"/>
                <a:gd name="connsiteY1765" fmla="*/ 4512576 h 7800512"/>
                <a:gd name="connsiteX1766" fmla="*/ 991147 w 1958467"/>
                <a:gd name="connsiteY1766" fmla="*/ 4507808 h 7800512"/>
                <a:gd name="connsiteX1767" fmla="*/ 1005443 w 1958467"/>
                <a:gd name="connsiteY1767" fmla="*/ 4517340 h 7800512"/>
                <a:gd name="connsiteX1768" fmla="*/ 1024503 w 1958467"/>
                <a:gd name="connsiteY1768" fmla="*/ 4555460 h 7800512"/>
                <a:gd name="connsiteX1769" fmla="*/ 1024503 w 1958467"/>
                <a:gd name="connsiteY1769" fmla="*/ 4545928 h 7800512"/>
                <a:gd name="connsiteX1770" fmla="*/ 1019737 w 1958467"/>
                <a:gd name="connsiteY1770" fmla="*/ 4507808 h 7800512"/>
                <a:gd name="connsiteX1771" fmla="*/ 1014973 w 1958467"/>
                <a:gd name="connsiteY1771" fmla="*/ 4460156 h 7800512"/>
                <a:gd name="connsiteX1772" fmla="*/ 995911 w 1958467"/>
                <a:gd name="connsiteY1772" fmla="*/ 4464924 h 7800512"/>
                <a:gd name="connsiteX1773" fmla="*/ 976851 w 1958467"/>
                <a:gd name="connsiteY1773" fmla="*/ 4464924 h 7800512"/>
                <a:gd name="connsiteX1774" fmla="*/ 967321 w 1958467"/>
                <a:gd name="connsiteY1774" fmla="*/ 4455392 h 7800512"/>
                <a:gd name="connsiteX1775" fmla="*/ 962555 w 1958467"/>
                <a:gd name="connsiteY1775" fmla="*/ 4445864 h 7800512"/>
                <a:gd name="connsiteX1776" fmla="*/ 967321 w 1958467"/>
                <a:gd name="connsiteY1776" fmla="*/ 4431568 h 7800512"/>
                <a:gd name="connsiteX1777" fmla="*/ 976851 w 1958467"/>
                <a:gd name="connsiteY1777" fmla="*/ 4422036 h 7800512"/>
                <a:gd name="connsiteX1778" fmla="*/ 986381 w 1958467"/>
                <a:gd name="connsiteY1778" fmla="*/ 4412508 h 7800512"/>
                <a:gd name="connsiteX1779" fmla="*/ 1014973 w 1958467"/>
                <a:gd name="connsiteY1779" fmla="*/ 4407740 h 7800512"/>
                <a:gd name="connsiteX1780" fmla="*/ 1034033 w 1958467"/>
                <a:gd name="connsiteY1780" fmla="*/ 4393448 h 7800512"/>
                <a:gd name="connsiteX1781" fmla="*/ 1043563 w 1958467"/>
                <a:gd name="connsiteY1781" fmla="*/ 4360088 h 7800512"/>
                <a:gd name="connsiteX1782" fmla="*/ 1034033 w 1958467"/>
                <a:gd name="connsiteY1782" fmla="*/ 4364856 h 7800512"/>
                <a:gd name="connsiteX1783" fmla="*/ 1024503 w 1958467"/>
                <a:gd name="connsiteY1783" fmla="*/ 4388680 h 7800512"/>
                <a:gd name="connsiteX1784" fmla="*/ 1005443 w 1958467"/>
                <a:gd name="connsiteY1784" fmla="*/ 4398212 h 7800512"/>
                <a:gd name="connsiteX1785" fmla="*/ 995911 w 1958467"/>
                <a:gd name="connsiteY1785" fmla="*/ 4398212 h 7800512"/>
                <a:gd name="connsiteX1786" fmla="*/ 986381 w 1958467"/>
                <a:gd name="connsiteY1786" fmla="*/ 4393448 h 7800512"/>
                <a:gd name="connsiteX1787" fmla="*/ 967321 w 1958467"/>
                <a:gd name="connsiteY1787" fmla="*/ 4369620 h 7800512"/>
                <a:gd name="connsiteX1788" fmla="*/ 953025 w 1958467"/>
                <a:gd name="connsiteY1788" fmla="*/ 4364856 h 7800512"/>
                <a:gd name="connsiteX1789" fmla="*/ 943495 w 1958467"/>
                <a:gd name="connsiteY1789" fmla="*/ 4364856 h 7800512"/>
                <a:gd name="connsiteX1790" fmla="*/ 933965 w 1958467"/>
                <a:gd name="connsiteY1790" fmla="*/ 4369620 h 7800512"/>
                <a:gd name="connsiteX1791" fmla="*/ 910139 w 1958467"/>
                <a:gd name="connsiteY1791" fmla="*/ 4412508 h 7800512"/>
                <a:gd name="connsiteX1792" fmla="*/ 895845 w 1958467"/>
                <a:gd name="connsiteY1792" fmla="*/ 4417272 h 7800512"/>
                <a:gd name="connsiteX1793" fmla="*/ 852957 w 1958467"/>
                <a:gd name="connsiteY1793" fmla="*/ 4422036 h 7800512"/>
                <a:gd name="connsiteX1794" fmla="*/ 838663 w 1958467"/>
                <a:gd name="connsiteY1794" fmla="*/ 4417272 h 7800512"/>
                <a:gd name="connsiteX1795" fmla="*/ 819603 w 1958467"/>
                <a:gd name="connsiteY1795" fmla="*/ 4412508 h 7800512"/>
                <a:gd name="connsiteX1796" fmla="*/ 819603 w 1958467"/>
                <a:gd name="connsiteY1796" fmla="*/ 4398212 h 7800512"/>
                <a:gd name="connsiteX1797" fmla="*/ 829133 w 1958467"/>
                <a:gd name="connsiteY1797" fmla="*/ 4388680 h 7800512"/>
                <a:gd name="connsiteX1798" fmla="*/ 838663 w 1958467"/>
                <a:gd name="connsiteY1798" fmla="*/ 4383916 h 7800512"/>
                <a:gd name="connsiteX1799" fmla="*/ 838663 w 1958467"/>
                <a:gd name="connsiteY1799" fmla="*/ 4374384 h 7800512"/>
                <a:gd name="connsiteX1800" fmla="*/ 824367 w 1958467"/>
                <a:gd name="connsiteY1800" fmla="*/ 4374384 h 7800512"/>
                <a:gd name="connsiteX1801" fmla="*/ 810071 w 1958467"/>
                <a:gd name="connsiteY1801" fmla="*/ 4364856 h 7800512"/>
                <a:gd name="connsiteX1802" fmla="*/ 800541 w 1958467"/>
                <a:gd name="connsiteY1802" fmla="*/ 4350560 h 7800512"/>
                <a:gd name="connsiteX1803" fmla="*/ 795777 w 1958467"/>
                <a:gd name="connsiteY1803" fmla="*/ 4321968 h 7800512"/>
                <a:gd name="connsiteX1804" fmla="*/ 781481 w 1958467"/>
                <a:gd name="connsiteY1804" fmla="*/ 4279084 h 7800512"/>
                <a:gd name="connsiteX1805" fmla="*/ 781481 w 1958467"/>
                <a:gd name="connsiteY1805" fmla="*/ 4250492 h 7800512"/>
                <a:gd name="connsiteX1806" fmla="*/ 791011 w 1958467"/>
                <a:gd name="connsiteY1806" fmla="*/ 4231432 h 7800512"/>
                <a:gd name="connsiteX1807" fmla="*/ 814837 w 1958467"/>
                <a:gd name="connsiteY1807" fmla="*/ 4145660 h 7800512"/>
                <a:gd name="connsiteX1808" fmla="*/ 819603 w 1958467"/>
                <a:gd name="connsiteY1808" fmla="*/ 4102772 h 7800512"/>
                <a:gd name="connsiteX1809" fmla="*/ 829133 w 1958467"/>
                <a:gd name="connsiteY1809" fmla="*/ 4069416 h 7800512"/>
                <a:gd name="connsiteX1810" fmla="*/ 829133 w 1958467"/>
                <a:gd name="connsiteY1810" fmla="*/ 4040828 h 7800512"/>
                <a:gd name="connsiteX1811" fmla="*/ 857723 w 1958467"/>
                <a:gd name="connsiteY1811" fmla="*/ 4021768 h 7800512"/>
                <a:gd name="connsiteX1812" fmla="*/ 872019 w 1958467"/>
                <a:gd name="connsiteY1812" fmla="*/ 4007472 h 7800512"/>
                <a:gd name="connsiteX1813" fmla="*/ 895845 w 1958467"/>
                <a:gd name="connsiteY1813" fmla="*/ 3935992 h 7800512"/>
                <a:gd name="connsiteX1814" fmla="*/ 900609 w 1958467"/>
                <a:gd name="connsiteY1814" fmla="*/ 3893108 h 7800512"/>
                <a:gd name="connsiteX1815" fmla="*/ 857723 w 1958467"/>
                <a:gd name="connsiteY1815" fmla="*/ 3773980 h 7800512"/>
                <a:gd name="connsiteX1816" fmla="*/ 852957 w 1958467"/>
                <a:gd name="connsiteY1816" fmla="*/ 3750152 h 7800512"/>
                <a:gd name="connsiteX1817" fmla="*/ 852957 w 1958467"/>
                <a:gd name="connsiteY1817" fmla="*/ 3721564 h 7800512"/>
                <a:gd name="connsiteX1818" fmla="*/ 862489 w 1958467"/>
                <a:gd name="connsiteY1818" fmla="*/ 3673912 h 7800512"/>
                <a:gd name="connsiteX1819" fmla="*/ 862489 w 1958467"/>
                <a:gd name="connsiteY1819" fmla="*/ 3654852 h 7800512"/>
                <a:gd name="connsiteX1820" fmla="*/ 852957 w 1958467"/>
                <a:gd name="connsiteY1820" fmla="*/ 3631026 h 7800512"/>
                <a:gd name="connsiteX1821" fmla="*/ 833897 w 1958467"/>
                <a:gd name="connsiteY1821" fmla="*/ 3588140 h 7800512"/>
                <a:gd name="connsiteX1822" fmla="*/ 829133 w 1958467"/>
                <a:gd name="connsiteY1822" fmla="*/ 3569080 h 7800512"/>
                <a:gd name="connsiteX1823" fmla="*/ 838663 w 1958467"/>
                <a:gd name="connsiteY1823" fmla="*/ 3545254 h 7800512"/>
                <a:gd name="connsiteX1824" fmla="*/ 833897 w 1958467"/>
                <a:gd name="connsiteY1824" fmla="*/ 3516662 h 7800512"/>
                <a:gd name="connsiteX1825" fmla="*/ 833897 w 1958467"/>
                <a:gd name="connsiteY1825" fmla="*/ 3502368 h 7800512"/>
                <a:gd name="connsiteX1826" fmla="*/ 838663 w 1958467"/>
                <a:gd name="connsiteY1826" fmla="*/ 3488072 h 7800512"/>
                <a:gd name="connsiteX1827" fmla="*/ 876783 w 1958467"/>
                <a:gd name="connsiteY1827" fmla="*/ 3497602 h 7800512"/>
                <a:gd name="connsiteX1828" fmla="*/ 891079 w 1958467"/>
                <a:gd name="connsiteY1828" fmla="*/ 3492836 h 7800512"/>
                <a:gd name="connsiteX1829" fmla="*/ 900609 w 1958467"/>
                <a:gd name="connsiteY1829" fmla="*/ 3483306 h 7800512"/>
                <a:gd name="connsiteX1830" fmla="*/ 910139 w 1958467"/>
                <a:gd name="connsiteY1830" fmla="*/ 3464246 h 7800512"/>
                <a:gd name="connsiteX1831" fmla="*/ 910139 w 1958467"/>
                <a:gd name="connsiteY1831" fmla="*/ 3426126 h 7800512"/>
                <a:gd name="connsiteX1832" fmla="*/ 914905 w 1958467"/>
                <a:gd name="connsiteY1832" fmla="*/ 3411830 h 7800512"/>
                <a:gd name="connsiteX1833" fmla="*/ 914905 w 1958467"/>
                <a:gd name="connsiteY1833" fmla="*/ 3392770 h 7800512"/>
                <a:gd name="connsiteX1834" fmla="*/ 933965 w 1958467"/>
                <a:gd name="connsiteY1834" fmla="*/ 3383240 h 7800512"/>
                <a:gd name="connsiteX1835" fmla="*/ 938731 w 1958467"/>
                <a:gd name="connsiteY1835" fmla="*/ 3359414 h 7800512"/>
                <a:gd name="connsiteX1836" fmla="*/ 953025 w 1958467"/>
                <a:gd name="connsiteY1836" fmla="*/ 3330822 h 7800512"/>
                <a:gd name="connsiteX1837" fmla="*/ 967321 w 1958467"/>
                <a:gd name="connsiteY1837" fmla="*/ 3254580 h 7800512"/>
                <a:gd name="connsiteX1838" fmla="*/ 986381 w 1958467"/>
                <a:gd name="connsiteY1838" fmla="*/ 3235520 h 7800512"/>
                <a:gd name="connsiteX1839" fmla="*/ 1000677 w 1958467"/>
                <a:gd name="connsiteY1839" fmla="*/ 3211694 h 7800512"/>
                <a:gd name="connsiteX1840" fmla="*/ 995911 w 1958467"/>
                <a:gd name="connsiteY1840" fmla="*/ 3178338 h 7800512"/>
                <a:gd name="connsiteX1841" fmla="*/ 1005443 w 1958467"/>
                <a:gd name="connsiteY1841" fmla="*/ 3164044 h 7800512"/>
                <a:gd name="connsiteX1842" fmla="*/ 1010207 w 1958467"/>
                <a:gd name="connsiteY1842" fmla="*/ 3149748 h 7800512"/>
                <a:gd name="connsiteX1843" fmla="*/ 1019737 w 1958467"/>
                <a:gd name="connsiteY1843" fmla="*/ 3130688 h 7800512"/>
                <a:gd name="connsiteX1844" fmla="*/ 1029267 w 1958467"/>
                <a:gd name="connsiteY1844" fmla="*/ 3111626 h 7800512"/>
                <a:gd name="connsiteX1845" fmla="*/ 1057859 w 1958467"/>
                <a:gd name="connsiteY1845" fmla="*/ 3083036 h 7800512"/>
                <a:gd name="connsiteX1846" fmla="*/ 1062623 w 1958467"/>
                <a:gd name="connsiteY1846" fmla="*/ 3049680 h 7800512"/>
                <a:gd name="connsiteX1847" fmla="*/ 1081685 w 1958467"/>
                <a:gd name="connsiteY1847" fmla="*/ 2992498 h 7800512"/>
                <a:gd name="connsiteX1848" fmla="*/ 1086449 w 1958467"/>
                <a:gd name="connsiteY1848" fmla="*/ 2954378 h 7800512"/>
                <a:gd name="connsiteX1849" fmla="*/ 1091215 w 1958467"/>
                <a:gd name="connsiteY1849" fmla="*/ 2930552 h 7800512"/>
                <a:gd name="connsiteX1850" fmla="*/ 1091215 w 1958467"/>
                <a:gd name="connsiteY1850" fmla="*/ 2906726 h 7800512"/>
                <a:gd name="connsiteX1851" fmla="*/ 1100745 w 1958467"/>
                <a:gd name="connsiteY1851" fmla="*/ 2878136 h 7800512"/>
                <a:gd name="connsiteX1852" fmla="*/ 1115039 w 1958467"/>
                <a:gd name="connsiteY1852" fmla="*/ 2854310 h 7800512"/>
                <a:gd name="connsiteX1853" fmla="*/ 1119805 w 1958467"/>
                <a:gd name="connsiteY1853" fmla="*/ 2840014 h 7800512"/>
                <a:gd name="connsiteX1854" fmla="*/ 1143631 w 1958467"/>
                <a:gd name="connsiteY1854" fmla="*/ 2811424 h 7800512"/>
                <a:gd name="connsiteX1855" fmla="*/ 1148395 w 1958467"/>
                <a:gd name="connsiteY1855" fmla="*/ 2787598 h 7800512"/>
                <a:gd name="connsiteX1856" fmla="*/ 1138865 w 1958467"/>
                <a:gd name="connsiteY1856" fmla="*/ 2768538 h 7800512"/>
                <a:gd name="connsiteX1857" fmla="*/ 1138865 w 1958467"/>
                <a:gd name="connsiteY1857" fmla="*/ 2744712 h 7800512"/>
                <a:gd name="connsiteX1858" fmla="*/ 1129335 w 1958467"/>
                <a:gd name="connsiteY1858" fmla="*/ 2706592 h 7800512"/>
                <a:gd name="connsiteX1859" fmla="*/ 1148395 w 1958467"/>
                <a:gd name="connsiteY1859" fmla="*/ 2692296 h 7800512"/>
                <a:gd name="connsiteX1860" fmla="*/ 1153161 w 1958467"/>
                <a:gd name="connsiteY1860" fmla="*/ 2682766 h 7800512"/>
                <a:gd name="connsiteX1861" fmla="*/ 1176987 w 1958467"/>
                <a:gd name="connsiteY1861" fmla="*/ 2625584 h 7800512"/>
                <a:gd name="connsiteX1862" fmla="*/ 1176987 w 1958467"/>
                <a:gd name="connsiteY1862" fmla="*/ 2601758 h 7800512"/>
                <a:gd name="connsiteX1863" fmla="*/ 1181751 w 1958467"/>
                <a:gd name="connsiteY1863" fmla="*/ 2573168 h 7800512"/>
                <a:gd name="connsiteX1864" fmla="*/ 1167457 w 1958467"/>
                <a:gd name="connsiteY1864" fmla="*/ 2539812 h 7800512"/>
                <a:gd name="connsiteX1865" fmla="*/ 1167457 w 1958467"/>
                <a:gd name="connsiteY1865" fmla="*/ 2468334 h 7800512"/>
                <a:gd name="connsiteX1866" fmla="*/ 1157927 w 1958467"/>
                <a:gd name="connsiteY1866" fmla="*/ 2411154 h 7800512"/>
                <a:gd name="connsiteX1867" fmla="*/ 1143631 w 1958467"/>
                <a:gd name="connsiteY1867" fmla="*/ 2349206 h 7800512"/>
                <a:gd name="connsiteX1868" fmla="*/ 1143631 w 1958467"/>
                <a:gd name="connsiteY1868" fmla="*/ 2315850 h 7800512"/>
                <a:gd name="connsiteX1869" fmla="*/ 1138865 w 1958467"/>
                <a:gd name="connsiteY1869" fmla="*/ 2277730 h 7800512"/>
                <a:gd name="connsiteX1870" fmla="*/ 1134101 w 1958467"/>
                <a:gd name="connsiteY1870" fmla="*/ 2253904 h 7800512"/>
                <a:gd name="connsiteX1871" fmla="*/ 1143631 w 1958467"/>
                <a:gd name="connsiteY1871" fmla="*/ 2196722 h 7800512"/>
                <a:gd name="connsiteX1872" fmla="*/ 1186517 w 1958467"/>
                <a:gd name="connsiteY1872" fmla="*/ 2163366 h 7800512"/>
                <a:gd name="connsiteX1873" fmla="*/ 1191281 w 1958467"/>
                <a:gd name="connsiteY1873" fmla="*/ 2125246 h 7800512"/>
                <a:gd name="connsiteX1874" fmla="*/ 1196047 w 1958467"/>
                <a:gd name="connsiteY1874" fmla="*/ 2077594 h 7800512"/>
                <a:gd name="connsiteX1875" fmla="*/ 1196047 w 1958467"/>
                <a:gd name="connsiteY1875" fmla="*/ 2039474 h 7800512"/>
                <a:gd name="connsiteX1876" fmla="*/ 1191281 w 1958467"/>
                <a:gd name="connsiteY1876" fmla="*/ 2020412 h 7800512"/>
                <a:gd name="connsiteX1877" fmla="*/ 1172221 w 1958467"/>
                <a:gd name="connsiteY1877" fmla="*/ 1996588 h 7800512"/>
                <a:gd name="connsiteX1878" fmla="*/ 1167457 w 1958467"/>
                <a:gd name="connsiteY1878" fmla="*/ 1944170 h 7800512"/>
                <a:gd name="connsiteX1879" fmla="*/ 1172221 w 1958467"/>
                <a:gd name="connsiteY1879" fmla="*/ 1934640 h 7800512"/>
                <a:gd name="connsiteX1880" fmla="*/ 1186517 w 1958467"/>
                <a:gd name="connsiteY1880" fmla="*/ 1920346 h 7800512"/>
                <a:gd name="connsiteX1881" fmla="*/ 1200813 w 1958467"/>
                <a:gd name="connsiteY1881" fmla="*/ 1901284 h 7800512"/>
                <a:gd name="connsiteX1882" fmla="*/ 1205577 w 1958467"/>
                <a:gd name="connsiteY1882" fmla="*/ 1872694 h 7800512"/>
                <a:gd name="connsiteX1883" fmla="*/ 1219873 w 1958467"/>
                <a:gd name="connsiteY1883" fmla="*/ 1848868 h 7800512"/>
                <a:gd name="connsiteX1884" fmla="*/ 1224637 w 1958467"/>
                <a:gd name="connsiteY1884" fmla="*/ 1791686 h 7800512"/>
                <a:gd name="connsiteX1885" fmla="*/ 1234169 w 1958467"/>
                <a:gd name="connsiteY1885" fmla="*/ 1748800 h 7800512"/>
                <a:gd name="connsiteX1886" fmla="*/ 1238933 w 1958467"/>
                <a:gd name="connsiteY1886" fmla="*/ 1734506 h 7800512"/>
                <a:gd name="connsiteX1887" fmla="*/ 1257993 w 1958467"/>
                <a:gd name="connsiteY1887" fmla="*/ 1715444 h 7800512"/>
                <a:gd name="connsiteX1888" fmla="*/ 1257993 w 1958467"/>
                <a:gd name="connsiteY1888" fmla="*/ 1710680 h 7800512"/>
                <a:gd name="connsiteX1889" fmla="*/ 1262759 w 1958467"/>
                <a:gd name="connsiteY1889" fmla="*/ 1696384 h 7800512"/>
                <a:gd name="connsiteX1890" fmla="*/ 1262759 w 1958467"/>
                <a:gd name="connsiteY1890" fmla="*/ 1658264 h 7800512"/>
                <a:gd name="connsiteX1891" fmla="*/ 1262759 w 1958467"/>
                <a:gd name="connsiteY1891" fmla="*/ 1639202 h 7800512"/>
                <a:gd name="connsiteX1892" fmla="*/ 1277055 w 1958467"/>
                <a:gd name="connsiteY1892" fmla="*/ 1596316 h 7800512"/>
                <a:gd name="connsiteX1893" fmla="*/ 1277055 w 1958467"/>
                <a:gd name="connsiteY1893" fmla="*/ 1577256 h 7800512"/>
                <a:gd name="connsiteX1894" fmla="*/ 1291349 w 1958467"/>
                <a:gd name="connsiteY1894" fmla="*/ 1534370 h 7800512"/>
                <a:gd name="connsiteX1895" fmla="*/ 1296115 w 1958467"/>
                <a:gd name="connsiteY1895" fmla="*/ 1505780 h 7800512"/>
                <a:gd name="connsiteX1896" fmla="*/ 1300879 w 1958467"/>
                <a:gd name="connsiteY1896" fmla="*/ 1486718 h 7800512"/>
                <a:gd name="connsiteX1897" fmla="*/ 1300879 w 1958467"/>
                <a:gd name="connsiteY1897" fmla="*/ 1472424 h 7800512"/>
                <a:gd name="connsiteX1898" fmla="*/ 1305645 w 1958467"/>
                <a:gd name="connsiteY1898" fmla="*/ 1429536 h 7800512"/>
                <a:gd name="connsiteX1899" fmla="*/ 1296115 w 1958467"/>
                <a:gd name="connsiteY1899" fmla="*/ 1405712 h 7800512"/>
                <a:gd name="connsiteX1900" fmla="*/ 1291349 w 1958467"/>
                <a:gd name="connsiteY1900" fmla="*/ 1396182 h 7800512"/>
                <a:gd name="connsiteX1901" fmla="*/ 1305645 w 1958467"/>
                <a:gd name="connsiteY1901" fmla="*/ 1353296 h 7800512"/>
                <a:gd name="connsiteX1902" fmla="*/ 1315175 w 1958467"/>
                <a:gd name="connsiteY1902" fmla="*/ 1343764 h 7800512"/>
                <a:gd name="connsiteX1903" fmla="*/ 1324705 w 1958467"/>
                <a:gd name="connsiteY1903" fmla="*/ 1324704 h 7800512"/>
                <a:gd name="connsiteX1904" fmla="*/ 1334235 w 1958467"/>
                <a:gd name="connsiteY1904" fmla="*/ 1300878 h 7800512"/>
                <a:gd name="connsiteX1905" fmla="*/ 1334235 w 1958467"/>
                <a:gd name="connsiteY1905" fmla="*/ 1286584 h 7800512"/>
                <a:gd name="connsiteX1906" fmla="*/ 1315175 w 1958467"/>
                <a:gd name="connsiteY1906" fmla="*/ 1219872 h 7800512"/>
                <a:gd name="connsiteX1907" fmla="*/ 1315175 w 1958467"/>
                <a:gd name="connsiteY1907" fmla="*/ 1196046 h 7800512"/>
                <a:gd name="connsiteX1908" fmla="*/ 1319941 w 1958467"/>
                <a:gd name="connsiteY1908" fmla="*/ 1143630 h 7800512"/>
                <a:gd name="connsiteX1909" fmla="*/ 1324705 w 1958467"/>
                <a:gd name="connsiteY1909" fmla="*/ 1110274 h 7800512"/>
                <a:gd name="connsiteX1910" fmla="*/ 1319941 w 1958467"/>
                <a:gd name="connsiteY1910" fmla="*/ 1081682 h 7800512"/>
                <a:gd name="connsiteX1911" fmla="*/ 1324705 w 1958467"/>
                <a:gd name="connsiteY1911" fmla="*/ 1067388 h 7800512"/>
                <a:gd name="connsiteX1912" fmla="*/ 1329471 w 1958467"/>
                <a:gd name="connsiteY1912" fmla="*/ 1048326 h 7800512"/>
                <a:gd name="connsiteX1913" fmla="*/ 1339001 w 1958467"/>
                <a:gd name="connsiteY1913" fmla="*/ 1029266 h 7800512"/>
                <a:gd name="connsiteX1914" fmla="*/ 1343767 w 1958467"/>
                <a:gd name="connsiteY1914" fmla="*/ 1010206 h 7800512"/>
                <a:gd name="connsiteX1915" fmla="*/ 1339001 w 1958467"/>
                <a:gd name="connsiteY1915" fmla="*/ 1005440 h 7800512"/>
                <a:gd name="connsiteX1916" fmla="*/ 1324705 w 1958467"/>
                <a:gd name="connsiteY1916" fmla="*/ 1000676 h 7800512"/>
                <a:gd name="connsiteX1917" fmla="*/ 1310411 w 1958467"/>
                <a:gd name="connsiteY1917" fmla="*/ 976850 h 7800512"/>
                <a:gd name="connsiteX1918" fmla="*/ 1310411 w 1958467"/>
                <a:gd name="connsiteY1918" fmla="*/ 957790 h 7800512"/>
                <a:gd name="connsiteX1919" fmla="*/ 1315175 w 1958467"/>
                <a:gd name="connsiteY1919" fmla="*/ 943494 h 7800512"/>
                <a:gd name="connsiteX1920" fmla="*/ 1315175 w 1958467"/>
                <a:gd name="connsiteY1920" fmla="*/ 924434 h 7800512"/>
                <a:gd name="connsiteX1921" fmla="*/ 1334235 w 1958467"/>
                <a:gd name="connsiteY1921" fmla="*/ 924434 h 7800512"/>
                <a:gd name="connsiteX1922" fmla="*/ 1343767 w 1958467"/>
                <a:gd name="connsiteY1922" fmla="*/ 910138 h 7800512"/>
                <a:gd name="connsiteX1923" fmla="*/ 1353297 w 1958467"/>
                <a:gd name="connsiteY1923" fmla="*/ 891078 h 7800512"/>
                <a:gd name="connsiteX1924" fmla="*/ 1362827 w 1958467"/>
                <a:gd name="connsiteY1924" fmla="*/ 838662 h 7800512"/>
                <a:gd name="connsiteX1925" fmla="*/ 1367591 w 1958467"/>
                <a:gd name="connsiteY1925" fmla="*/ 781480 h 7800512"/>
                <a:gd name="connsiteX1926" fmla="*/ 1377121 w 1958467"/>
                <a:gd name="connsiteY1926" fmla="*/ 743358 h 7800512"/>
                <a:gd name="connsiteX1927" fmla="*/ 1377121 w 1958467"/>
                <a:gd name="connsiteY1927" fmla="*/ 724298 h 7800512"/>
                <a:gd name="connsiteX1928" fmla="*/ 1381887 w 1958467"/>
                <a:gd name="connsiteY1928" fmla="*/ 686178 h 7800512"/>
                <a:gd name="connsiteX1929" fmla="*/ 1391417 w 1958467"/>
                <a:gd name="connsiteY1929" fmla="*/ 662352 h 7800512"/>
                <a:gd name="connsiteX1930" fmla="*/ 1391417 w 1958467"/>
                <a:gd name="connsiteY1930" fmla="*/ 638526 h 7800512"/>
                <a:gd name="connsiteX1931" fmla="*/ 1391417 w 1958467"/>
                <a:gd name="connsiteY1931" fmla="*/ 619466 h 7800512"/>
                <a:gd name="connsiteX1932" fmla="*/ 1372357 w 1958467"/>
                <a:gd name="connsiteY1932" fmla="*/ 533694 h 7800512"/>
                <a:gd name="connsiteX1933" fmla="*/ 1372357 w 1958467"/>
                <a:gd name="connsiteY1933" fmla="*/ 500338 h 7800512"/>
                <a:gd name="connsiteX1934" fmla="*/ 1381887 w 1958467"/>
                <a:gd name="connsiteY1934" fmla="*/ 452686 h 7800512"/>
                <a:gd name="connsiteX1935" fmla="*/ 1381887 w 1958467"/>
                <a:gd name="connsiteY1935" fmla="*/ 381210 h 7800512"/>
                <a:gd name="connsiteX1936" fmla="*/ 1377121 w 1958467"/>
                <a:gd name="connsiteY1936" fmla="*/ 362148 h 7800512"/>
                <a:gd name="connsiteX1937" fmla="*/ 1372357 w 1958467"/>
                <a:gd name="connsiteY1937" fmla="*/ 347854 h 7800512"/>
                <a:gd name="connsiteX1938" fmla="*/ 1372357 w 1958467"/>
                <a:gd name="connsiteY1938" fmla="*/ 328792 h 7800512"/>
                <a:gd name="connsiteX1939" fmla="*/ 1362827 w 1958467"/>
                <a:gd name="connsiteY1939" fmla="*/ 290672 h 7800512"/>
                <a:gd name="connsiteX1940" fmla="*/ 1353297 w 1958467"/>
                <a:gd name="connsiteY1940" fmla="*/ 219194 h 7800512"/>
                <a:gd name="connsiteX1941" fmla="*/ 1353297 w 1958467"/>
                <a:gd name="connsiteY1941" fmla="*/ 181074 h 7800512"/>
                <a:gd name="connsiteX1942" fmla="*/ 1348531 w 1958467"/>
                <a:gd name="connsiteY1942" fmla="*/ 147718 h 7800512"/>
                <a:gd name="connsiteX1943" fmla="*/ 1339001 w 1958467"/>
                <a:gd name="connsiteY1943" fmla="*/ 138188 h 7800512"/>
                <a:gd name="connsiteX1944" fmla="*/ 1343767 w 1958467"/>
                <a:gd name="connsiteY1944" fmla="*/ 138188 h 7800512"/>
                <a:gd name="connsiteX1945" fmla="*/ 1358061 w 1958467"/>
                <a:gd name="connsiteY1945" fmla="*/ 138188 h 7800512"/>
                <a:gd name="connsiteX1946" fmla="*/ 1377121 w 1958467"/>
                <a:gd name="connsiteY1946" fmla="*/ 138188 h 7800512"/>
                <a:gd name="connsiteX1947" fmla="*/ 1396183 w 1958467"/>
                <a:gd name="connsiteY1947" fmla="*/ 128658 h 7800512"/>
                <a:gd name="connsiteX1948" fmla="*/ 1415243 w 1958467"/>
                <a:gd name="connsiteY1948" fmla="*/ 114362 h 7800512"/>
                <a:gd name="connsiteX1949" fmla="*/ 1429539 w 1958467"/>
                <a:gd name="connsiteY1949" fmla="*/ 100066 h 7800512"/>
                <a:gd name="connsiteX1950" fmla="*/ 1434303 w 1958467"/>
                <a:gd name="connsiteY1950" fmla="*/ 81006 h 7800512"/>
                <a:gd name="connsiteX1951" fmla="*/ 1434303 w 1958467"/>
                <a:gd name="connsiteY1951" fmla="*/ 66710 h 7800512"/>
                <a:gd name="connsiteX1952" fmla="*/ 1429539 w 1958467"/>
                <a:gd name="connsiteY1952" fmla="*/ 47650 h 7800512"/>
                <a:gd name="connsiteX1953" fmla="*/ 1424773 w 1958467"/>
                <a:gd name="connsiteY1953" fmla="*/ 33354 h 7800512"/>
                <a:gd name="connsiteX1954" fmla="*/ 1434303 w 1958467"/>
                <a:gd name="connsiteY1954" fmla="*/ 28590 h 7800512"/>
                <a:gd name="connsiteX1955" fmla="*/ 1453363 w 1958467"/>
                <a:gd name="connsiteY1955" fmla="*/ 23824 h 7800512"/>
                <a:gd name="connsiteX1956" fmla="*/ 1467659 w 1958467"/>
                <a:gd name="connsiteY1956" fmla="*/ 14294 h 7800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</a:cxnLst>
              <a:rect l="l" t="t" r="r" b="b"/>
              <a:pathLst>
                <a:path w="1958467" h="7800512">
                  <a:moveTo>
                    <a:pt x="1753567" y="7776688"/>
                  </a:moveTo>
                  <a:lnTo>
                    <a:pt x="1786921" y="7781452"/>
                  </a:lnTo>
                  <a:lnTo>
                    <a:pt x="1791687" y="7781452"/>
                  </a:lnTo>
                  <a:lnTo>
                    <a:pt x="1791687" y="7786216"/>
                  </a:lnTo>
                  <a:lnTo>
                    <a:pt x="1786921" y="7795748"/>
                  </a:lnTo>
                  <a:lnTo>
                    <a:pt x="1782157" y="7795748"/>
                  </a:lnTo>
                  <a:lnTo>
                    <a:pt x="1777391" y="7800512"/>
                  </a:lnTo>
                  <a:lnTo>
                    <a:pt x="1763097" y="7790980"/>
                  </a:lnTo>
                  <a:lnTo>
                    <a:pt x="1744037" y="7790980"/>
                  </a:lnTo>
                  <a:lnTo>
                    <a:pt x="1739271" y="7790980"/>
                  </a:lnTo>
                  <a:lnTo>
                    <a:pt x="1739271" y="7786216"/>
                  </a:lnTo>
                  <a:lnTo>
                    <a:pt x="1744037" y="7781452"/>
                  </a:lnTo>
                  <a:close/>
                  <a:moveTo>
                    <a:pt x="1810749" y="7714740"/>
                  </a:moveTo>
                  <a:lnTo>
                    <a:pt x="1815513" y="7714740"/>
                  </a:lnTo>
                  <a:lnTo>
                    <a:pt x="1815513" y="7719504"/>
                  </a:lnTo>
                  <a:lnTo>
                    <a:pt x="1825043" y="7743328"/>
                  </a:lnTo>
                  <a:lnTo>
                    <a:pt x="1829809" y="7757624"/>
                  </a:lnTo>
                  <a:lnTo>
                    <a:pt x="1829809" y="7762388"/>
                  </a:lnTo>
                  <a:lnTo>
                    <a:pt x="1825043" y="7767156"/>
                  </a:lnTo>
                  <a:lnTo>
                    <a:pt x="1820279" y="7767156"/>
                  </a:lnTo>
                  <a:lnTo>
                    <a:pt x="1815513" y="7762388"/>
                  </a:lnTo>
                  <a:lnTo>
                    <a:pt x="1810749" y="7757624"/>
                  </a:lnTo>
                  <a:lnTo>
                    <a:pt x="1786923" y="7752860"/>
                  </a:lnTo>
                  <a:lnTo>
                    <a:pt x="1782159" y="7748096"/>
                  </a:lnTo>
                  <a:lnTo>
                    <a:pt x="1786923" y="7738564"/>
                  </a:lnTo>
                  <a:lnTo>
                    <a:pt x="1791689" y="7733800"/>
                  </a:lnTo>
                  <a:lnTo>
                    <a:pt x="1801219" y="7729036"/>
                  </a:lnTo>
                  <a:close/>
                  <a:moveTo>
                    <a:pt x="1948937" y="7595612"/>
                  </a:moveTo>
                  <a:lnTo>
                    <a:pt x="1958467" y="7605140"/>
                  </a:lnTo>
                  <a:lnTo>
                    <a:pt x="1953701" y="7614672"/>
                  </a:lnTo>
                  <a:lnTo>
                    <a:pt x="1944171" y="7628968"/>
                  </a:lnTo>
                  <a:lnTo>
                    <a:pt x="1934641" y="7624200"/>
                  </a:lnTo>
                  <a:lnTo>
                    <a:pt x="1929875" y="7624200"/>
                  </a:lnTo>
                  <a:lnTo>
                    <a:pt x="1929875" y="7614672"/>
                  </a:lnTo>
                  <a:lnTo>
                    <a:pt x="1929875" y="7609908"/>
                  </a:lnTo>
                  <a:lnTo>
                    <a:pt x="1934641" y="7605140"/>
                  </a:lnTo>
                  <a:lnTo>
                    <a:pt x="1944171" y="7600376"/>
                  </a:lnTo>
                  <a:close/>
                  <a:moveTo>
                    <a:pt x="1701149" y="7533664"/>
                  </a:moveTo>
                  <a:lnTo>
                    <a:pt x="1734505" y="7533664"/>
                  </a:lnTo>
                  <a:lnTo>
                    <a:pt x="1805983" y="7543196"/>
                  </a:lnTo>
                  <a:lnTo>
                    <a:pt x="1834573" y="7547960"/>
                  </a:lnTo>
                  <a:lnTo>
                    <a:pt x="1853633" y="7571784"/>
                  </a:lnTo>
                  <a:lnTo>
                    <a:pt x="1858399" y="7586080"/>
                  </a:lnTo>
                  <a:lnTo>
                    <a:pt x="1858399" y="7595612"/>
                  </a:lnTo>
                  <a:lnTo>
                    <a:pt x="1853633" y="7605140"/>
                  </a:lnTo>
                  <a:lnTo>
                    <a:pt x="1844103" y="7619436"/>
                  </a:lnTo>
                  <a:lnTo>
                    <a:pt x="1829809" y="7628968"/>
                  </a:lnTo>
                  <a:lnTo>
                    <a:pt x="1820279" y="7633732"/>
                  </a:lnTo>
                  <a:lnTo>
                    <a:pt x="1810747" y="7628968"/>
                  </a:lnTo>
                  <a:lnTo>
                    <a:pt x="1805983" y="7619436"/>
                  </a:lnTo>
                  <a:lnTo>
                    <a:pt x="1801217" y="7605140"/>
                  </a:lnTo>
                  <a:lnTo>
                    <a:pt x="1801217" y="7600376"/>
                  </a:lnTo>
                  <a:lnTo>
                    <a:pt x="1796453" y="7600376"/>
                  </a:lnTo>
                  <a:lnTo>
                    <a:pt x="1786923" y="7600376"/>
                  </a:lnTo>
                  <a:lnTo>
                    <a:pt x="1782157" y="7605140"/>
                  </a:lnTo>
                  <a:lnTo>
                    <a:pt x="1763097" y="7619436"/>
                  </a:lnTo>
                  <a:lnTo>
                    <a:pt x="1758331" y="7624200"/>
                  </a:lnTo>
                  <a:lnTo>
                    <a:pt x="1753567" y="7624200"/>
                  </a:lnTo>
                  <a:lnTo>
                    <a:pt x="1705915" y="7614672"/>
                  </a:lnTo>
                  <a:lnTo>
                    <a:pt x="1701149" y="7609908"/>
                  </a:lnTo>
                  <a:lnTo>
                    <a:pt x="1696385" y="7600376"/>
                  </a:lnTo>
                  <a:lnTo>
                    <a:pt x="1686855" y="7571784"/>
                  </a:lnTo>
                  <a:lnTo>
                    <a:pt x="1667795" y="7547960"/>
                  </a:lnTo>
                  <a:close/>
                  <a:moveTo>
                    <a:pt x="1420007" y="7519368"/>
                  </a:moveTo>
                  <a:lnTo>
                    <a:pt x="1448599" y="7528900"/>
                  </a:lnTo>
                  <a:lnTo>
                    <a:pt x="1577257" y="7557492"/>
                  </a:lnTo>
                  <a:lnTo>
                    <a:pt x="1615377" y="7543196"/>
                  </a:lnTo>
                  <a:lnTo>
                    <a:pt x="1643969" y="7543196"/>
                  </a:lnTo>
                  <a:lnTo>
                    <a:pt x="1653499" y="7562256"/>
                  </a:lnTo>
                  <a:lnTo>
                    <a:pt x="1620143" y="7586080"/>
                  </a:lnTo>
                  <a:lnTo>
                    <a:pt x="1620143" y="7595612"/>
                  </a:lnTo>
                  <a:lnTo>
                    <a:pt x="1624907" y="7600376"/>
                  </a:lnTo>
                  <a:lnTo>
                    <a:pt x="1658263" y="7605140"/>
                  </a:lnTo>
                  <a:lnTo>
                    <a:pt x="1663029" y="7614672"/>
                  </a:lnTo>
                  <a:lnTo>
                    <a:pt x="1672559" y="7624200"/>
                  </a:lnTo>
                  <a:lnTo>
                    <a:pt x="1667793" y="7638496"/>
                  </a:lnTo>
                  <a:lnTo>
                    <a:pt x="1663029" y="7643264"/>
                  </a:lnTo>
                  <a:lnTo>
                    <a:pt x="1667793" y="7652792"/>
                  </a:lnTo>
                  <a:lnTo>
                    <a:pt x="1691619" y="7671852"/>
                  </a:lnTo>
                  <a:lnTo>
                    <a:pt x="1701149" y="7681384"/>
                  </a:lnTo>
                  <a:lnTo>
                    <a:pt x="1705915" y="7695680"/>
                  </a:lnTo>
                  <a:lnTo>
                    <a:pt x="1710679" y="7714740"/>
                  </a:lnTo>
                  <a:lnTo>
                    <a:pt x="1710679" y="7729036"/>
                  </a:lnTo>
                  <a:lnTo>
                    <a:pt x="1701149" y="7733800"/>
                  </a:lnTo>
                  <a:lnTo>
                    <a:pt x="1691619" y="7729036"/>
                  </a:lnTo>
                  <a:lnTo>
                    <a:pt x="1682089" y="7719504"/>
                  </a:lnTo>
                  <a:lnTo>
                    <a:pt x="1672559" y="7695680"/>
                  </a:lnTo>
                  <a:lnTo>
                    <a:pt x="1663029" y="7690912"/>
                  </a:lnTo>
                  <a:lnTo>
                    <a:pt x="1643969" y="7686148"/>
                  </a:lnTo>
                  <a:lnTo>
                    <a:pt x="1624907" y="7676620"/>
                  </a:lnTo>
                  <a:lnTo>
                    <a:pt x="1605847" y="7676620"/>
                  </a:lnTo>
                  <a:lnTo>
                    <a:pt x="1591551" y="7671852"/>
                  </a:lnTo>
                  <a:lnTo>
                    <a:pt x="1582021" y="7676620"/>
                  </a:lnTo>
                  <a:lnTo>
                    <a:pt x="1577257" y="7667088"/>
                  </a:lnTo>
                  <a:lnTo>
                    <a:pt x="1572491" y="7652792"/>
                  </a:lnTo>
                  <a:lnTo>
                    <a:pt x="1572491" y="7648028"/>
                  </a:lnTo>
                  <a:lnTo>
                    <a:pt x="1577257" y="7624200"/>
                  </a:lnTo>
                  <a:lnTo>
                    <a:pt x="1577257" y="7619436"/>
                  </a:lnTo>
                  <a:lnTo>
                    <a:pt x="1572491" y="7619436"/>
                  </a:lnTo>
                  <a:lnTo>
                    <a:pt x="1558195" y="7624200"/>
                  </a:lnTo>
                  <a:lnTo>
                    <a:pt x="1553431" y="7619436"/>
                  </a:lnTo>
                  <a:lnTo>
                    <a:pt x="1534371" y="7600376"/>
                  </a:lnTo>
                  <a:lnTo>
                    <a:pt x="1529605" y="7600376"/>
                  </a:lnTo>
                  <a:lnTo>
                    <a:pt x="1515309" y="7600376"/>
                  </a:lnTo>
                  <a:lnTo>
                    <a:pt x="1505779" y="7628968"/>
                  </a:lnTo>
                  <a:lnTo>
                    <a:pt x="1505779" y="7633732"/>
                  </a:lnTo>
                  <a:lnTo>
                    <a:pt x="1515309" y="7652792"/>
                  </a:lnTo>
                  <a:lnTo>
                    <a:pt x="1529605" y="7681384"/>
                  </a:lnTo>
                  <a:lnTo>
                    <a:pt x="1520075" y="7681384"/>
                  </a:lnTo>
                  <a:lnTo>
                    <a:pt x="1496249" y="7676620"/>
                  </a:lnTo>
                  <a:lnTo>
                    <a:pt x="1486719" y="7667088"/>
                  </a:lnTo>
                  <a:lnTo>
                    <a:pt x="1481955" y="7652792"/>
                  </a:lnTo>
                  <a:lnTo>
                    <a:pt x="1462893" y="7643264"/>
                  </a:lnTo>
                  <a:lnTo>
                    <a:pt x="1458129" y="7638496"/>
                  </a:lnTo>
                  <a:lnTo>
                    <a:pt x="1458129" y="7633732"/>
                  </a:lnTo>
                  <a:lnTo>
                    <a:pt x="1458129" y="7614672"/>
                  </a:lnTo>
                  <a:lnTo>
                    <a:pt x="1453363" y="7614672"/>
                  </a:lnTo>
                  <a:lnTo>
                    <a:pt x="1429537" y="7619436"/>
                  </a:lnTo>
                  <a:lnTo>
                    <a:pt x="1424773" y="7614672"/>
                  </a:lnTo>
                  <a:lnTo>
                    <a:pt x="1424773" y="7605140"/>
                  </a:lnTo>
                  <a:lnTo>
                    <a:pt x="1420007" y="7600376"/>
                  </a:lnTo>
                  <a:lnTo>
                    <a:pt x="1405711" y="7590848"/>
                  </a:lnTo>
                  <a:lnTo>
                    <a:pt x="1405711" y="7586080"/>
                  </a:lnTo>
                  <a:lnTo>
                    <a:pt x="1410477" y="7581316"/>
                  </a:lnTo>
                  <a:lnTo>
                    <a:pt x="1415243" y="7571784"/>
                  </a:lnTo>
                  <a:close/>
                  <a:moveTo>
                    <a:pt x="1181751" y="7509840"/>
                  </a:moveTo>
                  <a:lnTo>
                    <a:pt x="1186517" y="7509840"/>
                  </a:lnTo>
                  <a:lnTo>
                    <a:pt x="1215107" y="7509840"/>
                  </a:lnTo>
                  <a:lnTo>
                    <a:pt x="1234167" y="7514604"/>
                  </a:lnTo>
                  <a:lnTo>
                    <a:pt x="1248463" y="7514604"/>
                  </a:lnTo>
                  <a:lnTo>
                    <a:pt x="1257993" y="7533664"/>
                  </a:lnTo>
                  <a:lnTo>
                    <a:pt x="1257993" y="7538428"/>
                  </a:lnTo>
                  <a:lnTo>
                    <a:pt x="1277053" y="7543196"/>
                  </a:lnTo>
                  <a:lnTo>
                    <a:pt x="1286585" y="7538428"/>
                  </a:lnTo>
                  <a:lnTo>
                    <a:pt x="1305645" y="7538428"/>
                  </a:lnTo>
                  <a:lnTo>
                    <a:pt x="1319939" y="7533664"/>
                  </a:lnTo>
                  <a:lnTo>
                    <a:pt x="1339001" y="7528900"/>
                  </a:lnTo>
                  <a:lnTo>
                    <a:pt x="1358061" y="7571784"/>
                  </a:lnTo>
                  <a:lnTo>
                    <a:pt x="1358061" y="7581316"/>
                  </a:lnTo>
                  <a:lnTo>
                    <a:pt x="1339001" y="7595612"/>
                  </a:lnTo>
                  <a:lnTo>
                    <a:pt x="1329471" y="7600376"/>
                  </a:lnTo>
                  <a:lnTo>
                    <a:pt x="1319939" y="7595612"/>
                  </a:lnTo>
                  <a:lnTo>
                    <a:pt x="1319939" y="7590844"/>
                  </a:lnTo>
                  <a:lnTo>
                    <a:pt x="1319939" y="7581316"/>
                  </a:lnTo>
                  <a:lnTo>
                    <a:pt x="1310409" y="7576552"/>
                  </a:lnTo>
                  <a:lnTo>
                    <a:pt x="1305645" y="7576552"/>
                  </a:lnTo>
                  <a:lnTo>
                    <a:pt x="1291349" y="7581316"/>
                  </a:lnTo>
                  <a:lnTo>
                    <a:pt x="1286585" y="7581316"/>
                  </a:lnTo>
                  <a:lnTo>
                    <a:pt x="1277053" y="7576552"/>
                  </a:lnTo>
                  <a:lnTo>
                    <a:pt x="1257993" y="7571784"/>
                  </a:lnTo>
                  <a:lnTo>
                    <a:pt x="1253229" y="7562256"/>
                  </a:lnTo>
                  <a:lnTo>
                    <a:pt x="1253229" y="7552724"/>
                  </a:lnTo>
                  <a:lnTo>
                    <a:pt x="1248463" y="7547960"/>
                  </a:lnTo>
                  <a:lnTo>
                    <a:pt x="1229403" y="7533664"/>
                  </a:lnTo>
                  <a:lnTo>
                    <a:pt x="1215107" y="7524136"/>
                  </a:lnTo>
                  <a:lnTo>
                    <a:pt x="1205577" y="7524136"/>
                  </a:lnTo>
                  <a:lnTo>
                    <a:pt x="1200811" y="7524136"/>
                  </a:lnTo>
                  <a:lnTo>
                    <a:pt x="1196047" y="7528900"/>
                  </a:lnTo>
                  <a:lnTo>
                    <a:pt x="1186517" y="7533664"/>
                  </a:lnTo>
                  <a:lnTo>
                    <a:pt x="1181751" y="7533664"/>
                  </a:lnTo>
                  <a:lnTo>
                    <a:pt x="1181751" y="7528900"/>
                  </a:lnTo>
                  <a:lnTo>
                    <a:pt x="1176987" y="7524136"/>
                  </a:lnTo>
                  <a:close/>
                  <a:moveTo>
                    <a:pt x="1091213" y="7252520"/>
                  </a:moveTo>
                  <a:lnTo>
                    <a:pt x="1138865" y="7262052"/>
                  </a:lnTo>
                  <a:lnTo>
                    <a:pt x="1162691" y="7271584"/>
                  </a:lnTo>
                  <a:lnTo>
                    <a:pt x="1186517" y="7290644"/>
                  </a:lnTo>
                  <a:lnTo>
                    <a:pt x="1219873" y="7314468"/>
                  </a:lnTo>
                  <a:lnTo>
                    <a:pt x="1243697" y="7314468"/>
                  </a:lnTo>
                  <a:lnTo>
                    <a:pt x="1243697" y="7328764"/>
                  </a:lnTo>
                  <a:lnTo>
                    <a:pt x="1248463" y="7347824"/>
                  </a:lnTo>
                  <a:lnTo>
                    <a:pt x="1243697" y="7357356"/>
                  </a:lnTo>
                  <a:lnTo>
                    <a:pt x="1234167" y="7366884"/>
                  </a:lnTo>
                  <a:lnTo>
                    <a:pt x="1229403" y="7381180"/>
                  </a:lnTo>
                  <a:lnTo>
                    <a:pt x="1224637" y="7385944"/>
                  </a:lnTo>
                  <a:lnTo>
                    <a:pt x="1200811" y="7366884"/>
                  </a:lnTo>
                  <a:lnTo>
                    <a:pt x="1172221" y="7343060"/>
                  </a:lnTo>
                  <a:lnTo>
                    <a:pt x="1162691" y="7347824"/>
                  </a:lnTo>
                  <a:lnTo>
                    <a:pt x="1143631" y="7343060"/>
                  </a:lnTo>
                  <a:lnTo>
                    <a:pt x="1129335" y="7343060"/>
                  </a:lnTo>
                  <a:lnTo>
                    <a:pt x="1119805" y="7357356"/>
                  </a:lnTo>
                  <a:lnTo>
                    <a:pt x="1100745" y="7362120"/>
                  </a:lnTo>
                  <a:lnTo>
                    <a:pt x="1095979" y="7338296"/>
                  </a:lnTo>
                  <a:lnTo>
                    <a:pt x="1076919" y="7314468"/>
                  </a:lnTo>
                  <a:lnTo>
                    <a:pt x="1057859" y="7295408"/>
                  </a:lnTo>
                  <a:lnTo>
                    <a:pt x="1067389" y="7266816"/>
                  </a:lnTo>
                  <a:lnTo>
                    <a:pt x="1081683" y="7262052"/>
                  </a:lnTo>
                  <a:close/>
                  <a:moveTo>
                    <a:pt x="924435" y="7123864"/>
                  </a:moveTo>
                  <a:lnTo>
                    <a:pt x="929199" y="7128628"/>
                  </a:lnTo>
                  <a:lnTo>
                    <a:pt x="938729" y="7133396"/>
                  </a:lnTo>
                  <a:lnTo>
                    <a:pt x="943495" y="7138160"/>
                  </a:lnTo>
                  <a:lnTo>
                    <a:pt x="948261" y="7147688"/>
                  </a:lnTo>
                  <a:lnTo>
                    <a:pt x="953025" y="7166752"/>
                  </a:lnTo>
                  <a:lnTo>
                    <a:pt x="953025" y="7171516"/>
                  </a:lnTo>
                  <a:lnTo>
                    <a:pt x="962555" y="7166752"/>
                  </a:lnTo>
                  <a:lnTo>
                    <a:pt x="986381" y="7166752"/>
                  </a:lnTo>
                  <a:lnTo>
                    <a:pt x="1014971" y="7176280"/>
                  </a:lnTo>
                  <a:lnTo>
                    <a:pt x="1019737" y="7176280"/>
                  </a:lnTo>
                  <a:lnTo>
                    <a:pt x="1034033" y="7200104"/>
                  </a:lnTo>
                  <a:lnTo>
                    <a:pt x="1043563" y="7209636"/>
                  </a:lnTo>
                  <a:lnTo>
                    <a:pt x="1057859" y="7233460"/>
                  </a:lnTo>
                  <a:lnTo>
                    <a:pt x="1043563" y="7247756"/>
                  </a:lnTo>
                  <a:lnTo>
                    <a:pt x="1034033" y="7266816"/>
                  </a:lnTo>
                  <a:lnTo>
                    <a:pt x="1034033" y="7276348"/>
                  </a:lnTo>
                  <a:lnTo>
                    <a:pt x="1029267" y="7285880"/>
                  </a:lnTo>
                  <a:lnTo>
                    <a:pt x="1019737" y="7290644"/>
                  </a:lnTo>
                  <a:lnTo>
                    <a:pt x="1005441" y="7304940"/>
                  </a:lnTo>
                  <a:lnTo>
                    <a:pt x="986381" y="7304940"/>
                  </a:lnTo>
                  <a:lnTo>
                    <a:pt x="967321" y="7309704"/>
                  </a:lnTo>
                  <a:lnTo>
                    <a:pt x="962555" y="7314468"/>
                  </a:lnTo>
                  <a:lnTo>
                    <a:pt x="953025" y="7319232"/>
                  </a:lnTo>
                  <a:lnTo>
                    <a:pt x="948261" y="7314468"/>
                  </a:lnTo>
                  <a:lnTo>
                    <a:pt x="943495" y="7309704"/>
                  </a:lnTo>
                  <a:lnTo>
                    <a:pt x="943495" y="7300172"/>
                  </a:lnTo>
                  <a:lnTo>
                    <a:pt x="953025" y="7295408"/>
                  </a:lnTo>
                  <a:lnTo>
                    <a:pt x="967321" y="7271584"/>
                  </a:lnTo>
                  <a:lnTo>
                    <a:pt x="972085" y="7247756"/>
                  </a:lnTo>
                  <a:lnTo>
                    <a:pt x="953025" y="7242992"/>
                  </a:lnTo>
                  <a:lnTo>
                    <a:pt x="943495" y="7247756"/>
                  </a:lnTo>
                  <a:lnTo>
                    <a:pt x="938729" y="7247756"/>
                  </a:lnTo>
                  <a:lnTo>
                    <a:pt x="929199" y="7238228"/>
                  </a:lnTo>
                  <a:lnTo>
                    <a:pt x="924435" y="7252524"/>
                  </a:lnTo>
                  <a:lnTo>
                    <a:pt x="919669" y="7262052"/>
                  </a:lnTo>
                  <a:lnTo>
                    <a:pt x="924435" y="7276348"/>
                  </a:lnTo>
                  <a:lnTo>
                    <a:pt x="924435" y="7281112"/>
                  </a:lnTo>
                  <a:lnTo>
                    <a:pt x="914905" y="7285880"/>
                  </a:lnTo>
                  <a:lnTo>
                    <a:pt x="900609" y="7281112"/>
                  </a:lnTo>
                  <a:lnTo>
                    <a:pt x="886313" y="7266816"/>
                  </a:lnTo>
                  <a:lnTo>
                    <a:pt x="886313" y="7262052"/>
                  </a:lnTo>
                  <a:lnTo>
                    <a:pt x="891079" y="7238228"/>
                  </a:lnTo>
                  <a:lnTo>
                    <a:pt x="891079" y="7228696"/>
                  </a:lnTo>
                  <a:lnTo>
                    <a:pt x="886313" y="7209636"/>
                  </a:lnTo>
                  <a:lnTo>
                    <a:pt x="876783" y="7209636"/>
                  </a:lnTo>
                  <a:lnTo>
                    <a:pt x="862487" y="7214400"/>
                  </a:lnTo>
                  <a:lnTo>
                    <a:pt x="843427" y="7190576"/>
                  </a:lnTo>
                  <a:lnTo>
                    <a:pt x="833897" y="7171516"/>
                  </a:lnTo>
                  <a:lnTo>
                    <a:pt x="800541" y="7161984"/>
                  </a:lnTo>
                  <a:lnTo>
                    <a:pt x="829131" y="7133396"/>
                  </a:lnTo>
                  <a:lnTo>
                    <a:pt x="867253" y="7128628"/>
                  </a:lnTo>
                  <a:lnTo>
                    <a:pt x="876783" y="7142924"/>
                  </a:lnTo>
                  <a:lnTo>
                    <a:pt x="919669" y="7152456"/>
                  </a:lnTo>
                  <a:lnTo>
                    <a:pt x="914905" y="7138160"/>
                  </a:lnTo>
                  <a:lnTo>
                    <a:pt x="919669" y="7133396"/>
                  </a:lnTo>
                  <a:close/>
                  <a:moveTo>
                    <a:pt x="671883" y="6952320"/>
                  </a:moveTo>
                  <a:lnTo>
                    <a:pt x="690943" y="6961848"/>
                  </a:lnTo>
                  <a:lnTo>
                    <a:pt x="705239" y="6976144"/>
                  </a:lnTo>
                  <a:lnTo>
                    <a:pt x="714769" y="6985676"/>
                  </a:lnTo>
                  <a:lnTo>
                    <a:pt x="719535" y="6999972"/>
                  </a:lnTo>
                  <a:lnTo>
                    <a:pt x="719535" y="7004736"/>
                  </a:lnTo>
                  <a:lnTo>
                    <a:pt x="729065" y="7004736"/>
                  </a:lnTo>
                  <a:lnTo>
                    <a:pt x="733829" y="7009500"/>
                  </a:lnTo>
                  <a:lnTo>
                    <a:pt x="767185" y="7014264"/>
                  </a:lnTo>
                  <a:lnTo>
                    <a:pt x="795777" y="7023796"/>
                  </a:lnTo>
                  <a:lnTo>
                    <a:pt x="814837" y="7033328"/>
                  </a:lnTo>
                  <a:lnTo>
                    <a:pt x="833897" y="7038092"/>
                  </a:lnTo>
                  <a:lnTo>
                    <a:pt x="848193" y="7052388"/>
                  </a:lnTo>
                  <a:lnTo>
                    <a:pt x="857723" y="7057152"/>
                  </a:lnTo>
                  <a:lnTo>
                    <a:pt x="862489" y="7057152"/>
                  </a:lnTo>
                  <a:lnTo>
                    <a:pt x="886315" y="7085744"/>
                  </a:lnTo>
                  <a:lnTo>
                    <a:pt x="886315" y="7090508"/>
                  </a:lnTo>
                  <a:lnTo>
                    <a:pt x="914905" y="7109568"/>
                  </a:lnTo>
                  <a:lnTo>
                    <a:pt x="914905" y="7114332"/>
                  </a:lnTo>
                  <a:lnTo>
                    <a:pt x="900609" y="7114332"/>
                  </a:lnTo>
                  <a:lnTo>
                    <a:pt x="872019" y="7104804"/>
                  </a:lnTo>
                  <a:lnTo>
                    <a:pt x="857723" y="7104804"/>
                  </a:lnTo>
                  <a:lnTo>
                    <a:pt x="848193" y="7100036"/>
                  </a:lnTo>
                  <a:lnTo>
                    <a:pt x="843427" y="7100036"/>
                  </a:lnTo>
                  <a:lnTo>
                    <a:pt x="843427" y="7085744"/>
                  </a:lnTo>
                  <a:lnTo>
                    <a:pt x="838663" y="7080976"/>
                  </a:lnTo>
                  <a:lnTo>
                    <a:pt x="810073" y="7052388"/>
                  </a:lnTo>
                  <a:lnTo>
                    <a:pt x="800541" y="7047620"/>
                  </a:lnTo>
                  <a:lnTo>
                    <a:pt x="781481" y="7042856"/>
                  </a:lnTo>
                  <a:lnTo>
                    <a:pt x="757655" y="7042856"/>
                  </a:lnTo>
                  <a:lnTo>
                    <a:pt x="743361" y="7042856"/>
                  </a:lnTo>
                  <a:lnTo>
                    <a:pt x="738595" y="7042856"/>
                  </a:lnTo>
                  <a:lnTo>
                    <a:pt x="714769" y="7019032"/>
                  </a:lnTo>
                  <a:lnTo>
                    <a:pt x="690943" y="6999972"/>
                  </a:lnTo>
                  <a:lnTo>
                    <a:pt x="681413" y="6976144"/>
                  </a:lnTo>
                  <a:lnTo>
                    <a:pt x="667119" y="6961848"/>
                  </a:lnTo>
                  <a:lnTo>
                    <a:pt x="667119" y="6957084"/>
                  </a:lnTo>
                  <a:close/>
                  <a:moveTo>
                    <a:pt x="1481955" y="6890372"/>
                  </a:moveTo>
                  <a:lnTo>
                    <a:pt x="1496249" y="6890372"/>
                  </a:lnTo>
                  <a:lnTo>
                    <a:pt x="1534371" y="6933260"/>
                  </a:lnTo>
                  <a:lnTo>
                    <a:pt x="1548667" y="6938024"/>
                  </a:lnTo>
                  <a:lnTo>
                    <a:pt x="1591553" y="6914196"/>
                  </a:lnTo>
                  <a:lnTo>
                    <a:pt x="1596317" y="6914196"/>
                  </a:lnTo>
                  <a:lnTo>
                    <a:pt x="1615379" y="6928492"/>
                  </a:lnTo>
                  <a:lnTo>
                    <a:pt x="1615379" y="6933260"/>
                  </a:lnTo>
                  <a:lnTo>
                    <a:pt x="1615379" y="7009500"/>
                  </a:lnTo>
                  <a:lnTo>
                    <a:pt x="1615379" y="7085744"/>
                  </a:lnTo>
                  <a:lnTo>
                    <a:pt x="1615379" y="7228696"/>
                  </a:lnTo>
                  <a:lnTo>
                    <a:pt x="1615379" y="7300172"/>
                  </a:lnTo>
                  <a:lnTo>
                    <a:pt x="1615379" y="7371648"/>
                  </a:lnTo>
                  <a:lnTo>
                    <a:pt x="1615379" y="7452656"/>
                  </a:lnTo>
                  <a:lnTo>
                    <a:pt x="1615379" y="7514604"/>
                  </a:lnTo>
                  <a:lnTo>
                    <a:pt x="1591553" y="7514604"/>
                  </a:lnTo>
                  <a:lnTo>
                    <a:pt x="1586787" y="7519368"/>
                  </a:lnTo>
                  <a:lnTo>
                    <a:pt x="1548667" y="7528900"/>
                  </a:lnTo>
                  <a:lnTo>
                    <a:pt x="1481955" y="7514604"/>
                  </a:lnTo>
                  <a:lnTo>
                    <a:pt x="1467659" y="7500308"/>
                  </a:lnTo>
                  <a:lnTo>
                    <a:pt x="1448599" y="7476484"/>
                  </a:lnTo>
                  <a:lnTo>
                    <a:pt x="1439069" y="7481248"/>
                  </a:lnTo>
                  <a:lnTo>
                    <a:pt x="1420007" y="7495544"/>
                  </a:lnTo>
                  <a:lnTo>
                    <a:pt x="1400947" y="7500308"/>
                  </a:lnTo>
                  <a:lnTo>
                    <a:pt x="1381887" y="7505072"/>
                  </a:lnTo>
                  <a:lnTo>
                    <a:pt x="1367591" y="7490776"/>
                  </a:lnTo>
                  <a:lnTo>
                    <a:pt x="1362827" y="7486012"/>
                  </a:lnTo>
                  <a:lnTo>
                    <a:pt x="1358061" y="7486012"/>
                  </a:lnTo>
                  <a:lnTo>
                    <a:pt x="1324705" y="7500308"/>
                  </a:lnTo>
                  <a:lnTo>
                    <a:pt x="1286585" y="7486012"/>
                  </a:lnTo>
                  <a:lnTo>
                    <a:pt x="1257993" y="7476484"/>
                  </a:lnTo>
                  <a:lnTo>
                    <a:pt x="1210341" y="7471716"/>
                  </a:lnTo>
                  <a:lnTo>
                    <a:pt x="1176987" y="7447892"/>
                  </a:lnTo>
                  <a:lnTo>
                    <a:pt x="1119805" y="7452656"/>
                  </a:lnTo>
                  <a:lnTo>
                    <a:pt x="1105509" y="7443128"/>
                  </a:lnTo>
                  <a:lnTo>
                    <a:pt x="1100743" y="7424068"/>
                  </a:lnTo>
                  <a:lnTo>
                    <a:pt x="1105509" y="7414536"/>
                  </a:lnTo>
                  <a:lnTo>
                    <a:pt x="1119805" y="7409772"/>
                  </a:lnTo>
                  <a:lnTo>
                    <a:pt x="1124569" y="7400240"/>
                  </a:lnTo>
                  <a:lnTo>
                    <a:pt x="1134099" y="7400240"/>
                  </a:lnTo>
                  <a:lnTo>
                    <a:pt x="1153161" y="7414536"/>
                  </a:lnTo>
                  <a:lnTo>
                    <a:pt x="1157925" y="7414536"/>
                  </a:lnTo>
                  <a:lnTo>
                    <a:pt x="1167455" y="7405004"/>
                  </a:lnTo>
                  <a:lnTo>
                    <a:pt x="1186517" y="7390712"/>
                  </a:lnTo>
                  <a:lnTo>
                    <a:pt x="1191281" y="7390712"/>
                  </a:lnTo>
                  <a:lnTo>
                    <a:pt x="1224637" y="7405004"/>
                  </a:lnTo>
                  <a:lnTo>
                    <a:pt x="1234167" y="7400240"/>
                  </a:lnTo>
                  <a:lnTo>
                    <a:pt x="1253229" y="7395476"/>
                  </a:lnTo>
                  <a:lnTo>
                    <a:pt x="1257993" y="7390712"/>
                  </a:lnTo>
                  <a:lnTo>
                    <a:pt x="1257993" y="7381180"/>
                  </a:lnTo>
                  <a:lnTo>
                    <a:pt x="1262759" y="7376416"/>
                  </a:lnTo>
                  <a:lnTo>
                    <a:pt x="1277053" y="7371648"/>
                  </a:lnTo>
                  <a:lnTo>
                    <a:pt x="1296115" y="7376416"/>
                  </a:lnTo>
                  <a:lnTo>
                    <a:pt x="1296115" y="7395476"/>
                  </a:lnTo>
                  <a:lnTo>
                    <a:pt x="1291349" y="7414536"/>
                  </a:lnTo>
                  <a:lnTo>
                    <a:pt x="1315175" y="7419300"/>
                  </a:lnTo>
                  <a:lnTo>
                    <a:pt x="1339001" y="7419300"/>
                  </a:lnTo>
                  <a:lnTo>
                    <a:pt x="1353295" y="7424068"/>
                  </a:lnTo>
                  <a:lnTo>
                    <a:pt x="1358061" y="7414536"/>
                  </a:lnTo>
                  <a:lnTo>
                    <a:pt x="1329471" y="7381180"/>
                  </a:lnTo>
                  <a:lnTo>
                    <a:pt x="1319939" y="7366884"/>
                  </a:lnTo>
                  <a:lnTo>
                    <a:pt x="1305645" y="7352588"/>
                  </a:lnTo>
                  <a:lnTo>
                    <a:pt x="1286585" y="7347824"/>
                  </a:lnTo>
                  <a:lnTo>
                    <a:pt x="1267523" y="7314468"/>
                  </a:lnTo>
                  <a:lnTo>
                    <a:pt x="1267523" y="7281112"/>
                  </a:lnTo>
                  <a:lnTo>
                    <a:pt x="1267523" y="7252520"/>
                  </a:lnTo>
                  <a:lnTo>
                    <a:pt x="1300879" y="7238228"/>
                  </a:lnTo>
                  <a:lnTo>
                    <a:pt x="1296115" y="7209636"/>
                  </a:lnTo>
                  <a:lnTo>
                    <a:pt x="1305645" y="7190576"/>
                  </a:lnTo>
                  <a:lnTo>
                    <a:pt x="1319939" y="7185808"/>
                  </a:lnTo>
                  <a:lnTo>
                    <a:pt x="1334235" y="7257288"/>
                  </a:lnTo>
                  <a:lnTo>
                    <a:pt x="1343765" y="7281112"/>
                  </a:lnTo>
                  <a:lnTo>
                    <a:pt x="1329471" y="7285876"/>
                  </a:lnTo>
                  <a:lnTo>
                    <a:pt x="1305645" y="7285876"/>
                  </a:lnTo>
                  <a:lnTo>
                    <a:pt x="1319939" y="7319232"/>
                  </a:lnTo>
                  <a:lnTo>
                    <a:pt x="1343765" y="7333528"/>
                  </a:lnTo>
                  <a:lnTo>
                    <a:pt x="1362827" y="7357356"/>
                  </a:lnTo>
                  <a:lnTo>
                    <a:pt x="1367591" y="7376416"/>
                  </a:lnTo>
                  <a:lnTo>
                    <a:pt x="1377121" y="7385944"/>
                  </a:lnTo>
                  <a:lnTo>
                    <a:pt x="1405713" y="7385944"/>
                  </a:lnTo>
                  <a:lnTo>
                    <a:pt x="1424773" y="7381180"/>
                  </a:lnTo>
                  <a:lnTo>
                    <a:pt x="1434303" y="7366884"/>
                  </a:lnTo>
                  <a:lnTo>
                    <a:pt x="1443833" y="7366884"/>
                  </a:lnTo>
                  <a:lnTo>
                    <a:pt x="1462893" y="7381180"/>
                  </a:lnTo>
                  <a:lnTo>
                    <a:pt x="1496249" y="7390712"/>
                  </a:lnTo>
                  <a:lnTo>
                    <a:pt x="1501015" y="7400240"/>
                  </a:lnTo>
                  <a:lnTo>
                    <a:pt x="1510545" y="7414536"/>
                  </a:lnTo>
                  <a:lnTo>
                    <a:pt x="1510545" y="7428832"/>
                  </a:lnTo>
                  <a:lnTo>
                    <a:pt x="1510545" y="7438360"/>
                  </a:lnTo>
                  <a:lnTo>
                    <a:pt x="1520075" y="7433596"/>
                  </a:lnTo>
                  <a:lnTo>
                    <a:pt x="1534371" y="7414536"/>
                  </a:lnTo>
                  <a:lnTo>
                    <a:pt x="1539135" y="7405004"/>
                  </a:lnTo>
                  <a:lnTo>
                    <a:pt x="1548667" y="7405004"/>
                  </a:lnTo>
                  <a:lnTo>
                    <a:pt x="1553431" y="7400240"/>
                  </a:lnTo>
                  <a:lnTo>
                    <a:pt x="1553431" y="7390712"/>
                  </a:lnTo>
                  <a:lnTo>
                    <a:pt x="1529605" y="7376416"/>
                  </a:lnTo>
                  <a:lnTo>
                    <a:pt x="1405713" y="7314468"/>
                  </a:lnTo>
                  <a:lnTo>
                    <a:pt x="1391417" y="7285876"/>
                  </a:lnTo>
                  <a:lnTo>
                    <a:pt x="1381887" y="7252520"/>
                  </a:lnTo>
                  <a:lnTo>
                    <a:pt x="1381887" y="7219164"/>
                  </a:lnTo>
                  <a:lnTo>
                    <a:pt x="1391417" y="7209636"/>
                  </a:lnTo>
                  <a:lnTo>
                    <a:pt x="1410477" y="7195340"/>
                  </a:lnTo>
                  <a:lnTo>
                    <a:pt x="1453363" y="7176280"/>
                  </a:lnTo>
                  <a:lnTo>
                    <a:pt x="1501015" y="7152452"/>
                  </a:lnTo>
                  <a:lnTo>
                    <a:pt x="1505781" y="7147688"/>
                  </a:lnTo>
                  <a:lnTo>
                    <a:pt x="1505781" y="7128628"/>
                  </a:lnTo>
                  <a:lnTo>
                    <a:pt x="1496249" y="7119100"/>
                  </a:lnTo>
                  <a:lnTo>
                    <a:pt x="1481955" y="7109568"/>
                  </a:lnTo>
                  <a:lnTo>
                    <a:pt x="1458129" y="7109568"/>
                  </a:lnTo>
                  <a:lnTo>
                    <a:pt x="1443833" y="7109568"/>
                  </a:lnTo>
                  <a:lnTo>
                    <a:pt x="1424773" y="7114332"/>
                  </a:lnTo>
                  <a:lnTo>
                    <a:pt x="1391417" y="7128628"/>
                  </a:lnTo>
                  <a:lnTo>
                    <a:pt x="1372357" y="7128628"/>
                  </a:lnTo>
                  <a:lnTo>
                    <a:pt x="1353295" y="7119100"/>
                  </a:lnTo>
                  <a:lnTo>
                    <a:pt x="1339001" y="7100036"/>
                  </a:lnTo>
                  <a:lnTo>
                    <a:pt x="1329471" y="7076212"/>
                  </a:lnTo>
                  <a:lnTo>
                    <a:pt x="1329471" y="7057152"/>
                  </a:lnTo>
                  <a:lnTo>
                    <a:pt x="1334235" y="7042856"/>
                  </a:lnTo>
                  <a:lnTo>
                    <a:pt x="1343765" y="7028560"/>
                  </a:lnTo>
                  <a:lnTo>
                    <a:pt x="1353295" y="7023796"/>
                  </a:lnTo>
                  <a:lnTo>
                    <a:pt x="1362827" y="7023796"/>
                  </a:lnTo>
                  <a:lnTo>
                    <a:pt x="1372357" y="7019032"/>
                  </a:lnTo>
                  <a:lnTo>
                    <a:pt x="1377121" y="7014264"/>
                  </a:lnTo>
                  <a:lnTo>
                    <a:pt x="1381887" y="7004736"/>
                  </a:lnTo>
                  <a:lnTo>
                    <a:pt x="1381887" y="6999968"/>
                  </a:lnTo>
                  <a:lnTo>
                    <a:pt x="1377121" y="6995204"/>
                  </a:lnTo>
                  <a:lnTo>
                    <a:pt x="1362827" y="6985676"/>
                  </a:lnTo>
                  <a:lnTo>
                    <a:pt x="1358061" y="6971380"/>
                  </a:lnTo>
                  <a:lnTo>
                    <a:pt x="1343765" y="6957084"/>
                  </a:lnTo>
                  <a:lnTo>
                    <a:pt x="1353295" y="6952320"/>
                  </a:lnTo>
                  <a:lnTo>
                    <a:pt x="1372357" y="6947552"/>
                  </a:lnTo>
                  <a:lnTo>
                    <a:pt x="1391417" y="6961848"/>
                  </a:lnTo>
                  <a:lnTo>
                    <a:pt x="1405713" y="6976144"/>
                  </a:lnTo>
                  <a:lnTo>
                    <a:pt x="1415243" y="6976144"/>
                  </a:lnTo>
                  <a:lnTo>
                    <a:pt x="1420007" y="6971380"/>
                  </a:lnTo>
                  <a:lnTo>
                    <a:pt x="1439069" y="6952320"/>
                  </a:lnTo>
                  <a:lnTo>
                    <a:pt x="1458129" y="6928492"/>
                  </a:lnTo>
                  <a:lnTo>
                    <a:pt x="1472425" y="6904668"/>
                  </a:lnTo>
                  <a:close/>
                  <a:moveTo>
                    <a:pt x="705239" y="6695000"/>
                  </a:moveTo>
                  <a:lnTo>
                    <a:pt x="710005" y="6695000"/>
                  </a:lnTo>
                  <a:lnTo>
                    <a:pt x="724299" y="6699768"/>
                  </a:lnTo>
                  <a:lnTo>
                    <a:pt x="729065" y="6704532"/>
                  </a:lnTo>
                  <a:lnTo>
                    <a:pt x="733831" y="6718828"/>
                  </a:lnTo>
                  <a:lnTo>
                    <a:pt x="757655" y="6733124"/>
                  </a:lnTo>
                  <a:lnTo>
                    <a:pt x="762421" y="6737888"/>
                  </a:lnTo>
                  <a:lnTo>
                    <a:pt x="757655" y="6742652"/>
                  </a:lnTo>
                  <a:lnTo>
                    <a:pt x="757655" y="6747420"/>
                  </a:lnTo>
                  <a:lnTo>
                    <a:pt x="752891" y="6752184"/>
                  </a:lnTo>
                  <a:lnTo>
                    <a:pt x="733831" y="6742652"/>
                  </a:lnTo>
                  <a:lnTo>
                    <a:pt x="724299" y="6737888"/>
                  </a:lnTo>
                  <a:lnTo>
                    <a:pt x="714769" y="6723592"/>
                  </a:lnTo>
                  <a:lnTo>
                    <a:pt x="710005" y="6714064"/>
                  </a:lnTo>
                  <a:close/>
                  <a:moveTo>
                    <a:pt x="652823" y="6671176"/>
                  </a:moveTo>
                  <a:lnTo>
                    <a:pt x="657587" y="6718828"/>
                  </a:lnTo>
                  <a:lnTo>
                    <a:pt x="662353" y="6728360"/>
                  </a:lnTo>
                  <a:lnTo>
                    <a:pt x="676647" y="6733124"/>
                  </a:lnTo>
                  <a:lnTo>
                    <a:pt x="695707" y="6756948"/>
                  </a:lnTo>
                  <a:lnTo>
                    <a:pt x="695707" y="6761716"/>
                  </a:lnTo>
                  <a:lnTo>
                    <a:pt x="676647" y="6804600"/>
                  </a:lnTo>
                  <a:lnTo>
                    <a:pt x="671883" y="6837956"/>
                  </a:lnTo>
                  <a:lnTo>
                    <a:pt x="643291" y="6833192"/>
                  </a:lnTo>
                  <a:lnTo>
                    <a:pt x="633761" y="6804600"/>
                  </a:lnTo>
                  <a:lnTo>
                    <a:pt x="619467" y="6776008"/>
                  </a:lnTo>
                  <a:lnTo>
                    <a:pt x="614701" y="6737888"/>
                  </a:lnTo>
                  <a:lnTo>
                    <a:pt x="605171" y="6709296"/>
                  </a:lnTo>
                  <a:lnTo>
                    <a:pt x="619467" y="6695004"/>
                  </a:lnTo>
                  <a:lnTo>
                    <a:pt x="633761" y="6699768"/>
                  </a:lnTo>
                  <a:lnTo>
                    <a:pt x="638527" y="6675944"/>
                  </a:lnTo>
                  <a:close/>
                  <a:moveTo>
                    <a:pt x="662353" y="6566344"/>
                  </a:moveTo>
                  <a:lnTo>
                    <a:pt x="681413" y="6566344"/>
                  </a:lnTo>
                  <a:lnTo>
                    <a:pt x="690943" y="6575876"/>
                  </a:lnTo>
                  <a:lnTo>
                    <a:pt x="690943" y="6580640"/>
                  </a:lnTo>
                  <a:lnTo>
                    <a:pt x="690943" y="6604464"/>
                  </a:lnTo>
                  <a:lnTo>
                    <a:pt x="686177" y="6609232"/>
                  </a:lnTo>
                  <a:lnTo>
                    <a:pt x="681413" y="6613996"/>
                  </a:lnTo>
                  <a:lnTo>
                    <a:pt x="671883" y="6604464"/>
                  </a:lnTo>
                  <a:lnTo>
                    <a:pt x="662353" y="6604464"/>
                  </a:lnTo>
                  <a:lnTo>
                    <a:pt x="652823" y="6618760"/>
                  </a:lnTo>
                  <a:lnTo>
                    <a:pt x="643291" y="6623524"/>
                  </a:lnTo>
                  <a:lnTo>
                    <a:pt x="633761" y="6618760"/>
                  </a:lnTo>
                  <a:lnTo>
                    <a:pt x="614701" y="6613996"/>
                  </a:lnTo>
                  <a:lnTo>
                    <a:pt x="600405" y="6642588"/>
                  </a:lnTo>
                  <a:lnTo>
                    <a:pt x="590875" y="6656880"/>
                  </a:lnTo>
                  <a:lnTo>
                    <a:pt x="576579" y="6671176"/>
                  </a:lnTo>
                  <a:lnTo>
                    <a:pt x="576579" y="6652116"/>
                  </a:lnTo>
                  <a:lnTo>
                    <a:pt x="586111" y="6628292"/>
                  </a:lnTo>
                  <a:lnTo>
                    <a:pt x="590875" y="6609232"/>
                  </a:lnTo>
                  <a:lnTo>
                    <a:pt x="600405" y="6580640"/>
                  </a:lnTo>
                  <a:lnTo>
                    <a:pt x="614701" y="6594936"/>
                  </a:lnTo>
                  <a:lnTo>
                    <a:pt x="643291" y="6585404"/>
                  </a:lnTo>
                  <a:close/>
                  <a:moveTo>
                    <a:pt x="557521" y="6385268"/>
                  </a:moveTo>
                  <a:lnTo>
                    <a:pt x="576581" y="6385268"/>
                  </a:lnTo>
                  <a:lnTo>
                    <a:pt x="600407" y="6390036"/>
                  </a:lnTo>
                  <a:lnTo>
                    <a:pt x="605171" y="6394800"/>
                  </a:lnTo>
                  <a:lnTo>
                    <a:pt x="595641" y="6404328"/>
                  </a:lnTo>
                  <a:lnTo>
                    <a:pt x="590877" y="6409096"/>
                  </a:lnTo>
                  <a:lnTo>
                    <a:pt x="576581" y="6413860"/>
                  </a:lnTo>
                  <a:lnTo>
                    <a:pt x="576581" y="6432920"/>
                  </a:lnTo>
                  <a:lnTo>
                    <a:pt x="571815" y="6456744"/>
                  </a:lnTo>
                  <a:lnTo>
                    <a:pt x="557521" y="6456744"/>
                  </a:lnTo>
                  <a:lnTo>
                    <a:pt x="552755" y="6447216"/>
                  </a:lnTo>
                  <a:lnTo>
                    <a:pt x="552755" y="6437684"/>
                  </a:lnTo>
                  <a:lnTo>
                    <a:pt x="547991" y="6428156"/>
                  </a:lnTo>
                  <a:lnTo>
                    <a:pt x="552755" y="6413860"/>
                  </a:lnTo>
                  <a:lnTo>
                    <a:pt x="557521" y="6399564"/>
                  </a:lnTo>
                  <a:close/>
                  <a:moveTo>
                    <a:pt x="571815" y="6270904"/>
                  </a:moveTo>
                  <a:lnTo>
                    <a:pt x="590877" y="6280436"/>
                  </a:lnTo>
                  <a:lnTo>
                    <a:pt x="605171" y="6280436"/>
                  </a:lnTo>
                  <a:lnTo>
                    <a:pt x="619467" y="6289968"/>
                  </a:lnTo>
                  <a:lnTo>
                    <a:pt x="643293" y="6294732"/>
                  </a:lnTo>
                  <a:lnTo>
                    <a:pt x="648059" y="6313792"/>
                  </a:lnTo>
                  <a:lnTo>
                    <a:pt x="628997" y="6328088"/>
                  </a:lnTo>
                  <a:lnTo>
                    <a:pt x="614701" y="6342384"/>
                  </a:lnTo>
                  <a:lnTo>
                    <a:pt x="581345" y="6361444"/>
                  </a:lnTo>
                  <a:lnTo>
                    <a:pt x="576581" y="6351912"/>
                  </a:lnTo>
                  <a:lnTo>
                    <a:pt x="552755" y="6351912"/>
                  </a:lnTo>
                  <a:lnTo>
                    <a:pt x="557521" y="6332852"/>
                  </a:lnTo>
                  <a:lnTo>
                    <a:pt x="562285" y="6313792"/>
                  </a:lnTo>
                  <a:lnTo>
                    <a:pt x="562285" y="6309028"/>
                  </a:lnTo>
                  <a:lnTo>
                    <a:pt x="567051" y="6294732"/>
                  </a:lnTo>
                  <a:close/>
                  <a:moveTo>
                    <a:pt x="586111" y="5975468"/>
                  </a:moveTo>
                  <a:lnTo>
                    <a:pt x="605171" y="5975468"/>
                  </a:lnTo>
                  <a:lnTo>
                    <a:pt x="605171" y="5989764"/>
                  </a:lnTo>
                  <a:lnTo>
                    <a:pt x="605171" y="6008824"/>
                  </a:lnTo>
                  <a:lnTo>
                    <a:pt x="581345" y="6042180"/>
                  </a:lnTo>
                  <a:lnTo>
                    <a:pt x="562285" y="6066004"/>
                  </a:lnTo>
                  <a:lnTo>
                    <a:pt x="543225" y="6080300"/>
                  </a:lnTo>
                  <a:lnTo>
                    <a:pt x="533695" y="6080300"/>
                  </a:lnTo>
                  <a:lnTo>
                    <a:pt x="524163" y="6075536"/>
                  </a:lnTo>
                  <a:lnTo>
                    <a:pt x="533695" y="6061240"/>
                  </a:lnTo>
                  <a:lnTo>
                    <a:pt x="547989" y="6046944"/>
                  </a:lnTo>
                  <a:lnTo>
                    <a:pt x="543225" y="6027884"/>
                  </a:lnTo>
                  <a:lnTo>
                    <a:pt x="538459" y="6023120"/>
                  </a:lnTo>
                  <a:lnTo>
                    <a:pt x="533695" y="6023120"/>
                  </a:lnTo>
                  <a:lnTo>
                    <a:pt x="524163" y="6013588"/>
                  </a:lnTo>
                  <a:lnTo>
                    <a:pt x="524163" y="5999292"/>
                  </a:lnTo>
                  <a:lnTo>
                    <a:pt x="533695" y="5994528"/>
                  </a:lnTo>
                  <a:lnTo>
                    <a:pt x="538459" y="5989764"/>
                  </a:lnTo>
                  <a:lnTo>
                    <a:pt x="547989" y="5989764"/>
                  </a:lnTo>
                  <a:lnTo>
                    <a:pt x="576581" y="5980232"/>
                  </a:lnTo>
                  <a:close/>
                  <a:moveTo>
                    <a:pt x="652823" y="5956408"/>
                  </a:moveTo>
                  <a:lnTo>
                    <a:pt x="662353" y="5956408"/>
                  </a:lnTo>
                  <a:lnTo>
                    <a:pt x="676649" y="5970704"/>
                  </a:lnTo>
                  <a:lnTo>
                    <a:pt x="690943" y="5970704"/>
                  </a:lnTo>
                  <a:lnTo>
                    <a:pt x="695709" y="5970704"/>
                  </a:lnTo>
                  <a:lnTo>
                    <a:pt x="695709" y="5984996"/>
                  </a:lnTo>
                  <a:lnTo>
                    <a:pt x="705239" y="6061240"/>
                  </a:lnTo>
                  <a:lnTo>
                    <a:pt x="705239" y="6099360"/>
                  </a:lnTo>
                  <a:lnTo>
                    <a:pt x="705239" y="6132716"/>
                  </a:lnTo>
                  <a:lnTo>
                    <a:pt x="695709" y="6175604"/>
                  </a:lnTo>
                  <a:lnTo>
                    <a:pt x="700473" y="6185132"/>
                  </a:lnTo>
                  <a:lnTo>
                    <a:pt x="705239" y="6189896"/>
                  </a:lnTo>
                  <a:lnTo>
                    <a:pt x="705239" y="6194664"/>
                  </a:lnTo>
                  <a:lnTo>
                    <a:pt x="705239" y="6213724"/>
                  </a:lnTo>
                  <a:lnTo>
                    <a:pt x="700473" y="6232784"/>
                  </a:lnTo>
                  <a:lnTo>
                    <a:pt x="695709" y="6247080"/>
                  </a:lnTo>
                  <a:lnTo>
                    <a:pt x="690943" y="6266140"/>
                  </a:lnTo>
                  <a:lnTo>
                    <a:pt x="686179" y="6270904"/>
                  </a:lnTo>
                  <a:lnTo>
                    <a:pt x="667117" y="6270904"/>
                  </a:lnTo>
                  <a:lnTo>
                    <a:pt x="657587" y="6270904"/>
                  </a:lnTo>
                  <a:lnTo>
                    <a:pt x="652823" y="6251844"/>
                  </a:lnTo>
                  <a:lnTo>
                    <a:pt x="648057" y="6237548"/>
                  </a:lnTo>
                  <a:lnTo>
                    <a:pt x="652823" y="6223252"/>
                  </a:lnTo>
                  <a:lnTo>
                    <a:pt x="643293" y="6204192"/>
                  </a:lnTo>
                  <a:lnTo>
                    <a:pt x="638527" y="6194664"/>
                  </a:lnTo>
                  <a:lnTo>
                    <a:pt x="643293" y="6180368"/>
                  </a:lnTo>
                  <a:lnTo>
                    <a:pt x="652823" y="6170836"/>
                  </a:lnTo>
                  <a:lnTo>
                    <a:pt x="652823" y="6151776"/>
                  </a:lnTo>
                  <a:lnTo>
                    <a:pt x="657587" y="6147012"/>
                  </a:lnTo>
                  <a:lnTo>
                    <a:pt x="667117" y="6137480"/>
                  </a:lnTo>
                  <a:lnTo>
                    <a:pt x="667117" y="6132716"/>
                  </a:lnTo>
                  <a:lnTo>
                    <a:pt x="667117" y="6127952"/>
                  </a:lnTo>
                  <a:lnTo>
                    <a:pt x="662353" y="6127952"/>
                  </a:lnTo>
                  <a:lnTo>
                    <a:pt x="628997" y="6156544"/>
                  </a:lnTo>
                  <a:lnTo>
                    <a:pt x="624231" y="6161308"/>
                  </a:lnTo>
                  <a:lnTo>
                    <a:pt x="624231" y="6170836"/>
                  </a:lnTo>
                  <a:lnTo>
                    <a:pt x="624231" y="6208960"/>
                  </a:lnTo>
                  <a:lnTo>
                    <a:pt x="619467" y="6228020"/>
                  </a:lnTo>
                  <a:lnTo>
                    <a:pt x="614701" y="6232784"/>
                  </a:lnTo>
                  <a:lnTo>
                    <a:pt x="595641" y="6232784"/>
                  </a:lnTo>
                  <a:lnTo>
                    <a:pt x="576581" y="6232784"/>
                  </a:lnTo>
                  <a:lnTo>
                    <a:pt x="552755" y="6213724"/>
                  </a:lnTo>
                  <a:lnTo>
                    <a:pt x="538459" y="6218488"/>
                  </a:lnTo>
                  <a:lnTo>
                    <a:pt x="533695" y="6194664"/>
                  </a:lnTo>
                  <a:lnTo>
                    <a:pt x="543225" y="6175604"/>
                  </a:lnTo>
                  <a:lnTo>
                    <a:pt x="571815" y="6175604"/>
                  </a:lnTo>
                  <a:lnTo>
                    <a:pt x="576581" y="6147012"/>
                  </a:lnTo>
                  <a:lnTo>
                    <a:pt x="567049" y="6137480"/>
                  </a:lnTo>
                  <a:lnTo>
                    <a:pt x="557519" y="6123188"/>
                  </a:lnTo>
                  <a:lnTo>
                    <a:pt x="547989" y="6113656"/>
                  </a:lnTo>
                  <a:lnTo>
                    <a:pt x="552755" y="6104124"/>
                  </a:lnTo>
                  <a:lnTo>
                    <a:pt x="571815" y="6089832"/>
                  </a:lnTo>
                  <a:lnTo>
                    <a:pt x="581345" y="6089832"/>
                  </a:lnTo>
                  <a:lnTo>
                    <a:pt x="590875" y="6099360"/>
                  </a:lnTo>
                  <a:lnTo>
                    <a:pt x="609937" y="6089832"/>
                  </a:lnTo>
                  <a:lnTo>
                    <a:pt x="609937" y="6070768"/>
                  </a:lnTo>
                  <a:lnTo>
                    <a:pt x="590875" y="6061240"/>
                  </a:lnTo>
                  <a:lnTo>
                    <a:pt x="595641" y="6046944"/>
                  </a:lnTo>
                  <a:lnTo>
                    <a:pt x="614701" y="6032648"/>
                  </a:lnTo>
                  <a:lnTo>
                    <a:pt x="628997" y="6018352"/>
                  </a:lnTo>
                  <a:lnTo>
                    <a:pt x="628997" y="5999292"/>
                  </a:lnTo>
                  <a:lnTo>
                    <a:pt x="624231" y="5984996"/>
                  </a:lnTo>
                  <a:lnTo>
                    <a:pt x="628997" y="5980232"/>
                  </a:lnTo>
                  <a:lnTo>
                    <a:pt x="638527" y="5965936"/>
                  </a:lnTo>
                  <a:close/>
                  <a:moveTo>
                    <a:pt x="562285" y="5794392"/>
                  </a:moveTo>
                  <a:lnTo>
                    <a:pt x="571815" y="5808688"/>
                  </a:lnTo>
                  <a:lnTo>
                    <a:pt x="581345" y="5842044"/>
                  </a:lnTo>
                  <a:lnTo>
                    <a:pt x="600407" y="5889696"/>
                  </a:lnTo>
                  <a:lnTo>
                    <a:pt x="595641" y="5937348"/>
                  </a:lnTo>
                  <a:lnTo>
                    <a:pt x="586111" y="5951644"/>
                  </a:lnTo>
                  <a:lnTo>
                    <a:pt x="552755" y="5961172"/>
                  </a:lnTo>
                  <a:lnTo>
                    <a:pt x="543225" y="5970704"/>
                  </a:lnTo>
                  <a:lnTo>
                    <a:pt x="524165" y="5970704"/>
                  </a:lnTo>
                  <a:lnTo>
                    <a:pt x="519399" y="5927816"/>
                  </a:lnTo>
                  <a:lnTo>
                    <a:pt x="543225" y="5870636"/>
                  </a:lnTo>
                  <a:lnTo>
                    <a:pt x="543225" y="5846808"/>
                  </a:lnTo>
                  <a:lnTo>
                    <a:pt x="538459" y="5827748"/>
                  </a:lnTo>
                  <a:lnTo>
                    <a:pt x="533695" y="5813452"/>
                  </a:lnTo>
                  <a:lnTo>
                    <a:pt x="533695" y="5808688"/>
                  </a:lnTo>
                  <a:close/>
                  <a:moveTo>
                    <a:pt x="638527" y="5756272"/>
                  </a:moveTo>
                  <a:lnTo>
                    <a:pt x="648057" y="5756272"/>
                  </a:lnTo>
                  <a:lnTo>
                    <a:pt x="648057" y="5794392"/>
                  </a:lnTo>
                  <a:lnTo>
                    <a:pt x="652823" y="5808688"/>
                  </a:lnTo>
                  <a:lnTo>
                    <a:pt x="662353" y="5822984"/>
                  </a:lnTo>
                  <a:lnTo>
                    <a:pt x="667119" y="5827748"/>
                  </a:lnTo>
                  <a:lnTo>
                    <a:pt x="667119" y="5842044"/>
                  </a:lnTo>
                  <a:lnTo>
                    <a:pt x="676649" y="5861104"/>
                  </a:lnTo>
                  <a:lnTo>
                    <a:pt x="681413" y="5870636"/>
                  </a:lnTo>
                  <a:lnTo>
                    <a:pt x="686179" y="5880164"/>
                  </a:lnTo>
                  <a:lnTo>
                    <a:pt x="686179" y="5884932"/>
                  </a:lnTo>
                  <a:lnTo>
                    <a:pt x="681413" y="5889696"/>
                  </a:lnTo>
                  <a:lnTo>
                    <a:pt x="690943" y="5932580"/>
                  </a:lnTo>
                  <a:lnTo>
                    <a:pt x="686179" y="5937348"/>
                  </a:lnTo>
                  <a:lnTo>
                    <a:pt x="667119" y="5932580"/>
                  </a:lnTo>
                  <a:lnTo>
                    <a:pt x="633763" y="5937348"/>
                  </a:lnTo>
                  <a:lnTo>
                    <a:pt x="619467" y="5918288"/>
                  </a:lnTo>
                  <a:lnTo>
                    <a:pt x="614701" y="5884932"/>
                  </a:lnTo>
                  <a:lnTo>
                    <a:pt x="609937" y="5875400"/>
                  </a:lnTo>
                  <a:lnTo>
                    <a:pt x="600407" y="5856340"/>
                  </a:lnTo>
                  <a:lnTo>
                    <a:pt x="595641" y="5842044"/>
                  </a:lnTo>
                  <a:lnTo>
                    <a:pt x="590877" y="5822984"/>
                  </a:lnTo>
                  <a:lnTo>
                    <a:pt x="586111" y="5803924"/>
                  </a:lnTo>
                  <a:lnTo>
                    <a:pt x="586111" y="5799160"/>
                  </a:lnTo>
                  <a:lnTo>
                    <a:pt x="590877" y="5784864"/>
                  </a:lnTo>
                  <a:lnTo>
                    <a:pt x="624233" y="5775332"/>
                  </a:lnTo>
                  <a:close/>
                  <a:moveTo>
                    <a:pt x="609935" y="5718152"/>
                  </a:moveTo>
                  <a:lnTo>
                    <a:pt x="619465" y="5722916"/>
                  </a:lnTo>
                  <a:lnTo>
                    <a:pt x="633761" y="5727680"/>
                  </a:lnTo>
                  <a:lnTo>
                    <a:pt x="633761" y="5737212"/>
                  </a:lnTo>
                  <a:lnTo>
                    <a:pt x="614701" y="5746740"/>
                  </a:lnTo>
                  <a:lnTo>
                    <a:pt x="609935" y="5751508"/>
                  </a:lnTo>
                  <a:lnTo>
                    <a:pt x="605171" y="5756272"/>
                  </a:lnTo>
                  <a:lnTo>
                    <a:pt x="595641" y="5756272"/>
                  </a:lnTo>
                  <a:lnTo>
                    <a:pt x="590875" y="5746740"/>
                  </a:lnTo>
                  <a:lnTo>
                    <a:pt x="581345" y="5737212"/>
                  </a:lnTo>
                  <a:lnTo>
                    <a:pt x="590875" y="5727680"/>
                  </a:lnTo>
                  <a:close/>
                  <a:moveTo>
                    <a:pt x="729065" y="5151100"/>
                  </a:moveTo>
                  <a:lnTo>
                    <a:pt x="733829" y="5170160"/>
                  </a:lnTo>
                  <a:lnTo>
                    <a:pt x="729065" y="5213048"/>
                  </a:lnTo>
                  <a:lnTo>
                    <a:pt x="743359" y="5236872"/>
                  </a:lnTo>
                  <a:lnTo>
                    <a:pt x="743359" y="5246404"/>
                  </a:lnTo>
                  <a:lnTo>
                    <a:pt x="738595" y="5255932"/>
                  </a:lnTo>
                  <a:lnTo>
                    <a:pt x="729065" y="5265464"/>
                  </a:lnTo>
                  <a:lnTo>
                    <a:pt x="719535" y="5274992"/>
                  </a:lnTo>
                  <a:lnTo>
                    <a:pt x="705239" y="5279760"/>
                  </a:lnTo>
                  <a:lnTo>
                    <a:pt x="690943" y="5270228"/>
                  </a:lnTo>
                  <a:lnTo>
                    <a:pt x="671883" y="5274992"/>
                  </a:lnTo>
                  <a:lnTo>
                    <a:pt x="671883" y="5255932"/>
                  </a:lnTo>
                  <a:lnTo>
                    <a:pt x="676649" y="5246404"/>
                  </a:lnTo>
                  <a:lnTo>
                    <a:pt x="690943" y="5227344"/>
                  </a:lnTo>
                  <a:lnTo>
                    <a:pt x="700473" y="5203516"/>
                  </a:lnTo>
                  <a:lnTo>
                    <a:pt x="700473" y="5174928"/>
                  </a:lnTo>
                  <a:lnTo>
                    <a:pt x="710005" y="5165396"/>
                  </a:lnTo>
                  <a:lnTo>
                    <a:pt x="714769" y="5155868"/>
                  </a:lnTo>
                  <a:close/>
                  <a:moveTo>
                    <a:pt x="605171" y="5065328"/>
                  </a:moveTo>
                  <a:lnTo>
                    <a:pt x="609937" y="5065328"/>
                  </a:lnTo>
                  <a:lnTo>
                    <a:pt x="614701" y="5070096"/>
                  </a:lnTo>
                  <a:lnTo>
                    <a:pt x="619467" y="5084388"/>
                  </a:lnTo>
                  <a:lnTo>
                    <a:pt x="614701" y="5089156"/>
                  </a:lnTo>
                  <a:lnTo>
                    <a:pt x="609937" y="5089156"/>
                  </a:lnTo>
                  <a:lnTo>
                    <a:pt x="605171" y="5089156"/>
                  </a:lnTo>
                  <a:lnTo>
                    <a:pt x="605171" y="5079624"/>
                  </a:lnTo>
                  <a:lnTo>
                    <a:pt x="600407" y="5070096"/>
                  </a:lnTo>
                  <a:close/>
                  <a:moveTo>
                    <a:pt x="814837" y="5012912"/>
                  </a:moveTo>
                  <a:lnTo>
                    <a:pt x="819601" y="5012912"/>
                  </a:lnTo>
                  <a:lnTo>
                    <a:pt x="829131" y="5012912"/>
                  </a:lnTo>
                  <a:lnTo>
                    <a:pt x="833897" y="5027208"/>
                  </a:lnTo>
                  <a:lnTo>
                    <a:pt x="838663" y="5041504"/>
                  </a:lnTo>
                  <a:lnTo>
                    <a:pt x="838663" y="5055800"/>
                  </a:lnTo>
                  <a:lnTo>
                    <a:pt x="833897" y="5070092"/>
                  </a:lnTo>
                  <a:lnTo>
                    <a:pt x="829131" y="5074860"/>
                  </a:lnTo>
                  <a:lnTo>
                    <a:pt x="824367" y="5074860"/>
                  </a:lnTo>
                  <a:lnTo>
                    <a:pt x="819601" y="5065328"/>
                  </a:lnTo>
                  <a:lnTo>
                    <a:pt x="819601" y="5055800"/>
                  </a:lnTo>
                  <a:lnTo>
                    <a:pt x="810071" y="5041504"/>
                  </a:lnTo>
                  <a:lnTo>
                    <a:pt x="805307" y="5031972"/>
                  </a:lnTo>
                  <a:lnTo>
                    <a:pt x="805307" y="5027208"/>
                  </a:lnTo>
                  <a:close/>
                  <a:moveTo>
                    <a:pt x="900609" y="4965260"/>
                  </a:moveTo>
                  <a:lnTo>
                    <a:pt x="929199" y="4974792"/>
                  </a:lnTo>
                  <a:lnTo>
                    <a:pt x="957791" y="4993852"/>
                  </a:lnTo>
                  <a:lnTo>
                    <a:pt x="972087" y="5003384"/>
                  </a:lnTo>
                  <a:lnTo>
                    <a:pt x="972087" y="5012912"/>
                  </a:lnTo>
                  <a:lnTo>
                    <a:pt x="957791" y="5031972"/>
                  </a:lnTo>
                  <a:lnTo>
                    <a:pt x="953025" y="5046268"/>
                  </a:lnTo>
                  <a:lnTo>
                    <a:pt x="938731" y="5060564"/>
                  </a:lnTo>
                  <a:lnTo>
                    <a:pt x="900609" y="5079624"/>
                  </a:lnTo>
                  <a:lnTo>
                    <a:pt x="881549" y="5074860"/>
                  </a:lnTo>
                  <a:lnTo>
                    <a:pt x="872019" y="5060564"/>
                  </a:lnTo>
                  <a:lnTo>
                    <a:pt x="867253" y="5051032"/>
                  </a:lnTo>
                  <a:lnTo>
                    <a:pt x="867253" y="5031972"/>
                  </a:lnTo>
                  <a:lnTo>
                    <a:pt x="872019" y="5022444"/>
                  </a:lnTo>
                  <a:lnTo>
                    <a:pt x="886313" y="5008148"/>
                  </a:lnTo>
                  <a:lnTo>
                    <a:pt x="891079" y="4998616"/>
                  </a:lnTo>
                  <a:lnTo>
                    <a:pt x="891079" y="4989088"/>
                  </a:lnTo>
                  <a:lnTo>
                    <a:pt x="891079" y="4979556"/>
                  </a:lnTo>
                  <a:lnTo>
                    <a:pt x="895843" y="4970028"/>
                  </a:lnTo>
                  <a:close/>
                  <a:moveTo>
                    <a:pt x="781481" y="4922376"/>
                  </a:moveTo>
                  <a:lnTo>
                    <a:pt x="795777" y="4922376"/>
                  </a:lnTo>
                  <a:lnTo>
                    <a:pt x="800541" y="4931904"/>
                  </a:lnTo>
                  <a:lnTo>
                    <a:pt x="805307" y="4941436"/>
                  </a:lnTo>
                  <a:lnTo>
                    <a:pt x="824367" y="4950964"/>
                  </a:lnTo>
                  <a:lnTo>
                    <a:pt x="824367" y="4960496"/>
                  </a:lnTo>
                  <a:lnTo>
                    <a:pt x="819601" y="4979556"/>
                  </a:lnTo>
                  <a:lnTo>
                    <a:pt x="814837" y="4989088"/>
                  </a:lnTo>
                  <a:lnTo>
                    <a:pt x="800541" y="4989088"/>
                  </a:lnTo>
                  <a:lnTo>
                    <a:pt x="781481" y="4998616"/>
                  </a:lnTo>
                  <a:lnTo>
                    <a:pt x="781481" y="5008148"/>
                  </a:lnTo>
                  <a:lnTo>
                    <a:pt x="776715" y="5022444"/>
                  </a:lnTo>
                  <a:lnTo>
                    <a:pt x="791011" y="5036736"/>
                  </a:lnTo>
                  <a:lnTo>
                    <a:pt x="795777" y="5051032"/>
                  </a:lnTo>
                  <a:lnTo>
                    <a:pt x="805307" y="5074860"/>
                  </a:lnTo>
                  <a:lnTo>
                    <a:pt x="810071" y="5098684"/>
                  </a:lnTo>
                  <a:lnTo>
                    <a:pt x="810071" y="5103448"/>
                  </a:lnTo>
                  <a:lnTo>
                    <a:pt x="810071" y="5117744"/>
                  </a:lnTo>
                  <a:lnTo>
                    <a:pt x="819601" y="5136804"/>
                  </a:lnTo>
                  <a:lnTo>
                    <a:pt x="819601" y="5146336"/>
                  </a:lnTo>
                  <a:lnTo>
                    <a:pt x="819601" y="5155868"/>
                  </a:lnTo>
                  <a:lnTo>
                    <a:pt x="819601" y="5170160"/>
                  </a:lnTo>
                  <a:lnTo>
                    <a:pt x="814837" y="5170160"/>
                  </a:lnTo>
                  <a:lnTo>
                    <a:pt x="805307" y="5174928"/>
                  </a:lnTo>
                  <a:lnTo>
                    <a:pt x="805307" y="5184456"/>
                  </a:lnTo>
                  <a:lnTo>
                    <a:pt x="800541" y="5184456"/>
                  </a:lnTo>
                  <a:lnTo>
                    <a:pt x="776715" y="5189224"/>
                  </a:lnTo>
                  <a:lnTo>
                    <a:pt x="762421" y="5184456"/>
                  </a:lnTo>
                  <a:lnTo>
                    <a:pt x="767185" y="5155868"/>
                  </a:lnTo>
                  <a:lnTo>
                    <a:pt x="748125" y="5141572"/>
                  </a:lnTo>
                  <a:lnTo>
                    <a:pt x="738595" y="5122512"/>
                  </a:lnTo>
                  <a:lnTo>
                    <a:pt x="724299" y="5089156"/>
                  </a:lnTo>
                  <a:lnTo>
                    <a:pt x="714769" y="5079624"/>
                  </a:lnTo>
                  <a:lnTo>
                    <a:pt x="700473" y="5055800"/>
                  </a:lnTo>
                  <a:lnTo>
                    <a:pt x="681413" y="5031972"/>
                  </a:lnTo>
                  <a:lnTo>
                    <a:pt x="705239" y="5017676"/>
                  </a:lnTo>
                  <a:lnTo>
                    <a:pt x="700473" y="4993852"/>
                  </a:lnTo>
                  <a:lnTo>
                    <a:pt x="714769" y="4984320"/>
                  </a:lnTo>
                  <a:lnTo>
                    <a:pt x="733829" y="4979556"/>
                  </a:lnTo>
                  <a:lnTo>
                    <a:pt x="748125" y="4984320"/>
                  </a:lnTo>
                  <a:lnTo>
                    <a:pt x="757655" y="4984320"/>
                  </a:lnTo>
                  <a:lnTo>
                    <a:pt x="762421" y="4974792"/>
                  </a:lnTo>
                  <a:lnTo>
                    <a:pt x="762421" y="4950964"/>
                  </a:lnTo>
                  <a:lnTo>
                    <a:pt x="767185" y="4931904"/>
                  </a:lnTo>
                  <a:close/>
                  <a:moveTo>
                    <a:pt x="800541" y="4846132"/>
                  </a:moveTo>
                  <a:lnTo>
                    <a:pt x="805305" y="4846132"/>
                  </a:lnTo>
                  <a:lnTo>
                    <a:pt x="810071" y="4855664"/>
                  </a:lnTo>
                  <a:lnTo>
                    <a:pt x="810071" y="4865192"/>
                  </a:lnTo>
                  <a:lnTo>
                    <a:pt x="805305" y="4865192"/>
                  </a:lnTo>
                  <a:lnTo>
                    <a:pt x="795775" y="4865192"/>
                  </a:lnTo>
                  <a:lnTo>
                    <a:pt x="786245" y="4874724"/>
                  </a:lnTo>
                  <a:lnTo>
                    <a:pt x="762421" y="4865192"/>
                  </a:lnTo>
                  <a:lnTo>
                    <a:pt x="757655" y="4865192"/>
                  </a:lnTo>
                  <a:lnTo>
                    <a:pt x="757655" y="4850900"/>
                  </a:lnTo>
                  <a:lnTo>
                    <a:pt x="781481" y="4850900"/>
                  </a:lnTo>
                  <a:close/>
                  <a:moveTo>
                    <a:pt x="662353" y="4788952"/>
                  </a:moveTo>
                  <a:lnTo>
                    <a:pt x="671883" y="4793716"/>
                  </a:lnTo>
                  <a:lnTo>
                    <a:pt x="671883" y="4798480"/>
                  </a:lnTo>
                  <a:lnTo>
                    <a:pt x="676647" y="4803248"/>
                  </a:lnTo>
                  <a:lnTo>
                    <a:pt x="676647" y="4808012"/>
                  </a:lnTo>
                  <a:lnTo>
                    <a:pt x="652823" y="4812776"/>
                  </a:lnTo>
                  <a:lnTo>
                    <a:pt x="648057" y="4803248"/>
                  </a:lnTo>
                  <a:lnTo>
                    <a:pt x="648057" y="4798480"/>
                  </a:lnTo>
                  <a:lnTo>
                    <a:pt x="652823" y="4793716"/>
                  </a:lnTo>
                  <a:close/>
                  <a:moveTo>
                    <a:pt x="771951" y="4422036"/>
                  </a:moveTo>
                  <a:lnTo>
                    <a:pt x="819601" y="4436332"/>
                  </a:lnTo>
                  <a:lnTo>
                    <a:pt x="852957" y="4441096"/>
                  </a:lnTo>
                  <a:lnTo>
                    <a:pt x="852957" y="4460160"/>
                  </a:lnTo>
                  <a:lnTo>
                    <a:pt x="857723" y="4474452"/>
                  </a:lnTo>
                  <a:lnTo>
                    <a:pt x="862487" y="4498280"/>
                  </a:lnTo>
                  <a:lnTo>
                    <a:pt x="867253" y="4503044"/>
                  </a:lnTo>
                  <a:lnTo>
                    <a:pt x="867253" y="4522104"/>
                  </a:lnTo>
                  <a:lnTo>
                    <a:pt x="852957" y="4531636"/>
                  </a:lnTo>
                  <a:lnTo>
                    <a:pt x="852957" y="4545932"/>
                  </a:lnTo>
                  <a:lnTo>
                    <a:pt x="862487" y="4564992"/>
                  </a:lnTo>
                  <a:lnTo>
                    <a:pt x="848193" y="4569756"/>
                  </a:lnTo>
                  <a:lnTo>
                    <a:pt x="833897" y="4569756"/>
                  </a:lnTo>
                  <a:lnTo>
                    <a:pt x="833897" y="4574520"/>
                  </a:lnTo>
                  <a:lnTo>
                    <a:pt x="824367" y="4579288"/>
                  </a:lnTo>
                  <a:lnTo>
                    <a:pt x="810071" y="4588816"/>
                  </a:lnTo>
                  <a:lnTo>
                    <a:pt x="814837" y="4593580"/>
                  </a:lnTo>
                  <a:lnTo>
                    <a:pt x="829131" y="4612644"/>
                  </a:lnTo>
                  <a:lnTo>
                    <a:pt x="848193" y="4626936"/>
                  </a:lnTo>
                  <a:lnTo>
                    <a:pt x="852957" y="4646000"/>
                  </a:lnTo>
                  <a:lnTo>
                    <a:pt x="867253" y="4665060"/>
                  </a:lnTo>
                  <a:lnTo>
                    <a:pt x="862487" y="4674588"/>
                  </a:lnTo>
                  <a:lnTo>
                    <a:pt x="848193" y="4693648"/>
                  </a:lnTo>
                  <a:lnTo>
                    <a:pt x="833897" y="4703180"/>
                  </a:lnTo>
                  <a:lnTo>
                    <a:pt x="819601" y="4707944"/>
                  </a:lnTo>
                  <a:lnTo>
                    <a:pt x="819601" y="4741300"/>
                  </a:lnTo>
                  <a:lnTo>
                    <a:pt x="814837" y="4750832"/>
                  </a:lnTo>
                  <a:lnTo>
                    <a:pt x="800541" y="4755596"/>
                  </a:lnTo>
                  <a:lnTo>
                    <a:pt x="791011" y="4755596"/>
                  </a:lnTo>
                  <a:lnTo>
                    <a:pt x="781481" y="4750832"/>
                  </a:lnTo>
                  <a:lnTo>
                    <a:pt x="762421" y="4750832"/>
                  </a:lnTo>
                  <a:lnTo>
                    <a:pt x="743359" y="4746064"/>
                  </a:lnTo>
                  <a:lnTo>
                    <a:pt x="724299" y="4731772"/>
                  </a:lnTo>
                  <a:lnTo>
                    <a:pt x="719535" y="4727004"/>
                  </a:lnTo>
                  <a:lnTo>
                    <a:pt x="719535" y="4717476"/>
                  </a:lnTo>
                  <a:lnTo>
                    <a:pt x="733829" y="4693648"/>
                  </a:lnTo>
                  <a:lnTo>
                    <a:pt x="748125" y="4650764"/>
                  </a:lnTo>
                  <a:lnTo>
                    <a:pt x="752889" y="4588816"/>
                  </a:lnTo>
                  <a:lnTo>
                    <a:pt x="748125" y="4564992"/>
                  </a:lnTo>
                  <a:lnTo>
                    <a:pt x="748125" y="4555460"/>
                  </a:lnTo>
                  <a:lnTo>
                    <a:pt x="752889" y="4545932"/>
                  </a:lnTo>
                  <a:lnTo>
                    <a:pt x="752889" y="4531636"/>
                  </a:lnTo>
                  <a:lnTo>
                    <a:pt x="752889" y="4522104"/>
                  </a:lnTo>
                  <a:lnTo>
                    <a:pt x="752889" y="4507808"/>
                  </a:lnTo>
                  <a:lnTo>
                    <a:pt x="767185" y="4488748"/>
                  </a:lnTo>
                  <a:lnTo>
                    <a:pt x="771951" y="4474452"/>
                  </a:lnTo>
                  <a:lnTo>
                    <a:pt x="771951" y="4464924"/>
                  </a:lnTo>
                  <a:lnTo>
                    <a:pt x="776715" y="4441096"/>
                  </a:lnTo>
                  <a:lnTo>
                    <a:pt x="771951" y="4431568"/>
                  </a:lnTo>
                  <a:lnTo>
                    <a:pt x="767185" y="4426804"/>
                  </a:lnTo>
                  <a:close/>
                  <a:moveTo>
                    <a:pt x="14295" y="2797128"/>
                  </a:moveTo>
                  <a:lnTo>
                    <a:pt x="19061" y="2797128"/>
                  </a:lnTo>
                  <a:lnTo>
                    <a:pt x="33356" y="2801892"/>
                  </a:lnTo>
                  <a:lnTo>
                    <a:pt x="33356" y="2806658"/>
                  </a:lnTo>
                  <a:lnTo>
                    <a:pt x="28591" y="2811424"/>
                  </a:lnTo>
                  <a:lnTo>
                    <a:pt x="0" y="2811424"/>
                  </a:lnTo>
                  <a:lnTo>
                    <a:pt x="9530" y="2801892"/>
                  </a:lnTo>
                  <a:close/>
                  <a:moveTo>
                    <a:pt x="1481955" y="0"/>
                  </a:moveTo>
                  <a:lnTo>
                    <a:pt x="1481955" y="19060"/>
                  </a:lnTo>
                  <a:lnTo>
                    <a:pt x="1505781" y="42886"/>
                  </a:lnTo>
                  <a:lnTo>
                    <a:pt x="1510545" y="71476"/>
                  </a:lnTo>
                  <a:lnTo>
                    <a:pt x="1515311" y="76242"/>
                  </a:lnTo>
                  <a:lnTo>
                    <a:pt x="1543901" y="90536"/>
                  </a:lnTo>
                  <a:lnTo>
                    <a:pt x="1543901" y="95302"/>
                  </a:lnTo>
                  <a:lnTo>
                    <a:pt x="1539137" y="100066"/>
                  </a:lnTo>
                  <a:lnTo>
                    <a:pt x="1539137" y="104832"/>
                  </a:lnTo>
                  <a:lnTo>
                    <a:pt x="1539137" y="114362"/>
                  </a:lnTo>
                  <a:lnTo>
                    <a:pt x="1543901" y="128658"/>
                  </a:lnTo>
                  <a:lnTo>
                    <a:pt x="1548667" y="142952"/>
                  </a:lnTo>
                  <a:lnTo>
                    <a:pt x="1548667" y="152484"/>
                  </a:lnTo>
                  <a:lnTo>
                    <a:pt x="1553431" y="171544"/>
                  </a:lnTo>
                  <a:lnTo>
                    <a:pt x="1553431" y="190604"/>
                  </a:lnTo>
                  <a:lnTo>
                    <a:pt x="1562961" y="214430"/>
                  </a:lnTo>
                  <a:lnTo>
                    <a:pt x="1562961" y="233490"/>
                  </a:lnTo>
                  <a:lnTo>
                    <a:pt x="1562961" y="243020"/>
                  </a:lnTo>
                  <a:lnTo>
                    <a:pt x="1572491" y="252550"/>
                  </a:lnTo>
                  <a:lnTo>
                    <a:pt x="1582023" y="262080"/>
                  </a:lnTo>
                  <a:lnTo>
                    <a:pt x="1596317" y="271612"/>
                  </a:lnTo>
                  <a:lnTo>
                    <a:pt x="1610613" y="285906"/>
                  </a:lnTo>
                  <a:lnTo>
                    <a:pt x="1620143" y="295436"/>
                  </a:lnTo>
                  <a:lnTo>
                    <a:pt x="1629673" y="304968"/>
                  </a:lnTo>
                  <a:lnTo>
                    <a:pt x="1639203" y="309732"/>
                  </a:lnTo>
                  <a:lnTo>
                    <a:pt x="1643969" y="314498"/>
                  </a:lnTo>
                  <a:lnTo>
                    <a:pt x="1643969" y="319262"/>
                  </a:lnTo>
                  <a:lnTo>
                    <a:pt x="1639203" y="324028"/>
                  </a:lnTo>
                  <a:lnTo>
                    <a:pt x="1624909" y="338324"/>
                  </a:lnTo>
                  <a:lnTo>
                    <a:pt x="1605847" y="366914"/>
                  </a:lnTo>
                  <a:lnTo>
                    <a:pt x="1624909" y="390740"/>
                  </a:lnTo>
                  <a:lnTo>
                    <a:pt x="1629673" y="395504"/>
                  </a:lnTo>
                  <a:lnTo>
                    <a:pt x="1629673" y="405034"/>
                  </a:lnTo>
                  <a:lnTo>
                    <a:pt x="1620143" y="419330"/>
                  </a:lnTo>
                  <a:lnTo>
                    <a:pt x="1601083" y="424096"/>
                  </a:lnTo>
                  <a:lnTo>
                    <a:pt x="1596317" y="428860"/>
                  </a:lnTo>
                  <a:lnTo>
                    <a:pt x="1596317" y="433626"/>
                  </a:lnTo>
                  <a:lnTo>
                    <a:pt x="1601083" y="438390"/>
                  </a:lnTo>
                  <a:lnTo>
                    <a:pt x="1601083" y="447920"/>
                  </a:lnTo>
                  <a:lnTo>
                    <a:pt x="1610613" y="462216"/>
                  </a:lnTo>
                  <a:lnTo>
                    <a:pt x="1605847" y="466982"/>
                  </a:lnTo>
                  <a:lnTo>
                    <a:pt x="1596317" y="476512"/>
                  </a:lnTo>
                  <a:lnTo>
                    <a:pt x="1596317" y="481276"/>
                  </a:lnTo>
                  <a:lnTo>
                    <a:pt x="1601083" y="490808"/>
                  </a:lnTo>
                  <a:lnTo>
                    <a:pt x="1605847" y="495572"/>
                  </a:lnTo>
                  <a:lnTo>
                    <a:pt x="1639203" y="514632"/>
                  </a:lnTo>
                  <a:lnTo>
                    <a:pt x="1639203" y="519398"/>
                  </a:lnTo>
                  <a:lnTo>
                    <a:pt x="1629673" y="533694"/>
                  </a:lnTo>
                  <a:lnTo>
                    <a:pt x="1624909" y="538458"/>
                  </a:lnTo>
                  <a:lnTo>
                    <a:pt x="1629673" y="552754"/>
                  </a:lnTo>
                  <a:lnTo>
                    <a:pt x="1629673" y="562284"/>
                  </a:lnTo>
                  <a:lnTo>
                    <a:pt x="1634439" y="567050"/>
                  </a:lnTo>
                  <a:lnTo>
                    <a:pt x="1648735" y="571814"/>
                  </a:lnTo>
                  <a:lnTo>
                    <a:pt x="1667795" y="600404"/>
                  </a:lnTo>
                  <a:lnTo>
                    <a:pt x="1686855" y="628996"/>
                  </a:lnTo>
                  <a:lnTo>
                    <a:pt x="1686855" y="652822"/>
                  </a:lnTo>
                  <a:lnTo>
                    <a:pt x="1686855" y="681412"/>
                  </a:lnTo>
                  <a:lnTo>
                    <a:pt x="1696385" y="705238"/>
                  </a:lnTo>
                  <a:lnTo>
                    <a:pt x="1701151" y="724298"/>
                  </a:lnTo>
                  <a:lnTo>
                    <a:pt x="1705915" y="743358"/>
                  </a:lnTo>
                  <a:lnTo>
                    <a:pt x="1715445" y="757654"/>
                  </a:lnTo>
                  <a:lnTo>
                    <a:pt x="1724977" y="781480"/>
                  </a:lnTo>
                  <a:lnTo>
                    <a:pt x="1724977" y="795776"/>
                  </a:lnTo>
                  <a:lnTo>
                    <a:pt x="1724977" y="805306"/>
                  </a:lnTo>
                  <a:lnTo>
                    <a:pt x="1734507" y="829132"/>
                  </a:lnTo>
                  <a:lnTo>
                    <a:pt x="1734507" y="852956"/>
                  </a:lnTo>
                  <a:lnTo>
                    <a:pt x="1734507" y="872018"/>
                  </a:lnTo>
                  <a:lnTo>
                    <a:pt x="1734507" y="881548"/>
                  </a:lnTo>
                  <a:lnTo>
                    <a:pt x="1734507" y="886312"/>
                  </a:lnTo>
                  <a:lnTo>
                    <a:pt x="1744037" y="891078"/>
                  </a:lnTo>
                  <a:lnTo>
                    <a:pt x="1748801" y="895842"/>
                  </a:lnTo>
                  <a:lnTo>
                    <a:pt x="1763097" y="895842"/>
                  </a:lnTo>
                  <a:lnTo>
                    <a:pt x="1782157" y="895842"/>
                  </a:lnTo>
                  <a:lnTo>
                    <a:pt x="1815513" y="891078"/>
                  </a:lnTo>
                  <a:lnTo>
                    <a:pt x="1839339" y="886312"/>
                  </a:lnTo>
                  <a:lnTo>
                    <a:pt x="1872695" y="914904"/>
                  </a:lnTo>
                  <a:lnTo>
                    <a:pt x="1858399" y="957790"/>
                  </a:lnTo>
                  <a:lnTo>
                    <a:pt x="1839339" y="1024502"/>
                  </a:lnTo>
                  <a:lnTo>
                    <a:pt x="1820279" y="1076918"/>
                  </a:lnTo>
                  <a:lnTo>
                    <a:pt x="1820279" y="1081682"/>
                  </a:lnTo>
                  <a:lnTo>
                    <a:pt x="1815513" y="1091212"/>
                  </a:lnTo>
                  <a:lnTo>
                    <a:pt x="1782157" y="1105508"/>
                  </a:lnTo>
                  <a:lnTo>
                    <a:pt x="1734507" y="1129334"/>
                  </a:lnTo>
                  <a:lnTo>
                    <a:pt x="1677325" y="1153160"/>
                  </a:lnTo>
                  <a:lnTo>
                    <a:pt x="1667795" y="1167456"/>
                  </a:lnTo>
                  <a:lnTo>
                    <a:pt x="1658265" y="1172220"/>
                  </a:lnTo>
                  <a:lnTo>
                    <a:pt x="1648735" y="1181750"/>
                  </a:lnTo>
                  <a:lnTo>
                    <a:pt x="1643969" y="1186516"/>
                  </a:lnTo>
                  <a:lnTo>
                    <a:pt x="1634439" y="1196046"/>
                  </a:lnTo>
                  <a:lnTo>
                    <a:pt x="1629673" y="1215106"/>
                  </a:lnTo>
                  <a:lnTo>
                    <a:pt x="1629673" y="1229402"/>
                  </a:lnTo>
                  <a:lnTo>
                    <a:pt x="1634439" y="1238932"/>
                  </a:lnTo>
                  <a:lnTo>
                    <a:pt x="1643969" y="1243698"/>
                  </a:lnTo>
                  <a:lnTo>
                    <a:pt x="1643969" y="1257992"/>
                  </a:lnTo>
                  <a:lnTo>
                    <a:pt x="1648735" y="1267522"/>
                  </a:lnTo>
                  <a:lnTo>
                    <a:pt x="1658265" y="1272288"/>
                  </a:lnTo>
                  <a:lnTo>
                    <a:pt x="1653499" y="1281818"/>
                  </a:lnTo>
                  <a:lnTo>
                    <a:pt x="1648735" y="1281818"/>
                  </a:lnTo>
                  <a:lnTo>
                    <a:pt x="1639203" y="1286584"/>
                  </a:lnTo>
                  <a:lnTo>
                    <a:pt x="1629673" y="1300878"/>
                  </a:lnTo>
                  <a:lnTo>
                    <a:pt x="1624909" y="1329470"/>
                  </a:lnTo>
                  <a:lnTo>
                    <a:pt x="1620143" y="1343764"/>
                  </a:lnTo>
                  <a:lnTo>
                    <a:pt x="1629673" y="1372356"/>
                  </a:lnTo>
                  <a:lnTo>
                    <a:pt x="1634439" y="1386650"/>
                  </a:lnTo>
                  <a:lnTo>
                    <a:pt x="1648735" y="1443832"/>
                  </a:lnTo>
                  <a:lnTo>
                    <a:pt x="1653499" y="1458128"/>
                  </a:lnTo>
                  <a:lnTo>
                    <a:pt x="1634439" y="1477188"/>
                  </a:lnTo>
                  <a:lnTo>
                    <a:pt x="1624909" y="1491484"/>
                  </a:lnTo>
                  <a:lnTo>
                    <a:pt x="1624909" y="1505780"/>
                  </a:lnTo>
                  <a:lnTo>
                    <a:pt x="1624909" y="1515310"/>
                  </a:lnTo>
                  <a:lnTo>
                    <a:pt x="1624909" y="1520074"/>
                  </a:lnTo>
                  <a:lnTo>
                    <a:pt x="1639203" y="1548666"/>
                  </a:lnTo>
                  <a:lnTo>
                    <a:pt x="1658265" y="1572490"/>
                  </a:lnTo>
                  <a:lnTo>
                    <a:pt x="1667795" y="1582022"/>
                  </a:lnTo>
                  <a:lnTo>
                    <a:pt x="1667795" y="1601082"/>
                  </a:lnTo>
                  <a:lnTo>
                    <a:pt x="1663029" y="1610612"/>
                  </a:lnTo>
                  <a:lnTo>
                    <a:pt x="1653499" y="1615376"/>
                  </a:lnTo>
                  <a:lnTo>
                    <a:pt x="1634439" y="1620142"/>
                  </a:lnTo>
                  <a:lnTo>
                    <a:pt x="1624909" y="1629672"/>
                  </a:lnTo>
                  <a:lnTo>
                    <a:pt x="1615379" y="1629672"/>
                  </a:lnTo>
                  <a:lnTo>
                    <a:pt x="1605847" y="1624908"/>
                  </a:lnTo>
                  <a:lnTo>
                    <a:pt x="1596317" y="1624908"/>
                  </a:lnTo>
                  <a:lnTo>
                    <a:pt x="1582023" y="1634438"/>
                  </a:lnTo>
                  <a:lnTo>
                    <a:pt x="1577257" y="1648732"/>
                  </a:lnTo>
                  <a:lnTo>
                    <a:pt x="1567727" y="1677324"/>
                  </a:lnTo>
                  <a:lnTo>
                    <a:pt x="1558197" y="1686854"/>
                  </a:lnTo>
                  <a:lnTo>
                    <a:pt x="1553431" y="1705914"/>
                  </a:lnTo>
                  <a:lnTo>
                    <a:pt x="1539137" y="1734506"/>
                  </a:lnTo>
                  <a:lnTo>
                    <a:pt x="1534371" y="1753566"/>
                  </a:lnTo>
                  <a:lnTo>
                    <a:pt x="1534371" y="1767860"/>
                  </a:lnTo>
                  <a:lnTo>
                    <a:pt x="1520075" y="1777392"/>
                  </a:lnTo>
                  <a:lnTo>
                    <a:pt x="1505781" y="1796452"/>
                  </a:lnTo>
                  <a:lnTo>
                    <a:pt x="1496251" y="1810748"/>
                  </a:lnTo>
                  <a:lnTo>
                    <a:pt x="1491485" y="1815512"/>
                  </a:lnTo>
                  <a:lnTo>
                    <a:pt x="1481955" y="1815512"/>
                  </a:lnTo>
                  <a:lnTo>
                    <a:pt x="1477189" y="1834572"/>
                  </a:lnTo>
                  <a:lnTo>
                    <a:pt x="1458129" y="1853634"/>
                  </a:lnTo>
                  <a:lnTo>
                    <a:pt x="1453363" y="1882224"/>
                  </a:lnTo>
                  <a:lnTo>
                    <a:pt x="1443833" y="1896520"/>
                  </a:lnTo>
                  <a:lnTo>
                    <a:pt x="1443833" y="1920346"/>
                  </a:lnTo>
                  <a:lnTo>
                    <a:pt x="1434303" y="1967996"/>
                  </a:lnTo>
                  <a:lnTo>
                    <a:pt x="1429539" y="1977526"/>
                  </a:lnTo>
                  <a:lnTo>
                    <a:pt x="1420007" y="1987056"/>
                  </a:lnTo>
                  <a:lnTo>
                    <a:pt x="1405713" y="2006118"/>
                  </a:lnTo>
                  <a:lnTo>
                    <a:pt x="1400947" y="2015648"/>
                  </a:lnTo>
                  <a:lnTo>
                    <a:pt x="1405713" y="2058534"/>
                  </a:lnTo>
                  <a:lnTo>
                    <a:pt x="1415243" y="2096654"/>
                  </a:lnTo>
                  <a:lnTo>
                    <a:pt x="1415243" y="2115716"/>
                  </a:lnTo>
                  <a:lnTo>
                    <a:pt x="1410477" y="2144306"/>
                  </a:lnTo>
                  <a:lnTo>
                    <a:pt x="1410477" y="2153836"/>
                  </a:lnTo>
                  <a:lnTo>
                    <a:pt x="1415243" y="2158602"/>
                  </a:lnTo>
                  <a:lnTo>
                    <a:pt x="1424773" y="2158602"/>
                  </a:lnTo>
                  <a:lnTo>
                    <a:pt x="1429539" y="2172896"/>
                  </a:lnTo>
                  <a:lnTo>
                    <a:pt x="1420007" y="2177662"/>
                  </a:lnTo>
                  <a:lnTo>
                    <a:pt x="1420007" y="2191958"/>
                  </a:lnTo>
                  <a:lnTo>
                    <a:pt x="1410477" y="2201488"/>
                  </a:lnTo>
                  <a:lnTo>
                    <a:pt x="1386653" y="2211018"/>
                  </a:lnTo>
                  <a:lnTo>
                    <a:pt x="1381887" y="2206252"/>
                  </a:lnTo>
                  <a:lnTo>
                    <a:pt x="1377121" y="2206252"/>
                  </a:lnTo>
                  <a:lnTo>
                    <a:pt x="1377121" y="2220548"/>
                  </a:lnTo>
                  <a:lnTo>
                    <a:pt x="1372357" y="2230078"/>
                  </a:lnTo>
                  <a:lnTo>
                    <a:pt x="1362827" y="2263434"/>
                  </a:lnTo>
                  <a:lnTo>
                    <a:pt x="1353297" y="2292024"/>
                  </a:lnTo>
                  <a:lnTo>
                    <a:pt x="1348531" y="2301556"/>
                  </a:lnTo>
                  <a:lnTo>
                    <a:pt x="1353297" y="2311086"/>
                  </a:lnTo>
                  <a:lnTo>
                    <a:pt x="1353297" y="2320616"/>
                  </a:lnTo>
                  <a:lnTo>
                    <a:pt x="1353297" y="2325380"/>
                  </a:lnTo>
                  <a:lnTo>
                    <a:pt x="1348531" y="2330146"/>
                  </a:lnTo>
                  <a:lnTo>
                    <a:pt x="1343767" y="2344442"/>
                  </a:lnTo>
                  <a:lnTo>
                    <a:pt x="1339001" y="2344442"/>
                  </a:lnTo>
                  <a:lnTo>
                    <a:pt x="1329471" y="2339676"/>
                  </a:lnTo>
                  <a:lnTo>
                    <a:pt x="1324705" y="2349206"/>
                  </a:lnTo>
                  <a:lnTo>
                    <a:pt x="1319941" y="2358736"/>
                  </a:lnTo>
                  <a:lnTo>
                    <a:pt x="1315175" y="2377798"/>
                  </a:lnTo>
                  <a:lnTo>
                    <a:pt x="1315175" y="2396858"/>
                  </a:lnTo>
                  <a:lnTo>
                    <a:pt x="1310411" y="2425448"/>
                  </a:lnTo>
                  <a:lnTo>
                    <a:pt x="1319941" y="2439744"/>
                  </a:lnTo>
                  <a:lnTo>
                    <a:pt x="1334235" y="2473100"/>
                  </a:lnTo>
                  <a:lnTo>
                    <a:pt x="1343767" y="2482630"/>
                  </a:lnTo>
                  <a:lnTo>
                    <a:pt x="1353297" y="2482630"/>
                  </a:lnTo>
                  <a:lnTo>
                    <a:pt x="1358061" y="2487396"/>
                  </a:lnTo>
                  <a:lnTo>
                    <a:pt x="1362827" y="2496926"/>
                  </a:lnTo>
                  <a:lnTo>
                    <a:pt x="1358061" y="2511220"/>
                  </a:lnTo>
                  <a:lnTo>
                    <a:pt x="1348531" y="2511220"/>
                  </a:lnTo>
                  <a:lnTo>
                    <a:pt x="1348531" y="2520752"/>
                  </a:lnTo>
                  <a:lnTo>
                    <a:pt x="1348531" y="2535046"/>
                  </a:lnTo>
                  <a:lnTo>
                    <a:pt x="1353297" y="2554108"/>
                  </a:lnTo>
                  <a:lnTo>
                    <a:pt x="1362827" y="2558872"/>
                  </a:lnTo>
                  <a:lnTo>
                    <a:pt x="1367591" y="2582698"/>
                  </a:lnTo>
                  <a:lnTo>
                    <a:pt x="1377121" y="2592228"/>
                  </a:lnTo>
                  <a:lnTo>
                    <a:pt x="1377121" y="2620818"/>
                  </a:lnTo>
                  <a:lnTo>
                    <a:pt x="1386653" y="2654174"/>
                  </a:lnTo>
                  <a:lnTo>
                    <a:pt x="1396183" y="2663704"/>
                  </a:lnTo>
                  <a:lnTo>
                    <a:pt x="1400947" y="2668470"/>
                  </a:lnTo>
                  <a:lnTo>
                    <a:pt x="1396183" y="2682766"/>
                  </a:lnTo>
                  <a:lnTo>
                    <a:pt x="1391417" y="2692296"/>
                  </a:lnTo>
                  <a:lnTo>
                    <a:pt x="1386653" y="2711356"/>
                  </a:lnTo>
                  <a:lnTo>
                    <a:pt x="1391417" y="2725652"/>
                  </a:lnTo>
                  <a:lnTo>
                    <a:pt x="1400947" y="2739948"/>
                  </a:lnTo>
                  <a:lnTo>
                    <a:pt x="1410477" y="2739948"/>
                  </a:lnTo>
                  <a:lnTo>
                    <a:pt x="1420007" y="2735182"/>
                  </a:lnTo>
                  <a:lnTo>
                    <a:pt x="1434303" y="2739948"/>
                  </a:lnTo>
                  <a:lnTo>
                    <a:pt x="1434303" y="2754242"/>
                  </a:lnTo>
                  <a:lnTo>
                    <a:pt x="1434303" y="2763772"/>
                  </a:lnTo>
                  <a:lnTo>
                    <a:pt x="1429539" y="2778068"/>
                  </a:lnTo>
                  <a:lnTo>
                    <a:pt x="1420007" y="2801894"/>
                  </a:lnTo>
                  <a:lnTo>
                    <a:pt x="1420007" y="2825720"/>
                  </a:lnTo>
                  <a:lnTo>
                    <a:pt x="1420007" y="2863840"/>
                  </a:lnTo>
                  <a:lnTo>
                    <a:pt x="1424773" y="2892432"/>
                  </a:lnTo>
                  <a:lnTo>
                    <a:pt x="1424773" y="2911492"/>
                  </a:lnTo>
                  <a:lnTo>
                    <a:pt x="1424773" y="2916256"/>
                  </a:lnTo>
                  <a:lnTo>
                    <a:pt x="1420007" y="2925786"/>
                  </a:lnTo>
                  <a:lnTo>
                    <a:pt x="1410477" y="2925786"/>
                  </a:lnTo>
                  <a:lnTo>
                    <a:pt x="1400947" y="2925786"/>
                  </a:lnTo>
                  <a:lnTo>
                    <a:pt x="1396183" y="2930552"/>
                  </a:lnTo>
                  <a:lnTo>
                    <a:pt x="1396183" y="2940082"/>
                  </a:lnTo>
                  <a:lnTo>
                    <a:pt x="1386653" y="2959142"/>
                  </a:lnTo>
                  <a:lnTo>
                    <a:pt x="1381887" y="2968672"/>
                  </a:lnTo>
                  <a:lnTo>
                    <a:pt x="1372357" y="2987734"/>
                  </a:lnTo>
                  <a:lnTo>
                    <a:pt x="1362827" y="3002028"/>
                  </a:lnTo>
                  <a:lnTo>
                    <a:pt x="1358061" y="3016324"/>
                  </a:lnTo>
                  <a:lnTo>
                    <a:pt x="1358061" y="3021090"/>
                  </a:lnTo>
                  <a:lnTo>
                    <a:pt x="1353297" y="3040150"/>
                  </a:lnTo>
                  <a:lnTo>
                    <a:pt x="1353297" y="3049680"/>
                  </a:lnTo>
                  <a:lnTo>
                    <a:pt x="1343767" y="3092566"/>
                  </a:lnTo>
                  <a:lnTo>
                    <a:pt x="1329471" y="3102096"/>
                  </a:lnTo>
                  <a:lnTo>
                    <a:pt x="1319941" y="3106862"/>
                  </a:lnTo>
                  <a:lnTo>
                    <a:pt x="1315175" y="3111626"/>
                  </a:lnTo>
                  <a:lnTo>
                    <a:pt x="1319941" y="3125922"/>
                  </a:lnTo>
                  <a:lnTo>
                    <a:pt x="1329471" y="3125922"/>
                  </a:lnTo>
                  <a:lnTo>
                    <a:pt x="1334235" y="3135452"/>
                  </a:lnTo>
                  <a:lnTo>
                    <a:pt x="1334235" y="3154512"/>
                  </a:lnTo>
                  <a:lnTo>
                    <a:pt x="1339001" y="3164044"/>
                  </a:lnTo>
                  <a:lnTo>
                    <a:pt x="1339001" y="3183104"/>
                  </a:lnTo>
                  <a:lnTo>
                    <a:pt x="1343767" y="3211694"/>
                  </a:lnTo>
                  <a:lnTo>
                    <a:pt x="1339001" y="3235520"/>
                  </a:lnTo>
                  <a:lnTo>
                    <a:pt x="1339001" y="3249816"/>
                  </a:lnTo>
                  <a:lnTo>
                    <a:pt x="1339001" y="3268876"/>
                  </a:lnTo>
                  <a:lnTo>
                    <a:pt x="1334235" y="3283172"/>
                  </a:lnTo>
                  <a:lnTo>
                    <a:pt x="1315175" y="3283172"/>
                  </a:lnTo>
                  <a:lnTo>
                    <a:pt x="1305645" y="3297466"/>
                  </a:lnTo>
                  <a:lnTo>
                    <a:pt x="1291349" y="3311762"/>
                  </a:lnTo>
                  <a:lnTo>
                    <a:pt x="1286585" y="3321292"/>
                  </a:lnTo>
                  <a:lnTo>
                    <a:pt x="1286585" y="3335588"/>
                  </a:lnTo>
                  <a:lnTo>
                    <a:pt x="1281819" y="3335588"/>
                  </a:lnTo>
                  <a:lnTo>
                    <a:pt x="1272289" y="3335588"/>
                  </a:lnTo>
                  <a:lnTo>
                    <a:pt x="1262759" y="3340352"/>
                  </a:lnTo>
                  <a:lnTo>
                    <a:pt x="1248463" y="3349884"/>
                  </a:lnTo>
                  <a:lnTo>
                    <a:pt x="1238933" y="3359414"/>
                  </a:lnTo>
                  <a:lnTo>
                    <a:pt x="1234169" y="3368944"/>
                  </a:lnTo>
                  <a:lnTo>
                    <a:pt x="1238933" y="3383240"/>
                  </a:lnTo>
                  <a:lnTo>
                    <a:pt x="1229403" y="3388004"/>
                  </a:lnTo>
                  <a:lnTo>
                    <a:pt x="1224637" y="3407064"/>
                  </a:lnTo>
                  <a:lnTo>
                    <a:pt x="1219873" y="3421360"/>
                  </a:lnTo>
                  <a:lnTo>
                    <a:pt x="1224637" y="3435656"/>
                  </a:lnTo>
                  <a:lnTo>
                    <a:pt x="1229403" y="3464246"/>
                  </a:lnTo>
                  <a:lnTo>
                    <a:pt x="1229403" y="3473776"/>
                  </a:lnTo>
                  <a:lnTo>
                    <a:pt x="1219873" y="3497602"/>
                  </a:lnTo>
                  <a:lnTo>
                    <a:pt x="1215107" y="3511898"/>
                  </a:lnTo>
                  <a:lnTo>
                    <a:pt x="1219873" y="3530958"/>
                  </a:lnTo>
                  <a:lnTo>
                    <a:pt x="1224637" y="3540488"/>
                  </a:lnTo>
                  <a:lnTo>
                    <a:pt x="1219873" y="3559548"/>
                  </a:lnTo>
                  <a:lnTo>
                    <a:pt x="1219873" y="3573844"/>
                  </a:lnTo>
                  <a:lnTo>
                    <a:pt x="1219873" y="3602434"/>
                  </a:lnTo>
                  <a:lnTo>
                    <a:pt x="1234169" y="3631026"/>
                  </a:lnTo>
                  <a:lnTo>
                    <a:pt x="1243699" y="3654852"/>
                  </a:lnTo>
                  <a:lnTo>
                    <a:pt x="1243699" y="3688208"/>
                  </a:lnTo>
                  <a:lnTo>
                    <a:pt x="1248463" y="3712032"/>
                  </a:lnTo>
                  <a:lnTo>
                    <a:pt x="1253229" y="3735858"/>
                  </a:lnTo>
                  <a:lnTo>
                    <a:pt x="1262759" y="3745388"/>
                  </a:lnTo>
                  <a:lnTo>
                    <a:pt x="1272289" y="3754920"/>
                  </a:lnTo>
                  <a:lnTo>
                    <a:pt x="1267523" y="3769216"/>
                  </a:lnTo>
                  <a:lnTo>
                    <a:pt x="1262759" y="3783508"/>
                  </a:lnTo>
                  <a:lnTo>
                    <a:pt x="1253229" y="3797804"/>
                  </a:lnTo>
                  <a:lnTo>
                    <a:pt x="1234169" y="3797804"/>
                  </a:lnTo>
                  <a:lnTo>
                    <a:pt x="1215107" y="3812100"/>
                  </a:lnTo>
                  <a:lnTo>
                    <a:pt x="1200813" y="3816864"/>
                  </a:lnTo>
                  <a:lnTo>
                    <a:pt x="1191281" y="3826396"/>
                  </a:lnTo>
                  <a:lnTo>
                    <a:pt x="1186517" y="3835928"/>
                  </a:lnTo>
                  <a:lnTo>
                    <a:pt x="1181751" y="3845456"/>
                  </a:lnTo>
                  <a:lnTo>
                    <a:pt x="1181751" y="3888344"/>
                  </a:lnTo>
                  <a:lnTo>
                    <a:pt x="1181751" y="3907404"/>
                  </a:lnTo>
                  <a:lnTo>
                    <a:pt x="1172221" y="3931228"/>
                  </a:lnTo>
                  <a:lnTo>
                    <a:pt x="1167457" y="3945524"/>
                  </a:lnTo>
                  <a:lnTo>
                    <a:pt x="1167457" y="3955056"/>
                  </a:lnTo>
                  <a:lnTo>
                    <a:pt x="1162691" y="3959820"/>
                  </a:lnTo>
                  <a:lnTo>
                    <a:pt x="1162691" y="3969348"/>
                  </a:lnTo>
                  <a:lnTo>
                    <a:pt x="1157927" y="3974116"/>
                  </a:lnTo>
                  <a:lnTo>
                    <a:pt x="1143631" y="3969348"/>
                  </a:lnTo>
                  <a:lnTo>
                    <a:pt x="1138865" y="3969348"/>
                  </a:lnTo>
                  <a:lnTo>
                    <a:pt x="1134101" y="3978880"/>
                  </a:lnTo>
                  <a:lnTo>
                    <a:pt x="1138865" y="3993176"/>
                  </a:lnTo>
                  <a:lnTo>
                    <a:pt x="1143631" y="4017000"/>
                  </a:lnTo>
                  <a:lnTo>
                    <a:pt x="1148395" y="4026532"/>
                  </a:lnTo>
                  <a:lnTo>
                    <a:pt x="1148395" y="4036060"/>
                  </a:lnTo>
                  <a:lnTo>
                    <a:pt x="1143631" y="4055120"/>
                  </a:lnTo>
                  <a:lnTo>
                    <a:pt x="1138865" y="4069416"/>
                  </a:lnTo>
                  <a:lnTo>
                    <a:pt x="1129335" y="4069416"/>
                  </a:lnTo>
                  <a:lnTo>
                    <a:pt x="1124571" y="4074184"/>
                  </a:lnTo>
                  <a:lnTo>
                    <a:pt x="1119805" y="4088476"/>
                  </a:lnTo>
                  <a:lnTo>
                    <a:pt x="1124571" y="4102772"/>
                  </a:lnTo>
                  <a:lnTo>
                    <a:pt x="1134101" y="4112304"/>
                  </a:lnTo>
                  <a:lnTo>
                    <a:pt x="1138865" y="4117068"/>
                  </a:lnTo>
                  <a:lnTo>
                    <a:pt x="1134101" y="4126600"/>
                  </a:lnTo>
                  <a:lnTo>
                    <a:pt x="1129335" y="4131364"/>
                  </a:lnTo>
                  <a:lnTo>
                    <a:pt x="1119805" y="4140896"/>
                  </a:lnTo>
                  <a:lnTo>
                    <a:pt x="1115039" y="4159956"/>
                  </a:lnTo>
                  <a:lnTo>
                    <a:pt x="1110275" y="4179016"/>
                  </a:lnTo>
                  <a:lnTo>
                    <a:pt x="1100745" y="4193312"/>
                  </a:lnTo>
                  <a:lnTo>
                    <a:pt x="1100745" y="4212372"/>
                  </a:lnTo>
                  <a:lnTo>
                    <a:pt x="1110275" y="4236196"/>
                  </a:lnTo>
                  <a:lnTo>
                    <a:pt x="1110275" y="4255256"/>
                  </a:lnTo>
                  <a:lnTo>
                    <a:pt x="1110275" y="4317204"/>
                  </a:lnTo>
                  <a:lnTo>
                    <a:pt x="1110275" y="4336264"/>
                  </a:lnTo>
                  <a:lnTo>
                    <a:pt x="1110275" y="4374384"/>
                  </a:lnTo>
                  <a:lnTo>
                    <a:pt x="1105509" y="4383916"/>
                  </a:lnTo>
                  <a:lnTo>
                    <a:pt x="1105509" y="4393448"/>
                  </a:lnTo>
                  <a:lnTo>
                    <a:pt x="1115039" y="4417272"/>
                  </a:lnTo>
                  <a:lnTo>
                    <a:pt x="1129335" y="4455392"/>
                  </a:lnTo>
                  <a:lnTo>
                    <a:pt x="1129335" y="4474452"/>
                  </a:lnTo>
                  <a:lnTo>
                    <a:pt x="1129335" y="4483984"/>
                  </a:lnTo>
                  <a:lnTo>
                    <a:pt x="1115039" y="4493512"/>
                  </a:lnTo>
                  <a:lnTo>
                    <a:pt x="1100745" y="4498280"/>
                  </a:lnTo>
                  <a:lnTo>
                    <a:pt x="1091215" y="4493512"/>
                  </a:lnTo>
                  <a:lnTo>
                    <a:pt x="1086449" y="4493512"/>
                  </a:lnTo>
                  <a:lnTo>
                    <a:pt x="1081685" y="4507808"/>
                  </a:lnTo>
                  <a:lnTo>
                    <a:pt x="1072153" y="4517340"/>
                  </a:lnTo>
                  <a:lnTo>
                    <a:pt x="1072153" y="4526868"/>
                  </a:lnTo>
                  <a:lnTo>
                    <a:pt x="1076919" y="4541164"/>
                  </a:lnTo>
                  <a:lnTo>
                    <a:pt x="1081685" y="4564992"/>
                  </a:lnTo>
                  <a:lnTo>
                    <a:pt x="1072153" y="4574520"/>
                  </a:lnTo>
                  <a:lnTo>
                    <a:pt x="1067389" y="4588816"/>
                  </a:lnTo>
                  <a:lnTo>
                    <a:pt x="1072153" y="4603112"/>
                  </a:lnTo>
                  <a:lnTo>
                    <a:pt x="1072153" y="4626936"/>
                  </a:lnTo>
                  <a:lnTo>
                    <a:pt x="1067389" y="4674588"/>
                  </a:lnTo>
                  <a:lnTo>
                    <a:pt x="1076919" y="4688884"/>
                  </a:lnTo>
                  <a:lnTo>
                    <a:pt x="1081685" y="4698416"/>
                  </a:lnTo>
                  <a:lnTo>
                    <a:pt x="1105509" y="4707944"/>
                  </a:lnTo>
                  <a:lnTo>
                    <a:pt x="1124571" y="4712708"/>
                  </a:lnTo>
                  <a:lnTo>
                    <a:pt x="1129335" y="4727004"/>
                  </a:lnTo>
                  <a:lnTo>
                    <a:pt x="1129335" y="4741300"/>
                  </a:lnTo>
                  <a:lnTo>
                    <a:pt x="1119805" y="4746064"/>
                  </a:lnTo>
                  <a:lnTo>
                    <a:pt x="1105509" y="4750832"/>
                  </a:lnTo>
                  <a:lnTo>
                    <a:pt x="1105509" y="4769892"/>
                  </a:lnTo>
                  <a:lnTo>
                    <a:pt x="1119805" y="4788952"/>
                  </a:lnTo>
                  <a:lnTo>
                    <a:pt x="1129335" y="4803248"/>
                  </a:lnTo>
                  <a:lnTo>
                    <a:pt x="1134101" y="4817544"/>
                  </a:lnTo>
                  <a:lnTo>
                    <a:pt x="1134101" y="4827072"/>
                  </a:lnTo>
                  <a:lnTo>
                    <a:pt x="1124571" y="4836604"/>
                  </a:lnTo>
                  <a:lnTo>
                    <a:pt x="1134101" y="4860428"/>
                  </a:lnTo>
                  <a:lnTo>
                    <a:pt x="1143631" y="4874724"/>
                  </a:lnTo>
                  <a:lnTo>
                    <a:pt x="1134101" y="4889020"/>
                  </a:lnTo>
                  <a:lnTo>
                    <a:pt x="1129335" y="4908080"/>
                  </a:lnTo>
                  <a:lnTo>
                    <a:pt x="1119805" y="4912844"/>
                  </a:lnTo>
                  <a:lnTo>
                    <a:pt x="1119805" y="4922376"/>
                  </a:lnTo>
                  <a:lnTo>
                    <a:pt x="1119805" y="4946200"/>
                  </a:lnTo>
                  <a:lnTo>
                    <a:pt x="1115039" y="4965260"/>
                  </a:lnTo>
                  <a:lnTo>
                    <a:pt x="1119805" y="4974792"/>
                  </a:lnTo>
                  <a:lnTo>
                    <a:pt x="1196047" y="4984320"/>
                  </a:lnTo>
                  <a:lnTo>
                    <a:pt x="1215107" y="4989088"/>
                  </a:lnTo>
                  <a:lnTo>
                    <a:pt x="1224637" y="4998616"/>
                  </a:lnTo>
                  <a:lnTo>
                    <a:pt x="1224637" y="5012912"/>
                  </a:lnTo>
                  <a:lnTo>
                    <a:pt x="1210343" y="5031972"/>
                  </a:lnTo>
                  <a:lnTo>
                    <a:pt x="1205577" y="5060564"/>
                  </a:lnTo>
                  <a:lnTo>
                    <a:pt x="1191281" y="5065328"/>
                  </a:lnTo>
                  <a:lnTo>
                    <a:pt x="1176987" y="5055800"/>
                  </a:lnTo>
                  <a:lnTo>
                    <a:pt x="1157927" y="5060564"/>
                  </a:lnTo>
                  <a:lnTo>
                    <a:pt x="1143631" y="5060564"/>
                  </a:lnTo>
                  <a:lnTo>
                    <a:pt x="1124571" y="5060564"/>
                  </a:lnTo>
                  <a:lnTo>
                    <a:pt x="1095979" y="5065328"/>
                  </a:lnTo>
                  <a:lnTo>
                    <a:pt x="1081685" y="5060564"/>
                  </a:lnTo>
                  <a:lnTo>
                    <a:pt x="1081685" y="5070096"/>
                  </a:lnTo>
                  <a:lnTo>
                    <a:pt x="1086449" y="5089156"/>
                  </a:lnTo>
                  <a:lnTo>
                    <a:pt x="1119805" y="5093920"/>
                  </a:lnTo>
                  <a:lnTo>
                    <a:pt x="1153161" y="5108216"/>
                  </a:lnTo>
                  <a:lnTo>
                    <a:pt x="1162691" y="5127276"/>
                  </a:lnTo>
                  <a:lnTo>
                    <a:pt x="1176987" y="5146336"/>
                  </a:lnTo>
                  <a:lnTo>
                    <a:pt x="1191281" y="5160632"/>
                  </a:lnTo>
                  <a:lnTo>
                    <a:pt x="1191281" y="5184456"/>
                  </a:lnTo>
                  <a:lnTo>
                    <a:pt x="1172221" y="5208284"/>
                  </a:lnTo>
                  <a:lnTo>
                    <a:pt x="1167457" y="5222576"/>
                  </a:lnTo>
                  <a:lnTo>
                    <a:pt x="1138865" y="5227344"/>
                  </a:lnTo>
                  <a:lnTo>
                    <a:pt x="1129335" y="5236872"/>
                  </a:lnTo>
                  <a:lnTo>
                    <a:pt x="1124571" y="5270228"/>
                  </a:lnTo>
                  <a:lnTo>
                    <a:pt x="1129335" y="5298820"/>
                  </a:lnTo>
                  <a:lnTo>
                    <a:pt x="1143631" y="5308352"/>
                  </a:lnTo>
                  <a:lnTo>
                    <a:pt x="1148395" y="5322644"/>
                  </a:lnTo>
                  <a:lnTo>
                    <a:pt x="1138865" y="5341704"/>
                  </a:lnTo>
                  <a:lnTo>
                    <a:pt x="1119805" y="5356000"/>
                  </a:lnTo>
                  <a:lnTo>
                    <a:pt x="1110275" y="5370296"/>
                  </a:lnTo>
                  <a:lnTo>
                    <a:pt x="1115039" y="5379828"/>
                  </a:lnTo>
                  <a:lnTo>
                    <a:pt x="1124571" y="5394124"/>
                  </a:lnTo>
                  <a:lnTo>
                    <a:pt x="1129335" y="5403652"/>
                  </a:lnTo>
                  <a:lnTo>
                    <a:pt x="1134101" y="5432244"/>
                  </a:lnTo>
                  <a:lnTo>
                    <a:pt x="1138865" y="5465600"/>
                  </a:lnTo>
                  <a:lnTo>
                    <a:pt x="1138865" y="5479896"/>
                  </a:lnTo>
                  <a:lnTo>
                    <a:pt x="1134101" y="5494192"/>
                  </a:lnTo>
                  <a:lnTo>
                    <a:pt x="1115039" y="5513252"/>
                  </a:lnTo>
                  <a:lnTo>
                    <a:pt x="1100745" y="5522780"/>
                  </a:lnTo>
                  <a:lnTo>
                    <a:pt x="1095979" y="5546608"/>
                  </a:lnTo>
                  <a:lnTo>
                    <a:pt x="1095979" y="5565668"/>
                  </a:lnTo>
                  <a:lnTo>
                    <a:pt x="1100745" y="5579964"/>
                  </a:lnTo>
                  <a:lnTo>
                    <a:pt x="1105509" y="5594256"/>
                  </a:lnTo>
                  <a:lnTo>
                    <a:pt x="1105509" y="5608552"/>
                  </a:lnTo>
                  <a:lnTo>
                    <a:pt x="1095979" y="5608552"/>
                  </a:lnTo>
                  <a:lnTo>
                    <a:pt x="1086449" y="5618084"/>
                  </a:lnTo>
                  <a:lnTo>
                    <a:pt x="1076919" y="5637144"/>
                  </a:lnTo>
                  <a:lnTo>
                    <a:pt x="1048329" y="5660968"/>
                  </a:lnTo>
                  <a:lnTo>
                    <a:pt x="1038797" y="5675264"/>
                  </a:lnTo>
                  <a:lnTo>
                    <a:pt x="1038797" y="5694324"/>
                  </a:lnTo>
                  <a:lnTo>
                    <a:pt x="1024503" y="5718152"/>
                  </a:lnTo>
                  <a:lnTo>
                    <a:pt x="1014973" y="5741976"/>
                  </a:lnTo>
                  <a:lnTo>
                    <a:pt x="1010207" y="5761036"/>
                  </a:lnTo>
                  <a:lnTo>
                    <a:pt x="1010207" y="5784864"/>
                  </a:lnTo>
                  <a:lnTo>
                    <a:pt x="1029267" y="5794392"/>
                  </a:lnTo>
                  <a:lnTo>
                    <a:pt x="1038797" y="5818220"/>
                  </a:lnTo>
                  <a:lnTo>
                    <a:pt x="1043563" y="5846808"/>
                  </a:lnTo>
                  <a:lnTo>
                    <a:pt x="1034033" y="5875400"/>
                  </a:lnTo>
                  <a:lnTo>
                    <a:pt x="1014973" y="5889696"/>
                  </a:lnTo>
                  <a:lnTo>
                    <a:pt x="1000677" y="5903992"/>
                  </a:lnTo>
                  <a:lnTo>
                    <a:pt x="995911" y="5913520"/>
                  </a:lnTo>
                  <a:lnTo>
                    <a:pt x="1000677" y="5946876"/>
                  </a:lnTo>
                  <a:lnTo>
                    <a:pt x="1000677" y="5961172"/>
                  </a:lnTo>
                  <a:lnTo>
                    <a:pt x="995911" y="5980232"/>
                  </a:lnTo>
                  <a:lnTo>
                    <a:pt x="991147" y="5989764"/>
                  </a:lnTo>
                  <a:lnTo>
                    <a:pt x="976851" y="6004060"/>
                  </a:lnTo>
                  <a:lnTo>
                    <a:pt x="957791" y="6013588"/>
                  </a:lnTo>
                  <a:lnTo>
                    <a:pt x="938731" y="6023120"/>
                  </a:lnTo>
                  <a:lnTo>
                    <a:pt x="929199" y="6032648"/>
                  </a:lnTo>
                  <a:lnTo>
                    <a:pt x="919669" y="6051712"/>
                  </a:lnTo>
                  <a:lnTo>
                    <a:pt x="910139" y="6070772"/>
                  </a:lnTo>
                  <a:lnTo>
                    <a:pt x="914905" y="6099360"/>
                  </a:lnTo>
                  <a:lnTo>
                    <a:pt x="862489" y="6104128"/>
                  </a:lnTo>
                  <a:lnTo>
                    <a:pt x="857723" y="6123188"/>
                  </a:lnTo>
                  <a:lnTo>
                    <a:pt x="848193" y="6137484"/>
                  </a:lnTo>
                  <a:lnTo>
                    <a:pt x="843427" y="6166072"/>
                  </a:lnTo>
                  <a:lnTo>
                    <a:pt x="857723" y="6194664"/>
                  </a:lnTo>
                  <a:lnTo>
                    <a:pt x="862489" y="6218488"/>
                  </a:lnTo>
                  <a:lnTo>
                    <a:pt x="852957" y="6247080"/>
                  </a:lnTo>
                  <a:lnTo>
                    <a:pt x="857723" y="6275672"/>
                  </a:lnTo>
                  <a:lnTo>
                    <a:pt x="857723" y="6299496"/>
                  </a:lnTo>
                  <a:lnTo>
                    <a:pt x="876783" y="6323324"/>
                  </a:lnTo>
                  <a:lnTo>
                    <a:pt x="886313" y="6356680"/>
                  </a:lnTo>
                  <a:lnTo>
                    <a:pt x="891079" y="6385268"/>
                  </a:lnTo>
                  <a:lnTo>
                    <a:pt x="895845" y="6404328"/>
                  </a:lnTo>
                  <a:lnTo>
                    <a:pt x="900609" y="6418624"/>
                  </a:lnTo>
                  <a:lnTo>
                    <a:pt x="910139" y="6432920"/>
                  </a:lnTo>
                  <a:lnTo>
                    <a:pt x="910139" y="6447216"/>
                  </a:lnTo>
                  <a:lnTo>
                    <a:pt x="924435" y="6451980"/>
                  </a:lnTo>
                  <a:lnTo>
                    <a:pt x="943495" y="6437684"/>
                  </a:lnTo>
                  <a:lnTo>
                    <a:pt x="957791" y="6428156"/>
                  </a:lnTo>
                  <a:lnTo>
                    <a:pt x="967321" y="6423392"/>
                  </a:lnTo>
                  <a:lnTo>
                    <a:pt x="995911" y="6428156"/>
                  </a:lnTo>
                  <a:lnTo>
                    <a:pt x="1010207" y="6413860"/>
                  </a:lnTo>
                  <a:lnTo>
                    <a:pt x="1019737" y="6418624"/>
                  </a:lnTo>
                  <a:lnTo>
                    <a:pt x="1029267" y="6423392"/>
                  </a:lnTo>
                  <a:lnTo>
                    <a:pt x="1038797" y="6432920"/>
                  </a:lnTo>
                  <a:lnTo>
                    <a:pt x="1043563" y="6461512"/>
                  </a:lnTo>
                  <a:lnTo>
                    <a:pt x="1048329" y="6490100"/>
                  </a:lnTo>
                  <a:lnTo>
                    <a:pt x="1043563" y="6523456"/>
                  </a:lnTo>
                  <a:lnTo>
                    <a:pt x="1034033" y="6528224"/>
                  </a:lnTo>
                  <a:lnTo>
                    <a:pt x="1034033" y="6537752"/>
                  </a:lnTo>
                  <a:lnTo>
                    <a:pt x="1034033" y="6556812"/>
                  </a:lnTo>
                  <a:lnTo>
                    <a:pt x="1043563" y="6571108"/>
                  </a:lnTo>
                  <a:lnTo>
                    <a:pt x="1043563" y="6590168"/>
                  </a:lnTo>
                  <a:lnTo>
                    <a:pt x="1034033" y="6633056"/>
                  </a:lnTo>
                  <a:lnTo>
                    <a:pt x="1029267" y="6647352"/>
                  </a:lnTo>
                  <a:lnTo>
                    <a:pt x="1038797" y="6671176"/>
                  </a:lnTo>
                  <a:lnTo>
                    <a:pt x="1048329" y="6685472"/>
                  </a:lnTo>
                  <a:lnTo>
                    <a:pt x="1067389" y="6699768"/>
                  </a:lnTo>
                  <a:lnTo>
                    <a:pt x="1086449" y="6718828"/>
                  </a:lnTo>
                  <a:lnTo>
                    <a:pt x="1100745" y="6733124"/>
                  </a:lnTo>
                  <a:lnTo>
                    <a:pt x="1095979" y="6756948"/>
                  </a:lnTo>
                  <a:lnTo>
                    <a:pt x="1105509" y="6761712"/>
                  </a:lnTo>
                  <a:lnTo>
                    <a:pt x="1134101" y="6761712"/>
                  </a:lnTo>
                  <a:lnTo>
                    <a:pt x="1181751" y="6761712"/>
                  </a:lnTo>
                  <a:lnTo>
                    <a:pt x="1257993" y="6761712"/>
                  </a:lnTo>
                  <a:lnTo>
                    <a:pt x="1329471" y="6766480"/>
                  </a:lnTo>
                  <a:lnTo>
                    <a:pt x="1410477" y="6766480"/>
                  </a:lnTo>
                  <a:lnTo>
                    <a:pt x="1448599" y="6785540"/>
                  </a:lnTo>
                  <a:lnTo>
                    <a:pt x="1481955" y="6799836"/>
                  </a:lnTo>
                  <a:lnTo>
                    <a:pt x="1524841" y="6799836"/>
                  </a:lnTo>
                  <a:lnTo>
                    <a:pt x="1572491" y="6818896"/>
                  </a:lnTo>
                  <a:lnTo>
                    <a:pt x="1605847" y="6828424"/>
                  </a:lnTo>
                  <a:lnTo>
                    <a:pt x="1624909" y="6833192"/>
                  </a:lnTo>
                  <a:lnTo>
                    <a:pt x="1643969" y="6837956"/>
                  </a:lnTo>
                  <a:lnTo>
                    <a:pt x="1643969" y="6857016"/>
                  </a:lnTo>
                  <a:lnTo>
                    <a:pt x="1558197" y="6833192"/>
                  </a:lnTo>
                  <a:lnTo>
                    <a:pt x="1539137" y="6818896"/>
                  </a:lnTo>
                  <a:lnTo>
                    <a:pt x="1520075" y="6818896"/>
                  </a:lnTo>
                  <a:lnTo>
                    <a:pt x="1491485" y="6833192"/>
                  </a:lnTo>
                  <a:lnTo>
                    <a:pt x="1472425" y="6871312"/>
                  </a:lnTo>
                  <a:lnTo>
                    <a:pt x="1462895" y="6880840"/>
                  </a:lnTo>
                  <a:lnTo>
                    <a:pt x="1439069" y="6895136"/>
                  </a:lnTo>
                  <a:lnTo>
                    <a:pt x="1420007" y="6895136"/>
                  </a:lnTo>
                  <a:lnTo>
                    <a:pt x="1343767" y="6933260"/>
                  </a:lnTo>
                  <a:lnTo>
                    <a:pt x="1315175" y="6938024"/>
                  </a:lnTo>
                  <a:lnTo>
                    <a:pt x="1296115" y="6947552"/>
                  </a:lnTo>
                  <a:lnTo>
                    <a:pt x="1281819" y="6961848"/>
                  </a:lnTo>
                  <a:lnTo>
                    <a:pt x="1272289" y="6990440"/>
                  </a:lnTo>
                  <a:lnTo>
                    <a:pt x="1277055" y="7009500"/>
                  </a:lnTo>
                  <a:lnTo>
                    <a:pt x="1253229" y="7080976"/>
                  </a:lnTo>
                  <a:lnTo>
                    <a:pt x="1248463" y="7119100"/>
                  </a:lnTo>
                  <a:lnTo>
                    <a:pt x="1248463" y="7138160"/>
                  </a:lnTo>
                  <a:lnTo>
                    <a:pt x="1257993" y="7171516"/>
                  </a:lnTo>
                  <a:lnTo>
                    <a:pt x="1248463" y="7223932"/>
                  </a:lnTo>
                  <a:lnTo>
                    <a:pt x="1234169" y="7238228"/>
                  </a:lnTo>
                  <a:lnTo>
                    <a:pt x="1200813" y="7252520"/>
                  </a:lnTo>
                  <a:lnTo>
                    <a:pt x="1176987" y="7242992"/>
                  </a:lnTo>
                  <a:lnTo>
                    <a:pt x="1138865" y="7233460"/>
                  </a:lnTo>
                  <a:lnTo>
                    <a:pt x="1110275" y="7209636"/>
                  </a:lnTo>
                  <a:lnTo>
                    <a:pt x="1076919" y="7195340"/>
                  </a:lnTo>
                  <a:lnTo>
                    <a:pt x="1062623" y="7185808"/>
                  </a:lnTo>
                  <a:lnTo>
                    <a:pt x="1034033" y="7142924"/>
                  </a:lnTo>
                  <a:lnTo>
                    <a:pt x="1029267" y="7128628"/>
                  </a:lnTo>
                  <a:lnTo>
                    <a:pt x="1024503" y="7114332"/>
                  </a:lnTo>
                  <a:lnTo>
                    <a:pt x="1043563" y="7085744"/>
                  </a:lnTo>
                  <a:lnTo>
                    <a:pt x="1053093" y="7085744"/>
                  </a:lnTo>
                  <a:lnTo>
                    <a:pt x="1076919" y="7085744"/>
                  </a:lnTo>
                  <a:lnTo>
                    <a:pt x="1100745" y="7080976"/>
                  </a:lnTo>
                  <a:lnTo>
                    <a:pt x="1115039" y="7095272"/>
                  </a:lnTo>
                  <a:lnTo>
                    <a:pt x="1119805" y="7123864"/>
                  </a:lnTo>
                  <a:lnTo>
                    <a:pt x="1110275" y="7142924"/>
                  </a:lnTo>
                  <a:lnTo>
                    <a:pt x="1105509" y="7152456"/>
                  </a:lnTo>
                  <a:lnTo>
                    <a:pt x="1110275" y="7157220"/>
                  </a:lnTo>
                  <a:lnTo>
                    <a:pt x="1124571" y="7147688"/>
                  </a:lnTo>
                  <a:lnTo>
                    <a:pt x="1129335" y="7080976"/>
                  </a:lnTo>
                  <a:lnTo>
                    <a:pt x="1186517" y="7047620"/>
                  </a:lnTo>
                  <a:lnTo>
                    <a:pt x="1200813" y="7028560"/>
                  </a:lnTo>
                  <a:lnTo>
                    <a:pt x="1219873" y="6999972"/>
                  </a:lnTo>
                  <a:lnTo>
                    <a:pt x="1219873" y="6990440"/>
                  </a:lnTo>
                  <a:lnTo>
                    <a:pt x="1224637" y="6980912"/>
                  </a:lnTo>
                  <a:lnTo>
                    <a:pt x="1210343" y="6971380"/>
                  </a:lnTo>
                  <a:lnTo>
                    <a:pt x="1186517" y="6961848"/>
                  </a:lnTo>
                  <a:lnTo>
                    <a:pt x="1105509" y="7023796"/>
                  </a:lnTo>
                  <a:lnTo>
                    <a:pt x="1072153" y="7038092"/>
                  </a:lnTo>
                  <a:lnTo>
                    <a:pt x="1048329" y="7057152"/>
                  </a:lnTo>
                  <a:lnTo>
                    <a:pt x="1019737" y="7085744"/>
                  </a:lnTo>
                  <a:lnTo>
                    <a:pt x="1014973" y="7095272"/>
                  </a:lnTo>
                  <a:lnTo>
                    <a:pt x="1010207" y="7119100"/>
                  </a:lnTo>
                  <a:lnTo>
                    <a:pt x="1005443" y="7142924"/>
                  </a:lnTo>
                  <a:lnTo>
                    <a:pt x="976851" y="7128628"/>
                  </a:lnTo>
                  <a:lnTo>
                    <a:pt x="933965" y="7095272"/>
                  </a:lnTo>
                  <a:lnTo>
                    <a:pt x="929199" y="7085744"/>
                  </a:lnTo>
                  <a:lnTo>
                    <a:pt x="933965" y="7066680"/>
                  </a:lnTo>
                  <a:lnTo>
                    <a:pt x="948261" y="7052388"/>
                  </a:lnTo>
                  <a:lnTo>
                    <a:pt x="948261" y="7004736"/>
                  </a:lnTo>
                  <a:lnTo>
                    <a:pt x="953025" y="6985676"/>
                  </a:lnTo>
                  <a:lnTo>
                    <a:pt x="962555" y="6976144"/>
                  </a:lnTo>
                  <a:lnTo>
                    <a:pt x="976851" y="6957084"/>
                  </a:lnTo>
                  <a:lnTo>
                    <a:pt x="986381" y="6957084"/>
                  </a:lnTo>
                  <a:lnTo>
                    <a:pt x="991147" y="6961848"/>
                  </a:lnTo>
                  <a:lnTo>
                    <a:pt x="991147" y="6976144"/>
                  </a:lnTo>
                  <a:lnTo>
                    <a:pt x="1019737" y="6971380"/>
                  </a:lnTo>
                  <a:lnTo>
                    <a:pt x="1072153" y="6928492"/>
                  </a:lnTo>
                  <a:lnTo>
                    <a:pt x="1095979" y="6928492"/>
                  </a:lnTo>
                  <a:lnTo>
                    <a:pt x="1124571" y="6938024"/>
                  </a:lnTo>
                  <a:lnTo>
                    <a:pt x="1153161" y="6933260"/>
                  </a:lnTo>
                  <a:lnTo>
                    <a:pt x="1162691" y="6928492"/>
                  </a:lnTo>
                  <a:lnTo>
                    <a:pt x="1167457" y="6918964"/>
                  </a:lnTo>
                  <a:lnTo>
                    <a:pt x="1143631" y="6909432"/>
                  </a:lnTo>
                  <a:lnTo>
                    <a:pt x="1119805" y="6899904"/>
                  </a:lnTo>
                  <a:lnTo>
                    <a:pt x="1057859" y="6895136"/>
                  </a:lnTo>
                  <a:lnTo>
                    <a:pt x="1043563" y="6899904"/>
                  </a:lnTo>
                  <a:lnTo>
                    <a:pt x="1024503" y="6923728"/>
                  </a:lnTo>
                  <a:lnTo>
                    <a:pt x="1014973" y="6918964"/>
                  </a:lnTo>
                  <a:lnTo>
                    <a:pt x="1010207" y="6909432"/>
                  </a:lnTo>
                  <a:lnTo>
                    <a:pt x="991147" y="6899904"/>
                  </a:lnTo>
                  <a:lnTo>
                    <a:pt x="981617" y="6899904"/>
                  </a:lnTo>
                  <a:lnTo>
                    <a:pt x="972087" y="6914200"/>
                  </a:lnTo>
                  <a:lnTo>
                    <a:pt x="972087" y="6928492"/>
                  </a:lnTo>
                  <a:lnTo>
                    <a:pt x="967321" y="6947552"/>
                  </a:lnTo>
                  <a:lnTo>
                    <a:pt x="943495" y="6961848"/>
                  </a:lnTo>
                  <a:lnTo>
                    <a:pt x="933965" y="6995204"/>
                  </a:lnTo>
                  <a:lnTo>
                    <a:pt x="933965" y="7014264"/>
                  </a:lnTo>
                  <a:lnTo>
                    <a:pt x="929199" y="7028560"/>
                  </a:lnTo>
                  <a:lnTo>
                    <a:pt x="924435" y="7033328"/>
                  </a:lnTo>
                  <a:lnTo>
                    <a:pt x="914905" y="7038092"/>
                  </a:lnTo>
                  <a:lnTo>
                    <a:pt x="881549" y="7033328"/>
                  </a:lnTo>
                  <a:lnTo>
                    <a:pt x="862489" y="7014264"/>
                  </a:lnTo>
                  <a:lnTo>
                    <a:pt x="857723" y="6995204"/>
                  </a:lnTo>
                  <a:lnTo>
                    <a:pt x="833897" y="6980912"/>
                  </a:lnTo>
                  <a:lnTo>
                    <a:pt x="881549" y="6957084"/>
                  </a:lnTo>
                  <a:lnTo>
                    <a:pt x="895845" y="6947552"/>
                  </a:lnTo>
                  <a:lnTo>
                    <a:pt x="910139" y="6918964"/>
                  </a:lnTo>
                  <a:lnTo>
                    <a:pt x="924435" y="6899904"/>
                  </a:lnTo>
                  <a:lnTo>
                    <a:pt x="914905" y="6890372"/>
                  </a:lnTo>
                  <a:lnTo>
                    <a:pt x="905375" y="6890372"/>
                  </a:lnTo>
                  <a:lnTo>
                    <a:pt x="905375" y="6909432"/>
                  </a:lnTo>
                  <a:lnTo>
                    <a:pt x="895845" y="6923728"/>
                  </a:lnTo>
                  <a:lnTo>
                    <a:pt x="876783" y="6914200"/>
                  </a:lnTo>
                  <a:lnTo>
                    <a:pt x="843427" y="6938024"/>
                  </a:lnTo>
                  <a:lnTo>
                    <a:pt x="824367" y="6933260"/>
                  </a:lnTo>
                  <a:lnTo>
                    <a:pt x="791011" y="6938024"/>
                  </a:lnTo>
                  <a:lnTo>
                    <a:pt x="776715" y="6928492"/>
                  </a:lnTo>
                  <a:lnTo>
                    <a:pt x="771951" y="6914200"/>
                  </a:lnTo>
                  <a:lnTo>
                    <a:pt x="776715" y="6895136"/>
                  </a:lnTo>
                  <a:lnTo>
                    <a:pt x="771951" y="6866548"/>
                  </a:lnTo>
                  <a:lnTo>
                    <a:pt x="762421" y="6861780"/>
                  </a:lnTo>
                  <a:lnTo>
                    <a:pt x="752891" y="6861780"/>
                  </a:lnTo>
                  <a:lnTo>
                    <a:pt x="752891" y="6842720"/>
                  </a:lnTo>
                  <a:lnTo>
                    <a:pt x="743361" y="6814132"/>
                  </a:lnTo>
                  <a:lnTo>
                    <a:pt x="738595" y="6809364"/>
                  </a:lnTo>
                  <a:lnTo>
                    <a:pt x="733829" y="6795072"/>
                  </a:lnTo>
                  <a:lnTo>
                    <a:pt x="738595" y="6790304"/>
                  </a:lnTo>
                  <a:lnTo>
                    <a:pt x="748125" y="6795072"/>
                  </a:lnTo>
                  <a:lnTo>
                    <a:pt x="757655" y="6804600"/>
                  </a:lnTo>
                  <a:lnTo>
                    <a:pt x="771951" y="6804600"/>
                  </a:lnTo>
                  <a:lnTo>
                    <a:pt x="805307" y="6823660"/>
                  </a:lnTo>
                  <a:lnTo>
                    <a:pt x="819603" y="6818896"/>
                  </a:lnTo>
                  <a:lnTo>
                    <a:pt x="824367" y="6814132"/>
                  </a:lnTo>
                  <a:lnTo>
                    <a:pt x="829133" y="6799836"/>
                  </a:lnTo>
                  <a:lnTo>
                    <a:pt x="829133" y="6785540"/>
                  </a:lnTo>
                  <a:lnTo>
                    <a:pt x="833897" y="6785540"/>
                  </a:lnTo>
                  <a:lnTo>
                    <a:pt x="852957" y="6804600"/>
                  </a:lnTo>
                  <a:lnTo>
                    <a:pt x="862489" y="6799836"/>
                  </a:lnTo>
                  <a:lnTo>
                    <a:pt x="886313" y="6804600"/>
                  </a:lnTo>
                  <a:lnTo>
                    <a:pt x="895845" y="6804600"/>
                  </a:lnTo>
                  <a:lnTo>
                    <a:pt x="914905" y="6799836"/>
                  </a:lnTo>
                  <a:lnTo>
                    <a:pt x="943495" y="6776008"/>
                  </a:lnTo>
                  <a:lnTo>
                    <a:pt x="957791" y="6756948"/>
                  </a:lnTo>
                  <a:lnTo>
                    <a:pt x="967321" y="6752184"/>
                  </a:lnTo>
                  <a:lnTo>
                    <a:pt x="976851" y="6756948"/>
                  </a:lnTo>
                  <a:lnTo>
                    <a:pt x="981617" y="6761712"/>
                  </a:lnTo>
                  <a:lnTo>
                    <a:pt x="981617" y="6776008"/>
                  </a:lnTo>
                  <a:lnTo>
                    <a:pt x="991147" y="6790304"/>
                  </a:lnTo>
                  <a:lnTo>
                    <a:pt x="1000677" y="6799836"/>
                  </a:lnTo>
                  <a:lnTo>
                    <a:pt x="1000677" y="6814132"/>
                  </a:lnTo>
                  <a:lnTo>
                    <a:pt x="1000677" y="6828424"/>
                  </a:lnTo>
                  <a:lnTo>
                    <a:pt x="981617" y="6847488"/>
                  </a:lnTo>
                  <a:lnTo>
                    <a:pt x="981617" y="6857016"/>
                  </a:lnTo>
                  <a:lnTo>
                    <a:pt x="986381" y="6861780"/>
                  </a:lnTo>
                  <a:lnTo>
                    <a:pt x="991147" y="6857016"/>
                  </a:lnTo>
                  <a:lnTo>
                    <a:pt x="1000677" y="6847488"/>
                  </a:lnTo>
                  <a:lnTo>
                    <a:pt x="1010207" y="6837956"/>
                  </a:lnTo>
                  <a:lnTo>
                    <a:pt x="1010207" y="6828424"/>
                  </a:lnTo>
                  <a:lnTo>
                    <a:pt x="1010207" y="6818896"/>
                  </a:lnTo>
                  <a:lnTo>
                    <a:pt x="1010207" y="6809364"/>
                  </a:lnTo>
                  <a:lnTo>
                    <a:pt x="995911" y="6776008"/>
                  </a:lnTo>
                  <a:lnTo>
                    <a:pt x="991147" y="6766480"/>
                  </a:lnTo>
                  <a:lnTo>
                    <a:pt x="991147" y="6752184"/>
                  </a:lnTo>
                  <a:lnTo>
                    <a:pt x="1010207" y="6737888"/>
                  </a:lnTo>
                  <a:lnTo>
                    <a:pt x="1014973" y="6723592"/>
                  </a:lnTo>
                  <a:lnTo>
                    <a:pt x="1014973" y="6704532"/>
                  </a:lnTo>
                  <a:lnTo>
                    <a:pt x="1005443" y="6690236"/>
                  </a:lnTo>
                  <a:lnTo>
                    <a:pt x="972087" y="6656880"/>
                  </a:lnTo>
                  <a:lnTo>
                    <a:pt x="914905" y="6623524"/>
                  </a:lnTo>
                  <a:lnTo>
                    <a:pt x="910139" y="6628292"/>
                  </a:lnTo>
                  <a:lnTo>
                    <a:pt x="905375" y="6633056"/>
                  </a:lnTo>
                  <a:lnTo>
                    <a:pt x="910139" y="6637820"/>
                  </a:lnTo>
                  <a:lnTo>
                    <a:pt x="914905" y="6637820"/>
                  </a:lnTo>
                  <a:lnTo>
                    <a:pt x="967321" y="6666412"/>
                  </a:lnTo>
                  <a:lnTo>
                    <a:pt x="981617" y="6680708"/>
                  </a:lnTo>
                  <a:lnTo>
                    <a:pt x="991147" y="6685472"/>
                  </a:lnTo>
                  <a:lnTo>
                    <a:pt x="1000677" y="6699768"/>
                  </a:lnTo>
                  <a:lnTo>
                    <a:pt x="995911" y="6714064"/>
                  </a:lnTo>
                  <a:lnTo>
                    <a:pt x="948261" y="6728360"/>
                  </a:lnTo>
                  <a:lnTo>
                    <a:pt x="905375" y="6761712"/>
                  </a:lnTo>
                  <a:lnTo>
                    <a:pt x="876783" y="6780776"/>
                  </a:lnTo>
                  <a:lnTo>
                    <a:pt x="852957" y="6776008"/>
                  </a:lnTo>
                  <a:lnTo>
                    <a:pt x="843427" y="6756948"/>
                  </a:lnTo>
                  <a:lnTo>
                    <a:pt x="833897" y="6728360"/>
                  </a:lnTo>
                  <a:lnTo>
                    <a:pt x="819603" y="6714064"/>
                  </a:lnTo>
                  <a:lnTo>
                    <a:pt x="810071" y="6714064"/>
                  </a:lnTo>
                  <a:lnTo>
                    <a:pt x="800541" y="6709296"/>
                  </a:lnTo>
                  <a:lnTo>
                    <a:pt x="795777" y="6704532"/>
                  </a:lnTo>
                  <a:lnTo>
                    <a:pt x="781481" y="6709296"/>
                  </a:lnTo>
                  <a:lnTo>
                    <a:pt x="757655" y="6690236"/>
                  </a:lnTo>
                  <a:lnTo>
                    <a:pt x="748125" y="6685472"/>
                  </a:lnTo>
                  <a:lnTo>
                    <a:pt x="767185" y="6656880"/>
                  </a:lnTo>
                  <a:lnTo>
                    <a:pt x="791011" y="6666412"/>
                  </a:lnTo>
                  <a:lnTo>
                    <a:pt x="795777" y="6594936"/>
                  </a:lnTo>
                  <a:lnTo>
                    <a:pt x="786247" y="6580640"/>
                  </a:lnTo>
                  <a:lnTo>
                    <a:pt x="757655" y="6561580"/>
                  </a:lnTo>
                  <a:lnTo>
                    <a:pt x="748125" y="6566344"/>
                  </a:lnTo>
                  <a:lnTo>
                    <a:pt x="729065" y="6561580"/>
                  </a:lnTo>
                  <a:lnTo>
                    <a:pt x="714769" y="6552048"/>
                  </a:lnTo>
                  <a:lnTo>
                    <a:pt x="700473" y="6552048"/>
                  </a:lnTo>
                  <a:lnTo>
                    <a:pt x="686179" y="6547284"/>
                  </a:lnTo>
                  <a:lnTo>
                    <a:pt x="671883" y="6537752"/>
                  </a:lnTo>
                  <a:lnTo>
                    <a:pt x="652823" y="6528224"/>
                  </a:lnTo>
                  <a:lnTo>
                    <a:pt x="624231" y="6485336"/>
                  </a:lnTo>
                  <a:lnTo>
                    <a:pt x="614701" y="6461512"/>
                  </a:lnTo>
                  <a:lnTo>
                    <a:pt x="605171" y="6432920"/>
                  </a:lnTo>
                  <a:lnTo>
                    <a:pt x="648057" y="6432920"/>
                  </a:lnTo>
                  <a:lnTo>
                    <a:pt x="671883" y="6428156"/>
                  </a:lnTo>
                  <a:lnTo>
                    <a:pt x="676649" y="6418624"/>
                  </a:lnTo>
                  <a:lnTo>
                    <a:pt x="667119" y="6399564"/>
                  </a:lnTo>
                  <a:lnTo>
                    <a:pt x="657587" y="6385268"/>
                  </a:lnTo>
                  <a:lnTo>
                    <a:pt x="667119" y="6366208"/>
                  </a:lnTo>
                  <a:lnTo>
                    <a:pt x="676649" y="6356680"/>
                  </a:lnTo>
                  <a:lnTo>
                    <a:pt x="690943" y="6361444"/>
                  </a:lnTo>
                  <a:lnTo>
                    <a:pt x="719535" y="6385268"/>
                  </a:lnTo>
                  <a:lnTo>
                    <a:pt x="729065" y="6404328"/>
                  </a:lnTo>
                  <a:lnTo>
                    <a:pt x="748125" y="6456744"/>
                  </a:lnTo>
                  <a:lnTo>
                    <a:pt x="752891" y="6461512"/>
                  </a:lnTo>
                  <a:lnTo>
                    <a:pt x="757655" y="6466276"/>
                  </a:lnTo>
                  <a:lnTo>
                    <a:pt x="800541" y="6499632"/>
                  </a:lnTo>
                  <a:lnTo>
                    <a:pt x="810071" y="6499632"/>
                  </a:lnTo>
                  <a:lnTo>
                    <a:pt x="805307" y="6471040"/>
                  </a:lnTo>
                  <a:lnTo>
                    <a:pt x="819603" y="6437684"/>
                  </a:lnTo>
                  <a:lnTo>
                    <a:pt x="833897" y="6428156"/>
                  </a:lnTo>
                  <a:lnTo>
                    <a:pt x="838663" y="6428156"/>
                  </a:lnTo>
                  <a:lnTo>
                    <a:pt x="838663" y="6423392"/>
                  </a:lnTo>
                  <a:lnTo>
                    <a:pt x="829133" y="6409096"/>
                  </a:lnTo>
                  <a:lnTo>
                    <a:pt x="833897" y="6390032"/>
                  </a:lnTo>
                  <a:lnTo>
                    <a:pt x="829133" y="6390032"/>
                  </a:lnTo>
                  <a:lnTo>
                    <a:pt x="819603" y="6399564"/>
                  </a:lnTo>
                  <a:lnTo>
                    <a:pt x="795777" y="6461512"/>
                  </a:lnTo>
                  <a:lnTo>
                    <a:pt x="781481" y="6471040"/>
                  </a:lnTo>
                  <a:lnTo>
                    <a:pt x="762421" y="6442452"/>
                  </a:lnTo>
                  <a:lnTo>
                    <a:pt x="752891" y="6423392"/>
                  </a:lnTo>
                  <a:lnTo>
                    <a:pt x="748125" y="6418624"/>
                  </a:lnTo>
                  <a:lnTo>
                    <a:pt x="748125" y="6385268"/>
                  </a:lnTo>
                  <a:lnTo>
                    <a:pt x="786247" y="6394800"/>
                  </a:lnTo>
                  <a:lnTo>
                    <a:pt x="771951" y="6385268"/>
                  </a:lnTo>
                  <a:lnTo>
                    <a:pt x="729065" y="6366208"/>
                  </a:lnTo>
                  <a:lnTo>
                    <a:pt x="719535" y="6356680"/>
                  </a:lnTo>
                  <a:lnTo>
                    <a:pt x="714769" y="6351912"/>
                  </a:lnTo>
                  <a:lnTo>
                    <a:pt x="695709" y="6332852"/>
                  </a:lnTo>
                  <a:lnTo>
                    <a:pt x="681413" y="6313792"/>
                  </a:lnTo>
                  <a:lnTo>
                    <a:pt x="710005" y="6285200"/>
                  </a:lnTo>
                  <a:lnTo>
                    <a:pt x="729065" y="6261376"/>
                  </a:lnTo>
                  <a:lnTo>
                    <a:pt x="776715" y="6275672"/>
                  </a:lnTo>
                  <a:lnTo>
                    <a:pt x="786247" y="6266140"/>
                  </a:lnTo>
                  <a:lnTo>
                    <a:pt x="776715" y="6251844"/>
                  </a:lnTo>
                  <a:lnTo>
                    <a:pt x="767185" y="6256612"/>
                  </a:lnTo>
                  <a:lnTo>
                    <a:pt x="752891" y="6247080"/>
                  </a:lnTo>
                  <a:lnTo>
                    <a:pt x="729065" y="6213724"/>
                  </a:lnTo>
                  <a:lnTo>
                    <a:pt x="729065" y="6199428"/>
                  </a:lnTo>
                  <a:lnTo>
                    <a:pt x="733829" y="6170840"/>
                  </a:lnTo>
                  <a:lnTo>
                    <a:pt x="743361" y="6166072"/>
                  </a:lnTo>
                  <a:lnTo>
                    <a:pt x="762421" y="6161308"/>
                  </a:lnTo>
                  <a:lnTo>
                    <a:pt x="786247" y="6170840"/>
                  </a:lnTo>
                  <a:lnTo>
                    <a:pt x="795777" y="6175604"/>
                  </a:lnTo>
                  <a:lnTo>
                    <a:pt x="805307" y="6175604"/>
                  </a:lnTo>
                  <a:lnTo>
                    <a:pt x="795777" y="6151776"/>
                  </a:lnTo>
                  <a:lnTo>
                    <a:pt x="781481" y="6147012"/>
                  </a:lnTo>
                  <a:lnTo>
                    <a:pt x="762421" y="6132716"/>
                  </a:lnTo>
                  <a:lnTo>
                    <a:pt x="767185" y="6113656"/>
                  </a:lnTo>
                  <a:lnTo>
                    <a:pt x="771951" y="6099360"/>
                  </a:lnTo>
                  <a:lnTo>
                    <a:pt x="776715" y="6085064"/>
                  </a:lnTo>
                  <a:lnTo>
                    <a:pt x="776715" y="6066004"/>
                  </a:lnTo>
                  <a:lnTo>
                    <a:pt x="776715" y="6051712"/>
                  </a:lnTo>
                  <a:lnTo>
                    <a:pt x="781481" y="6042180"/>
                  </a:lnTo>
                  <a:lnTo>
                    <a:pt x="791011" y="6037416"/>
                  </a:lnTo>
                  <a:lnTo>
                    <a:pt x="791011" y="6032648"/>
                  </a:lnTo>
                  <a:lnTo>
                    <a:pt x="776715" y="6032648"/>
                  </a:lnTo>
                  <a:lnTo>
                    <a:pt x="767185" y="6051712"/>
                  </a:lnTo>
                  <a:lnTo>
                    <a:pt x="767185" y="6070772"/>
                  </a:lnTo>
                  <a:lnTo>
                    <a:pt x="757655" y="6089832"/>
                  </a:lnTo>
                  <a:lnTo>
                    <a:pt x="752891" y="6104128"/>
                  </a:lnTo>
                  <a:lnTo>
                    <a:pt x="748125" y="6123188"/>
                  </a:lnTo>
                  <a:lnTo>
                    <a:pt x="743361" y="6147012"/>
                  </a:lnTo>
                  <a:lnTo>
                    <a:pt x="733829" y="6137484"/>
                  </a:lnTo>
                  <a:lnTo>
                    <a:pt x="724299" y="6127952"/>
                  </a:lnTo>
                  <a:lnTo>
                    <a:pt x="719535" y="6123188"/>
                  </a:lnTo>
                  <a:lnTo>
                    <a:pt x="724299" y="6113656"/>
                  </a:lnTo>
                  <a:lnTo>
                    <a:pt x="719535" y="6037416"/>
                  </a:lnTo>
                  <a:lnTo>
                    <a:pt x="719535" y="5980232"/>
                  </a:lnTo>
                  <a:lnTo>
                    <a:pt x="724299" y="5932584"/>
                  </a:lnTo>
                  <a:lnTo>
                    <a:pt x="743361" y="5913520"/>
                  </a:lnTo>
                  <a:lnTo>
                    <a:pt x="752891" y="5908756"/>
                  </a:lnTo>
                  <a:lnTo>
                    <a:pt x="757655" y="5908756"/>
                  </a:lnTo>
                  <a:lnTo>
                    <a:pt x="771951" y="5908756"/>
                  </a:lnTo>
                  <a:lnTo>
                    <a:pt x="776715" y="5903992"/>
                  </a:lnTo>
                  <a:lnTo>
                    <a:pt x="752891" y="5894460"/>
                  </a:lnTo>
                  <a:lnTo>
                    <a:pt x="738595" y="5899224"/>
                  </a:lnTo>
                  <a:lnTo>
                    <a:pt x="724299" y="5908756"/>
                  </a:lnTo>
                  <a:lnTo>
                    <a:pt x="705239" y="5899224"/>
                  </a:lnTo>
                  <a:lnTo>
                    <a:pt x="700473" y="5875400"/>
                  </a:lnTo>
                  <a:lnTo>
                    <a:pt x="690943" y="5856340"/>
                  </a:lnTo>
                  <a:lnTo>
                    <a:pt x="686179" y="5827748"/>
                  </a:lnTo>
                  <a:lnTo>
                    <a:pt x="686179" y="5789628"/>
                  </a:lnTo>
                  <a:lnTo>
                    <a:pt x="714769" y="5794392"/>
                  </a:lnTo>
                  <a:lnTo>
                    <a:pt x="738595" y="5803924"/>
                  </a:lnTo>
                  <a:lnTo>
                    <a:pt x="800541" y="5803924"/>
                  </a:lnTo>
                  <a:lnTo>
                    <a:pt x="852957" y="5837280"/>
                  </a:lnTo>
                  <a:lnTo>
                    <a:pt x="876783" y="5832512"/>
                  </a:lnTo>
                  <a:lnTo>
                    <a:pt x="872019" y="5827748"/>
                  </a:lnTo>
                  <a:lnTo>
                    <a:pt x="857723" y="5818220"/>
                  </a:lnTo>
                  <a:lnTo>
                    <a:pt x="848193" y="5794392"/>
                  </a:lnTo>
                  <a:lnTo>
                    <a:pt x="838663" y="5789628"/>
                  </a:lnTo>
                  <a:lnTo>
                    <a:pt x="838663" y="5780096"/>
                  </a:lnTo>
                  <a:lnTo>
                    <a:pt x="833897" y="5765804"/>
                  </a:lnTo>
                  <a:lnTo>
                    <a:pt x="824367" y="5713384"/>
                  </a:lnTo>
                  <a:lnTo>
                    <a:pt x="819603" y="5713384"/>
                  </a:lnTo>
                  <a:lnTo>
                    <a:pt x="814837" y="5732448"/>
                  </a:lnTo>
                  <a:lnTo>
                    <a:pt x="800541" y="5761036"/>
                  </a:lnTo>
                  <a:lnTo>
                    <a:pt x="786247" y="5775332"/>
                  </a:lnTo>
                  <a:lnTo>
                    <a:pt x="767185" y="5780096"/>
                  </a:lnTo>
                  <a:lnTo>
                    <a:pt x="743361" y="5784864"/>
                  </a:lnTo>
                  <a:lnTo>
                    <a:pt x="724299" y="5780096"/>
                  </a:lnTo>
                  <a:lnTo>
                    <a:pt x="719535" y="5765804"/>
                  </a:lnTo>
                  <a:lnTo>
                    <a:pt x="719535" y="5751508"/>
                  </a:lnTo>
                  <a:lnTo>
                    <a:pt x="710005" y="5746744"/>
                  </a:lnTo>
                  <a:lnTo>
                    <a:pt x="690943" y="5737212"/>
                  </a:lnTo>
                  <a:lnTo>
                    <a:pt x="681413" y="5737212"/>
                  </a:lnTo>
                  <a:lnTo>
                    <a:pt x="676649" y="5722916"/>
                  </a:lnTo>
                  <a:lnTo>
                    <a:pt x="686179" y="5703856"/>
                  </a:lnTo>
                  <a:lnTo>
                    <a:pt x="695709" y="5689560"/>
                  </a:lnTo>
                  <a:lnTo>
                    <a:pt x="705239" y="5694324"/>
                  </a:lnTo>
                  <a:lnTo>
                    <a:pt x="714769" y="5699092"/>
                  </a:lnTo>
                  <a:lnTo>
                    <a:pt x="729065" y="5713384"/>
                  </a:lnTo>
                  <a:lnTo>
                    <a:pt x="738595" y="5718152"/>
                  </a:lnTo>
                  <a:lnTo>
                    <a:pt x="752891" y="5703856"/>
                  </a:lnTo>
                  <a:lnTo>
                    <a:pt x="757655" y="5699092"/>
                  </a:lnTo>
                  <a:lnTo>
                    <a:pt x="748125" y="5689560"/>
                  </a:lnTo>
                  <a:lnTo>
                    <a:pt x="738595" y="5689560"/>
                  </a:lnTo>
                  <a:lnTo>
                    <a:pt x="729065" y="5684796"/>
                  </a:lnTo>
                  <a:lnTo>
                    <a:pt x="705239" y="5660968"/>
                  </a:lnTo>
                  <a:lnTo>
                    <a:pt x="714769" y="5637144"/>
                  </a:lnTo>
                  <a:lnTo>
                    <a:pt x="743361" y="5608552"/>
                  </a:lnTo>
                  <a:lnTo>
                    <a:pt x="752891" y="5603788"/>
                  </a:lnTo>
                  <a:lnTo>
                    <a:pt x="748125" y="5579964"/>
                  </a:lnTo>
                  <a:lnTo>
                    <a:pt x="752891" y="5556136"/>
                  </a:lnTo>
                  <a:lnTo>
                    <a:pt x="748125" y="5532312"/>
                  </a:lnTo>
                  <a:lnTo>
                    <a:pt x="729065" y="5513252"/>
                  </a:lnTo>
                  <a:lnTo>
                    <a:pt x="710005" y="5508484"/>
                  </a:lnTo>
                  <a:lnTo>
                    <a:pt x="705239" y="5513252"/>
                  </a:lnTo>
                  <a:lnTo>
                    <a:pt x="700473" y="5522780"/>
                  </a:lnTo>
                  <a:lnTo>
                    <a:pt x="705239" y="5527544"/>
                  </a:lnTo>
                  <a:lnTo>
                    <a:pt x="705239" y="5532312"/>
                  </a:lnTo>
                  <a:lnTo>
                    <a:pt x="700473" y="5532312"/>
                  </a:lnTo>
                  <a:lnTo>
                    <a:pt x="671883" y="5527544"/>
                  </a:lnTo>
                  <a:lnTo>
                    <a:pt x="652823" y="5513252"/>
                  </a:lnTo>
                  <a:lnTo>
                    <a:pt x="619467" y="5503720"/>
                  </a:lnTo>
                  <a:lnTo>
                    <a:pt x="619467" y="5489424"/>
                  </a:lnTo>
                  <a:lnTo>
                    <a:pt x="614701" y="5475128"/>
                  </a:lnTo>
                  <a:lnTo>
                    <a:pt x="624231" y="5451304"/>
                  </a:lnTo>
                  <a:lnTo>
                    <a:pt x="619467" y="5451304"/>
                  </a:lnTo>
                  <a:lnTo>
                    <a:pt x="600407" y="5470364"/>
                  </a:lnTo>
                  <a:lnTo>
                    <a:pt x="571815" y="5479896"/>
                  </a:lnTo>
                  <a:lnTo>
                    <a:pt x="547989" y="5484660"/>
                  </a:lnTo>
                  <a:lnTo>
                    <a:pt x="538459" y="5489424"/>
                  </a:lnTo>
                  <a:lnTo>
                    <a:pt x="533695" y="5498956"/>
                  </a:lnTo>
                  <a:lnTo>
                    <a:pt x="538459" y="5503720"/>
                  </a:lnTo>
                  <a:lnTo>
                    <a:pt x="552755" y="5503720"/>
                  </a:lnTo>
                  <a:lnTo>
                    <a:pt x="562285" y="5527544"/>
                  </a:lnTo>
                  <a:lnTo>
                    <a:pt x="557521" y="5537076"/>
                  </a:lnTo>
                  <a:lnTo>
                    <a:pt x="557521" y="5546608"/>
                  </a:lnTo>
                  <a:lnTo>
                    <a:pt x="543225" y="5546608"/>
                  </a:lnTo>
                  <a:lnTo>
                    <a:pt x="524165" y="5527544"/>
                  </a:lnTo>
                  <a:lnTo>
                    <a:pt x="514635" y="5508484"/>
                  </a:lnTo>
                  <a:lnTo>
                    <a:pt x="514635" y="5494192"/>
                  </a:lnTo>
                  <a:lnTo>
                    <a:pt x="519399" y="5470364"/>
                  </a:lnTo>
                  <a:lnTo>
                    <a:pt x="552755" y="5441776"/>
                  </a:lnTo>
                  <a:lnTo>
                    <a:pt x="562285" y="5432244"/>
                  </a:lnTo>
                  <a:lnTo>
                    <a:pt x="586111" y="5417948"/>
                  </a:lnTo>
                  <a:lnTo>
                    <a:pt x="609937" y="5384592"/>
                  </a:lnTo>
                  <a:lnTo>
                    <a:pt x="633763" y="5370296"/>
                  </a:lnTo>
                  <a:lnTo>
                    <a:pt x="624231" y="5356000"/>
                  </a:lnTo>
                  <a:lnTo>
                    <a:pt x="609937" y="5332176"/>
                  </a:lnTo>
                  <a:lnTo>
                    <a:pt x="614701" y="5303584"/>
                  </a:lnTo>
                  <a:lnTo>
                    <a:pt x="657587" y="5294056"/>
                  </a:lnTo>
                  <a:lnTo>
                    <a:pt x="681413" y="5298820"/>
                  </a:lnTo>
                  <a:lnTo>
                    <a:pt x="705239" y="5298820"/>
                  </a:lnTo>
                  <a:lnTo>
                    <a:pt x="719535" y="5289288"/>
                  </a:lnTo>
                  <a:lnTo>
                    <a:pt x="733829" y="5289288"/>
                  </a:lnTo>
                  <a:lnTo>
                    <a:pt x="752891" y="5279760"/>
                  </a:lnTo>
                  <a:lnTo>
                    <a:pt x="762421" y="5270228"/>
                  </a:lnTo>
                  <a:lnTo>
                    <a:pt x="767185" y="5260700"/>
                  </a:lnTo>
                  <a:lnTo>
                    <a:pt x="767185" y="5255936"/>
                  </a:lnTo>
                  <a:lnTo>
                    <a:pt x="762421" y="5246404"/>
                  </a:lnTo>
                  <a:lnTo>
                    <a:pt x="757655" y="5222576"/>
                  </a:lnTo>
                  <a:lnTo>
                    <a:pt x="762421" y="5213048"/>
                  </a:lnTo>
                  <a:lnTo>
                    <a:pt x="771951" y="5203516"/>
                  </a:lnTo>
                  <a:lnTo>
                    <a:pt x="786247" y="5198752"/>
                  </a:lnTo>
                  <a:lnTo>
                    <a:pt x="791011" y="5203516"/>
                  </a:lnTo>
                  <a:lnTo>
                    <a:pt x="805307" y="5208284"/>
                  </a:lnTo>
                  <a:lnTo>
                    <a:pt x="800541" y="5222576"/>
                  </a:lnTo>
                  <a:lnTo>
                    <a:pt x="795777" y="5236872"/>
                  </a:lnTo>
                  <a:lnTo>
                    <a:pt x="786247" y="5298820"/>
                  </a:lnTo>
                  <a:lnTo>
                    <a:pt x="776715" y="5308352"/>
                  </a:lnTo>
                  <a:lnTo>
                    <a:pt x="767185" y="5322644"/>
                  </a:lnTo>
                  <a:lnTo>
                    <a:pt x="776715" y="5346472"/>
                  </a:lnTo>
                  <a:lnTo>
                    <a:pt x="767185" y="5365532"/>
                  </a:lnTo>
                  <a:lnTo>
                    <a:pt x="724299" y="5379828"/>
                  </a:lnTo>
                  <a:lnTo>
                    <a:pt x="719535" y="5384592"/>
                  </a:lnTo>
                  <a:lnTo>
                    <a:pt x="719535" y="5389356"/>
                  </a:lnTo>
                  <a:lnTo>
                    <a:pt x="748125" y="5389356"/>
                  </a:lnTo>
                  <a:lnTo>
                    <a:pt x="767185" y="5384592"/>
                  </a:lnTo>
                  <a:lnTo>
                    <a:pt x="781481" y="5370296"/>
                  </a:lnTo>
                  <a:lnTo>
                    <a:pt x="791011" y="5346472"/>
                  </a:lnTo>
                  <a:lnTo>
                    <a:pt x="795777" y="5298820"/>
                  </a:lnTo>
                  <a:lnTo>
                    <a:pt x="810071" y="5294056"/>
                  </a:lnTo>
                  <a:lnTo>
                    <a:pt x="819603" y="5289288"/>
                  </a:lnTo>
                  <a:lnTo>
                    <a:pt x="824367" y="5303584"/>
                  </a:lnTo>
                  <a:lnTo>
                    <a:pt x="824367" y="5327412"/>
                  </a:lnTo>
                  <a:lnTo>
                    <a:pt x="824367" y="5351236"/>
                  </a:lnTo>
                  <a:lnTo>
                    <a:pt x="810071" y="5417948"/>
                  </a:lnTo>
                  <a:lnTo>
                    <a:pt x="791011" y="5446540"/>
                  </a:lnTo>
                  <a:lnTo>
                    <a:pt x="786247" y="5456068"/>
                  </a:lnTo>
                  <a:lnTo>
                    <a:pt x="786247" y="5460836"/>
                  </a:lnTo>
                  <a:lnTo>
                    <a:pt x="800541" y="5460836"/>
                  </a:lnTo>
                  <a:lnTo>
                    <a:pt x="814837" y="5446540"/>
                  </a:lnTo>
                  <a:lnTo>
                    <a:pt x="824367" y="5427480"/>
                  </a:lnTo>
                  <a:lnTo>
                    <a:pt x="833897" y="5398888"/>
                  </a:lnTo>
                  <a:lnTo>
                    <a:pt x="829133" y="5379828"/>
                  </a:lnTo>
                  <a:lnTo>
                    <a:pt x="833897" y="5370296"/>
                  </a:lnTo>
                  <a:lnTo>
                    <a:pt x="838663" y="5332176"/>
                  </a:lnTo>
                  <a:lnTo>
                    <a:pt x="843427" y="5313116"/>
                  </a:lnTo>
                  <a:lnTo>
                    <a:pt x="843427" y="5284524"/>
                  </a:lnTo>
                  <a:lnTo>
                    <a:pt x="833897" y="5274996"/>
                  </a:lnTo>
                  <a:lnTo>
                    <a:pt x="814837" y="5265464"/>
                  </a:lnTo>
                  <a:lnTo>
                    <a:pt x="814837" y="5251168"/>
                  </a:lnTo>
                  <a:lnTo>
                    <a:pt x="819603" y="5217812"/>
                  </a:lnTo>
                  <a:lnTo>
                    <a:pt x="848193" y="5217812"/>
                  </a:lnTo>
                  <a:lnTo>
                    <a:pt x="876783" y="5193988"/>
                  </a:lnTo>
                  <a:lnTo>
                    <a:pt x="891079" y="5189224"/>
                  </a:lnTo>
                  <a:lnTo>
                    <a:pt x="905375" y="5189224"/>
                  </a:lnTo>
                  <a:lnTo>
                    <a:pt x="938731" y="5213048"/>
                  </a:lnTo>
                  <a:lnTo>
                    <a:pt x="943495" y="5213048"/>
                  </a:lnTo>
                  <a:lnTo>
                    <a:pt x="943495" y="5203516"/>
                  </a:lnTo>
                  <a:lnTo>
                    <a:pt x="938731" y="5198752"/>
                  </a:lnTo>
                  <a:lnTo>
                    <a:pt x="924435" y="5189224"/>
                  </a:lnTo>
                  <a:lnTo>
                    <a:pt x="900609" y="5165396"/>
                  </a:lnTo>
                  <a:lnTo>
                    <a:pt x="867253" y="5165396"/>
                  </a:lnTo>
                  <a:lnTo>
                    <a:pt x="872019" y="5132040"/>
                  </a:lnTo>
                  <a:lnTo>
                    <a:pt x="876783" y="5103448"/>
                  </a:lnTo>
                  <a:lnTo>
                    <a:pt x="895845" y="5103448"/>
                  </a:lnTo>
                  <a:lnTo>
                    <a:pt x="924435" y="5093920"/>
                  </a:lnTo>
                  <a:lnTo>
                    <a:pt x="976851" y="5051032"/>
                  </a:lnTo>
                  <a:lnTo>
                    <a:pt x="986381" y="5022444"/>
                  </a:lnTo>
                  <a:lnTo>
                    <a:pt x="986381" y="4984320"/>
                  </a:lnTo>
                  <a:lnTo>
                    <a:pt x="962555" y="4979556"/>
                  </a:lnTo>
                  <a:lnTo>
                    <a:pt x="933965" y="4955732"/>
                  </a:lnTo>
                  <a:lnTo>
                    <a:pt x="914905" y="4941436"/>
                  </a:lnTo>
                  <a:lnTo>
                    <a:pt x="895845" y="4927140"/>
                  </a:lnTo>
                  <a:lnTo>
                    <a:pt x="895845" y="4908080"/>
                  </a:lnTo>
                  <a:lnTo>
                    <a:pt x="900609" y="4869960"/>
                  </a:lnTo>
                  <a:lnTo>
                    <a:pt x="924435" y="4860428"/>
                  </a:lnTo>
                  <a:lnTo>
                    <a:pt x="933965" y="4812776"/>
                  </a:lnTo>
                  <a:lnTo>
                    <a:pt x="919669" y="4774656"/>
                  </a:lnTo>
                  <a:lnTo>
                    <a:pt x="924435" y="4746064"/>
                  </a:lnTo>
                  <a:lnTo>
                    <a:pt x="943495" y="4722240"/>
                  </a:lnTo>
                  <a:lnTo>
                    <a:pt x="948261" y="4703180"/>
                  </a:lnTo>
                  <a:lnTo>
                    <a:pt x="953025" y="4688884"/>
                  </a:lnTo>
                  <a:lnTo>
                    <a:pt x="972087" y="4684120"/>
                  </a:lnTo>
                  <a:lnTo>
                    <a:pt x="972087" y="4674588"/>
                  </a:lnTo>
                  <a:lnTo>
                    <a:pt x="972087" y="4655528"/>
                  </a:lnTo>
                  <a:lnTo>
                    <a:pt x="957791" y="4636468"/>
                  </a:lnTo>
                  <a:lnTo>
                    <a:pt x="957791" y="4607876"/>
                  </a:lnTo>
                  <a:lnTo>
                    <a:pt x="972087" y="4569756"/>
                  </a:lnTo>
                  <a:lnTo>
                    <a:pt x="991147" y="4574520"/>
                  </a:lnTo>
                  <a:lnTo>
                    <a:pt x="991147" y="4569756"/>
                  </a:lnTo>
                  <a:lnTo>
                    <a:pt x="976851" y="4550696"/>
                  </a:lnTo>
                  <a:lnTo>
                    <a:pt x="967321" y="4526868"/>
                  </a:lnTo>
                  <a:lnTo>
                    <a:pt x="972087" y="4517340"/>
                  </a:lnTo>
                  <a:lnTo>
                    <a:pt x="981617" y="4512576"/>
                  </a:lnTo>
                  <a:lnTo>
                    <a:pt x="991147" y="4507808"/>
                  </a:lnTo>
                  <a:lnTo>
                    <a:pt x="1005443" y="4517340"/>
                  </a:lnTo>
                  <a:lnTo>
                    <a:pt x="1024503" y="4555460"/>
                  </a:lnTo>
                  <a:lnTo>
                    <a:pt x="1024503" y="4545928"/>
                  </a:lnTo>
                  <a:lnTo>
                    <a:pt x="1019737" y="4507808"/>
                  </a:lnTo>
                  <a:lnTo>
                    <a:pt x="1014973" y="4460156"/>
                  </a:lnTo>
                  <a:lnTo>
                    <a:pt x="995911" y="4464924"/>
                  </a:lnTo>
                  <a:lnTo>
                    <a:pt x="976851" y="4464924"/>
                  </a:lnTo>
                  <a:lnTo>
                    <a:pt x="967321" y="4455392"/>
                  </a:lnTo>
                  <a:lnTo>
                    <a:pt x="962555" y="4445864"/>
                  </a:lnTo>
                  <a:lnTo>
                    <a:pt x="967321" y="4431568"/>
                  </a:lnTo>
                  <a:lnTo>
                    <a:pt x="976851" y="4422036"/>
                  </a:lnTo>
                  <a:lnTo>
                    <a:pt x="986381" y="4412508"/>
                  </a:lnTo>
                  <a:lnTo>
                    <a:pt x="1014973" y="4407740"/>
                  </a:lnTo>
                  <a:lnTo>
                    <a:pt x="1034033" y="4393448"/>
                  </a:lnTo>
                  <a:lnTo>
                    <a:pt x="1043563" y="4360088"/>
                  </a:lnTo>
                  <a:lnTo>
                    <a:pt x="1034033" y="4364856"/>
                  </a:lnTo>
                  <a:lnTo>
                    <a:pt x="1024503" y="4388680"/>
                  </a:lnTo>
                  <a:lnTo>
                    <a:pt x="1005443" y="4398212"/>
                  </a:lnTo>
                  <a:lnTo>
                    <a:pt x="995911" y="4398212"/>
                  </a:lnTo>
                  <a:lnTo>
                    <a:pt x="986381" y="4393448"/>
                  </a:lnTo>
                  <a:lnTo>
                    <a:pt x="967321" y="4369620"/>
                  </a:lnTo>
                  <a:lnTo>
                    <a:pt x="953025" y="4364856"/>
                  </a:lnTo>
                  <a:lnTo>
                    <a:pt x="943495" y="4364856"/>
                  </a:lnTo>
                  <a:lnTo>
                    <a:pt x="933965" y="4369620"/>
                  </a:lnTo>
                  <a:lnTo>
                    <a:pt x="910139" y="4412508"/>
                  </a:lnTo>
                  <a:lnTo>
                    <a:pt x="895845" y="4417272"/>
                  </a:lnTo>
                  <a:lnTo>
                    <a:pt x="852957" y="4422036"/>
                  </a:lnTo>
                  <a:lnTo>
                    <a:pt x="838663" y="4417272"/>
                  </a:lnTo>
                  <a:lnTo>
                    <a:pt x="819603" y="4412508"/>
                  </a:lnTo>
                  <a:lnTo>
                    <a:pt x="819603" y="4398212"/>
                  </a:lnTo>
                  <a:lnTo>
                    <a:pt x="829133" y="4388680"/>
                  </a:lnTo>
                  <a:lnTo>
                    <a:pt x="838663" y="4383916"/>
                  </a:lnTo>
                  <a:lnTo>
                    <a:pt x="838663" y="4374384"/>
                  </a:lnTo>
                  <a:lnTo>
                    <a:pt x="824367" y="4374384"/>
                  </a:lnTo>
                  <a:lnTo>
                    <a:pt x="810071" y="4364856"/>
                  </a:lnTo>
                  <a:lnTo>
                    <a:pt x="800541" y="4350560"/>
                  </a:lnTo>
                  <a:lnTo>
                    <a:pt x="795777" y="4321968"/>
                  </a:lnTo>
                  <a:lnTo>
                    <a:pt x="781481" y="4279084"/>
                  </a:lnTo>
                  <a:lnTo>
                    <a:pt x="781481" y="4250492"/>
                  </a:lnTo>
                  <a:lnTo>
                    <a:pt x="791011" y="4231432"/>
                  </a:lnTo>
                  <a:lnTo>
                    <a:pt x="814837" y="4145660"/>
                  </a:lnTo>
                  <a:lnTo>
                    <a:pt x="819603" y="4102772"/>
                  </a:lnTo>
                  <a:lnTo>
                    <a:pt x="829133" y="4069416"/>
                  </a:lnTo>
                  <a:lnTo>
                    <a:pt x="829133" y="4040828"/>
                  </a:lnTo>
                  <a:lnTo>
                    <a:pt x="857723" y="4021768"/>
                  </a:lnTo>
                  <a:lnTo>
                    <a:pt x="872019" y="4007472"/>
                  </a:lnTo>
                  <a:lnTo>
                    <a:pt x="895845" y="3935992"/>
                  </a:lnTo>
                  <a:lnTo>
                    <a:pt x="900609" y="3893108"/>
                  </a:lnTo>
                  <a:lnTo>
                    <a:pt x="857723" y="3773980"/>
                  </a:lnTo>
                  <a:lnTo>
                    <a:pt x="852957" y="3750152"/>
                  </a:lnTo>
                  <a:lnTo>
                    <a:pt x="852957" y="3721564"/>
                  </a:lnTo>
                  <a:lnTo>
                    <a:pt x="862489" y="3673912"/>
                  </a:lnTo>
                  <a:lnTo>
                    <a:pt x="862489" y="3654852"/>
                  </a:lnTo>
                  <a:lnTo>
                    <a:pt x="852957" y="3631026"/>
                  </a:lnTo>
                  <a:lnTo>
                    <a:pt x="833897" y="3588140"/>
                  </a:lnTo>
                  <a:lnTo>
                    <a:pt x="829133" y="3569080"/>
                  </a:lnTo>
                  <a:lnTo>
                    <a:pt x="838663" y="3545254"/>
                  </a:lnTo>
                  <a:lnTo>
                    <a:pt x="833897" y="3516662"/>
                  </a:lnTo>
                  <a:lnTo>
                    <a:pt x="833897" y="3502368"/>
                  </a:lnTo>
                  <a:lnTo>
                    <a:pt x="838663" y="3488072"/>
                  </a:lnTo>
                  <a:lnTo>
                    <a:pt x="876783" y="3497602"/>
                  </a:lnTo>
                  <a:lnTo>
                    <a:pt x="891079" y="3492836"/>
                  </a:lnTo>
                  <a:lnTo>
                    <a:pt x="900609" y="3483306"/>
                  </a:lnTo>
                  <a:lnTo>
                    <a:pt x="910139" y="3464246"/>
                  </a:lnTo>
                  <a:lnTo>
                    <a:pt x="910139" y="3426126"/>
                  </a:lnTo>
                  <a:lnTo>
                    <a:pt x="914905" y="3411830"/>
                  </a:lnTo>
                  <a:lnTo>
                    <a:pt x="914905" y="3392770"/>
                  </a:lnTo>
                  <a:lnTo>
                    <a:pt x="933965" y="3383240"/>
                  </a:lnTo>
                  <a:lnTo>
                    <a:pt x="938731" y="3359414"/>
                  </a:lnTo>
                  <a:lnTo>
                    <a:pt x="953025" y="3330822"/>
                  </a:lnTo>
                  <a:lnTo>
                    <a:pt x="967321" y="3254580"/>
                  </a:lnTo>
                  <a:lnTo>
                    <a:pt x="986381" y="3235520"/>
                  </a:lnTo>
                  <a:lnTo>
                    <a:pt x="1000677" y="3211694"/>
                  </a:lnTo>
                  <a:lnTo>
                    <a:pt x="995911" y="3178338"/>
                  </a:lnTo>
                  <a:lnTo>
                    <a:pt x="1005443" y="3164044"/>
                  </a:lnTo>
                  <a:lnTo>
                    <a:pt x="1010207" y="3149748"/>
                  </a:lnTo>
                  <a:lnTo>
                    <a:pt x="1019737" y="3130688"/>
                  </a:lnTo>
                  <a:lnTo>
                    <a:pt x="1029267" y="3111626"/>
                  </a:lnTo>
                  <a:lnTo>
                    <a:pt x="1057859" y="3083036"/>
                  </a:lnTo>
                  <a:lnTo>
                    <a:pt x="1062623" y="3049680"/>
                  </a:lnTo>
                  <a:lnTo>
                    <a:pt x="1081685" y="2992498"/>
                  </a:lnTo>
                  <a:lnTo>
                    <a:pt x="1086449" y="2954378"/>
                  </a:lnTo>
                  <a:lnTo>
                    <a:pt x="1091215" y="2930552"/>
                  </a:lnTo>
                  <a:lnTo>
                    <a:pt x="1091215" y="2906726"/>
                  </a:lnTo>
                  <a:lnTo>
                    <a:pt x="1100745" y="2878136"/>
                  </a:lnTo>
                  <a:lnTo>
                    <a:pt x="1115039" y="2854310"/>
                  </a:lnTo>
                  <a:lnTo>
                    <a:pt x="1119805" y="2840014"/>
                  </a:lnTo>
                  <a:lnTo>
                    <a:pt x="1143631" y="2811424"/>
                  </a:lnTo>
                  <a:lnTo>
                    <a:pt x="1148395" y="2787598"/>
                  </a:lnTo>
                  <a:lnTo>
                    <a:pt x="1138865" y="2768538"/>
                  </a:lnTo>
                  <a:lnTo>
                    <a:pt x="1138865" y="2744712"/>
                  </a:lnTo>
                  <a:lnTo>
                    <a:pt x="1129335" y="2706592"/>
                  </a:lnTo>
                  <a:lnTo>
                    <a:pt x="1148395" y="2692296"/>
                  </a:lnTo>
                  <a:lnTo>
                    <a:pt x="1153161" y="2682766"/>
                  </a:lnTo>
                  <a:lnTo>
                    <a:pt x="1176987" y="2625584"/>
                  </a:lnTo>
                  <a:lnTo>
                    <a:pt x="1176987" y="2601758"/>
                  </a:lnTo>
                  <a:lnTo>
                    <a:pt x="1181751" y="2573168"/>
                  </a:lnTo>
                  <a:lnTo>
                    <a:pt x="1167457" y="2539812"/>
                  </a:lnTo>
                  <a:lnTo>
                    <a:pt x="1167457" y="2468334"/>
                  </a:lnTo>
                  <a:lnTo>
                    <a:pt x="1157927" y="2411154"/>
                  </a:lnTo>
                  <a:lnTo>
                    <a:pt x="1143631" y="2349206"/>
                  </a:lnTo>
                  <a:lnTo>
                    <a:pt x="1143631" y="2315850"/>
                  </a:lnTo>
                  <a:lnTo>
                    <a:pt x="1138865" y="2277730"/>
                  </a:lnTo>
                  <a:lnTo>
                    <a:pt x="1134101" y="2253904"/>
                  </a:lnTo>
                  <a:lnTo>
                    <a:pt x="1143631" y="2196722"/>
                  </a:lnTo>
                  <a:lnTo>
                    <a:pt x="1186517" y="2163366"/>
                  </a:lnTo>
                  <a:lnTo>
                    <a:pt x="1191281" y="2125246"/>
                  </a:lnTo>
                  <a:lnTo>
                    <a:pt x="1196047" y="2077594"/>
                  </a:lnTo>
                  <a:lnTo>
                    <a:pt x="1196047" y="2039474"/>
                  </a:lnTo>
                  <a:lnTo>
                    <a:pt x="1191281" y="2020412"/>
                  </a:lnTo>
                  <a:lnTo>
                    <a:pt x="1172221" y="1996588"/>
                  </a:lnTo>
                  <a:lnTo>
                    <a:pt x="1167457" y="1944170"/>
                  </a:lnTo>
                  <a:lnTo>
                    <a:pt x="1172221" y="1934640"/>
                  </a:lnTo>
                  <a:lnTo>
                    <a:pt x="1186517" y="1920346"/>
                  </a:lnTo>
                  <a:lnTo>
                    <a:pt x="1200813" y="1901284"/>
                  </a:lnTo>
                  <a:lnTo>
                    <a:pt x="1205577" y="1872694"/>
                  </a:lnTo>
                  <a:lnTo>
                    <a:pt x="1219873" y="1848868"/>
                  </a:lnTo>
                  <a:lnTo>
                    <a:pt x="1224637" y="1791686"/>
                  </a:lnTo>
                  <a:lnTo>
                    <a:pt x="1234169" y="1748800"/>
                  </a:lnTo>
                  <a:lnTo>
                    <a:pt x="1238933" y="1734506"/>
                  </a:lnTo>
                  <a:lnTo>
                    <a:pt x="1257993" y="1715444"/>
                  </a:lnTo>
                  <a:lnTo>
                    <a:pt x="1257993" y="1710680"/>
                  </a:lnTo>
                  <a:lnTo>
                    <a:pt x="1262759" y="1696384"/>
                  </a:lnTo>
                  <a:lnTo>
                    <a:pt x="1262759" y="1658264"/>
                  </a:lnTo>
                  <a:lnTo>
                    <a:pt x="1262759" y="1639202"/>
                  </a:lnTo>
                  <a:lnTo>
                    <a:pt x="1277055" y="1596316"/>
                  </a:lnTo>
                  <a:lnTo>
                    <a:pt x="1277055" y="1577256"/>
                  </a:lnTo>
                  <a:lnTo>
                    <a:pt x="1291349" y="1534370"/>
                  </a:lnTo>
                  <a:lnTo>
                    <a:pt x="1296115" y="1505780"/>
                  </a:lnTo>
                  <a:lnTo>
                    <a:pt x="1300879" y="1486718"/>
                  </a:lnTo>
                  <a:lnTo>
                    <a:pt x="1300879" y="1472424"/>
                  </a:lnTo>
                  <a:lnTo>
                    <a:pt x="1305645" y="1429536"/>
                  </a:lnTo>
                  <a:lnTo>
                    <a:pt x="1296115" y="1405712"/>
                  </a:lnTo>
                  <a:lnTo>
                    <a:pt x="1291349" y="1396182"/>
                  </a:lnTo>
                  <a:lnTo>
                    <a:pt x="1305645" y="1353296"/>
                  </a:lnTo>
                  <a:lnTo>
                    <a:pt x="1315175" y="1343764"/>
                  </a:lnTo>
                  <a:lnTo>
                    <a:pt x="1324705" y="1324704"/>
                  </a:lnTo>
                  <a:lnTo>
                    <a:pt x="1334235" y="1300878"/>
                  </a:lnTo>
                  <a:lnTo>
                    <a:pt x="1334235" y="1286584"/>
                  </a:lnTo>
                  <a:lnTo>
                    <a:pt x="1315175" y="1219872"/>
                  </a:lnTo>
                  <a:lnTo>
                    <a:pt x="1315175" y="1196046"/>
                  </a:lnTo>
                  <a:lnTo>
                    <a:pt x="1319941" y="1143630"/>
                  </a:lnTo>
                  <a:lnTo>
                    <a:pt x="1324705" y="1110274"/>
                  </a:lnTo>
                  <a:lnTo>
                    <a:pt x="1319941" y="1081682"/>
                  </a:lnTo>
                  <a:lnTo>
                    <a:pt x="1324705" y="1067388"/>
                  </a:lnTo>
                  <a:lnTo>
                    <a:pt x="1329471" y="1048326"/>
                  </a:lnTo>
                  <a:lnTo>
                    <a:pt x="1339001" y="1029266"/>
                  </a:lnTo>
                  <a:lnTo>
                    <a:pt x="1343767" y="1010206"/>
                  </a:lnTo>
                  <a:lnTo>
                    <a:pt x="1339001" y="1005440"/>
                  </a:lnTo>
                  <a:lnTo>
                    <a:pt x="1324705" y="1000676"/>
                  </a:lnTo>
                  <a:lnTo>
                    <a:pt x="1310411" y="976850"/>
                  </a:lnTo>
                  <a:lnTo>
                    <a:pt x="1310411" y="957790"/>
                  </a:lnTo>
                  <a:lnTo>
                    <a:pt x="1315175" y="943494"/>
                  </a:lnTo>
                  <a:lnTo>
                    <a:pt x="1315175" y="924434"/>
                  </a:lnTo>
                  <a:lnTo>
                    <a:pt x="1334235" y="924434"/>
                  </a:lnTo>
                  <a:lnTo>
                    <a:pt x="1343767" y="910138"/>
                  </a:lnTo>
                  <a:lnTo>
                    <a:pt x="1353297" y="891078"/>
                  </a:lnTo>
                  <a:lnTo>
                    <a:pt x="1362827" y="838662"/>
                  </a:lnTo>
                  <a:lnTo>
                    <a:pt x="1367591" y="781480"/>
                  </a:lnTo>
                  <a:lnTo>
                    <a:pt x="1377121" y="743358"/>
                  </a:lnTo>
                  <a:lnTo>
                    <a:pt x="1377121" y="724298"/>
                  </a:lnTo>
                  <a:lnTo>
                    <a:pt x="1381887" y="686178"/>
                  </a:lnTo>
                  <a:lnTo>
                    <a:pt x="1391417" y="662352"/>
                  </a:lnTo>
                  <a:lnTo>
                    <a:pt x="1391417" y="638526"/>
                  </a:lnTo>
                  <a:lnTo>
                    <a:pt x="1391417" y="619466"/>
                  </a:lnTo>
                  <a:lnTo>
                    <a:pt x="1372357" y="533694"/>
                  </a:lnTo>
                  <a:lnTo>
                    <a:pt x="1372357" y="500338"/>
                  </a:lnTo>
                  <a:lnTo>
                    <a:pt x="1381887" y="452686"/>
                  </a:lnTo>
                  <a:lnTo>
                    <a:pt x="1381887" y="381210"/>
                  </a:lnTo>
                  <a:lnTo>
                    <a:pt x="1377121" y="362148"/>
                  </a:lnTo>
                  <a:lnTo>
                    <a:pt x="1372357" y="347854"/>
                  </a:lnTo>
                  <a:lnTo>
                    <a:pt x="1372357" y="328792"/>
                  </a:lnTo>
                  <a:lnTo>
                    <a:pt x="1362827" y="290672"/>
                  </a:lnTo>
                  <a:lnTo>
                    <a:pt x="1353297" y="219194"/>
                  </a:lnTo>
                  <a:lnTo>
                    <a:pt x="1353297" y="181074"/>
                  </a:lnTo>
                  <a:lnTo>
                    <a:pt x="1348531" y="147718"/>
                  </a:lnTo>
                  <a:lnTo>
                    <a:pt x="1339001" y="138188"/>
                  </a:lnTo>
                  <a:lnTo>
                    <a:pt x="1343767" y="138188"/>
                  </a:lnTo>
                  <a:lnTo>
                    <a:pt x="1358061" y="138188"/>
                  </a:lnTo>
                  <a:lnTo>
                    <a:pt x="1377121" y="138188"/>
                  </a:lnTo>
                  <a:lnTo>
                    <a:pt x="1396183" y="128658"/>
                  </a:lnTo>
                  <a:lnTo>
                    <a:pt x="1415243" y="114362"/>
                  </a:lnTo>
                  <a:lnTo>
                    <a:pt x="1429539" y="100066"/>
                  </a:lnTo>
                  <a:lnTo>
                    <a:pt x="1434303" y="81006"/>
                  </a:lnTo>
                  <a:lnTo>
                    <a:pt x="1434303" y="66710"/>
                  </a:lnTo>
                  <a:lnTo>
                    <a:pt x="1429539" y="47650"/>
                  </a:lnTo>
                  <a:lnTo>
                    <a:pt x="1424773" y="33354"/>
                  </a:lnTo>
                  <a:lnTo>
                    <a:pt x="1434303" y="28590"/>
                  </a:lnTo>
                  <a:lnTo>
                    <a:pt x="1453363" y="23824"/>
                  </a:lnTo>
                  <a:lnTo>
                    <a:pt x="1467659" y="1429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3" name="Freeform 61">
              <a:extLst>
                <a:ext uri="{FF2B5EF4-FFF2-40B4-BE49-F238E27FC236}">
                  <a16:creationId xmlns:a16="http://schemas.microsoft.com/office/drawing/2014/main" id="{7745DC69-D1A4-4566-AC47-9CAAA7CE2BC9}"/>
                </a:ext>
              </a:extLst>
            </p:cNvPr>
            <p:cNvSpPr/>
            <p:nvPr/>
          </p:nvSpPr>
          <p:spPr bwMode="auto">
            <a:xfrm>
              <a:off x="5081066" y="5137292"/>
              <a:ext cx="154175" cy="162655"/>
            </a:xfrm>
            <a:custGeom>
              <a:avLst/>
              <a:gdLst>
                <a:gd name="connsiteX0" fmla="*/ 843430 w 953026"/>
                <a:gd name="connsiteY0" fmla="*/ 876784 h 1005440"/>
                <a:gd name="connsiteX1" fmla="*/ 862490 w 953026"/>
                <a:gd name="connsiteY1" fmla="*/ 881548 h 1005440"/>
                <a:gd name="connsiteX2" fmla="*/ 857724 w 953026"/>
                <a:gd name="connsiteY2" fmla="*/ 886312 h 1005440"/>
                <a:gd name="connsiteX3" fmla="*/ 838664 w 953026"/>
                <a:gd name="connsiteY3" fmla="*/ 881548 h 1005440"/>
                <a:gd name="connsiteX4" fmla="*/ 366916 w 953026"/>
                <a:gd name="connsiteY4" fmla="*/ 0 h 1005440"/>
                <a:gd name="connsiteX5" fmla="*/ 371680 w 953026"/>
                <a:gd name="connsiteY5" fmla="*/ 19060 h 1005440"/>
                <a:gd name="connsiteX6" fmla="*/ 366916 w 953026"/>
                <a:gd name="connsiteY6" fmla="*/ 23824 h 1005440"/>
                <a:gd name="connsiteX7" fmla="*/ 371680 w 953026"/>
                <a:gd name="connsiteY7" fmla="*/ 38120 h 1005440"/>
                <a:gd name="connsiteX8" fmla="*/ 376446 w 953026"/>
                <a:gd name="connsiteY8" fmla="*/ 47650 h 1005440"/>
                <a:gd name="connsiteX9" fmla="*/ 376446 w 953026"/>
                <a:gd name="connsiteY9" fmla="*/ 52416 h 1005440"/>
                <a:gd name="connsiteX10" fmla="*/ 371680 w 953026"/>
                <a:gd name="connsiteY10" fmla="*/ 61946 h 1005440"/>
                <a:gd name="connsiteX11" fmla="*/ 366916 w 953026"/>
                <a:gd name="connsiteY11" fmla="*/ 66710 h 1005440"/>
                <a:gd name="connsiteX12" fmla="*/ 371680 w 953026"/>
                <a:gd name="connsiteY12" fmla="*/ 71476 h 1005440"/>
                <a:gd name="connsiteX13" fmla="*/ 376446 w 953026"/>
                <a:gd name="connsiteY13" fmla="*/ 76242 h 1005440"/>
                <a:gd name="connsiteX14" fmla="*/ 390742 w 953026"/>
                <a:gd name="connsiteY14" fmla="*/ 81006 h 1005440"/>
                <a:gd name="connsiteX15" fmla="*/ 400272 w 953026"/>
                <a:gd name="connsiteY15" fmla="*/ 81006 h 1005440"/>
                <a:gd name="connsiteX16" fmla="*/ 409802 w 953026"/>
                <a:gd name="connsiteY16" fmla="*/ 76242 h 1005440"/>
                <a:gd name="connsiteX17" fmla="*/ 414566 w 953026"/>
                <a:gd name="connsiteY17" fmla="*/ 71476 h 1005440"/>
                <a:gd name="connsiteX18" fmla="*/ 419332 w 953026"/>
                <a:gd name="connsiteY18" fmla="*/ 66710 h 1005440"/>
                <a:gd name="connsiteX19" fmla="*/ 424098 w 953026"/>
                <a:gd name="connsiteY19" fmla="*/ 57180 h 1005440"/>
                <a:gd name="connsiteX20" fmla="*/ 428862 w 953026"/>
                <a:gd name="connsiteY20" fmla="*/ 52416 h 1005440"/>
                <a:gd name="connsiteX21" fmla="*/ 452688 w 953026"/>
                <a:gd name="connsiteY21" fmla="*/ 42886 h 1005440"/>
                <a:gd name="connsiteX22" fmla="*/ 476514 w 953026"/>
                <a:gd name="connsiteY22" fmla="*/ 42886 h 1005440"/>
                <a:gd name="connsiteX23" fmla="*/ 481278 w 953026"/>
                <a:gd name="connsiteY23" fmla="*/ 47650 h 1005440"/>
                <a:gd name="connsiteX24" fmla="*/ 490808 w 953026"/>
                <a:gd name="connsiteY24" fmla="*/ 57180 h 1005440"/>
                <a:gd name="connsiteX25" fmla="*/ 505104 w 953026"/>
                <a:gd name="connsiteY25" fmla="*/ 61946 h 1005440"/>
                <a:gd name="connsiteX26" fmla="*/ 524164 w 953026"/>
                <a:gd name="connsiteY26" fmla="*/ 61946 h 1005440"/>
                <a:gd name="connsiteX27" fmla="*/ 533696 w 953026"/>
                <a:gd name="connsiteY27" fmla="*/ 66710 h 1005440"/>
                <a:gd name="connsiteX28" fmla="*/ 547990 w 953026"/>
                <a:gd name="connsiteY28" fmla="*/ 76242 h 1005440"/>
                <a:gd name="connsiteX29" fmla="*/ 557520 w 953026"/>
                <a:gd name="connsiteY29" fmla="*/ 90536 h 1005440"/>
                <a:gd name="connsiteX30" fmla="*/ 562286 w 953026"/>
                <a:gd name="connsiteY30" fmla="*/ 104832 h 1005440"/>
                <a:gd name="connsiteX31" fmla="*/ 567050 w 953026"/>
                <a:gd name="connsiteY31" fmla="*/ 123892 h 1005440"/>
                <a:gd name="connsiteX32" fmla="*/ 581346 w 953026"/>
                <a:gd name="connsiteY32" fmla="*/ 133422 h 1005440"/>
                <a:gd name="connsiteX33" fmla="*/ 590876 w 953026"/>
                <a:gd name="connsiteY33" fmla="*/ 138188 h 1005440"/>
                <a:gd name="connsiteX34" fmla="*/ 605172 w 953026"/>
                <a:gd name="connsiteY34" fmla="*/ 152484 h 1005440"/>
                <a:gd name="connsiteX35" fmla="*/ 619468 w 953026"/>
                <a:gd name="connsiteY35" fmla="*/ 157248 h 1005440"/>
                <a:gd name="connsiteX36" fmla="*/ 638528 w 953026"/>
                <a:gd name="connsiteY36" fmla="*/ 157248 h 1005440"/>
                <a:gd name="connsiteX37" fmla="*/ 643292 w 953026"/>
                <a:gd name="connsiteY37" fmla="*/ 162014 h 1005440"/>
                <a:gd name="connsiteX38" fmla="*/ 657588 w 953026"/>
                <a:gd name="connsiteY38" fmla="*/ 166778 h 1005440"/>
                <a:gd name="connsiteX39" fmla="*/ 667118 w 953026"/>
                <a:gd name="connsiteY39" fmla="*/ 171544 h 1005440"/>
                <a:gd name="connsiteX40" fmla="*/ 676648 w 953026"/>
                <a:gd name="connsiteY40" fmla="*/ 152484 h 1005440"/>
                <a:gd name="connsiteX41" fmla="*/ 690944 w 953026"/>
                <a:gd name="connsiteY41" fmla="*/ 147718 h 1005440"/>
                <a:gd name="connsiteX42" fmla="*/ 724300 w 953026"/>
                <a:gd name="connsiteY42" fmla="*/ 138188 h 1005440"/>
                <a:gd name="connsiteX43" fmla="*/ 738596 w 953026"/>
                <a:gd name="connsiteY43" fmla="*/ 128658 h 1005440"/>
                <a:gd name="connsiteX44" fmla="*/ 752890 w 953026"/>
                <a:gd name="connsiteY44" fmla="*/ 128658 h 1005440"/>
                <a:gd name="connsiteX45" fmla="*/ 786246 w 953026"/>
                <a:gd name="connsiteY45" fmla="*/ 123892 h 1005440"/>
                <a:gd name="connsiteX46" fmla="*/ 814838 w 953026"/>
                <a:gd name="connsiteY46" fmla="*/ 128658 h 1005440"/>
                <a:gd name="connsiteX47" fmla="*/ 829132 w 953026"/>
                <a:gd name="connsiteY47" fmla="*/ 133422 h 1005440"/>
                <a:gd name="connsiteX48" fmla="*/ 838664 w 953026"/>
                <a:gd name="connsiteY48" fmla="*/ 128658 h 1005440"/>
                <a:gd name="connsiteX49" fmla="*/ 848194 w 953026"/>
                <a:gd name="connsiteY49" fmla="*/ 138188 h 1005440"/>
                <a:gd name="connsiteX50" fmla="*/ 862488 w 953026"/>
                <a:gd name="connsiteY50" fmla="*/ 152484 h 1005440"/>
                <a:gd name="connsiteX51" fmla="*/ 867254 w 953026"/>
                <a:gd name="connsiteY51" fmla="*/ 157248 h 1005440"/>
                <a:gd name="connsiteX52" fmla="*/ 876784 w 953026"/>
                <a:gd name="connsiteY52" fmla="*/ 162014 h 1005440"/>
                <a:gd name="connsiteX53" fmla="*/ 881550 w 953026"/>
                <a:gd name="connsiteY53" fmla="*/ 176308 h 1005440"/>
                <a:gd name="connsiteX54" fmla="*/ 891080 w 953026"/>
                <a:gd name="connsiteY54" fmla="*/ 185838 h 1005440"/>
                <a:gd name="connsiteX55" fmla="*/ 895844 w 953026"/>
                <a:gd name="connsiteY55" fmla="*/ 190604 h 1005440"/>
                <a:gd name="connsiteX56" fmla="*/ 905374 w 953026"/>
                <a:gd name="connsiteY56" fmla="*/ 204900 h 1005440"/>
                <a:gd name="connsiteX57" fmla="*/ 910140 w 953026"/>
                <a:gd name="connsiteY57" fmla="*/ 204900 h 1005440"/>
                <a:gd name="connsiteX58" fmla="*/ 919670 w 953026"/>
                <a:gd name="connsiteY58" fmla="*/ 200134 h 1005440"/>
                <a:gd name="connsiteX59" fmla="*/ 924436 w 953026"/>
                <a:gd name="connsiteY59" fmla="*/ 195370 h 1005440"/>
                <a:gd name="connsiteX60" fmla="*/ 924436 w 953026"/>
                <a:gd name="connsiteY60" fmla="*/ 204900 h 1005440"/>
                <a:gd name="connsiteX61" fmla="*/ 919670 w 953026"/>
                <a:gd name="connsiteY61" fmla="*/ 214430 h 1005440"/>
                <a:gd name="connsiteX62" fmla="*/ 919670 w 953026"/>
                <a:gd name="connsiteY62" fmla="*/ 223960 h 1005440"/>
                <a:gd name="connsiteX63" fmla="*/ 924436 w 953026"/>
                <a:gd name="connsiteY63" fmla="*/ 228726 h 1005440"/>
                <a:gd name="connsiteX64" fmla="*/ 924436 w 953026"/>
                <a:gd name="connsiteY64" fmla="*/ 238256 h 1005440"/>
                <a:gd name="connsiteX65" fmla="*/ 914904 w 953026"/>
                <a:gd name="connsiteY65" fmla="*/ 252550 h 1005440"/>
                <a:gd name="connsiteX66" fmla="*/ 914904 w 953026"/>
                <a:gd name="connsiteY66" fmla="*/ 266846 h 1005440"/>
                <a:gd name="connsiteX67" fmla="*/ 924436 w 953026"/>
                <a:gd name="connsiteY67" fmla="*/ 266846 h 1005440"/>
                <a:gd name="connsiteX68" fmla="*/ 929200 w 953026"/>
                <a:gd name="connsiteY68" fmla="*/ 276376 h 1005440"/>
                <a:gd name="connsiteX69" fmla="*/ 933966 w 953026"/>
                <a:gd name="connsiteY69" fmla="*/ 295436 h 1005440"/>
                <a:gd name="connsiteX70" fmla="*/ 938730 w 953026"/>
                <a:gd name="connsiteY70" fmla="*/ 304968 h 1005440"/>
                <a:gd name="connsiteX71" fmla="*/ 943496 w 953026"/>
                <a:gd name="connsiteY71" fmla="*/ 352618 h 1005440"/>
                <a:gd name="connsiteX72" fmla="*/ 953026 w 953026"/>
                <a:gd name="connsiteY72" fmla="*/ 395504 h 1005440"/>
                <a:gd name="connsiteX73" fmla="*/ 948260 w 953026"/>
                <a:gd name="connsiteY73" fmla="*/ 400270 h 1005440"/>
                <a:gd name="connsiteX74" fmla="*/ 938730 w 953026"/>
                <a:gd name="connsiteY74" fmla="*/ 405034 h 1005440"/>
                <a:gd name="connsiteX75" fmla="*/ 933966 w 953026"/>
                <a:gd name="connsiteY75" fmla="*/ 405034 h 1005440"/>
                <a:gd name="connsiteX76" fmla="*/ 933966 w 953026"/>
                <a:gd name="connsiteY76" fmla="*/ 409800 h 1005440"/>
                <a:gd name="connsiteX77" fmla="*/ 938730 w 953026"/>
                <a:gd name="connsiteY77" fmla="*/ 414566 h 1005440"/>
                <a:gd name="connsiteX78" fmla="*/ 933966 w 953026"/>
                <a:gd name="connsiteY78" fmla="*/ 424096 h 1005440"/>
                <a:gd name="connsiteX79" fmla="*/ 929200 w 953026"/>
                <a:gd name="connsiteY79" fmla="*/ 424096 h 1005440"/>
                <a:gd name="connsiteX80" fmla="*/ 910140 w 953026"/>
                <a:gd name="connsiteY80" fmla="*/ 438390 h 1005440"/>
                <a:gd name="connsiteX81" fmla="*/ 905374 w 953026"/>
                <a:gd name="connsiteY81" fmla="*/ 447922 h 1005440"/>
                <a:gd name="connsiteX82" fmla="*/ 900610 w 953026"/>
                <a:gd name="connsiteY82" fmla="*/ 457452 h 1005440"/>
                <a:gd name="connsiteX83" fmla="*/ 895844 w 953026"/>
                <a:gd name="connsiteY83" fmla="*/ 466982 h 1005440"/>
                <a:gd name="connsiteX84" fmla="*/ 891080 w 953026"/>
                <a:gd name="connsiteY84" fmla="*/ 481276 h 1005440"/>
                <a:gd name="connsiteX85" fmla="*/ 881550 w 953026"/>
                <a:gd name="connsiteY85" fmla="*/ 514632 h 1005440"/>
                <a:gd name="connsiteX86" fmla="*/ 876784 w 953026"/>
                <a:gd name="connsiteY86" fmla="*/ 543224 h 1005440"/>
                <a:gd name="connsiteX87" fmla="*/ 876784 w 953026"/>
                <a:gd name="connsiteY87" fmla="*/ 552754 h 1005440"/>
                <a:gd name="connsiteX88" fmla="*/ 872018 w 953026"/>
                <a:gd name="connsiteY88" fmla="*/ 562284 h 1005440"/>
                <a:gd name="connsiteX89" fmla="*/ 872018 w 953026"/>
                <a:gd name="connsiteY89" fmla="*/ 571814 h 1005440"/>
                <a:gd name="connsiteX90" fmla="*/ 848194 w 953026"/>
                <a:gd name="connsiteY90" fmla="*/ 595640 h 1005440"/>
                <a:gd name="connsiteX91" fmla="*/ 838664 w 953026"/>
                <a:gd name="connsiteY91" fmla="*/ 619466 h 1005440"/>
                <a:gd name="connsiteX92" fmla="*/ 838664 w 953026"/>
                <a:gd name="connsiteY92" fmla="*/ 628996 h 1005440"/>
                <a:gd name="connsiteX93" fmla="*/ 838664 w 953026"/>
                <a:gd name="connsiteY93" fmla="*/ 633760 h 1005440"/>
                <a:gd name="connsiteX94" fmla="*/ 838664 w 953026"/>
                <a:gd name="connsiteY94" fmla="*/ 643292 h 1005440"/>
                <a:gd name="connsiteX95" fmla="*/ 838664 w 953026"/>
                <a:gd name="connsiteY95" fmla="*/ 662352 h 1005440"/>
                <a:gd name="connsiteX96" fmla="*/ 838664 w 953026"/>
                <a:gd name="connsiteY96" fmla="*/ 676648 h 1005440"/>
                <a:gd name="connsiteX97" fmla="*/ 843428 w 953026"/>
                <a:gd name="connsiteY97" fmla="*/ 690942 h 1005440"/>
                <a:gd name="connsiteX98" fmla="*/ 857724 w 953026"/>
                <a:gd name="connsiteY98" fmla="*/ 729064 h 1005440"/>
                <a:gd name="connsiteX99" fmla="*/ 867254 w 953026"/>
                <a:gd name="connsiteY99" fmla="*/ 757654 h 1005440"/>
                <a:gd name="connsiteX100" fmla="*/ 872018 w 953026"/>
                <a:gd name="connsiteY100" fmla="*/ 776714 h 1005440"/>
                <a:gd name="connsiteX101" fmla="*/ 876784 w 953026"/>
                <a:gd name="connsiteY101" fmla="*/ 791010 h 1005440"/>
                <a:gd name="connsiteX102" fmla="*/ 881550 w 953026"/>
                <a:gd name="connsiteY102" fmla="*/ 795776 h 1005440"/>
                <a:gd name="connsiteX103" fmla="*/ 881550 w 953026"/>
                <a:gd name="connsiteY103" fmla="*/ 800540 h 1005440"/>
                <a:gd name="connsiteX104" fmla="*/ 905374 w 953026"/>
                <a:gd name="connsiteY104" fmla="*/ 805306 h 1005440"/>
                <a:gd name="connsiteX105" fmla="*/ 910140 w 953026"/>
                <a:gd name="connsiteY105" fmla="*/ 805306 h 1005440"/>
                <a:gd name="connsiteX106" fmla="*/ 914904 w 953026"/>
                <a:gd name="connsiteY106" fmla="*/ 833896 h 1005440"/>
                <a:gd name="connsiteX107" fmla="*/ 914904 w 953026"/>
                <a:gd name="connsiteY107" fmla="*/ 843426 h 1005440"/>
                <a:gd name="connsiteX108" fmla="*/ 910140 w 953026"/>
                <a:gd name="connsiteY108" fmla="*/ 848192 h 1005440"/>
                <a:gd name="connsiteX109" fmla="*/ 910140 w 953026"/>
                <a:gd name="connsiteY109" fmla="*/ 862488 h 1005440"/>
                <a:gd name="connsiteX110" fmla="*/ 905374 w 953026"/>
                <a:gd name="connsiteY110" fmla="*/ 872018 h 1005440"/>
                <a:gd name="connsiteX111" fmla="*/ 905374 w 953026"/>
                <a:gd name="connsiteY111" fmla="*/ 876782 h 1005440"/>
                <a:gd name="connsiteX112" fmla="*/ 891080 w 953026"/>
                <a:gd name="connsiteY112" fmla="*/ 876782 h 1005440"/>
                <a:gd name="connsiteX113" fmla="*/ 881550 w 953026"/>
                <a:gd name="connsiteY113" fmla="*/ 881548 h 1005440"/>
                <a:gd name="connsiteX114" fmla="*/ 872018 w 953026"/>
                <a:gd name="connsiteY114" fmla="*/ 881548 h 1005440"/>
                <a:gd name="connsiteX115" fmla="*/ 872018 w 953026"/>
                <a:gd name="connsiteY115" fmla="*/ 876782 h 1005440"/>
                <a:gd name="connsiteX116" fmla="*/ 867254 w 953026"/>
                <a:gd name="connsiteY116" fmla="*/ 876782 h 1005440"/>
                <a:gd name="connsiteX117" fmla="*/ 848194 w 953026"/>
                <a:gd name="connsiteY117" fmla="*/ 867252 h 1005440"/>
                <a:gd name="connsiteX118" fmla="*/ 852958 w 953026"/>
                <a:gd name="connsiteY118" fmla="*/ 848192 h 1005440"/>
                <a:gd name="connsiteX119" fmla="*/ 843428 w 953026"/>
                <a:gd name="connsiteY119" fmla="*/ 848192 h 1005440"/>
                <a:gd name="connsiteX120" fmla="*/ 838664 w 953026"/>
                <a:gd name="connsiteY120" fmla="*/ 848192 h 1005440"/>
                <a:gd name="connsiteX121" fmla="*/ 829132 w 953026"/>
                <a:gd name="connsiteY121" fmla="*/ 876782 h 1005440"/>
                <a:gd name="connsiteX122" fmla="*/ 819602 w 953026"/>
                <a:gd name="connsiteY122" fmla="*/ 881548 h 1005440"/>
                <a:gd name="connsiteX123" fmla="*/ 738596 w 953026"/>
                <a:gd name="connsiteY123" fmla="*/ 867252 h 1005440"/>
                <a:gd name="connsiteX124" fmla="*/ 719534 w 953026"/>
                <a:gd name="connsiteY124" fmla="*/ 852956 h 1005440"/>
                <a:gd name="connsiteX125" fmla="*/ 700474 w 953026"/>
                <a:gd name="connsiteY125" fmla="*/ 852956 h 1005440"/>
                <a:gd name="connsiteX126" fmla="*/ 662354 w 953026"/>
                <a:gd name="connsiteY126" fmla="*/ 852956 h 1005440"/>
                <a:gd name="connsiteX127" fmla="*/ 633762 w 953026"/>
                <a:gd name="connsiteY127" fmla="*/ 857722 h 1005440"/>
                <a:gd name="connsiteX128" fmla="*/ 624232 w 953026"/>
                <a:gd name="connsiteY128" fmla="*/ 862488 h 1005440"/>
                <a:gd name="connsiteX129" fmla="*/ 700474 w 953026"/>
                <a:gd name="connsiteY129" fmla="*/ 862488 h 1005440"/>
                <a:gd name="connsiteX130" fmla="*/ 710004 w 953026"/>
                <a:gd name="connsiteY130" fmla="*/ 862488 h 1005440"/>
                <a:gd name="connsiteX131" fmla="*/ 714770 w 953026"/>
                <a:gd name="connsiteY131" fmla="*/ 867252 h 1005440"/>
                <a:gd name="connsiteX132" fmla="*/ 614702 w 953026"/>
                <a:gd name="connsiteY132" fmla="*/ 872018 h 1005440"/>
                <a:gd name="connsiteX133" fmla="*/ 576582 w 953026"/>
                <a:gd name="connsiteY133" fmla="*/ 881548 h 1005440"/>
                <a:gd name="connsiteX134" fmla="*/ 567050 w 953026"/>
                <a:gd name="connsiteY134" fmla="*/ 876782 h 1005440"/>
                <a:gd name="connsiteX135" fmla="*/ 557520 w 953026"/>
                <a:gd name="connsiteY135" fmla="*/ 867252 h 1005440"/>
                <a:gd name="connsiteX136" fmla="*/ 519400 w 953026"/>
                <a:gd name="connsiteY136" fmla="*/ 867252 h 1005440"/>
                <a:gd name="connsiteX137" fmla="*/ 509870 w 953026"/>
                <a:gd name="connsiteY137" fmla="*/ 872018 h 1005440"/>
                <a:gd name="connsiteX138" fmla="*/ 505104 w 953026"/>
                <a:gd name="connsiteY138" fmla="*/ 876782 h 1005440"/>
                <a:gd name="connsiteX139" fmla="*/ 519400 w 953026"/>
                <a:gd name="connsiteY139" fmla="*/ 876782 h 1005440"/>
                <a:gd name="connsiteX140" fmla="*/ 547990 w 953026"/>
                <a:gd name="connsiteY140" fmla="*/ 876782 h 1005440"/>
                <a:gd name="connsiteX141" fmla="*/ 552756 w 953026"/>
                <a:gd name="connsiteY141" fmla="*/ 881548 h 1005440"/>
                <a:gd name="connsiteX142" fmla="*/ 476514 w 953026"/>
                <a:gd name="connsiteY142" fmla="*/ 886312 h 1005440"/>
                <a:gd name="connsiteX143" fmla="*/ 419332 w 953026"/>
                <a:gd name="connsiteY143" fmla="*/ 900608 h 1005440"/>
                <a:gd name="connsiteX144" fmla="*/ 395506 w 953026"/>
                <a:gd name="connsiteY144" fmla="*/ 910138 h 1005440"/>
                <a:gd name="connsiteX145" fmla="*/ 319264 w 953026"/>
                <a:gd name="connsiteY145" fmla="*/ 938730 h 1005440"/>
                <a:gd name="connsiteX146" fmla="*/ 276378 w 953026"/>
                <a:gd name="connsiteY146" fmla="*/ 953024 h 1005440"/>
                <a:gd name="connsiteX147" fmla="*/ 262082 w 953026"/>
                <a:gd name="connsiteY147" fmla="*/ 957790 h 1005440"/>
                <a:gd name="connsiteX148" fmla="*/ 243022 w 953026"/>
                <a:gd name="connsiteY148" fmla="*/ 972086 h 1005440"/>
                <a:gd name="connsiteX149" fmla="*/ 214432 w 953026"/>
                <a:gd name="connsiteY149" fmla="*/ 981616 h 1005440"/>
                <a:gd name="connsiteX150" fmla="*/ 185840 w 953026"/>
                <a:gd name="connsiteY150" fmla="*/ 1000676 h 1005440"/>
                <a:gd name="connsiteX151" fmla="*/ 166780 w 953026"/>
                <a:gd name="connsiteY151" fmla="*/ 1005440 h 1005440"/>
                <a:gd name="connsiteX152" fmla="*/ 162016 w 953026"/>
                <a:gd name="connsiteY152" fmla="*/ 995910 h 1005440"/>
                <a:gd name="connsiteX153" fmla="*/ 162016 w 953026"/>
                <a:gd name="connsiteY153" fmla="*/ 967320 h 1005440"/>
                <a:gd name="connsiteX154" fmla="*/ 157250 w 953026"/>
                <a:gd name="connsiteY154" fmla="*/ 929198 h 1005440"/>
                <a:gd name="connsiteX155" fmla="*/ 157250 w 953026"/>
                <a:gd name="connsiteY155" fmla="*/ 914904 h 1005440"/>
                <a:gd name="connsiteX156" fmla="*/ 162016 w 953026"/>
                <a:gd name="connsiteY156" fmla="*/ 900608 h 1005440"/>
                <a:gd name="connsiteX157" fmla="*/ 162016 w 953026"/>
                <a:gd name="connsiteY157" fmla="*/ 891078 h 1005440"/>
                <a:gd name="connsiteX158" fmla="*/ 171546 w 953026"/>
                <a:gd name="connsiteY158" fmla="*/ 886312 h 1005440"/>
                <a:gd name="connsiteX159" fmla="*/ 171546 w 953026"/>
                <a:gd name="connsiteY159" fmla="*/ 881548 h 1005440"/>
                <a:gd name="connsiteX160" fmla="*/ 176310 w 953026"/>
                <a:gd name="connsiteY160" fmla="*/ 862488 h 1005440"/>
                <a:gd name="connsiteX161" fmla="*/ 185840 w 953026"/>
                <a:gd name="connsiteY161" fmla="*/ 848192 h 1005440"/>
                <a:gd name="connsiteX162" fmla="*/ 185840 w 953026"/>
                <a:gd name="connsiteY162" fmla="*/ 824366 h 1005440"/>
                <a:gd name="connsiteX163" fmla="*/ 185840 w 953026"/>
                <a:gd name="connsiteY163" fmla="*/ 819600 h 1005440"/>
                <a:gd name="connsiteX164" fmla="*/ 185840 w 953026"/>
                <a:gd name="connsiteY164" fmla="*/ 814836 h 1005440"/>
                <a:gd name="connsiteX165" fmla="*/ 185840 w 953026"/>
                <a:gd name="connsiteY165" fmla="*/ 800540 h 1005440"/>
                <a:gd name="connsiteX166" fmla="*/ 181076 w 953026"/>
                <a:gd name="connsiteY166" fmla="*/ 767184 h 1005440"/>
                <a:gd name="connsiteX167" fmla="*/ 176310 w 953026"/>
                <a:gd name="connsiteY167" fmla="*/ 767184 h 1005440"/>
                <a:gd name="connsiteX168" fmla="*/ 171546 w 953026"/>
                <a:gd name="connsiteY168" fmla="*/ 767184 h 1005440"/>
                <a:gd name="connsiteX169" fmla="*/ 152484 w 953026"/>
                <a:gd name="connsiteY169" fmla="*/ 757654 h 1005440"/>
                <a:gd name="connsiteX170" fmla="*/ 138190 w 953026"/>
                <a:gd name="connsiteY170" fmla="*/ 757654 h 1005440"/>
                <a:gd name="connsiteX171" fmla="*/ 128660 w 953026"/>
                <a:gd name="connsiteY171" fmla="*/ 748124 h 1005440"/>
                <a:gd name="connsiteX172" fmla="*/ 123894 w 953026"/>
                <a:gd name="connsiteY172" fmla="*/ 738594 h 1005440"/>
                <a:gd name="connsiteX173" fmla="*/ 119130 w 953026"/>
                <a:gd name="connsiteY173" fmla="*/ 733828 h 1005440"/>
                <a:gd name="connsiteX174" fmla="*/ 119130 w 953026"/>
                <a:gd name="connsiteY174" fmla="*/ 719534 h 1005440"/>
                <a:gd name="connsiteX175" fmla="*/ 109598 w 953026"/>
                <a:gd name="connsiteY175" fmla="*/ 710004 h 1005440"/>
                <a:gd name="connsiteX176" fmla="*/ 95304 w 953026"/>
                <a:gd name="connsiteY176" fmla="*/ 700472 h 1005440"/>
                <a:gd name="connsiteX177" fmla="*/ 85774 w 953026"/>
                <a:gd name="connsiteY177" fmla="*/ 695708 h 1005440"/>
                <a:gd name="connsiteX178" fmla="*/ 76244 w 953026"/>
                <a:gd name="connsiteY178" fmla="*/ 700472 h 1005440"/>
                <a:gd name="connsiteX179" fmla="*/ 61948 w 953026"/>
                <a:gd name="connsiteY179" fmla="*/ 700472 h 1005440"/>
                <a:gd name="connsiteX180" fmla="*/ 47652 w 953026"/>
                <a:gd name="connsiteY180" fmla="*/ 695708 h 1005440"/>
                <a:gd name="connsiteX181" fmla="*/ 42888 w 953026"/>
                <a:gd name="connsiteY181" fmla="*/ 690942 h 1005440"/>
                <a:gd name="connsiteX182" fmla="*/ 33356 w 953026"/>
                <a:gd name="connsiteY182" fmla="*/ 681412 h 1005440"/>
                <a:gd name="connsiteX183" fmla="*/ 23826 w 953026"/>
                <a:gd name="connsiteY183" fmla="*/ 671882 h 1005440"/>
                <a:gd name="connsiteX184" fmla="*/ 19062 w 953026"/>
                <a:gd name="connsiteY184" fmla="*/ 671882 h 1005440"/>
                <a:gd name="connsiteX185" fmla="*/ 9532 w 953026"/>
                <a:gd name="connsiteY185" fmla="*/ 671882 h 1005440"/>
                <a:gd name="connsiteX186" fmla="*/ 4766 w 953026"/>
                <a:gd name="connsiteY186" fmla="*/ 667116 h 1005440"/>
                <a:gd name="connsiteX187" fmla="*/ 0 w 953026"/>
                <a:gd name="connsiteY187" fmla="*/ 667116 h 1005440"/>
                <a:gd name="connsiteX188" fmla="*/ 33356 w 953026"/>
                <a:gd name="connsiteY188" fmla="*/ 633760 h 1005440"/>
                <a:gd name="connsiteX189" fmla="*/ 42888 w 953026"/>
                <a:gd name="connsiteY189" fmla="*/ 619466 h 1005440"/>
                <a:gd name="connsiteX190" fmla="*/ 42888 w 953026"/>
                <a:gd name="connsiteY190" fmla="*/ 609936 h 1005440"/>
                <a:gd name="connsiteX191" fmla="*/ 42888 w 953026"/>
                <a:gd name="connsiteY191" fmla="*/ 600406 h 1005440"/>
                <a:gd name="connsiteX192" fmla="*/ 47652 w 953026"/>
                <a:gd name="connsiteY192" fmla="*/ 590874 h 1005440"/>
                <a:gd name="connsiteX193" fmla="*/ 47652 w 953026"/>
                <a:gd name="connsiteY193" fmla="*/ 576580 h 1005440"/>
                <a:gd name="connsiteX194" fmla="*/ 28592 w 953026"/>
                <a:gd name="connsiteY194" fmla="*/ 524164 h 1005440"/>
                <a:gd name="connsiteX195" fmla="*/ 28592 w 953026"/>
                <a:gd name="connsiteY195" fmla="*/ 505102 h 1005440"/>
                <a:gd name="connsiteX196" fmla="*/ 19062 w 953026"/>
                <a:gd name="connsiteY196" fmla="*/ 500338 h 1005440"/>
                <a:gd name="connsiteX197" fmla="*/ 28592 w 953026"/>
                <a:gd name="connsiteY197" fmla="*/ 490808 h 1005440"/>
                <a:gd name="connsiteX198" fmla="*/ 38122 w 953026"/>
                <a:gd name="connsiteY198" fmla="*/ 495572 h 1005440"/>
                <a:gd name="connsiteX199" fmla="*/ 57182 w 953026"/>
                <a:gd name="connsiteY199" fmla="*/ 500338 h 1005440"/>
                <a:gd name="connsiteX200" fmla="*/ 61948 w 953026"/>
                <a:gd name="connsiteY200" fmla="*/ 495572 h 1005440"/>
                <a:gd name="connsiteX201" fmla="*/ 76244 w 953026"/>
                <a:gd name="connsiteY201" fmla="*/ 466982 h 1005440"/>
                <a:gd name="connsiteX202" fmla="*/ 76244 w 953026"/>
                <a:gd name="connsiteY202" fmla="*/ 457452 h 1005440"/>
                <a:gd name="connsiteX203" fmla="*/ 76244 w 953026"/>
                <a:gd name="connsiteY203" fmla="*/ 452686 h 1005440"/>
                <a:gd name="connsiteX204" fmla="*/ 81008 w 953026"/>
                <a:gd name="connsiteY204" fmla="*/ 433626 h 1005440"/>
                <a:gd name="connsiteX205" fmla="*/ 90538 w 953026"/>
                <a:gd name="connsiteY205" fmla="*/ 424096 h 1005440"/>
                <a:gd name="connsiteX206" fmla="*/ 90538 w 953026"/>
                <a:gd name="connsiteY206" fmla="*/ 419330 h 1005440"/>
                <a:gd name="connsiteX207" fmla="*/ 90538 w 953026"/>
                <a:gd name="connsiteY207" fmla="*/ 405034 h 1005440"/>
                <a:gd name="connsiteX208" fmla="*/ 85774 w 953026"/>
                <a:gd name="connsiteY208" fmla="*/ 405034 h 1005440"/>
                <a:gd name="connsiteX209" fmla="*/ 81008 w 953026"/>
                <a:gd name="connsiteY209" fmla="*/ 405034 h 1005440"/>
                <a:gd name="connsiteX210" fmla="*/ 71478 w 953026"/>
                <a:gd name="connsiteY210" fmla="*/ 400270 h 1005440"/>
                <a:gd name="connsiteX211" fmla="*/ 61948 w 953026"/>
                <a:gd name="connsiteY211" fmla="*/ 395504 h 1005440"/>
                <a:gd name="connsiteX212" fmla="*/ 52418 w 953026"/>
                <a:gd name="connsiteY212" fmla="*/ 390740 h 1005440"/>
                <a:gd name="connsiteX213" fmla="*/ 57182 w 953026"/>
                <a:gd name="connsiteY213" fmla="*/ 366914 h 1005440"/>
                <a:gd name="connsiteX214" fmla="*/ 57182 w 953026"/>
                <a:gd name="connsiteY214" fmla="*/ 357384 h 1005440"/>
                <a:gd name="connsiteX215" fmla="*/ 61948 w 953026"/>
                <a:gd name="connsiteY215" fmla="*/ 352618 h 1005440"/>
                <a:gd name="connsiteX216" fmla="*/ 66712 w 953026"/>
                <a:gd name="connsiteY216" fmla="*/ 352618 h 1005440"/>
                <a:gd name="connsiteX217" fmla="*/ 85774 w 953026"/>
                <a:gd name="connsiteY217" fmla="*/ 352618 h 1005440"/>
                <a:gd name="connsiteX218" fmla="*/ 100068 w 953026"/>
                <a:gd name="connsiteY218" fmla="*/ 352618 h 1005440"/>
                <a:gd name="connsiteX219" fmla="*/ 114364 w 953026"/>
                <a:gd name="connsiteY219" fmla="*/ 357384 h 1005440"/>
                <a:gd name="connsiteX220" fmla="*/ 123894 w 953026"/>
                <a:gd name="connsiteY220" fmla="*/ 357384 h 1005440"/>
                <a:gd name="connsiteX221" fmla="*/ 128660 w 953026"/>
                <a:gd name="connsiteY221" fmla="*/ 362148 h 1005440"/>
                <a:gd name="connsiteX222" fmla="*/ 133424 w 953026"/>
                <a:gd name="connsiteY222" fmla="*/ 371678 h 1005440"/>
                <a:gd name="connsiteX223" fmla="*/ 142954 w 953026"/>
                <a:gd name="connsiteY223" fmla="*/ 371678 h 1005440"/>
                <a:gd name="connsiteX224" fmla="*/ 142954 w 953026"/>
                <a:gd name="connsiteY224" fmla="*/ 366914 h 1005440"/>
                <a:gd name="connsiteX225" fmla="*/ 142954 w 953026"/>
                <a:gd name="connsiteY225" fmla="*/ 343088 h 1005440"/>
                <a:gd name="connsiteX226" fmla="*/ 138190 w 953026"/>
                <a:gd name="connsiteY226" fmla="*/ 328792 h 1005440"/>
                <a:gd name="connsiteX227" fmla="*/ 128660 w 953026"/>
                <a:gd name="connsiteY227" fmla="*/ 314498 h 1005440"/>
                <a:gd name="connsiteX228" fmla="*/ 100068 w 953026"/>
                <a:gd name="connsiteY228" fmla="*/ 304968 h 1005440"/>
                <a:gd name="connsiteX229" fmla="*/ 100068 w 953026"/>
                <a:gd name="connsiteY229" fmla="*/ 290672 h 1005440"/>
                <a:gd name="connsiteX230" fmla="*/ 104834 w 953026"/>
                <a:gd name="connsiteY230" fmla="*/ 276376 h 1005440"/>
                <a:gd name="connsiteX231" fmla="*/ 109598 w 953026"/>
                <a:gd name="connsiteY231" fmla="*/ 266846 h 1005440"/>
                <a:gd name="connsiteX232" fmla="*/ 128660 w 953026"/>
                <a:gd name="connsiteY232" fmla="*/ 257316 h 1005440"/>
                <a:gd name="connsiteX233" fmla="*/ 123894 w 953026"/>
                <a:gd name="connsiteY233" fmla="*/ 252550 h 1005440"/>
                <a:gd name="connsiteX234" fmla="*/ 119130 w 953026"/>
                <a:gd name="connsiteY234" fmla="*/ 247786 h 1005440"/>
                <a:gd name="connsiteX235" fmla="*/ 109598 w 953026"/>
                <a:gd name="connsiteY235" fmla="*/ 243020 h 1005440"/>
                <a:gd name="connsiteX236" fmla="*/ 109598 w 953026"/>
                <a:gd name="connsiteY236" fmla="*/ 223960 h 1005440"/>
                <a:gd name="connsiteX237" fmla="*/ 109598 w 953026"/>
                <a:gd name="connsiteY237" fmla="*/ 204900 h 1005440"/>
                <a:gd name="connsiteX238" fmla="*/ 100068 w 953026"/>
                <a:gd name="connsiteY238" fmla="*/ 209664 h 1005440"/>
                <a:gd name="connsiteX239" fmla="*/ 90538 w 953026"/>
                <a:gd name="connsiteY239" fmla="*/ 209664 h 1005440"/>
                <a:gd name="connsiteX240" fmla="*/ 81008 w 953026"/>
                <a:gd name="connsiteY240" fmla="*/ 204900 h 1005440"/>
                <a:gd name="connsiteX241" fmla="*/ 71478 w 953026"/>
                <a:gd name="connsiteY241" fmla="*/ 195370 h 1005440"/>
                <a:gd name="connsiteX242" fmla="*/ 71478 w 953026"/>
                <a:gd name="connsiteY242" fmla="*/ 166778 h 1005440"/>
                <a:gd name="connsiteX243" fmla="*/ 71478 w 953026"/>
                <a:gd name="connsiteY243" fmla="*/ 133422 h 1005440"/>
                <a:gd name="connsiteX244" fmla="*/ 71478 w 953026"/>
                <a:gd name="connsiteY244" fmla="*/ 119128 h 1005440"/>
                <a:gd name="connsiteX245" fmla="*/ 71478 w 953026"/>
                <a:gd name="connsiteY245" fmla="*/ 109596 h 1005440"/>
                <a:gd name="connsiteX246" fmla="*/ 81008 w 953026"/>
                <a:gd name="connsiteY246" fmla="*/ 104832 h 1005440"/>
                <a:gd name="connsiteX247" fmla="*/ 90538 w 953026"/>
                <a:gd name="connsiteY247" fmla="*/ 95302 h 1005440"/>
                <a:gd name="connsiteX248" fmla="*/ 95304 w 953026"/>
                <a:gd name="connsiteY248" fmla="*/ 85772 h 1005440"/>
                <a:gd name="connsiteX249" fmla="*/ 100068 w 953026"/>
                <a:gd name="connsiteY249" fmla="*/ 85772 h 1005440"/>
                <a:gd name="connsiteX250" fmla="*/ 114364 w 953026"/>
                <a:gd name="connsiteY250" fmla="*/ 85772 h 1005440"/>
                <a:gd name="connsiteX251" fmla="*/ 123894 w 953026"/>
                <a:gd name="connsiteY251" fmla="*/ 76242 h 1005440"/>
                <a:gd name="connsiteX252" fmla="*/ 133424 w 953026"/>
                <a:gd name="connsiteY252" fmla="*/ 57180 h 1005440"/>
                <a:gd name="connsiteX253" fmla="*/ 147720 w 953026"/>
                <a:gd name="connsiteY253" fmla="*/ 47650 h 1005440"/>
                <a:gd name="connsiteX254" fmla="*/ 162016 w 953026"/>
                <a:gd name="connsiteY254" fmla="*/ 47650 h 1005440"/>
                <a:gd name="connsiteX255" fmla="*/ 166780 w 953026"/>
                <a:gd name="connsiteY255" fmla="*/ 42886 h 1005440"/>
                <a:gd name="connsiteX256" fmla="*/ 171546 w 953026"/>
                <a:gd name="connsiteY256" fmla="*/ 42886 h 1005440"/>
                <a:gd name="connsiteX257" fmla="*/ 181076 w 953026"/>
                <a:gd name="connsiteY257" fmla="*/ 52416 h 1005440"/>
                <a:gd name="connsiteX258" fmla="*/ 185840 w 953026"/>
                <a:gd name="connsiteY258" fmla="*/ 57180 h 1005440"/>
                <a:gd name="connsiteX259" fmla="*/ 190606 w 953026"/>
                <a:gd name="connsiteY259" fmla="*/ 61946 h 1005440"/>
                <a:gd name="connsiteX260" fmla="*/ 195372 w 953026"/>
                <a:gd name="connsiteY260" fmla="*/ 71476 h 1005440"/>
                <a:gd name="connsiteX261" fmla="*/ 223962 w 953026"/>
                <a:gd name="connsiteY261" fmla="*/ 76242 h 1005440"/>
                <a:gd name="connsiteX262" fmla="*/ 233492 w 953026"/>
                <a:gd name="connsiteY262" fmla="*/ 81006 h 1005440"/>
                <a:gd name="connsiteX263" fmla="*/ 243022 w 953026"/>
                <a:gd name="connsiteY263" fmla="*/ 90536 h 1005440"/>
                <a:gd name="connsiteX264" fmla="*/ 247788 w 953026"/>
                <a:gd name="connsiteY264" fmla="*/ 90536 h 1005440"/>
                <a:gd name="connsiteX265" fmla="*/ 252552 w 953026"/>
                <a:gd name="connsiteY265" fmla="*/ 90536 h 1005440"/>
                <a:gd name="connsiteX266" fmla="*/ 257318 w 953026"/>
                <a:gd name="connsiteY266" fmla="*/ 85772 h 1005440"/>
                <a:gd name="connsiteX267" fmla="*/ 257318 w 953026"/>
                <a:gd name="connsiteY267" fmla="*/ 81006 h 1005440"/>
                <a:gd name="connsiteX268" fmla="*/ 252552 w 953026"/>
                <a:gd name="connsiteY268" fmla="*/ 71476 h 1005440"/>
                <a:gd name="connsiteX269" fmla="*/ 252552 w 953026"/>
                <a:gd name="connsiteY269" fmla="*/ 66710 h 1005440"/>
                <a:gd name="connsiteX270" fmla="*/ 257318 w 953026"/>
                <a:gd name="connsiteY270" fmla="*/ 57180 h 1005440"/>
                <a:gd name="connsiteX271" fmla="*/ 266848 w 953026"/>
                <a:gd name="connsiteY271" fmla="*/ 57180 h 1005440"/>
                <a:gd name="connsiteX272" fmla="*/ 276378 w 953026"/>
                <a:gd name="connsiteY272" fmla="*/ 57180 h 1005440"/>
                <a:gd name="connsiteX273" fmla="*/ 290674 w 953026"/>
                <a:gd name="connsiteY273" fmla="*/ 57180 h 1005440"/>
                <a:gd name="connsiteX274" fmla="*/ 300204 w 953026"/>
                <a:gd name="connsiteY274" fmla="*/ 57180 h 1005440"/>
                <a:gd name="connsiteX275" fmla="*/ 300204 w 953026"/>
                <a:gd name="connsiteY275" fmla="*/ 52416 h 1005440"/>
                <a:gd name="connsiteX276" fmla="*/ 300204 w 953026"/>
                <a:gd name="connsiteY276" fmla="*/ 33354 h 1005440"/>
                <a:gd name="connsiteX277" fmla="*/ 300204 w 953026"/>
                <a:gd name="connsiteY277" fmla="*/ 23824 h 1005440"/>
                <a:gd name="connsiteX278" fmla="*/ 300204 w 953026"/>
                <a:gd name="connsiteY278" fmla="*/ 14294 h 1005440"/>
                <a:gd name="connsiteX279" fmla="*/ 304968 w 953026"/>
                <a:gd name="connsiteY279" fmla="*/ 9530 h 1005440"/>
                <a:gd name="connsiteX280" fmla="*/ 319264 w 953026"/>
                <a:gd name="connsiteY280" fmla="*/ 19060 h 1005440"/>
                <a:gd name="connsiteX281" fmla="*/ 333560 w 953026"/>
                <a:gd name="connsiteY281" fmla="*/ 23824 h 1005440"/>
                <a:gd name="connsiteX282" fmla="*/ 343090 w 953026"/>
                <a:gd name="connsiteY282" fmla="*/ 23824 h 1005440"/>
                <a:gd name="connsiteX283" fmla="*/ 338324 w 953026"/>
                <a:gd name="connsiteY283" fmla="*/ 9530 h 1005440"/>
                <a:gd name="connsiteX284" fmla="*/ 338324 w 953026"/>
                <a:gd name="connsiteY284" fmla="*/ 4764 h 1005440"/>
                <a:gd name="connsiteX285" fmla="*/ 343090 w 953026"/>
                <a:gd name="connsiteY285" fmla="*/ 4764 h 1005440"/>
                <a:gd name="connsiteX286" fmla="*/ 347856 w 953026"/>
                <a:gd name="connsiteY286" fmla="*/ 4764 h 1005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</a:cxnLst>
              <a:rect l="l" t="t" r="r" b="b"/>
              <a:pathLst>
                <a:path w="953026" h="1005440">
                  <a:moveTo>
                    <a:pt x="843430" y="876784"/>
                  </a:moveTo>
                  <a:lnTo>
                    <a:pt x="862490" y="881548"/>
                  </a:lnTo>
                  <a:lnTo>
                    <a:pt x="857724" y="886312"/>
                  </a:lnTo>
                  <a:lnTo>
                    <a:pt x="838664" y="881548"/>
                  </a:lnTo>
                  <a:close/>
                  <a:moveTo>
                    <a:pt x="366916" y="0"/>
                  </a:moveTo>
                  <a:lnTo>
                    <a:pt x="371680" y="19060"/>
                  </a:lnTo>
                  <a:lnTo>
                    <a:pt x="366916" y="23824"/>
                  </a:lnTo>
                  <a:lnTo>
                    <a:pt x="371680" y="38120"/>
                  </a:lnTo>
                  <a:lnTo>
                    <a:pt x="376446" y="47650"/>
                  </a:lnTo>
                  <a:lnTo>
                    <a:pt x="376446" y="52416"/>
                  </a:lnTo>
                  <a:lnTo>
                    <a:pt x="371680" y="61946"/>
                  </a:lnTo>
                  <a:lnTo>
                    <a:pt x="366916" y="66710"/>
                  </a:lnTo>
                  <a:lnTo>
                    <a:pt x="371680" y="71476"/>
                  </a:lnTo>
                  <a:lnTo>
                    <a:pt x="376446" y="76242"/>
                  </a:lnTo>
                  <a:lnTo>
                    <a:pt x="390742" y="81006"/>
                  </a:lnTo>
                  <a:lnTo>
                    <a:pt x="400272" y="81006"/>
                  </a:lnTo>
                  <a:lnTo>
                    <a:pt x="409802" y="76242"/>
                  </a:lnTo>
                  <a:lnTo>
                    <a:pt x="414566" y="71476"/>
                  </a:lnTo>
                  <a:lnTo>
                    <a:pt x="419332" y="66710"/>
                  </a:lnTo>
                  <a:lnTo>
                    <a:pt x="424098" y="57180"/>
                  </a:lnTo>
                  <a:lnTo>
                    <a:pt x="428862" y="52416"/>
                  </a:lnTo>
                  <a:lnTo>
                    <a:pt x="452688" y="42886"/>
                  </a:lnTo>
                  <a:lnTo>
                    <a:pt x="476514" y="42886"/>
                  </a:lnTo>
                  <a:lnTo>
                    <a:pt x="481278" y="47650"/>
                  </a:lnTo>
                  <a:lnTo>
                    <a:pt x="490808" y="57180"/>
                  </a:lnTo>
                  <a:lnTo>
                    <a:pt x="505104" y="61946"/>
                  </a:lnTo>
                  <a:lnTo>
                    <a:pt x="524164" y="61946"/>
                  </a:lnTo>
                  <a:lnTo>
                    <a:pt x="533696" y="66710"/>
                  </a:lnTo>
                  <a:lnTo>
                    <a:pt x="547990" y="76242"/>
                  </a:lnTo>
                  <a:lnTo>
                    <a:pt x="557520" y="90536"/>
                  </a:lnTo>
                  <a:lnTo>
                    <a:pt x="562286" y="104832"/>
                  </a:lnTo>
                  <a:lnTo>
                    <a:pt x="567050" y="123892"/>
                  </a:lnTo>
                  <a:lnTo>
                    <a:pt x="581346" y="133422"/>
                  </a:lnTo>
                  <a:lnTo>
                    <a:pt x="590876" y="138188"/>
                  </a:lnTo>
                  <a:lnTo>
                    <a:pt x="605172" y="152484"/>
                  </a:lnTo>
                  <a:lnTo>
                    <a:pt x="619468" y="157248"/>
                  </a:lnTo>
                  <a:lnTo>
                    <a:pt x="638528" y="157248"/>
                  </a:lnTo>
                  <a:lnTo>
                    <a:pt x="643292" y="162014"/>
                  </a:lnTo>
                  <a:lnTo>
                    <a:pt x="657588" y="166778"/>
                  </a:lnTo>
                  <a:lnTo>
                    <a:pt x="667118" y="171544"/>
                  </a:lnTo>
                  <a:lnTo>
                    <a:pt x="676648" y="152484"/>
                  </a:lnTo>
                  <a:lnTo>
                    <a:pt x="690944" y="147718"/>
                  </a:lnTo>
                  <a:lnTo>
                    <a:pt x="724300" y="138188"/>
                  </a:lnTo>
                  <a:lnTo>
                    <a:pt x="738596" y="128658"/>
                  </a:lnTo>
                  <a:lnTo>
                    <a:pt x="752890" y="128658"/>
                  </a:lnTo>
                  <a:lnTo>
                    <a:pt x="786246" y="123892"/>
                  </a:lnTo>
                  <a:lnTo>
                    <a:pt x="814838" y="128658"/>
                  </a:lnTo>
                  <a:lnTo>
                    <a:pt x="829132" y="133422"/>
                  </a:lnTo>
                  <a:lnTo>
                    <a:pt x="838664" y="128658"/>
                  </a:lnTo>
                  <a:lnTo>
                    <a:pt x="848194" y="138188"/>
                  </a:lnTo>
                  <a:lnTo>
                    <a:pt x="862488" y="152484"/>
                  </a:lnTo>
                  <a:lnTo>
                    <a:pt x="867254" y="157248"/>
                  </a:lnTo>
                  <a:lnTo>
                    <a:pt x="876784" y="162014"/>
                  </a:lnTo>
                  <a:lnTo>
                    <a:pt x="881550" y="176308"/>
                  </a:lnTo>
                  <a:lnTo>
                    <a:pt x="891080" y="185838"/>
                  </a:lnTo>
                  <a:lnTo>
                    <a:pt x="895844" y="190604"/>
                  </a:lnTo>
                  <a:lnTo>
                    <a:pt x="905374" y="204900"/>
                  </a:lnTo>
                  <a:lnTo>
                    <a:pt x="910140" y="204900"/>
                  </a:lnTo>
                  <a:lnTo>
                    <a:pt x="919670" y="200134"/>
                  </a:lnTo>
                  <a:lnTo>
                    <a:pt x="924436" y="195370"/>
                  </a:lnTo>
                  <a:lnTo>
                    <a:pt x="924436" y="204900"/>
                  </a:lnTo>
                  <a:lnTo>
                    <a:pt x="919670" y="214430"/>
                  </a:lnTo>
                  <a:lnTo>
                    <a:pt x="919670" y="223960"/>
                  </a:lnTo>
                  <a:lnTo>
                    <a:pt x="924436" y="228726"/>
                  </a:lnTo>
                  <a:lnTo>
                    <a:pt x="924436" y="238256"/>
                  </a:lnTo>
                  <a:lnTo>
                    <a:pt x="914904" y="252550"/>
                  </a:lnTo>
                  <a:lnTo>
                    <a:pt x="914904" y="266846"/>
                  </a:lnTo>
                  <a:lnTo>
                    <a:pt x="924436" y="266846"/>
                  </a:lnTo>
                  <a:lnTo>
                    <a:pt x="929200" y="276376"/>
                  </a:lnTo>
                  <a:lnTo>
                    <a:pt x="933966" y="295436"/>
                  </a:lnTo>
                  <a:lnTo>
                    <a:pt x="938730" y="304968"/>
                  </a:lnTo>
                  <a:lnTo>
                    <a:pt x="943496" y="352618"/>
                  </a:lnTo>
                  <a:lnTo>
                    <a:pt x="953026" y="395504"/>
                  </a:lnTo>
                  <a:lnTo>
                    <a:pt x="948260" y="400270"/>
                  </a:lnTo>
                  <a:lnTo>
                    <a:pt x="938730" y="405034"/>
                  </a:lnTo>
                  <a:lnTo>
                    <a:pt x="933966" y="405034"/>
                  </a:lnTo>
                  <a:lnTo>
                    <a:pt x="933966" y="409800"/>
                  </a:lnTo>
                  <a:lnTo>
                    <a:pt x="938730" y="414566"/>
                  </a:lnTo>
                  <a:lnTo>
                    <a:pt x="933966" y="424096"/>
                  </a:lnTo>
                  <a:lnTo>
                    <a:pt x="929200" y="424096"/>
                  </a:lnTo>
                  <a:lnTo>
                    <a:pt x="910140" y="438390"/>
                  </a:lnTo>
                  <a:lnTo>
                    <a:pt x="905374" y="447922"/>
                  </a:lnTo>
                  <a:lnTo>
                    <a:pt x="900610" y="457452"/>
                  </a:lnTo>
                  <a:lnTo>
                    <a:pt x="895844" y="466982"/>
                  </a:lnTo>
                  <a:lnTo>
                    <a:pt x="891080" y="481276"/>
                  </a:lnTo>
                  <a:lnTo>
                    <a:pt x="881550" y="514632"/>
                  </a:lnTo>
                  <a:lnTo>
                    <a:pt x="876784" y="543224"/>
                  </a:lnTo>
                  <a:lnTo>
                    <a:pt x="876784" y="552754"/>
                  </a:lnTo>
                  <a:lnTo>
                    <a:pt x="872018" y="562284"/>
                  </a:lnTo>
                  <a:lnTo>
                    <a:pt x="872018" y="571814"/>
                  </a:lnTo>
                  <a:lnTo>
                    <a:pt x="848194" y="595640"/>
                  </a:lnTo>
                  <a:lnTo>
                    <a:pt x="838664" y="619466"/>
                  </a:lnTo>
                  <a:lnTo>
                    <a:pt x="838664" y="628996"/>
                  </a:lnTo>
                  <a:lnTo>
                    <a:pt x="838664" y="633760"/>
                  </a:lnTo>
                  <a:lnTo>
                    <a:pt x="838664" y="643292"/>
                  </a:lnTo>
                  <a:lnTo>
                    <a:pt x="838664" y="662352"/>
                  </a:lnTo>
                  <a:lnTo>
                    <a:pt x="838664" y="676648"/>
                  </a:lnTo>
                  <a:lnTo>
                    <a:pt x="843428" y="690942"/>
                  </a:lnTo>
                  <a:lnTo>
                    <a:pt x="857724" y="729064"/>
                  </a:lnTo>
                  <a:lnTo>
                    <a:pt x="867254" y="757654"/>
                  </a:lnTo>
                  <a:lnTo>
                    <a:pt x="872018" y="776714"/>
                  </a:lnTo>
                  <a:lnTo>
                    <a:pt x="876784" y="791010"/>
                  </a:lnTo>
                  <a:lnTo>
                    <a:pt x="881550" y="795776"/>
                  </a:lnTo>
                  <a:lnTo>
                    <a:pt x="881550" y="800540"/>
                  </a:lnTo>
                  <a:lnTo>
                    <a:pt x="905374" y="805306"/>
                  </a:lnTo>
                  <a:lnTo>
                    <a:pt x="910140" y="805306"/>
                  </a:lnTo>
                  <a:lnTo>
                    <a:pt x="914904" y="833896"/>
                  </a:lnTo>
                  <a:lnTo>
                    <a:pt x="914904" y="843426"/>
                  </a:lnTo>
                  <a:lnTo>
                    <a:pt x="910140" y="848192"/>
                  </a:lnTo>
                  <a:lnTo>
                    <a:pt x="910140" y="862488"/>
                  </a:lnTo>
                  <a:lnTo>
                    <a:pt x="905374" y="872018"/>
                  </a:lnTo>
                  <a:lnTo>
                    <a:pt x="905374" y="876782"/>
                  </a:lnTo>
                  <a:lnTo>
                    <a:pt x="891080" y="876782"/>
                  </a:lnTo>
                  <a:lnTo>
                    <a:pt x="881550" y="881548"/>
                  </a:lnTo>
                  <a:lnTo>
                    <a:pt x="872018" y="881548"/>
                  </a:lnTo>
                  <a:lnTo>
                    <a:pt x="872018" y="876782"/>
                  </a:lnTo>
                  <a:lnTo>
                    <a:pt x="867254" y="876782"/>
                  </a:lnTo>
                  <a:lnTo>
                    <a:pt x="848194" y="867252"/>
                  </a:lnTo>
                  <a:lnTo>
                    <a:pt x="852958" y="848192"/>
                  </a:lnTo>
                  <a:lnTo>
                    <a:pt x="843428" y="848192"/>
                  </a:lnTo>
                  <a:lnTo>
                    <a:pt x="838664" y="848192"/>
                  </a:lnTo>
                  <a:lnTo>
                    <a:pt x="829132" y="876782"/>
                  </a:lnTo>
                  <a:lnTo>
                    <a:pt x="819602" y="881548"/>
                  </a:lnTo>
                  <a:lnTo>
                    <a:pt x="738596" y="867252"/>
                  </a:lnTo>
                  <a:lnTo>
                    <a:pt x="719534" y="852956"/>
                  </a:lnTo>
                  <a:lnTo>
                    <a:pt x="700474" y="852956"/>
                  </a:lnTo>
                  <a:lnTo>
                    <a:pt x="662354" y="852956"/>
                  </a:lnTo>
                  <a:lnTo>
                    <a:pt x="633762" y="857722"/>
                  </a:lnTo>
                  <a:lnTo>
                    <a:pt x="624232" y="862488"/>
                  </a:lnTo>
                  <a:lnTo>
                    <a:pt x="700474" y="862488"/>
                  </a:lnTo>
                  <a:lnTo>
                    <a:pt x="710004" y="862488"/>
                  </a:lnTo>
                  <a:lnTo>
                    <a:pt x="714770" y="867252"/>
                  </a:lnTo>
                  <a:lnTo>
                    <a:pt x="614702" y="872018"/>
                  </a:lnTo>
                  <a:lnTo>
                    <a:pt x="576582" y="881548"/>
                  </a:lnTo>
                  <a:lnTo>
                    <a:pt x="567050" y="876782"/>
                  </a:lnTo>
                  <a:lnTo>
                    <a:pt x="557520" y="867252"/>
                  </a:lnTo>
                  <a:lnTo>
                    <a:pt x="519400" y="867252"/>
                  </a:lnTo>
                  <a:lnTo>
                    <a:pt x="509870" y="872018"/>
                  </a:lnTo>
                  <a:lnTo>
                    <a:pt x="505104" y="876782"/>
                  </a:lnTo>
                  <a:lnTo>
                    <a:pt x="519400" y="876782"/>
                  </a:lnTo>
                  <a:lnTo>
                    <a:pt x="547990" y="876782"/>
                  </a:lnTo>
                  <a:lnTo>
                    <a:pt x="552756" y="881548"/>
                  </a:lnTo>
                  <a:lnTo>
                    <a:pt x="476514" y="886312"/>
                  </a:lnTo>
                  <a:lnTo>
                    <a:pt x="419332" y="900608"/>
                  </a:lnTo>
                  <a:lnTo>
                    <a:pt x="395506" y="910138"/>
                  </a:lnTo>
                  <a:lnTo>
                    <a:pt x="319264" y="938730"/>
                  </a:lnTo>
                  <a:lnTo>
                    <a:pt x="276378" y="953024"/>
                  </a:lnTo>
                  <a:lnTo>
                    <a:pt x="262082" y="957790"/>
                  </a:lnTo>
                  <a:lnTo>
                    <a:pt x="243022" y="972086"/>
                  </a:lnTo>
                  <a:lnTo>
                    <a:pt x="214432" y="981616"/>
                  </a:lnTo>
                  <a:lnTo>
                    <a:pt x="185840" y="1000676"/>
                  </a:lnTo>
                  <a:lnTo>
                    <a:pt x="166780" y="1005440"/>
                  </a:lnTo>
                  <a:lnTo>
                    <a:pt x="162016" y="995910"/>
                  </a:lnTo>
                  <a:lnTo>
                    <a:pt x="162016" y="967320"/>
                  </a:lnTo>
                  <a:lnTo>
                    <a:pt x="157250" y="929198"/>
                  </a:lnTo>
                  <a:lnTo>
                    <a:pt x="157250" y="914904"/>
                  </a:lnTo>
                  <a:lnTo>
                    <a:pt x="162016" y="900608"/>
                  </a:lnTo>
                  <a:lnTo>
                    <a:pt x="162016" y="891078"/>
                  </a:lnTo>
                  <a:lnTo>
                    <a:pt x="171546" y="886312"/>
                  </a:lnTo>
                  <a:lnTo>
                    <a:pt x="171546" y="881548"/>
                  </a:lnTo>
                  <a:lnTo>
                    <a:pt x="176310" y="862488"/>
                  </a:lnTo>
                  <a:lnTo>
                    <a:pt x="185840" y="848192"/>
                  </a:lnTo>
                  <a:lnTo>
                    <a:pt x="185840" y="824366"/>
                  </a:lnTo>
                  <a:lnTo>
                    <a:pt x="185840" y="819600"/>
                  </a:lnTo>
                  <a:lnTo>
                    <a:pt x="185840" y="814836"/>
                  </a:lnTo>
                  <a:lnTo>
                    <a:pt x="185840" y="800540"/>
                  </a:lnTo>
                  <a:lnTo>
                    <a:pt x="181076" y="767184"/>
                  </a:lnTo>
                  <a:lnTo>
                    <a:pt x="176310" y="767184"/>
                  </a:lnTo>
                  <a:lnTo>
                    <a:pt x="171546" y="767184"/>
                  </a:lnTo>
                  <a:lnTo>
                    <a:pt x="152484" y="757654"/>
                  </a:lnTo>
                  <a:lnTo>
                    <a:pt x="138190" y="757654"/>
                  </a:lnTo>
                  <a:lnTo>
                    <a:pt x="128660" y="748124"/>
                  </a:lnTo>
                  <a:lnTo>
                    <a:pt x="123894" y="738594"/>
                  </a:lnTo>
                  <a:lnTo>
                    <a:pt x="119130" y="733828"/>
                  </a:lnTo>
                  <a:lnTo>
                    <a:pt x="119130" y="719534"/>
                  </a:lnTo>
                  <a:lnTo>
                    <a:pt x="109598" y="710004"/>
                  </a:lnTo>
                  <a:lnTo>
                    <a:pt x="95304" y="700472"/>
                  </a:lnTo>
                  <a:lnTo>
                    <a:pt x="85774" y="695708"/>
                  </a:lnTo>
                  <a:lnTo>
                    <a:pt x="76244" y="700472"/>
                  </a:lnTo>
                  <a:lnTo>
                    <a:pt x="61948" y="700472"/>
                  </a:lnTo>
                  <a:lnTo>
                    <a:pt x="47652" y="695708"/>
                  </a:lnTo>
                  <a:lnTo>
                    <a:pt x="42888" y="690942"/>
                  </a:lnTo>
                  <a:lnTo>
                    <a:pt x="33356" y="681412"/>
                  </a:lnTo>
                  <a:lnTo>
                    <a:pt x="23826" y="671882"/>
                  </a:lnTo>
                  <a:lnTo>
                    <a:pt x="19062" y="671882"/>
                  </a:lnTo>
                  <a:lnTo>
                    <a:pt x="9532" y="671882"/>
                  </a:lnTo>
                  <a:lnTo>
                    <a:pt x="4766" y="667116"/>
                  </a:lnTo>
                  <a:lnTo>
                    <a:pt x="0" y="667116"/>
                  </a:lnTo>
                  <a:lnTo>
                    <a:pt x="33356" y="633760"/>
                  </a:lnTo>
                  <a:lnTo>
                    <a:pt x="42888" y="619466"/>
                  </a:lnTo>
                  <a:lnTo>
                    <a:pt x="42888" y="609936"/>
                  </a:lnTo>
                  <a:lnTo>
                    <a:pt x="42888" y="600406"/>
                  </a:lnTo>
                  <a:lnTo>
                    <a:pt x="47652" y="590874"/>
                  </a:lnTo>
                  <a:lnTo>
                    <a:pt x="47652" y="576580"/>
                  </a:lnTo>
                  <a:lnTo>
                    <a:pt x="28592" y="524164"/>
                  </a:lnTo>
                  <a:lnTo>
                    <a:pt x="28592" y="505102"/>
                  </a:lnTo>
                  <a:lnTo>
                    <a:pt x="19062" y="500338"/>
                  </a:lnTo>
                  <a:lnTo>
                    <a:pt x="28592" y="490808"/>
                  </a:lnTo>
                  <a:lnTo>
                    <a:pt x="38122" y="495572"/>
                  </a:lnTo>
                  <a:lnTo>
                    <a:pt x="57182" y="500338"/>
                  </a:lnTo>
                  <a:lnTo>
                    <a:pt x="61948" y="495572"/>
                  </a:lnTo>
                  <a:lnTo>
                    <a:pt x="76244" y="466982"/>
                  </a:lnTo>
                  <a:lnTo>
                    <a:pt x="76244" y="457452"/>
                  </a:lnTo>
                  <a:lnTo>
                    <a:pt x="76244" y="452686"/>
                  </a:lnTo>
                  <a:lnTo>
                    <a:pt x="81008" y="433626"/>
                  </a:lnTo>
                  <a:lnTo>
                    <a:pt x="90538" y="424096"/>
                  </a:lnTo>
                  <a:lnTo>
                    <a:pt x="90538" y="419330"/>
                  </a:lnTo>
                  <a:lnTo>
                    <a:pt x="90538" y="405034"/>
                  </a:lnTo>
                  <a:lnTo>
                    <a:pt x="85774" y="405034"/>
                  </a:lnTo>
                  <a:lnTo>
                    <a:pt x="81008" y="405034"/>
                  </a:lnTo>
                  <a:lnTo>
                    <a:pt x="71478" y="400270"/>
                  </a:lnTo>
                  <a:lnTo>
                    <a:pt x="61948" y="395504"/>
                  </a:lnTo>
                  <a:lnTo>
                    <a:pt x="52418" y="390740"/>
                  </a:lnTo>
                  <a:lnTo>
                    <a:pt x="57182" y="366914"/>
                  </a:lnTo>
                  <a:lnTo>
                    <a:pt x="57182" y="357384"/>
                  </a:lnTo>
                  <a:lnTo>
                    <a:pt x="61948" y="352618"/>
                  </a:lnTo>
                  <a:lnTo>
                    <a:pt x="66712" y="352618"/>
                  </a:lnTo>
                  <a:lnTo>
                    <a:pt x="85774" y="352618"/>
                  </a:lnTo>
                  <a:lnTo>
                    <a:pt x="100068" y="352618"/>
                  </a:lnTo>
                  <a:lnTo>
                    <a:pt x="114364" y="357384"/>
                  </a:lnTo>
                  <a:lnTo>
                    <a:pt x="123894" y="357384"/>
                  </a:lnTo>
                  <a:lnTo>
                    <a:pt x="128660" y="362148"/>
                  </a:lnTo>
                  <a:lnTo>
                    <a:pt x="133424" y="371678"/>
                  </a:lnTo>
                  <a:lnTo>
                    <a:pt x="142954" y="371678"/>
                  </a:lnTo>
                  <a:lnTo>
                    <a:pt x="142954" y="366914"/>
                  </a:lnTo>
                  <a:lnTo>
                    <a:pt x="142954" y="343088"/>
                  </a:lnTo>
                  <a:lnTo>
                    <a:pt x="138190" y="328792"/>
                  </a:lnTo>
                  <a:lnTo>
                    <a:pt x="128660" y="314498"/>
                  </a:lnTo>
                  <a:lnTo>
                    <a:pt x="100068" y="304968"/>
                  </a:lnTo>
                  <a:lnTo>
                    <a:pt x="100068" y="290672"/>
                  </a:lnTo>
                  <a:lnTo>
                    <a:pt x="104834" y="276376"/>
                  </a:lnTo>
                  <a:lnTo>
                    <a:pt x="109598" y="266846"/>
                  </a:lnTo>
                  <a:lnTo>
                    <a:pt x="128660" y="257316"/>
                  </a:lnTo>
                  <a:lnTo>
                    <a:pt x="123894" y="252550"/>
                  </a:lnTo>
                  <a:lnTo>
                    <a:pt x="119130" y="247786"/>
                  </a:lnTo>
                  <a:lnTo>
                    <a:pt x="109598" y="243020"/>
                  </a:lnTo>
                  <a:lnTo>
                    <a:pt x="109598" y="223960"/>
                  </a:lnTo>
                  <a:lnTo>
                    <a:pt x="109598" y="204900"/>
                  </a:lnTo>
                  <a:lnTo>
                    <a:pt x="100068" y="209664"/>
                  </a:lnTo>
                  <a:lnTo>
                    <a:pt x="90538" y="209664"/>
                  </a:lnTo>
                  <a:lnTo>
                    <a:pt x="81008" y="204900"/>
                  </a:lnTo>
                  <a:lnTo>
                    <a:pt x="71478" y="195370"/>
                  </a:lnTo>
                  <a:lnTo>
                    <a:pt x="71478" y="166778"/>
                  </a:lnTo>
                  <a:lnTo>
                    <a:pt x="71478" y="133422"/>
                  </a:lnTo>
                  <a:lnTo>
                    <a:pt x="71478" y="119128"/>
                  </a:lnTo>
                  <a:lnTo>
                    <a:pt x="71478" y="109596"/>
                  </a:lnTo>
                  <a:lnTo>
                    <a:pt x="81008" y="104832"/>
                  </a:lnTo>
                  <a:lnTo>
                    <a:pt x="90538" y="95302"/>
                  </a:lnTo>
                  <a:lnTo>
                    <a:pt x="95304" y="85772"/>
                  </a:lnTo>
                  <a:lnTo>
                    <a:pt x="100068" y="85772"/>
                  </a:lnTo>
                  <a:lnTo>
                    <a:pt x="114364" y="85772"/>
                  </a:lnTo>
                  <a:lnTo>
                    <a:pt x="123894" y="76242"/>
                  </a:lnTo>
                  <a:lnTo>
                    <a:pt x="133424" y="57180"/>
                  </a:lnTo>
                  <a:lnTo>
                    <a:pt x="147720" y="47650"/>
                  </a:lnTo>
                  <a:lnTo>
                    <a:pt x="162016" y="47650"/>
                  </a:lnTo>
                  <a:lnTo>
                    <a:pt x="166780" y="42886"/>
                  </a:lnTo>
                  <a:lnTo>
                    <a:pt x="171546" y="42886"/>
                  </a:lnTo>
                  <a:lnTo>
                    <a:pt x="181076" y="52416"/>
                  </a:lnTo>
                  <a:lnTo>
                    <a:pt x="185840" y="57180"/>
                  </a:lnTo>
                  <a:lnTo>
                    <a:pt x="190606" y="61946"/>
                  </a:lnTo>
                  <a:lnTo>
                    <a:pt x="195372" y="71476"/>
                  </a:lnTo>
                  <a:lnTo>
                    <a:pt x="223962" y="76242"/>
                  </a:lnTo>
                  <a:lnTo>
                    <a:pt x="233492" y="81006"/>
                  </a:lnTo>
                  <a:lnTo>
                    <a:pt x="243022" y="90536"/>
                  </a:lnTo>
                  <a:lnTo>
                    <a:pt x="247788" y="90536"/>
                  </a:lnTo>
                  <a:lnTo>
                    <a:pt x="252552" y="90536"/>
                  </a:lnTo>
                  <a:lnTo>
                    <a:pt x="257318" y="85772"/>
                  </a:lnTo>
                  <a:lnTo>
                    <a:pt x="257318" y="81006"/>
                  </a:lnTo>
                  <a:lnTo>
                    <a:pt x="252552" y="71476"/>
                  </a:lnTo>
                  <a:lnTo>
                    <a:pt x="252552" y="66710"/>
                  </a:lnTo>
                  <a:lnTo>
                    <a:pt x="257318" y="57180"/>
                  </a:lnTo>
                  <a:lnTo>
                    <a:pt x="266848" y="57180"/>
                  </a:lnTo>
                  <a:lnTo>
                    <a:pt x="276378" y="57180"/>
                  </a:lnTo>
                  <a:lnTo>
                    <a:pt x="290674" y="57180"/>
                  </a:lnTo>
                  <a:lnTo>
                    <a:pt x="300204" y="57180"/>
                  </a:lnTo>
                  <a:lnTo>
                    <a:pt x="300204" y="52416"/>
                  </a:lnTo>
                  <a:lnTo>
                    <a:pt x="300204" y="33354"/>
                  </a:lnTo>
                  <a:lnTo>
                    <a:pt x="300204" y="23824"/>
                  </a:lnTo>
                  <a:lnTo>
                    <a:pt x="300204" y="14294"/>
                  </a:lnTo>
                  <a:lnTo>
                    <a:pt x="304968" y="9530"/>
                  </a:lnTo>
                  <a:lnTo>
                    <a:pt x="319264" y="19060"/>
                  </a:lnTo>
                  <a:lnTo>
                    <a:pt x="333560" y="23824"/>
                  </a:lnTo>
                  <a:lnTo>
                    <a:pt x="343090" y="23824"/>
                  </a:lnTo>
                  <a:lnTo>
                    <a:pt x="338324" y="9530"/>
                  </a:lnTo>
                  <a:lnTo>
                    <a:pt x="338324" y="4764"/>
                  </a:lnTo>
                  <a:lnTo>
                    <a:pt x="343090" y="4764"/>
                  </a:lnTo>
                  <a:lnTo>
                    <a:pt x="347856" y="476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4" name="Freeform 4482">
              <a:extLst>
                <a:ext uri="{FF2B5EF4-FFF2-40B4-BE49-F238E27FC236}">
                  <a16:creationId xmlns:a16="http://schemas.microsoft.com/office/drawing/2014/main" id="{2403F1E8-9874-4B09-88E1-FA64FED3CEF3}"/>
                </a:ext>
              </a:extLst>
            </p:cNvPr>
            <p:cNvSpPr/>
            <p:nvPr/>
          </p:nvSpPr>
          <p:spPr bwMode="auto">
            <a:xfrm>
              <a:off x="5514299" y="5076393"/>
              <a:ext cx="192719" cy="290621"/>
            </a:xfrm>
            <a:custGeom>
              <a:avLst/>
              <a:gdLst>
                <a:gd name="T0" fmla="*/ 456 w 500"/>
                <a:gd name="T1" fmla="*/ 350 h 754"/>
                <a:gd name="T2" fmla="*/ 414 w 500"/>
                <a:gd name="T3" fmla="*/ 286 h 754"/>
                <a:gd name="T4" fmla="*/ 376 w 500"/>
                <a:gd name="T5" fmla="*/ 254 h 754"/>
                <a:gd name="T6" fmla="*/ 368 w 500"/>
                <a:gd name="T7" fmla="*/ 212 h 754"/>
                <a:gd name="T8" fmla="*/ 432 w 500"/>
                <a:gd name="T9" fmla="*/ 206 h 754"/>
                <a:gd name="T10" fmla="*/ 450 w 500"/>
                <a:gd name="T11" fmla="*/ 190 h 754"/>
                <a:gd name="T12" fmla="*/ 426 w 500"/>
                <a:gd name="T13" fmla="*/ 122 h 754"/>
                <a:gd name="T14" fmla="*/ 428 w 500"/>
                <a:gd name="T15" fmla="*/ 78 h 754"/>
                <a:gd name="T16" fmla="*/ 398 w 500"/>
                <a:gd name="T17" fmla="*/ 22 h 754"/>
                <a:gd name="T18" fmla="*/ 368 w 500"/>
                <a:gd name="T19" fmla="*/ 30 h 754"/>
                <a:gd name="T20" fmla="*/ 386 w 500"/>
                <a:gd name="T21" fmla="*/ 48 h 754"/>
                <a:gd name="T22" fmla="*/ 398 w 500"/>
                <a:gd name="T23" fmla="*/ 72 h 754"/>
                <a:gd name="T24" fmla="*/ 390 w 500"/>
                <a:gd name="T25" fmla="*/ 110 h 754"/>
                <a:gd name="T26" fmla="*/ 350 w 500"/>
                <a:gd name="T27" fmla="*/ 130 h 754"/>
                <a:gd name="T28" fmla="*/ 308 w 500"/>
                <a:gd name="T29" fmla="*/ 208 h 754"/>
                <a:gd name="T30" fmla="*/ 294 w 500"/>
                <a:gd name="T31" fmla="*/ 240 h 754"/>
                <a:gd name="T32" fmla="*/ 278 w 500"/>
                <a:gd name="T33" fmla="*/ 284 h 754"/>
                <a:gd name="T34" fmla="*/ 242 w 500"/>
                <a:gd name="T35" fmla="*/ 320 h 754"/>
                <a:gd name="T36" fmla="*/ 218 w 500"/>
                <a:gd name="T37" fmla="*/ 378 h 754"/>
                <a:gd name="T38" fmla="*/ 212 w 500"/>
                <a:gd name="T39" fmla="*/ 400 h 754"/>
                <a:gd name="T40" fmla="*/ 192 w 500"/>
                <a:gd name="T41" fmla="*/ 432 h 754"/>
                <a:gd name="T42" fmla="*/ 166 w 500"/>
                <a:gd name="T43" fmla="*/ 438 h 754"/>
                <a:gd name="T44" fmla="*/ 136 w 500"/>
                <a:gd name="T45" fmla="*/ 400 h 754"/>
                <a:gd name="T46" fmla="*/ 114 w 500"/>
                <a:gd name="T47" fmla="*/ 412 h 754"/>
                <a:gd name="T48" fmla="*/ 88 w 500"/>
                <a:gd name="T49" fmla="*/ 418 h 754"/>
                <a:gd name="T50" fmla="*/ 62 w 500"/>
                <a:gd name="T51" fmla="*/ 442 h 754"/>
                <a:gd name="T52" fmla="*/ 24 w 500"/>
                <a:gd name="T53" fmla="*/ 494 h 754"/>
                <a:gd name="T54" fmla="*/ 0 w 500"/>
                <a:gd name="T55" fmla="*/ 552 h 754"/>
                <a:gd name="T56" fmla="*/ 10 w 500"/>
                <a:gd name="T57" fmla="*/ 566 h 754"/>
                <a:gd name="T58" fmla="*/ 22 w 500"/>
                <a:gd name="T59" fmla="*/ 564 h 754"/>
                <a:gd name="T60" fmla="*/ 30 w 500"/>
                <a:gd name="T61" fmla="*/ 596 h 754"/>
                <a:gd name="T62" fmla="*/ 58 w 500"/>
                <a:gd name="T63" fmla="*/ 608 h 754"/>
                <a:gd name="T64" fmla="*/ 70 w 500"/>
                <a:gd name="T65" fmla="*/ 600 h 754"/>
                <a:gd name="T66" fmla="*/ 78 w 500"/>
                <a:gd name="T67" fmla="*/ 612 h 754"/>
                <a:gd name="T68" fmla="*/ 80 w 500"/>
                <a:gd name="T69" fmla="*/ 626 h 754"/>
                <a:gd name="T70" fmla="*/ 88 w 500"/>
                <a:gd name="T71" fmla="*/ 686 h 754"/>
                <a:gd name="T72" fmla="*/ 88 w 500"/>
                <a:gd name="T73" fmla="*/ 720 h 754"/>
                <a:gd name="T74" fmla="*/ 198 w 500"/>
                <a:gd name="T75" fmla="*/ 714 h 754"/>
                <a:gd name="T76" fmla="*/ 266 w 500"/>
                <a:gd name="T77" fmla="*/ 716 h 754"/>
                <a:gd name="T78" fmla="*/ 312 w 500"/>
                <a:gd name="T79" fmla="*/ 722 h 754"/>
                <a:gd name="T80" fmla="*/ 404 w 500"/>
                <a:gd name="T81" fmla="*/ 726 h 754"/>
                <a:gd name="T82" fmla="*/ 424 w 500"/>
                <a:gd name="T83" fmla="*/ 732 h 754"/>
                <a:gd name="T84" fmla="*/ 446 w 500"/>
                <a:gd name="T85" fmla="*/ 736 h 754"/>
                <a:gd name="T86" fmla="*/ 492 w 500"/>
                <a:gd name="T87" fmla="*/ 754 h 754"/>
                <a:gd name="T88" fmla="*/ 494 w 500"/>
                <a:gd name="T89" fmla="*/ 732 h 754"/>
                <a:gd name="T90" fmla="*/ 498 w 500"/>
                <a:gd name="T91" fmla="*/ 710 h 754"/>
                <a:gd name="T92" fmla="*/ 492 w 500"/>
                <a:gd name="T93" fmla="*/ 682 h 754"/>
                <a:gd name="T94" fmla="*/ 482 w 500"/>
                <a:gd name="T95" fmla="*/ 662 h 754"/>
                <a:gd name="T96" fmla="*/ 448 w 500"/>
                <a:gd name="T97" fmla="*/ 630 h 754"/>
                <a:gd name="T98" fmla="*/ 432 w 500"/>
                <a:gd name="T99" fmla="*/ 600 h 754"/>
                <a:gd name="T100" fmla="*/ 416 w 500"/>
                <a:gd name="T101" fmla="*/ 572 h 754"/>
                <a:gd name="T102" fmla="*/ 398 w 500"/>
                <a:gd name="T103" fmla="*/ 522 h 754"/>
                <a:gd name="T104" fmla="*/ 398 w 500"/>
                <a:gd name="T105" fmla="*/ 504 h 754"/>
                <a:gd name="T106" fmla="*/ 388 w 500"/>
                <a:gd name="T107" fmla="*/ 472 h 754"/>
                <a:gd name="T108" fmla="*/ 404 w 500"/>
                <a:gd name="T109" fmla="*/ 454 h 754"/>
                <a:gd name="T110" fmla="*/ 426 w 500"/>
                <a:gd name="T111" fmla="*/ 418 h 754"/>
                <a:gd name="T112" fmla="*/ 448 w 500"/>
                <a:gd name="T113" fmla="*/ 380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00" h="754">
                  <a:moveTo>
                    <a:pt x="456" y="370"/>
                  </a:moveTo>
                  <a:lnTo>
                    <a:pt x="458" y="364"/>
                  </a:lnTo>
                  <a:lnTo>
                    <a:pt x="460" y="360"/>
                  </a:lnTo>
                  <a:lnTo>
                    <a:pt x="460" y="356"/>
                  </a:lnTo>
                  <a:lnTo>
                    <a:pt x="460" y="352"/>
                  </a:lnTo>
                  <a:lnTo>
                    <a:pt x="456" y="350"/>
                  </a:lnTo>
                  <a:lnTo>
                    <a:pt x="452" y="348"/>
                  </a:lnTo>
                  <a:lnTo>
                    <a:pt x="446" y="332"/>
                  </a:lnTo>
                  <a:lnTo>
                    <a:pt x="440" y="318"/>
                  </a:lnTo>
                  <a:lnTo>
                    <a:pt x="432" y="302"/>
                  </a:lnTo>
                  <a:lnTo>
                    <a:pt x="422" y="292"/>
                  </a:lnTo>
                  <a:lnTo>
                    <a:pt x="414" y="286"/>
                  </a:lnTo>
                  <a:lnTo>
                    <a:pt x="412" y="284"/>
                  </a:lnTo>
                  <a:lnTo>
                    <a:pt x="408" y="282"/>
                  </a:lnTo>
                  <a:lnTo>
                    <a:pt x="406" y="282"/>
                  </a:lnTo>
                  <a:lnTo>
                    <a:pt x="394" y="270"/>
                  </a:lnTo>
                  <a:lnTo>
                    <a:pt x="380" y="258"/>
                  </a:lnTo>
                  <a:lnTo>
                    <a:pt x="376" y="254"/>
                  </a:lnTo>
                  <a:lnTo>
                    <a:pt x="370" y="246"/>
                  </a:lnTo>
                  <a:lnTo>
                    <a:pt x="362" y="236"/>
                  </a:lnTo>
                  <a:lnTo>
                    <a:pt x="358" y="234"/>
                  </a:lnTo>
                  <a:lnTo>
                    <a:pt x="356" y="226"/>
                  </a:lnTo>
                  <a:lnTo>
                    <a:pt x="362" y="220"/>
                  </a:lnTo>
                  <a:lnTo>
                    <a:pt x="368" y="212"/>
                  </a:lnTo>
                  <a:lnTo>
                    <a:pt x="374" y="206"/>
                  </a:lnTo>
                  <a:lnTo>
                    <a:pt x="382" y="206"/>
                  </a:lnTo>
                  <a:lnTo>
                    <a:pt x="398" y="208"/>
                  </a:lnTo>
                  <a:lnTo>
                    <a:pt x="412" y="210"/>
                  </a:lnTo>
                  <a:lnTo>
                    <a:pt x="428" y="208"/>
                  </a:lnTo>
                  <a:lnTo>
                    <a:pt x="432" y="206"/>
                  </a:lnTo>
                  <a:lnTo>
                    <a:pt x="436" y="206"/>
                  </a:lnTo>
                  <a:lnTo>
                    <a:pt x="444" y="208"/>
                  </a:lnTo>
                  <a:lnTo>
                    <a:pt x="458" y="208"/>
                  </a:lnTo>
                  <a:lnTo>
                    <a:pt x="466" y="204"/>
                  </a:lnTo>
                  <a:lnTo>
                    <a:pt x="458" y="200"/>
                  </a:lnTo>
                  <a:lnTo>
                    <a:pt x="450" y="190"/>
                  </a:lnTo>
                  <a:lnTo>
                    <a:pt x="442" y="182"/>
                  </a:lnTo>
                  <a:lnTo>
                    <a:pt x="436" y="174"/>
                  </a:lnTo>
                  <a:lnTo>
                    <a:pt x="432" y="162"/>
                  </a:lnTo>
                  <a:lnTo>
                    <a:pt x="428" y="150"/>
                  </a:lnTo>
                  <a:lnTo>
                    <a:pt x="426" y="132"/>
                  </a:lnTo>
                  <a:lnTo>
                    <a:pt x="426" y="122"/>
                  </a:lnTo>
                  <a:lnTo>
                    <a:pt x="428" y="114"/>
                  </a:lnTo>
                  <a:lnTo>
                    <a:pt x="432" y="102"/>
                  </a:lnTo>
                  <a:lnTo>
                    <a:pt x="428" y="96"/>
                  </a:lnTo>
                  <a:lnTo>
                    <a:pt x="430" y="90"/>
                  </a:lnTo>
                  <a:lnTo>
                    <a:pt x="428" y="82"/>
                  </a:lnTo>
                  <a:lnTo>
                    <a:pt x="428" y="78"/>
                  </a:lnTo>
                  <a:lnTo>
                    <a:pt x="422" y="64"/>
                  </a:lnTo>
                  <a:lnTo>
                    <a:pt x="420" y="64"/>
                  </a:lnTo>
                  <a:lnTo>
                    <a:pt x="416" y="54"/>
                  </a:lnTo>
                  <a:lnTo>
                    <a:pt x="414" y="38"/>
                  </a:lnTo>
                  <a:lnTo>
                    <a:pt x="408" y="28"/>
                  </a:lnTo>
                  <a:lnTo>
                    <a:pt x="398" y="22"/>
                  </a:lnTo>
                  <a:lnTo>
                    <a:pt x="394" y="18"/>
                  </a:lnTo>
                  <a:lnTo>
                    <a:pt x="392" y="6"/>
                  </a:lnTo>
                  <a:lnTo>
                    <a:pt x="388" y="4"/>
                  </a:lnTo>
                  <a:lnTo>
                    <a:pt x="374" y="0"/>
                  </a:lnTo>
                  <a:lnTo>
                    <a:pt x="362" y="0"/>
                  </a:lnTo>
                  <a:lnTo>
                    <a:pt x="368" y="30"/>
                  </a:lnTo>
                  <a:lnTo>
                    <a:pt x="370" y="36"/>
                  </a:lnTo>
                  <a:lnTo>
                    <a:pt x="370" y="40"/>
                  </a:lnTo>
                  <a:lnTo>
                    <a:pt x="370" y="42"/>
                  </a:lnTo>
                  <a:lnTo>
                    <a:pt x="370" y="46"/>
                  </a:lnTo>
                  <a:lnTo>
                    <a:pt x="376" y="48"/>
                  </a:lnTo>
                  <a:lnTo>
                    <a:pt x="386" y="48"/>
                  </a:lnTo>
                  <a:lnTo>
                    <a:pt x="392" y="52"/>
                  </a:lnTo>
                  <a:lnTo>
                    <a:pt x="396" y="58"/>
                  </a:lnTo>
                  <a:lnTo>
                    <a:pt x="396" y="58"/>
                  </a:lnTo>
                  <a:lnTo>
                    <a:pt x="398" y="62"/>
                  </a:lnTo>
                  <a:lnTo>
                    <a:pt x="400" y="64"/>
                  </a:lnTo>
                  <a:lnTo>
                    <a:pt x="398" y="72"/>
                  </a:lnTo>
                  <a:lnTo>
                    <a:pt x="398" y="84"/>
                  </a:lnTo>
                  <a:lnTo>
                    <a:pt x="394" y="90"/>
                  </a:lnTo>
                  <a:lnTo>
                    <a:pt x="396" y="100"/>
                  </a:lnTo>
                  <a:lnTo>
                    <a:pt x="396" y="104"/>
                  </a:lnTo>
                  <a:lnTo>
                    <a:pt x="394" y="106"/>
                  </a:lnTo>
                  <a:lnTo>
                    <a:pt x="390" y="110"/>
                  </a:lnTo>
                  <a:lnTo>
                    <a:pt x="384" y="112"/>
                  </a:lnTo>
                  <a:lnTo>
                    <a:pt x="372" y="120"/>
                  </a:lnTo>
                  <a:lnTo>
                    <a:pt x="368" y="122"/>
                  </a:lnTo>
                  <a:lnTo>
                    <a:pt x="362" y="122"/>
                  </a:lnTo>
                  <a:lnTo>
                    <a:pt x="356" y="124"/>
                  </a:lnTo>
                  <a:lnTo>
                    <a:pt x="350" y="130"/>
                  </a:lnTo>
                  <a:lnTo>
                    <a:pt x="338" y="148"/>
                  </a:lnTo>
                  <a:lnTo>
                    <a:pt x="328" y="166"/>
                  </a:lnTo>
                  <a:lnTo>
                    <a:pt x="324" y="180"/>
                  </a:lnTo>
                  <a:lnTo>
                    <a:pt x="320" y="194"/>
                  </a:lnTo>
                  <a:lnTo>
                    <a:pt x="310" y="204"/>
                  </a:lnTo>
                  <a:lnTo>
                    <a:pt x="308" y="208"/>
                  </a:lnTo>
                  <a:lnTo>
                    <a:pt x="308" y="212"/>
                  </a:lnTo>
                  <a:lnTo>
                    <a:pt x="308" y="218"/>
                  </a:lnTo>
                  <a:lnTo>
                    <a:pt x="306" y="230"/>
                  </a:lnTo>
                  <a:lnTo>
                    <a:pt x="306" y="234"/>
                  </a:lnTo>
                  <a:lnTo>
                    <a:pt x="304" y="236"/>
                  </a:lnTo>
                  <a:lnTo>
                    <a:pt x="294" y="240"/>
                  </a:lnTo>
                  <a:lnTo>
                    <a:pt x="288" y="244"/>
                  </a:lnTo>
                  <a:lnTo>
                    <a:pt x="284" y="252"/>
                  </a:lnTo>
                  <a:lnTo>
                    <a:pt x="282" y="260"/>
                  </a:lnTo>
                  <a:lnTo>
                    <a:pt x="280" y="270"/>
                  </a:lnTo>
                  <a:lnTo>
                    <a:pt x="280" y="280"/>
                  </a:lnTo>
                  <a:lnTo>
                    <a:pt x="278" y="284"/>
                  </a:lnTo>
                  <a:lnTo>
                    <a:pt x="274" y="288"/>
                  </a:lnTo>
                  <a:lnTo>
                    <a:pt x="270" y="294"/>
                  </a:lnTo>
                  <a:lnTo>
                    <a:pt x="264" y="298"/>
                  </a:lnTo>
                  <a:lnTo>
                    <a:pt x="254" y="298"/>
                  </a:lnTo>
                  <a:lnTo>
                    <a:pt x="248" y="310"/>
                  </a:lnTo>
                  <a:lnTo>
                    <a:pt x="242" y="320"/>
                  </a:lnTo>
                  <a:lnTo>
                    <a:pt x="242" y="324"/>
                  </a:lnTo>
                  <a:lnTo>
                    <a:pt x="236" y="342"/>
                  </a:lnTo>
                  <a:lnTo>
                    <a:pt x="228" y="356"/>
                  </a:lnTo>
                  <a:lnTo>
                    <a:pt x="228" y="362"/>
                  </a:lnTo>
                  <a:lnTo>
                    <a:pt x="228" y="366"/>
                  </a:lnTo>
                  <a:lnTo>
                    <a:pt x="218" y="378"/>
                  </a:lnTo>
                  <a:lnTo>
                    <a:pt x="214" y="382"/>
                  </a:lnTo>
                  <a:lnTo>
                    <a:pt x="212" y="386"/>
                  </a:lnTo>
                  <a:lnTo>
                    <a:pt x="214" y="392"/>
                  </a:lnTo>
                  <a:lnTo>
                    <a:pt x="218" y="396"/>
                  </a:lnTo>
                  <a:lnTo>
                    <a:pt x="218" y="396"/>
                  </a:lnTo>
                  <a:lnTo>
                    <a:pt x="212" y="400"/>
                  </a:lnTo>
                  <a:lnTo>
                    <a:pt x="204" y="408"/>
                  </a:lnTo>
                  <a:lnTo>
                    <a:pt x="200" y="412"/>
                  </a:lnTo>
                  <a:lnTo>
                    <a:pt x="198" y="414"/>
                  </a:lnTo>
                  <a:lnTo>
                    <a:pt x="198" y="424"/>
                  </a:lnTo>
                  <a:lnTo>
                    <a:pt x="196" y="428"/>
                  </a:lnTo>
                  <a:lnTo>
                    <a:pt x="192" y="432"/>
                  </a:lnTo>
                  <a:lnTo>
                    <a:pt x="188" y="436"/>
                  </a:lnTo>
                  <a:lnTo>
                    <a:pt x="182" y="438"/>
                  </a:lnTo>
                  <a:lnTo>
                    <a:pt x="176" y="440"/>
                  </a:lnTo>
                  <a:lnTo>
                    <a:pt x="172" y="442"/>
                  </a:lnTo>
                  <a:lnTo>
                    <a:pt x="168" y="440"/>
                  </a:lnTo>
                  <a:lnTo>
                    <a:pt x="166" y="438"/>
                  </a:lnTo>
                  <a:lnTo>
                    <a:pt x="164" y="424"/>
                  </a:lnTo>
                  <a:lnTo>
                    <a:pt x="162" y="422"/>
                  </a:lnTo>
                  <a:lnTo>
                    <a:pt x="158" y="420"/>
                  </a:lnTo>
                  <a:lnTo>
                    <a:pt x="152" y="412"/>
                  </a:lnTo>
                  <a:lnTo>
                    <a:pt x="144" y="406"/>
                  </a:lnTo>
                  <a:lnTo>
                    <a:pt x="136" y="400"/>
                  </a:lnTo>
                  <a:lnTo>
                    <a:pt x="134" y="400"/>
                  </a:lnTo>
                  <a:lnTo>
                    <a:pt x="132" y="402"/>
                  </a:lnTo>
                  <a:lnTo>
                    <a:pt x="130" y="410"/>
                  </a:lnTo>
                  <a:lnTo>
                    <a:pt x="128" y="412"/>
                  </a:lnTo>
                  <a:lnTo>
                    <a:pt x="122" y="412"/>
                  </a:lnTo>
                  <a:lnTo>
                    <a:pt x="114" y="412"/>
                  </a:lnTo>
                  <a:lnTo>
                    <a:pt x="108" y="412"/>
                  </a:lnTo>
                  <a:lnTo>
                    <a:pt x="108" y="410"/>
                  </a:lnTo>
                  <a:lnTo>
                    <a:pt x="106" y="408"/>
                  </a:lnTo>
                  <a:lnTo>
                    <a:pt x="106" y="404"/>
                  </a:lnTo>
                  <a:lnTo>
                    <a:pt x="98" y="410"/>
                  </a:lnTo>
                  <a:lnTo>
                    <a:pt x="88" y="418"/>
                  </a:lnTo>
                  <a:lnTo>
                    <a:pt x="84" y="418"/>
                  </a:lnTo>
                  <a:lnTo>
                    <a:pt x="82" y="420"/>
                  </a:lnTo>
                  <a:lnTo>
                    <a:pt x="78" y="428"/>
                  </a:lnTo>
                  <a:lnTo>
                    <a:pt x="74" y="436"/>
                  </a:lnTo>
                  <a:lnTo>
                    <a:pt x="68" y="440"/>
                  </a:lnTo>
                  <a:lnTo>
                    <a:pt x="62" y="442"/>
                  </a:lnTo>
                  <a:lnTo>
                    <a:pt x="58" y="446"/>
                  </a:lnTo>
                  <a:lnTo>
                    <a:pt x="54" y="450"/>
                  </a:lnTo>
                  <a:lnTo>
                    <a:pt x="34" y="470"/>
                  </a:lnTo>
                  <a:lnTo>
                    <a:pt x="30" y="476"/>
                  </a:lnTo>
                  <a:lnTo>
                    <a:pt x="26" y="484"/>
                  </a:lnTo>
                  <a:lnTo>
                    <a:pt x="24" y="494"/>
                  </a:lnTo>
                  <a:lnTo>
                    <a:pt x="20" y="506"/>
                  </a:lnTo>
                  <a:lnTo>
                    <a:pt x="16" y="524"/>
                  </a:lnTo>
                  <a:lnTo>
                    <a:pt x="12" y="534"/>
                  </a:lnTo>
                  <a:lnTo>
                    <a:pt x="6" y="542"/>
                  </a:lnTo>
                  <a:lnTo>
                    <a:pt x="4" y="548"/>
                  </a:lnTo>
                  <a:lnTo>
                    <a:pt x="0" y="552"/>
                  </a:lnTo>
                  <a:lnTo>
                    <a:pt x="2" y="552"/>
                  </a:lnTo>
                  <a:lnTo>
                    <a:pt x="0" y="562"/>
                  </a:lnTo>
                  <a:lnTo>
                    <a:pt x="0" y="564"/>
                  </a:lnTo>
                  <a:lnTo>
                    <a:pt x="2" y="568"/>
                  </a:lnTo>
                  <a:lnTo>
                    <a:pt x="8" y="568"/>
                  </a:lnTo>
                  <a:lnTo>
                    <a:pt x="10" y="566"/>
                  </a:lnTo>
                  <a:lnTo>
                    <a:pt x="8" y="558"/>
                  </a:lnTo>
                  <a:lnTo>
                    <a:pt x="10" y="560"/>
                  </a:lnTo>
                  <a:lnTo>
                    <a:pt x="14" y="564"/>
                  </a:lnTo>
                  <a:lnTo>
                    <a:pt x="18" y="564"/>
                  </a:lnTo>
                  <a:lnTo>
                    <a:pt x="20" y="564"/>
                  </a:lnTo>
                  <a:lnTo>
                    <a:pt x="22" y="564"/>
                  </a:lnTo>
                  <a:lnTo>
                    <a:pt x="24" y="566"/>
                  </a:lnTo>
                  <a:lnTo>
                    <a:pt x="24" y="574"/>
                  </a:lnTo>
                  <a:lnTo>
                    <a:pt x="24" y="578"/>
                  </a:lnTo>
                  <a:lnTo>
                    <a:pt x="26" y="582"/>
                  </a:lnTo>
                  <a:lnTo>
                    <a:pt x="28" y="586"/>
                  </a:lnTo>
                  <a:lnTo>
                    <a:pt x="30" y="596"/>
                  </a:lnTo>
                  <a:lnTo>
                    <a:pt x="38" y="600"/>
                  </a:lnTo>
                  <a:lnTo>
                    <a:pt x="46" y="602"/>
                  </a:lnTo>
                  <a:lnTo>
                    <a:pt x="50" y="604"/>
                  </a:lnTo>
                  <a:lnTo>
                    <a:pt x="50" y="606"/>
                  </a:lnTo>
                  <a:lnTo>
                    <a:pt x="54" y="606"/>
                  </a:lnTo>
                  <a:lnTo>
                    <a:pt x="58" y="608"/>
                  </a:lnTo>
                  <a:lnTo>
                    <a:pt x="60" y="606"/>
                  </a:lnTo>
                  <a:lnTo>
                    <a:pt x="62" y="602"/>
                  </a:lnTo>
                  <a:lnTo>
                    <a:pt x="62" y="598"/>
                  </a:lnTo>
                  <a:lnTo>
                    <a:pt x="64" y="598"/>
                  </a:lnTo>
                  <a:lnTo>
                    <a:pt x="66" y="600"/>
                  </a:lnTo>
                  <a:lnTo>
                    <a:pt x="70" y="600"/>
                  </a:lnTo>
                  <a:lnTo>
                    <a:pt x="74" y="598"/>
                  </a:lnTo>
                  <a:lnTo>
                    <a:pt x="76" y="598"/>
                  </a:lnTo>
                  <a:lnTo>
                    <a:pt x="72" y="602"/>
                  </a:lnTo>
                  <a:lnTo>
                    <a:pt x="72" y="604"/>
                  </a:lnTo>
                  <a:lnTo>
                    <a:pt x="78" y="610"/>
                  </a:lnTo>
                  <a:lnTo>
                    <a:pt x="78" y="612"/>
                  </a:lnTo>
                  <a:lnTo>
                    <a:pt x="72" y="610"/>
                  </a:lnTo>
                  <a:lnTo>
                    <a:pt x="70" y="614"/>
                  </a:lnTo>
                  <a:lnTo>
                    <a:pt x="66" y="616"/>
                  </a:lnTo>
                  <a:lnTo>
                    <a:pt x="70" y="622"/>
                  </a:lnTo>
                  <a:lnTo>
                    <a:pt x="72" y="628"/>
                  </a:lnTo>
                  <a:lnTo>
                    <a:pt x="80" y="626"/>
                  </a:lnTo>
                  <a:lnTo>
                    <a:pt x="74" y="632"/>
                  </a:lnTo>
                  <a:lnTo>
                    <a:pt x="88" y="648"/>
                  </a:lnTo>
                  <a:lnTo>
                    <a:pt x="90" y="652"/>
                  </a:lnTo>
                  <a:lnTo>
                    <a:pt x="92" y="662"/>
                  </a:lnTo>
                  <a:lnTo>
                    <a:pt x="88" y="674"/>
                  </a:lnTo>
                  <a:lnTo>
                    <a:pt x="88" y="686"/>
                  </a:lnTo>
                  <a:lnTo>
                    <a:pt x="84" y="698"/>
                  </a:lnTo>
                  <a:lnTo>
                    <a:pt x="82" y="714"/>
                  </a:lnTo>
                  <a:lnTo>
                    <a:pt x="84" y="714"/>
                  </a:lnTo>
                  <a:lnTo>
                    <a:pt x="84" y="716"/>
                  </a:lnTo>
                  <a:lnTo>
                    <a:pt x="86" y="718"/>
                  </a:lnTo>
                  <a:lnTo>
                    <a:pt x="88" y="720"/>
                  </a:lnTo>
                  <a:lnTo>
                    <a:pt x="94" y="722"/>
                  </a:lnTo>
                  <a:lnTo>
                    <a:pt x="182" y="722"/>
                  </a:lnTo>
                  <a:lnTo>
                    <a:pt x="184" y="718"/>
                  </a:lnTo>
                  <a:lnTo>
                    <a:pt x="184" y="716"/>
                  </a:lnTo>
                  <a:lnTo>
                    <a:pt x="184" y="714"/>
                  </a:lnTo>
                  <a:lnTo>
                    <a:pt x="198" y="714"/>
                  </a:lnTo>
                  <a:lnTo>
                    <a:pt x="222" y="714"/>
                  </a:lnTo>
                  <a:lnTo>
                    <a:pt x="234" y="714"/>
                  </a:lnTo>
                  <a:lnTo>
                    <a:pt x="236" y="714"/>
                  </a:lnTo>
                  <a:lnTo>
                    <a:pt x="250" y="714"/>
                  </a:lnTo>
                  <a:lnTo>
                    <a:pt x="262" y="716"/>
                  </a:lnTo>
                  <a:lnTo>
                    <a:pt x="266" y="716"/>
                  </a:lnTo>
                  <a:lnTo>
                    <a:pt x="270" y="716"/>
                  </a:lnTo>
                  <a:lnTo>
                    <a:pt x="284" y="718"/>
                  </a:lnTo>
                  <a:lnTo>
                    <a:pt x="300" y="716"/>
                  </a:lnTo>
                  <a:lnTo>
                    <a:pt x="306" y="716"/>
                  </a:lnTo>
                  <a:lnTo>
                    <a:pt x="310" y="718"/>
                  </a:lnTo>
                  <a:lnTo>
                    <a:pt x="312" y="722"/>
                  </a:lnTo>
                  <a:lnTo>
                    <a:pt x="328" y="722"/>
                  </a:lnTo>
                  <a:lnTo>
                    <a:pt x="376" y="722"/>
                  </a:lnTo>
                  <a:lnTo>
                    <a:pt x="390" y="724"/>
                  </a:lnTo>
                  <a:lnTo>
                    <a:pt x="396" y="720"/>
                  </a:lnTo>
                  <a:lnTo>
                    <a:pt x="402" y="724"/>
                  </a:lnTo>
                  <a:lnTo>
                    <a:pt x="404" y="726"/>
                  </a:lnTo>
                  <a:lnTo>
                    <a:pt x="406" y="726"/>
                  </a:lnTo>
                  <a:lnTo>
                    <a:pt x="408" y="728"/>
                  </a:lnTo>
                  <a:lnTo>
                    <a:pt x="416" y="728"/>
                  </a:lnTo>
                  <a:lnTo>
                    <a:pt x="416" y="728"/>
                  </a:lnTo>
                  <a:lnTo>
                    <a:pt x="418" y="732"/>
                  </a:lnTo>
                  <a:lnTo>
                    <a:pt x="424" y="732"/>
                  </a:lnTo>
                  <a:lnTo>
                    <a:pt x="428" y="734"/>
                  </a:lnTo>
                  <a:lnTo>
                    <a:pt x="430" y="734"/>
                  </a:lnTo>
                  <a:lnTo>
                    <a:pt x="434" y="730"/>
                  </a:lnTo>
                  <a:lnTo>
                    <a:pt x="436" y="732"/>
                  </a:lnTo>
                  <a:lnTo>
                    <a:pt x="442" y="734"/>
                  </a:lnTo>
                  <a:lnTo>
                    <a:pt x="446" y="736"/>
                  </a:lnTo>
                  <a:lnTo>
                    <a:pt x="450" y="736"/>
                  </a:lnTo>
                  <a:lnTo>
                    <a:pt x="462" y="736"/>
                  </a:lnTo>
                  <a:lnTo>
                    <a:pt x="472" y="738"/>
                  </a:lnTo>
                  <a:lnTo>
                    <a:pt x="482" y="746"/>
                  </a:lnTo>
                  <a:lnTo>
                    <a:pt x="488" y="750"/>
                  </a:lnTo>
                  <a:lnTo>
                    <a:pt x="492" y="754"/>
                  </a:lnTo>
                  <a:lnTo>
                    <a:pt x="494" y="754"/>
                  </a:lnTo>
                  <a:lnTo>
                    <a:pt x="496" y="752"/>
                  </a:lnTo>
                  <a:lnTo>
                    <a:pt x="498" y="752"/>
                  </a:lnTo>
                  <a:lnTo>
                    <a:pt x="498" y="746"/>
                  </a:lnTo>
                  <a:lnTo>
                    <a:pt x="494" y="738"/>
                  </a:lnTo>
                  <a:lnTo>
                    <a:pt x="494" y="732"/>
                  </a:lnTo>
                  <a:lnTo>
                    <a:pt x="494" y="726"/>
                  </a:lnTo>
                  <a:lnTo>
                    <a:pt x="496" y="722"/>
                  </a:lnTo>
                  <a:lnTo>
                    <a:pt x="500" y="720"/>
                  </a:lnTo>
                  <a:lnTo>
                    <a:pt x="500" y="716"/>
                  </a:lnTo>
                  <a:lnTo>
                    <a:pt x="500" y="716"/>
                  </a:lnTo>
                  <a:lnTo>
                    <a:pt x="498" y="710"/>
                  </a:lnTo>
                  <a:lnTo>
                    <a:pt x="496" y="702"/>
                  </a:lnTo>
                  <a:lnTo>
                    <a:pt x="496" y="694"/>
                  </a:lnTo>
                  <a:lnTo>
                    <a:pt x="496" y="692"/>
                  </a:lnTo>
                  <a:lnTo>
                    <a:pt x="494" y="690"/>
                  </a:lnTo>
                  <a:lnTo>
                    <a:pt x="494" y="688"/>
                  </a:lnTo>
                  <a:lnTo>
                    <a:pt x="492" y="682"/>
                  </a:lnTo>
                  <a:lnTo>
                    <a:pt x="494" y="678"/>
                  </a:lnTo>
                  <a:lnTo>
                    <a:pt x="494" y="674"/>
                  </a:lnTo>
                  <a:lnTo>
                    <a:pt x="490" y="670"/>
                  </a:lnTo>
                  <a:lnTo>
                    <a:pt x="486" y="666"/>
                  </a:lnTo>
                  <a:lnTo>
                    <a:pt x="484" y="662"/>
                  </a:lnTo>
                  <a:lnTo>
                    <a:pt x="482" y="662"/>
                  </a:lnTo>
                  <a:lnTo>
                    <a:pt x="478" y="662"/>
                  </a:lnTo>
                  <a:lnTo>
                    <a:pt x="474" y="660"/>
                  </a:lnTo>
                  <a:lnTo>
                    <a:pt x="468" y="652"/>
                  </a:lnTo>
                  <a:lnTo>
                    <a:pt x="462" y="646"/>
                  </a:lnTo>
                  <a:lnTo>
                    <a:pt x="454" y="638"/>
                  </a:lnTo>
                  <a:lnTo>
                    <a:pt x="448" y="630"/>
                  </a:lnTo>
                  <a:lnTo>
                    <a:pt x="440" y="622"/>
                  </a:lnTo>
                  <a:lnTo>
                    <a:pt x="432" y="614"/>
                  </a:lnTo>
                  <a:lnTo>
                    <a:pt x="428" y="606"/>
                  </a:lnTo>
                  <a:lnTo>
                    <a:pt x="426" y="602"/>
                  </a:lnTo>
                  <a:lnTo>
                    <a:pt x="428" y="600"/>
                  </a:lnTo>
                  <a:lnTo>
                    <a:pt x="432" y="600"/>
                  </a:lnTo>
                  <a:lnTo>
                    <a:pt x="432" y="600"/>
                  </a:lnTo>
                  <a:lnTo>
                    <a:pt x="432" y="598"/>
                  </a:lnTo>
                  <a:lnTo>
                    <a:pt x="430" y="592"/>
                  </a:lnTo>
                  <a:lnTo>
                    <a:pt x="428" y="584"/>
                  </a:lnTo>
                  <a:lnTo>
                    <a:pt x="424" y="578"/>
                  </a:lnTo>
                  <a:lnTo>
                    <a:pt x="416" y="572"/>
                  </a:lnTo>
                  <a:lnTo>
                    <a:pt x="408" y="566"/>
                  </a:lnTo>
                  <a:lnTo>
                    <a:pt x="406" y="562"/>
                  </a:lnTo>
                  <a:lnTo>
                    <a:pt x="404" y="558"/>
                  </a:lnTo>
                  <a:lnTo>
                    <a:pt x="402" y="532"/>
                  </a:lnTo>
                  <a:lnTo>
                    <a:pt x="400" y="524"/>
                  </a:lnTo>
                  <a:lnTo>
                    <a:pt x="398" y="522"/>
                  </a:lnTo>
                  <a:lnTo>
                    <a:pt x="396" y="520"/>
                  </a:lnTo>
                  <a:lnTo>
                    <a:pt x="394" y="518"/>
                  </a:lnTo>
                  <a:lnTo>
                    <a:pt x="396" y="514"/>
                  </a:lnTo>
                  <a:lnTo>
                    <a:pt x="396" y="508"/>
                  </a:lnTo>
                  <a:lnTo>
                    <a:pt x="396" y="508"/>
                  </a:lnTo>
                  <a:lnTo>
                    <a:pt x="398" y="504"/>
                  </a:lnTo>
                  <a:lnTo>
                    <a:pt x="398" y="480"/>
                  </a:lnTo>
                  <a:lnTo>
                    <a:pt x="398" y="478"/>
                  </a:lnTo>
                  <a:lnTo>
                    <a:pt x="396" y="476"/>
                  </a:lnTo>
                  <a:lnTo>
                    <a:pt x="394" y="476"/>
                  </a:lnTo>
                  <a:lnTo>
                    <a:pt x="390" y="476"/>
                  </a:lnTo>
                  <a:lnTo>
                    <a:pt x="388" y="472"/>
                  </a:lnTo>
                  <a:lnTo>
                    <a:pt x="386" y="468"/>
                  </a:lnTo>
                  <a:lnTo>
                    <a:pt x="386" y="464"/>
                  </a:lnTo>
                  <a:lnTo>
                    <a:pt x="390" y="462"/>
                  </a:lnTo>
                  <a:lnTo>
                    <a:pt x="392" y="460"/>
                  </a:lnTo>
                  <a:lnTo>
                    <a:pt x="394" y="458"/>
                  </a:lnTo>
                  <a:lnTo>
                    <a:pt x="404" y="454"/>
                  </a:lnTo>
                  <a:lnTo>
                    <a:pt x="406" y="452"/>
                  </a:lnTo>
                  <a:lnTo>
                    <a:pt x="408" y="450"/>
                  </a:lnTo>
                  <a:lnTo>
                    <a:pt x="410" y="446"/>
                  </a:lnTo>
                  <a:lnTo>
                    <a:pt x="414" y="434"/>
                  </a:lnTo>
                  <a:lnTo>
                    <a:pt x="422" y="422"/>
                  </a:lnTo>
                  <a:lnTo>
                    <a:pt x="426" y="418"/>
                  </a:lnTo>
                  <a:lnTo>
                    <a:pt x="428" y="410"/>
                  </a:lnTo>
                  <a:lnTo>
                    <a:pt x="434" y="400"/>
                  </a:lnTo>
                  <a:lnTo>
                    <a:pt x="436" y="396"/>
                  </a:lnTo>
                  <a:lnTo>
                    <a:pt x="438" y="390"/>
                  </a:lnTo>
                  <a:lnTo>
                    <a:pt x="440" y="386"/>
                  </a:lnTo>
                  <a:lnTo>
                    <a:pt x="448" y="380"/>
                  </a:lnTo>
                  <a:lnTo>
                    <a:pt x="456" y="37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5" name="Freeform 4486">
              <a:extLst>
                <a:ext uri="{FF2B5EF4-FFF2-40B4-BE49-F238E27FC236}">
                  <a16:creationId xmlns:a16="http://schemas.microsoft.com/office/drawing/2014/main" id="{D91CFBD6-375B-4CF7-8836-8DFE362C8161}"/>
                </a:ext>
              </a:extLst>
            </p:cNvPr>
            <p:cNvSpPr/>
            <p:nvPr/>
          </p:nvSpPr>
          <p:spPr bwMode="auto">
            <a:xfrm>
              <a:off x="5606804" y="5275279"/>
              <a:ext cx="481798" cy="476787"/>
            </a:xfrm>
            <a:custGeom>
              <a:avLst/>
              <a:gdLst>
                <a:gd name="T0" fmla="*/ 886 w 1250"/>
                <a:gd name="T1" fmla="*/ 2 h 1237"/>
                <a:gd name="T2" fmla="*/ 774 w 1250"/>
                <a:gd name="T3" fmla="*/ 30 h 1237"/>
                <a:gd name="T4" fmla="*/ 688 w 1250"/>
                <a:gd name="T5" fmla="*/ 48 h 1237"/>
                <a:gd name="T6" fmla="*/ 592 w 1250"/>
                <a:gd name="T7" fmla="*/ 66 h 1237"/>
                <a:gd name="T8" fmla="*/ 498 w 1250"/>
                <a:gd name="T9" fmla="*/ 14 h 1237"/>
                <a:gd name="T10" fmla="*/ 420 w 1250"/>
                <a:gd name="T11" fmla="*/ 108 h 1237"/>
                <a:gd name="T12" fmla="*/ 374 w 1250"/>
                <a:gd name="T13" fmla="*/ 276 h 1237"/>
                <a:gd name="T14" fmla="*/ 306 w 1250"/>
                <a:gd name="T15" fmla="*/ 430 h 1237"/>
                <a:gd name="T16" fmla="*/ 258 w 1250"/>
                <a:gd name="T17" fmla="*/ 576 h 1237"/>
                <a:gd name="T18" fmla="*/ 168 w 1250"/>
                <a:gd name="T19" fmla="*/ 666 h 1237"/>
                <a:gd name="T20" fmla="*/ 144 w 1250"/>
                <a:gd name="T21" fmla="*/ 644 h 1237"/>
                <a:gd name="T22" fmla="*/ 110 w 1250"/>
                <a:gd name="T23" fmla="*/ 642 h 1237"/>
                <a:gd name="T24" fmla="*/ 80 w 1250"/>
                <a:gd name="T25" fmla="*/ 666 h 1237"/>
                <a:gd name="T26" fmla="*/ 42 w 1250"/>
                <a:gd name="T27" fmla="*/ 660 h 1237"/>
                <a:gd name="T28" fmla="*/ 18 w 1250"/>
                <a:gd name="T29" fmla="*/ 724 h 1237"/>
                <a:gd name="T30" fmla="*/ 44 w 1250"/>
                <a:gd name="T31" fmla="*/ 732 h 1237"/>
                <a:gd name="T32" fmla="*/ 144 w 1250"/>
                <a:gd name="T33" fmla="*/ 736 h 1237"/>
                <a:gd name="T34" fmla="*/ 288 w 1250"/>
                <a:gd name="T35" fmla="*/ 746 h 1237"/>
                <a:gd name="T36" fmla="*/ 314 w 1250"/>
                <a:gd name="T37" fmla="*/ 826 h 1237"/>
                <a:gd name="T38" fmla="*/ 380 w 1250"/>
                <a:gd name="T39" fmla="*/ 882 h 1237"/>
                <a:gd name="T40" fmla="*/ 470 w 1250"/>
                <a:gd name="T41" fmla="*/ 856 h 1237"/>
                <a:gd name="T42" fmla="*/ 542 w 1250"/>
                <a:gd name="T43" fmla="*/ 804 h 1237"/>
                <a:gd name="T44" fmla="*/ 628 w 1250"/>
                <a:gd name="T45" fmla="*/ 830 h 1237"/>
                <a:gd name="T46" fmla="*/ 632 w 1250"/>
                <a:gd name="T47" fmla="*/ 980 h 1237"/>
                <a:gd name="T48" fmla="*/ 654 w 1250"/>
                <a:gd name="T49" fmla="*/ 1066 h 1237"/>
                <a:gd name="T50" fmla="*/ 712 w 1250"/>
                <a:gd name="T51" fmla="*/ 1080 h 1237"/>
                <a:gd name="T52" fmla="*/ 774 w 1250"/>
                <a:gd name="T53" fmla="*/ 1066 h 1237"/>
                <a:gd name="T54" fmla="*/ 804 w 1250"/>
                <a:gd name="T55" fmla="*/ 1104 h 1237"/>
                <a:gd name="T56" fmla="*/ 858 w 1250"/>
                <a:gd name="T57" fmla="*/ 1096 h 1237"/>
                <a:gd name="T58" fmla="*/ 910 w 1250"/>
                <a:gd name="T59" fmla="*/ 1134 h 1237"/>
                <a:gd name="T60" fmla="*/ 974 w 1250"/>
                <a:gd name="T61" fmla="*/ 1116 h 1237"/>
                <a:gd name="T62" fmla="*/ 1026 w 1250"/>
                <a:gd name="T63" fmla="*/ 1160 h 1237"/>
                <a:gd name="T64" fmla="*/ 1084 w 1250"/>
                <a:gd name="T65" fmla="*/ 1204 h 1237"/>
                <a:gd name="T66" fmla="*/ 1138 w 1250"/>
                <a:gd name="T67" fmla="*/ 1223 h 1237"/>
                <a:gd name="T68" fmla="*/ 1138 w 1250"/>
                <a:gd name="T69" fmla="*/ 1154 h 1237"/>
                <a:gd name="T70" fmla="*/ 1092 w 1250"/>
                <a:gd name="T71" fmla="*/ 1150 h 1237"/>
                <a:gd name="T72" fmla="*/ 1070 w 1250"/>
                <a:gd name="T73" fmla="*/ 1070 h 1237"/>
                <a:gd name="T74" fmla="*/ 1062 w 1250"/>
                <a:gd name="T75" fmla="*/ 960 h 1237"/>
                <a:gd name="T76" fmla="*/ 1100 w 1250"/>
                <a:gd name="T77" fmla="*/ 906 h 1237"/>
                <a:gd name="T78" fmla="*/ 1198 w 1250"/>
                <a:gd name="T79" fmla="*/ 876 h 1237"/>
                <a:gd name="T80" fmla="*/ 1176 w 1250"/>
                <a:gd name="T81" fmla="*/ 828 h 1237"/>
                <a:gd name="T82" fmla="*/ 1132 w 1250"/>
                <a:gd name="T83" fmla="*/ 776 h 1237"/>
                <a:gd name="T84" fmla="*/ 1114 w 1250"/>
                <a:gd name="T85" fmla="*/ 738 h 1237"/>
                <a:gd name="T86" fmla="*/ 1110 w 1250"/>
                <a:gd name="T87" fmla="*/ 686 h 1237"/>
                <a:gd name="T88" fmla="*/ 1116 w 1250"/>
                <a:gd name="T89" fmla="*/ 616 h 1237"/>
                <a:gd name="T90" fmla="*/ 1110 w 1250"/>
                <a:gd name="T91" fmla="*/ 602 h 1237"/>
                <a:gd name="T92" fmla="*/ 1114 w 1250"/>
                <a:gd name="T93" fmla="*/ 568 h 1237"/>
                <a:gd name="T94" fmla="*/ 1092 w 1250"/>
                <a:gd name="T95" fmla="*/ 508 h 1237"/>
                <a:gd name="T96" fmla="*/ 1104 w 1250"/>
                <a:gd name="T97" fmla="*/ 456 h 1237"/>
                <a:gd name="T98" fmla="*/ 1138 w 1250"/>
                <a:gd name="T99" fmla="*/ 422 h 1237"/>
                <a:gd name="T100" fmla="*/ 1126 w 1250"/>
                <a:gd name="T101" fmla="*/ 390 h 1237"/>
                <a:gd name="T102" fmla="*/ 1148 w 1250"/>
                <a:gd name="T103" fmla="*/ 342 h 1237"/>
                <a:gd name="T104" fmla="*/ 1182 w 1250"/>
                <a:gd name="T105" fmla="*/ 276 h 1237"/>
                <a:gd name="T106" fmla="*/ 1206 w 1250"/>
                <a:gd name="T107" fmla="*/ 244 h 1237"/>
                <a:gd name="T108" fmla="*/ 1242 w 1250"/>
                <a:gd name="T109" fmla="*/ 198 h 1237"/>
                <a:gd name="T110" fmla="*/ 1222 w 1250"/>
                <a:gd name="T111" fmla="*/ 156 h 1237"/>
                <a:gd name="T112" fmla="*/ 1220 w 1250"/>
                <a:gd name="T113" fmla="*/ 114 h 1237"/>
                <a:gd name="T114" fmla="*/ 1168 w 1250"/>
                <a:gd name="T115" fmla="*/ 74 h 1237"/>
                <a:gd name="T116" fmla="*/ 1098 w 1250"/>
                <a:gd name="T117" fmla="*/ 54 h 1237"/>
                <a:gd name="T118" fmla="*/ 1034 w 1250"/>
                <a:gd name="T119" fmla="*/ 50 h 1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50" h="1237">
                  <a:moveTo>
                    <a:pt x="996" y="14"/>
                  </a:moveTo>
                  <a:lnTo>
                    <a:pt x="978" y="8"/>
                  </a:lnTo>
                  <a:lnTo>
                    <a:pt x="974" y="8"/>
                  </a:lnTo>
                  <a:lnTo>
                    <a:pt x="972" y="8"/>
                  </a:lnTo>
                  <a:lnTo>
                    <a:pt x="962" y="16"/>
                  </a:lnTo>
                  <a:lnTo>
                    <a:pt x="958" y="16"/>
                  </a:lnTo>
                  <a:lnTo>
                    <a:pt x="954" y="16"/>
                  </a:lnTo>
                  <a:lnTo>
                    <a:pt x="946" y="14"/>
                  </a:lnTo>
                  <a:lnTo>
                    <a:pt x="916" y="8"/>
                  </a:lnTo>
                  <a:lnTo>
                    <a:pt x="892" y="4"/>
                  </a:lnTo>
                  <a:lnTo>
                    <a:pt x="886" y="2"/>
                  </a:lnTo>
                  <a:lnTo>
                    <a:pt x="874" y="0"/>
                  </a:lnTo>
                  <a:lnTo>
                    <a:pt x="866" y="4"/>
                  </a:lnTo>
                  <a:lnTo>
                    <a:pt x="858" y="16"/>
                  </a:lnTo>
                  <a:lnTo>
                    <a:pt x="856" y="18"/>
                  </a:lnTo>
                  <a:lnTo>
                    <a:pt x="844" y="22"/>
                  </a:lnTo>
                  <a:lnTo>
                    <a:pt x="838" y="22"/>
                  </a:lnTo>
                  <a:lnTo>
                    <a:pt x="824" y="24"/>
                  </a:lnTo>
                  <a:lnTo>
                    <a:pt x="802" y="20"/>
                  </a:lnTo>
                  <a:lnTo>
                    <a:pt x="794" y="20"/>
                  </a:lnTo>
                  <a:lnTo>
                    <a:pt x="788" y="24"/>
                  </a:lnTo>
                  <a:lnTo>
                    <a:pt x="774" y="30"/>
                  </a:lnTo>
                  <a:lnTo>
                    <a:pt x="764" y="32"/>
                  </a:lnTo>
                  <a:lnTo>
                    <a:pt x="752" y="36"/>
                  </a:lnTo>
                  <a:lnTo>
                    <a:pt x="742" y="40"/>
                  </a:lnTo>
                  <a:lnTo>
                    <a:pt x="736" y="42"/>
                  </a:lnTo>
                  <a:lnTo>
                    <a:pt x="728" y="42"/>
                  </a:lnTo>
                  <a:lnTo>
                    <a:pt x="722" y="40"/>
                  </a:lnTo>
                  <a:lnTo>
                    <a:pt x="716" y="38"/>
                  </a:lnTo>
                  <a:lnTo>
                    <a:pt x="708" y="38"/>
                  </a:lnTo>
                  <a:lnTo>
                    <a:pt x="700" y="38"/>
                  </a:lnTo>
                  <a:lnTo>
                    <a:pt x="692" y="44"/>
                  </a:lnTo>
                  <a:lnTo>
                    <a:pt x="688" y="48"/>
                  </a:lnTo>
                  <a:lnTo>
                    <a:pt x="682" y="56"/>
                  </a:lnTo>
                  <a:lnTo>
                    <a:pt x="676" y="72"/>
                  </a:lnTo>
                  <a:lnTo>
                    <a:pt x="672" y="76"/>
                  </a:lnTo>
                  <a:lnTo>
                    <a:pt x="672" y="76"/>
                  </a:lnTo>
                  <a:lnTo>
                    <a:pt x="670" y="78"/>
                  </a:lnTo>
                  <a:lnTo>
                    <a:pt x="636" y="70"/>
                  </a:lnTo>
                  <a:lnTo>
                    <a:pt x="622" y="68"/>
                  </a:lnTo>
                  <a:lnTo>
                    <a:pt x="612" y="70"/>
                  </a:lnTo>
                  <a:lnTo>
                    <a:pt x="600" y="66"/>
                  </a:lnTo>
                  <a:lnTo>
                    <a:pt x="594" y="64"/>
                  </a:lnTo>
                  <a:lnTo>
                    <a:pt x="592" y="66"/>
                  </a:lnTo>
                  <a:lnTo>
                    <a:pt x="586" y="64"/>
                  </a:lnTo>
                  <a:lnTo>
                    <a:pt x="574" y="58"/>
                  </a:lnTo>
                  <a:lnTo>
                    <a:pt x="564" y="56"/>
                  </a:lnTo>
                  <a:lnTo>
                    <a:pt x="554" y="58"/>
                  </a:lnTo>
                  <a:lnTo>
                    <a:pt x="548" y="56"/>
                  </a:lnTo>
                  <a:lnTo>
                    <a:pt x="544" y="50"/>
                  </a:lnTo>
                  <a:lnTo>
                    <a:pt x="538" y="40"/>
                  </a:lnTo>
                  <a:lnTo>
                    <a:pt x="526" y="32"/>
                  </a:lnTo>
                  <a:lnTo>
                    <a:pt x="512" y="24"/>
                  </a:lnTo>
                  <a:lnTo>
                    <a:pt x="502" y="18"/>
                  </a:lnTo>
                  <a:lnTo>
                    <a:pt x="498" y="14"/>
                  </a:lnTo>
                  <a:lnTo>
                    <a:pt x="490" y="12"/>
                  </a:lnTo>
                  <a:lnTo>
                    <a:pt x="478" y="12"/>
                  </a:lnTo>
                  <a:lnTo>
                    <a:pt x="466" y="16"/>
                  </a:lnTo>
                  <a:lnTo>
                    <a:pt x="450" y="28"/>
                  </a:lnTo>
                  <a:lnTo>
                    <a:pt x="434" y="52"/>
                  </a:lnTo>
                  <a:lnTo>
                    <a:pt x="426" y="62"/>
                  </a:lnTo>
                  <a:lnTo>
                    <a:pt x="418" y="64"/>
                  </a:lnTo>
                  <a:lnTo>
                    <a:pt x="418" y="70"/>
                  </a:lnTo>
                  <a:lnTo>
                    <a:pt x="420" y="78"/>
                  </a:lnTo>
                  <a:lnTo>
                    <a:pt x="422" y="90"/>
                  </a:lnTo>
                  <a:lnTo>
                    <a:pt x="420" y="108"/>
                  </a:lnTo>
                  <a:lnTo>
                    <a:pt x="420" y="120"/>
                  </a:lnTo>
                  <a:lnTo>
                    <a:pt x="420" y="132"/>
                  </a:lnTo>
                  <a:lnTo>
                    <a:pt x="416" y="146"/>
                  </a:lnTo>
                  <a:lnTo>
                    <a:pt x="412" y="156"/>
                  </a:lnTo>
                  <a:lnTo>
                    <a:pt x="402" y="174"/>
                  </a:lnTo>
                  <a:lnTo>
                    <a:pt x="394" y="190"/>
                  </a:lnTo>
                  <a:lnTo>
                    <a:pt x="384" y="216"/>
                  </a:lnTo>
                  <a:lnTo>
                    <a:pt x="384" y="236"/>
                  </a:lnTo>
                  <a:lnTo>
                    <a:pt x="384" y="248"/>
                  </a:lnTo>
                  <a:lnTo>
                    <a:pt x="380" y="256"/>
                  </a:lnTo>
                  <a:lnTo>
                    <a:pt x="374" y="276"/>
                  </a:lnTo>
                  <a:lnTo>
                    <a:pt x="372" y="292"/>
                  </a:lnTo>
                  <a:lnTo>
                    <a:pt x="376" y="314"/>
                  </a:lnTo>
                  <a:lnTo>
                    <a:pt x="372" y="334"/>
                  </a:lnTo>
                  <a:lnTo>
                    <a:pt x="366" y="352"/>
                  </a:lnTo>
                  <a:lnTo>
                    <a:pt x="362" y="366"/>
                  </a:lnTo>
                  <a:lnTo>
                    <a:pt x="364" y="384"/>
                  </a:lnTo>
                  <a:lnTo>
                    <a:pt x="350" y="400"/>
                  </a:lnTo>
                  <a:lnTo>
                    <a:pt x="332" y="414"/>
                  </a:lnTo>
                  <a:lnTo>
                    <a:pt x="322" y="418"/>
                  </a:lnTo>
                  <a:lnTo>
                    <a:pt x="314" y="424"/>
                  </a:lnTo>
                  <a:lnTo>
                    <a:pt x="306" y="430"/>
                  </a:lnTo>
                  <a:lnTo>
                    <a:pt x="304" y="432"/>
                  </a:lnTo>
                  <a:lnTo>
                    <a:pt x="300" y="438"/>
                  </a:lnTo>
                  <a:lnTo>
                    <a:pt x="290" y="460"/>
                  </a:lnTo>
                  <a:lnTo>
                    <a:pt x="284" y="470"/>
                  </a:lnTo>
                  <a:lnTo>
                    <a:pt x="278" y="478"/>
                  </a:lnTo>
                  <a:lnTo>
                    <a:pt x="266" y="486"/>
                  </a:lnTo>
                  <a:lnTo>
                    <a:pt x="264" y="492"/>
                  </a:lnTo>
                  <a:lnTo>
                    <a:pt x="262" y="498"/>
                  </a:lnTo>
                  <a:lnTo>
                    <a:pt x="262" y="510"/>
                  </a:lnTo>
                  <a:lnTo>
                    <a:pt x="264" y="548"/>
                  </a:lnTo>
                  <a:lnTo>
                    <a:pt x="258" y="576"/>
                  </a:lnTo>
                  <a:lnTo>
                    <a:pt x="248" y="596"/>
                  </a:lnTo>
                  <a:lnTo>
                    <a:pt x="240" y="606"/>
                  </a:lnTo>
                  <a:lnTo>
                    <a:pt x="232" y="610"/>
                  </a:lnTo>
                  <a:lnTo>
                    <a:pt x="222" y="614"/>
                  </a:lnTo>
                  <a:lnTo>
                    <a:pt x="218" y="616"/>
                  </a:lnTo>
                  <a:lnTo>
                    <a:pt x="216" y="622"/>
                  </a:lnTo>
                  <a:lnTo>
                    <a:pt x="210" y="628"/>
                  </a:lnTo>
                  <a:lnTo>
                    <a:pt x="200" y="632"/>
                  </a:lnTo>
                  <a:lnTo>
                    <a:pt x="190" y="642"/>
                  </a:lnTo>
                  <a:lnTo>
                    <a:pt x="178" y="658"/>
                  </a:lnTo>
                  <a:lnTo>
                    <a:pt x="168" y="666"/>
                  </a:lnTo>
                  <a:lnTo>
                    <a:pt x="164" y="670"/>
                  </a:lnTo>
                  <a:lnTo>
                    <a:pt x="160" y="670"/>
                  </a:lnTo>
                  <a:lnTo>
                    <a:pt x="154" y="668"/>
                  </a:lnTo>
                  <a:lnTo>
                    <a:pt x="150" y="666"/>
                  </a:lnTo>
                  <a:lnTo>
                    <a:pt x="148" y="668"/>
                  </a:lnTo>
                  <a:lnTo>
                    <a:pt x="146" y="668"/>
                  </a:lnTo>
                  <a:lnTo>
                    <a:pt x="144" y="666"/>
                  </a:lnTo>
                  <a:lnTo>
                    <a:pt x="144" y="662"/>
                  </a:lnTo>
                  <a:lnTo>
                    <a:pt x="144" y="656"/>
                  </a:lnTo>
                  <a:lnTo>
                    <a:pt x="142" y="650"/>
                  </a:lnTo>
                  <a:lnTo>
                    <a:pt x="144" y="644"/>
                  </a:lnTo>
                  <a:lnTo>
                    <a:pt x="148" y="640"/>
                  </a:lnTo>
                  <a:lnTo>
                    <a:pt x="146" y="638"/>
                  </a:lnTo>
                  <a:lnTo>
                    <a:pt x="144" y="636"/>
                  </a:lnTo>
                  <a:lnTo>
                    <a:pt x="142" y="630"/>
                  </a:lnTo>
                  <a:lnTo>
                    <a:pt x="138" y="630"/>
                  </a:lnTo>
                  <a:lnTo>
                    <a:pt x="132" y="634"/>
                  </a:lnTo>
                  <a:lnTo>
                    <a:pt x="126" y="638"/>
                  </a:lnTo>
                  <a:lnTo>
                    <a:pt x="120" y="638"/>
                  </a:lnTo>
                  <a:lnTo>
                    <a:pt x="116" y="642"/>
                  </a:lnTo>
                  <a:lnTo>
                    <a:pt x="114" y="642"/>
                  </a:lnTo>
                  <a:lnTo>
                    <a:pt x="110" y="642"/>
                  </a:lnTo>
                  <a:lnTo>
                    <a:pt x="108" y="642"/>
                  </a:lnTo>
                  <a:lnTo>
                    <a:pt x="104" y="640"/>
                  </a:lnTo>
                  <a:lnTo>
                    <a:pt x="100" y="640"/>
                  </a:lnTo>
                  <a:lnTo>
                    <a:pt x="100" y="640"/>
                  </a:lnTo>
                  <a:lnTo>
                    <a:pt x="98" y="646"/>
                  </a:lnTo>
                  <a:lnTo>
                    <a:pt x="98" y="652"/>
                  </a:lnTo>
                  <a:lnTo>
                    <a:pt x="98" y="656"/>
                  </a:lnTo>
                  <a:lnTo>
                    <a:pt x="96" y="658"/>
                  </a:lnTo>
                  <a:lnTo>
                    <a:pt x="88" y="660"/>
                  </a:lnTo>
                  <a:lnTo>
                    <a:pt x="84" y="664"/>
                  </a:lnTo>
                  <a:lnTo>
                    <a:pt x="80" y="666"/>
                  </a:lnTo>
                  <a:lnTo>
                    <a:pt x="78" y="666"/>
                  </a:lnTo>
                  <a:lnTo>
                    <a:pt x="72" y="662"/>
                  </a:lnTo>
                  <a:lnTo>
                    <a:pt x="66" y="658"/>
                  </a:lnTo>
                  <a:lnTo>
                    <a:pt x="64" y="654"/>
                  </a:lnTo>
                  <a:lnTo>
                    <a:pt x="62" y="652"/>
                  </a:lnTo>
                  <a:lnTo>
                    <a:pt x="62" y="650"/>
                  </a:lnTo>
                  <a:lnTo>
                    <a:pt x="58" y="650"/>
                  </a:lnTo>
                  <a:lnTo>
                    <a:pt x="56" y="652"/>
                  </a:lnTo>
                  <a:lnTo>
                    <a:pt x="56" y="654"/>
                  </a:lnTo>
                  <a:lnTo>
                    <a:pt x="48" y="656"/>
                  </a:lnTo>
                  <a:lnTo>
                    <a:pt x="42" y="660"/>
                  </a:lnTo>
                  <a:lnTo>
                    <a:pt x="30" y="670"/>
                  </a:lnTo>
                  <a:lnTo>
                    <a:pt x="26" y="676"/>
                  </a:lnTo>
                  <a:lnTo>
                    <a:pt x="24" y="676"/>
                  </a:lnTo>
                  <a:lnTo>
                    <a:pt x="20" y="680"/>
                  </a:lnTo>
                  <a:lnTo>
                    <a:pt x="16" y="682"/>
                  </a:lnTo>
                  <a:lnTo>
                    <a:pt x="16" y="682"/>
                  </a:lnTo>
                  <a:lnTo>
                    <a:pt x="18" y="684"/>
                  </a:lnTo>
                  <a:lnTo>
                    <a:pt x="22" y="686"/>
                  </a:lnTo>
                  <a:lnTo>
                    <a:pt x="20" y="704"/>
                  </a:lnTo>
                  <a:lnTo>
                    <a:pt x="20" y="722"/>
                  </a:lnTo>
                  <a:lnTo>
                    <a:pt x="18" y="724"/>
                  </a:lnTo>
                  <a:lnTo>
                    <a:pt x="12" y="724"/>
                  </a:lnTo>
                  <a:lnTo>
                    <a:pt x="4" y="726"/>
                  </a:lnTo>
                  <a:lnTo>
                    <a:pt x="0" y="726"/>
                  </a:lnTo>
                  <a:lnTo>
                    <a:pt x="2" y="730"/>
                  </a:lnTo>
                  <a:lnTo>
                    <a:pt x="8" y="736"/>
                  </a:lnTo>
                  <a:lnTo>
                    <a:pt x="14" y="742"/>
                  </a:lnTo>
                  <a:lnTo>
                    <a:pt x="16" y="742"/>
                  </a:lnTo>
                  <a:lnTo>
                    <a:pt x="20" y="742"/>
                  </a:lnTo>
                  <a:lnTo>
                    <a:pt x="32" y="740"/>
                  </a:lnTo>
                  <a:lnTo>
                    <a:pt x="38" y="734"/>
                  </a:lnTo>
                  <a:lnTo>
                    <a:pt x="44" y="732"/>
                  </a:lnTo>
                  <a:lnTo>
                    <a:pt x="52" y="732"/>
                  </a:lnTo>
                  <a:lnTo>
                    <a:pt x="56" y="734"/>
                  </a:lnTo>
                  <a:lnTo>
                    <a:pt x="64" y="732"/>
                  </a:lnTo>
                  <a:lnTo>
                    <a:pt x="72" y="734"/>
                  </a:lnTo>
                  <a:lnTo>
                    <a:pt x="76" y="734"/>
                  </a:lnTo>
                  <a:lnTo>
                    <a:pt x="94" y="734"/>
                  </a:lnTo>
                  <a:lnTo>
                    <a:pt x="102" y="732"/>
                  </a:lnTo>
                  <a:lnTo>
                    <a:pt x="116" y="734"/>
                  </a:lnTo>
                  <a:lnTo>
                    <a:pt x="126" y="734"/>
                  </a:lnTo>
                  <a:lnTo>
                    <a:pt x="130" y="734"/>
                  </a:lnTo>
                  <a:lnTo>
                    <a:pt x="144" y="736"/>
                  </a:lnTo>
                  <a:lnTo>
                    <a:pt x="162" y="736"/>
                  </a:lnTo>
                  <a:lnTo>
                    <a:pt x="168" y="734"/>
                  </a:lnTo>
                  <a:lnTo>
                    <a:pt x="190" y="734"/>
                  </a:lnTo>
                  <a:lnTo>
                    <a:pt x="212" y="734"/>
                  </a:lnTo>
                  <a:lnTo>
                    <a:pt x="232" y="734"/>
                  </a:lnTo>
                  <a:lnTo>
                    <a:pt x="252" y="734"/>
                  </a:lnTo>
                  <a:lnTo>
                    <a:pt x="270" y="734"/>
                  </a:lnTo>
                  <a:lnTo>
                    <a:pt x="278" y="736"/>
                  </a:lnTo>
                  <a:lnTo>
                    <a:pt x="284" y="740"/>
                  </a:lnTo>
                  <a:lnTo>
                    <a:pt x="288" y="744"/>
                  </a:lnTo>
                  <a:lnTo>
                    <a:pt x="288" y="746"/>
                  </a:lnTo>
                  <a:lnTo>
                    <a:pt x="290" y="750"/>
                  </a:lnTo>
                  <a:lnTo>
                    <a:pt x="294" y="754"/>
                  </a:lnTo>
                  <a:lnTo>
                    <a:pt x="296" y="758"/>
                  </a:lnTo>
                  <a:lnTo>
                    <a:pt x="294" y="766"/>
                  </a:lnTo>
                  <a:lnTo>
                    <a:pt x="296" y="774"/>
                  </a:lnTo>
                  <a:lnTo>
                    <a:pt x="298" y="784"/>
                  </a:lnTo>
                  <a:lnTo>
                    <a:pt x="302" y="794"/>
                  </a:lnTo>
                  <a:lnTo>
                    <a:pt x="310" y="804"/>
                  </a:lnTo>
                  <a:lnTo>
                    <a:pt x="312" y="812"/>
                  </a:lnTo>
                  <a:lnTo>
                    <a:pt x="312" y="818"/>
                  </a:lnTo>
                  <a:lnTo>
                    <a:pt x="314" y="826"/>
                  </a:lnTo>
                  <a:lnTo>
                    <a:pt x="318" y="832"/>
                  </a:lnTo>
                  <a:lnTo>
                    <a:pt x="322" y="836"/>
                  </a:lnTo>
                  <a:lnTo>
                    <a:pt x="324" y="838"/>
                  </a:lnTo>
                  <a:lnTo>
                    <a:pt x="330" y="850"/>
                  </a:lnTo>
                  <a:lnTo>
                    <a:pt x="342" y="866"/>
                  </a:lnTo>
                  <a:lnTo>
                    <a:pt x="350" y="880"/>
                  </a:lnTo>
                  <a:lnTo>
                    <a:pt x="352" y="882"/>
                  </a:lnTo>
                  <a:lnTo>
                    <a:pt x="356" y="880"/>
                  </a:lnTo>
                  <a:lnTo>
                    <a:pt x="366" y="880"/>
                  </a:lnTo>
                  <a:lnTo>
                    <a:pt x="374" y="880"/>
                  </a:lnTo>
                  <a:lnTo>
                    <a:pt x="380" y="882"/>
                  </a:lnTo>
                  <a:lnTo>
                    <a:pt x="384" y="882"/>
                  </a:lnTo>
                  <a:lnTo>
                    <a:pt x="392" y="876"/>
                  </a:lnTo>
                  <a:lnTo>
                    <a:pt x="402" y="874"/>
                  </a:lnTo>
                  <a:lnTo>
                    <a:pt x="412" y="872"/>
                  </a:lnTo>
                  <a:lnTo>
                    <a:pt x="416" y="870"/>
                  </a:lnTo>
                  <a:lnTo>
                    <a:pt x="422" y="870"/>
                  </a:lnTo>
                  <a:lnTo>
                    <a:pt x="440" y="874"/>
                  </a:lnTo>
                  <a:lnTo>
                    <a:pt x="442" y="874"/>
                  </a:lnTo>
                  <a:lnTo>
                    <a:pt x="456" y="874"/>
                  </a:lnTo>
                  <a:lnTo>
                    <a:pt x="468" y="872"/>
                  </a:lnTo>
                  <a:lnTo>
                    <a:pt x="470" y="856"/>
                  </a:lnTo>
                  <a:lnTo>
                    <a:pt x="470" y="852"/>
                  </a:lnTo>
                  <a:lnTo>
                    <a:pt x="474" y="846"/>
                  </a:lnTo>
                  <a:lnTo>
                    <a:pt x="478" y="840"/>
                  </a:lnTo>
                  <a:lnTo>
                    <a:pt x="478" y="834"/>
                  </a:lnTo>
                  <a:lnTo>
                    <a:pt x="478" y="828"/>
                  </a:lnTo>
                  <a:lnTo>
                    <a:pt x="480" y="818"/>
                  </a:lnTo>
                  <a:lnTo>
                    <a:pt x="488" y="812"/>
                  </a:lnTo>
                  <a:lnTo>
                    <a:pt x="504" y="808"/>
                  </a:lnTo>
                  <a:lnTo>
                    <a:pt x="512" y="806"/>
                  </a:lnTo>
                  <a:lnTo>
                    <a:pt x="524" y="804"/>
                  </a:lnTo>
                  <a:lnTo>
                    <a:pt x="542" y="804"/>
                  </a:lnTo>
                  <a:lnTo>
                    <a:pt x="550" y="804"/>
                  </a:lnTo>
                  <a:lnTo>
                    <a:pt x="550" y="804"/>
                  </a:lnTo>
                  <a:lnTo>
                    <a:pt x="546" y="816"/>
                  </a:lnTo>
                  <a:lnTo>
                    <a:pt x="546" y="820"/>
                  </a:lnTo>
                  <a:lnTo>
                    <a:pt x="548" y="824"/>
                  </a:lnTo>
                  <a:lnTo>
                    <a:pt x="550" y="826"/>
                  </a:lnTo>
                  <a:lnTo>
                    <a:pt x="570" y="828"/>
                  </a:lnTo>
                  <a:lnTo>
                    <a:pt x="590" y="828"/>
                  </a:lnTo>
                  <a:lnTo>
                    <a:pt x="610" y="828"/>
                  </a:lnTo>
                  <a:lnTo>
                    <a:pt x="626" y="828"/>
                  </a:lnTo>
                  <a:lnTo>
                    <a:pt x="628" y="830"/>
                  </a:lnTo>
                  <a:lnTo>
                    <a:pt x="630" y="830"/>
                  </a:lnTo>
                  <a:lnTo>
                    <a:pt x="632" y="836"/>
                  </a:lnTo>
                  <a:lnTo>
                    <a:pt x="632" y="848"/>
                  </a:lnTo>
                  <a:lnTo>
                    <a:pt x="628" y="866"/>
                  </a:lnTo>
                  <a:lnTo>
                    <a:pt x="630" y="882"/>
                  </a:lnTo>
                  <a:lnTo>
                    <a:pt x="636" y="898"/>
                  </a:lnTo>
                  <a:lnTo>
                    <a:pt x="636" y="920"/>
                  </a:lnTo>
                  <a:lnTo>
                    <a:pt x="634" y="934"/>
                  </a:lnTo>
                  <a:lnTo>
                    <a:pt x="632" y="952"/>
                  </a:lnTo>
                  <a:lnTo>
                    <a:pt x="630" y="972"/>
                  </a:lnTo>
                  <a:lnTo>
                    <a:pt x="632" y="980"/>
                  </a:lnTo>
                  <a:lnTo>
                    <a:pt x="638" y="990"/>
                  </a:lnTo>
                  <a:lnTo>
                    <a:pt x="648" y="998"/>
                  </a:lnTo>
                  <a:lnTo>
                    <a:pt x="656" y="1010"/>
                  </a:lnTo>
                  <a:lnTo>
                    <a:pt x="660" y="1024"/>
                  </a:lnTo>
                  <a:lnTo>
                    <a:pt x="662" y="1034"/>
                  </a:lnTo>
                  <a:lnTo>
                    <a:pt x="660" y="1038"/>
                  </a:lnTo>
                  <a:lnTo>
                    <a:pt x="660" y="1044"/>
                  </a:lnTo>
                  <a:lnTo>
                    <a:pt x="662" y="1054"/>
                  </a:lnTo>
                  <a:lnTo>
                    <a:pt x="660" y="1060"/>
                  </a:lnTo>
                  <a:lnTo>
                    <a:pt x="656" y="1062"/>
                  </a:lnTo>
                  <a:lnTo>
                    <a:pt x="654" y="1066"/>
                  </a:lnTo>
                  <a:lnTo>
                    <a:pt x="656" y="1074"/>
                  </a:lnTo>
                  <a:lnTo>
                    <a:pt x="658" y="1082"/>
                  </a:lnTo>
                  <a:lnTo>
                    <a:pt x="660" y="1084"/>
                  </a:lnTo>
                  <a:lnTo>
                    <a:pt x="660" y="1088"/>
                  </a:lnTo>
                  <a:lnTo>
                    <a:pt x="662" y="1088"/>
                  </a:lnTo>
                  <a:lnTo>
                    <a:pt x="668" y="1084"/>
                  </a:lnTo>
                  <a:lnTo>
                    <a:pt x="674" y="1080"/>
                  </a:lnTo>
                  <a:lnTo>
                    <a:pt x="680" y="1078"/>
                  </a:lnTo>
                  <a:lnTo>
                    <a:pt x="686" y="1078"/>
                  </a:lnTo>
                  <a:lnTo>
                    <a:pt x="696" y="1080"/>
                  </a:lnTo>
                  <a:lnTo>
                    <a:pt x="712" y="1080"/>
                  </a:lnTo>
                  <a:lnTo>
                    <a:pt x="718" y="1080"/>
                  </a:lnTo>
                  <a:lnTo>
                    <a:pt x="734" y="1072"/>
                  </a:lnTo>
                  <a:lnTo>
                    <a:pt x="738" y="1072"/>
                  </a:lnTo>
                  <a:lnTo>
                    <a:pt x="744" y="1072"/>
                  </a:lnTo>
                  <a:lnTo>
                    <a:pt x="754" y="1074"/>
                  </a:lnTo>
                  <a:lnTo>
                    <a:pt x="762" y="1076"/>
                  </a:lnTo>
                  <a:lnTo>
                    <a:pt x="768" y="1074"/>
                  </a:lnTo>
                  <a:lnTo>
                    <a:pt x="768" y="1070"/>
                  </a:lnTo>
                  <a:lnTo>
                    <a:pt x="768" y="1066"/>
                  </a:lnTo>
                  <a:lnTo>
                    <a:pt x="772" y="1066"/>
                  </a:lnTo>
                  <a:lnTo>
                    <a:pt x="774" y="1066"/>
                  </a:lnTo>
                  <a:lnTo>
                    <a:pt x="778" y="1066"/>
                  </a:lnTo>
                  <a:lnTo>
                    <a:pt x="782" y="1072"/>
                  </a:lnTo>
                  <a:lnTo>
                    <a:pt x="782" y="1076"/>
                  </a:lnTo>
                  <a:lnTo>
                    <a:pt x="786" y="1076"/>
                  </a:lnTo>
                  <a:lnTo>
                    <a:pt x="794" y="1080"/>
                  </a:lnTo>
                  <a:lnTo>
                    <a:pt x="798" y="1082"/>
                  </a:lnTo>
                  <a:lnTo>
                    <a:pt x="800" y="1092"/>
                  </a:lnTo>
                  <a:lnTo>
                    <a:pt x="798" y="1096"/>
                  </a:lnTo>
                  <a:lnTo>
                    <a:pt x="796" y="1098"/>
                  </a:lnTo>
                  <a:lnTo>
                    <a:pt x="798" y="1102"/>
                  </a:lnTo>
                  <a:lnTo>
                    <a:pt x="804" y="1104"/>
                  </a:lnTo>
                  <a:lnTo>
                    <a:pt x="808" y="1104"/>
                  </a:lnTo>
                  <a:lnTo>
                    <a:pt x="818" y="1098"/>
                  </a:lnTo>
                  <a:lnTo>
                    <a:pt x="822" y="1096"/>
                  </a:lnTo>
                  <a:lnTo>
                    <a:pt x="826" y="1096"/>
                  </a:lnTo>
                  <a:lnTo>
                    <a:pt x="832" y="1094"/>
                  </a:lnTo>
                  <a:lnTo>
                    <a:pt x="844" y="1092"/>
                  </a:lnTo>
                  <a:lnTo>
                    <a:pt x="852" y="1090"/>
                  </a:lnTo>
                  <a:lnTo>
                    <a:pt x="856" y="1088"/>
                  </a:lnTo>
                  <a:lnTo>
                    <a:pt x="858" y="1088"/>
                  </a:lnTo>
                  <a:lnTo>
                    <a:pt x="860" y="1090"/>
                  </a:lnTo>
                  <a:lnTo>
                    <a:pt x="858" y="1096"/>
                  </a:lnTo>
                  <a:lnTo>
                    <a:pt x="858" y="1102"/>
                  </a:lnTo>
                  <a:lnTo>
                    <a:pt x="860" y="1112"/>
                  </a:lnTo>
                  <a:lnTo>
                    <a:pt x="862" y="1116"/>
                  </a:lnTo>
                  <a:lnTo>
                    <a:pt x="866" y="1120"/>
                  </a:lnTo>
                  <a:lnTo>
                    <a:pt x="870" y="1122"/>
                  </a:lnTo>
                  <a:lnTo>
                    <a:pt x="872" y="1124"/>
                  </a:lnTo>
                  <a:lnTo>
                    <a:pt x="880" y="1124"/>
                  </a:lnTo>
                  <a:lnTo>
                    <a:pt x="894" y="1130"/>
                  </a:lnTo>
                  <a:lnTo>
                    <a:pt x="900" y="1132"/>
                  </a:lnTo>
                  <a:lnTo>
                    <a:pt x="906" y="1134"/>
                  </a:lnTo>
                  <a:lnTo>
                    <a:pt x="910" y="1134"/>
                  </a:lnTo>
                  <a:lnTo>
                    <a:pt x="926" y="1136"/>
                  </a:lnTo>
                  <a:lnTo>
                    <a:pt x="932" y="1138"/>
                  </a:lnTo>
                  <a:lnTo>
                    <a:pt x="944" y="1140"/>
                  </a:lnTo>
                  <a:lnTo>
                    <a:pt x="952" y="1140"/>
                  </a:lnTo>
                  <a:lnTo>
                    <a:pt x="958" y="1138"/>
                  </a:lnTo>
                  <a:lnTo>
                    <a:pt x="964" y="1138"/>
                  </a:lnTo>
                  <a:lnTo>
                    <a:pt x="966" y="1136"/>
                  </a:lnTo>
                  <a:lnTo>
                    <a:pt x="966" y="1134"/>
                  </a:lnTo>
                  <a:lnTo>
                    <a:pt x="968" y="1130"/>
                  </a:lnTo>
                  <a:lnTo>
                    <a:pt x="972" y="1118"/>
                  </a:lnTo>
                  <a:lnTo>
                    <a:pt x="974" y="1116"/>
                  </a:lnTo>
                  <a:lnTo>
                    <a:pt x="976" y="1114"/>
                  </a:lnTo>
                  <a:lnTo>
                    <a:pt x="980" y="1112"/>
                  </a:lnTo>
                  <a:lnTo>
                    <a:pt x="982" y="1114"/>
                  </a:lnTo>
                  <a:lnTo>
                    <a:pt x="986" y="1126"/>
                  </a:lnTo>
                  <a:lnTo>
                    <a:pt x="998" y="1138"/>
                  </a:lnTo>
                  <a:lnTo>
                    <a:pt x="1002" y="1146"/>
                  </a:lnTo>
                  <a:lnTo>
                    <a:pt x="1006" y="1154"/>
                  </a:lnTo>
                  <a:lnTo>
                    <a:pt x="1008" y="1156"/>
                  </a:lnTo>
                  <a:lnTo>
                    <a:pt x="1012" y="1158"/>
                  </a:lnTo>
                  <a:lnTo>
                    <a:pt x="1020" y="1160"/>
                  </a:lnTo>
                  <a:lnTo>
                    <a:pt x="1026" y="1160"/>
                  </a:lnTo>
                  <a:lnTo>
                    <a:pt x="1040" y="1166"/>
                  </a:lnTo>
                  <a:lnTo>
                    <a:pt x="1052" y="1170"/>
                  </a:lnTo>
                  <a:lnTo>
                    <a:pt x="1060" y="1174"/>
                  </a:lnTo>
                  <a:lnTo>
                    <a:pt x="1062" y="1176"/>
                  </a:lnTo>
                  <a:lnTo>
                    <a:pt x="1066" y="1180"/>
                  </a:lnTo>
                  <a:lnTo>
                    <a:pt x="1066" y="1182"/>
                  </a:lnTo>
                  <a:lnTo>
                    <a:pt x="1070" y="1190"/>
                  </a:lnTo>
                  <a:lnTo>
                    <a:pt x="1072" y="1198"/>
                  </a:lnTo>
                  <a:lnTo>
                    <a:pt x="1076" y="1198"/>
                  </a:lnTo>
                  <a:lnTo>
                    <a:pt x="1080" y="1198"/>
                  </a:lnTo>
                  <a:lnTo>
                    <a:pt x="1084" y="1204"/>
                  </a:lnTo>
                  <a:lnTo>
                    <a:pt x="1086" y="1206"/>
                  </a:lnTo>
                  <a:lnTo>
                    <a:pt x="1092" y="1215"/>
                  </a:lnTo>
                  <a:lnTo>
                    <a:pt x="1096" y="1221"/>
                  </a:lnTo>
                  <a:lnTo>
                    <a:pt x="1098" y="1227"/>
                  </a:lnTo>
                  <a:lnTo>
                    <a:pt x="1102" y="1231"/>
                  </a:lnTo>
                  <a:lnTo>
                    <a:pt x="1108" y="1233"/>
                  </a:lnTo>
                  <a:lnTo>
                    <a:pt x="1114" y="1233"/>
                  </a:lnTo>
                  <a:lnTo>
                    <a:pt x="1118" y="1233"/>
                  </a:lnTo>
                  <a:lnTo>
                    <a:pt x="1126" y="1229"/>
                  </a:lnTo>
                  <a:lnTo>
                    <a:pt x="1132" y="1225"/>
                  </a:lnTo>
                  <a:lnTo>
                    <a:pt x="1138" y="1223"/>
                  </a:lnTo>
                  <a:lnTo>
                    <a:pt x="1140" y="1225"/>
                  </a:lnTo>
                  <a:lnTo>
                    <a:pt x="1142" y="1227"/>
                  </a:lnTo>
                  <a:lnTo>
                    <a:pt x="1144" y="1233"/>
                  </a:lnTo>
                  <a:lnTo>
                    <a:pt x="1144" y="1235"/>
                  </a:lnTo>
                  <a:lnTo>
                    <a:pt x="1148" y="1237"/>
                  </a:lnTo>
                  <a:lnTo>
                    <a:pt x="1152" y="1237"/>
                  </a:lnTo>
                  <a:lnTo>
                    <a:pt x="1154" y="1233"/>
                  </a:lnTo>
                  <a:lnTo>
                    <a:pt x="1154" y="1152"/>
                  </a:lnTo>
                  <a:lnTo>
                    <a:pt x="1150" y="1152"/>
                  </a:lnTo>
                  <a:lnTo>
                    <a:pt x="1146" y="1154"/>
                  </a:lnTo>
                  <a:lnTo>
                    <a:pt x="1138" y="1154"/>
                  </a:lnTo>
                  <a:lnTo>
                    <a:pt x="1134" y="1156"/>
                  </a:lnTo>
                  <a:lnTo>
                    <a:pt x="1134" y="1158"/>
                  </a:lnTo>
                  <a:lnTo>
                    <a:pt x="1134" y="1162"/>
                  </a:lnTo>
                  <a:lnTo>
                    <a:pt x="1134" y="1166"/>
                  </a:lnTo>
                  <a:lnTo>
                    <a:pt x="1132" y="1168"/>
                  </a:lnTo>
                  <a:lnTo>
                    <a:pt x="1130" y="1170"/>
                  </a:lnTo>
                  <a:lnTo>
                    <a:pt x="1124" y="1168"/>
                  </a:lnTo>
                  <a:lnTo>
                    <a:pt x="1114" y="1166"/>
                  </a:lnTo>
                  <a:lnTo>
                    <a:pt x="1106" y="1164"/>
                  </a:lnTo>
                  <a:lnTo>
                    <a:pt x="1100" y="1158"/>
                  </a:lnTo>
                  <a:lnTo>
                    <a:pt x="1092" y="1150"/>
                  </a:lnTo>
                  <a:lnTo>
                    <a:pt x="1086" y="1144"/>
                  </a:lnTo>
                  <a:lnTo>
                    <a:pt x="1074" y="1134"/>
                  </a:lnTo>
                  <a:lnTo>
                    <a:pt x="1072" y="1132"/>
                  </a:lnTo>
                  <a:lnTo>
                    <a:pt x="1068" y="1128"/>
                  </a:lnTo>
                  <a:lnTo>
                    <a:pt x="1064" y="1120"/>
                  </a:lnTo>
                  <a:lnTo>
                    <a:pt x="1062" y="1116"/>
                  </a:lnTo>
                  <a:lnTo>
                    <a:pt x="1060" y="1112"/>
                  </a:lnTo>
                  <a:lnTo>
                    <a:pt x="1060" y="1106"/>
                  </a:lnTo>
                  <a:lnTo>
                    <a:pt x="1062" y="1098"/>
                  </a:lnTo>
                  <a:lnTo>
                    <a:pt x="1066" y="1082"/>
                  </a:lnTo>
                  <a:lnTo>
                    <a:pt x="1070" y="1070"/>
                  </a:lnTo>
                  <a:lnTo>
                    <a:pt x="1072" y="1062"/>
                  </a:lnTo>
                  <a:lnTo>
                    <a:pt x="1078" y="1052"/>
                  </a:lnTo>
                  <a:lnTo>
                    <a:pt x="1078" y="1044"/>
                  </a:lnTo>
                  <a:lnTo>
                    <a:pt x="1076" y="1034"/>
                  </a:lnTo>
                  <a:lnTo>
                    <a:pt x="1076" y="1028"/>
                  </a:lnTo>
                  <a:lnTo>
                    <a:pt x="1076" y="1014"/>
                  </a:lnTo>
                  <a:lnTo>
                    <a:pt x="1078" y="1002"/>
                  </a:lnTo>
                  <a:lnTo>
                    <a:pt x="1078" y="996"/>
                  </a:lnTo>
                  <a:lnTo>
                    <a:pt x="1076" y="986"/>
                  </a:lnTo>
                  <a:lnTo>
                    <a:pt x="1072" y="974"/>
                  </a:lnTo>
                  <a:lnTo>
                    <a:pt x="1062" y="960"/>
                  </a:lnTo>
                  <a:lnTo>
                    <a:pt x="1062" y="956"/>
                  </a:lnTo>
                  <a:lnTo>
                    <a:pt x="1068" y="952"/>
                  </a:lnTo>
                  <a:lnTo>
                    <a:pt x="1076" y="946"/>
                  </a:lnTo>
                  <a:lnTo>
                    <a:pt x="1080" y="942"/>
                  </a:lnTo>
                  <a:lnTo>
                    <a:pt x="1086" y="936"/>
                  </a:lnTo>
                  <a:lnTo>
                    <a:pt x="1088" y="934"/>
                  </a:lnTo>
                  <a:lnTo>
                    <a:pt x="1092" y="926"/>
                  </a:lnTo>
                  <a:lnTo>
                    <a:pt x="1096" y="922"/>
                  </a:lnTo>
                  <a:lnTo>
                    <a:pt x="1096" y="914"/>
                  </a:lnTo>
                  <a:lnTo>
                    <a:pt x="1094" y="906"/>
                  </a:lnTo>
                  <a:lnTo>
                    <a:pt x="1100" y="906"/>
                  </a:lnTo>
                  <a:lnTo>
                    <a:pt x="1116" y="902"/>
                  </a:lnTo>
                  <a:lnTo>
                    <a:pt x="1132" y="900"/>
                  </a:lnTo>
                  <a:lnTo>
                    <a:pt x="1152" y="898"/>
                  </a:lnTo>
                  <a:lnTo>
                    <a:pt x="1170" y="894"/>
                  </a:lnTo>
                  <a:lnTo>
                    <a:pt x="1188" y="892"/>
                  </a:lnTo>
                  <a:lnTo>
                    <a:pt x="1204" y="890"/>
                  </a:lnTo>
                  <a:lnTo>
                    <a:pt x="1204" y="886"/>
                  </a:lnTo>
                  <a:lnTo>
                    <a:pt x="1204" y="882"/>
                  </a:lnTo>
                  <a:lnTo>
                    <a:pt x="1202" y="878"/>
                  </a:lnTo>
                  <a:lnTo>
                    <a:pt x="1200" y="876"/>
                  </a:lnTo>
                  <a:lnTo>
                    <a:pt x="1198" y="876"/>
                  </a:lnTo>
                  <a:lnTo>
                    <a:pt x="1196" y="874"/>
                  </a:lnTo>
                  <a:lnTo>
                    <a:pt x="1192" y="870"/>
                  </a:lnTo>
                  <a:lnTo>
                    <a:pt x="1192" y="868"/>
                  </a:lnTo>
                  <a:lnTo>
                    <a:pt x="1186" y="866"/>
                  </a:lnTo>
                  <a:lnTo>
                    <a:pt x="1186" y="864"/>
                  </a:lnTo>
                  <a:lnTo>
                    <a:pt x="1184" y="860"/>
                  </a:lnTo>
                  <a:lnTo>
                    <a:pt x="1182" y="852"/>
                  </a:lnTo>
                  <a:lnTo>
                    <a:pt x="1180" y="848"/>
                  </a:lnTo>
                  <a:lnTo>
                    <a:pt x="1180" y="846"/>
                  </a:lnTo>
                  <a:lnTo>
                    <a:pt x="1180" y="840"/>
                  </a:lnTo>
                  <a:lnTo>
                    <a:pt x="1176" y="828"/>
                  </a:lnTo>
                  <a:lnTo>
                    <a:pt x="1172" y="822"/>
                  </a:lnTo>
                  <a:lnTo>
                    <a:pt x="1168" y="818"/>
                  </a:lnTo>
                  <a:lnTo>
                    <a:pt x="1162" y="814"/>
                  </a:lnTo>
                  <a:lnTo>
                    <a:pt x="1156" y="812"/>
                  </a:lnTo>
                  <a:lnTo>
                    <a:pt x="1150" y="808"/>
                  </a:lnTo>
                  <a:lnTo>
                    <a:pt x="1142" y="796"/>
                  </a:lnTo>
                  <a:lnTo>
                    <a:pt x="1136" y="792"/>
                  </a:lnTo>
                  <a:lnTo>
                    <a:pt x="1134" y="790"/>
                  </a:lnTo>
                  <a:lnTo>
                    <a:pt x="1132" y="784"/>
                  </a:lnTo>
                  <a:lnTo>
                    <a:pt x="1132" y="778"/>
                  </a:lnTo>
                  <a:lnTo>
                    <a:pt x="1132" y="776"/>
                  </a:lnTo>
                  <a:lnTo>
                    <a:pt x="1130" y="776"/>
                  </a:lnTo>
                  <a:lnTo>
                    <a:pt x="1130" y="776"/>
                  </a:lnTo>
                  <a:lnTo>
                    <a:pt x="1130" y="776"/>
                  </a:lnTo>
                  <a:lnTo>
                    <a:pt x="1122" y="756"/>
                  </a:lnTo>
                  <a:lnTo>
                    <a:pt x="1120" y="754"/>
                  </a:lnTo>
                  <a:lnTo>
                    <a:pt x="1120" y="752"/>
                  </a:lnTo>
                  <a:lnTo>
                    <a:pt x="1118" y="750"/>
                  </a:lnTo>
                  <a:lnTo>
                    <a:pt x="1116" y="748"/>
                  </a:lnTo>
                  <a:lnTo>
                    <a:pt x="1114" y="746"/>
                  </a:lnTo>
                  <a:lnTo>
                    <a:pt x="1114" y="740"/>
                  </a:lnTo>
                  <a:lnTo>
                    <a:pt x="1114" y="738"/>
                  </a:lnTo>
                  <a:lnTo>
                    <a:pt x="1116" y="736"/>
                  </a:lnTo>
                  <a:lnTo>
                    <a:pt x="1122" y="730"/>
                  </a:lnTo>
                  <a:lnTo>
                    <a:pt x="1124" y="728"/>
                  </a:lnTo>
                  <a:lnTo>
                    <a:pt x="1124" y="726"/>
                  </a:lnTo>
                  <a:lnTo>
                    <a:pt x="1124" y="720"/>
                  </a:lnTo>
                  <a:lnTo>
                    <a:pt x="1124" y="718"/>
                  </a:lnTo>
                  <a:lnTo>
                    <a:pt x="1126" y="718"/>
                  </a:lnTo>
                  <a:lnTo>
                    <a:pt x="1126" y="718"/>
                  </a:lnTo>
                  <a:lnTo>
                    <a:pt x="1116" y="702"/>
                  </a:lnTo>
                  <a:lnTo>
                    <a:pt x="1112" y="692"/>
                  </a:lnTo>
                  <a:lnTo>
                    <a:pt x="1110" y="686"/>
                  </a:lnTo>
                  <a:lnTo>
                    <a:pt x="1108" y="680"/>
                  </a:lnTo>
                  <a:lnTo>
                    <a:pt x="1108" y="678"/>
                  </a:lnTo>
                  <a:lnTo>
                    <a:pt x="1108" y="658"/>
                  </a:lnTo>
                  <a:lnTo>
                    <a:pt x="1110" y="650"/>
                  </a:lnTo>
                  <a:lnTo>
                    <a:pt x="1110" y="646"/>
                  </a:lnTo>
                  <a:lnTo>
                    <a:pt x="1112" y="644"/>
                  </a:lnTo>
                  <a:lnTo>
                    <a:pt x="1114" y="644"/>
                  </a:lnTo>
                  <a:lnTo>
                    <a:pt x="1114" y="640"/>
                  </a:lnTo>
                  <a:lnTo>
                    <a:pt x="1118" y="618"/>
                  </a:lnTo>
                  <a:lnTo>
                    <a:pt x="1118" y="616"/>
                  </a:lnTo>
                  <a:lnTo>
                    <a:pt x="1116" y="616"/>
                  </a:lnTo>
                  <a:lnTo>
                    <a:pt x="1116" y="618"/>
                  </a:lnTo>
                  <a:lnTo>
                    <a:pt x="1110" y="632"/>
                  </a:lnTo>
                  <a:lnTo>
                    <a:pt x="1110" y="634"/>
                  </a:lnTo>
                  <a:lnTo>
                    <a:pt x="1106" y="632"/>
                  </a:lnTo>
                  <a:lnTo>
                    <a:pt x="1106" y="630"/>
                  </a:lnTo>
                  <a:lnTo>
                    <a:pt x="1108" y="628"/>
                  </a:lnTo>
                  <a:lnTo>
                    <a:pt x="1108" y="624"/>
                  </a:lnTo>
                  <a:lnTo>
                    <a:pt x="1106" y="622"/>
                  </a:lnTo>
                  <a:lnTo>
                    <a:pt x="1106" y="616"/>
                  </a:lnTo>
                  <a:lnTo>
                    <a:pt x="1108" y="604"/>
                  </a:lnTo>
                  <a:lnTo>
                    <a:pt x="1110" y="602"/>
                  </a:lnTo>
                  <a:lnTo>
                    <a:pt x="1110" y="598"/>
                  </a:lnTo>
                  <a:lnTo>
                    <a:pt x="1108" y="598"/>
                  </a:lnTo>
                  <a:lnTo>
                    <a:pt x="1108" y="594"/>
                  </a:lnTo>
                  <a:lnTo>
                    <a:pt x="1110" y="592"/>
                  </a:lnTo>
                  <a:lnTo>
                    <a:pt x="1110" y="586"/>
                  </a:lnTo>
                  <a:lnTo>
                    <a:pt x="1110" y="578"/>
                  </a:lnTo>
                  <a:lnTo>
                    <a:pt x="1110" y="572"/>
                  </a:lnTo>
                  <a:lnTo>
                    <a:pt x="1112" y="570"/>
                  </a:lnTo>
                  <a:lnTo>
                    <a:pt x="1112" y="568"/>
                  </a:lnTo>
                  <a:lnTo>
                    <a:pt x="1114" y="568"/>
                  </a:lnTo>
                  <a:lnTo>
                    <a:pt x="1114" y="568"/>
                  </a:lnTo>
                  <a:lnTo>
                    <a:pt x="1116" y="564"/>
                  </a:lnTo>
                  <a:lnTo>
                    <a:pt x="1116" y="554"/>
                  </a:lnTo>
                  <a:lnTo>
                    <a:pt x="1116" y="548"/>
                  </a:lnTo>
                  <a:lnTo>
                    <a:pt x="1112" y="542"/>
                  </a:lnTo>
                  <a:lnTo>
                    <a:pt x="1106" y="536"/>
                  </a:lnTo>
                  <a:lnTo>
                    <a:pt x="1102" y="532"/>
                  </a:lnTo>
                  <a:lnTo>
                    <a:pt x="1102" y="526"/>
                  </a:lnTo>
                  <a:lnTo>
                    <a:pt x="1096" y="524"/>
                  </a:lnTo>
                  <a:lnTo>
                    <a:pt x="1094" y="522"/>
                  </a:lnTo>
                  <a:lnTo>
                    <a:pt x="1094" y="516"/>
                  </a:lnTo>
                  <a:lnTo>
                    <a:pt x="1092" y="508"/>
                  </a:lnTo>
                  <a:lnTo>
                    <a:pt x="1092" y="508"/>
                  </a:lnTo>
                  <a:lnTo>
                    <a:pt x="1092" y="504"/>
                  </a:lnTo>
                  <a:lnTo>
                    <a:pt x="1096" y="498"/>
                  </a:lnTo>
                  <a:lnTo>
                    <a:pt x="1094" y="496"/>
                  </a:lnTo>
                  <a:lnTo>
                    <a:pt x="1094" y="494"/>
                  </a:lnTo>
                  <a:lnTo>
                    <a:pt x="1094" y="492"/>
                  </a:lnTo>
                  <a:lnTo>
                    <a:pt x="1094" y="490"/>
                  </a:lnTo>
                  <a:lnTo>
                    <a:pt x="1096" y="484"/>
                  </a:lnTo>
                  <a:lnTo>
                    <a:pt x="1096" y="480"/>
                  </a:lnTo>
                  <a:lnTo>
                    <a:pt x="1100" y="468"/>
                  </a:lnTo>
                  <a:lnTo>
                    <a:pt x="1104" y="456"/>
                  </a:lnTo>
                  <a:lnTo>
                    <a:pt x="1106" y="454"/>
                  </a:lnTo>
                  <a:lnTo>
                    <a:pt x="1114" y="456"/>
                  </a:lnTo>
                  <a:lnTo>
                    <a:pt x="1116" y="460"/>
                  </a:lnTo>
                  <a:lnTo>
                    <a:pt x="1118" y="454"/>
                  </a:lnTo>
                  <a:lnTo>
                    <a:pt x="1124" y="448"/>
                  </a:lnTo>
                  <a:lnTo>
                    <a:pt x="1128" y="448"/>
                  </a:lnTo>
                  <a:lnTo>
                    <a:pt x="1132" y="444"/>
                  </a:lnTo>
                  <a:lnTo>
                    <a:pt x="1136" y="440"/>
                  </a:lnTo>
                  <a:lnTo>
                    <a:pt x="1140" y="440"/>
                  </a:lnTo>
                  <a:lnTo>
                    <a:pt x="1140" y="438"/>
                  </a:lnTo>
                  <a:lnTo>
                    <a:pt x="1138" y="422"/>
                  </a:lnTo>
                  <a:lnTo>
                    <a:pt x="1138" y="412"/>
                  </a:lnTo>
                  <a:lnTo>
                    <a:pt x="1140" y="406"/>
                  </a:lnTo>
                  <a:lnTo>
                    <a:pt x="1142" y="400"/>
                  </a:lnTo>
                  <a:lnTo>
                    <a:pt x="1142" y="394"/>
                  </a:lnTo>
                  <a:lnTo>
                    <a:pt x="1144" y="384"/>
                  </a:lnTo>
                  <a:lnTo>
                    <a:pt x="1144" y="382"/>
                  </a:lnTo>
                  <a:lnTo>
                    <a:pt x="1144" y="382"/>
                  </a:lnTo>
                  <a:lnTo>
                    <a:pt x="1134" y="388"/>
                  </a:lnTo>
                  <a:lnTo>
                    <a:pt x="1130" y="388"/>
                  </a:lnTo>
                  <a:lnTo>
                    <a:pt x="1128" y="390"/>
                  </a:lnTo>
                  <a:lnTo>
                    <a:pt x="1126" y="390"/>
                  </a:lnTo>
                  <a:lnTo>
                    <a:pt x="1124" y="386"/>
                  </a:lnTo>
                  <a:lnTo>
                    <a:pt x="1122" y="384"/>
                  </a:lnTo>
                  <a:lnTo>
                    <a:pt x="1124" y="378"/>
                  </a:lnTo>
                  <a:lnTo>
                    <a:pt x="1128" y="370"/>
                  </a:lnTo>
                  <a:lnTo>
                    <a:pt x="1134" y="360"/>
                  </a:lnTo>
                  <a:lnTo>
                    <a:pt x="1140" y="358"/>
                  </a:lnTo>
                  <a:lnTo>
                    <a:pt x="1144" y="356"/>
                  </a:lnTo>
                  <a:lnTo>
                    <a:pt x="1146" y="356"/>
                  </a:lnTo>
                  <a:lnTo>
                    <a:pt x="1146" y="356"/>
                  </a:lnTo>
                  <a:lnTo>
                    <a:pt x="1146" y="352"/>
                  </a:lnTo>
                  <a:lnTo>
                    <a:pt x="1148" y="342"/>
                  </a:lnTo>
                  <a:lnTo>
                    <a:pt x="1150" y="338"/>
                  </a:lnTo>
                  <a:lnTo>
                    <a:pt x="1152" y="338"/>
                  </a:lnTo>
                  <a:lnTo>
                    <a:pt x="1154" y="332"/>
                  </a:lnTo>
                  <a:lnTo>
                    <a:pt x="1160" y="320"/>
                  </a:lnTo>
                  <a:lnTo>
                    <a:pt x="1162" y="316"/>
                  </a:lnTo>
                  <a:lnTo>
                    <a:pt x="1162" y="304"/>
                  </a:lnTo>
                  <a:lnTo>
                    <a:pt x="1162" y="296"/>
                  </a:lnTo>
                  <a:lnTo>
                    <a:pt x="1164" y="294"/>
                  </a:lnTo>
                  <a:lnTo>
                    <a:pt x="1170" y="292"/>
                  </a:lnTo>
                  <a:lnTo>
                    <a:pt x="1178" y="284"/>
                  </a:lnTo>
                  <a:lnTo>
                    <a:pt x="1182" y="276"/>
                  </a:lnTo>
                  <a:lnTo>
                    <a:pt x="1188" y="270"/>
                  </a:lnTo>
                  <a:lnTo>
                    <a:pt x="1198" y="268"/>
                  </a:lnTo>
                  <a:lnTo>
                    <a:pt x="1198" y="266"/>
                  </a:lnTo>
                  <a:lnTo>
                    <a:pt x="1196" y="266"/>
                  </a:lnTo>
                  <a:lnTo>
                    <a:pt x="1194" y="266"/>
                  </a:lnTo>
                  <a:lnTo>
                    <a:pt x="1194" y="266"/>
                  </a:lnTo>
                  <a:lnTo>
                    <a:pt x="1192" y="264"/>
                  </a:lnTo>
                  <a:lnTo>
                    <a:pt x="1196" y="258"/>
                  </a:lnTo>
                  <a:lnTo>
                    <a:pt x="1198" y="252"/>
                  </a:lnTo>
                  <a:lnTo>
                    <a:pt x="1202" y="248"/>
                  </a:lnTo>
                  <a:lnTo>
                    <a:pt x="1206" y="244"/>
                  </a:lnTo>
                  <a:lnTo>
                    <a:pt x="1212" y="238"/>
                  </a:lnTo>
                  <a:lnTo>
                    <a:pt x="1214" y="236"/>
                  </a:lnTo>
                  <a:lnTo>
                    <a:pt x="1224" y="226"/>
                  </a:lnTo>
                  <a:lnTo>
                    <a:pt x="1228" y="222"/>
                  </a:lnTo>
                  <a:lnTo>
                    <a:pt x="1232" y="222"/>
                  </a:lnTo>
                  <a:lnTo>
                    <a:pt x="1244" y="212"/>
                  </a:lnTo>
                  <a:lnTo>
                    <a:pt x="1250" y="206"/>
                  </a:lnTo>
                  <a:lnTo>
                    <a:pt x="1248" y="204"/>
                  </a:lnTo>
                  <a:lnTo>
                    <a:pt x="1244" y="202"/>
                  </a:lnTo>
                  <a:lnTo>
                    <a:pt x="1244" y="200"/>
                  </a:lnTo>
                  <a:lnTo>
                    <a:pt x="1242" y="198"/>
                  </a:lnTo>
                  <a:lnTo>
                    <a:pt x="1238" y="198"/>
                  </a:lnTo>
                  <a:lnTo>
                    <a:pt x="1236" y="196"/>
                  </a:lnTo>
                  <a:lnTo>
                    <a:pt x="1232" y="194"/>
                  </a:lnTo>
                  <a:lnTo>
                    <a:pt x="1230" y="190"/>
                  </a:lnTo>
                  <a:lnTo>
                    <a:pt x="1222" y="190"/>
                  </a:lnTo>
                  <a:lnTo>
                    <a:pt x="1214" y="188"/>
                  </a:lnTo>
                  <a:lnTo>
                    <a:pt x="1214" y="182"/>
                  </a:lnTo>
                  <a:lnTo>
                    <a:pt x="1218" y="172"/>
                  </a:lnTo>
                  <a:lnTo>
                    <a:pt x="1222" y="162"/>
                  </a:lnTo>
                  <a:lnTo>
                    <a:pt x="1222" y="158"/>
                  </a:lnTo>
                  <a:lnTo>
                    <a:pt x="1222" y="156"/>
                  </a:lnTo>
                  <a:lnTo>
                    <a:pt x="1220" y="154"/>
                  </a:lnTo>
                  <a:lnTo>
                    <a:pt x="1218" y="152"/>
                  </a:lnTo>
                  <a:lnTo>
                    <a:pt x="1216" y="148"/>
                  </a:lnTo>
                  <a:lnTo>
                    <a:pt x="1218" y="140"/>
                  </a:lnTo>
                  <a:lnTo>
                    <a:pt x="1222" y="134"/>
                  </a:lnTo>
                  <a:lnTo>
                    <a:pt x="1224" y="130"/>
                  </a:lnTo>
                  <a:lnTo>
                    <a:pt x="1226" y="124"/>
                  </a:lnTo>
                  <a:lnTo>
                    <a:pt x="1226" y="122"/>
                  </a:lnTo>
                  <a:lnTo>
                    <a:pt x="1222" y="120"/>
                  </a:lnTo>
                  <a:lnTo>
                    <a:pt x="1220" y="116"/>
                  </a:lnTo>
                  <a:lnTo>
                    <a:pt x="1220" y="114"/>
                  </a:lnTo>
                  <a:lnTo>
                    <a:pt x="1216" y="110"/>
                  </a:lnTo>
                  <a:lnTo>
                    <a:pt x="1212" y="110"/>
                  </a:lnTo>
                  <a:lnTo>
                    <a:pt x="1210" y="110"/>
                  </a:lnTo>
                  <a:lnTo>
                    <a:pt x="1206" y="110"/>
                  </a:lnTo>
                  <a:lnTo>
                    <a:pt x="1204" y="108"/>
                  </a:lnTo>
                  <a:lnTo>
                    <a:pt x="1204" y="104"/>
                  </a:lnTo>
                  <a:lnTo>
                    <a:pt x="1202" y="100"/>
                  </a:lnTo>
                  <a:lnTo>
                    <a:pt x="1200" y="96"/>
                  </a:lnTo>
                  <a:lnTo>
                    <a:pt x="1194" y="94"/>
                  </a:lnTo>
                  <a:lnTo>
                    <a:pt x="1180" y="88"/>
                  </a:lnTo>
                  <a:lnTo>
                    <a:pt x="1168" y="74"/>
                  </a:lnTo>
                  <a:lnTo>
                    <a:pt x="1162" y="68"/>
                  </a:lnTo>
                  <a:lnTo>
                    <a:pt x="1158" y="64"/>
                  </a:lnTo>
                  <a:lnTo>
                    <a:pt x="1152" y="54"/>
                  </a:lnTo>
                  <a:lnTo>
                    <a:pt x="1146" y="48"/>
                  </a:lnTo>
                  <a:lnTo>
                    <a:pt x="1138" y="44"/>
                  </a:lnTo>
                  <a:lnTo>
                    <a:pt x="1132" y="46"/>
                  </a:lnTo>
                  <a:lnTo>
                    <a:pt x="1126" y="54"/>
                  </a:lnTo>
                  <a:lnTo>
                    <a:pt x="1116" y="60"/>
                  </a:lnTo>
                  <a:lnTo>
                    <a:pt x="1112" y="60"/>
                  </a:lnTo>
                  <a:lnTo>
                    <a:pt x="1106" y="56"/>
                  </a:lnTo>
                  <a:lnTo>
                    <a:pt x="1098" y="54"/>
                  </a:lnTo>
                  <a:lnTo>
                    <a:pt x="1084" y="52"/>
                  </a:lnTo>
                  <a:lnTo>
                    <a:pt x="1078" y="56"/>
                  </a:lnTo>
                  <a:lnTo>
                    <a:pt x="1070" y="62"/>
                  </a:lnTo>
                  <a:lnTo>
                    <a:pt x="1064" y="64"/>
                  </a:lnTo>
                  <a:lnTo>
                    <a:pt x="1060" y="66"/>
                  </a:lnTo>
                  <a:lnTo>
                    <a:pt x="1056" y="64"/>
                  </a:lnTo>
                  <a:lnTo>
                    <a:pt x="1052" y="64"/>
                  </a:lnTo>
                  <a:lnTo>
                    <a:pt x="1048" y="64"/>
                  </a:lnTo>
                  <a:lnTo>
                    <a:pt x="1040" y="58"/>
                  </a:lnTo>
                  <a:lnTo>
                    <a:pt x="1038" y="54"/>
                  </a:lnTo>
                  <a:lnTo>
                    <a:pt x="1034" y="50"/>
                  </a:lnTo>
                  <a:lnTo>
                    <a:pt x="1030" y="48"/>
                  </a:lnTo>
                  <a:lnTo>
                    <a:pt x="1026" y="46"/>
                  </a:lnTo>
                  <a:lnTo>
                    <a:pt x="1022" y="44"/>
                  </a:lnTo>
                  <a:lnTo>
                    <a:pt x="1020" y="40"/>
                  </a:lnTo>
                  <a:lnTo>
                    <a:pt x="1018" y="34"/>
                  </a:lnTo>
                  <a:lnTo>
                    <a:pt x="1014" y="30"/>
                  </a:lnTo>
                  <a:lnTo>
                    <a:pt x="1002" y="22"/>
                  </a:lnTo>
                  <a:lnTo>
                    <a:pt x="998" y="18"/>
                  </a:lnTo>
                  <a:lnTo>
                    <a:pt x="996" y="1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6" name="Freeform 4490">
              <a:extLst>
                <a:ext uri="{FF2B5EF4-FFF2-40B4-BE49-F238E27FC236}">
                  <a16:creationId xmlns:a16="http://schemas.microsoft.com/office/drawing/2014/main" id="{70EF6FC9-78FE-4DE6-B157-6176292874C0}"/>
                </a:ext>
              </a:extLst>
            </p:cNvPr>
            <p:cNvSpPr/>
            <p:nvPr/>
          </p:nvSpPr>
          <p:spPr bwMode="auto">
            <a:xfrm>
              <a:off x="5579823" y="5316135"/>
              <a:ext cx="188865" cy="220471"/>
            </a:xfrm>
            <a:custGeom>
              <a:avLst/>
              <a:gdLst>
                <a:gd name="T0" fmla="*/ 470 w 490"/>
                <a:gd name="T1" fmla="*/ 8 h 572"/>
                <a:gd name="T2" fmla="*/ 454 w 490"/>
                <a:gd name="T3" fmla="*/ 8 h 572"/>
                <a:gd name="T4" fmla="*/ 438 w 490"/>
                <a:gd name="T5" fmla="*/ 8 h 572"/>
                <a:gd name="T6" fmla="*/ 400 w 490"/>
                <a:gd name="T7" fmla="*/ 6 h 572"/>
                <a:gd name="T8" fmla="*/ 356 w 490"/>
                <a:gd name="T9" fmla="*/ 16 h 572"/>
                <a:gd name="T10" fmla="*/ 350 w 490"/>
                <a:gd name="T11" fmla="*/ 52 h 572"/>
                <a:gd name="T12" fmla="*/ 330 w 490"/>
                <a:gd name="T13" fmla="*/ 94 h 572"/>
                <a:gd name="T14" fmla="*/ 324 w 490"/>
                <a:gd name="T15" fmla="*/ 110 h 572"/>
                <a:gd name="T16" fmla="*/ 324 w 490"/>
                <a:gd name="T17" fmla="*/ 132 h 572"/>
                <a:gd name="T18" fmla="*/ 292 w 490"/>
                <a:gd name="T19" fmla="*/ 114 h 572"/>
                <a:gd name="T20" fmla="*/ 264 w 490"/>
                <a:gd name="T21" fmla="*/ 108 h 572"/>
                <a:gd name="T22" fmla="*/ 246 w 490"/>
                <a:gd name="T23" fmla="*/ 106 h 572"/>
                <a:gd name="T24" fmla="*/ 232 w 490"/>
                <a:gd name="T25" fmla="*/ 102 h 572"/>
                <a:gd name="T26" fmla="*/ 142 w 490"/>
                <a:gd name="T27" fmla="*/ 100 h 572"/>
                <a:gd name="T28" fmla="*/ 134 w 490"/>
                <a:gd name="T29" fmla="*/ 142 h 572"/>
                <a:gd name="T30" fmla="*/ 136 w 490"/>
                <a:gd name="T31" fmla="*/ 160 h 572"/>
                <a:gd name="T32" fmla="*/ 178 w 490"/>
                <a:gd name="T33" fmla="*/ 150 h 572"/>
                <a:gd name="T34" fmla="*/ 210 w 490"/>
                <a:gd name="T35" fmla="*/ 172 h 572"/>
                <a:gd name="T36" fmla="*/ 214 w 490"/>
                <a:gd name="T37" fmla="*/ 194 h 572"/>
                <a:gd name="T38" fmla="*/ 194 w 490"/>
                <a:gd name="T39" fmla="*/ 208 h 572"/>
                <a:gd name="T40" fmla="*/ 180 w 490"/>
                <a:gd name="T41" fmla="*/ 230 h 572"/>
                <a:gd name="T42" fmla="*/ 192 w 490"/>
                <a:gd name="T43" fmla="*/ 260 h 572"/>
                <a:gd name="T44" fmla="*/ 216 w 490"/>
                <a:gd name="T45" fmla="*/ 276 h 572"/>
                <a:gd name="T46" fmla="*/ 216 w 490"/>
                <a:gd name="T47" fmla="*/ 314 h 572"/>
                <a:gd name="T48" fmla="*/ 214 w 490"/>
                <a:gd name="T49" fmla="*/ 350 h 572"/>
                <a:gd name="T50" fmla="*/ 204 w 490"/>
                <a:gd name="T51" fmla="*/ 374 h 572"/>
                <a:gd name="T52" fmla="*/ 200 w 490"/>
                <a:gd name="T53" fmla="*/ 394 h 572"/>
                <a:gd name="T54" fmla="*/ 180 w 490"/>
                <a:gd name="T55" fmla="*/ 404 h 572"/>
                <a:gd name="T56" fmla="*/ 174 w 490"/>
                <a:gd name="T57" fmla="*/ 384 h 572"/>
                <a:gd name="T58" fmla="*/ 146 w 490"/>
                <a:gd name="T59" fmla="*/ 400 h 572"/>
                <a:gd name="T60" fmla="*/ 108 w 490"/>
                <a:gd name="T61" fmla="*/ 370 h 572"/>
                <a:gd name="T62" fmla="*/ 86 w 490"/>
                <a:gd name="T63" fmla="*/ 368 h 572"/>
                <a:gd name="T64" fmla="*/ 88 w 490"/>
                <a:gd name="T65" fmla="*/ 384 h 572"/>
                <a:gd name="T66" fmla="*/ 54 w 490"/>
                <a:gd name="T67" fmla="*/ 396 h 572"/>
                <a:gd name="T68" fmla="*/ 28 w 490"/>
                <a:gd name="T69" fmla="*/ 398 h 572"/>
                <a:gd name="T70" fmla="*/ 26 w 490"/>
                <a:gd name="T71" fmla="*/ 428 h 572"/>
                <a:gd name="T72" fmla="*/ 42 w 490"/>
                <a:gd name="T73" fmla="*/ 440 h 572"/>
                <a:gd name="T74" fmla="*/ 50 w 490"/>
                <a:gd name="T75" fmla="*/ 458 h 572"/>
                <a:gd name="T76" fmla="*/ 46 w 490"/>
                <a:gd name="T77" fmla="*/ 474 h 572"/>
                <a:gd name="T78" fmla="*/ 42 w 490"/>
                <a:gd name="T79" fmla="*/ 484 h 572"/>
                <a:gd name="T80" fmla="*/ 10 w 490"/>
                <a:gd name="T81" fmla="*/ 482 h 572"/>
                <a:gd name="T82" fmla="*/ 18 w 490"/>
                <a:gd name="T83" fmla="*/ 518 h 572"/>
                <a:gd name="T84" fmla="*/ 44 w 490"/>
                <a:gd name="T85" fmla="*/ 554 h 572"/>
                <a:gd name="T86" fmla="*/ 62 w 490"/>
                <a:gd name="T87" fmla="*/ 568 h 572"/>
                <a:gd name="T88" fmla="*/ 82 w 490"/>
                <a:gd name="T89" fmla="*/ 548 h 572"/>
                <a:gd name="T90" fmla="*/ 110 w 490"/>
                <a:gd name="T91" fmla="*/ 534 h 572"/>
                <a:gd name="T92" fmla="*/ 126 w 490"/>
                <a:gd name="T93" fmla="*/ 546 h 572"/>
                <a:gd name="T94" fmla="*/ 136 w 490"/>
                <a:gd name="T95" fmla="*/ 552 h 572"/>
                <a:gd name="T96" fmla="*/ 158 w 490"/>
                <a:gd name="T97" fmla="*/ 554 h 572"/>
                <a:gd name="T98" fmla="*/ 170 w 490"/>
                <a:gd name="T99" fmla="*/ 534 h 572"/>
                <a:gd name="T100" fmla="*/ 184 w 490"/>
                <a:gd name="T101" fmla="*/ 536 h 572"/>
                <a:gd name="T102" fmla="*/ 208 w 490"/>
                <a:gd name="T103" fmla="*/ 524 h 572"/>
                <a:gd name="T104" fmla="*/ 214 w 490"/>
                <a:gd name="T105" fmla="*/ 538 h 572"/>
                <a:gd name="T106" fmla="*/ 216 w 490"/>
                <a:gd name="T107" fmla="*/ 562 h 572"/>
                <a:gd name="T108" fmla="*/ 234 w 490"/>
                <a:gd name="T109" fmla="*/ 564 h 572"/>
                <a:gd name="T110" fmla="*/ 280 w 490"/>
                <a:gd name="T111" fmla="*/ 522 h 572"/>
                <a:gd name="T112" fmla="*/ 310 w 490"/>
                <a:gd name="T113" fmla="*/ 500 h 572"/>
                <a:gd name="T114" fmla="*/ 332 w 490"/>
                <a:gd name="T115" fmla="*/ 392 h 572"/>
                <a:gd name="T116" fmla="*/ 360 w 490"/>
                <a:gd name="T117" fmla="*/ 354 h 572"/>
                <a:gd name="T118" fmla="*/ 392 w 490"/>
                <a:gd name="T119" fmla="*/ 312 h 572"/>
                <a:gd name="T120" fmla="*/ 436 w 490"/>
                <a:gd name="T121" fmla="*/ 246 h 572"/>
                <a:gd name="T122" fmla="*/ 450 w 490"/>
                <a:gd name="T123" fmla="*/ 150 h 572"/>
                <a:gd name="T124" fmla="*/ 472 w 490"/>
                <a:gd name="T125" fmla="*/ 68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0" h="572">
                  <a:moveTo>
                    <a:pt x="490" y="14"/>
                  </a:moveTo>
                  <a:lnTo>
                    <a:pt x="486" y="12"/>
                  </a:lnTo>
                  <a:lnTo>
                    <a:pt x="482" y="6"/>
                  </a:lnTo>
                  <a:lnTo>
                    <a:pt x="482" y="4"/>
                  </a:lnTo>
                  <a:lnTo>
                    <a:pt x="470" y="8"/>
                  </a:lnTo>
                  <a:lnTo>
                    <a:pt x="466" y="10"/>
                  </a:lnTo>
                  <a:lnTo>
                    <a:pt x="462" y="12"/>
                  </a:lnTo>
                  <a:lnTo>
                    <a:pt x="460" y="14"/>
                  </a:lnTo>
                  <a:lnTo>
                    <a:pt x="458" y="10"/>
                  </a:lnTo>
                  <a:lnTo>
                    <a:pt x="454" y="8"/>
                  </a:lnTo>
                  <a:lnTo>
                    <a:pt x="450" y="10"/>
                  </a:lnTo>
                  <a:lnTo>
                    <a:pt x="446" y="10"/>
                  </a:lnTo>
                  <a:lnTo>
                    <a:pt x="444" y="10"/>
                  </a:lnTo>
                  <a:lnTo>
                    <a:pt x="442" y="10"/>
                  </a:lnTo>
                  <a:lnTo>
                    <a:pt x="438" y="8"/>
                  </a:lnTo>
                  <a:lnTo>
                    <a:pt x="420" y="2"/>
                  </a:lnTo>
                  <a:lnTo>
                    <a:pt x="416" y="0"/>
                  </a:lnTo>
                  <a:lnTo>
                    <a:pt x="414" y="0"/>
                  </a:lnTo>
                  <a:lnTo>
                    <a:pt x="404" y="6"/>
                  </a:lnTo>
                  <a:lnTo>
                    <a:pt x="400" y="6"/>
                  </a:lnTo>
                  <a:lnTo>
                    <a:pt x="384" y="10"/>
                  </a:lnTo>
                  <a:lnTo>
                    <a:pt x="370" y="10"/>
                  </a:lnTo>
                  <a:lnTo>
                    <a:pt x="364" y="10"/>
                  </a:lnTo>
                  <a:lnTo>
                    <a:pt x="360" y="12"/>
                  </a:lnTo>
                  <a:lnTo>
                    <a:pt x="356" y="16"/>
                  </a:lnTo>
                  <a:lnTo>
                    <a:pt x="352" y="32"/>
                  </a:lnTo>
                  <a:lnTo>
                    <a:pt x="350" y="34"/>
                  </a:lnTo>
                  <a:lnTo>
                    <a:pt x="350" y="40"/>
                  </a:lnTo>
                  <a:lnTo>
                    <a:pt x="350" y="46"/>
                  </a:lnTo>
                  <a:lnTo>
                    <a:pt x="350" y="52"/>
                  </a:lnTo>
                  <a:lnTo>
                    <a:pt x="350" y="56"/>
                  </a:lnTo>
                  <a:lnTo>
                    <a:pt x="346" y="66"/>
                  </a:lnTo>
                  <a:lnTo>
                    <a:pt x="340" y="76"/>
                  </a:lnTo>
                  <a:lnTo>
                    <a:pt x="336" y="84"/>
                  </a:lnTo>
                  <a:lnTo>
                    <a:pt x="330" y="94"/>
                  </a:lnTo>
                  <a:lnTo>
                    <a:pt x="330" y="94"/>
                  </a:lnTo>
                  <a:lnTo>
                    <a:pt x="330" y="98"/>
                  </a:lnTo>
                  <a:lnTo>
                    <a:pt x="326" y="100"/>
                  </a:lnTo>
                  <a:lnTo>
                    <a:pt x="324" y="104"/>
                  </a:lnTo>
                  <a:lnTo>
                    <a:pt x="324" y="110"/>
                  </a:lnTo>
                  <a:lnTo>
                    <a:pt x="324" y="116"/>
                  </a:lnTo>
                  <a:lnTo>
                    <a:pt x="328" y="124"/>
                  </a:lnTo>
                  <a:lnTo>
                    <a:pt x="328" y="130"/>
                  </a:lnTo>
                  <a:lnTo>
                    <a:pt x="326" y="130"/>
                  </a:lnTo>
                  <a:lnTo>
                    <a:pt x="324" y="132"/>
                  </a:lnTo>
                  <a:lnTo>
                    <a:pt x="322" y="132"/>
                  </a:lnTo>
                  <a:lnTo>
                    <a:pt x="318" y="128"/>
                  </a:lnTo>
                  <a:lnTo>
                    <a:pt x="312" y="124"/>
                  </a:lnTo>
                  <a:lnTo>
                    <a:pt x="302" y="116"/>
                  </a:lnTo>
                  <a:lnTo>
                    <a:pt x="292" y="114"/>
                  </a:lnTo>
                  <a:lnTo>
                    <a:pt x="280" y="114"/>
                  </a:lnTo>
                  <a:lnTo>
                    <a:pt x="276" y="114"/>
                  </a:lnTo>
                  <a:lnTo>
                    <a:pt x="272" y="112"/>
                  </a:lnTo>
                  <a:lnTo>
                    <a:pt x="266" y="110"/>
                  </a:lnTo>
                  <a:lnTo>
                    <a:pt x="264" y="108"/>
                  </a:lnTo>
                  <a:lnTo>
                    <a:pt x="260" y="112"/>
                  </a:lnTo>
                  <a:lnTo>
                    <a:pt x="258" y="112"/>
                  </a:lnTo>
                  <a:lnTo>
                    <a:pt x="254" y="110"/>
                  </a:lnTo>
                  <a:lnTo>
                    <a:pt x="248" y="110"/>
                  </a:lnTo>
                  <a:lnTo>
                    <a:pt x="246" y="106"/>
                  </a:lnTo>
                  <a:lnTo>
                    <a:pt x="246" y="106"/>
                  </a:lnTo>
                  <a:lnTo>
                    <a:pt x="238" y="106"/>
                  </a:lnTo>
                  <a:lnTo>
                    <a:pt x="236" y="104"/>
                  </a:lnTo>
                  <a:lnTo>
                    <a:pt x="234" y="104"/>
                  </a:lnTo>
                  <a:lnTo>
                    <a:pt x="232" y="102"/>
                  </a:lnTo>
                  <a:lnTo>
                    <a:pt x="226" y="98"/>
                  </a:lnTo>
                  <a:lnTo>
                    <a:pt x="220" y="102"/>
                  </a:lnTo>
                  <a:lnTo>
                    <a:pt x="206" y="100"/>
                  </a:lnTo>
                  <a:lnTo>
                    <a:pt x="158" y="100"/>
                  </a:lnTo>
                  <a:lnTo>
                    <a:pt x="142" y="100"/>
                  </a:lnTo>
                  <a:lnTo>
                    <a:pt x="142" y="106"/>
                  </a:lnTo>
                  <a:lnTo>
                    <a:pt x="136" y="116"/>
                  </a:lnTo>
                  <a:lnTo>
                    <a:pt x="134" y="126"/>
                  </a:lnTo>
                  <a:lnTo>
                    <a:pt x="132" y="134"/>
                  </a:lnTo>
                  <a:lnTo>
                    <a:pt x="134" y="142"/>
                  </a:lnTo>
                  <a:lnTo>
                    <a:pt x="138" y="148"/>
                  </a:lnTo>
                  <a:lnTo>
                    <a:pt x="138" y="154"/>
                  </a:lnTo>
                  <a:lnTo>
                    <a:pt x="138" y="156"/>
                  </a:lnTo>
                  <a:lnTo>
                    <a:pt x="134" y="158"/>
                  </a:lnTo>
                  <a:lnTo>
                    <a:pt x="136" y="160"/>
                  </a:lnTo>
                  <a:lnTo>
                    <a:pt x="140" y="162"/>
                  </a:lnTo>
                  <a:lnTo>
                    <a:pt x="146" y="160"/>
                  </a:lnTo>
                  <a:lnTo>
                    <a:pt x="156" y="156"/>
                  </a:lnTo>
                  <a:lnTo>
                    <a:pt x="170" y="152"/>
                  </a:lnTo>
                  <a:lnTo>
                    <a:pt x="178" y="150"/>
                  </a:lnTo>
                  <a:lnTo>
                    <a:pt x="192" y="150"/>
                  </a:lnTo>
                  <a:lnTo>
                    <a:pt x="200" y="152"/>
                  </a:lnTo>
                  <a:lnTo>
                    <a:pt x="204" y="156"/>
                  </a:lnTo>
                  <a:lnTo>
                    <a:pt x="208" y="170"/>
                  </a:lnTo>
                  <a:lnTo>
                    <a:pt x="210" y="172"/>
                  </a:lnTo>
                  <a:lnTo>
                    <a:pt x="214" y="176"/>
                  </a:lnTo>
                  <a:lnTo>
                    <a:pt x="216" y="184"/>
                  </a:lnTo>
                  <a:lnTo>
                    <a:pt x="216" y="186"/>
                  </a:lnTo>
                  <a:lnTo>
                    <a:pt x="216" y="190"/>
                  </a:lnTo>
                  <a:lnTo>
                    <a:pt x="214" y="194"/>
                  </a:lnTo>
                  <a:lnTo>
                    <a:pt x="210" y="198"/>
                  </a:lnTo>
                  <a:lnTo>
                    <a:pt x="210" y="202"/>
                  </a:lnTo>
                  <a:lnTo>
                    <a:pt x="206" y="204"/>
                  </a:lnTo>
                  <a:lnTo>
                    <a:pt x="204" y="206"/>
                  </a:lnTo>
                  <a:lnTo>
                    <a:pt x="194" y="208"/>
                  </a:lnTo>
                  <a:lnTo>
                    <a:pt x="192" y="208"/>
                  </a:lnTo>
                  <a:lnTo>
                    <a:pt x="190" y="214"/>
                  </a:lnTo>
                  <a:lnTo>
                    <a:pt x="184" y="220"/>
                  </a:lnTo>
                  <a:lnTo>
                    <a:pt x="182" y="224"/>
                  </a:lnTo>
                  <a:lnTo>
                    <a:pt x="180" y="230"/>
                  </a:lnTo>
                  <a:lnTo>
                    <a:pt x="180" y="238"/>
                  </a:lnTo>
                  <a:lnTo>
                    <a:pt x="180" y="248"/>
                  </a:lnTo>
                  <a:lnTo>
                    <a:pt x="178" y="256"/>
                  </a:lnTo>
                  <a:lnTo>
                    <a:pt x="182" y="258"/>
                  </a:lnTo>
                  <a:lnTo>
                    <a:pt x="192" y="260"/>
                  </a:lnTo>
                  <a:lnTo>
                    <a:pt x="194" y="262"/>
                  </a:lnTo>
                  <a:lnTo>
                    <a:pt x="198" y="266"/>
                  </a:lnTo>
                  <a:lnTo>
                    <a:pt x="202" y="270"/>
                  </a:lnTo>
                  <a:lnTo>
                    <a:pt x="212" y="274"/>
                  </a:lnTo>
                  <a:lnTo>
                    <a:pt x="216" y="276"/>
                  </a:lnTo>
                  <a:lnTo>
                    <a:pt x="220" y="280"/>
                  </a:lnTo>
                  <a:lnTo>
                    <a:pt x="220" y="282"/>
                  </a:lnTo>
                  <a:lnTo>
                    <a:pt x="216" y="294"/>
                  </a:lnTo>
                  <a:lnTo>
                    <a:pt x="214" y="306"/>
                  </a:lnTo>
                  <a:lnTo>
                    <a:pt x="216" y="314"/>
                  </a:lnTo>
                  <a:lnTo>
                    <a:pt x="216" y="324"/>
                  </a:lnTo>
                  <a:lnTo>
                    <a:pt x="218" y="336"/>
                  </a:lnTo>
                  <a:lnTo>
                    <a:pt x="218" y="342"/>
                  </a:lnTo>
                  <a:lnTo>
                    <a:pt x="214" y="346"/>
                  </a:lnTo>
                  <a:lnTo>
                    <a:pt x="214" y="350"/>
                  </a:lnTo>
                  <a:lnTo>
                    <a:pt x="216" y="354"/>
                  </a:lnTo>
                  <a:lnTo>
                    <a:pt x="214" y="366"/>
                  </a:lnTo>
                  <a:lnTo>
                    <a:pt x="212" y="368"/>
                  </a:lnTo>
                  <a:lnTo>
                    <a:pt x="206" y="370"/>
                  </a:lnTo>
                  <a:lnTo>
                    <a:pt x="204" y="374"/>
                  </a:lnTo>
                  <a:lnTo>
                    <a:pt x="204" y="378"/>
                  </a:lnTo>
                  <a:lnTo>
                    <a:pt x="202" y="386"/>
                  </a:lnTo>
                  <a:lnTo>
                    <a:pt x="198" y="388"/>
                  </a:lnTo>
                  <a:lnTo>
                    <a:pt x="198" y="392"/>
                  </a:lnTo>
                  <a:lnTo>
                    <a:pt x="200" y="394"/>
                  </a:lnTo>
                  <a:lnTo>
                    <a:pt x="200" y="396"/>
                  </a:lnTo>
                  <a:lnTo>
                    <a:pt x="196" y="402"/>
                  </a:lnTo>
                  <a:lnTo>
                    <a:pt x="194" y="404"/>
                  </a:lnTo>
                  <a:lnTo>
                    <a:pt x="188" y="406"/>
                  </a:lnTo>
                  <a:lnTo>
                    <a:pt x="180" y="404"/>
                  </a:lnTo>
                  <a:lnTo>
                    <a:pt x="178" y="402"/>
                  </a:lnTo>
                  <a:lnTo>
                    <a:pt x="180" y="398"/>
                  </a:lnTo>
                  <a:lnTo>
                    <a:pt x="180" y="396"/>
                  </a:lnTo>
                  <a:lnTo>
                    <a:pt x="178" y="392"/>
                  </a:lnTo>
                  <a:lnTo>
                    <a:pt x="174" y="384"/>
                  </a:lnTo>
                  <a:lnTo>
                    <a:pt x="170" y="382"/>
                  </a:lnTo>
                  <a:lnTo>
                    <a:pt x="168" y="386"/>
                  </a:lnTo>
                  <a:lnTo>
                    <a:pt x="162" y="392"/>
                  </a:lnTo>
                  <a:lnTo>
                    <a:pt x="152" y="400"/>
                  </a:lnTo>
                  <a:lnTo>
                    <a:pt x="146" y="400"/>
                  </a:lnTo>
                  <a:lnTo>
                    <a:pt x="132" y="398"/>
                  </a:lnTo>
                  <a:lnTo>
                    <a:pt x="122" y="394"/>
                  </a:lnTo>
                  <a:lnTo>
                    <a:pt x="116" y="386"/>
                  </a:lnTo>
                  <a:lnTo>
                    <a:pt x="114" y="378"/>
                  </a:lnTo>
                  <a:lnTo>
                    <a:pt x="108" y="370"/>
                  </a:lnTo>
                  <a:lnTo>
                    <a:pt x="104" y="364"/>
                  </a:lnTo>
                  <a:lnTo>
                    <a:pt x="98" y="362"/>
                  </a:lnTo>
                  <a:lnTo>
                    <a:pt x="96" y="362"/>
                  </a:lnTo>
                  <a:lnTo>
                    <a:pt x="88" y="368"/>
                  </a:lnTo>
                  <a:lnTo>
                    <a:pt x="86" y="368"/>
                  </a:lnTo>
                  <a:lnTo>
                    <a:pt x="86" y="374"/>
                  </a:lnTo>
                  <a:lnTo>
                    <a:pt x="86" y="376"/>
                  </a:lnTo>
                  <a:lnTo>
                    <a:pt x="88" y="378"/>
                  </a:lnTo>
                  <a:lnTo>
                    <a:pt x="88" y="380"/>
                  </a:lnTo>
                  <a:lnTo>
                    <a:pt x="88" y="384"/>
                  </a:lnTo>
                  <a:lnTo>
                    <a:pt x="86" y="390"/>
                  </a:lnTo>
                  <a:lnTo>
                    <a:pt x="86" y="396"/>
                  </a:lnTo>
                  <a:lnTo>
                    <a:pt x="60" y="400"/>
                  </a:lnTo>
                  <a:lnTo>
                    <a:pt x="56" y="398"/>
                  </a:lnTo>
                  <a:lnTo>
                    <a:pt x="54" y="396"/>
                  </a:lnTo>
                  <a:lnTo>
                    <a:pt x="50" y="396"/>
                  </a:lnTo>
                  <a:lnTo>
                    <a:pt x="38" y="400"/>
                  </a:lnTo>
                  <a:lnTo>
                    <a:pt x="34" y="398"/>
                  </a:lnTo>
                  <a:lnTo>
                    <a:pt x="32" y="396"/>
                  </a:lnTo>
                  <a:lnTo>
                    <a:pt x="28" y="398"/>
                  </a:lnTo>
                  <a:lnTo>
                    <a:pt x="28" y="400"/>
                  </a:lnTo>
                  <a:lnTo>
                    <a:pt x="30" y="412"/>
                  </a:lnTo>
                  <a:lnTo>
                    <a:pt x="30" y="418"/>
                  </a:lnTo>
                  <a:lnTo>
                    <a:pt x="28" y="424"/>
                  </a:lnTo>
                  <a:lnTo>
                    <a:pt x="26" y="428"/>
                  </a:lnTo>
                  <a:lnTo>
                    <a:pt x="34" y="430"/>
                  </a:lnTo>
                  <a:lnTo>
                    <a:pt x="36" y="432"/>
                  </a:lnTo>
                  <a:lnTo>
                    <a:pt x="38" y="436"/>
                  </a:lnTo>
                  <a:lnTo>
                    <a:pt x="42" y="438"/>
                  </a:lnTo>
                  <a:lnTo>
                    <a:pt x="42" y="440"/>
                  </a:lnTo>
                  <a:lnTo>
                    <a:pt x="38" y="444"/>
                  </a:lnTo>
                  <a:lnTo>
                    <a:pt x="36" y="448"/>
                  </a:lnTo>
                  <a:lnTo>
                    <a:pt x="38" y="450"/>
                  </a:lnTo>
                  <a:lnTo>
                    <a:pt x="42" y="454"/>
                  </a:lnTo>
                  <a:lnTo>
                    <a:pt x="50" y="458"/>
                  </a:lnTo>
                  <a:lnTo>
                    <a:pt x="52" y="460"/>
                  </a:lnTo>
                  <a:lnTo>
                    <a:pt x="52" y="462"/>
                  </a:lnTo>
                  <a:lnTo>
                    <a:pt x="50" y="466"/>
                  </a:lnTo>
                  <a:lnTo>
                    <a:pt x="48" y="470"/>
                  </a:lnTo>
                  <a:lnTo>
                    <a:pt x="46" y="474"/>
                  </a:lnTo>
                  <a:lnTo>
                    <a:pt x="46" y="478"/>
                  </a:lnTo>
                  <a:lnTo>
                    <a:pt x="50" y="480"/>
                  </a:lnTo>
                  <a:lnTo>
                    <a:pt x="48" y="484"/>
                  </a:lnTo>
                  <a:lnTo>
                    <a:pt x="46" y="484"/>
                  </a:lnTo>
                  <a:lnTo>
                    <a:pt x="42" y="484"/>
                  </a:lnTo>
                  <a:lnTo>
                    <a:pt x="40" y="484"/>
                  </a:lnTo>
                  <a:lnTo>
                    <a:pt x="36" y="484"/>
                  </a:lnTo>
                  <a:lnTo>
                    <a:pt x="26" y="474"/>
                  </a:lnTo>
                  <a:lnTo>
                    <a:pt x="24" y="474"/>
                  </a:lnTo>
                  <a:lnTo>
                    <a:pt x="10" y="482"/>
                  </a:lnTo>
                  <a:lnTo>
                    <a:pt x="6" y="484"/>
                  </a:lnTo>
                  <a:lnTo>
                    <a:pt x="4" y="490"/>
                  </a:lnTo>
                  <a:lnTo>
                    <a:pt x="0" y="500"/>
                  </a:lnTo>
                  <a:lnTo>
                    <a:pt x="16" y="514"/>
                  </a:lnTo>
                  <a:lnTo>
                    <a:pt x="18" y="518"/>
                  </a:lnTo>
                  <a:lnTo>
                    <a:pt x="34" y="534"/>
                  </a:lnTo>
                  <a:lnTo>
                    <a:pt x="42" y="542"/>
                  </a:lnTo>
                  <a:lnTo>
                    <a:pt x="42" y="550"/>
                  </a:lnTo>
                  <a:lnTo>
                    <a:pt x="44" y="552"/>
                  </a:lnTo>
                  <a:lnTo>
                    <a:pt x="44" y="554"/>
                  </a:lnTo>
                  <a:lnTo>
                    <a:pt x="50" y="562"/>
                  </a:lnTo>
                  <a:lnTo>
                    <a:pt x="54" y="568"/>
                  </a:lnTo>
                  <a:lnTo>
                    <a:pt x="56" y="570"/>
                  </a:lnTo>
                  <a:lnTo>
                    <a:pt x="58" y="572"/>
                  </a:lnTo>
                  <a:lnTo>
                    <a:pt x="62" y="568"/>
                  </a:lnTo>
                  <a:lnTo>
                    <a:pt x="68" y="560"/>
                  </a:lnTo>
                  <a:lnTo>
                    <a:pt x="70" y="556"/>
                  </a:lnTo>
                  <a:lnTo>
                    <a:pt x="76" y="556"/>
                  </a:lnTo>
                  <a:lnTo>
                    <a:pt x="80" y="552"/>
                  </a:lnTo>
                  <a:lnTo>
                    <a:pt x="82" y="548"/>
                  </a:lnTo>
                  <a:lnTo>
                    <a:pt x="82" y="546"/>
                  </a:lnTo>
                  <a:lnTo>
                    <a:pt x="90" y="544"/>
                  </a:lnTo>
                  <a:lnTo>
                    <a:pt x="98" y="540"/>
                  </a:lnTo>
                  <a:lnTo>
                    <a:pt x="104" y="536"/>
                  </a:lnTo>
                  <a:lnTo>
                    <a:pt x="110" y="534"/>
                  </a:lnTo>
                  <a:lnTo>
                    <a:pt x="112" y="534"/>
                  </a:lnTo>
                  <a:lnTo>
                    <a:pt x="114" y="534"/>
                  </a:lnTo>
                  <a:lnTo>
                    <a:pt x="120" y="542"/>
                  </a:lnTo>
                  <a:lnTo>
                    <a:pt x="126" y="546"/>
                  </a:lnTo>
                  <a:lnTo>
                    <a:pt x="126" y="546"/>
                  </a:lnTo>
                  <a:lnTo>
                    <a:pt x="128" y="544"/>
                  </a:lnTo>
                  <a:lnTo>
                    <a:pt x="132" y="544"/>
                  </a:lnTo>
                  <a:lnTo>
                    <a:pt x="132" y="546"/>
                  </a:lnTo>
                  <a:lnTo>
                    <a:pt x="134" y="548"/>
                  </a:lnTo>
                  <a:lnTo>
                    <a:pt x="136" y="552"/>
                  </a:lnTo>
                  <a:lnTo>
                    <a:pt x="142" y="556"/>
                  </a:lnTo>
                  <a:lnTo>
                    <a:pt x="148" y="560"/>
                  </a:lnTo>
                  <a:lnTo>
                    <a:pt x="150" y="560"/>
                  </a:lnTo>
                  <a:lnTo>
                    <a:pt x="154" y="558"/>
                  </a:lnTo>
                  <a:lnTo>
                    <a:pt x="158" y="554"/>
                  </a:lnTo>
                  <a:lnTo>
                    <a:pt x="166" y="552"/>
                  </a:lnTo>
                  <a:lnTo>
                    <a:pt x="168" y="550"/>
                  </a:lnTo>
                  <a:lnTo>
                    <a:pt x="168" y="546"/>
                  </a:lnTo>
                  <a:lnTo>
                    <a:pt x="168" y="540"/>
                  </a:lnTo>
                  <a:lnTo>
                    <a:pt x="170" y="534"/>
                  </a:lnTo>
                  <a:lnTo>
                    <a:pt x="170" y="534"/>
                  </a:lnTo>
                  <a:lnTo>
                    <a:pt x="174" y="534"/>
                  </a:lnTo>
                  <a:lnTo>
                    <a:pt x="178" y="536"/>
                  </a:lnTo>
                  <a:lnTo>
                    <a:pt x="180" y="536"/>
                  </a:lnTo>
                  <a:lnTo>
                    <a:pt x="184" y="536"/>
                  </a:lnTo>
                  <a:lnTo>
                    <a:pt x="186" y="536"/>
                  </a:lnTo>
                  <a:lnTo>
                    <a:pt x="190" y="532"/>
                  </a:lnTo>
                  <a:lnTo>
                    <a:pt x="196" y="532"/>
                  </a:lnTo>
                  <a:lnTo>
                    <a:pt x="202" y="528"/>
                  </a:lnTo>
                  <a:lnTo>
                    <a:pt x="208" y="524"/>
                  </a:lnTo>
                  <a:lnTo>
                    <a:pt x="212" y="524"/>
                  </a:lnTo>
                  <a:lnTo>
                    <a:pt x="214" y="530"/>
                  </a:lnTo>
                  <a:lnTo>
                    <a:pt x="216" y="532"/>
                  </a:lnTo>
                  <a:lnTo>
                    <a:pt x="218" y="534"/>
                  </a:lnTo>
                  <a:lnTo>
                    <a:pt x="214" y="538"/>
                  </a:lnTo>
                  <a:lnTo>
                    <a:pt x="212" y="544"/>
                  </a:lnTo>
                  <a:lnTo>
                    <a:pt x="214" y="550"/>
                  </a:lnTo>
                  <a:lnTo>
                    <a:pt x="214" y="556"/>
                  </a:lnTo>
                  <a:lnTo>
                    <a:pt x="214" y="560"/>
                  </a:lnTo>
                  <a:lnTo>
                    <a:pt x="216" y="562"/>
                  </a:lnTo>
                  <a:lnTo>
                    <a:pt x="218" y="562"/>
                  </a:lnTo>
                  <a:lnTo>
                    <a:pt x="220" y="560"/>
                  </a:lnTo>
                  <a:lnTo>
                    <a:pt x="224" y="562"/>
                  </a:lnTo>
                  <a:lnTo>
                    <a:pt x="230" y="564"/>
                  </a:lnTo>
                  <a:lnTo>
                    <a:pt x="234" y="564"/>
                  </a:lnTo>
                  <a:lnTo>
                    <a:pt x="238" y="560"/>
                  </a:lnTo>
                  <a:lnTo>
                    <a:pt x="248" y="552"/>
                  </a:lnTo>
                  <a:lnTo>
                    <a:pt x="260" y="536"/>
                  </a:lnTo>
                  <a:lnTo>
                    <a:pt x="270" y="526"/>
                  </a:lnTo>
                  <a:lnTo>
                    <a:pt x="280" y="522"/>
                  </a:lnTo>
                  <a:lnTo>
                    <a:pt x="286" y="516"/>
                  </a:lnTo>
                  <a:lnTo>
                    <a:pt x="288" y="510"/>
                  </a:lnTo>
                  <a:lnTo>
                    <a:pt x="292" y="508"/>
                  </a:lnTo>
                  <a:lnTo>
                    <a:pt x="302" y="504"/>
                  </a:lnTo>
                  <a:lnTo>
                    <a:pt x="310" y="500"/>
                  </a:lnTo>
                  <a:lnTo>
                    <a:pt x="318" y="490"/>
                  </a:lnTo>
                  <a:lnTo>
                    <a:pt x="328" y="470"/>
                  </a:lnTo>
                  <a:lnTo>
                    <a:pt x="334" y="442"/>
                  </a:lnTo>
                  <a:lnTo>
                    <a:pt x="332" y="404"/>
                  </a:lnTo>
                  <a:lnTo>
                    <a:pt x="332" y="392"/>
                  </a:lnTo>
                  <a:lnTo>
                    <a:pt x="334" y="386"/>
                  </a:lnTo>
                  <a:lnTo>
                    <a:pt x="336" y="380"/>
                  </a:lnTo>
                  <a:lnTo>
                    <a:pt x="348" y="372"/>
                  </a:lnTo>
                  <a:lnTo>
                    <a:pt x="354" y="364"/>
                  </a:lnTo>
                  <a:lnTo>
                    <a:pt x="360" y="354"/>
                  </a:lnTo>
                  <a:lnTo>
                    <a:pt x="370" y="332"/>
                  </a:lnTo>
                  <a:lnTo>
                    <a:pt x="374" y="326"/>
                  </a:lnTo>
                  <a:lnTo>
                    <a:pt x="376" y="324"/>
                  </a:lnTo>
                  <a:lnTo>
                    <a:pt x="384" y="318"/>
                  </a:lnTo>
                  <a:lnTo>
                    <a:pt x="392" y="312"/>
                  </a:lnTo>
                  <a:lnTo>
                    <a:pt x="402" y="308"/>
                  </a:lnTo>
                  <a:lnTo>
                    <a:pt x="420" y="294"/>
                  </a:lnTo>
                  <a:lnTo>
                    <a:pt x="434" y="278"/>
                  </a:lnTo>
                  <a:lnTo>
                    <a:pt x="432" y="260"/>
                  </a:lnTo>
                  <a:lnTo>
                    <a:pt x="436" y="246"/>
                  </a:lnTo>
                  <a:lnTo>
                    <a:pt x="442" y="228"/>
                  </a:lnTo>
                  <a:lnTo>
                    <a:pt x="446" y="208"/>
                  </a:lnTo>
                  <a:lnTo>
                    <a:pt x="442" y="186"/>
                  </a:lnTo>
                  <a:lnTo>
                    <a:pt x="444" y="170"/>
                  </a:lnTo>
                  <a:lnTo>
                    <a:pt x="450" y="150"/>
                  </a:lnTo>
                  <a:lnTo>
                    <a:pt x="454" y="142"/>
                  </a:lnTo>
                  <a:lnTo>
                    <a:pt x="454" y="130"/>
                  </a:lnTo>
                  <a:lnTo>
                    <a:pt x="454" y="110"/>
                  </a:lnTo>
                  <a:lnTo>
                    <a:pt x="464" y="84"/>
                  </a:lnTo>
                  <a:lnTo>
                    <a:pt x="472" y="68"/>
                  </a:lnTo>
                  <a:lnTo>
                    <a:pt x="482" y="50"/>
                  </a:lnTo>
                  <a:lnTo>
                    <a:pt x="486" y="40"/>
                  </a:lnTo>
                  <a:lnTo>
                    <a:pt x="490" y="26"/>
                  </a:lnTo>
                  <a:lnTo>
                    <a:pt x="490" y="1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7" name="Freeform 65">
              <a:extLst>
                <a:ext uri="{FF2B5EF4-FFF2-40B4-BE49-F238E27FC236}">
                  <a16:creationId xmlns:a16="http://schemas.microsoft.com/office/drawing/2014/main" id="{ED24C3A6-D725-4215-9939-F90D0517A89D}"/>
                </a:ext>
              </a:extLst>
            </p:cNvPr>
            <p:cNvSpPr/>
            <p:nvPr/>
          </p:nvSpPr>
          <p:spPr bwMode="auto">
            <a:xfrm>
              <a:off x="3301883" y="5092581"/>
              <a:ext cx="306809" cy="423982"/>
            </a:xfrm>
            <a:custGeom>
              <a:avLst/>
              <a:gdLst>
                <a:gd name="connsiteX0" fmla="*/ 128658 w 1896520"/>
                <a:gd name="connsiteY0" fmla="*/ 1543902 h 2620820"/>
                <a:gd name="connsiteX1" fmla="*/ 138189 w 1896520"/>
                <a:gd name="connsiteY1" fmla="*/ 1548666 h 2620820"/>
                <a:gd name="connsiteX2" fmla="*/ 138189 w 1896520"/>
                <a:gd name="connsiteY2" fmla="*/ 1553432 h 2620820"/>
                <a:gd name="connsiteX3" fmla="*/ 142954 w 1896520"/>
                <a:gd name="connsiteY3" fmla="*/ 1562962 h 2620820"/>
                <a:gd name="connsiteX4" fmla="*/ 138189 w 1896520"/>
                <a:gd name="connsiteY4" fmla="*/ 1567726 h 2620820"/>
                <a:gd name="connsiteX5" fmla="*/ 128658 w 1896520"/>
                <a:gd name="connsiteY5" fmla="*/ 1558196 h 2620820"/>
                <a:gd name="connsiteX6" fmla="*/ 123893 w 1896520"/>
                <a:gd name="connsiteY6" fmla="*/ 1553432 h 2620820"/>
                <a:gd name="connsiteX7" fmla="*/ 1157926 w 1896520"/>
                <a:gd name="connsiteY7" fmla="*/ 0 h 2620820"/>
                <a:gd name="connsiteX8" fmla="*/ 1176986 w 1896520"/>
                <a:gd name="connsiteY8" fmla="*/ 0 h 2620820"/>
                <a:gd name="connsiteX9" fmla="*/ 1210342 w 1896520"/>
                <a:gd name="connsiteY9" fmla="*/ 19060 h 2620820"/>
                <a:gd name="connsiteX10" fmla="*/ 1229404 w 1896520"/>
                <a:gd name="connsiteY10" fmla="*/ 47652 h 2620820"/>
                <a:gd name="connsiteX11" fmla="*/ 1229404 w 1896520"/>
                <a:gd name="connsiteY11" fmla="*/ 61946 h 2620820"/>
                <a:gd name="connsiteX12" fmla="*/ 1205578 w 1896520"/>
                <a:gd name="connsiteY12" fmla="*/ 85772 h 2620820"/>
                <a:gd name="connsiteX13" fmla="*/ 1200812 w 1896520"/>
                <a:gd name="connsiteY13" fmla="*/ 95302 h 2620820"/>
                <a:gd name="connsiteX14" fmla="*/ 1196048 w 1896520"/>
                <a:gd name="connsiteY14" fmla="*/ 95302 h 2620820"/>
                <a:gd name="connsiteX15" fmla="*/ 1191282 w 1896520"/>
                <a:gd name="connsiteY15" fmla="*/ 100068 h 2620820"/>
                <a:gd name="connsiteX16" fmla="*/ 1167456 w 1896520"/>
                <a:gd name="connsiteY16" fmla="*/ 109598 h 2620820"/>
                <a:gd name="connsiteX17" fmla="*/ 1138866 w 1896520"/>
                <a:gd name="connsiteY17" fmla="*/ 114364 h 2620820"/>
                <a:gd name="connsiteX18" fmla="*/ 1100744 w 1896520"/>
                <a:gd name="connsiteY18" fmla="*/ 123894 h 2620820"/>
                <a:gd name="connsiteX19" fmla="*/ 1095980 w 1896520"/>
                <a:gd name="connsiteY19" fmla="*/ 133424 h 2620820"/>
                <a:gd name="connsiteX20" fmla="*/ 1057858 w 1896520"/>
                <a:gd name="connsiteY20" fmla="*/ 200136 h 2620820"/>
                <a:gd name="connsiteX21" fmla="*/ 1024502 w 1896520"/>
                <a:gd name="connsiteY21" fmla="*/ 214430 h 2620820"/>
                <a:gd name="connsiteX22" fmla="*/ 1014972 w 1896520"/>
                <a:gd name="connsiteY22" fmla="*/ 223960 h 2620820"/>
                <a:gd name="connsiteX23" fmla="*/ 1005442 w 1896520"/>
                <a:gd name="connsiteY23" fmla="*/ 233492 h 2620820"/>
                <a:gd name="connsiteX24" fmla="*/ 986382 w 1896520"/>
                <a:gd name="connsiteY24" fmla="*/ 257316 h 2620820"/>
                <a:gd name="connsiteX25" fmla="*/ 981616 w 1896520"/>
                <a:gd name="connsiteY25" fmla="*/ 271612 h 2620820"/>
                <a:gd name="connsiteX26" fmla="*/ 957790 w 1896520"/>
                <a:gd name="connsiteY26" fmla="*/ 309734 h 2620820"/>
                <a:gd name="connsiteX27" fmla="*/ 948260 w 1896520"/>
                <a:gd name="connsiteY27" fmla="*/ 357384 h 2620820"/>
                <a:gd name="connsiteX28" fmla="*/ 943496 w 1896520"/>
                <a:gd name="connsiteY28" fmla="*/ 385976 h 2620820"/>
                <a:gd name="connsiteX29" fmla="*/ 938730 w 1896520"/>
                <a:gd name="connsiteY29" fmla="*/ 424096 h 2620820"/>
                <a:gd name="connsiteX30" fmla="*/ 929200 w 1896520"/>
                <a:gd name="connsiteY30" fmla="*/ 443156 h 2620820"/>
                <a:gd name="connsiteX31" fmla="*/ 919670 w 1896520"/>
                <a:gd name="connsiteY31" fmla="*/ 462218 h 2620820"/>
                <a:gd name="connsiteX32" fmla="*/ 905374 w 1896520"/>
                <a:gd name="connsiteY32" fmla="*/ 476512 h 2620820"/>
                <a:gd name="connsiteX33" fmla="*/ 895844 w 1896520"/>
                <a:gd name="connsiteY33" fmla="*/ 495574 h 2620820"/>
                <a:gd name="connsiteX34" fmla="*/ 881548 w 1896520"/>
                <a:gd name="connsiteY34" fmla="*/ 514634 h 2620820"/>
                <a:gd name="connsiteX35" fmla="*/ 881548 w 1896520"/>
                <a:gd name="connsiteY35" fmla="*/ 519398 h 2620820"/>
                <a:gd name="connsiteX36" fmla="*/ 886314 w 1896520"/>
                <a:gd name="connsiteY36" fmla="*/ 519398 h 2620820"/>
                <a:gd name="connsiteX37" fmla="*/ 910140 w 1896520"/>
                <a:gd name="connsiteY37" fmla="*/ 519398 h 2620820"/>
                <a:gd name="connsiteX38" fmla="*/ 919670 w 1896520"/>
                <a:gd name="connsiteY38" fmla="*/ 514634 h 2620820"/>
                <a:gd name="connsiteX39" fmla="*/ 929200 w 1896520"/>
                <a:gd name="connsiteY39" fmla="*/ 505104 h 2620820"/>
                <a:gd name="connsiteX40" fmla="*/ 938730 w 1896520"/>
                <a:gd name="connsiteY40" fmla="*/ 509868 h 2620820"/>
                <a:gd name="connsiteX41" fmla="*/ 948260 w 1896520"/>
                <a:gd name="connsiteY41" fmla="*/ 524164 h 2620820"/>
                <a:gd name="connsiteX42" fmla="*/ 953026 w 1896520"/>
                <a:gd name="connsiteY42" fmla="*/ 528930 h 2620820"/>
                <a:gd name="connsiteX43" fmla="*/ 962556 w 1896520"/>
                <a:gd name="connsiteY43" fmla="*/ 524164 h 2620820"/>
                <a:gd name="connsiteX44" fmla="*/ 972086 w 1896520"/>
                <a:gd name="connsiteY44" fmla="*/ 528930 h 2620820"/>
                <a:gd name="connsiteX45" fmla="*/ 981616 w 1896520"/>
                <a:gd name="connsiteY45" fmla="*/ 571816 h 2620820"/>
                <a:gd name="connsiteX46" fmla="*/ 991146 w 1896520"/>
                <a:gd name="connsiteY46" fmla="*/ 605172 h 2620820"/>
                <a:gd name="connsiteX47" fmla="*/ 1029268 w 1896520"/>
                <a:gd name="connsiteY47" fmla="*/ 648058 h 2620820"/>
                <a:gd name="connsiteX48" fmla="*/ 1034032 w 1896520"/>
                <a:gd name="connsiteY48" fmla="*/ 662352 h 2620820"/>
                <a:gd name="connsiteX49" fmla="*/ 1038798 w 1896520"/>
                <a:gd name="connsiteY49" fmla="*/ 681414 h 2620820"/>
                <a:gd name="connsiteX50" fmla="*/ 1038798 w 1896520"/>
                <a:gd name="connsiteY50" fmla="*/ 690944 h 2620820"/>
                <a:gd name="connsiteX51" fmla="*/ 1034032 w 1896520"/>
                <a:gd name="connsiteY51" fmla="*/ 700474 h 2620820"/>
                <a:gd name="connsiteX52" fmla="*/ 1024502 w 1896520"/>
                <a:gd name="connsiteY52" fmla="*/ 710004 h 2620820"/>
                <a:gd name="connsiteX53" fmla="*/ 1024502 w 1896520"/>
                <a:gd name="connsiteY53" fmla="*/ 733830 h 2620820"/>
                <a:gd name="connsiteX54" fmla="*/ 1024502 w 1896520"/>
                <a:gd name="connsiteY54" fmla="*/ 743360 h 2620820"/>
                <a:gd name="connsiteX55" fmla="*/ 1019738 w 1896520"/>
                <a:gd name="connsiteY55" fmla="*/ 767186 h 2620820"/>
                <a:gd name="connsiteX56" fmla="*/ 1019738 w 1896520"/>
                <a:gd name="connsiteY56" fmla="*/ 781480 h 2620820"/>
                <a:gd name="connsiteX57" fmla="*/ 1029268 w 1896520"/>
                <a:gd name="connsiteY57" fmla="*/ 791012 h 2620820"/>
                <a:gd name="connsiteX58" fmla="*/ 1034032 w 1896520"/>
                <a:gd name="connsiteY58" fmla="*/ 795776 h 2620820"/>
                <a:gd name="connsiteX59" fmla="*/ 1048328 w 1896520"/>
                <a:gd name="connsiteY59" fmla="*/ 800542 h 2620820"/>
                <a:gd name="connsiteX60" fmla="*/ 1062624 w 1896520"/>
                <a:gd name="connsiteY60" fmla="*/ 805306 h 2620820"/>
                <a:gd name="connsiteX61" fmla="*/ 1072154 w 1896520"/>
                <a:gd name="connsiteY61" fmla="*/ 824366 h 2620820"/>
                <a:gd name="connsiteX62" fmla="*/ 1081684 w 1896520"/>
                <a:gd name="connsiteY62" fmla="*/ 848192 h 2620820"/>
                <a:gd name="connsiteX63" fmla="*/ 1095980 w 1896520"/>
                <a:gd name="connsiteY63" fmla="*/ 857722 h 2620820"/>
                <a:gd name="connsiteX64" fmla="*/ 1115040 w 1896520"/>
                <a:gd name="connsiteY64" fmla="*/ 867254 h 2620820"/>
                <a:gd name="connsiteX65" fmla="*/ 1124570 w 1896520"/>
                <a:gd name="connsiteY65" fmla="*/ 862488 h 2620820"/>
                <a:gd name="connsiteX66" fmla="*/ 1153160 w 1896520"/>
                <a:gd name="connsiteY66" fmla="*/ 857722 h 2620820"/>
                <a:gd name="connsiteX67" fmla="*/ 1181752 w 1896520"/>
                <a:gd name="connsiteY67" fmla="*/ 857722 h 2620820"/>
                <a:gd name="connsiteX68" fmla="*/ 1219872 w 1896520"/>
                <a:gd name="connsiteY68" fmla="*/ 867254 h 2620820"/>
                <a:gd name="connsiteX69" fmla="*/ 1234168 w 1896520"/>
                <a:gd name="connsiteY69" fmla="*/ 867254 h 2620820"/>
                <a:gd name="connsiteX70" fmla="*/ 1248464 w 1896520"/>
                <a:gd name="connsiteY70" fmla="*/ 862488 h 2620820"/>
                <a:gd name="connsiteX71" fmla="*/ 1281820 w 1896520"/>
                <a:gd name="connsiteY71" fmla="*/ 852958 h 2620820"/>
                <a:gd name="connsiteX72" fmla="*/ 1291350 w 1896520"/>
                <a:gd name="connsiteY72" fmla="*/ 848192 h 2620820"/>
                <a:gd name="connsiteX73" fmla="*/ 1305646 w 1896520"/>
                <a:gd name="connsiteY73" fmla="*/ 852958 h 2620820"/>
                <a:gd name="connsiteX74" fmla="*/ 1324706 w 1896520"/>
                <a:gd name="connsiteY74" fmla="*/ 857722 h 2620820"/>
                <a:gd name="connsiteX75" fmla="*/ 1334236 w 1896520"/>
                <a:gd name="connsiteY75" fmla="*/ 862488 h 2620820"/>
                <a:gd name="connsiteX76" fmla="*/ 1348532 w 1896520"/>
                <a:gd name="connsiteY76" fmla="*/ 867254 h 2620820"/>
                <a:gd name="connsiteX77" fmla="*/ 1367592 w 1896520"/>
                <a:gd name="connsiteY77" fmla="*/ 872018 h 2620820"/>
                <a:gd name="connsiteX78" fmla="*/ 1377122 w 1896520"/>
                <a:gd name="connsiteY78" fmla="*/ 872018 h 2620820"/>
                <a:gd name="connsiteX79" fmla="*/ 1386652 w 1896520"/>
                <a:gd name="connsiteY79" fmla="*/ 872018 h 2620820"/>
                <a:gd name="connsiteX80" fmla="*/ 1396182 w 1896520"/>
                <a:gd name="connsiteY80" fmla="*/ 872018 h 2620820"/>
                <a:gd name="connsiteX81" fmla="*/ 1424774 w 1896520"/>
                <a:gd name="connsiteY81" fmla="*/ 910140 h 2620820"/>
                <a:gd name="connsiteX82" fmla="*/ 1448600 w 1896520"/>
                <a:gd name="connsiteY82" fmla="*/ 943496 h 2620820"/>
                <a:gd name="connsiteX83" fmla="*/ 1472424 w 1896520"/>
                <a:gd name="connsiteY83" fmla="*/ 972086 h 2620820"/>
                <a:gd name="connsiteX84" fmla="*/ 1496250 w 1896520"/>
                <a:gd name="connsiteY84" fmla="*/ 1000676 h 2620820"/>
                <a:gd name="connsiteX85" fmla="*/ 1510546 w 1896520"/>
                <a:gd name="connsiteY85" fmla="*/ 995912 h 2620820"/>
                <a:gd name="connsiteX86" fmla="*/ 1515310 w 1896520"/>
                <a:gd name="connsiteY86" fmla="*/ 1000676 h 2620820"/>
                <a:gd name="connsiteX87" fmla="*/ 1524840 w 1896520"/>
                <a:gd name="connsiteY87" fmla="*/ 1005442 h 2620820"/>
                <a:gd name="connsiteX88" fmla="*/ 1534372 w 1896520"/>
                <a:gd name="connsiteY88" fmla="*/ 1000676 h 2620820"/>
                <a:gd name="connsiteX89" fmla="*/ 1548666 w 1896520"/>
                <a:gd name="connsiteY89" fmla="*/ 991146 h 2620820"/>
                <a:gd name="connsiteX90" fmla="*/ 1572492 w 1896520"/>
                <a:gd name="connsiteY90" fmla="*/ 991146 h 2620820"/>
                <a:gd name="connsiteX91" fmla="*/ 1605848 w 1896520"/>
                <a:gd name="connsiteY91" fmla="*/ 995912 h 2620820"/>
                <a:gd name="connsiteX92" fmla="*/ 1648734 w 1896520"/>
                <a:gd name="connsiteY92" fmla="*/ 995912 h 2620820"/>
                <a:gd name="connsiteX93" fmla="*/ 1696386 w 1896520"/>
                <a:gd name="connsiteY93" fmla="*/ 991146 h 2620820"/>
                <a:gd name="connsiteX94" fmla="*/ 1729742 w 1896520"/>
                <a:gd name="connsiteY94" fmla="*/ 981616 h 2620820"/>
                <a:gd name="connsiteX95" fmla="*/ 1744036 w 1896520"/>
                <a:gd name="connsiteY95" fmla="*/ 976852 h 2620820"/>
                <a:gd name="connsiteX96" fmla="*/ 1763098 w 1896520"/>
                <a:gd name="connsiteY96" fmla="*/ 976852 h 2620820"/>
                <a:gd name="connsiteX97" fmla="*/ 1786924 w 1896520"/>
                <a:gd name="connsiteY97" fmla="*/ 981616 h 2620820"/>
                <a:gd name="connsiteX98" fmla="*/ 1801218 w 1896520"/>
                <a:gd name="connsiteY98" fmla="*/ 991146 h 2620820"/>
                <a:gd name="connsiteX99" fmla="*/ 1801218 w 1896520"/>
                <a:gd name="connsiteY99" fmla="*/ 1000676 h 2620820"/>
                <a:gd name="connsiteX100" fmla="*/ 1810748 w 1896520"/>
                <a:gd name="connsiteY100" fmla="*/ 1014972 h 2620820"/>
                <a:gd name="connsiteX101" fmla="*/ 1801218 w 1896520"/>
                <a:gd name="connsiteY101" fmla="*/ 1034032 h 2620820"/>
                <a:gd name="connsiteX102" fmla="*/ 1786924 w 1896520"/>
                <a:gd name="connsiteY102" fmla="*/ 1048328 h 2620820"/>
                <a:gd name="connsiteX103" fmla="*/ 1777392 w 1896520"/>
                <a:gd name="connsiteY103" fmla="*/ 1067388 h 2620820"/>
                <a:gd name="connsiteX104" fmla="*/ 1777392 w 1896520"/>
                <a:gd name="connsiteY104" fmla="*/ 1091214 h 2620820"/>
                <a:gd name="connsiteX105" fmla="*/ 1767862 w 1896520"/>
                <a:gd name="connsiteY105" fmla="*/ 1105510 h 2620820"/>
                <a:gd name="connsiteX106" fmla="*/ 1753568 w 1896520"/>
                <a:gd name="connsiteY106" fmla="*/ 1119804 h 2620820"/>
                <a:gd name="connsiteX107" fmla="*/ 1748802 w 1896520"/>
                <a:gd name="connsiteY107" fmla="*/ 1134100 h 2620820"/>
                <a:gd name="connsiteX108" fmla="*/ 1753568 w 1896520"/>
                <a:gd name="connsiteY108" fmla="*/ 1157926 h 2620820"/>
                <a:gd name="connsiteX109" fmla="*/ 1748802 w 1896520"/>
                <a:gd name="connsiteY109" fmla="*/ 1186516 h 2620820"/>
                <a:gd name="connsiteX110" fmla="*/ 1744036 w 1896520"/>
                <a:gd name="connsiteY110" fmla="*/ 1229402 h 2620820"/>
                <a:gd name="connsiteX111" fmla="*/ 1744036 w 1896520"/>
                <a:gd name="connsiteY111" fmla="*/ 1253228 h 2620820"/>
                <a:gd name="connsiteX112" fmla="*/ 1748802 w 1896520"/>
                <a:gd name="connsiteY112" fmla="*/ 1262758 h 2620820"/>
                <a:gd name="connsiteX113" fmla="*/ 1753568 w 1896520"/>
                <a:gd name="connsiteY113" fmla="*/ 1277054 h 2620820"/>
                <a:gd name="connsiteX114" fmla="*/ 1753568 w 1896520"/>
                <a:gd name="connsiteY114" fmla="*/ 1291350 h 2620820"/>
                <a:gd name="connsiteX115" fmla="*/ 1753568 w 1896520"/>
                <a:gd name="connsiteY115" fmla="*/ 1305644 h 2620820"/>
                <a:gd name="connsiteX116" fmla="*/ 1763098 w 1896520"/>
                <a:gd name="connsiteY116" fmla="*/ 1319940 h 2620820"/>
                <a:gd name="connsiteX117" fmla="*/ 1772628 w 1896520"/>
                <a:gd name="connsiteY117" fmla="*/ 1358062 h 2620820"/>
                <a:gd name="connsiteX118" fmla="*/ 1782158 w 1896520"/>
                <a:gd name="connsiteY118" fmla="*/ 1372356 h 2620820"/>
                <a:gd name="connsiteX119" fmla="*/ 1791688 w 1896520"/>
                <a:gd name="connsiteY119" fmla="*/ 1377122 h 2620820"/>
                <a:gd name="connsiteX120" fmla="*/ 1801218 w 1896520"/>
                <a:gd name="connsiteY120" fmla="*/ 1381886 h 2620820"/>
                <a:gd name="connsiteX121" fmla="*/ 1820280 w 1896520"/>
                <a:gd name="connsiteY121" fmla="*/ 1420008 h 2620820"/>
                <a:gd name="connsiteX122" fmla="*/ 1829810 w 1896520"/>
                <a:gd name="connsiteY122" fmla="*/ 1424774 h 2620820"/>
                <a:gd name="connsiteX123" fmla="*/ 1825044 w 1896520"/>
                <a:gd name="connsiteY123" fmla="*/ 1434304 h 2620820"/>
                <a:gd name="connsiteX124" fmla="*/ 1825044 w 1896520"/>
                <a:gd name="connsiteY124" fmla="*/ 1439068 h 2620820"/>
                <a:gd name="connsiteX125" fmla="*/ 1820280 w 1896520"/>
                <a:gd name="connsiteY125" fmla="*/ 1439068 h 2620820"/>
                <a:gd name="connsiteX126" fmla="*/ 1796454 w 1896520"/>
                <a:gd name="connsiteY126" fmla="*/ 1462894 h 2620820"/>
                <a:gd name="connsiteX127" fmla="*/ 1748802 w 1896520"/>
                <a:gd name="connsiteY127" fmla="*/ 1505780 h 2620820"/>
                <a:gd name="connsiteX128" fmla="*/ 1744036 w 1896520"/>
                <a:gd name="connsiteY128" fmla="*/ 1515310 h 2620820"/>
                <a:gd name="connsiteX129" fmla="*/ 1744036 w 1896520"/>
                <a:gd name="connsiteY129" fmla="*/ 1524840 h 2620820"/>
                <a:gd name="connsiteX130" fmla="*/ 1758332 w 1896520"/>
                <a:gd name="connsiteY130" fmla="*/ 1515310 h 2620820"/>
                <a:gd name="connsiteX131" fmla="*/ 1772628 w 1896520"/>
                <a:gd name="connsiteY131" fmla="*/ 1520076 h 2620820"/>
                <a:gd name="connsiteX132" fmla="*/ 1782158 w 1896520"/>
                <a:gd name="connsiteY132" fmla="*/ 1524840 h 2620820"/>
                <a:gd name="connsiteX133" fmla="*/ 1782158 w 1896520"/>
                <a:gd name="connsiteY133" fmla="*/ 1529606 h 2620820"/>
                <a:gd name="connsiteX134" fmla="*/ 1786924 w 1896520"/>
                <a:gd name="connsiteY134" fmla="*/ 1539136 h 2620820"/>
                <a:gd name="connsiteX135" fmla="*/ 1791688 w 1896520"/>
                <a:gd name="connsiteY135" fmla="*/ 1539136 h 2620820"/>
                <a:gd name="connsiteX136" fmla="*/ 1801218 w 1896520"/>
                <a:gd name="connsiteY136" fmla="*/ 1548666 h 2620820"/>
                <a:gd name="connsiteX137" fmla="*/ 1815514 w 1896520"/>
                <a:gd name="connsiteY137" fmla="*/ 1558196 h 2620820"/>
                <a:gd name="connsiteX138" fmla="*/ 1829810 w 1896520"/>
                <a:gd name="connsiteY138" fmla="*/ 1572492 h 2620820"/>
                <a:gd name="connsiteX139" fmla="*/ 1839340 w 1896520"/>
                <a:gd name="connsiteY139" fmla="*/ 1582022 h 2620820"/>
                <a:gd name="connsiteX140" fmla="*/ 1844104 w 1896520"/>
                <a:gd name="connsiteY140" fmla="*/ 1586788 h 2620820"/>
                <a:gd name="connsiteX141" fmla="*/ 1844104 w 1896520"/>
                <a:gd name="connsiteY141" fmla="*/ 1596318 h 2620820"/>
                <a:gd name="connsiteX142" fmla="*/ 1844104 w 1896520"/>
                <a:gd name="connsiteY142" fmla="*/ 1605848 h 2620820"/>
                <a:gd name="connsiteX143" fmla="*/ 1848870 w 1896520"/>
                <a:gd name="connsiteY143" fmla="*/ 1624908 h 2620820"/>
                <a:gd name="connsiteX144" fmla="*/ 1858400 w 1896520"/>
                <a:gd name="connsiteY144" fmla="*/ 1629674 h 2620820"/>
                <a:gd name="connsiteX145" fmla="*/ 1858400 w 1896520"/>
                <a:gd name="connsiteY145" fmla="*/ 1639204 h 2620820"/>
                <a:gd name="connsiteX146" fmla="*/ 1858400 w 1896520"/>
                <a:gd name="connsiteY146" fmla="*/ 1648734 h 2620820"/>
                <a:gd name="connsiteX147" fmla="*/ 1863166 w 1896520"/>
                <a:gd name="connsiteY147" fmla="*/ 1658264 h 2620820"/>
                <a:gd name="connsiteX148" fmla="*/ 1867930 w 1896520"/>
                <a:gd name="connsiteY148" fmla="*/ 1672560 h 2620820"/>
                <a:gd name="connsiteX149" fmla="*/ 1877460 w 1896520"/>
                <a:gd name="connsiteY149" fmla="*/ 1696386 h 2620820"/>
                <a:gd name="connsiteX150" fmla="*/ 1877460 w 1896520"/>
                <a:gd name="connsiteY150" fmla="*/ 1710680 h 2620820"/>
                <a:gd name="connsiteX151" fmla="*/ 1882226 w 1896520"/>
                <a:gd name="connsiteY151" fmla="*/ 1715446 h 2620820"/>
                <a:gd name="connsiteX152" fmla="*/ 1886990 w 1896520"/>
                <a:gd name="connsiteY152" fmla="*/ 1729742 h 2620820"/>
                <a:gd name="connsiteX153" fmla="*/ 1896520 w 1896520"/>
                <a:gd name="connsiteY153" fmla="*/ 1748802 h 2620820"/>
                <a:gd name="connsiteX154" fmla="*/ 1891756 w 1896520"/>
                <a:gd name="connsiteY154" fmla="*/ 1758332 h 2620820"/>
                <a:gd name="connsiteX155" fmla="*/ 1896520 w 1896520"/>
                <a:gd name="connsiteY155" fmla="*/ 1767862 h 2620820"/>
                <a:gd name="connsiteX156" fmla="*/ 1867930 w 1896520"/>
                <a:gd name="connsiteY156" fmla="*/ 1777392 h 2620820"/>
                <a:gd name="connsiteX157" fmla="*/ 1863166 w 1896520"/>
                <a:gd name="connsiteY157" fmla="*/ 1772628 h 2620820"/>
                <a:gd name="connsiteX158" fmla="*/ 1863166 w 1896520"/>
                <a:gd name="connsiteY158" fmla="*/ 1739272 h 2620820"/>
                <a:gd name="connsiteX159" fmla="*/ 1863166 w 1896520"/>
                <a:gd name="connsiteY159" fmla="*/ 1705916 h 2620820"/>
                <a:gd name="connsiteX160" fmla="*/ 1858400 w 1896520"/>
                <a:gd name="connsiteY160" fmla="*/ 1691620 h 2620820"/>
                <a:gd name="connsiteX161" fmla="*/ 1844104 w 1896520"/>
                <a:gd name="connsiteY161" fmla="*/ 1672560 h 2620820"/>
                <a:gd name="connsiteX162" fmla="*/ 1825044 w 1896520"/>
                <a:gd name="connsiteY162" fmla="*/ 1643968 h 2620820"/>
                <a:gd name="connsiteX163" fmla="*/ 1820280 w 1896520"/>
                <a:gd name="connsiteY163" fmla="*/ 1634438 h 2620820"/>
                <a:gd name="connsiteX164" fmla="*/ 1815514 w 1896520"/>
                <a:gd name="connsiteY164" fmla="*/ 1629674 h 2620820"/>
                <a:gd name="connsiteX165" fmla="*/ 1805984 w 1896520"/>
                <a:gd name="connsiteY165" fmla="*/ 1629674 h 2620820"/>
                <a:gd name="connsiteX166" fmla="*/ 1796454 w 1896520"/>
                <a:gd name="connsiteY166" fmla="*/ 1629674 h 2620820"/>
                <a:gd name="connsiteX167" fmla="*/ 1782158 w 1896520"/>
                <a:gd name="connsiteY167" fmla="*/ 1639204 h 2620820"/>
                <a:gd name="connsiteX168" fmla="*/ 1763098 w 1896520"/>
                <a:gd name="connsiteY168" fmla="*/ 1658264 h 2620820"/>
                <a:gd name="connsiteX169" fmla="*/ 1748802 w 1896520"/>
                <a:gd name="connsiteY169" fmla="*/ 1682090 h 2620820"/>
                <a:gd name="connsiteX170" fmla="*/ 1739272 w 1896520"/>
                <a:gd name="connsiteY170" fmla="*/ 1686854 h 2620820"/>
                <a:gd name="connsiteX171" fmla="*/ 1729742 w 1896520"/>
                <a:gd name="connsiteY171" fmla="*/ 1686854 h 2620820"/>
                <a:gd name="connsiteX172" fmla="*/ 1720212 w 1896520"/>
                <a:gd name="connsiteY172" fmla="*/ 1686854 h 2620820"/>
                <a:gd name="connsiteX173" fmla="*/ 1715446 w 1896520"/>
                <a:gd name="connsiteY173" fmla="*/ 1682090 h 2620820"/>
                <a:gd name="connsiteX174" fmla="*/ 1710680 w 1896520"/>
                <a:gd name="connsiteY174" fmla="*/ 1667794 h 2620820"/>
                <a:gd name="connsiteX175" fmla="*/ 1701150 w 1896520"/>
                <a:gd name="connsiteY175" fmla="*/ 1653500 h 2620820"/>
                <a:gd name="connsiteX176" fmla="*/ 1691620 w 1896520"/>
                <a:gd name="connsiteY176" fmla="*/ 1648734 h 2620820"/>
                <a:gd name="connsiteX177" fmla="*/ 1686856 w 1896520"/>
                <a:gd name="connsiteY177" fmla="*/ 1653500 h 2620820"/>
                <a:gd name="connsiteX178" fmla="*/ 1682090 w 1896520"/>
                <a:gd name="connsiteY178" fmla="*/ 1672560 h 2620820"/>
                <a:gd name="connsiteX179" fmla="*/ 1686856 w 1896520"/>
                <a:gd name="connsiteY179" fmla="*/ 1682090 h 2620820"/>
                <a:gd name="connsiteX180" fmla="*/ 1691620 w 1896520"/>
                <a:gd name="connsiteY180" fmla="*/ 1691620 h 2620820"/>
                <a:gd name="connsiteX181" fmla="*/ 1515310 w 1896520"/>
                <a:gd name="connsiteY181" fmla="*/ 1691620 h 2620820"/>
                <a:gd name="connsiteX182" fmla="*/ 1501016 w 1896520"/>
                <a:gd name="connsiteY182" fmla="*/ 1691620 h 2620820"/>
                <a:gd name="connsiteX183" fmla="*/ 1491486 w 1896520"/>
                <a:gd name="connsiteY183" fmla="*/ 1686854 h 2620820"/>
                <a:gd name="connsiteX184" fmla="*/ 1481954 w 1896520"/>
                <a:gd name="connsiteY184" fmla="*/ 1682090 h 2620820"/>
                <a:gd name="connsiteX185" fmla="*/ 1472424 w 1896520"/>
                <a:gd name="connsiteY185" fmla="*/ 1682090 h 2620820"/>
                <a:gd name="connsiteX186" fmla="*/ 1462894 w 1896520"/>
                <a:gd name="connsiteY186" fmla="*/ 1686854 h 2620820"/>
                <a:gd name="connsiteX187" fmla="*/ 1448600 w 1896520"/>
                <a:gd name="connsiteY187" fmla="*/ 1686854 h 2620820"/>
                <a:gd name="connsiteX188" fmla="*/ 1439068 w 1896520"/>
                <a:gd name="connsiteY188" fmla="*/ 1691620 h 2620820"/>
                <a:gd name="connsiteX189" fmla="*/ 1429538 w 1896520"/>
                <a:gd name="connsiteY189" fmla="*/ 1691620 h 2620820"/>
                <a:gd name="connsiteX190" fmla="*/ 1429538 w 1896520"/>
                <a:gd name="connsiteY190" fmla="*/ 1753566 h 2620820"/>
                <a:gd name="connsiteX191" fmla="*/ 1429538 w 1896520"/>
                <a:gd name="connsiteY191" fmla="*/ 1796454 h 2620820"/>
                <a:gd name="connsiteX192" fmla="*/ 1439068 w 1896520"/>
                <a:gd name="connsiteY192" fmla="*/ 1791688 h 2620820"/>
                <a:gd name="connsiteX193" fmla="*/ 1448600 w 1896520"/>
                <a:gd name="connsiteY193" fmla="*/ 1791688 h 2620820"/>
                <a:gd name="connsiteX194" fmla="*/ 1453364 w 1896520"/>
                <a:gd name="connsiteY194" fmla="*/ 1796454 h 2620820"/>
                <a:gd name="connsiteX195" fmla="*/ 1467660 w 1896520"/>
                <a:gd name="connsiteY195" fmla="*/ 1791688 h 2620820"/>
                <a:gd name="connsiteX196" fmla="*/ 1477190 w 1896520"/>
                <a:gd name="connsiteY196" fmla="*/ 1791688 h 2620820"/>
                <a:gd name="connsiteX197" fmla="*/ 1481954 w 1896520"/>
                <a:gd name="connsiteY197" fmla="*/ 1796454 h 2620820"/>
                <a:gd name="connsiteX198" fmla="*/ 1491486 w 1896520"/>
                <a:gd name="connsiteY198" fmla="*/ 1796454 h 2620820"/>
                <a:gd name="connsiteX199" fmla="*/ 1496250 w 1896520"/>
                <a:gd name="connsiteY199" fmla="*/ 1796454 h 2620820"/>
                <a:gd name="connsiteX200" fmla="*/ 1501016 w 1896520"/>
                <a:gd name="connsiteY200" fmla="*/ 1796454 h 2620820"/>
                <a:gd name="connsiteX201" fmla="*/ 1505780 w 1896520"/>
                <a:gd name="connsiteY201" fmla="*/ 1791688 h 2620820"/>
                <a:gd name="connsiteX202" fmla="*/ 1515310 w 1896520"/>
                <a:gd name="connsiteY202" fmla="*/ 1796454 h 2620820"/>
                <a:gd name="connsiteX203" fmla="*/ 1524840 w 1896520"/>
                <a:gd name="connsiteY203" fmla="*/ 1801218 h 2620820"/>
                <a:gd name="connsiteX204" fmla="*/ 1529606 w 1896520"/>
                <a:gd name="connsiteY204" fmla="*/ 1810748 h 2620820"/>
                <a:gd name="connsiteX205" fmla="*/ 1534372 w 1896520"/>
                <a:gd name="connsiteY205" fmla="*/ 1820278 h 2620820"/>
                <a:gd name="connsiteX206" fmla="*/ 1539136 w 1896520"/>
                <a:gd name="connsiteY206" fmla="*/ 1825044 h 2620820"/>
                <a:gd name="connsiteX207" fmla="*/ 1539136 w 1896520"/>
                <a:gd name="connsiteY207" fmla="*/ 1834574 h 2620820"/>
                <a:gd name="connsiteX208" fmla="*/ 1539136 w 1896520"/>
                <a:gd name="connsiteY208" fmla="*/ 1844104 h 2620820"/>
                <a:gd name="connsiteX209" fmla="*/ 1539136 w 1896520"/>
                <a:gd name="connsiteY209" fmla="*/ 1848870 h 2620820"/>
                <a:gd name="connsiteX210" fmla="*/ 1539136 w 1896520"/>
                <a:gd name="connsiteY210" fmla="*/ 1853634 h 2620820"/>
                <a:gd name="connsiteX211" fmla="*/ 1539136 w 1896520"/>
                <a:gd name="connsiteY211" fmla="*/ 1858400 h 2620820"/>
                <a:gd name="connsiteX212" fmla="*/ 1529606 w 1896520"/>
                <a:gd name="connsiteY212" fmla="*/ 1863164 h 2620820"/>
                <a:gd name="connsiteX213" fmla="*/ 1524840 w 1896520"/>
                <a:gd name="connsiteY213" fmla="*/ 1863164 h 2620820"/>
                <a:gd name="connsiteX214" fmla="*/ 1520076 w 1896520"/>
                <a:gd name="connsiteY214" fmla="*/ 1863164 h 2620820"/>
                <a:gd name="connsiteX215" fmla="*/ 1515310 w 1896520"/>
                <a:gd name="connsiteY215" fmla="*/ 1858400 h 2620820"/>
                <a:gd name="connsiteX216" fmla="*/ 1510546 w 1896520"/>
                <a:gd name="connsiteY216" fmla="*/ 1858400 h 2620820"/>
                <a:gd name="connsiteX217" fmla="*/ 1501016 w 1896520"/>
                <a:gd name="connsiteY217" fmla="*/ 1853634 h 2620820"/>
                <a:gd name="connsiteX218" fmla="*/ 1501016 w 1896520"/>
                <a:gd name="connsiteY218" fmla="*/ 1848870 h 2620820"/>
                <a:gd name="connsiteX219" fmla="*/ 1491486 w 1896520"/>
                <a:gd name="connsiteY219" fmla="*/ 1844104 h 2620820"/>
                <a:gd name="connsiteX220" fmla="*/ 1481954 w 1896520"/>
                <a:gd name="connsiteY220" fmla="*/ 1848870 h 2620820"/>
                <a:gd name="connsiteX221" fmla="*/ 1477190 w 1896520"/>
                <a:gd name="connsiteY221" fmla="*/ 1848870 h 2620820"/>
                <a:gd name="connsiteX222" fmla="*/ 1467660 w 1896520"/>
                <a:gd name="connsiteY222" fmla="*/ 1853634 h 2620820"/>
                <a:gd name="connsiteX223" fmla="*/ 1462894 w 1896520"/>
                <a:gd name="connsiteY223" fmla="*/ 1858400 h 2620820"/>
                <a:gd name="connsiteX224" fmla="*/ 1458130 w 1896520"/>
                <a:gd name="connsiteY224" fmla="*/ 1853634 h 2620820"/>
                <a:gd name="connsiteX225" fmla="*/ 1453364 w 1896520"/>
                <a:gd name="connsiteY225" fmla="*/ 1858400 h 2620820"/>
                <a:gd name="connsiteX226" fmla="*/ 1448600 w 1896520"/>
                <a:gd name="connsiteY226" fmla="*/ 1863164 h 2620820"/>
                <a:gd name="connsiteX227" fmla="*/ 1439068 w 1896520"/>
                <a:gd name="connsiteY227" fmla="*/ 1863164 h 2620820"/>
                <a:gd name="connsiteX228" fmla="*/ 1429538 w 1896520"/>
                <a:gd name="connsiteY228" fmla="*/ 1867930 h 2620820"/>
                <a:gd name="connsiteX229" fmla="*/ 1420008 w 1896520"/>
                <a:gd name="connsiteY229" fmla="*/ 1867930 h 2620820"/>
                <a:gd name="connsiteX230" fmla="*/ 1410478 w 1896520"/>
                <a:gd name="connsiteY230" fmla="*/ 1867930 h 2620820"/>
                <a:gd name="connsiteX231" fmla="*/ 1400948 w 1896520"/>
                <a:gd name="connsiteY231" fmla="*/ 1867930 h 2620820"/>
                <a:gd name="connsiteX232" fmla="*/ 1400948 w 1896520"/>
                <a:gd name="connsiteY232" fmla="*/ 1891756 h 2620820"/>
                <a:gd name="connsiteX233" fmla="*/ 1396182 w 1896520"/>
                <a:gd name="connsiteY233" fmla="*/ 1929876 h 2620820"/>
                <a:gd name="connsiteX234" fmla="*/ 1396182 w 1896520"/>
                <a:gd name="connsiteY234" fmla="*/ 1958468 h 2620820"/>
                <a:gd name="connsiteX235" fmla="*/ 1396182 w 1896520"/>
                <a:gd name="connsiteY235" fmla="*/ 1982294 h 2620820"/>
                <a:gd name="connsiteX236" fmla="*/ 1400948 w 1896520"/>
                <a:gd name="connsiteY236" fmla="*/ 1991824 h 2620820"/>
                <a:gd name="connsiteX237" fmla="*/ 1420008 w 1896520"/>
                <a:gd name="connsiteY237" fmla="*/ 2010884 h 2620820"/>
                <a:gd name="connsiteX238" fmla="*/ 1434304 w 1896520"/>
                <a:gd name="connsiteY238" fmla="*/ 2020414 h 2620820"/>
                <a:gd name="connsiteX239" fmla="*/ 1448600 w 1896520"/>
                <a:gd name="connsiteY239" fmla="*/ 2029944 h 2620820"/>
                <a:gd name="connsiteX240" fmla="*/ 1458130 w 1896520"/>
                <a:gd name="connsiteY240" fmla="*/ 2034710 h 2620820"/>
                <a:gd name="connsiteX241" fmla="*/ 1467660 w 1896520"/>
                <a:gd name="connsiteY241" fmla="*/ 2039474 h 2620820"/>
                <a:gd name="connsiteX242" fmla="*/ 1467660 w 1896520"/>
                <a:gd name="connsiteY242" fmla="*/ 2044240 h 2620820"/>
                <a:gd name="connsiteX243" fmla="*/ 1472424 w 1896520"/>
                <a:gd name="connsiteY243" fmla="*/ 2053770 h 2620820"/>
                <a:gd name="connsiteX244" fmla="*/ 1472424 w 1896520"/>
                <a:gd name="connsiteY244" fmla="*/ 2058534 h 2620820"/>
                <a:gd name="connsiteX245" fmla="*/ 1472424 w 1896520"/>
                <a:gd name="connsiteY245" fmla="*/ 2068066 h 2620820"/>
                <a:gd name="connsiteX246" fmla="*/ 1467660 w 1896520"/>
                <a:gd name="connsiteY246" fmla="*/ 2072830 h 2620820"/>
                <a:gd name="connsiteX247" fmla="*/ 1467660 w 1896520"/>
                <a:gd name="connsiteY247" fmla="*/ 2077596 h 2620820"/>
                <a:gd name="connsiteX248" fmla="*/ 1472424 w 1896520"/>
                <a:gd name="connsiteY248" fmla="*/ 2082360 h 2620820"/>
                <a:gd name="connsiteX249" fmla="*/ 1477190 w 1896520"/>
                <a:gd name="connsiteY249" fmla="*/ 2091890 h 2620820"/>
                <a:gd name="connsiteX250" fmla="*/ 1477190 w 1896520"/>
                <a:gd name="connsiteY250" fmla="*/ 2096656 h 2620820"/>
                <a:gd name="connsiteX251" fmla="*/ 1481954 w 1896520"/>
                <a:gd name="connsiteY251" fmla="*/ 2101422 h 2620820"/>
                <a:gd name="connsiteX252" fmla="*/ 1481954 w 1896520"/>
                <a:gd name="connsiteY252" fmla="*/ 2106186 h 2620820"/>
                <a:gd name="connsiteX253" fmla="*/ 1486720 w 1896520"/>
                <a:gd name="connsiteY253" fmla="*/ 2110952 h 2620820"/>
                <a:gd name="connsiteX254" fmla="*/ 1496250 w 1896520"/>
                <a:gd name="connsiteY254" fmla="*/ 2115716 h 2620820"/>
                <a:gd name="connsiteX255" fmla="*/ 1496250 w 1896520"/>
                <a:gd name="connsiteY255" fmla="*/ 2120482 h 2620820"/>
                <a:gd name="connsiteX256" fmla="*/ 1496250 w 1896520"/>
                <a:gd name="connsiteY256" fmla="*/ 2125246 h 2620820"/>
                <a:gd name="connsiteX257" fmla="*/ 1496250 w 1896520"/>
                <a:gd name="connsiteY257" fmla="*/ 2130012 h 2620820"/>
                <a:gd name="connsiteX258" fmla="*/ 1501016 w 1896520"/>
                <a:gd name="connsiteY258" fmla="*/ 2139542 h 2620820"/>
                <a:gd name="connsiteX259" fmla="*/ 1501016 w 1896520"/>
                <a:gd name="connsiteY259" fmla="*/ 2144308 h 2620820"/>
                <a:gd name="connsiteX260" fmla="*/ 1501016 w 1896520"/>
                <a:gd name="connsiteY260" fmla="*/ 2153838 h 2620820"/>
                <a:gd name="connsiteX261" fmla="*/ 1496250 w 1896520"/>
                <a:gd name="connsiteY261" fmla="*/ 2182428 h 2620820"/>
                <a:gd name="connsiteX262" fmla="*/ 1491486 w 1896520"/>
                <a:gd name="connsiteY262" fmla="*/ 2211018 h 2620820"/>
                <a:gd name="connsiteX263" fmla="*/ 1486720 w 1896520"/>
                <a:gd name="connsiteY263" fmla="*/ 2234844 h 2620820"/>
                <a:gd name="connsiteX264" fmla="*/ 1477190 w 1896520"/>
                <a:gd name="connsiteY264" fmla="*/ 2277730 h 2620820"/>
                <a:gd name="connsiteX265" fmla="*/ 1467660 w 1896520"/>
                <a:gd name="connsiteY265" fmla="*/ 2320618 h 2620820"/>
                <a:gd name="connsiteX266" fmla="*/ 1448600 w 1896520"/>
                <a:gd name="connsiteY266" fmla="*/ 2430214 h 2620820"/>
                <a:gd name="connsiteX267" fmla="*/ 1439068 w 1896520"/>
                <a:gd name="connsiteY267" fmla="*/ 2482632 h 2620820"/>
                <a:gd name="connsiteX268" fmla="*/ 1429538 w 1896520"/>
                <a:gd name="connsiteY268" fmla="*/ 2530282 h 2620820"/>
                <a:gd name="connsiteX269" fmla="*/ 1420008 w 1896520"/>
                <a:gd name="connsiteY269" fmla="*/ 2582698 h 2620820"/>
                <a:gd name="connsiteX270" fmla="*/ 1415244 w 1896520"/>
                <a:gd name="connsiteY270" fmla="*/ 2616054 h 2620820"/>
                <a:gd name="connsiteX271" fmla="*/ 1415244 w 1896520"/>
                <a:gd name="connsiteY271" fmla="*/ 2620820 h 2620820"/>
                <a:gd name="connsiteX272" fmla="*/ 1405712 w 1896520"/>
                <a:gd name="connsiteY272" fmla="*/ 2611290 h 2620820"/>
                <a:gd name="connsiteX273" fmla="*/ 1396182 w 1896520"/>
                <a:gd name="connsiteY273" fmla="*/ 2596994 h 2620820"/>
                <a:gd name="connsiteX274" fmla="*/ 1381888 w 1896520"/>
                <a:gd name="connsiteY274" fmla="*/ 2592230 h 2620820"/>
                <a:gd name="connsiteX275" fmla="*/ 1377122 w 1896520"/>
                <a:gd name="connsiteY275" fmla="*/ 2582698 h 2620820"/>
                <a:gd name="connsiteX276" fmla="*/ 1372356 w 1896520"/>
                <a:gd name="connsiteY276" fmla="*/ 2568404 h 2620820"/>
                <a:gd name="connsiteX277" fmla="*/ 1362826 w 1896520"/>
                <a:gd name="connsiteY277" fmla="*/ 2558874 h 2620820"/>
                <a:gd name="connsiteX278" fmla="*/ 1353296 w 1896520"/>
                <a:gd name="connsiteY278" fmla="*/ 2554108 h 2620820"/>
                <a:gd name="connsiteX279" fmla="*/ 1348532 w 1896520"/>
                <a:gd name="connsiteY279" fmla="*/ 2558874 h 2620820"/>
                <a:gd name="connsiteX280" fmla="*/ 1343766 w 1896520"/>
                <a:gd name="connsiteY280" fmla="*/ 2558874 h 2620820"/>
                <a:gd name="connsiteX281" fmla="*/ 1334236 w 1896520"/>
                <a:gd name="connsiteY281" fmla="*/ 2563638 h 2620820"/>
                <a:gd name="connsiteX282" fmla="*/ 1324706 w 1896520"/>
                <a:gd name="connsiteY282" fmla="*/ 2563638 h 2620820"/>
                <a:gd name="connsiteX283" fmla="*/ 1296114 w 1896520"/>
                <a:gd name="connsiteY283" fmla="*/ 2554108 h 2620820"/>
                <a:gd name="connsiteX284" fmla="*/ 1291350 w 1896520"/>
                <a:gd name="connsiteY284" fmla="*/ 2549342 h 2620820"/>
                <a:gd name="connsiteX285" fmla="*/ 1310410 w 1896520"/>
                <a:gd name="connsiteY285" fmla="*/ 2520752 h 2620820"/>
                <a:gd name="connsiteX286" fmla="*/ 1343766 w 1896520"/>
                <a:gd name="connsiteY286" fmla="*/ 2473102 h 2620820"/>
                <a:gd name="connsiteX287" fmla="*/ 1362826 w 1896520"/>
                <a:gd name="connsiteY287" fmla="*/ 2439746 h 2620820"/>
                <a:gd name="connsiteX288" fmla="*/ 1386652 w 1896520"/>
                <a:gd name="connsiteY288" fmla="*/ 2406390 h 2620820"/>
                <a:gd name="connsiteX289" fmla="*/ 1396182 w 1896520"/>
                <a:gd name="connsiteY289" fmla="*/ 2392094 h 2620820"/>
                <a:gd name="connsiteX290" fmla="*/ 1396182 w 1896520"/>
                <a:gd name="connsiteY290" fmla="*/ 2387328 h 2620820"/>
                <a:gd name="connsiteX291" fmla="*/ 1396182 w 1896520"/>
                <a:gd name="connsiteY291" fmla="*/ 2382564 h 2620820"/>
                <a:gd name="connsiteX292" fmla="*/ 1391418 w 1896520"/>
                <a:gd name="connsiteY292" fmla="*/ 2373034 h 2620820"/>
                <a:gd name="connsiteX293" fmla="*/ 1381888 w 1896520"/>
                <a:gd name="connsiteY293" fmla="*/ 2373034 h 2620820"/>
                <a:gd name="connsiteX294" fmla="*/ 1372356 w 1896520"/>
                <a:gd name="connsiteY294" fmla="*/ 2368268 h 2620820"/>
                <a:gd name="connsiteX295" fmla="*/ 1362826 w 1896520"/>
                <a:gd name="connsiteY295" fmla="*/ 2358738 h 2620820"/>
                <a:gd name="connsiteX296" fmla="*/ 1353296 w 1896520"/>
                <a:gd name="connsiteY296" fmla="*/ 2353972 h 2620820"/>
                <a:gd name="connsiteX297" fmla="*/ 1343766 w 1896520"/>
                <a:gd name="connsiteY297" fmla="*/ 2349208 h 2620820"/>
                <a:gd name="connsiteX298" fmla="*/ 1329470 w 1896520"/>
                <a:gd name="connsiteY298" fmla="*/ 2344442 h 2620820"/>
                <a:gd name="connsiteX299" fmla="*/ 1319940 w 1896520"/>
                <a:gd name="connsiteY299" fmla="*/ 2339678 h 2620820"/>
                <a:gd name="connsiteX300" fmla="*/ 1305646 w 1896520"/>
                <a:gd name="connsiteY300" fmla="*/ 2334912 h 2620820"/>
                <a:gd name="connsiteX301" fmla="*/ 1296114 w 1896520"/>
                <a:gd name="connsiteY301" fmla="*/ 2325382 h 2620820"/>
                <a:gd name="connsiteX302" fmla="*/ 1267524 w 1896520"/>
                <a:gd name="connsiteY302" fmla="*/ 2306322 h 2620820"/>
                <a:gd name="connsiteX303" fmla="*/ 1257994 w 1896520"/>
                <a:gd name="connsiteY303" fmla="*/ 2306322 h 2620820"/>
                <a:gd name="connsiteX304" fmla="*/ 1248464 w 1896520"/>
                <a:gd name="connsiteY304" fmla="*/ 2306322 h 2620820"/>
                <a:gd name="connsiteX305" fmla="*/ 1234168 w 1896520"/>
                <a:gd name="connsiteY305" fmla="*/ 2311086 h 2620820"/>
                <a:gd name="connsiteX306" fmla="*/ 1219872 w 1896520"/>
                <a:gd name="connsiteY306" fmla="*/ 2320618 h 2620820"/>
                <a:gd name="connsiteX307" fmla="*/ 1205578 w 1896520"/>
                <a:gd name="connsiteY307" fmla="*/ 2325382 h 2620820"/>
                <a:gd name="connsiteX308" fmla="*/ 1191282 w 1896520"/>
                <a:gd name="connsiteY308" fmla="*/ 2325382 h 2620820"/>
                <a:gd name="connsiteX309" fmla="*/ 1181752 w 1896520"/>
                <a:gd name="connsiteY309" fmla="*/ 2315852 h 2620820"/>
                <a:gd name="connsiteX310" fmla="*/ 1172222 w 1896520"/>
                <a:gd name="connsiteY310" fmla="*/ 2315852 h 2620820"/>
                <a:gd name="connsiteX311" fmla="*/ 1162692 w 1896520"/>
                <a:gd name="connsiteY311" fmla="*/ 2306322 h 2620820"/>
                <a:gd name="connsiteX312" fmla="*/ 1148396 w 1896520"/>
                <a:gd name="connsiteY312" fmla="*/ 2301556 h 2620820"/>
                <a:gd name="connsiteX313" fmla="*/ 1134100 w 1896520"/>
                <a:gd name="connsiteY313" fmla="*/ 2296792 h 2620820"/>
                <a:gd name="connsiteX314" fmla="*/ 1124570 w 1896520"/>
                <a:gd name="connsiteY314" fmla="*/ 2296792 h 2620820"/>
                <a:gd name="connsiteX315" fmla="*/ 1115040 w 1896520"/>
                <a:gd name="connsiteY315" fmla="*/ 2306322 h 2620820"/>
                <a:gd name="connsiteX316" fmla="*/ 1105510 w 1896520"/>
                <a:gd name="connsiteY316" fmla="*/ 2315852 h 2620820"/>
                <a:gd name="connsiteX317" fmla="*/ 1095980 w 1896520"/>
                <a:gd name="connsiteY317" fmla="*/ 2325382 h 2620820"/>
                <a:gd name="connsiteX318" fmla="*/ 1086450 w 1896520"/>
                <a:gd name="connsiteY318" fmla="*/ 2320618 h 2620820"/>
                <a:gd name="connsiteX319" fmla="*/ 1072154 w 1896520"/>
                <a:gd name="connsiteY319" fmla="*/ 2330148 h 2620820"/>
                <a:gd name="connsiteX320" fmla="*/ 1062624 w 1896520"/>
                <a:gd name="connsiteY320" fmla="*/ 2334912 h 2620820"/>
                <a:gd name="connsiteX321" fmla="*/ 1048328 w 1896520"/>
                <a:gd name="connsiteY321" fmla="*/ 2334912 h 2620820"/>
                <a:gd name="connsiteX322" fmla="*/ 1034032 w 1896520"/>
                <a:gd name="connsiteY322" fmla="*/ 2339678 h 2620820"/>
                <a:gd name="connsiteX323" fmla="*/ 1019738 w 1896520"/>
                <a:gd name="connsiteY323" fmla="*/ 2334912 h 2620820"/>
                <a:gd name="connsiteX324" fmla="*/ 1005442 w 1896520"/>
                <a:gd name="connsiteY324" fmla="*/ 2330148 h 2620820"/>
                <a:gd name="connsiteX325" fmla="*/ 995912 w 1896520"/>
                <a:gd name="connsiteY325" fmla="*/ 2325382 h 2620820"/>
                <a:gd name="connsiteX326" fmla="*/ 991146 w 1896520"/>
                <a:gd name="connsiteY326" fmla="*/ 2330148 h 2620820"/>
                <a:gd name="connsiteX327" fmla="*/ 986382 w 1896520"/>
                <a:gd name="connsiteY327" fmla="*/ 2334912 h 2620820"/>
                <a:gd name="connsiteX328" fmla="*/ 967320 w 1896520"/>
                <a:gd name="connsiteY328" fmla="*/ 2334912 h 2620820"/>
                <a:gd name="connsiteX329" fmla="*/ 957790 w 1896520"/>
                <a:gd name="connsiteY329" fmla="*/ 2334912 h 2620820"/>
                <a:gd name="connsiteX330" fmla="*/ 948260 w 1896520"/>
                <a:gd name="connsiteY330" fmla="*/ 2334912 h 2620820"/>
                <a:gd name="connsiteX331" fmla="*/ 943496 w 1896520"/>
                <a:gd name="connsiteY331" fmla="*/ 2325382 h 2620820"/>
                <a:gd name="connsiteX332" fmla="*/ 929200 w 1896520"/>
                <a:gd name="connsiteY332" fmla="*/ 2320618 h 2620820"/>
                <a:gd name="connsiteX333" fmla="*/ 914904 w 1896520"/>
                <a:gd name="connsiteY333" fmla="*/ 2315852 h 2620820"/>
                <a:gd name="connsiteX334" fmla="*/ 914904 w 1896520"/>
                <a:gd name="connsiteY334" fmla="*/ 2306322 h 2620820"/>
                <a:gd name="connsiteX335" fmla="*/ 914904 w 1896520"/>
                <a:gd name="connsiteY335" fmla="*/ 2296792 h 2620820"/>
                <a:gd name="connsiteX336" fmla="*/ 919670 w 1896520"/>
                <a:gd name="connsiteY336" fmla="*/ 2282496 h 2620820"/>
                <a:gd name="connsiteX337" fmla="*/ 914904 w 1896520"/>
                <a:gd name="connsiteY337" fmla="*/ 2272966 h 2620820"/>
                <a:gd name="connsiteX338" fmla="*/ 910140 w 1896520"/>
                <a:gd name="connsiteY338" fmla="*/ 2253906 h 2620820"/>
                <a:gd name="connsiteX339" fmla="*/ 910140 w 1896520"/>
                <a:gd name="connsiteY339" fmla="*/ 2244374 h 2620820"/>
                <a:gd name="connsiteX340" fmla="*/ 905374 w 1896520"/>
                <a:gd name="connsiteY340" fmla="*/ 2239610 h 2620820"/>
                <a:gd name="connsiteX341" fmla="*/ 895844 w 1896520"/>
                <a:gd name="connsiteY341" fmla="*/ 2234844 h 2620820"/>
                <a:gd name="connsiteX342" fmla="*/ 886314 w 1896520"/>
                <a:gd name="connsiteY342" fmla="*/ 2239610 h 2620820"/>
                <a:gd name="connsiteX343" fmla="*/ 872018 w 1896520"/>
                <a:gd name="connsiteY343" fmla="*/ 2230080 h 2620820"/>
                <a:gd name="connsiteX344" fmla="*/ 862488 w 1896520"/>
                <a:gd name="connsiteY344" fmla="*/ 2225314 h 2620820"/>
                <a:gd name="connsiteX345" fmla="*/ 857724 w 1896520"/>
                <a:gd name="connsiteY345" fmla="*/ 2215784 h 2620820"/>
                <a:gd name="connsiteX346" fmla="*/ 862488 w 1896520"/>
                <a:gd name="connsiteY346" fmla="*/ 2201488 h 2620820"/>
                <a:gd name="connsiteX347" fmla="*/ 857724 w 1896520"/>
                <a:gd name="connsiteY347" fmla="*/ 2187194 h 2620820"/>
                <a:gd name="connsiteX348" fmla="*/ 848192 w 1896520"/>
                <a:gd name="connsiteY348" fmla="*/ 2177664 h 2620820"/>
                <a:gd name="connsiteX349" fmla="*/ 843428 w 1896520"/>
                <a:gd name="connsiteY349" fmla="*/ 2163368 h 2620820"/>
                <a:gd name="connsiteX350" fmla="*/ 833898 w 1896520"/>
                <a:gd name="connsiteY350" fmla="*/ 2153838 h 2620820"/>
                <a:gd name="connsiteX351" fmla="*/ 824368 w 1896520"/>
                <a:gd name="connsiteY351" fmla="*/ 2149072 h 2620820"/>
                <a:gd name="connsiteX352" fmla="*/ 814836 w 1896520"/>
                <a:gd name="connsiteY352" fmla="*/ 2149072 h 2620820"/>
                <a:gd name="connsiteX353" fmla="*/ 805306 w 1896520"/>
                <a:gd name="connsiteY353" fmla="*/ 2144308 h 2620820"/>
                <a:gd name="connsiteX354" fmla="*/ 795776 w 1896520"/>
                <a:gd name="connsiteY354" fmla="*/ 2134778 h 2620820"/>
                <a:gd name="connsiteX355" fmla="*/ 786246 w 1896520"/>
                <a:gd name="connsiteY355" fmla="*/ 2130012 h 2620820"/>
                <a:gd name="connsiteX356" fmla="*/ 776716 w 1896520"/>
                <a:gd name="connsiteY356" fmla="*/ 2120482 h 2620820"/>
                <a:gd name="connsiteX357" fmla="*/ 757656 w 1896520"/>
                <a:gd name="connsiteY357" fmla="*/ 2115716 h 2620820"/>
                <a:gd name="connsiteX358" fmla="*/ 743360 w 1896520"/>
                <a:gd name="connsiteY358" fmla="*/ 2110952 h 2620820"/>
                <a:gd name="connsiteX359" fmla="*/ 738594 w 1896520"/>
                <a:gd name="connsiteY359" fmla="*/ 2106186 h 2620820"/>
                <a:gd name="connsiteX360" fmla="*/ 733830 w 1896520"/>
                <a:gd name="connsiteY360" fmla="*/ 2091890 h 2620820"/>
                <a:gd name="connsiteX361" fmla="*/ 733830 w 1896520"/>
                <a:gd name="connsiteY361" fmla="*/ 2087126 h 2620820"/>
                <a:gd name="connsiteX362" fmla="*/ 729064 w 1896520"/>
                <a:gd name="connsiteY362" fmla="*/ 2077596 h 2620820"/>
                <a:gd name="connsiteX363" fmla="*/ 724300 w 1896520"/>
                <a:gd name="connsiteY363" fmla="*/ 2068066 h 2620820"/>
                <a:gd name="connsiteX364" fmla="*/ 719534 w 1896520"/>
                <a:gd name="connsiteY364" fmla="*/ 2049004 h 2620820"/>
                <a:gd name="connsiteX365" fmla="*/ 710004 w 1896520"/>
                <a:gd name="connsiteY365" fmla="*/ 2039474 h 2620820"/>
                <a:gd name="connsiteX366" fmla="*/ 695708 w 1896520"/>
                <a:gd name="connsiteY366" fmla="*/ 2025180 h 2620820"/>
                <a:gd name="connsiteX367" fmla="*/ 686178 w 1896520"/>
                <a:gd name="connsiteY367" fmla="*/ 2015648 h 2620820"/>
                <a:gd name="connsiteX368" fmla="*/ 676648 w 1896520"/>
                <a:gd name="connsiteY368" fmla="*/ 2010884 h 2620820"/>
                <a:gd name="connsiteX369" fmla="*/ 667118 w 1896520"/>
                <a:gd name="connsiteY369" fmla="*/ 2006118 h 2620820"/>
                <a:gd name="connsiteX370" fmla="*/ 662352 w 1896520"/>
                <a:gd name="connsiteY370" fmla="*/ 1996588 h 2620820"/>
                <a:gd name="connsiteX371" fmla="*/ 657588 w 1896520"/>
                <a:gd name="connsiteY371" fmla="*/ 1991824 h 2620820"/>
                <a:gd name="connsiteX372" fmla="*/ 652822 w 1896520"/>
                <a:gd name="connsiteY372" fmla="*/ 1991824 h 2620820"/>
                <a:gd name="connsiteX373" fmla="*/ 643292 w 1896520"/>
                <a:gd name="connsiteY373" fmla="*/ 1991824 h 2620820"/>
                <a:gd name="connsiteX374" fmla="*/ 633762 w 1896520"/>
                <a:gd name="connsiteY374" fmla="*/ 1987058 h 2620820"/>
                <a:gd name="connsiteX375" fmla="*/ 624232 w 1896520"/>
                <a:gd name="connsiteY375" fmla="*/ 1982294 h 2620820"/>
                <a:gd name="connsiteX376" fmla="*/ 619466 w 1896520"/>
                <a:gd name="connsiteY376" fmla="*/ 1977528 h 2620820"/>
                <a:gd name="connsiteX377" fmla="*/ 605172 w 1896520"/>
                <a:gd name="connsiteY377" fmla="*/ 1967998 h 2620820"/>
                <a:gd name="connsiteX378" fmla="*/ 600406 w 1896520"/>
                <a:gd name="connsiteY378" fmla="*/ 1967998 h 2620820"/>
                <a:gd name="connsiteX379" fmla="*/ 590876 w 1896520"/>
                <a:gd name="connsiteY379" fmla="*/ 1967998 h 2620820"/>
                <a:gd name="connsiteX380" fmla="*/ 581346 w 1896520"/>
                <a:gd name="connsiteY380" fmla="*/ 1977528 h 2620820"/>
                <a:gd name="connsiteX381" fmla="*/ 557520 w 1896520"/>
                <a:gd name="connsiteY381" fmla="*/ 1967998 h 2620820"/>
                <a:gd name="connsiteX382" fmla="*/ 528930 w 1896520"/>
                <a:gd name="connsiteY382" fmla="*/ 1948938 h 2620820"/>
                <a:gd name="connsiteX383" fmla="*/ 505104 w 1896520"/>
                <a:gd name="connsiteY383" fmla="*/ 1944172 h 2620820"/>
                <a:gd name="connsiteX384" fmla="*/ 490808 w 1896520"/>
                <a:gd name="connsiteY384" fmla="*/ 1934642 h 2620820"/>
                <a:gd name="connsiteX385" fmla="*/ 476513 w 1896520"/>
                <a:gd name="connsiteY385" fmla="*/ 1920346 h 2620820"/>
                <a:gd name="connsiteX386" fmla="*/ 466983 w 1896520"/>
                <a:gd name="connsiteY386" fmla="*/ 1910816 h 2620820"/>
                <a:gd name="connsiteX387" fmla="*/ 462217 w 1896520"/>
                <a:gd name="connsiteY387" fmla="*/ 1906050 h 2620820"/>
                <a:gd name="connsiteX388" fmla="*/ 428862 w 1896520"/>
                <a:gd name="connsiteY388" fmla="*/ 1891756 h 2620820"/>
                <a:gd name="connsiteX389" fmla="*/ 424096 w 1896520"/>
                <a:gd name="connsiteY389" fmla="*/ 1891756 h 2620820"/>
                <a:gd name="connsiteX390" fmla="*/ 409801 w 1896520"/>
                <a:gd name="connsiteY390" fmla="*/ 1896520 h 2620820"/>
                <a:gd name="connsiteX391" fmla="*/ 405036 w 1896520"/>
                <a:gd name="connsiteY391" fmla="*/ 1901286 h 2620820"/>
                <a:gd name="connsiteX392" fmla="*/ 405036 w 1896520"/>
                <a:gd name="connsiteY392" fmla="*/ 1910816 h 2620820"/>
                <a:gd name="connsiteX393" fmla="*/ 405036 w 1896520"/>
                <a:gd name="connsiteY393" fmla="*/ 1920346 h 2620820"/>
                <a:gd name="connsiteX394" fmla="*/ 395506 w 1896520"/>
                <a:gd name="connsiteY394" fmla="*/ 1925112 h 2620820"/>
                <a:gd name="connsiteX395" fmla="*/ 376445 w 1896520"/>
                <a:gd name="connsiteY395" fmla="*/ 1920346 h 2620820"/>
                <a:gd name="connsiteX396" fmla="*/ 366915 w 1896520"/>
                <a:gd name="connsiteY396" fmla="*/ 1920346 h 2620820"/>
                <a:gd name="connsiteX397" fmla="*/ 357385 w 1896520"/>
                <a:gd name="connsiteY397" fmla="*/ 1915582 h 2620820"/>
                <a:gd name="connsiteX398" fmla="*/ 357385 w 1896520"/>
                <a:gd name="connsiteY398" fmla="*/ 1920346 h 2620820"/>
                <a:gd name="connsiteX399" fmla="*/ 352619 w 1896520"/>
                <a:gd name="connsiteY399" fmla="*/ 1920346 h 2620820"/>
                <a:gd name="connsiteX400" fmla="*/ 343089 w 1896520"/>
                <a:gd name="connsiteY400" fmla="*/ 1920346 h 2620820"/>
                <a:gd name="connsiteX401" fmla="*/ 328794 w 1896520"/>
                <a:gd name="connsiteY401" fmla="*/ 1920346 h 2620820"/>
                <a:gd name="connsiteX402" fmla="*/ 314498 w 1896520"/>
                <a:gd name="connsiteY402" fmla="*/ 1915582 h 2620820"/>
                <a:gd name="connsiteX403" fmla="*/ 295438 w 1896520"/>
                <a:gd name="connsiteY403" fmla="*/ 1906050 h 2620820"/>
                <a:gd name="connsiteX404" fmla="*/ 290673 w 1896520"/>
                <a:gd name="connsiteY404" fmla="*/ 1906050 h 2620820"/>
                <a:gd name="connsiteX405" fmla="*/ 271612 w 1896520"/>
                <a:gd name="connsiteY405" fmla="*/ 1901286 h 2620820"/>
                <a:gd name="connsiteX406" fmla="*/ 252552 w 1896520"/>
                <a:gd name="connsiteY406" fmla="*/ 1896520 h 2620820"/>
                <a:gd name="connsiteX407" fmla="*/ 247787 w 1896520"/>
                <a:gd name="connsiteY407" fmla="*/ 1891756 h 2620820"/>
                <a:gd name="connsiteX408" fmla="*/ 243022 w 1896520"/>
                <a:gd name="connsiteY408" fmla="*/ 1858400 h 2620820"/>
                <a:gd name="connsiteX409" fmla="*/ 238256 w 1896520"/>
                <a:gd name="connsiteY409" fmla="*/ 1858400 h 2620820"/>
                <a:gd name="connsiteX410" fmla="*/ 233491 w 1896520"/>
                <a:gd name="connsiteY410" fmla="*/ 1858400 h 2620820"/>
                <a:gd name="connsiteX411" fmla="*/ 219196 w 1896520"/>
                <a:gd name="connsiteY411" fmla="*/ 1853634 h 2620820"/>
                <a:gd name="connsiteX412" fmla="*/ 214431 w 1896520"/>
                <a:gd name="connsiteY412" fmla="*/ 1848870 h 2620820"/>
                <a:gd name="connsiteX413" fmla="*/ 209666 w 1896520"/>
                <a:gd name="connsiteY413" fmla="*/ 1839340 h 2620820"/>
                <a:gd name="connsiteX414" fmla="*/ 204901 w 1896520"/>
                <a:gd name="connsiteY414" fmla="*/ 1829808 h 2620820"/>
                <a:gd name="connsiteX415" fmla="*/ 185840 w 1896520"/>
                <a:gd name="connsiteY415" fmla="*/ 1829808 h 2620820"/>
                <a:gd name="connsiteX416" fmla="*/ 152484 w 1896520"/>
                <a:gd name="connsiteY416" fmla="*/ 1820278 h 2620820"/>
                <a:gd name="connsiteX417" fmla="*/ 128658 w 1896520"/>
                <a:gd name="connsiteY417" fmla="*/ 1810748 h 2620820"/>
                <a:gd name="connsiteX418" fmla="*/ 109598 w 1896520"/>
                <a:gd name="connsiteY418" fmla="*/ 1796454 h 2620820"/>
                <a:gd name="connsiteX419" fmla="*/ 81007 w 1896520"/>
                <a:gd name="connsiteY419" fmla="*/ 1772628 h 2620820"/>
                <a:gd name="connsiteX420" fmla="*/ 66712 w 1896520"/>
                <a:gd name="connsiteY420" fmla="*/ 1767862 h 2620820"/>
                <a:gd name="connsiteX421" fmla="*/ 52416 w 1896520"/>
                <a:gd name="connsiteY421" fmla="*/ 1758332 h 2620820"/>
                <a:gd name="connsiteX422" fmla="*/ 42886 w 1896520"/>
                <a:gd name="connsiteY422" fmla="*/ 1748802 h 2620820"/>
                <a:gd name="connsiteX423" fmla="*/ 28591 w 1896520"/>
                <a:gd name="connsiteY423" fmla="*/ 1734506 h 2620820"/>
                <a:gd name="connsiteX424" fmla="*/ 23826 w 1896520"/>
                <a:gd name="connsiteY424" fmla="*/ 1734506 h 2620820"/>
                <a:gd name="connsiteX425" fmla="*/ 19061 w 1896520"/>
                <a:gd name="connsiteY425" fmla="*/ 1720210 h 2620820"/>
                <a:gd name="connsiteX426" fmla="*/ 0 w 1896520"/>
                <a:gd name="connsiteY426" fmla="*/ 1705916 h 2620820"/>
                <a:gd name="connsiteX427" fmla="*/ 9530 w 1896520"/>
                <a:gd name="connsiteY427" fmla="*/ 1686854 h 2620820"/>
                <a:gd name="connsiteX428" fmla="*/ 33356 w 1896520"/>
                <a:gd name="connsiteY428" fmla="*/ 1672560 h 2620820"/>
                <a:gd name="connsiteX429" fmla="*/ 66712 w 1896520"/>
                <a:gd name="connsiteY429" fmla="*/ 1682090 h 2620820"/>
                <a:gd name="connsiteX430" fmla="*/ 71477 w 1896520"/>
                <a:gd name="connsiteY430" fmla="*/ 1658264 h 2620820"/>
                <a:gd name="connsiteX431" fmla="*/ 61947 w 1896520"/>
                <a:gd name="connsiteY431" fmla="*/ 1639204 h 2620820"/>
                <a:gd name="connsiteX432" fmla="*/ 61947 w 1896520"/>
                <a:gd name="connsiteY432" fmla="*/ 1601082 h 2620820"/>
                <a:gd name="connsiteX433" fmla="*/ 66712 w 1896520"/>
                <a:gd name="connsiteY433" fmla="*/ 1591552 h 2620820"/>
                <a:gd name="connsiteX434" fmla="*/ 76242 w 1896520"/>
                <a:gd name="connsiteY434" fmla="*/ 1582022 h 2620820"/>
                <a:gd name="connsiteX435" fmla="*/ 85772 w 1896520"/>
                <a:gd name="connsiteY435" fmla="*/ 1572492 h 2620820"/>
                <a:gd name="connsiteX436" fmla="*/ 95303 w 1896520"/>
                <a:gd name="connsiteY436" fmla="*/ 1572492 h 2620820"/>
                <a:gd name="connsiteX437" fmla="*/ 104833 w 1896520"/>
                <a:gd name="connsiteY437" fmla="*/ 1577258 h 2620820"/>
                <a:gd name="connsiteX438" fmla="*/ 114363 w 1896520"/>
                <a:gd name="connsiteY438" fmla="*/ 1567726 h 2620820"/>
                <a:gd name="connsiteX439" fmla="*/ 138189 w 1896520"/>
                <a:gd name="connsiteY439" fmla="*/ 1572492 h 2620820"/>
                <a:gd name="connsiteX440" fmla="*/ 147719 w 1896520"/>
                <a:gd name="connsiteY440" fmla="*/ 1567726 h 2620820"/>
                <a:gd name="connsiteX441" fmla="*/ 152484 w 1896520"/>
                <a:gd name="connsiteY441" fmla="*/ 1562962 h 2620820"/>
                <a:gd name="connsiteX442" fmla="*/ 162014 w 1896520"/>
                <a:gd name="connsiteY442" fmla="*/ 1558196 h 2620820"/>
                <a:gd name="connsiteX443" fmla="*/ 171545 w 1896520"/>
                <a:gd name="connsiteY443" fmla="*/ 1548666 h 2620820"/>
                <a:gd name="connsiteX444" fmla="*/ 176310 w 1896520"/>
                <a:gd name="connsiteY444" fmla="*/ 1539136 h 2620820"/>
                <a:gd name="connsiteX445" fmla="*/ 176310 w 1896520"/>
                <a:gd name="connsiteY445" fmla="*/ 1534370 h 2620820"/>
                <a:gd name="connsiteX446" fmla="*/ 185840 w 1896520"/>
                <a:gd name="connsiteY446" fmla="*/ 1534370 h 2620820"/>
                <a:gd name="connsiteX447" fmla="*/ 190605 w 1896520"/>
                <a:gd name="connsiteY447" fmla="*/ 1529606 h 2620820"/>
                <a:gd name="connsiteX448" fmla="*/ 195370 w 1896520"/>
                <a:gd name="connsiteY448" fmla="*/ 1524840 h 2620820"/>
                <a:gd name="connsiteX449" fmla="*/ 209666 w 1896520"/>
                <a:gd name="connsiteY449" fmla="*/ 1510546 h 2620820"/>
                <a:gd name="connsiteX450" fmla="*/ 209666 w 1896520"/>
                <a:gd name="connsiteY450" fmla="*/ 1501016 h 2620820"/>
                <a:gd name="connsiteX451" fmla="*/ 204901 w 1896520"/>
                <a:gd name="connsiteY451" fmla="*/ 1491484 h 2620820"/>
                <a:gd name="connsiteX452" fmla="*/ 204901 w 1896520"/>
                <a:gd name="connsiteY452" fmla="*/ 1486720 h 2620820"/>
                <a:gd name="connsiteX453" fmla="*/ 214431 w 1896520"/>
                <a:gd name="connsiteY453" fmla="*/ 1481954 h 2620820"/>
                <a:gd name="connsiteX454" fmla="*/ 228726 w 1896520"/>
                <a:gd name="connsiteY454" fmla="*/ 1477190 h 2620820"/>
                <a:gd name="connsiteX455" fmla="*/ 233491 w 1896520"/>
                <a:gd name="connsiteY455" fmla="*/ 1467660 h 2620820"/>
                <a:gd name="connsiteX456" fmla="*/ 243022 w 1896520"/>
                <a:gd name="connsiteY456" fmla="*/ 1453364 h 2620820"/>
                <a:gd name="connsiteX457" fmla="*/ 247787 w 1896520"/>
                <a:gd name="connsiteY457" fmla="*/ 1439068 h 2620820"/>
                <a:gd name="connsiteX458" fmla="*/ 257317 w 1896520"/>
                <a:gd name="connsiteY458" fmla="*/ 1434304 h 2620820"/>
                <a:gd name="connsiteX459" fmla="*/ 266847 w 1896520"/>
                <a:gd name="connsiteY459" fmla="*/ 1415242 h 2620820"/>
                <a:gd name="connsiteX460" fmla="*/ 276377 w 1896520"/>
                <a:gd name="connsiteY460" fmla="*/ 1400948 h 2620820"/>
                <a:gd name="connsiteX461" fmla="*/ 304968 w 1896520"/>
                <a:gd name="connsiteY461" fmla="*/ 1348530 h 2620820"/>
                <a:gd name="connsiteX462" fmla="*/ 295438 w 1896520"/>
                <a:gd name="connsiteY462" fmla="*/ 1348530 h 2620820"/>
                <a:gd name="connsiteX463" fmla="*/ 290673 w 1896520"/>
                <a:gd name="connsiteY463" fmla="*/ 1358062 h 2620820"/>
                <a:gd name="connsiteX464" fmla="*/ 281143 w 1896520"/>
                <a:gd name="connsiteY464" fmla="*/ 1353296 h 2620820"/>
                <a:gd name="connsiteX465" fmla="*/ 271612 w 1896520"/>
                <a:gd name="connsiteY465" fmla="*/ 1348530 h 2620820"/>
                <a:gd name="connsiteX466" fmla="*/ 276377 w 1896520"/>
                <a:gd name="connsiteY466" fmla="*/ 1329470 h 2620820"/>
                <a:gd name="connsiteX467" fmla="*/ 271612 w 1896520"/>
                <a:gd name="connsiteY467" fmla="*/ 1324706 h 2620820"/>
                <a:gd name="connsiteX468" fmla="*/ 257317 w 1896520"/>
                <a:gd name="connsiteY468" fmla="*/ 1343766 h 2620820"/>
                <a:gd name="connsiteX469" fmla="*/ 247787 w 1896520"/>
                <a:gd name="connsiteY469" fmla="*/ 1324706 h 2620820"/>
                <a:gd name="connsiteX470" fmla="*/ 247787 w 1896520"/>
                <a:gd name="connsiteY470" fmla="*/ 1315176 h 2620820"/>
                <a:gd name="connsiteX471" fmla="*/ 252552 w 1896520"/>
                <a:gd name="connsiteY471" fmla="*/ 1300880 h 2620820"/>
                <a:gd name="connsiteX472" fmla="*/ 252552 w 1896520"/>
                <a:gd name="connsiteY472" fmla="*/ 1296114 h 2620820"/>
                <a:gd name="connsiteX473" fmla="*/ 233491 w 1896520"/>
                <a:gd name="connsiteY473" fmla="*/ 1300880 h 2620820"/>
                <a:gd name="connsiteX474" fmla="*/ 233491 w 1896520"/>
                <a:gd name="connsiteY474" fmla="*/ 1296114 h 2620820"/>
                <a:gd name="connsiteX475" fmla="*/ 247787 w 1896520"/>
                <a:gd name="connsiteY475" fmla="*/ 1286584 h 2620820"/>
                <a:gd name="connsiteX476" fmla="*/ 252552 w 1896520"/>
                <a:gd name="connsiteY476" fmla="*/ 1281820 h 2620820"/>
                <a:gd name="connsiteX477" fmla="*/ 257317 w 1896520"/>
                <a:gd name="connsiteY477" fmla="*/ 1272290 h 2620820"/>
                <a:gd name="connsiteX478" fmla="*/ 262082 w 1896520"/>
                <a:gd name="connsiteY478" fmla="*/ 1257994 h 2620820"/>
                <a:gd name="connsiteX479" fmla="*/ 266847 w 1896520"/>
                <a:gd name="connsiteY479" fmla="*/ 1243698 h 2620820"/>
                <a:gd name="connsiteX480" fmla="*/ 271612 w 1896520"/>
                <a:gd name="connsiteY480" fmla="*/ 1219872 h 2620820"/>
                <a:gd name="connsiteX481" fmla="*/ 266847 w 1896520"/>
                <a:gd name="connsiteY481" fmla="*/ 1210342 h 2620820"/>
                <a:gd name="connsiteX482" fmla="*/ 262082 w 1896520"/>
                <a:gd name="connsiteY482" fmla="*/ 1200812 h 2620820"/>
                <a:gd name="connsiteX483" fmla="*/ 257317 w 1896520"/>
                <a:gd name="connsiteY483" fmla="*/ 1167456 h 2620820"/>
                <a:gd name="connsiteX484" fmla="*/ 257317 w 1896520"/>
                <a:gd name="connsiteY484" fmla="*/ 1143630 h 2620820"/>
                <a:gd name="connsiteX485" fmla="*/ 257317 w 1896520"/>
                <a:gd name="connsiteY485" fmla="*/ 1124570 h 2620820"/>
                <a:gd name="connsiteX486" fmla="*/ 252552 w 1896520"/>
                <a:gd name="connsiteY486" fmla="*/ 1110274 h 2620820"/>
                <a:gd name="connsiteX487" fmla="*/ 233491 w 1896520"/>
                <a:gd name="connsiteY487" fmla="*/ 1091214 h 2620820"/>
                <a:gd name="connsiteX488" fmla="*/ 266847 w 1896520"/>
                <a:gd name="connsiteY488" fmla="*/ 1072154 h 2620820"/>
                <a:gd name="connsiteX489" fmla="*/ 276377 w 1896520"/>
                <a:gd name="connsiteY489" fmla="*/ 1053094 h 2620820"/>
                <a:gd name="connsiteX490" fmla="*/ 262082 w 1896520"/>
                <a:gd name="connsiteY490" fmla="*/ 1019738 h 2620820"/>
                <a:gd name="connsiteX491" fmla="*/ 243022 w 1896520"/>
                <a:gd name="connsiteY491" fmla="*/ 991146 h 2620820"/>
                <a:gd name="connsiteX492" fmla="*/ 243022 w 1896520"/>
                <a:gd name="connsiteY492" fmla="*/ 976852 h 2620820"/>
                <a:gd name="connsiteX493" fmla="*/ 247787 w 1896520"/>
                <a:gd name="connsiteY493" fmla="*/ 976852 h 2620820"/>
                <a:gd name="connsiteX494" fmla="*/ 252552 w 1896520"/>
                <a:gd name="connsiteY494" fmla="*/ 976852 h 2620820"/>
                <a:gd name="connsiteX495" fmla="*/ 257317 w 1896520"/>
                <a:gd name="connsiteY495" fmla="*/ 943496 h 2620820"/>
                <a:gd name="connsiteX496" fmla="*/ 257317 w 1896520"/>
                <a:gd name="connsiteY496" fmla="*/ 929200 h 2620820"/>
                <a:gd name="connsiteX497" fmla="*/ 247787 w 1896520"/>
                <a:gd name="connsiteY497" fmla="*/ 910140 h 2620820"/>
                <a:gd name="connsiteX498" fmla="*/ 233491 w 1896520"/>
                <a:gd name="connsiteY498" fmla="*/ 910140 h 2620820"/>
                <a:gd name="connsiteX499" fmla="*/ 219196 w 1896520"/>
                <a:gd name="connsiteY499" fmla="*/ 891078 h 2620820"/>
                <a:gd name="connsiteX500" fmla="*/ 214431 w 1896520"/>
                <a:gd name="connsiteY500" fmla="*/ 886314 h 2620820"/>
                <a:gd name="connsiteX501" fmla="*/ 209666 w 1896520"/>
                <a:gd name="connsiteY501" fmla="*/ 872018 h 2620820"/>
                <a:gd name="connsiteX502" fmla="*/ 190605 w 1896520"/>
                <a:gd name="connsiteY502" fmla="*/ 843428 h 2620820"/>
                <a:gd name="connsiteX503" fmla="*/ 176310 w 1896520"/>
                <a:gd name="connsiteY503" fmla="*/ 829132 h 2620820"/>
                <a:gd name="connsiteX504" fmla="*/ 185840 w 1896520"/>
                <a:gd name="connsiteY504" fmla="*/ 795776 h 2620820"/>
                <a:gd name="connsiteX505" fmla="*/ 195370 w 1896520"/>
                <a:gd name="connsiteY505" fmla="*/ 786246 h 2620820"/>
                <a:gd name="connsiteX506" fmla="*/ 200135 w 1896520"/>
                <a:gd name="connsiteY506" fmla="*/ 776716 h 2620820"/>
                <a:gd name="connsiteX507" fmla="*/ 195370 w 1896520"/>
                <a:gd name="connsiteY507" fmla="*/ 757656 h 2620820"/>
                <a:gd name="connsiteX508" fmla="*/ 195370 w 1896520"/>
                <a:gd name="connsiteY508" fmla="*/ 752890 h 2620820"/>
                <a:gd name="connsiteX509" fmla="*/ 200135 w 1896520"/>
                <a:gd name="connsiteY509" fmla="*/ 752890 h 2620820"/>
                <a:gd name="connsiteX510" fmla="*/ 204901 w 1896520"/>
                <a:gd name="connsiteY510" fmla="*/ 752890 h 2620820"/>
                <a:gd name="connsiteX511" fmla="*/ 214431 w 1896520"/>
                <a:gd name="connsiteY511" fmla="*/ 762420 h 2620820"/>
                <a:gd name="connsiteX512" fmla="*/ 219196 w 1896520"/>
                <a:gd name="connsiteY512" fmla="*/ 776716 h 2620820"/>
                <a:gd name="connsiteX513" fmla="*/ 223961 w 1896520"/>
                <a:gd name="connsiteY513" fmla="*/ 776716 h 2620820"/>
                <a:gd name="connsiteX514" fmla="*/ 228726 w 1896520"/>
                <a:gd name="connsiteY514" fmla="*/ 776716 h 2620820"/>
                <a:gd name="connsiteX515" fmla="*/ 262082 w 1896520"/>
                <a:gd name="connsiteY515" fmla="*/ 752890 h 2620820"/>
                <a:gd name="connsiteX516" fmla="*/ 257317 w 1896520"/>
                <a:gd name="connsiteY516" fmla="*/ 748126 h 2620820"/>
                <a:gd name="connsiteX517" fmla="*/ 262082 w 1896520"/>
                <a:gd name="connsiteY517" fmla="*/ 733830 h 2620820"/>
                <a:gd name="connsiteX518" fmla="*/ 271612 w 1896520"/>
                <a:gd name="connsiteY518" fmla="*/ 719534 h 2620820"/>
                <a:gd name="connsiteX519" fmla="*/ 281143 w 1896520"/>
                <a:gd name="connsiteY519" fmla="*/ 714770 h 2620820"/>
                <a:gd name="connsiteX520" fmla="*/ 285908 w 1896520"/>
                <a:gd name="connsiteY520" fmla="*/ 710004 h 2620820"/>
                <a:gd name="connsiteX521" fmla="*/ 281143 w 1896520"/>
                <a:gd name="connsiteY521" fmla="*/ 700474 h 2620820"/>
                <a:gd name="connsiteX522" fmla="*/ 271612 w 1896520"/>
                <a:gd name="connsiteY522" fmla="*/ 676648 h 2620820"/>
                <a:gd name="connsiteX523" fmla="*/ 262082 w 1896520"/>
                <a:gd name="connsiteY523" fmla="*/ 662352 h 2620820"/>
                <a:gd name="connsiteX524" fmla="*/ 252552 w 1896520"/>
                <a:gd name="connsiteY524" fmla="*/ 652822 h 2620820"/>
                <a:gd name="connsiteX525" fmla="*/ 252552 w 1896520"/>
                <a:gd name="connsiteY525" fmla="*/ 638528 h 2620820"/>
                <a:gd name="connsiteX526" fmla="*/ 238256 w 1896520"/>
                <a:gd name="connsiteY526" fmla="*/ 628996 h 2620820"/>
                <a:gd name="connsiteX527" fmla="*/ 243022 w 1896520"/>
                <a:gd name="connsiteY527" fmla="*/ 614702 h 2620820"/>
                <a:gd name="connsiteX528" fmla="*/ 252552 w 1896520"/>
                <a:gd name="connsiteY528" fmla="*/ 605172 h 2620820"/>
                <a:gd name="connsiteX529" fmla="*/ 257317 w 1896520"/>
                <a:gd name="connsiteY529" fmla="*/ 600406 h 2620820"/>
                <a:gd name="connsiteX530" fmla="*/ 262082 w 1896520"/>
                <a:gd name="connsiteY530" fmla="*/ 605172 h 2620820"/>
                <a:gd name="connsiteX531" fmla="*/ 271612 w 1896520"/>
                <a:gd name="connsiteY531" fmla="*/ 628996 h 2620820"/>
                <a:gd name="connsiteX532" fmla="*/ 295438 w 1896520"/>
                <a:gd name="connsiteY532" fmla="*/ 643292 h 2620820"/>
                <a:gd name="connsiteX533" fmla="*/ 314498 w 1896520"/>
                <a:gd name="connsiteY533" fmla="*/ 667118 h 2620820"/>
                <a:gd name="connsiteX534" fmla="*/ 324029 w 1896520"/>
                <a:gd name="connsiteY534" fmla="*/ 681414 h 2620820"/>
                <a:gd name="connsiteX535" fmla="*/ 333559 w 1896520"/>
                <a:gd name="connsiteY535" fmla="*/ 686178 h 2620820"/>
                <a:gd name="connsiteX536" fmla="*/ 338324 w 1896520"/>
                <a:gd name="connsiteY536" fmla="*/ 690944 h 2620820"/>
                <a:gd name="connsiteX537" fmla="*/ 333559 w 1896520"/>
                <a:gd name="connsiteY537" fmla="*/ 695708 h 2620820"/>
                <a:gd name="connsiteX538" fmla="*/ 328794 w 1896520"/>
                <a:gd name="connsiteY538" fmla="*/ 700474 h 2620820"/>
                <a:gd name="connsiteX539" fmla="*/ 328794 w 1896520"/>
                <a:gd name="connsiteY539" fmla="*/ 710004 h 2620820"/>
                <a:gd name="connsiteX540" fmla="*/ 328794 w 1896520"/>
                <a:gd name="connsiteY540" fmla="*/ 714770 h 2620820"/>
                <a:gd name="connsiteX541" fmla="*/ 333559 w 1896520"/>
                <a:gd name="connsiteY541" fmla="*/ 719534 h 2620820"/>
                <a:gd name="connsiteX542" fmla="*/ 347854 w 1896520"/>
                <a:gd name="connsiteY542" fmla="*/ 714770 h 2620820"/>
                <a:gd name="connsiteX543" fmla="*/ 352619 w 1896520"/>
                <a:gd name="connsiteY543" fmla="*/ 705238 h 2620820"/>
                <a:gd name="connsiteX544" fmla="*/ 352619 w 1896520"/>
                <a:gd name="connsiteY544" fmla="*/ 657588 h 2620820"/>
                <a:gd name="connsiteX545" fmla="*/ 343089 w 1896520"/>
                <a:gd name="connsiteY545" fmla="*/ 633762 h 2620820"/>
                <a:gd name="connsiteX546" fmla="*/ 333559 w 1896520"/>
                <a:gd name="connsiteY546" fmla="*/ 624232 h 2620820"/>
                <a:gd name="connsiteX547" fmla="*/ 328794 w 1896520"/>
                <a:gd name="connsiteY547" fmla="*/ 614702 h 2620820"/>
                <a:gd name="connsiteX548" fmla="*/ 333559 w 1896520"/>
                <a:gd name="connsiteY548" fmla="*/ 609936 h 2620820"/>
                <a:gd name="connsiteX549" fmla="*/ 347854 w 1896520"/>
                <a:gd name="connsiteY549" fmla="*/ 605172 h 2620820"/>
                <a:gd name="connsiteX550" fmla="*/ 362150 w 1896520"/>
                <a:gd name="connsiteY550" fmla="*/ 595640 h 2620820"/>
                <a:gd name="connsiteX551" fmla="*/ 428862 w 1896520"/>
                <a:gd name="connsiteY551" fmla="*/ 547990 h 2620820"/>
                <a:gd name="connsiteX552" fmla="*/ 447922 w 1896520"/>
                <a:gd name="connsiteY552" fmla="*/ 505104 h 2620820"/>
                <a:gd name="connsiteX553" fmla="*/ 466983 w 1896520"/>
                <a:gd name="connsiteY553" fmla="*/ 490808 h 2620820"/>
                <a:gd name="connsiteX554" fmla="*/ 486043 w 1896520"/>
                <a:gd name="connsiteY554" fmla="*/ 481278 h 2620820"/>
                <a:gd name="connsiteX555" fmla="*/ 509868 w 1896520"/>
                <a:gd name="connsiteY555" fmla="*/ 481278 h 2620820"/>
                <a:gd name="connsiteX556" fmla="*/ 528930 w 1896520"/>
                <a:gd name="connsiteY556" fmla="*/ 476512 h 2620820"/>
                <a:gd name="connsiteX557" fmla="*/ 533694 w 1896520"/>
                <a:gd name="connsiteY557" fmla="*/ 462218 h 2620820"/>
                <a:gd name="connsiteX558" fmla="*/ 528930 w 1896520"/>
                <a:gd name="connsiteY558" fmla="*/ 443156 h 2620820"/>
                <a:gd name="connsiteX559" fmla="*/ 519398 w 1896520"/>
                <a:gd name="connsiteY559" fmla="*/ 433626 h 2620820"/>
                <a:gd name="connsiteX560" fmla="*/ 528930 w 1896520"/>
                <a:gd name="connsiteY560" fmla="*/ 414566 h 2620820"/>
                <a:gd name="connsiteX561" fmla="*/ 533694 w 1896520"/>
                <a:gd name="connsiteY561" fmla="*/ 390740 h 2620820"/>
                <a:gd name="connsiteX562" fmla="*/ 533694 w 1896520"/>
                <a:gd name="connsiteY562" fmla="*/ 371680 h 2620820"/>
                <a:gd name="connsiteX563" fmla="*/ 543224 w 1896520"/>
                <a:gd name="connsiteY563" fmla="*/ 357384 h 2620820"/>
                <a:gd name="connsiteX564" fmla="*/ 538460 w 1896520"/>
                <a:gd name="connsiteY564" fmla="*/ 352620 h 2620820"/>
                <a:gd name="connsiteX565" fmla="*/ 528930 w 1896520"/>
                <a:gd name="connsiteY565" fmla="*/ 362150 h 2620820"/>
                <a:gd name="connsiteX566" fmla="*/ 514634 w 1896520"/>
                <a:gd name="connsiteY566" fmla="*/ 366914 h 2620820"/>
                <a:gd name="connsiteX567" fmla="*/ 524164 w 1896520"/>
                <a:gd name="connsiteY567" fmla="*/ 357384 h 2620820"/>
                <a:gd name="connsiteX568" fmla="*/ 543224 w 1896520"/>
                <a:gd name="connsiteY568" fmla="*/ 338324 h 2620820"/>
                <a:gd name="connsiteX569" fmla="*/ 547990 w 1896520"/>
                <a:gd name="connsiteY569" fmla="*/ 304968 h 2620820"/>
                <a:gd name="connsiteX570" fmla="*/ 557520 w 1896520"/>
                <a:gd name="connsiteY570" fmla="*/ 295438 h 2620820"/>
                <a:gd name="connsiteX571" fmla="*/ 581346 w 1896520"/>
                <a:gd name="connsiteY571" fmla="*/ 271612 h 2620820"/>
                <a:gd name="connsiteX572" fmla="*/ 586110 w 1896520"/>
                <a:gd name="connsiteY572" fmla="*/ 266848 h 2620820"/>
                <a:gd name="connsiteX573" fmla="*/ 609936 w 1896520"/>
                <a:gd name="connsiteY573" fmla="*/ 252552 h 2620820"/>
                <a:gd name="connsiteX574" fmla="*/ 638528 w 1896520"/>
                <a:gd name="connsiteY574" fmla="*/ 223960 h 2620820"/>
                <a:gd name="connsiteX575" fmla="*/ 652822 w 1896520"/>
                <a:gd name="connsiteY575" fmla="*/ 214430 h 2620820"/>
                <a:gd name="connsiteX576" fmla="*/ 714770 w 1896520"/>
                <a:gd name="connsiteY576" fmla="*/ 233492 h 2620820"/>
                <a:gd name="connsiteX577" fmla="*/ 719534 w 1896520"/>
                <a:gd name="connsiteY577" fmla="*/ 233492 h 2620820"/>
                <a:gd name="connsiteX578" fmla="*/ 705238 w 1896520"/>
                <a:gd name="connsiteY578" fmla="*/ 243022 h 2620820"/>
                <a:gd name="connsiteX579" fmla="*/ 700474 w 1896520"/>
                <a:gd name="connsiteY579" fmla="*/ 252552 h 2620820"/>
                <a:gd name="connsiteX580" fmla="*/ 710004 w 1896520"/>
                <a:gd name="connsiteY580" fmla="*/ 266848 h 2620820"/>
                <a:gd name="connsiteX581" fmla="*/ 719534 w 1896520"/>
                <a:gd name="connsiteY581" fmla="*/ 266848 h 2620820"/>
                <a:gd name="connsiteX582" fmla="*/ 729064 w 1896520"/>
                <a:gd name="connsiteY582" fmla="*/ 262082 h 2620820"/>
                <a:gd name="connsiteX583" fmla="*/ 738594 w 1896520"/>
                <a:gd name="connsiteY583" fmla="*/ 238256 h 2620820"/>
                <a:gd name="connsiteX584" fmla="*/ 748126 w 1896520"/>
                <a:gd name="connsiteY584" fmla="*/ 214430 h 2620820"/>
                <a:gd name="connsiteX585" fmla="*/ 752890 w 1896520"/>
                <a:gd name="connsiteY585" fmla="*/ 190606 h 2620820"/>
                <a:gd name="connsiteX586" fmla="*/ 762420 w 1896520"/>
                <a:gd name="connsiteY586" fmla="*/ 181074 h 2620820"/>
                <a:gd name="connsiteX587" fmla="*/ 776716 w 1896520"/>
                <a:gd name="connsiteY587" fmla="*/ 176310 h 2620820"/>
                <a:gd name="connsiteX588" fmla="*/ 795776 w 1896520"/>
                <a:gd name="connsiteY588" fmla="*/ 181074 h 2620820"/>
                <a:gd name="connsiteX589" fmla="*/ 814836 w 1896520"/>
                <a:gd name="connsiteY589" fmla="*/ 185840 h 2620820"/>
                <a:gd name="connsiteX590" fmla="*/ 833898 w 1896520"/>
                <a:gd name="connsiteY590" fmla="*/ 185840 h 2620820"/>
                <a:gd name="connsiteX591" fmla="*/ 891078 w 1896520"/>
                <a:gd name="connsiteY591" fmla="*/ 185840 h 2620820"/>
                <a:gd name="connsiteX592" fmla="*/ 981616 w 1896520"/>
                <a:gd name="connsiteY592" fmla="*/ 119128 h 2620820"/>
                <a:gd name="connsiteX593" fmla="*/ 1024502 w 1896520"/>
                <a:gd name="connsiteY593" fmla="*/ 104832 h 2620820"/>
                <a:gd name="connsiteX594" fmla="*/ 1053094 w 1896520"/>
                <a:gd name="connsiteY594" fmla="*/ 90538 h 2620820"/>
                <a:gd name="connsiteX595" fmla="*/ 1072154 w 1896520"/>
                <a:gd name="connsiteY595" fmla="*/ 61946 h 2620820"/>
                <a:gd name="connsiteX596" fmla="*/ 1076920 w 1896520"/>
                <a:gd name="connsiteY596" fmla="*/ 42886 h 2620820"/>
                <a:gd name="connsiteX597" fmla="*/ 1086450 w 1896520"/>
                <a:gd name="connsiteY597" fmla="*/ 33356 h 2620820"/>
                <a:gd name="connsiteX598" fmla="*/ 1100744 w 1896520"/>
                <a:gd name="connsiteY598" fmla="*/ 33356 h 2620820"/>
                <a:gd name="connsiteX599" fmla="*/ 1105510 w 1896520"/>
                <a:gd name="connsiteY599" fmla="*/ 28590 h 2620820"/>
                <a:gd name="connsiteX600" fmla="*/ 1110274 w 1896520"/>
                <a:gd name="connsiteY600" fmla="*/ 23826 h 2620820"/>
                <a:gd name="connsiteX601" fmla="*/ 1138866 w 1896520"/>
                <a:gd name="connsiteY601" fmla="*/ 4766 h 2620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</a:cxnLst>
              <a:rect l="l" t="t" r="r" b="b"/>
              <a:pathLst>
                <a:path w="1896520" h="2620820">
                  <a:moveTo>
                    <a:pt x="128658" y="1543902"/>
                  </a:moveTo>
                  <a:lnTo>
                    <a:pt x="138189" y="1548666"/>
                  </a:lnTo>
                  <a:lnTo>
                    <a:pt x="138189" y="1553432"/>
                  </a:lnTo>
                  <a:lnTo>
                    <a:pt x="142954" y="1562962"/>
                  </a:lnTo>
                  <a:lnTo>
                    <a:pt x="138189" y="1567726"/>
                  </a:lnTo>
                  <a:lnTo>
                    <a:pt x="128658" y="1558196"/>
                  </a:lnTo>
                  <a:lnTo>
                    <a:pt x="123893" y="1553432"/>
                  </a:lnTo>
                  <a:close/>
                  <a:moveTo>
                    <a:pt x="1157926" y="0"/>
                  </a:moveTo>
                  <a:lnTo>
                    <a:pt x="1176986" y="0"/>
                  </a:lnTo>
                  <a:lnTo>
                    <a:pt x="1210342" y="19060"/>
                  </a:lnTo>
                  <a:lnTo>
                    <a:pt x="1229404" y="47652"/>
                  </a:lnTo>
                  <a:lnTo>
                    <a:pt x="1229404" y="61946"/>
                  </a:lnTo>
                  <a:lnTo>
                    <a:pt x="1205578" y="85772"/>
                  </a:lnTo>
                  <a:lnTo>
                    <a:pt x="1200812" y="95302"/>
                  </a:lnTo>
                  <a:lnTo>
                    <a:pt x="1196048" y="95302"/>
                  </a:lnTo>
                  <a:lnTo>
                    <a:pt x="1191282" y="100068"/>
                  </a:lnTo>
                  <a:lnTo>
                    <a:pt x="1167456" y="109598"/>
                  </a:lnTo>
                  <a:lnTo>
                    <a:pt x="1138866" y="114364"/>
                  </a:lnTo>
                  <a:lnTo>
                    <a:pt x="1100744" y="123894"/>
                  </a:lnTo>
                  <a:lnTo>
                    <a:pt x="1095980" y="133424"/>
                  </a:lnTo>
                  <a:lnTo>
                    <a:pt x="1057858" y="200136"/>
                  </a:lnTo>
                  <a:lnTo>
                    <a:pt x="1024502" y="214430"/>
                  </a:lnTo>
                  <a:lnTo>
                    <a:pt x="1014972" y="223960"/>
                  </a:lnTo>
                  <a:lnTo>
                    <a:pt x="1005442" y="233492"/>
                  </a:lnTo>
                  <a:lnTo>
                    <a:pt x="986382" y="257316"/>
                  </a:lnTo>
                  <a:lnTo>
                    <a:pt x="981616" y="271612"/>
                  </a:lnTo>
                  <a:lnTo>
                    <a:pt x="957790" y="309734"/>
                  </a:lnTo>
                  <a:lnTo>
                    <a:pt x="948260" y="357384"/>
                  </a:lnTo>
                  <a:lnTo>
                    <a:pt x="943496" y="385976"/>
                  </a:lnTo>
                  <a:lnTo>
                    <a:pt x="938730" y="424096"/>
                  </a:lnTo>
                  <a:lnTo>
                    <a:pt x="929200" y="443156"/>
                  </a:lnTo>
                  <a:lnTo>
                    <a:pt x="919670" y="462218"/>
                  </a:lnTo>
                  <a:lnTo>
                    <a:pt x="905374" y="476512"/>
                  </a:lnTo>
                  <a:lnTo>
                    <a:pt x="895844" y="495574"/>
                  </a:lnTo>
                  <a:lnTo>
                    <a:pt x="881548" y="514634"/>
                  </a:lnTo>
                  <a:lnTo>
                    <a:pt x="881548" y="519398"/>
                  </a:lnTo>
                  <a:lnTo>
                    <a:pt x="886314" y="519398"/>
                  </a:lnTo>
                  <a:lnTo>
                    <a:pt x="910140" y="519398"/>
                  </a:lnTo>
                  <a:lnTo>
                    <a:pt x="919670" y="514634"/>
                  </a:lnTo>
                  <a:lnTo>
                    <a:pt x="929200" y="505104"/>
                  </a:lnTo>
                  <a:lnTo>
                    <a:pt x="938730" y="509868"/>
                  </a:lnTo>
                  <a:lnTo>
                    <a:pt x="948260" y="524164"/>
                  </a:lnTo>
                  <a:lnTo>
                    <a:pt x="953026" y="528930"/>
                  </a:lnTo>
                  <a:lnTo>
                    <a:pt x="962556" y="524164"/>
                  </a:lnTo>
                  <a:lnTo>
                    <a:pt x="972086" y="528930"/>
                  </a:lnTo>
                  <a:lnTo>
                    <a:pt x="981616" y="571816"/>
                  </a:lnTo>
                  <a:lnTo>
                    <a:pt x="991146" y="605172"/>
                  </a:lnTo>
                  <a:lnTo>
                    <a:pt x="1029268" y="648058"/>
                  </a:lnTo>
                  <a:lnTo>
                    <a:pt x="1034032" y="662352"/>
                  </a:lnTo>
                  <a:lnTo>
                    <a:pt x="1038798" y="681414"/>
                  </a:lnTo>
                  <a:lnTo>
                    <a:pt x="1038798" y="690944"/>
                  </a:lnTo>
                  <a:lnTo>
                    <a:pt x="1034032" y="700474"/>
                  </a:lnTo>
                  <a:lnTo>
                    <a:pt x="1024502" y="710004"/>
                  </a:lnTo>
                  <a:lnTo>
                    <a:pt x="1024502" y="733830"/>
                  </a:lnTo>
                  <a:lnTo>
                    <a:pt x="1024502" y="743360"/>
                  </a:lnTo>
                  <a:lnTo>
                    <a:pt x="1019738" y="767186"/>
                  </a:lnTo>
                  <a:lnTo>
                    <a:pt x="1019738" y="781480"/>
                  </a:lnTo>
                  <a:lnTo>
                    <a:pt x="1029268" y="791012"/>
                  </a:lnTo>
                  <a:lnTo>
                    <a:pt x="1034032" y="795776"/>
                  </a:lnTo>
                  <a:lnTo>
                    <a:pt x="1048328" y="800542"/>
                  </a:lnTo>
                  <a:lnTo>
                    <a:pt x="1062624" y="805306"/>
                  </a:lnTo>
                  <a:lnTo>
                    <a:pt x="1072154" y="824366"/>
                  </a:lnTo>
                  <a:lnTo>
                    <a:pt x="1081684" y="848192"/>
                  </a:lnTo>
                  <a:lnTo>
                    <a:pt x="1095980" y="857722"/>
                  </a:lnTo>
                  <a:lnTo>
                    <a:pt x="1115040" y="867254"/>
                  </a:lnTo>
                  <a:lnTo>
                    <a:pt x="1124570" y="862488"/>
                  </a:lnTo>
                  <a:lnTo>
                    <a:pt x="1153160" y="857722"/>
                  </a:lnTo>
                  <a:lnTo>
                    <a:pt x="1181752" y="857722"/>
                  </a:lnTo>
                  <a:lnTo>
                    <a:pt x="1219872" y="867254"/>
                  </a:lnTo>
                  <a:lnTo>
                    <a:pt x="1234168" y="867254"/>
                  </a:lnTo>
                  <a:lnTo>
                    <a:pt x="1248464" y="862488"/>
                  </a:lnTo>
                  <a:lnTo>
                    <a:pt x="1281820" y="852958"/>
                  </a:lnTo>
                  <a:lnTo>
                    <a:pt x="1291350" y="848192"/>
                  </a:lnTo>
                  <a:lnTo>
                    <a:pt x="1305646" y="852958"/>
                  </a:lnTo>
                  <a:lnTo>
                    <a:pt x="1324706" y="857722"/>
                  </a:lnTo>
                  <a:lnTo>
                    <a:pt x="1334236" y="862488"/>
                  </a:lnTo>
                  <a:lnTo>
                    <a:pt x="1348532" y="867254"/>
                  </a:lnTo>
                  <a:lnTo>
                    <a:pt x="1367592" y="872018"/>
                  </a:lnTo>
                  <a:lnTo>
                    <a:pt x="1377122" y="872018"/>
                  </a:lnTo>
                  <a:lnTo>
                    <a:pt x="1386652" y="872018"/>
                  </a:lnTo>
                  <a:lnTo>
                    <a:pt x="1396182" y="872018"/>
                  </a:lnTo>
                  <a:lnTo>
                    <a:pt x="1424774" y="910140"/>
                  </a:lnTo>
                  <a:lnTo>
                    <a:pt x="1448600" y="943496"/>
                  </a:lnTo>
                  <a:lnTo>
                    <a:pt x="1472424" y="972086"/>
                  </a:lnTo>
                  <a:lnTo>
                    <a:pt x="1496250" y="1000676"/>
                  </a:lnTo>
                  <a:lnTo>
                    <a:pt x="1510546" y="995912"/>
                  </a:lnTo>
                  <a:lnTo>
                    <a:pt x="1515310" y="1000676"/>
                  </a:lnTo>
                  <a:lnTo>
                    <a:pt x="1524840" y="1005442"/>
                  </a:lnTo>
                  <a:lnTo>
                    <a:pt x="1534372" y="1000676"/>
                  </a:lnTo>
                  <a:lnTo>
                    <a:pt x="1548666" y="991146"/>
                  </a:lnTo>
                  <a:lnTo>
                    <a:pt x="1572492" y="991146"/>
                  </a:lnTo>
                  <a:lnTo>
                    <a:pt x="1605848" y="995912"/>
                  </a:lnTo>
                  <a:lnTo>
                    <a:pt x="1648734" y="995912"/>
                  </a:lnTo>
                  <a:lnTo>
                    <a:pt x="1696386" y="991146"/>
                  </a:lnTo>
                  <a:lnTo>
                    <a:pt x="1729742" y="981616"/>
                  </a:lnTo>
                  <a:lnTo>
                    <a:pt x="1744036" y="976852"/>
                  </a:lnTo>
                  <a:lnTo>
                    <a:pt x="1763098" y="976852"/>
                  </a:lnTo>
                  <a:lnTo>
                    <a:pt x="1786924" y="981616"/>
                  </a:lnTo>
                  <a:lnTo>
                    <a:pt x="1801218" y="991146"/>
                  </a:lnTo>
                  <a:lnTo>
                    <a:pt x="1801218" y="1000676"/>
                  </a:lnTo>
                  <a:lnTo>
                    <a:pt x="1810748" y="1014972"/>
                  </a:lnTo>
                  <a:lnTo>
                    <a:pt x="1801218" y="1034032"/>
                  </a:lnTo>
                  <a:lnTo>
                    <a:pt x="1786924" y="1048328"/>
                  </a:lnTo>
                  <a:lnTo>
                    <a:pt x="1777392" y="1067388"/>
                  </a:lnTo>
                  <a:lnTo>
                    <a:pt x="1777392" y="1091214"/>
                  </a:lnTo>
                  <a:lnTo>
                    <a:pt x="1767862" y="1105510"/>
                  </a:lnTo>
                  <a:lnTo>
                    <a:pt x="1753568" y="1119804"/>
                  </a:lnTo>
                  <a:lnTo>
                    <a:pt x="1748802" y="1134100"/>
                  </a:lnTo>
                  <a:lnTo>
                    <a:pt x="1753568" y="1157926"/>
                  </a:lnTo>
                  <a:lnTo>
                    <a:pt x="1748802" y="1186516"/>
                  </a:lnTo>
                  <a:lnTo>
                    <a:pt x="1744036" y="1229402"/>
                  </a:lnTo>
                  <a:lnTo>
                    <a:pt x="1744036" y="1253228"/>
                  </a:lnTo>
                  <a:lnTo>
                    <a:pt x="1748802" y="1262758"/>
                  </a:lnTo>
                  <a:lnTo>
                    <a:pt x="1753568" y="1277054"/>
                  </a:lnTo>
                  <a:lnTo>
                    <a:pt x="1753568" y="1291350"/>
                  </a:lnTo>
                  <a:lnTo>
                    <a:pt x="1753568" y="1305644"/>
                  </a:lnTo>
                  <a:lnTo>
                    <a:pt x="1763098" y="1319940"/>
                  </a:lnTo>
                  <a:lnTo>
                    <a:pt x="1772628" y="1358062"/>
                  </a:lnTo>
                  <a:lnTo>
                    <a:pt x="1782158" y="1372356"/>
                  </a:lnTo>
                  <a:lnTo>
                    <a:pt x="1791688" y="1377122"/>
                  </a:lnTo>
                  <a:lnTo>
                    <a:pt x="1801218" y="1381886"/>
                  </a:lnTo>
                  <a:lnTo>
                    <a:pt x="1820280" y="1420008"/>
                  </a:lnTo>
                  <a:lnTo>
                    <a:pt x="1829810" y="1424774"/>
                  </a:lnTo>
                  <a:lnTo>
                    <a:pt x="1825044" y="1434304"/>
                  </a:lnTo>
                  <a:lnTo>
                    <a:pt x="1825044" y="1439068"/>
                  </a:lnTo>
                  <a:lnTo>
                    <a:pt x="1820280" y="1439068"/>
                  </a:lnTo>
                  <a:lnTo>
                    <a:pt x="1796454" y="1462894"/>
                  </a:lnTo>
                  <a:lnTo>
                    <a:pt x="1748802" y="1505780"/>
                  </a:lnTo>
                  <a:lnTo>
                    <a:pt x="1744036" y="1515310"/>
                  </a:lnTo>
                  <a:lnTo>
                    <a:pt x="1744036" y="1524840"/>
                  </a:lnTo>
                  <a:lnTo>
                    <a:pt x="1758332" y="1515310"/>
                  </a:lnTo>
                  <a:lnTo>
                    <a:pt x="1772628" y="1520076"/>
                  </a:lnTo>
                  <a:lnTo>
                    <a:pt x="1782158" y="1524840"/>
                  </a:lnTo>
                  <a:lnTo>
                    <a:pt x="1782158" y="1529606"/>
                  </a:lnTo>
                  <a:lnTo>
                    <a:pt x="1786924" y="1539136"/>
                  </a:lnTo>
                  <a:lnTo>
                    <a:pt x="1791688" y="1539136"/>
                  </a:lnTo>
                  <a:lnTo>
                    <a:pt x="1801218" y="1548666"/>
                  </a:lnTo>
                  <a:lnTo>
                    <a:pt x="1815514" y="1558196"/>
                  </a:lnTo>
                  <a:lnTo>
                    <a:pt x="1829810" y="1572492"/>
                  </a:lnTo>
                  <a:lnTo>
                    <a:pt x="1839340" y="1582022"/>
                  </a:lnTo>
                  <a:lnTo>
                    <a:pt x="1844104" y="1586788"/>
                  </a:lnTo>
                  <a:lnTo>
                    <a:pt x="1844104" y="1596318"/>
                  </a:lnTo>
                  <a:lnTo>
                    <a:pt x="1844104" y="1605848"/>
                  </a:lnTo>
                  <a:lnTo>
                    <a:pt x="1848870" y="1624908"/>
                  </a:lnTo>
                  <a:lnTo>
                    <a:pt x="1858400" y="1629674"/>
                  </a:lnTo>
                  <a:lnTo>
                    <a:pt x="1858400" y="1639204"/>
                  </a:lnTo>
                  <a:lnTo>
                    <a:pt x="1858400" y="1648734"/>
                  </a:lnTo>
                  <a:lnTo>
                    <a:pt x="1863166" y="1658264"/>
                  </a:lnTo>
                  <a:lnTo>
                    <a:pt x="1867930" y="1672560"/>
                  </a:lnTo>
                  <a:lnTo>
                    <a:pt x="1877460" y="1696386"/>
                  </a:lnTo>
                  <a:lnTo>
                    <a:pt x="1877460" y="1710680"/>
                  </a:lnTo>
                  <a:lnTo>
                    <a:pt x="1882226" y="1715446"/>
                  </a:lnTo>
                  <a:lnTo>
                    <a:pt x="1886990" y="1729742"/>
                  </a:lnTo>
                  <a:lnTo>
                    <a:pt x="1896520" y="1748802"/>
                  </a:lnTo>
                  <a:lnTo>
                    <a:pt x="1891756" y="1758332"/>
                  </a:lnTo>
                  <a:lnTo>
                    <a:pt x="1896520" y="1767862"/>
                  </a:lnTo>
                  <a:lnTo>
                    <a:pt x="1867930" y="1777392"/>
                  </a:lnTo>
                  <a:lnTo>
                    <a:pt x="1863166" y="1772628"/>
                  </a:lnTo>
                  <a:lnTo>
                    <a:pt x="1863166" y="1739272"/>
                  </a:lnTo>
                  <a:lnTo>
                    <a:pt x="1863166" y="1705916"/>
                  </a:lnTo>
                  <a:lnTo>
                    <a:pt x="1858400" y="1691620"/>
                  </a:lnTo>
                  <a:lnTo>
                    <a:pt x="1844104" y="1672560"/>
                  </a:lnTo>
                  <a:lnTo>
                    <a:pt x="1825044" y="1643968"/>
                  </a:lnTo>
                  <a:lnTo>
                    <a:pt x="1820280" y="1634438"/>
                  </a:lnTo>
                  <a:lnTo>
                    <a:pt x="1815514" y="1629674"/>
                  </a:lnTo>
                  <a:lnTo>
                    <a:pt x="1805984" y="1629674"/>
                  </a:lnTo>
                  <a:lnTo>
                    <a:pt x="1796454" y="1629674"/>
                  </a:lnTo>
                  <a:lnTo>
                    <a:pt x="1782158" y="1639204"/>
                  </a:lnTo>
                  <a:lnTo>
                    <a:pt x="1763098" y="1658264"/>
                  </a:lnTo>
                  <a:lnTo>
                    <a:pt x="1748802" y="1682090"/>
                  </a:lnTo>
                  <a:lnTo>
                    <a:pt x="1739272" y="1686854"/>
                  </a:lnTo>
                  <a:lnTo>
                    <a:pt x="1729742" y="1686854"/>
                  </a:lnTo>
                  <a:lnTo>
                    <a:pt x="1720212" y="1686854"/>
                  </a:lnTo>
                  <a:lnTo>
                    <a:pt x="1715446" y="1682090"/>
                  </a:lnTo>
                  <a:lnTo>
                    <a:pt x="1710680" y="1667794"/>
                  </a:lnTo>
                  <a:lnTo>
                    <a:pt x="1701150" y="1653500"/>
                  </a:lnTo>
                  <a:lnTo>
                    <a:pt x="1691620" y="1648734"/>
                  </a:lnTo>
                  <a:lnTo>
                    <a:pt x="1686856" y="1653500"/>
                  </a:lnTo>
                  <a:lnTo>
                    <a:pt x="1682090" y="1672560"/>
                  </a:lnTo>
                  <a:lnTo>
                    <a:pt x="1686856" y="1682090"/>
                  </a:lnTo>
                  <a:lnTo>
                    <a:pt x="1691620" y="1691620"/>
                  </a:lnTo>
                  <a:lnTo>
                    <a:pt x="1515310" y="1691620"/>
                  </a:lnTo>
                  <a:lnTo>
                    <a:pt x="1501016" y="1691620"/>
                  </a:lnTo>
                  <a:lnTo>
                    <a:pt x="1491486" y="1686854"/>
                  </a:lnTo>
                  <a:lnTo>
                    <a:pt x="1481954" y="1682090"/>
                  </a:lnTo>
                  <a:lnTo>
                    <a:pt x="1472424" y="1682090"/>
                  </a:lnTo>
                  <a:lnTo>
                    <a:pt x="1462894" y="1686854"/>
                  </a:lnTo>
                  <a:lnTo>
                    <a:pt x="1448600" y="1686854"/>
                  </a:lnTo>
                  <a:lnTo>
                    <a:pt x="1439068" y="1691620"/>
                  </a:lnTo>
                  <a:lnTo>
                    <a:pt x="1429538" y="1691620"/>
                  </a:lnTo>
                  <a:lnTo>
                    <a:pt x="1429538" y="1753566"/>
                  </a:lnTo>
                  <a:lnTo>
                    <a:pt x="1429538" y="1796454"/>
                  </a:lnTo>
                  <a:lnTo>
                    <a:pt x="1439068" y="1791688"/>
                  </a:lnTo>
                  <a:lnTo>
                    <a:pt x="1448600" y="1791688"/>
                  </a:lnTo>
                  <a:lnTo>
                    <a:pt x="1453364" y="1796454"/>
                  </a:lnTo>
                  <a:lnTo>
                    <a:pt x="1467660" y="1791688"/>
                  </a:lnTo>
                  <a:lnTo>
                    <a:pt x="1477190" y="1791688"/>
                  </a:lnTo>
                  <a:lnTo>
                    <a:pt x="1481954" y="1796454"/>
                  </a:lnTo>
                  <a:lnTo>
                    <a:pt x="1491486" y="1796454"/>
                  </a:lnTo>
                  <a:lnTo>
                    <a:pt x="1496250" y="1796454"/>
                  </a:lnTo>
                  <a:lnTo>
                    <a:pt x="1501016" y="1796454"/>
                  </a:lnTo>
                  <a:lnTo>
                    <a:pt x="1505780" y="1791688"/>
                  </a:lnTo>
                  <a:lnTo>
                    <a:pt x="1515310" y="1796454"/>
                  </a:lnTo>
                  <a:lnTo>
                    <a:pt x="1524840" y="1801218"/>
                  </a:lnTo>
                  <a:lnTo>
                    <a:pt x="1529606" y="1810748"/>
                  </a:lnTo>
                  <a:lnTo>
                    <a:pt x="1534372" y="1820278"/>
                  </a:lnTo>
                  <a:lnTo>
                    <a:pt x="1539136" y="1825044"/>
                  </a:lnTo>
                  <a:lnTo>
                    <a:pt x="1539136" y="1834574"/>
                  </a:lnTo>
                  <a:lnTo>
                    <a:pt x="1539136" y="1844104"/>
                  </a:lnTo>
                  <a:lnTo>
                    <a:pt x="1539136" y="1848870"/>
                  </a:lnTo>
                  <a:lnTo>
                    <a:pt x="1539136" y="1853634"/>
                  </a:lnTo>
                  <a:lnTo>
                    <a:pt x="1539136" y="1858400"/>
                  </a:lnTo>
                  <a:lnTo>
                    <a:pt x="1529606" y="1863164"/>
                  </a:lnTo>
                  <a:lnTo>
                    <a:pt x="1524840" y="1863164"/>
                  </a:lnTo>
                  <a:lnTo>
                    <a:pt x="1520076" y="1863164"/>
                  </a:lnTo>
                  <a:lnTo>
                    <a:pt x="1515310" y="1858400"/>
                  </a:lnTo>
                  <a:lnTo>
                    <a:pt x="1510546" y="1858400"/>
                  </a:lnTo>
                  <a:lnTo>
                    <a:pt x="1501016" y="1853634"/>
                  </a:lnTo>
                  <a:lnTo>
                    <a:pt x="1501016" y="1848870"/>
                  </a:lnTo>
                  <a:lnTo>
                    <a:pt x="1491486" y="1844104"/>
                  </a:lnTo>
                  <a:lnTo>
                    <a:pt x="1481954" y="1848870"/>
                  </a:lnTo>
                  <a:lnTo>
                    <a:pt x="1477190" y="1848870"/>
                  </a:lnTo>
                  <a:lnTo>
                    <a:pt x="1467660" y="1853634"/>
                  </a:lnTo>
                  <a:lnTo>
                    <a:pt x="1462894" y="1858400"/>
                  </a:lnTo>
                  <a:lnTo>
                    <a:pt x="1458130" y="1853634"/>
                  </a:lnTo>
                  <a:lnTo>
                    <a:pt x="1453364" y="1858400"/>
                  </a:lnTo>
                  <a:lnTo>
                    <a:pt x="1448600" y="1863164"/>
                  </a:lnTo>
                  <a:lnTo>
                    <a:pt x="1439068" y="1863164"/>
                  </a:lnTo>
                  <a:lnTo>
                    <a:pt x="1429538" y="1867930"/>
                  </a:lnTo>
                  <a:lnTo>
                    <a:pt x="1420008" y="1867930"/>
                  </a:lnTo>
                  <a:lnTo>
                    <a:pt x="1410478" y="1867930"/>
                  </a:lnTo>
                  <a:lnTo>
                    <a:pt x="1400948" y="1867930"/>
                  </a:lnTo>
                  <a:lnTo>
                    <a:pt x="1400948" y="1891756"/>
                  </a:lnTo>
                  <a:lnTo>
                    <a:pt x="1396182" y="1929876"/>
                  </a:lnTo>
                  <a:lnTo>
                    <a:pt x="1396182" y="1958468"/>
                  </a:lnTo>
                  <a:lnTo>
                    <a:pt x="1396182" y="1982294"/>
                  </a:lnTo>
                  <a:lnTo>
                    <a:pt x="1400948" y="1991824"/>
                  </a:lnTo>
                  <a:lnTo>
                    <a:pt x="1420008" y="2010884"/>
                  </a:lnTo>
                  <a:lnTo>
                    <a:pt x="1434304" y="2020414"/>
                  </a:lnTo>
                  <a:lnTo>
                    <a:pt x="1448600" y="2029944"/>
                  </a:lnTo>
                  <a:lnTo>
                    <a:pt x="1458130" y="2034710"/>
                  </a:lnTo>
                  <a:lnTo>
                    <a:pt x="1467660" y="2039474"/>
                  </a:lnTo>
                  <a:lnTo>
                    <a:pt x="1467660" y="2044240"/>
                  </a:lnTo>
                  <a:lnTo>
                    <a:pt x="1472424" y="2053770"/>
                  </a:lnTo>
                  <a:lnTo>
                    <a:pt x="1472424" y="2058534"/>
                  </a:lnTo>
                  <a:lnTo>
                    <a:pt x="1472424" y="2068066"/>
                  </a:lnTo>
                  <a:lnTo>
                    <a:pt x="1467660" y="2072830"/>
                  </a:lnTo>
                  <a:lnTo>
                    <a:pt x="1467660" y="2077596"/>
                  </a:lnTo>
                  <a:lnTo>
                    <a:pt x="1472424" y="2082360"/>
                  </a:lnTo>
                  <a:lnTo>
                    <a:pt x="1477190" y="2091890"/>
                  </a:lnTo>
                  <a:lnTo>
                    <a:pt x="1477190" y="2096656"/>
                  </a:lnTo>
                  <a:lnTo>
                    <a:pt x="1481954" y="2101422"/>
                  </a:lnTo>
                  <a:lnTo>
                    <a:pt x="1481954" y="2106186"/>
                  </a:lnTo>
                  <a:lnTo>
                    <a:pt x="1486720" y="2110952"/>
                  </a:lnTo>
                  <a:lnTo>
                    <a:pt x="1496250" y="2115716"/>
                  </a:lnTo>
                  <a:lnTo>
                    <a:pt x="1496250" y="2120482"/>
                  </a:lnTo>
                  <a:lnTo>
                    <a:pt x="1496250" y="2125246"/>
                  </a:lnTo>
                  <a:lnTo>
                    <a:pt x="1496250" y="2130012"/>
                  </a:lnTo>
                  <a:lnTo>
                    <a:pt x="1501016" y="2139542"/>
                  </a:lnTo>
                  <a:lnTo>
                    <a:pt x="1501016" y="2144308"/>
                  </a:lnTo>
                  <a:lnTo>
                    <a:pt x="1501016" y="2153838"/>
                  </a:lnTo>
                  <a:lnTo>
                    <a:pt x="1496250" y="2182428"/>
                  </a:lnTo>
                  <a:lnTo>
                    <a:pt x="1491486" y="2211018"/>
                  </a:lnTo>
                  <a:lnTo>
                    <a:pt x="1486720" y="2234844"/>
                  </a:lnTo>
                  <a:lnTo>
                    <a:pt x="1477190" y="2277730"/>
                  </a:lnTo>
                  <a:lnTo>
                    <a:pt x="1467660" y="2320618"/>
                  </a:lnTo>
                  <a:lnTo>
                    <a:pt x="1448600" y="2430214"/>
                  </a:lnTo>
                  <a:lnTo>
                    <a:pt x="1439068" y="2482632"/>
                  </a:lnTo>
                  <a:lnTo>
                    <a:pt x="1429538" y="2530282"/>
                  </a:lnTo>
                  <a:lnTo>
                    <a:pt x="1420008" y="2582698"/>
                  </a:lnTo>
                  <a:lnTo>
                    <a:pt x="1415244" y="2616054"/>
                  </a:lnTo>
                  <a:lnTo>
                    <a:pt x="1415244" y="2620820"/>
                  </a:lnTo>
                  <a:lnTo>
                    <a:pt x="1405712" y="2611290"/>
                  </a:lnTo>
                  <a:lnTo>
                    <a:pt x="1396182" y="2596994"/>
                  </a:lnTo>
                  <a:lnTo>
                    <a:pt x="1381888" y="2592230"/>
                  </a:lnTo>
                  <a:lnTo>
                    <a:pt x="1377122" y="2582698"/>
                  </a:lnTo>
                  <a:lnTo>
                    <a:pt x="1372356" y="2568404"/>
                  </a:lnTo>
                  <a:lnTo>
                    <a:pt x="1362826" y="2558874"/>
                  </a:lnTo>
                  <a:lnTo>
                    <a:pt x="1353296" y="2554108"/>
                  </a:lnTo>
                  <a:lnTo>
                    <a:pt x="1348532" y="2558874"/>
                  </a:lnTo>
                  <a:lnTo>
                    <a:pt x="1343766" y="2558874"/>
                  </a:lnTo>
                  <a:lnTo>
                    <a:pt x="1334236" y="2563638"/>
                  </a:lnTo>
                  <a:lnTo>
                    <a:pt x="1324706" y="2563638"/>
                  </a:lnTo>
                  <a:lnTo>
                    <a:pt x="1296114" y="2554108"/>
                  </a:lnTo>
                  <a:lnTo>
                    <a:pt x="1291350" y="2549342"/>
                  </a:lnTo>
                  <a:lnTo>
                    <a:pt x="1310410" y="2520752"/>
                  </a:lnTo>
                  <a:lnTo>
                    <a:pt x="1343766" y="2473102"/>
                  </a:lnTo>
                  <a:lnTo>
                    <a:pt x="1362826" y="2439746"/>
                  </a:lnTo>
                  <a:lnTo>
                    <a:pt x="1386652" y="2406390"/>
                  </a:lnTo>
                  <a:lnTo>
                    <a:pt x="1396182" y="2392094"/>
                  </a:lnTo>
                  <a:lnTo>
                    <a:pt x="1396182" y="2387328"/>
                  </a:lnTo>
                  <a:lnTo>
                    <a:pt x="1396182" y="2382564"/>
                  </a:lnTo>
                  <a:lnTo>
                    <a:pt x="1391418" y="2373034"/>
                  </a:lnTo>
                  <a:lnTo>
                    <a:pt x="1381888" y="2373034"/>
                  </a:lnTo>
                  <a:lnTo>
                    <a:pt x="1372356" y="2368268"/>
                  </a:lnTo>
                  <a:lnTo>
                    <a:pt x="1362826" y="2358738"/>
                  </a:lnTo>
                  <a:lnTo>
                    <a:pt x="1353296" y="2353972"/>
                  </a:lnTo>
                  <a:lnTo>
                    <a:pt x="1343766" y="2349208"/>
                  </a:lnTo>
                  <a:lnTo>
                    <a:pt x="1329470" y="2344442"/>
                  </a:lnTo>
                  <a:lnTo>
                    <a:pt x="1319940" y="2339678"/>
                  </a:lnTo>
                  <a:lnTo>
                    <a:pt x="1305646" y="2334912"/>
                  </a:lnTo>
                  <a:lnTo>
                    <a:pt x="1296114" y="2325382"/>
                  </a:lnTo>
                  <a:lnTo>
                    <a:pt x="1267524" y="2306322"/>
                  </a:lnTo>
                  <a:lnTo>
                    <a:pt x="1257994" y="2306322"/>
                  </a:lnTo>
                  <a:lnTo>
                    <a:pt x="1248464" y="2306322"/>
                  </a:lnTo>
                  <a:lnTo>
                    <a:pt x="1234168" y="2311086"/>
                  </a:lnTo>
                  <a:lnTo>
                    <a:pt x="1219872" y="2320618"/>
                  </a:lnTo>
                  <a:lnTo>
                    <a:pt x="1205578" y="2325382"/>
                  </a:lnTo>
                  <a:lnTo>
                    <a:pt x="1191282" y="2325382"/>
                  </a:lnTo>
                  <a:lnTo>
                    <a:pt x="1181752" y="2315852"/>
                  </a:lnTo>
                  <a:lnTo>
                    <a:pt x="1172222" y="2315852"/>
                  </a:lnTo>
                  <a:lnTo>
                    <a:pt x="1162692" y="2306322"/>
                  </a:lnTo>
                  <a:lnTo>
                    <a:pt x="1148396" y="2301556"/>
                  </a:lnTo>
                  <a:lnTo>
                    <a:pt x="1134100" y="2296792"/>
                  </a:lnTo>
                  <a:lnTo>
                    <a:pt x="1124570" y="2296792"/>
                  </a:lnTo>
                  <a:lnTo>
                    <a:pt x="1115040" y="2306322"/>
                  </a:lnTo>
                  <a:lnTo>
                    <a:pt x="1105510" y="2315852"/>
                  </a:lnTo>
                  <a:lnTo>
                    <a:pt x="1095980" y="2325382"/>
                  </a:lnTo>
                  <a:lnTo>
                    <a:pt x="1086450" y="2320618"/>
                  </a:lnTo>
                  <a:lnTo>
                    <a:pt x="1072154" y="2330148"/>
                  </a:lnTo>
                  <a:lnTo>
                    <a:pt x="1062624" y="2334912"/>
                  </a:lnTo>
                  <a:lnTo>
                    <a:pt x="1048328" y="2334912"/>
                  </a:lnTo>
                  <a:lnTo>
                    <a:pt x="1034032" y="2339678"/>
                  </a:lnTo>
                  <a:lnTo>
                    <a:pt x="1019738" y="2334912"/>
                  </a:lnTo>
                  <a:lnTo>
                    <a:pt x="1005442" y="2330148"/>
                  </a:lnTo>
                  <a:lnTo>
                    <a:pt x="995912" y="2325382"/>
                  </a:lnTo>
                  <a:lnTo>
                    <a:pt x="991146" y="2330148"/>
                  </a:lnTo>
                  <a:lnTo>
                    <a:pt x="986382" y="2334912"/>
                  </a:lnTo>
                  <a:lnTo>
                    <a:pt x="967320" y="2334912"/>
                  </a:lnTo>
                  <a:lnTo>
                    <a:pt x="957790" y="2334912"/>
                  </a:lnTo>
                  <a:lnTo>
                    <a:pt x="948260" y="2334912"/>
                  </a:lnTo>
                  <a:lnTo>
                    <a:pt x="943496" y="2325382"/>
                  </a:lnTo>
                  <a:lnTo>
                    <a:pt x="929200" y="2320618"/>
                  </a:lnTo>
                  <a:lnTo>
                    <a:pt x="914904" y="2315852"/>
                  </a:lnTo>
                  <a:lnTo>
                    <a:pt x="914904" y="2306322"/>
                  </a:lnTo>
                  <a:lnTo>
                    <a:pt x="914904" y="2296792"/>
                  </a:lnTo>
                  <a:lnTo>
                    <a:pt x="919670" y="2282496"/>
                  </a:lnTo>
                  <a:lnTo>
                    <a:pt x="914904" y="2272966"/>
                  </a:lnTo>
                  <a:lnTo>
                    <a:pt x="910140" y="2253906"/>
                  </a:lnTo>
                  <a:lnTo>
                    <a:pt x="910140" y="2244374"/>
                  </a:lnTo>
                  <a:lnTo>
                    <a:pt x="905374" y="2239610"/>
                  </a:lnTo>
                  <a:lnTo>
                    <a:pt x="895844" y="2234844"/>
                  </a:lnTo>
                  <a:lnTo>
                    <a:pt x="886314" y="2239610"/>
                  </a:lnTo>
                  <a:lnTo>
                    <a:pt x="872018" y="2230080"/>
                  </a:lnTo>
                  <a:lnTo>
                    <a:pt x="862488" y="2225314"/>
                  </a:lnTo>
                  <a:lnTo>
                    <a:pt x="857724" y="2215784"/>
                  </a:lnTo>
                  <a:lnTo>
                    <a:pt x="862488" y="2201488"/>
                  </a:lnTo>
                  <a:lnTo>
                    <a:pt x="857724" y="2187194"/>
                  </a:lnTo>
                  <a:lnTo>
                    <a:pt x="848192" y="2177664"/>
                  </a:lnTo>
                  <a:lnTo>
                    <a:pt x="843428" y="2163368"/>
                  </a:lnTo>
                  <a:lnTo>
                    <a:pt x="833898" y="2153838"/>
                  </a:lnTo>
                  <a:lnTo>
                    <a:pt x="824368" y="2149072"/>
                  </a:lnTo>
                  <a:lnTo>
                    <a:pt x="814836" y="2149072"/>
                  </a:lnTo>
                  <a:lnTo>
                    <a:pt x="805306" y="2144308"/>
                  </a:lnTo>
                  <a:lnTo>
                    <a:pt x="795776" y="2134778"/>
                  </a:lnTo>
                  <a:lnTo>
                    <a:pt x="786246" y="2130012"/>
                  </a:lnTo>
                  <a:lnTo>
                    <a:pt x="776716" y="2120482"/>
                  </a:lnTo>
                  <a:lnTo>
                    <a:pt x="757656" y="2115716"/>
                  </a:lnTo>
                  <a:lnTo>
                    <a:pt x="743360" y="2110952"/>
                  </a:lnTo>
                  <a:lnTo>
                    <a:pt x="738594" y="2106186"/>
                  </a:lnTo>
                  <a:lnTo>
                    <a:pt x="733830" y="2091890"/>
                  </a:lnTo>
                  <a:lnTo>
                    <a:pt x="733830" y="2087126"/>
                  </a:lnTo>
                  <a:lnTo>
                    <a:pt x="729064" y="2077596"/>
                  </a:lnTo>
                  <a:lnTo>
                    <a:pt x="724300" y="2068066"/>
                  </a:lnTo>
                  <a:lnTo>
                    <a:pt x="719534" y="2049004"/>
                  </a:lnTo>
                  <a:lnTo>
                    <a:pt x="710004" y="2039474"/>
                  </a:lnTo>
                  <a:lnTo>
                    <a:pt x="695708" y="2025180"/>
                  </a:lnTo>
                  <a:lnTo>
                    <a:pt x="686178" y="2015648"/>
                  </a:lnTo>
                  <a:lnTo>
                    <a:pt x="676648" y="2010884"/>
                  </a:lnTo>
                  <a:lnTo>
                    <a:pt x="667118" y="2006118"/>
                  </a:lnTo>
                  <a:lnTo>
                    <a:pt x="662352" y="1996588"/>
                  </a:lnTo>
                  <a:lnTo>
                    <a:pt x="657588" y="1991824"/>
                  </a:lnTo>
                  <a:lnTo>
                    <a:pt x="652822" y="1991824"/>
                  </a:lnTo>
                  <a:lnTo>
                    <a:pt x="643292" y="1991824"/>
                  </a:lnTo>
                  <a:lnTo>
                    <a:pt x="633762" y="1987058"/>
                  </a:lnTo>
                  <a:lnTo>
                    <a:pt x="624232" y="1982294"/>
                  </a:lnTo>
                  <a:lnTo>
                    <a:pt x="619466" y="1977528"/>
                  </a:lnTo>
                  <a:lnTo>
                    <a:pt x="605172" y="1967998"/>
                  </a:lnTo>
                  <a:lnTo>
                    <a:pt x="600406" y="1967998"/>
                  </a:lnTo>
                  <a:lnTo>
                    <a:pt x="590876" y="1967998"/>
                  </a:lnTo>
                  <a:lnTo>
                    <a:pt x="581346" y="1977528"/>
                  </a:lnTo>
                  <a:lnTo>
                    <a:pt x="557520" y="1967998"/>
                  </a:lnTo>
                  <a:lnTo>
                    <a:pt x="528930" y="1948938"/>
                  </a:lnTo>
                  <a:lnTo>
                    <a:pt x="505104" y="1944172"/>
                  </a:lnTo>
                  <a:lnTo>
                    <a:pt x="490808" y="1934642"/>
                  </a:lnTo>
                  <a:lnTo>
                    <a:pt x="476513" y="1920346"/>
                  </a:lnTo>
                  <a:lnTo>
                    <a:pt x="466983" y="1910816"/>
                  </a:lnTo>
                  <a:lnTo>
                    <a:pt x="462217" y="1906050"/>
                  </a:lnTo>
                  <a:lnTo>
                    <a:pt x="428862" y="1891756"/>
                  </a:lnTo>
                  <a:lnTo>
                    <a:pt x="424096" y="1891756"/>
                  </a:lnTo>
                  <a:lnTo>
                    <a:pt x="409801" y="1896520"/>
                  </a:lnTo>
                  <a:lnTo>
                    <a:pt x="405036" y="1901286"/>
                  </a:lnTo>
                  <a:lnTo>
                    <a:pt x="405036" y="1910816"/>
                  </a:lnTo>
                  <a:lnTo>
                    <a:pt x="405036" y="1920346"/>
                  </a:lnTo>
                  <a:lnTo>
                    <a:pt x="395506" y="1925112"/>
                  </a:lnTo>
                  <a:lnTo>
                    <a:pt x="376445" y="1920346"/>
                  </a:lnTo>
                  <a:lnTo>
                    <a:pt x="366915" y="1920346"/>
                  </a:lnTo>
                  <a:lnTo>
                    <a:pt x="357385" y="1915582"/>
                  </a:lnTo>
                  <a:lnTo>
                    <a:pt x="357385" y="1920346"/>
                  </a:lnTo>
                  <a:lnTo>
                    <a:pt x="352619" y="1920346"/>
                  </a:lnTo>
                  <a:lnTo>
                    <a:pt x="343089" y="1920346"/>
                  </a:lnTo>
                  <a:lnTo>
                    <a:pt x="328794" y="1920346"/>
                  </a:lnTo>
                  <a:lnTo>
                    <a:pt x="314498" y="1915582"/>
                  </a:lnTo>
                  <a:lnTo>
                    <a:pt x="295438" y="1906050"/>
                  </a:lnTo>
                  <a:lnTo>
                    <a:pt x="290673" y="1906050"/>
                  </a:lnTo>
                  <a:lnTo>
                    <a:pt x="271612" y="1901286"/>
                  </a:lnTo>
                  <a:lnTo>
                    <a:pt x="252552" y="1896520"/>
                  </a:lnTo>
                  <a:lnTo>
                    <a:pt x="247787" y="1891756"/>
                  </a:lnTo>
                  <a:lnTo>
                    <a:pt x="243022" y="1858400"/>
                  </a:lnTo>
                  <a:lnTo>
                    <a:pt x="238256" y="1858400"/>
                  </a:lnTo>
                  <a:lnTo>
                    <a:pt x="233491" y="1858400"/>
                  </a:lnTo>
                  <a:lnTo>
                    <a:pt x="219196" y="1853634"/>
                  </a:lnTo>
                  <a:lnTo>
                    <a:pt x="214431" y="1848870"/>
                  </a:lnTo>
                  <a:lnTo>
                    <a:pt x="209666" y="1839340"/>
                  </a:lnTo>
                  <a:lnTo>
                    <a:pt x="204901" y="1829808"/>
                  </a:lnTo>
                  <a:lnTo>
                    <a:pt x="185840" y="1829808"/>
                  </a:lnTo>
                  <a:lnTo>
                    <a:pt x="152484" y="1820278"/>
                  </a:lnTo>
                  <a:lnTo>
                    <a:pt x="128658" y="1810748"/>
                  </a:lnTo>
                  <a:lnTo>
                    <a:pt x="109598" y="1796454"/>
                  </a:lnTo>
                  <a:lnTo>
                    <a:pt x="81007" y="1772628"/>
                  </a:lnTo>
                  <a:lnTo>
                    <a:pt x="66712" y="1767862"/>
                  </a:lnTo>
                  <a:lnTo>
                    <a:pt x="52416" y="1758332"/>
                  </a:lnTo>
                  <a:lnTo>
                    <a:pt x="42886" y="1748802"/>
                  </a:lnTo>
                  <a:lnTo>
                    <a:pt x="28591" y="1734506"/>
                  </a:lnTo>
                  <a:lnTo>
                    <a:pt x="23826" y="1734506"/>
                  </a:lnTo>
                  <a:lnTo>
                    <a:pt x="19061" y="1720210"/>
                  </a:lnTo>
                  <a:lnTo>
                    <a:pt x="0" y="1705916"/>
                  </a:lnTo>
                  <a:lnTo>
                    <a:pt x="9530" y="1686854"/>
                  </a:lnTo>
                  <a:lnTo>
                    <a:pt x="33356" y="1672560"/>
                  </a:lnTo>
                  <a:lnTo>
                    <a:pt x="66712" y="1682090"/>
                  </a:lnTo>
                  <a:lnTo>
                    <a:pt x="71477" y="1658264"/>
                  </a:lnTo>
                  <a:lnTo>
                    <a:pt x="61947" y="1639204"/>
                  </a:lnTo>
                  <a:lnTo>
                    <a:pt x="61947" y="1601082"/>
                  </a:lnTo>
                  <a:lnTo>
                    <a:pt x="66712" y="1591552"/>
                  </a:lnTo>
                  <a:lnTo>
                    <a:pt x="76242" y="1582022"/>
                  </a:lnTo>
                  <a:lnTo>
                    <a:pt x="85772" y="1572492"/>
                  </a:lnTo>
                  <a:lnTo>
                    <a:pt x="95303" y="1572492"/>
                  </a:lnTo>
                  <a:lnTo>
                    <a:pt x="104833" y="1577258"/>
                  </a:lnTo>
                  <a:lnTo>
                    <a:pt x="114363" y="1567726"/>
                  </a:lnTo>
                  <a:lnTo>
                    <a:pt x="138189" y="1572492"/>
                  </a:lnTo>
                  <a:lnTo>
                    <a:pt x="147719" y="1567726"/>
                  </a:lnTo>
                  <a:lnTo>
                    <a:pt x="152484" y="1562962"/>
                  </a:lnTo>
                  <a:lnTo>
                    <a:pt x="162014" y="1558196"/>
                  </a:lnTo>
                  <a:lnTo>
                    <a:pt x="171545" y="1548666"/>
                  </a:lnTo>
                  <a:lnTo>
                    <a:pt x="176310" y="1539136"/>
                  </a:lnTo>
                  <a:lnTo>
                    <a:pt x="176310" y="1534370"/>
                  </a:lnTo>
                  <a:lnTo>
                    <a:pt x="185840" y="1534370"/>
                  </a:lnTo>
                  <a:lnTo>
                    <a:pt x="190605" y="1529606"/>
                  </a:lnTo>
                  <a:lnTo>
                    <a:pt x="195370" y="1524840"/>
                  </a:lnTo>
                  <a:lnTo>
                    <a:pt x="209666" y="1510546"/>
                  </a:lnTo>
                  <a:lnTo>
                    <a:pt x="209666" y="1501016"/>
                  </a:lnTo>
                  <a:lnTo>
                    <a:pt x="204901" y="1491484"/>
                  </a:lnTo>
                  <a:lnTo>
                    <a:pt x="204901" y="1486720"/>
                  </a:lnTo>
                  <a:lnTo>
                    <a:pt x="214431" y="1481954"/>
                  </a:lnTo>
                  <a:lnTo>
                    <a:pt x="228726" y="1477190"/>
                  </a:lnTo>
                  <a:lnTo>
                    <a:pt x="233491" y="1467660"/>
                  </a:lnTo>
                  <a:lnTo>
                    <a:pt x="243022" y="1453364"/>
                  </a:lnTo>
                  <a:lnTo>
                    <a:pt x="247787" y="1439068"/>
                  </a:lnTo>
                  <a:lnTo>
                    <a:pt x="257317" y="1434304"/>
                  </a:lnTo>
                  <a:lnTo>
                    <a:pt x="266847" y="1415242"/>
                  </a:lnTo>
                  <a:lnTo>
                    <a:pt x="276377" y="1400948"/>
                  </a:lnTo>
                  <a:lnTo>
                    <a:pt x="304968" y="1348530"/>
                  </a:lnTo>
                  <a:lnTo>
                    <a:pt x="295438" y="1348530"/>
                  </a:lnTo>
                  <a:lnTo>
                    <a:pt x="290673" y="1358062"/>
                  </a:lnTo>
                  <a:lnTo>
                    <a:pt x="281143" y="1353296"/>
                  </a:lnTo>
                  <a:lnTo>
                    <a:pt x="271612" y="1348530"/>
                  </a:lnTo>
                  <a:lnTo>
                    <a:pt x="276377" y="1329470"/>
                  </a:lnTo>
                  <a:lnTo>
                    <a:pt x="271612" y="1324706"/>
                  </a:lnTo>
                  <a:lnTo>
                    <a:pt x="257317" y="1343766"/>
                  </a:lnTo>
                  <a:lnTo>
                    <a:pt x="247787" y="1324706"/>
                  </a:lnTo>
                  <a:lnTo>
                    <a:pt x="247787" y="1315176"/>
                  </a:lnTo>
                  <a:lnTo>
                    <a:pt x="252552" y="1300880"/>
                  </a:lnTo>
                  <a:lnTo>
                    <a:pt x="252552" y="1296114"/>
                  </a:lnTo>
                  <a:lnTo>
                    <a:pt x="233491" y="1300880"/>
                  </a:lnTo>
                  <a:lnTo>
                    <a:pt x="233491" y="1296114"/>
                  </a:lnTo>
                  <a:lnTo>
                    <a:pt x="247787" y="1286584"/>
                  </a:lnTo>
                  <a:lnTo>
                    <a:pt x="252552" y="1281820"/>
                  </a:lnTo>
                  <a:lnTo>
                    <a:pt x="257317" y="1272290"/>
                  </a:lnTo>
                  <a:lnTo>
                    <a:pt x="262082" y="1257994"/>
                  </a:lnTo>
                  <a:lnTo>
                    <a:pt x="266847" y="1243698"/>
                  </a:lnTo>
                  <a:lnTo>
                    <a:pt x="271612" y="1219872"/>
                  </a:lnTo>
                  <a:lnTo>
                    <a:pt x="266847" y="1210342"/>
                  </a:lnTo>
                  <a:lnTo>
                    <a:pt x="262082" y="1200812"/>
                  </a:lnTo>
                  <a:lnTo>
                    <a:pt x="257317" y="1167456"/>
                  </a:lnTo>
                  <a:lnTo>
                    <a:pt x="257317" y="1143630"/>
                  </a:lnTo>
                  <a:lnTo>
                    <a:pt x="257317" y="1124570"/>
                  </a:lnTo>
                  <a:lnTo>
                    <a:pt x="252552" y="1110274"/>
                  </a:lnTo>
                  <a:lnTo>
                    <a:pt x="233491" y="1091214"/>
                  </a:lnTo>
                  <a:lnTo>
                    <a:pt x="266847" y="1072154"/>
                  </a:lnTo>
                  <a:lnTo>
                    <a:pt x="276377" y="1053094"/>
                  </a:lnTo>
                  <a:lnTo>
                    <a:pt x="262082" y="1019738"/>
                  </a:lnTo>
                  <a:lnTo>
                    <a:pt x="243022" y="991146"/>
                  </a:lnTo>
                  <a:lnTo>
                    <a:pt x="243022" y="976852"/>
                  </a:lnTo>
                  <a:lnTo>
                    <a:pt x="247787" y="976852"/>
                  </a:lnTo>
                  <a:lnTo>
                    <a:pt x="252552" y="976852"/>
                  </a:lnTo>
                  <a:lnTo>
                    <a:pt x="257317" y="943496"/>
                  </a:lnTo>
                  <a:lnTo>
                    <a:pt x="257317" y="929200"/>
                  </a:lnTo>
                  <a:lnTo>
                    <a:pt x="247787" y="910140"/>
                  </a:lnTo>
                  <a:lnTo>
                    <a:pt x="233491" y="910140"/>
                  </a:lnTo>
                  <a:lnTo>
                    <a:pt x="219196" y="891078"/>
                  </a:lnTo>
                  <a:lnTo>
                    <a:pt x="214431" y="886314"/>
                  </a:lnTo>
                  <a:lnTo>
                    <a:pt x="209666" y="872018"/>
                  </a:lnTo>
                  <a:lnTo>
                    <a:pt x="190605" y="843428"/>
                  </a:lnTo>
                  <a:lnTo>
                    <a:pt x="176310" y="829132"/>
                  </a:lnTo>
                  <a:lnTo>
                    <a:pt x="185840" y="795776"/>
                  </a:lnTo>
                  <a:lnTo>
                    <a:pt x="195370" y="786246"/>
                  </a:lnTo>
                  <a:lnTo>
                    <a:pt x="200135" y="776716"/>
                  </a:lnTo>
                  <a:lnTo>
                    <a:pt x="195370" y="757656"/>
                  </a:lnTo>
                  <a:lnTo>
                    <a:pt x="195370" y="752890"/>
                  </a:lnTo>
                  <a:lnTo>
                    <a:pt x="200135" y="752890"/>
                  </a:lnTo>
                  <a:lnTo>
                    <a:pt x="204901" y="752890"/>
                  </a:lnTo>
                  <a:lnTo>
                    <a:pt x="214431" y="762420"/>
                  </a:lnTo>
                  <a:lnTo>
                    <a:pt x="219196" y="776716"/>
                  </a:lnTo>
                  <a:lnTo>
                    <a:pt x="223961" y="776716"/>
                  </a:lnTo>
                  <a:lnTo>
                    <a:pt x="228726" y="776716"/>
                  </a:lnTo>
                  <a:lnTo>
                    <a:pt x="262082" y="752890"/>
                  </a:lnTo>
                  <a:lnTo>
                    <a:pt x="257317" y="748126"/>
                  </a:lnTo>
                  <a:lnTo>
                    <a:pt x="262082" y="733830"/>
                  </a:lnTo>
                  <a:lnTo>
                    <a:pt x="271612" y="719534"/>
                  </a:lnTo>
                  <a:lnTo>
                    <a:pt x="281143" y="714770"/>
                  </a:lnTo>
                  <a:lnTo>
                    <a:pt x="285908" y="710004"/>
                  </a:lnTo>
                  <a:lnTo>
                    <a:pt x="281143" y="700474"/>
                  </a:lnTo>
                  <a:lnTo>
                    <a:pt x="271612" y="676648"/>
                  </a:lnTo>
                  <a:lnTo>
                    <a:pt x="262082" y="662352"/>
                  </a:lnTo>
                  <a:lnTo>
                    <a:pt x="252552" y="652822"/>
                  </a:lnTo>
                  <a:lnTo>
                    <a:pt x="252552" y="638528"/>
                  </a:lnTo>
                  <a:lnTo>
                    <a:pt x="238256" y="628996"/>
                  </a:lnTo>
                  <a:lnTo>
                    <a:pt x="243022" y="614702"/>
                  </a:lnTo>
                  <a:lnTo>
                    <a:pt x="252552" y="605172"/>
                  </a:lnTo>
                  <a:lnTo>
                    <a:pt x="257317" y="600406"/>
                  </a:lnTo>
                  <a:lnTo>
                    <a:pt x="262082" y="605172"/>
                  </a:lnTo>
                  <a:lnTo>
                    <a:pt x="271612" y="628996"/>
                  </a:lnTo>
                  <a:lnTo>
                    <a:pt x="295438" y="643292"/>
                  </a:lnTo>
                  <a:lnTo>
                    <a:pt x="314498" y="667118"/>
                  </a:lnTo>
                  <a:lnTo>
                    <a:pt x="324029" y="681414"/>
                  </a:lnTo>
                  <a:lnTo>
                    <a:pt x="333559" y="686178"/>
                  </a:lnTo>
                  <a:lnTo>
                    <a:pt x="338324" y="690944"/>
                  </a:lnTo>
                  <a:lnTo>
                    <a:pt x="333559" y="695708"/>
                  </a:lnTo>
                  <a:lnTo>
                    <a:pt x="328794" y="700474"/>
                  </a:lnTo>
                  <a:lnTo>
                    <a:pt x="328794" y="710004"/>
                  </a:lnTo>
                  <a:lnTo>
                    <a:pt x="328794" y="714770"/>
                  </a:lnTo>
                  <a:lnTo>
                    <a:pt x="333559" y="719534"/>
                  </a:lnTo>
                  <a:lnTo>
                    <a:pt x="347854" y="714770"/>
                  </a:lnTo>
                  <a:lnTo>
                    <a:pt x="352619" y="705238"/>
                  </a:lnTo>
                  <a:lnTo>
                    <a:pt x="352619" y="657588"/>
                  </a:lnTo>
                  <a:lnTo>
                    <a:pt x="343089" y="633762"/>
                  </a:lnTo>
                  <a:lnTo>
                    <a:pt x="333559" y="624232"/>
                  </a:lnTo>
                  <a:lnTo>
                    <a:pt x="328794" y="614702"/>
                  </a:lnTo>
                  <a:lnTo>
                    <a:pt x="333559" y="609936"/>
                  </a:lnTo>
                  <a:lnTo>
                    <a:pt x="347854" y="605172"/>
                  </a:lnTo>
                  <a:lnTo>
                    <a:pt x="362150" y="595640"/>
                  </a:lnTo>
                  <a:lnTo>
                    <a:pt x="428862" y="547990"/>
                  </a:lnTo>
                  <a:lnTo>
                    <a:pt x="447922" y="505104"/>
                  </a:lnTo>
                  <a:lnTo>
                    <a:pt x="466983" y="490808"/>
                  </a:lnTo>
                  <a:lnTo>
                    <a:pt x="486043" y="481278"/>
                  </a:lnTo>
                  <a:lnTo>
                    <a:pt x="509868" y="481278"/>
                  </a:lnTo>
                  <a:lnTo>
                    <a:pt x="528930" y="476512"/>
                  </a:lnTo>
                  <a:lnTo>
                    <a:pt x="533694" y="462218"/>
                  </a:lnTo>
                  <a:lnTo>
                    <a:pt x="528930" y="443156"/>
                  </a:lnTo>
                  <a:lnTo>
                    <a:pt x="519398" y="433626"/>
                  </a:lnTo>
                  <a:lnTo>
                    <a:pt x="528930" y="414566"/>
                  </a:lnTo>
                  <a:lnTo>
                    <a:pt x="533694" y="390740"/>
                  </a:lnTo>
                  <a:lnTo>
                    <a:pt x="533694" y="371680"/>
                  </a:lnTo>
                  <a:lnTo>
                    <a:pt x="543224" y="357384"/>
                  </a:lnTo>
                  <a:lnTo>
                    <a:pt x="538460" y="352620"/>
                  </a:lnTo>
                  <a:lnTo>
                    <a:pt x="528930" y="362150"/>
                  </a:lnTo>
                  <a:lnTo>
                    <a:pt x="514634" y="366914"/>
                  </a:lnTo>
                  <a:lnTo>
                    <a:pt x="524164" y="357384"/>
                  </a:lnTo>
                  <a:lnTo>
                    <a:pt x="543224" y="338324"/>
                  </a:lnTo>
                  <a:lnTo>
                    <a:pt x="547990" y="304968"/>
                  </a:lnTo>
                  <a:lnTo>
                    <a:pt x="557520" y="295438"/>
                  </a:lnTo>
                  <a:lnTo>
                    <a:pt x="581346" y="271612"/>
                  </a:lnTo>
                  <a:lnTo>
                    <a:pt x="586110" y="266848"/>
                  </a:lnTo>
                  <a:lnTo>
                    <a:pt x="609936" y="252552"/>
                  </a:lnTo>
                  <a:lnTo>
                    <a:pt x="638528" y="223960"/>
                  </a:lnTo>
                  <a:lnTo>
                    <a:pt x="652822" y="214430"/>
                  </a:lnTo>
                  <a:lnTo>
                    <a:pt x="714770" y="233492"/>
                  </a:lnTo>
                  <a:lnTo>
                    <a:pt x="719534" y="233492"/>
                  </a:lnTo>
                  <a:lnTo>
                    <a:pt x="705238" y="243022"/>
                  </a:lnTo>
                  <a:lnTo>
                    <a:pt x="700474" y="252552"/>
                  </a:lnTo>
                  <a:lnTo>
                    <a:pt x="710004" y="266848"/>
                  </a:lnTo>
                  <a:lnTo>
                    <a:pt x="719534" y="266848"/>
                  </a:lnTo>
                  <a:lnTo>
                    <a:pt x="729064" y="262082"/>
                  </a:lnTo>
                  <a:lnTo>
                    <a:pt x="738594" y="238256"/>
                  </a:lnTo>
                  <a:lnTo>
                    <a:pt x="748126" y="214430"/>
                  </a:lnTo>
                  <a:lnTo>
                    <a:pt x="752890" y="190606"/>
                  </a:lnTo>
                  <a:lnTo>
                    <a:pt x="762420" y="181074"/>
                  </a:lnTo>
                  <a:lnTo>
                    <a:pt x="776716" y="176310"/>
                  </a:lnTo>
                  <a:lnTo>
                    <a:pt x="795776" y="181074"/>
                  </a:lnTo>
                  <a:lnTo>
                    <a:pt x="814836" y="185840"/>
                  </a:lnTo>
                  <a:lnTo>
                    <a:pt x="833898" y="185840"/>
                  </a:lnTo>
                  <a:lnTo>
                    <a:pt x="891078" y="185840"/>
                  </a:lnTo>
                  <a:lnTo>
                    <a:pt x="981616" y="119128"/>
                  </a:lnTo>
                  <a:lnTo>
                    <a:pt x="1024502" y="104832"/>
                  </a:lnTo>
                  <a:lnTo>
                    <a:pt x="1053094" y="90538"/>
                  </a:lnTo>
                  <a:lnTo>
                    <a:pt x="1072154" y="61946"/>
                  </a:lnTo>
                  <a:lnTo>
                    <a:pt x="1076920" y="42886"/>
                  </a:lnTo>
                  <a:lnTo>
                    <a:pt x="1086450" y="33356"/>
                  </a:lnTo>
                  <a:lnTo>
                    <a:pt x="1100744" y="33356"/>
                  </a:lnTo>
                  <a:lnTo>
                    <a:pt x="1105510" y="28590"/>
                  </a:lnTo>
                  <a:lnTo>
                    <a:pt x="1110274" y="23826"/>
                  </a:lnTo>
                  <a:lnTo>
                    <a:pt x="1138866" y="476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8" name="Freeform 4500">
              <a:extLst>
                <a:ext uri="{FF2B5EF4-FFF2-40B4-BE49-F238E27FC236}">
                  <a16:creationId xmlns:a16="http://schemas.microsoft.com/office/drawing/2014/main" id="{10CCA425-8BF9-4689-AC88-037348857319}"/>
                </a:ext>
              </a:extLst>
            </p:cNvPr>
            <p:cNvSpPr/>
            <p:nvPr/>
          </p:nvSpPr>
          <p:spPr bwMode="auto">
            <a:xfrm>
              <a:off x="6400807" y="5721617"/>
              <a:ext cx="6167" cy="3084"/>
            </a:xfrm>
            <a:custGeom>
              <a:avLst/>
              <a:gdLst>
                <a:gd name="T0" fmla="*/ 10 w 16"/>
                <a:gd name="T1" fmla="*/ 4 h 8"/>
                <a:gd name="T2" fmla="*/ 6 w 16"/>
                <a:gd name="T3" fmla="*/ 0 h 8"/>
                <a:gd name="T4" fmla="*/ 0 w 16"/>
                <a:gd name="T5" fmla="*/ 0 h 8"/>
                <a:gd name="T6" fmla="*/ 0 w 16"/>
                <a:gd name="T7" fmla="*/ 2 h 8"/>
                <a:gd name="T8" fmla="*/ 2 w 16"/>
                <a:gd name="T9" fmla="*/ 6 h 8"/>
                <a:gd name="T10" fmla="*/ 16 w 16"/>
                <a:gd name="T11" fmla="*/ 8 h 8"/>
                <a:gd name="T12" fmla="*/ 10 w 16"/>
                <a:gd name="T13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8">
                  <a:moveTo>
                    <a:pt x="10" y="4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6"/>
                  </a:lnTo>
                  <a:lnTo>
                    <a:pt x="16" y="8"/>
                  </a:lnTo>
                  <a:lnTo>
                    <a:pt x="10" y="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9" name="Freeform 4501">
              <a:extLst>
                <a:ext uri="{FF2B5EF4-FFF2-40B4-BE49-F238E27FC236}">
                  <a16:creationId xmlns:a16="http://schemas.microsoft.com/office/drawing/2014/main" id="{F22E6973-57B9-4748-BF6F-CDABD4980E6E}"/>
                </a:ext>
              </a:extLst>
            </p:cNvPr>
            <p:cNvSpPr/>
            <p:nvPr/>
          </p:nvSpPr>
          <p:spPr bwMode="auto">
            <a:xfrm>
              <a:off x="6416225" y="5716991"/>
              <a:ext cx="7709" cy="6938"/>
            </a:xfrm>
            <a:custGeom>
              <a:avLst/>
              <a:gdLst>
                <a:gd name="T0" fmla="*/ 16 w 20"/>
                <a:gd name="T1" fmla="*/ 0 h 18"/>
                <a:gd name="T2" fmla="*/ 14 w 20"/>
                <a:gd name="T3" fmla="*/ 0 h 18"/>
                <a:gd name="T4" fmla="*/ 12 w 20"/>
                <a:gd name="T5" fmla="*/ 2 h 18"/>
                <a:gd name="T6" fmla="*/ 12 w 20"/>
                <a:gd name="T7" fmla="*/ 4 h 18"/>
                <a:gd name="T8" fmla="*/ 10 w 20"/>
                <a:gd name="T9" fmla="*/ 6 h 18"/>
                <a:gd name="T10" fmla="*/ 6 w 20"/>
                <a:gd name="T11" fmla="*/ 6 h 18"/>
                <a:gd name="T12" fmla="*/ 4 w 20"/>
                <a:gd name="T13" fmla="*/ 6 h 18"/>
                <a:gd name="T14" fmla="*/ 0 w 20"/>
                <a:gd name="T15" fmla="*/ 6 h 18"/>
                <a:gd name="T16" fmla="*/ 10 w 20"/>
                <a:gd name="T17" fmla="*/ 12 h 18"/>
                <a:gd name="T18" fmla="*/ 14 w 20"/>
                <a:gd name="T19" fmla="*/ 18 h 18"/>
                <a:gd name="T20" fmla="*/ 18 w 20"/>
                <a:gd name="T21" fmla="*/ 18 h 18"/>
                <a:gd name="T22" fmla="*/ 20 w 20"/>
                <a:gd name="T23" fmla="*/ 16 h 18"/>
                <a:gd name="T24" fmla="*/ 20 w 20"/>
                <a:gd name="T25" fmla="*/ 10 h 18"/>
                <a:gd name="T26" fmla="*/ 16 w 20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8">
                  <a:moveTo>
                    <a:pt x="16" y="0"/>
                  </a:moveTo>
                  <a:lnTo>
                    <a:pt x="14" y="0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0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0" y="6"/>
                  </a:lnTo>
                  <a:lnTo>
                    <a:pt x="10" y="12"/>
                  </a:lnTo>
                  <a:lnTo>
                    <a:pt x="14" y="18"/>
                  </a:lnTo>
                  <a:lnTo>
                    <a:pt x="18" y="18"/>
                  </a:lnTo>
                  <a:lnTo>
                    <a:pt x="20" y="16"/>
                  </a:lnTo>
                  <a:lnTo>
                    <a:pt x="20" y="10"/>
                  </a:lnTo>
                  <a:lnTo>
                    <a:pt x="16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0" name="Freeform 68">
              <a:extLst>
                <a:ext uri="{FF2B5EF4-FFF2-40B4-BE49-F238E27FC236}">
                  <a16:creationId xmlns:a16="http://schemas.microsoft.com/office/drawing/2014/main" id="{A042175B-78CB-4E43-AE0D-CFD6B39228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390785" y="5698490"/>
              <a:ext cx="6938" cy="14646"/>
            </a:xfrm>
            <a:custGeom>
              <a:avLst/>
              <a:gdLst>
                <a:gd name="connsiteX0" fmla="*/ 19060 w 42888"/>
                <a:gd name="connsiteY0" fmla="*/ 0 h 90536"/>
                <a:gd name="connsiteX1" fmla="*/ 23828 w 42888"/>
                <a:gd name="connsiteY1" fmla="*/ 9530 h 90536"/>
                <a:gd name="connsiteX2" fmla="*/ 23828 w 42888"/>
                <a:gd name="connsiteY2" fmla="*/ 42886 h 90536"/>
                <a:gd name="connsiteX3" fmla="*/ 33356 w 42888"/>
                <a:gd name="connsiteY3" fmla="*/ 61946 h 90536"/>
                <a:gd name="connsiteX4" fmla="*/ 42888 w 42888"/>
                <a:gd name="connsiteY4" fmla="*/ 81006 h 90536"/>
                <a:gd name="connsiteX5" fmla="*/ 38120 w 42888"/>
                <a:gd name="connsiteY5" fmla="*/ 85772 h 90536"/>
                <a:gd name="connsiteX6" fmla="*/ 33356 w 42888"/>
                <a:gd name="connsiteY6" fmla="*/ 90536 h 90536"/>
                <a:gd name="connsiteX7" fmla="*/ 19060 w 42888"/>
                <a:gd name="connsiteY7" fmla="*/ 81006 h 90536"/>
                <a:gd name="connsiteX8" fmla="*/ 14296 w 42888"/>
                <a:gd name="connsiteY8" fmla="*/ 76242 h 90536"/>
                <a:gd name="connsiteX9" fmla="*/ 0 w 42888"/>
                <a:gd name="connsiteY9" fmla="*/ 61946 h 90536"/>
                <a:gd name="connsiteX10" fmla="*/ 4768 w 42888"/>
                <a:gd name="connsiteY10" fmla="*/ 9530 h 90536"/>
                <a:gd name="connsiteX11" fmla="*/ 9532 w 42888"/>
                <a:gd name="connsiteY11" fmla="*/ 4766 h 90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2888" h="90536">
                  <a:moveTo>
                    <a:pt x="19060" y="0"/>
                  </a:moveTo>
                  <a:lnTo>
                    <a:pt x="23828" y="9530"/>
                  </a:lnTo>
                  <a:lnTo>
                    <a:pt x="23828" y="42886"/>
                  </a:lnTo>
                  <a:lnTo>
                    <a:pt x="33356" y="61946"/>
                  </a:lnTo>
                  <a:lnTo>
                    <a:pt x="42888" y="81006"/>
                  </a:lnTo>
                  <a:lnTo>
                    <a:pt x="38120" y="85772"/>
                  </a:lnTo>
                  <a:lnTo>
                    <a:pt x="33356" y="90536"/>
                  </a:lnTo>
                  <a:lnTo>
                    <a:pt x="19060" y="81006"/>
                  </a:lnTo>
                  <a:lnTo>
                    <a:pt x="14296" y="76242"/>
                  </a:lnTo>
                  <a:lnTo>
                    <a:pt x="0" y="61946"/>
                  </a:lnTo>
                  <a:lnTo>
                    <a:pt x="4768" y="9530"/>
                  </a:lnTo>
                  <a:lnTo>
                    <a:pt x="9532" y="476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1" name="Freeform 69">
              <a:extLst>
                <a:ext uri="{FF2B5EF4-FFF2-40B4-BE49-F238E27FC236}">
                  <a16:creationId xmlns:a16="http://schemas.microsoft.com/office/drawing/2014/main" id="{34FD4E95-4536-4FEB-98F8-8DC3347AB8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57855" y="4968470"/>
              <a:ext cx="67837" cy="62441"/>
            </a:xfrm>
            <a:custGeom>
              <a:avLst/>
              <a:gdLst>
                <a:gd name="connsiteX0" fmla="*/ 147718 w 419330"/>
                <a:gd name="connsiteY0" fmla="*/ 352620 h 385976"/>
                <a:gd name="connsiteX1" fmla="*/ 162012 w 419330"/>
                <a:gd name="connsiteY1" fmla="*/ 352620 h 385976"/>
                <a:gd name="connsiteX2" fmla="*/ 166778 w 419330"/>
                <a:gd name="connsiteY2" fmla="*/ 366916 h 385976"/>
                <a:gd name="connsiteX3" fmla="*/ 162012 w 419330"/>
                <a:gd name="connsiteY3" fmla="*/ 381210 h 385976"/>
                <a:gd name="connsiteX4" fmla="*/ 152482 w 419330"/>
                <a:gd name="connsiteY4" fmla="*/ 385976 h 385976"/>
                <a:gd name="connsiteX5" fmla="*/ 142952 w 419330"/>
                <a:gd name="connsiteY5" fmla="*/ 381210 h 385976"/>
                <a:gd name="connsiteX6" fmla="*/ 133422 w 419330"/>
                <a:gd name="connsiteY6" fmla="*/ 376446 h 385976"/>
                <a:gd name="connsiteX7" fmla="*/ 128656 w 419330"/>
                <a:gd name="connsiteY7" fmla="*/ 366916 h 385976"/>
                <a:gd name="connsiteX8" fmla="*/ 133422 w 419330"/>
                <a:gd name="connsiteY8" fmla="*/ 362150 h 385976"/>
                <a:gd name="connsiteX9" fmla="*/ 333558 w 419330"/>
                <a:gd name="connsiteY9" fmla="*/ 304968 h 385976"/>
                <a:gd name="connsiteX10" fmla="*/ 347852 w 419330"/>
                <a:gd name="connsiteY10" fmla="*/ 304968 h 385976"/>
                <a:gd name="connsiteX11" fmla="*/ 347852 w 419330"/>
                <a:gd name="connsiteY11" fmla="*/ 314500 h 385976"/>
                <a:gd name="connsiteX12" fmla="*/ 347852 w 419330"/>
                <a:gd name="connsiteY12" fmla="*/ 328794 h 385976"/>
                <a:gd name="connsiteX13" fmla="*/ 338322 w 419330"/>
                <a:gd name="connsiteY13" fmla="*/ 333560 h 385976"/>
                <a:gd name="connsiteX14" fmla="*/ 333558 w 419330"/>
                <a:gd name="connsiteY14" fmla="*/ 333560 h 385976"/>
                <a:gd name="connsiteX15" fmla="*/ 328792 w 419330"/>
                <a:gd name="connsiteY15" fmla="*/ 328794 h 385976"/>
                <a:gd name="connsiteX16" fmla="*/ 328792 w 419330"/>
                <a:gd name="connsiteY16" fmla="*/ 319264 h 385976"/>
                <a:gd name="connsiteX17" fmla="*/ 328792 w 419330"/>
                <a:gd name="connsiteY17" fmla="*/ 314500 h 385976"/>
                <a:gd name="connsiteX18" fmla="*/ 247786 w 419330"/>
                <a:gd name="connsiteY18" fmla="*/ 304968 h 385976"/>
                <a:gd name="connsiteX19" fmla="*/ 252550 w 419330"/>
                <a:gd name="connsiteY19" fmla="*/ 304968 h 385976"/>
                <a:gd name="connsiteX20" fmla="*/ 257316 w 419330"/>
                <a:gd name="connsiteY20" fmla="*/ 304968 h 385976"/>
                <a:gd name="connsiteX21" fmla="*/ 257316 w 419330"/>
                <a:gd name="connsiteY21" fmla="*/ 314500 h 385976"/>
                <a:gd name="connsiteX22" fmla="*/ 276376 w 419330"/>
                <a:gd name="connsiteY22" fmla="*/ 328794 h 385976"/>
                <a:gd name="connsiteX23" fmla="*/ 285906 w 419330"/>
                <a:gd name="connsiteY23" fmla="*/ 333560 h 385976"/>
                <a:gd name="connsiteX24" fmla="*/ 300202 w 419330"/>
                <a:gd name="connsiteY24" fmla="*/ 357386 h 385976"/>
                <a:gd name="connsiteX25" fmla="*/ 290672 w 419330"/>
                <a:gd name="connsiteY25" fmla="*/ 371680 h 385976"/>
                <a:gd name="connsiteX26" fmla="*/ 266846 w 419330"/>
                <a:gd name="connsiteY26" fmla="*/ 366916 h 385976"/>
                <a:gd name="connsiteX27" fmla="*/ 257316 w 419330"/>
                <a:gd name="connsiteY27" fmla="*/ 362150 h 385976"/>
                <a:gd name="connsiteX28" fmla="*/ 243020 w 419330"/>
                <a:gd name="connsiteY28" fmla="*/ 343090 h 385976"/>
                <a:gd name="connsiteX29" fmla="*/ 243020 w 419330"/>
                <a:gd name="connsiteY29" fmla="*/ 328794 h 385976"/>
                <a:gd name="connsiteX30" fmla="*/ 247786 w 419330"/>
                <a:gd name="connsiteY30" fmla="*/ 319264 h 385976"/>
                <a:gd name="connsiteX31" fmla="*/ 381210 w 419330"/>
                <a:gd name="connsiteY31" fmla="*/ 157250 h 385976"/>
                <a:gd name="connsiteX32" fmla="*/ 395504 w 419330"/>
                <a:gd name="connsiteY32" fmla="*/ 157250 h 385976"/>
                <a:gd name="connsiteX33" fmla="*/ 400270 w 419330"/>
                <a:gd name="connsiteY33" fmla="*/ 157250 h 385976"/>
                <a:gd name="connsiteX34" fmla="*/ 405034 w 419330"/>
                <a:gd name="connsiteY34" fmla="*/ 157250 h 385976"/>
                <a:gd name="connsiteX35" fmla="*/ 414564 w 419330"/>
                <a:gd name="connsiteY35" fmla="*/ 166780 h 385976"/>
                <a:gd name="connsiteX36" fmla="*/ 419330 w 419330"/>
                <a:gd name="connsiteY36" fmla="*/ 176310 h 385976"/>
                <a:gd name="connsiteX37" fmla="*/ 414564 w 419330"/>
                <a:gd name="connsiteY37" fmla="*/ 185840 h 385976"/>
                <a:gd name="connsiteX38" fmla="*/ 395504 w 419330"/>
                <a:gd name="connsiteY38" fmla="*/ 195372 h 385976"/>
                <a:gd name="connsiteX39" fmla="*/ 385974 w 419330"/>
                <a:gd name="connsiteY39" fmla="*/ 195372 h 385976"/>
                <a:gd name="connsiteX40" fmla="*/ 376444 w 419330"/>
                <a:gd name="connsiteY40" fmla="*/ 185840 h 385976"/>
                <a:gd name="connsiteX41" fmla="*/ 381210 w 419330"/>
                <a:gd name="connsiteY41" fmla="*/ 171546 h 385976"/>
                <a:gd name="connsiteX42" fmla="*/ 147718 w 419330"/>
                <a:gd name="connsiteY42" fmla="*/ 85772 h 385976"/>
                <a:gd name="connsiteX43" fmla="*/ 152484 w 419330"/>
                <a:gd name="connsiteY43" fmla="*/ 85772 h 385976"/>
                <a:gd name="connsiteX44" fmla="*/ 166778 w 419330"/>
                <a:gd name="connsiteY44" fmla="*/ 90538 h 385976"/>
                <a:gd name="connsiteX45" fmla="*/ 200134 w 419330"/>
                <a:gd name="connsiteY45" fmla="*/ 95304 h 385976"/>
                <a:gd name="connsiteX46" fmla="*/ 204900 w 419330"/>
                <a:gd name="connsiteY46" fmla="*/ 100068 h 385976"/>
                <a:gd name="connsiteX47" fmla="*/ 195370 w 419330"/>
                <a:gd name="connsiteY47" fmla="*/ 104834 h 385976"/>
                <a:gd name="connsiteX48" fmla="*/ 171544 w 419330"/>
                <a:gd name="connsiteY48" fmla="*/ 95304 h 385976"/>
                <a:gd name="connsiteX49" fmla="*/ 166778 w 419330"/>
                <a:gd name="connsiteY49" fmla="*/ 100068 h 385976"/>
                <a:gd name="connsiteX50" fmla="*/ 162014 w 419330"/>
                <a:gd name="connsiteY50" fmla="*/ 114364 h 385976"/>
                <a:gd name="connsiteX51" fmla="*/ 147718 w 419330"/>
                <a:gd name="connsiteY51" fmla="*/ 95304 h 385976"/>
                <a:gd name="connsiteX52" fmla="*/ 376444 w 419330"/>
                <a:gd name="connsiteY52" fmla="*/ 57182 h 385976"/>
                <a:gd name="connsiteX53" fmla="*/ 381208 w 419330"/>
                <a:gd name="connsiteY53" fmla="*/ 57182 h 385976"/>
                <a:gd name="connsiteX54" fmla="*/ 381208 w 419330"/>
                <a:gd name="connsiteY54" fmla="*/ 76242 h 385976"/>
                <a:gd name="connsiteX55" fmla="*/ 385974 w 419330"/>
                <a:gd name="connsiteY55" fmla="*/ 85772 h 385976"/>
                <a:gd name="connsiteX56" fmla="*/ 381208 w 419330"/>
                <a:gd name="connsiteY56" fmla="*/ 95304 h 385976"/>
                <a:gd name="connsiteX57" fmla="*/ 376444 w 419330"/>
                <a:gd name="connsiteY57" fmla="*/ 85772 h 385976"/>
                <a:gd name="connsiteX58" fmla="*/ 371680 w 419330"/>
                <a:gd name="connsiteY58" fmla="*/ 81008 h 385976"/>
                <a:gd name="connsiteX59" fmla="*/ 371680 w 419330"/>
                <a:gd name="connsiteY59" fmla="*/ 61948 h 385976"/>
                <a:gd name="connsiteX60" fmla="*/ 66710 w 419330"/>
                <a:gd name="connsiteY60" fmla="*/ 42888 h 385976"/>
                <a:gd name="connsiteX61" fmla="*/ 71476 w 419330"/>
                <a:gd name="connsiteY61" fmla="*/ 57182 h 385976"/>
                <a:gd name="connsiteX62" fmla="*/ 71476 w 419330"/>
                <a:gd name="connsiteY62" fmla="*/ 61948 h 385976"/>
                <a:gd name="connsiteX63" fmla="*/ 61946 w 419330"/>
                <a:gd name="connsiteY63" fmla="*/ 66712 h 385976"/>
                <a:gd name="connsiteX64" fmla="*/ 52416 w 419330"/>
                <a:gd name="connsiteY64" fmla="*/ 66712 h 385976"/>
                <a:gd name="connsiteX65" fmla="*/ 42884 w 419330"/>
                <a:gd name="connsiteY65" fmla="*/ 57182 h 385976"/>
                <a:gd name="connsiteX66" fmla="*/ 42884 w 419330"/>
                <a:gd name="connsiteY66" fmla="*/ 52418 h 385976"/>
                <a:gd name="connsiteX67" fmla="*/ 57180 w 419330"/>
                <a:gd name="connsiteY67" fmla="*/ 47652 h 385976"/>
                <a:gd name="connsiteX68" fmla="*/ 38120 w 419330"/>
                <a:gd name="connsiteY68" fmla="*/ 0 h 385976"/>
                <a:gd name="connsiteX69" fmla="*/ 47650 w 419330"/>
                <a:gd name="connsiteY69" fmla="*/ 4766 h 385976"/>
                <a:gd name="connsiteX70" fmla="*/ 57180 w 419330"/>
                <a:gd name="connsiteY70" fmla="*/ 14296 h 385976"/>
                <a:gd name="connsiteX71" fmla="*/ 52416 w 419330"/>
                <a:gd name="connsiteY71" fmla="*/ 23826 h 385976"/>
                <a:gd name="connsiteX72" fmla="*/ 28590 w 419330"/>
                <a:gd name="connsiteY72" fmla="*/ 38122 h 385976"/>
                <a:gd name="connsiteX73" fmla="*/ 14294 w 419330"/>
                <a:gd name="connsiteY73" fmla="*/ 42888 h 385976"/>
                <a:gd name="connsiteX74" fmla="*/ 4764 w 419330"/>
                <a:gd name="connsiteY74" fmla="*/ 42888 h 385976"/>
                <a:gd name="connsiteX75" fmla="*/ 4764 w 419330"/>
                <a:gd name="connsiteY75" fmla="*/ 28592 h 385976"/>
                <a:gd name="connsiteX76" fmla="*/ 0 w 419330"/>
                <a:gd name="connsiteY76" fmla="*/ 19062 h 385976"/>
                <a:gd name="connsiteX77" fmla="*/ 4764 w 419330"/>
                <a:gd name="connsiteY77" fmla="*/ 19062 h 385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419330" h="385976">
                  <a:moveTo>
                    <a:pt x="147718" y="352620"/>
                  </a:moveTo>
                  <a:lnTo>
                    <a:pt x="162012" y="352620"/>
                  </a:lnTo>
                  <a:lnTo>
                    <a:pt x="166778" y="366916"/>
                  </a:lnTo>
                  <a:lnTo>
                    <a:pt x="162012" y="381210"/>
                  </a:lnTo>
                  <a:lnTo>
                    <a:pt x="152482" y="385976"/>
                  </a:lnTo>
                  <a:lnTo>
                    <a:pt x="142952" y="381210"/>
                  </a:lnTo>
                  <a:lnTo>
                    <a:pt x="133422" y="376446"/>
                  </a:lnTo>
                  <a:lnTo>
                    <a:pt x="128656" y="366916"/>
                  </a:lnTo>
                  <a:lnTo>
                    <a:pt x="133422" y="362150"/>
                  </a:lnTo>
                  <a:close/>
                  <a:moveTo>
                    <a:pt x="333558" y="304968"/>
                  </a:moveTo>
                  <a:lnTo>
                    <a:pt x="347852" y="304968"/>
                  </a:lnTo>
                  <a:lnTo>
                    <a:pt x="347852" y="314500"/>
                  </a:lnTo>
                  <a:lnTo>
                    <a:pt x="347852" y="328794"/>
                  </a:lnTo>
                  <a:lnTo>
                    <a:pt x="338322" y="333560"/>
                  </a:lnTo>
                  <a:lnTo>
                    <a:pt x="333558" y="333560"/>
                  </a:lnTo>
                  <a:lnTo>
                    <a:pt x="328792" y="328794"/>
                  </a:lnTo>
                  <a:lnTo>
                    <a:pt x="328792" y="319264"/>
                  </a:lnTo>
                  <a:lnTo>
                    <a:pt x="328792" y="314500"/>
                  </a:lnTo>
                  <a:close/>
                  <a:moveTo>
                    <a:pt x="247786" y="304968"/>
                  </a:moveTo>
                  <a:lnTo>
                    <a:pt x="252550" y="304968"/>
                  </a:lnTo>
                  <a:lnTo>
                    <a:pt x="257316" y="304968"/>
                  </a:lnTo>
                  <a:lnTo>
                    <a:pt x="257316" y="314500"/>
                  </a:lnTo>
                  <a:lnTo>
                    <a:pt x="276376" y="328794"/>
                  </a:lnTo>
                  <a:lnTo>
                    <a:pt x="285906" y="333560"/>
                  </a:lnTo>
                  <a:lnTo>
                    <a:pt x="300202" y="357386"/>
                  </a:lnTo>
                  <a:lnTo>
                    <a:pt x="290672" y="371680"/>
                  </a:lnTo>
                  <a:lnTo>
                    <a:pt x="266846" y="366916"/>
                  </a:lnTo>
                  <a:lnTo>
                    <a:pt x="257316" y="362150"/>
                  </a:lnTo>
                  <a:lnTo>
                    <a:pt x="243020" y="343090"/>
                  </a:lnTo>
                  <a:lnTo>
                    <a:pt x="243020" y="328794"/>
                  </a:lnTo>
                  <a:lnTo>
                    <a:pt x="247786" y="319264"/>
                  </a:lnTo>
                  <a:close/>
                  <a:moveTo>
                    <a:pt x="381210" y="157250"/>
                  </a:moveTo>
                  <a:lnTo>
                    <a:pt x="395504" y="157250"/>
                  </a:lnTo>
                  <a:lnTo>
                    <a:pt x="400270" y="157250"/>
                  </a:lnTo>
                  <a:lnTo>
                    <a:pt x="405034" y="157250"/>
                  </a:lnTo>
                  <a:lnTo>
                    <a:pt x="414564" y="166780"/>
                  </a:lnTo>
                  <a:lnTo>
                    <a:pt x="419330" y="176310"/>
                  </a:lnTo>
                  <a:lnTo>
                    <a:pt x="414564" y="185840"/>
                  </a:lnTo>
                  <a:lnTo>
                    <a:pt x="395504" y="195372"/>
                  </a:lnTo>
                  <a:lnTo>
                    <a:pt x="385974" y="195372"/>
                  </a:lnTo>
                  <a:lnTo>
                    <a:pt x="376444" y="185840"/>
                  </a:lnTo>
                  <a:lnTo>
                    <a:pt x="381210" y="171546"/>
                  </a:lnTo>
                  <a:close/>
                  <a:moveTo>
                    <a:pt x="147718" y="85772"/>
                  </a:moveTo>
                  <a:lnTo>
                    <a:pt x="152484" y="85772"/>
                  </a:lnTo>
                  <a:lnTo>
                    <a:pt x="166778" y="90538"/>
                  </a:lnTo>
                  <a:lnTo>
                    <a:pt x="200134" y="95304"/>
                  </a:lnTo>
                  <a:lnTo>
                    <a:pt x="204900" y="100068"/>
                  </a:lnTo>
                  <a:lnTo>
                    <a:pt x="195370" y="104834"/>
                  </a:lnTo>
                  <a:lnTo>
                    <a:pt x="171544" y="95304"/>
                  </a:lnTo>
                  <a:lnTo>
                    <a:pt x="166778" y="100068"/>
                  </a:lnTo>
                  <a:lnTo>
                    <a:pt x="162014" y="114364"/>
                  </a:lnTo>
                  <a:lnTo>
                    <a:pt x="147718" y="95304"/>
                  </a:lnTo>
                  <a:close/>
                  <a:moveTo>
                    <a:pt x="376444" y="57182"/>
                  </a:moveTo>
                  <a:lnTo>
                    <a:pt x="381208" y="57182"/>
                  </a:lnTo>
                  <a:lnTo>
                    <a:pt x="381208" y="76242"/>
                  </a:lnTo>
                  <a:lnTo>
                    <a:pt x="385974" y="85772"/>
                  </a:lnTo>
                  <a:lnTo>
                    <a:pt x="381208" y="95304"/>
                  </a:lnTo>
                  <a:lnTo>
                    <a:pt x="376444" y="85772"/>
                  </a:lnTo>
                  <a:lnTo>
                    <a:pt x="371680" y="81008"/>
                  </a:lnTo>
                  <a:lnTo>
                    <a:pt x="371680" y="61948"/>
                  </a:lnTo>
                  <a:close/>
                  <a:moveTo>
                    <a:pt x="66710" y="42888"/>
                  </a:moveTo>
                  <a:lnTo>
                    <a:pt x="71476" y="57182"/>
                  </a:lnTo>
                  <a:lnTo>
                    <a:pt x="71476" y="61948"/>
                  </a:lnTo>
                  <a:lnTo>
                    <a:pt x="61946" y="66712"/>
                  </a:lnTo>
                  <a:lnTo>
                    <a:pt x="52416" y="66712"/>
                  </a:lnTo>
                  <a:lnTo>
                    <a:pt x="42884" y="57182"/>
                  </a:lnTo>
                  <a:lnTo>
                    <a:pt x="42884" y="52418"/>
                  </a:lnTo>
                  <a:lnTo>
                    <a:pt x="57180" y="47652"/>
                  </a:lnTo>
                  <a:close/>
                  <a:moveTo>
                    <a:pt x="38120" y="0"/>
                  </a:moveTo>
                  <a:lnTo>
                    <a:pt x="47650" y="4766"/>
                  </a:lnTo>
                  <a:lnTo>
                    <a:pt x="57180" y="14296"/>
                  </a:lnTo>
                  <a:lnTo>
                    <a:pt x="52416" y="23826"/>
                  </a:lnTo>
                  <a:lnTo>
                    <a:pt x="28590" y="38122"/>
                  </a:lnTo>
                  <a:lnTo>
                    <a:pt x="14294" y="42888"/>
                  </a:lnTo>
                  <a:lnTo>
                    <a:pt x="4764" y="42888"/>
                  </a:lnTo>
                  <a:lnTo>
                    <a:pt x="4764" y="28592"/>
                  </a:lnTo>
                  <a:lnTo>
                    <a:pt x="0" y="19062"/>
                  </a:lnTo>
                  <a:lnTo>
                    <a:pt x="4764" y="1906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2" name="Freeform 70">
              <a:extLst>
                <a:ext uri="{FF2B5EF4-FFF2-40B4-BE49-F238E27FC236}">
                  <a16:creationId xmlns:a16="http://schemas.microsoft.com/office/drawing/2014/main" id="{95938BA6-75A3-43D9-ADCA-913B920FEB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27664" y="5124958"/>
              <a:ext cx="84796" cy="80171"/>
            </a:xfrm>
            <a:custGeom>
              <a:avLst/>
              <a:gdLst>
                <a:gd name="connsiteX0" fmla="*/ 352619 w 524164"/>
                <a:gd name="connsiteY0" fmla="*/ 42888 h 495574"/>
                <a:gd name="connsiteX1" fmla="*/ 352619 w 524164"/>
                <a:gd name="connsiteY1" fmla="*/ 57182 h 495574"/>
                <a:gd name="connsiteX2" fmla="*/ 343089 w 524164"/>
                <a:gd name="connsiteY2" fmla="*/ 66712 h 495574"/>
                <a:gd name="connsiteX3" fmla="*/ 328794 w 524164"/>
                <a:gd name="connsiteY3" fmla="*/ 71478 h 495574"/>
                <a:gd name="connsiteX4" fmla="*/ 309733 w 524164"/>
                <a:gd name="connsiteY4" fmla="*/ 71478 h 495574"/>
                <a:gd name="connsiteX5" fmla="*/ 285908 w 524164"/>
                <a:gd name="connsiteY5" fmla="*/ 66712 h 495574"/>
                <a:gd name="connsiteX6" fmla="*/ 271612 w 524164"/>
                <a:gd name="connsiteY6" fmla="*/ 66712 h 495574"/>
                <a:gd name="connsiteX7" fmla="*/ 266847 w 524164"/>
                <a:gd name="connsiteY7" fmla="*/ 61948 h 495574"/>
                <a:gd name="connsiteX8" fmla="*/ 266847 w 524164"/>
                <a:gd name="connsiteY8" fmla="*/ 57182 h 495574"/>
                <a:gd name="connsiteX9" fmla="*/ 257317 w 524164"/>
                <a:gd name="connsiteY9" fmla="*/ 47652 h 495574"/>
                <a:gd name="connsiteX10" fmla="*/ 243021 w 524164"/>
                <a:gd name="connsiteY10" fmla="*/ 33356 h 495574"/>
                <a:gd name="connsiteX11" fmla="*/ 233491 w 524164"/>
                <a:gd name="connsiteY11" fmla="*/ 33356 h 495574"/>
                <a:gd name="connsiteX12" fmla="*/ 223961 w 524164"/>
                <a:gd name="connsiteY12" fmla="*/ 33356 h 495574"/>
                <a:gd name="connsiteX13" fmla="*/ 200135 w 524164"/>
                <a:gd name="connsiteY13" fmla="*/ 23826 h 495574"/>
                <a:gd name="connsiteX14" fmla="*/ 190605 w 524164"/>
                <a:gd name="connsiteY14" fmla="*/ 23826 h 495574"/>
                <a:gd name="connsiteX15" fmla="*/ 176310 w 524164"/>
                <a:gd name="connsiteY15" fmla="*/ 28592 h 495574"/>
                <a:gd name="connsiteX16" fmla="*/ 157249 w 524164"/>
                <a:gd name="connsiteY16" fmla="*/ 38122 h 495574"/>
                <a:gd name="connsiteX17" fmla="*/ 114363 w 524164"/>
                <a:gd name="connsiteY17" fmla="*/ 23826 h 495574"/>
                <a:gd name="connsiteX18" fmla="*/ 85772 w 524164"/>
                <a:gd name="connsiteY18" fmla="*/ 14296 h 495574"/>
                <a:gd name="connsiteX19" fmla="*/ 57182 w 524164"/>
                <a:gd name="connsiteY19" fmla="*/ 4766 h 495574"/>
                <a:gd name="connsiteX20" fmla="*/ 52416 w 524164"/>
                <a:gd name="connsiteY20" fmla="*/ 0 h 495574"/>
                <a:gd name="connsiteX21" fmla="*/ 42886 w 524164"/>
                <a:gd name="connsiteY21" fmla="*/ 0 h 495574"/>
                <a:gd name="connsiteX22" fmla="*/ 38121 w 524164"/>
                <a:gd name="connsiteY22" fmla="*/ 4766 h 495574"/>
                <a:gd name="connsiteX23" fmla="*/ 33356 w 524164"/>
                <a:gd name="connsiteY23" fmla="*/ 14296 h 495574"/>
                <a:gd name="connsiteX24" fmla="*/ 33356 w 524164"/>
                <a:gd name="connsiteY24" fmla="*/ 19062 h 495574"/>
                <a:gd name="connsiteX25" fmla="*/ 28591 w 524164"/>
                <a:gd name="connsiteY25" fmla="*/ 19062 h 495574"/>
                <a:gd name="connsiteX26" fmla="*/ 28591 w 524164"/>
                <a:gd name="connsiteY26" fmla="*/ 19062 h 495574"/>
                <a:gd name="connsiteX27" fmla="*/ 28591 w 524164"/>
                <a:gd name="connsiteY27" fmla="*/ 23826 h 495574"/>
                <a:gd name="connsiteX28" fmla="*/ 23826 w 524164"/>
                <a:gd name="connsiteY28" fmla="*/ 33356 h 495574"/>
                <a:gd name="connsiteX29" fmla="*/ 4765 w 524164"/>
                <a:gd name="connsiteY29" fmla="*/ 42888 h 495574"/>
                <a:gd name="connsiteX30" fmla="*/ 0 w 524164"/>
                <a:gd name="connsiteY30" fmla="*/ 47652 h 495574"/>
                <a:gd name="connsiteX31" fmla="*/ 14295 w 524164"/>
                <a:gd name="connsiteY31" fmla="*/ 57182 h 495574"/>
                <a:gd name="connsiteX32" fmla="*/ 28591 w 524164"/>
                <a:gd name="connsiteY32" fmla="*/ 61948 h 495574"/>
                <a:gd name="connsiteX33" fmla="*/ 38121 w 524164"/>
                <a:gd name="connsiteY33" fmla="*/ 71478 h 495574"/>
                <a:gd name="connsiteX34" fmla="*/ 38121 w 524164"/>
                <a:gd name="connsiteY34" fmla="*/ 81008 h 495574"/>
                <a:gd name="connsiteX35" fmla="*/ 38121 w 524164"/>
                <a:gd name="connsiteY35" fmla="*/ 90538 h 495574"/>
                <a:gd name="connsiteX36" fmla="*/ 33356 w 524164"/>
                <a:gd name="connsiteY36" fmla="*/ 100068 h 495574"/>
                <a:gd name="connsiteX37" fmla="*/ 14295 w 524164"/>
                <a:gd name="connsiteY37" fmla="*/ 128660 h 495574"/>
                <a:gd name="connsiteX38" fmla="*/ 9530 w 524164"/>
                <a:gd name="connsiteY38" fmla="*/ 142954 h 495574"/>
                <a:gd name="connsiteX39" fmla="*/ 19061 w 524164"/>
                <a:gd name="connsiteY39" fmla="*/ 166780 h 495574"/>
                <a:gd name="connsiteX40" fmla="*/ 38121 w 524164"/>
                <a:gd name="connsiteY40" fmla="*/ 195372 h 495574"/>
                <a:gd name="connsiteX41" fmla="*/ 42886 w 524164"/>
                <a:gd name="connsiteY41" fmla="*/ 204902 h 495574"/>
                <a:gd name="connsiteX42" fmla="*/ 95303 w 524164"/>
                <a:gd name="connsiteY42" fmla="*/ 219196 h 495574"/>
                <a:gd name="connsiteX43" fmla="*/ 119128 w 524164"/>
                <a:gd name="connsiteY43" fmla="*/ 252552 h 495574"/>
                <a:gd name="connsiteX44" fmla="*/ 123893 w 524164"/>
                <a:gd name="connsiteY44" fmla="*/ 257318 h 495574"/>
                <a:gd name="connsiteX45" fmla="*/ 128658 w 524164"/>
                <a:gd name="connsiteY45" fmla="*/ 252552 h 495574"/>
                <a:gd name="connsiteX46" fmla="*/ 133424 w 524164"/>
                <a:gd name="connsiteY46" fmla="*/ 243022 h 495574"/>
                <a:gd name="connsiteX47" fmla="*/ 142954 w 524164"/>
                <a:gd name="connsiteY47" fmla="*/ 238258 h 495574"/>
                <a:gd name="connsiteX48" fmla="*/ 162014 w 524164"/>
                <a:gd name="connsiteY48" fmla="*/ 219196 h 495574"/>
                <a:gd name="connsiteX49" fmla="*/ 157249 w 524164"/>
                <a:gd name="connsiteY49" fmla="*/ 209666 h 495574"/>
                <a:gd name="connsiteX50" fmla="*/ 147719 w 524164"/>
                <a:gd name="connsiteY50" fmla="*/ 200136 h 495574"/>
                <a:gd name="connsiteX51" fmla="*/ 119128 w 524164"/>
                <a:gd name="connsiteY51" fmla="*/ 185840 h 495574"/>
                <a:gd name="connsiteX52" fmla="*/ 104833 w 524164"/>
                <a:gd name="connsiteY52" fmla="*/ 171546 h 495574"/>
                <a:gd name="connsiteX53" fmla="*/ 100068 w 524164"/>
                <a:gd name="connsiteY53" fmla="*/ 147720 h 495574"/>
                <a:gd name="connsiteX54" fmla="*/ 104833 w 524164"/>
                <a:gd name="connsiteY54" fmla="*/ 152484 h 495574"/>
                <a:gd name="connsiteX55" fmla="*/ 109598 w 524164"/>
                <a:gd name="connsiteY55" fmla="*/ 157250 h 495574"/>
                <a:gd name="connsiteX56" fmla="*/ 138189 w 524164"/>
                <a:gd name="connsiteY56" fmla="*/ 171546 h 495574"/>
                <a:gd name="connsiteX57" fmla="*/ 185840 w 524164"/>
                <a:gd name="connsiteY57" fmla="*/ 204902 h 495574"/>
                <a:gd name="connsiteX58" fmla="*/ 200135 w 524164"/>
                <a:gd name="connsiteY58" fmla="*/ 223962 h 495574"/>
                <a:gd name="connsiteX59" fmla="*/ 195370 w 524164"/>
                <a:gd name="connsiteY59" fmla="*/ 238258 h 495574"/>
                <a:gd name="connsiteX60" fmla="*/ 195370 w 524164"/>
                <a:gd name="connsiteY60" fmla="*/ 247788 h 495574"/>
                <a:gd name="connsiteX61" fmla="*/ 209666 w 524164"/>
                <a:gd name="connsiteY61" fmla="*/ 257318 h 495574"/>
                <a:gd name="connsiteX62" fmla="*/ 223961 w 524164"/>
                <a:gd name="connsiteY62" fmla="*/ 266848 h 495574"/>
                <a:gd name="connsiteX63" fmla="*/ 262082 w 524164"/>
                <a:gd name="connsiteY63" fmla="*/ 276378 h 495574"/>
                <a:gd name="connsiteX64" fmla="*/ 281143 w 524164"/>
                <a:gd name="connsiteY64" fmla="*/ 285908 h 495574"/>
                <a:gd name="connsiteX65" fmla="*/ 314498 w 524164"/>
                <a:gd name="connsiteY65" fmla="*/ 304968 h 495574"/>
                <a:gd name="connsiteX66" fmla="*/ 338324 w 524164"/>
                <a:gd name="connsiteY66" fmla="*/ 324030 h 495574"/>
                <a:gd name="connsiteX67" fmla="*/ 352619 w 524164"/>
                <a:gd name="connsiteY67" fmla="*/ 343090 h 495574"/>
                <a:gd name="connsiteX68" fmla="*/ 357385 w 524164"/>
                <a:gd name="connsiteY68" fmla="*/ 352620 h 495574"/>
                <a:gd name="connsiteX69" fmla="*/ 357385 w 524164"/>
                <a:gd name="connsiteY69" fmla="*/ 381212 h 495574"/>
                <a:gd name="connsiteX70" fmla="*/ 352619 w 524164"/>
                <a:gd name="connsiteY70" fmla="*/ 390742 h 495574"/>
                <a:gd name="connsiteX71" fmla="*/ 338324 w 524164"/>
                <a:gd name="connsiteY71" fmla="*/ 409802 h 495574"/>
                <a:gd name="connsiteX72" fmla="*/ 362150 w 524164"/>
                <a:gd name="connsiteY72" fmla="*/ 428862 h 495574"/>
                <a:gd name="connsiteX73" fmla="*/ 371680 w 524164"/>
                <a:gd name="connsiteY73" fmla="*/ 433628 h 495574"/>
                <a:gd name="connsiteX74" fmla="*/ 385975 w 524164"/>
                <a:gd name="connsiteY74" fmla="*/ 438392 h 495574"/>
                <a:gd name="connsiteX75" fmla="*/ 395506 w 524164"/>
                <a:gd name="connsiteY75" fmla="*/ 438392 h 495574"/>
                <a:gd name="connsiteX76" fmla="*/ 409801 w 524164"/>
                <a:gd name="connsiteY76" fmla="*/ 443158 h 495574"/>
                <a:gd name="connsiteX77" fmla="*/ 409801 w 524164"/>
                <a:gd name="connsiteY77" fmla="*/ 433628 h 495574"/>
                <a:gd name="connsiteX78" fmla="*/ 409801 w 524164"/>
                <a:gd name="connsiteY78" fmla="*/ 424098 h 495574"/>
                <a:gd name="connsiteX79" fmla="*/ 390740 w 524164"/>
                <a:gd name="connsiteY79" fmla="*/ 409802 h 495574"/>
                <a:gd name="connsiteX80" fmla="*/ 381210 w 524164"/>
                <a:gd name="connsiteY80" fmla="*/ 395506 h 495574"/>
                <a:gd name="connsiteX81" fmla="*/ 395506 w 524164"/>
                <a:gd name="connsiteY81" fmla="*/ 390742 h 495574"/>
                <a:gd name="connsiteX82" fmla="*/ 409801 w 524164"/>
                <a:gd name="connsiteY82" fmla="*/ 400272 h 495574"/>
                <a:gd name="connsiteX83" fmla="*/ 428861 w 524164"/>
                <a:gd name="connsiteY83" fmla="*/ 414566 h 495574"/>
                <a:gd name="connsiteX84" fmla="*/ 433627 w 524164"/>
                <a:gd name="connsiteY84" fmla="*/ 424098 h 495574"/>
                <a:gd name="connsiteX85" fmla="*/ 433627 w 524164"/>
                <a:gd name="connsiteY85" fmla="*/ 452688 h 495574"/>
                <a:gd name="connsiteX86" fmla="*/ 447922 w 524164"/>
                <a:gd name="connsiteY86" fmla="*/ 462218 h 495574"/>
                <a:gd name="connsiteX87" fmla="*/ 462217 w 524164"/>
                <a:gd name="connsiteY87" fmla="*/ 476514 h 495574"/>
                <a:gd name="connsiteX88" fmla="*/ 471748 w 524164"/>
                <a:gd name="connsiteY88" fmla="*/ 495574 h 495574"/>
                <a:gd name="connsiteX89" fmla="*/ 471748 w 524164"/>
                <a:gd name="connsiteY89" fmla="*/ 486044 h 495574"/>
                <a:gd name="connsiteX90" fmla="*/ 466982 w 524164"/>
                <a:gd name="connsiteY90" fmla="*/ 476514 h 495574"/>
                <a:gd name="connsiteX91" fmla="*/ 462217 w 524164"/>
                <a:gd name="connsiteY91" fmla="*/ 466984 h 495574"/>
                <a:gd name="connsiteX92" fmla="*/ 452687 w 524164"/>
                <a:gd name="connsiteY92" fmla="*/ 457452 h 495574"/>
                <a:gd name="connsiteX93" fmla="*/ 452687 w 524164"/>
                <a:gd name="connsiteY93" fmla="*/ 452688 h 495574"/>
                <a:gd name="connsiteX94" fmla="*/ 457452 w 524164"/>
                <a:gd name="connsiteY94" fmla="*/ 447922 h 495574"/>
                <a:gd name="connsiteX95" fmla="*/ 476513 w 524164"/>
                <a:gd name="connsiteY95" fmla="*/ 433628 h 495574"/>
                <a:gd name="connsiteX96" fmla="*/ 481278 w 524164"/>
                <a:gd name="connsiteY96" fmla="*/ 428862 h 495574"/>
                <a:gd name="connsiteX97" fmla="*/ 481278 w 524164"/>
                <a:gd name="connsiteY97" fmla="*/ 414566 h 495574"/>
                <a:gd name="connsiteX98" fmla="*/ 476513 w 524164"/>
                <a:gd name="connsiteY98" fmla="*/ 405036 h 495574"/>
                <a:gd name="connsiteX99" fmla="*/ 466982 w 524164"/>
                <a:gd name="connsiteY99" fmla="*/ 390742 h 495574"/>
                <a:gd name="connsiteX100" fmla="*/ 471748 w 524164"/>
                <a:gd name="connsiteY100" fmla="*/ 376446 h 495574"/>
                <a:gd name="connsiteX101" fmla="*/ 486043 w 524164"/>
                <a:gd name="connsiteY101" fmla="*/ 371680 h 495574"/>
                <a:gd name="connsiteX102" fmla="*/ 495573 w 524164"/>
                <a:gd name="connsiteY102" fmla="*/ 362150 h 495574"/>
                <a:gd name="connsiteX103" fmla="*/ 495573 w 524164"/>
                <a:gd name="connsiteY103" fmla="*/ 362150 h 495574"/>
                <a:gd name="connsiteX104" fmla="*/ 495573 w 524164"/>
                <a:gd name="connsiteY104" fmla="*/ 357386 h 495574"/>
                <a:gd name="connsiteX105" fmla="*/ 490808 w 524164"/>
                <a:gd name="connsiteY105" fmla="*/ 347856 h 495574"/>
                <a:gd name="connsiteX106" fmla="*/ 471748 w 524164"/>
                <a:gd name="connsiteY106" fmla="*/ 338324 h 495574"/>
                <a:gd name="connsiteX107" fmla="*/ 462217 w 524164"/>
                <a:gd name="connsiteY107" fmla="*/ 338324 h 495574"/>
                <a:gd name="connsiteX108" fmla="*/ 462217 w 524164"/>
                <a:gd name="connsiteY108" fmla="*/ 309734 h 495574"/>
                <a:gd name="connsiteX109" fmla="*/ 462217 w 524164"/>
                <a:gd name="connsiteY109" fmla="*/ 276378 h 495574"/>
                <a:gd name="connsiteX110" fmla="*/ 466982 w 524164"/>
                <a:gd name="connsiteY110" fmla="*/ 276378 h 495574"/>
                <a:gd name="connsiteX111" fmla="*/ 471748 w 524164"/>
                <a:gd name="connsiteY111" fmla="*/ 271614 h 495574"/>
                <a:gd name="connsiteX112" fmla="*/ 476513 w 524164"/>
                <a:gd name="connsiteY112" fmla="*/ 266848 h 495574"/>
                <a:gd name="connsiteX113" fmla="*/ 481278 w 524164"/>
                <a:gd name="connsiteY113" fmla="*/ 257318 h 495574"/>
                <a:gd name="connsiteX114" fmla="*/ 486043 w 524164"/>
                <a:gd name="connsiteY114" fmla="*/ 252552 h 495574"/>
                <a:gd name="connsiteX115" fmla="*/ 500338 w 524164"/>
                <a:gd name="connsiteY115" fmla="*/ 262082 h 495574"/>
                <a:gd name="connsiteX116" fmla="*/ 509869 w 524164"/>
                <a:gd name="connsiteY116" fmla="*/ 266848 h 495574"/>
                <a:gd name="connsiteX117" fmla="*/ 514634 w 524164"/>
                <a:gd name="connsiteY117" fmla="*/ 266848 h 495574"/>
                <a:gd name="connsiteX118" fmla="*/ 519399 w 524164"/>
                <a:gd name="connsiteY118" fmla="*/ 262082 h 495574"/>
                <a:gd name="connsiteX119" fmla="*/ 524164 w 524164"/>
                <a:gd name="connsiteY119" fmla="*/ 262082 h 495574"/>
                <a:gd name="connsiteX120" fmla="*/ 524164 w 524164"/>
                <a:gd name="connsiteY120" fmla="*/ 257318 h 495574"/>
                <a:gd name="connsiteX121" fmla="*/ 514634 w 524164"/>
                <a:gd name="connsiteY121" fmla="*/ 252552 h 495574"/>
                <a:gd name="connsiteX122" fmla="*/ 490808 w 524164"/>
                <a:gd name="connsiteY122" fmla="*/ 243022 h 495574"/>
                <a:gd name="connsiteX123" fmla="*/ 486043 w 524164"/>
                <a:gd name="connsiteY123" fmla="*/ 233492 h 495574"/>
                <a:gd name="connsiteX124" fmla="*/ 476513 w 524164"/>
                <a:gd name="connsiteY124" fmla="*/ 223962 h 495574"/>
                <a:gd name="connsiteX125" fmla="*/ 447922 w 524164"/>
                <a:gd name="connsiteY125" fmla="*/ 190606 h 495574"/>
                <a:gd name="connsiteX126" fmla="*/ 433627 w 524164"/>
                <a:gd name="connsiteY126" fmla="*/ 181076 h 495574"/>
                <a:gd name="connsiteX127" fmla="*/ 400271 w 524164"/>
                <a:gd name="connsiteY127" fmla="*/ 138190 h 495574"/>
                <a:gd name="connsiteX128" fmla="*/ 385975 w 524164"/>
                <a:gd name="connsiteY128" fmla="*/ 114364 h 495574"/>
                <a:gd name="connsiteX129" fmla="*/ 366915 w 524164"/>
                <a:gd name="connsiteY129" fmla="*/ 71478 h 495574"/>
                <a:gd name="connsiteX130" fmla="*/ 362150 w 524164"/>
                <a:gd name="connsiteY130" fmla="*/ 61948 h 495574"/>
                <a:gd name="connsiteX131" fmla="*/ 357385 w 524164"/>
                <a:gd name="connsiteY131" fmla="*/ 52418 h 495574"/>
                <a:gd name="connsiteX132" fmla="*/ 352619 w 524164"/>
                <a:gd name="connsiteY132" fmla="*/ 42888 h 495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</a:cxnLst>
              <a:rect l="l" t="t" r="r" b="b"/>
              <a:pathLst>
                <a:path w="524163" h="495574">
                  <a:moveTo>
                    <a:pt x="352619" y="42888"/>
                  </a:moveTo>
                  <a:lnTo>
                    <a:pt x="352619" y="57182"/>
                  </a:lnTo>
                  <a:lnTo>
                    <a:pt x="343089" y="66712"/>
                  </a:lnTo>
                  <a:lnTo>
                    <a:pt x="328794" y="71478"/>
                  </a:lnTo>
                  <a:lnTo>
                    <a:pt x="309733" y="71478"/>
                  </a:lnTo>
                  <a:lnTo>
                    <a:pt x="285908" y="66712"/>
                  </a:lnTo>
                  <a:lnTo>
                    <a:pt x="271612" y="66712"/>
                  </a:lnTo>
                  <a:lnTo>
                    <a:pt x="266847" y="61948"/>
                  </a:lnTo>
                  <a:lnTo>
                    <a:pt x="266847" y="57182"/>
                  </a:lnTo>
                  <a:lnTo>
                    <a:pt x="257317" y="47652"/>
                  </a:lnTo>
                  <a:lnTo>
                    <a:pt x="243021" y="33356"/>
                  </a:lnTo>
                  <a:lnTo>
                    <a:pt x="233491" y="33356"/>
                  </a:lnTo>
                  <a:lnTo>
                    <a:pt x="223961" y="33356"/>
                  </a:lnTo>
                  <a:lnTo>
                    <a:pt x="200135" y="23826"/>
                  </a:lnTo>
                  <a:lnTo>
                    <a:pt x="190605" y="23826"/>
                  </a:lnTo>
                  <a:lnTo>
                    <a:pt x="176310" y="28592"/>
                  </a:lnTo>
                  <a:lnTo>
                    <a:pt x="157249" y="38122"/>
                  </a:lnTo>
                  <a:lnTo>
                    <a:pt x="114363" y="23826"/>
                  </a:lnTo>
                  <a:lnTo>
                    <a:pt x="85772" y="14296"/>
                  </a:lnTo>
                  <a:lnTo>
                    <a:pt x="57182" y="4766"/>
                  </a:lnTo>
                  <a:lnTo>
                    <a:pt x="52416" y="0"/>
                  </a:lnTo>
                  <a:lnTo>
                    <a:pt x="42886" y="0"/>
                  </a:lnTo>
                  <a:lnTo>
                    <a:pt x="38121" y="4766"/>
                  </a:lnTo>
                  <a:lnTo>
                    <a:pt x="33356" y="14296"/>
                  </a:lnTo>
                  <a:lnTo>
                    <a:pt x="33356" y="19062"/>
                  </a:lnTo>
                  <a:lnTo>
                    <a:pt x="28591" y="19062"/>
                  </a:lnTo>
                  <a:lnTo>
                    <a:pt x="28591" y="19062"/>
                  </a:lnTo>
                  <a:lnTo>
                    <a:pt x="28591" y="23826"/>
                  </a:lnTo>
                  <a:lnTo>
                    <a:pt x="23826" y="33356"/>
                  </a:lnTo>
                  <a:lnTo>
                    <a:pt x="4765" y="42888"/>
                  </a:lnTo>
                  <a:lnTo>
                    <a:pt x="0" y="47652"/>
                  </a:lnTo>
                  <a:lnTo>
                    <a:pt x="14295" y="57182"/>
                  </a:lnTo>
                  <a:lnTo>
                    <a:pt x="28591" y="61948"/>
                  </a:lnTo>
                  <a:lnTo>
                    <a:pt x="38121" y="71478"/>
                  </a:lnTo>
                  <a:lnTo>
                    <a:pt x="38121" y="81008"/>
                  </a:lnTo>
                  <a:lnTo>
                    <a:pt x="38121" y="90538"/>
                  </a:lnTo>
                  <a:lnTo>
                    <a:pt x="33356" y="100068"/>
                  </a:lnTo>
                  <a:lnTo>
                    <a:pt x="14295" y="128660"/>
                  </a:lnTo>
                  <a:lnTo>
                    <a:pt x="9530" y="142954"/>
                  </a:lnTo>
                  <a:lnTo>
                    <a:pt x="19061" y="166780"/>
                  </a:lnTo>
                  <a:lnTo>
                    <a:pt x="38121" y="195372"/>
                  </a:lnTo>
                  <a:lnTo>
                    <a:pt x="42886" y="204902"/>
                  </a:lnTo>
                  <a:lnTo>
                    <a:pt x="95303" y="219196"/>
                  </a:lnTo>
                  <a:lnTo>
                    <a:pt x="119128" y="252552"/>
                  </a:lnTo>
                  <a:lnTo>
                    <a:pt x="123893" y="257318"/>
                  </a:lnTo>
                  <a:lnTo>
                    <a:pt x="128658" y="252552"/>
                  </a:lnTo>
                  <a:lnTo>
                    <a:pt x="133424" y="243022"/>
                  </a:lnTo>
                  <a:lnTo>
                    <a:pt x="142954" y="238258"/>
                  </a:lnTo>
                  <a:lnTo>
                    <a:pt x="162014" y="219196"/>
                  </a:lnTo>
                  <a:lnTo>
                    <a:pt x="157249" y="209666"/>
                  </a:lnTo>
                  <a:lnTo>
                    <a:pt x="147719" y="200136"/>
                  </a:lnTo>
                  <a:lnTo>
                    <a:pt x="119128" y="185840"/>
                  </a:lnTo>
                  <a:lnTo>
                    <a:pt x="104833" y="171546"/>
                  </a:lnTo>
                  <a:lnTo>
                    <a:pt x="100068" y="147720"/>
                  </a:lnTo>
                  <a:lnTo>
                    <a:pt x="104833" y="152484"/>
                  </a:lnTo>
                  <a:lnTo>
                    <a:pt x="109598" y="157250"/>
                  </a:lnTo>
                  <a:lnTo>
                    <a:pt x="138189" y="171546"/>
                  </a:lnTo>
                  <a:lnTo>
                    <a:pt x="185840" y="204902"/>
                  </a:lnTo>
                  <a:lnTo>
                    <a:pt x="200135" y="223962"/>
                  </a:lnTo>
                  <a:lnTo>
                    <a:pt x="195370" y="238258"/>
                  </a:lnTo>
                  <a:lnTo>
                    <a:pt x="195370" y="247788"/>
                  </a:lnTo>
                  <a:lnTo>
                    <a:pt x="209666" y="257318"/>
                  </a:lnTo>
                  <a:lnTo>
                    <a:pt x="223961" y="266848"/>
                  </a:lnTo>
                  <a:lnTo>
                    <a:pt x="262082" y="276378"/>
                  </a:lnTo>
                  <a:lnTo>
                    <a:pt x="281143" y="285908"/>
                  </a:lnTo>
                  <a:lnTo>
                    <a:pt x="314498" y="304968"/>
                  </a:lnTo>
                  <a:lnTo>
                    <a:pt x="338324" y="324030"/>
                  </a:lnTo>
                  <a:lnTo>
                    <a:pt x="352619" y="343090"/>
                  </a:lnTo>
                  <a:lnTo>
                    <a:pt x="357385" y="352620"/>
                  </a:lnTo>
                  <a:lnTo>
                    <a:pt x="357385" y="381212"/>
                  </a:lnTo>
                  <a:lnTo>
                    <a:pt x="352619" y="390742"/>
                  </a:lnTo>
                  <a:lnTo>
                    <a:pt x="338324" y="409802"/>
                  </a:lnTo>
                  <a:lnTo>
                    <a:pt x="362150" y="428862"/>
                  </a:lnTo>
                  <a:lnTo>
                    <a:pt x="371680" y="433628"/>
                  </a:lnTo>
                  <a:lnTo>
                    <a:pt x="385975" y="438392"/>
                  </a:lnTo>
                  <a:lnTo>
                    <a:pt x="395506" y="438392"/>
                  </a:lnTo>
                  <a:lnTo>
                    <a:pt x="409801" y="443158"/>
                  </a:lnTo>
                  <a:lnTo>
                    <a:pt x="409801" y="433628"/>
                  </a:lnTo>
                  <a:lnTo>
                    <a:pt x="409801" y="424098"/>
                  </a:lnTo>
                  <a:lnTo>
                    <a:pt x="390740" y="409802"/>
                  </a:lnTo>
                  <a:lnTo>
                    <a:pt x="381210" y="395506"/>
                  </a:lnTo>
                  <a:lnTo>
                    <a:pt x="395506" y="390742"/>
                  </a:lnTo>
                  <a:lnTo>
                    <a:pt x="409801" y="400272"/>
                  </a:lnTo>
                  <a:lnTo>
                    <a:pt x="428861" y="414566"/>
                  </a:lnTo>
                  <a:lnTo>
                    <a:pt x="433627" y="424098"/>
                  </a:lnTo>
                  <a:lnTo>
                    <a:pt x="433627" y="452688"/>
                  </a:lnTo>
                  <a:lnTo>
                    <a:pt x="447922" y="462218"/>
                  </a:lnTo>
                  <a:lnTo>
                    <a:pt x="462217" y="476514"/>
                  </a:lnTo>
                  <a:lnTo>
                    <a:pt x="471748" y="495574"/>
                  </a:lnTo>
                  <a:lnTo>
                    <a:pt x="471748" y="486044"/>
                  </a:lnTo>
                  <a:lnTo>
                    <a:pt x="466982" y="476514"/>
                  </a:lnTo>
                  <a:lnTo>
                    <a:pt x="462217" y="466984"/>
                  </a:lnTo>
                  <a:lnTo>
                    <a:pt x="452687" y="457452"/>
                  </a:lnTo>
                  <a:lnTo>
                    <a:pt x="452687" y="452688"/>
                  </a:lnTo>
                  <a:lnTo>
                    <a:pt x="457452" y="447922"/>
                  </a:lnTo>
                  <a:lnTo>
                    <a:pt x="476513" y="433628"/>
                  </a:lnTo>
                  <a:lnTo>
                    <a:pt x="481278" y="428862"/>
                  </a:lnTo>
                  <a:lnTo>
                    <a:pt x="481278" y="414566"/>
                  </a:lnTo>
                  <a:lnTo>
                    <a:pt x="476513" y="405036"/>
                  </a:lnTo>
                  <a:lnTo>
                    <a:pt x="466982" y="390742"/>
                  </a:lnTo>
                  <a:lnTo>
                    <a:pt x="471748" y="376446"/>
                  </a:lnTo>
                  <a:lnTo>
                    <a:pt x="486043" y="371680"/>
                  </a:lnTo>
                  <a:lnTo>
                    <a:pt x="495573" y="362150"/>
                  </a:lnTo>
                  <a:lnTo>
                    <a:pt x="495573" y="362150"/>
                  </a:lnTo>
                  <a:lnTo>
                    <a:pt x="495573" y="357386"/>
                  </a:lnTo>
                  <a:lnTo>
                    <a:pt x="490808" y="347856"/>
                  </a:lnTo>
                  <a:lnTo>
                    <a:pt x="471748" y="338324"/>
                  </a:lnTo>
                  <a:lnTo>
                    <a:pt x="462217" y="338324"/>
                  </a:lnTo>
                  <a:lnTo>
                    <a:pt x="462217" y="309734"/>
                  </a:lnTo>
                  <a:lnTo>
                    <a:pt x="462217" y="276378"/>
                  </a:lnTo>
                  <a:lnTo>
                    <a:pt x="466982" y="276378"/>
                  </a:lnTo>
                  <a:lnTo>
                    <a:pt x="471748" y="271614"/>
                  </a:lnTo>
                  <a:lnTo>
                    <a:pt x="476513" y="266848"/>
                  </a:lnTo>
                  <a:lnTo>
                    <a:pt x="481278" y="257318"/>
                  </a:lnTo>
                  <a:lnTo>
                    <a:pt x="486043" y="252552"/>
                  </a:lnTo>
                  <a:lnTo>
                    <a:pt x="500338" y="262082"/>
                  </a:lnTo>
                  <a:lnTo>
                    <a:pt x="509869" y="266848"/>
                  </a:lnTo>
                  <a:lnTo>
                    <a:pt x="514634" y="266848"/>
                  </a:lnTo>
                  <a:lnTo>
                    <a:pt x="519399" y="262082"/>
                  </a:lnTo>
                  <a:lnTo>
                    <a:pt x="524164" y="262082"/>
                  </a:lnTo>
                  <a:lnTo>
                    <a:pt x="524164" y="257318"/>
                  </a:lnTo>
                  <a:lnTo>
                    <a:pt x="514634" y="252552"/>
                  </a:lnTo>
                  <a:lnTo>
                    <a:pt x="490808" y="243022"/>
                  </a:lnTo>
                  <a:lnTo>
                    <a:pt x="486043" y="233492"/>
                  </a:lnTo>
                  <a:lnTo>
                    <a:pt x="476513" y="223962"/>
                  </a:lnTo>
                  <a:lnTo>
                    <a:pt x="447922" y="190606"/>
                  </a:lnTo>
                  <a:lnTo>
                    <a:pt x="433627" y="181076"/>
                  </a:lnTo>
                  <a:lnTo>
                    <a:pt x="400271" y="138190"/>
                  </a:lnTo>
                  <a:lnTo>
                    <a:pt x="385975" y="114364"/>
                  </a:lnTo>
                  <a:lnTo>
                    <a:pt x="366915" y="71478"/>
                  </a:lnTo>
                  <a:lnTo>
                    <a:pt x="362150" y="61948"/>
                  </a:lnTo>
                  <a:lnTo>
                    <a:pt x="357385" y="52418"/>
                  </a:lnTo>
                  <a:lnTo>
                    <a:pt x="352619" y="42888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3" name="Freeform 71">
              <a:extLst>
                <a:ext uri="{FF2B5EF4-FFF2-40B4-BE49-F238E27FC236}">
                  <a16:creationId xmlns:a16="http://schemas.microsoft.com/office/drawing/2014/main" id="{A7FE444D-5FEB-4E40-B692-5ED71FC8DB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53874" y="4806586"/>
              <a:ext cx="271349" cy="90963"/>
            </a:xfrm>
            <a:custGeom>
              <a:avLst/>
              <a:gdLst>
                <a:gd name="connsiteX0" fmla="*/ 295438 w 1677325"/>
                <a:gd name="connsiteY0" fmla="*/ 214432 h 562284"/>
                <a:gd name="connsiteX1" fmla="*/ 328794 w 1677325"/>
                <a:gd name="connsiteY1" fmla="*/ 219196 h 562284"/>
                <a:gd name="connsiteX2" fmla="*/ 338324 w 1677325"/>
                <a:gd name="connsiteY2" fmla="*/ 223962 h 562284"/>
                <a:gd name="connsiteX3" fmla="*/ 343089 w 1677325"/>
                <a:gd name="connsiteY3" fmla="*/ 233492 h 562284"/>
                <a:gd name="connsiteX4" fmla="*/ 352620 w 1677325"/>
                <a:gd name="connsiteY4" fmla="*/ 243022 h 562284"/>
                <a:gd name="connsiteX5" fmla="*/ 362150 w 1677325"/>
                <a:gd name="connsiteY5" fmla="*/ 266848 h 562284"/>
                <a:gd name="connsiteX6" fmla="*/ 362150 w 1677325"/>
                <a:gd name="connsiteY6" fmla="*/ 276378 h 562284"/>
                <a:gd name="connsiteX7" fmla="*/ 347855 w 1677325"/>
                <a:gd name="connsiteY7" fmla="*/ 285908 h 562284"/>
                <a:gd name="connsiteX8" fmla="*/ 314499 w 1677325"/>
                <a:gd name="connsiteY8" fmla="*/ 295438 h 562284"/>
                <a:gd name="connsiteX9" fmla="*/ 300203 w 1677325"/>
                <a:gd name="connsiteY9" fmla="*/ 295438 h 562284"/>
                <a:gd name="connsiteX10" fmla="*/ 281143 w 1677325"/>
                <a:gd name="connsiteY10" fmla="*/ 290672 h 562284"/>
                <a:gd name="connsiteX11" fmla="*/ 271612 w 1677325"/>
                <a:gd name="connsiteY11" fmla="*/ 281142 h 562284"/>
                <a:gd name="connsiteX12" fmla="*/ 262082 w 1677325"/>
                <a:gd name="connsiteY12" fmla="*/ 271612 h 562284"/>
                <a:gd name="connsiteX13" fmla="*/ 266847 w 1677325"/>
                <a:gd name="connsiteY13" fmla="*/ 266848 h 562284"/>
                <a:gd name="connsiteX14" fmla="*/ 276377 w 1677325"/>
                <a:gd name="connsiteY14" fmla="*/ 276378 h 562284"/>
                <a:gd name="connsiteX15" fmla="*/ 285908 w 1677325"/>
                <a:gd name="connsiteY15" fmla="*/ 281142 h 562284"/>
                <a:gd name="connsiteX16" fmla="*/ 290673 w 1677325"/>
                <a:gd name="connsiteY16" fmla="*/ 276378 h 562284"/>
                <a:gd name="connsiteX17" fmla="*/ 295438 w 1677325"/>
                <a:gd name="connsiteY17" fmla="*/ 271612 h 562284"/>
                <a:gd name="connsiteX18" fmla="*/ 281143 w 1677325"/>
                <a:gd name="connsiteY18" fmla="*/ 238256 h 562284"/>
                <a:gd name="connsiteX19" fmla="*/ 281143 w 1677325"/>
                <a:gd name="connsiteY19" fmla="*/ 233492 h 562284"/>
                <a:gd name="connsiteX20" fmla="*/ 1086449 w 1677325"/>
                <a:gd name="connsiteY20" fmla="*/ 190604 h 562284"/>
                <a:gd name="connsiteX21" fmla="*/ 1095979 w 1677325"/>
                <a:gd name="connsiteY21" fmla="*/ 190604 h 562284"/>
                <a:gd name="connsiteX22" fmla="*/ 1110275 w 1677325"/>
                <a:gd name="connsiteY22" fmla="*/ 190604 h 562284"/>
                <a:gd name="connsiteX23" fmla="*/ 1129335 w 1677325"/>
                <a:gd name="connsiteY23" fmla="*/ 195370 h 562284"/>
                <a:gd name="connsiteX24" fmla="*/ 1129335 w 1677325"/>
                <a:gd name="connsiteY24" fmla="*/ 204900 h 562284"/>
                <a:gd name="connsiteX25" fmla="*/ 1124570 w 1677325"/>
                <a:gd name="connsiteY25" fmla="*/ 209666 h 562284"/>
                <a:gd name="connsiteX26" fmla="*/ 1119805 w 1677325"/>
                <a:gd name="connsiteY26" fmla="*/ 214432 h 562284"/>
                <a:gd name="connsiteX27" fmla="*/ 1110275 w 1677325"/>
                <a:gd name="connsiteY27" fmla="*/ 209666 h 562284"/>
                <a:gd name="connsiteX28" fmla="*/ 1105509 w 1677325"/>
                <a:gd name="connsiteY28" fmla="*/ 209666 h 562284"/>
                <a:gd name="connsiteX29" fmla="*/ 1100744 w 1677325"/>
                <a:gd name="connsiteY29" fmla="*/ 204900 h 562284"/>
                <a:gd name="connsiteX30" fmla="*/ 1091214 w 1677325"/>
                <a:gd name="connsiteY30" fmla="*/ 195370 h 562284"/>
                <a:gd name="connsiteX31" fmla="*/ 1072154 w 1677325"/>
                <a:gd name="connsiteY31" fmla="*/ 152484 h 562284"/>
                <a:gd name="connsiteX32" fmla="*/ 1076919 w 1677325"/>
                <a:gd name="connsiteY32" fmla="*/ 152484 h 562284"/>
                <a:gd name="connsiteX33" fmla="*/ 1076919 w 1677325"/>
                <a:gd name="connsiteY33" fmla="*/ 162014 h 562284"/>
                <a:gd name="connsiteX34" fmla="*/ 1091215 w 1677325"/>
                <a:gd name="connsiteY34" fmla="*/ 166780 h 562284"/>
                <a:gd name="connsiteX35" fmla="*/ 1091215 w 1677325"/>
                <a:gd name="connsiteY35" fmla="*/ 171544 h 562284"/>
                <a:gd name="connsiteX36" fmla="*/ 1095980 w 1677325"/>
                <a:gd name="connsiteY36" fmla="*/ 176310 h 562284"/>
                <a:gd name="connsiteX37" fmla="*/ 1091215 w 1677325"/>
                <a:gd name="connsiteY37" fmla="*/ 181076 h 562284"/>
                <a:gd name="connsiteX38" fmla="*/ 1086450 w 1677325"/>
                <a:gd name="connsiteY38" fmla="*/ 181076 h 562284"/>
                <a:gd name="connsiteX39" fmla="*/ 1072154 w 1677325"/>
                <a:gd name="connsiteY39" fmla="*/ 176310 h 562284"/>
                <a:gd name="connsiteX40" fmla="*/ 1067389 w 1677325"/>
                <a:gd name="connsiteY40" fmla="*/ 171544 h 562284"/>
                <a:gd name="connsiteX41" fmla="*/ 1072154 w 1677325"/>
                <a:gd name="connsiteY41" fmla="*/ 162014 h 562284"/>
                <a:gd name="connsiteX42" fmla="*/ 1043563 w 1677325"/>
                <a:gd name="connsiteY42" fmla="*/ 128658 h 562284"/>
                <a:gd name="connsiteX43" fmla="*/ 1048329 w 1677325"/>
                <a:gd name="connsiteY43" fmla="*/ 128658 h 562284"/>
                <a:gd name="connsiteX44" fmla="*/ 1057859 w 1677325"/>
                <a:gd name="connsiteY44" fmla="*/ 138188 h 562284"/>
                <a:gd name="connsiteX45" fmla="*/ 1062624 w 1677325"/>
                <a:gd name="connsiteY45" fmla="*/ 152484 h 562284"/>
                <a:gd name="connsiteX46" fmla="*/ 1067389 w 1677325"/>
                <a:gd name="connsiteY46" fmla="*/ 157248 h 562284"/>
                <a:gd name="connsiteX47" fmla="*/ 1057859 w 1677325"/>
                <a:gd name="connsiteY47" fmla="*/ 152484 h 562284"/>
                <a:gd name="connsiteX48" fmla="*/ 1043563 w 1677325"/>
                <a:gd name="connsiteY48" fmla="*/ 147718 h 562284"/>
                <a:gd name="connsiteX49" fmla="*/ 1038798 w 1677325"/>
                <a:gd name="connsiteY49" fmla="*/ 138188 h 562284"/>
                <a:gd name="connsiteX50" fmla="*/ 1029268 w 1677325"/>
                <a:gd name="connsiteY50" fmla="*/ 133424 h 562284"/>
                <a:gd name="connsiteX51" fmla="*/ 976851 w 1677325"/>
                <a:gd name="connsiteY51" fmla="*/ 109598 h 562284"/>
                <a:gd name="connsiteX52" fmla="*/ 995912 w 1677325"/>
                <a:gd name="connsiteY52" fmla="*/ 114364 h 562284"/>
                <a:gd name="connsiteX53" fmla="*/ 1005442 w 1677325"/>
                <a:gd name="connsiteY53" fmla="*/ 109598 h 562284"/>
                <a:gd name="connsiteX54" fmla="*/ 1010207 w 1677325"/>
                <a:gd name="connsiteY54" fmla="*/ 109598 h 562284"/>
                <a:gd name="connsiteX55" fmla="*/ 1019738 w 1677325"/>
                <a:gd name="connsiteY55" fmla="*/ 114364 h 562284"/>
                <a:gd name="connsiteX56" fmla="*/ 1029268 w 1677325"/>
                <a:gd name="connsiteY56" fmla="*/ 128660 h 562284"/>
                <a:gd name="connsiteX57" fmla="*/ 1019738 w 1677325"/>
                <a:gd name="connsiteY57" fmla="*/ 128660 h 562284"/>
                <a:gd name="connsiteX58" fmla="*/ 1014973 w 1677325"/>
                <a:gd name="connsiteY58" fmla="*/ 128660 h 562284"/>
                <a:gd name="connsiteX59" fmla="*/ 1005442 w 1677325"/>
                <a:gd name="connsiteY59" fmla="*/ 128660 h 562284"/>
                <a:gd name="connsiteX60" fmla="*/ 986382 w 1677325"/>
                <a:gd name="connsiteY60" fmla="*/ 123894 h 562284"/>
                <a:gd name="connsiteX61" fmla="*/ 976851 w 1677325"/>
                <a:gd name="connsiteY61" fmla="*/ 119128 h 562284"/>
                <a:gd name="connsiteX62" fmla="*/ 967321 w 1677325"/>
                <a:gd name="connsiteY62" fmla="*/ 119128 h 562284"/>
                <a:gd name="connsiteX63" fmla="*/ 967321 w 1677325"/>
                <a:gd name="connsiteY63" fmla="*/ 114364 h 562284"/>
                <a:gd name="connsiteX64" fmla="*/ 819602 w 1677325"/>
                <a:gd name="connsiteY64" fmla="*/ 66712 h 562284"/>
                <a:gd name="connsiteX65" fmla="*/ 829132 w 1677325"/>
                <a:gd name="connsiteY65" fmla="*/ 66712 h 562284"/>
                <a:gd name="connsiteX66" fmla="*/ 857723 w 1677325"/>
                <a:gd name="connsiteY66" fmla="*/ 90538 h 562284"/>
                <a:gd name="connsiteX67" fmla="*/ 862488 w 1677325"/>
                <a:gd name="connsiteY67" fmla="*/ 90538 h 562284"/>
                <a:gd name="connsiteX68" fmla="*/ 862488 w 1677325"/>
                <a:gd name="connsiteY68" fmla="*/ 95304 h 562284"/>
                <a:gd name="connsiteX69" fmla="*/ 833897 w 1677325"/>
                <a:gd name="connsiteY69" fmla="*/ 81008 h 562284"/>
                <a:gd name="connsiteX70" fmla="*/ 824367 w 1677325"/>
                <a:gd name="connsiteY70" fmla="*/ 71478 h 562284"/>
                <a:gd name="connsiteX71" fmla="*/ 433627 w 1677325"/>
                <a:gd name="connsiteY71" fmla="*/ 0 h 562284"/>
                <a:gd name="connsiteX72" fmla="*/ 476513 w 1677325"/>
                <a:gd name="connsiteY72" fmla="*/ 9530 h 562284"/>
                <a:gd name="connsiteX73" fmla="*/ 514634 w 1677325"/>
                <a:gd name="connsiteY73" fmla="*/ 14296 h 562284"/>
                <a:gd name="connsiteX74" fmla="*/ 547990 w 1677325"/>
                <a:gd name="connsiteY74" fmla="*/ 14296 h 562284"/>
                <a:gd name="connsiteX75" fmla="*/ 562285 w 1677325"/>
                <a:gd name="connsiteY75" fmla="*/ 9530 h 562284"/>
                <a:gd name="connsiteX76" fmla="*/ 562285 w 1677325"/>
                <a:gd name="connsiteY76" fmla="*/ 14296 h 562284"/>
                <a:gd name="connsiteX77" fmla="*/ 576581 w 1677325"/>
                <a:gd name="connsiteY77" fmla="*/ 23826 h 562284"/>
                <a:gd name="connsiteX78" fmla="*/ 581346 w 1677325"/>
                <a:gd name="connsiteY78" fmla="*/ 23826 h 562284"/>
                <a:gd name="connsiteX79" fmla="*/ 605171 w 1677325"/>
                <a:gd name="connsiteY79" fmla="*/ 19060 h 562284"/>
                <a:gd name="connsiteX80" fmla="*/ 657588 w 1677325"/>
                <a:gd name="connsiteY80" fmla="*/ 19060 h 562284"/>
                <a:gd name="connsiteX81" fmla="*/ 667118 w 1677325"/>
                <a:gd name="connsiteY81" fmla="*/ 19060 h 562284"/>
                <a:gd name="connsiteX82" fmla="*/ 676648 w 1677325"/>
                <a:gd name="connsiteY82" fmla="*/ 33356 h 562284"/>
                <a:gd name="connsiteX83" fmla="*/ 690944 w 1677325"/>
                <a:gd name="connsiteY83" fmla="*/ 38122 h 562284"/>
                <a:gd name="connsiteX84" fmla="*/ 705239 w 1677325"/>
                <a:gd name="connsiteY84" fmla="*/ 42886 h 562284"/>
                <a:gd name="connsiteX85" fmla="*/ 719534 w 1677325"/>
                <a:gd name="connsiteY85" fmla="*/ 47652 h 562284"/>
                <a:gd name="connsiteX86" fmla="*/ 733830 w 1677325"/>
                <a:gd name="connsiteY86" fmla="*/ 42886 h 562284"/>
                <a:gd name="connsiteX87" fmla="*/ 748125 w 1677325"/>
                <a:gd name="connsiteY87" fmla="*/ 42886 h 562284"/>
                <a:gd name="connsiteX88" fmla="*/ 767186 w 1677325"/>
                <a:gd name="connsiteY88" fmla="*/ 57182 h 562284"/>
                <a:gd name="connsiteX89" fmla="*/ 771951 w 1677325"/>
                <a:gd name="connsiteY89" fmla="*/ 57182 h 562284"/>
                <a:gd name="connsiteX90" fmla="*/ 791011 w 1677325"/>
                <a:gd name="connsiteY90" fmla="*/ 52416 h 562284"/>
                <a:gd name="connsiteX91" fmla="*/ 786246 w 1677325"/>
                <a:gd name="connsiteY91" fmla="*/ 61946 h 562284"/>
                <a:gd name="connsiteX92" fmla="*/ 810072 w 1677325"/>
                <a:gd name="connsiteY92" fmla="*/ 76242 h 562284"/>
                <a:gd name="connsiteX93" fmla="*/ 833897 w 1677325"/>
                <a:gd name="connsiteY93" fmla="*/ 104832 h 562284"/>
                <a:gd name="connsiteX94" fmla="*/ 848193 w 1677325"/>
                <a:gd name="connsiteY94" fmla="*/ 119128 h 562284"/>
                <a:gd name="connsiteX95" fmla="*/ 862488 w 1677325"/>
                <a:gd name="connsiteY95" fmla="*/ 128658 h 562284"/>
                <a:gd name="connsiteX96" fmla="*/ 872018 w 1677325"/>
                <a:gd name="connsiteY96" fmla="*/ 133424 h 562284"/>
                <a:gd name="connsiteX97" fmla="*/ 891079 w 1677325"/>
                <a:gd name="connsiteY97" fmla="*/ 138188 h 562284"/>
                <a:gd name="connsiteX98" fmla="*/ 933965 w 1677325"/>
                <a:gd name="connsiteY98" fmla="*/ 138188 h 562284"/>
                <a:gd name="connsiteX99" fmla="*/ 943495 w 1677325"/>
                <a:gd name="connsiteY99" fmla="*/ 138188 h 562284"/>
                <a:gd name="connsiteX100" fmla="*/ 953026 w 1677325"/>
                <a:gd name="connsiteY100" fmla="*/ 142954 h 562284"/>
                <a:gd name="connsiteX101" fmla="*/ 962556 w 1677325"/>
                <a:gd name="connsiteY101" fmla="*/ 142954 h 562284"/>
                <a:gd name="connsiteX102" fmla="*/ 967321 w 1677325"/>
                <a:gd name="connsiteY102" fmla="*/ 142954 h 562284"/>
                <a:gd name="connsiteX103" fmla="*/ 1053093 w 1677325"/>
                <a:gd name="connsiteY103" fmla="*/ 185840 h 562284"/>
                <a:gd name="connsiteX104" fmla="*/ 1076919 w 1677325"/>
                <a:gd name="connsiteY104" fmla="*/ 209666 h 562284"/>
                <a:gd name="connsiteX105" fmla="*/ 1095979 w 1677325"/>
                <a:gd name="connsiteY105" fmla="*/ 219196 h 562284"/>
                <a:gd name="connsiteX106" fmla="*/ 1129335 w 1677325"/>
                <a:gd name="connsiteY106" fmla="*/ 238256 h 562284"/>
                <a:gd name="connsiteX107" fmla="*/ 1143631 w 1677325"/>
                <a:gd name="connsiteY107" fmla="*/ 243022 h 562284"/>
                <a:gd name="connsiteX108" fmla="*/ 1153161 w 1677325"/>
                <a:gd name="connsiteY108" fmla="*/ 238256 h 562284"/>
                <a:gd name="connsiteX109" fmla="*/ 1148396 w 1677325"/>
                <a:gd name="connsiteY109" fmla="*/ 233492 h 562284"/>
                <a:gd name="connsiteX110" fmla="*/ 1138865 w 1677325"/>
                <a:gd name="connsiteY110" fmla="*/ 223960 h 562284"/>
                <a:gd name="connsiteX111" fmla="*/ 1153161 w 1677325"/>
                <a:gd name="connsiteY111" fmla="*/ 223960 h 562284"/>
                <a:gd name="connsiteX112" fmla="*/ 1176987 w 1677325"/>
                <a:gd name="connsiteY112" fmla="*/ 243022 h 562284"/>
                <a:gd name="connsiteX113" fmla="*/ 1181752 w 1677325"/>
                <a:gd name="connsiteY113" fmla="*/ 252552 h 562284"/>
                <a:gd name="connsiteX114" fmla="*/ 1196047 w 1677325"/>
                <a:gd name="connsiteY114" fmla="*/ 257316 h 562284"/>
                <a:gd name="connsiteX115" fmla="*/ 1205577 w 1677325"/>
                <a:gd name="connsiteY115" fmla="*/ 262082 h 562284"/>
                <a:gd name="connsiteX116" fmla="*/ 1200812 w 1677325"/>
                <a:gd name="connsiteY116" fmla="*/ 271612 h 562284"/>
                <a:gd name="connsiteX117" fmla="*/ 1191282 w 1677325"/>
                <a:gd name="connsiteY117" fmla="*/ 271612 h 562284"/>
                <a:gd name="connsiteX118" fmla="*/ 1172221 w 1677325"/>
                <a:gd name="connsiteY118" fmla="*/ 266848 h 562284"/>
                <a:gd name="connsiteX119" fmla="*/ 1186517 w 1677325"/>
                <a:gd name="connsiteY119" fmla="*/ 281142 h 562284"/>
                <a:gd name="connsiteX120" fmla="*/ 1191282 w 1677325"/>
                <a:gd name="connsiteY120" fmla="*/ 290672 h 562284"/>
                <a:gd name="connsiteX121" fmla="*/ 1196047 w 1677325"/>
                <a:gd name="connsiteY121" fmla="*/ 290672 h 562284"/>
                <a:gd name="connsiteX122" fmla="*/ 1205577 w 1677325"/>
                <a:gd name="connsiteY122" fmla="*/ 281142 h 562284"/>
                <a:gd name="connsiteX123" fmla="*/ 1215108 w 1677325"/>
                <a:gd name="connsiteY123" fmla="*/ 271612 h 562284"/>
                <a:gd name="connsiteX124" fmla="*/ 1238933 w 1677325"/>
                <a:gd name="connsiteY124" fmla="*/ 295438 h 562284"/>
                <a:gd name="connsiteX125" fmla="*/ 1257994 w 1677325"/>
                <a:gd name="connsiteY125" fmla="*/ 304968 h 562284"/>
                <a:gd name="connsiteX126" fmla="*/ 1253229 w 1677325"/>
                <a:gd name="connsiteY126" fmla="*/ 309734 h 562284"/>
                <a:gd name="connsiteX127" fmla="*/ 1248463 w 1677325"/>
                <a:gd name="connsiteY127" fmla="*/ 314498 h 562284"/>
                <a:gd name="connsiteX128" fmla="*/ 1267524 w 1677325"/>
                <a:gd name="connsiteY128" fmla="*/ 309734 h 562284"/>
                <a:gd name="connsiteX129" fmla="*/ 1272289 w 1677325"/>
                <a:gd name="connsiteY129" fmla="*/ 309734 h 562284"/>
                <a:gd name="connsiteX130" fmla="*/ 1277054 w 1677325"/>
                <a:gd name="connsiteY130" fmla="*/ 314498 h 562284"/>
                <a:gd name="connsiteX131" fmla="*/ 1286585 w 1677325"/>
                <a:gd name="connsiteY131" fmla="*/ 324028 h 562284"/>
                <a:gd name="connsiteX132" fmla="*/ 1300880 w 1677325"/>
                <a:gd name="connsiteY132" fmla="*/ 324028 h 562284"/>
                <a:gd name="connsiteX133" fmla="*/ 1315175 w 1677325"/>
                <a:gd name="connsiteY133" fmla="*/ 324028 h 562284"/>
                <a:gd name="connsiteX134" fmla="*/ 1343766 w 1677325"/>
                <a:gd name="connsiteY134" fmla="*/ 333558 h 562284"/>
                <a:gd name="connsiteX135" fmla="*/ 1377122 w 1677325"/>
                <a:gd name="connsiteY135" fmla="*/ 347854 h 562284"/>
                <a:gd name="connsiteX136" fmla="*/ 1400948 w 1677325"/>
                <a:gd name="connsiteY136" fmla="*/ 352620 h 562284"/>
                <a:gd name="connsiteX137" fmla="*/ 1429539 w 1677325"/>
                <a:gd name="connsiteY137" fmla="*/ 352620 h 562284"/>
                <a:gd name="connsiteX138" fmla="*/ 1443833 w 1677325"/>
                <a:gd name="connsiteY138" fmla="*/ 362150 h 562284"/>
                <a:gd name="connsiteX139" fmla="*/ 1448599 w 1677325"/>
                <a:gd name="connsiteY139" fmla="*/ 371680 h 562284"/>
                <a:gd name="connsiteX140" fmla="*/ 1443833 w 1677325"/>
                <a:gd name="connsiteY140" fmla="*/ 381210 h 562284"/>
                <a:gd name="connsiteX141" fmla="*/ 1439069 w 1677325"/>
                <a:gd name="connsiteY141" fmla="*/ 390740 h 562284"/>
                <a:gd name="connsiteX142" fmla="*/ 1448599 w 1677325"/>
                <a:gd name="connsiteY142" fmla="*/ 400270 h 562284"/>
                <a:gd name="connsiteX143" fmla="*/ 1424773 w 1677325"/>
                <a:gd name="connsiteY143" fmla="*/ 405036 h 562284"/>
                <a:gd name="connsiteX144" fmla="*/ 1424773 w 1677325"/>
                <a:gd name="connsiteY144" fmla="*/ 409800 h 562284"/>
                <a:gd name="connsiteX145" fmla="*/ 1424773 w 1677325"/>
                <a:gd name="connsiteY145" fmla="*/ 414566 h 562284"/>
                <a:gd name="connsiteX146" fmla="*/ 1429539 w 1677325"/>
                <a:gd name="connsiteY146" fmla="*/ 419332 h 562284"/>
                <a:gd name="connsiteX147" fmla="*/ 1443833 w 1677325"/>
                <a:gd name="connsiteY147" fmla="*/ 414566 h 562284"/>
                <a:gd name="connsiteX148" fmla="*/ 1458129 w 1677325"/>
                <a:gd name="connsiteY148" fmla="*/ 419332 h 562284"/>
                <a:gd name="connsiteX149" fmla="*/ 1491485 w 1677325"/>
                <a:gd name="connsiteY149" fmla="*/ 419332 h 562284"/>
                <a:gd name="connsiteX150" fmla="*/ 1510545 w 1677325"/>
                <a:gd name="connsiteY150" fmla="*/ 419332 h 562284"/>
                <a:gd name="connsiteX151" fmla="*/ 1548667 w 1677325"/>
                <a:gd name="connsiteY151" fmla="*/ 424096 h 562284"/>
                <a:gd name="connsiteX152" fmla="*/ 1558197 w 1677325"/>
                <a:gd name="connsiteY152" fmla="*/ 428862 h 562284"/>
                <a:gd name="connsiteX153" fmla="*/ 1582023 w 1677325"/>
                <a:gd name="connsiteY153" fmla="*/ 443156 h 562284"/>
                <a:gd name="connsiteX154" fmla="*/ 1596317 w 1677325"/>
                <a:gd name="connsiteY154" fmla="*/ 452688 h 562284"/>
                <a:gd name="connsiteX155" fmla="*/ 1620143 w 1677325"/>
                <a:gd name="connsiteY155" fmla="*/ 471748 h 562284"/>
                <a:gd name="connsiteX156" fmla="*/ 1639205 w 1677325"/>
                <a:gd name="connsiteY156" fmla="*/ 481278 h 562284"/>
                <a:gd name="connsiteX157" fmla="*/ 1653499 w 1677325"/>
                <a:gd name="connsiteY157" fmla="*/ 486042 h 562284"/>
                <a:gd name="connsiteX158" fmla="*/ 1663029 w 1677325"/>
                <a:gd name="connsiteY158" fmla="*/ 486042 h 562284"/>
                <a:gd name="connsiteX159" fmla="*/ 1667795 w 1677325"/>
                <a:gd name="connsiteY159" fmla="*/ 486042 h 562284"/>
                <a:gd name="connsiteX160" fmla="*/ 1672559 w 1677325"/>
                <a:gd name="connsiteY160" fmla="*/ 490808 h 562284"/>
                <a:gd name="connsiteX161" fmla="*/ 1677325 w 1677325"/>
                <a:gd name="connsiteY161" fmla="*/ 500338 h 562284"/>
                <a:gd name="connsiteX162" fmla="*/ 1672559 w 1677325"/>
                <a:gd name="connsiteY162" fmla="*/ 509868 h 562284"/>
                <a:gd name="connsiteX163" fmla="*/ 1663029 w 1677325"/>
                <a:gd name="connsiteY163" fmla="*/ 519398 h 562284"/>
                <a:gd name="connsiteX164" fmla="*/ 1658265 w 1677325"/>
                <a:gd name="connsiteY164" fmla="*/ 524164 h 562284"/>
                <a:gd name="connsiteX165" fmla="*/ 1634439 w 1677325"/>
                <a:gd name="connsiteY165" fmla="*/ 524164 h 562284"/>
                <a:gd name="connsiteX166" fmla="*/ 1601083 w 1677325"/>
                <a:gd name="connsiteY166" fmla="*/ 528930 h 562284"/>
                <a:gd name="connsiteX167" fmla="*/ 1567727 w 1677325"/>
                <a:gd name="connsiteY167" fmla="*/ 538460 h 562284"/>
                <a:gd name="connsiteX168" fmla="*/ 1548667 w 1677325"/>
                <a:gd name="connsiteY168" fmla="*/ 543224 h 562284"/>
                <a:gd name="connsiteX169" fmla="*/ 1543901 w 1677325"/>
                <a:gd name="connsiteY169" fmla="*/ 547990 h 562284"/>
                <a:gd name="connsiteX170" fmla="*/ 1524841 w 1677325"/>
                <a:gd name="connsiteY170" fmla="*/ 552754 h 562284"/>
                <a:gd name="connsiteX171" fmla="*/ 1524841 w 1677325"/>
                <a:gd name="connsiteY171" fmla="*/ 547990 h 562284"/>
                <a:gd name="connsiteX172" fmla="*/ 1520075 w 1677325"/>
                <a:gd name="connsiteY172" fmla="*/ 538460 h 562284"/>
                <a:gd name="connsiteX173" fmla="*/ 1515311 w 1677325"/>
                <a:gd name="connsiteY173" fmla="*/ 543224 h 562284"/>
                <a:gd name="connsiteX174" fmla="*/ 1510545 w 1677325"/>
                <a:gd name="connsiteY174" fmla="*/ 552754 h 562284"/>
                <a:gd name="connsiteX175" fmla="*/ 1496251 w 1677325"/>
                <a:gd name="connsiteY175" fmla="*/ 557520 h 562284"/>
                <a:gd name="connsiteX176" fmla="*/ 1458129 w 1677325"/>
                <a:gd name="connsiteY176" fmla="*/ 557520 h 562284"/>
                <a:gd name="connsiteX177" fmla="*/ 1439069 w 1677325"/>
                <a:gd name="connsiteY177" fmla="*/ 547990 h 562284"/>
                <a:gd name="connsiteX178" fmla="*/ 1424773 w 1677325"/>
                <a:gd name="connsiteY178" fmla="*/ 543224 h 562284"/>
                <a:gd name="connsiteX179" fmla="*/ 1362827 w 1677325"/>
                <a:gd name="connsiteY179" fmla="*/ 538460 h 562284"/>
                <a:gd name="connsiteX180" fmla="*/ 1348531 w 1677325"/>
                <a:gd name="connsiteY180" fmla="*/ 538460 h 562284"/>
                <a:gd name="connsiteX181" fmla="*/ 1305645 w 1677325"/>
                <a:gd name="connsiteY181" fmla="*/ 543224 h 562284"/>
                <a:gd name="connsiteX182" fmla="*/ 1262759 w 1677325"/>
                <a:gd name="connsiteY182" fmla="*/ 547990 h 562284"/>
                <a:gd name="connsiteX183" fmla="*/ 1248463 w 1677325"/>
                <a:gd name="connsiteY183" fmla="*/ 552754 h 562284"/>
                <a:gd name="connsiteX184" fmla="*/ 1229403 w 1677325"/>
                <a:gd name="connsiteY184" fmla="*/ 557520 h 562284"/>
                <a:gd name="connsiteX185" fmla="*/ 1196047 w 1677325"/>
                <a:gd name="connsiteY185" fmla="*/ 557520 h 562284"/>
                <a:gd name="connsiteX186" fmla="*/ 1157926 w 1677325"/>
                <a:gd name="connsiteY186" fmla="*/ 562284 h 562284"/>
                <a:gd name="connsiteX187" fmla="*/ 1119805 w 1677325"/>
                <a:gd name="connsiteY187" fmla="*/ 562284 h 562284"/>
                <a:gd name="connsiteX188" fmla="*/ 1143631 w 1677325"/>
                <a:gd name="connsiteY188" fmla="*/ 524164 h 562284"/>
                <a:gd name="connsiteX189" fmla="*/ 1196047 w 1677325"/>
                <a:gd name="connsiteY189" fmla="*/ 486042 h 562284"/>
                <a:gd name="connsiteX190" fmla="*/ 1205577 w 1677325"/>
                <a:gd name="connsiteY190" fmla="*/ 481278 h 562284"/>
                <a:gd name="connsiteX191" fmla="*/ 1215108 w 1677325"/>
                <a:gd name="connsiteY191" fmla="*/ 471748 h 562284"/>
                <a:gd name="connsiteX192" fmla="*/ 1215108 w 1677325"/>
                <a:gd name="connsiteY192" fmla="*/ 462218 h 562284"/>
                <a:gd name="connsiteX193" fmla="*/ 1215108 w 1677325"/>
                <a:gd name="connsiteY193" fmla="*/ 457452 h 562284"/>
                <a:gd name="connsiteX194" fmla="*/ 1200812 w 1677325"/>
                <a:gd name="connsiteY194" fmla="*/ 443156 h 562284"/>
                <a:gd name="connsiteX195" fmla="*/ 1196047 w 1677325"/>
                <a:gd name="connsiteY195" fmla="*/ 438392 h 562284"/>
                <a:gd name="connsiteX196" fmla="*/ 1196047 w 1677325"/>
                <a:gd name="connsiteY196" fmla="*/ 428862 h 562284"/>
                <a:gd name="connsiteX197" fmla="*/ 1176987 w 1677325"/>
                <a:gd name="connsiteY197" fmla="*/ 424096 h 562284"/>
                <a:gd name="connsiteX198" fmla="*/ 1157926 w 1677325"/>
                <a:gd name="connsiteY198" fmla="*/ 424096 h 562284"/>
                <a:gd name="connsiteX199" fmla="*/ 1138865 w 1677325"/>
                <a:gd name="connsiteY199" fmla="*/ 424096 h 562284"/>
                <a:gd name="connsiteX200" fmla="*/ 1095979 w 1677325"/>
                <a:gd name="connsiteY200" fmla="*/ 419332 h 562284"/>
                <a:gd name="connsiteX201" fmla="*/ 1072154 w 1677325"/>
                <a:gd name="connsiteY201" fmla="*/ 419332 h 562284"/>
                <a:gd name="connsiteX202" fmla="*/ 1053093 w 1677325"/>
                <a:gd name="connsiteY202" fmla="*/ 409800 h 562284"/>
                <a:gd name="connsiteX203" fmla="*/ 1024503 w 1677325"/>
                <a:gd name="connsiteY203" fmla="*/ 385976 h 562284"/>
                <a:gd name="connsiteX204" fmla="*/ 1010207 w 1677325"/>
                <a:gd name="connsiteY204" fmla="*/ 376446 h 562284"/>
                <a:gd name="connsiteX205" fmla="*/ 1000677 w 1677325"/>
                <a:gd name="connsiteY205" fmla="*/ 371680 h 562284"/>
                <a:gd name="connsiteX206" fmla="*/ 995912 w 1677325"/>
                <a:gd name="connsiteY206" fmla="*/ 362150 h 562284"/>
                <a:gd name="connsiteX207" fmla="*/ 991147 w 1677325"/>
                <a:gd name="connsiteY207" fmla="*/ 324028 h 562284"/>
                <a:gd name="connsiteX208" fmla="*/ 981616 w 1677325"/>
                <a:gd name="connsiteY208" fmla="*/ 300204 h 562284"/>
                <a:gd name="connsiteX209" fmla="*/ 972086 w 1677325"/>
                <a:gd name="connsiteY209" fmla="*/ 285908 h 562284"/>
                <a:gd name="connsiteX210" fmla="*/ 962556 w 1677325"/>
                <a:gd name="connsiteY210" fmla="*/ 271612 h 562284"/>
                <a:gd name="connsiteX211" fmla="*/ 943495 w 1677325"/>
                <a:gd name="connsiteY211" fmla="*/ 266848 h 562284"/>
                <a:gd name="connsiteX212" fmla="*/ 886314 w 1677325"/>
                <a:gd name="connsiteY212" fmla="*/ 276378 h 562284"/>
                <a:gd name="connsiteX213" fmla="*/ 876783 w 1677325"/>
                <a:gd name="connsiteY213" fmla="*/ 276378 h 562284"/>
                <a:gd name="connsiteX214" fmla="*/ 862488 w 1677325"/>
                <a:gd name="connsiteY214" fmla="*/ 271612 h 562284"/>
                <a:gd name="connsiteX215" fmla="*/ 776716 w 1677325"/>
                <a:gd name="connsiteY215" fmla="*/ 247786 h 562284"/>
                <a:gd name="connsiteX216" fmla="*/ 738595 w 1677325"/>
                <a:gd name="connsiteY216" fmla="*/ 233492 h 562284"/>
                <a:gd name="connsiteX217" fmla="*/ 724299 w 1677325"/>
                <a:gd name="connsiteY217" fmla="*/ 223960 h 562284"/>
                <a:gd name="connsiteX218" fmla="*/ 714769 w 1677325"/>
                <a:gd name="connsiteY218" fmla="*/ 214430 h 562284"/>
                <a:gd name="connsiteX219" fmla="*/ 700474 w 1677325"/>
                <a:gd name="connsiteY219" fmla="*/ 200136 h 562284"/>
                <a:gd name="connsiteX220" fmla="*/ 686178 w 1677325"/>
                <a:gd name="connsiteY220" fmla="*/ 181074 h 562284"/>
                <a:gd name="connsiteX221" fmla="*/ 686178 w 1677325"/>
                <a:gd name="connsiteY221" fmla="*/ 190606 h 562284"/>
                <a:gd name="connsiteX222" fmla="*/ 681413 w 1677325"/>
                <a:gd name="connsiteY222" fmla="*/ 190606 h 562284"/>
                <a:gd name="connsiteX223" fmla="*/ 609936 w 1677325"/>
                <a:gd name="connsiteY223" fmla="*/ 195370 h 562284"/>
                <a:gd name="connsiteX224" fmla="*/ 600406 w 1677325"/>
                <a:gd name="connsiteY224" fmla="*/ 190606 h 562284"/>
                <a:gd name="connsiteX225" fmla="*/ 590876 w 1677325"/>
                <a:gd name="connsiteY225" fmla="*/ 185840 h 562284"/>
                <a:gd name="connsiteX226" fmla="*/ 586111 w 1677325"/>
                <a:gd name="connsiteY226" fmla="*/ 181074 h 562284"/>
                <a:gd name="connsiteX227" fmla="*/ 581346 w 1677325"/>
                <a:gd name="connsiteY227" fmla="*/ 166780 h 562284"/>
                <a:gd name="connsiteX228" fmla="*/ 576581 w 1677325"/>
                <a:gd name="connsiteY228" fmla="*/ 157250 h 562284"/>
                <a:gd name="connsiteX229" fmla="*/ 571815 w 1677325"/>
                <a:gd name="connsiteY229" fmla="*/ 171544 h 562284"/>
                <a:gd name="connsiteX230" fmla="*/ 571815 w 1677325"/>
                <a:gd name="connsiteY230" fmla="*/ 181074 h 562284"/>
                <a:gd name="connsiteX231" fmla="*/ 562285 w 1677325"/>
                <a:gd name="connsiteY231" fmla="*/ 185840 h 562284"/>
                <a:gd name="connsiteX232" fmla="*/ 547990 w 1677325"/>
                <a:gd name="connsiteY232" fmla="*/ 185840 h 562284"/>
                <a:gd name="connsiteX233" fmla="*/ 538459 w 1677325"/>
                <a:gd name="connsiteY233" fmla="*/ 171544 h 562284"/>
                <a:gd name="connsiteX234" fmla="*/ 476513 w 1677325"/>
                <a:gd name="connsiteY234" fmla="*/ 171544 h 562284"/>
                <a:gd name="connsiteX235" fmla="*/ 471748 w 1677325"/>
                <a:gd name="connsiteY235" fmla="*/ 166780 h 562284"/>
                <a:gd name="connsiteX236" fmla="*/ 452687 w 1677325"/>
                <a:gd name="connsiteY236" fmla="*/ 152484 h 562284"/>
                <a:gd name="connsiteX237" fmla="*/ 438392 w 1677325"/>
                <a:gd name="connsiteY237" fmla="*/ 138188 h 562284"/>
                <a:gd name="connsiteX238" fmla="*/ 452687 w 1677325"/>
                <a:gd name="connsiteY238" fmla="*/ 133424 h 562284"/>
                <a:gd name="connsiteX239" fmla="*/ 486043 w 1677325"/>
                <a:gd name="connsiteY239" fmla="*/ 123894 h 562284"/>
                <a:gd name="connsiteX240" fmla="*/ 495573 w 1677325"/>
                <a:gd name="connsiteY240" fmla="*/ 119128 h 562284"/>
                <a:gd name="connsiteX241" fmla="*/ 500338 w 1677325"/>
                <a:gd name="connsiteY241" fmla="*/ 114364 h 562284"/>
                <a:gd name="connsiteX242" fmla="*/ 495573 w 1677325"/>
                <a:gd name="connsiteY242" fmla="*/ 104832 h 562284"/>
                <a:gd name="connsiteX243" fmla="*/ 486043 w 1677325"/>
                <a:gd name="connsiteY243" fmla="*/ 95302 h 562284"/>
                <a:gd name="connsiteX244" fmla="*/ 481278 w 1677325"/>
                <a:gd name="connsiteY244" fmla="*/ 90538 h 562284"/>
                <a:gd name="connsiteX245" fmla="*/ 476513 w 1677325"/>
                <a:gd name="connsiteY245" fmla="*/ 90538 h 562284"/>
                <a:gd name="connsiteX246" fmla="*/ 462217 w 1677325"/>
                <a:gd name="connsiteY246" fmla="*/ 90538 h 562284"/>
                <a:gd name="connsiteX247" fmla="*/ 333559 w 1677325"/>
                <a:gd name="connsiteY247" fmla="*/ 85772 h 562284"/>
                <a:gd name="connsiteX248" fmla="*/ 324029 w 1677325"/>
                <a:gd name="connsiteY248" fmla="*/ 90538 h 562284"/>
                <a:gd name="connsiteX249" fmla="*/ 314498 w 1677325"/>
                <a:gd name="connsiteY249" fmla="*/ 104832 h 562284"/>
                <a:gd name="connsiteX250" fmla="*/ 290673 w 1677325"/>
                <a:gd name="connsiteY250" fmla="*/ 119128 h 562284"/>
                <a:gd name="connsiteX251" fmla="*/ 276377 w 1677325"/>
                <a:gd name="connsiteY251" fmla="*/ 133424 h 562284"/>
                <a:gd name="connsiteX252" fmla="*/ 271612 w 1677325"/>
                <a:gd name="connsiteY252" fmla="*/ 138188 h 562284"/>
                <a:gd name="connsiteX253" fmla="*/ 262082 w 1677325"/>
                <a:gd name="connsiteY253" fmla="*/ 142954 h 562284"/>
                <a:gd name="connsiteX254" fmla="*/ 247787 w 1677325"/>
                <a:gd name="connsiteY254" fmla="*/ 152484 h 562284"/>
                <a:gd name="connsiteX255" fmla="*/ 233491 w 1677325"/>
                <a:gd name="connsiteY255" fmla="*/ 166780 h 562284"/>
                <a:gd name="connsiteX256" fmla="*/ 219196 w 1677325"/>
                <a:gd name="connsiteY256" fmla="*/ 171544 h 562284"/>
                <a:gd name="connsiteX257" fmla="*/ 209666 w 1677325"/>
                <a:gd name="connsiteY257" fmla="*/ 166780 h 562284"/>
                <a:gd name="connsiteX258" fmla="*/ 200135 w 1677325"/>
                <a:gd name="connsiteY258" fmla="*/ 166780 h 562284"/>
                <a:gd name="connsiteX259" fmla="*/ 190605 w 1677325"/>
                <a:gd name="connsiteY259" fmla="*/ 171544 h 562284"/>
                <a:gd name="connsiteX260" fmla="*/ 185840 w 1677325"/>
                <a:gd name="connsiteY260" fmla="*/ 171544 h 562284"/>
                <a:gd name="connsiteX261" fmla="*/ 152484 w 1677325"/>
                <a:gd name="connsiteY261" fmla="*/ 176310 h 562284"/>
                <a:gd name="connsiteX262" fmla="*/ 147719 w 1677325"/>
                <a:gd name="connsiteY262" fmla="*/ 176310 h 562284"/>
                <a:gd name="connsiteX263" fmla="*/ 142954 w 1677325"/>
                <a:gd name="connsiteY263" fmla="*/ 190606 h 562284"/>
                <a:gd name="connsiteX264" fmla="*/ 138189 w 1677325"/>
                <a:gd name="connsiteY264" fmla="*/ 204900 h 562284"/>
                <a:gd name="connsiteX265" fmla="*/ 133424 w 1677325"/>
                <a:gd name="connsiteY265" fmla="*/ 214430 h 562284"/>
                <a:gd name="connsiteX266" fmla="*/ 114363 w 1677325"/>
                <a:gd name="connsiteY266" fmla="*/ 214430 h 562284"/>
                <a:gd name="connsiteX267" fmla="*/ 100068 w 1677325"/>
                <a:gd name="connsiteY267" fmla="*/ 219196 h 562284"/>
                <a:gd name="connsiteX268" fmla="*/ 66712 w 1677325"/>
                <a:gd name="connsiteY268" fmla="*/ 238256 h 562284"/>
                <a:gd name="connsiteX269" fmla="*/ 57182 w 1677325"/>
                <a:gd name="connsiteY269" fmla="*/ 243022 h 562284"/>
                <a:gd name="connsiteX270" fmla="*/ 61947 w 1677325"/>
                <a:gd name="connsiteY270" fmla="*/ 228726 h 562284"/>
                <a:gd name="connsiteX271" fmla="*/ 57182 w 1677325"/>
                <a:gd name="connsiteY271" fmla="*/ 214430 h 562284"/>
                <a:gd name="connsiteX272" fmla="*/ 47651 w 1677325"/>
                <a:gd name="connsiteY272" fmla="*/ 214430 h 562284"/>
                <a:gd name="connsiteX273" fmla="*/ 38121 w 1677325"/>
                <a:gd name="connsiteY273" fmla="*/ 219196 h 562284"/>
                <a:gd name="connsiteX274" fmla="*/ 28591 w 1677325"/>
                <a:gd name="connsiteY274" fmla="*/ 219196 h 562284"/>
                <a:gd name="connsiteX275" fmla="*/ 14295 w 1677325"/>
                <a:gd name="connsiteY275" fmla="*/ 228726 h 562284"/>
                <a:gd name="connsiteX276" fmla="*/ 4765 w 1677325"/>
                <a:gd name="connsiteY276" fmla="*/ 233492 h 562284"/>
                <a:gd name="connsiteX277" fmla="*/ 0 w 1677325"/>
                <a:gd name="connsiteY277" fmla="*/ 228726 h 562284"/>
                <a:gd name="connsiteX278" fmla="*/ 0 w 1677325"/>
                <a:gd name="connsiteY278" fmla="*/ 219196 h 562284"/>
                <a:gd name="connsiteX279" fmla="*/ 52416 w 1677325"/>
                <a:gd name="connsiteY279" fmla="*/ 200136 h 562284"/>
                <a:gd name="connsiteX280" fmla="*/ 61947 w 1677325"/>
                <a:gd name="connsiteY280" fmla="*/ 195370 h 562284"/>
                <a:gd name="connsiteX281" fmla="*/ 66712 w 1677325"/>
                <a:gd name="connsiteY281" fmla="*/ 200136 h 562284"/>
                <a:gd name="connsiteX282" fmla="*/ 76242 w 1677325"/>
                <a:gd name="connsiteY282" fmla="*/ 195370 h 562284"/>
                <a:gd name="connsiteX283" fmla="*/ 85772 w 1677325"/>
                <a:gd name="connsiteY283" fmla="*/ 190606 h 562284"/>
                <a:gd name="connsiteX284" fmla="*/ 76242 w 1677325"/>
                <a:gd name="connsiteY284" fmla="*/ 162014 h 562284"/>
                <a:gd name="connsiteX285" fmla="*/ 81007 w 1677325"/>
                <a:gd name="connsiteY285" fmla="*/ 138188 h 562284"/>
                <a:gd name="connsiteX286" fmla="*/ 90537 w 1677325"/>
                <a:gd name="connsiteY286" fmla="*/ 123894 h 562284"/>
                <a:gd name="connsiteX287" fmla="*/ 119128 w 1677325"/>
                <a:gd name="connsiteY287" fmla="*/ 100068 h 562284"/>
                <a:gd name="connsiteX288" fmla="*/ 128658 w 1677325"/>
                <a:gd name="connsiteY288" fmla="*/ 90538 h 562284"/>
                <a:gd name="connsiteX289" fmla="*/ 252552 w 1677325"/>
                <a:gd name="connsiteY289" fmla="*/ 38122 h 562284"/>
                <a:gd name="connsiteX290" fmla="*/ 266847 w 1677325"/>
                <a:gd name="connsiteY290" fmla="*/ 38122 h 562284"/>
                <a:gd name="connsiteX291" fmla="*/ 343089 w 1677325"/>
                <a:gd name="connsiteY291" fmla="*/ 28590 h 562284"/>
                <a:gd name="connsiteX292" fmla="*/ 357385 w 1677325"/>
                <a:gd name="connsiteY292" fmla="*/ 23826 h 562284"/>
                <a:gd name="connsiteX293" fmla="*/ 395506 w 1677325"/>
                <a:gd name="connsiteY293" fmla="*/ 9530 h 562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</a:cxnLst>
              <a:rect l="l" t="t" r="r" b="b"/>
              <a:pathLst>
                <a:path w="1677325" h="562284">
                  <a:moveTo>
                    <a:pt x="295438" y="214432"/>
                  </a:moveTo>
                  <a:lnTo>
                    <a:pt x="328794" y="219196"/>
                  </a:lnTo>
                  <a:lnTo>
                    <a:pt x="338324" y="223962"/>
                  </a:lnTo>
                  <a:lnTo>
                    <a:pt x="343089" y="233492"/>
                  </a:lnTo>
                  <a:lnTo>
                    <a:pt x="352620" y="243022"/>
                  </a:lnTo>
                  <a:lnTo>
                    <a:pt x="362150" y="266848"/>
                  </a:lnTo>
                  <a:lnTo>
                    <a:pt x="362150" y="276378"/>
                  </a:lnTo>
                  <a:lnTo>
                    <a:pt x="347855" y="285908"/>
                  </a:lnTo>
                  <a:lnTo>
                    <a:pt x="314499" y="295438"/>
                  </a:lnTo>
                  <a:lnTo>
                    <a:pt x="300203" y="295438"/>
                  </a:lnTo>
                  <a:lnTo>
                    <a:pt x="281143" y="290672"/>
                  </a:lnTo>
                  <a:lnTo>
                    <a:pt x="271612" y="281142"/>
                  </a:lnTo>
                  <a:lnTo>
                    <a:pt x="262082" y="271612"/>
                  </a:lnTo>
                  <a:lnTo>
                    <a:pt x="266847" y="266848"/>
                  </a:lnTo>
                  <a:lnTo>
                    <a:pt x="276377" y="276378"/>
                  </a:lnTo>
                  <a:lnTo>
                    <a:pt x="285908" y="281142"/>
                  </a:lnTo>
                  <a:lnTo>
                    <a:pt x="290673" y="276378"/>
                  </a:lnTo>
                  <a:lnTo>
                    <a:pt x="295438" y="271612"/>
                  </a:lnTo>
                  <a:lnTo>
                    <a:pt x="281143" y="238256"/>
                  </a:lnTo>
                  <a:lnTo>
                    <a:pt x="281143" y="233492"/>
                  </a:lnTo>
                  <a:close/>
                  <a:moveTo>
                    <a:pt x="1086449" y="190604"/>
                  </a:moveTo>
                  <a:lnTo>
                    <a:pt x="1095979" y="190604"/>
                  </a:lnTo>
                  <a:lnTo>
                    <a:pt x="1110275" y="190604"/>
                  </a:lnTo>
                  <a:lnTo>
                    <a:pt x="1129335" y="195370"/>
                  </a:lnTo>
                  <a:lnTo>
                    <a:pt x="1129335" y="204900"/>
                  </a:lnTo>
                  <a:lnTo>
                    <a:pt x="1124570" y="209666"/>
                  </a:lnTo>
                  <a:lnTo>
                    <a:pt x="1119805" y="214432"/>
                  </a:lnTo>
                  <a:lnTo>
                    <a:pt x="1110275" y="209666"/>
                  </a:lnTo>
                  <a:lnTo>
                    <a:pt x="1105509" y="209666"/>
                  </a:lnTo>
                  <a:lnTo>
                    <a:pt x="1100744" y="204900"/>
                  </a:lnTo>
                  <a:lnTo>
                    <a:pt x="1091214" y="195370"/>
                  </a:lnTo>
                  <a:close/>
                  <a:moveTo>
                    <a:pt x="1072154" y="152484"/>
                  </a:moveTo>
                  <a:lnTo>
                    <a:pt x="1076919" y="152484"/>
                  </a:lnTo>
                  <a:lnTo>
                    <a:pt x="1076919" y="162014"/>
                  </a:lnTo>
                  <a:lnTo>
                    <a:pt x="1091215" y="166780"/>
                  </a:lnTo>
                  <a:lnTo>
                    <a:pt x="1091215" y="171544"/>
                  </a:lnTo>
                  <a:lnTo>
                    <a:pt x="1095980" y="176310"/>
                  </a:lnTo>
                  <a:lnTo>
                    <a:pt x="1091215" y="181076"/>
                  </a:lnTo>
                  <a:lnTo>
                    <a:pt x="1086450" y="181076"/>
                  </a:lnTo>
                  <a:lnTo>
                    <a:pt x="1072154" y="176310"/>
                  </a:lnTo>
                  <a:lnTo>
                    <a:pt x="1067389" y="171544"/>
                  </a:lnTo>
                  <a:lnTo>
                    <a:pt x="1072154" y="162014"/>
                  </a:lnTo>
                  <a:close/>
                  <a:moveTo>
                    <a:pt x="1043563" y="128658"/>
                  </a:moveTo>
                  <a:lnTo>
                    <a:pt x="1048329" y="128658"/>
                  </a:lnTo>
                  <a:lnTo>
                    <a:pt x="1057859" y="138188"/>
                  </a:lnTo>
                  <a:lnTo>
                    <a:pt x="1062624" y="152484"/>
                  </a:lnTo>
                  <a:lnTo>
                    <a:pt x="1067389" y="157248"/>
                  </a:lnTo>
                  <a:lnTo>
                    <a:pt x="1057859" y="152484"/>
                  </a:lnTo>
                  <a:lnTo>
                    <a:pt x="1043563" y="147718"/>
                  </a:lnTo>
                  <a:lnTo>
                    <a:pt x="1038798" y="138188"/>
                  </a:lnTo>
                  <a:lnTo>
                    <a:pt x="1029268" y="133424"/>
                  </a:lnTo>
                  <a:close/>
                  <a:moveTo>
                    <a:pt x="976851" y="109598"/>
                  </a:moveTo>
                  <a:lnTo>
                    <a:pt x="995912" y="114364"/>
                  </a:lnTo>
                  <a:lnTo>
                    <a:pt x="1005442" y="109598"/>
                  </a:lnTo>
                  <a:lnTo>
                    <a:pt x="1010207" y="109598"/>
                  </a:lnTo>
                  <a:lnTo>
                    <a:pt x="1019738" y="114364"/>
                  </a:lnTo>
                  <a:lnTo>
                    <a:pt x="1029268" y="128660"/>
                  </a:lnTo>
                  <a:lnTo>
                    <a:pt x="1019738" y="128660"/>
                  </a:lnTo>
                  <a:lnTo>
                    <a:pt x="1014973" y="128660"/>
                  </a:lnTo>
                  <a:lnTo>
                    <a:pt x="1005442" y="128660"/>
                  </a:lnTo>
                  <a:lnTo>
                    <a:pt x="986382" y="123894"/>
                  </a:lnTo>
                  <a:lnTo>
                    <a:pt x="976851" y="119128"/>
                  </a:lnTo>
                  <a:lnTo>
                    <a:pt x="967321" y="119128"/>
                  </a:lnTo>
                  <a:lnTo>
                    <a:pt x="967321" y="114364"/>
                  </a:lnTo>
                  <a:close/>
                  <a:moveTo>
                    <a:pt x="819602" y="66712"/>
                  </a:moveTo>
                  <a:lnTo>
                    <a:pt x="829132" y="66712"/>
                  </a:lnTo>
                  <a:lnTo>
                    <a:pt x="857723" y="90538"/>
                  </a:lnTo>
                  <a:lnTo>
                    <a:pt x="862488" y="90538"/>
                  </a:lnTo>
                  <a:lnTo>
                    <a:pt x="862488" y="95304"/>
                  </a:lnTo>
                  <a:lnTo>
                    <a:pt x="833897" y="81008"/>
                  </a:lnTo>
                  <a:lnTo>
                    <a:pt x="824367" y="71478"/>
                  </a:lnTo>
                  <a:close/>
                  <a:moveTo>
                    <a:pt x="433627" y="0"/>
                  </a:moveTo>
                  <a:lnTo>
                    <a:pt x="476513" y="9530"/>
                  </a:lnTo>
                  <a:lnTo>
                    <a:pt x="514634" y="14296"/>
                  </a:lnTo>
                  <a:lnTo>
                    <a:pt x="547990" y="14296"/>
                  </a:lnTo>
                  <a:lnTo>
                    <a:pt x="562285" y="9530"/>
                  </a:lnTo>
                  <a:lnTo>
                    <a:pt x="562285" y="14296"/>
                  </a:lnTo>
                  <a:lnTo>
                    <a:pt x="576581" y="23826"/>
                  </a:lnTo>
                  <a:lnTo>
                    <a:pt x="581346" y="23826"/>
                  </a:lnTo>
                  <a:lnTo>
                    <a:pt x="605171" y="19060"/>
                  </a:lnTo>
                  <a:lnTo>
                    <a:pt x="657588" y="19060"/>
                  </a:lnTo>
                  <a:lnTo>
                    <a:pt x="667118" y="19060"/>
                  </a:lnTo>
                  <a:lnTo>
                    <a:pt x="676648" y="33356"/>
                  </a:lnTo>
                  <a:lnTo>
                    <a:pt x="690944" y="38122"/>
                  </a:lnTo>
                  <a:lnTo>
                    <a:pt x="705239" y="42886"/>
                  </a:lnTo>
                  <a:lnTo>
                    <a:pt x="719534" y="47652"/>
                  </a:lnTo>
                  <a:lnTo>
                    <a:pt x="733830" y="42886"/>
                  </a:lnTo>
                  <a:lnTo>
                    <a:pt x="748125" y="42886"/>
                  </a:lnTo>
                  <a:lnTo>
                    <a:pt x="767186" y="57182"/>
                  </a:lnTo>
                  <a:lnTo>
                    <a:pt x="771951" y="57182"/>
                  </a:lnTo>
                  <a:lnTo>
                    <a:pt x="791011" y="52416"/>
                  </a:lnTo>
                  <a:lnTo>
                    <a:pt x="786246" y="61946"/>
                  </a:lnTo>
                  <a:lnTo>
                    <a:pt x="810072" y="76242"/>
                  </a:lnTo>
                  <a:lnTo>
                    <a:pt x="833897" y="104832"/>
                  </a:lnTo>
                  <a:lnTo>
                    <a:pt x="848193" y="119128"/>
                  </a:lnTo>
                  <a:lnTo>
                    <a:pt x="862488" y="128658"/>
                  </a:lnTo>
                  <a:lnTo>
                    <a:pt x="872018" y="133424"/>
                  </a:lnTo>
                  <a:lnTo>
                    <a:pt x="891079" y="138188"/>
                  </a:lnTo>
                  <a:lnTo>
                    <a:pt x="933965" y="138188"/>
                  </a:lnTo>
                  <a:lnTo>
                    <a:pt x="943495" y="138188"/>
                  </a:lnTo>
                  <a:lnTo>
                    <a:pt x="953026" y="142954"/>
                  </a:lnTo>
                  <a:lnTo>
                    <a:pt x="962556" y="142954"/>
                  </a:lnTo>
                  <a:lnTo>
                    <a:pt x="967321" y="142954"/>
                  </a:lnTo>
                  <a:lnTo>
                    <a:pt x="1053093" y="185840"/>
                  </a:lnTo>
                  <a:lnTo>
                    <a:pt x="1076919" y="209666"/>
                  </a:lnTo>
                  <a:lnTo>
                    <a:pt x="1095979" y="219196"/>
                  </a:lnTo>
                  <a:lnTo>
                    <a:pt x="1129335" y="238256"/>
                  </a:lnTo>
                  <a:lnTo>
                    <a:pt x="1143631" y="243022"/>
                  </a:lnTo>
                  <a:lnTo>
                    <a:pt x="1153161" y="238256"/>
                  </a:lnTo>
                  <a:lnTo>
                    <a:pt x="1148396" y="233492"/>
                  </a:lnTo>
                  <a:lnTo>
                    <a:pt x="1138865" y="223960"/>
                  </a:lnTo>
                  <a:lnTo>
                    <a:pt x="1153161" y="223960"/>
                  </a:lnTo>
                  <a:lnTo>
                    <a:pt x="1176987" y="243022"/>
                  </a:lnTo>
                  <a:lnTo>
                    <a:pt x="1181752" y="252552"/>
                  </a:lnTo>
                  <a:lnTo>
                    <a:pt x="1196047" y="257316"/>
                  </a:lnTo>
                  <a:lnTo>
                    <a:pt x="1205577" y="262082"/>
                  </a:lnTo>
                  <a:lnTo>
                    <a:pt x="1200812" y="271612"/>
                  </a:lnTo>
                  <a:lnTo>
                    <a:pt x="1191282" y="271612"/>
                  </a:lnTo>
                  <a:lnTo>
                    <a:pt x="1172221" y="266848"/>
                  </a:lnTo>
                  <a:lnTo>
                    <a:pt x="1186517" y="281142"/>
                  </a:lnTo>
                  <a:lnTo>
                    <a:pt x="1191282" y="290672"/>
                  </a:lnTo>
                  <a:lnTo>
                    <a:pt x="1196047" y="290672"/>
                  </a:lnTo>
                  <a:lnTo>
                    <a:pt x="1205577" y="281142"/>
                  </a:lnTo>
                  <a:lnTo>
                    <a:pt x="1215108" y="271612"/>
                  </a:lnTo>
                  <a:lnTo>
                    <a:pt x="1238933" y="295438"/>
                  </a:lnTo>
                  <a:lnTo>
                    <a:pt x="1257994" y="304968"/>
                  </a:lnTo>
                  <a:lnTo>
                    <a:pt x="1253229" y="309734"/>
                  </a:lnTo>
                  <a:lnTo>
                    <a:pt x="1248463" y="314498"/>
                  </a:lnTo>
                  <a:lnTo>
                    <a:pt x="1267524" y="309734"/>
                  </a:lnTo>
                  <a:lnTo>
                    <a:pt x="1272289" y="309734"/>
                  </a:lnTo>
                  <a:lnTo>
                    <a:pt x="1277054" y="314498"/>
                  </a:lnTo>
                  <a:lnTo>
                    <a:pt x="1286585" y="324028"/>
                  </a:lnTo>
                  <a:lnTo>
                    <a:pt x="1300880" y="324028"/>
                  </a:lnTo>
                  <a:lnTo>
                    <a:pt x="1315175" y="324028"/>
                  </a:lnTo>
                  <a:lnTo>
                    <a:pt x="1343766" y="333558"/>
                  </a:lnTo>
                  <a:lnTo>
                    <a:pt x="1377122" y="347854"/>
                  </a:lnTo>
                  <a:lnTo>
                    <a:pt x="1400948" y="352620"/>
                  </a:lnTo>
                  <a:lnTo>
                    <a:pt x="1429539" y="352620"/>
                  </a:lnTo>
                  <a:lnTo>
                    <a:pt x="1443833" y="362150"/>
                  </a:lnTo>
                  <a:lnTo>
                    <a:pt x="1448599" y="371680"/>
                  </a:lnTo>
                  <a:lnTo>
                    <a:pt x="1443833" y="381210"/>
                  </a:lnTo>
                  <a:lnTo>
                    <a:pt x="1439069" y="390740"/>
                  </a:lnTo>
                  <a:lnTo>
                    <a:pt x="1448599" y="400270"/>
                  </a:lnTo>
                  <a:lnTo>
                    <a:pt x="1424773" y="405036"/>
                  </a:lnTo>
                  <a:lnTo>
                    <a:pt x="1424773" y="409800"/>
                  </a:lnTo>
                  <a:lnTo>
                    <a:pt x="1424773" y="414566"/>
                  </a:lnTo>
                  <a:lnTo>
                    <a:pt x="1429539" y="419332"/>
                  </a:lnTo>
                  <a:lnTo>
                    <a:pt x="1443833" y="414566"/>
                  </a:lnTo>
                  <a:lnTo>
                    <a:pt x="1458129" y="419332"/>
                  </a:lnTo>
                  <a:lnTo>
                    <a:pt x="1491485" y="419332"/>
                  </a:lnTo>
                  <a:lnTo>
                    <a:pt x="1510545" y="419332"/>
                  </a:lnTo>
                  <a:lnTo>
                    <a:pt x="1548667" y="424096"/>
                  </a:lnTo>
                  <a:lnTo>
                    <a:pt x="1558197" y="428862"/>
                  </a:lnTo>
                  <a:lnTo>
                    <a:pt x="1582023" y="443156"/>
                  </a:lnTo>
                  <a:lnTo>
                    <a:pt x="1596317" y="452688"/>
                  </a:lnTo>
                  <a:lnTo>
                    <a:pt x="1620143" y="471748"/>
                  </a:lnTo>
                  <a:lnTo>
                    <a:pt x="1639205" y="481278"/>
                  </a:lnTo>
                  <a:lnTo>
                    <a:pt x="1653499" y="486042"/>
                  </a:lnTo>
                  <a:lnTo>
                    <a:pt x="1663029" y="486042"/>
                  </a:lnTo>
                  <a:lnTo>
                    <a:pt x="1667795" y="486042"/>
                  </a:lnTo>
                  <a:lnTo>
                    <a:pt x="1672559" y="490808"/>
                  </a:lnTo>
                  <a:lnTo>
                    <a:pt x="1677325" y="500338"/>
                  </a:lnTo>
                  <a:lnTo>
                    <a:pt x="1672559" y="509868"/>
                  </a:lnTo>
                  <a:lnTo>
                    <a:pt x="1663029" y="519398"/>
                  </a:lnTo>
                  <a:lnTo>
                    <a:pt x="1658265" y="524164"/>
                  </a:lnTo>
                  <a:lnTo>
                    <a:pt x="1634439" y="524164"/>
                  </a:lnTo>
                  <a:lnTo>
                    <a:pt x="1601083" y="528930"/>
                  </a:lnTo>
                  <a:lnTo>
                    <a:pt x="1567727" y="538460"/>
                  </a:lnTo>
                  <a:lnTo>
                    <a:pt x="1548667" y="543224"/>
                  </a:lnTo>
                  <a:lnTo>
                    <a:pt x="1543901" y="547990"/>
                  </a:lnTo>
                  <a:lnTo>
                    <a:pt x="1524841" y="552754"/>
                  </a:lnTo>
                  <a:lnTo>
                    <a:pt x="1524841" y="547990"/>
                  </a:lnTo>
                  <a:lnTo>
                    <a:pt x="1520075" y="538460"/>
                  </a:lnTo>
                  <a:lnTo>
                    <a:pt x="1515311" y="543224"/>
                  </a:lnTo>
                  <a:lnTo>
                    <a:pt x="1510545" y="552754"/>
                  </a:lnTo>
                  <a:lnTo>
                    <a:pt x="1496251" y="557520"/>
                  </a:lnTo>
                  <a:lnTo>
                    <a:pt x="1458129" y="557520"/>
                  </a:lnTo>
                  <a:lnTo>
                    <a:pt x="1439069" y="547990"/>
                  </a:lnTo>
                  <a:lnTo>
                    <a:pt x="1424773" y="543224"/>
                  </a:lnTo>
                  <a:lnTo>
                    <a:pt x="1362827" y="538460"/>
                  </a:lnTo>
                  <a:lnTo>
                    <a:pt x="1348531" y="538460"/>
                  </a:lnTo>
                  <a:lnTo>
                    <a:pt x="1305645" y="543224"/>
                  </a:lnTo>
                  <a:lnTo>
                    <a:pt x="1262759" y="547990"/>
                  </a:lnTo>
                  <a:lnTo>
                    <a:pt x="1248463" y="552754"/>
                  </a:lnTo>
                  <a:lnTo>
                    <a:pt x="1229403" y="557520"/>
                  </a:lnTo>
                  <a:lnTo>
                    <a:pt x="1196047" y="557520"/>
                  </a:lnTo>
                  <a:lnTo>
                    <a:pt x="1157926" y="562284"/>
                  </a:lnTo>
                  <a:lnTo>
                    <a:pt x="1119805" y="562284"/>
                  </a:lnTo>
                  <a:lnTo>
                    <a:pt x="1143631" y="524164"/>
                  </a:lnTo>
                  <a:lnTo>
                    <a:pt x="1196047" y="486042"/>
                  </a:lnTo>
                  <a:lnTo>
                    <a:pt x="1205577" y="481278"/>
                  </a:lnTo>
                  <a:lnTo>
                    <a:pt x="1215108" y="471748"/>
                  </a:lnTo>
                  <a:lnTo>
                    <a:pt x="1215108" y="462218"/>
                  </a:lnTo>
                  <a:lnTo>
                    <a:pt x="1215108" y="457452"/>
                  </a:lnTo>
                  <a:lnTo>
                    <a:pt x="1200812" y="443156"/>
                  </a:lnTo>
                  <a:lnTo>
                    <a:pt x="1196047" y="438392"/>
                  </a:lnTo>
                  <a:lnTo>
                    <a:pt x="1196047" y="428862"/>
                  </a:lnTo>
                  <a:lnTo>
                    <a:pt x="1176987" y="424096"/>
                  </a:lnTo>
                  <a:lnTo>
                    <a:pt x="1157926" y="424096"/>
                  </a:lnTo>
                  <a:lnTo>
                    <a:pt x="1138865" y="424096"/>
                  </a:lnTo>
                  <a:lnTo>
                    <a:pt x="1095979" y="419332"/>
                  </a:lnTo>
                  <a:lnTo>
                    <a:pt x="1072154" y="419332"/>
                  </a:lnTo>
                  <a:lnTo>
                    <a:pt x="1053093" y="409800"/>
                  </a:lnTo>
                  <a:lnTo>
                    <a:pt x="1024503" y="385976"/>
                  </a:lnTo>
                  <a:lnTo>
                    <a:pt x="1010207" y="376446"/>
                  </a:lnTo>
                  <a:lnTo>
                    <a:pt x="1000677" y="371680"/>
                  </a:lnTo>
                  <a:lnTo>
                    <a:pt x="995912" y="362150"/>
                  </a:lnTo>
                  <a:lnTo>
                    <a:pt x="991147" y="324028"/>
                  </a:lnTo>
                  <a:lnTo>
                    <a:pt x="981616" y="300204"/>
                  </a:lnTo>
                  <a:lnTo>
                    <a:pt x="972086" y="285908"/>
                  </a:lnTo>
                  <a:lnTo>
                    <a:pt x="962556" y="271612"/>
                  </a:lnTo>
                  <a:lnTo>
                    <a:pt x="943495" y="266848"/>
                  </a:lnTo>
                  <a:lnTo>
                    <a:pt x="886314" y="276378"/>
                  </a:lnTo>
                  <a:lnTo>
                    <a:pt x="876783" y="276378"/>
                  </a:lnTo>
                  <a:lnTo>
                    <a:pt x="862488" y="271612"/>
                  </a:lnTo>
                  <a:lnTo>
                    <a:pt x="776716" y="247786"/>
                  </a:lnTo>
                  <a:lnTo>
                    <a:pt x="738595" y="233492"/>
                  </a:lnTo>
                  <a:lnTo>
                    <a:pt x="724299" y="223960"/>
                  </a:lnTo>
                  <a:lnTo>
                    <a:pt x="714769" y="214430"/>
                  </a:lnTo>
                  <a:lnTo>
                    <a:pt x="700474" y="200136"/>
                  </a:lnTo>
                  <a:lnTo>
                    <a:pt x="686178" y="181074"/>
                  </a:lnTo>
                  <a:lnTo>
                    <a:pt x="686178" y="190606"/>
                  </a:lnTo>
                  <a:lnTo>
                    <a:pt x="681413" y="190606"/>
                  </a:lnTo>
                  <a:lnTo>
                    <a:pt x="609936" y="195370"/>
                  </a:lnTo>
                  <a:lnTo>
                    <a:pt x="600406" y="190606"/>
                  </a:lnTo>
                  <a:lnTo>
                    <a:pt x="590876" y="185840"/>
                  </a:lnTo>
                  <a:lnTo>
                    <a:pt x="586111" y="181074"/>
                  </a:lnTo>
                  <a:lnTo>
                    <a:pt x="581346" y="166780"/>
                  </a:lnTo>
                  <a:lnTo>
                    <a:pt x="576581" y="157250"/>
                  </a:lnTo>
                  <a:lnTo>
                    <a:pt x="571815" y="171544"/>
                  </a:lnTo>
                  <a:lnTo>
                    <a:pt x="571815" y="181074"/>
                  </a:lnTo>
                  <a:lnTo>
                    <a:pt x="562285" y="185840"/>
                  </a:lnTo>
                  <a:lnTo>
                    <a:pt x="547990" y="185840"/>
                  </a:lnTo>
                  <a:lnTo>
                    <a:pt x="538459" y="171544"/>
                  </a:lnTo>
                  <a:lnTo>
                    <a:pt x="476513" y="171544"/>
                  </a:lnTo>
                  <a:lnTo>
                    <a:pt x="471748" y="166780"/>
                  </a:lnTo>
                  <a:lnTo>
                    <a:pt x="452687" y="152484"/>
                  </a:lnTo>
                  <a:lnTo>
                    <a:pt x="438392" y="138188"/>
                  </a:lnTo>
                  <a:lnTo>
                    <a:pt x="452687" y="133424"/>
                  </a:lnTo>
                  <a:lnTo>
                    <a:pt x="486043" y="123894"/>
                  </a:lnTo>
                  <a:lnTo>
                    <a:pt x="495573" y="119128"/>
                  </a:lnTo>
                  <a:lnTo>
                    <a:pt x="500338" y="114364"/>
                  </a:lnTo>
                  <a:lnTo>
                    <a:pt x="495573" y="104832"/>
                  </a:lnTo>
                  <a:lnTo>
                    <a:pt x="486043" y="95302"/>
                  </a:lnTo>
                  <a:lnTo>
                    <a:pt x="481278" y="90538"/>
                  </a:lnTo>
                  <a:lnTo>
                    <a:pt x="476513" y="90538"/>
                  </a:lnTo>
                  <a:lnTo>
                    <a:pt x="462217" y="90538"/>
                  </a:lnTo>
                  <a:lnTo>
                    <a:pt x="333559" y="85772"/>
                  </a:lnTo>
                  <a:lnTo>
                    <a:pt x="324029" y="90538"/>
                  </a:lnTo>
                  <a:lnTo>
                    <a:pt x="314498" y="104832"/>
                  </a:lnTo>
                  <a:lnTo>
                    <a:pt x="290673" y="119128"/>
                  </a:lnTo>
                  <a:lnTo>
                    <a:pt x="276377" y="133424"/>
                  </a:lnTo>
                  <a:lnTo>
                    <a:pt x="271612" y="138188"/>
                  </a:lnTo>
                  <a:lnTo>
                    <a:pt x="262082" y="142954"/>
                  </a:lnTo>
                  <a:lnTo>
                    <a:pt x="247787" y="152484"/>
                  </a:lnTo>
                  <a:lnTo>
                    <a:pt x="233491" y="166780"/>
                  </a:lnTo>
                  <a:lnTo>
                    <a:pt x="219196" y="171544"/>
                  </a:lnTo>
                  <a:lnTo>
                    <a:pt x="209666" y="166780"/>
                  </a:lnTo>
                  <a:lnTo>
                    <a:pt x="200135" y="166780"/>
                  </a:lnTo>
                  <a:lnTo>
                    <a:pt x="190605" y="171544"/>
                  </a:lnTo>
                  <a:lnTo>
                    <a:pt x="185840" y="171544"/>
                  </a:lnTo>
                  <a:lnTo>
                    <a:pt x="152484" y="176310"/>
                  </a:lnTo>
                  <a:lnTo>
                    <a:pt x="147719" y="176310"/>
                  </a:lnTo>
                  <a:lnTo>
                    <a:pt x="142954" y="190606"/>
                  </a:lnTo>
                  <a:lnTo>
                    <a:pt x="138189" y="204900"/>
                  </a:lnTo>
                  <a:lnTo>
                    <a:pt x="133424" y="214430"/>
                  </a:lnTo>
                  <a:lnTo>
                    <a:pt x="114363" y="214430"/>
                  </a:lnTo>
                  <a:lnTo>
                    <a:pt x="100068" y="219196"/>
                  </a:lnTo>
                  <a:lnTo>
                    <a:pt x="66712" y="238256"/>
                  </a:lnTo>
                  <a:lnTo>
                    <a:pt x="57182" y="243022"/>
                  </a:lnTo>
                  <a:lnTo>
                    <a:pt x="61947" y="228726"/>
                  </a:lnTo>
                  <a:lnTo>
                    <a:pt x="57182" y="214430"/>
                  </a:lnTo>
                  <a:lnTo>
                    <a:pt x="47651" y="214430"/>
                  </a:lnTo>
                  <a:lnTo>
                    <a:pt x="38121" y="219196"/>
                  </a:lnTo>
                  <a:lnTo>
                    <a:pt x="28591" y="219196"/>
                  </a:lnTo>
                  <a:lnTo>
                    <a:pt x="14295" y="228726"/>
                  </a:lnTo>
                  <a:lnTo>
                    <a:pt x="4765" y="233492"/>
                  </a:lnTo>
                  <a:lnTo>
                    <a:pt x="0" y="228726"/>
                  </a:lnTo>
                  <a:lnTo>
                    <a:pt x="0" y="219196"/>
                  </a:lnTo>
                  <a:lnTo>
                    <a:pt x="52416" y="200136"/>
                  </a:lnTo>
                  <a:lnTo>
                    <a:pt x="61947" y="195370"/>
                  </a:lnTo>
                  <a:lnTo>
                    <a:pt x="66712" y="200136"/>
                  </a:lnTo>
                  <a:lnTo>
                    <a:pt x="76242" y="195370"/>
                  </a:lnTo>
                  <a:lnTo>
                    <a:pt x="85772" y="190606"/>
                  </a:lnTo>
                  <a:lnTo>
                    <a:pt x="76242" y="162014"/>
                  </a:lnTo>
                  <a:lnTo>
                    <a:pt x="81007" y="138188"/>
                  </a:lnTo>
                  <a:lnTo>
                    <a:pt x="90537" y="123894"/>
                  </a:lnTo>
                  <a:lnTo>
                    <a:pt x="119128" y="100068"/>
                  </a:lnTo>
                  <a:lnTo>
                    <a:pt x="128658" y="90538"/>
                  </a:lnTo>
                  <a:lnTo>
                    <a:pt x="252552" y="38122"/>
                  </a:lnTo>
                  <a:lnTo>
                    <a:pt x="266847" y="38122"/>
                  </a:lnTo>
                  <a:lnTo>
                    <a:pt x="343089" y="28590"/>
                  </a:lnTo>
                  <a:lnTo>
                    <a:pt x="357385" y="23826"/>
                  </a:lnTo>
                  <a:lnTo>
                    <a:pt x="395506" y="953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4" name="Freeform 4547">
              <a:extLst>
                <a:ext uri="{FF2B5EF4-FFF2-40B4-BE49-F238E27FC236}">
                  <a16:creationId xmlns:a16="http://schemas.microsoft.com/office/drawing/2014/main" id="{8F3D6933-DB55-4C63-A89A-0755EAB0EF98}"/>
                </a:ext>
              </a:extLst>
            </p:cNvPr>
            <p:cNvSpPr/>
            <p:nvPr/>
          </p:nvSpPr>
          <p:spPr bwMode="auto">
            <a:xfrm>
              <a:off x="3550876" y="5094123"/>
              <a:ext cx="10021" cy="9251"/>
            </a:xfrm>
            <a:custGeom>
              <a:avLst/>
              <a:gdLst>
                <a:gd name="T0" fmla="*/ 26 w 26"/>
                <a:gd name="T1" fmla="*/ 22 h 24"/>
                <a:gd name="T2" fmla="*/ 22 w 26"/>
                <a:gd name="T3" fmla="*/ 16 h 24"/>
                <a:gd name="T4" fmla="*/ 10 w 26"/>
                <a:gd name="T5" fmla="*/ 10 h 24"/>
                <a:gd name="T6" fmla="*/ 6 w 26"/>
                <a:gd name="T7" fmla="*/ 2 h 24"/>
                <a:gd name="T8" fmla="*/ 2 w 26"/>
                <a:gd name="T9" fmla="*/ 0 h 24"/>
                <a:gd name="T10" fmla="*/ 0 w 26"/>
                <a:gd name="T11" fmla="*/ 0 h 24"/>
                <a:gd name="T12" fmla="*/ 0 w 26"/>
                <a:gd name="T13" fmla="*/ 6 h 24"/>
                <a:gd name="T14" fmla="*/ 10 w 26"/>
                <a:gd name="T15" fmla="*/ 16 h 24"/>
                <a:gd name="T16" fmla="*/ 24 w 26"/>
                <a:gd name="T17" fmla="*/ 24 h 24"/>
                <a:gd name="T18" fmla="*/ 26 w 26"/>
                <a:gd name="T19" fmla="*/ 2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4">
                  <a:moveTo>
                    <a:pt x="26" y="22"/>
                  </a:moveTo>
                  <a:lnTo>
                    <a:pt x="22" y="16"/>
                  </a:lnTo>
                  <a:lnTo>
                    <a:pt x="10" y="10"/>
                  </a:lnTo>
                  <a:lnTo>
                    <a:pt x="6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10" y="16"/>
                  </a:lnTo>
                  <a:lnTo>
                    <a:pt x="24" y="24"/>
                  </a:lnTo>
                  <a:lnTo>
                    <a:pt x="26" y="2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5" name="Line 4548">
              <a:extLst>
                <a:ext uri="{FF2B5EF4-FFF2-40B4-BE49-F238E27FC236}">
                  <a16:creationId xmlns:a16="http://schemas.microsoft.com/office/drawing/2014/main" id="{F46EB718-1184-4769-94DC-3445A98C62F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60897" y="5102603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6" name="Line 4550">
              <a:extLst>
                <a:ext uri="{FF2B5EF4-FFF2-40B4-BE49-F238E27FC236}">
                  <a16:creationId xmlns:a16="http://schemas.microsoft.com/office/drawing/2014/main" id="{9BB2A2D0-56D1-4F12-81A1-687F66BD222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560897" y="5102603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7" name="Freeform 75">
              <a:extLst>
                <a:ext uri="{FF2B5EF4-FFF2-40B4-BE49-F238E27FC236}">
                  <a16:creationId xmlns:a16="http://schemas.microsoft.com/office/drawing/2014/main" id="{BDA40CA0-DB05-45D3-ACBD-E55EE5E2A5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40983" y="4899862"/>
              <a:ext cx="42398" cy="13105"/>
            </a:xfrm>
            <a:custGeom>
              <a:avLst/>
              <a:gdLst>
                <a:gd name="connsiteX0" fmla="*/ 4765 w 262082"/>
                <a:gd name="connsiteY0" fmla="*/ 61948 h 81008"/>
                <a:gd name="connsiteX1" fmla="*/ 9530 w 262082"/>
                <a:gd name="connsiteY1" fmla="*/ 71478 h 81008"/>
                <a:gd name="connsiteX2" fmla="*/ 14295 w 262082"/>
                <a:gd name="connsiteY2" fmla="*/ 71478 h 81008"/>
                <a:gd name="connsiteX3" fmla="*/ 19060 w 262082"/>
                <a:gd name="connsiteY3" fmla="*/ 71478 h 81008"/>
                <a:gd name="connsiteX4" fmla="*/ 23825 w 262082"/>
                <a:gd name="connsiteY4" fmla="*/ 66712 h 81008"/>
                <a:gd name="connsiteX5" fmla="*/ 47651 w 262082"/>
                <a:gd name="connsiteY5" fmla="*/ 71478 h 81008"/>
                <a:gd name="connsiteX6" fmla="*/ 47651 w 262082"/>
                <a:gd name="connsiteY6" fmla="*/ 76242 h 81008"/>
                <a:gd name="connsiteX7" fmla="*/ 33356 w 262082"/>
                <a:gd name="connsiteY7" fmla="*/ 76242 h 81008"/>
                <a:gd name="connsiteX8" fmla="*/ 23825 w 262082"/>
                <a:gd name="connsiteY8" fmla="*/ 81008 h 81008"/>
                <a:gd name="connsiteX9" fmla="*/ 19060 w 262082"/>
                <a:gd name="connsiteY9" fmla="*/ 81008 h 81008"/>
                <a:gd name="connsiteX10" fmla="*/ 4765 w 262082"/>
                <a:gd name="connsiteY10" fmla="*/ 81008 h 81008"/>
                <a:gd name="connsiteX11" fmla="*/ 0 w 262082"/>
                <a:gd name="connsiteY11" fmla="*/ 66712 h 81008"/>
                <a:gd name="connsiteX12" fmla="*/ 209665 w 262082"/>
                <a:gd name="connsiteY12" fmla="*/ 9532 h 81008"/>
                <a:gd name="connsiteX13" fmla="*/ 214430 w 262082"/>
                <a:gd name="connsiteY13" fmla="*/ 9532 h 81008"/>
                <a:gd name="connsiteX14" fmla="*/ 219196 w 262082"/>
                <a:gd name="connsiteY14" fmla="*/ 9532 h 81008"/>
                <a:gd name="connsiteX15" fmla="*/ 209665 w 262082"/>
                <a:gd name="connsiteY15" fmla="*/ 19060 h 81008"/>
                <a:gd name="connsiteX16" fmla="*/ 204900 w 262082"/>
                <a:gd name="connsiteY16" fmla="*/ 14296 h 81008"/>
                <a:gd name="connsiteX17" fmla="*/ 252552 w 262082"/>
                <a:gd name="connsiteY17" fmla="*/ 0 h 81008"/>
                <a:gd name="connsiteX18" fmla="*/ 257317 w 262082"/>
                <a:gd name="connsiteY18" fmla="*/ 0 h 81008"/>
                <a:gd name="connsiteX19" fmla="*/ 262082 w 262082"/>
                <a:gd name="connsiteY19" fmla="*/ 0 h 81008"/>
                <a:gd name="connsiteX20" fmla="*/ 262082 w 262082"/>
                <a:gd name="connsiteY20" fmla="*/ 4764 h 81008"/>
                <a:gd name="connsiteX21" fmla="*/ 252552 w 262082"/>
                <a:gd name="connsiteY21" fmla="*/ 9530 h 81008"/>
                <a:gd name="connsiteX22" fmla="*/ 243021 w 262082"/>
                <a:gd name="connsiteY22" fmla="*/ 14296 h 81008"/>
                <a:gd name="connsiteX23" fmla="*/ 238256 w 262082"/>
                <a:gd name="connsiteY23" fmla="*/ 9530 h 81008"/>
                <a:gd name="connsiteX24" fmla="*/ 252552 w 262082"/>
                <a:gd name="connsiteY24" fmla="*/ 4764 h 81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62081" h="81008">
                  <a:moveTo>
                    <a:pt x="4765" y="61948"/>
                  </a:moveTo>
                  <a:lnTo>
                    <a:pt x="9530" y="71478"/>
                  </a:lnTo>
                  <a:lnTo>
                    <a:pt x="14295" y="71478"/>
                  </a:lnTo>
                  <a:lnTo>
                    <a:pt x="19060" y="71478"/>
                  </a:lnTo>
                  <a:lnTo>
                    <a:pt x="23825" y="66712"/>
                  </a:lnTo>
                  <a:lnTo>
                    <a:pt x="47651" y="71478"/>
                  </a:lnTo>
                  <a:lnTo>
                    <a:pt x="47651" y="76242"/>
                  </a:lnTo>
                  <a:lnTo>
                    <a:pt x="33356" y="76242"/>
                  </a:lnTo>
                  <a:lnTo>
                    <a:pt x="23825" y="81008"/>
                  </a:lnTo>
                  <a:lnTo>
                    <a:pt x="19060" y="81008"/>
                  </a:lnTo>
                  <a:lnTo>
                    <a:pt x="4765" y="81008"/>
                  </a:lnTo>
                  <a:lnTo>
                    <a:pt x="0" y="66712"/>
                  </a:lnTo>
                  <a:close/>
                  <a:moveTo>
                    <a:pt x="209665" y="9532"/>
                  </a:moveTo>
                  <a:lnTo>
                    <a:pt x="214430" y="9532"/>
                  </a:lnTo>
                  <a:lnTo>
                    <a:pt x="219196" y="9532"/>
                  </a:lnTo>
                  <a:lnTo>
                    <a:pt x="209665" y="19060"/>
                  </a:lnTo>
                  <a:lnTo>
                    <a:pt x="204900" y="14296"/>
                  </a:lnTo>
                  <a:close/>
                  <a:moveTo>
                    <a:pt x="252552" y="0"/>
                  </a:moveTo>
                  <a:lnTo>
                    <a:pt x="257317" y="0"/>
                  </a:lnTo>
                  <a:lnTo>
                    <a:pt x="262082" y="0"/>
                  </a:lnTo>
                  <a:lnTo>
                    <a:pt x="262082" y="4764"/>
                  </a:lnTo>
                  <a:lnTo>
                    <a:pt x="252552" y="9530"/>
                  </a:lnTo>
                  <a:lnTo>
                    <a:pt x="243021" y="14296"/>
                  </a:lnTo>
                  <a:lnTo>
                    <a:pt x="238256" y="9530"/>
                  </a:lnTo>
                  <a:lnTo>
                    <a:pt x="252552" y="476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28" name="Group 93">
              <a:extLst>
                <a:ext uri="{FF2B5EF4-FFF2-40B4-BE49-F238E27FC236}">
                  <a16:creationId xmlns:a16="http://schemas.microsoft.com/office/drawing/2014/main" id="{9B788AB3-4785-4967-AB1E-99D5D5A3F2D0}"/>
                </a:ext>
              </a:extLst>
            </p:cNvPr>
            <p:cNvGrpSpPr/>
            <p:nvPr/>
          </p:nvGrpSpPr>
          <p:grpSpPr>
            <a:xfrm>
              <a:off x="6114812" y="4444274"/>
              <a:ext cx="57045" cy="33148"/>
              <a:chOff x="33673142" y="21074334"/>
              <a:chExt cx="352620" cy="204901"/>
            </a:xfrm>
            <a:grpFill/>
          </p:grpSpPr>
          <p:sp>
            <p:nvSpPr>
              <p:cNvPr id="610" name="Freeform 4559">
                <a:extLst>
                  <a:ext uri="{FF2B5EF4-FFF2-40B4-BE49-F238E27FC236}">
                    <a16:creationId xmlns:a16="http://schemas.microsoft.com/office/drawing/2014/main" id="{8E36D2B2-8BFA-41EA-B3CD-A2C2F04769DF}"/>
                  </a:ext>
                </a:extLst>
              </p:cNvPr>
              <p:cNvSpPr/>
              <p:nvPr/>
            </p:nvSpPr>
            <p:spPr bwMode="auto">
              <a:xfrm>
                <a:off x="33735088" y="21074334"/>
                <a:ext cx="290673" cy="123893"/>
              </a:xfrm>
              <a:custGeom>
                <a:avLst/>
                <a:gdLst>
                  <a:gd name="T0" fmla="*/ 86 w 122"/>
                  <a:gd name="T1" fmla="*/ 48 h 52"/>
                  <a:gd name="T2" fmla="*/ 80 w 122"/>
                  <a:gd name="T3" fmla="*/ 42 h 52"/>
                  <a:gd name="T4" fmla="*/ 80 w 122"/>
                  <a:gd name="T5" fmla="*/ 36 h 52"/>
                  <a:gd name="T6" fmla="*/ 82 w 122"/>
                  <a:gd name="T7" fmla="*/ 28 h 52"/>
                  <a:gd name="T8" fmla="*/ 116 w 122"/>
                  <a:gd name="T9" fmla="*/ 4 h 52"/>
                  <a:gd name="T10" fmla="*/ 122 w 122"/>
                  <a:gd name="T11" fmla="*/ 0 h 52"/>
                  <a:gd name="T12" fmla="*/ 112 w 122"/>
                  <a:gd name="T13" fmla="*/ 2 h 52"/>
                  <a:gd name="T14" fmla="*/ 102 w 122"/>
                  <a:gd name="T15" fmla="*/ 6 h 52"/>
                  <a:gd name="T16" fmla="*/ 98 w 122"/>
                  <a:gd name="T17" fmla="*/ 8 h 52"/>
                  <a:gd name="T18" fmla="*/ 90 w 122"/>
                  <a:gd name="T19" fmla="*/ 14 h 52"/>
                  <a:gd name="T20" fmla="*/ 60 w 122"/>
                  <a:gd name="T21" fmla="*/ 24 h 52"/>
                  <a:gd name="T22" fmla="*/ 50 w 122"/>
                  <a:gd name="T23" fmla="*/ 26 h 52"/>
                  <a:gd name="T24" fmla="*/ 40 w 122"/>
                  <a:gd name="T25" fmla="*/ 26 h 52"/>
                  <a:gd name="T26" fmla="*/ 28 w 122"/>
                  <a:gd name="T27" fmla="*/ 24 h 52"/>
                  <a:gd name="T28" fmla="*/ 16 w 122"/>
                  <a:gd name="T29" fmla="*/ 22 h 52"/>
                  <a:gd name="T30" fmla="*/ 14 w 122"/>
                  <a:gd name="T31" fmla="*/ 30 h 52"/>
                  <a:gd name="T32" fmla="*/ 12 w 122"/>
                  <a:gd name="T33" fmla="*/ 38 h 52"/>
                  <a:gd name="T34" fmla="*/ 4 w 122"/>
                  <a:gd name="T35" fmla="*/ 40 h 52"/>
                  <a:gd name="T36" fmla="*/ 0 w 122"/>
                  <a:gd name="T37" fmla="*/ 38 h 52"/>
                  <a:gd name="T38" fmla="*/ 2 w 122"/>
                  <a:gd name="T39" fmla="*/ 40 h 52"/>
                  <a:gd name="T40" fmla="*/ 6 w 122"/>
                  <a:gd name="T41" fmla="*/ 44 h 52"/>
                  <a:gd name="T42" fmla="*/ 12 w 122"/>
                  <a:gd name="T43" fmla="*/ 46 h 52"/>
                  <a:gd name="T44" fmla="*/ 14 w 122"/>
                  <a:gd name="T45" fmla="*/ 46 h 52"/>
                  <a:gd name="T46" fmla="*/ 18 w 122"/>
                  <a:gd name="T47" fmla="*/ 44 h 52"/>
                  <a:gd name="T48" fmla="*/ 24 w 122"/>
                  <a:gd name="T49" fmla="*/ 40 h 52"/>
                  <a:gd name="T50" fmla="*/ 32 w 122"/>
                  <a:gd name="T51" fmla="*/ 38 h 52"/>
                  <a:gd name="T52" fmla="*/ 36 w 122"/>
                  <a:gd name="T53" fmla="*/ 40 h 52"/>
                  <a:gd name="T54" fmla="*/ 40 w 122"/>
                  <a:gd name="T55" fmla="*/ 40 h 52"/>
                  <a:gd name="T56" fmla="*/ 44 w 122"/>
                  <a:gd name="T57" fmla="*/ 40 h 52"/>
                  <a:gd name="T58" fmla="*/ 48 w 122"/>
                  <a:gd name="T59" fmla="*/ 42 h 52"/>
                  <a:gd name="T60" fmla="*/ 50 w 122"/>
                  <a:gd name="T61" fmla="*/ 44 h 52"/>
                  <a:gd name="T62" fmla="*/ 50 w 122"/>
                  <a:gd name="T63" fmla="*/ 52 h 52"/>
                  <a:gd name="T64" fmla="*/ 50 w 122"/>
                  <a:gd name="T65" fmla="*/ 52 h 52"/>
                  <a:gd name="T66" fmla="*/ 54 w 122"/>
                  <a:gd name="T67" fmla="*/ 50 h 52"/>
                  <a:gd name="T68" fmla="*/ 60 w 122"/>
                  <a:gd name="T69" fmla="*/ 50 h 52"/>
                  <a:gd name="T70" fmla="*/ 64 w 122"/>
                  <a:gd name="T71" fmla="*/ 50 h 52"/>
                  <a:gd name="T72" fmla="*/ 66 w 122"/>
                  <a:gd name="T73" fmla="*/ 50 h 52"/>
                  <a:gd name="T74" fmla="*/ 68 w 122"/>
                  <a:gd name="T75" fmla="*/ 50 h 52"/>
                  <a:gd name="T76" fmla="*/ 72 w 122"/>
                  <a:gd name="T77" fmla="*/ 48 h 52"/>
                  <a:gd name="T78" fmla="*/ 74 w 122"/>
                  <a:gd name="T79" fmla="*/ 46 h 52"/>
                  <a:gd name="T80" fmla="*/ 76 w 122"/>
                  <a:gd name="T81" fmla="*/ 44 h 52"/>
                  <a:gd name="T82" fmla="*/ 78 w 122"/>
                  <a:gd name="T83" fmla="*/ 46 h 52"/>
                  <a:gd name="T84" fmla="*/ 82 w 122"/>
                  <a:gd name="T85" fmla="*/ 48 h 52"/>
                  <a:gd name="T86" fmla="*/ 86 w 122"/>
                  <a:gd name="T87" fmla="*/ 4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2" h="52">
                    <a:moveTo>
                      <a:pt x="86" y="48"/>
                    </a:moveTo>
                    <a:lnTo>
                      <a:pt x="80" y="42"/>
                    </a:lnTo>
                    <a:lnTo>
                      <a:pt x="80" y="36"/>
                    </a:lnTo>
                    <a:lnTo>
                      <a:pt x="82" y="28"/>
                    </a:lnTo>
                    <a:lnTo>
                      <a:pt x="116" y="4"/>
                    </a:lnTo>
                    <a:lnTo>
                      <a:pt x="122" y="0"/>
                    </a:lnTo>
                    <a:lnTo>
                      <a:pt x="112" y="2"/>
                    </a:lnTo>
                    <a:lnTo>
                      <a:pt x="102" y="6"/>
                    </a:lnTo>
                    <a:lnTo>
                      <a:pt x="98" y="8"/>
                    </a:lnTo>
                    <a:lnTo>
                      <a:pt x="90" y="14"/>
                    </a:lnTo>
                    <a:lnTo>
                      <a:pt x="60" y="24"/>
                    </a:lnTo>
                    <a:lnTo>
                      <a:pt x="50" y="26"/>
                    </a:lnTo>
                    <a:lnTo>
                      <a:pt x="40" y="26"/>
                    </a:lnTo>
                    <a:lnTo>
                      <a:pt x="28" y="24"/>
                    </a:lnTo>
                    <a:lnTo>
                      <a:pt x="16" y="22"/>
                    </a:lnTo>
                    <a:lnTo>
                      <a:pt x="14" y="30"/>
                    </a:lnTo>
                    <a:lnTo>
                      <a:pt x="12" y="38"/>
                    </a:lnTo>
                    <a:lnTo>
                      <a:pt x="4" y="40"/>
                    </a:lnTo>
                    <a:lnTo>
                      <a:pt x="0" y="38"/>
                    </a:lnTo>
                    <a:lnTo>
                      <a:pt x="2" y="40"/>
                    </a:lnTo>
                    <a:lnTo>
                      <a:pt x="6" y="44"/>
                    </a:lnTo>
                    <a:lnTo>
                      <a:pt x="12" y="46"/>
                    </a:lnTo>
                    <a:lnTo>
                      <a:pt x="14" y="46"/>
                    </a:lnTo>
                    <a:lnTo>
                      <a:pt x="18" y="44"/>
                    </a:lnTo>
                    <a:lnTo>
                      <a:pt x="24" y="40"/>
                    </a:lnTo>
                    <a:lnTo>
                      <a:pt x="32" y="38"/>
                    </a:lnTo>
                    <a:lnTo>
                      <a:pt x="36" y="40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8" y="42"/>
                    </a:lnTo>
                    <a:lnTo>
                      <a:pt x="50" y="44"/>
                    </a:lnTo>
                    <a:lnTo>
                      <a:pt x="50" y="52"/>
                    </a:lnTo>
                    <a:lnTo>
                      <a:pt x="50" y="52"/>
                    </a:lnTo>
                    <a:lnTo>
                      <a:pt x="54" y="50"/>
                    </a:lnTo>
                    <a:lnTo>
                      <a:pt x="60" y="50"/>
                    </a:lnTo>
                    <a:lnTo>
                      <a:pt x="64" y="50"/>
                    </a:lnTo>
                    <a:lnTo>
                      <a:pt x="66" y="50"/>
                    </a:lnTo>
                    <a:lnTo>
                      <a:pt x="68" y="50"/>
                    </a:lnTo>
                    <a:lnTo>
                      <a:pt x="72" y="48"/>
                    </a:lnTo>
                    <a:lnTo>
                      <a:pt x="74" y="46"/>
                    </a:lnTo>
                    <a:lnTo>
                      <a:pt x="76" y="44"/>
                    </a:lnTo>
                    <a:lnTo>
                      <a:pt x="78" y="46"/>
                    </a:lnTo>
                    <a:lnTo>
                      <a:pt x="82" y="48"/>
                    </a:lnTo>
                    <a:lnTo>
                      <a:pt x="86" y="48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1" name="Freeform 4563">
                <a:extLst>
                  <a:ext uri="{FF2B5EF4-FFF2-40B4-BE49-F238E27FC236}">
                    <a16:creationId xmlns:a16="http://schemas.microsoft.com/office/drawing/2014/main" id="{7872A4B4-B608-45BB-9CE6-F1E4620DF569}"/>
                  </a:ext>
                </a:extLst>
              </p:cNvPr>
              <p:cNvSpPr/>
              <p:nvPr/>
            </p:nvSpPr>
            <p:spPr bwMode="auto">
              <a:xfrm>
                <a:off x="33673142" y="21164872"/>
                <a:ext cx="271612" cy="114363"/>
              </a:xfrm>
              <a:custGeom>
                <a:avLst/>
                <a:gdLst>
                  <a:gd name="T0" fmla="*/ 26 w 114"/>
                  <a:gd name="T1" fmla="*/ 0 h 48"/>
                  <a:gd name="T2" fmla="*/ 22 w 114"/>
                  <a:gd name="T3" fmla="*/ 0 h 48"/>
                  <a:gd name="T4" fmla="*/ 16 w 114"/>
                  <a:gd name="T5" fmla="*/ 2 h 48"/>
                  <a:gd name="T6" fmla="*/ 10 w 114"/>
                  <a:gd name="T7" fmla="*/ 8 h 48"/>
                  <a:gd name="T8" fmla="*/ 6 w 114"/>
                  <a:gd name="T9" fmla="*/ 10 h 48"/>
                  <a:gd name="T10" fmla="*/ 0 w 114"/>
                  <a:gd name="T11" fmla="*/ 8 h 48"/>
                  <a:gd name="T12" fmla="*/ 0 w 114"/>
                  <a:gd name="T13" fmla="*/ 18 h 48"/>
                  <a:gd name="T14" fmla="*/ 8 w 114"/>
                  <a:gd name="T15" fmla="*/ 32 h 48"/>
                  <a:gd name="T16" fmla="*/ 10 w 114"/>
                  <a:gd name="T17" fmla="*/ 36 h 48"/>
                  <a:gd name="T18" fmla="*/ 12 w 114"/>
                  <a:gd name="T19" fmla="*/ 38 h 48"/>
                  <a:gd name="T20" fmla="*/ 26 w 114"/>
                  <a:gd name="T21" fmla="*/ 42 h 48"/>
                  <a:gd name="T22" fmla="*/ 28 w 114"/>
                  <a:gd name="T23" fmla="*/ 42 h 48"/>
                  <a:gd name="T24" fmla="*/ 36 w 114"/>
                  <a:gd name="T25" fmla="*/ 42 h 48"/>
                  <a:gd name="T26" fmla="*/ 40 w 114"/>
                  <a:gd name="T27" fmla="*/ 44 h 48"/>
                  <a:gd name="T28" fmla="*/ 42 w 114"/>
                  <a:gd name="T29" fmla="*/ 48 h 48"/>
                  <a:gd name="T30" fmla="*/ 46 w 114"/>
                  <a:gd name="T31" fmla="*/ 48 h 48"/>
                  <a:gd name="T32" fmla="*/ 48 w 114"/>
                  <a:gd name="T33" fmla="*/ 46 h 48"/>
                  <a:gd name="T34" fmla="*/ 48 w 114"/>
                  <a:gd name="T35" fmla="*/ 44 h 48"/>
                  <a:gd name="T36" fmla="*/ 50 w 114"/>
                  <a:gd name="T37" fmla="*/ 40 h 48"/>
                  <a:gd name="T38" fmla="*/ 52 w 114"/>
                  <a:gd name="T39" fmla="*/ 38 h 48"/>
                  <a:gd name="T40" fmla="*/ 58 w 114"/>
                  <a:gd name="T41" fmla="*/ 38 h 48"/>
                  <a:gd name="T42" fmla="*/ 64 w 114"/>
                  <a:gd name="T43" fmla="*/ 38 h 48"/>
                  <a:gd name="T44" fmla="*/ 72 w 114"/>
                  <a:gd name="T45" fmla="*/ 34 h 48"/>
                  <a:gd name="T46" fmla="*/ 80 w 114"/>
                  <a:gd name="T47" fmla="*/ 30 h 48"/>
                  <a:gd name="T48" fmla="*/ 92 w 114"/>
                  <a:gd name="T49" fmla="*/ 16 h 48"/>
                  <a:gd name="T50" fmla="*/ 96 w 114"/>
                  <a:gd name="T51" fmla="*/ 16 h 48"/>
                  <a:gd name="T52" fmla="*/ 100 w 114"/>
                  <a:gd name="T53" fmla="*/ 18 h 48"/>
                  <a:gd name="T54" fmla="*/ 106 w 114"/>
                  <a:gd name="T55" fmla="*/ 16 h 48"/>
                  <a:gd name="T56" fmla="*/ 114 w 114"/>
                  <a:gd name="T57" fmla="*/ 16 h 48"/>
                  <a:gd name="T58" fmla="*/ 112 w 114"/>
                  <a:gd name="T59" fmla="*/ 10 h 48"/>
                  <a:gd name="T60" fmla="*/ 112 w 114"/>
                  <a:gd name="T61" fmla="*/ 10 h 48"/>
                  <a:gd name="T62" fmla="*/ 108 w 114"/>
                  <a:gd name="T63" fmla="*/ 10 h 48"/>
                  <a:gd name="T64" fmla="*/ 104 w 114"/>
                  <a:gd name="T65" fmla="*/ 8 h 48"/>
                  <a:gd name="T66" fmla="*/ 102 w 114"/>
                  <a:gd name="T67" fmla="*/ 6 h 48"/>
                  <a:gd name="T68" fmla="*/ 100 w 114"/>
                  <a:gd name="T69" fmla="*/ 8 h 48"/>
                  <a:gd name="T70" fmla="*/ 98 w 114"/>
                  <a:gd name="T71" fmla="*/ 10 h 48"/>
                  <a:gd name="T72" fmla="*/ 94 w 114"/>
                  <a:gd name="T73" fmla="*/ 12 h 48"/>
                  <a:gd name="T74" fmla="*/ 92 w 114"/>
                  <a:gd name="T75" fmla="*/ 12 h 48"/>
                  <a:gd name="T76" fmla="*/ 90 w 114"/>
                  <a:gd name="T77" fmla="*/ 12 h 48"/>
                  <a:gd name="T78" fmla="*/ 86 w 114"/>
                  <a:gd name="T79" fmla="*/ 12 h 48"/>
                  <a:gd name="T80" fmla="*/ 80 w 114"/>
                  <a:gd name="T81" fmla="*/ 12 h 48"/>
                  <a:gd name="T82" fmla="*/ 76 w 114"/>
                  <a:gd name="T83" fmla="*/ 14 h 48"/>
                  <a:gd name="T84" fmla="*/ 76 w 114"/>
                  <a:gd name="T85" fmla="*/ 14 h 48"/>
                  <a:gd name="T86" fmla="*/ 76 w 114"/>
                  <a:gd name="T87" fmla="*/ 6 h 48"/>
                  <a:gd name="T88" fmla="*/ 74 w 114"/>
                  <a:gd name="T89" fmla="*/ 4 h 48"/>
                  <a:gd name="T90" fmla="*/ 70 w 114"/>
                  <a:gd name="T91" fmla="*/ 2 h 48"/>
                  <a:gd name="T92" fmla="*/ 66 w 114"/>
                  <a:gd name="T93" fmla="*/ 2 h 48"/>
                  <a:gd name="T94" fmla="*/ 62 w 114"/>
                  <a:gd name="T95" fmla="*/ 2 h 48"/>
                  <a:gd name="T96" fmla="*/ 58 w 114"/>
                  <a:gd name="T97" fmla="*/ 0 h 48"/>
                  <a:gd name="T98" fmla="*/ 50 w 114"/>
                  <a:gd name="T99" fmla="*/ 2 h 48"/>
                  <a:gd name="T100" fmla="*/ 44 w 114"/>
                  <a:gd name="T101" fmla="*/ 6 h 48"/>
                  <a:gd name="T102" fmla="*/ 40 w 114"/>
                  <a:gd name="T103" fmla="*/ 8 h 48"/>
                  <a:gd name="T104" fmla="*/ 38 w 114"/>
                  <a:gd name="T105" fmla="*/ 8 h 48"/>
                  <a:gd name="T106" fmla="*/ 32 w 114"/>
                  <a:gd name="T107" fmla="*/ 6 h 48"/>
                  <a:gd name="T108" fmla="*/ 28 w 114"/>
                  <a:gd name="T109" fmla="*/ 2 h 48"/>
                  <a:gd name="T110" fmla="*/ 26 w 114"/>
                  <a:gd name="T111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4" h="48">
                    <a:moveTo>
                      <a:pt x="26" y="0"/>
                    </a:moveTo>
                    <a:lnTo>
                      <a:pt x="22" y="0"/>
                    </a:lnTo>
                    <a:lnTo>
                      <a:pt x="16" y="2"/>
                    </a:lnTo>
                    <a:lnTo>
                      <a:pt x="10" y="8"/>
                    </a:lnTo>
                    <a:lnTo>
                      <a:pt x="6" y="10"/>
                    </a:lnTo>
                    <a:lnTo>
                      <a:pt x="0" y="8"/>
                    </a:lnTo>
                    <a:lnTo>
                      <a:pt x="0" y="18"/>
                    </a:lnTo>
                    <a:lnTo>
                      <a:pt x="8" y="32"/>
                    </a:lnTo>
                    <a:lnTo>
                      <a:pt x="10" y="36"/>
                    </a:lnTo>
                    <a:lnTo>
                      <a:pt x="12" y="38"/>
                    </a:lnTo>
                    <a:lnTo>
                      <a:pt x="26" y="42"/>
                    </a:lnTo>
                    <a:lnTo>
                      <a:pt x="28" y="42"/>
                    </a:lnTo>
                    <a:lnTo>
                      <a:pt x="36" y="42"/>
                    </a:lnTo>
                    <a:lnTo>
                      <a:pt x="40" y="44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48" y="46"/>
                    </a:lnTo>
                    <a:lnTo>
                      <a:pt x="48" y="44"/>
                    </a:lnTo>
                    <a:lnTo>
                      <a:pt x="50" y="40"/>
                    </a:lnTo>
                    <a:lnTo>
                      <a:pt x="52" y="38"/>
                    </a:lnTo>
                    <a:lnTo>
                      <a:pt x="58" y="38"/>
                    </a:lnTo>
                    <a:lnTo>
                      <a:pt x="64" y="38"/>
                    </a:lnTo>
                    <a:lnTo>
                      <a:pt x="72" y="34"/>
                    </a:lnTo>
                    <a:lnTo>
                      <a:pt x="80" y="30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100" y="18"/>
                    </a:lnTo>
                    <a:lnTo>
                      <a:pt x="106" y="16"/>
                    </a:lnTo>
                    <a:lnTo>
                      <a:pt x="114" y="16"/>
                    </a:lnTo>
                    <a:lnTo>
                      <a:pt x="112" y="10"/>
                    </a:lnTo>
                    <a:lnTo>
                      <a:pt x="112" y="10"/>
                    </a:lnTo>
                    <a:lnTo>
                      <a:pt x="108" y="10"/>
                    </a:lnTo>
                    <a:lnTo>
                      <a:pt x="104" y="8"/>
                    </a:lnTo>
                    <a:lnTo>
                      <a:pt x="102" y="6"/>
                    </a:lnTo>
                    <a:lnTo>
                      <a:pt x="100" y="8"/>
                    </a:lnTo>
                    <a:lnTo>
                      <a:pt x="98" y="10"/>
                    </a:lnTo>
                    <a:lnTo>
                      <a:pt x="94" y="12"/>
                    </a:lnTo>
                    <a:lnTo>
                      <a:pt x="92" y="12"/>
                    </a:lnTo>
                    <a:lnTo>
                      <a:pt x="90" y="12"/>
                    </a:lnTo>
                    <a:lnTo>
                      <a:pt x="86" y="12"/>
                    </a:lnTo>
                    <a:lnTo>
                      <a:pt x="80" y="12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6" y="6"/>
                    </a:lnTo>
                    <a:lnTo>
                      <a:pt x="74" y="4"/>
                    </a:lnTo>
                    <a:lnTo>
                      <a:pt x="70" y="2"/>
                    </a:lnTo>
                    <a:lnTo>
                      <a:pt x="66" y="2"/>
                    </a:lnTo>
                    <a:lnTo>
                      <a:pt x="62" y="2"/>
                    </a:lnTo>
                    <a:lnTo>
                      <a:pt x="58" y="0"/>
                    </a:lnTo>
                    <a:lnTo>
                      <a:pt x="50" y="2"/>
                    </a:lnTo>
                    <a:lnTo>
                      <a:pt x="44" y="6"/>
                    </a:lnTo>
                    <a:lnTo>
                      <a:pt x="40" y="8"/>
                    </a:lnTo>
                    <a:lnTo>
                      <a:pt x="38" y="8"/>
                    </a:lnTo>
                    <a:lnTo>
                      <a:pt x="32" y="6"/>
                    </a:lnTo>
                    <a:lnTo>
                      <a:pt x="28" y="2"/>
                    </a:lnTo>
                    <a:lnTo>
                      <a:pt x="26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29" name="Freeform 4567">
              <a:extLst>
                <a:ext uri="{FF2B5EF4-FFF2-40B4-BE49-F238E27FC236}">
                  <a16:creationId xmlns:a16="http://schemas.microsoft.com/office/drawing/2014/main" id="{76ED1AD3-5372-456C-9F61-4BD5A0817ED7}"/>
                </a:ext>
              </a:extLst>
            </p:cNvPr>
            <p:cNvSpPr/>
            <p:nvPr/>
          </p:nvSpPr>
          <p:spPr bwMode="auto">
            <a:xfrm>
              <a:off x="5603720" y="3905431"/>
              <a:ext cx="170364" cy="96360"/>
            </a:xfrm>
            <a:custGeom>
              <a:avLst/>
              <a:gdLst>
                <a:gd name="T0" fmla="*/ 174 w 442"/>
                <a:gd name="T1" fmla="*/ 22 h 250"/>
                <a:gd name="T2" fmla="*/ 166 w 442"/>
                <a:gd name="T3" fmla="*/ 12 h 250"/>
                <a:gd name="T4" fmla="*/ 150 w 442"/>
                <a:gd name="T5" fmla="*/ 0 h 250"/>
                <a:gd name="T6" fmla="*/ 144 w 442"/>
                <a:gd name="T7" fmla="*/ 6 h 250"/>
                <a:gd name="T8" fmla="*/ 140 w 442"/>
                <a:gd name="T9" fmla="*/ 18 h 250"/>
                <a:gd name="T10" fmla="*/ 106 w 442"/>
                <a:gd name="T11" fmla="*/ 32 h 250"/>
                <a:gd name="T12" fmla="*/ 88 w 442"/>
                <a:gd name="T13" fmla="*/ 44 h 250"/>
                <a:gd name="T14" fmla="*/ 80 w 442"/>
                <a:gd name="T15" fmla="*/ 46 h 250"/>
                <a:gd name="T16" fmla="*/ 62 w 442"/>
                <a:gd name="T17" fmla="*/ 56 h 250"/>
                <a:gd name="T18" fmla="*/ 52 w 442"/>
                <a:gd name="T19" fmla="*/ 62 h 250"/>
                <a:gd name="T20" fmla="*/ 30 w 442"/>
                <a:gd name="T21" fmla="*/ 66 h 250"/>
                <a:gd name="T22" fmla="*/ 12 w 442"/>
                <a:gd name="T23" fmla="*/ 88 h 250"/>
                <a:gd name="T24" fmla="*/ 2 w 442"/>
                <a:gd name="T25" fmla="*/ 74 h 250"/>
                <a:gd name="T26" fmla="*/ 6 w 442"/>
                <a:gd name="T27" fmla="*/ 88 h 250"/>
                <a:gd name="T28" fmla="*/ 20 w 442"/>
                <a:gd name="T29" fmla="*/ 106 h 250"/>
                <a:gd name="T30" fmla="*/ 28 w 442"/>
                <a:gd name="T31" fmla="*/ 122 h 250"/>
                <a:gd name="T32" fmla="*/ 22 w 442"/>
                <a:gd name="T33" fmla="*/ 136 h 250"/>
                <a:gd name="T34" fmla="*/ 36 w 442"/>
                <a:gd name="T35" fmla="*/ 160 h 250"/>
                <a:gd name="T36" fmla="*/ 54 w 442"/>
                <a:gd name="T37" fmla="*/ 174 h 250"/>
                <a:gd name="T38" fmla="*/ 80 w 442"/>
                <a:gd name="T39" fmla="*/ 198 h 250"/>
                <a:gd name="T40" fmla="*/ 90 w 442"/>
                <a:gd name="T41" fmla="*/ 212 h 250"/>
                <a:gd name="T42" fmla="*/ 114 w 442"/>
                <a:gd name="T43" fmla="*/ 230 h 250"/>
                <a:gd name="T44" fmla="*/ 130 w 442"/>
                <a:gd name="T45" fmla="*/ 246 h 250"/>
                <a:gd name="T46" fmla="*/ 158 w 442"/>
                <a:gd name="T47" fmla="*/ 244 h 250"/>
                <a:gd name="T48" fmla="*/ 178 w 442"/>
                <a:gd name="T49" fmla="*/ 232 h 250"/>
                <a:gd name="T50" fmla="*/ 190 w 442"/>
                <a:gd name="T51" fmla="*/ 208 h 250"/>
                <a:gd name="T52" fmla="*/ 202 w 442"/>
                <a:gd name="T53" fmla="*/ 212 h 250"/>
                <a:gd name="T54" fmla="*/ 218 w 442"/>
                <a:gd name="T55" fmla="*/ 212 h 250"/>
                <a:gd name="T56" fmla="*/ 246 w 442"/>
                <a:gd name="T57" fmla="*/ 220 h 250"/>
                <a:gd name="T58" fmla="*/ 284 w 442"/>
                <a:gd name="T59" fmla="*/ 230 h 250"/>
                <a:gd name="T60" fmla="*/ 304 w 442"/>
                <a:gd name="T61" fmla="*/ 234 h 250"/>
                <a:gd name="T62" fmla="*/ 318 w 442"/>
                <a:gd name="T63" fmla="*/ 244 h 250"/>
                <a:gd name="T64" fmla="*/ 332 w 442"/>
                <a:gd name="T65" fmla="*/ 222 h 250"/>
                <a:gd name="T66" fmla="*/ 364 w 442"/>
                <a:gd name="T67" fmla="*/ 222 h 250"/>
                <a:gd name="T68" fmla="*/ 382 w 442"/>
                <a:gd name="T69" fmla="*/ 208 h 250"/>
                <a:gd name="T70" fmla="*/ 394 w 442"/>
                <a:gd name="T71" fmla="*/ 196 h 250"/>
                <a:gd name="T72" fmla="*/ 412 w 442"/>
                <a:gd name="T73" fmla="*/ 174 h 250"/>
                <a:gd name="T74" fmla="*/ 424 w 442"/>
                <a:gd name="T75" fmla="*/ 160 h 250"/>
                <a:gd name="T76" fmla="*/ 440 w 442"/>
                <a:gd name="T77" fmla="*/ 156 h 250"/>
                <a:gd name="T78" fmla="*/ 426 w 442"/>
                <a:gd name="T79" fmla="*/ 130 h 250"/>
                <a:gd name="T80" fmla="*/ 422 w 442"/>
                <a:gd name="T81" fmla="*/ 116 h 250"/>
                <a:gd name="T82" fmla="*/ 402 w 442"/>
                <a:gd name="T83" fmla="*/ 110 h 250"/>
                <a:gd name="T84" fmla="*/ 390 w 442"/>
                <a:gd name="T85" fmla="*/ 102 h 250"/>
                <a:gd name="T86" fmla="*/ 376 w 442"/>
                <a:gd name="T87" fmla="*/ 108 h 250"/>
                <a:gd name="T88" fmla="*/ 364 w 442"/>
                <a:gd name="T89" fmla="*/ 94 h 250"/>
                <a:gd name="T90" fmla="*/ 370 w 442"/>
                <a:gd name="T91" fmla="*/ 82 h 250"/>
                <a:gd name="T92" fmla="*/ 358 w 442"/>
                <a:gd name="T93" fmla="*/ 80 h 250"/>
                <a:gd name="T94" fmla="*/ 322 w 442"/>
                <a:gd name="T95" fmla="*/ 64 h 250"/>
                <a:gd name="T96" fmla="*/ 322 w 442"/>
                <a:gd name="T97" fmla="*/ 80 h 250"/>
                <a:gd name="T98" fmla="*/ 308 w 442"/>
                <a:gd name="T99" fmla="*/ 90 h 250"/>
                <a:gd name="T100" fmla="*/ 296 w 442"/>
                <a:gd name="T101" fmla="*/ 94 h 250"/>
                <a:gd name="T102" fmla="*/ 276 w 442"/>
                <a:gd name="T103" fmla="*/ 68 h 250"/>
                <a:gd name="T104" fmla="*/ 276 w 442"/>
                <a:gd name="T105" fmla="*/ 56 h 250"/>
                <a:gd name="T106" fmla="*/ 284 w 442"/>
                <a:gd name="T107" fmla="*/ 48 h 250"/>
                <a:gd name="T108" fmla="*/ 262 w 442"/>
                <a:gd name="T109" fmla="*/ 42 h 250"/>
                <a:gd name="T110" fmla="*/ 250 w 442"/>
                <a:gd name="T111" fmla="*/ 36 h 250"/>
                <a:gd name="T112" fmla="*/ 222 w 442"/>
                <a:gd name="T113" fmla="*/ 24 h 250"/>
                <a:gd name="T114" fmla="*/ 210 w 442"/>
                <a:gd name="T115" fmla="*/ 16 h 250"/>
                <a:gd name="T116" fmla="*/ 190 w 442"/>
                <a:gd name="T117" fmla="*/ 2 h 250"/>
                <a:gd name="T118" fmla="*/ 178 w 442"/>
                <a:gd name="T119" fmla="*/ 18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42" h="250">
                  <a:moveTo>
                    <a:pt x="178" y="18"/>
                  </a:moveTo>
                  <a:lnTo>
                    <a:pt x="178" y="20"/>
                  </a:lnTo>
                  <a:lnTo>
                    <a:pt x="176" y="22"/>
                  </a:lnTo>
                  <a:lnTo>
                    <a:pt x="174" y="22"/>
                  </a:lnTo>
                  <a:lnTo>
                    <a:pt x="170" y="20"/>
                  </a:lnTo>
                  <a:lnTo>
                    <a:pt x="166" y="18"/>
                  </a:lnTo>
                  <a:lnTo>
                    <a:pt x="166" y="12"/>
                  </a:lnTo>
                  <a:lnTo>
                    <a:pt x="166" y="12"/>
                  </a:lnTo>
                  <a:lnTo>
                    <a:pt x="162" y="8"/>
                  </a:lnTo>
                  <a:lnTo>
                    <a:pt x="162" y="4"/>
                  </a:lnTo>
                  <a:lnTo>
                    <a:pt x="160" y="2"/>
                  </a:lnTo>
                  <a:lnTo>
                    <a:pt x="150" y="0"/>
                  </a:lnTo>
                  <a:lnTo>
                    <a:pt x="146" y="0"/>
                  </a:lnTo>
                  <a:lnTo>
                    <a:pt x="144" y="0"/>
                  </a:lnTo>
                  <a:lnTo>
                    <a:pt x="142" y="4"/>
                  </a:lnTo>
                  <a:lnTo>
                    <a:pt x="144" y="6"/>
                  </a:lnTo>
                  <a:lnTo>
                    <a:pt x="146" y="8"/>
                  </a:lnTo>
                  <a:lnTo>
                    <a:pt x="150" y="12"/>
                  </a:lnTo>
                  <a:lnTo>
                    <a:pt x="150" y="14"/>
                  </a:lnTo>
                  <a:lnTo>
                    <a:pt x="140" y="18"/>
                  </a:lnTo>
                  <a:lnTo>
                    <a:pt x="132" y="22"/>
                  </a:lnTo>
                  <a:lnTo>
                    <a:pt x="126" y="24"/>
                  </a:lnTo>
                  <a:lnTo>
                    <a:pt x="120" y="28"/>
                  </a:lnTo>
                  <a:lnTo>
                    <a:pt x="106" y="32"/>
                  </a:lnTo>
                  <a:lnTo>
                    <a:pt x="96" y="34"/>
                  </a:lnTo>
                  <a:lnTo>
                    <a:pt x="94" y="36"/>
                  </a:lnTo>
                  <a:lnTo>
                    <a:pt x="92" y="42"/>
                  </a:lnTo>
                  <a:lnTo>
                    <a:pt x="88" y="44"/>
                  </a:lnTo>
                  <a:lnTo>
                    <a:pt x="86" y="44"/>
                  </a:lnTo>
                  <a:lnTo>
                    <a:pt x="84" y="42"/>
                  </a:lnTo>
                  <a:lnTo>
                    <a:pt x="82" y="44"/>
                  </a:lnTo>
                  <a:lnTo>
                    <a:pt x="80" y="46"/>
                  </a:lnTo>
                  <a:lnTo>
                    <a:pt x="78" y="48"/>
                  </a:lnTo>
                  <a:lnTo>
                    <a:pt x="76" y="48"/>
                  </a:lnTo>
                  <a:lnTo>
                    <a:pt x="72" y="54"/>
                  </a:lnTo>
                  <a:lnTo>
                    <a:pt x="62" y="56"/>
                  </a:lnTo>
                  <a:lnTo>
                    <a:pt x="60" y="60"/>
                  </a:lnTo>
                  <a:lnTo>
                    <a:pt x="58" y="64"/>
                  </a:lnTo>
                  <a:lnTo>
                    <a:pt x="56" y="64"/>
                  </a:lnTo>
                  <a:lnTo>
                    <a:pt x="52" y="62"/>
                  </a:lnTo>
                  <a:lnTo>
                    <a:pt x="44" y="62"/>
                  </a:lnTo>
                  <a:lnTo>
                    <a:pt x="42" y="64"/>
                  </a:lnTo>
                  <a:lnTo>
                    <a:pt x="36" y="66"/>
                  </a:lnTo>
                  <a:lnTo>
                    <a:pt x="30" y="66"/>
                  </a:lnTo>
                  <a:lnTo>
                    <a:pt x="24" y="70"/>
                  </a:lnTo>
                  <a:lnTo>
                    <a:pt x="18" y="78"/>
                  </a:lnTo>
                  <a:lnTo>
                    <a:pt x="14" y="86"/>
                  </a:lnTo>
                  <a:lnTo>
                    <a:pt x="12" y="88"/>
                  </a:lnTo>
                  <a:lnTo>
                    <a:pt x="10" y="82"/>
                  </a:lnTo>
                  <a:lnTo>
                    <a:pt x="6" y="76"/>
                  </a:lnTo>
                  <a:lnTo>
                    <a:pt x="4" y="74"/>
                  </a:lnTo>
                  <a:lnTo>
                    <a:pt x="2" y="74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4" y="84"/>
                  </a:lnTo>
                  <a:lnTo>
                    <a:pt x="6" y="88"/>
                  </a:lnTo>
                  <a:lnTo>
                    <a:pt x="6" y="90"/>
                  </a:lnTo>
                  <a:lnTo>
                    <a:pt x="8" y="96"/>
                  </a:lnTo>
                  <a:lnTo>
                    <a:pt x="12" y="102"/>
                  </a:lnTo>
                  <a:lnTo>
                    <a:pt x="20" y="106"/>
                  </a:lnTo>
                  <a:lnTo>
                    <a:pt x="24" y="110"/>
                  </a:lnTo>
                  <a:lnTo>
                    <a:pt x="28" y="116"/>
                  </a:lnTo>
                  <a:lnTo>
                    <a:pt x="28" y="118"/>
                  </a:lnTo>
                  <a:lnTo>
                    <a:pt x="28" y="122"/>
                  </a:lnTo>
                  <a:lnTo>
                    <a:pt x="26" y="124"/>
                  </a:lnTo>
                  <a:lnTo>
                    <a:pt x="24" y="126"/>
                  </a:lnTo>
                  <a:lnTo>
                    <a:pt x="20" y="132"/>
                  </a:lnTo>
                  <a:lnTo>
                    <a:pt x="22" y="136"/>
                  </a:lnTo>
                  <a:lnTo>
                    <a:pt x="24" y="138"/>
                  </a:lnTo>
                  <a:lnTo>
                    <a:pt x="28" y="142"/>
                  </a:lnTo>
                  <a:lnTo>
                    <a:pt x="32" y="150"/>
                  </a:lnTo>
                  <a:lnTo>
                    <a:pt x="36" y="160"/>
                  </a:lnTo>
                  <a:lnTo>
                    <a:pt x="40" y="166"/>
                  </a:lnTo>
                  <a:lnTo>
                    <a:pt x="44" y="170"/>
                  </a:lnTo>
                  <a:lnTo>
                    <a:pt x="48" y="174"/>
                  </a:lnTo>
                  <a:lnTo>
                    <a:pt x="54" y="174"/>
                  </a:lnTo>
                  <a:lnTo>
                    <a:pt x="62" y="182"/>
                  </a:lnTo>
                  <a:lnTo>
                    <a:pt x="70" y="192"/>
                  </a:lnTo>
                  <a:lnTo>
                    <a:pt x="76" y="196"/>
                  </a:lnTo>
                  <a:lnTo>
                    <a:pt x="80" y="198"/>
                  </a:lnTo>
                  <a:lnTo>
                    <a:pt x="82" y="202"/>
                  </a:lnTo>
                  <a:lnTo>
                    <a:pt x="86" y="206"/>
                  </a:lnTo>
                  <a:lnTo>
                    <a:pt x="86" y="210"/>
                  </a:lnTo>
                  <a:lnTo>
                    <a:pt x="90" y="212"/>
                  </a:lnTo>
                  <a:lnTo>
                    <a:pt x="96" y="212"/>
                  </a:lnTo>
                  <a:lnTo>
                    <a:pt x="106" y="220"/>
                  </a:lnTo>
                  <a:lnTo>
                    <a:pt x="110" y="226"/>
                  </a:lnTo>
                  <a:lnTo>
                    <a:pt x="114" y="230"/>
                  </a:lnTo>
                  <a:lnTo>
                    <a:pt x="116" y="232"/>
                  </a:lnTo>
                  <a:lnTo>
                    <a:pt x="120" y="234"/>
                  </a:lnTo>
                  <a:lnTo>
                    <a:pt x="126" y="238"/>
                  </a:lnTo>
                  <a:lnTo>
                    <a:pt x="130" y="246"/>
                  </a:lnTo>
                  <a:lnTo>
                    <a:pt x="138" y="250"/>
                  </a:lnTo>
                  <a:lnTo>
                    <a:pt x="150" y="250"/>
                  </a:lnTo>
                  <a:lnTo>
                    <a:pt x="154" y="246"/>
                  </a:lnTo>
                  <a:lnTo>
                    <a:pt x="158" y="244"/>
                  </a:lnTo>
                  <a:lnTo>
                    <a:pt x="162" y="246"/>
                  </a:lnTo>
                  <a:lnTo>
                    <a:pt x="172" y="246"/>
                  </a:lnTo>
                  <a:lnTo>
                    <a:pt x="172" y="240"/>
                  </a:lnTo>
                  <a:lnTo>
                    <a:pt x="178" y="232"/>
                  </a:lnTo>
                  <a:lnTo>
                    <a:pt x="180" y="230"/>
                  </a:lnTo>
                  <a:lnTo>
                    <a:pt x="186" y="230"/>
                  </a:lnTo>
                  <a:lnTo>
                    <a:pt x="188" y="224"/>
                  </a:lnTo>
                  <a:lnTo>
                    <a:pt x="190" y="208"/>
                  </a:lnTo>
                  <a:lnTo>
                    <a:pt x="192" y="208"/>
                  </a:lnTo>
                  <a:lnTo>
                    <a:pt x="196" y="208"/>
                  </a:lnTo>
                  <a:lnTo>
                    <a:pt x="200" y="210"/>
                  </a:lnTo>
                  <a:lnTo>
                    <a:pt x="202" y="212"/>
                  </a:lnTo>
                  <a:lnTo>
                    <a:pt x="204" y="212"/>
                  </a:lnTo>
                  <a:lnTo>
                    <a:pt x="208" y="210"/>
                  </a:lnTo>
                  <a:lnTo>
                    <a:pt x="212" y="210"/>
                  </a:lnTo>
                  <a:lnTo>
                    <a:pt x="218" y="212"/>
                  </a:lnTo>
                  <a:lnTo>
                    <a:pt x="230" y="218"/>
                  </a:lnTo>
                  <a:lnTo>
                    <a:pt x="238" y="222"/>
                  </a:lnTo>
                  <a:lnTo>
                    <a:pt x="242" y="220"/>
                  </a:lnTo>
                  <a:lnTo>
                    <a:pt x="246" y="220"/>
                  </a:lnTo>
                  <a:lnTo>
                    <a:pt x="260" y="232"/>
                  </a:lnTo>
                  <a:lnTo>
                    <a:pt x="272" y="234"/>
                  </a:lnTo>
                  <a:lnTo>
                    <a:pt x="282" y="234"/>
                  </a:lnTo>
                  <a:lnTo>
                    <a:pt x="284" y="230"/>
                  </a:lnTo>
                  <a:lnTo>
                    <a:pt x="288" y="228"/>
                  </a:lnTo>
                  <a:lnTo>
                    <a:pt x="292" y="228"/>
                  </a:lnTo>
                  <a:lnTo>
                    <a:pt x="296" y="228"/>
                  </a:lnTo>
                  <a:lnTo>
                    <a:pt x="304" y="234"/>
                  </a:lnTo>
                  <a:lnTo>
                    <a:pt x="308" y="234"/>
                  </a:lnTo>
                  <a:lnTo>
                    <a:pt x="312" y="236"/>
                  </a:lnTo>
                  <a:lnTo>
                    <a:pt x="314" y="236"/>
                  </a:lnTo>
                  <a:lnTo>
                    <a:pt x="318" y="244"/>
                  </a:lnTo>
                  <a:lnTo>
                    <a:pt x="320" y="246"/>
                  </a:lnTo>
                  <a:lnTo>
                    <a:pt x="322" y="240"/>
                  </a:lnTo>
                  <a:lnTo>
                    <a:pt x="326" y="228"/>
                  </a:lnTo>
                  <a:lnTo>
                    <a:pt x="332" y="222"/>
                  </a:lnTo>
                  <a:lnTo>
                    <a:pt x="334" y="220"/>
                  </a:lnTo>
                  <a:lnTo>
                    <a:pt x="342" y="222"/>
                  </a:lnTo>
                  <a:lnTo>
                    <a:pt x="354" y="224"/>
                  </a:lnTo>
                  <a:lnTo>
                    <a:pt x="364" y="222"/>
                  </a:lnTo>
                  <a:lnTo>
                    <a:pt x="372" y="218"/>
                  </a:lnTo>
                  <a:lnTo>
                    <a:pt x="376" y="214"/>
                  </a:lnTo>
                  <a:lnTo>
                    <a:pt x="382" y="210"/>
                  </a:lnTo>
                  <a:lnTo>
                    <a:pt x="382" y="208"/>
                  </a:lnTo>
                  <a:lnTo>
                    <a:pt x="384" y="206"/>
                  </a:lnTo>
                  <a:lnTo>
                    <a:pt x="392" y="204"/>
                  </a:lnTo>
                  <a:lnTo>
                    <a:pt x="394" y="200"/>
                  </a:lnTo>
                  <a:lnTo>
                    <a:pt x="394" y="196"/>
                  </a:lnTo>
                  <a:lnTo>
                    <a:pt x="396" y="190"/>
                  </a:lnTo>
                  <a:lnTo>
                    <a:pt x="396" y="184"/>
                  </a:lnTo>
                  <a:lnTo>
                    <a:pt x="398" y="182"/>
                  </a:lnTo>
                  <a:lnTo>
                    <a:pt x="412" y="174"/>
                  </a:lnTo>
                  <a:lnTo>
                    <a:pt x="414" y="170"/>
                  </a:lnTo>
                  <a:lnTo>
                    <a:pt x="416" y="168"/>
                  </a:lnTo>
                  <a:lnTo>
                    <a:pt x="420" y="164"/>
                  </a:lnTo>
                  <a:lnTo>
                    <a:pt x="424" y="160"/>
                  </a:lnTo>
                  <a:lnTo>
                    <a:pt x="428" y="158"/>
                  </a:lnTo>
                  <a:lnTo>
                    <a:pt x="432" y="158"/>
                  </a:lnTo>
                  <a:lnTo>
                    <a:pt x="438" y="158"/>
                  </a:lnTo>
                  <a:lnTo>
                    <a:pt x="440" y="156"/>
                  </a:lnTo>
                  <a:lnTo>
                    <a:pt x="442" y="156"/>
                  </a:lnTo>
                  <a:lnTo>
                    <a:pt x="442" y="152"/>
                  </a:lnTo>
                  <a:lnTo>
                    <a:pt x="440" y="146"/>
                  </a:lnTo>
                  <a:lnTo>
                    <a:pt x="426" y="130"/>
                  </a:lnTo>
                  <a:lnTo>
                    <a:pt x="426" y="124"/>
                  </a:lnTo>
                  <a:lnTo>
                    <a:pt x="426" y="122"/>
                  </a:lnTo>
                  <a:lnTo>
                    <a:pt x="424" y="118"/>
                  </a:lnTo>
                  <a:lnTo>
                    <a:pt x="422" y="116"/>
                  </a:lnTo>
                  <a:lnTo>
                    <a:pt x="410" y="114"/>
                  </a:lnTo>
                  <a:lnTo>
                    <a:pt x="408" y="114"/>
                  </a:lnTo>
                  <a:lnTo>
                    <a:pt x="406" y="114"/>
                  </a:lnTo>
                  <a:lnTo>
                    <a:pt x="402" y="110"/>
                  </a:lnTo>
                  <a:lnTo>
                    <a:pt x="394" y="106"/>
                  </a:lnTo>
                  <a:lnTo>
                    <a:pt x="394" y="106"/>
                  </a:lnTo>
                  <a:lnTo>
                    <a:pt x="392" y="104"/>
                  </a:lnTo>
                  <a:lnTo>
                    <a:pt x="390" y="102"/>
                  </a:lnTo>
                  <a:lnTo>
                    <a:pt x="390" y="104"/>
                  </a:lnTo>
                  <a:lnTo>
                    <a:pt x="388" y="106"/>
                  </a:lnTo>
                  <a:lnTo>
                    <a:pt x="380" y="110"/>
                  </a:lnTo>
                  <a:lnTo>
                    <a:pt x="376" y="108"/>
                  </a:lnTo>
                  <a:lnTo>
                    <a:pt x="374" y="106"/>
                  </a:lnTo>
                  <a:lnTo>
                    <a:pt x="372" y="100"/>
                  </a:lnTo>
                  <a:lnTo>
                    <a:pt x="368" y="96"/>
                  </a:lnTo>
                  <a:lnTo>
                    <a:pt x="364" y="94"/>
                  </a:lnTo>
                  <a:lnTo>
                    <a:pt x="362" y="92"/>
                  </a:lnTo>
                  <a:lnTo>
                    <a:pt x="362" y="90"/>
                  </a:lnTo>
                  <a:lnTo>
                    <a:pt x="370" y="86"/>
                  </a:lnTo>
                  <a:lnTo>
                    <a:pt x="370" y="82"/>
                  </a:lnTo>
                  <a:lnTo>
                    <a:pt x="370" y="76"/>
                  </a:lnTo>
                  <a:lnTo>
                    <a:pt x="368" y="74"/>
                  </a:lnTo>
                  <a:lnTo>
                    <a:pt x="366" y="78"/>
                  </a:lnTo>
                  <a:lnTo>
                    <a:pt x="358" y="80"/>
                  </a:lnTo>
                  <a:lnTo>
                    <a:pt x="354" y="80"/>
                  </a:lnTo>
                  <a:lnTo>
                    <a:pt x="350" y="80"/>
                  </a:lnTo>
                  <a:lnTo>
                    <a:pt x="332" y="68"/>
                  </a:lnTo>
                  <a:lnTo>
                    <a:pt x="322" y="64"/>
                  </a:lnTo>
                  <a:lnTo>
                    <a:pt x="314" y="62"/>
                  </a:lnTo>
                  <a:lnTo>
                    <a:pt x="314" y="64"/>
                  </a:lnTo>
                  <a:lnTo>
                    <a:pt x="316" y="70"/>
                  </a:lnTo>
                  <a:lnTo>
                    <a:pt x="322" y="80"/>
                  </a:lnTo>
                  <a:lnTo>
                    <a:pt x="322" y="82"/>
                  </a:lnTo>
                  <a:lnTo>
                    <a:pt x="316" y="86"/>
                  </a:lnTo>
                  <a:lnTo>
                    <a:pt x="312" y="88"/>
                  </a:lnTo>
                  <a:lnTo>
                    <a:pt x="308" y="90"/>
                  </a:lnTo>
                  <a:lnTo>
                    <a:pt x="304" y="94"/>
                  </a:lnTo>
                  <a:lnTo>
                    <a:pt x="302" y="96"/>
                  </a:lnTo>
                  <a:lnTo>
                    <a:pt x="298" y="96"/>
                  </a:lnTo>
                  <a:lnTo>
                    <a:pt x="296" y="94"/>
                  </a:lnTo>
                  <a:lnTo>
                    <a:pt x="290" y="80"/>
                  </a:lnTo>
                  <a:lnTo>
                    <a:pt x="280" y="70"/>
                  </a:lnTo>
                  <a:lnTo>
                    <a:pt x="278" y="68"/>
                  </a:lnTo>
                  <a:lnTo>
                    <a:pt x="276" y="68"/>
                  </a:lnTo>
                  <a:lnTo>
                    <a:pt x="272" y="66"/>
                  </a:lnTo>
                  <a:lnTo>
                    <a:pt x="270" y="62"/>
                  </a:lnTo>
                  <a:lnTo>
                    <a:pt x="272" y="60"/>
                  </a:lnTo>
                  <a:lnTo>
                    <a:pt x="276" y="56"/>
                  </a:lnTo>
                  <a:lnTo>
                    <a:pt x="280" y="54"/>
                  </a:lnTo>
                  <a:lnTo>
                    <a:pt x="282" y="54"/>
                  </a:lnTo>
                  <a:lnTo>
                    <a:pt x="282" y="50"/>
                  </a:lnTo>
                  <a:lnTo>
                    <a:pt x="284" y="48"/>
                  </a:lnTo>
                  <a:lnTo>
                    <a:pt x="284" y="46"/>
                  </a:lnTo>
                  <a:lnTo>
                    <a:pt x="280" y="42"/>
                  </a:lnTo>
                  <a:lnTo>
                    <a:pt x="276" y="38"/>
                  </a:lnTo>
                  <a:lnTo>
                    <a:pt x="262" y="42"/>
                  </a:lnTo>
                  <a:lnTo>
                    <a:pt x="258" y="44"/>
                  </a:lnTo>
                  <a:lnTo>
                    <a:pt x="256" y="40"/>
                  </a:lnTo>
                  <a:lnTo>
                    <a:pt x="254" y="38"/>
                  </a:lnTo>
                  <a:lnTo>
                    <a:pt x="250" y="36"/>
                  </a:lnTo>
                  <a:lnTo>
                    <a:pt x="246" y="34"/>
                  </a:lnTo>
                  <a:lnTo>
                    <a:pt x="240" y="30"/>
                  </a:lnTo>
                  <a:lnTo>
                    <a:pt x="234" y="30"/>
                  </a:lnTo>
                  <a:lnTo>
                    <a:pt x="222" y="24"/>
                  </a:lnTo>
                  <a:lnTo>
                    <a:pt x="218" y="24"/>
                  </a:lnTo>
                  <a:lnTo>
                    <a:pt x="214" y="22"/>
                  </a:lnTo>
                  <a:lnTo>
                    <a:pt x="212" y="20"/>
                  </a:lnTo>
                  <a:lnTo>
                    <a:pt x="210" y="16"/>
                  </a:lnTo>
                  <a:lnTo>
                    <a:pt x="208" y="8"/>
                  </a:lnTo>
                  <a:lnTo>
                    <a:pt x="200" y="4"/>
                  </a:lnTo>
                  <a:lnTo>
                    <a:pt x="192" y="2"/>
                  </a:lnTo>
                  <a:lnTo>
                    <a:pt x="190" y="2"/>
                  </a:lnTo>
                  <a:lnTo>
                    <a:pt x="190" y="10"/>
                  </a:lnTo>
                  <a:lnTo>
                    <a:pt x="190" y="14"/>
                  </a:lnTo>
                  <a:lnTo>
                    <a:pt x="184" y="18"/>
                  </a:lnTo>
                  <a:lnTo>
                    <a:pt x="178" y="1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0" name="Freeform 78">
              <a:extLst>
                <a:ext uri="{FF2B5EF4-FFF2-40B4-BE49-F238E27FC236}">
                  <a16:creationId xmlns:a16="http://schemas.microsoft.com/office/drawing/2014/main" id="{D0BCFE17-2A3F-4A54-86E8-8BDEBBC0A5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46462" y="3735838"/>
              <a:ext cx="231263" cy="314518"/>
            </a:xfrm>
            <a:custGeom>
              <a:avLst/>
              <a:gdLst>
                <a:gd name="connsiteX0" fmla="*/ 1243698 w 1429538"/>
                <a:gd name="connsiteY0" fmla="*/ 252553 h 1944173"/>
                <a:gd name="connsiteX1" fmla="*/ 1277054 w 1429538"/>
                <a:gd name="connsiteY1" fmla="*/ 276377 h 1944173"/>
                <a:gd name="connsiteX2" fmla="*/ 1305644 w 1429538"/>
                <a:gd name="connsiteY2" fmla="*/ 300203 h 1944173"/>
                <a:gd name="connsiteX3" fmla="*/ 1300880 w 1429538"/>
                <a:gd name="connsiteY3" fmla="*/ 309733 h 1944173"/>
                <a:gd name="connsiteX4" fmla="*/ 1305644 w 1429538"/>
                <a:gd name="connsiteY4" fmla="*/ 319263 h 1944173"/>
                <a:gd name="connsiteX5" fmla="*/ 1300880 w 1429538"/>
                <a:gd name="connsiteY5" fmla="*/ 319263 h 1944173"/>
                <a:gd name="connsiteX6" fmla="*/ 1281820 w 1429538"/>
                <a:gd name="connsiteY6" fmla="*/ 324029 h 1944173"/>
                <a:gd name="connsiteX7" fmla="*/ 1257994 w 1429538"/>
                <a:gd name="connsiteY7" fmla="*/ 319263 h 1944173"/>
                <a:gd name="connsiteX8" fmla="*/ 1257994 w 1429538"/>
                <a:gd name="connsiteY8" fmla="*/ 300203 h 1944173"/>
                <a:gd name="connsiteX9" fmla="*/ 1257994 w 1429538"/>
                <a:gd name="connsiteY9" fmla="*/ 285907 h 1944173"/>
                <a:gd name="connsiteX10" fmla="*/ 1253228 w 1429538"/>
                <a:gd name="connsiteY10" fmla="*/ 276377 h 1944173"/>
                <a:gd name="connsiteX11" fmla="*/ 1243698 w 1429538"/>
                <a:gd name="connsiteY11" fmla="*/ 271613 h 1944173"/>
                <a:gd name="connsiteX12" fmla="*/ 1243698 w 1429538"/>
                <a:gd name="connsiteY12" fmla="*/ 262083 h 1944173"/>
                <a:gd name="connsiteX13" fmla="*/ 814836 w 1429538"/>
                <a:gd name="connsiteY13" fmla="*/ 142953 h 1944173"/>
                <a:gd name="connsiteX14" fmla="*/ 838662 w 1429538"/>
                <a:gd name="connsiteY14" fmla="*/ 152485 h 1944173"/>
                <a:gd name="connsiteX15" fmla="*/ 848192 w 1429538"/>
                <a:gd name="connsiteY15" fmla="*/ 166779 h 1944173"/>
                <a:gd name="connsiteX16" fmla="*/ 848192 w 1429538"/>
                <a:gd name="connsiteY16" fmla="*/ 176309 h 1944173"/>
                <a:gd name="connsiteX17" fmla="*/ 824366 w 1429538"/>
                <a:gd name="connsiteY17" fmla="*/ 176309 h 1944173"/>
                <a:gd name="connsiteX18" fmla="*/ 814836 w 1429538"/>
                <a:gd name="connsiteY18" fmla="*/ 162015 h 1944173"/>
                <a:gd name="connsiteX19" fmla="*/ 805306 w 1429538"/>
                <a:gd name="connsiteY19" fmla="*/ 162015 h 1944173"/>
                <a:gd name="connsiteX20" fmla="*/ 810072 w 1429538"/>
                <a:gd name="connsiteY20" fmla="*/ 147719 h 1944173"/>
                <a:gd name="connsiteX21" fmla="*/ 1167456 w 1429538"/>
                <a:gd name="connsiteY21" fmla="*/ 100069 h 1944173"/>
                <a:gd name="connsiteX22" fmla="*/ 1181750 w 1429538"/>
                <a:gd name="connsiteY22" fmla="*/ 100069 h 1944173"/>
                <a:gd name="connsiteX23" fmla="*/ 1186516 w 1429538"/>
                <a:gd name="connsiteY23" fmla="*/ 114363 h 1944173"/>
                <a:gd name="connsiteX24" fmla="*/ 1191282 w 1429538"/>
                <a:gd name="connsiteY24" fmla="*/ 119129 h 1944173"/>
                <a:gd name="connsiteX25" fmla="*/ 1215106 w 1429538"/>
                <a:gd name="connsiteY25" fmla="*/ 133423 h 1944173"/>
                <a:gd name="connsiteX26" fmla="*/ 1219872 w 1429538"/>
                <a:gd name="connsiteY26" fmla="*/ 138189 h 1944173"/>
                <a:gd name="connsiteX27" fmla="*/ 1219872 w 1429538"/>
                <a:gd name="connsiteY27" fmla="*/ 142955 h 1944173"/>
                <a:gd name="connsiteX28" fmla="*/ 1210342 w 1429538"/>
                <a:gd name="connsiteY28" fmla="*/ 157249 h 1944173"/>
                <a:gd name="connsiteX29" fmla="*/ 1205576 w 1429538"/>
                <a:gd name="connsiteY29" fmla="*/ 162015 h 1944173"/>
                <a:gd name="connsiteX30" fmla="*/ 1210342 w 1429538"/>
                <a:gd name="connsiteY30" fmla="*/ 171545 h 1944173"/>
                <a:gd name="connsiteX31" fmla="*/ 1224636 w 1429538"/>
                <a:gd name="connsiteY31" fmla="*/ 185841 h 1944173"/>
                <a:gd name="connsiteX32" fmla="*/ 1229402 w 1429538"/>
                <a:gd name="connsiteY32" fmla="*/ 200135 h 1944173"/>
                <a:gd name="connsiteX33" fmla="*/ 1224636 w 1429538"/>
                <a:gd name="connsiteY33" fmla="*/ 209665 h 1944173"/>
                <a:gd name="connsiteX34" fmla="*/ 1210342 w 1429538"/>
                <a:gd name="connsiteY34" fmla="*/ 195371 h 1944173"/>
                <a:gd name="connsiteX35" fmla="*/ 1191282 w 1429538"/>
                <a:gd name="connsiteY35" fmla="*/ 195371 h 1944173"/>
                <a:gd name="connsiteX36" fmla="*/ 1181750 w 1429538"/>
                <a:gd name="connsiteY36" fmla="*/ 219197 h 1944173"/>
                <a:gd name="connsiteX37" fmla="*/ 1172220 w 1429538"/>
                <a:gd name="connsiteY37" fmla="*/ 219197 h 1944173"/>
                <a:gd name="connsiteX38" fmla="*/ 1143630 w 1429538"/>
                <a:gd name="connsiteY38" fmla="*/ 200135 h 1944173"/>
                <a:gd name="connsiteX39" fmla="*/ 1138864 w 1429538"/>
                <a:gd name="connsiteY39" fmla="*/ 185841 h 1944173"/>
                <a:gd name="connsiteX40" fmla="*/ 1138864 w 1429538"/>
                <a:gd name="connsiteY40" fmla="*/ 181075 h 1944173"/>
                <a:gd name="connsiteX41" fmla="*/ 1143630 w 1429538"/>
                <a:gd name="connsiteY41" fmla="*/ 147719 h 1944173"/>
                <a:gd name="connsiteX42" fmla="*/ 1143630 w 1429538"/>
                <a:gd name="connsiteY42" fmla="*/ 138189 h 1944173"/>
                <a:gd name="connsiteX43" fmla="*/ 1153160 w 1429538"/>
                <a:gd name="connsiteY43" fmla="*/ 128659 h 1944173"/>
                <a:gd name="connsiteX44" fmla="*/ 1153160 w 1429538"/>
                <a:gd name="connsiteY44" fmla="*/ 114363 h 1944173"/>
                <a:gd name="connsiteX45" fmla="*/ 409800 w 1429538"/>
                <a:gd name="connsiteY45" fmla="*/ 81007 h 1944173"/>
                <a:gd name="connsiteX46" fmla="*/ 414566 w 1429538"/>
                <a:gd name="connsiteY46" fmla="*/ 81007 h 1944173"/>
                <a:gd name="connsiteX47" fmla="*/ 424096 w 1429538"/>
                <a:gd name="connsiteY47" fmla="*/ 85773 h 1944173"/>
                <a:gd name="connsiteX48" fmla="*/ 428860 w 1429538"/>
                <a:gd name="connsiteY48" fmla="*/ 95303 h 1944173"/>
                <a:gd name="connsiteX49" fmla="*/ 419330 w 1429538"/>
                <a:gd name="connsiteY49" fmla="*/ 100069 h 1944173"/>
                <a:gd name="connsiteX50" fmla="*/ 405036 w 1429538"/>
                <a:gd name="connsiteY50" fmla="*/ 100069 h 1944173"/>
                <a:gd name="connsiteX51" fmla="*/ 395504 w 1429538"/>
                <a:gd name="connsiteY51" fmla="*/ 95303 h 1944173"/>
                <a:gd name="connsiteX52" fmla="*/ 400270 w 1429538"/>
                <a:gd name="connsiteY52" fmla="*/ 85773 h 1944173"/>
                <a:gd name="connsiteX53" fmla="*/ 438392 w 1429538"/>
                <a:gd name="connsiteY53" fmla="*/ 42886 h 1944173"/>
                <a:gd name="connsiteX54" fmla="*/ 466982 w 1429538"/>
                <a:gd name="connsiteY54" fmla="*/ 42886 h 1944173"/>
                <a:gd name="connsiteX55" fmla="*/ 476512 w 1429538"/>
                <a:gd name="connsiteY55" fmla="*/ 42886 h 1944173"/>
                <a:gd name="connsiteX56" fmla="*/ 519398 w 1429538"/>
                <a:gd name="connsiteY56" fmla="*/ 57181 h 1944173"/>
                <a:gd name="connsiteX57" fmla="*/ 528930 w 1429538"/>
                <a:gd name="connsiteY57" fmla="*/ 66712 h 1944173"/>
                <a:gd name="connsiteX58" fmla="*/ 543224 w 1429538"/>
                <a:gd name="connsiteY58" fmla="*/ 71477 h 1944173"/>
                <a:gd name="connsiteX59" fmla="*/ 567050 w 1429538"/>
                <a:gd name="connsiteY59" fmla="*/ 61947 h 1944173"/>
                <a:gd name="connsiteX60" fmla="*/ 586110 w 1429538"/>
                <a:gd name="connsiteY60" fmla="*/ 57181 h 1944173"/>
                <a:gd name="connsiteX61" fmla="*/ 595640 w 1429538"/>
                <a:gd name="connsiteY61" fmla="*/ 61947 h 1944173"/>
                <a:gd name="connsiteX62" fmla="*/ 605172 w 1429538"/>
                <a:gd name="connsiteY62" fmla="*/ 61947 h 1944173"/>
                <a:gd name="connsiteX63" fmla="*/ 609936 w 1429538"/>
                <a:gd name="connsiteY63" fmla="*/ 66712 h 1944173"/>
                <a:gd name="connsiteX64" fmla="*/ 628996 w 1429538"/>
                <a:gd name="connsiteY64" fmla="*/ 76242 h 1944173"/>
                <a:gd name="connsiteX65" fmla="*/ 638528 w 1429538"/>
                <a:gd name="connsiteY65" fmla="*/ 85773 h 1944173"/>
                <a:gd name="connsiteX66" fmla="*/ 652822 w 1429538"/>
                <a:gd name="connsiteY66" fmla="*/ 104833 h 1944173"/>
                <a:gd name="connsiteX67" fmla="*/ 652822 w 1429538"/>
                <a:gd name="connsiteY67" fmla="*/ 128659 h 1944173"/>
                <a:gd name="connsiteX68" fmla="*/ 638528 w 1429538"/>
                <a:gd name="connsiteY68" fmla="*/ 147719 h 1944173"/>
                <a:gd name="connsiteX69" fmla="*/ 628996 w 1429538"/>
                <a:gd name="connsiteY69" fmla="*/ 157249 h 1944173"/>
                <a:gd name="connsiteX70" fmla="*/ 671882 w 1429538"/>
                <a:gd name="connsiteY70" fmla="*/ 157249 h 1944173"/>
                <a:gd name="connsiteX71" fmla="*/ 671882 w 1429538"/>
                <a:gd name="connsiteY71" fmla="*/ 166779 h 1944173"/>
                <a:gd name="connsiteX72" fmla="*/ 681414 w 1429538"/>
                <a:gd name="connsiteY72" fmla="*/ 176309 h 1944173"/>
                <a:gd name="connsiteX73" fmla="*/ 705238 w 1429538"/>
                <a:gd name="connsiteY73" fmla="*/ 166779 h 1944173"/>
                <a:gd name="connsiteX74" fmla="*/ 762420 w 1429538"/>
                <a:gd name="connsiteY74" fmla="*/ 200135 h 1944173"/>
                <a:gd name="connsiteX75" fmla="*/ 795776 w 1429538"/>
                <a:gd name="connsiteY75" fmla="*/ 185839 h 1944173"/>
                <a:gd name="connsiteX76" fmla="*/ 805306 w 1429538"/>
                <a:gd name="connsiteY76" fmla="*/ 185839 h 1944173"/>
                <a:gd name="connsiteX77" fmla="*/ 814836 w 1429538"/>
                <a:gd name="connsiteY77" fmla="*/ 209665 h 1944173"/>
                <a:gd name="connsiteX78" fmla="*/ 805306 w 1429538"/>
                <a:gd name="connsiteY78" fmla="*/ 238257 h 1944173"/>
                <a:gd name="connsiteX79" fmla="*/ 771950 w 1429538"/>
                <a:gd name="connsiteY79" fmla="*/ 266847 h 1944173"/>
                <a:gd name="connsiteX80" fmla="*/ 781480 w 1429538"/>
                <a:gd name="connsiteY80" fmla="*/ 281143 h 1944173"/>
                <a:gd name="connsiteX81" fmla="*/ 791012 w 1429538"/>
                <a:gd name="connsiteY81" fmla="*/ 285907 h 1944173"/>
                <a:gd name="connsiteX82" fmla="*/ 819602 w 1429538"/>
                <a:gd name="connsiteY82" fmla="*/ 281143 h 1944173"/>
                <a:gd name="connsiteX83" fmla="*/ 867254 w 1429538"/>
                <a:gd name="connsiteY83" fmla="*/ 300203 h 1944173"/>
                <a:gd name="connsiteX84" fmla="*/ 876784 w 1429538"/>
                <a:gd name="connsiteY84" fmla="*/ 295437 h 1944173"/>
                <a:gd name="connsiteX85" fmla="*/ 914904 w 1429538"/>
                <a:gd name="connsiteY85" fmla="*/ 257317 h 1944173"/>
                <a:gd name="connsiteX86" fmla="*/ 929200 w 1429538"/>
                <a:gd name="connsiteY86" fmla="*/ 247787 h 1944173"/>
                <a:gd name="connsiteX87" fmla="*/ 976850 w 1429538"/>
                <a:gd name="connsiteY87" fmla="*/ 243021 h 1944173"/>
                <a:gd name="connsiteX88" fmla="*/ 986382 w 1429538"/>
                <a:gd name="connsiteY88" fmla="*/ 223961 h 1944173"/>
                <a:gd name="connsiteX89" fmla="*/ 1005442 w 1429538"/>
                <a:gd name="connsiteY89" fmla="*/ 209665 h 1944173"/>
                <a:gd name="connsiteX90" fmla="*/ 1019738 w 1429538"/>
                <a:gd name="connsiteY90" fmla="*/ 195371 h 1944173"/>
                <a:gd name="connsiteX91" fmla="*/ 1048328 w 1429538"/>
                <a:gd name="connsiteY91" fmla="*/ 162015 h 1944173"/>
                <a:gd name="connsiteX92" fmla="*/ 1081684 w 1429538"/>
                <a:gd name="connsiteY92" fmla="*/ 166779 h 1944173"/>
                <a:gd name="connsiteX93" fmla="*/ 1100744 w 1429538"/>
                <a:gd name="connsiteY93" fmla="*/ 171545 h 1944173"/>
                <a:gd name="connsiteX94" fmla="*/ 1119804 w 1429538"/>
                <a:gd name="connsiteY94" fmla="*/ 176309 h 1944173"/>
                <a:gd name="connsiteX95" fmla="*/ 1138866 w 1429538"/>
                <a:gd name="connsiteY95" fmla="*/ 209665 h 1944173"/>
                <a:gd name="connsiteX96" fmla="*/ 1186516 w 1429538"/>
                <a:gd name="connsiteY96" fmla="*/ 247787 h 1944173"/>
                <a:gd name="connsiteX97" fmla="*/ 1229402 w 1429538"/>
                <a:gd name="connsiteY97" fmla="*/ 243021 h 1944173"/>
                <a:gd name="connsiteX98" fmla="*/ 1243698 w 1429538"/>
                <a:gd name="connsiteY98" fmla="*/ 281143 h 1944173"/>
                <a:gd name="connsiteX99" fmla="*/ 1253228 w 1429538"/>
                <a:gd name="connsiteY99" fmla="*/ 324029 h 1944173"/>
                <a:gd name="connsiteX100" fmla="*/ 1262758 w 1429538"/>
                <a:gd name="connsiteY100" fmla="*/ 338323 h 1944173"/>
                <a:gd name="connsiteX101" fmla="*/ 1277054 w 1429538"/>
                <a:gd name="connsiteY101" fmla="*/ 347855 h 1944173"/>
                <a:gd name="connsiteX102" fmla="*/ 1310410 w 1429538"/>
                <a:gd name="connsiteY102" fmla="*/ 357385 h 1944173"/>
                <a:gd name="connsiteX103" fmla="*/ 1315176 w 1429538"/>
                <a:gd name="connsiteY103" fmla="*/ 362149 h 1944173"/>
                <a:gd name="connsiteX104" fmla="*/ 1315176 w 1429538"/>
                <a:gd name="connsiteY104" fmla="*/ 385975 h 1944173"/>
                <a:gd name="connsiteX105" fmla="*/ 1319940 w 1429538"/>
                <a:gd name="connsiteY105" fmla="*/ 405035 h 1944173"/>
                <a:gd name="connsiteX106" fmla="*/ 1339000 w 1429538"/>
                <a:gd name="connsiteY106" fmla="*/ 476513 h 1944173"/>
                <a:gd name="connsiteX107" fmla="*/ 1334236 w 1429538"/>
                <a:gd name="connsiteY107" fmla="*/ 490809 h 1944173"/>
                <a:gd name="connsiteX108" fmla="*/ 1334236 w 1429538"/>
                <a:gd name="connsiteY108" fmla="*/ 495573 h 1944173"/>
                <a:gd name="connsiteX109" fmla="*/ 1329470 w 1429538"/>
                <a:gd name="connsiteY109" fmla="*/ 519399 h 1944173"/>
                <a:gd name="connsiteX110" fmla="*/ 1319940 w 1429538"/>
                <a:gd name="connsiteY110" fmla="*/ 543225 h 1944173"/>
                <a:gd name="connsiteX111" fmla="*/ 1300880 w 1429538"/>
                <a:gd name="connsiteY111" fmla="*/ 552755 h 1944173"/>
                <a:gd name="connsiteX112" fmla="*/ 1296114 w 1429538"/>
                <a:gd name="connsiteY112" fmla="*/ 567051 h 1944173"/>
                <a:gd name="connsiteX113" fmla="*/ 1291350 w 1429538"/>
                <a:gd name="connsiteY113" fmla="*/ 581345 h 1944173"/>
                <a:gd name="connsiteX114" fmla="*/ 1310410 w 1429538"/>
                <a:gd name="connsiteY114" fmla="*/ 605171 h 1944173"/>
                <a:gd name="connsiteX115" fmla="*/ 1353296 w 1429538"/>
                <a:gd name="connsiteY115" fmla="*/ 638527 h 1944173"/>
                <a:gd name="connsiteX116" fmla="*/ 1367592 w 1429538"/>
                <a:gd name="connsiteY116" fmla="*/ 671883 h 1944173"/>
                <a:gd name="connsiteX117" fmla="*/ 1362826 w 1429538"/>
                <a:gd name="connsiteY117" fmla="*/ 695709 h 1944173"/>
                <a:gd name="connsiteX118" fmla="*/ 1358062 w 1429538"/>
                <a:gd name="connsiteY118" fmla="*/ 714769 h 1944173"/>
                <a:gd name="connsiteX119" fmla="*/ 1362826 w 1429538"/>
                <a:gd name="connsiteY119" fmla="*/ 724299 h 1944173"/>
                <a:gd name="connsiteX120" fmla="*/ 1367592 w 1429538"/>
                <a:gd name="connsiteY120" fmla="*/ 733829 h 1944173"/>
                <a:gd name="connsiteX121" fmla="*/ 1377122 w 1429538"/>
                <a:gd name="connsiteY121" fmla="*/ 743359 h 1944173"/>
                <a:gd name="connsiteX122" fmla="*/ 1381886 w 1429538"/>
                <a:gd name="connsiteY122" fmla="*/ 752891 h 1944173"/>
                <a:gd name="connsiteX123" fmla="*/ 1381886 w 1429538"/>
                <a:gd name="connsiteY123" fmla="*/ 767185 h 1944173"/>
                <a:gd name="connsiteX124" fmla="*/ 1381886 w 1429538"/>
                <a:gd name="connsiteY124" fmla="*/ 776715 h 1944173"/>
                <a:gd name="connsiteX125" fmla="*/ 1391416 w 1429538"/>
                <a:gd name="connsiteY125" fmla="*/ 786245 h 1944173"/>
                <a:gd name="connsiteX126" fmla="*/ 1386652 w 1429538"/>
                <a:gd name="connsiteY126" fmla="*/ 795777 h 1944173"/>
                <a:gd name="connsiteX127" fmla="*/ 1381886 w 1429538"/>
                <a:gd name="connsiteY127" fmla="*/ 814837 h 1944173"/>
                <a:gd name="connsiteX128" fmla="*/ 1377122 w 1429538"/>
                <a:gd name="connsiteY128" fmla="*/ 829133 h 1944173"/>
                <a:gd name="connsiteX129" fmla="*/ 1367592 w 1429538"/>
                <a:gd name="connsiteY129" fmla="*/ 848193 h 1944173"/>
                <a:gd name="connsiteX130" fmla="*/ 1367592 w 1429538"/>
                <a:gd name="connsiteY130" fmla="*/ 862489 h 1944173"/>
                <a:gd name="connsiteX131" fmla="*/ 1377122 w 1429538"/>
                <a:gd name="connsiteY131" fmla="*/ 881549 h 1944173"/>
                <a:gd name="connsiteX132" fmla="*/ 1386652 w 1429538"/>
                <a:gd name="connsiteY132" fmla="*/ 891079 h 1944173"/>
                <a:gd name="connsiteX133" fmla="*/ 1386652 w 1429538"/>
                <a:gd name="connsiteY133" fmla="*/ 900609 h 1944173"/>
                <a:gd name="connsiteX134" fmla="*/ 1381886 w 1429538"/>
                <a:gd name="connsiteY134" fmla="*/ 919669 h 1944173"/>
                <a:gd name="connsiteX135" fmla="*/ 1386652 w 1429538"/>
                <a:gd name="connsiteY135" fmla="*/ 924435 h 1944173"/>
                <a:gd name="connsiteX136" fmla="*/ 1415242 w 1429538"/>
                <a:gd name="connsiteY136" fmla="*/ 938729 h 1944173"/>
                <a:gd name="connsiteX137" fmla="*/ 1420008 w 1429538"/>
                <a:gd name="connsiteY137" fmla="*/ 948261 h 1944173"/>
                <a:gd name="connsiteX138" fmla="*/ 1420008 w 1429538"/>
                <a:gd name="connsiteY138" fmla="*/ 962555 h 1944173"/>
                <a:gd name="connsiteX139" fmla="*/ 1429538 w 1429538"/>
                <a:gd name="connsiteY139" fmla="*/ 991147 h 1944173"/>
                <a:gd name="connsiteX140" fmla="*/ 1424772 w 1429538"/>
                <a:gd name="connsiteY140" fmla="*/ 1034033 h 1944173"/>
                <a:gd name="connsiteX141" fmla="*/ 1415242 w 1429538"/>
                <a:gd name="connsiteY141" fmla="*/ 1053093 h 1944173"/>
                <a:gd name="connsiteX142" fmla="*/ 1400948 w 1429538"/>
                <a:gd name="connsiteY142" fmla="*/ 1086449 h 1944173"/>
                <a:gd name="connsiteX143" fmla="*/ 1396182 w 1429538"/>
                <a:gd name="connsiteY143" fmla="*/ 1091215 h 1944173"/>
                <a:gd name="connsiteX144" fmla="*/ 1396182 w 1429538"/>
                <a:gd name="connsiteY144" fmla="*/ 1095979 h 1944173"/>
                <a:gd name="connsiteX145" fmla="*/ 1391416 w 1429538"/>
                <a:gd name="connsiteY145" fmla="*/ 1100745 h 1944173"/>
                <a:gd name="connsiteX146" fmla="*/ 1386652 w 1429538"/>
                <a:gd name="connsiteY146" fmla="*/ 1100745 h 1944173"/>
                <a:gd name="connsiteX147" fmla="*/ 1377122 w 1429538"/>
                <a:gd name="connsiteY147" fmla="*/ 1095979 h 1944173"/>
                <a:gd name="connsiteX148" fmla="*/ 1367592 w 1429538"/>
                <a:gd name="connsiteY148" fmla="*/ 1091215 h 1944173"/>
                <a:gd name="connsiteX149" fmla="*/ 1367592 w 1429538"/>
                <a:gd name="connsiteY149" fmla="*/ 1076919 h 1944173"/>
                <a:gd name="connsiteX150" fmla="*/ 1358062 w 1429538"/>
                <a:gd name="connsiteY150" fmla="*/ 1067389 h 1944173"/>
                <a:gd name="connsiteX151" fmla="*/ 1358062 w 1429538"/>
                <a:gd name="connsiteY151" fmla="*/ 1057859 h 1944173"/>
                <a:gd name="connsiteX152" fmla="*/ 1353296 w 1429538"/>
                <a:gd name="connsiteY152" fmla="*/ 1053093 h 1944173"/>
                <a:gd name="connsiteX153" fmla="*/ 1329470 w 1429538"/>
                <a:gd name="connsiteY153" fmla="*/ 1048329 h 1944173"/>
                <a:gd name="connsiteX154" fmla="*/ 1319940 w 1429538"/>
                <a:gd name="connsiteY154" fmla="*/ 1048329 h 1944173"/>
                <a:gd name="connsiteX155" fmla="*/ 1315176 w 1429538"/>
                <a:gd name="connsiteY155" fmla="*/ 1048329 h 1944173"/>
                <a:gd name="connsiteX156" fmla="*/ 1310410 w 1429538"/>
                <a:gd name="connsiteY156" fmla="*/ 1057859 h 1944173"/>
                <a:gd name="connsiteX157" fmla="*/ 1315176 w 1429538"/>
                <a:gd name="connsiteY157" fmla="*/ 1062623 h 1944173"/>
                <a:gd name="connsiteX158" fmla="*/ 1319940 w 1429538"/>
                <a:gd name="connsiteY158" fmla="*/ 1067389 h 1944173"/>
                <a:gd name="connsiteX159" fmla="*/ 1329470 w 1429538"/>
                <a:gd name="connsiteY159" fmla="*/ 1076919 h 1944173"/>
                <a:gd name="connsiteX160" fmla="*/ 1329470 w 1429538"/>
                <a:gd name="connsiteY160" fmla="*/ 1081683 h 1944173"/>
                <a:gd name="connsiteX161" fmla="*/ 1305644 w 1429538"/>
                <a:gd name="connsiteY161" fmla="*/ 1091215 h 1944173"/>
                <a:gd name="connsiteX162" fmla="*/ 1286584 w 1429538"/>
                <a:gd name="connsiteY162" fmla="*/ 1100745 h 1944173"/>
                <a:gd name="connsiteX163" fmla="*/ 1272288 w 1429538"/>
                <a:gd name="connsiteY163" fmla="*/ 1105509 h 1944173"/>
                <a:gd name="connsiteX164" fmla="*/ 1257994 w 1429538"/>
                <a:gd name="connsiteY164" fmla="*/ 1115039 h 1944173"/>
                <a:gd name="connsiteX165" fmla="*/ 1224638 w 1429538"/>
                <a:gd name="connsiteY165" fmla="*/ 1124569 h 1944173"/>
                <a:gd name="connsiteX166" fmla="*/ 1200812 w 1429538"/>
                <a:gd name="connsiteY166" fmla="*/ 1129335 h 1944173"/>
                <a:gd name="connsiteX167" fmla="*/ 1196046 w 1429538"/>
                <a:gd name="connsiteY167" fmla="*/ 1134101 h 1944173"/>
                <a:gd name="connsiteX168" fmla="*/ 1191282 w 1429538"/>
                <a:gd name="connsiteY168" fmla="*/ 1148395 h 1944173"/>
                <a:gd name="connsiteX169" fmla="*/ 1181752 w 1429538"/>
                <a:gd name="connsiteY169" fmla="*/ 1153161 h 1944173"/>
                <a:gd name="connsiteX170" fmla="*/ 1176986 w 1429538"/>
                <a:gd name="connsiteY170" fmla="*/ 1153161 h 1944173"/>
                <a:gd name="connsiteX171" fmla="*/ 1172222 w 1429538"/>
                <a:gd name="connsiteY171" fmla="*/ 1148395 h 1944173"/>
                <a:gd name="connsiteX172" fmla="*/ 1167456 w 1429538"/>
                <a:gd name="connsiteY172" fmla="*/ 1153161 h 1944173"/>
                <a:gd name="connsiteX173" fmla="*/ 1162690 w 1429538"/>
                <a:gd name="connsiteY173" fmla="*/ 1157925 h 1944173"/>
                <a:gd name="connsiteX174" fmla="*/ 1157926 w 1429538"/>
                <a:gd name="connsiteY174" fmla="*/ 1162691 h 1944173"/>
                <a:gd name="connsiteX175" fmla="*/ 1153160 w 1429538"/>
                <a:gd name="connsiteY175" fmla="*/ 1162691 h 1944173"/>
                <a:gd name="connsiteX176" fmla="*/ 1143630 w 1429538"/>
                <a:gd name="connsiteY176" fmla="*/ 1176987 h 1944173"/>
                <a:gd name="connsiteX177" fmla="*/ 1119804 w 1429538"/>
                <a:gd name="connsiteY177" fmla="*/ 1181751 h 1944173"/>
                <a:gd name="connsiteX178" fmla="*/ 1115040 w 1429538"/>
                <a:gd name="connsiteY178" fmla="*/ 1191281 h 1944173"/>
                <a:gd name="connsiteX179" fmla="*/ 1110274 w 1429538"/>
                <a:gd name="connsiteY179" fmla="*/ 1200813 h 1944173"/>
                <a:gd name="connsiteX180" fmla="*/ 1105510 w 1429538"/>
                <a:gd name="connsiteY180" fmla="*/ 1200813 h 1944173"/>
                <a:gd name="connsiteX181" fmla="*/ 1095980 w 1429538"/>
                <a:gd name="connsiteY181" fmla="*/ 1196047 h 1944173"/>
                <a:gd name="connsiteX182" fmla="*/ 1076918 w 1429538"/>
                <a:gd name="connsiteY182" fmla="*/ 1196047 h 1944173"/>
                <a:gd name="connsiteX183" fmla="*/ 1072154 w 1429538"/>
                <a:gd name="connsiteY183" fmla="*/ 1200813 h 1944173"/>
                <a:gd name="connsiteX184" fmla="*/ 1057858 w 1429538"/>
                <a:gd name="connsiteY184" fmla="*/ 1205577 h 1944173"/>
                <a:gd name="connsiteX185" fmla="*/ 1043562 w 1429538"/>
                <a:gd name="connsiteY185" fmla="*/ 1205577 h 1944173"/>
                <a:gd name="connsiteX186" fmla="*/ 1029268 w 1429538"/>
                <a:gd name="connsiteY186" fmla="*/ 1215107 h 1944173"/>
                <a:gd name="connsiteX187" fmla="*/ 1014972 w 1429538"/>
                <a:gd name="connsiteY187" fmla="*/ 1234169 h 1944173"/>
                <a:gd name="connsiteX188" fmla="*/ 1005442 w 1429538"/>
                <a:gd name="connsiteY188" fmla="*/ 1253229 h 1944173"/>
                <a:gd name="connsiteX189" fmla="*/ 1000676 w 1429538"/>
                <a:gd name="connsiteY189" fmla="*/ 1257993 h 1944173"/>
                <a:gd name="connsiteX190" fmla="*/ 995912 w 1429538"/>
                <a:gd name="connsiteY190" fmla="*/ 1243699 h 1944173"/>
                <a:gd name="connsiteX191" fmla="*/ 986382 w 1429538"/>
                <a:gd name="connsiteY191" fmla="*/ 1229403 h 1944173"/>
                <a:gd name="connsiteX192" fmla="*/ 981616 w 1429538"/>
                <a:gd name="connsiteY192" fmla="*/ 1224637 h 1944173"/>
                <a:gd name="connsiteX193" fmla="*/ 976850 w 1429538"/>
                <a:gd name="connsiteY193" fmla="*/ 1224637 h 1944173"/>
                <a:gd name="connsiteX194" fmla="*/ 972086 w 1429538"/>
                <a:gd name="connsiteY194" fmla="*/ 1229403 h 1944173"/>
                <a:gd name="connsiteX195" fmla="*/ 972086 w 1429538"/>
                <a:gd name="connsiteY195" fmla="*/ 1234169 h 1944173"/>
                <a:gd name="connsiteX196" fmla="*/ 981616 w 1429538"/>
                <a:gd name="connsiteY196" fmla="*/ 1248463 h 1944173"/>
                <a:gd name="connsiteX197" fmla="*/ 986382 w 1429538"/>
                <a:gd name="connsiteY197" fmla="*/ 1257993 h 1944173"/>
                <a:gd name="connsiteX198" fmla="*/ 986382 w 1429538"/>
                <a:gd name="connsiteY198" fmla="*/ 1262759 h 1944173"/>
                <a:gd name="connsiteX199" fmla="*/ 991146 w 1429538"/>
                <a:gd name="connsiteY199" fmla="*/ 1277055 h 1944173"/>
                <a:gd name="connsiteX200" fmla="*/ 1000676 w 1429538"/>
                <a:gd name="connsiteY200" fmla="*/ 1291349 h 1944173"/>
                <a:gd name="connsiteX201" fmla="*/ 1019738 w 1429538"/>
                <a:gd name="connsiteY201" fmla="*/ 1300879 h 1944173"/>
                <a:gd name="connsiteX202" fmla="*/ 1029268 w 1429538"/>
                <a:gd name="connsiteY202" fmla="*/ 1310409 h 1944173"/>
                <a:gd name="connsiteX203" fmla="*/ 1038798 w 1429538"/>
                <a:gd name="connsiteY203" fmla="*/ 1324705 h 1944173"/>
                <a:gd name="connsiteX204" fmla="*/ 1038798 w 1429538"/>
                <a:gd name="connsiteY204" fmla="*/ 1329471 h 1944173"/>
                <a:gd name="connsiteX205" fmla="*/ 1038798 w 1429538"/>
                <a:gd name="connsiteY205" fmla="*/ 1339001 h 1944173"/>
                <a:gd name="connsiteX206" fmla="*/ 1034032 w 1429538"/>
                <a:gd name="connsiteY206" fmla="*/ 1343765 h 1944173"/>
                <a:gd name="connsiteX207" fmla="*/ 1029268 w 1429538"/>
                <a:gd name="connsiteY207" fmla="*/ 1348531 h 1944173"/>
                <a:gd name="connsiteX208" fmla="*/ 1019738 w 1429538"/>
                <a:gd name="connsiteY208" fmla="*/ 1362827 h 1944173"/>
                <a:gd name="connsiteX209" fmla="*/ 1024502 w 1429538"/>
                <a:gd name="connsiteY209" fmla="*/ 1372357 h 1944173"/>
                <a:gd name="connsiteX210" fmla="*/ 1029268 w 1429538"/>
                <a:gd name="connsiteY210" fmla="*/ 1377121 h 1944173"/>
                <a:gd name="connsiteX211" fmla="*/ 1038798 w 1429538"/>
                <a:gd name="connsiteY211" fmla="*/ 1386653 h 1944173"/>
                <a:gd name="connsiteX212" fmla="*/ 1048328 w 1429538"/>
                <a:gd name="connsiteY212" fmla="*/ 1405713 h 1944173"/>
                <a:gd name="connsiteX213" fmla="*/ 1057858 w 1429538"/>
                <a:gd name="connsiteY213" fmla="*/ 1429539 h 1944173"/>
                <a:gd name="connsiteX214" fmla="*/ 1067388 w 1429538"/>
                <a:gd name="connsiteY214" fmla="*/ 1443833 h 1944173"/>
                <a:gd name="connsiteX215" fmla="*/ 1076918 w 1429538"/>
                <a:gd name="connsiteY215" fmla="*/ 1453363 h 1944173"/>
                <a:gd name="connsiteX216" fmla="*/ 1086448 w 1429538"/>
                <a:gd name="connsiteY216" fmla="*/ 1462895 h 1944173"/>
                <a:gd name="connsiteX217" fmla="*/ 1100744 w 1429538"/>
                <a:gd name="connsiteY217" fmla="*/ 1462895 h 1944173"/>
                <a:gd name="connsiteX218" fmla="*/ 1119804 w 1429538"/>
                <a:gd name="connsiteY218" fmla="*/ 1481955 h 1944173"/>
                <a:gd name="connsiteX219" fmla="*/ 1138866 w 1429538"/>
                <a:gd name="connsiteY219" fmla="*/ 1505781 h 1944173"/>
                <a:gd name="connsiteX220" fmla="*/ 1153160 w 1429538"/>
                <a:gd name="connsiteY220" fmla="*/ 1515311 h 1944173"/>
                <a:gd name="connsiteX221" fmla="*/ 1162690 w 1429538"/>
                <a:gd name="connsiteY221" fmla="*/ 1520075 h 1944173"/>
                <a:gd name="connsiteX222" fmla="*/ 1167456 w 1429538"/>
                <a:gd name="connsiteY222" fmla="*/ 1529605 h 1944173"/>
                <a:gd name="connsiteX223" fmla="*/ 1176986 w 1429538"/>
                <a:gd name="connsiteY223" fmla="*/ 1539137 h 1944173"/>
                <a:gd name="connsiteX224" fmla="*/ 1176986 w 1429538"/>
                <a:gd name="connsiteY224" fmla="*/ 1548667 h 1944173"/>
                <a:gd name="connsiteX225" fmla="*/ 1186516 w 1429538"/>
                <a:gd name="connsiteY225" fmla="*/ 1553431 h 1944173"/>
                <a:gd name="connsiteX226" fmla="*/ 1200812 w 1429538"/>
                <a:gd name="connsiteY226" fmla="*/ 1553431 h 1944173"/>
                <a:gd name="connsiteX227" fmla="*/ 1224638 w 1429538"/>
                <a:gd name="connsiteY227" fmla="*/ 1572493 h 1944173"/>
                <a:gd name="connsiteX228" fmla="*/ 1234168 w 1429538"/>
                <a:gd name="connsiteY228" fmla="*/ 1586787 h 1944173"/>
                <a:gd name="connsiteX229" fmla="*/ 1243698 w 1429538"/>
                <a:gd name="connsiteY229" fmla="*/ 1596317 h 1944173"/>
                <a:gd name="connsiteX230" fmla="*/ 1238932 w 1429538"/>
                <a:gd name="connsiteY230" fmla="*/ 1601083 h 1944173"/>
                <a:gd name="connsiteX231" fmla="*/ 1238932 w 1429538"/>
                <a:gd name="connsiteY231" fmla="*/ 1615379 h 1944173"/>
                <a:gd name="connsiteX232" fmla="*/ 1238932 w 1429538"/>
                <a:gd name="connsiteY232" fmla="*/ 1629673 h 1944173"/>
                <a:gd name="connsiteX233" fmla="*/ 1238932 w 1429538"/>
                <a:gd name="connsiteY233" fmla="*/ 1639203 h 1944173"/>
                <a:gd name="connsiteX234" fmla="*/ 1229402 w 1429538"/>
                <a:gd name="connsiteY234" fmla="*/ 1648735 h 1944173"/>
                <a:gd name="connsiteX235" fmla="*/ 1224638 w 1429538"/>
                <a:gd name="connsiteY235" fmla="*/ 1653499 h 1944173"/>
                <a:gd name="connsiteX236" fmla="*/ 1219872 w 1429538"/>
                <a:gd name="connsiteY236" fmla="*/ 1653499 h 1944173"/>
                <a:gd name="connsiteX237" fmla="*/ 1191282 w 1429538"/>
                <a:gd name="connsiteY237" fmla="*/ 1639203 h 1944173"/>
                <a:gd name="connsiteX238" fmla="*/ 1191282 w 1429538"/>
                <a:gd name="connsiteY238" fmla="*/ 1643969 h 1944173"/>
                <a:gd name="connsiteX239" fmla="*/ 1186516 w 1429538"/>
                <a:gd name="connsiteY239" fmla="*/ 1643969 h 1944173"/>
                <a:gd name="connsiteX240" fmla="*/ 1181752 w 1429538"/>
                <a:gd name="connsiteY240" fmla="*/ 1686855 h 1944173"/>
                <a:gd name="connsiteX241" fmla="*/ 1172222 w 1429538"/>
                <a:gd name="connsiteY241" fmla="*/ 1691621 h 1944173"/>
                <a:gd name="connsiteX242" fmla="*/ 1167456 w 1429538"/>
                <a:gd name="connsiteY242" fmla="*/ 1701151 h 1944173"/>
                <a:gd name="connsiteX243" fmla="*/ 1148396 w 1429538"/>
                <a:gd name="connsiteY243" fmla="*/ 1705915 h 1944173"/>
                <a:gd name="connsiteX244" fmla="*/ 1138866 w 1429538"/>
                <a:gd name="connsiteY244" fmla="*/ 1710681 h 1944173"/>
                <a:gd name="connsiteX245" fmla="*/ 1129336 w 1429538"/>
                <a:gd name="connsiteY245" fmla="*/ 1715445 h 1944173"/>
                <a:gd name="connsiteX246" fmla="*/ 1100744 w 1429538"/>
                <a:gd name="connsiteY246" fmla="*/ 1729741 h 1944173"/>
                <a:gd name="connsiteX247" fmla="*/ 1086448 w 1429538"/>
                <a:gd name="connsiteY247" fmla="*/ 1739271 h 1944173"/>
                <a:gd name="connsiteX248" fmla="*/ 1076918 w 1429538"/>
                <a:gd name="connsiteY248" fmla="*/ 1753567 h 1944173"/>
                <a:gd name="connsiteX249" fmla="*/ 1076918 w 1429538"/>
                <a:gd name="connsiteY249" fmla="*/ 1758333 h 1944173"/>
                <a:gd name="connsiteX250" fmla="*/ 1091214 w 1429538"/>
                <a:gd name="connsiteY250" fmla="*/ 1782157 h 1944173"/>
                <a:gd name="connsiteX251" fmla="*/ 1110274 w 1429538"/>
                <a:gd name="connsiteY251" fmla="*/ 1801219 h 1944173"/>
                <a:gd name="connsiteX252" fmla="*/ 1110274 w 1429538"/>
                <a:gd name="connsiteY252" fmla="*/ 1820279 h 1944173"/>
                <a:gd name="connsiteX253" fmla="*/ 1100744 w 1429538"/>
                <a:gd name="connsiteY253" fmla="*/ 1839339 h 1944173"/>
                <a:gd name="connsiteX254" fmla="*/ 1100744 w 1429538"/>
                <a:gd name="connsiteY254" fmla="*/ 1844105 h 1944173"/>
                <a:gd name="connsiteX255" fmla="*/ 1105510 w 1429538"/>
                <a:gd name="connsiteY255" fmla="*/ 1844105 h 1944173"/>
                <a:gd name="connsiteX256" fmla="*/ 1115040 w 1429538"/>
                <a:gd name="connsiteY256" fmla="*/ 1844105 h 1944173"/>
                <a:gd name="connsiteX257" fmla="*/ 1119804 w 1429538"/>
                <a:gd name="connsiteY257" fmla="*/ 1848869 h 1944173"/>
                <a:gd name="connsiteX258" fmla="*/ 1124570 w 1429538"/>
                <a:gd name="connsiteY258" fmla="*/ 1858399 h 1944173"/>
                <a:gd name="connsiteX259" fmla="*/ 1124570 w 1429538"/>
                <a:gd name="connsiteY259" fmla="*/ 1877461 h 1944173"/>
                <a:gd name="connsiteX260" fmla="*/ 1119804 w 1429538"/>
                <a:gd name="connsiteY260" fmla="*/ 1891755 h 1944173"/>
                <a:gd name="connsiteX261" fmla="*/ 1119804 w 1429538"/>
                <a:gd name="connsiteY261" fmla="*/ 1901285 h 1944173"/>
                <a:gd name="connsiteX262" fmla="*/ 1110274 w 1429538"/>
                <a:gd name="connsiteY262" fmla="*/ 1901285 h 1944173"/>
                <a:gd name="connsiteX263" fmla="*/ 1095980 w 1429538"/>
                <a:gd name="connsiteY263" fmla="*/ 1891755 h 1944173"/>
                <a:gd name="connsiteX264" fmla="*/ 1086448 w 1429538"/>
                <a:gd name="connsiteY264" fmla="*/ 1882225 h 1944173"/>
                <a:gd name="connsiteX265" fmla="*/ 1081684 w 1429538"/>
                <a:gd name="connsiteY265" fmla="*/ 1877461 h 1944173"/>
                <a:gd name="connsiteX266" fmla="*/ 1081684 w 1429538"/>
                <a:gd name="connsiteY266" fmla="*/ 1872695 h 1944173"/>
                <a:gd name="connsiteX267" fmla="*/ 1081684 w 1429538"/>
                <a:gd name="connsiteY267" fmla="*/ 1867929 h 1944173"/>
                <a:gd name="connsiteX268" fmla="*/ 1081684 w 1429538"/>
                <a:gd name="connsiteY268" fmla="*/ 1863165 h 1944173"/>
                <a:gd name="connsiteX269" fmla="*/ 1067388 w 1429538"/>
                <a:gd name="connsiteY269" fmla="*/ 1853635 h 1944173"/>
                <a:gd name="connsiteX270" fmla="*/ 1053092 w 1429538"/>
                <a:gd name="connsiteY270" fmla="*/ 1858399 h 1944173"/>
                <a:gd name="connsiteX271" fmla="*/ 1043562 w 1429538"/>
                <a:gd name="connsiteY271" fmla="*/ 1863165 h 1944173"/>
                <a:gd name="connsiteX272" fmla="*/ 1034032 w 1429538"/>
                <a:gd name="connsiteY272" fmla="*/ 1863165 h 1944173"/>
                <a:gd name="connsiteX273" fmla="*/ 1029268 w 1429538"/>
                <a:gd name="connsiteY273" fmla="*/ 1853635 h 1944173"/>
                <a:gd name="connsiteX274" fmla="*/ 1014972 w 1429538"/>
                <a:gd name="connsiteY274" fmla="*/ 1848869 h 1944173"/>
                <a:gd name="connsiteX275" fmla="*/ 1000676 w 1429538"/>
                <a:gd name="connsiteY275" fmla="*/ 1848869 h 1944173"/>
                <a:gd name="connsiteX276" fmla="*/ 991146 w 1429538"/>
                <a:gd name="connsiteY276" fmla="*/ 1844105 h 1944173"/>
                <a:gd name="connsiteX277" fmla="*/ 991146 w 1429538"/>
                <a:gd name="connsiteY277" fmla="*/ 1858399 h 1944173"/>
                <a:gd name="connsiteX278" fmla="*/ 986382 w 1429538"/>
                <a:gd name="connsiteY278" fmla="*/ 1867929 h 1944173"/>
                <a:gd name="connsiteX279" fmla="*/ 914904 w 1429538"/>
                <a:gd name="connsiteY279" fmla="*/ 1872695 h 1944173"/>
                <a:gd name="connsiteX280" fmla="*/ 891078 w 1429538"/>
                <a:gd name="connsiteY280" fmla="*/ 1882225 h 1944173"/>
                <a:gd name="connsiteX281" fmla="*/ 876784 w 1429538"/>
                <a:gd name="connsiteY281" fmla="*/ 1891755 h 1944173"/>
                <a:gd name="connsiteX282" fmla="*/ 862488 w 1429538"/>
                <a:gd name="connsiteY282" fmla="*/ 1896521 h 1944173"/>
                <a:gd name="connsiteX283" fmla="*/ 862488 w 1429538"/>
                <a:gd name="connsiteY283" fmla="*/ 1901285 h 1944173"/>
                <a:gd name="connsiteX284" fmla="*/ 848192 w 1429538"/>
                <a:gd name="connsiteY284" fmla="*/ 1910817 h 1944173"/>
                <a:gd name="connsiteX285" fmla="*/ 838662 w 1429538"/>
                <a:gd name="connsiteY285" fmla="*/ 1915581 h 1944173"/>
                <a:gd name="connsiteX286" fmla="*/ 833898 w 1429538"/>
                <a:gd name="connsiteY286" fmla="*/ 1910817 h 1944173"/>
                <a:gd name="connsiteX287" fmla="*/ 824366 w 1429538"/>
                <a:gd name="connsiteY287" fmla="*/ 1915581 h 1944173"/>
                <a:gd name="connsiteX288" fmla="*/ 810072 w 1429538"/>
                <a:gd name="connsiteY288" fmla="*/ 1920347 h 1944173"/>
                <a:gd name="connsiteX289" fmla="*/ 800542 w 1429538"/>
                <a:gd name="connsiteY289" fmla="*/ 1915581 h 1944173"/>
                <a:gd name="connsiteX290" fmla="*/ 795776 w 1429538"/>
                <a:gd name="connsiteY290" fmla="*/ 1910817 h 1944173"/>
                <a:gd name="connsiteX291" fmla="*/ 786246 w 1429538"/>
                <a:gd name="connsiteY291" fmla="*/ 1901285 h 1944173"/>
                <a:gd name="connsiteX292" fmla="*/ 781480 w 1429538"/>
                <a:gd name="connsiteY292" fmla="*/ 1891755 h 1944173"/>
                <a:gd name="connsiteX293" fmla="*/ 781480 w 1429538"/>
                <a:gd name="connsiteY293" fmla="*/ 1886991 h 1944173"/>
                <a:gd name="connsiteX294" fmla="*/ 762420 w 1429538"/>
                <a:gd name="connsiteY294" fmla="*/ 1886991 h 1944173"/>
                <a:gd name="connsiteX295" fmla="*/ 748124 w 1429538"/>
                <a:gd name="connsiteY295" fmla="*/ 1882225 h 1944173"/>
                <a:gd name="connsiteX296" fmla="*/ 724300 w 1429538"/>
                <a:gd name="connsiteY296" fmla="*/ 1882225 h 1944173"/>
                <a:gd name="connsiteX297" fmla="*/ 714768 w 1429538"/>
                <a:gd name="connsiteY297" fmla="*/ 1882225 h 1944173"/>
                <a:gd name="connsiteX298" fmla="*/ 710004 w 1429538"/>
                <a:gd name="connsiteY298" fmla="*/ 1915581 h 1944173"/>
                <a:gd name="connsiteX299" fmla="*/ 705238 w 1429538"/>
                <a:gd name="connsiteY299" fmla="*/ 1925111 h 1944173"/>
                <a:gd name="connsiteX300" fmla="*/ 695708 w 1429538"/>
                <a:gd name="connsiteY300" fmla="*/ 1939407 h 1944173"/>
                <a:gd name="connsiteX301" fmla="*/ 686178 w 1429538"/>
                <a:gd name="connsiteY301" fmla="*/ 1944173 h 1944173"/>
                <a:gd name="connsiteX302" fmla="*/ 676648 w 1429538"/>
                <a:gd name="connsiteY302" fmla="*/ 1944173 h 1944173"/>
                <a:gd name="connsiteX303" fmla="*/ 676648 w 1429538"/>
                <a:gd name="connsiteY303" fmla="*/ 1934641 h 1944173"/>
                <a:gd name="connsiteX304" fmla="*/ 676648 w 1429538"/>
                <a:gd name="connsiteY304" fmla="*/ 1925111 h 1944173"/>
                <a:gd name="connsiteX305" fmla="*/ 671882 w 1429538"/>
                <a:gd name="connsiteY305" fmla="*/ 1925111 h 1944173"/>
                <a:gd name="connsiteX306" fmla="*/ 662352 w 1429538"/>
                <a:gd name="connsiteY306" fmla="*/ 1920347 h 1944173"/>
                <a:gd name="connsiteX307" fmla="*/ 657588 w 1429538"/>
                <a:gd name="connsiteY307" fmla="*/ 1920347 h 1944173"/>
                <a:gd name="connsiteX308" fmla="*/ 657588 w 1429538"/>
                <a:gd name="connsiteY308" fmla="*/ 1910817 h 1944173"/>
                <a:gd name="connsiteX309" fmla="*/ 657588 w 1429538"/>
                <a:gd name="connsiteY309" fmla="*/ 1906051 h 1944173"/>
                <a:gd name="connsiteX310" fmla="*/ 652822 w 1429538"/>
                <a:gd name="connsiteY310" fmla="*/ 1901285 h 1944173"/>
                <a:gd name="connsiteX311" fmla="*/ 643292 w 1429538"/>
                <a:gd name="connsiteY311" fmla="*/ 1891755 h 1944173"/>
                <a:gd name="connsiteX312" fmla="*/ 624232 w 1429538"/>
                <a:gd name="connsiteY312" fmla="*/ 1882225 h 1944173"/>
                <a:gd name="connsiteX313" fmla="*/ 609936 w 1429538"/>
                <a:gd name="connsiteY313" fmla="*/ 1877461 h 1944173"/>
                <a:gd name="connsiteX314" fmla="*/ 605172 w 1429538"/>
                <a:gd name="connsiteY314" fmla="*/ 1882225 h 1944173"/>
                <a:gd name="connsiteX315" fmla="*/ 600406 w 1429538"/>
                <a:gd name="connsiteY315" fmla="*/ 1882225 h 1944173"/>
                <a:gd name="connsiteX316" fmla="*/ 590876 w 1429538"/>
                <a:gd name="connsiteY316" fmla="*/ 1877461 h 1944173"/>
                <a:gd name="connsiteX317" fmla="*/ 571816 w 1429538"/>
                <a:gd name="connsiteY317" fmla="*/ 1863165 h 1944173"/>
                <a:gd name="connsiteX318" fmla="*/ 547990 w 1429538"/>
                <a:gd name="connsiteY318" fmla="*/ 1853635 h 1944173"/>
                <a:gd name="connsiteX319" fmla="*/ 528930 w 1429538"/>
                <a:gd name="connsiteY319" fmla="*/ 1839339 h 1944173"/>
                <a:gd name="connsiteX320" fmla="*/ 509868 w 1429538"/>
                <a:gd name="connsiteY320" fmla="*/ 1829809 h 1944173"/>
                <a:gd name="connsiteX321" fmla="*/ 519398 w 1429538"/>
                <a:gd name="connsiteY321" fmla="*/ 1853635 h 1944173"/>
                <a:gd name="connsiteX322" fmla="*/ 509868 w 1429538"/>
                <a:gd name="connsiteY322" fmla="*/ 1853635 h 1944173"/>
                <a:gd name="connsiteX323" fmla="*/ 471748 w 1429538"/>
                <a:gd name="connsiteY323" fmla="*/ 1858399 h 1944173"/>
                <a:gd name="connsiteX324" fmla="*/ 466982 w 1429538"/>
                <a:gd name="connsiteY324" fmla="*/ 1848869 h 1944173"/>
                <a:gd name="connsiteX325" fmla="*/ 457452 w 1429538"/>
                <a:gd name="connsiteY325" fmla="*/ 1844105 h 1944173"/>
                <a:gd name="connsiteX326" fmla="*/ 452688 w 1429538"/>
                <a:gd name="connsiteY326" fmla="*/ 1848869 h 1944173"/>
                <a:gd name="connsiteX327" fmla="*/ 447922 w 1429538"/>
                <a:gd name="connsiteY327" fmla="*/ 1848869 h 1944173"/>
                <a:gd name="connsiteX328" fmla="*/ 433626 w 1429538"/>
                <a:gd name="connsiteY328" fmla="*/ 1829809 h 1944173"/>
                <a:gd name="connsiteX329" fmla="*/ 424096 w 1429538"/>
                <a:gd name="connsiteY329" fmla="*/ 1829809 h 1944173"/>
                <a:gd name="connsiteX330" fmla="*/ 414566 w 1429538"/>
                <a:gd name="connsiteY330" fmla="*/ 1829809 h 1944173"/>
                <a:gd name="connsiteX331" fmla="*/ 405036 w 1429538"/>
                <a:gd name="connsiteY331" fmla="*/ 1839339 h 1944173"/>
                <a:gd name="connsiteX332" fmla="*/ 395506 w 1429538"/>
                <a:gd name="connsiteY332" fmla="*/ 1848869 h 1944173"/>
                <a:gd name="connsiteX333" fmla="*/ 400270 w 1429538"/>
                <a:gd name="connsiteY333" fmla="*/ 1858399 h 1944173"/>
                <a:gd name="connsiteX334" fmla="*/ 405036 w 1429538"/>
                <a:gd name="connsiteY334" fmla="*/ 1858399 h 1944173"/>
                <a:gd name="connsiteX335" fmla="*/ 419332 w 1429538"/>
                <a:gd name="connsiteY335" fmla="*/ 1858399 h 1944173"/>
                <a:gd name="connsiteX336" fmla="*/ 424096 w 1429538"/>
                <a:gd name="connsiteY336" fmla="*/ 1858399 h 1944173"/>
                <a:gd name="connsiteX337" fmla="*/ 424096 w 1429538"/>
                <a:gd name="connsiteY337" fmla="*/ 1863165 h 1944173"/>
                <a:gd name="connsiteX338" fmla="*/ 409800 w 1429538"/>
                <a:gd name="connsiteY338" fmla="*/ 1867929 h 1944173"/>
                <a:gd name="connsiteX339" fmla="*/ 405036 w 1429538"/>
                <a:gd name="connsiteY339" fmla="*/ 1872695 h 1944173"/>
                <a:gd name="connsiteX340" fmla="*/ 400270 w 1429538"/>
                <a:gd name="connsiteY340" fmla="*/ 1872695 h 1944173"/>
                <a:gd name="connsiteX341" fmla="*/ 385976 w 1429538"/>
                <a:gd name="connsiteY341" fmla="*/ 1867929 h 1944173"/>
                <a:gd name="connsiteX342" fmla="*/ 366914 w 1429538"/>
                <a:gd name="connsiteY342" fmla="*/ 1867929 h 1944173"/>
                <a:gd name="connsiteX343" fmla="*/ 347854 w 1429538"/>
                <a:gd name="connsiteY343" fmla="*/ 1877461 h 1944173"/>
                <a:gd name="connsiteX344" fmla="*/ 324028 w 1429538"/>
                <a:gd name="connsiteY344" fmla="*/ 1877461 h 1944173"/>
                <a:gd name="connsiteX345" fmla="*/ 285908 w 1429538"/>
                <a:gd name="connsiteY345" fmla="*/ 1877461 h 1944173"/>
                <a:gd name="connsiteX346" fmla="*/ 276378 w 1429538"/>
                <a:gd name="connsiteY346" fmla="*/ 1872695 h 1944173"/>
                <a:gd name="connsiteX347" fmla="*/ 266848 w 1429538"/>
                <a:gd name="connsiteY347" fmla="*/ 1867929 h 1944173"/>
                <a:gd name="connsiteX348" fmla="*/ 262082 w 1429538"/>
                <a:gd name="connsiteY348" fmla="*/ 1853635 h 1944173"/>
                <a:gd name="connsiteX349" fmla="*/ 262082 w 1429538"/>
                <a:gd name="connsiteY349" fmla="*/ 1829809 h 1944173"/>
                <a:gd name="connsiteX350" fmla="*/ 271612 w 1429538"/>
                <a:gd name="connsiteY350" fmla="*/ 1801219 h 1944173"/>
                <a:gd name="connsiteX351" fmla="*/ 271612 w 1429538"/>
                <a:gd name="connsiteY351" fmla="*/ 1777393 h 1944173"/>
                <a:gd name="connsiteX352" fmla="*/ 271612 w 1429538"/>
                <a:gd name="connsiteY352" fmla="*/ 1763097 h 1944173"/>
                <a:gd name="connsiteX353" fmla="*/ 276378 w 1429538"/>
                <a:gd name="connsiteY353" fmla="*/ 1739271 h 1944173"/>
                <a:gd name="connsiteX354" fmla="*/ 290672 w 1429538"/>
                <a:gd name="connsiteY354" fmla="*/ 1710681 h 1944173"/>
                <a:gd name="connsiteX355" fmla="*/ 300202 w 1429538"/>
                <a:gd name="connsiteY355" fmla="*/ 1682089 h 1944173"/>
                <a:gd name="connsiteX356" fmla="*/ 304968 w 1429538"/>
                <a:gd name="connsiteY356" fmla="*/ 1648735 h 1944173"/>
                <a:gd name="connsiteX357" fmla="*/ 309734 w 1429538"/>
                <a:gd name="connsiteY357" fmla="*/ 1629673 h 1944173"/>
                <a:gd name="connsiteX358" fmla="*/ 324028 w 1429538"/>
                <a:gd name="connsiteY358" fmla="*/ 1615379 h 1944173"/>
                <a:gd name="connsiteX359" fmla="*/ 352620 w 1429538"/>
                <a:gd name="connsiteY359" fmla="*/ 1572493 h 1944173"/>
                <a:gd name="connsiteX360" fmla="*/ 357384 w 1429538"/>
                <a:gd name="connsiteY360" fmla="*/ 1567727 h 1944173"/>
                <a:gd name="connsiteX361" fmla="*/ 357384 w 1429538"/>
                <a:gd name="connsiteY361" fmla="*/ 1548667 h 1944173"/>
                <a:gd name="connsiteX362" fmla="*/ 347854 w 1429538"/>
                <a:gd name="connsiteY362" fmla="*/ 1543901 h 1944173"/>
                <a:gd name="connsiteX363" fmla="*/ 333558 w 1429538"/>
                <a:gd name="connsiteY363" fmla="*/ 1539137 h 1944173"/>
                <a:gd name="connsiteX364" fmla="*/ 304968 w 1429538"/>
                <a:gd name="connsiteY364" fmla="*/ 1529605 h 1944173"/>
                <a:gd name="connsiteX365" fmla="*/ 276378 w 1429538"/>
                <a:gd name="connsiteY365" fmla="*/ 1529605 h 1944173"/>
                <a:gd name="connsiteX366" fmla="*/ 262082 w 1429538"/>
                <a:gd name="connsiteY366" fmla="*/ 1520075 h 1944173"/>
                <a:gd name="connsiteX367" fmla="*/ 247786 w 1429538"/>
                <a:gd name="connsiteY367" fmla="*/ 1505781 h 1944173"/>
                <a:gd name="connsiteX368" fmla="*/ 243022 w 1429538"/>
                <a:gd name="connsiteY368" fmla="*/ 1505781 h 1944173"/>
                <a:gd name="connsiteX369" fmla="*/ 228726 w 1429538"/>
                <a:gd name="connsiteY369" fmla="*/ 1510545 h 1944173"/>
                <a:gd name="connsiteX370" fmla="*/ 209666 w 1429538"/>
                <a:gd name="connsiteY370" fmla="*/ 1515311 h 1944173"/>
                <a:gd name="connsiteX371" fmla="*/ 195370 w 1429538"/>
                <a:gd name="connsiteY371" fmla="*/ 1510545 h 1944173"/>
                <a:gd name="connsiteX372" fmla="*/ 190606 w 1429538"/>
                <a:gd name="connsiteY372" fmla="*/ 1510545 h 1944173"/>
                <a:gd name="connsiteX373" fmla="*/ 185840 w 1429538"/>
                <a:gd name="connsiteY373" fmla="*/ 1515311 h 1944173"/>
                <a:gd name="connsiteX374" fmla="*/ 181074 w 1429538"/>
                <a:gd name="connsiteY374" fmla="*/ 1510545 h 1944173"/>
                <a:gd name="connsiteX375" fmla="*/ 181074 w 1429538"/>
                <a:gd name="connsiteY375" fmla="*/ 1501015 h 1944173"/>
                <a:gd name="connsiteX376" fmla="*/ 171544 w 1429538"/>
                <a:gd name="connsiteY376" fmla="*/ 1496249 h 1944173"/>
                <a:gd name="connsiteX377" fmla="*/ 162014 w 1429538"/>
                <a:gd name="connsiteY377" fmla="*/ 1491485 h 1944173"/>
                <a:gd name="connsiteX378" fmla="*/ 157250 w 1429538"/>
                <a:gd name="connsiteY378" fmla="*/ 1491485 h 1944173"/>
                <a:gd name="connsiteX379" fmla="*/ 152484 w 1429538"/>
                <a:gd name="connsiteY379" fmla="*/ 1501015 h 1944173"/>
                <a:gd name="connsiteX380" fmla="*/ 142954 w 1429538"/>
                <a:gd name="connsiteY380" fmla="*/ 1505781 h 1944173"/>
                <a:gd name="connsiteX381" fmla="*/ 138188 w 1429538"/>
                <a:gd name="connsiteY381" fmla="*/ 1505781 h 1944173"/>
                <a:gd name="connsiteX382" fmla="*/ 119128 w 1429538"/>
                <a:gd name="connsiteY382" fmla="*/ 1472425 h 1944173"/>
                <a:gd name="connsiteX383" fmla="*/ 114364 w 1429538"/>
                <a:gd name="connsiteY383" fmla="*/ 1467659 h 1944173"/>
                <a:gd name="connsiteX384" fmla="*/ 109598 w 1429538"/>
                <a:gd name="connsiteY384" fmla="*/ 1458129 h 1944173"/>
                <a:gd name="connsiteX385" fmla="*/ 104832 w 1429538"/>
                <a:gd name="connsiteY385" fmla="*/ 1448599 h 1944173"/>
                <a:gd name="connsiteX386" fmla="*/ 95302 w 1429538"/>
                <a:gd name="connsiteY386" fmla="*/ 1434303 h 1944173"/>
                <a:gd name="connsiteX387" fmla="*/ 81008 w 1429538"/>
                <a:gd name="connsiteY387" fmla="*/ 1434303 h 1944173"/>
                <a:gd name="connsiteX388" fmla="*/ 76242 w 1429538"/>
                <a:gd name="connsiteY388" fmla="*/ 1434303 h 1944173"/>
                <a:gd name="connsiteX389" fmla="*/ 76242 w 1429538"/>
                <a:gd name="connsiteY389" fmla="*/ 1420009 h 1944173"/>
                <a:gd name="connsiteX390" fmla="*/ 81008 w 1429538"/>
                <a:gd name="connsiteY390" fmla="*/ 1396183 h 1944173"/>
                <a:gd name="connsiteX391" fmla="*/ 85772 w 1429538"/>
                <a:gd name="connsiteY391" fmla="*/ 1386653 h 1944173"/>
                <a:gd name="connsiteX392" fmla="*/ 90538 w 1429538"/>
                <a:gd name="connsiteY392" fmla="*/ 1377121 h 1944173"/>
                <a:gd name="connsiteX393" fmla="*/ 100068 w 1429538"/>
                <a:gd name="connsiteY393" fmla="*/ 1372357 h 1944173"/>
                <a:gd name="connsiteX394" fmla="*/ 100068 w 1429538"/>
                <a:gd name="connsiteY394" fmla="*/ 1362827 h 1944173"/>
                <a:gd name="connsiteX395" fmla="*/ 100068 w 1429538"/>
                <a:gd name="connsiteY395" fmla="*/ 1348531 h 1944173"/>
                <a:gd name="connsiteX396" fmla="*/ 90538 w 1429538"/>
                <a:gd name="connsiteY396" fmla="*/ 1348531 h 1944173"/>
                <a:gd name="connsiteX397" fmla="*/ 71476 w 1429538"/>
                <a:gd name="connsiteY397" fmla="*/ 1339001 h 1944173"/>
                <a:gd name="connsiteX398" fmla="*/ 61946 w 1429538"/>
                <a:gd name="connsiteY398" fmla="*/ 1334235 h 1944173"/>
                <a:gd name="connsiteX399" fmla="*/ 52416 w 1429538"/>
                <a:gd name="connsiteY399" fmla="*/ 1319941 h 1944173"/>
                <a:gd name="connsiteX400" fmla="*/ 42886 w 1429538"/>
                <a:gd name="connsiteY400" fmla="*/ 1305645 h 1944173"/>
                <a:gd name="connsiteX401" fmla="*/ 38122 w 1429538"/>
                <a:gd name="connsiteY401" fmla="*/ 1291349 h 1944173"/>
                <a:gd name="connsiteX402" fmla="*/ 38122 w 1429538"/>
                <a:gd name="connsiteY402" fmla="*/ 1277055 h 1944173"/>
                <a:gd name="connsiteX403" fmla="*/ 42886 w 1429538"/>
                <a:gd name="connsiteY403" fmla="*/ 1272289 h 1944173"/>
                <a:gd name="connsiteX404" fmla="*/ 42886 w 1429538"/>
                <a:gd name="connsiteY404" fmla="*/ 1267523 h 1944173"/>
                <a:gd name="connsiteX405" fmla="*/ 47652 w 1429538"/>
                <a:gd name="connsiteY405" fmla="*/ 1243699 h 1944173"/>
                <a:gd name="connsiteX406" fmla="*/ 81008 w 1429538"/>
                <a:gd name="connsiteY406" fmla="*/ 1224637 h 1944173"/>
                <a:gd name="connsiteX407" fmla="*/ 76242 w 1429538"/>
                <a:gd name="connsiteY407" fmla="*/ 1205577 h 1944173"/>
                <a:gd name="connsiteX408" fmla="*/ 76242 w 1429538"/>
                <a:gd name="connsiteY408" fmla="*/ 1191281 h 1944173"/>
                <a:gd name="connsiteX409" fmla="*/ 66712 w 1429538"/>
                <a:gd name="connsiteY409" fmla="*/ 1181751 h 1944173"/>
                <a:gd name="connsiteX410" fmla="*/ 52416 w 1429538"/>
                <a:gd name="connsiteY410" fmla="*/ 1181751 h 1944173"/>
                <a:gd name="connsiteX411" fmla="*/ 52416 w 1429538"/>
                <a:gd name="connsiteY411" fmla="*/ 1172221 h 1944173"/>
                <a:gd name="connsiteX412" fmla="*/ 47652 w 1429538"/>
                <a:gd name="connsiteY412" fmla="*/ 1167457 h 1944173"/>
                <a:gd name="connsiteX413" fmla="*/ 57182 w 1429538"/>
                <a:gd name="connsiteY413" fmla="*/ 1157925 h 1944173"/>
                <a:gd name="connsiteX414" fmla="*/ 47652 w 1429538"/>
                <a:gd name="connsiteY414" fmla="*/ 1143631 h 1944173"/>
                <a:gd name="connsiteX415" fmla="*/ 42886 w 1429538"/>
                <a:gd name="connsiteY415" fmla="*/ 1134101 h 1944173"/>
                <a:gd name="connsiteX416" fmla="*/ 23826 w 1429538"/>
                <a:gd name="connsiteY416" fmla="*/ 1119805 h 1944173"/>
                <a:gd name="connsiteX417" fmla="*/ 28590 w 1429538"/>
                <a:gd name="connsiteY417" fmla="*/ 1081683 h 1944173"/>
                <a:gd name="connsiteX418" fmla="*/ 23826 w 1429538"/>
                <a:gd name="connsiteY418" fmla="*/ 1067389 h 1944173"/>
                <a:gd name="connsiteX419" fmla="*/ 14296 w 1429538"/>
                <a:gd name="connsiteY419" fmla="*/ 1062623 h 1944173"/>
                <a:gd name="connsiteX420" fmla="*/ 4766 w 1429538"/>
                <a:gd name="connsiteY420" fmla="*/ 1057859 h 1944173"/>
                <a:gd name="connsiteX421" fmla="*/ 0 w 1429538"/>
                <a:gd name="connsiteY421" fmla="*/ 1053093 h 1944173"/>
                <a:gd name="connsiteX422" fmla="*/ 0 w 1429538"/>
                <a:gd name="connsiteY422" fmla="*/ 1048329 h 1944173"/>
                <a:gd name="connsiteX423" fmla="*/ 0 w 1429538"/>
                <a:gd name="connsiteY423" fmla="*/ 1043563 h 1944173"/>
                <a:gd name="connsiteX424" fmla="*/ 14296 w 1429538"/>
                <a:gd name="connsiteY424" fmla="*/ 1043563 h 1944173"/>
                <a:gd name="connsiteX425" fmla="*/ 42886 w 1429538"/>
                <a:gd name="connsiteY425" fmla="*/ 1019737 h 1944173"/>
                <a:gd name="connsiteX426" fmla="*/ 42886 w 1429538"/>
                <a:gd name="connsiteY426" fmla="*/ 1014973 h 1944173"/>
                <a:gd name="connsiteX427" fmla="*/ 38122 w 1429538"/>
                <a:gd name="connsiteY427" fmla="*/ 1014973 h 1944173"/>
                <a:gd name="connsiteX428" fmla="*/ 33356 w 1429538"/>
                <a:gd name="connsiteY428" fmla="*/ 1010207 h 1944173"/>
                <a:gd name="connsiteX429" fmla="*/ 33356 w 1429538"/>
                <a:gd name="connsiteY429" fmla="*/ 1005441 h 1944173"/>
                <a:gd name="connsiteX430" fmla="*/ 33356 w 1429538"/>
                <a:gd name="connsiteY430" fmla="*/ 1000677 h 1944173"/>
                <a:gd name="connsiteX431" fmla="*/ 47652 w 1429538"/>
                <a:gd name="connsiteY431" fmla="*/ 967321 h 1944173"/>
                <a:gd name="connsiteX432" fmla="*/ 52416 w 1429538"/>
                <a:gd name="connsiteY432" fmla="*/ 953025 h 1944173"/>
                <a:gd name="connsiteX433" fmla="*/ 52416 w 1429538"/>
                <a:gd name="connsiteY433" fmla="*/ 943495 h 1944173"/>
                <a:gd name="connsiteX434" fmla="*/ 52416 w 1429538"/>
                <a:gd name="connsiteY434" fmla="*/ 933965 h 1944173"/>
                <a:gd name="connsiteX435" fmla="*/ 42886 w 1429538"/>
                <a:gd name="connsiteY435" fmla="*/ 919669 h 1944173"/>
                <a:gd name="connsiteX436" fmla="*/ 38122 w 1429538"/>
                <a:gd name="connsiteY436" fmla="*/ 905375 h 1944173"/>
                <a:gd name="connsiteX437" fmla="*/ 38122 w 1429538"/>
                <a:gd name="connsiteY437" fmla="*/ 895843 h 1944173"/>
                <a:gd name="connsiteX438" fmla="*/ 28590 w 1429538"/>
                <a:gd name="connsiteY438" fmla="*/ 891079 h 1944173"/>
                <a:gd name="connsiteX439" fmla="*/ 14296 w 1429538"/>
                <a:gd name="connsiteY439" fmla="*/ 867253 h 1944173"/>
                <a:gd name="connsiteX440" fmla="*/ 14296 w 1429538"/>
                <a:gd name="connsiteY440" fmla="*/ 852957 h 1944173"/>
                <a:gd name="connsiteX441" fmla="*/ 23826 w 1429538"/>
                <a:gd name="connsiteY441" fmla="*/ 848193 h 1944173"/>
                <a:gd name="connsiteX442" fmla="*/ 38122 w 1429538"/>
                <a:gd name="connsiteY442" fmla="*/ 843427 h 1944173"/>
                <a:gd name="connsiteX443" fmla="*/ 42886 w 1429538"/>
                <a:gd name="connsiteY443" fmla="*/ 838663 h 1944173"/>
                <a:gd name="connsiteX444" fmla="*/ 47652 w 1429538"/>
                <a:gd name="connsiteY444" fmla="*/ 833897 h 1944173"/>
                <a:gd name="connsiteX445" fmla="*/ 66712 w 1429538"/>
                <a:gd name="connsiteY445" fmla="*/ 843427 h 1944173"/>
                <a:gd name="connsiteX446" fmla="*/ 76242 w 1429538"/>
                <a:gd name="connsiteY446" fmla="*/ 848193 h 1944173"/>
                <a:gd name="connsiteX447" fmla="*/ 81008 w 1429538"/>
                <a:gd name="connsiteY447" fmla="*/ 848193 h 1944173"/>
                <a:gd name="connsiteX448" fmla="*/ 90538 w 1429538"/>
                <a:gd name="connsiteY448" fmla="*/ 838663 h 1944173"/>
                <a:gd name="connsiteX449" fmla="*/ 104832 w 1429538"/>
                <a:gd name="connsiteY449" fmla="*/ 843427 h 1944173"/>
                <a:gd name="connsiteX450" fmla="*/ 138188 w 1429538"/>
                <a:gd name="connsiteY450" fmla="*/ 829133 h 1944173"/>
                <a:gd name="connsiteX451" fmla="*/ 142954 w 1429538"/>
                <a:gd name="connsiteY451" fmla="*/ 819601 h 1944173"/>
                <a:gd name="connsiteX452" fmla="*/ 147718 w 1429538"/>
                <a:gd name="connsiteY452" fmla="*/ 814837 h 1944173"/>
                <a:gd name="connsiteX453" fmla="*/ 147718 w 1429538"/>
                <a:gd name="connsiteY453" fmla="*/ 810071 h 1944173"/>
                <a:gd name="connsiteX454" fmla="*/ 133424 w 1429538"/>
                <a:gd name="connsiteY454" fmla="*/ 795777 h 1944173"/>
                <a:gd name="connsiteX455" fmla="*/ 133424 w 1429538"/>
                <a:gd name="connsiteY455" fmla="*/ 791011 h 1944173"/>
                <a:gd name="connsiteX456" fmla="*/ 138188 w 1429538"/>
                <a:gd name="connsiteY456" fmla="*/ 786245 h 1944173"/>
                <a:gd name="connsiteX457" fmla="*/ 138188 w 1429538"/>
                <a:gd name="connsiteY457" fmla="*/ 781481 h 1944173"/>
                <a:gd name="connsiteX458" fmla="*/ 147718 w 1429538"/>
                <a:gd name="connsiteY458" fmla="*/ 776715 h 1944173"/>
                <a:gd name="connsiteX459" fmla="*/ 157250 w 1429538"/>
                <a:gd name="connsiteY459" fmla="*/ 771951 h 1944173"/>
                <a:gd name="connsiteX460" fmla="*/ 176310 w 1429538"/>
                <a:gd name="connsiteY460" fmla="*/ 752891 h 1944173"/>
                <a:gd name="connsiteX461" fmla="*/ 181074 w 1429538"/>
                <a:gd name="connsiteY461" fmla="*/ 738595 h 1944173"/>
                <a:gd name="connsiteX462" fmla="*/ 185840 w 1429538"/>
                <a:gd name="connsiteY462" fmla="*/ 719535 h 1944173"/>
                <a:gd name="connsiteX463" fmla="*/ 185840 w 1429538"/>
                <a:gd name="connsiteY463" fmla="*/ 710003 h 1944173"/>
                <a:gd name="connsiteX464" fmla="*/ 181074 w 1429538"/>
                <a:gd name="connsiteY464" fmla="*/ 700473 h 1944173"/>
                <a:gd name="connsiteX465" fmla="*/ 176310 w 1429538"/>
                <a:gd name="connsiteY465" fmla="*/ 690943 h 1944173"/>
                <a:gd name="connsiteX466" fmla="*/ 166780 w 1429538"/>
                <a:gd name="connsiteY466" fmla="*/ 690943 h 1944173"/>
                <a:gd name="connsiteX467" fmla="*/ 152484 w 1429538"/>
                <a:gd name="connsiteY467" fmla="*/ 690943 h 1944173"/>
                <a:gd name="connsiteX468" fmla="*/ 138188 w 1429538"/>
                <a:gd name="connsiteY468" fmla="*/ 686179 h 1944173"/>
                <a:gd name="connsiteX469" fmla="*/ 133424 w 1429538"/>
                <a:gd name="connsiteY469" fmla="*/ 676649 h 1944173"/>
                <a:gd name="connsiteX470" fmla="*/ 128658 w 1429538"/>
                <a:gd name="connsiteY470" fmla="*/ 671883 h 1944173"/>
                <a:gd name="connsiteX471" fmla="*/ 133424 w 1429538"/>
                <a:gd name="connsiteY471" fmla="*/ 667117 h 1944173"/>
                <a:gd name="connsiteX472" fmla="*/ 133424 w 1429538"/>
                <a:gd name="connsiteY472" fmla="*/ 657587 h 1944173"/>
                <a:gd name="connsiteX473" fmla="*/ 133424 w 1429538"/>
                <a:gd name="connsiteY473" fmla="*/ 652823 h 1944173"/>
                <a:gd name="connsiteX474" fmla="*/ 133424 w 1429538"/>
                <a:gd name="connsiteY474" fmla="*/ 648057 h 1944173"/>
                <a:gd name="connsiteX475" fmla="*/ 138188 w 1429538"/>
                <a:gd name="connsiteY475" fmla="*/ 643293 h 1944173"/>
                <a:gd name="connsiteX476" fmla="*/ 181074 w 1429538"/>
                <a:gd name="connsiteY476" fmla="*/ 643293 h 1944173"/>
                <a:gd name="connsiteX477" fmla="*/ 185840 w 1429538"/>
                <a:gd name="connsiteY477" fmla="*/ 638527 h 1944173"/>
                <a:gd name="connsiteX478" fmla="*/ 185840 w 1429538"/>
                <a:gd name="connsiteY478" fmla="*/ 614701 h 1944173"/>
                <a:gd name="connsiteX479" fmla="*/ 195370 w 1429538"/>
                <a:gd name="connsiteY479" fmla="*/ 576581 h 1944173"/>
                <a:gd name="connsiteX480" fmla="*/ 204900 w 1429538"/>
                <a:gd name="connsiteY480" fmla="*/ 557519 h 1944173"/>
                <a:gd name="connsiteX481" fmla="*/ 209666 w 1429538"/>
                <a:gd name="connsiteY481" fmla="*/ 547989 h 1944173"/>
                <a:gd name="connsiteX482" fmla="*/ 209666 w 1429538"/>
                <a:gd name="connsiteY482" fmla="*/ 500339 h 1944173"/>
                <a:gd name="connsiteX483" fmla="*/ 209666 w 1429538"/>
                <a:gd name="connsiteY483" fmla="*/ 476513 h 1944173"/>
                <a:gd name="connsiteX484" fmla="*/ 200136 w 1429538"/>
                <a:gd name="connsiteY484" fmla="*/ 462217 h 1944173"/>
                <a:gd name="connsiteX485" fmla="*/ 185840 w 1429538"/>
                <a:gd name="connsiteY485" fmla="*/ 452687 h 1944173"/>
                <a:gd name="connsiteX486" fmla="*/ 190606 w 1429538"/>
                <a:gd name="connsiteY486" fmla="*/ 424097 h 1944173"/>
                <a:gd name="connsiteX487" fmla="*/ 195370 w 1429538"/>
                <a:gd name="connsiteY487" fmla="*/ 400271 h 1944173"/>
                <a:gd name="connsiteX488" fmla="*/ 209666 w 1429538"/>
                <a:gd name="connsiteY488" fmla="*/ 376445 h 1944173"/>
                <a:gd name="connsiteX489" fmla="*/ 223960 w 1429538"/>
                <a:gd name="connsiteY489" fmla="*/ 371679 h 1944173"/>
                <a:gd name="connsiteX490" fmla="*/ 276378 w 1429538"/>
                <a:gd name="connsiteY490" fmla="*/ 366915 h 1944173"/>
                <a:gd name="connsiteX491" fmla="*/ 338324 w 1429538"/>
                <a:gd name="connsiteY491" fmla="*/ 366915 h 1944173"/>
                <a:gd name="connsiteX492" fmla="*/ 362150 w 1429538"/>
                <a:gd name="connsiteY492" fmla="*/ 405035 h 1944173"/>
                <a:gd name="connsiteX493" fmla="*/ 352620 w 1429538"/>
                <a:gd name="connsiteY493" fmla="*/ 428861 h 1944173"/>
                <a:gd name="connsiteX494" fmla="*/ 366914 w 1429538"/>
                <a:gd name="connsiteY494" fmla="*/ 433627 h 1944173"/>
                <a:gd name="connsiteX495" fmla="*/ 371680 w 1429538"/>
                <a:gd name="connsiteY495" fmla="*/ 433627 h 1944173"/>
                <a:gd name="connsiteX496" fmla="*/ 376444 w 1429538"/>
                <a:gd name="connsiteY496" fmla="*/ 414565 h 1944173"/>
                <a:gd name="connsiteX497" fmla="*/ 381210 w 1429538"/>
                <a:gd name="connsiteY497" fmla="*/ 395505 h 1944173"/>
                <a:gd name="connsiteX498" fmla="*/ 385976 w 1429538"/>
                <a:gd name="connsiteY498" fmla="*/ 390741 h 1944173"/>
                <a:gd name="connsiteX499" fmla="*/ 405036 w 1429538"/>
                <a:gd name="connsiteY499" fmla="*/ 405035 h 1944173"/>
                <a:gd name="connsiteX500" fmla="*/ 409800 w 1429538"/>
                <a:gd name="connsiteY500" fmla="*/ 414565 h 1944173"/>
                <a:gd name="connsiteX501" fmla="*/ 414566 w 1429538"/>
                <a:gd name="connsiteY501" fmla="*/ 447921 h 1944173"/>
                <a:gd name="connsiteX502" fmla="*/ 419332 w 1429538"/>
                <a:gd name="connsiteY502" fmla="*/ 405035 h 1944173"/>
                <a:gd name="connsiteX503" fmla="*/ 414566 w 1429538"/>
                <a:gd name="connsiteY503" fmla="*/ 371679 h 1944173"/>
                <a:gd name="connsiteX504" fmla="*/ 419332 w 1429538"/>
                <a:gd name="connsiteY504" fmla="*/ 343089 h 1944173"/>
                <a:gd name="connsiteX505" fmla="*/ 424096 w 1429538"/>
                <a:gd name="connsiteY505" fmla="*/ 328793 h 1944173"/>
                <a:gd name="connsiteX506" fmla="*/ 433626 w 1429538"/>
                <a:gd name="connsiteY506" fmla="*/ 319263 h 1944173"/>
                <a:gd name="connsiteX507" fmla="*/ 476512 w 1429538"/>
                <a:gd name="connsiteY507" fmla="*/ 328793 h 1944173"/>
                <a:gd name="connsiteX508" fmla="*/ 524164 w 1429538"/>
                <a:gd name="connsiteY508" fmla="*/ 324029 h 1944173"/>
                <a:gd name="connsiteX509" fmla="*/ 543224 w 1429538"/>
                <a:gd name="connsiteY509" fmla="*/ 333559 h 1944173"/>
                <a:gd name="connsiteX510" fmla="*/ 581346 w 1429538"/>
                <a:gd name="connsiteY510" fmla="*/ 390741 h 1944173"/>
                <a:gd name="connsiteX511" fmla="*/ 595640 w 1429538"/>
                <a:gd name="connsiteY511" fmla="*/ 400271 h 1944173"/>
                <a:gd name="connsiteX512" fmla="*/ 614702 w 1429538"/>
                <a:gd name="connsiteY512" fmla="*/ 405035 h 1944173"/>
                <a:gd name="connsiteX513" fmla="*/ 590876 w 1429538"/>
                <a:gd name="connsiteY513" fmla="*/ 390741 h 1944173"/>
                <a:gd name="connsiteX514" fmla="*/ 538460 w 1429538"/>
                <a:gd name="connsiteY514" fmla="*/ 324029 h 1944173"/>
                <a:gd name="connsiteX515" fmla="*/ 524164 w 1429538"/>
                <a:gd name="connsiteY515" fmla="*/ 314499 h 1944173"/>
                <a:gd name="connsiteX516" fmla="*/ 500338 w 1429538"/>
                <a:gd name="connsiteY516" fmla="*/ 314499 h 1944173"/>
                <a:gd name="connsiteX517" fmla="*/ 486042 w 1429538"/>
                <a:gd name="connsiteY517" fmla="*/ 304969 h 1944173"/>
                <a:gd name="connsiteX518" fmla="*/ 476512 w 1429538"/>
                <a:gd name="connsiteY518" fmla="*/ 295437 h 1944173"/>
                <a:gd name="connsiteX519" fmla="*/ 476512 w 1429538"/>
                <a:gd name="connsiteY519" fmla="*/ 285907 h 1944173"/>
                <a:gd name="connsiteX520" fmla="*/ 476512 w 1429538"/>
                <a:gd name="connsiteY520" fmla="*/ 214431 h 1944173"/>
                <a:gd name="connsiteX521" fmla="*/ 466982 w 1429538"/>
                <a:gd name="connsiteY521" fmla="*/ 204901 h 1944173"/>
                <a:gd name="connsiteX522" fmla="*/ 457452 w 1429538"/>
                <a:gd name="connsiteY522" fmla="*/ 200135 h 1944173"/>
                <a:gd name="connsiteX523" fmla="*/ 447922 w 1429538"/>
                <a:gd name="connsiteY523" fmla="*/ 204901 h 1944173"/>
                <a:gd name="connsiteX524" fmla="*/ 433626 w 1429538"/>
                <a:gd name="connsiteY524" fmla="*/ 204901 h 1944173"/>
                <a:gd name="connsiteX525" fmla="*/ 433626 w 1429538"/>
                <a:gd name="connsiteY525" fmla="*/ 190605 h 1944173"/>
                <a:gd name="connsiteX526" fmla="*/ 438392 w 1429538"/>
                <a:gd name="connsiteY526" fmla="*/ 181075 h 1944173"/>
                <a:gd name="connsiteX527" fmla="*/ 466982 w 1429538"/>
                <a:gd name="connsiteY527" fmla="*/ 171545 h 1944173"/>
                <a:gd name="connsiteX528" fmla="*/ 481278 w 1429538"/>
                <a:gd name="connsiteY528" fmla="*/ 162015 h 1944173"/>
                <a:gd name="connsiteX529" fmla="*/ 486042 w 1429538"/>
                <a:gd name="connsiteY529" fmla="*/ 142953 h 1944173"/>
                <a:gd name="connsiteX530" fmla="*/ 471748 w 1429538"/>
                <a:gd name="connsiteY530" fmla="*/ 128659 h 1944173"/>
                <a:gd name="connsiteX531" fmla="*/ 457452 w 1429538"/>
                <a:gd name="connsiteY531" fmla="*/ 100067 h 1944173"/>
                <a:gd name="connsiteX532" fmla="*/ 443156 w 1429538"/>
                <a:gd name="connsiteY532" fmla="*/ 71477 h 1944173"/>
                <a:gd name="connsiteX533" fmla="*/ 400270 w 1429538"/>
                <a:gd name="connsiteY533" fmla="*/ 0 h 1944173"/>
                <a:gd name="connsiteX534" fmla="*/ 405036 w 1429538"/>
                <a:gd name="connsiteY534" fmla="*/ 0 h 1944173"/>
                <a:gd name="connsiteX535" fmla="*/ 400270 w 1429538"/>
                <a:gd name="connsiteY535" fmla="*/ 14295 h 1944173"/>
                <a:gd name="connsiteX536" fmla="*/ 395506 w 1429538"/>
                <a:gd name="connsiteY536" fmla="*/ 19060 h 1944173"/>
                <a:gd name="connsiteX537" fmla="*/ 390740 w 1429538"/>
                <a:gd name="connsiteY537" fmla="*/ 38121 h 1944173"/>
                <a:gd name="connsiteX538" fmla="*/ 395506 w 1429538"/>
                <a:gd name="connsiteY538" fmla="*/ 42886 h 1944173"/>
                <a:gd name="connsiteX539" fmla="*/ 433626 w 1429538"/>
                <a:gd name="connsiteY539" fmla="*/ 47651 h 1944173"/>
                <a:gd name="connsiteX540" fmla="*/ 428860 w 1429538"/>
                <a:gd name="connsiteY540" fmla="*/ 52416 h 1944173"/>
                <a:gd name="connsiteX541" fmla="*/ 390740 w 1429538"/>
                <a:gd name="connsiteY541" fmla="*/ 57181 h 1944173"/>
                <a:gd name="connsiteX542" fmla="*/ 381210 w 1429538"/>
                <a:gd name="connsiteY542" fmla="*/ 76242 h 1944173"/>
                <a:gd name="connsiteX543" fmla="*/ 381210 w 1429538"/>
                <a:gd name="connsiteY543" fmla="*/ 42886 h 1944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</a:cxnLst>
              <a:rect l="l" t="t" r="r" b="b"/>
              <a:pathLst>
                <a:path w="1429538" h="1944172">
                  <a:moveTo>
                    <a:pt x="1243698" y="252553"/>
                  </a:moveTo>
                  <a:lnTo>
                    <a:pt x="1277054" y="276377"/>
                  </a:lnTo>
                  <a:lnTo>
                    <a:pt x="1305644" y="300203"/>
                  </a:lnTo>
                  <a:lnTo>
                    <a:pt x="1300880" y="309733"/>
                  </a:lnTo>
                  <a:lnTo>
                    <a:pt x="1305644" y="319263"/>
                  </a:lnTo>
                  <a:lnTo>
                    <a:pt x="1300880" y="319263"/>
                  </a:lnTo>
                  <a:lnTo>
                    <a:pt x="1281820" y="324029"/>
                  </a:lnTo>
                  <a:lnTo>
                    <a:pt x="1257994" y="319263"/>
                  </a:lnTo>
                  <a:lnTo>
                    <a:pt x="1257994" y="300203"/>
                  </a:lnTo>
                  <a:lnTo>
                    <a:pt x="1257994" y="285907"/>
                  </a:lnTo>
                  <a:lnTo>
                    <a:pt x="1253228" y="276377"/>
                  </a:lnTo>
                  <a:lnTo>
                    <a:pt x="1243698" y="271613"/>
                  </a:lnTo>
                  <a:lnTo>
                    <a:pt x="1243698" y="262083"/>
                  </a:lnTo>
                  <a:close/>
                  <a:moveTo>
                    <a:pt x="814836" y="142953"/>
                  </a:moveTo>
                  <a:lnTo>
                    <a:pt x="838662" y="152485"/>
                  </a:lnTo>
                  <a:lnTo>
                    <a:pt x="848192" y="166779"/>
                  </a:lnTo>
                  <a:lnTo>
                    <a:pt x="848192" y="176309"/>
                  </a:lnTo>
                  <a:lnTo>
                    <a:pt x="824366" y="176309"/>
                  </a:lnTo>
                  <a:lnTo>
                    <a:pt x="814836" y="162015"/>
                  </a:lnTo>
                  <a:lnTo>
                    <a:pt x="805306" y="162015"/>
                  </a:lnTo>
                  <a:lnTo>
                    <a:pt x="810072" y="147719"/>
                  </a:lnTo>
                  <a:close/>
                  <a:moveTo>
                    <a:pt x="1167456" y="100069"/>
                  </a:moveTo>
                  <a:lnTo>
                    <a:pt x="1181750" y="100069"/>
                  </a:lnTo>
                  <a:lnTo>
                    <a:pt x="1186516" y="114363"/>
                  </a:lnTo>
                  <a:lnTo>
                    <a:pt x="1191282" y="119129"/>
                  </a:lnTo>
                  <a:lnTo>
                    <a:pt x="1215106" y="133423"/>
                  </a:lnTo>
                  <a:lnTo>
                    <a:pt x="1219872" y="138189"/>
                  </a:lnTo>
                  <a:lnTo>
                    <a:pt x="1219872" y="142955"/>
                  </a:lnTo>
                  <a:lnTo>
                    <a:pt x="1210342" y="157249"/>
                  </a:lnTo>
                  <a:lnTo>
                    <a:pt x="1205576" y="162015"/>
                  </a:lnTo>
                  <a:lnTo>
                    <a:pt x="1210342" y="171545"/>
                  </a:lnTo>
                  <a:lnTo>
                    <a:pt x="1224636" y="185841"/>
                  </a:lnTo>
                  <a:lnTo>
                    <a:pt x="1229402" y="200135"/>
                  </a:lnTo>
                  <a:lnTo>
                    <a:pt x="1224636" y="209665"/>
                  </a:lnTo>
                  <a:lnTo>
                    <a:pt x="1210342" y="195371"/>
                  </a:lnTo>
                  <a:lnTo>
                    <a:pt x="1191282" y="195371"/>
                  </a:lnTo>
                  <a:lnTo>
                    <a:pt x="1181750" y="219197"/>
                  </a:lnTo>
                  <a:lnTo>
                    <a:pt x="1172220" y="219197"/>
                  </a:lnTo>
                  <a:lnTo>
                    <a:pt x="1143630" y="200135"/>
                  </a:lnTo>
                  <a:lnTo>
                    <a:pt x="1138864" y="185841"/>
                  </a:lnTo>
                  <a:lnTo>
                    <a:pt x="1138864" y="181075"/>
                  </a:lnTo>
                  <a:lnTo>
                    <a:pt x="1143630" y="147719"/>
                  </a:lnTo>
                  <a:lnTo>
                    <a:pt x="1143630" y="138189"/>
                  </a:lnTo>
                  <a:lnTo>
                    <a:pt x="1153160" y="128659"/>
                  </a:lnTo>
                  <a:lnTo>
                    <a:pt x="1153160" y="114363"/>
                  </a:lnTo>
                  <a:close/>
                  <a:moveTo>
                    <a:pt x="409800" y="81007"/>
                  </a:moveTo>
                  <a:lnTo>
                    <a:pt x="414566" y="81007"/>
                  </a:lnTo>
                  <a:lnTo>
                    <a:pt x="424096" y="85773"/>
                  </a:lnTo>
                  <a:lnTo>
                    <a:pt x="428860" y="95303"/>
                  </a:lnTo>
                  <a:lnTo>
                    <a:pt x="419330" y="100069"/>
                  </a:lnTo>
                  <a:lnTo>
                    <a:pt x="405036" y="100069"/>
                  </a:lnTo>
                  <a:lnTo>
                    <a:pt x="395504" y="95303"/>
                  </a:lnTo>
                  <a:lnTo>
                    <a:pt x="400270" y="85773"/>
                  </a:lnTo>
                  <a:close/>
                  <a:moveTo>
                    <a:pt x="438392" y="42886"/>
                  </a:moveTo>
                  <a:lnTo>
                    <a:pt x="466982" y="42886"/>
                  </a:lnTo>
                  <a:lnTo>
                    <a:pt x="476512" y="42886"/>
                  </a:lnTo>
                  <a:lnTo>
                    <a:pt x="519398" y="57181"/>
                  </a:lnTo>
                  <a:lnTo>
                    <a:pt x="528930" y="66712"/>
                  </a:lnTo>
                  <a:lnTo>
                    <a:pt x="543224" y="71477"/>
                  </a:lnTo>
                  <a:lnTo>
                    <a:pt x="567050" y="61947"/>
                  </a:lnTo>
                  <a:lnTo>
                    <a:pt x="586110" y="57181"/>
                  </a:lnTo>
                  <a:lnTo>
                    <a:pt x="595640" y="61947"/>
                  </a:lnTo>
                  <a:lnTo>
                    <a:pt x="605172" y="61947"/>
                  </a:lnTo>
                  <a:lnTo>
                    <a:pt x="609936" y="66712"/>
                  </a:lnTo>
                  <a:lnTo>
                    <a:pt x="628996" y="76242"/>
                  </a:lnTo>
                  <a:lnTo>
                    <a:pt x="638528" y="85773"/>
                  </a:lnTo>
                  <a:lnTo>
                    <a:pt x="652822" y="104833"/>
                  </a:lnTo>
                  <a:lnTo>
                    <a:pt x="652822" y="128659"/>
                  </a:lnTo>
                  <a:lnTo>
                    <a:pt x="638528" y="147719"/>
                  </a:lnTo>
                  <a:lnTo>
                    <a:pt x="628996" y="157249"/>
                  </a:lnTo>
                  <a:lnTo>
                    <a:pt x="671882" y="157249"/>
                  </a:lnTo>
                  <a:lnTo>
                    <a:pt x="671882" y="166779"/>
                  </a:lnTo>
                  <a:lnTo>
                    <a:pt x="681414" y="176309"/>
                  </a:lnTo>
                  <a:lnTo>
                    <a:pt x="705238" y="166779"/>
                  </a:lnTo>
                  <a:lnTo>
                    <a:pt x="762420" y="200135"/>
                  </a:lnTo>
                  <a:lnTo>
                    <a:pt x="795776" y="185839"/>
                  </a:lnTo>
                  <a:lnTo>
                    <a:pt x="805306" y="185839"/>
                  </a:lnTo>
                  <a:lnTo>
                    <a:pt x="814836" y="209665"/>
                  </a:lnTo>
                  <a:lnTo>
                    <a:pt x="805306" y="238257"/>
                  </a:lnTo>
                  <a:lnTo>
                    <a:pt x="771950" y="266847"/>
                  </a:lnTo>
                  <a:lnTo>
                    <a:pt x="781480" y="281143"/>
                  </a:lnTo>
                  <a:lnTo>
                    <a:pt x="791012" y="285907"/>
                  </a:lnTo>
                  <a:lnTo>
                    <a:pt x="819602" y="281143"/>
                  </a:lnTo>
                  <a:lnTo>
                    <a:pt x="867254" y="300203"/>
                  </a:lnTo>
                  <a:lnTo>
                    <a:pt x="876784" y="295437"/>
                  </a:lnTo>
                  <a:lnTo>
                    <a:pt x="914904" y="257317"/>
                  </a:lnTo>
                  <a:lnTo>
                    <a:pt x="929200" y="247787"/>
                  </a:lnTo>
                  <a:lnTo>
                    <a:pt x="976850" y="243021"/>
                  </a:lnTo>
                  <a:lnTo>
                    <a:pt x="986382" y="223961"/>
                  </a:lnTo>
                  <a:lnTo>
                    <a:pt x="1005442" y="209665"/>
                  </a:lnTo>
                  <a:lnTo>
                    <a:pt x="1019738" y="195371"/>
                  </a:lnTo>
                  <a:lnTo>
                    <a:pt x="1048328" y="162015"/>
                  </a:lnTo>
                  <a:lnTo>
                    <a:pt x="1081684" y="166779"/>
                  </a:lnTo>
                  <a:lnTo>
                    <a:pt x="1100744" y="171545"/>
                  </a:lnTo>
                  <a:lnTo>
                    <a:pt x="1119804" y="176309"/>
                  </a:lnTo>
                  <a:lnTo>
                    <a:pt x="1138866" y="209665"/>
                  </a:lnTo>
                  <a:lnTo>
                    <a:pt x="1186516" y="247787"/>
                  </a:lnTo>
                  <a:lnTo>
                    <a:pt x="1229402" y="243021"/>
                  </a:lnTo>
                  <a:lnTo>
                    <a:pt x="1243698" y="281143"/>
                  </a:lnTo>
                  <a:lnTo>
                    <a:pt x="1253228" y="324029"/>
                  </a:lnTo>
                  <a:lnTo>
                    <a:pt x="1262758" y="338323"/>
                  </a:lnTo>
                  <a:lnTo>
                    <a:pt x="1277054" y="347855"/>
                  </a:lnTo>
                  <a:lnTo>
                    <a:pt x="1310410" y="357385"/>
                  </a:lnTo>
                  <a:lnTo>
                    <a:pt x="1315176" y="362149"/>
                  </a:lnTo>
                  <a:lnTo>
                    <a:pt x="1315176" y="385975"/>
                  </a:lnTo>
                  <a:lnTo>
                    <a:pt x="1319940" y="405035"/>
                  </a:lnTo>
                  <a:lnTo>
                    <a:pt x="1339000" y="476513"/>
                  </a:lnTo>
                  <a:lnTo>
                    <a:pt x="1334236" y="490809"/>
                  </a:lnTo>
                  <a:lnTo>
                    <a:pt x="1334236" y="495573"/>
                  </a:lnTo>
                  <a:lnTo>
                    <a:pt x="1329470" y="519399"/>
                  </a:lnTo>
                  <a:lnTo>
                    <a:pt x="1319940" y="543225"/>
                  </a:lnTo>
                  <a:lnTo>
                    <a:pt x="1300880" y="552755"/>
                  </a:lnTo>
                  <a:lnTo>
                    <a:pt x="1296114" y="567051"/>
                  </a:lnTo>
                  <a:lnTo>
                    <a:pt x="1291350" y="581345"/>
                  </a:lnTo>
                  <a:lnTo>
                    <a:pt x="1310410" y="605171"/>
                  </a:lnTo>
                  <a:lnTo>
                    <a:pt x="1353296" y="638527"/>
                  </a:lnTo>
                  <a:lnTo>
                    <a:pt x="1367592" y="671883"/>
                  </a:lnTo>
                  <a:lnTo>
                    <a:pt x="1362826" y="695709"/>
                  </a:lnTo>
                  <a:lnTo>
                    <a:pt x="1358062" y="714769"/>
                  </a:lnTo>
                  <a:lnTo>
                    <a:pt x="1362826" y="724299"/>
                  </a:lnTo>
                  <a:lnTo>
                    <a:pt x="1367592" y="733829"/>
                  </a:lnTo>
                  <a:lnTo>
                    <a:pt x="1377122" y="743359"/>
                  </a:lnTo>
                  <a:lnTo>
                    <a:pt x="1381886" y="752891"/>
                  </a:lnTo>
                  <a:lnTo>
                    <a:pt x="1381886" y="767185"/>
                  </a:lnTo>
                  <a:lnTo>
                    <a:pt x="1381886" y="776715"/>
                  </a:lnTo>
                  <a:lnTo>
                    <a:pt x="1391416" y="786245"/>
                  </a:lnTo>
                  <a:lnTo>
                    <a:pt x="1386652" y="795777"/>
                  </a:lnTo>
                  <a:lnTo>
                    <a:pt x="1381886" y="814837"/>
                  </a:lnTo>
                  <a:lnTo>
                    <a:pt x="1377122" y="829133"/>
                  </a:lnTo>
                  <a:lnTo>
                    <a:pt x="1367592" y="848193"/>
                  </a:lnTo>
                  <a:lnTo>
                    <a:pt x="1367592" y="862489"/>
                  </a:lnTo>
                  <a:lnTo>
                    <a:pt x="1377122" y="881549"/>
                  </a:lnTo>
                  <a:lnTo>
                    <a:pt x="1386652" y="891079"/>
                  </a:lnTo>
                  <a:lnTo>
                    <a:pt x="1386652" y="900609"/>
                  </a:lnTo>
                  <a:lnTo>
                    <a:pt x="1381886" y="919669"/>
                  </a:lnTo>
                  <a:lnTo>
                    <a:pt x="1386652" y="924435"/>
                  </a:lnTo>
                  <a:lnTo>
                    <a:pt x="1415242" y="938729"/>
                  </a:lnTo>
                  <a:lnTo>
                    <a:pt x="1420008" y="948261"/>
                  </a:lnTo>
                  <a:lnTo>
                    <a:pt x="1420008" y="962555"/>
                  </a:lnTo>
                  <a:lnTo>
                    <a:pt x="1429538" y="991147"/>
                  </a:lnTo>
                  <a:lnTo>
                    <a:pt x="1424772" y="1034033"/>
                  </a:lnTo>
                  <a:lnTo>
                    <a:pt x="1415242" y="1053093"/>
                  </a:lnTo>
                  <a:lnTo>
                    <a:pt x="1400948" y="1086449"/>
                  </a:lnTo>
                  <a:lnTo>
                    <a:pt x="1396182" y="1091215"/>
                  </a:lnTo>
                  <a:lnTo>
                    <a:pt x="1396182" y="1095979"/>
                  </a:lnTo>
                  <a:lnTo>
                    <a:pt x="1391416" y="1100745"/>
                  </a:lnTo>
                  <a:lnTo>
                    <a:pt x="1386652" y="1100745"/>
                  </a:lnTo>
                  <a:lnTo>
                    <a:pt x="1377122" y="1095979"/>
                  </a:lnTo>
                  <a:lnTo>
                    <a:pt x="1367592" y="1091215"/>
                  </a:lnTo>
                  <a:lnTo>
                    <a:pt x="1367592" y="1076919"/>
                  </a:lnTo>
                  <a:lnTo>
                    <a:pt x="1358062" y="1067389"/>
                  </a:lnTo>
                  <a:lnTo>
                    <a:pt x="1358062" y="1057859"/>
                  </a:lnTo>
                  <a:lnTo>
                    <a:pt x="1353296" y="1053093"/>
                  </a:lnTo>
                  <a:lnTo>
                    <a:pt x="1329470" y="1048329"/>
                  </a:lnTo>
                  <a:lnTo>
                    <a:pt x="1319940" y="1048329"/>
                  </a:lnTo>
                  <a:lnTo>
                    <a:pt x="1315176" y="1048329"/>
                  </a:lnTo>
                  <a:lnTo>
                    <a:pt x="1310410" y="1057859"/>
                  </a:lnTo>
                  <a:lnTo>
                    <a:pt x="1315176" y="1062623"/>
                  </a:lnTo>
                  <a:lnTo>
                    <a:pt x="1319940" y="1067389"/>
                  </a:lnTo>
                  <a:lnTo>
                    <a:pt x="1329470" y="1076919"/>
                  </a:lnTo>
                  <a:lnTo>
                    <a:pt x="1329470" y="1081683"/>
                  </a:lnTo>
                  <a:lnTo>
                    <a:pt x="1305644" y="1091215"/>
                  </a:lnTo>
                  <a:lnTo>
                    <a:pt x="1286584" y="1100745"/>
                  </a:lnTo>
                  <a:lnTo>
                    <a:pt x="1272288" y="1105509"/>
                  </a:lnTo>
                  <a:lnTo>
                    <a:pt x="1257994" y="1115039"/>
                  </a:lnTo>
                  <a:lnTo>
                    <a:pt x="1224638" y="1124569"/>
                  </a:lnTo>
                  <a:lnTo>
                    <a:pt x="1200812" y="1129335"/>
                  </a:lnTo>
                  <a:lnTo>
                    <a:pt x="1196046" y="1134101"/>
                  </a:lnTo>
                  <a:lnTo>
                    <a:pt x="1191282" y="1148395"/>
                  </a:lnTo>
                  <a:lnTo>
                    <a:pt x="1181752" y="1153161"/>
                  </a:lnTo>
                  <a:lnTo>
                    <a:pt x="1176986" y="1153161"/>
                  </a:lnTo>
                  <a:lnTo>
                    <a:pt x="1172222" y="1148395"/>
                  </a:lnTo>
                  <a:lnTo>
                    <a:pt x="1167456" y="1153161"/>
                  </a:lnTo>
                  <a:lnTo>
                    <a:pt x="1162690" y="1157925"/>
                  </a:lnTo>
                  <a:lnTo>
                    <a:pt x="1157926" y="1162691"/>
                  </a:lnTo>
                  <a:lnTo>
                    <a:pt x="1153160" y="1162691"/>
                  </a:lnTo>
                  <a:lnTo>
                    <a:pt x="1143630" y="1176987"/>
                  </a:lnTo>
                  <a:lnTo>
                    <a:pt x="1119804" y="1181751"/>
                  </a:lnTo>
                  <a:lnTo>
                    <a:pt x="1115040" y="1191281"/>
                  </a:lnTo>
                  <a:lnTo>
                    <a:pt x="1110274" y="1200813"/>
                  </a:lnTo>
                  <a:lnTo>
                    <a:pt x="1105510" y="1200813"/>
                  </a:lnTo>
                  <a:lnTo>
                    <a:pt x="1095980" y="1196047"/>
                  </a:lnTo>
                  <a:lnTo>
                    <a:pt x="1076918" y="1196047"/>
                  </a:lnTo>
                  <a:lnTo>
                    <a:pt x="1072154" y="1200813"/>
                  </a:lnTo>
                  <a:lnTo>
                    <a:pt x="1057858" y="1205577"/>
                  </a:lnTo>
                  <a:lnTo>
                    <a:pt x="1043562" y="1205577"/>
                  </a:lnTo>
                  <a:lnTo>
                    <a:pt x="1029268" y="1215107"/>
                  </a:lnTo>
                  <a:lnTo>
                    <a:pt x="1014972" y="1234169"/>
                  </a:lnTo>
                  <a:lnTo>
                    <a:pt x="1005442" y="1253229"/>
                  </a:lnTo>
                  <a:lnTo>
                    <a:pt x="1000676" y="1257993"/>
                  </a:lnTo>
                  <a:lnTo>
                    <a:pt x="995912" y="1243699"/>
                  </a:lnTo>
                  <a:lnTo>
                    <a:pt x="986382" y="1229403"/>
                  </a:lnTo>
                  <a:lnTo>
                    <a:pt x="981616" y="1224637"/>
                  </a:lnTo>
                  <a:lnTo>
                    <a:pt x="976850" y="1224637"/>
                  </a:lnTo>
                  <a:lnTo>
                    <a:pt x="972086" y="1229403"/>
                  </a:lnTo>
                  <a:lnTo>
                    <a:pt x="972086" y="1234169"/>
                  </a:lnTo>
                  <a:lnTo>
                    <a:pt x="981616" y="1248463"/>
                  </a:lnTo>
                  <a:lnTo>
                    <a:pt x="986382" y="1257993"/>
                  </a:lnTo>
                  <a:lnTo>
                    <a:pt x="986382" y="1262759"/>
                  </a:lnTo>
                  <a:lnTo>
                    <a:pt x="991146" y="1277055"/>
                  </a:lnTo>
                  <a:lnTo>
                    <a:pt x="1000676" y="1291349"/>
                  </a:lnTo>
                  <a:lnTo>
                    <a:pt x="1019738" y="1300879"/>
                  </a:lnTo>
                  <a:lnTo>
                    <a:pt x="1029268" y="1310409"/>
                  </a:lnTo>
                  <a:lnTo>
                    <a:pt x="1038798" y="1324705"/>
                  </a:lnTo>
                  <a:lnTo>
                    <a:pt x="1038798" y="1329471"/>
                  </a:lnTo>
                  <a:lnTo>
                    <a:pt x="1038798" y="1339001"/>
                  </a:lnTo>
                  <a:lnTo>
                    <a:pt x="1034032" y="1343765"/>
                  </a:lnTo>
                  <a:lnTo>
                    <a:pt x="1029268" y="1348531"/>
                  </a:lnTo>
                  <a:lnTo>
                    <a:pt x="1019738" y="1362827"/>
                  </a:lnTo>
                  <a:lnTo>
                    <a:pt x="1024502" y="1372357"/>
                  </a:lnTo>
                  <a:lnTo>
                    <a:pt x="1029268" y="1377121"/>
                  </a:lnTo>
                  <a:lnTo>
                    <a:pt x="1038798" y="1386653"/>
                  </a:lnTo>
                  <a:lnTo>
                    <a:pt x="1048328" y="1405713"/>
                  </a:lnTo>
                  <a:lnTo>
                    <a:pt x="1057858" y="1429539"/>
                  </a:lnTo>
                  <a:lnTo>
                    <a:pt x="1067388" y="1443833"/>
                  </a:lnTo>
                  <a:lnTo>
                    <a:pt x="1076918" y="1453363"/>
                  </a:lnTo>
                  <a:lnTo>
                    <a:pt x="1086448" y="1462895"/>
                  </a:lnTo>
                  <a:lnTo>
                    <a:pt x="1100744" y="1462895"/>
                  </a:lnTo>
                  <a:lnTo>
                    <a:pt x="1119804" y="1481955"/>
                  </a:lnTo>
                  <a:lnTo>
                    <a:pt x="1138866" y="1505781"/>
                  </a:lnTo>
                  <a:lnTo>
                    <a:pt x="1153160" y="1515311"/>
                  </a:lnTo>
                  <a:lnTo>
                    <a:pt x="1162690" y="1520075"/>
                  </a:lnTo>
                  <a:lnTo>
                    <a:pt x="1167456" y="1529605"/>
                  </a:lnTo>
                  <a:lnTo>
                    <a:pt x="1176986" y="1539137"/>
                  </a:lnTo>
                  <a:lnTo>
                    <a:pt x="1176986" y="1548667"/>
                  </a:lnTo>
                  <a:lnTo>
                    <a:pt x="1186516" y="1553431"/>
                  </a:lnTo>
                  <a:lnTo>
                    <a:pt x="1200812" y="1553431"/>
                  </a:lnTo>
                  <a:lnTo>
                    <a:pt x="1224638" y="1572493"/>
                  </a:lnTo>
                  <a:lnTo>
                    <a:pt x="1234168" y="1586787"/>
                  </a:lnTo>
                  <a:lnTo>
                    <a:pt x="1243698" y="1596317"/>
                  </a:lnTo>
                  <a:lnTo>
                    <a:pt x="1238932" y="1601083"/>
                  </a:lnTo>
                  <a:lnTo>
                    <a:pt x="1238932" y="1615379"/>
                  </a:lnTo>
                  <a:lnTo>
                    <a:pt x="1238932" y="1629673"/>
                  </a:lnTo>
                  <a:lnTo>
                    <a:pt x="1238932" y="1639203"/>
                  </a:lnTo>
                  <a:lnTo>
                    <a:pt x="1229402" y="1648735"/>
                  </a:lnTo>
                  <a:lnTo>
                    <a:pt x="1224638" y="1653499"/>
                  </a:lnTo>
                  <a:lnTo>
                    <a:pt x="1219872" y="1653499"/>
                  </a:lnTo>
                  <a:lnTo>
                    <a:pt x="1191282" y="1639203"/>
                  </a:lnTo>
                  <a:lnTo>
                    <a:pt x="1191282" y="1643969"/>
                  </a:lnTo>
                  <a:lnTo>
                    <a:pt x="1186516" y="1643969"/>
                  </a:lnTo>
                  <a:lnTo>
                    <a:pt x="1181752" y="1686855"/>
                  </a:lnTo>
                  <a:lnTo>
                    <a:pt x="1172222" y="1691621"/>
                  </a:lnTo>
                  <a:lnTo>
                    <a:pt x="1167456" y="1701151"/>
                  </a:lnTo>
                  <a:lnTo>
                    <a:pt x="1148396" y="1705915"/>
                  </a:lnTo>
                  <a:lnTo>
                    <a:pt x="1138866" y="1710681"/>
                  </a:lnTo>
                  <a:lnTo>
                    <a:pt x="1129336" y="1715445"/>
                  </a:lnTo>
                  <a:lnTo>
                    <a:pt x="1100744" y="1729741"/>
                  </a:lnTo>
                  <a:lnTo>
                    <a:pt x="1086448" y="1739271"/>
                  </a:lnTo>
                  <a:lnTo>
                    <a:pt x="1076918" y="1753567"/>
                  </a:lnTo>
                  <a:lnTo>
                    <a:pt x="1076918" y="1758333"/>
                  </a:lnTo>
                  <a:lnTo>
                    <a:pt x="1091214" y="1782157"/>
                  </a:lnTo>
                  <a:lnTo>
                    <a:pt x="1110274" y="1801219"/>
                  </a:lnTo>
                  <a:lnTo>
                    <a:pt x="1110274" y="1820279"/>
                  </a:lnTo>
                  <a:lnTo>
                    <a:pt x="1100744" y="1839339"/>
                  </a:lnTo>
                  <a:lnTo>
                    <a:pt x="1100744" y="1844105"/>
                  </a:lnTo>
                  <a:lnTo>
                    <a:pt x="1105510" y="1844105"/>
                  </a:lnTo>
                  <a:lnTo>
                    <a:pt x="1115040" y="1844105"/>
                  </a:lnTo>
                  <a:lnTo>
                    <a:pt x="1119804" y="1848869"/>
                  </a:lnTo>
                  <a:lnTo>
                    <a:pt x="1124570" y="1858399"/>
                  </a:lnTo>
                  <a:lnTo>
                    <a:pt x="1124570" y="1877461"/>
                  </a:lnTo>
                  <a:lnTo>
                    <a:pt x="1119804" y="1891755"/>
                  </a:lnTo>
                  <a:lnTo>
                    <a:pt x="1119804" y="1901285"/>
                  </a:lnTo>
                  <a:lnTo>
                    <a:pt x="1110274" y="1901285"/>
                  </a:lnTo>
                  <a:lnTo>
                    <a:pt x="1095980" y="1891755"/>
                  </a:lnTo>
                  <a:lnTo>
                    <a:pt x="1086448" y="1882225"/>
                  </a:lnTo>
                  <a:lnTo>
                    <a:pt x="1081684" y="1877461"/>
                  </a:lnTo>
                  <a:lnTo>
                    <a:pt x="1081684" y="1872695"/>
                  </a:lnTo>
                  <a:lnTo>
                    <a:pt x="1081684" y="1867929"/>
                  </a:lnTo>
                  <a:lnTo>
                    <a:pt x="1081684" y="1863165"/>
                  </a:lnTo>
                  <a:lnTo>
                    <a:pt x="1067388" y="1853635"/>
                  </a:lnTo>
                  <a:lnTo>
                    <a:pt x="1053092" y="1858399"/>
                  </a:lnTo>
                  <a:lnTo>
                    <a:pt x="1043562" y="1863165"/>
                  </a:lnTo>
                  <a:lnTo>
                    <a:pt x="1034032" y="1863165"/>
                  </a:lnTo>
                  <a:lnTo>
                    <a:pt x="1029268" y="1853635"/>
                  </a:lnTo>
                  <a:lnTo>
                    <a:pt x="1014972" y="1848869"/>
                  </a:lnTo>
                  <a:lnTo>
                    <a:pt x="1000676" y="1848869"/>
                  </a:lnTo>
                  <a:lnTo>
                    <a:pt x="991146" y="1844105"/>
                  </a:lnTo>
                  <a:lnTo>
                    <a:pt x="991146" y="1858399"/>
                  </a:lnTo>
                  <a:lnTo>
                    <a:pt x="986382" y="1867929"/>
                  </a:lnTo>
                  <a:lnTo>
                    <a:pt x="914904" y="1872695"/>
                  </a:lnTo>
                  <a:lnTo>
                    <a:pt x="891078" y="1882225"/>
                  </a:lnTo>
                  <a:lnTo>
                    <a:pt x="876784" y="1891755"/>
                  </a:lnTo>
                  <a:lnTo>
                    <a:pt x="862488" y="1896521"/>
                  </a:lnTo>
                  <a:lnTo>
                    <a:pt x="862488" y="1901285"/>
                  </a:lnTo>
                  <a:lnTo>
                    <a:pt x="848192" y="1910817"/>
                  </a:lnTo>
                  <a:lnTo>
                    <a:pt x="838662" y="1915581"/>
                  </a:lnTo>
                  <a:lnTo>
                    <a:pt x="833898" y="1910817"/>
                  </a:lnTo>
                  <a:lnTo>
                    <a:pt x="824366" y="1915581"/>
                  </a:lnTo>
                  <a:lnTo>
                    <a:pt x="810072" y="1920347"/>
                  </a:lnTo>
                  <a:lnTo>
                    <a:pt x="800542" y="1915581"/>
                  </a:lnTo>
                  <a:lnTo>
                    <a:pt x="795776" y="1910817"/>
                  </a:lnTo>
                  <a:lnTo>
                    <a:pt x="786246" y="1901285"/>
                  </a:lnTo>
                  <a:lnTo>
                    <a:pt x="781480" y="1891755"/>
                  </a:lnTo>
                  <a:lnTo>
                    <a:pt x="781480" y="1886991"/>
                  </a:lnTo>
                  <a:lnTo>
                    <a:pt x="762420" y="1886991"/>
                  </a:lnTo>
                  <a:lnTo>
                    <a:pt x="748124" y="1882225"/>
                  </a:lnTo>
                  <a:lnTo>
                    <a:pt x="724300" y="1882225"/>
                  </a:lnTo>
                  <a:lnTo>
                    <a:pt x="714768" y="1882225"/>
                  </a:lnTo>
                  <a:lnTo>
                    <a:pt x="710004" y="1915581"/>
                  </a:lnTo>
                  <a:lnTo>
                    <a:pt x="705238" y="1925111"/>
                  </a:lnTo>
                  <a:lnTo>
                    <a:pt x="695708" y="1939407"/>
                  </a:lnTo>
                  <a:lnTo>
                    <a:pt x="686178" y="1944173"/>
                  </a:lnTo>
                  <a:lnTo>
                    <a:pt x="676648" y="1944173"/>
                  </a:lnTo>
                  <a:lnTo>
                    <a:pt x="676648" y="1934641"/>
                  </a:lnTo>
                  <a:lnTo>
                    <a:pt x="676648" y="1925111"/>
                  </a:lnTo>
                  <a:lnTo>
                    <a:pt x="671882" y="1925111"/>
                  </a:lnTo>
                  <a:lnTo>
                    <a:pt x="662352" y="1920347"/>
                  </a:lnTo>
                  <a:lnTo>
                    <a:pt x="657588" y="1920347"/>
                  </a:lnTo>
                  <a:lnTo>
                    <a:pt x="657588" y="1910817"/>
                  </a:lnTo>
                  <a:lnTo>
                    <a:pt x="657588" y="1906051"/>
                  </a:lnTo>
                  <a:lnTo>
                    <a:pt x="652822" y="1901285"/>
                  </a:lnTo>
                  <a:lnTo>
                    <a:pt x="643292" y="1891755"/>
                  </a:lnTo>
                  <a:lnTo>
                    <a:pt x="624232" y="1882225"/>
                  </a:lnTo>
                  <a:lnTo>
                    <a:pt x="609936" y="1877461"/>
                  </a:lnTo>
                  <a:lnTo>
                    <a:pt x="605172" y="1882225"/>
                  </a:lnTo>
                  <a:lnTo>
                    <a:pt x="600406" y="1882225"/>
                  </a:lnTo>
                  <a:lnTo>
                    <a:pt x="590876" y="1877461"/>
                  </a:lnTo>
                  <a:lnTo>
                    <a:pt x="571816" y="1863165"/>
                  </a:lnTo>
                  <a:lnTo>
                    <a:pt x="547990" y="1853635"/>
                  </a:lnTo>
                  <a:lnTo>
                    <a:pt x="528930" y="1839339"/>
                  </a:lnTo>
                  <a:lnTo>
                    <a:pt x="509868" y="1829809"/>
                  </a:lnTo>
                  <a:lnTo>
                    <a:pt x="519398" y="1853635"/>
                  </a:lnTo>
                  <a:lnTo>
                    <a:pt x="509868" y="1853635"/>
                  </a:lnTo>
                  <a:lnTo>
                    <a:pt x="471748" y="1858399"/>
                  </a:lnTo>
                  <a:lnTo>
                    <a:pt x="466982" y="1848869"/>
                  </a:lnTo>
                  <a:lnTo>
                    <a:pt x="457452" y="1844105"/>
                  </a:lnTo>
                  <a:lnTo>
                    <a:pt x="452688" y="1848869"/>
                  </a:lnTo>
                  <a:lnTo>
                    <a:pt x="447922" y="1848869"/>
                  </a:lnTo>
                  <a:lnTo>
                    <a:pt x="433626" y="1829809"/>
                  </a:lnTo>
                  <a:lnTo>
                    <a:pt x="424096" y="1829809"/>
                  </a:lnTo>
                  <a:lnTo>
                    <a:pt x="414566" y="1829809"/>
                  </a:lnTo>
                  <a:lnTo>
                    <a:pt x="405036" y="1839339"/>
                  </a:lnTo>
                  <a:lnTo>
                    <a:pt x="395506" y="1848869"/>
                  </a:lnTo>
                  <a:lnTo>
                    <a:pt x="400270" y="1858399"/>
                  </a:lnTo>
                  <a:lnTo>
                    <a:pt x="405036" y="1858399"/>
                  </a:lnTo>
                  <a:lnTo>
                    <a:pt x="419332" y="1858399"/>
                  </a:lnTo>
                  <a:lnTo>
                    <a:pt x="424096" y="1858399"/>
                  </a:lnTo>
                  <a:lnTo>
                    <a:pt x="424096" y="1863165"/>
                  </a:lnTo>
                  <a:lnTo>
                    <a:pt x="409800" y="1867929"/>
                  </a:lnTo>
                  <a:lnTo>
                    <a:pt x="405036" y="1872695"/>
                  </a:lnTo>
                  <a:lnTo>
                    <a:pt x="400270" y="1872695"/>
                  </a:lnTo>
                  <a:lnTo>
                    <a:pt x="385976" y="1867929"/>
                  </a:lnTo>
                  <a:lnTo>
                    <a:pt x="366914" y="1867929"/>
                  </a:lnTo>
                  <a:lnTo>
                    <a:pt x="347854" y="1877461"/>
                  </a:lnTo>
                  <a:lnTo>
                    <a:pt x="324028" y="1877461"/>
                  </a:lnTo>
                  <a:lnTo>
                    <a:pt x="285908" y="1877461"/>
                  </a:lnTo>
                  <a:lnTo>
                    <a:pt x="276378" y="1872695"/>
                  </a:lnTo>
                  <a:lnTo>
                    <a:pt x="266848" y="1867929"/>
                  </a:lnTo>
                  <a:lnTo>
                    <a:pt x="262082" y="1853635"/>
                  </a:lnTo>
                  <a:lnTo>
                    <a:pt x="262082" y="1829809"/>
                  </a:lnTo>
                  <a:lnTo>
                    <a:pt x="271612" y="1801219"/>
                  </a:lnTo>
                  <a:lnTo>
                    <a:pt x="271612" y="1777393"/>
                  </a:lnTo>
                  <a:lnTo>
                    <a:pt x="271612" y="1763097"/>
                  </a:lnTo>
                  <a:lnTo>
                    <a:pt x="276378" y="1739271"/>
                  </a:lnTo>
                  <a:lnTo>
                    <a:pt x="290672" y="1710681"/>
                  </a:lnTo>
                  <a:lnTo>
                    <a:pt x="300202" y="1682089"/>
                  </a:lnTo>
                  <a:lnTo>
                    <a:pt x="304968" y="1648735"/>
                  </a:lnTo>
                  <a:lnTo>
                    <a:pt x="309734" y="1629673"/>
                  </a:lnTo>
                  <a:lnTo>
                    <a:pt x="324028" y="1615379"/>
                  </a:lnTo>
                  <a:lnTo>
                    <a:pt x="352620" y="1572493"/>
                  </a:lnTo>
                  <a:lnTo>
                    <a:pt x="357384" y="1567727"/>
                  </a:lnTo>
                  <a:lnTo>
                    <a:pt x="357384" y="1548667"/>
                  </a:lnTo>
                  <a:lnTo>
                    <a:pt x="347854" y="1543901"/>
                  </a:lnTo>
                  <a:lnTo>
                    <a:pt x="333558" y="1539137"/>
                  </a:lnTo>
                  <a:lnTo>
                    <a:pt x="304968" y="1529605"/>
                  </a:lnTo>
                  <a:lnTo>
                    <a:pt x="276378" y="1529605"/>
                  </a:lnTo>
                  <a:lnTo>
                    <a:pt x="262082" y="1520075"/>
                  </a:lnTo>
                  <a:lnTo>
                    <a:pt x="247786" y="1505781"/>
                  </a:lnTo>
                  <a:lnTo>
                    <a:pt x="243022" y="1505781"/>
                  </a:lnTo>
                  <a:lnTo>
                    <a:pt x="228726" y="1510545"/>
                  </a:lnTo>
                  <a:lnTo>
                    <a:pt x="209666" y="1515311"/>
                  </a:lnTo>
                  <a:lnTo>
                    <a:pt x="195370" y="1510545"/>
                  </a:lnTo>
                  <a:lnTo>
                    <a:pt x="190606" y="1510545"/>
                  </a:lnTo>
                  <a:lnTo>
                    <a:pt x="185840" y="1515311"/>
                  </a:lnTo>
                  <a:lnTo>
                    <a:pt x="181074" y="1510545"/>
                  </a:lnTo>
                  <a:lnTo>
                    <a:pt x="181074" y="1501015"/>
                  </a:lnTo>
                  <a:lnTo>
                    <a:pt x="171544" y="1496249"/>
                  </a:lnTo>
                  <a:lnTo>
                    <a:pt x="162014" y="1491485"/>
                  </a:lnTo>
                  <a:lnTo>
                    <a:pt x="157250" y="1491485"/>
                  </a:lnTo>
                  <a:lnTo>
                    <a:pt x="152484" y="1501015"/>
                  </a:lnTo>
                  <a:lnTo>
                    <a:pt x="142954" y="1505781"/>
                  </a:lnTo>
                  <a:lnTo>
                    <a:pt x="138188" y="1505781"/>
                  </a:lnTo>
                  <a:lnTo>
                    <a:pt x="119128" y="1472425"/>
                  </a:lnTo>
                  <a:lnTo>
                    <a:pt x="114364" y="1467659"/>
                  </a:lnTo>
                  <a:lnTo>
                    <a:pt x="109598" y="1458129"/>
                  </a:lnTo>
                  <a:lnTo>
                    <a:pt x="104832" y="1448599"/>
                  </a:lnTo>
                  <a:lnTo>
                    <a:pt x="95302" y="1434303"/>
                  </a:lnTo>
                  <a:lnTo>
                    <a:pt x="81008" y="1434303"/>
                  </a:lnTo>
                  <a:lnTo>
                    <a:pt x="76242" y="1434303"/>
                  </a:lnTo>
                  <a:lnTo>
                    <a:pt x="76242" y="1420009"/>
                  </a:lnTo>
                  <a:lnTo>
                    <a:pt x="81008" y="1396183"/>
                  </a:lnTo>
                  <a:lnTo>
                    <a:pt x="85772" y="1386653"/>
                  </a:lnTo>
                  <a:lnTo>
                    <a:pt x="90538" y="1377121"/>
                  </a:lnTo>
                  <a:lnTo>
                    <a:pt x="100068" y="1372357"/>
                  </a:lnTo>
                  <a:lnTo>
                    <a:pt x="100068" y="1362827"/>
                  </a:lnTo>
                  <a:lnTo>
                    <a:pt x="100068" y="1348531"/>
                  </a:lnTo>
                  <a:lnTo>
                    <a:pt x="90538" y="1348531"/>
                  </a:lnTo>
                  <a:lnTo>
                    <a:pt x="71476" y="1339001"/>
                  </a:lnTo>
                  <a:lnTo>
                    <a:pt x="61946" y="1334235"/>
                  </a:lnTo>
                  <a:lnTo>
                    <a:pt x="52416" y="1319941"/>
                  </a:lnTo>
                  <a:lnTo>
                    <a:pt x="42886" y="1305645"/>
                  </a:lnTo>
                  <a:lnTo>
                    <a:pt x="38122" y="1291349"/>
                  </a:lnTo>
                  <a:lnTo>
                    <a:pt x="38122" y="1277055"/>
                  </a:lnTo>
                  <a:lnTo>
                    <a:pt x="42886" y="1272289"/>
                  </a:lnTo>
                  <a:lnTo>
                    <a:pt x="42886" y="1267523"/>
                  </a:lnTo>
                  <a:lnTo>
                    <a:pt x="47652" y="1243699"/>
                  </a:lnTo>
                  <a:lnTo>
                    <a:pt x="81008" y="1224637"/>
                  </a:lnTo>
                  <a:lnTo>
                    <a:pt x="76242" y="1205577"/>
                  </a:lnTo>
                  <a:lnTo>
                    <a:pt x="76242" y="1191281"/>
                  </a:lnTo>
                  <a:lnTo>
                    <a:pt x="66712" y="1181751"/>
                  </a:lnTo>
                  <a:lnTo>
                    <a:pt x="52416" y="1181751"/>
                  </a:lnTo>
                  <a:lnTo>
                    <a:pt x="52416" y="1172221"/>
                  </a:lnTo>
                  <a:lnTo>
                    <a:pt x="47652" y="1167457"/>
                  </a:lnTo>
                  <a:lnTo>
                    <a:pt x="57182" y="1157925"/>
                  </a:lnTo>
                  <a:lnTo>
                    <a:pt x="47652" y="1143631"/>
                  </a:lnTo>
                  <a:lnTo>
                    <a:pt x="42886" y="1134101"/>
                  </a:lnTo>
                  <a:lnTo>
                    <a:pt x="23826" y="1119805"/>
                  </a:lnTo>
                  <a:lnTo>
                    <a:pt x="28590" y="1081683"/>
                  </a:lnTo>
                  <a:lnTo>
                    <a:pt x="23826" y="1067389"/>
                  </a:lnTo>
                  <a:lnTo>
                    <a:pt x="14296" y="1062623"/>
                  </a:lnTo>
                  <a:lnTo>
                    <a:pt x="4766" y="1057859"/>
                  </a:lnTo>
                  <a:lnTo>
                    <a:pt x="0" y="1053093"/>
                  </a:lnTo>
                  <a:lnTo>
                    <a:pt x="0" y="1048329"/>
                  </a:lnTo>
                  <a:lnTo>
                    <a:pt x="0" y="1043563"/>
                  </a:lnTo>
                  <a:lnTo>
                    <a:pt x="14296" y="1043563"/>
                  </a:lnTo>
                  <a:lnTo>
                    <a:pt x="42886" y="1019737"/>
                  </a:lnTo>
                  <a:lnTo>
                    <a:pt x="42886" y="1014973"/>
                  </a:lnTo>
                  <a:lnTo>
                    <a:pt x="38122" y="1014973"/>
                  </a:lnTo>
                  <a:lnTo>
                    <a:pt x="33356" y="1010207"/>
                  </a:lnTo>
                  <a:lnTo>
                    <a:pt x="33356" y="1005441"/>
                  </a:lnTo>
                  <a:lnTo>
                    <a:pt x="33356" y="1000677"/>
                  </a:lnTo>
                  <a:lnTo>
                    <a:pt x="47652" y="967321"/>
                  </a:lnTo>
                  <a:lnTo>
                    <a:pt x="52416" y="953025"/>
                  </a:lnTo>
                  <a:lnTo>
                    <a:pt x="52416" y="943495"/>
                  </a:lnTo>
                  <a:lnTo>
                    <a:pt x="52416" y="933965"/>
                  </a:lnTo>
                  <a:lnTo>
                    <a:pt x="42886" y="919669"/>
                  </a:lnTo>
                  <a:lnTo>
                    <a:pt x="38122" y="905375"/>
                  </a:lnTo>
                  <a:lnTo>
                    <a:pt x="38122" y="895843"/>
                  </a:lnTo>
                  <a:lnTo>
                    <a:pt x="28590" y="891079"/>
                  </a:lnTo>
                  <a:lnTo>
                    <a:pt x="14296" y="867253"/>
                  </a:lnTo>
                  <a:lnTo>
                    <a:pt x="14296" y="852957"/>
                  </a:lnTo>
                  <a:lnTo>
                    <a:pt x="23826" y="848193"/>
                  </a:lnTo>
                  <a:lnTo>
                    <a:pt x="38122" y="843427"/>
                  </a:lnTo>
                  <a:lnTo>
                    <a:pt x="42886" y="838663"/>
                  </a:lnTo>
                  <a:lnTo>
                    <a:pt x="47652" y="833897"/>
                  </a:lnTo>
                  <a:lnTo>
                    <a:pt x="66712" y="843427"/>
                  </a:lnTo>
                  <a:lnTo>
                    <a:pt x="76242" y="848193"/>
                  </a:lnTo>
                  <a:lnTo>
                    <a:pt x="81008" y="848193"/>
                  </a:lnTo>
                  <a:lnTo>
                    <a:pt x="90538" y="838663"/>
                  </a:lnTo>
                  <a:lnTo>
                    <a:pt x="104832" y="843427"/>
                  </a:lnTo>
                  <a:lnTo>
                    <a:pt x="138188" y="829133"/>
                  </a:lnTo>
                  <a:lnTo>
                    <a:pt x="142954" y="819601"/>
                  </a:lnTo>
                  <a:lnTo>
                    <a:pt x="147718" y="814837"/>
                  </a:lnTo>
                  <a:lnTo>
                    <a:pt x="147718" y="810071"/>
                  </a:lnTo>
                  <a:lnTo>
                    <a:pt x="133424" y="795777"/>
                  </a:lnTo>
                  <a:lnTo>
                    <a:pt x="133424" y="791011"/>
                  </a:lnTo>
                  <a:lnTo>
                    <a:pt x="138188" y="786245"/>
                  </a:lnTo>
                  <a:lnTo>
                    <a:pt x="138188" y="781481"/>
                  </a:lnTo>
                  <a:lnTo>
                    <a:pt x="147718" y="776715"/>
                  </a:lnTo>
                  <a:lnTo>
                    <a:pt x="157250" y="771951"/>
                  </a:lnTo>
                  <a:lnTo>
                    <a:pt x="176310" y="752891"/>
                  </a:lnTo>
                  <a:lnTo>
                    <a:pt x="181074" y="738595"/>
                  </a:lnTo>
                  <a:lnTo>
                    <a:pt x="185840" y="719535"/>
                  </a:lnTo>
                  <a:lnTo>
                    <a:pt x="185840" y="710003"/>
                  </a:lnTo>
                  <a:lnTo>
                    <a:pt x="181074" y="700473"/>
                  </a:lnTo>
                  <a:lnTo>
                    <a:pt x="176310" y="690943"/>
                  </a:lnTo>
                  <a:lnTo>
                    <a:pt x="166780" y="690943"/>
                  </a:lnTo>
                  <a:lnTo>
                    <a:pt x="152484" y="690943"/>
                  </a:lnTo>
                  <a:lnTo>
                    <a:pt x="138188" y="686179"/>
                  </a:lnTo>
                  <a:lnTo>
                    <a:pt x="133424" y="676649"/>
                  </a:lnTo>
                  <a:lnTo>
                    <a:pt x="128658" y="671883"/>
                  </a:lnTo>
                  <a:lnTo>
                    <a:pt x="133424" y="667117"/>
                  </a:lnTo>
                  <a:lnTo>
                    <a:pt x="133424" y="657587"/>
                  </a:lnTo>
                  <a:lnTo>
                    <a:pt x="133424" y="652823"/>
                  </a:lnTo>
                  <a:lnTo>
                    <a:pt x="133424" y="648057"/>
                  </a:lnTo>
                  <a:lnTo>
                    <a:pt x="138188" y="643293"/>
                  </a:lnTo>
                  <a:lnTo>
                    <a:pt x="181074" y="643293"/>
                  </a:lnTo>
                  <a:lnTo>
                    <a:pt x="185840" y="638527"/>
                  </a:lnTo>
                  <a:lnTo>
                    <a:pt x="185840" y="614701"/>
                  </a:lnTo>
                  <a:lnTo>
                    <a:pt x="195370" y="576581"/>
                  </a:lnTo>
                  <a:lnTo>
                    <a:pt x="204900" y="557519"/>
                  </a:lnTo>
                  <a:lnTo>
                    <a:pt x="209666" y="547989"/>
                  </a:lnTo>
                  <a:lnTo>
                    <a:pt x="209666" y="500339"/>
                  </a:lnTo>
                  <a:lnTo>
                    <a:pt x="209666" y="476513"/>
                  </a:lnTo>
                  <a:lnTo>
                    <a:pt x="200136" y="462217"/>
                  </a:lnTo>
                  <a:lnTo>
                    <a:pt x="185840" y="452687"/>
                  </a:lnTo>
                  <a:lnTo>
                    <a:pt x="190606" y="424097"/>
                  </a:lnTo>
                  <a:lnTo>
                    <a:pt x="195370" y="400271"/>
                  </a:lnTo>
                  <a:lnTo>
                    <a:pt x="209666" y="376445"/>
                  </a:lnTo>
                  <a:lnTo>
                    <a:pt x="223960" y="371679"/>
                  </a:lnTo>
                  <a:lnTo>
                    <a:pt x="276378" y="366915"/>
                  </a:lnTo>
                  <a:lnTo>
                    <a:pt x="338324" y="366915"/>
                  </a:lnTo>
                  <a:lnTo>
                    <a:pt x="362150" y="405035"/>
                  </a:lnTo>
                  <a:lnTo>
                    <a:pt x="352620" y="428861"/>
                  </a:lnTo>
                  <a:lnTo>
                    <a:pt x="366914" y="433627"/>
                  </a:lnTo>
                  <a:lnTo>
                    <a:pt x="371680" y="433627"/>
                  </a:lnTo>
                  <a:lnTo>
                    <a:pt x="376444" y="414565"/>
                  </a:lnTo>
                  <a:lnTo>
                    <a:pt x="381210" y="395505"/>
                  </a:lnTo>
                  <a:lnTo>
                    <a:pt x="385976" y="390741"/>
                  </a:lnTo>
                  <a:lnTo>
                    <a:pt x="405036" y="405035"/>
                  </a:lnTo>
                  <a:lnTo>
                    <a:pt x="409800" y="414565"/>
                  </a:lnTo>
                  <a:lnTo>
                    <a:pt x="414566" y="447921"/>
                  </a:lnTo>
                  <a:lnTo>
                    <a:pt x="419332" y="405035"/>
                  </a:lnTo>
                  <a:lnTo>
                    <a:pt x="414566" y="371679"/>
                  </a:lnTo>
                  <a:lnTo>
                    <a:pt x="419332" y="343089"/>
                  </a:lnTo>
                  <a:lnTo>
                    <a:pt x="424096" y="328793"/>
                  </a:lnTo>
                  <a:lnTo>
                    <a:pt x="433626" y="319263"/>
                  </a:lnTo>
                  <a:lnTo>
                    <a:pt x="476512" y="328793"/>
                  </a:lnTo>
                  <a:lnTo>
                    <a:pt x="524164" y="324029"/>
                  </a:lnTo>
                  <a:lnTo>
                    <a:pt x="543224" y="333559"/>
                  </a:lnTo>
                  <a:lnTo>
                    <a:pt x="581346" y="390741"/>
                  </a:lnTo>
                  <a:lnTo>
                    <a:pt x="595640" y="400271"/>
                  </a:lnTo>
                  <a:lnTo>
                    <a:pt x="614702" y="405035"/>
                  </a:lnTo>
                  <a:lnTo>
                    <a:pt x="590876" y="390741"/>
                  </a:lnTo>
                  <a:lnTo>
                    <a:pt x="538460" y="324029"/>
                  </a:lnTo>
                  <a:lnTo>
                    <a:pt x="524164" y="314499"/>
                  </a:lnTo>
                  <a:lnTo>
                    <a:pt x="500338" y="314499"/>
                  </a:lnTo>
                  <a:lnTo>
                    <a:pt x="486042" y="304969"/>
                  </a:lnTo>
                  <a:lnTo>
                    <a:pt x="476512" y="295437"/>
                  </a:lnTo>
                  <a:lnTo>
                    <a:pt x="476512" y="285907"/>
                  </a:lnTo>
                  <a:lnTo>
                    <a:pt x="476512" y="214431"/>
                  </a:lnTo>
                  <a:lnTo>
                    <a:pt x="466982" y="204901"/>
                  </a:lnTo>
                  <a:lnTo>
                    <a:pt x="457452" y="200135"/>
                  </a:lnTo>
                  <a:lnTo>
                    <a:pt x="447922" y="204901"/>
                  </a:lnTo>
                  <a:lnTo>
                    <a:pt x="433626" y="204901"/>
                  </a:lnTo>
                  <a:lnTo>
                    <a:pt x="433626" y="190605"/>
                  </a:lnTo>
                  <a:lnTo>
                    <a:pt x="438392" y="181075"/>
                  </a:lnTo>
                  <a:lnTo>
                    <a:pt x="466982" y="171545"/>
                  </a:lnTo>
                  <a:lnTo>
                    <a:pt x="481278" y="162015"/>
                  </a:lnTo>
                  <a:lnTo>
                    <a:pt x="486042" y="142953"/>
                  </a:lnTo>
                  <a:lnTo>
                    <a:pt x="471748" y="128659"/>
                  </a:lnTo>
                  <a:lnTo>
                    <a:pt x="457452" y="100067"/>
                  </a:lnTo>
                  <a:lnTo>
                    <a:pt x="443156" y="71477"/>
                  </a:lnTo>
                  <a:close/>
                  <a:moveTo>
                    <a:pt x="400270" y="0"/>
                  </a:moveTo>
                  <a:lnTo>
                    <a:pt x="405036" y="0"/>
                  </a:lnTo>
                  <a:lnTo>
                    <a:pt x="400270" y="14295"/>
                  </a:lnTo>
                  <a:lnTo>
                    <a:pt x="395506" y="19060"/>
                  </a:lnTo>
                  <a:lnTo>
                    <a:pt x="390740" y="38121"/>
                  </a:lnTo>
                  <a:lnTo>
                    <a:pt x="395506" y="42886"/>
                  </a:lnTo>
                  <a:lnTo>
                    <a:pt x="433626" y="47651"/>
                  </a:lnTo>
                  <a:lnTo>
                    <a:pt x="428860" y="52416"/>
                  </a:lnTo>
                  <a:lnTo>
                    <a:pt x="390740" y="57181"/>
                  </a:lnTo>
                  <a:lnTo>
                    <a:pt x="381210" y="76242"/>
                  </a:lnTo>
                  <a:lnTo>
                    <a:pt x="381210" y="4288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1" name="Freeform 4585">
              <a:extLst>
                <a:ext uri="{FF2B5EF4-FFF2-40B4-BE49-F238E27FC236}">
                  <a16:creationId xmlns:a16="http://schemas.microsoft.com/office/drawing/2014/main" id="{CD5DC3EA-2D26-4FA1-8752-A3295C8E3404}"/>
                </a:ext>
              </a:extLst>
            </p:cNvPr>
            <p:cNvSpPr/>
            <p:nvPr/>
          </p:nvSpPr>
          <p:spPr bwMode="auto">
            <a:xfrm>
              <a:off x="6353783" y="5085643"/>
              <a:ext cx="41627" cy="45482"/>
            </a:xfrm>
            <a:custGeom>
              <a:avLst/>
              <a:gdLst>
                <a:gd name="T0" fmla="*/ 98 w 108"/>
                <a:gd name="T1" fmla="*/ 82 h 118"/>
                <a:gd name="T2" fmla="*/ 92 w 108"/>
                <a:gd name="T3" fmla="*/ 78 h 118"/>
                <a:gd name="T4" fmla="*/ 84 w 108"/>
                <a:gd name="T5" fmla="*/ 76 h 118"/>
                <a:gd name="T6" fmla="*/ 76 w 108"/>
                <a:gd name="T7" fmla="*/ 76 h 118"/>
                <a:gd name="T8" fmla="*/ 68 w 108"/>
                <a:gd name="T9" fmla="*/ 78 h 118"/>
                <a:gd name="T10" fmla="*/ 58 w 108"/>
                <a:gd name="T11" fmla="*/ 80 h 118"/>
                <a:gd name="T12" fmla="*/ 54 w 108"/>
                <a:gd name="T13" fmla="*/ 82 h 118"/>
                <a:gd name="T14" fmla="*/ 50 w 108"/>
                <a:gd name="T15" fmla="*/ 82 h 118"/>
                <a:gd name="T16" fmla="*/ 50 w 108"/>
                <a:gd name="T17" fmla="*/ 76 h 118"/>
                <a:gd name="T18" fmla="*/ 58 w 108"/>
                <a:gd name="T19" fmla="*/ 78 h 118"/>
                <a:gd name="T20" fmla="*/ 68 w 108"/>
                <a:gd name="T21" fmla="*/ 66 h 118"/>
                <a:gd name="T22" fmla="*/ 84 w 108"/>
                <a:gd name="T23" fmla="*/ 60 h 118"/>
                <a:gd name="T24" fmla="*/ 100 w 108"/>
                <a:gd name="T25" fmla="*/ 50 h 118"/>
                <a:gd name="T26" fmla="*/ 104 w 108"/>
                <a:gd name="T27" fmla="*/ 46 h 118"/>
                <a:gd name="T28" fmla="*/ 106 w 108"/>
                <a:gd name="T29" fmla="*/ 42 h 118"/>
                <a:gd name="T30" fmla="*/ 108 w 108"/>
                <a:gd name="T31" fmla="*/ 36 h 118"/>
                <a:gd name="T32" fmla="*/ 104 w 108"/>
                <a:gd name="T33" fmla="*/ 24 h 118"/>
                <a:gd name="T34" fmla="*/ 100 w 108"/>
                <a:gd name="T35" fmla="*/ 16 h 118"/>
                <a:gd name="T36" fmla="*/ 90 w 108"/>
                <a:gd name="T37" fmla="*/ 4 h 118"/>
                <a:gd name="T38" fmla="*/ 88 w 108"/>
                <a:gd name="T39" fmla="*/ 0 h 118"/>
                <a:gd name="T40" fmla="*/ 82 w 108"/>
                <a:gd name="T41" fmla="*/ 4 h 118"/>
                <a:gd name="T42" fmla="*/ 74 w 108"/>
                <a:gd name="T43" fmla="*/ 6 h 118"/>
                <a:gd name="T44" fmla="*/ 72 w 108"/>
                <a:gd name="T45" fmla="*/ 6 h 118"/>
                <a:gd name="T46" fmla="*/ 70 w 108"/>
                <a:gd name="T47" fmla="*/ 10 h 118"/>
                <a:gd name="T48" fmla="*/ 66 w 108"/>
                <a:gd name="T49" fmla="*/ 20 h 118"/>
                <a:gd name="T50" fmla="*/ 62 w 108"/>
                <a:gd name="T51" fmla="*/ 22 h 118"/>
                <a:gd name="T52" fmla="*/ 60 w 108"/>
                <a:gd name="T53" fmla="*/ 22 h 118"/>
                <a:gd name="T54" fmla="*/ 46 w 108"/>
                <a:gd name="T55" fmla="*/ 14 h 118"/>
                <a:gd name="T56" fmla="*/ 46 w 108"/>
                <a:gd name="T57" fmla="*/ 14 h 118"/>
                <a:gd name="T58" fmla="*/ 42 w 108"/>
                <a:gd name="T59" fmla="*/ 14 h 118"/>
                <a:gd name="T60" fmla="*/ 40 w 108"/>
                <a:gd name="T61" fmla="*/ 16 h 118"/>
                <a:gd name="T62" fmla="*/ 34 w 108"/>
                <a:gd name="T63" fmla="*/ 26 h 118"/>
                <a:gd name="T64" fmla="*/ 26 w 108"/>
                <a:gd name="T65" fmla="*/ 40 h 118"/>
                <a:gd name="T66" fmla="*/ 16 w 108"/>
                <a:gd name="T67" fmla="*/ 54 h 118"/>
                <a:gd name="T68" fmla="*/ 12 w 108"/>
                <a:gd name="T69" fmla="*/ 58 h 118"/>
                <a:gd name="T70" fmla="*/ 4 w 108"/>
                <a:gd name="T71" fmla="*/ 66 h 118"/>
                <a:gd name="T72" fmla="*/ 2 w 108"/>
                <a:gd name="T73" fmla="*/ 70 h 118"/>
                <a:gd name="T74" fmla="*/ 0 w 108"/>
                <a:gd name="T75" fmla="*/ 76 h 118"/>
                <a:gd name="T76" fmla="*/ 0 w 108"/>
                <a:gd name="T77" fmla="*/ 88 h 118"/>
                <a:gd name="T78" fmla="*/ 2 w 108"/>
                <a:gd name="T79" fmla="*/ 102 h 118"/>
                <a:gd name="T80" fmla="*/ 2 w 108"/>
                <a:gd name="T81" fmla="*/ 116 h 118"/>
                <a:gd name="T82" fmla="*/ 8 w 108"/>
                <a:gd name="T83" fmla="*/ 118 h 118"/>
                <a:gd name="T84" fmla="*/ 12 w 108"/>
                <a:gd name="T85" fmla="*/ 118 h 118"/>
                <a:gd name="T86" fmla="*/ 18 w 108"/>
                <a:gd name="T87" fmla="*/ 116 h 118"/>
                <a:gd name="T88" fmla="*/ 26 w 108"/>
                <a:gd name="T89" fmla="*/ 116 h 118"/>
                <a:gd name="T90" fmla="*/ 36 w 108"/>
                <a:gd name="T91" fmla="*/ 114 h 118"/>
                <a:gd name="T92" fmla="*/ 46 w 108"/>
                <a:gd name="T93" fmla="*/ 112 h 118"/>
                <a:gd name="T94" fmla="*/ 52 w 108"/>
                <a:gd name="T95" fmla="*/ 110 h 118"/>
                <a:gd name="T96" fmla="*/ 58 w 108"/>
                <a:gd name="T97" fmla="*/ 110 h 118"/>
                <a:gd name="T98" fmla="*/ 64 w 108"/>
                <a:gd name="T99" fmla="*/ 112 h 118"/>
                <a:gd name="T100" fmla="*/ 66 w 108"/>
                <a:gd name="T101" fmla="*/ 114 h 118"/>
                <a:gd name="T102" fmla="*/ 70 w 108"/>
                <a:gd name="T103" fmla="*/ 114 h 118"/>
                <a:gd name="T104" fmla="*/ 76 w 108"/>
                <a:gd name="T105" fmla="*/ 114 h 118"/>
                <a:gd name="T106" fmla="*/ 84 w 108"/>
                <a:gd name="T107" fmla="*/ 102 h 118"/>
                <a:gd name="T108" fmla="*/ 92 w 108"/>
                <a:gd name="T109" fmla="*/ 90 h 118"/>
                <a:gd name="T110" fmla="*/ 98 w 108"/>
                <a:gd name="T111" fmla="*/ 8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8" h="118">
                  <a:moveTo>
                    <a:pt x="98" y="82"/>
                  </a:moveTo>
                  <a:lnTo>
                    <a:pt x="92" y="78"/>
                  </a:lnTo>
                  <a:lnTo>
                    <a:pt x="84" y="76"/>
                  </a:lnTo>
                  <a:lnTo>
                    <a:pt x="76" y="76"/>
                  </a:lnTo>
                  <a:lnTo>
                    <a:pt x="68" y="78"/>
                  </a:lnTo>
                  <a:lnTo>
                    <a:pt x="58" y="80"/>
                  </a:lnTo>
                  <a:lnTo>
                    <a:pt x="54" y="82"/>
                  </a:lnTo>
                  <a:lnTo>
                    <a:pt x="50" y="82"/>
                  </a:lnTo>
                  <a:lnTo>
                    <a:pt x="50" y="76"/>
                  </a:lnTo>
                  <a:lnTo>
                    <a:pt x="58" y="78"/>
                  </a:lnTo>
                  <a:lnTo>
                    <a:pt x="68" y="66"/>
                  </a:lnTo>
                  <a:lnTo>
                    <a:pt x="84" y="60"/>
                  </a:lnTo>
                  <a:lnTo>
                    <a:pt x="100" y="50"/>
                  </a:lnTo>
                  <a:lnTo>
                    <a:pt x="104" y="46"/>
                  </a:lnTo>
                  <a:lnTo>
                    <a:pt x="106" y="42"/>
                  </a:lnTo>
                  <a:lnTo>
                    <a:pt x="108" y="36"/>
                  </a:lnTo>
                  <a:lnTo>
                    <a:pt x="104" y="24"/>
                  </a:lnTo>
                  <a:lnTo>
                    <a:pt x="100" y="16"/>
                  </a:lnTo>
                  <a:lnTo>
                    <a:pt x="90" y="4"/>
                  </a:lnTo>
                  <a:lnTo>
                    <a:pt x="88" y="0"/>
                  </a:lnTo>
                  <a:lnTo>
                    <a:pt x="82" y="4"/>
                  </a:lnTo>
                  <a:lnTo>
                    <a:pt x="74" y="6"/>
                  </a:lnTo>
                  <a:lnTo>
                    <a:pt x="72" y="6"/>
                  </a:lnTo>
                  <a:lnTo>
                    <a:pt x="70" y="10"/>
                  </a:lnTo>
                  <a:lnTo>
                    <a:pt x="66" y="20"/>
                  </a:lnTo>
                  <a:lnTo>
                    <a:pt x="62" y="22"/>
                  </a:lnTo>
                  <a:lnTo>
                    <a:pt x="60" y="22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2" y="14"/>
                  </a:lnTo>
                  <a:lnTo>
                    <a:pt x="40" y="16"/>
                  </a:lnTo>
                  <a:lnTo>
                    <a:pt x="34" y="26"/>
                  </a:lnTo>
                  <a:lnTo>
                    <a:pt x="26" y="40"/>
                  </a:lnTo>
                  <a:lnTo>
                    <a:pt x="16" y="54"/>
                  </a:lnTo>
                  <a:lnTo>
                    <a:pt x="12" y="58"/>
                  </a:lnTo>
                  <a:lnTo>
                    <a:pt x="4" y="66"/>
                  </a:lnTo>
                  <a:lnTo>
                    <a:pt x="2" y="70"/>
                  </a:lnTo>
                  <a:lnTo>
                    <a:pt x="0" y="76"/>
                  </a:lnTo>
                  <a:lnTo>
                    <a:pt x="0" y="88"/>
                  </a:lnTo>
                  <a:lnTo>
                    <a:pt x="2" y="102"/>
                  </a:lnTo>
                  <a:lnTo>
                    <a:pt x="2" y="116"/>
                  </a:lnTo>
                  <a:lnTo>
                    <a:pt x="8" y="118"/>
                  </a:lnTo>
                  <a:lnTo>
                    <a:pt x="12" y="118"/>
                  </a:lnTo>
                  <a:lnTo>
                    <a:pt x="18" y="116"/>
                  </a:lnTo>
                  <a:lnTo>
                    <a:pt x="26" y="116"/>
                  </a:lnTo>
                  <a:lnTo>
                    <a:pt x="36" y="114"/>
                  </a:lnTo>
                  <a:lnTo>
                    <a:pt x="46" y="112"/>
                  </a:lnTo>
                  <a:lnTo>
                    <a:pt x="52" y="110"/>
                  </a:lnTo>
                  <a:lnTo>
                    <a:pt x="58" y="110"/>
                  </a:lnTo>
                  <a:lnTo>
                    <a:pt x="64" y="112"/>
                  </a:lnTo>
                  <a:lnTo>
                    <a:pt x="66" y="114"/>
                  </a:lnTo>
                  <a:lnTo>
                    <a:pt x="70" y="114"/>
                  </a:lnTo>
                  <a:lnTo>
                    <a:pt x="76" y="114"/>
                  </a:lnTo>
                  <a:lnTo>
                    <a:pt x="84" y="102"/>
                  </a:lnTo>
                  <a:lnTo>
                    <a:pt x="92" y="90"/>
                  </a:lnTo>
                  <a:lnTo>
                    <a:pt x="98" y="8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2" name="Line 4586">
              <a:extLst>
                <a:ext uri="{FF2B5EF4-FFF2-40B4-BE49-F238E27FC236}">
                  <a16:creationId xmlns:a16="http://schemas.microsoft.com/office/drawing/2014/main" id="{E2375363-6E9E-4925-B562-8CDC87911C6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391556" y="5117249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3" name="Line 4588">
              <a:extLst>
                <a:ext uri="{FF2B5EF4-FFF2-40B4-BE49-F238E27FC236}">
                  <a16:creationId xmlns:a16="http://schemas.microsoft.com/office/drawing/2014/main" id="{4EB27BC7-92D3-4074-A9FE-1686297FB98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391556" y="5117249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4" name="Freeform 4589">
              <a:extLst>
                <a:ext uri="{FF2B5EF4-FFF2-40B4-BE49-F238E27FC236}">
                  <a16:creationId xmlns:a16="http://schemas.microsoft.com/office/drawing/2014/main" id="{7FF9E9A5-6A3C-49BC-9AD8-C86BA2D80EFF}"/>
                </a:ext>
              </a:extLst>
            </p:cNvPr>
            <p:cNvSpPr/>
            <p:nvPr/>
          </p:nvSpPr>
          <p:spPr bwMode="auto">
            <a:xfrm>
              <a:off x="3745137" y="5009326"/>
              <a:ext cx="5396" cy="10792"/>
            </a:xfrm>
            <a:custGeom>
              <a:avLst/>
              <a:gdLst>
                <a:gd name="T0" fmla="*/ 12 w 14"/>
                <a:gd name="T1" fmla="*/ 26 h 28"/>
                <a:gd name="T2" fmla="*/ 14 w 14"/>
                <a:gd name="T3" fmla="*/ 18 h 28"/>
                <a:gd name="T4" fmla="*/ 12 w 14"/>
                <a:gd name="T5" fmla="*/ 8 h 28"/>
                <a:gd name="T6" fmla="*/ 10 w 14"/>
                <a:gd name="T7" fmla="*/ 4 h 28"/>
                <a:gd name="T8" fmla="*/ 0 w 14"/>
                <a:gd name="T9" fmla="*/ 0 h 28"/>
                <a:gd name="T10" fmla="*/ 0 w 14"/>
                <a:gd name="T11" fmla="*/ 2 h 28"/>
                <a:gd name="T12" fmla="*/ 0 w 14"/>
                <a:gd name="T13" fmla="*/ 8 h 28"/>
                <a:gd name="T14" fmla="*/ 4 w 14"/>
                <a:gd name="T15" fmla="*/ 16 h 28"/>
                <a:gd name="T16" fmla="*/ 6 w 14"/>
                <a:gd name="T17" fmla="*/ 28 h 28"/>
                <a:gd name="T18" fmla="*/ 12 w 14"/>
                <a:gd name="T19" fmla="*/ 2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28">
                  <a:moveTo>
                    <a:pt x="12" y="26"/>
                  </a:moveTo>
                  <a:lnTo>
                    <a:pt x="14" y="18"/>
                  </a:lnTo>
                  <a:lnTo>
                    <a:pt x="12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4" y="16"/>
                  </a:lnTo>
                  <a:lnTo>
                    <a:pt x="6" y="28"/>
                  </a:lnTo>
                  <a:lnTo>
                    <a:pt x="12" y="2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5" name="Line 4590">
              <a:extLst>
                <a:ext uri="{FF2B5EF4-FFF2-40B4-BE49-F238E27FC236}">
                  <a16:creationId xmlns:a16="http://schemas.microsoft.com/office/drawing/2014/main" id="{72569D69-5C34-4393-8B90-6DDFBD93939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49762" y="5019348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6" name="Line 4592">
              <a:extLst>
                <a:ext uri="{FF2B5EF4-FFF2-40B4-BE49-F238E27FC236}">
                  <a16:creationId xmlns:a16="http://schemas.microsoft.com/office/drawing/2014/main" id="{B546202D-4502-4D6F-9300-F4A9030858A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49762" y="5019348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7" name="Freeform 85">
              <a:extLst>
                <a:ext uri="{FF2B5EF4-FFF2-40B4-BE49-F238E27FC236}">
                  <a16:creationId xmlns:a16="http://schemas.microsoft.com/office/drawing/2014/main" id="{BB34C74E-FE9A-4F26-BF5D-47E187A2ED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03507" y="3613269"/>
              <a:ext cx="177302" cy="141841"/>
            </a:xfrm>
            <a:custGeom>
              <a:avLst/>
              <a:gdLst>
                <a:gd name="connsiteX0" fmla="*/ 490806 w 1095980"/>
                <a:gd name="connsiteY0" fmla="*/ 786246 h 876784"/>
                <a:gd name="connsiteX1" fmla="*/ 505102 w 1095980"/>
                <a:gd name="connsiteY1" fmla="*/ 805306 h 876784"/>
                <a:gd name="connsiteX2" fmla="*/ 533692 w 1095980"/>
                <a:gd name="connsiteY2" fmla="*/ 819602 h 876784"/>
                <a:gd name="connsiteX3" fmla="*/ 552754 w 1095980"/>
                <a:gd name="connsiteY3" fmla="*/ 819602 h 876784"/>
                <a:gd name="connsiteX4" fmla="*/ 567048 w 1095980"/>
                <a:gd name="connsiteY4" fmla="*/ 824367 h 876784"/>
                <a:gd name="connsiteX5" fmla="*/ 571814 w 1095980"/>
                <a:gd name="connsiteY5" fmla="*/ 838662 h 876784"/>
                <a:gd name="connsiteX6" fmla="*/ 571814 w 1095980"/>
                <a:gd name="connsiteY6" fmla="*/ 862488 h 876784"/>
                <a:gd name="connsiteX7" fmla="*/ 557518 w 1095980"/>
                <a:gd name="connsiteY7" fmla="*/ 867252 h 876784"/>
                <a:gd name="connsiteX8" fmla="*/ 543224 w 1095980"/>
                <a:gd name="connsiteY8" fmla="*/ 867252 h 876784"/>
                <a:gd name="connsiteX9" fmla="*/ 524162 w 1095980"/>
                <a:gd name="connsiteY9" fmla="*/ 876784 h 876784"/>
                <a:gd name="connsiteX10" fmla="*/ 457452 w 1095980"/>
                <a:gd name="connsiteY10" fmla="*/ 833897 h 876784"/>
                <a:gd name="connsiteX11" fmla="*/ 457452 w 1095980"/>
                <a:gd name="connsiteY11" fmla="*/ 805306 h 876784"/>
                <a:gd name="connsiteX12" fmla="*/ 457452 w 1095980"/>
                <a:gd name="connsiteY12" fmla="*/ 791011 h 876784"/>
                <a:gd name="connsiteX13" fmla="*/ 324028 w 1095980"/>
                <a:gd name="connsiteY13" fmla="*/ 786246 h 876784"/>
                <a:gd name="connsiteX14" fmla="*/ 338324 w 1095980"/>
                <a:gd name="connsiteY14" fmla="*/ 786246 h 876784"/>
                <a:gd name="connsiteX15" fmla="*/ 347854 w 1095980"/>
                <a:gd name="connsiteY15" fmla="*/ 800541 h 876784"/>
                <a:gd name="connsiteX16" fmla="*/ 357384 w 1095980"/>
                <a:gd name="connsiteY16" fmla="*/ 800541 h 876784"/>
                <a:gd name="connsiteX17" fmla="*/ 371680 w 1095980"/>
                <a:gd name="connsiteY17" fmla="*/ 814837 h 876784"/>
                <a:gd name="connsiteX18" fmla="*/ 357384 w 1095980"/>
                <a:gd name="connsiteY18" fmla="*/ 819602 h 876784"/>
                <a:gd name="connsiteX19" fmla="*/ 347854 w 1095980"/>
                <a:gd name="connsiteY19" fmla="*/ 814837 h 876784"/>
                <a:gd name="connsiteX20" fmla="*/ 328794 w 1095980"/>
                <a:gd name="connsiteY20" fmla="*/ 791011 h 876784"/>
                <a:gd name="connsiteX21" fmla="*/ 648056 w 1095980"/>
                <a:gd name="connsiteY21" fmla="*/ 757655 h 876784"/>
                <a:gd name="connsiteX22" fmla="*/ 657588 w 1095980"/>
                <a:gd name="connsiteY22" fmla="*/ 762420 h 876784"/>
                <a:gd name="connsiteX23" fmla="*/ 671882 w 1095980"/>
                <a:gd name="connsiteY23" fmla="*/ 767185 h 876784"/>
                <a:gd name="connsiteX24" fmla="*/ 681412 w 1095980"/>
                <a:gd name="connsiteY24" fmla="*/ 767185 h 876784"/>
                <a:gd name="connsiteX25" fmla="*/ 686178 w 1095980"/>
                <a:gd name="connsiteY25" fmla="*/ 776715 h 876784"/>
                <a:gd name="connsiteX26" fmla="*/ 690944 w 1095980"/>
                <a:gd name="connsiteY26" fmla="*/ 781480 h 876784"/>
                <a:gd name="connsiteX27" fmla="*/ 686178 w 1095980"/>
                <a:gd name="connsiteY27" fmla="*/ 786246 h 876784"/>
                <a:gd name="connsiteX28" fmla="*/ 662352 w 1095980"/>
                <a:gd name="connsiteY28" fmla="*/ 786246 h 876784"/>
                <a:gd name="connsiteX29" fmla="*/ 633762 w 1095980"/>
                <a:gd name="connsiteY29" fmla="*/ 805306 h 876784"/>
                <a:gd name="connsiteX30" fmla="*/ 624232 w 1095980"/>
                <a:gd name="connsiteY30" fmla="*/ 795776 h 876784"/>
                <a:gd name="connsiteX31" fmla="*/ 628996 w 1095980"/>
                <a:gd name="connsiteY31" fmla="*/ 786246 h 876784"/>
                <a:gd name="connsiteX32" fmla="*/ 633762 w 1095980"/>
                <a:gd name="connsiteY32" fmla="*/ 781480 h 876784"/>
                <a:gd name="connsiteX33" fmla="*/ 643292 w 1095980"/>
                <a:gd name="connsiteY33" fmla="*/ 776715 h 876784"/>
                <a:gd name="connsiteX34" fmla="*/ 648056 w 1095980"/>
                <a:gd name="connsiteY34" fmla="*/ 767185 h 876784"/>
                <a:gd name="connsiteX35" fmla="*/ 257316 w 1095980"/>
                <a:gd name="connsiteY35" fmla="*/ 757655 h 876784"/>
                <a:gd name="connsiteX36" fmla="*/ 262082 w 1095980"/>
                <a:gd name="connsiteY36" fmla="*/ 757655 h 876784"/>
                <a:gd name="connsiteX37" fmla="*/ 266846 w 1095980"/>
                <a:gd name="connsiteY37" fmla="*/ 757655 h 876784"/>
                <a:gd name="connsiteX38" fmla="*/ 295436 w 1095980"/>
                <a:gd name="connsiteY38" fmla="*/ 776715 h 876784"/>
                <a:gd name="connsiteX39" fmla="*/ 304968 w 1095980"/>
                <a:gd name="connsiteY39" fmla="*/ 800541 h 876784"/>
                <a:gd name="connsiteX40" fmla="*/ 304968 w 1095980"/>
                <a:gd name="connsiteY40" fmla="*/ 805306 h 876784"/>
                <a:gd name="connsiteX41" fmla="*/ 285906 w 1095980"/>
                <a:gd name="connsiteY41" fmla="*/ 810071 h 876784"/>
                <a:gd name="connsiteX42" fmla="*/ 281142 w 1095980"/>
                <a:gd name="connsiteY42" fmla="*/ 800541 h 876784"/>
                <a:gd name="connsiteX43" fmla="*/ 262082 w 1095980"/>
                <a:gd name="connsiteY43" fmla="*/ 800541 h 876784"/>
                <a:gd name="connsiteX44" fmla="*/ 438390 w 1095980"/>
                <a:gd name="connsiteY44" fmla="*/ 729064 h 876784"/>
                <a:gd name="connsiteX45" fmla="*/ 443156 w 1095980"/>
                <a:gd name="connsiteY45" fmla="*/ 733829 h 876784"/>
                <a:gd name="connsiteX46" fmla="*/ 438390 w 1095980"/>
                <a:gd name="connsiteY46" fmla="*/ 757655 h 876784"/>
                <a:gd name="connsiteX47" fmla="*/ 414566 w 1095980"/>
                <a:gd name="connsiteY47" fmla="*/ 829132 h 876784"/>
                <a:gd name="connsiteX48" fmla="*/ 409800 w 1095980"/>
                <a:gd name="connsiteY48" fmla="*/ 843428 h 876784"/>
                <a:gd name="connsiteX49" fmla="*/ 400270 w 1095980"/>
                <a:gd name="connsiteY49" fmla="*/ 843428 h 876784"/>
                <a:gd name="connsiteX50" fmla="*/ 390740 w 1095980"/>
                <a:gd name="connsiteY50" fmla="*/ 819601 h 876784"/>
                <a:gd name="connsiteX51" fmla="*/ 390740 w 1095980"/>
                <a:gd name="connsiteY51" fmla="*/ 814836 h 876784"/>
                <a:gd name="connsiteX52" fmla="*/ 400270 w 1095980"/>
                <a:gd name="connsiteY52" fmla="*/ 800541 h 876784"/>
                <a:gd name="connsiteX53" fmla="*/ 409800 w 1095980"/>
                <a:gd name="connsiteY53" fmla="*/ 786246 h 876784"/>
                <a:gd name="connsiteX54" fmla="*/ 428860 w 1095980"/>
                <a:gd name="connsiteY54" fmla="*/ 762420 h 876784"/>
                <a:gd name="connsiteX55" fmla="*/ 1038798 w 1095980"/>
                <a:gd name="connsiteY55" fmla="*/ 690943 h 876784"/>
                <a:gd name="connsiteX56" fmla="*/ 1095980 w 1095980"/>
                <a:gd name="connsiteY56" fmla="*/ 733829 h 876784"/>
                <a:gd name="connsiteX57" fmla="*/ 1095980 w 1095980"/>
                <a:gd name="connsiteY57" fmla="*/ 748124 h 876784"/>
                <a:gd name="connsiteX58" fmla="*/ 1091214 w 1095980"/>
                <a:gd name="connsiteY58" fmla="*/ 767185 h 876784"/>
                <a:gd name="connsiteX59" fmla="*/ 1081684 w 1095980"/>
                <a:gd name="connsiteY59" fmla="*/ 771950 h 876784"/>
                <a:gd name="connsiteX60" fmla="*/ 1057858 w 1095980"/>
                <a:gd name="connsiteY60" fmla="*/ 767185 h 876784"/>
                <a:gd name="connsiteX61" fmla="*/ 1024502 w 1095980"/>
                <a:gd name="connsiteY61" fmla="*/ 748124 h 876784"/>
                <a:gd name="connsiteX62" fmla="*/ 1029268 w 1095980"/>
                <a:gd name="connsiteY62" fmla="*/ 710003 h 876784"/>
                <a:gd name="connsiteX63" fmla="*/ 338322 w 1095980"/>
                <a:gd name="connsiteY63" fmla="*/ 605171 h 876784"/>
                <a:gd name="connsiteX64" fmla="*/ 347852 w 1095980"/>
                <a:gd name="connsiteY64" fmla="*/ 609936 h 876784"/>
                <a:gd name="connsiteX65" fmla="*/ 362148 w 1095980"/>
                <a:gd name="connsiteY65" fmla="*/ 619466 h 876784"/>
                <a:gd name="connsiteX66" fmla="*/ 371678 w 1095980"/>
                <a:gd name="connsiteY66" fmla="*/ 619466 h 876784"/>
                <a:gd name="connsiteX67" fmla="*/ 390740 w 1095980"/>
                <a:gd name="connsiteY67" fmla="*/ 605171 h 876784"/>
                <a:gd name="connsiteX68" fmla="*/ 395504 w 1095980"/>
                <a:gd name="connsiteY68" fmla="*/ 605171 h 876784"/>
                <a:gd name="connsiteX69" fmla="*/ 400270 w 1095980"/>
                <a:gd name="connsiteY69" fmla="*/ 619466 h 876784"/>
                <a:gd name="connsiteX70" fmla="*/ 409800 w 1095980"/>
                <a:gd name="connsiteY70" fmla="*/ 652822 h 876784"/>
                <a:gd name="connsiteX71" fmla="*/ 424096 w 1095980"/>
                <a:gd name="connsiteY71" fmla="*/ 686178 h 876784"/>
                <a:gd name="connsiteX72" fmla="*/ 419330 w 1095980"/>
                <a:gd name="connsiteY72" fmla="*/ 700473 h 876784"/>
                <a:gd name="connsiteX73" fmla="*/ 419330 w 1095980"/>
                <a:gd name="connsiteY73" fmla="*/ 719534 h 876784"/>
                <a:gd name="connsiteX74" fmla="*/ 419330 w 1095980"/>
                <a:gd name="connsiteY74" fmla="*/ 738594 h 876784"/>
                <a:gd name="connsiteX75" fmla="*/ 390740 w 1095980"/>
                <a:gd name="connsiteY75" fmla="*/ 762420 h 876784"/>
                <a:gd name="connsiteX76" fmla="*/ 362148 w 1095980"/>
                <a:gd name="connsiteY76" fmla="*/ 762420 h 876784"/>
                <a:gd name="connsiteX77" fmla="*/ 333558 w 1095980"/>
                <a:gd name="connsiteY77" fmla="*/ 748125 h 876784"/>
                <a:gd name="connsiteX78" fmla="*/ 290672 w 1095980"/>
                <a:gd name="connsiteY78" fmla="*/ 729064 h 876784"/>
                <a:gd name="connsiteX79" fmla="*/ 290672 w 1095980"/>
                <a:gd name="connsiteY79" fmla="*/ 719534 h 876784"/>
                <a:gd name="connsiteX80" fmla="*/ 281142 w 1095980"/>
                <a:gd name="connsiteY80" fmla="*/ 710004 h 876784"/>
                <a:gd name="connsiteX81" fmla="*/ 271612 w 1095980"/>
                <a:gd name="connsiteY81" fmla="*/ 676648 h 876784"/>
                <a:gd name="connsiteX82" fmla="*/ 271612 w 1095980"/>
                <a:gd name="connsiteY82" fmla="*/ 633762 h 876784"/>
                <a:gd name="connsiteX83" fmla="*/ 295436 w 1095980"/>
                <a:gd name="connsiteY83" fmla="*/ 628997 h 876784"/>
                <a:gd name="connsiteX84" fmla="*/ 700472 w 1095980"/>
                <a:gd name="connsiteY84" fmla="*/ 586110 h 876784"/>
                <a:gd name="connsiteX85" fmla="*/ 705238 w 1095980"/>
                <a:gd name="connsiteY85" fmla="*/ 586110 h 876784"/>
                <a:gd name="connsiteX86" fmla="*/ 710004 w 1095980"/>
                <a:gd name="connsiteY86" fmla="*/ 595640 h 876784"/>
                <a:gd name="connsiteX87" fmla="*/ 710004 w 1095980"/>
                <a:gd name="connsiteY87" fmla="*/ 609936 h 876784"/>
                <a:gd name="connsiteX88" fmla="*/ 695708 w 1095980"/>
                <a:gd name="connsiteY88" fmla="*/ 624231 h 876784"/>
                <a:gd name="connsiteX89" fmla="*/ 690942 w 1095980"/>
                <a:gd name="connsiteY89" fmla="*/ 624231 h 876784"/>
                <a:gd name="connsiteX90" fmla="*/ 686176 w 1095980"/>
                <a:gd name="connsiteY90" fmla="*/ 605170 h 876784"/>
                <a:gd name="connsiteX91" fmla="*/ 695708 w 1095980"/>
                <a:gd name="connsiteY91" fmla="*/ 595640 h 876784"/>
                <a:gd name="connsiteX92" fmla="*/ 381210 w 1095980"/>
                <a:gd name="connsiteY92" fmla="*/ 500338 h 876784"/>
                <a:gd name="connsiteX93" fmla="*/ 395504 w 1095980"/>
                <a:gd name="connsiteY93" fmla="*/ 524164 h 876784"/>
                <a:gd name="connsiteX94" fmla="*/ 400270 w 1095980"/>
                <a:gd name="connsiteY94" fmla="*/ 533694 h 876784"/>
                <a:gd name="connsiteX95" fmla="*/ 390740 w 1095980"/>
                <a:gd name="connsiteY95" fmla="*/ 543224 h 876784"/>
                <a:gd name="connsiteX96" fmla="*/ 390740 w 1095980"/>
                <a:gd name="connsiteY96" fmla="*/ 557520 h 876784"/>
                <a:gd name="connsiteX97" fmla="*/ 385974 w 1095980"/>
                <a:gd name="connsiteY97" fmla="*/ 562285 h 876784"/>
                <a:gd name="connsiteX98" fmla="*/ 376444 w 1095980"/>
                <a:gd name="connsiteY98" fmla="*/ 557520 h 876784"/>
                <a:gd name="connsiteX99" fmla="*/ 376444 w 1095980"/>
                <a:gd name="connsiteY99" fmla="*/ 543224 h 876784"/>
                <a:gd name="connsiteX100" fmla="*/ 381210 w 1095980"/>
                <a:gd name="connsiteY100" fmla="*/ 524164 h 876784"/>
                <a:gd name="connsiteX101" fmla="*/ 376444 w 1095980"/>
                <a:gd name="connsiteY101" fmla="*/ 509868 h 876784"/>
                <a:gd name="connsiteX102" fmla="*/ 643292 w 1095980"/>
                <a:gd name="connsiteY102" fmla="*/ 466982 h 876784"/>
                <a:gd name="connsiteX103" fmla="*/ 657586 w 1095980"/>
                <a:gd name="connsiteY103" fmla="*/ 466982 h 876784"/>
                <a:gd name="connsiteX104" fmla="*/ 671882 w 1095980"/>
                <a:gd name="connsiteY104" fmla="*/ 466982 h 876784"/>
                <a:gd name="connsiteX105" fmla="*/ 690942 w 1095980"/>
                <a:gd name="connsiteY105" fmla="*/ 476512 h 876784"/>
                <a:gd name="connsiteX106" fmla="*/ 695708 w 1095980"/>
                <a:gd name="connsiteY106" fmla="*/ 481277 h 876784"/>
                <a:gd name="connsiteX107" fmla="*/ 700472 w 1095980"/>
                <a:gd name="connsiteY107" fmla="*/ 490808 h 876784"/>
                <a:gd name="connsiteX108" fmla="*/ 690942 w 1095980"/>
                <a:gd name="connsiteY108" fmla="*/ 509868 h 876784"/>
                <a:gd name="connsiteX109" fmla="*/ 690942 w 1095980"/>
                <a:gd name="connsiteY109" fmla="*/ 519398 h 876784"/>
                <a:gd name="connsiteX110" fmla="*/ 695708 w 1095980"/>
                <a:gd name="connsiteY110" fmla="*/ 557519 h 876784"/>
                <a:gd name="connsiteX111" fmla="*/ 695708 w 1095980"/>
                <a:gd name="connsiteY111" fmla="*/ 586110 h 876784"/>
                <a:gd name="connsiteX112" fmla="*/ 690942 w 1095980"/>
                <a:gd name="connsiteY112" fmla="*/ 595640 h 876784"/>
                <a:gd name="connsiteX113" fmla="*/ 686178 w 1095980"/>
                <a:gd name="connsiteY113" fmla="*/ 600406 h 876784"/>
                <a:gd name="connsiteX114" fmla="*/ 671882 w 1095980"/>
                <a:gd name="connsiteY114" fmla="*/ 605171 h 876784"/>
                <a:gd name="connsiteX115" fmla="*/ 657586 w 1095980"/>
                <a:gd name="connsiteY115" fmla="*/ 614701 h 876784"/>
                <a:gd name="connsiteX116" fmla="*/ 643292 w 1095980"/>
                <a:gd name="connsiteY116" fmla="*/ 628996 h 876784"/>
                <a:gd name="connsiteX117" fmla="*/ 643292 w 1095980"/>
                <a:gd name="connsiteY117" fmla="*/ 648057 h 876784"/>
                <a:gd name="connsiteX118" fmla="*/ 648056 w 1095980"/>
                <a:gd name="connsiteY118" fmla="*/ 662352 h 876784"/>
                <a:gd name="connsiteX119" fmla="*/ 667118 w 1095980"/>
                <a:gd name="connsiteY119" fmla="*/ 667117 h 876784"/>
                <a:gd name="connsiteX120" fmla="*/ 671882 w 1095980"/>
                <a:gd name="connsiteY120" fmla="*/ 695708 h 876784"/>
                <a:gd name="connsiteX121" fmla="*/ 657586 w 1095980"/>
                <a:gd name="connsiteY121" fmla="*/ 710004 h 876784"/>
                <a:gd name="connsiteX122" fmla="*/ 619466 w 1095980"/>
                <a:gd name="connsiteY122" fmla="*/ 724299 h 876784"/>
                <a:gd name="connsiteX123" fmla="*/ 614700 w 1095980"/>
                <a:gd name="connsiteY123" fmla="*/ 757655 h 876784"/>
                <a:gd name="connsiteX124" fmla="*/ 619466 w 1095980"/>
                <a:gd name="connsiteY124" fmla="*/ 781480 h 876784"/>
                <a:gd name="connsiteX125" fmla="*/ 619466 w 1095980"/>
                <a:gd name="connsiteY125" fmla="*/ 800541 h 876784"/>
                <a:gd name="connsiteX126" fmla="*/ 614700 w 1095980"/>
                <a:gd name="connsiteY126" fmla="*/ 824367 h 876784"/>
                <a:gd name="connsiteX127" fmla="*/ 586110 w 1095980"/>
                <a:gd name="connsiteY127" fmla="*/ 838662 h 876784"/>
                <a:gd name="connsiteX128" fmla="*/ 567050 w 1095980"/>
                <a:gd name="connsiteY128" fmla="*/ 795776 h 876784"/>
                <a:gd name="connsiteX129" fmla="*/ 567050 w 1095980"/>
                <a:gd name="connsiteY129" fmla="*/ 781480 h 876784"/>
                <a:gd name="connsiteX130" fmla="*/ 562284 w 1095980"/>
                <a:gd name="connsiteY130" fmla="*/ 762420 h 876784"/>
                <a:gd name="connsiteX131" fmla="*/ 557520 w 1095980"/>
                <a:gd name="connsiteY131" fmla="*/ 748125 h 876784"/>
                <a:gd name="connsiteX132" fmla="*/ 552754 w 1095980"/>
                <a:gd name="connsiteY132" fmla="*/ 724299 h 876784"/>
                <a:gd name="connsiteX133" fmla="*/ 524164 w 1095980"/>
                <a:gd name="connsiteY133" fmla="*/ 714769 h 876784"/>
                <a:gd name="connsiteX134" fmla="*/ 514632 w 1095980"/>
                <a:gd name="connsiteY134" fmla="*/ 714769 h 876784"/>
                <a:gd name="connsiteX135" fmla="*/ 500338 w 1095980"/>
                <a:gd name="connsiteY135" fmla="*/ 719534 h 876784"/>
                <a:gd name="connsiteX136" fmla="*/ 495572 w 1095980"/>
                <a:gd name="connsiteY136" fmla="*/ 719534 h 876784"/>
                <a:gd name="connsiteX137" fmla="*/ 476512 w 1095980"/>
                <a:gd name="connsiteY137" fmla="*/ 686178 h 876784"/>
                <a:gd name="connsiteX138" fmla="*/ 481276 w 1095980"/>
                <a:gd name="connsiteY138" fmla="*/ 648057 h 876784"/>
                <a:gd name="connsiteX139" fmla="*/ 471746 w 1095980"/>
                <a:gd name="connsiteY139" fmla="*/ 628996 h 876784"/>
                <a:gd name="connsiteX140" fmla="*/ 471746 w 1095980"/>
                <a:gd name="connsiteY140" fmla="*/ 619466 h 876784"/>
                <a:gd name="connsiteX141" fmla="*/ 471746 w 1095980"/>
                <a:gd name="connsiteY141" fmla="*/ 609936 h 876784"/>
                <a:gd name="connsiteX142" fmla="*/ 462216 w 1095980"/>
                <a:gd name="connsiteY142" fmla="*/ 600406 h 876784"/>
                <a:gd name="connsiteX143" fmla="*/ 452686 w 1095980"/>
                <a:gd name="connsiteY143" fmla="*/ 595640 h 876784"/>
                <a:gd name="connsiteX144" fmla="*/ 447920 w 1095980"/>
                <a:gd name="connsiteY144" fmla="*/ 576580 h 876784"/>
                <a:gd name="connsiteX145" fmla="*/ 457452 w 1095980"/>
                <a:gd name="connsiteY145" fmla="*/ 571815 h 876784"/>
                <a:gd name="connsiteX146" fmla="*/ 486042 w 1095980"/>
                <a:gd name="connsiteY146" fmla="*/ 571815 h 876784"/>
                <a:gd name="connsiteX147" fmla="*/ 495572 w 1095980"/>
                <a:gd name="connsiteY147" fmla="*/ 571815 h 876784"/>
                <a:gd name="connsiteX148" fmla="*/ 500338 w 1095980"/>
                <a:gd name="connsiteY148" fmla="*/ 567050 h 876784"/>
                <a:gd name="connsiteX149" fmla="*/ 524164 w 1095980"/>
                <a:gd name="connsiteY149" fmla="*/ 533694 h 876784"/>
                <a:gd name="connsiteX150" fmla="*/ 524164 w 1095980"/>
                <a:gd name="connsiteY150" fmla="*/ 524164 h 876784"/>
                <a:gd name="connsiteX151" fmla="*/ 524164 w 1095980"/>
                <a:gd name="connsiteY151" fmla="*/ 514633 h 876784"/>
                <a:gd name="connsiteX152" fmla="*/ 547988 w 1095980"/>
                <a:gd name="connsiteY152" fmla="*/ 509868 h 876784"/>
                <a:gd name="connsiteX153" fmla="*/ 557520 w 1095980"/>
                <a:gd name="connsiteY153" fmla="*/ 524164 h 876784"/>
                <a:gd name="connsiteX154" fmla="*/ 557520 w 1095980"/>
                <a:gd name="connsiteY154" fmla="*/ 547989 h 876784"/>
                <a:gd name="connsiteX155" fmla="*/ 557520 w 1095980"/>
                <a:gd name="connsiteY155" fmla="*/ 571815 h 876784"/>
                <a:gd name="connsiteX156" fmla="*/ 571814 w 1095980"/>
                <a:gd name="connsiteY156" fmla="*/ 581345 h 876784"/>
                <a:gd name="connsiteX157" fmla="*/ 576580 w 1095980"/>
                <a:gd name="connsiteY157" fmla="*/ 581345 h 876784"/>
                <a:gd name="connsiteX158" fmla="*/ 586110 w 1095980"/>
                <a:gd name="connsiteY158" fmla="*/ 562285 h 876784"/>
                <a:gd name="connsiteX159" fmla="*/ 590874 w 1095980"/>
                <a:gd name="connsiteY159" fmla="*/ 552754 h 876784"/>
                <a:gd name="connsiteX160" fmla="*/ 595640 w 1095980"/>
                <a:gd name="connsiteY160" fmla="*/ 547989 h 876784"/>
                <a:gd name="connsiteX161" fmla="*/ 595640 w 1095980"/>
                <a:gd name="connsiteY161" fmla="*/ 528929 h 876784"/>
                <a:gd name="connsiteX162" fmla="*/ 595640 w 1095980"/>
                <a:gd name="connsiteY162" fmla="*/ 514633 h 876784"/>
                <a:gd name="connsiteX163" fmla="*/ 586110 w 1095980"/>
                <a:gd name="connsiteY163" fmla="*/ 509868 h 876784"/>
                <a:gd name="connsiteX164" fmla="*/ 614700 w 1095980"/>
                <a:gd name="connsiteY164" fmla="*/ 486043 h 876784"/>
                <a:gd name="connsiteX165" fmla="*/ 462216 w 1095980"/>
                <a:gd name="connsiteY165" fmla="*/ 119128 h 876784"/>
                <a:gd name="connsiteX166" fmla="*/ 476512 w 1095980"/>
                <a:gd name="connsiteY166" fmla="*/ 123893 h 876784"/>
                <a:gd name="connsiteX167" fmla="*/ 462216 w 1095980"/>
                <a:gd name="connsiteY167" fmla="*/ 138189 h 876784"/>
                <a:gd name="connsiteX168" fmla="*/ 457452 w 1095980"/>
                <a:gd name="connsiteY168" fmla="*/ 142954 h 876784"/>
                <a:gd name="connsiteX169" fmla="*/ 452686 w 1095980"/>
                <a:gd name="connsiteY169" fmla="*/ 147719 h 876784"/>
                <a:gd name="connsiteX170" fmla="*/ 428860 w 1095980"/>
                <a:gd name="connsiteY170" fmla="*/ 138189 h 876784"/>
                <a:gd name="connsiteX171" fmla="*/ 438392 w 1095980"/>
                <a:gd name="connsiteY171" fmla="*/ 128658 h 876784"/>
                <a:gd name="connsiteX172" fmla="*/ 390740 w 1095980"/>
                <a:gd name="connsiteY172" fmla="*/ 0 h 876784"/>
                <a:gd name="connsiteX173" fmla="*/ 371680 w 1095980"/>
                <a:gd name="connsiteY173" fmla="*/ 28591 h 876784"/>
                <a:gd name="connsiteX174" fmla="*/ 366914 w 1095980"/>
                <a:gd name="connsiteY174" fmla="*/ 38121 h 876784"/>
                <a:gd name="connsiteX175" fmla="*/ 362148 w 1095980"/>
                <a:gd name="connsiteY175" fmla="*/ 52416 h 876784"/>
                <a:gd name="connsiteX176" fmla="*/ 376444 w 1095980"/>
                <a:gd name="connsiteY176" fmla="*/ 85772 h 876784"/>
                <a:gd name="connsiteX177" fmla="*/ 376444 w 1095980"/>
                <a:gd name="connsiteY177" fmla="*/ 104833 h 876784"/>
                <a:gd name="connsiteX178" fmla="*/ 376444 w 1095980"/>
                <a:gd name="connsiteY178" fmla="*/ 147719 h 876784"/>
                <a:gd name="connsiteX179" fmla="*/ 362148 w 1095980"/>
                <a:gd name="connsiteY179" fmla="*/ 166779 h 876784"/>
                <a:gd name="connsiteX180" fmla="*/ 347854 w 1095980"/>
                <a:gd name="connsiteY180" fmla="*/ 209666 h 876784"/>
                <a:gd name="connsiteX181" fmla="*/ 343088 w 1095980"/>
                <a:gd name="connsiteY181" fmla="*/ 214431 h 876784"/>
                <a:gd name="connsiteX182" fmla="*/ 338324 w 1095980"/>
                <a:gd name="connsiteY182" fmla="*/ 266847 h 876784"/>
                <a:gd name="connsiteX183" fmla="*/ 343088 w 1095980"/>
                <a:gd name="connsiteY183" fmla="*/ 276377 h 876784"/>
                <a:gd name="connsiteX184" fmla="*/ 338324 w 1095980"/>
                <a:gd name="connsiteY184" fmla="*/ 324029 h 876784"/>
                <a:gd name="connsiteX185" fmla="*/ 352618 w 1095980"/>
                <a:gd name="connsiteY185" fmla="*/ 343089 h 876784"/>
                <a:gd name="connsiteX186" fmla="*/ 371680 w 1095980"/>
                <a:gd name="connsiteY186" fmla="*/ 352619 h 876784"/>
                <a:gd name="connsiteX187" fmla="*/ 428860 w 1095980"/>
                <a:gd name="connsiteY187" fmla="*/ 352619 h 876784"/>
                <a:gd name="connsiteX188" fmla="*/ 433626 w 1095980"/>
                <a:gd name="connsiteY188" fmla="*/ 362150 h 876784"/>
                <a:gd name="connsiteX189" fmla="*/ 438392 w 1095980"/>
                <a:gd name="connsiteY189" fmla="*/ 371680 h 876784"/>
                <a:gd name="connsiteX190" fmla="*/ 433626 w 1095980"/>
                <a:gd name="connsiteY190" fmla="*/ 395506 h 876784"/>
                <a:gd name="connsiteX191" fmla="*/ 428860 w 1095980"/>
                <a:gd name="connsiteY191" fmla="*/ 414566 h 876784"/>
                <a:gd name="connsiteX192" fmla="*/ 414566 w 1095980"/>
                <a:gd name="connsiteY192" fmla="*/ 428861 h 876784"/>
                <a:gd name="connsiteX193" fmla="*/ 390740 w 1095980"/>
                <a:gd name="connsiteY193" fmla="*/ 443157 h 876784"/>
                <a:gd name="connsiteX194" fmla="*/ 376444 w 1095980"/>
                <a:gd name="connsiteY194" fmla="*/ 443157 h 876784"/>
                <a:gd name="connsiteX195" fmla="*/ 362148 w 1095980"/>
                <a:gd name="connsiteY195" fmla="*/ 419331 h 876784"/>
                <a:gd name="connsiteX196" fmla="*/ 352618 w 1095980"/>
                <a:gd name="connsiteY196" fmla="*/ 428861 h 876784"/>
                <a:gd name="connsiteX197" fmla="*/ 343088 w 1095980"/>
                <a:gd name="connsiteY197" fmla="*/ 438392 h 876784"/>
                <a:gd name="connsiteX198" fmla="*/ 328792 w 1095980"/>
                <a:gd name="connsiteY198" fmla="*/ 495573 h 876784"/>
                <a:gd name="connsiteX199" fmla="*/ 324028 w 1095980"/>
                <a:gd name="connsiteY199" fmla="*/ 533694 h 876784"/>
                <a:gd name="connsiteX200" fmla="*/ 319262 w 1095980"/>
                <a:gd name="connsiteY200" fmla="*/ 538459 h 876784"/>
                <a:gd name="connsiteX201" fmla="*/ 309732 w 1095980"/>
                <a:gd name="connsiteY201" fmla="*/ 533694 h 876784"/>
                <a:gd name="connsiteX202" fmla="*/ 295438 w 1095980"/>
                <a:gd name="connsiteY202" fmla="*/ 533694 h 876784"/>
                <a:gd name="connsiteX203" fmla="*/ 281142 w 1095980"/>
                <a:gd name="connsiteY203" fmla="*/ 543224 h 876784"/>
                <a:gd name="connsiteX204" fmla="*/ 290672 w 1095980"/>
                <a:gd name="connsiteY204" fmla="*/ 552755 h 876784"/>
                <a:gd name="connsiteX205" fmla="*/ 300202 w 1095980"/>
                <a:gd name="connsiteY205" fmla="*/ 567050 h 876784"/>
                <a:gd name="connsiteX206" fmla="*/ 295438 w 1095980"/>
                <a:gd name="connsiteY206" fmla="*/ 571815 h 876784"/>
                <a:gd name="connsiteX207" fmla="*/ 281142 w 1095980"/>
                <a:gd name="connsiteY207" fmla="*/ 581345 h 876784"/>
                <a:gd name="connsiteX208" fmla="*/ 266846 w 1095980"/>
                <a:gd name="connsiteY208" fmla="*/ 595641 h 876784"/>
                <a:gd name="connsiteX209" fmla="*/ 257316 w 1095980"/>
                <a:gd name="connsiteY209" fmla="*/ 605171 h 876784"/>
                <a:gd name="connsiteX210" fmla="*/ 243020 w 1095980"/>
                <a:gd name="connsiteY210" fmla="*/ 619466 h 876784"/>
                <a:gd name="connsiteX211" fmla="*/ 228726 w 1095980"/>
                <a:gd name="connsiteY211" fmla="*/ 638527 h 876784"/>
                <a:gd name="connsiteX212" fmla="*/ 238256 w 1095980"/>
                <a:gd name="connsiteY212" fmla="*/ 662353 h 876784"/>
                <a:gd name="connsiteX213" fmla="*/ 238256 w 1095980"/>
                <a:gd name="connsiteY213" fmla="*/ 681413 h 876784"/>
                <a:gd name="connsiteX214" fmla="*/ 243020 w 1095980"/>
                <a:gd name="connsiteY214" fmla="*/ 700474 h 876784"/>
                <a:gd name="connsiteX215" fmla="*/ 238256 w 1095980"/>
                <a:gd name="connsiteY215" fmla="*/ 719534 h 876784"/>
                <a:gd name="connsiteX216" fmla="*/ 219196 w 1095980"/>
                <a:gd name="connsiteY216" fmla="*/ 743360 h 876784"/>
                <a:gd name="connsiteX217" fmla="*/ 209664 w 1095980"/>
                <a:gd name="connsiteY217" fmla="*/ 762420 h 876784"/>
                <a:gd name="connsiteX218" fmla="*/ 228726 w 1095980"/>
                <a:gd name="connsiteY218" fmla="*/ 762420 h 876784"/>
                <a:gd name="connsiteX219" fmla="*/ 238256 w 1095980"/>
                <a:gd name="connsiteY219" fmla="*/ 767185 h 876784"/>
                <a:gd name="connsiteX220" fmla="*/ 247786 w 1095980"/>
                <a:gd name="connsiteY220" fmla="*/ 776716 h 876784"/>
                <a:gd name="connsiteX221" fmla="*/ 252550 w 1095980"/>
                <a:gd name="connsiteY221" fmla="*/ 781481 h 876784"/>
                <a:gd name="connsiteX222" fmla="*/ 247786 w 1095980"/>
                <a:gd name="connsiteY222" fmla="*/ 795776 h 876784"/>
                <a:gd name="connsiteX223" fmla="*/ 252550 w 1095980"/>
                <a:gd name="connsiteY223" fmla="*/ 819602 h 876784"/>
                <a:gd name="connsiteX224" fmla="*/ 243020 w 1095980"/>
                <a:gd name="connsiteY224" fmla="*/ 819602 h 876784"/>
                <a:gd name="connsiteX225" fmla="*/ 233490 w 1095980"/>
                <a:gd name="connsiteY225" fmla="*/ 814837 h 876784"/>
                <a:gd name="connsiteX226" fmla="*/ 214430 w 1095980"/>
                <a:gd name="connsiteY226" fmla="*/ 819602 h 876784"/>
                <a:gd name="connsiteX227" fmla="*/ 190604 w 1095980"/>
                <a:gd name="connsiteY227" fmla="*/ 829132 h 876784"/>
                <a:gd name="connsiteX228" fmla="*/ 176308 w 1095980"/>
                <a:gd name="connsiteY228" fmla="*/ 824367 h 876784"/>
                <a:gd name="connsiteX229" fmla="*/ 166778 w 1095980"/>
                <a:gd name="connsiteY229" fmla="*/ 814837 h 876784"/>
                <a:gd name="connsiteX230" fmla="*/ 123892 w 1095980"/>
                <a:gd name="connsiteY230" fmla="*/ 800541 h 876784"/>
                <a:gd name="connsiteX231" fmla="*/ 114362 w 1095980"/>
                <a:gd name="connsiteY231" fmla="*/ 800541 h 876784"/>
                <a:gd name="connsiteX232" fmla="*/ 85772 w 1095980"/>
                <a:gd name="connsiteY232" fmla="*/ 800541 h 876784"/>
                <a:gd name="connsiteX233" fmla="*/ 85772 w 1095980"/>
                <a:gd name="connsiteY233" fmla="*/ 776716 h 876784"/>
                <a:gd name="connsiteX234" fmla="*/ 81006 w 1095980"/>
                <a:gd name="connsiteY234" fmla="*/ 762420 h 876784"/>
                <a:gd name="connsiteX235" fmla="*/ 71476 w 1095980"/>
                <a:gd name="connsiteY235" fmla="*/ 738595 h 876784"/>
                <a:gd name="connsiteX236" fmla="*/ 85772 w 1095980"/>
                <a:gd name="connsiteY236" fmla="*/ 733830 h 876784"/>
                <a:gd name="connsiteX237" fmla="*/ 85772 w 1095980"/>
                <a:gd name="connsiteY237" fmla="*/ 686178 h 876784"/>
                <a:gd name="connsiteX238" fmla="*/ 76242 w 1095980"/>
                <a:gd name="connsiteY238" fmla="*/ 662353 h 876784"/>
                <a:gd name="connsiteX239" fmla="*/ 38120 w 1095980"/>
                <a:gd name="connsiteY239" fmla="*/ 633762 h 876784"/>
                <a:gd name="connsiteX240" fmla="*/ 4764 w 1095980"/>
                <a:gd name="connsiteY240" fmla="*/ 609936 h 876784"/>
                <a:gd name="connsiteX241" fmla="*/ 9530 w 1095980"/>
                <a:gd name="connsiteY241" fmla="*/ 524164 h 876784"/>
                <a:gd name="connsiteX242" fmla="*/ 14294 w 1095980"/>
                <a:gd name="connsiteY242" fmla="*/ 505103 h 876784"/>
                <a:gd name="connsiteX243" fmla="*/ 0 w 1095980"/>
                <a:gd name="connsiteY243" fmla="*/ 462217 h 876784"/>
                <a:gd name="connsiteX244" fmla="*/ 4764 w 1095980"/>
                <a:gd name="connsiteY244" fmla="*/ 409801 h 876784"/>
                <a:gd name="connsiteX245" fmla="*/ 9530 w 1095980"/>
                <a:gd name="connsiteY245" fmla="*/ 328794 h 876784"/>
                <a:gd name="connsiteX246" fmla="*/ 19060 w 1095980"/>
                <a:gd name="connsiteY246" fmla="*/ 324029 h 876784"/>
                <a:gd name="connsiteX247" fmla="*/ 23824 w 1095980"/>
                <a:gd name="connsiteY247" fmla="*/ 324029 h 876784"/>
                <a:gd name="connsiteX248" fmla="*/ 57180 w 1095980"/>
                <a:gd name="connsiteY248" fmla="*/ 338324 h 876784"/>
                <a:gd name="connsiteX249" fmla="*/ 66710 w 1095980"/>
                <a:gd name="connsiteY249" fmla="*/ 343089 h 876784"/>
                <a:gd name="connsiteX250" fmla="*/ 76242 w 1095980"/>
                <a:gd name="connsiteY250" fmla="*/ 352619 h 876784"/>
                <a:gd name="connsiteX251" fmla="*/ 85772 w 1095980"/>
                <a:gd name="connsiteY251" fmla="*/ 357384 h 876784"/>
                <a:gd name="connsiteX252" fmla="*/ 95302 w 1095980"/>
                <a:gd name="connsiteY252" fmla="*/ 347854 h 876784"/>
                <a:gd name="connsiteX253" fmla="*/ 95302 w 1095980"/>
                <a:gd name="connsiteY253" fmla="*/ 319263 h 876784"/>
                <a:gd name="connsiteX254" fmla="*/ 119128 w 1095980"/>
                <a:gd name="connsiteY254" fmla="*/ 290673 h 876784"/>
                <a:gd name="connsiteX255" fmla="*/ 138188 w 1095980"/>
                <a:gd name="connsiteY255" fmla="*/ 281142 h 876784"/>
                <a:gd name="connsiteX256" fmla="*/ 147718 w 1095980"/>
                <a:gd name="connsiteY256" fmla="*/ 276377 h 876784"/>
                <a:gd name="connsiteX257" fmla="*/ 162014 w 1095980"/>
                <a:gd name="connsiteY257" fmla="*/ 285908 h 876784"/>
                <a:gd name="connsiteX258" fmla="*/ 166778 w 1095980"/>
                <a:gd name="connsiteY258" fmla="*/ 300203 h 876784"/>
                <a:gd name="connsiteX259" fmla="*/ 171544 w 1095980"/>
                <a:gd name="connsiteY259" fmla="*/ 271612 h 876784"/>
                <a:gd name="connsiteX260" fmla="*/ 176308 w 1095980"/>
                <a:gd name="connsiteY260" fmla="*/ 214431 h 876784"/>
                <a:gd name="connsiteX261" fmla="*/ 157248 w 1095980"/>
                <a:gd name="connsiteY261" fmla="*/ 204900 h 876784"/>
                <a:gd name="connsiteX262" fmla="*/ 138188 w 1095980"/>
                <a:gd name="connsiteY262" fmla="*/ 209666 h 876784"/>
                <a:gd name="connsiteX263" fmla="*/ 119128 w 1095980"/>
                <a:gd name="connsiteY263" fmla="*/ 247787 h 876784"/>
                <a:gd name="connsiteX264" fmla="*/ 104832 w 1095980"/>
                <a:gd name="connsiteY264" fmla="*/ 295438 h 876784"/>
                <a:gd name="connsiteX265" fmla="*/ 76242 w 1095980"/>
                <a:gd name="connsiteY265" fmla="*/ 300203 h 876784"/>
                <a:gd name="connsiteX266" fmla="*/ 57180 w 1095980"/>
                <a:gd name="connsiteY266" fmla="*/ 309733 h 876784"/>
                <a:gd name="connsiteX267" fmla="*/ 38120 w 1095980"/>
                <a:gd name="connsiteY267" fmla="*/ 295438 h 876784"/>
                <a:gd name="connsiteX268" fmla="*/ 23824 w 1095980"/>
                <a:gd name="connsiteY268" fmla="*/ 285908 h 876784"/>
                <a:gd name="connsiteX269" fmla="*/ 23824 w 1095980"/>
                <a:gd name="connsiteY269" fmla="*/ 266847 h 876784"/>
                <a:gd name="connsiteX270" fmla="*/ 28590 w 1095980"/>
                <a:gd name="connsiteY270" fmla="*/ 257317 h 876784"/>
                <a:gd name="connsiteX271" fmla="*/ 47650 w 1095980"/>
                <a:gd name="connsiteY271" fmla="*/ 219196 h 876784"/>
                <a:gd name="connsiteX272" fmla="*/ 81006 w 1095980"/>
                <a:gd name="connsiteY272" fmla="*/ 181075 h 876784"/>
                <a:gd name="connsiteX273" fmla="*/ 109596 w 1095980"/>
                <a:gd name="connsiteY273" fmla="*/ 185840 h 876784"/>
                <a:gd name="connsiteX274" fmla="*/ 128658 w 1095980"/>
                <a:gd name="connsiteY274" fmla="*/ 171545 h 876784"/>
                <a:gd name="connsiteX275" fmla="*/ 142952 w 1095980"/>
                <a:gd name="connsiteY275" fmla="*/ 171545 h 876784"/>
                <a:gd name="connsiteX276" fmla="*/ 185840 w 1095980"/>
                <a:gd name="connsiteY276" fmla="*/ 171545 h 876784"/>
                <a:gd name="connsiteX277" fmla="*/ 204900 w 1095980"/>
                <a:gd name="connsiteY277" fmla="*/ 166779 h 876784"/>
                <a:gd name="connsiteX278" fmla="*/ 223960 w 1095980"/>
                <a:gd name="connsiteY278" fmla="*/ 147719 h 876784"/>
                <a:gd name="connsiteX279" fmla="*/ 266846 w 1095980"/>
                <a:gd name="connsiteY279" fmla="*/ 76242 h 876784"/>
                <a:gd name="connsiteX280" fmla="*/ 290672 w 1095980"/>
                <a:gd name="connsiteY280" fmla="*/ 47651 h 876784"/>
                <a:gd name="connsiteX281" fmla="*/ 333558 w 1095980"/>
                <a:gd name="connsiteY281" fmla="*/ 38121 h 876784"/>
                <a:gd name="connsiteX282" fmla="*/ 376444 w 1095980"/>
                <a:gd name="connsiteY282" fmla="*/ 4765 h 876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</a:cxnLst>
              <a:rect l="l" t="t" r="r" b="b"/>
              <a:pathLst>
                <a:path w="1095980" h="876784">
                  <a:moveTo>
                    <a:pt x="490806" y="786246"/>
                  </a:moveTo>
                  <a:lnTo>
                    <a:pt x="505102" y="805306"/>
                  </a:lnTo>
                  <a:lnTo>
                    <a:pt x="533692" y="819602"/>
                  </a:lnTo>
                  <a:lnTo>
                    <a:pt x="552754" y="819602"/>
                  </a:lnTo>
                  <a:lnTo>
                    <a:pt x="567048" y="824367"/>
                  </a:lnTo>
                  <a:lnTo>
                    <a:pt x="571814" y="838662"/>
                  </a:lnTo>
                  <a:lnTo>
                    <a:pt x="571814" y="862488"/>
                  </a:lnTo>
                  <a:lnTo>
                    <a:pt x="557518" y="867252"/>
                  </a:lnTo>
                  <a:lnTo>
                    <a:pt x="543224" y="867252"/>
                  </a:lnTo>
                  <a:lnTo>
                    <a:pt x="524162" y="876784"/>
                  </a:lnTo>
                  <a:lnTo>
                    <a:pt x="457452" y="833897"/>
                  </a:lnTo>
                  <a:lnTo>
                    <a:pt x="457452" y="805306"/>
                  </a:lnTo>
                  <a:lnTo>
                    <a:pt x="457452" y="791011"/>
                  </a:lnTo>
                  <a:close/>
                  <a:moveTo>
                    <a:pt x="324028" y="786246"/>
                  </a:moveTo>
                  <a:lnTo>
                    <a:pt x="338324" y="786246"/>
                  </a:lnTo>
                  <a:lnTo>
                    <a:pt x="347854" y="800541"/>
                  </a:lnTo>
                  <a:lnTo>
                    <a:pt x="357384" y="800541"/>
                  </a:lnTo>
                  <a:lnTo>
                    <a:pt x="371680" y="814837"/>
                  </a:lnTo>
                  <a:lnTo>
                    <a:pt x="357384" y="819602"/>
                  </a:lnTo>
                  <a:lnTo>
                    <a:pt x="347854" y="814837"/>
                  </a:lnTo>
                  <a:lnTo>
                    <a:pt x="328794" y="791011"/>
                  </a:lnTo>
                  <a:close/>
                  <a:moveTo>
                    <a:pt x="648056" y="757655"/>
                  </a:moveTo>
                  <a:lnTo>
                    <a:pt x="657588" y="762420"/>
                  </a:lnTo>
                  <a:lnTo>
                    <a:pt x="671882" y="767185"/>
                  </a:lnTo>
                  <a:lnTo>
                    <a:pt x="681412" y="767185"/>
                  </a:lnTo>
                  <a:lnTo>
                    <a:pt x="686178" y="776715"/>
                  </a:lnTo>
                  <a:lnTo>
                    <a:pt x="690944" y="781480"/>
                  </a:lnTo>
                  <a:lnTo>
                    <a:pt x="686178" y="786246"/>
                  </a:lnTo>
                  <a:lnTo>
                    <a:pt x="662352" y="786246"/>
                  </a:lnTo>
                  <a:lnTo>
                    <a:pt x="633762" y="805306"/>
                  </a:lnTo>
                  <a:lnTo>
                    <a:pt x="624232" y="795776"/>
                  </a:lnTo>
                  <a:lnTo>
                    <a:pt x="628996" y="786246"/>
                  </a:lnTo>
                  <a:lnTo>
                    <a:pt x="633762" y="781480"/>
                  </a:lnTo>
                  <a:lnTo>
                    <a:pt x="643292" y="776715"/>
                  </a:lnTo>
                  <a:lnTo>
                    <a:pt x="648056" y="767185"/>
                  </a:lnTo>
                  <a:close/>
                  <a:moveTo>
                    <a:pt x="257316" y="757655"/>
                  </a:moveTo>
                  <a:lnTo>
                    <a:pt x="262082" y="757655"/>
                  </a:lnTo>
                  <a:lnTo>
                    <a:pt x="266846" y="757655"/>
                  </a:lnTo>
                  <a:lnTo>
                    <a:pt x="295436" y="776715"/>
                  </a:lnTo>
                  <a:lnTo>
                    <a:pt x="304968" y="800541"/>
                  </a:lnTo>
                  <a:lnTo>
                    <a:pt x="304968" y="805306"/>
                  </a:lnTo>
                  <a:lnTo>
                    <a:pt x="285906" y="810071"/>
                  </a:lnTo>
                  <a:lnTo>
                    <a:pt x="281142" y="800541"/>
                  </a:lnTo>
                  <a:lnTo>
                    <a:pt x="262082" y="800541"/>
                  </a:lnTo>
                  <a:close/>
                  <a:moveTo>
                    <a:pt x="438390" y="729064"/>
                  </a:moveTo>
                  <a:lnTo>
                    <a:pt x="443156" y="733829"/>
                  </a:lnTo>
                  <a:lnTo>
                    <a:pt x="438390" y="757655"/>
                  </a:lnTo>
                  <a:lnTo>
                    <a:pt x="414566" y="829132"/>
                  </a:lnTo>
                  <a:lnTo>
                    <a:pt x="409800" y="843428"/>
                  </a:lnTo>
                  <a:lnTo>
                    <a:pt x="400270" y="843428"/>
                  </a:lnTo>
                  <a:lnTo>
                    <a:pt x="390740" y="819601"/>
                  </a:lnTo>
                  <a:lnTo>
                    <a:pt x="390740" y="814836"/>
                  </a:lnTo>
                  <a:lnTo>
                    <a:pt x="400270" y="800541"/>
                  </a:lnTo>
                  <a:lnTo>
                    <a:pt x="409800" y="786246"/>
                  </a:lnTo>
                  <a:lnTo>
                    <a:pt x="428860" y="762420"/>
                  </a:lnTo>
                  <a:close/>
                  <a:moveTo>
                    <a:pt x="1038798" y="690943"/>
                  </a:moveTo>
                  <a:lnTo>
                    <a:pt x="1095980" y="733829"/>
                  </a:lnTo>
                  <a:lnTo>
                    <a:pt x="1095980" y="748124"/>
                  </a:lnTo>
                  <a:lnTo>
                    <a:pt x="1091214" y="767185"/>
                  </a:lnTo>
                  <a:lnTo>
                    <a:pt x="1081684" y="771950"/>
                  </a:lnTo>
                  <a:lnTo>
                    <a:pt x="1057858" y="767185"/>
                  </a:lnTo>
                  <a:lnTo>
                    <a:pt x="1024502" y="748124"/>
                  </a:lnTo>
                  <a:lnTo>
                    <a:pt x="1029268" y="710003"/>
                  </a:lnTo>
                  <a:close/>
                  <a:moveTo>
                    <a:pt x="338322" y="605171"/>
                  </a:moveTo>
                  <a:lnTo>
                    <a:pt x="347852" y="609936"/>
                  </a:lnTo>
                  <a:lnTo>
                    <a:pt x="362148" y="619466"/>
                  </a:lnTo>
                  <a:lnTo>
                    <a:pt x="371678" y="619466"/>
                  </a:lnTo>
                  <a:lnTo>
                    <a:pt x="390740" y="605171"/>
                  </a:lnTo>
                  <a:lnTo>
                    <a:pt x="395504" y="605171"/>
                  </a:lnTo>
                  <a:lnTo>
                    <a:pt x="400270" y="619466"/>
                  </a:lnTo>
                  <a:lnTo>
                    <a:pt x="409800" y="652822"/>
                  </a:lnTo>
                  <a:lnTo>
                    <a:pt x="424096" y="686178"/>
                  </a:lnTo>
                  <a:lnTo>
                    <a:pt x="419330" y="700473"/>
                  </a:lnTo>
                  <a:lnTo>
                    <a:pt x="419330" y="719534"/>
                  </a:lnTo>
                  <a:lnTo>
                    <a:pt x="419330" y="738594"/>
                  </a:lnTo>
                  <a:lnTo>
                    <a:pt x="390740" y="762420"/>
                  </a:lnTo>
                  <a:lnTo>
                    <a:pt x="362148" y="762420"/>
                  </a:lnTo>
                  <a:lnTo>
                    <a:pt x="333558" y="748125"/>
                  </a:lnTo>
                  <a:lnTo>
                    <a:pt x="290672" y="729064"/>
                  </a:lnTo>
                  <a:lnTo>
                    <a:pt x="290672" y="719534"/>
                  </a:lnTo>
                  <a:lnTo>
                    <a:pt x="281142" y="710004"/>
                  </a:lnTo>
                  <a:lnTo>
                    <a:pt x="271612" y="676648"/>
                  </a:lnTo>
                  <a:lnTo>
                    <a:pt x="271612" y="633762"/>
                  </a:lnTo>
                  <a:lnTo>
                    <a:pt x="295436" y="628997"/>
                  </a:lnTo>
                  <a:close/>
                  <a:moveTo>
                    <a:pt x="700472" y="586110"/>
                  </a:moveTo>
                  <a:lnTo>
                    <a:pt x="705238" y="586110"/>
                  </a:lnTo>
                  <a:lnTo>
                    <a:pt x="710004" y="595640"/>
                  </a:lnTo>
                  <a:lnTo>
                    <a:pt x="710004" y="609936"/>
                  </a:lnTo>
                  <a:lnTo>
                    <a:pt x="695708" y="624231"/>
                  </a:lnTo>
                  <a:lnTo>
                    <a:pt x="690942" y="624231"/>
                  </a:lnTo>
                  <a:lnTo>
                    <a:pt x="686176" y="605170"/>
                  </a:lnTo>
                  <a:lnTo>
                    <a:pt x="695708" y="595640"/>
                  </a:lnTo>
                  <a:close/>
                  <a:moveTo>
                    <a:pt x="381210" y="500338"/>
                  </a:moveTo>
                  <a:lnTo>
                    <a:pt x="395504" y="524164"/>
                  </a:lnTo>
                  <a:lnTo>
                    <a:pt x="400270" y="533694"/>
                  </a:lnTo>
                  <a:lnTo>
                    <a:pt x="390740" y="543224"/>
                  </a:lnTo>
                  <a:lnTo>
                    <a:pt x="390740" y="557520"/>
                  </a:lnTo>
                  <a:lnTo>
                    <a:pt x="385974" y="562285"/>
                  </a:lnTo>
                  <a:lnTo>
                    <a:pt x="376444" y="557520"/>
                  </a:lnTo>
                  <a:lnTo>
                    <a:pt x="376444" y="543224"/>
                  </a:lnTo>
                  <a:lnTo>
                    <a:pt x="381210" y="524164"/>
                  </a:lnTo>
                  <a:lnTo>
                    <a:pt x="376444" y="509868"/>
                  </a:lnTo>
                  <a:close/>
                  <a:moveTo>
                    <a:pt x="643292" y="466982"/>
                  </a:moveTo>
                  <a:lnTo>
                    <a:pt x="657586" y="466982"/>
                  </a:lnTo>
                  <a:lnTo>
                    <a:pt x="671882" y="466982"/>
                  </a:lnTo>
                  <a:lnTo>
                    <a:pt x="690942" y="476512"/>
                  </a:lnTo>
                  <a:lnTo>
                    <a:pt x="695708" y="481277"/>
                  </a:lnTo>
                  <a:lnTo>
                    <a:pt x="700472" y="490808"/>
                  </a:lnTo>
                  <a:lnTo>
                    <a:pt x="690942" y="509868"/>
                  </a:lnTo>
                  <a:lnTo>
                    <a:pt x="690942" y="519398"/>
                  </a:lnTo>
                  <a:lnTo>
                    <a:pt x="695708" y="557519"/>
                  </a:lnTo>
                  <a:lnTo>
                    <a:pt x="695708" y="586110"/>
                  </a:lnTo>
                  <a:lnTo>
                    <a:pt x="690942" y="595640"/>
                  </a:lnTo>
                  <a:lnTo>
                    <a:pt x="686178" y="600406"/>
                  </a:lnTo>
                  <a:lnTo>
                    <a:pt x="671882" y="605171"/>
                  </a:lnTo>
                  <a:lnTo>
                    <a:pt x="657586" y="614701"/>
                  </a:lnTo>
                  <a:lnTo>
                    <a:pt x="643292" y="628996"/>
                  </a:lnTo>
                  <a:lnTo>
                    <a:pt x="643292" y="648057"/>
                  </a:lnTo>
                  <a:lnTo>
                    <a:pt x="648056" y="662352"/>
                  </a:lnTo>
                  <a:lnTo>
                    <a:pt x="667118" y="667117"/>
                  </a:lnTo>
                  <a:lnTo>
                    <a:pt x="671882" y="695708"/>
                  </a:lnTo>
                  <a:lnTo>
                    <a:pt x="657586" y="710004"/>
                  </a:lnTo>
                  <a:lnTo>
                    <a:pt x="619466" y="724299"/>
                  </a:lnTo>
                  <a:lnTo>
                    <a:pt x="614700" y="757655"/>
                  </a:lnTo>
                  <a:lnTo>
                    <a:pt x="619466" y="781480"/>
                  </a:lnTo>
                  <a:lnTo>
                    <a:pt x="619466" y="800541"/>
                  </a:lnTo>
                  <a:lnTo>
                    <a:pt x="614700" y="824367"/>
                  </a:lnTo>
                  <a:lnTo>
                    <a:pt x="586110" y="838662"/>
                  </a:lnTo>
                  <a:lnTo>
                    <a:pt x="567050" y="795776"/>
                  </a:lnTo>
                  <a:lnTo>
                    <a:pt x="567050" y="781480"/>
                  </a:lnTo>
                  <a:lnTo>
                    <a:pt x="562284" y="762420"/>
                  </a:lnTo>
                  <a:lnTo>
                    <a:pt x="557520" y="748125"/>
                  </a:lnTo>
                  <a:lnTo>
                    <a:pt x="552754" y="724299"/>
                  </a:lnTo>
                  <a:lnTo>
                    <a:pt x="524164" y="714769"/>
                  </a:lnTo>
                  <a:lnTo>
                    <a:pt x="514632" y="714769"/>
                  </a:lnTo>
                  <a:lnTo>
                    <a:pt x="500338" y="719534"/>
                  </a:lnTo>
                  <a:lnTo>
                    <a:pt x="495572" y="719534"/>
                  </a:lnTo>
                  <a:lnTo>
                    <a:pt x="476512" y="686178"/>
                  </a:lnTo>
                  <a:lnTo>
                    <a:pt x="481276" y="648057"/>
                  </a:lnTo>
                  <a:lnTo>
                    <a:pt x="471746" y="628996"/>
                  </a:lnTo>
                  <a:lnTo>
                    <a:pt x="471746" y="619466"/>
                  </a:lnTo>
                  <a:lnTo>
                    <a:pt x="471746" y="609936"/>
                  </a:lnTo>
                  <a:lnTo>
                    <a:pt x="462216" y="600406"/>
                  </a:lnTo>
                  <a:lnTo>
                    <a:pt x="452686" y="595640"/>
                  </a:lnTo>
                  <a:lnTo>
                    <a:pt x="447920" y="576580"/>
                  </a:lnTo>
                  <a:lnTo>
                    <a:pt x="457452" y="571815"/>
                  </a:lnTo>
                  <a:lnTo>
                    <a:pt x="486042" y="571815"/>
                  </a:lnTo>
                  <a:lnTo>
                    <a:pt x="495572" y="571815"/>
                  </a:lnTo>
                  <a:lnTo>
                    <a:pt x="500338" y="567050"/>
                  </a:lnTo>
                  <a:lnTo>
                    <a:pt x="524164" y="533694"/>
                  </a:lnTo>
                  <a:lnTo>
                    <a:pt x="524164" y="524164"/>
                  </a:lnTo>
                  <a:lnTo>
                    <a:pt x="524164" y="514633"/>
                  </a:lnTo>
                  <a:lnTo>
                    <a:pt x="547988" y="509868"/>
                  </a:lnTo>
                  <a:lnTo>
                    <a:pt x="557520" y="524164"/>
                  </a:lnTo>
                  <a:lnTo>
                    <a:pt x="557520" y="547989"/>
                  </a:lnTo>
                  <a:lnTo>
                    <a:pt x="557520" y="571815"/>
                  </a:lnTo>
                  <a:lnTo>
                    <a:pt x="571814" y="581345"/>
                  </a:lnTo>
                  <a:lnTo>
                    <a:pt x="576580" y="581345"/>
                  </a:lnTo>
                  <a:lnTo>
                    <a:pt x="586110" y="562285"/>
                  </a:lnTo>
                  <a:lnTo>
                    <a:pt x="590874" y="552754"/>
                  </a:lnTo>
                  <a:lnTo>
                    <a:pt x="595640" y="547989"/>
                  </a:lnTo>
                  <a:lnTo>
                    <a:pt x="595640" y="528929"/>
                  </a:lnTo>
                  <a:lnTo>
                    <a:pt x="595640" y="514633"/>
                  </a:lnTo>
                  <a:lnTo>
                    <a:pt x="586110" y="509868"/>
                  </a:lnTo>
                  <a:lnTo>
                    <a:pt x="614700" y="486043"/>
                  </a:lnTo>
                  <a:close/>
                  <a:moveTo>
                    <a:pt x="462216" y="119128"/>
                  </a:moveTo>
                  <a:lnTo>
                    <a:pt x="476512" y="123893"/>
                  </a:lnTo>
                  <a:lnTo>
                    <a:pt x="462216" y="138189"/>
                  </a:lnTo>
                  <a:lnTo>
                    <a:pt x="457452" y="142954"/>
                  </a:lnTo>
                  <a:lnTo>
                    <a:pt x="452686" y="147719"/>
                  </a:lnTo>
                  <a:lnTo>
                    <a:pt x="428860" y="138189"/>
                  </a:lnTo>
                  <a:lnTo>
                    <a:pt x="438392" y="128658"/>
                  </a:lnTo>
                  <a:close/>
                  <a:moveTo>
                    <a:pt x="390740" y="0"/>
                  </a:moveTo>
                  <a:lnTo>
                    <a:pt x="371680" y="28591"/>
                  </a:lnTo>
                  <a:lnTo>
                    <a:pt x="366914" y="38121"/>
                  </a:lnTo>
                  <a:lnTo>
                    <a:pt x="362148" y="52416"/>
                  </a:lnTo>
                  <a:lnTo>
                    <a:pt x="376444" y="85772"/>
                  </a:lnTo>
                  <a:lnTo>
                    <a:pt x="376444" y="104833"/>
                  </a:lnTo>
                  <a:lnTo>
                    <a:pt x="376444" y="147719"/>
                  </a:lnTo>
                  <a:lnTo>
                    <a:pt x="362148" y="166779"/>
                  </a:lnTo>
                  <a:lnTo>
                    <a:pt x="347854" y="209666"/>
                  </a:lnTo>
                  <a:lnTo>
                    <a:pt x="343088" y="214431"/>
                  </a:lnTo>
                  <a:lnTo>
                    <a:pt x="338324" y="266847"/>
                  </a:lnTo>
                  <a:lnTo>
                    <a:pt x="343088" y="276377"/>
                  </a:lnTo>
                  <a:lnTo>
                    <a:pt x="338324" y="324029"/>
                  </a:lnTo>
                  <a:lnTo>
                    <a:pt x="352618" y="343089"/>
                  </a:lnTo>
                  <a:lnTo>
                    <a:pt x="371680" y="352619"/>
                  </a:lnTo>
                  <a:lnTo>
                    <a:pt x="428860" y="352619"/>
                  </a:lnTo>
                  <a:lnTo>
                    <a:pt x="433626" y="362150"/>
                  </a:lnTo>
                  <a:lnTo>
                    <a:pt x="438392" y="371680"/>
                  </a:lnTo>
                  <a:lnTo>
                    <a:pt x="433626" y="395506"/>
                  </a:lnTo>
                  <a:lnTo>
                    <a:pt x="428860" y="414566"/>
                  </a:lnTo>
                  <a:lnTo>
                    <a:pt x="414566" y="428861"/>
                  </a:lnTo>
                  <a:lnTo>
                    <a:pt x="390740" y="443157"/>
                  </a:lnTo>
                  <a:lnTo>
                    <a:pt x="376444" y="443157"/>
                  </a:lnTo>
                  <a:lnTo>
                    <a:pt x="362148" y="419331"/>
                  </a:lnTo>
                  <a:lnTo>
                    <a:pt x="352618" y="428861"/>
                  </a:lnTo>
                  <a:lnTo>
                    <a:pt x="343088" y="438392"/>
                  </a:lnTo>
                  <a:lnTo>
                    <a:pt x="328792" y="495573"/>
                  </a:lnTo>
                  <a:lnTo>
                    <a:pt x="324028" y="533694"/>
                  </a:lnTo>
                  <a:lnTo>
                    <a:pt x="319262" y="538459"/>
                  </a:lnTo>
                  <a:lnTo>
                    <a:pt x="309732" y="533694"/>
                  </a:lnTo>
                  <a:lnTo>
                    <a:pt x="295438" y="533694"/>
                  </a:lnTo>
                  <a:lnTo>
                    <a:pt x="281142" y="543224"/>
                  </a:lnTo>
                  <a:lnTo>
                    <a:pt x="290672" y="552755"/>
                  </a:lnTo>
                  <a:lnTo>
                    <a:pt x="300202" y="567050"/>
                  </a:lnTo>
                  <a:lnTo>
                    <a:pt x="295438" y="571815"/>
                  </a:lnTo>
                  <a:lnTo>
                    <a:pt x="281142" y="581345"/>
                  </a:lnTo>
                  <a:lnTo>
                    <a:pt x="266846" y="595641"/>
                  </a:lnTo>
                  <a:lnTo>
                    <a:pt x="257316" y="605171"/>
                  </a:lnTo>
                  <a:lnTo>
                    <a:pt x="243020" y="619466"/>
                  </a:lnTo>
                  <a:lnTo>
                    <a:pt x="228726" y="638527"/>
                  </a:lnTo>
                  <a:lnTo>
                    <a:pt x="238256" y="662353"/>
                  </a:lnTo>
                  <a:lnTo>
                    <a:pt x="238256" y="681413"/>
                  </a:lnTo>
                  <a:lnTo>
                    <a:pt x="243020" y="700474"/>
                  </a:lnTo>
                  <a:lnTo>
                    <a:pt x="238256" y="719534"/>
                  </a:lnTo>
                  <a:lnTo>
                    <a:pt x="219196" y="743360"/>
                  </a:lnTo>
                  <a:lnTo>
                    <a:pt x="209664" y="762420"/>
                  </a:lnTo>
                  <a:lnTo>
                    <a:pt x="228726" y="762420"/>
                  </a:lnTo>
                  <a:lnTo>
                    <a:pt x="238256" y="767185"/>
                  </a:lnTo>
                  <a:lnTo>
                    <a:pt x="247786" y="776716"/>
                  </a:lnTo>
                  <a:lnTo>
                    <a:pt x="252550" y="781481"/>
                  </a:lnTo>
                  <a:lnTo>
                    <a:pt x="247786" y="795776"/>
                  </a:lnTo>
                  <a:lnTo>
                    <a:pt x="252550" y="819602"/>
                  </a:lnTo>
                  <a:lnTo>
                    <a:pt x="243020" y="819602"/>
                  </a:lnTo>
                  <a:lnTo>
                    <a:pt x="233490" y="814837"/>
                  </a:lnTo>
                  <a:lnTo>
                    <a:pt x="214430" y="819602"/>
                  </a:lnTo>
                  <a:lnTo>
                    <a:pt x="190604" y="829132"/>
                  </a:lnTo>
                  <a:lnTo>
                    <a:pt x="176308" y="824367"/>
                  </a:lnTo>
                  <a:lnTo>
                    <a:pt x="166778" y="814837"/>
                  </a:lnTo>
                  <a:lnTo>
                    <a:pt x="123892" y="800541"/>
                  </a:lnTo>
                  <a:lnTo>
                    <a:pt x="114362" y="800541"/>
                  </a:lnTo>
                  <a:lnTo>
                    <a:pt x="85772" y="800541"/>
                  </a:lnTo>
                  <a:lnTo>
                    <a:pt x="85772" y="776716"/>
                  </a:lnTo>
                  <a:lnTo>
                    <a:pt x="81006" y="762420"/>
                  </a:lnTo>
                  <a:lnTo>
                    <a:pt x="71476" y="738595"/>
                  </a:lnTo>
                  <a:lnTo>
                    <a:pt x="85772" y="733830"/>
                  </a:lnTo>
                  <a:lnTo>
                    <a:pt x="85772" y="686178"/>
                  </a:lnTo>
                  <a:lnTo>
                    <a:pt x="76242" y="662353"/>
                  </a:lnTo>
                  <a:lnTo>
                    <a:pt x="38120" y="633762"/>
                  </a:lnTo>
                  <a:lnTo>
                    <a:pt x="4764" y="609936"/>
                  </a:lnTo>
                  <a:lnTo>
                    <a:pt x="9530" y="524164"/>
                  </a:lnTo>
                  <a:lnTo>
                    <a:pt x="14294" y="505103"/>
                  </a:lnTo>
                  <a:lnTo>
                    <a:pt x="0" y="462217"/>
                  </a:lnTo>
                  <a:lnTo>
                    <a:pt x="4764" y="409801"/>
                  </a:lnTo>
                  <a:lnTo>
                    <a:pt x="9530" y="328794"/>
                  </a:lnTo>
                  <a:lnTo>
                    <a:pt x="19060" y="324029"/>
                  </a:lnTo>
                  <a:lnTo>
                    <a:pt x="23824" y="324029"/>
                  </a:lnTo>
                  <a:lnTo>
                    <a:pt x="57180" y="338324"/>
                  </a:lnTo>
                  <a:lnTo>
                    <a:pt x="66710" y="343089"/>
                  </a:lnTo>
                  <a:lnTo>
                    <a:pt x="76242" y="352619"/>
                  </a:lnTo>
                  <a:lnTo>
                    <a:pt x="85772" y="357384"/>
                  </a:lnTo>
                  <a:lnTo>
                    <a:pt x="95302" y="347854"/>
                  </a:lnTo>
                  <a:lnTo>
                    <a:pt x="95302" y="319263"/>
                  </a:lnTo>
                  <a:lnTo>
                    <a:pt x="119128" y="290673"/>
                  </a:lnTo>
                  <a:lnTo>
                    <a:pt x="138188" y="281142"/>
                  </a:lnTo>
                  <a:lnTo>
                    <a:pt x="147718" y="276377"/>
                  </a:lnTo>
                  <a:lnTo>
                    <a:pt x="162014" y="285908"/>
                  </a:lnTo>
                  <a:lnTo>
                    <a:pt x="166778" y="300203"/>
                  </a:lnTo>
                  <a:lnTo>
                    <a:pt x="171544" y="271612"/>
                  </a:lnTo>
                  <a:lnTo>
                    <a:pt x="176308" y="214431"/>
                  </a:lnTo>
                  <a:lnTo>
                    <a:pt x="157248" y="204900"/>
                  </a:lnTo>
                  <a:lnTo>
                    <a:pt x="138188" y="209666"/>
                  </a:lnTo>
                  <a:lnTo>
                    <a:pt x="119128" y="247787"/>
                  </a:lnTo>
                  <a:lnTo>
                    <a:pt x="104832" y="295438"/>
                  </a:lnTo>
                  <a:lnTo>
                    <a:pt x="76242" y="300203"/>
                  </a:lnTo>
                  <a:lnTo>
                    <a:pt x="57180" y="309733"/>
                  </a:lnTo>
                  <a:lnTo>
                    <a:pt x="38120" y="295438"/>
                  </a:lnTo>
                  <a:lnTo>
                    <a:pt x="23824" y="285908"/>
                  </a:lnTo>
                  <a:lnTo>
                    <a:pt x="23824" y="266847"/>
                  </a:lnTo>
                  <a:lnTo>
                    <a:pt x="28590" y="257317"/>
                  </a:lnTo>
                  <a:lnTo>
                    <a:pt x="47650" y="219196"/>
                  </a:lnTo>
                  <a:lnTo>
                    <a:pt x="81006" y="181075"/>
                  </a:lnTo>
                  <a:lnTo>
                    <a:pt x="109596" y="185840"/>
                  </a:lnTo>
                  <a:lnTo>
                    <a:pt x="128658" y="171545"/>
                  </a:lnTo>
                  <a:lnTo>
                    <a:pt x="142952" y="171545"/>
                  </a:lnTo>
                  <a:lnTo>
                    <a:pt x="185840" y="171545"/>
                  </a:lnTo>
                  <a:lnTo>
                    <a:pt x="204900" y="166779"/>
                  </a:lnTo>
                  <a:lnTo>
                    <a:pt x="223960" y="147719"/>
                  </a:lnTo>
                  <a:lnTo>
                    <a:pt x="266846" y="76242"/>
                  </a:lnTo>
                  <a:lnTo>
                    <a:pt x="290672" y="47651"/>
                  </a:lnTo>
                  <a:lnTo>
                    <a:pt x="333558" y="38121"/>
                  </a:lnTo>
                  <a:lnTo>
                    <a:pt x="376444" y="476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8" name="Freeform 4619">
              <a:extLst>
                <a:ext uri="{FF2B5EF4-FFF2-40B4-BE49-F238E27FC236}">
                  <a16:creationId xmlns:a16="http://schemas.microsoft.com/office/drawing/2014/main" id="{1140F2D0-0935-436D-A9BD-C0DC5E1D2D88}"/>
                </a:ext>
              </a:extLst>
            </p:cNvPr>
            <p:cNvSpPr/>
            <p:nvPr/>
          </p:nvSpPr>
          <p:spPr bwMode="auto">
            <a:xfrm>
              <a:off x="3479184" y="4896008"/>
              <a:ext cx="92505" cy="60899"/>
            </a:xfrm>
            <a:custGeom>
              <a:avLst/>
              <a:gdLst>
                <a:gd name="T0" fmla="*/ 18 w 240"/>
                <a:gd name="T1" fmla="*/ 132 h 158"/>
                <a:gd name="T2" fmla="*/ 22 w 240"/>
                <a:gd name="T3" fmla="*/ 140 h 158"/>
                <a:gd name="T4" fmla="*/ 24 w 240"/>
                <a:gd name="T5" fmla="*/ 148 h 158"/>
                <a:gd name="T6" fmla="*/ 32 w 240"/>
                <a:gd name="T7" fmla="*/ 152 h 158"/>
                <a:gd name="T8" fmla="*/ 40 w 240"/>
                <a:gd name="T9" fmla="*/ 156 h 158"/>
                <a:gd name="T10" fmla="*/ 48 w 240"/>
                <a:gd name="T11" fmla="*/ 144 h 158"/>
                <a:gd name="T12" fmla="*/ 60 w 240"/>
                <a:gd name="T13" fmla="*/ 124 h 158"/>
                <a:gd name="T14" fmla="*/ 62 w 240"/>
                <a:gd name="T15" fmla="*/ 116 h 158"/>
                <a:gd name="T16" fmla="*/ 70 w 240"/>
                <a:gd name="T17" fmla="*/ 112 h 158"/>
                <a:gd name="T18" fmla="*/ 88 w 240"/>
                <a:gd name="T19" fmla="*/ 110 h 158"/>
                <a:gd name="T20" fmla="*/ 100 w 240"/>
                <a:gd name="T21" fmla="*/ 118 h 158"/>
                <a:gd name="T22" fmla="*/ 122 w 240"/>
                <a:gd name="T23" fmla="*/ 114 h 158"/>
                <a:gd name="T24" fmla="*/ 130 w 240"/>
                <a:gd name="T25" fmla="*/ 106 h 158"/>
                <a:gd name="T26" fmla="*/ 146 w 240"/>
                <a:gd name="T27" fmla="*/ 102 h 158"/>
                <a:gd name="T28" fmla="*/ 162 w 240"/>
                <a:gd name="T29" fmla="*/ 104 h 158"/>
                <a:gd name="T30" fmla="*/ 178 w 240"/>
                <a:gd name="T31" fmla="*/ 102 h 158"/>
                <a:gd name="T32" fmla="*/ 202 w 240"/>
                <a:gd name="T33" fmla="*/ 104 h 158"/>
                <a:gd name="T34" fmla="*/ 212 w 240"/>
                <a:gd name="T35" fmla="*/ 114 h 158"/>
                <a:gd name="T36" fmla="*/ 218 w 240"/>
                <a:gd name="T37" fmla="*/ 118 h 158"/>
                <a:gd name="T38" fmla="*/ 222 w 240"/>
                <a:gd name="T39" fmla="*/ 112 h 158"/>
                <a:gd name="T40" fmla="*/ 230 w 240"/>
                <a:gd name="T41" fmla="*/ 106 h 158"/>
                <a:gd name="T42" fmla="*/ 238 w 240"/>
                <a:gd name="T43" fmla="*/ 96 h 158"/>
                <a:gd name="T44" fmla="*/ 238 w 240"/>
                <a:gd name="T45" fmla="*/ 86 h 158"/>
                <a:gd name="T46" fmla="*/ 218 w 240"/>
                <a:gd name="T47" fmla="*/ 70 h 158"/>
                <a:gd name="T48" fmla="*/ 194 w 240"/>
                <a:gd name="T49" fmla="*/ 62 h 158"/>
                <a:gd name="T50" fmla="*/ 178 w 240"/>
                <a:gd name="T51" fmla="*/ 60 h 158"/>
                <a:gd name="T52" fmla="*/ 164 w 240"/>
                <a:gd name="T53" fmla="*/ 56 h 158"/>
                <a:gd name="T54" fmla="*/ 156 w 240"/>
                <a:gd name="T55" fmla="*/ 52 h 158"/>
                <a:gd name="T56" fmla="*/ 162 w 240"/>
                <a:gd name="T57" fmla="*/ 48 h 158"/>
                <a:gd name="T58" fmla="*/ 180 w 240"/>
                <a:gd name="T59" fmla="*/ 48 h 158"/>
                <a:gd name="T60" fmla="*/ 176 w 240"/>
                <a:gd name="T61" fmla="*/ 40 h 158"/>
                <a:gd name="T62" fmla="*/ 142 w 240"/>
                <a:gd name="T63" fmla="*/ 38 h 158"/>
                <a:gd name="T64" fmla="*/ 138 w 240"/>
                <a:gd name="T65" fmla="*/ 22 h 158"/>
                <a:gd name="T66" fmla="*/ 130 w 240"/>
                <a:gd name="T67" fmla="*/ 16 h 158"/>
                <a:gd name="T68" fmla="*/ 118 w 240"/>
                <a:gd name="T69" fmla="*/ 20 h 158"/>
                <a:gd name="T70" fmla="*/ 102 w 240"/>
                <a:gd name="T71" fmla="*/ 10 h 158"/>
                <a:gd name="T72" fmla="*/ 90 w 240"/>
                <a:gd name="T73" fmla="*/ 10 h 158"/>
                <a:gd name="T74" fmla="*/ 80 w 240"/>
                <a:gd name="T75" fmla="*/ 4 h 158"/>
                <a:gd name="T76" fmla="*/ 68 w 240"/>
                <a:gd name="T77" fmla="*/ 0 h 158"/>
                <a:gd name="T78" fmla="*/ 50 w 240"/>
                <a:gd name="T79" fmla="*/ 4 h 158"/>
                <a:gd name="T80" fmla="*/ 36 w 240"/>
                <a:gd name="T81" fmla="*/ 2 h 158"/>
                <a:gd name="T82" fmla="*/ 26 w 240"/>
                <a:gd name="T83" fmla="*/ 2 h 158"/>
                <a:gd name="T84" fmla="*/ 20 w 240"/>
                <a:gd name="T85" fmla="*/ 8 h 158"/>
                <a:gd name="T86" fmla="*/ 14 w 240"/>
                <a:gd name="T87" fmla="*/ 14 h 158"/>
                <a:gd name="T88" fmla="*/ 18 w 240"/>
                <a:gd name="T89" fmla="*/ 30 h 158"/>
                <a:gd name="T90" fmla="*/ 16 w 240"/>
                <a:gd name="T91" fmla="*/ 40 h 158"/>
                <a:gd name="T92" fmla="*/ 24 w 240"/>
                <a:gd name="T93" fmla="*/ 50 h 158"/>
                <a:gd name="T94" fmla="*/ 22 w 240"/>
                <a:gd name="T95" fmla="*/ 54 h 158"/>
                <a:gd name="T96" fmla="*/ 12 w 240"/>
                <a:gd name="T97" fmla="*/ 64 h 158"/>
                <a:gd name="T98" fmla="*/ 18 w 240"/>
                <a:gd name="T99" fmla="*/ 74 h 158"/>
                <a:gd name="T100" fmla="*/ 16 w 240"/>
                <a:gd name="T101" fmla="*/ 82 h 158"/>
                <a:gd name="T102" fmla="*/ 8 w 240"/>
                <a:gd name="T103" fmla="*/ 90 h 158"/>
                <a:gd name="T104" fmla="*/ 0 w 240"/>
                <a:gd name="T105" fmla="*/ 92 h 158"/>
                <a:gd name="T106" fmla="*/ 8 w 240"/>
                <a:gd name="T107" fmla="*/ 104 h 158"/>
                <a:gd name="T108" fmla="*/ 18 w 240"/>
                <a:gd name="T109" fmla="*/ 114 h 158"/>
                <a:gd name="T110" fmla="*/ 16 w 240"/>
                <a:gd name="T111" fmla="*/ 13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0" h="158">
                  <a:moveTo>
                    <a:pt x="16" y="130"/>
                  </a:moveTo>
                  <a:lnTo>
                    <a:pt x="18" y="132"/>
                  </a:lnTo>
                  <a:lnTo>
                    <a:pt x="22" y="136"/>
                  </a:lnTo>
                  <a:lnTo>
                    <a:pt x="22" y="140"/>
                  </a:lnTo>
                  <a:lnTo>
                    <a:pt x="22" y="144"/>
                  </a:lnTo>
                  <a:lnTo>
                    <a:pt x="24" y="148"/>
                  </a:lnTo>
                  <a:lnTo>
                    <a:pt x="28" y="150"/>
                  </a:lnTo>
                  <a:lnTo>
                    <a:pt x="32" y="152"/>
                  </a:lnTo>
                  <a:lnTo>
                    <a:pt x="36" y="158"/>
                  </a:lnTo>
                  <a:lnTo>
                    <a:pt x="40" y="156"/>
                  </a:lnTo>
                  <a:lnTo>
                    <a:pt x="42" y="154"/>
                  </a:lnTo>
                  <a:lnTo>
                    <a:pt x="48" y="144"/>
                  </a:lnTo>
                  <a:lnTo>
                    <a:pt x="58" y="128"/>
                  </a:lnTo>
                  <a:lnTo>
                    <a:pt x="60" y="124"/>
                  </a:lnTo>
                  <a:lnTo>
                    <a:pt x="60" y="118"/>
                  </a:lnTo>
                  <a:lnTo>
                    <a:pt x="62" y="116"/>
                  </a:lnTo>
                  <a:lnTo>
                    <a:pt x="64" y="114"/>
                  </a:lnTo>
                  <a:lnTo>
                    <a:pt x="70" y="112"/>
                  </a:lnTo>
                  <a:lnTo>
                    <a:pt x="82" y="108"/>
                  </a:lnTo>
                  <a:lnTo>
                    <a:pt x="88" y="110"/>
                  </a:lnTo>
                  <a:lnTo>
                    <a:pt x="94" y="114"/>
                  </a:lnTo>
                  <a:lnTo>
                    <a:pt x="100" y="118"/>
                  </a:lnTo>
                  <a:lnTo>
                    <a:pt x="120" y="116"/>
                  </a:lnTo>
                  <a:lnTo>
                    <a:pt x="122" y="114"/>
                  </a:lnTo>
                  <a:lnTo>
                    <a:pt x="128" y="108"/>
                  </a:lnTo>
                  <a:lnTo>
                    <a:pt x="130" y="106"/>
                  </a:lnTo>
                  <a:lnTo>
                    <a:pt x="138" y="104"/>
                  </a:lnTo>
                  <a:lnTo>
                    <a:pt x="146" y="102"/>
                  </a:lnTo>
                  <a:lnTo>
                    <a:pt x="154" y="102"/>
                  </a:lnTo>
                  <a:lnTo>
                    <a:pt x="162" y="104"/>
                  </a:lnTo>
                  <a:lnTo>
                    <a:pt x="170" y="104"/>
                  </a:lnTo>
                  <a:lnTo>
                    <a:pt x="178" y="102"/>
                  </a:lnTo>
                  <a:lnTo>
                    <a:pt x="192" y="106"/>
                  </a:lnTo>
                  <a:lnTo>
                    <a:pt x="202" y="104"/>
                  </a:lnTo>
                  <a:lnTo>
                    <a:pt x="208" y="110"/>
                  </a:lnTo>
                  <a:lnTo>
                    <a:pt x="212" y="114"/>
                  </a:lnTo>
                  <a:lnTo>
                    <a:pt x="214" y="118"/>
                  </a:lnTo>
                  <a:lnTo>
                    <a:pt x="218" y="118"/>
                  </a:lnTo>
                  <a:lnTo>
                    <a:pt x="220" y="118"/>
                  </a:lnTo>
                  <a:lnTo>
                    <a:pt x="222" y="112"/>
                  </a:lnTo>
                  <a:lnTo>
                    <a:pt x="226" y="108"/>
                  </a:lnTo>
                  <a:lnTo>
                    <a:pt x="230" y="106"/>
                  </a:lnTo>
                  <a:lnTo>
                    <a:pt x="232" y="104"/>
                  </a:lnTo>
                  <a:lnTo>
                    <a:pt x="238" y="96"/>
                  </a:lnTo>
                  <a:lnTo>
                    <a:pt x="240" y="90"/>
                  </a:lnTo>
                  <a:lnTo>
                    <a:pt x="238" y="86"/>
                  </a:lnTo>
                  <a:lnTo>
                    <a:pt x="232" y="84"/>
                  </a:lnTo>
                  <a:lnTo>
                    <a:pt x="218" y="70"/>
                  </a:lnTo>
                  <a:lnTo>
                    <a:pt x="204" y="64"/>
                  </a:lnTo>
                  <a:lnTo>
                    <a:pt x="194" y="62"/>
                  </a:lnTo>
                  <a:lnTo>
                    <a:pt x="186" y="62"/>
                  </a:lnTo>
                  <a:lnTo>
                    <a:pt x="178" y="60"/>
                  </a:lnTo>
                  <a:lnTo>
                    <a:pt x="170" y="58"/>
                  </a:lnTo>
                  <a:lnTo>
                    <a:pt x="164" y="56"/>
                  </a:lnTo>
                  <a:lnTo>
                    <a:pt x="156" y="56"/>
                  </a:lnTo>
                  <a:lnTo>
                    <a:pt x="156" y="52"/>
                  </a:lnTo>
                  <a:lnTo>
                    <a:pt x="156" y="50"/>
                  </a:lnTo>
                  <a:lnTo>
                    <a:pt x="162" y="48"/>
                  </a:lnTo>
                  <a:lnTo>
                    <a:pt x="176" y="50"/>
                  </a:lnTo>
                  <a:lnTo>
                    <a:pt x="180" y="48"/>
                  </a:lnTo>
                  <a:lnTo>
                    <a:pt x="182" y="44"/>
                  </a:lnTo>
                  <a:lnTo>
                    <a:pt x="176" y="40"/>
                  </a:lnTo>
                  <a:lnTo>
                    <a:pt x="148" y="42"/>
                  </a:lnTo>
                  <a:lnTo>
                    <a:pt x="142" y="38"/>
                  </a:lnTo>
                  <a:lnTo>
                    <a:pt x="140" y="30"/>
                  </a:lnTo>
                  <a:lnTo>
                    <a:pt x="138" y="22"/>
                  </a:lnTo>
                  <a:lnTo>
                    <a:pt x="134" y="16"/>
                  </a:lnTo>
                  <a:lnTo>
                    <a:pt x="130" y="16"/>
                  </a:lnTo>
                  <a:lnTo>
                    <a:pt x="122" y="20"/>
                  </a:lnTo>
                  <a:lnTo>
                    <a:pt x="118" y="20"/>
                  </a:lnTo>
                  <a:lnTo>
                    <a:pt x="112" y="16"/>
                  </a:lnTo>
                  <a:lnTo>
                    <a:pt x="102" y="10"/>
                  </a:lnTo>
                  <a:lnTo>
                    <a:pt x="100" y="10"/>
                  </a:lnTo>
                  <a:lnTo>
                    <a:pt x="90" y="10"/>
                  </a:lnTo>
                  <a:lnTo>
                    <a:pt x="86" y="8"/>
                  </a:lnTo>
                  <a:lnTo>
                    <a:pt x="80" y="4"/>
                  </a:lnTo>
                  <a:lnTo>
                    <a:pt x="76" y="2"/>
                  </a:lnTo>
                  <a:lnTo>
                    <a:pt x="68" y="0"/>
                  </a:lnTo>
                  <a:lnTo>
                    <a:pt x="60" y="2"/>
                  </a:lnTo>
                  <a:lnTo>
                    <a:pt x="50" y="4"/>
                  </a:lnTo>
                  <a:lnTo>
                    <a:pt x="48" y="4"/>
                  </a:lnTo>
                  <a:lnTo>
                    <a:pt x="36" y="2"/>
                  </a:lnTo>
                  <a:lnTo>
                    <a:pt x="30" y="2"/>
                  </a:lnTo>
                  <a:lnTo>
                    <a:pt x="26" y="2"/>
                  </a:lnTo>
                  <a:lnTo>
                    <a:pt x="22" y="4"/>
                  </a:lnTo>
                  <a:lnTo>
                    <a:pt x="20" y="8"/>
                  </a:lnTo>
                  <a:lnTo>
                    <a:pt x="18" y="12"/>
                  </a:lnTo>
                  <a:lnTo>
                    <a:pt x="14" y="14"/>
                  </a:lnTo>
                  <a:lnTo>
                    <a:pt x="16" y="16"/>
                  </a:lnTo>
                  <a:lnTo>
                    <a:pt x="18" y="30"/>
                  </a:lnTo>
                  <a:lnTo>
                    <a:pt x="20" y="34"/>
                  </a:lnTo>
                  <a:lnTo>
                    <a:pt x="16" y="40"/>
                  </a:lnTo>
                  <a:lnTo>
                    <a:pt x="16" y="44"/>
                  </a:lnTo>
                  <a:lnTo>
                    <a:pt x="24" y="50"/>
                  </a:lnTo>
                  <a:lnTo>
                    <a:pt x="24" y="52"/>
                  </a:lnTo>
                  <a:lnTo>
                    <a:pt x="22" y="54"/>
                  </a:lnTo>
                  <a:lnTo>
                    <a:pt x="16" y="60"/>
                  </a:lnTo>
                  <a:lnTo>
                    <a:pt x="12" y="64"/>
                  </a:lnTo>
                  <a:lnTo>
                    <a:pt x="14" y="70"/>
                  </a:lnTo>
                  <a:lnTo>
                    <a:pt x="18" y="74"/>
                  </a:lnTo>
                  <a:lnTo>
                    <a:pt x="18" y="78"/>
                  </a:lnTo>
                  <a:lnTo>
                    <a:pt x="16" y="82"/>
                  </a:lnTo>
                  <a:lnTo>
                    <a:pt x="12" y="88"/>
                  </a:lnTo>
                  <a:lnTo>
                    <a:pt x="8" y="90"/>
                  </a:lnTo>
                  <a:lnTo>
                    <a:pt x="0" y="90"/>
                  </a:lnTo>
                  <a:lnTo>
                    <a:pt x="0" y="92"/>
                  </a:lnTo>
                  <a:lnTo>
                    <a:pt x="4" y="98"/>
                  </a:lnTo>
                  <a:lnTo>
                    <a:pt x="8" y="104"/>
                  </a:lnTo>
                  <a:lnTo>
                    <a:pt x="16" y="110"/>
                  </a:lnTo>
                  <a:lnTo>
                    <a:pt x="18" y="114"/>
                  </a:lnTo>
                  <a:lnTo>
                    <a:pt x="16" y="118"/>
                  </a:lnTo>
                  <a:lnTo>
                    <a:pt x="16" y="13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9" name="Freeform 4623">
              <a:extLst>
                <a:ext uri="{FF2B5EF4-FFF2-40B4-BE49-F238E27FC236}">
                  <a16:creationId xmlns:a16="http://schemas.microsoft.com/office/drawing/2014/main" id="{0FF59FF3-735A-4581-A9D3-E146C851E99B}"/>
                </a:ext>
              </a:extLst>
            </p:cNvPr>
            <p:cNvSpPr/>
            <p:nvPr/>
          </p:nvSpPr>
          <p:spPr bwMode="auto">
            <a:xfrm>
              <a:off x="5078753" y="4398792"/>
              <a:ext cx="521884" cy="521884"/>
            </a:xfrm>
            <a:custGeom>
              <a:avLst/>
              <a:gdLst>
                <a:gd name="T0" fmla="*/ 1058 w 1354"/>
                <a:gd name="T1" fmla="*/ 4 h 1354"/>
                <a:gd name="T2" fmla="*/ 996 w 1354"/>
                <a:gd name="T3" fmla="*/ 2 h 1354"/>
                <a:gd name="T4" fmla="*/ 918 w 1354"/>
                <a:gd name="T5" fmla="*/ 38 h 1354"/>
                <a:gd name="T6" fmla="*/ 800 w 1354"/>
                <a:gd name="T7" fmla="*/ 26 h 1354"/>
                <a:gd name="T8" fmla="*/ 652 w 1354"/>
                <a:gd name="T9" fmla="*/ 48 h 1354"/>
                <a:gd name="T10" fmla="*/ 574 w 1354"/>
                <a:gd name="T11" fmla="*/ 98 h 1354"/>
                <a:gd name="T12" fmla="*/ 498 w 1354"/>
                <a:gd name="T13" fmla="*/ 124 h 1354"/>
                <a:gd name="T14" fmla="*/ 438 w 1354"/>
                <a:gd name="T15" fmla="*/ 164 h 1354"/>
                <a:gd name="T16" fmla="*/ 452 w 1354"/>
                <a:gd name="T17" fmla="*/ 192 h 1354"/>
                <a:gd name="T18" fmla="*/ 456 w 1354"/>
                <a:gd name="T19" fmla="*/ 216 h 1354"/>
                <a:gd name="T20" fmla="*/ 458 w 1354"/>
                <a:gd name="T21" fmla="*/ 272 h 1354"/>
                <a:gd name="T22" fmla="*/ 474 w 1354"/>
                <a:gd name="T23" fmla="*/ 346 h 1354"/>
                <a:gd name="T24" fmla="*/ 494 w 1354"/>
                <a:gd name="T25" fmla="*/ 376 h 1354"/>
                <a:gd name="T26" fmla="*/ 474 w 1354"/>
                <a:gd name="T27" fmla="*/ 398 h 1354"/>
                <a:gd name="T28" fmla="*/ 404 w 1354"/>
                <a:gd name="T29" fmla="*/ 396 h 1354"/>
                <a:gd name="T30" fmla="*/ 374 w 1354"/>
                <a:gd name="T31" fmla="*/ 416 h 1354"/>
                <a:gd name="T32" fmla="*/ 320 w 1354"/>
                <a:gd name="T33" fmla="*/ 432 h 1354"/>
                <a:gd name="T34" fmla="*/ 320 w 1354"/>
                <a:gd name="T35" fmla="*/ 460 h 1354"/>
                <a:gd name="T36" fmla="*/ 330 w 1354"/>
                <a:gd name="T37" fmla="*/ 474 h 1354"/>
                <a:gd name="T38" fmla="*/ 308 w 1354"/>
                <a:gd name="T39" fmla="*/ 490 h 1354"/>
                <a:gd name="T40" fmla="*/ 244 w 1354"/>
                <a:gd name="T41" fmla="*/ 524 h 1354"/>
                <a:gd name="T42" fmla="*/ 192 w 1354"/>
                <a:gd name="T43" fmla="*/ 570 h 1354"/>
                <a:gd name="T44" fmla="*/ 146 w 1354"/>
                <a:gd name="T45" fmla="*/ 572 h 1354"/>
                <a:gd name="T46" fmla="*/ 138 w 1354"/>
                <a:gd name="T47" fmla="*/ 590 h 1354"/>
                <a:gd name="T48" fmla="*/ 100 w 1354"/>
                <a:gd name="T49" fmla="*/ 588 h 1354"/>
                <a:gd name="T50" fmla="*/ 66 w 1354"/>
                <a:gd name="T51" fmla="*/ 608 h 1354"/>
                <a:gd name="T52" fmla="*/ 10 w 1354"/>
                <a:gd name="T53" fmla="*/ 652 h 1354"/>
                <a:gd name="T54" fmla="*/ 26 w 1354"/>
                <a:gd name="T55" fmla="*/ 778 h 1354"/>
                <a:gd name="T56" fmla="*/ 100 w 1354"/>
                <a:gd name="T57" fmla="*/ 828 h 1354"/>
                <a:gd name="T58" fmla="*/ 198 w 1354"/>
                <a:gd name="T59" fmla="*/ 892 h 1354"/>
                <a:gd name="T60" fmla="*/ 314 w 1354"/>
                <a:gd name="T61" fmla="*/ 972 h 1354"/>
                <a:gd name="T62" fmla="*/ 442 w 1354"/>
                <a:gd name="T63" fmla="*/ 1064 h 1354"/>
                <a:gd name="T64" fmla="*/ 572 w 1354"/>
                <a:gd name="T65" fmla="*/ 1154 h 1354"/>
                <a:gd name="T66" fmla="*/ 646 w 1354"/>
                <a:gd name="T67" fmla="*/ 1216 h 1354"/>
                <a:gd name="T68" fmla="*/ 678 w 1354"/>
                <a:gd name="T69" fmla="*/ 1248 h 1354"/>
                <a:gd name="T70" fmla="*/ 716 w 1354"/>
                <a:gd name="T71" fmla="*/ 1266 h 1354"/>
                <a:gd name="T72" fmla="*/ 758 w 1354"/>
                <a:gd name="T73" fmla="*/ 1286 h 1354"/>
                <a:gd name="T74" fmla="*/ 782 w 1354"/>
                <a:gd name="T75" fmla="*/ 1320 h 1354"/>
                <a:gd name="T76" fmla="*/ 776 w 1354"/>
                <a:gd name="T77" fmla="*/ 1338 h 1354"/>
                <a:gd name="T78" fmla="*/ 792 w 1354"/>
                <a:gd name="T79" fmla="*/ 1354 h 1354"/>
                <a:gd name="T80" fmla="*/ 876 w 1354"/>
                <a:gd name="T81" fmla="*/ 1338 h 1354"/>
                <a:gd name="T82" fmla="*/ 980 w 1354"/>
                <a:gd name="T83" fmla="*/ 1294 h 1354"/>
                <a:gd name="T84" fmla="*/ 1084 w 1354"/>
                <a:gd name="T85" fmla="*/ 1208 h 1354"/>
                <a:gd name="T86" fmla="*/ 1320 w 1354"/>
                <a:gd name="T87" fmla="*/ 1058 h 1354"/>
                <a:gd name="T88" fmla="*/ 1324 w 1354"/>
                <a:gd name="T89" fmla="*/ 978 h 1354"/>
                <a:gd name="T90" fmla="*/ 1242 w 1354"/>
                <a:gd name="T91" fmla="*/ 958 h 1354"/>
                <a:gd name="T92" fmla="*/ 1212 w 1354"/>
                <a:gd name="T93" fmla="*/ 884 h 1354"/>
                <a:gd name="T94" fmla="*/ 1204 w 1354"/>
                <a:gd name="T95" fmla="*/ 824 h 1354"/>
                <a:gd name="T96" fmla="*/ 1210 w 1354"/>
                <a:gd name="T97" fmla="*/ 768 h 1354"/>
                <a:gd name="T98" fmla="*/ 1216 w 1354"/>
                <a:gd name="T99" fmla="*/ 638 h 1354"/>
                <a:gd name="T100" fmla="*/ 1196 w 1354"/>
                <a:gd name="T101" fmla="*/ 574 h 1354"/>
                <a:gd name="T102" fmla="*/ 1186 w 1354"/>
                <a:gd name="T103" fmla="*/ 508 h 1354"/>
                <a:gd name="T104" fmla="*/ 1162 w 1354"/>
                <a:gd name="T105" fmla="*/ 398 h 1354"/>
                <a:gd name="T106" fmla="*/ 1108 w 1354"/>
                <a:gd name="T107" fmla="*/ 334 h 1354"/>
                <a:gd name="T108" fmla="*/ 1076 w 1354"/>
                <a:gd name="T109" fmla="*/ 300 h 1354"/>
                <a:gd name="T110" fmla="*/ 1066 w 1354"/>
                <a:gd name="T111" fmla="*/ 240 h 1354"/>
                <a:gd name="T112" fmla="*/ 1108 w 1354"/>
                <a:gd name="T113" fmla="*/ 198 h 1354"/>
                <a:gd name="T114" fmla="*/ 1118 w 1354"/>
                <a:gd name="T115" fmla="*/ 146 h 1354"/>
                <a:gd name="T116" fmla="*/ 1110 w 1354"/>
                <a:gd name="T117" fmla="*/ 100 h 1354"/>
                <a:gd name="T118" fmla="*/ 1108 w 1354"/>
                <a:gd name="T119" fmla="*/ 50 h 1354"/>
                <a:gd name="T120" fmla="*/ 1134 w 1354"/>
                <a:gd name="T121" fmla="*/ 22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54" h="1354">
                  <a:moveTo>
                    <a:pt x="1132" y="14"/>
                  </a:moveTo>
                  <a:lnTo>
                    <a:pt x="1102" y="16"/>
                  </a:lnTo>
                  <a:lnTo>
                    <a:pt x="1088" y="20"/>
                  </a:lnTo>
                  <a:lnTo>
                    <a:pt x="1080" y="18"/>
                  </a:lnTo>
                  <a:lnTo>
                    <a:pt x="1068" y="8"/>
                  </a:lnTo>
                  <a:lnTo>
                    <a:pt x="1058" y="4"/>
                  </a:lnTo>
                  <a:lnTo>
                    <a:pt x="1042" y="0"/>
                  </a:lnTo>
                  <a:lnTo>
                    <a:pt x="1044" y="10"/>
                  </a:lnTo>
                  <a:lnTo>
                    <a:pt x="1038" y="12"/>
                  </a:lnTo>
                  <a:lnTo>
                    <a:pt x="1024" y="14"/>
                  </a:lnTo>
                  <a:lnTo>
                    <a:pt x="1002" y="8"/>
                  </a:lnTo>
                  <a:lnTo>
                    <a:pt x="996" y="2"/>
                  </a:lnTo>
                  <a:lnTo>
                    <a:pt x="986" y="4"/>
                  </a:lnTo>
                  <a:lnTo>
                    <a:pt x="980" y="14"/>
                  </a:lnTo>
                  <a:lnTo>
                    <a:pt x="968" y="20"/>
                  </a:lnTo>
                  <a:lnTo>
                    <a:pt x="946" y="24"/>
                  </a:lnTo>
                  <a:lnTo>
                    <a:pt x="926" y="36"/>
                  </a:lnTo>
                  <a:lnTo>
                    <a:pt x="918" y="38"/>
                  </a:lnTo>
                  <a:lnTo>
                    <a:pt x="910" y="34"/>
                  </a:lnTo>
                  <a:lnTo>
                    <a:pt x="898" y="24"/>
                  </a:lnTo>
                  <a:lnTo>
                    <a:pt x="890" y="20"/>
                  </a:lnTo>
                  <a:lnTo>
                    <a:pt x="882" y="16"/>
                  </a:lnTo>
                  <a:lnTo>
                    <a:pt x="818" y="16"/>
                  </a:lnTo>
                  <a:lnTo>
                    <a:pt x="800" y="26"/>
                  </a:lnTo>
                  <a:lnTo>
                    <a:pt x="766" y="26"/>
                  </a:lnTo>
                  <a:lnTo>
                    <a:pt x="756" y="30"/>
                  </a:lnTo>
                  <a:lnTo>
                    <a:pt x="740" y="40"/>
                  </a:lnTo>
                  <a:lnTo>
                    <a:pt x="724" y="40"/>
                  </a:lnTo>
                  <a:lnTo>
                    <a:pt x="700" y="44"/>
                  </a:lnTo>
                  <a:lnTo>
                    <a:pt x="652" y="48"/>
                  </a:lnTo>
                  <a:lnTo>
                    <a:pt x="634" y="54"/>
                  </a:lnTo>
                  <a:lnTo>
                    <a:pt x="622" y="60"/>
                  </a:lnTo>
                  <a:lnTo>
                    <a:pt x="604" y="68"/>
                  </a:lnTo>
                  <a:lnTo>
                    <a:pt x="590" y="76"/>
                  </a:lnTo>
                  <a:lnTo>
                    <a:pt x="580" y="84"/>
                  </a:lnTo>
                  <a:lnTo>
                    <a:pt x="574" y="98"/>
                  </a:lnTo>
                  <a:lnTo>
                    <a:pt x="568" y="104"/>
                  </a:lnTo>
                  <a:lnTo>
                    <a:pt x="558" y="104"/>
                  </a:lnTo>
                  <a:lnTo>
                    <a:pt x="548" y="102"/>
                  </a:lnTo>
                  <a:lnTo>
                    <a:pt x="542" y="102"/>
                  </a:lnTo>
                  <a:lnTo>
                    <a:pt x="510" y="116"/>
                  </a:lnTo>
                  <a:lnTo>
                    <a:pt x="498" y="124"/>
                  </a:lnTo>
                  <a:lnTo>
                    <a:pt x="490" y="130"/>
                  </a:lnTo>
                  <a:lnTo>
                    <a:pt x="482" y="142"/>
                  </a:lnTo>
                  <a:lnTo>
                    <a:pt x="472" y="146"/>
                  </a:lnTo>
                  <a:lnTo>
                    <a:pt x="460" y="156"/>
                  </a:lnTo>
                  <a:lnTo>
                    <a:pt x="444" y="162"/>
                  </a:lnTo>
                  <a:lnTo>
                    <a:pt x="438" y="164"/>
                  </a:lnTo>
                  <a:lnTo>
                    <a:pt x="424" y="162"/>
                  </a:lnTo>
                  <a:lnTo>
                    <a:pt x="426" y="168"/>
                  </a:lnTo>
                  <a:lnTo>
                    <a:pt x="430" y="172"/>
                  </a:lnTo>
                  <a:lnTo>
                    <a:pt x="444" y="184"/>
                  </a:lnTo>
                  <a:lnTo>
                    <a:pt x="452" y="190"/>
                  </a:lnTo>
                  <a:lnTo>
                    <a:pt x="452" y="192"/>
                  </a:lnTo>
                  <a:lnTo>
                    <a:pt x="450" y="198"/>
                  </a:lnTo>
                  <a:lnTo>
                    <a:pt x="448" y="202"/>
                  </a:lnTo>
                  <a:lnTo>
                    <a:pt x="452" y="206"/>
                  </a:lnTo>
                  <a:lnTo>
                    <a:pt x="456" y="210"/>
                  </a:lnTo>
                  <a:lnTo>
                    <a:pt x="456" y="212"/>
                  </a:lnTo>
                  <a:lnTo>
                    <a:pt x="456" y="216"/>
                  </a:lnTo>
                  <a:lnTo>
                    <a:pt x="452" y="220"/>
                  </a:lnTo>
                  <a:lnTo>
                    <a:pt x="458" y="236"/>
                  </a:lnTo>
                  <a:lnTo>
                    <a:pt x="458" y="250"/>
                  </a:lnTo>
                  <a:lnTo>
                    <a:pt x="458" y="262"/>
                  </a:lnTo>
                  <a:lnTo>
                    <a:pt x="458" y="268"/>
                  </a:lnTo>
                  <a:lnTo>
                    <a:pt x="458" y="272"/>
                  </a:lnTo>
                  <a:lnTo>
                    <a:pt x="464" y="284"/>
                  </a:lnTo>
                  <a:lnTo>
                    <a:pt x="460" y="304"/>
                  </a:lnTo>
                  <a:lnTo>
                    <a:pt x="464" y="314"/>
                  </a:lnTo>
                  <a:lnTo>
                    <a:pt x="468" y="322"/>
                  </a:lnTo>
                  <a:lnTo>
                    <a:pt x="472" y="338"/>
                  </a:lnTo>
                  <a:lnTo>
                    <a:pt x="474" y="346"/>
                  </a:lnTo>
                  <a:lnTo>
                    <a:pt x="482" y="352"/>
                  </a:lnTo>
                  <a:lnTo>
                    <a:pt x="486" y="354"/>
                  </a:lnTo>
                  <a:lnTo>
                    <a:pt x="492" y="360"/>
                  </a:lnTo>
                  <a:lnTo>
                    <a:pt x="498" y="364"/>
                  </a:lnTo>
                  <a:lnTo>
                    <a:pt x="500" y="370"/>
                  </a:lnTo>
                  <a:lnTo>
                    <a:pt x="494" y="376"/>
                  </a:lnTo>
                  <a:lnTo>
                    <a:pt x="488" y="380"/>
                  </a:lnTo>
                  <a:lnTo>
                    <a:pt x="488" y="386"/>
                  </a:lnTo>
                  <a:lnTo>
                    <a:pt x="490" y="394"/>
                  </a:lnTo>
                  <a:lnTo>
                    <a:pt x="490" y="398"/>
                  </a:lnTo>
                  <a:lnTo>
                    <a:pt x="486" y="400"/>
                  </a:lnTo>
                  <a:lnTo>
                    <a:pt x="474" y="398"/>
                  </a:lnTo>
                  <a:lnTo>
                    <a:pt x="462" y="398"/>
                  </a:lnTo>
                  <a:lnTo>
                    <a:pt x="452" y="398"/>
                  </a:lnTo>
                  <a:lnTo>
                    <a:pt x="434" y="398"/>
                  </a:lnTo>
                  <a:lnTo>
                    <a:pt x="424" y="398"/>
                  </a:lnTo>
                  <a:lnTo>
                    <a:pt x="410" y="396"/>
                  </a:lnTo>
                  <a:lnTo>
                    <a:pt x="404" y="396"/>
                  </a:lnTo>
                  <a:lnTo>
                    <a:pt x="392" y="398"/>
                  </a:lnTo>
                  <a:lnTo>
                    <a:pt x="382" y="400"/>
                  </a:lnTo>
                  <a:lnTo>
                    <a:pt x="380" y="400"/>
                  </a:lnTo>
                  <a:lnTo>
                    <a:pt x="378" y="402"/>
                  </a:lnTo>
                  <a:lnTo>
                    <a:pt x="376" y="410"/>
                  </a:lnTo>
                  <a:lnTo>
                    <a:pt x="374" y="416"/>
                  </a:lnTo>
                  <a:lnTo>
                    <a:pt x="372" y="418"/>
                  </a:lnTo>
                  <a:lnTo>
                    <a:pt x="344" y="430"/>
                  </a:lnTo>
                  <a:lnTo>
                    <a:pt x="334" y="430"/>
                  </a:lnTo>
                  <a:lnTo>
                    <a:pt x="328" y="430"/>
                  </a:lnTo>
                  <a:lnTo>
                    <a:pt x="324" y="430"/>
                  </a:lnTo>
                  <a:lnTo>
                    <a:pt x="320" y="432"/>
                  </a:lnTo>
                  <a:lnTo>
                    <a:pt x="318" y="436"/>
                  </a:lnTo>
                  <a:lnTo>
                    <a:pt x="318" y="440"/>
                  </a:lnTo>
                  <a:lnTo>
                    <a:pt x="318" y="444"/>
                  </a:lnTo>
                  <a:lnTo>
                    <a:pt x="322" y="450"/>
                  </a:lnTo>
                  <a:lnTo>
                    <a:pt x="322" y="456"/>
                  </a:lnTo>
                  <a:lnTo>
                    <a:pt x="320" y="460"/>
                  </a:lnTo>
                  <a:lnTo>
                    <a:pt x="320" y="464"/>
                  </a:lnTo>
                  <a:lnTo>
                    <a:pt x="318" y="468"/>
                  </a:lnTo>
                  <a:lnTo>
                    <a:pt x="320" y="470"/>
                  </a:lnTo>
                  <a:lnTo>
                    <a:pt x="322" y="470"/>
                  </a:lnTo>
                  <a:lnTo>
                    <a:pt x="326" y="472"/>
                  </a:lnTo>
                  <a:lnTo>
                    <a:pt x="330" y="474"/>
                  </a:lnTo>
                  <a:lnTo>
                    <a:pt x="332" y="478"/>
                  </a:lnTo>
                  <a:lnTo>
                    <a:pt x="332" y="484"/>
                  </a:lnTo>
                  <a:lnTo>
                    <a:pt x="330" y="486"/>
                  </a:lnTo>
                  <a:lnTo>
                    <a:pt x="328" y="488"/>
                  </a:lnTo>
                  <a:lnTo>
                    <a:pt x="316" y="488"/>
                  </a:lnTo>
                  <a:lnTo>
                    <a:pt x="308" y="490"/>
                  </a:lnTo>
                  <a:lnTo>
                    <a:pt x="298" y="498"/>
                  </a:lnTo>
                  <a:lnTo>
                    <a:pt x="286" y="506"/>
                  </a:lnTo>
                  <a:lnTo>
                    <a:pt x="274" y="512"/>
                  </a:lnTo>
                  <a:lnTo>
                    <a:pt x="268" y="514"/>
                  </a:lnTo>
                  <a:lnTo>
                    <a:pt x="256" y="518"/>
                  </a:lnTo>
                  <a:lnTo>
                    <a:pt x="244" y="524"/>
                  </a:lnTo>
                  <a:lnTo>
                    <a:pt x="238" y="534"/>
                  </a:lnTo>
                  <a:lnTo>
                    <a:pt x="230" y="546"/>
                  </a:lnTo>
                  <a:lnTo>
                    <a:pt x="224" y="554"/>
                  </a:lnTo>
                  <a:lnTo>
                    <a:pt x="212" y="562"/>
                  </a:lnTo>
                  <a:lnTo>
                    <a:pt x="204" y="566"/>
                  </a:lnTo>
                  <a:lnTo>
                    <a:pt x="192" y="570"/>
                  </a:lnTo>
                  <a:lnTo>
                    <a:pt x="176" y="572"/>
                  </a:lnTo>
                  <a:lnTo>
                    <a:pt x="166" y="572"/>
                  </a:lnTo>
                  <a:lnTo>
                    <a:pt x="162" y="574"/>
                  </a:lnTo>
                  <a:lnTo>
                    <a:pt x="154" y="574"/>
                  </a:lnTo>
                  <a:lnTo>
                    <a:pt x="148" y="574"/>
                  </a:lnTo>
                  <a:lnTo>
                    <a:pt x="146" y="572"/>
                  </a:lnTo>
                  <a:lnTo>
                    <a:pt x="144" y="574"/>
                  </a:lnTo>
                  <a:lnTo>
                    <a:pt x="144" y="576"/>
                  </a:lnTo>
                  <a:lnTo>
                    <a:pt x="144" y="580"/>
                  </a:lnTo>
                  <a:lnTo>
                    <a:pt x="142" y="584"/>
                  </a:lnTo>
                  <a:lnTo>
                    <a:pt x="140" y="590"/>
                  </a:lnTo>
                  <a:lnTo>
                    <a:pt x="138" y="590"/>
                  </a:lnTo>
                  <a:lnTo>
                    <a:pt x="136" y="592"/>
                  </a:lnTo>
                  <a:lnTo>
                    <a:pt x="128" y="590"/>
                  </a:lnTo>
                  <a:lnTo>
                    <a:pt x="120" y="590"/>
                  </a:lnTo>
                  <a:lnTo>
                    <a:pt x="104" y="588"/>
                  </a:lnTo>
                  <a:lnTo>
                    <a:pt x="102" y="588"/>
                  </a:lnTo>
                  <a:lnTo>
                    <a:pt x="100" y="588"/>
                  </a:lnTo>
                  <a:lnTo>
                    <a:pt x="96" y="592"/>
                  </a:lnTo>
                  <a:lnTo>
                    <a:pt x="88" y="598"/>
                  </a:lnTo>
                  <a:lnTo>
                    <a:pt x="84" y="602"/>
                  </a:lnTo>
                  <a:lnTo>
                    <a:pt x="80" y="606"/>
                  </a:lnTo>
                  <a:lnTo>
                    <a:pt x="70" y="606"/>
                  </a:lnTo>
                  <a:lnTo>
                    <a:pt x="66" y="608"/>
                  </a:lnTo>
                  <a:lnTo>
                    <a:pt x="50" y="622"/>
                  </a:lnTo>
                  <a:lnTo>
                    <a:pt x="46" y="624"/>
                  </a:lnTo>
                  <a:lnTo>
                    <a:pt x="28" y="636"/>
                  </a:lnTo>
                  <a:lnTo>
                    <a:pt x="24" y="640"/>
                  </a:lnTo>
                  <a:lnTo>
                    <a:pt x="20" y="644"/>
                  </a:lnTo>
                  <a:lnTo>
                    <a:pt x="10" y="652"/>
                  </a:lnTo>
                  <a:lnTo>
                    <a:pt x="2" y="656"/>
                  </a:lnTo>
                  <a:lnTo>
                    <a:pt x="2" y="658"/>
                  </a:lnTo>
                  <a:lnTo>
                    <a:pt x="0" y="662"/>
                  </a:lnTo>
                  <a:lnTo>
                    <a:pt x="0" y="762"/>
                  </a:lnTo>
                  <a:lnTo>
                    <a:pt x="14" y="770"/>
                  </a:lnTo>
                  <a:lnTo>
                    <a:pt x="26" y="778"/>
                  </a:lnTo>
                  <a:lnTo>
                    <a:pt x="38" y="786"/>
                  </a:lnTo>
                  <a:lnTo>
                    <a:pt x="50" y="794"/>
                  </a:lnTo>
                  <a:lnTo>
                    <a:pt x="62" y="802"/>
                  </a:lnTo>
                  <a:lnTo>
                    <a:pt x="74" y="810"/>
                  </a:lnTo>
                  <a:lnTo>
                    <a:pt x="88" y="818"/>
                  </a:lnTo>
                  <a:lnTo>
                    <a:pt x="100" y="828"/>
                  </a:lnTo>
                  <a:lnTo>
                    <a:pt x="124" y="844"/>
                  </a:lnTo>
                  <a:lnTo>
                    <a:pt x="136" y="852"/>
                  </a:lnTo>
                  <a:lnTo>
                    <a:pt x="162" y="868"/>
                  </a:lnTo>
                  <a:lnTo>
                    <a:pt x="174" y="876"/>
                  </a:lnTo>
                  <a:lnTo>
                    <a:pt x="186" y="884"/>
                  </a:lnTo>
                  <a:lnTo>
                    <a:pt x="198" y="892"/>
                  </a:lnTo>
                  <a:lnTo>
                    <a:pt x="208" y="898"/>
                  </a:lnTo>
                  <a:lnTo>
                    <a:pt x="224" y="910"/>
                  </a:lnTo>
                  <a:lnTo>
                    <a:pt x="254" y="930"/>
                  </a:lnTo>
                  <a:lnTo>
                    <a:pt x="274" y="944"/>
                  </a:lnTo>
                  <a:lnTo>
                    <a:pt x="292" y="956"/>
                  </a:lnTo>
                  <a:lnTo>
                    <a:pt x="314" y="972"/>
                  </a:lnTo>
                  <a:lnTo>
                    <a:pt x="334" y="986"/>
                  </a:lnTo>
                  <a:lnTo>
                    <a:pt x="356" y="1002"/>
                  </a:lnTo>
                  <a:lnTo>
                    <a:pt x="378" y="1018"/>
                  </a:lnTo>
                  <a:lnTo>
                    <a:pt x="400" y="1034"/>
                  </a:lnTo>
                  <a:lnTo>
                    <a:pt x="420" y="1048"/>
                  </a:lnTo>
                  <a:lnTo>
                    <a:pt x="442" y="1064"/>
                  </a:lnTo>
                  <a:lnTo>
                    <a:pt x="464" y="1078"/>
                  </a:lnTo>
                  <a:lnTo>
                    <a:pt x="486" y="1094"/>
                  </a:lnTo>
                  <a:lnTo>
                    <a:pt x="506" y="1110"/>
                  </a:lnTo>
                  <a:lnTo>
                    <a:pt x="528" y="1124"/>
                  </a:lnTo>
                  <a:lnTo>
                    <a:pt x="550" y="1140"/>
                  </a:lnTo>
                  <a:lnTo>
                    <a:pt x="572" y="1154"/>
                  </a:lnTo>
                  <a:lnTo>
                    <a:pt x="592" y="1170"/>
                  </a:lnTo>
                  <a:lnTo>
                    <a:pt x="614" y="1184"/>
                  </a:lnTo>
                  <a:lnTo>
                    <a:pt x="636" y="1200"/>
                  </a:lnTo>
                  <a:lnTo>
                    <a:pt x="646" y="1206"/>
                  </a:lnTo>
                  <a:lnTo>
                    <a:pt x="646" y="1210"/>
                  </a:lnTo>
                  <a:lnTo>
                    <a:pt x="646" y="1216"/>
                  </a:lnTo>
                  <a:lnTo>
                    <a:pt x="646" y="1222"/>
                  </a:lnTo>
                  <a:lnTo>
                    <a:pt x="646" y="1226"/>
                  </a:lnTo>
                  <a:lnTo>
                    <a:pt x="650" y="1230"/>
                  </a:lnTo>
                  <a:lnTo>
                    <a:pt x="654" y="1234"/>
                  </a:lnTo>
                  <a:lnTo>
                    <a:pt x="676" y="1246"/>
                  </a:lnTo>
                  <a:lnTo>
                    <a:pt x="678" y="1248"/>
                  </a:lnTo>
                  <a:lnTo>
                    <a:pt x="678" y="1252"/>
                  </a:lnTo>
                  <a:lnTo>
                    <a:pt x="680" y="1258"/>
                  </a:lnTo>
                  <a:lnTo>
                    <a:pt x="686" y="1260"/>
                  </a:lnTo>
                  <a:lnTo>
                    <a:pt x="690" y="1264"/>
                  </a:lnTo>
                  <a:lnTo>
                    <a:pt x="696" y="1264"/>
                  </a:lnTo>
                  <a:lnTo>
                    <a:pt x="716" y="1266"/>
                  </a:lnTo>
                  <a:lnTo>
                    <a:pt x="720" y="1270"/>
                  </a:lnTo>
                  <a:lnTo>
                    <a:pt x="728" y="1280"/>
                  </a:lnTo>
                  <a:lnTo>
                    <a:pt x="732" y="1282"/>
                  </a:lnTo>
                  <a:lnTo>
                    <a:pt x="744" y="1284"/>
                  </a:lnTo>
                  <a:lnTo>
                    <a:pt x="754" y="1286"/>
                  </a:lnTo>
                  <a:lnTo>
                    <a:pt x="758" y="1286"/>
                  </a:lnTo>
                  <a:lnTo>
                    <a:pt x="766" y="1290"/>
                  </a:lnTo>
                  <a:lnTo>
                    <a:pt x="776" y="1294"/>
                  </a:lnTo>
                  <a:lnTo>
                    <a:pt x="780" y="1298"/>
                  </a:lnTo>
                  <a:lnTo>
                    <a:pt x="780" y="1304"/>
                  </a:lnTo>
                  <a:lnTo>
                    <a:pt x="780" y="1314"/>
                  </a:lnTo>
                  <a:lnTo>
                    <a:pt x="782" y="1320"/>
                  </a:lnTo>
                  <a:lnTo>
                    <a:pt x="784" y="1326"/>
                  </a:lnTo>
                  <a:lnTo>
                    <a:pt x="784" y="1328"/>
                  </a:lnTo>
                  <a:lnTo>
                    <a:pt x="782" y="1330"/>
                  </a:lnTo>
                  <a:lnTo>
                    <a:pt x="780" y="1332"/>
                  </a:lnTo>
                  <a:lnTo>
                    <a:pt x="778" y="1334"/>
                  </a:lnTo>
                  <a:lnTo>
                    <a:pt x="776" y="1338"/>
                  </a:lnTo>
                  <a:lnTo>
                    <a:pt x="774" y="1344"/>
                  </a:lnTo>
                  <a:lnTo>
                    <a:pt x="774" y="1346"/>
                  </a:lnTo>
                  <a:lnTo>
                    <a:pt x="778" y="1348"/>
                  </a:lnTo>
                  <a:lnTo>
                    <a:pt x="784" y="1352"/>
                  </a:lnTo>
                  <a:lnTo>
                    <a:pt x="788" y="1354"/>
                  </a:lnTo>
                  <a:lnTo>
                    <a:pt x="792" y="1354"/>
                  </a:lnTo>
                  <a:lnTo>
                    <a:pt x="796" y="1354"/>
                  </a:lnTo>
                  <a:lnTo>
                    <a:pt x="812" y="1350"/>
                  </a:lnTo>
                  <a:lnTo>
                    <a:pt x="826" y="1348"/>
                  </a:lnTo>
                  <a:lnTo>
                    <a:pt x="848" y="1344"/>
                  </a:lnTo>
                  <a:lnTo>
                    <a:pt x="862" y="1340"/>
                  </a:lnTo>
                  <a:lnTo>
                    <a:pt x="876" y="1338"/>
                  </a:lnTo>
                  <a:lnTo>
                    <a:pt x="898" y="1334"/>
                  </a:lnTo>
                  <a:lnTo>
                    <a:pt x="922" y="1328"/>
                  </a:lnTo>
                  <a:lnTo>
                    <a:pt x="946" y="1324"/>
                  </a:lnTo>
                  <a:lnTo>
                    <a:pt x="952" y="1320"/>
                  </a:lnTo>
                  <a:lnTo>
                    <a:pt x="972" y="1302"/>
                  </a:lnTo>
                  <a:lnTo>
                    <a:pt x="980" y="1294"/>
                  </a:lnTo>
                  <a:lnTo>
                    <a:pt x="998" y="1278"/>
                  </a:lnTo>
                  <a:lnTo>
                    <a:pt x="1012" y="1266"/>
                  </a:lnTo>
                  <a:lnTo>
                    <a:pt x="1028" y="1252"/>
                  </a:lnTo>
                  <a:lnTo>
                    <a:pt x="1046" y="1236"/>
                  </a:lnTo>
                  <a:lnTo>
                    <a:pt x="1060" y="1222"/>
                  </a:lnTo>
                  <a:lnTo>
                    <a:pt x="1084" y="1208"/>
                  </a:lnTo>
                  <a:lnTo>
                    <a:pt x="1118" y="1188"/>
                  </a:lnTo>
                  <a:lnTo>
                    <a:pt x="1152" y="1166"/>
                  </a:lnTo>
                  <a:lnTo>
                    <a:pt x="1184" y="1144"/>
                  </a:lnTo>
                  <a:lnTo>
                    <a:pt x="1252" y="1100"/>
                  </a:lnTo>
                  <a:lnTo>
                    <a:pt x="1286" y="1080"/>
                  </a:lnTo>
                  <a:lnTo>
                    <a:pt x="1320" y="1058"/>
                  </a:lnTo>
                  <a:lnTo>
                    <a:pt x="1354" y="1036"/>
                  </a:lnTo>
                  <a:lnTo>
                    <a:pt x="1348" y="1022"/>
                  </a:lnTo>
                  <a:lnTo>
                    <a:pt x="1342" y="1008"/>
                  </a:lnTo>
                  <a:lnTo>
                    <a:pt x="1332" y="992"/>
                  </a:lnTo>
                  <a:lnTo>
                    <a:pt x="1326" y="980"/>
                  </a:lnTo>
                  <a:lnTo>
                    <a:pt x="1324" y="978"/>
                  </a:lnTo>
                  <a:lnTo>
                    <a:pt x="1298" y="970"/>
                  </a:lnTo>
                  <a:lnTo>
                    <a:pt x="1270" y="962"/>
                  </a:lnTo>
                  <a:lnTo>
                    <a:pt x="1254" y="966"/>
                  </a:lnTo>
                  <a:lnTo>
                    <a:pt x="1252" y="966"/>
                  </a:lnTo>
                  <a:lnTo>
                    <a:pt x="1246" y="964"/>
                  </a:lnTo>
                  <a:lnTo>
                    <a:pt x="1242" y="958"/>
                  </a:lnTo>
                  <a:lnTo>
                    <a:pt x="1240" y="952"/>
                  </a:lnTo>
                  <a:lnTo>
                    <a:pt x="1234" y="944"/>
                  </a:lnTo>
                  <a:lnTo>
                    <a:pt x="1228" y="926"/>
                  </a:lnTo>
                  <a:lnTo>
                    <a:pt x="1226" y="910"/>
                  </a:lnTo>
                  <a:lnTo>
                    <a:pt x="1226" y="904"/>
                  </a:lnTo>
                  <a:lnTo>
                    <a:pt x="1212" y="884"/>
                  </a:lnTo>
                  <a:lnTo>
                    <a:pt x="1198" y="864"/>
                  </a:lnTo>
                  <a:lnTo>
                    <a:pt x="1190" y="852"/>
                  </a:lnTo>
                  <a:lnTo>
                    <a:pt x="1188" y="846"/>
                  </a:lnTo>
                  <a:lnTo>
                    <a:pt x="1188" y="838"/>
                  </a:lnTo>
                  <a:lnTo>
                    <a:pt x="1192" y="832"/>
                  </a:lnTo>
                  <a:lnTo>
                    <a:pt x="1204" y="824"/>
                  </a:lnTo>
                  <a:lnTo>
                    <a:pt x="1216" y="816"/>
                  </a:lnTo>
                  <a:lnTo>
                    <a:pt x="1218" y="810"/>
                  </a:lnTo>
                  <a:lnTo>
                    <a:pt x="1218" y="794"/>
                  </a:lnTo>
                  <a:lnTo>
                    <a:pt x="1216" y="790"/>
                  </a:lnTo>
                  <a:lnTo>
                    <a:pt x="1212" y="780"/>
                  </a:lnTo>
                  <a:lnTo>
                    <a:pt x="1210" y="768"/>
                  </a:lnTo>
                  <a:lnTo>
                    <a:pt x="1210" y="758"/>
                  </a:lnTo>
                  <a:lnTo>
                    <a:pt x="1214" y="742"/>
                  </a:lnTo>
                  <a:lnTo>
                    <a:pt x="1220" y="726"/>
                  </a:lnTo>
                  <a:lnTo>
                    <a:pt x="1216" y="706"/>
                  </a:lnTo>
                  <a:lnTo>
                    <a:pt x="1214" y="668"/>
                  </a:lnTo>
                  <a:lnTo>
                    <a:pt x="1216" y="638"/>
                  </a:lnTo>
                  <a:lnTo>
                    <a:pt x="1214" y="626"/>
                  </a:lnTo>
                  <a:lnTo>
                    <a:pt x="1212" y="622"/>
                  </a:lnTo>
                  <a:lnTo>
                    <a:pt x="1210" y="606"/>
                  </a:lnTo>
                  <a:lnTo>
                    <a:pt x="1204" y="592"/>
                  </a:lnTo>
                  <a:lnTo>
                    <a:pt x="1202" y="586"/>
                  </a:lnTo>
                  <a:lnTo>
                    <a:pt x="1196" y="574"/>
                  </a:lnTo>
                  <a:lnTo>
                    <a:pt x="1186" y="560"/>
                  </a:lnTo>
                  <a:lnTo>
                    <a:pt x="1180" y="550"/>
                  </a:lnTo>
                  <a:lnTo>
                    <a:pt x="1188" y="546"/>
                  </a:lnTo>
                  <a:lnTo>
                    <a:pt x="1194" y="542"/>
                  </a:lnTo>
                  <a:lnTo>
                    <a:pt x="1190" y="524"/>
                  </a:lnTo>
                  <a:lnTo>
                    <a:pt x="1186" y="508"/>
                  </a:lnTo>
                  <a:lnTo>
                    <a:pt x="1184" y="496"/>
                  </a:lnTo>
                  <a:lnTo>
                    <a:pt x="1178" y="474"/>
                  </a:lnTo>
                  <a:lnTo>
                    <a:pt x="1174" y="454"/>
                  </a:lnTo>
                  <a:lnTo>
                    <a:pt x="1170" y="436"/>
                  </a:lnTo>
                  <a:lnTo>
                    <a:pt x="1162" y="400"/>
                  </a:lnTo>
                  <a:lnTo>
                    <a:pt x="1162" y="398"/>
                  </a:lnTo>
                  <a:lnTo>
                    <a:pt x="1150" y="390"/>
                  </a:lnTo>
                  <a:lnTo>
                    <a:pt x="1140" y="382"/>
                  </a:lnTo>
                  <a:lnTo>
                    <a:pt x="1128" y="374"/>
                  </a:lnTo>
                  <a:lnTo>
                    <a:pt x="1116" y="364"/>
                  </a:lnTo>
                  <a:lnTo>
                    <a:pt x="1114" y="352"/>
                  </a:lnTo>
                  <a:lnTo>
                    <a:pt x="1108" y="334"/>
                  </a:lnTo>
                  <a:lnTo>
                    <a:pt x="1102" y="324"/>
                  </a:lnTo>
                  <a:lnTo>
                    <a:pt x="1100" y="322"/>
                  </a:lnTo>
                  <a:lnTo>
                    <a:pt x="1086" y="316"/>
                  </a:lnTo>
                  <a:lnTo>
                    <a:pt x="1078" y="310"/>
                  </a:lnTo>
                  <a:lnTo>
                    <a:pt x="1078" y="308"/>
                  </a:lnTo>
                  <a:lnTo>
                    <a:pt x="1076" y="300"/>
                  </a:lnTo>
                  <a:lnTo>
                    <a:pt x="1070" y="286"/>
                  </a:lnTo>
                  <a:lnTo>
                    <a:pt x="1064" y="272"/>
                  </a:lnTo>
                  <a:lnTo>
                    <a:pt x="1062" y="264"/>
                  </a:lnTo>
                  <a:lnTo>
                    <a:pt x="1062" y="252"/>
                  </a:lnTo>
                  <a:lnTo>
                    <a:pt x="1062" y="244"/>
                  </a:lnTo>
                  <a:lnTo>
                    <a:pt x="1066" y="240"/>
                  </a:lnTo>
                  <a:lnTo>
                    <a:pt x="1078" y="230"/>
                  </a:lnTo>
                  <a:lnTo>
                    <a:pt x="1084" y="218"/>
                  </a:lnTo>
                  <a:lnTo>
                    <a:pt x="1092" y="212"/>
                  </a:lnTo>
                  <a:lnTo>
                    <a:pt x="1098" y="210"/>
                  </a:lnTo>
                  <a:lnTo>
                    <a:pt x="1102" y="206"/>
                  </a:lnTo>
                  <a:lnTo>
                    <a:pt x="1108" y="198"/>
                  </a:lnTo>
                  <a:lnTo>
                    <a:pt x="1110" y="192"/>
                  </a:lnTo>
                  <a:lnTo>
                    <a:pt x="1112" y="184"/>
                  </a:lnTo>
                  <a:lnTo>
                    <a:pt x="1112" y="172"/>
                  </a:lnTo>
                  <a:lnTo>
                    <a:pt x="1114" y="164"/>
                  </a:lnTo>
                  <a:lnTo>
                    <a:pt x="1120" y="154"/>
                  </a:lnTo>
                  <a:lnTo>
                    <a:pt x="1118" y="146"/>
                  </a:lnTo>
                  <a:lnTo>
                    <a:pt x="1116" y="138"/>
                  </a:lnTo>
                  <a:lnTo>
                    <a:pt x="1116" y="124"/>
                  </a:lnTo>
                  <a:lnTo>
                    <a:pt x="1116" y="118"/>
                  </a:lnTo>
                  <a:lnTo>
                    <a:pt x="1114" y="112"/>
                  </a:lnTo>
                  <a:lnTo>
                    <a:pt x="1110" y="106"/>
                  </a:lnTo>
                  <a:lnTo>
                    <a:pt x="1110" y="100"/>
                  </a:lnTo>
                  <a:lnTo>
                    <a:pt x="1112" y="86"/>
                  </a:lnTo>
                  <a:lnTo>
                    <a:pt x="1114" y="74"/>
                  </a:lnTo>
                  <a:lnTo>
                    <a:pt x="1118" y="60"/>
                  </a:lnTo>
                  <a:lnTo>
                    <a:pt x="1116" y="56"/>
                  </a:lnTo>
                  <a:lnTo>
                    <a:pt x="1114" y="52"/>
                  </a:lnTo>
                  <a:lnTo>
                    <a:pt x="1108" y="50"/>
                  </a:lnTo>
                  <a:lnTo>
                    <a:pt x="1108" y="48"/>
                  </a:lnTo>
                  <a:lnTo>
                    <a:pt x="1110" y="46"/>
                  </a:lnTo>
                  <a:lnTo>
                    <a:pt x="1118" y="38"/>
                  </a:lnTo>
                  <a:lnTo>
                    <a:pt x="1124" y="28"/>
                  </a:lnTo>
                  <a:lnTo>
                    <a:pt x="1128" y="26"/>
                  </a:lnTo>
                  <a:lnTo>
                    <a:pt x="1134" y="22"/>
                  </a:lnTo>
                  <a:lnTo>
                    <a:pt x="1134" y="18"/>
                  </a:lnTo>
                  <a:lnTo>
                    <a:pt x="1132" y="1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40" name="Group 105">
              <a:extLst>
                <a:ext uri="{FF2B5EF4-FFF2-40B4-BE49-F238E27FC236}">
                  <a16:creationId xmlns:a16="http://schemas.microsoft.com/office/drawing/2014/main" id="{115822C3-EB7E-4BE3-B871-E417809D2831}"/>
                </a:ext>
              </a:extLst>
            </p:cNvPr>
            <p:cNvGrpSpPr/>
            <p:nvPr/>
          </p:nvGrpSpPr>
          <p:grpSpPr>
            <a:xfrm>
              <a:off x="2983125" y="5373180"/>
              <a:ext cx="413576" cy="162655"/>
              <a:chOff x="14314812" y="26816314"/>
              <a:chExt cx="2556492" cy="1005442"/>
            </a:xfrm>
            <a:grpFill/>
          </p:grpSpPr>
          <p:sp>
            <p:nvSpPr>
              <p:cNvPr id="608" name="Freeform 557">
                <a:extLst>
                  <a:ext uri="{FF2B5EF4-FFF2-40B4-BE49-F238E27FC236}">
                    <a16:creationId xmlns:a16="http://schemas.microsoft.com/office/drawing/2014/main" id="{BF3E1CCB-69DE-491E-B25C-C39124FF2D47}"/>
                  </a:ext>
                </a:extLst>
              </p:cNvPr>
              <p:cNvSpPr/>
              <p:nvPr/>
            </p:nvSpPr>
            <p:spPr bwMode="auto">
              <a:xfrm>
                <a:off x="14314812" y="27021210"/>
                <a:ext cx="371679" cy="228728"/>
              </a:xfrm>
              <a:custGeom>
                <a:avLst/>
                <a:gdLst>
                  <a:gd name="connsiteX0" fmla="*/ 181075 w 371679"/>
                  <a:gd name="connsiteY0" fmla="*/ 209666 h 228728"/>
                  <a:gd name="connsiteX1" fmla="*/ 190606 w 371679"/>
                  <a:gd name="connsiteY1" fmla="*/ 214432 h 228728"/>
                  <a:gd name="connsiteX2" fmla="*/ 195371 w 371679"/>
                  <a:gd name="connsiteY2" fmla="*/ 219196 h 228728"/>
                  <a:gd name="connsiteX3" fmla="*/ 200136 w 371679"/>
                  <a:gd name="connsiteY3" fmla="*/ 223962 h 228728"/>
                  <a:gd name="connsiteX4" fmla="*/ 190606 w 371679"/>
                  <a:gd name="connsiteY4" fmla="*/ 228728 h 228728"/>
                  <a:gd name="connsiteX5" fmla="*/ 185840 w 371679"/>
                  <a:gd name="connsiteY5" fmla="*/ 228728 h 228728"/>
                  <a:gd name="connsiteX6" fmla="*/ 176310 w 371679"/>
                  <a:gd name="connsiteY6" fmla="*/ 223962 h 228728"/>
                  <a:gd name="connsiteX7" fmla="*/ 362149 w 371679"/>
                  <a:gd name="connsiteY7" fmla="*/ 128660 h 228728"/>
                  <a:gd name="connsiteX8" fmla="*/ 366914 w 371679"/>
                  <a:gd name="connsiteY8" fmla="*/ 128660 h 228728"/>
                  <a:gd name="connsiteX9" fmla="*/ 371679 w 371679"/>
                  <a:gd name="connsiteY9" fmla="*/ 128660 h 228728"/>
                  <a:gd name="connsiteX10" fmla="*/ 371679 w 371679"/>
                  <a:gd name="connsiteY10" fmla="*/ 133424 h 228728"/>
                  <a:gd name="connsiteX11" fmla="*/ 366914 w 371679"/>
                  <a:gd name="connsiteY11" fmla="*/ 142954 h 228728"/>
                  <a:gd name="connsiteX12" fmla="*/ 357384 w 371679"/>
                  <a:gd name="connsiteY12" fmla="*/ 147720 h 228728"/>
                  <a:gd name="connsiteX13" fmla="*/ 347854 w 371679"/>
                  <a:gd name="connsiteY13" fmla="*/ 162014 h 228728"/>
                  <a:gd name="connsiteX14" fmla="*/ 328793 w 371679"/>
                  <a:gd name="connsiteY14" fmla="*/ 166780 h 228728"/>
                  <a:gd name="connsiteX15" fmla="*/ 324028 w 371679"/>
                  <a:gd name="connsiteY15" fmla="*/ 166780 h 228728"/>
                  <a:gd name="connsiteX16" fmla="*/ 319263 w 371679"/>
                  <a:gd name="connsiteY16" fmla="*/ 162014 h 228728"/>
                  <a:gd name="connsiteX17" fmla="*/ 319263 w 371679"/>
                  <a:gd name="connsiteY17" fmla="*/ 157250 h 228728"/>
                  <a:gd name="connsiteX18" fmla="*/ 328793 w 371679"/>
                  <a:gd name="connsiteY18" fmla="*/ 147720 h 228728"/>
                  <a:gd name="connsiteX19" fmla="*/ 338323 w 371679"/>
                  <a:gd name="connsiteY19" fmla="*/ 142954 h 228728"/>
                  <a:gd name="connsiteX20" fmla="*/ 347854 w 371679"/>
                  <a:gd name="connsiteY20" fmla="*/ 133424 h 228728"/>
                  <a:gd name="connsiteX21" fmla="*/ 214431 w 371679"/>
                  <a:gd name="connsiteY21" fmla="*/ 95304 h 228728"/>
                  <a:gd name="connsiteX22" fmla="*/ 228727 w 371679"/>
                  <a:gd name="connsiteY22" fmla="*/ 104834 h 228728"/>
                  <a:gd name="connsiteX23" fmla="*/ 228727 w 371679"/>
                  <a:gd name="connsiteY23" fmla="*/ 123894 h 228728"/>
                  <a:gd name="connsiteX24" fmla="*/ 214431 w 371679"/>
                  <a:gd name="connsiteY24" fmla="*/ 138188 h 228728"/>
                  <a:gd name="connsiteX25" fmla="*/ 209666 w 371679"/>
                  <a:gd name="connsiteY25" fmla="*/ 138188 h 228728"/>
                  <a:gd name="connsiteX26" fmla="*/ 204901 w 371679"/>
                  <a:gd name="connsiteY26" fmla="*/ 142954 h 228728"/>
                  <a:gd name="connsiteX27" fmla="*/ 195371 w 371679"/>
                  <a:gd name="connsiteY27" fmla="*/ 142954 h 228728"/>
                  <a:gd name="connsiteX28" fmla="*/ 171545 w 371679"/>
                  <a:gd name="connsiteY28" fmla="*/ 123894 h 228728"/>
                  <a:gd name="connsiteX29" fmla="*/ 176310 w 371679"/>
                  <a:gd name="connsiteY29" fmla="*/ 109598 h 228728"/>
                  <a:gd name="connsiteX30" fmla="*/ 185841 w 371679"/>
                  <a:gd name="connsiteY30" fmla="*/ 100068 h 228728"/>
                  <a:gd name="connsiteX31" fmla="*/ 28591 w 371679"/>
                  <a:gd name="connsiteY31" fmla="*/ 61948 h 228728"/>
                  <a:gd name="connsiteX32" fmla="*/ 38121 w 371679"/>
                  <a:gd name="connsiteY32" fmla="*/ 71478 h 228728"/>
                  <a:gd name="connsiteX33" fmla="*/ 38121 w 371679"/>
                  <a:gd name="connsiteY33" fmla="*/ 85772 h 228728"/>
                  <a:gd name="connsiteX34" fmla="*/ 33356 w 371679"/>
                  <a:gd name="connsiteY34" fmla="*/ 90538 h 228728"/>
                  <a:gd name="connsiteX35" fmla="*/ 19061 w 371679"/>
                  <a:gd name="connsiteY35" fmla="*/ 95304 h 228728"/>
                  <a:gd name="connsiteX36" fmla="*/ 4765 w 371679"/>
                  <a:gd name="connsiteY36" fmla="*/ 90538 h 228728"/>
                  <a:gd name="connsiteX37" fmla="*/ 0 w 371679"/>
                  <a:gd name="connsiteY37" fmla="*/ 81008 h 228728"/>
                  <a:gd name="connsiteX38" fmla="*/ 0 w 371679"/>
                  <a:gd name="connsiteY38" fmla="*/ 66712 h 228728"/>
                  <a:gd name="connsiteX39" fmla="*/ 133423 w 371679"/>
                  <a:gd name="connsiteY39" fmla="*/ 47652 h 228728"/>
                  <a:gd name="connsiteX40" fmla="*/ 152484 w 371679"/>
                  <a:gd name="connsiteY40" fmla="*/ 47652 h 228728"/>
                  <a:gd name="connsiteX41" fmla="*/ 171544 w 371679"/>
                  <a:gd name="connsiteY41" fmla="*/ 61948 h 228728"/>
                  <a:gd name="connsiteX42" fmla="*/ 166779 w 371679"/>
                  <a:gd name="connsiteY42" fmla="*/ 71478 h 228728"/>
                  <a:gd name="connsiteX43" fmla="*/ 162014 w 371679"/>
                  <a:gd name="connsiteY43" fmla="*/ 76244 h 228728"/>
                  <a:gd name="connsiteX44" fmla="*/ 128658 w 371679"/>
                  <a:gd name="connsiteY44" fmla="*/ 71478 h 228728"/>
                  <a:gd name="connsiteX45" fmla="*/ 123893 w 371679"/>
                  <a:gd name="connsiteY45" fmla="*/ 61948 h 228728"/>
                  <a:gd name="connsiteX46" fmla="*/ 128658 w 371679"/>
                  <a:gd name="connsiteY46" fmla="*/ 52418 h 228728"/>
                  <a:gd name="connsiteX47" fmla="*/ 42886 w 371679"/>
                  <a:gd name="connsiteY47" fmla="*/ 0 h 228728"/>
                  <a:gd name="connsiteX48" fmla="*/ 52416 w 371679"/>
                  <a:gd name="connsiteY48" fmla="*/ 4766 h 228728"/>
                  <a:gd name="connsiteX49" fmla="*/ 57181 w 371679"/>
                  <a:gd name="connsiteY49" fmla="*/ 19062 h 228728"/>
                  <a:gd name="connsiteX50" fmla="*/ 66711 w 371679"/>
                  <a:gd name="connsiteY50" fmla="*/ 28592 h 228728"/>
                  <a:gd name="connsiteX51" fmla="*/ 71477 w 371679"/>
                  <a:gd name="connsiteY51" fmla="*/ 57182 h 228728"/>
                  <a:gd name="connsiteX52" fmla="*/ 104832 w 371679"/>
                  <a:gd name="connsiteY52" fmla="*/ 85774 h 228728"/>
                  <a:gd name="connsiteX53" fmla="*/ 109597 w 371679"/>
                  <a:gd name="connsiteY53" fmla="*/ 104834 h 228728"/>
                  <a:gd name="connsiteX54" fmla="*/ 104832 w 371679"/>
                  <a:gd name="connsiteY54" fmla="*/ 109600 h 228728"/>
                  <a:gd name="connsiteX55" fmla="*/ 109597 w 371679"/>
                  <a:gd name="connsiteY55" fmla="*/ 114364 h 228728"/>
                  <a:gd name="connsiteX56" fmla="*/ 123893 w 371679"/>
                  <a:gd name="connsiteY56" fmla="*/ 123894 h 228728"/>
                  <a:gd name="connsiteX57" fmla="*/ 133423 w 371679"/>
                  <a:gd name="connsiteY57" fmla="*/ 138190 h 228728"/>
                  <a:gd name="connsiteX58" fmla="*/ 114363 w 371679"/>
                  <a:gd name="connsiteY58" fmla="*/ 166780 h 228728"/>
                  <a:gd name="connsiteX59" fmla="*/ 81007 w 371679"/>
                  <a:gd name="connsiteY59" fmla="*/ 181076 h 228728"/>
                  <a:gd name="connsiteX60" fmla="*/ 42886 w 371679"/>
                  <a:gd name="connsiteY60" fmla="*/ 181076 h 228728"/>
                  <a:gd name="connsiteX61" fmla="*/ 33356 w 371679"/>
                  <a:gd name="connsiteY61" fmla="*/ 176310 h 228728"/>
                  <a:gd name="connsiteX62" fmla="*/ 23825 w 371679"/>
                  <a:gd name="connsiteY62" fmla="*/ 166780 h 228728"/>
                  <a:gd name="connsiteX63" fmla="*/ 23825 w 371679"/>
                  <a:gd name="connsiteY63" fmla="*/ 152486 h 228728"/>
                  <a:gd name="connsiteX64" fmla="*/ 28590 w 371679"/>
                  <a:gd name="connsiteY64" fmla="*/ 142954 h 228728"/>
                  <a:gd name="connsiteX65" fmla="*/ 47651 w 371679"/>
                  <a:gd name="connsiteY65" fmla="*/ 128660 h 228728"/>
                  <a:gd name="connsiteX66" fmla="*/ 76242 w 371679"/>
                  <a:gd name="connsiteY66" fmla="*/ 119130 h 228728"/>
                  <a:gd name="connsiteX67" fmla="*/ 81007 w 371679"/>
                  <a:gd name="connsiteY67" fmla="*/ 109600 h 228728"/>
                  <a:gd name="connsiteX68" fmla="*/ 71477 w 371679"/>
                  <a:gd name="connsiteY68" fmla="*/ 100068 h 228728"/>
                  <a:gd name="connsiteX69" fmla="*/ 61946 w 371679"/>
                  <a:gd name="connsiteY69" fmla="*/ 81008 h 228728"/>
                  <a:gd name="connsiteX70" fmla="*/ 42886 w 371679"/>
                  <a:gd name="connsiteY70" fmla="*/ 66712 h 228728"/>
                  <a:gd name="connsiteX71" fmla="*/ 33356 w 371679"/>
                  <a:gd name="connsiteY71" fmla="*/ 23826 h 228728"/>
                  <a:gd name="connsiteX72" fmla="*/ 28590 w 371679"/>
                  <a:gd name="connsiteY72" fmla="*/ 23826 h 228728"/>
                  <a:gd name="connsiteX73" fmla="*/ 14295 w 371679"/>
                  <a:gd name="connsiteY73" fmla="*/ 28592 h 228728"/>
                  <a:gd name="connsiteX74" fmla="*/ 9530 w 371679"/>
                  <a:gd name="connsiteY74" fmla="*/ 23826 h 228728"/>
                  <a:gd name="connsiteX75" fmla="*/ 9530 w 371679"/>
                  <a:gd name="connsiteY75" fmla="*/ 19062 h 228728"/>
                  <a:gd name="connsiteX76" fmla="*/ 19060 w 371679"/>
                  <a:gd name="connsiteY76" fmla="*/ 9532 h 228728"/>
                  <a:gd name="connsiteX77" fmla="*/ 23825 w 371679"/>
                  <a:gd name="connsiteY77" fmla="*/ 4766 h 228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371679" h="228728">
                    <a:moveTo>
                      <a:pt x="181075" y="209666"/>
                    </a:moveTo>
                    <a:lnTo>
                      <a:pt x="190606" y="214432"/>
                    </a:lnTo>
                    <a:lnTo>
                      <a:pt x="195371" y="219196"/>
                    </a:lnTo>
                    <a:lnTo>
                      <a:pt x="200136" y="223962"/>
                    </a:lnTo>
                    <a:lnTo>
                      <a:pt x="190606" y="228728"/>
                    </a:lnTo>
                    <a:lnTo>
                      <a:pt x="185840" y="228728"/>
                    </a:lnTo>
                    <a:lnTo>
                      <a:pt x="176310" y="223962"/>
                    </a:lnTo>
                    <a:close/>
                    <a:moveTo>
                      <a:pt x="362149" y="128660"/>
                    </a:moveTo>
                    <a:lnTo>
                      <a:pt x="366914" y="128660"/>
                    </a:lnTo>
                    <a:lnTo>
                      <a:pt x="371679" y="128660"/>
                    </a:lnTo>
                    <a:lnTo>
                      <a:pt x="371679" y="133424"/>
                    </a:lnTo>
                    <a:lnTo>
                      <a:pt x="366914" y="142954"/>
                    </a:lnTo>
                    <a:lnTo>
                      <a:pt x="357384" y="147720"/>
                    </a:lnTo>
                    <a:lnTo>
                      <a:pt x="347854" y="162014"/>
                    </a:lnTo>
                    <a:lnTo>
                      <a:pt x="328793" y="166780"/>
                    </a:lnTo>
                    <a:lnTo>
                      <a:pt x="324028" y="166780"/>
                    </a:lnTo>
                    <a:lnTo>
                      <a:pt x="319263" y="162014"/>
                    </a:lnTo>
                    <a:lnTo>
                      <a:pt x="319263" y="157250"/>
                    </a:lnTo>
                    <a:lnTo>
                      <a:pt x="328793" y="147720"/>
                    </a:lnTo>
                    <a:lnTo>
                      <a:pt x="338323" y="142954"/>
                    </a:lnTo>
                    <a:lnTo>
                      <a:pt x="347854" y="133424"/>
                    </a:lnTo>
                    <a:close/>
                    <a:moveTo>
                      <a:pt x="214431" y="95304"/>
                    </a:moveTo>
                    <a:lnTo>
                      <a:pt x="228727" y="104834"/>
                    </a:lnTo>
                    <a:lnTo>
                      <a:pt x="228727" y="123894"/>
                    </a:lnTo>
                    <a:lnTo>
                      <a:pt x="214431" y="138188"/>
                    </a:lnTo>
                    <a:lnTo>
                      <a:pt x="209666" y="138188"/>
                    </a:lnTo>
                    <a:lnTo>
                      <a:pt x="204901" y="142954"/>
                    </a:lnTo>
                    <a:lnTo>
                      <a:pt x="195371" y="142954"/>
                    </a:lnTo>
                    <a:lnTo>
                      <a:pt x="171545" y="123894"/>
                    </a:lnTo>
                    <a:lnTo>
                      <a:pt x="176310" y="109598"/>
                    </a:lnTo>
                    <a:lnTo>
                      <a:pt x="185841" y="100068"/>
                    </a:lnTo>
                    <a:close/>
                    <a:moveTo>
                      <a:pt x="28591" y="61948"/>
                    </a:moveTo>
                    <a:lnTo>
                      <a:pt x="38121" y="71478"/>
                    </a:lnTo>
                    <a:lnTo>
                      <a:pt x="38121" y="85772"/>
                    </a:lnTo>
                    <a:lnTo>
                      <a:pt x="33356" y="90538"/>
                    </a:lnTo>
                    <a:lnTo>
                      <a:pt x="19061" y="95304"/>
                    </a:lnTo>
                    <a:lnTo>
                      <a:pt x="4765" y="90538"/>
                    </a:lnTo>
                    <a:lnTo>
                      <a:pt x="0" y="81008"/>
                    </a:lnTo>
                    <a:lnTo>
                      <a:pt x="0" y="66712"/>
                    </a:lnTo>
                    <a:close/>
                    <a:moveTo>
                      <a:pt x="133423" y="47652"/>
                    </a:moveTo>
                    <a:lnTo>
                      <a:pt x="152484" y="47652"/>
                    </a:lnTo>
                    <a:lnTo>
                      <a:pt x="171544" y="61948"/>
                    </a:lnTo>
                    <a:lnTo>
                      <a:pt x="166779" y="71478"/>
                    </a:lnTo>
                    <a:lnTo>
                      <a:pt x="162014" y="76244"/>
                    </a:lnTo>
                    <a:lnTo>
                      <a:pt x="128658" y="71478"/>
                    </a:lnTo>
                    <a:lnTo>
                      <a:pt x="123893" y="61948"/>
                    </a:lnTo>
                    <a:lnTo>
                      <a:pt x="128658" y="52418"/>
                    </a:lnTo>
                    <a:close/>
                    <a:moveTo>
                      <a:pt x="42886" y="0"/>
                    </a:moveTo>
                    <a:lnTo>
                      <a:pt x="52416" y="4766"/>
                    </a:lnTo>
                    <a:lnTo>
                      <a:pt x="57181" y="19062"/>
                    </a:lnTo>
                    <a:lnTo>
                      <a:pt x="66711" y="28592"/>
                    </a:lnTo>
                    <a:lnTo>
                      <a:pt x="71477" y="57182"/>
                    </a:lnTo>
                    <a:lnTo>
                      <a:pt x="104832" y="85774"/>
                    </a:lnTo>
                    <a:lnTo>
                      <a:pt x="109597" y="104834"/>
                    </a:lnTo>
                    <a:lnTo>
                      <a:pt x="104832" y="109600"/>
                    </a:lnTo>
                    <a:lnTo>
                      <a:pt x="109597" y="114364"/>
                    </a:lnTo>
                    <a:lnTo>
                      <a:pt x="123893" y="123894"/>
                    </a:lnTo>
                    <a:lnTo>
                      <a:pt x="133423" y="138190"/>
                    </a:lnTo>
                    <a:lnTo>
                      <a:pt x="114363" y="166780"/>
                    </a:lnTo>
                    <a:lnTo>
                      <a:pt x="81007" y="181076"/>
                    </a:lnTo>
                    <a:lnTo>
                      <a:pt x="42886" y="181076"/>
                    </a:lnTo>
                    <a:lnTo>
                      <a:pt x="33356" y="176310"/>
                    </a:lnTo>
                    <a:lnTo>
                      <a:pt x="23825" y="166780"/>
                    </a:lnTo>
                    <a:lnTo>
                      <a:pt x="23825" y="152486"/>
                    </a:lnTo>
                    <a:lnTo>
                      <a:pt x="28590" y="142954"/>
                    </a:lnTo>
                    <a:lnTo>
                      <a:pt x="47651" y="128660"/>
                    </a:lnTo>
                    <a:lnTo>
                      <a:pt x="76242" y="119130"/>
                    </a:lnTo>
                    <a:lnTo>
                      <a:pt x="81007" y="109600"/>
                    </a:lnTo>
                    <a:lnTo>
                      <a:pt x="71477" y="100068"/>
                    </a:lnTo>
                    <a:lnTo>
                      <a:pt x="61946" y="81008"/>
                    </a:lnTo>
                    <a:lnTo>
                      <a:pt x="42886" y="66712"/>
                    </a:lnTo>
                    <a:lnTo>
                      <a:pt x="33356" y="23826"/>
                    </a:lnTo>
                    <a:lnTo>
                      <a:pt x="28590" y="23826"/>
                    </a:lnTo>
                    <a:lnTo>
                      <a:pt x="14295" y="28592"/>
                    </a:lnTo>
                    <a:lnTo>
                      <a:pt x="9530" y="23826"/>
                    </a:lnTo>
                    <a:lnTo>
                      <a:pt x="9530" y="19062"/>
                    </a:lnTo>
                    <a:lnTo>
                      <a:pt x="19060" y="9532"/>
                    </a:lnTo>
                    <a:lnTo>
                      <a:pt x="23825" y="4766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9" name="Freeform 558">
                <a:extLst>
                  <a:ext uri="{FF2B5EF4-FFF2-40B4-BE49-F238E27FC236}">
                    <a16:creationId xmlns:a16="http://schemas.microsoft.com/office/drawing/2014/main" id="{1E0D3391-F19E-47DA-BD8C-4663D8F3B304}"/>
                  </a:ext>
                </a:extLst>
              </p:cNvPr>
              <p:cNvSpPr/>
              <p:nvPr/>
            </p:nvSpPr>
            <p:spPr bwMode="auto">
              <a:xfrm>
                <a:off x="15980223" y="26816314"/>
                <a:ext cx="891080" cy="1005442"/>
              </a:xfrm>
              <a:custGeom>
                <a:avLst/>
                <a:gdLst>
                  <a:gd name="connsiteX0" fmla="*/ 138189 w 891080"/>
                  <a:gd name="connsiteY0" fmla="*/ 643292 h 1005442"/>
                  <a:gd name="connsiteX1" fmla="*/ 152484 w 891080"/>
                  <a:gd name="connsiteY1" fmla="*/ 643292 h 1005442"/>
                  <a:gd name="connsiteX2" fmla="*/ 166780 w 891080"/>
                  <a:gd name="connsiteY2" fmla="*/ 652822 h 1005442"/>
                  <a:gd name="connsiteX3" fmla="*/ 147719 w 891080"/>
                  <a:gd name="connsiteY3" fmla="*/ 667118 h 1005442"/>
                  <a:gd name="connsiteX4" fmla="*/ 138189 w 891080"/>
                  <a:gd name="connsiteY4" fmla="*/ 667118 h 1005442"/>
                  <a:gd name="connsiteX5" fmla="*/ 138189 w 891080"/>
                  <a:gd name="connsiteY5" fmla="*/ 671882 h 1005442"/>
                  <a:gd name="connsiteX6" fmla="*/ 128659 w 891080"/>
                  <a:gd name="connsiteY6" fmla="*/ 690942 h 1005442"/>
                  <a:gd name="connsiteX7" fmla="*/ 128659 w 891080"/>
                  <a:gd name="connsiteY7" fmla="*/ 695708 h 1005442"/>
                  <a:gd name="connsiteX8" fmla="*/ 114363 w 891080"/>
                  <a:gd name="connsiteY8" fmla="*/ 695708 h 1005442"/>
                  <a:gd name="connsiteX9" fmla="*/ 109598 w 891080"/>
                  <a:gd name="connsiteY9" fmla="*/ 695708 h 1005442"/>
                  <a:gd name="connsiteX10" fmla="*/ 109598 w 891080"/>
                  <a:gd name="connsiteY10" fmla="*/ 686178 h 1005442"/>
                  <a:gd name="connsiteX11" fmla="*/ 114363 w 891080"/>
                  <a:gd name="connsiteY11" fmla="*/ 662352 h 1005442"/>
                  <a:gd name="connsiteX12" fmla="*/ 114363 w 891080"/>
                  <a:gd name="connsiteY12" fmla="*/ 657588 h 1005442"/>
                  <a:gd name="connsiteX13" fmla="*/ 128659 w 891080"/>
                  <a:gd name="connsiteY13" fmla="*/ 648058 h 1005442"/>
                  <a:gd name="connsiteX14" fmla="*/ 319263 w 891080"/>
                  <a:gd name="connsiteY14" fmla="*/ 14296 h 1005442"/>
                  <a:gd name="connsiteX15" fmla="*/ 324028 w 891080"/>
                  <a:gd name="connsiteY15" fmla="*/ 14296 h 1005442"/>
                  <a:gd name="connsiteX16" fmla="*/ 324028 w 891080"/>
                  <a:gd name="connsiteY16" fmla="*/ 28592 h 1005442"/>
                  <a:gd name="connsiteX17" fmla="*/ 314498 w 891080"/>
                  <a:gd name="connsiteY17" fmla="*/ 28592 h 1005442"/>
                  <a:gd name="connsiteX18" fmla="*/ 309733 w 891080"/>
                  <a:gd name="connsiteY18" fmla="*/ 23826 h 1005442"/>
                  <a:gd name="connsiteX19" fmla="*/ 328794 w 891080"/>
                  <a:gd name="connsiteY19" fmla="*/ 0 h 1005442"/>
                  <a:gd name="connsiteX20" fmla="*/ 333559 w 891080"/>
                  <a:gd name="connsiteY20" fmla="*/ 0 h 1005442"/>
                  <a:gd name="connsiteX21" fmla="*/ 347854 w 891080"/>
                  <a:gd name="connsiteY21" fmla="*/ 14296 h 1005442"/>
                  <a:gd name="connsiteX22" fmla="*/ 357385 w 891080"/>
                  <a:gd name="connsiteY22" fmla="*/ 23826 h 1005442"/>
                  <a:gd name="connsiteX23" fmla="*/ 371680 w 891080"/>
                  <a:gd name="connsiteY23" fmla="*/ 33356 h 1005442"/>
                  <a:gd name="connsiteX24" fmla="*/ 385975 w 891080"/>
                  <a:gd name="connsiteY24" fmla="*/ 38122 h 1005442"/>
                  <a:gd name="connsiteX25" fmla="*/ 414566 w 891080"/>
                  <a:gd name="connsiteY25" fmla="*/ 61946 h 1005442"/>
                  <a:gd name="connsiteX26" fmla="*/ 433627 w 891080"/>
                  <a:gd name="connsiteY26" fmla="*/ 76242 h 1005442"/>
                  <a:gd name="connsiteX27" fmla="*/ 457452 w 891080"/>
                  <a:gd name="connsiteY27" fmla="*/ 85772 h 1005442"/>
                  <a:gd name="connsiteX28" fmla="*/ 490808 w 891080"/>
                  <a:gd name="connsiteY28" fmla="*/ 95302 h 1005442"/>
                  <a:gd name="connsiteX29" fmla="*/ 509869 w 891080"/>
                  <a:gd name="connsiteY29" fmla="*/ 95302 h 1005442"/>
                  <a:gd name="connsiteX30" fmla="*/ 514634 w 891080"/>
                  <a:gd name="connsiteY30" fmla="*/ 104832 h 1005442"/>
                  <a:gd name="connsiteX31" fmla="*/ 519399 w 891080"/>
                  <a:gd name="connsiteY31" fmla="*/ 114364 h 1005442"/>
                  <a:gd name="connsiteX32" fmla="*/ 524164 w 891080"/>
                  <a:gd name="connsiteY32" fmla="*/ 119128 h 1005442"/>
                  <a:gd name="connsiteX33" fmla="*/ 538460 w 891080"/>
                  <a:gd name="connsiteY33" fmla="*/ 123894 h 1005442"/>
                  <a:gd name="connsiteX34" fmla="*/ 543225 w 891080"/>
                  <a:gd name="connsiteY34" fmla="*/ 123894 h 1005442"/>
                  <a:gd name="connsiteX35" fmla="*/ 547990 w 891080"/>
                  <a:gd name="connsiteY35" fmla="*/ 123894 h 1005442"/>
                  <a:gd name="connsiteX36" fmla="*/ 552755 w 891080"/>
                  <a:gd name="connsiteY36" fmla="*/ 157250 h 1005442"/>
                  <a:gd name="connsiteX37" fmla="*/ 557520 w 891080"/>
                  <a:gd name="connsiteY37" fmla="*/ 162014 h 1005442"/>
                  <a:gd name="connsiteX38" fmla="*/ 576580 w 891080"/>
                  <a:gd name="connsiteY38" fmla="*/ 166780 h 1005442"/>
                  <a:gd name="connsiteX39" fmla="*/ 595641 w 891080"/>
                  <a:gd name="connsiteY39" fmla="*/ 171544 h 1005442"/>
                  <a:gd name="connsiteX40" fmla="*/ 600406 w 891080"/>
                  <a:gd name="connsiteY40" fmla="*/ 171544 h 1005442"/>
                  <a:gd name="connsiteX41" fmla="*/ 619467 w 891080"/>
                  <a:gd name="connsiteY41" fmla="*/ 181074 h 1005442"/>
                  <a:gd name="connsiteX42" fmla="*/ 633762 w 891080"/>
                  <a:gd name="connsiteY42" fmla="*/ 185840 h 1005442"/>
                  <a:gd name="connsiteX43" fmla="*/ 648057 w 891080"/>
                  <a:gd name="connsiteY43" fmla="*/ 185840 h 1005442"/>
                  <a:gd name="connsiteX44" fmla="*/ 657588 w 891080"/>
                  <a:gd name="connsiteY44" fmla="*/ 185840 h 1005442"/>
                  <a:gd name="connsiteX45" fmla="*/ 662353 w 891080"/>
                  <a:gd name="connsiteY45" fmla="*/ 185840 h 1005442"/>
                  <a:gd name="connsiteX46" fmla="*/ 662353 w 891080"/>
                  <a:gd name="connsiteY46" fmla="*/ 181074 h 1005442"/>
                  <a:gd name="connsiteX47" fmla="*/ 671883 w 891080"/>
                  <a:gd name="connsiteY47" fmla="*/ 185840 h 1005442"/>
                  <a:gd name="connsiteX48" fmla="*/ 681413 w 891080"/>
                  <a:gd name="connsiteY48" fmla="*/ 185840 h 1005442"/>
                  <a:gd name="connsiteX49" fmla="*/ 700474 w 891080"/>
                  <a:gd name="connsiteY49" fmla="*/ 190606 h 1005442"/>
                  <a:gd name="connsiteX50" fmla="*/ 710004 w 891080"/>
                  <a:gd name="connsiteY50" fmla="*/ 185840 h 1005442"/>
                  <a:gd name="connsiteX51" fmla="*/ 710004 w 891080"/>
                  <a:gd name="connsiteY51" fmla="*/ 176310 h 1005442"/>
                  <a:gd name="connsiteX52" fmla="*/ 710004 w 891080"/>
                  <a:gd name="connsiteY52" fmla="*/ 166780 h 1005442"/>
                  <a:gd name="connsiteX53" fmla="*/ 714769 w 891080"/>
                  <a:gd name="connsiteY53" fmla="*/ 162014 h 1005442"/>
                  <a:gd name="connsiteX54" fmla="*/ 729065 w 891080"/>
                  <a:gd name="connsiteY54" fmla="*/ 157250 h 1005442"/>
                  <a:gd name="connsiteX55" fmla="*/ 733830 w 891080"/>
                  <a:gd name="connsiteY55" fmla="*/ 157250 h 1005442"/>
                  <a:gd name="connsiteX56" fmla="*/ 767186 w 891080"/>
                  <a:gd name="connsiteY56" fmla="*/ 171544 h 1005442"/>
                  <a:gd name="connsiteX57" fmla="*/ 771951 w 891080"/>
                  <a:gd name="connsiteY57" fmla="*/ 176310 h 1005442"/>
                  <a:gd name="connsiteX58" fmla="*/ 781481 w 891080"/>
                  <a:gd name="connsiteY58" fmla="*/ 185840 h 1005442"/>
                  <a:gd name="connsiteX59" fmla="*/ 795776 w 891080"/>
                  <a:gd name="connsiteY59" fmla="*/ 200136 h 1005442"/>
                  <a:gd name="connsiteX60" fmla="*/ 810072 w 891080"/>
                  <a:gd name="connsiteY60" fmla="*/ 209666 h 1005442"/>
                  <a:gd name="connsiteX61" fmla="*/ 833898 w 891080"/>
                  <a:gd name="connsiteY61" fmla="*/ 214430 h 1005442"/>
                  <a:gd name="connsiteX62" fmla="*/ 862488 w 891080"/>
                  <a:gd name="connsiteY62" fmla="*/ 233492 h 1005442"/>
                  <a:gd name="connsiteX63" fmla="*/ 886314 w 891080"/>
                  <a:gd name="connsiteY63" fmla="*/ 243022 h 1005442"/>
                  <a:gd name="connsiteX64" fmla="*/ 881548 w 891080"/>
                  <a:gd name="connsiteY64" fmla="*/ 247786 h 1005442"/>
                  <a:gd name="connsiteX65" fmla="*/ 872018 w 891080"/>
                  <a:gd name="connsiteY65" fmla="*/ 247786 h 1005442"/>
                  <a:gd name="connsiteX66" fmla="*/ 857724 w 891080"/>
                  <a:gd name="connsiteY66" fmla="*/ 247786 h 1005442"/>
                  <a:gd name="connsiteX67" fmla="*/ 843428 w 891080"/>
                  <a:gd name="connsiteY67" fmla="*/ 243022 h 1005442"/>
                  <a:gd name="connsiteX68" fmla="*/ 833898 w 891080"/>
                  <a:gd name="connsiteY68" fmla="*/ 243022 h 1005442"/>
                  <a:gd name="connsiteX69" fmla="*/ 833898 w 891080"/>
                  <a:gd name="connsiteY69" fmla="*/ 247786 h 1005442"/>
                  <a:gd name="connsiteX70" fmla="*/ 857724 w 891080"/>
                  <a:gd name="connsiteY70" fmla="*/ 262082 h 1005442"/>
                  <a:gd name="connsiteX71" fmla="*/ 857724 w 891080"/>
                  <a:gd name="connsiteY71" fmla="*/ 276378 h 1005442"/>
                  <a:gd name="connsiteX72" fmla="*/ 867254 w 891080"/>
                  <a:gd name="connsiteY72" fmla="*/ 290672 h 1005442"/>
                  <a:gd name="connsiteX73" fmla="*/ 881548 w 891080"/>
                  <a:gd name="connsiteY73" fmla="*/ 304968 h 1005442"/>
                  <a:gd name="connsiteX74" fmla="*/ 891080 w 891080"/>
                  <a:gd name="connsiteY74" fmla="*/ 309734 h 1005442"/>
                  <a:gd name="connsiteX75" fmla="*/ 891080 w 891080"/>
                  <a:gd name="connsiteY75" fmla="*/ 319264 h 1005442"/>
                  <a:gd name="connsiteX76" fmla="*/ 891080 w 891080"/>
                  <a:gd name="connsiteY76" fmla="*/ 328794 h 1005442"/>
                  <a:gd name="connsiteX77" fmla="*/ 886314 w 891080"/>
                  <a:gd name="connsiteY77" fmla="*/ 333558 h 1005442"/>
                  <a:gd name="connsiteX78" fmla="*/ 891080 w 891080"/>
                  <a:gd name="connsiteY78" fmla="*/ 371680 h 1005442"/>
                  <a:gd name="connsiteX79" fmla="*/ 891080 w 891080"/>
                  <a:gd name="connsiteY79" fmla="*/ 376446 h 1005442"/>
                  <a:gd name="connsiteX80" fmla="*/ 886314 w 891080"/>
                  <a:gd name="connsiteY80" fmla="*/ 376446 h 1005442"/>
                  <a:gd name="connsiteX81" fmla="*/ 876784 w 891080"/>
                  <a:gd name="connsiteY81" fmla="*/ 376446 h 1005442"/>
                  <a:gd name="connsiteX82" fmla="*/ 872018 w 891080"/>
                  <a:gd name="connsiteY82" fmla="*/ 371680 h 1005442"/>
                  <a:gd name="connsiteX83" fmla="*/ 867254 w 891080"/>
                  <a:gd name="connsiteY83" fmla="*/ 371680 h 1005442"/>
                  <a:gd name="connsiteX84" fmla="*/ 867254 w 891080"/>
                  <a:gd name="connsiteY84" fmla="*/ 376446 h 1005442"/>
                  <a:gd name="connsiteX85" fmla="*/ 862488 w 891080"/>
                  <a:gd name="connsiteY85" fmla="*/ 390740 h 1005442"/>
                  <a:gd name="connsiteX86" fmla="*/ 852958 w 891080"/>
                  <a:gd name="connsiteY86" fmla="*/ 428862 h 1005442"/>
                  <a:gd name="connsiteX87" fmla="*/ 843428 w 891080"/>
                  <a:gd name="connsiteY87" fmla="*/ 462218 h 1005442"/>
                  <a:gd name="connsiteX88" fmla="*/ 833898 w 891080"/>
                  <a:gd name="connsiteY88" fmla="*/ 476512 h 1005442"/>
                  <a:gd name="connsiteX89" fmla="*/ 814836 w 891080"/>
                  <a:gd name="connsiteY89" fmla="*/ 495574 h 1005442"/>
                  <a:gd name="connsiteX90" fmla="*/ 795776 w 891080"/>
                  <a:gd name="connsiteY90" fmla="*/ 519398 h 1005442"/>
                  <a:gd name="connsiteX91" fmla="*/ 762421 w 891080"/>
                  <a:gd name="connsiteY91" fmla="*/ 557520 h 1005442"/>
                  <a:gd name="connsiteX92" fmla="*/ 738595 w 891080"/>
                  <a:gd name="connsiteY92" fmla="*/ 576580 h 1005442"/>
                  <a:gd name="connsiteX93" fmla="*/ 719534 w 891080"/>
                  <a:gd name="connsiteY93" fmla="*/ 590876 h 1005442"/>
                  <a:gd name="connsiteX94" fmla="*/ 695709 w 891080"/>
                  <a:gd name="connsiteY94" fmla="*/ 605172 h 1005442"/>
                  <a:gd name="connsiteX95" fmla="*/ 671883 w 891080"/>
                  <a:gd name="connsiteY95" fmla="*/ 624232 h 1005442"/>
                  <a:gd name="connsiteX96" fmla="*/ 638527 w 891080"/>
                  <a:gd name="connsiteY96" fmla="*/ 638528 h 1005442"/>
                  <a:gd name="connsiteX97" fmla="*/ 595641 w 891080"/>
                  <a:gd name="connsiteY97" fmla="*/ 652822 h 1005442"/>
                  <a:gd name="connsiteX98" fmla="*/ 562285 w 891080"/>
                  <a:gd name="connsiteY98" fmla="*/ 662352 h 1005442"/>
                  <a:gd name="connsiteX99" fmla="*/ 538460 w 891080"/>
                  <a:gd name="connsiteY99" fmla="*/ 671884 h 1005442"/>
                  <a:gd name="connsiteX100" fmla="*/ 514634 w 891080"/>
                  <a:gd name="connsiteY100" fmla="*/ 681414 h 1005442"/>
                  <a:gd name="connsiteX101" fmla="*/ 486043 w 891080"/>
                  <a:gd name="connsiteY101" fmla="*/ 690944 h 1005442"/>
                  <a:gd name="connsiteX102" fmla="*/ 471748 w 891080"/>
                  <a:gd name="connsiteY102" fmla="*/ 700474 h 1005442"/>
                  <a:gd name="connsiteX103" fmla="*/ 452687 w 891080"/>
                  <a:gd name="connsiteY103" fmla="*/ 724300 h 1005442"/>
                  <a:gd name="connsiteX104" fmla="*/ 443157 w 891080"/>
                  <a:gd name="connsiteY104" fmla="*/ 738594 h 1005442"/>
                  <a:gd name="connsiteX105" fmla="*/ 433627 w 891080"/>
                  <a:gd name="connsiteY105" fmla="*/ 748126 h 1005442"/>
                  <a:gd name="connsiteX106" fmla="*/ 433627 w 891080"/>
                  <a:gd name="connsiteY106" fmla="*/ 752890 h 1005442"/>
                  <a:gd name="connsiteX107" fmla="*/ 433627 w 891080"/>
                  <a:gd name="connsiteY107" fmla="*/ 757656 h 1005442"/>
                  <a:gd name="connsiteX108" fmla="*/ 438392 w 891080"/>
                  <a:gd name="connsiteY108" fmla="*/ 762420 h 1005442"/>
                  <a:gd name="connsiteX109" fmla="*/ 438392 w 891080"/>
                  <a:gd name="connsiteY109" fmla="*/ 767186 h 1005442"/>
                  <a:gd name="connsiteX110" fmla="*/ 433627 w 891080"/>
                  <a:gd name="connsiteY110" fmla="*/ 771950 h 1005442"/>
                  <a:gd name="connsiteX111" fmla="*/ 428862 w 891080"/>
                  <a:gd name="connsiteY111" fmla="*/ 771950 h 1005442"/>
                  <a:gd name="connsiteX112" fmla="*/ 424096 w 891080"/>
                  <a:gd name="connsiteY112" fmla="*/ 767186 h 1005442"/>
                  <a:gd name="connsiteX113" fmla="*/ 424096 w 891080"/>
                  <a:gd name="connsiteY113" fmla="*/ 762420 h 1005442"/>
                  <a:gd name="connsiteX114" fmla="*/ 419331 w 891080"/>
                  <a:gd name="connsiteY114" fmla="*/ 757656 h 1005442"/>
                  <a:gd name="connsiteX115" fmla="*/ 414566 w 891080"/>
                  <a:gd name="connsiteY115" fmla="*/ 752890 h 1005442"/>
                  <a:gd name="connsiteX116" fmla="*/ 409801 w 891080"/>
                  <a:gd name="connsiteY116" fmla="*/ 757656 h 1005442"/>
                  <a:gd name="connsiteX117" fmla="*/ 409801 w 891080"/>
                  <a:gd name="connsiteY117" fmla="*/ 762420 h 1005442"/>
                  <a:gd name="connsiteX118" fmla="*/ 400271 w 891080"/>
                  <a:gd name="connsiteY118" fmla="*/ 786246 h 1005442"/>
                  <a:gd name="connsiteX119" fmla="*/ 400271 w 891080"/>
                  <a:gd name="connsiteY119" fmla="*/ 800542 h 1005442"/>
                  <a:gd name="connsiteX120" fmla="*/ 400271 w 891080"/>
                  <a:gd name="connsiteY120" fmla="*/ 805306 h 1005442"/>
                  <a:gd name="connsiteX121" fmla="*/ 400271 w 891080"/>
                  <a:gd name="connsiteY121" fmla="*/ 814836 h 1005442"/>
                  <a:gd name="connsiteX122" fmla="*/ 390741 w 891080"/>
                  <a:gd name="connsiteY122" fmla="*/ 824368 h 1005442"/>
                  <a:gd name="connsiteX123" fmla="*/ 385975 w 891080"/>
                  <a:gd name="connsiteY123" fmla="*/ 833898 h 1005442"/>
                  <a:gd name="connsiteX124" fmla="*/ 385975 w 891080"/>
                  <a:gd name="connsiteY124" fmla="*/ 843428 h 1005442"/>
                  <a:gd name="connsiteX125" fmla="*/ 376445 w 891080"/>
                  <a:gd name="connsiteY125" fmla="*/ 848192 h 1005442"/>
                  <a:gd name="connsiteX126" fmla="*/ 376445 w 891080"/>
                  <a:gd name="connsiteY126" fmla="*/ 857724 h 1005442"/>
                  <a:gd name="connsiteX127" fmla="*/ 366915 w 891080"/>
                  <a:gd name="connsiteY127" fmla="*/ 876784 h 1005442"/>
                  <a:gd name="connsiteX128" fmla="*/ 362150 w 891080"/>
                  <a:gd name="connsiteY128" fmla="*/ 891078 h 1005442"/>
                  <a:gd name="connsiteX129" fmla="*/ 357385 w 891080"/>
                  <a:gd name="connsiteY129" fmla="*/ 900610 h 1005442"/>
                  <a:gd name="connsiteX130" fmla="*/ 357385 w 891080"/>
                  <a:gd name="connsiteY130" fmla="*/ 910140 h 1005442"/>
                  <a:gd name="connsiteX131" fmla="*/ 362150 w 891080"/>
                  <a:gd name="connsiteY131" fmla="*/ 914904 h 1005442"/>
                  <a:gd name="connsiteX132" fmla="*/ 362150 w 891080"/>
                  <a:gd name="connsiteY132" fmla="*/ 924434 h 1005442"/>
                  <a:gd name="connsiteX133" fmla="*/ 357385 w 891080"/>
                  <a:gd name="connsiteY133" fmla="*/ 933966 h 1005442"/>
                  <a:gd name="connsiteX134" fmla="*/ 357385 w 891080"/>
                  <a:gd name="connsiteY134" fmla="*/ 938730 h 1005442"/>
                  <a:gd name="connsiteX135" fmla="*/ 347854 w 891080"/>
                  <a:gd name="connsiteY135" fmla="*/ 943496 h 1005442"/>
                  <a:gd name="connsiteX136" fmla="*/ 328794 w 891080"/>
                  <a:gd name="connsiteY136" fmla="*/ 953026 h 1005442"/>
                  <a:gd name="connsiteX137" fmla="*/ 324029 w 891080"/>
                  <a:gd name="connsiteY137" fmla="*/ 962556 h 1005442"/>
                  <a:gd name="connsiteX138" fmla="*/ 319264 w 891080"/>
                  <a:gd name="connsiteY138" fmla="*/ 972086 h 1005442"/>
                  <a:gd name="connsiteX139" fmla="*/ 319264 w 891080"/>
                  <a:gd name="connsiteY139" fmla="*/ 976852 h 1005442"/>
                  <a:gd name="connsiteX140" fmla="*/ 319264 w 891080"/>
                  <a:gd name="connsiteY140" fmla="*/ 986382 h 1005442"/>
                  <a:gd name="connsiteX141" fmla="*/ 309733 w 891080"/>
                  <a:gd name="connsiteY141" fmla="*/ 986382 h 1005442"/>
                  <a:gd name="connsiteX142" fmla="*/ 309733 w 891080"/>
                  <a:gd name="connsiteY142" fmla="*/ 991146 h 1005442"/>
                  <a:gd name="connsiteX143" fmla="*/ 300203 w 891080"/>
                  <a:gd name="connsiteY143" fmla="*/ 1000676 h 1005442"/>
                  <a:gd name="connsiteX144" fmla="*/ 295438 w 891080"/>
                  <a:gd name="connsiteY144" fmla="*/ 1005442 h 1005442"/>
                  <a:gd name="connsiteX145" fmla="*/ 276377 w 891080"/>
                  <a:gd name="connsiteY145" fmla="*/ 1000676 h 1005442"/>
                  <a:gd name="connsiteX146" fmla="*/ 266847 w 891080"/>
                  <a:gd name="connsiteY146" fmla="*/ 1000676 h 1005442"/>
                  <a:gd name="connsiteX147" fmla="*/ 257317 w 891080"/>
                  <a:gd name="connsiteY147" fmla="*/ 995912 h 1005442"/>
                  <a:gd name="connsiteX148" fmla="*/ 238256 w 891080"/>
                  <a:gd name="connsiteY148" fmla="*/ 972086 h 1005442"/>
                  <a:gd name="connsiteX149" fmla="*/ 228726 w 891080"/>
                  <a:gd name="connsiteY149" fmla="*/ 957790 h 1005442"/>
                  <a:gd name="connsiteX150" fmla="*/ 228726 w 891080"/>
                  <a:gd name="connsiteY150" fmla="*/ 933966 h 1005442"/>
                  <a:gd name="connsiteX151" fmla="*/ 219196 w 891080"/>
                  <a:gd name="connsiteY151" fmla="*/ 929200 h 1005442"/>
                  <a:gd name="connsiteX152" fmla="*/ 209666 w 891080"/>
                  <a:gd name="connsiteY152" fmla="*/ 919670 h 1005442"/>
                  <a:gd name="connsiteX153" fmla="*/ 195370 w 891080"/>
                  <a:gd name="connsiteY153" fmla="*/ 924434 h 1005442"/>
                  <a:gd name="connsiteX154" fmla="*/ 181075 w 891080"/>
                  <a:gd name="connsiteY154" fmla="*/ 924434 h 1005442"/>
                  <a:gd name="connsiteX155" fmla="*/ 176310 w 891080"/>
                  <a:gd name="connsiteY155" fmla="*/ 919670 h 1005442"/>
                  <a:gd name="connsiteX156" fmla="*/ 157249 w 891080"/>
                  <a:gd name="connsiteY156" fmla="*/ 910140 h 1005442"/>
                  <a:gd name="connsiteX157" fmla="*/ 142954 w 891080"/>
                  <a:gd name="connsiteY157" fmla="*/ 900610 h 1005442"/>
                  <a:gd name="connsiteX158" fmla="*/ 128658 w 891080"/>
                  <a:gd name="connsiteY158" fmla="*/ 895844 h 1005442"/>
                  <a:gd name="connsiteX159" fmla="*/ 119128 w 891080"/>
                  <a:gd name="connsiteY159" fmla="*/ 900610 h 1005442"/>
                  <a:gd name="connsiteX160" fmla="*/ 114363 w 891080"/>
                  <a:gd name="connsiteY160" fmla="*/ 905374 h 1005442"/>
                  <a:gd name="connsiteX161" fmla="*/ 104833 w 891080"/>
                  <a:gd name="connsiteY161" fmla="*/ 914904 h 1005442"/>
                  <a:gd name="connsiteX162" fmla="*/ 90537 w 891080"/>
                  <a:gd name="connsiteY162" fmla="*/ 924434 h 1005442"/>
                  <a:gd name="connsiteX163" fmla="*/ 85772 w 891080"/>
                  <a:gd name="connsiteY163" fmla="*/ 924434 h 1005442"/>
                  <a:gd name="connsiteX164" fmla="*/ 76242 w 891080"/>
                  <a:gd name="connsiteY164" fmla="*/ 919670 h 1005442"/>
                  <a:gd name="connsiteX165" fmla="*/ 76242 w 891080"/>
                  <a:gd name="connsiteY165" fmla="*/ 910140 h 1005442"/>
                  <a:gd name="connsiteX166" fmla="*/ 81007 w 891080"/>
                  <a:gd name="connsiteY166" fmla="*/ 900610 h 1005442"/>
                  <a:gd name="connsiteX167" fmla="*/ 95303 w 891080"/>
                  <a:gd name="connsiteY167" fmla="*/ 881548 h 1005442"/>
                  <a:gd name="connsiteX168" fmla="*/ 81007 w 891080"/>
                  <a:gd name="connsiteY168" fmla="*/ 881548 h 1005442"/>
                  <a:gd name="connsiteX169" fmla="*/ 76242 w 891080"/>
                  <a:gd name="connsiteY169" fmla="*/ 876784 h 1005442"/>
                  <a:gd name="connsiteX170" fmla="*/ 76242 w 891080"/>
                  <a:gd name="connsiteY170" fmla="*/ 867254 h 1005442"/>
                  <a:gd name="connsiteX171" fmla="*/ 71477 w 891080"/>
                  <a:gd name="connsiteY171" fmla="*/ 862488 h 1005442"/>
                  <a:gd name="connsiteX172" fmla="*/ 76242 w 891080"/>
                  <a:gd name="connsiteY172" fmla="*/ 852958 h 1005442"/>
                  <a:gd name="connsiteX173" fmla="*/ 81007 w 891080"/>
                  <a:gd name="connsiteY173" fmla="*/ 848192 h 1005442"/>
                  <a:gd name="connsiteX174" fmla="*/ 95303 w 891080"/>
                  <a:gd name="connsiteY174" fmla="*/ 852958 h 1005442"/>
                  <a:gd name="connsiteX175" fmla="*/ 104833 w 891080"/>
                  <a:gd name="connsiteY175" fmla="*/ 852958 h 1005442"/>
                  <a:gd name="connsiteX176" fmla="*/ 109598 w 891080"/>
                  <a:gd name="connsiteY176" fmla="*/ 843428 h 1005442"/>
                  <a:gd name="connsiteX177" fmla="*/ 114363 w 891080"/>
                  <a:gd name="connsiteY177" fmla="*/ 838662 h 1005442"/>
                  <a:gd name="connsiteX178" fmla="*/ 119128 w 891080"/>
                  <a:gd name="connsiteY178" fmla="*/ 833898 h 1005442"/>
                  <a:gd name="connsiteX179" fmla="*/ 123893 w 891080"/>
                  <a:gd name="connsiteY179" fmla="*/ 833898 h 1005442"/>
                  <a:gd name="connsiteX180" fmla="*/ 119128 w 891080"/>
                  <a:gd name="connsiteY180" fmla="*/ 819602 h 1005442"/>
                  <a:gd name="connsiteX181" fmla="*/ 114363 w 891080"/>
                  <a:gd name="connsiteY181" fmla="*/ 810072 h 1005442"/>
                  <a:gd name="connsiteX182" fmla="*/ 119128 w 891080"/>
                  <a:gd name="connsiteY182" fmla="*/ 805306 h 1005442"/>
                  <a:gd name="connsiteX183" fmla="*/ 119128 w 891080"/>
                  <a:gd name="connsiteY183" fmla="*/ 795776 h 1005442"/>
                  <a:gd name="connsiteX184" fmla="*/ 119128 w 891080"/>
                  <a:gd name="connsiteY184" fmla="*/ 791012 h 1005442"/>
                  <a:gd name="connsiteX185" fmla="*/ 114363 w 891080"/>
                  <a:gd name="connsiteY185" fmla="*/ 786246 h 1005442"/>
                  <a:gd name="connsiteX186" fmla="*/ 114363 w 891080"/>
                  <a:gd name="connsiteY186" fmla="*/ 776716 h 1005442"/>
                  <a:gd name="connsiteX187" fmla="*/ 109598 w 891080"/>
                  <a:gd name="connsiteY187" fmla="*/ 771950 h 1005442"/>
                  <a:gd name="connsiteX188" fmla="*/ 109598 w 891080"/>
                  <a:gd name="connsiteY188" fmla="*/ 767186 h 1005442"/>
                  <a:gd name="connsiteX189" fmla="*/ 109598 w 891080"/>
                  <a:gd name="connsiteY189" fmla="*/ 762420 h 1005442"/>
                  <a:gd name="connsiteX190" fmla="*/ 104833 w 891080"/>
                  <a:gd name="connsiteY190" fmla="*/ 757656 h 1005442"/>
                  <a:gd name="connsiteX191" fmla="*/ 100068 w 891080"/>
                  <a:gd name="connsiteY191" fmla="*/ 752890 h 1005442"/>
                  <a:gd name="connsiteX192" fmla="*/ 104833 w 891080"/>
                  <a:gd name="connsiteY192" fmla="*/ 752890 h 1005442"/>
                  <a:gd name="connsiteX193" fmla="*/ 128658 w 891080"/>
                  <a:gd name="connsiteY193" fmla="*/ 743360 h 1005442"/>
                  <a:gd name="connsiteX194" fmla="*/ 133424 w 891080"/>
                  <a:gd name="connsiteY194" fmla="*/ 738594 h 1005442"/>
                  <a:gd name="connsiteX195" fmla="*/ 147719 w 891080"/>
                  <a:gd name="connsiteY195" fmla="*/ 729064 h 1005442"/>
                  <a:gd name="connsiteX196" fmla="*/ 157249 w 891080"/>
                  <a:gd name="connsiteY196" fmla="*/ 719534 h 1005442"/>
                  <a:gd name="connsiteX197" fmla="*/ 162014 w 891080"/>
                  <a:gd name="connsiteY197" fmla="*/ 710004 h 1005442"/>
                  <a:gd name="connsiteX198" fmla="*/ 181075 w 891080"/>
                  <a:gd name="connsiteY198" fmla="*/ 657588 h 1005442"/>
                  <a:gd name="connsiteX199" fmla="*/ 195370 w 891080"/>
                  <a:gd name="connsiteY199" fmla="*/ 628996 h 1005442"/>
                  <a:gd name="connsiteX200" fmla="*/ 190605 w 891080"/>
                  <a:gd name="connsiteY200" fmla="*/ 614702 h 1005442"/>
                  <a:gd name="connsiteX201" fmla="*/ 181075 w 891080"/>
                  <a:gd name="connsiteY201" fmla="*/ 590876 h 1005442"/>
                  <a:gd name="connsiteX202" fmla="*/ 176310 w 891080"/>
                  <a:gd name="connsiteY202" fmla="*/ 562286 h 1005442"/>
                  <a:gd name="connsiteX203" fmla="*/ 176310 w 891080"/>
                  <a:gd name="connsiteY203" fmla="*/ 552754 h 1005442"/>
                  <a:gd name="connsiteX204" fmla="*/ 176310 w 891080"/>
                  <a:gd name="connsiteY204" fmla="*/ 547990 h 1005442"/>
                  <a:gd name="connsiteX205" fmla="*/ 166779 w 891080"/>
                  <a:gd name="connsiteY205" fmla="*/ 562286 h 1005442"/>
                  <a:gd name="connsiteX206" fmla="*/ 171545 w 891080"/>
                  <a:gd name="connsiteY206" fmla="*/ 605172 h 1005442"/>
                  <a:gd name="connsiteX207" fmla="*/ 162014 w 891080"/>
                  <a:gd name="connsiteY207" fmla="*/ 624232 h 1005442"/>
                  <a:gd name="connsiteX208" fmla="*/ 152484 w 891080"/>
                  <a:gd name="connsiteY208" fmla="*/ 628996 h 1005442"/>
                  <a:gd name="connsiteX209" fmla="*/ 147719 w 891080"/>
                  <a:gd name="connsiteY209" fmla="*/ 624232 h 1005442"/>
                  <a:gd name="connsiteX210" fmla="*/ 152484 w 891080"/>
                  <a:gd name="connsiteY210" fmla="*/ 590876 h 1005442"/>
                  <a:gd name="connsiteX211" fmla="*/ 142954 w 891080"/>
                  <a:gd name="connsiteY211" fmla="*/ 600406 h 1005442"/>
                  <a:gd name="connsiteX212" fmla="*/ 133424 w 891080"/>
                  <a:gd name="connsiteY212" fmla="*/ 619466 h 1005442"/>
                  <a:gd name="connsiteX213" fmla="*/ 114363 w 891080"/>
                  <a:gd name="connsiteY213" fmla="*/ 638528 h 1005442"/>
                  <a:gd name="connsiteX214" fmla="*/ 109598 w 891080"/>
                  <a:gd name="connsiteY214" fmla="*/ 643292 h 1005442"/>
                  <a:gd name="connsiteX215" fmla="*/ 104833 w 891080"/>
                  <a:gd name="connsiteY215" fmla="*/ 648058 h 1005442"/>
                  <a:gd name="connsiteX216" fmla="*/ 90537 w 891080"/>
                  <a:gd name="connsiteY216" fmla="*/ 643292 h 1005442"/>
                  <a:gd name="connsiteX217" fmla="*/ 81007 w 891080"/>
                  <a:gd name="connsiteY217" fmla="*/ 633762 h 1005442"/>
                  <a:gd name="connsiteX218" fmla="*/ 42886 w 891080"/>
                  <a:gd name="connsiteY218" fmla="*/ 600406 h 1005442"/>
                  <a:gd name="connsiteX219" fmla="*/ 19061 w 891080"/>
                  <a:gd name="connsiteY219" fmla="*/ 590876 h 1005442"/>
                  <a:gd name="connsiteX220" fmla="*/ 4765 w 891080"/>
                  <a:gd name="connsiteY220" fmla="*/ 581346 h 1005442"/>
                  <a:gd name="connsiteX221" fmla="*/ 4765 w 891080"/>
                  <a:gd name="connsiteY221" fmla="*/ 576580 h 1005442"/>
                  <a:gd name="connsiteX222" fmla="*/ 0 w 891080"/>
                  <a:gd name="connsiteY222" fmla="*/ 567050 h 1005442"/>
                  <a:gd name="connsiteX223" fmla="*/ 14295 w 891080"/>
                  <a:gd name="connsiteY223" fmla="*/ 562286 h 1005442"/>
                  <a:gd name="connsiteX224" fmla="*/ 28591 w 891080"/>
                  <a:gd name="connsiteY224" fmla="*/ 547990 h 1005442"/>
                  <a:gd name="connsiteX225" fmla="*/ 33356 w 891080"/>
                  <a:gd name="connsiteY225" fmla="*/ 528930 h 1005442"/>
                  <a:gd name="connsiteX226" fmla="*/ 33356 w 891080"/>
                  <a:gd name="connsiteY226" fmla="*/ 509868 h 1005442"/>
                  <a:gd name="connsiteX227" fmla="*/ 19061 w 891080"/>
                  <a:gd name="connsiteY227" fmla="*/ 481278 h 1005442"/>
                  <a:gd name="connsiteX228" fmla="*/ 28591 w 891080"/>
                  <a:gd name="connsiteY228" fmla="*/ 443156 h 1005442"/>
                  <a:gd name="connsiteX229" fmla="*/ 23826 w 891080"/>
                  <a:gd name="connsiteY229" fmla="*/ 424096 h 1005442"/>
                  <a:gd name="connsiteX230" fmla="*/ 9530 w 891080"/>
                  <a:gd name="connsiteY230" fmla="*/ 395506 h 1005442"/>
                  <a:gd name="connsiteX231" fmla="*/ 19061 w 891080"/>
                  <a:gd name="connsiteY231" fmla="*/ 376446 h 1005442"/>
                  <a:gd name="connsiteX232" fmla="*/ 52416 w 891080"/>
                  <a:gd name="connsiteY232" fmla="*/ 366914 h 1005442"/>
                  <a:gd name="connsiteX233" fmla="*/ 66712 w 891080"/>
                  <a:gd name="connsiteY233" fmla="*/ 357384 h 1005442"/>
                  <a:gd name="connsiteX234" fmla="*/ 71477 w 891080"/>
                  <a:gd name="connsiteY234" fmla="*/ 333558 h 1005442"/>
                  <a:gd name="connsiteX235" fmla="*/ 81007 w 891080"/>
                  <a:gd name="connsiteY235" fmla="*/ 314498 h 1005442"/>
                  <a:gd name="connsiteX236" fmla="*/ 95303 w 891080"/>
                  <a:gd name="connsiteY236" fmla="*/ 324028 h 1005442"/>
                  <a:gd name="connsiteX237" fmla="*/ 104833 w 891080"/>
                  <a:gd name="connsiteY237" fmla="*/ 324028 h 1005442"/>
                  <a:gd name="connsiteX238" fmla="*/ 90537 w 891080"/>
                  <a:gd name="connsiteY238" fmla="*/ 314498 h 1005442"/>
                  <a:gd name="connsiteX239" fmla="*/ 76242 w 891080"/>
                  <a:gd name="connsiteY239" fmla="*/ 295438 h 1005442"/>
                  <a:gd name="connsiteX240" fmla="*/ 76242 w 891080"/>
                  <a:gd name="connsiteY240" fmla="*/ 281142 h 1005442"/>
                  <a:gd name="connsiteX241" fmla="*/ 100068 w 891080"/>
                  <a:gd name="connsiteY241" fmla="*/ 252552 h 1005442"/>
                  <a:gd name="connsiteX242" fmla="*/ 114363 w 891080"/>
                  <a:gd name="connsiteY242" fmla="*/ 243022 h 1005442"/>
                  <a:gd name="connsiteX243" fmla="*/ 128658 w 891080"/>
                  <a:gd name="connsiteY243" fmla="*/ 228726 h 1005442"/>
                  <a:gd name="connsiteX244" fmla="*/ 142954 w 891080"/>
                  <a:gd name="connsiteY244" fmla="*/ 200136 h 1005442"/>
                  <a:gd name="connsiteX245" fmla="*/ 147719 w 891080"/>
                  <a:gd name="connsiteY245" fmla="*/ 162014 h 1005442"/>
                  <a:gd name="connsiteX246" fmla="*/ 142954 w 891080"/>
                  <a:gd name="connsiteY246" fmla="*/ 133424 h 1005442"/>
                  <a:gd name="connsiteX247" fmla="*/ 138189 w 891080"/>
                  <a:gd name="connsiteY247" fmla="*/ 100068 h 1005442"/>
                  <a:gd name="connsiteX248" fmla="*/ 147719 w 891080"/>
                  <a:gd name="connsiteY248" fmla="*/ 95302 h 1005442"/>
                  <a:gd name="connsiteX249" fmla="*/ 166779 w 891080"/>
                  <a:gd name="connsiteY249" fmla="*/ 90538 h 1005442"/>
                  <a:gd name="connsiteX250" fmla="*/ 181075 w 891080"/>
                  <a:gd name="connsiteY250" fmla="*/ 81008 h 1005442"/>
                  <a:gd name="connsiteX251" fmla="*/ 190605 w 891080"/>
                  <a:gd name="connsiteY251" fmla="*/ 71476 h 1005442"/>
                  <a:gd name="connsiteX252" fmla="*/ 209666 w 891080"/>
                  <a:gd name="connsiteY252" fmla="*/ 71476 h 1005442"/>
                  <a:gd name="connsiteX253" fmla="*/ 233491 w 891080"/>
                  <a:gd name="connsiteY253" fmla="*/ 57182 h 1005442"/>
                  <a:gd name="connsiteX254" fmla="*/ 271612 w 891080"/>
                  <a:gd name="connsiteY254" fmla="*/ 52416 h 1005442"/>
                  <a:gd name="connsiteX255" fmla="*/ 324029 w 891080"/>
                  <a:gd name="connsiteY255" fmla="*/ 38122 h 1005442"/>
                  <a:gd name="connsiteX256" fmla="*/ 333559 w 891080"/>
                  <a:gd name="connsiteY256" fmla="*/ 23826 h 1005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</a:cxnLst>
                <a:rect l="l" t="t" r="r" b="b"/>
                <a:pathLst>
                  <a:path w="891080" h="1005442">
                    <a:moveTo>
                      <a:pt x="138189" y="643292"/>
                    </a:moveTo>
                    <a:lnTo>
                      <a:pt x="152484" y="643292"/>
                    </a:lnTo>
                    <a:lnTo>
                      <a:pt x="166780" y="652822"/>
                    </a:lnTo>
                    <a:lnTo>
                      <a:pt x="147719" y="667118"/>
                    </a:lnTo>
                    <a:lnTo>
                      <a:pt x="138189" y="667118"/>
                    </a:lnTo>
                    <a:lnTo>
                      <a:pt x="138189" y="671882"/>
                    </a:lnTo>
                    <a:lnTo>
                      <a:pt x="128659" y="690942"/>
                    </a:lnTo>
                    <a:lnTo>
                      <a:pt x="128659" y="695708"/>
                    </a:lnTo>
                    <a:lnTo>
                      <a:pt x="114363" y="695708"/>
                    </a:lnTo>
                    <a:lnTo>
                      <a:pt x="109598" y="695708"/>
                    </a:lnTo>
                    <a:lnTo>
                      <a:pt x="109598" y="686178"/>
                    </a:lnTo>
                    <a:lnTo>
                      <a:pt x="114363" y="662352"/>
                    </a:lnTo>
                    <a:lnTo>
                      <a:pt x="114363" y="657588"/>
                    </a:lnTo>
                    <a:lnTo>
                      <a:pt x="128659" y="648058"/>
                    </a:lnTo>
                    <a:close/>
                    <a:moveTo>
                      <a:pt x="319263" y="14296"/>
                    </a:moveTo>
                    <a:lnTo>
                      <a:pt x="324028" y="14296"/>
                    </a:lnTo>
                    <a:lnTo>
                      <a:pt x="324028" y="28592"/>
                    </a:lnTo>
                    <a:lnTo>
                      <a:pt x="314498" y="28592"/>
                    </a:lnTo>
                    <a:lnTo>
                      <a:pt x="309733" y="23826"/>
                    </a:lnTo>
                    <a:close/>
                    <a:moveTo>
                      <a:pt x="328794" y="0"/>
                    </a:moveTo>
                    <a:lnTo>
                      <a:pt x="333559" y="0"/>
                    </a:lnTo>
                    <a:lnTo>
                      <a:pt x="347854" y="14296"/>
                    </a:lnTo>
                    <a:lnTo>
                      <a:pt x="357385" y="23826"/>
                    </a:lnTo>
                    <a:lnTo>
                      <a:pt x="371680" y="33356"/>
                    </a:lnTo>
                    <a:lnTo>
                      <a:pt x="385975" y="38122"/>
                    </a:lnTo>
                    <a:lnTo>
                      <a:pt x="414566" y="61946"/>
                    </a:lnTo>
                    <a:lnTo>
                      <a:pt x="433627" y="76242"/>
                    </a:lnTo>
                    <a:lnTo>
                      <a:pt x="457452" y="85772"/>
                    </a:lnTo>
                    <a:lnTo>
                      <a:pt x="490808" y="95302"/>
                    </a:lnTo>
                    <a:lnTo>
                      <a:pt x="509869" y="95302"/>
                    </a:lnTo>
                    <a:lnTo>
                      <a:pt x="514634" y="104832"/>
                    </a:lnTo>
                    <a:lnTo>
                      <a:pt x="519399" y="114364"/>
                    </a:lnTo>
                    <a:lnTo>
                      <a:pt x="524164" y="119128"/>
                    </a:lnTo>
                    <a:lnTo>
                      <a:pt x="538460" y="123894"/>
                    </a:lnTo>
                    <a:lnTo>
                      <a:pt x="543225" y="123894"/>
                    </a:lnTo>
                    <a:lnTo>
                      <a:pt x="547990" y="123894"/>
                    </a:lnTo>
                    <a:lnTo>
                      <a:pt x="552755" y="157250"/>
                    </a:lnTo>
                    <a:lnTo>
                      <a:pt x="557520" y="162014"/>
                    </a:lnTo>
                    <a:lnTo>
                      <a:pt x="576580" y="166780"/>
                    </a:lnTo>
                    <a:lnTo>
                      <a:pt x="595641" y="171544"/>
                    </a:lnTo>
                    <a:lnTo>
                      <a:pt x="600406" y="171544"/>
                    </a:lnTo>
                    <a:lnTo>
                      <a:pt x="619467" y="181074"/>
                    </a:lnTo>
                    <a:lnTo>
                      <a:pt x="633762" y="185840"/>
                    </a:lnTo>
                    <a:lnTo>
                      <a:pt x="648057" y="185840"/>
                    </a:lnTo>
                    <a:lnTo>
                      <a:pt x="657588" y="185840"/>
                    </a:lnTo>
                    <a:lnTo>
                      <a:pt x="662353" y="185840"/>
                    </a:lnTo>
                    <a:lnTo>
                      <a:pt x="662353" y="181074"/>
                    </a:lnTo>
                    <a:lnTo>
                      <a:pt x="671883" y="185840"/>
                    </a:lnTo>
                    <a:lnTo>
                      <a:pt x="681413" y="185840"/>
                    </a:lnTo>
                    <a:lnTo>
                      <a:pt x="700474" y="190606"/>
                    </a:lnTo>
                    <a:lnTo>
                      <a:pt x="710004" y="185840"/>
                    </a:lnTo>
                    <a:lnTo>
                      <a:pt x="710004" y="176310"/>
                    </a:lnTo>
                    <a:lnTo>
                      <a:pt x="710004" y="166780"/>
                    </a:lnTo>
                    <a:lnTo>
                      <a:pt x="714769" y="162014"/>
                    </a:lnTo>
                    <a:lnTo>
                      <a:pt x="729065" y="157250"/>
                    </a:lnTo>
                    <a:lnTo>
                      <a:pt x="733830" y="157250"/>
                    </a:lnTo>
                    <a:lnTo>
                      <a:pt x="767186" y="171544"/>
                    </a:lnTo>
                    <a:lnTo>
                      <a:pt x="771951" y="176310"/>
                    </a:lnTo>
                    <a:lnTo>
                      <a:pt x="781481" y="185840"/>
                    </a:lnTo>
                    <a:lnTo>
                      <a:pt x="795776" y="200136"/>
                    </a:lnTo>
                    <a:lnTo>
                      <a:pt x="810072" y="209666"/>
                    </a:lnTo>
                    <a:lnTo>
                      <a:pt x="833898" y="214430"/>
                    </a:lnTo>
                    <a:lnTo>
                      <a:pt x="862488" y="233492"/>
                    </a:lnTo>
                    <a:lnTo>
                      <a:pt x="886314" y="243022"/>
                    </a:lnTo>
                    <a:lnTo>
                      <a:pt x="881548" y="247786"/>
                    </a:lnTo>
                    <a:lnTo>
                      <a:pt x="872018" y="247786"/>
                    </a:lnTo>
                    <a:lnTo>
                      <a:pt x="857724" y="247786"/>
                    </a:lnTo>
                    <a:lnTo>
                      <a:pt x="843428" y="243022"/>
                    </a:lnTo>
                    <a:lnTo>
                      <a:pt x="833898" y="243022"/>
                    </a:lnTo>
                    <a:lnTo>
                      <a:pt x="833898" y="247786"/>
                    </a:lnTo>
                    <a:lnTo>
                      <a:pt x="857724" y="262082"/>
                    </a:lnTo>
                    <a:lnTo>
                      <a:pt x="857724" y="276378"/>
                    </a:lnTo>
                    <a:lnTo>
                      <a:pt x="867254" y="290672"/>
                    </a:lnTo>
                    <a:lnTo>
                      <a:pt x="881548" y="304968"/>
                    </a:lnTo>
                    <a:lnTo>
                      <a:pt x="891080" y="309734"/>
                    </a:lnTo>
                    <a:lnTo>
                      <a:pt x="891080" y="319264"/>
                    </a:lnTo>
                    <a:lnTo>
                      <a:pt x="891080" y="328794"/>
                    </a:lnTo>
                    <a:lnTo>
                      <a:pt x="886314" y="333558"/>
                    </a:lnTo>
                    <a:lnTo>
                      <a:pt x="891080" y="371680"/>
                    </a:lnTo>
                    <a:lnTo>
                      <a:pt x="891080" y="376446"/>
                    </a:lnTo>
                    <a:lnTo>
                      <a:pt x="886314" y="376446"/>
                    </a:lnTo>
                    <a:lnTo>
                      <a:pt x="876784" y="376446"/>
                    </a:lnTo>
                    <a:lnTo>
                      <a:pt x="872018" y="371680"/>
                    </a:lnTo>
                    <a:lnTo>
                      <a:pt x="867254" y="371680"/>
                    </a:lnTo>
                    <a:lnTo>
                      <a:pt x="867254" y="376446"/>
                    </a:lnTo>
                    <a:lnTo>
                      <a:pt x="862488" y="390740"/>
                    </a:lnTo>
                    <a:lnTo>
                      <a:pt x="852958" y="428862"/>
                    </a:lnTo>
                    <a:lnTo>
                      <a:pt x="843428" y="462218"/>
                    </a:lnTo>
                    <a:lnTo>
                      <a:pt x="833898" y="476512"/>
                    </a:lnTo>
                    <a:lnTo>
                      <a:pt x="814836" y="495574"/>
                    </a:lnTo>
                    <a:lnTo>
                      <a:pt x="795776" y="519398"/>
                    </a:lnTo>
                    <a:lnTo>
                      <a:pt x="762421" y="557520"/>
                    </a:lnTo>
                    <a:lnTo>
                      <a:pt x="738595" y="576580"/>
                    </a:lnTo>
                    <a:lnTo>
                      <a:pt x="719534" y="590876"/>
                    </a:lnTo>
                    <a:lnTo>
                      <a:pt x="695709" y="605172"/>
                    </a:lnTo>
                    <a:lnTo>
                      <a:pt x="671883" y="624232"/>
                    </a:lnTo>
                    <a:lnTo>
                      <a:pt x="638527" y="638528"/>
                    </a:lnTo>
                    <a:lnTo>
                      <a:pt x="595641" y="652822"/>
                    </a:lnTo>
                    <a:lnTo>
                      <a:pt x="562285" y="662352"/>
                    </a:lnTo>
                    <a:lnTo>
                      <a:pt x="538460" y="671884"/>
                    </a:lnTo>
                    <a:lnTo>
                      <a:pt x="514634" y="681414"/>
                    </a:lnTo>
                    <a:lnTo>
                      <a:pt x="486043" y="690944"/>
                    </a:lnTo>
                    <a:lnTo>
                      <a:pt x="471748" y="700474"/>
                    </a:lnTo>
                    <a:lnTo>
                      <a:pt x="452687" y="724300"/>
                    </a:lnTo>
                    <a:lnTo>
                      <a:pt x="443157" y="738594"/>
                    </a:lnTo>
                    <a:lnTo>
                      <a:pt x="433627" y="748126"/>
                    </a:lnTo>
                    <a:lnTo>
                      <a:pt x="433627" y="752890"/>
                    </a:lnTo>
                    <a:lnTo>
                      <a:pt x="433627" y="757656"/>
                    </a:lnTo>
                    <a:lnTo>
                      <a:pt x="438392" y="762420"/>
                    </a:lnTo>
                    <a:lnTo>
                      <a:pt x="438392" y="767186"/>
                    </a:lnTo>
                    <a:lnTo>
                      <a:pt x="433627" y="771950"/>
                    </a:lnTo>
                    <a:lnTo>
                      <a:pt x="428862" y="771950"/>
                    </a:lnTo>
                    <a:lnTo>
                      <a:pt x="424096" y="767186"/>
                    </a:lnTo>
                    <a:lnTo>
                      <a:pt x="424096" y="762420"/>
                    </a:lnTo>
                    <a:lnTo>
                      <a:pt x="419331" y="757656"/>
                    </a:lnTo>
                    <a:lnTo>
                      <a:pt x="414566" y="752890"/>
                    </a:lnTo>
                    <a:lnTo>
                      <a:pt x="409801" y="757656"/>
                    </a:lnTo>
                    <a:lnTo>
                      <a:pt x="409801" y="762420"/>
                    </a:lnTo>
                    <a:lnTo>
                      <a:pt x="400271" y="786246"/>
                    </a:lnTo>
                    <a:lnTo>
                      <a:pt x="400271" y="800542"/>
                    </a:lnTo>
                    <a:lnTo>
                      <a:pt x="400271" y="805306"/>
                    </a:lnTo>
                    <a:lnTo>
                      <a:pt x="400271" y="814836"/>
                    </a:lnTo>
                    <a:lnTo>
                      <a:pt x="390741" y="824368"/>
                    </a:lnTo>
                    <a:lnTo>
                      <a:pt x="385975" y="833898"/>
                    </a:lnTo>
                    <a:lnTo>
                      <a:pt x="385975" y="843428"/>
                    </a:lnTo>
                    <a:lnTo>
                      <a:pt x="376445" y="848192"/>
                    </a:lnTo>
                    <a:lnTo>
                      <a:pt x="376445" y="857724"/>
                    </a:lnTo>
                    <a:lnTo>
                      <a:pt x="366915" y="876784"/>
                    </a:lnTo>
                    <a:lnTo>
                      <a:pt x="362150" y="891078"/>
                    </a:lnTo>
                    <a:lnTo>
                      <a:pt x="357385" y="900610"/>
                    </a:lnTo>
                    <a:lnTo>
                      <a:pt x="357385" y="910140"/>
                    </a:lnTo>
                    <a:lnTo>
                      <a:pt x="362150" y="914904"/>
                    </a:lnTo>
                    <a:lnTo>
                      <a:pt x="362150" y="924434"/>
                    </a:lnTo>
                    <a:lnTo>
                      <a:pt x="357385" y="933966"/>
                    </a:lnTo>
                    <a:lnTo>
                      <a:pt x="357385" y="938730"/>
                    </a:lnTo>
                    <a:lnTo>
                      <a:pt x="347854" y="943496"/>
                    </a:lnTo>
                    <a:lnTo>
                      <a:pt x="328794" y="953026"/>
                    </a:lnTo>
                    <a:lnTo>
                      <a:pt x="324029" y="962556"/>
                    </a:lnTo>
                    <a:lnTo>
                      <a:pt x="319264" y="972086"/>
                    </a:lnTo>
                    <a:lnTo>
                      <a:pt x="319264" y="976852"/>
                    </a:lnTo>
                    <a:lnTo>
                      <a:pt x="319264" y="986382"/>
                    </a:lnTo>
                    <a:lnTo>
                      <a:pt x="309733" y="986382"/>
                    </a:lnTo>
                    <a:lnTo>
                      <a:pt x="309733" y="991146"/>
                    </a:lnTo>
                    <a:lnTo>
                      <a:pt x="300203" y="1000676"/>
                    </a:lnTo>
                    <a:lnTo>
                      <a:pt x="295438" y="1005442"/>
                    </a:lnTo>
                    <a:lnTo>
                      <a:pt x="276377" y="1000676"/>
                    </a:lnTo>
                    <a:lnTo>
                      <a:pt x="266847" y="1000676"/>
                    </a:lnTo>
                    <a:lnTo>
                      <a:pt x="257317" y="995912"/>
                    </a:lnTo>
                    <a:lnTo>
                      <a:pt x="238256" y="972086"/>
                    </a:lnTo>
                    <a:lnTo>
                      <a:pt x="228726" y="957790"/>
                    </a:lnTo>
                    <a:lnTo>
                      <a:pt x="228726" y="933966"/>
                    </a:lnTo>
                    <a:lnTo>
                      <a:pt x="219196" y="929200"/>
                    </a:lnTo>
                    <a:lnTo>
                      <a:pt x="209666" y="919670"/>
                    </a:lnTo>
                    <a:lnTo>
                      <a:pt x="195370" y="924434"/>
                    </a:lnTo>
                    <a:lnTo>
                      <a:pt x="181075" y="924434"/>
                    </a:lnTo>
                    <a:lnTo>
                      <a:pt x="176310" y="919670"/>
                    </a:lnTo>
                    <a:lnTo>
                      <a:pt x="157249" y="910140"/>
                    </a:lnTo>
                    <a:lnTo>
                      <a:pt x="142954" y="900610"/>
                    </a:lnTo>
                    <a:lnTo>
                      <a:pt x="128658" y="895844"/>
                    </a:lnTo>
                    <a:lnTo>
                      <a:pt x="119128" y="900610"/>
                    </a:lnTo>
                    <a:lnTo>
                      <a:pt x="114363" y="905374"/>
                    </a:lnTo>
                    <a:lnTo>
                      <a:pt x="104833" y="914904"/>
                    </a:lnTo>
                    <a:lnTo>
                      <a:pt x="90537" y="924434"/>
                    </a:lnTo>
                    <a:lnTo>
                      <a:pt x="85772" y="924434"/>
                    </a:lnTo>
                    <a:lnTo>
                      <a:pt x="76242" y="919670"/>
                    </a:lnTo>
                    <a:lnTo>
                      <a:pt x="76242" y="910140"/>
                    </a:lnTo>
                    <a:lnTo>
                      <a:pt x="81007" y="900610"/>
                    </a:lnTo>
                    <a:lnTo>
                      <a:pt x="95303" y="881548"/>
                    </a:lnTo>
                    <a:lnTo>
                      <a:pt x="81007" y="881548"/>
                    </a:lnTo>
                    <a:lnTo>
                      <a:pt x="76242" y="876784"/>
                    </a:lnTo>
                    <a:lnTo>
                      <a:pt x="76242" y="867254"/>
                    </a:lnTo>
                    <a:lnTo>
                      <a:pt x="71477" y="862488"/>
                    </a:lnTo>
                    <a:lnTo>
                      <a:pt x="76242" y="852958"/>
                    </a:lnTo>
                    <a:lnTo>
                      <a:pt x="81007" y="848192"/>
                    </a:lnTo>
                    <a:lnTo>
                      <a:pt x="95303" y="852958"/>
                    </a:lnTo>
                    <a:lnTo>
                      <a:pt x="104833" y="852958"/>
                    </a:lnTo>
                    <a:lnTo>
                      <a:pt x="109598" y="843428"/>
                    </a:lnTo>
                    <a:lnTo>
                      <a:pt x="114363" y="838662"/>
                    </a:lnTo>
                    <a:lnTo>
                      <a:pt x="119128" y="833898"/>
                    </a:lnTo>
                    <a:lnTo>
                      <a:pt x="123893" y="833898"/>
                    </a:lnTo>
                    <a:lnTo>
                      <a:pt x="119128" y="819602"/>
                    </a:lnTo>
                    <a:lnTo>
                      <a:pt x="114363" y="810072"/>
                    </a:lnTo>
                    <a:lnTo>
                      <a:pt x="119128" y="805306"/>
                    </a:lnTo>
                    <a:lnTo>
                      <a:pt x="119128" y="795776"/>
                    </a:lnTo>
                    <a:lnTo>
                      <a:pt x="119128" y="791012"/>
                    </a:lnTo>
                    <a:lnTo>
                      <a:pt x="114363" y="786246"/>
                    </a:lnTo>
                    <a:lnTo>
                      <a:pt x="114363" y="776716"/>
                    </a:lnTo>
                    <a:lnTo>
                      <a:pt x="109598" y="771950"/>
                    </a:lnTo>
                    <a:lnTo>
                      <a:pt x="109598" y="767186"/>
                    </a:lnTo>
                    <a:lnTo>
                      <a:pt x="109598" y="762420"/>
                    </a:lnTo>
                    <a:lnTo>
                      <a:pt x="104833" y="757656"/>
                    </a:lnTo>
                    <a:lnTo>
                      <a:pt x="100068" y="752890"/>
                    </a:lnTo>
                    <a:lnTo>
                      <a:pt x="104833" y="752890"/>
                    </a:lnTo>
                    <a:lnTo>
                      <a:pt x="128658" y="743360"/>
                    </a:lnTo>
                    <a:lnTo>
                      <a:pt x="133424" y="738594"/>
                    </a:lnTo>
                    <a:lnTo>
                      <a:pt x="147719" y="729064"/>
                    </a:lnTo>
                    <a:lnTo>
                      <a:pt x="157249" y="719534"/>
                    </a:lnTo>
                    <a:lnTo>
                      <a:pt x="162014" y="710004"/>
                    </a:lnTo>
                    <a:lnTo>
                      <a:pt x="181075" y="657588"/>
                    </a:lnTo>
                    <a:lnTo>
                      <a:pt x="195370" y="628996"/>
                    </a:lnTo>
                    <a:lnTo>
                      <a:pt x="190605" y="614702"/>
                    </a:lnTo>
                    <a:lnTo>
                      <a:pt x="181075" y="590876"/>
                    </a:lnTo>
                    <a:lnTo>
                      <a:pt x="176310" y="562286"/>
                    </a:lnTo>
                    <a:lnTo>
                      <a:pt x="176310" y="552754"/>
                    </a:lnTo>
                    <a:lnTo>
                      <a:pt x="176310" y="547990"/>
                    </a:lnTo>
                    <a:lnTo>
                      <a:pt x="166779" y="562286"/>
                    </a:lnTo>
                    <a:lnTo>
                      <a:pt x="171545" y="605172"/>
                    </a:lnTo>
                    <a:lnTo>
                      <a:pt x="162014" y="624232"/>
                    </a:lnTo>
                    <a:lnTo>
                      <a:pt x="152484" y="628996"/>
                    </a:lnTo>
                    <a:lnTo>
                      <a:pt x="147719" y="624232"/>
                    </a:lnTo>
                    <a:lnTo>
                      <a:pt x="152484" y="590876"/>
                    </a:lnTo>
                    <a:lnTo>
                      <a:pt x="142954" y="600406"/>
                    </a:lnTo>
                    <a:lnTo>
                      <a:pt x="133424" y="619466"/>
                    </a:lnTo>
                    <a:lnTo>
                      <a:pt x="114363" y="638528"/>
                    </a:lnTo>
                    <a:lnTo>
                      <a:pt x="109598" y="643292"/>
                    </a:lnTo>
                    <a:lnTo>
                      <a:pt x="104833" y="648058"/>
                    </a:lnTo>
                    <a:lnTo>
                      <a:pt x="90537" y="643292"/>
                    </a:lnTo>
                    <a:lnTo>
                      <a:pt x="81007" y="633762"/>
                    </a:lnTo>
                    <a:lnTo>
                      <a:pt x="42886" y="600406"/>
                    </a:lnTo>
                    <a:lnTo>
                      <a:pt x="19061" y="590876"/>
                    </a:lnTo>
                    <a:lnTo>
                      <a:pt x="4765" y="581346"/>
                    </a:lnTo>
                    <a:lnTo>
                      <a:pt x="4765" y="576580"/>
                    </a:lnTo>
                    <a:lnTo>
                      <a:pt x="0" y="567050"/>
                    </a:lnTo>
                    <a:lnTo>
                      <a:pt x="14295" y="562286"/>
                    </a:lnTo>
                    <a:lnTo>
                      <a:pt x="28591" y="547990"/>
                    </a:lnTo>
                    <a:lnTo>
                      <a:pt x="33356" y="528930"/>
                    </a:lnTo>
                    <a:lnTo>
                      <a:pt x="33356" y="509868"/>
                    </a:lnTo>
                    <a:lnTo>
                      <a:pt x="19061" y="481278"/>
                    </a:lnTo>
                    <a:lnTo>
                      <a:pt x="28591" y="443156"/>
                    </a:lnTo>
                    <a:lnTo>
                      <a:pt x="23826" y="424096"/>
                    </a:lnTo>
                    <a:lnTo>
                      <a:pt x="9530" y="395506"/>
                    </a:lnTo>
                    <a:lnTo>
                      <a:pt x="19061" y="376446"/>
                    </a:lnTo>
                    <a:lnTo>
                      <a:pt x="52416" y="366914"/>
                    </a:lnTo>
                    <a:lnTo>
                      <a:pt x="66712" y="357384"/>
                    </a:lnTo>
                    <a:lnTo>
                      <a:pt x="71477" y="333558"/>
                    </a:lnTo>
                    <a:lnTo>
                      <a:pt x="81007" y="314498"/>
                    </a:lnTo>
                    <a:lnTo>
                      <a:pt x="95303" y="324028"/>
                    </a:lnTo>
                    <a:lnTo>
                      <a:pt x="104833" y="324028"/>
                    </a:lnTo>
                    <a:lnTo>
                      <a:pt x="90537" y="314498"/>
                    </a:lnTo>
                    <a:lnTo>
                      <a:pt x="76242" y="295438"/>
                    </a:lnTo>
                    <a:lnTo>
                      <a:pt x="76242" y="281142"/>
                    </a:lnTo>
                    <a:lnTo>
                      <a:pt x="100068" y="252552"/>
                    </a:lnTo>
                    <a:lnTo>
                      <a:pt x="114363" y="243022"/>
                    </a:lnTo>
                    <a:lnTo>
                      <a:pt x="128658" y="228726"/>
                    </a:lnTo>
                    <a:lnTo>
                      <a:pt x="142954" y="200136"/>
                    </a:lnTo>
                    <a:lnTo>
                      <a:pt x="147719" y="162014"/>
                    </a:lnTo>
                    <a:lnTo>
                      <a:pt x="142954" y="133424"/>
                    </a:lnTo>
                    <a:lnTo>
                      <a:pt x="138189" y="100068"/>
                    </a:lnTo>
                    <a:lnTo>
                      <a:pt x="147719" y="95302"/>
                    </a:lnTo>
                    <a:lnTo>
                      <a:pt x="166779" y="90538"/>
                    </a:lnTo>
                    <a:lnTo>
                      <a:pt x="181075" y="81008"/>
                    </a:lnTo>
                    <a:lnTo>
                      <a:pt x="190605" y="71476"/>
                    </a:lnTo>
                    <a:lnTo>
                      <a:pt x="209666" y="71476"/>
                    </a:lnTo>
                    <a:lnTo>
                      <a:pt x="233491" y="57182"/>
                    </a:lnTo>
                    <a:lnTo>
                      <a:pt x="271612" y="52416"/>
                    </a:lnTo>
                    <a:lnTo>
                      <a:pt x="324029" y="38122"/>
                    </a:lnTo>
                    <a:lnTo>
                      <a:pt x="333559" y="23826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41" name="Freeform 4647">
              <a:extLst>
                <a:ext uri="{FF2B5EF4-FFF2-40B4-BE49-F238E27FC236}">
                  <a16:creationId xmlns:a16="http://schemas.microsoft.com/office/drawing/2014/main" id="{D10CA322-4C68-447F-B33C-C2B2B07765A7}"/>
                </a:ext>
              </a:extLst>
            </p:cNvPr>
            <p:cNvSpPr/>
            <p:nvPr/>
          </p:nvSpPr>
          <p:spPr bwMode="auto">
            <a:xfrm>
              <a:off x="5922863" y="4565302"/>
              <a:ext cx="307580" cy="274432"/>
            </a:xfrm>
            <a:custGeom>
              <a:avLst/>
              <a:gdLst>
                <a:gd name="T0" fmla="*/ 588 w 798"/>
                <a:gd name="T1" fmla="*/ 42 h 712"/>
                <a:gd name="T2" fmla="*/ 552 w 798"/>
                <a:gd name="T3" fmla="*/ 38 h 712"/>
                <a:gd name="T4" fmla="*/ 518 w 798"/>
                <a:gd name="T5" fmla="*/ 46 h 712"/>
                <a:gd name="T6" fmla="*/ 492 w 798"/>
                <a:gd name="T7" fmla="*/ 28 h 712"/>
                <a:gd name="T8" fmla="*/ 484 w 798"/>
                <a:gd name="T9" fmla="*/ 44 h 712"/>
                <a:gd name="T10" fmla="*/ 464 w 798"/>
                <a:gd name="T11" fmla="*/ 28 h 712"/>
                <a:gd name="T12" fmla="*/ 486 w 798"/>
                <a:gd name="T13" fmla="*/ 26 h 712"/>
                <a:gd name="T14" fmla="*/ 452 w 798"/>
                <a:gd name="T15" fmla="*/ 16 h 712"/>
                <a:gd name="T16" fmla="*/ 416 w 798"/>
                <a:gd name="T17" fmla="*/ 6 h 712"/>
                <a:gd name="T18" fmla="*/ 392 w 798"/>
                <a:gd name="T19" fmla="*/ 20 h 712"/>
                <a:gd name="T20" fmla="*/ 384 w 798"/>
                <a:gd name="T21" fmla="*/ 14 h 712"/>
                <a:gd name="T22" fmla="*/ 364 w 798"/>
                <a:gd name="T23" fmla="*/ 26 h 712"/>
                <a:gd name="T24" fmla="*/ 342 w 798"/>
                <a:gd name="T25" fmla="*/ 34 h 712"/>
                <a:gd name="T26" fmla="*/ 292 w 798"/>
                <a:gd name="T27" fmla="*/ 64 h 712"/>
                <a:gd name="T28" fmla="*/ 250 w 798"/>
                <a:gd name="T29" fmla="*/ 48 h 712"/>
                <a:gd name="T30" fmla="*/ 186 w 798"/>
                <a:gd name="T31" fmla="*/ 34 h 712"/>
                <a:gd name="T32" fmla="*/ 78 w 798"/>
                <a:gd name="T33" fmla="*/ 4 h 712"/>
                <a:gd name="T34" fmla="*/ 26 w 798"/>
                <a:gd name="T35" fmla="*/ 2 h 712"/>
                <a:gd name="T36" fmla="*/ 10 w 798"/>
                <a:gd name="T37" fmla="*/ 26 h 712"/>
                <a:gd name="T38" fmla="*/ 18 w 798"/>
                <a:gd name="T39" fmla="*/ 68 h 712"/>
                <a:gd name="T40" fmla="*/ 0 w 798"/>
                <a:gd name="T41" fmla="*/ 108 h 712"/>
                <a:gd name="T42" fmla="*/ 6 w 798"/>
                <a:gd name="T43" fmla="*/ 142 h 712"/>
                <a:gd name="T44" fmla="*/ 18 w 798"/>
                <a:gd name="T45" fmla="*/ 188 h 712"/>
                <a:gd name="T46" fmla="*/ 436 w 798"/>
                <a:gd name="T47" fmla="*/ 698 h 712"/>
                <a:gd name="T48" fmla="*/ 442 w 798"/>
                <a:gd name="T49" fmla="*/ 706 h 712"/>
                <a:gd name="T50" fmla="*/ 798 w 798"/>
                <a:gd name="T51" fmla="*/ 712 h 712"/>
                <a:gd name="T52" fmla="*/ 756 w 798"/>
                <a:gd name="T53" fmla="*/ 666 h 712"/>
                <a:gd name="T54" fmla="*/ 720 w 798"/>
                <a:gd name="T55" fmla="*/ 644 h 712"/>
                <a:gd name="T56" fmla="*/ 708 w 798"/>
                <a:gd name="T57" fmla="*/ 580 h 712"/>
                <a:gd name="T58" fmla="*/ 726 w 798"/>
                <a:gd name="T59" fmla="*/ 574 h 712"/>
                <a:gd name="T60" fmla="*/ 688 w 798"/>
                <a:gd name="T61" fmla="*/ 534 h 712"/>
                <a:gd name="T62" fmla="*/ 630 w 798"/>
                <a:gd name="T63" fmla="*/ 422 h 712"/>
                <a:gd name="T64" fmla="*/ 600 w 798"/>
                <a:gd name="T65" fmla="*/ 338 h 712"/>
                <a:gd name="T66" fmla="*/ 580 w 798"/>
                <a:gd name="T67" fmla="*/ 306 h 712"/>
                <a:gd name="T68" fmla="*/ 568 w 798"/>
                <a:gd name="T69" fmla="*/ 274 h 712"/>
                <a:gd name="T70" fmla="*/ 534 w 798"/>
                <a:gd name="T71" fmla="*/ 230 h 712"/>
                <a:gd name="T72" fmla="*/ 520 w 798"/>
                <a:gd name="T73" fmla="*/ 204 h 712"/>
                <a:gd name="T74" fmla="*/ 504 w 798"/>
                <a:gd name="T75" fmla="*/ 162 h 712"/>
                <a:gd name="T76" fmla="*/ 508 w 798"/>
                <a:gd name="T77" fmla="*/ 132 h 712"/>
                <a:gd name="T78" fmla="*/ 528 w 798"/>
                <a:gd name="T79" fmla="*/ 168 h 712"/>
                <a:gd name="T80" fmla="*/ 552 w 798"/>
                <a:gd name="T81" fmla="*/ 204 h 712"/>
                <a:gd name="T82" fmla="*/ 570 w 798"/>
                <a:gd name="T83" fmla="*/ 248 h 712"/>
                <a:gd name="T84" fmla="*/ 624 w 798"/>
                <a:gd name="T85" fmla="*/ 294 h 712"/>
                <a:gd name="T86" fmla="*/ 638 w 798"/>
                <a:gd name="T87" fmla="*/ 250 h 712"/>
                <a:gd name="T88" fmla="*/ 668 w 798"/>
                <a:gd name="T89" fmla="*/ 166 h 712"/>
                <a:gd name="T90" fmla="*/ 652 w 798"/>
                <a:gd name="T91" fmla="*/ 112 h 712"/>
                <a:gd name="T92" fmla="*/ 636 w 798"/>
                <a:gd name="T93" fmla="*/ 64 h 712"/>
                <a:gd name="T94" fmla="*/ 622 w 798"/>
                <a:gd name="T95" fmla="*/ 26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98" h="712">
                  <a:moveTo>
                    <a:pt x="622" y="26"/>
                  </a:moveTo>
                  <a:lnTo>
                    <a:pt x="620" y="28"/>
                  </a:lnTo>
                  <a:lnTo>
                    <a:pt x="602" y="38"/>
                  </a:lnTo>
                  <a:lnTo>
                    <a:pt x="588" y="42"/>
                  </a:lnTo>
                  <a:lnTo>
                    <a:pt x="568" y="42"/>
                  </a:lnTo>
                  <a:lnTo>
                    <a:pt x="556" y="44"/>
                  </a:lnTo>
                  <a:lnTo>
                    <a:pt x="554" y="42"/>
                  </a:lnTo>
                  <a:lnTo>
                    <a:pt x="552" y="38"/>
                  </a:lnTo>
                  <a:lnTo>
                    <a:pt x="538" y="42"/>
                  </a:lnTo>
                  <a:lnTo>
                    <a:pt x="534" y="42"/>
                  </a:lnTo>
                  <a:lnTo>
                    <a:pt x="522" y="46"/>
                  </a:lnTo>
                  <a:lnTo>
                    <a:pt x="518" y="46"/>
                  </a:lnTo>
                  <a:lnTo>
                    <a:pt x="512" y="44"/>
                  </a:lnTo>
                  <a:lnTo>
                    <a:pt x="500" y="32"/>
                  </a:lnTo>
                  <a:lnTo>
                    <a:pt x="494" y="28"/>
                  </a:lnTo>
                  <a:lnTo>
                    <a:pt x="492" y="28"/>
                  </a:lnTo>
                  <a:lnTo>
                    <a:pt x="494" y="32"/>
                  </a:lnTo>
                  <a:lnTo>
                    <a:pt x="496" y="36"/>
                  </a:lnTo>
                  <a:lnTo>
                    <a:pt x="492" y="42"/>
                  </a:lnTo>
                  <a:lnTo>
                    <a:pt x="484" y="44"/>
                  </a:lnTo>
                  <a:lnTo>
                    <a:pt x="482" y="40"/>
                  </a:lnTo>
                  <a:lnTo>
                    <a:pt x="478" y="34"/>
                  </a:lnTo>
                  <a:lnTo>
                    <a:pt x="472" y="32"/>
                  </a:lnTo>
                  <a:lnTo>
                    <a:pt x="464" y="28"/>
                  </a:lnTo>
                  <a:lnTo>
                    <a:pt x="470" y="20"/>
                  </a:lnTo>
                  <a:lnTo>
                    <a:pt x="470" y="14"/>
                  </a:lnTo>
                  <a:lnTo>
                    <a:pt x="482" y="24"/>
                  </a:lnTo>
                  <a:lnTo>
                    <a:pt x="486" y="26"/>
                  </a:lnTo>
                  <a:lnTo>
                    <a:pt x="476" y="12"/>
                  </a:lnTo>
                  <a:lnTo>
                    <a:pt x="470" y="10"/>
                  </a:lnTo>
                  <a:lnTo>
                    <a:pt x="468" y="10"/>
                  </a:lnTo>
                  <a:lnTo>
                    <a:pt x="452" y="16"/>
                  </a:lnTo>
                  <a:lnTo>
                    <a:pt x="446" y="16"/>
                  </a:lnTo>
                  <a:lnTo>
                    <a:pt x="426" y="6"/>
                  </a:lnTo>
                  <a:lnTo>
                    <a:pt x="418" y="4"/>
                  </a:lnTo>
                  <a:lnTo>
                    <a:pt x="416" y="6"/>
                  </a:lnTo>
                  <a:lnTo>
                    <a:pt x="414" y="12"/>
                  </a:lnTo>
                  <a:lnTo>
                    <a:pt x="412" y="16"/>
                  </a:lnTo>
                  <a:lnTo>
                    <a:pt x="402" y="18"/>
                  </a:lnTo>
                  <a:lnTo>
                    <a:pt x="392" y="20"/>
                  </a:lnTo>
                  <a:lnTo>
                    <a:pt x="384" y="20"/>
                  </a:lnTo>
                  <a:lnTo>
                    <a:pt x="404" y="12"/>
                  </a:lnTo>
                  <a:lnTo>
                    <a:pt x="408" y="8"/>
                  </a:lnTo>
                  <a:lnTo>
                    <a:pt x="384" y="14"/>
                  </a:lnTo>
                  <a:lnTo>
                    <a:pt x="372" y="16"/>
                  </a:lnTo>
                  <a:lnTo>
                    <a:pt x="370" y="20"/>
                  </a:lnTo>
                  <a:lnTo>
                    <a:pt x="368" y="24"/>
                  </a:lnTo>
                  <a:lnTo>
                    <a:pt x="364" y="26"/>
                  </a:lnTo>
                  <a:lnTo>
                    <a:pt x="362" y="32"/>
                  </a:lnTo>
                  <a:lnTo>
                    <a:pt x="356" y="32"/>
                  </a:lnTo>
                  <a:lnTo>
                    <a:pt x="350" y="30"/>
                  </a:lnTo>
                  <a:lnTo>
                    <a:pt x="342" y="34"/>
                  </a:lnTo>
                  <a:lnTo>
                    <a:pt x="320" y="50"/>
                  </a:lnTo>
                  <a:lnTo>
                    <a:pt x="310" y="56"/>
                  </a:lnTo>
                  <a:lnTo>
                    <a:pt x="300" y="62"/>
                  </a:lnTo>
                  <a:lnTo>
                    <a:pt x="292" y="64"/>
                  </a:lnTo>
                  <a:lnTo>
                    <a:pt x="286" y="64"/>
                  </a:lnTo>
                  <a:lnTo>
                    <a:pt x="280" y="62"/>
                  </a:lnTo>
                  <a:lnTo>
                    <a:pt x="268" y="56"/>
                  </a:lnTo>
                  <a:lnTo>
                    <a:pt x="250" y="48"/>
                  </a:lnTo>
                  <a:lnTo>
                    <a:pt x="214" y="44"/>
                  </a:lnTo>
                  <a:lnTo>
                    <a:pt x="204" y="36"/>
                  </a:lnTo>
                  <a:lnTo>
                    <a:pt x="190" y="36"/>
                  </a:lnTo>
                  <a:lnTo>
                    <a:pt x="186" y="34"/>
                  </a:lnTo>
                  <a:lnTo>
                    <a:pt x="166" y="22"/>
                  </a:lnTo>
                  <a:lnTo>
                    <a:pt x="136" y="16"/>
                  </a:lnTo>
                  <a:lnTo>
                    <a:pt x="114" y="12"/>
                  </a:lnTo>
                  <a:lnTo>
                    <a:pt x="78" y="4"/>
                  </a:lnTo>
                  <a:lnTo>
                    <a:pt x="44" y="12"/>
                  </a:lnTo>
                  <a:lnTo>
                    <a:pt x="34" y="10"/>
                  </a:lnTo>
                  <a:lnTo>
                    <a:pt x="28" y="0"/>
                  </a:lnTo>
                  <a:lnTo>
                    <a:pt x="26" y="2"/>
                  </a:lnTo>
                  <a:lnTo>
                    <a:pt x="22" y="8"/>
                  </a:lnTo>
                  <a:lnTo>
                    <a:pt x="20" y="12"/>
                  </a:lnTo>
                  <a:lnTo>
                    <a:pt x="14" y="18"/>
                  </a:lnTo>
                  <a:lnTo>
                    <a:pt x="10" y="26"/>
                  </a:lnTo>
                  <a:lnTo>
                    <a:pt x="10" y="36"/>
                  </a:lnTo>
                  <a:lnTo>
                    <a:pt x="12" y="46"/>
                  </a:lnTo>
                  <a:lnTo>
                    <a:pt x="14" y="56"/>
                  </a:lnTo>
                  <a:lnTo>
                    <a:pt x="18" y="68"/>
                  </a:lnTo>
                  <a:lnTo>
                    <a:pt x="16" y="76"/>
                  </a:lnTo>
                  <a:lnTo>
                    <a:pt x="14" y="84"/>
                  </a:lnTo>
                  <a:lnTo>
                    <a:pt x="12" y="92"/>
                  </a:lnTo>
                  <a:lnTo>
                    <a:pt x="0" y="108"/>
                  </a:lnTo>
                  <a:lnTo>
                    <a:pt x="0" y="112"/>
                  </a:lnTo>
                  <a:lnTo>
                    <a:pt x="0" y="118"/>
                  </a:lnTo>
                  <a:lnTo>
                    <a:pt x="6" y="136"/>
                  </a:lnTo>
                  <a:lnTo>
                    <a:pt x="6" y="142"/>
                  </a:lnTo>
                  <a:lnTo>
                    <a:pt x="10" y="160"/>
                  </a:lnTo>
                  <a:lnTo>
                    <a:pt x="14" y="174"/>
                  </a:lnTo>
                  <a:lnTo>
                    <a:pt x="18" y="186"/>
                  </a:lnTo>
                  <a:lnTo>
                    <a:pt x="18" y="188"/>
                  </a:lnTo>
                  <a:lnTo>
                    <a:pt x="18" y="712"/>
                  </a:lnTo>
                  <a:lnTo>
                    <a:pt x="426" y="712"/>
                  </a:lnTo>
                  <a:lnTo>
                    <a:pt x="430" y="712"/>
                  </a:lnTo>
                  <a:lnTo>
                    <a:pt x="436" y="698"/>
                  </a:lnTo>
                  <a:lnTo>
                    <a:pt x="438" y="698"/>
                  </a:lnTo>
                  <a:lnTo>
                    <a:pt x="442" y="698"/>
                  </a:lnTo>
                  <a:lnTo>
                    <a:pt x="444" y="700"/>
                  </a:lnTo>
                  <a:lnTo>
                    <a:pt x="442" y="706"/>
                  </a:lnTo>
                  <a:lnTo>
                    <a:pt x="440" y="712"/>
                  </a:lnTo>
                  <a:lnTo>
                    <a:pt x="626" y="712"/>
                  </a:lnTo>
                  <a:lnTo>
                    <a:pt x="646" y="712"/>
                  </a:lnTo>
                  <a:lnTo>
                    <a:pt x="798" y="712"/>
                  </a:lnTo>
                  <a:lnTo>
                    <a:pt x="798" y="710"/>
                  </a:lnTo>
                  <a:lnTo>
                    <a:pt x="794" y="704"/>
                  </a:lnTo>
                  <a:lnTo>
                    <a:pt x="768" y="684"/>
                  </a:lnTo>
                  <a:lnTo>
                    <a:pt x="756" y="666"/>
                  </a:lnTo>
                  <a:lnTo>
                    <a:pt x="734" y="658"/>
                  </a:lnTo>
                  <a:lnTo>
                    <a:pt x="730" y="656"/>
                  </a:lnTo>
                  <a:lnTo>
                    <a:pt x="726" y="652"/>
                  </a:lnTo>
                  <a:lnTo>
                    <a:pt x="720" y="644"/>
                  </a:lnTo>
                  <a:lnTo>
                    <a:pt x="712" y="622"/>
                  </a:lnTo>
                  <a:lnTo>
                    <a:pt x="708" y="608"/>
                  </a:lnTo>
                  <a:lnTo>
                    <a:pt x="708" y="584"/>
                  </a:lnTo>
                  <a:lnTo>
                    <a:pt x="708" y="580"/>
                  </a:lnTo>
                  <a:lnTo>
                    <a:pt x="710" y="574"/>
                  </a:lnTo>
                  <a:lnTo>
                    <a:pt x="714" y="574"/>
                  </a:lnTo>
                  <a:lnTo>
                    <a:pt x="716" y="572"/>
                  </a:lnTo>
                  <a:lnTo>
                    <a:pt x="726" y="574"/>
                  </a:lnTo>
                  <a:lnTo>
                    <a:pt x="716" y="564"/>
                  </a:lnTo>
                  <a:lnTo>
                    <a:pt x="706" y="558"/>
                  </a:lnTo>
                  <a:lnTo>
                    <a:pt x="700" y="550"/>
                  </a:lnTo>
                  <a:lnTo>
                    <a:pt x="688" y="534"/>
                  </a:lnTo>
                  <a:lnTo>
                    <a:pt x="664" y="486"/>
                  </a:lnTo>
                  <a:lnTo>
                    <a:pt x="654" y="466"/>
                  </a:lnTo>
                  <a:lnTo>
                    <a:pt x="646" y="446"/>
                  </a:lnTo>
                  <a:lnTo>
                    <a:pt x="630" y="422"/>
                  </a:lnTo>
                  <a:lnTo>
                    <a:pt x="612" y="384"/>
                  </a:lnTo>
                  <a:lnTo>
                    <a:pt x="606" y="376"/>
                  </a:lnTo>
                  <a:lnTo>
                    <a:pt x="602" y="348"/>
                  </a:lnTo>
                  <a:lnTo>
                    <a:pt x="600" y="338"/>
                  </a:lnTo>
                  <a:lnTo>
                    <a:pt x="596" y="332"/>
                  </a:lnTo>
                  <a:lnTo>
                    <a:pt x="590" y="326"/>
                  </a:lnTo>
                  <a:lnTo>
                    <a:pt x="586" y="320"/>
                  </a:lnTo>
                  <a:lnTo>
                    <a:pt x="580" y="306"/>
                  </a:lnTo>
                  <a:lnTo>
                    <a:pt x="580" y="300"/>
                  </a:lnTo>
                  <a:lnTo>
                    <a:pt x="580" y="284"/>
                  </a:lnTo>
                  <a:lnTo>
                    <a:pt x="576" y="280"/>
                  </a:lnTo>
                  <a:lnTo>
                    <a:pt x="568" y="274"/>
                  </a:lnTo>
                  <a:lnTo>
                    <a:pt x="556" y="262"/>
                  </a:lnTo>
                  <a:lnTo>
                    <a:pt x="546" y="244"/>
                  </a:lnTo>
                  <a:lnTo>
                    <a:pt x="536" y="234"/>
                  </a:lnTo>
                  <a:lnTo>
                    <a:pt x="534" y="230"/>
                  </a:lnTo>
                  <a:lnTo>
                    <a:pt x="532" y="224"/>
                  </a:lnTo>
                  <a:lnTo>
                    <a:pt x="530" y="218"/>
                  </a:lnTo>
                  <a:lnTo>
                    <a:pt x="522" y="208"/>
                  </a:lnTo>
                  <a:lnTo>
                    <a:pt x="520" y="204"/>
                  </a:lnTo>
                  <a:lnTo>
                    <a:pt x="520" y="188"/>
                  </a:lnTo>
                  <a:lnTo>
                    <a:pt x="518" y="178"/>
                  </a:lnTo>
                  <a:lnTo>
                    <a:pt x="514" y="174"/>
                  </a:lnTo>
                  <a:lnTo>
                    <a:pt x="504" y="162"/>
                  </a:lnTo>
                  <a:lnTo>
                    <a:pt x="502" y="156"/>
                  </a:lnTo>
                  <a:lnTo>
                    <a:pt x="504" y="146"/>
                  </a:lnTo>
                  <a:lnTo>
                    <a:pt x="510" y="138"/>
                  </a:lnTo>
                  <a:lnTo>
                    <a:pt x="508" y="132"/>
                  </a:lnTo>
                  <a:lnTo>
                    <a:pt x="516" y="130"/>
                  </a:lnTo>
                  <a:lnTo>
                    <a:pt x="520" y="142"/>
                  </a:lnTo>
                  <a:lnTo>
                    <a:pt x="526" y="164"/>
                  </a:lnTo>
                  <a:lnTo>
                    <a:pt x="528" y="168"/>
                  </a:lnTo>
                  <a:lnTo>
                    <a:pt x="532" y="172"/>
                  </a:lnTo>
                  <a:lnTo>
                    <a:pt x="536" y="182"/>
                  </a:lnTo>
                  <a:lnTo>
                    <a:pt x="548" y="198"/>
                  </a:lnTo>
                  <a:lnTo>
                    <a:pt x="552" y="204"/>
                  </a:lnTo>
                  <a:lnTo>
                    <a:pt x="556" y="220"/>
                  </a:lnTo>
                  <a:lnTo>
                    <a:pt x="556" y="226"/>
                  </a:lnTo>
                  <a:lnTo>
                    <a:pt x="560" y="234"/>
                  </a:lnTo>
                  <a:lnTo>
                    <a:pt x="570" y="248"/>
                  </a:lnTo>
                  <a:lnTo>
                    <a:pt x="582" y="258"/>
                  </a:lnTo>
                  <a:lnTo>
                    <a:pt x="594" y="274"/>
                  </a:lnTo>
                  <a:lnTo>
                    <a:pt x="612" y="290"/>
                  </a:lnTo>
                  <a:lnTo>
                    <a:pt x="624" y="294"/>
                  </a:lnTo>
                  <a:lnTo>
                    <a:pt x="630" y="286"/>
                  </a:lnTo>
                  <a:lnTo>
                    <a:pt x="636" y="276"/>
                  </a:lnTo>
                  <a:lnTo>
                    <a:pt x="638" y="270"/>
                  </a:lnTo>
                  <a:lnTo>
                    <a:pt x="638" y="250"/>
                  </a:lnTo>
                  <a:lnTo>
                    <a:pt x="650" y="220"/>
                  </a:lnTo>
                  <a:lnTo>
                    <a:pt x="658" y="182"/>
                  </a:lnTo>
                  <a:lnTo>
                    <a:pt x="664" y="170"/>
                  </a:lnTo>
                  <a:lnTo>
                    <a:pt x="668" y="166"/>
                  </a:lnTo>
                  <a:lnTo>
                    <a:pt x="666" y="160"/>
                  </a:lnTo>
                  <a:lnTo>
                    <a:pt x="660" y="142"/>
                  </a:lnTo>
                  <a:lnTo>
                    <a:pt x="658" y="128"/>
                  </a:lnTo>
                  <a:lnTo>
                    <a:pt x="652" y="112"/>
                  </a:lnTo>
                  <a:lnTo>
                    <a:pt x="644" y="94"/>
                  </a:lnTo>
                  <a:lnTo>
                    <a:pt x="644" y="88"/>
                  </a:lnTo>
                  <a:lnTo>
                    <a:pt x="642" y="82"/>
                  </a:lnTo>
                  <a:lnTo>
                    <a:pt x="636" y="64"/>
                  </a:lnTo>
                  <a:lnTo>
                    <a:pt x="630" y="52"/>
                  </a:lnTo>
                  <a:lnTo>
                    <a:pt x="624" y="36"/>
                  </a:lnTo>
                  <a:lnTo>
                    <a:pt x="622" y="28"/>
                  </a:lnTo>
                  <a:lnTo>
                    <a:pt x="622" y="2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2" name="Freeform 4651">
              <a:extLst>
                <a:ext uri="{FF2B5EF4-FFF2-40B4-BE49-F238E27FC236}">
                  <a16:creationId xmlns:a16="http://schemas.microsoft.com/office/drawing/2014/main" id="{0C41B3F0-7EC1-4796-A617-CD61C77F4CAF}"/>
                </a:ext>
              </a:extLst>
            </p:cNvPr>
            <p:cNvSpPr/>
            <p:nvPr/>
          </p:nvSpPr>
          <p:spPr bwMode="auto">
            <a:xfrm>
              <a:off x="6307531" y="5003159"/>
              <a:ext cx="12334" cy="7709"/>
            </a:xfrm>
            <a:custGeom>
              <a:avLst/>
              <a:gdLst>
                <a:gd name="T0" fmla="*/ 14 w 32"/>
                <a:gd name="T1" fmla="*/ 12 h 20"/>
                <a:gd name="T2" fmla="*/ 12 w 32"/>
                <a:gd name="T3" fmla="*/ 6 h 20"/>
                <a:gd name="T4" fmla="*/ 10 w 32"/>
                <a:gd name="T5" fmla="*/ 2 h 20"/>
                <a:gd name="T6" fmla="*/ 8 w 32"/>
                <a:gd name="T7" fmla="*/ 0 h 20"/>
                <a:gd name="T8" fmla="*/ 2 w 32"/>
                <a:gd name="T9" fmla="*/ 0 h 20"/>
                <a:gd name="T10" fmla="*/ 4 w 32"/>
                <a:gd name="T11" fmla="*/ 4 h 20"/>
                <a:gd name="T12" fmla="*/ 2 w 32"/>
                <a:gd name="T13" fmla="*/ 4 h 20"/>
                <a:gd name="T14" fmla="*/ 0 w 32"/>
                <a:gd name="T15" fmla="*/ 6 h 20"/>
                <a:gd name="T16" fmla="*/ 0 w 32"/>
                <a:gd name="T17" fmla="*/ 10 h 20"/>
                <a:gd name="T18" fmla="*/ 6 w 32"/>
                <a:gd name="T19" fmla="*/ 10 h 20"/>
                <a:gd name="T20" fmla="*/ 10 w 32"/>
                <a:gd name="T21" fmla="*/ 14 h 20"/>
                <a:gd name="T22" fmla="*/ 8 w 32"/>
                <a:gd name="T23" fmla="*/ 14 h 20"/>
                <a:gd name="T24" fmla="*/ 6 w 32"/>
                <a:gd name="T25" fmla="*/ 16 h 20"/>
                <a:gd name="T26" fmla="*/ 0 w 32"/>
                <a:gd name="T27" fmla="*/ 12 h 20"/>
                <a:gd name="T28" fmla="*/ 2 w 32"/>
                <a:gd name="T29" fmla="*/ 18 h 20"/>
                <a:gd name="T30" fmla="*/ 10 w 32"/>
                <a:gd name="T31" fmla="*/ 20 h 20"/>
                <a:gd name="T32" fmla="*/ 18 w 32"/>
                <a:gd name="T33" fmla="*/ 18 h 20"/>
                <a:gd name="T34" fmla="*/ 24 w 32"/>
                <a:gd name="T35" fmla="*/ 20 h 20"/>
                <a:gd name="T36" fmla="*/ 30 w 32"/>
                <a:gd name="T37" fmla="*/ 20 h 20"/>
                <a:gd name="T38" fmla="*/ 32 w 32"/>
                <a:gd name="T39" fmla="*/ 16 h 20"/>
                <a:gd name="T40" fmla="*/ 20 w 32"/>
                <a:gd name="T41" fmla="*/ 12 h 20"/>
                <a:gd name="T42" fmla="*/ 20 w 32"/>
                <a:gd name="T43" fmla="*/ 14 h 20"/>
                <a:gd name="T44" fmla="*/ 18 w 32"/>
                <a:gd name="T45" fmla="*/ 16 h 20"/>
                <a:gd name="T46" fmla="*/ 16 w 32"/>
                <a:gd name="T47" fmla="*/ 16 h 20"/>
                <a:gd name="T48" fmla="*/ 14 w 32"/>
                <a:gd name="T49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20">
                  <a:moveTo>
                    <a:pt x="14" y="12"/>
                  </a:moveTo>
                  <a:lnTo>
                    <a:pt x="12" y="6"/>
                  </a:lnTo>
                  <a:lnTo>
                    <a:pt x="10" y="2"/>
                  </a:lnTo>
                  <a:lnTo>
                    <a:pt x="8" y="0"/>
                  </a:lnTo>
                  <a:lnTo>
                    <a:pt x="2" y="0"/>
                  </a:lnTo>
                  <a:lnTo>
                    <a:pt x="4" y="4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6" y="10"/>
                  </a:lnTo>
                  <a:lnTo>
                    <a:pt x="10" y="14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0" y="12"/>
                  </a:lnTo>
                  <a:lnTo>
                    <a:pt x="2" y="18"/>
                  </a:lnTo>
                  <a:lnTo>
                    <a:pt x="10" y="20"/>
                  </a:lnTo>
                  <a:lnTo>
                    <a:pt x="18" y="18"/>
                  </a:lnTo>
                  <a:lnTo>
                    <a:pt x="24" y="20"/>
                  </a:lnTo>
                  <a:lnTo>
                    <a:pt x="30" y="20"/>
                  </a:lnTo>
                  <a:lnTo>
                    <a:pt x="32" y="16"/>
                  </a:lnTo>
                  <a:lnTo>
                    <a:pt x="20" y="12"/>
                  </a:lnTo>
                  <a:lnTo>
                    <a:pt x="20" y="14"/>
                  </a:lnTo>
                  <a:lnTo>
                    <a:pt x="18" y="16"/>
                  </a:lnTo>
                  <a:lnTo>
                    <a:pt x="16" y="16"/>
                  </a:lnTo>
                  <a:lnTo>
                    <a:pt x="14" y="1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3" name="Freeform 4652">
              <a:extLst>
                <a:ext uri="{FF2B5EF4-FFF2-40B4-BE49-F238E27FC236}">
                  <a16:creationId xmlns:a16="http://schemas.microsoft.com/office/drawing/2014/main" id="{6773799D-36B7-484F-9F06-28A3D1473091}"/>
                </a:ext>
              </a:extLst>
            </p:cNvPr>
            <p:cNvSpPr/>
            <p:nvPr/>
          </p:nvSpPr>
          <p:spPr bwMode="auto">
            <a:xfrm>
              <a:off x="6309073" y="4996992"/>
              <a:ext cx="3084" cy="3084"/>
            </a:xfrm>
            <a:custGeom>
              <a:avLst/>
              <a:gdLst>
                <a:gd name="T0" fmla="*/ 6 w 8"/>
                <a:gd name="T1" fmla="*/ 2 h 8"/>
                <a:gd name="T2" fmla="*/ 4 w 8"/>
                <a:gd name="T3" fmla="*/ 0 h 8"/>
                <a:gd name="T4" fmla="*/ 4 w 8"/>
                <a:gd name="T5" fmla="*/ 2 h 8"/>
                <a:gd name="T6" fmla="*/ 0 w 8"/>
                <a:gd name="T7" fmla="*/ 4 h 8"/>
                <a:gd name="T8" fmla="*/ 2 w 8"/>
                <a:gd name="T9" fmla="*/ 6 h 8"/>
                <a:gd name="T10" fmla="*/ 8 w 8"/>
                <a:gd name="T11" fmla="*/ 8 h 8"/>
                <a:gd name="T12" fmla="*/ 6 w 8"/>
                <a:gd name="T13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8">
                  <a:moveTo>
                    <a:pt x="6" y="2"/>
                  </a:moveTo>
                  <a:lnTo>
                    <a:pt x="4" y="0"/>
                  </a:lnTo>
                  <a:lnTo>
                    <a:pt x="4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8" y="8"/>
                  </a:lnTo>
                  <a:lnTo>
                    <a:pt x="6" y="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4" name="Freeform 4653">
              <a:extLst>
                <a:ext uri="{FF2B5EF4-FFF2-40B4-BE49-F238E27FC236}">
                  <a16:creationId xmlns:a16="http://schemas.microsoft.com/office/drawing/2014/main" id="{A876E318-3A09-4687-AB1B-EB7B22DBFB91}"/>
                </a:ext>
              </a:extLst>
            </p:cNvPr>
            <p:cNvSpPr/>
            <p:nvPr/>
          </p:nvSpPr>
          <p:spPr bwMode="auto">
            <a:xfrm>
              <a:off x="6218880" y="4946885"/>
              <a:ext cx="168822" cy="147237"/>
            </a:xfrm>
            <a:custGeom>
              <a:avLst/>
              <a:gdLst>
                <a:gd name="T0" fmla="*/ 132 w 438"/>
                <a:gd name="T1" fmla="*/ 12 h 382"/>
                <a:gd name="T2" fmla="*/ 128 w 438"/>
                <a:gd name="T3" fmla="*/ 20 h 382"/>
                <a:gd name="T4" fmla="*/ 120 w 438"/>
                <a:gd name="T5" fmla="*/ 28 h 382"/>
                <a:gd name="T6" fmla="*/ 116 w 438"/>
                <a:gd name="T7" fmla="*/ 30 h 382"/>
                <a:gd name="T8" fmla="*/ 106 w 438"/>
                <a:gd name="T9" fmla="*/ 32 h 382"/>
                <a:gd name="T10" fmla="*/ 94 w 438"/>
                <a:gd name="T11" fmla="*/ 38 h 382"/>
                <a:gd name="T12" fmla="*/ 86 w 438"/>
                <a:gd name="T13" fmla="*/ 40 h 382"/>
                <a:gd name="T14" fmla="*/ 74 w 438"/>
                <a:gd name="T15" fmla="*/ 48 h 382"/>
                <a:gd name="T16" fmla="*/ 64 w 438"/>
                <a:gd name="T17" fmla="*/ 66 h 382"/>
                <a:gd name="T18" fmla="*/ 48 w 438"/>
                <a:gd name="T19" fmla="*/ 66 h 382"/>
                <a:gd name="T20" fmla="*/ 38 w 438"/>
                <a:gd name="T21" fmla="*/ 68 h 382"/>
                <a:gd name="T22" fmla="*/ 34 w 438"/>
                <a:gd name="T23" fmla="*/ 88 h 382"/>
                <a:gd name="T24" fmla="*/ 32 w 438"/>
                <a:gd name="T25" fmla="*/ 118 h 382"/>
                <a:gd name="T26" fmla="*/ 20 w 438"/>
                <a:gd name="T27" fmla="*/ 152 h 382"/>
                <a:gd name="T28" fmla="*/ 6 w 438"/>
                <a:gd name="T29" fmla="*/ 188 h 382"/>
                <a:gd name="T30" fmla="*/ 2 w 438"/>
                <a:gd name="T31" fmla="*/ 224 h 382"/>
                <a:gd name="T32" fmla="*/ 8 w 438"/>
                <a:gd name="T33" fmla="*/ 256 h 382"/>
                <a:gd name="T34" fmla="*/ 34 w 438"/>
                <a:gd name="T35" fmla="*/ 254 h 382"/>
                <a:gd name="T36" fmla="*/ 44 w 438"/>
                <a:gd name="T37" fmla="*/ 250 h 382"/>
                <a:gd name="T38" fmla="*/ 54 w 438"/>
                <a:gd name="T39" fmla="*/ 242 h 382"/>
                <a:gd name="T40" fmla="*/ 74 w 438"/>
                <a:gd name="T41" fmla="*/ 264 h 382"/>
                <a:gd name="T42" fmla="*/ 84 w 438"/>
                <a:gd name="T43" fmla="*/ 242 h 382"/>
                <a:gd name="T44" fmla="*/ 100 w 438"/>
                <a:gd name="T45" fmla="*/ 218 h 382"/>
                <a:gd name="T46" fmla="*/ 112 w 438"/>
                <a:gd name="T47" fmla="*/ 228 h 382"/>
                <a:gd name="T48" fmla="*/ 128 w 438"/>
                <a:gd name="T49" fmla="*/ 242 h 382"/>
                <a:gd name="T50" fmla="*/ 156 w 438"/>
                <a:gd name="T51" fmla="*/ 240 h 382"/>
                <a:gd name="T52" fmla="*/ 174 w 438"/>
                <a:gd name="T53" fmla="*/ 232 h 382"/>
                <a:gd name="T54" fmla="*/ 182 w 438"/>
                <a:gd name="T55" fmla="*/ 242 h 382"/>
                <a:gd name="T56" fmla="*/ 204 w 438"/>
                <a:gd name="T57" fmla="*/ 238 h 382"/>
                <a:gd name="T58" fmla="*/ 218 w 438"/>
                <a:gd name="T59" fmla="*/ 240 h 382"/>
                <a:gd name="T60" fmla="*/ 244 w 438"/>
                <a:gd name="T61" fmla="*/ 242 h 382"/>
                <a:gd name="T62" fmla="*/ 268 w 438"/>
                <a:gd name="T63" fmla="*/ 258 h 382"/>
                <a:gd name="T64" fmla="*/ 296 w 438"/>
                <a:gd name="T65" fmla="*/ 274 h 382"/>
                <a:gd name="T66" fmla="*/ 340 w 438"/>
                <a:gd name="T67" fmla="*/ 320 h 382"/>
                <a:gd name="T68" fmla="*/ 362 w 438"/>
                <a:gd name="T69" fmla="*/ 348 h 382"/>
                <a:gd name="T70" fmla="*/ 380 w 438"/>
                <a:gd name="T71" fmla="*/ 364 h 382"/>
                <a:gd name="T72" fmla="*/ 392 w 438"/>
                <a:gd name="T73" fmla="*/ 374 h 382"/>
                <a:gd name="T74" fmla="*/ 410 w 438"/>
                <a:gd name="T75" fmla="*/ 382 h 382"/>
                <a:gd name="T76" fmla="*/ 420 w 438"/>
                <a:gd name="T77" fmla="*/ 370 h 382"/>
                <a:gd name="T78" fmla="*/ 432 w 438"/>
                <a:gd name="T79" fmla="*/ 364 h 382"/>
                <a:gd name="T80" fmla="*/ 430 w 438"/>
                <a:gd name="T81" fmla="*/ 348 h 382"/>
                <a:gd name="T82" fmla="*/ 414 w 438"/>
                <a:gd name="T83" fmla="*/ 340 h 382"/>
                <a:gd name="T84" fmla="*/ 388 w 438"/>
                <a:gd name="T85" fmla="*/ 314 h 382"/>
                <a:gd name="T86" fmla="*/ 332 w 438"/>
                <a:gd name="T87" fmla="*/ 258 h 382"/>
                <a:gd name="T88" fmla="*/ 276 w 438"/>
                <a:gd name="T89" fmla="*/ 214 h 382"/>
                <a:gd name="T90" fmla="*/ 254 w 438"/>
                <a:gd name="T91" fmla="*/ 208 h 382"/>
                <a:gd name="T92" fmla="*/ 238 w 438"/>
                <a:gd name="T93" fmla="*/ 192 h 382"/>
                <a:gd name="T94" fmla="*/ 226 w 438"/>
                <a:gd name="T95" fmla="*/ 174 h 382"/>
                <a:gd name="T96" fmla="*/ 222 w 438"/>
                <a:gd name="T97" fmla="*/ 190 h 382"/>
                <a:gd name="T98" fmla="*/ 216 w 438"/>
                <a:gd name="T99" fmla="*/ 192 h 382"/>
                <a:gd name="T100" fmla="*/ 202 w 438"/>
                <a:gd name="T101" fmla="*/ 170 h 382"/>
                <a:gd name="T102" fmla="*/ 184 w 438"/>
                <a:gd name="T103" fmla="*/ 124 h 382"/>
                <a:gd name="T104" fmla="*/ 164 w 438"/>
                <a:gd name="T105" fmla="*/ 4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38" h="382">
                  <a:moveTo>
                    <a:pt x="144" y="0"/>
                  </a:moveTo>
                  <a:lnTo>
                    <a:pt x="138" y="4"/>
                  </a:lnTo>
                  <a:lnTo>
                    <a:pt x="132" y="12"/>
                  </a:lnTo>
                  <a:lnTo>
                    <a:pt x="130" y="16"/>
                  </a:lnTo>
                  <a:lnTo>
                    <a:pt x="128" y="18"/>
                  </a:lnTo>
                  <a:lnTo>
                    <a:pt x="128" y="20"/>
                  </a:lnTo>
                  <a:lnTo>
                    <a:pt x="126" y="22"/>
                  </a:lnTo>
                  <a:lnTo>
                    <a:pt x="122" y="26"/>
                  </a:lnTo>
                  <a:lnTo>
                    <a:pt x="120" y="28"/>
                  </a:lnTo>
                  <a:lnTo>
                    <a:pt x="120" y="30"/>
                  </a:lnTo>
                  <a:lnTo>
                    <a:pt x="118" y="30"/>
                  </a:lnTo>
                  <a:lnTo>
                    <a:pt x="116" y="30"/>
                  </a:lnTo>
                  <a:lnTo>
                    <a:pt x="114" y="32"/>
                  </a:lnTo>
                  <a:lnTo>
                    <a:pt x="110" y="34"/>
                  </a:lnTo>
                  <a:lnTo>
                    <a:pt x="106" y="32"/>
                  </a:lnTo>
                  <a:lnTo>
                    <a:pt x="100" y="34"/>
                  </a:lnTo>
                  <a:lnTo>
                    <a:pt x="98" y="36"/>
                  </a:lnTo>
                  <a:lnTo>
                    <a:pt x="94" y="38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86" y="40"/>
                  </a:lnTo>
                  <a:lnTo>
                    <a:pt x="80" y="44"/>
                  </a:lnTo>
                  <a:lnTo>
                    <a:pt x="76" y="46"/>
                  </a:lnTo>
                  <a:lnTo>
                    <a:pt x="74" y="48"/>
                  </a:lnTo>
                  <a:lnTo>
                    <a:pt x="72" y="50"/>
                  </a:lnTo>
                  <a:lnTo>
                    <a:pt x="68" y="62"/>
                  </a:lnTo>
                  <a:lnTo>
                    <a:pt x="64" y="66"/>
                  </a:lnTo>
                  <a:lnTo>
                    <a:pt x="60" y="66"/>
                  </a:lnTo>
                  <a:lnTo>
                    <a:pt x="54" y="66"/>
                  </a:lnTo>
                  <a:lnTo>
                    <a:pt x="48" y="66"/>
                  </a:lnTo>
                  <a:lnTo>
                    <a:pt x="42" y="66"/>
                  </a:lnTo>
                  <a:lnTo>
                    <a:pt x="38" y="66"/>
                  </a:lnTo>
                  <a:lnTo>
                    <a:pt x="38" y="68"/>
                  </a:lnTo>
                  <a:lnTo>
                    <a:pt x="36" y="78"/>
                  </a:lnTo>
                  <a:lnTo>
                    <a:pt x="36" y="84"/>
                  </a:lnTo>
                  <a:lnTo>
                    <a:pt x="34" y="88"/>
                  </a:lnTo>
                  <a:lnTo>
                    <a:pt x="30" y="96"/>
                  </a:lnTo>
                  <a:lnTo>
                    <a:pt x="32" y="106"/>
                  </a:lnTo>
                  <a:lnTo>
                    <a:pt x="32" y="118"/>
                  </a:lnTo>
                  <a:lnTo>
                    <a:pt x="26" y="134"/>
                  </a:lnTo>
                  <a:lnTo>
                    <a:pt x="26" y="138"/>
                  </a:lnTo>
                  <a:lnTo>
                    <a:pt x="20" y="152"/>
                  </a:lnTo>
                  <a:lnTo>
                    <a:pt x="16" y="156"/>
                  </a:lnTo>
                  <a:lnTo>
                    <a:pt x="10" y="182"/>
                  </a:lnTo>
                  <a:lnTo>
                    <a:pt x="6" y="188"/>
                  </a:lnTo>
                  <a:lnTo>
                    <a:pt x="0" y="196"/>
                  </a:lnTo>
                  <a:lnTo>
                    <a:pt x="2" y="210"/>
                  </a:lnTo>
                  <a:lnTo>
                    <a:pt x="2" y="224"/>
                  </a:lnTo>
                  <a:lnTo>
                    <a:pt x="4" y="236"/>
                  </a:lnTo>
                  <a:lnTo>
                    <a:pt x="6" y="256"/>
                  </a:lnTo>
                  <a:lnTo>
                    <a:pt x="8" y="256"/>
                  </a:lnTo>
                  <a:lnTo>
                    <a:pt x="16" y="252"/>
                  </a:lnTo>
                  <a:lnTo>
                    <a:pt x="26" y="252"/>
                  </a:lnTo>
                  <a:lnTo>
                    <a:pt x="34" y="254"/>
                  </a:lnTo>
                  <a:lnTo>
                    <a:pt x="40" y="256"/>
                  </a:lnTo>
                  <a:lnTo>
                    <a:pt x="42" y="254"/>
                  </a:lnTo>
                  <a:lnTo>
                    <a:pt x="44" y="250"/>
                  </a:lnTo>
                  <a:lnTo>
                    <a:pt x="46" y="246"/>
                  </a:lnTo>
                  <a:lnTo>
                    <a:pt x="50" y="244"/>
                  </a:lnTo>
                  <a:lnTo>
                    <a:pt x="54" y="242"/>
                  </a:lnTo>
                  <a:lnTo>
                    <a:pt x="60" y="248"/>
                  </a:lnTo>
                  <a:lnTo>
                    <a:pt x="72" y="262"/>
                  </a:lnTo>
                  <a:lnTo>
                    <a:pt x="74" y="264"/>
                  </a:lnTo>
                  <a:lnTo>
                    <a:pt x="76" y="264"/>
                  </a:lnTo>
                  <a:lnTo>
                    <a:pt x="80" y="252"/>
                  </a:lnTo>
                  <a:lnTo>
                    <a:pt x="84" y="242"/>
                  </a:lnTo>
                  <a:lnTo>
                    <a:pt x="92" y="226"/>
                  </a:lnTo>
                  <a:lnTo>
                    <a:pt x="96" y="216"/>
                  </a:lnTo>
                  <a:lnTo>
                    <a:pt x="100" y="218"/>
                  </a:lnTo>
                  <a:lnTo>
                    <a:pt x="104" y="224"/>
                  </a:lnTo>
                  <a:lnTo>
                    <a:pt x="108" y="226"/>
                  </a:lnTo>
                  <a:lnTo>
                    <a:pt x="112" y="228"/>
                  </a:lnTo>
                  <a:lnTo>
                    <a:pt x="114" y="228"/>
                  </a:lnTo>
                  <a:lnTo>
                    <a:pt x="118" y="230"/>
                  </a:lnTo>
                  <a:lnTo>
                    <a:pt x="128" y="242"/>
                  </a:lnTo>
                  <a:lnTo>
                    <a:pt x="132" y="244"/>
                  </a:lnTo>
                  <a:lnTo>
                    <a:pt x="136" y="244"/>
                  </a:lnTo>
                  <a:lnTo>
                    <a:pt x="156" y="240"/>
                  </a:lnTo>
                  <a:lnTo>
                    <a:pt x="168" y="234"/>
                  </a:lnTo>
                  <a:lnTo>
                    <a:pt x="170" y="232"/>
                  </a:lnTo>
                  <a:lnTo>
                    <a:pt x="174" y="232"/>
                  </a:lnTo>
                  <a:lnTo>
                    <a:pt x="178" y="234"/>
                  </a:lnTo>
                  <a:lnTo>
                    <a:pt x="180" y="238"/>
                  </a:lnTo>
                  <a:lnTo>
                    <a:pt x="182" y="242"/>
                  </a:lnTo>
                  <a:lnTo>
                    <a:pt x="186" y="242"/>
                  </a:lnTo>
                  <a:lnTo>
                    <a:pt x="198" y="238"/>
                  </a:lnTo>
                  <a:lnTo>
                    <a:pt x="204" y="238"/>
                  </a:lnTo>
                  <a:lnTo>
                    <a:pt x="208" y="238"/>
                  </a:lnTo>
                  <a:lnTo>
                    <a:pt x="214" y="240"/>
                  </a:lnTo>
                  <a:lnTo>
                    <a:pt x="218" y="240"/>
                  </a:lnTo>
                  <a:lnTo>
                    <a:pt x="228" y="244"/>
                  </a:lnTo>
                  <a:lnTo>
                    <a:pt x="238" y="242"/>
                  </a:lnTo>
                  <a:lnTo>
                    <a:pt x="244" y="242"/>
                  </a:lnTo>
                  <a:lnTo>
                    <a:pt x="248" y="244"/>
                  </a:lnTo>
                  <a:lnTo>
                    <a:pt x="258" y="250"/>
                  </a:lnTo>
                  <a:lnTo>
                    <a:pt x="268" y="258"/>
                  </a:lnTo>
                  <a:lnTo>
                    <a:pt x="284" y="264"/>
                  </a:lnTo>
                  <a:lnTo>
                    <a:pt x="288" y="266"/>
                  </a:lnTo>
                  <a:lnTo>
                    <a:pt x="296" y="274"/>
                  </a:lnTo>
                  <a:lnTo>
                    <a:pt x="308" y="292"/>
                  </a:lnTo>
                  <a:lnTo>
                    <a:pt x="324" y="308"/>
                  </a:lnTo>
                  <a:lnTo>
                    <a:pt x="340" y="320"/>
                  </a:lnTo>
                  <a:lnTo>
                    <a:pt x="350" y="328"/>
                  </a:lnTo>
                  <a:lnTo>
                    <a:pt x="356" y="340"/>
                  </a:lnTo>
                  <a:lnTo>
                    <a:pt x="362" y="348"/>
                  </a:lnTo>
                  <a:lnTo>
                    <a:pt x="368" y="354"/>
                  </a:lnTo>
                  <a:lnTo>
                    <a:pt x="374" y="356"/>
                  </a:lnTo>
                  <a:lnTo>
                    <a:pt x="380" y="364"/>
                  </a:lnTo>
                  <a:lnTo>
                    <a:pt x="384" y="370"/>
                  </a:lnTo>
                  <a:lnTo>
                    <a:pt x="390" y="376"/>
                  </a:lnTo>
                  <a:lnTo>
                    <a:pt x="392" y="374"/>
                  </a:lnTo>
                  <a:lnTo>
                    <a:pt x="396" y="374"/>
                  </a:lnTo>
                  <a:lnTo>
                    <a:pt x="396" y="374"/>
                  </a:lnTo>
                  <a:lnTo>
                    <a:pt x="410" y="382"/>
                  </a:lnTo>
                  <a:lnTo>
                    <a:pt x="412" y="382"/>
                  </a:lnTo>
                  <a:lnTo>
                    <a:pt x="416" y="380"/>
                  </a:lnTo>
                  <a:lnTo>
                    <a:pt x="420" y="370"/>
                  </a:lnTo>
                  <a:lnTo>
                    <a:pt x="422" y="366"/>
                  </a:lnTo>
                  <a:lnTo>
                    <a:pt x="424" y="366"/>
                  </a:lnTo>
                  <a:lnTo>
                    <a:pt x="432" y="364"/>
                  </a:lnTo>
                  <a:lnTo>
                    <a:pt x="438" y="360"/>
                  </a:lnTo>
                  <a:lnTo>
                    <a:pt x="436" y="352"/>
                  </a:lnTo>
                  <a:lnTo>
                    <a:pt x="430" y="348"/>
                  </a:lnTo>
                  <a:lnTo>
                    <a:pt x="430" y="354"/>
                  </a:lnTo>
                  <a:lnTo>
                    <a:pt x="418" y="350"/>
                  </a:lnTo>
                  <a:lnTo>
                    <a:pt x="414" y="340"/>
                  </a:lnTo>
                  <a:lnTo>
                    <a:pt x="400" y="326"/>
                  </a:lnTo>
                  <a:lnTo>
                    <a:pt x="392" y="326"/>
                  </a:lnTo>
                  <a:lnTo>
                    <a:pt x="388" y="314"/>
                  </a:lnTo>
                  <a:lnTo>
                    <a:pt x="382" y="302"/>
                  </a:lnTo>
                  <a:lnTo>
                    <a:pt x="344" y="274"/>
                  </a:lnTo>
                  <a:lnTo>
                    <a:pt x="332" y="258"/>
                  </a:lnTo>
                  <a:lnTo>
                    <a:pt x="312" y="232"/>
                  </a:lnTo>
                  <a:lnTo>
                    <a:pt x="286" y="224"/>
                  </a:lnTo>
                  <a:lnTo>
                    <a:pt x="276" y="214"/>
                  </a:lnTo>
                  <a:lnTo>
                    <a:pt x="270" y="210"/>
                  </a:lnTo>
                  <a:lnTo>
                    <a:pt x="264" y="208"/>
                  </a:lnTo>
                  <a:lnTo>
                    <a:pt x="254" y="208"/>
                  </a:lnTo>
                  <a:lnTo>
                    <a:pt x="248" y="204"/>
                  </a:lnTo>
                  <a:lnTo>
                    <a:pt x="240" y="196"/>
                  </a:lnTo>
                  <a:lnTo>
                    <a:pt x="238" y="192"/>
                  </a:lnTo>
                  <a:lnTo>
                    <a:pt x="238" y="184"/>
                  </a:lnTo>
                  <a:lnTo>
                    <a:pt x="232" y="178"/>
                  </a:lnTo>
                  <a:lnTo>
                    <a:pt x="226" y="174"/>
                  </a:lnTo>
                  <a:lnTo>
                    <a:pt x="222" y="178"/>
                  </a:lnTo>
                  <a:lnTo>
                    <a:pt x="220" y="184"/>
                  </a:lnTo>
                  <a:lnTo>
                    <a:pt x="222" y="190"/>
                  </a:lnTo>
                  <a:lnTo>
                    <a:pt x="222" y="192"/>
                  </a:lnTo>
                  <a:lnTo>
                    <a:pt x="220" y="198"/>
                  </a:lnTo>
                  <a:lnTo>
                    <a:pt x="216" y="192"/>
                  </a:lnTo>
                  <a:lnTo>
                    <a:pt x="210" y="176"/>
                  </a:lnTo>
                  <a:lnTo>
                    <a:pt x="206" y="170"/>
                  </a:lnTo>
                  <a:lnTo>
                    <a:pt x="202" y="170"/>
                  </a:lnTo>
                  <a:lnTo>
                    <a:pt x="196" y="152"/>
                  </a:lnTo>
                  <a:lnTo>
                    <a:pt x="188" y="144"/>
                  </a:lnTo>
                  <a:lnTo>
                    <a:pt x="184" y="124"/>
                  </a:lnTo>
                  <a:lnTo>
                    <a:pt x="178" y="88"/>
                  </a:lnTo>
                  <a:lnTo>
                    <a:pt x="172" y="64"/>
                  </a:lnTo>
                  <a:lnTo>
                    <a:pt x="164" y="40"/>
                  </a:lnTo>
                  <a:lnTo>
                    <a:pt x="144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45" name="Group 110">
              <a:extLst>
                <a:ext uri="{FF2B5EF4-FFF2-40B4-BE49-F238E27FC236}">
                  <a16:creationId xmlns:a16="http://schemas.microsoft.com/office/drawing/2014/main" id="{32F3F9EA-CC6C-4016-A387-3A3301CD6091}"/>
                </a:ext>
              </a:extLst>
            </p:cNvPr>
            <p:cNvGrpSpPr/>
            <p:nvPr/>
          </p:nvGrpSpPr>
          <p:grpSpPr>
            <a:xfrm>
              <a:off x="4839782" y="4636222"/>
              <a:ext cx="119486" cy="46253"/>
              <a:chOff x="25791621" y="22260851"/>
              <a:chExt cx="738595" cy="285908"/>
            </a:xfrm>
            <a:grpFill/>
          </p:grpSpPr>
          <p:sp>
            <p:nvSpPr>
              <p:cNvPr id="601" name="Freeform 4659">
                <a:extLst>
                  <a:ext uri="{FF2B5EF4-FFF2-40B4-BE49-F238E27FC236}">
                    <a16:creationId xmlns:a16="http://schemas.microsoft.com/office/drawing/2014/main" id="{95A38CFD-3ABF-49A6-9684-1CE9DEDEFD11}"/>
                  </a:ext>
                </a:extLst>
              </p:cNvPr>
              <p:cNvSpPr/>
              <p:nvPr/>
            </p:nvSpPr>
            <p:spPr bwMode="auto">
              <a:xfrm>
                <a:off x="25791621" y="22508639"/>
                <a:ext cx="42886" cy="38121"/>
              </a:xfrm>
              <a:custGeom>
                <a:avLst/>
                <a:gdLst>
                  <a:gd name="T0" fmla="*/ 18 w 18"/>
                  <a:gd name="T1" fmla="*/ 4 h 16"/>
                  <a:gd name="T2" fmla="*/ 16 w 18"/>
                  <a:gd name="T3" fmla="*/ 0 h 16"/>
                  <a:gd name="T4" fmla="*/ 8 w 18"/>
                  <a:gd name="T5" fmla="*/ 6 h 16"/>
                  <a:gd name="T6" fmla="*/ 0 w 18"/>
                  <a:gd name="T7" fmla="*/ 6 h 16"/>
                  <a:gd name="T8" fmla="*/ 2 w 18"/>
                  <a:gd name="T9" fmla="*/ 10 h 16"/>
                  <a:gd name="T10" fmla="*/ 2 w 18"/>
                  <a:gd name="T11" fmla="*/ 10 h 16"/>
                  <a:gd name="T12" fmla="*/ 12 w 18"/>
                  <a:gd name="T13" fmla="*/ 16 h 16"/>
                  <a:gd name="T14" fmla="*/ 18 w 18"/>
                  <a:gd name="T15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6">
                    <a:moveTo>
                      <a:pt x="18" y="4"/>
                    </a:moveTo>
                    <a:lnTo>
                      <a:pt x="16" y="0"/>
                    </a:lnTo>
                    <a:lnTo>
                      <a:pt x="8" y="6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12" y="16"/>
                    </a:lnTo>
                    <a:lnTo>
                      <a:pt x="18" y="4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2" name="Freeform 4660">
                <a:extLst>
                  <a:ext uri="{FF2B5EF4-FFF2-40B4-BE49-F238E27FC236}">
                    <a16:creationId xmlns:a16="http://schemas.microsoft.com/office/drawing/2014/main" id="{FD494C0C-0CFF-4EDD-B2ED-75EA7F348F60}"/>
                  </a:ext>
                </a:extLst>
              </p:cNvPr>
              <p:cNvSpPr/>
              <p:nvPr/>
            </p:nvSpPr>
            <p:spPr bwMode="auto">
              <a:xfrm>
                <a:off x="26158534" y="22456222"/>
                <a:ext cx="66712" cy="71477"/>
              </a:xfrm>
              <a:custGeom>
                <a:avLst/>
                <a:gdLst>
                  <a:gd name="T0" fmla="*/ 26 w 28"/>
                  <a:gd name="T1" fmla="*/ 0 h 30"/>
                  <a:gd name="T2" fmla="*/ 26 w 28"/>
                  <a:gd name="T3" fmla="*/ 0 h 30"/>
                  <a:gd name="T4" fmla="*/ 24 w 28"/>
                  <a:gd name="T5" fmla="*/ 0 h 30"/>
                  <a:gd name="T6" fmla="*/ 24 w 28"/>
                  <a:gd name="T7" fmla="*/ 0 h 30"/>
                  <a:gd name="T8" fmla="*/ 8 w 28"/>
                  <a:gd name="T9" fmla="*/ 0 h 30"/>
                  <a:gd name="T10" fmla="*/ 6 w 28"/>
                  <a:gd name="T11" fmla="*/ 6 h 30"/>
                  <a:gd name="T12" fmla="*/ 0 w 28"/>
                  <a:gd name="T13" fmla="*/ 12 h 30"/>
                  <a:gd name="T14" fmla="*/ 0 w 28"/>
                  <a:gd name="T15" fmla="*/ 20 h 30"/>
                  <a:gd name="T16" fmla="*/ 6 w 28"/>
                  <a:gd name="T17" fmla="*/ 28 h 30"/>
                  <a:gd name="T18" fmla="*/ 10 w 28"/>
                  <a:gd name="T19" fmla="*/ 30 h 30"/>
                  <a:gd name="T20" fmla="*/ 16 w 28"/>
                  <a:gd name="T21" fmla="*/ 30 h 30"/>
                  <a:gd name="T22" fmla="*/ 24 w 28"/>
                  <a:gd name="T23" fmla="*/ 26 h 30"/>
                  <a:gd name="T24" fmla="*/ 28 w 28"/>
                  <a:gd name="T25" fmla="*/ 20 h 30"/>
                  <a:gd name="T26" fmla="*/ 28 w 28"/>
                  <a:gd name="T27" fmla="*/ 12 h 30"/>
                  <a:gd name="T28" fmla="*/ 26 w 28"/>
                  <a:gd name="T29" fmla="*/ 6 h 30"/>
                  <a:gd name="T30" fmla="*/ 26 w 28"/>
                  <a:gd name="T3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" h="30">
                    <a:moveTo>
                      <a:pt x="26" y="0"/>
                    </a:moveTo>
                    <a:lnTo>
                      <a:pt x="26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8" y="0"/>
                    </a:lnTo>
                    <a:lnTo>
                      <a:pt x="6" y="6"/>
                    </a:lnTo>
                    <a:lnTo>
                      <a:pt x="0" y="12"/>
                    </a:lnTo>
                    <a:lnTo>
                      <a:pt x="0" y="20"/>
                    </a:lnTo>
                    <a:lnTo>
                      <a:pt x="6" y="28"/>
                    </a:lnTo>
                    <a:lnTo>
                      <a:pt x="10" y="30"/>
                    </a:lnTo>
                    <a:lnTo>
                      <a:pt x="16" y="30"/>
                    </a:lnTo>
                    <a:lnTo>
                      <a:pt x="24" y="26"/>
                    </a:lnTo>
                    <a:lnTo>
                      <a:pt x="28" y="20"/>
                    </a:lnTo>
                    <a:lnTo>
                      <a:pt x="28" y="12"/>
                    </a:lnTo>
                    <a:lnTo>
                      <a:pt x="26" y="6"/>
                    </a:lnTo>
                    <a:lnTo>
                      <a:pt x="26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3" name="Freeform 4661">
                <a:extLst>
                  <a:ext uri="{FF2B5EF4-FFF2-40B4-BE49-F238E27FC236}">
                    <a16:creationId xmlns:a16="http://schemas.microsoft.com/office/drawing/2014/main" id="{DA42D56E-90E2-4825-8594-4465385BA47E}"/>
                  </a:ext>
                </a:extLst>
              </p:cNvPr>
              <p:cNvSpPr/>
              <p:nvPr/>
            </p:nvSpPr>
            <p:spPr bwMode="auto">
              <a:xfrm>
                <a:off x="25920278" y="22446690"/>
                <a:ext cx="33356" cy="33356"/>
              </a:xfrm>
              <a:custGeom>
                <a:avLst/>
                <a:gdLst>
                  <a:gd name="T0" fmla="*/ 10 w 14"/>
                  <a:gd name="T1" fmla="*/ 14 h 14"/>
                  <a:gd name="T2" fmla="*/ 14 w 14"/>
                  <a:gd name="T3" fmla="*/ 10 h 14"/>
                  <a:gd name="T4" fmla="*/ 14 w 14"/>
                  <a:gd name="T5" fmla="*/ 8 h 14"/>
                  <a:gd name="T6" fmla="*/ 14 w 14"/>
                  <a:gd name="T7" fmla="*/ 4 h 14"/>
                  <a:gd name="T8" fmla="*/ 8 w 14"/>
                  <a:gd name="T9" fmla="*/ 0 h 14"/>
                  <a:gd name="T10" fmla="*/ 4 w 14"/>
                  <a:gd name="T11" fmla="*/ 0 h 14"/>
                  <a:gd name="T12" fmla="*/ 2 w 14"/>
                  <a:gd name="T13" fmla="*/ 2 h 14"/>
                  <a:gd name="T14" fmla="*/ 0 w 14"/>
                  <a:gd name="T15" fmla="*/ 6 h 14"/>
                  <a:gd name="T16" fmla="*/ 4 w 14"/>
                  <a:gd name="T17" fmla="*/ 12 h 14"/>
                  <a:gd name="T18" fmla="*/ 6 w 14"/>
                  <a:gd name="T19" fmla="*/ 14 h 14"/>
                  <a:gd name="T20" fmla="*/ 10 w 14"/>
                  <a:gd name="T2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" h="14">
                    <a:moveTo>
                      <a:pt x="10" y="14"/>
                    </a:moveTo>
                    <a:lnTo>
                      <a:pt x="14" y="10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4" y="12"/>
                    </a:lnTo>
                    <a:lnTo>
                      <a:pt x="6" y="14"/>
                    </a:lnTo>
                    <a:lnTo>
                      <a:pt x="10" y="14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4" name="Freeform 4662">
                <a:extLst>
                  <a:ext uri="{FF2B5EF4-FFF2-40B4-BE49-F238E27FC236}">
                    <a16:creationId xmlns:a16="http://schemas.microsoft.com/office/drawing/2014/main" id="{0D2EA736-6403-4F0F-B98C-239B98AEDD7B}"/>
                  </a:ext>
                </a:extLst>
              </p:cNvPr>
              <p:cNvSpPr/>
              <p:nvPr/>
            </p:nvSpPr>
            <p:spPr bwMode="auto">
              <a:xfrm>
                <a:off x="25986991" y="22379980"/>
                <a:ext cx="123893" cy="100068"/>
              </a:xfrm>
              <a:custGeom>
                <a:avLst/>
                <a:gdLst>
                  <a:gd name="T0" fmla="*/ 38 w 52"/>
                  <a:gd name="T1" fmla="*/ 14 h 42"/>
                  <a:gd name="T2" fmla="*/ 52 w 52"/>
                  <a:gd name="T3" fmla="*/ 4 h 42"/>
                  <a:gd name="T4" fmla="*/ 50 w 52"/>
                  <a:gd name="T5" fmla="*/ 0 h 42"/>
                  <a:gd name="T6" fmla="*/ 38 w 52"/>
                  <a:gd name="T7" fmla="*/ 2 h 42"/>
                  <a:gd name="T8" fmla="*/ 26 w 52"/>
                  <a:gd name="T9" fmla="*/ 12 h 42"/>
                  <a:gd name="T10" fmla="*/ 22 w 52"/>
                  <a:gd name="T11" fmla="*/ 14 h 42"/>
                  <a:gd name="T12" fmla="*/ 10 w 52"/>
                  <a:gd name="T13" fmla="*/ 16 h 42"/>
                  <a:gd name="T14" fmla="*/ 4 w 52"/>
                  <a:gd name="T15" fmla="*/ 16 h 42"/>
                  <a:gd name="T16" fmla="*/ 0 w 52"/>
                  <a:gd name="T17" fmla="*/ 18 h 42"/>
                  <a:gd name="T18" fmla="*/ 2 w 52"/>
                  <a:gd name="T19" fmla="*/ 22 h 42"/>
                  <a:gd name="T20" fmla="*/ 8 w 52"/>
                  <a:gd name="T21" fmla="*/ 32 h 42"/>
                  <a:gd name="T22" fmla="*/ 16 w 52"/>
                  <a:gd name="T23" fmla="*/ 42 h 42"/>
                  <a:gd name="T24" fmla="*/ 24 w 52"/>
                  <a:gd name="T25" fmla="*/ 40 h 42"/>
                  <a:gd name="T26" fmla="*/ 26 w 52"/>
                  <a:gd name="T27" fmla="*/ 38 h 42"/>
                  <a:gd name="T28" fmla="*/ 32 w 52"/>
                  <a:gd name="T29" fmla="*/ 32 h 42"/>
                  <a:gd name="T30" fmla="*/ 38 w 52"/>
                  <a:gd name="T31" fmla="*/ 1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2" h="42">
                    <a:moveTo>
                      <a:pt x="38" y="14"/>
                    </a:moveTo>
                    <a:lnTo>
                      <a:pt x="52" y="4"/>
                    </a:lnTo>
                    <a:lnTo>
                      <a:pt x="50" y="0"/>
                    </a:lnTo>
                    <a:lnTo>
                      <a:pt x="38" y="2"/>
                    </a:lnTo>
                    <a:lnTo>
                      <a:pt x="26" y="12"/>
                    </a:lnTo>
                    <a:lnTo>
                      <a:pt x="22" y="14"/>
                    </a:lnTo>
                    <a:lnTo>
                      <a:pt x="10" y="16"/>
                    </a:lnTo>
                    <a:lnTo>
                      <a:pt x="4" y="16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8" y="32"/>
                    </a:lnTo>
                    <a:lnTo>
                      <a:pt x="16" y="42"/>
                    </a:lnTo>
                    <a:lnTo>
                      <a:pt x="24" y="40"/>
                    </a:lnTo>
                    <a:lnTo>
                      <a:pt x="26" y="38"/>
                    </a:lnTo>
                    <a:lnTo>
                      <a:pt x="32" y="32"/>
                    </a:lnTo>
                    <a:lnTo>
                      <a:pt x="38" y="14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5" name="Freeform 4663">
                <a:extLst>
                  <a:ext uri="{FF2B5EF4-FFF2-40B4-BE49-F238E27FC236}">
                    <a16:creationId xmlns:a16="http://schemas.microsoft.com/office/drawing/2014/main" id="{471EC62F-5696-4833-AFF9-C44325EB72D6}"/>
                  </a:ext>
                </a:extLst>
              </p:cNvPr>
              <p:cNvSpPr/>
              <p:nvPr/>
            </p:nvSpPr>
            <p:spPr bwMode="auto">
              <a:xfrm>
                <a:off x="26363436" y="22351388"/>
                <a:ext cx="104833" cy="119128"/>
              </a:xfrm>
              <a:custGeom>
                <a:avLst/>
                <a:gdLst>
                  <a:gd name="T0" fmla="*/ 20 w 44"/>
                  <a:gd name="T1" fmla="*/ 42 h 50"/>
                  <a:gd name="T2" fmla="*/ 38 w 44"/>
                  <a:gd name="T3" fmla="*/ 36 h 50"/>
                  <a:gd name="T4" fmla="*/ 42 w 44"/>
                  <a:gd name="T5" fmla="*/ 24 h 50"/>
                  <a:gd name="T6" fmla="*/ 44 w 44"/>
                  <a:gd name="T7" fmla="*/ 12 h 50"/>
                  <a:gd name="T8" fmla="*/ 44 w 44"/>
                  <a:gd name="T9" fmla="*/ 4 h 50"/>
                  <a:gd name="T10" fmla="*/ 42 w 44"/>
                  <a:gd name="T11" fmla="*/ 0 h 50"/>
                  <a:gd name="T12" fmla="*/ 40 w 44"/>
                  <a:gd name="T13" fmla="*/ 0 h 50"/>
                  <a:gd name="T14" fmla="*/ 36 w 44"/>
                  <a:gd name="T15" fmla="*/ 0 h 50"/>
                  <a:gd name="T16" fmla="*/ 32 w 44"/>
                  <a:gd name="T17" fmla="*/ 2 h 50"/>
                  <a:gd name="T18" fmla="*/ 30 w 44"/>
                  <a:gd name="T19" fmla="*/ 10 h 50"/>
                  <a:gd name="T20" fmla="*/ 22 w 44"/>
                  <a:gd name="T21" fmla="*/ 24 h 50"/>
                  <a:gd name="T22" fmla="*/ 16 w 44"/>
                  <a:gd name="T23" fmla="*/ 40 h 50"/>
                  <a:gd name="T24" fmla="*/ 8 w 44"/>
                  <a:gd name="T25" fmla="*/ 46 h 50"/>
                  <a:gd name="T26" fmla="*/ 0 w 44"/>
                  <a:gd name="T27" fmla="*/ 48 h 50"/>
                  <a:gd name="T28" fmla="*/ 2 w 44"/>
                  <a:gd name="T29" fmla="*/ 50 h 50"/>
                  <a:gd name="T30" fmla="*/ 10 w 44"/>
                  <a:gd name="T31" fmla="*/ 50 h 50"/>
                  <a:gd name="T32" fmla="*/ 20 w 44"/>
                  <a:gd name="T33" fmla="*/ 4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4" h="50">
                    <a:moveTo>
                      <a:pt x="20" y="42"/>
                    </a:moveTo>
                    <a:lnTo>
                      <a:pt x="38" y="36"/>
                    </a:lnTo>
                    <a:lnTo>
                      <a:pt x="42" y="24"/>
                    </a:lnTo>
                    <a:lnTo>
                      <a:pt x="44" y="12"/>
                    </a:lnTo>
                    <a:lnTo>
                      <a:pt x="44" y="4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36" y="0"/>
                    </a:lnTo>
                    <a:lnTo>
                      <a:pt x="32" y="2"/>
                    </a:lnTo>
                    <a:lnTo>
                      <a:pt x="30" y="10"/>
                    </a:lnTo>
                    <a:lnTo>
                      <a:pt x="22" y="24"/>
                    </a:lnTo>
                    <a:lnTo>
                      <a:pt x="16" y="40"/>
                    </a:lnTo>
                    <a:lnTo>
                      <a:pt x="8" y="46"/>
                    </a:lnTo>
                    <a:lnTo>
                      <a:pt x="0" y="48"/>
                    </a:lnTo>
                    <a:lnTo>
                      <a:pt x="2" y="50"/>
                    </a:lnTo>
                    <a:lnTo>
                      <a:pt x="10" y="50"/>
                    </a:lnTo>
                    <a:lnTo>
                      <a:pt x="20" y="4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6" name="Freeform 4664">
                <a:extLst>
                  <a:ext uri="{FF2B5EF4-FFF2-40B4-BE49-F238E27FC236}">
                    <a16:creationId xmlns:a16="http://schemas.microsoft.com/office/drawing/2014/main" id="{F4C034D4-0A15-4B34-A95C-D50C80BC111F}"/>
                  </a:ext>
                </a:extLst>
              </p:cNvPr>
              <p:cNvSpPr/>
              <p:nvPr/>
            </p:nvSpPr>
            <p:spPr bwMode="auto">
              <a:xfrm>
                <a:off x="25815446" y="22332328"/>
                <a:ext cx="42886" cy="61947"/>
              </a:xfrm>
              <a:custGeom>
                <a:avLst/>
                <a:gdLst>
                  <a:gd name="T0" fmla="*/ 12 w 18"/>
                  <a:gd name="T1" fmla="*/ 26 h 26"/>
                  <a:gd name="T2" fmla="*/ 16 w 18"/>
                  <a:gd name="T3" fmla="*/ 20 h 26"/>
                  <a:gd name="T4" fmla="*/ 16 w 18"/>
                  <a:gd name="T5" fmla="*/ 18 h 26"/>
                  <a:gd name="T6" fmla="*/ 16 w 18"/>
                  <a:gd name="T7" fmla="*/ 12 h 26"/>
                  <a:gd name="T8" fmla="*/ 18 w 18"/>
                  <a:gd name="T9" fmla="*/ 10 h 26"/>
                  <a:gd name="T10" fmla="*/ 16 w 18"/>
                  <a:gd name="T11" fmla="*/ 4 h 26"/>
                  <a:gd name="T12" fmla="*/ 14 w 18"/>
                  <a:gd name="T13" fmla="*/ 0 h 26"/>
                  <a:gd name="T14" fmla="*/ 4 w 18"/>
                  <a:gd name="T15" fmla="*/ 0 h 26"/>
                  <a:gd name="T16" fmla="*/ 0 w 18"/>
                  <a:gd name="T17" fmla="*/ 6 h 26"/>
                  <a:gd name="T18" fmla="*/ 8 w 18"/>
                  <a:gd name="T19" fmla="*/ 22 h 26"/>
                  <a:gd name="T20" fmla="*/ 10 w 18"/>
                  <a:gd name="T21" fmla="*/ 26 h 26"/>
                  <a:gd name="T22" fmla="*/ 12 w 18"/>
                  <a:gd name="T23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8" h="26">
                    <a:moveTo>
                      <a:pt x="12" y="26"/>
                    </a:moveTo>
                    <a:lnTo>
                      <a:pt x="16" y="20"/>
                    </a:lnTo>
                    <a:lnTo>
                      <a:pt x="16" y="18"/>
                    </a:lnTo>
                    <a:lnTo>
                      <a:pt x="16" y="12"/>
                    </a:lnTo>
                    <a:lnTo>
                      <a:pt x="18" y="10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4" y="0"/>
                    </a:lnTo>
                    <a:lnTo>
                      <a:pt x="0" y="6"/>
                    </a:lnTo>
                    <a:lnTo>
                      <a:pt x="8" y="22"/>
                    </a:lnTo>
                    <a:lnTo>
                      <a:pt x="10" y="26"/>
                    </a:lnTo>
                    <a:lnTo>
                      <a:pt x="12" y="2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7" name="Freeform 4665">
                <a:extLst>
                  <a:ext uri="{FF2B5EF4-FFF2-40B4-BE49-F238E27FC236}">
                    <a16:creationId xmlns:a16="http://schemas.microsoft.com/office/drawing/2014/main" id="{DC5851B7-AD55-4548-A75C-B8F4E0F7D57C}"/>
                  </a:ext>
                </a:extLst>
              </p:cNvPr>
              <p:cNvSpPr/>
              <p:nvPr/>
            </p:nvSpPr>
            <p:spPr bwMode="auto">
              <a:xfrm>
                <a:off x="26463504" y="22260851"/>
                <a:ext cx="66712" cy="71477"/>
              </a:xfrm>
              <a:custGeom>
                <a:avLst/>
                <a:gdLst>
                  <a:gd name="T0" fmla="*/ 10 w 28"/>
                  <a:gd name="T1" fmla="*/ 26 h 30"/>
                  <a:gd name="T2" fmla="*/ 20 w 28"/>
                  <a:gd name="T3" fmla="*/ 22 h 30"/>
                  <a:gd name="T4" fmla="*/ 24 w 28"/>
                  <a:gd name="T5" fmla="*/ 18 h 30"/>
                  <a:gd name="T6" fmla="*/ 26 w 28"/>
                  <a:gd name="T7" fmla="*/ 8 h 30"/>
                  <a:gd name="T8" fmla="*/ 28 w 28"/>
                  <a:gd name="T9" fmla="*/ 4 h 30"/>
                  <a:gd name="T10" fmla="*/ 26 w 28"/>
                  <a:gd name="T11" fmla="*/ 0 h 30"/>
                  <a:gd name="T12" fmla="*/ 22 w 28"/>
                  <a:gd name="T13" fmla="*/ 2 h 30"/>
                  <a:gd name="T14" fmla="*/ 20 w 28"/>
                  <a:gd name="T15" fmla="*/ 8 h 30"/>
                  <a:gd name="T16" fmla="*/ 14 w 28"/>
                  <a:gd name="T17" fmla="*/ 10 h 30"/>
                  <a:gd name="T18" fmla="*/ 4 w 28"/>
                  <a:gd name="T19" fmla="*/ 14 h 30"/>
                  <a:gd name="T20" fmla="*/ 2 w 28"/>
                  <a:gd name="T21" fmla="*/ 18 h 30"/>
                  <a:gd name="T22" fmla="*/ 0 w 28"/>
                  <a:gd name="T23" fmla="*/ 28 h 30"/>
                  <a:gd name="T24" fmla="*/ 4 w 28"/>
                  <a:gd name="T25" fmla="*/ 30 h 30"/>
                  <a:gd name="T26" fmla="*/ 10 w 28"/>
                  <a:gd name="T27" fmla="*/ 2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30">
                    <a:moveTo>
                      <a:pt x="10" y="26"/>
                    </a:moveTo>
                    <a:lnTo>
                      <a:pt x="20" y="22"/>
                    </a:lnTo>
                    <a:lnTo>
                      <a:pt x="24" y="18"/>
                    </a:lnTo>
                    <a:lnTo>
                      <a:pt x="26" y="8"/>
                    </a:lnTo>
                    <a:lnTo>
                      <a:pt x="28" y="4"/>
                    </a:lnTo>
                    <a:lnTo>
                      <a:pt x="26" y="0"/>
                    </a:lnTo>
                    <a:lnTo>
                      <a:pt x="22" y="2"/>
                    </a:lnTo>
                    <a:lnTo>
                      <a:pt x="20" y="8"/>
                    </a:lnTo>
                    <a:lnTo>
                      <a:pt x="14" y="10"/>
                    </a:lnTo>
                    <a:lnTo>
                      <a:pt x="4" y="14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4" y="30"/>
                    </a:lnTo>
                    <a:lnTo>
                      <a:pt x="10" y="2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46" name="Freeform 94">
              <a:extLst>
                <a:ext uri="{FF2B5EF4-FFF2-40B4-BE49-F238E27FC236}">
                  <a16:creationId xmlns:a16="http://schemas.microsoft.com/office/drawing/2014/main" id="{5E12D9A5-D7AC-42E2-B5D7-8D397B630976}"/>
                </a:ext>
              </a:extLst>
            </p:cNvPr>
            <p:cNvSpPr/>
            <p:nvPr/>
          </p:nvSpPr>
          <p:spPr bwMode="auto">
            <a:xfrm>
              <a:off x="5064877" y="4177550"/>
              <a:ext cx="343040" cy="255160"/>
            </a:xfrm>
            <a:custGeom>
              <a:avLst/>
              <a:gdLst>
                <a:gd name="connsiteX0" fmla="*/ 1667794 w 2120482"/>
                <a:gd name="connsiteY0" fmla="*/ 1038798 h 1577258"/>
                <a:gd name="connsiteX1" fmla="*/ 1677324 w 2120482"/>
                <a:gd name="connsiteY1" fmla="*/ 1048328 h 1577258"/>
                <a:gd name="connsiteX2" fmla="*/ 1691620 w 2120482"/>
                <a:gd name="connsiteY2" fmla="*/ 1053094 h 1577258"/>
                <a:gd name="connsiteX3" fmla="*/ 1691620 w 2120482"/>
                <a:gd name="connsiteY3" fmla="*/ 1057860 h 1577258"/>
                <a:gd name="connsiteX4" fmla="*/ 1677324 w 2120482"/>
                <a:gd name="connsiteY4" fmla="*/ 1057860 h 1577258"/>
                <a:gd name="connsiteX5" fmla="*/ 1663030 w 2120482"/>
                <a:gd name="connsiteY5" fmla="*/ 1057860 h 1577258"/>
                <a:gd name="connsiteX6" fmla="*/ 1663030 w 2120482"/>
                <a:gd name="connsiteY6" fmla="*/ 1048328 h 1577258"/>
                <a:gd name="connsiteX7" fmla="*/ 1663030 w 2120482"/>
                <a:gd name="connsiteY7" fmla="*/ 1043564 h 1577258"/>
                <a:gd name="connsiteX8" fmla="*/ 1686854 w 2120482"/>
                <a:gd name="connsiteY8" fmla="*/ 967320 h 1577258"/>
                <a:gd name="connsiteX9" fmla="*/ 1696386 w 2120482"/>
                <a:gd name="connsiteY9" fmla="*/ 972086 h 1577258"/>
                <a:gd name="connsiteX10" fmla="*/ 1696386 w 2120482"/>
                <a:gd name="connsiteY10" fmla="*/ 981616 h 1577258"/>
                <a:gd name="connsiteX11" fmla="*/ 1677324 w 2120482"/>
                <a:gd name="connsiteY11" fmla="*/ 1005442 h 1577258"/>
                <a:gd name="connsiteX12" fmla="*/ 1667794 w 2120482"/>
                <a:gd name="connsiteY12" fmla="*/ 1005442 h 1577258"/>
                <a:gd name="connsiteX13" fmla="*/ 1663028 w 2120482"/>
                <a:gd name="connsiteY13" fmla="*/ 1019736 h 1577258"/>
                <a:gd name="connsiteX14" fmla="*/ 1639204 w 2120482"/>
                <a:gd name="connsiteY14" fmla="*/ 1014972 h 1577258"/>
                <a:gd name="connsiteX15" fmla="*/ 1634438 w 2120482"/>
                <a:gd name="connsiteY15" fmla="*/ 1010206 h 1577258"/>
                <a:gd name="connsiteX16" fmla="*/ 1639204 w 2120482"/>
                <a:gd name="connsiteY16" fmla="*/ 995912 h 1577258"/>
                <a:gd name="connsiteX17" fmla="*/ 1648734 w 2120482"/>
                <a:gd name="connsiteY17" fmla="*/ 995912 h 1577258"/>
                <a:gd name="connsiteX18" fmla="*/ 1648734 w 2120482"/>
                <a:gd name="connsiteY18" fmla="*/ 986382 h 1577258"/>
                <a:gd name="connsiteX19" fmla="*/ 1653498 w 2120482"/>
                <a:gd name="connsiteY19" fmla="*/ 976852 h 1577258"/>
                <a:gd name="connsiteX20" fmla="*/ 1939406 w 2120482"/>
                <a:gd name="connsiteY20" fmla="*/ 795776 h 1577258"/>
                <a:gd name="connsiteX21" fmla="*/ 1944172 w 2120482"/>
                <a:gd name="connsiteY21" fmla="*/ 795776 h 1577258"/>
                <a:gd name="connsiteX22" fmla="*/ 1939406 w 2120482"/>
                <a:gd name="connsiteY22" fmla="*/ 805308 h 1577258"/>
                <a:gd name="connsiteX23" fmla="*/ 1944172 w 2120482"/>
                <a:gd name="connsiteY23" fmla="*/ 810072 h 1577258"/>
                <a:gd name="connsiteX24" fmla="*/ 1944172 w 2120482"/>
                <a:gd name="connsiteY24" fmla="*/ 814838 h 1577258"/>
                <a:gd name="connsiteX25" fmla="*/ 1939406 w 2120482"/>
                <a:gd name="connsiteY25" fmla="*/ 819602 h 1577258"/>
                <a:gd name="connsiteX26" fmla="*/ 1934642 w 2120482"/>
                <a:gd name="connsiteY26" fmla="*/ 829132 h 1577258"/>
                <a:gd name="connsiteX27" fmla="*/ 1948936 w 2120482"/>
                <a:gd name="connsiteY27" fmla="*/ 838664 h 1577258"/>
                <a:gd name="connsiteX28" fmla="*/ 1967998 w 2120482"/>
                <a:gd name="connsiteY28" fmla="*/ 833898 h 1577258"/>
                <a:gd name="connsiteX29" fmla="*/ 1972762 w 2120482"/>
                <a:gd name="connsiteY29" fmla="*/ 833898 h 1577258"/>
                <a:gd name="connsiteX30" fmla="*/ 1982292 w 2120482"/>
                <a:gd name="connsiteY30" fmla="*/ 838664 h 1577258"/>
                <a:gd name="connsiteX31" fmla="*/ 1987058 w 2120482"/>
                <a:gd name="connsiteY31" fmla="*/ 848194 h 1577258"/>
                <a:gd name="connsiteX32" fmla="*/ 1977528 w 2120482"/>
                <a:gd name="connsiteY32" fmla="*/ 862488 h 1577258"/>
                <a:gd name="connsiteX33" fmla="*/ 1967998 w 2120482"/>
                <a:gd name="connsiteY33" fmla="*/ 876784 h 1577258"/>
                <a:gd name="connsiteX34" fmla="*/ 1958468 w 2120482"/>
                <a:gd name="connsiteY34" fmla="*/ 895844 h 1577258"/>
                <a:gd name="connsiteX35" fmla="*/ 1948936 w 2120482"/>
                <a:gd name="connsiteY35" fmla="*/ 914906 h 1577258"/>
                <a:gd name="connsiteX36" fmla="*/ 1934642 w 2120482"/>
                <a:gd name="connsiteY36" fmla="*/ 924436 h 1577258"/>
                <a:gd name="connsiteX37" fmla="*/ 1925112 w 2120482"/>
                <a:gd name="connsiteY37" fmla="*/ 929200 h 1577258"/>
                <a:gd name="connsiteX38" fmla="*/ 1896520 w 2120482"/>
                <a:gd name="connsiteY38" fmla="*/ 914906 h 1577258"/>
                <a:gd name="connsiteX39" fmla="*/ 1882224 w 2120482"/>
                <a:gd name="connsiteY39" fmla="*/ 914906 h 1577258"/>
                <a:gd name="connsiteX40" fmla="*/ 1877460 w 2120482"/>
                <a:gd name="connsiteY40" fmla="*/ 910140 h 1577258"/>
                <a:gd name="connsiteX41" fmla="*/ 1872694 w 2120482"/>
                <a:gd name="connsiteY41" fmla="*/ 886314 h 1577258"/>
                <a:gd name="connsiteX42" fmla="*/ 1867930 w 2120482"/>
                <a:gd name="connsiteY42" fmla="*/ 881550 h 1577258"/>
                <a:gd name="connsiteX43" fmla="*/ 1853634 w 2120482"/>
                <a:gd name="connsiteY43" fmla="*/ 876784 h 1577258"/>
                <a:gd name="connsiteX44" fmla="*/ 1848868 w 2120482"/>
                <a:gd name="connsiteY44" fmla="*/ 886314 h 1577258"/>
                <a:gd name="connsiteX45" fmla="*/ 1834574 w 2120482"/>
                <a:gd name="connsiteY45" fmla="*/ 895844 h 1577258"/>
                <a:gd name="connsiteX46" fmla="*/ 1829808 w 2120482"/>
                <a:gd name="connsiteY46" fmla="*/ 886314 h 1577258"/>
                <a:gd name="connsiteX47" fmla="*/ 1820278 w 2120482"/>
                <a:gd name="connsiteY47" fmla="*/ 881550 h 1577258"/>
                <a:gd name="connsiteX48" fmla="*/ 1815514 w 2120482"/>
                <a:gd name="connsiteY48" fmla="*/ 876784 h 1577258"/>
                <a:gd name="connsiteX49" fmla="*/ 1815514 w 2120482"/>
                <a:gd name="connsiteY49" fmla="*/ 867254 h 1577258"/>
                <a:gd name="connsiteX50" fmla="*/ 1877460 w 2120482"/>
                <a:gd name="connsiteY50" fmla="*/ 819602 h 1577258"/>
                <a:gd name="connsiteX51" fmla="*/ 1896520 w 2120482"/>
                <a:gd name="connsiteY51" fmla="*/ 805308 h 1577258"/>
                <a:gd name="connsiteX52" fmla="*/ 2077594 w 2120482"/>
                <a:gd name="connsiteY52" fmla="*/ 771952 h 1577258"/>
                <a:gd name="connsiteX53" fmla="*/ 2106186 w 2120482"/>
                <a:gd name="connsiteY53" fmla="*/ 781482 h 1577258"/>
                <a:gd name="connsiteX54" fmla="*/ 2120482 w 2120482"/>
                <a:gd name="connsiteY54" fmla="*/ 805306 h 1577258"/>
                <a:gd name="connsiteX55" fmla="*/ 2120482 w 2120482"/>
                <a:gd name="connsiteY55" fmla="*/ 810072 h 1577258"/>
                <a:gd name="connsiteX56" fmla="*/ 2115716 w 2120482"/>
                <a:gd name="connsiteY56" fmla="*/ 819602 h 1577258"/>
                <a:gd name="connsiteX57" fmla="*/ 2110950 w 2120482"/>
                <a:gd name="connsiteY57" fmla="*/ 824368 h 1577258"/>
                <a:gd name="connsiteX58" fmla="*/ 2063300 w 2120482"/>
                <a:gd name="connsiteY58" fmla="*/ 800542 h 1577258"/>
                <a:gd name="connsiteX59" fmla="*/ 2049004 w 2120482"/>
                <a:gd name="connsiteY59" fmla="*/ 795776 h 1577258"/>
                <a:gd name="connsiteX60" fmla="*/ 2044238 w 2120482"/>
                <a:gd name="connsiteY60" fmla="*/ 791012 h 1577258"/>
                <a:gd name="connsiteX61" fmla="*/ 2044238 w 2120482"/>
                <a:gd name="connsiteY61" fmla="*/ 781482 h 1577258"/>
                <a:gd name="connsiteX62" fmla="*/ 2044238 w 2120482"/>
                <a:gd name="connsiteY62" fmla="*/ 776716 h 1577258"/>
                <a:gd name="connsiteX63" fmla="*/ 243022 w 2120482"/>
                <a:gd name="connsiteY63" fmla="*/ 0 h 1577258"/>
                <a:gd name="connsiteX64" fmla="*/ 257316 w 2120482"/>
                <a:gd name="connsiteY64" fmla="*/ 4766 h 1577258"/>
                <a:gd name="connsiteX65" fmla="*/ 271612 w 2120482"/>
                <a:gd name="connsiteY65" fmla="*/ 4766 h 1577258"/>
                <a:gd name="connsiteX66" fmla="*/ 290672 w 2120482"/>
                <a:gd name="connsiteY66" fmla="*/ 14296 h 1577258"/>
                <a:gd name="connsiteX67" fmla="*/ 309734 w 2120482"/>
                <a:gd name="connsiteY67" fmla="*/ 33356 h 1577258"/>
                <a:gd name="connsiteX68" fmla="*/ 343090 w 2120482"/>
                <a:gd name="connsiteY68" fmla="*/ 42888 h 1577258"/>
                <a:gd name="connsiteX69" fmla="*/ 366914 w 2120482"/>
                <a:gd name="connsiteY69" fmla="*/ 38122 h 1577258"/>
                <a:gd name="connsiteX70" fmla="*/ 409800 w 2120482"/>
                <a:gd name="connsiteY70" fmla="*/ 33356 h 1577258"/>
                <a:gd name="connsiteX71" fmla="*/ 433626 w 2120482"/>
                <a:gd name="connsiteY71" fmla="*/ 38122 h 1577258"/>
                <a:gd name="connsiteX72" fmla="*/ 471748 w 2120482"/>
                <a:gd name="connsiteY72" fmla="*/ 33356 h 1577258"/>
                <a:gd name="connsiteX73" fmla="*/ 495574 w 2120482"/>
                <a:gd name="connsiteY73" fmla="*/ 33356 h 1577258"/>
                <a:gd name="connsiteX74" fmla="*/ 528930 w 2120482"/>
                <a:gd name="connsiteY74" fmla="*/ 23826 h 1577258"/>
                <a:gd name="connsiteX75" fmla="*/ 557520 w 2120482"/>
                <a:gd name="connsiteY75" fmla="*/ 38122 h 1577258"/>
                <a:gd name="connsiteX76" fmla="*/ 614702 w 2120482"/>
                <a:gd name="connsiteY76" fmla="*/ 42888 h 1577258"/>
                <a:gd name="connsiteX77" fmla="*/ 648058 w 2120482"/>
                <a:gd name="connsiteY77" fmla="*/ 57182 h 1577258"/>
                <a:gd name="connsiteX78" fmla="*/ 738594 w 2120482"/>
                <a:gd name="connsiteY78" fmla="*/ 71478 h 1577258"/>
                <a:gd name="connsiteX79" fmla="*/ 771950 w 2120482"/>
                <a:gd name="connsiteY79" fmla="*/ 71478 h 1577258"/>
                <a:gd name="connsiteX80" fmla="*/ 814836 w 2120482"/>
                <a:gd name="connsiteY80" fmla="*/ 61948 h 1577258"/>
                <a:gd name="connsiteX81" fmla="*/ 838662 w 2120482"/>
                <a:gd name="connsiteY81" fmla="*/ 57182 h 1577258"/>
                <a:gd name="connsiteX82" fmla="*/ 852958 w 2120482"/>
                <a:gd name="connsiteY82" fmla="*/ 61948 h 1577258"/>
                <a:gd name="connsiteX83" fmla="*/ 881548 w 2120482"/>
                <a:gd name="connsiteY83" fmla="*/ 52418 h 1577258"/>
                <a:gd name="connsiteX84" fmla="*/ 895844 w 2120482"/>
                <a:gd name="connsiteY84" fmla="*/ 52418 h 1577258"/>
                <a:gd name="connsiteX85" fmla="*/ 910140 w 2120482"/>
                <a:gd name="connsiteY85" fmla="*/ 66712 h 1577258"/>
                <a:gd name="connsiteX86" fmla="*/ 967320 w 2120482"/>
                <a:gd name="connsiteY86" fmla="*/ 81008 h 1577258"/>
                <a:gd name="connsiteX87" fmla="*/ 981616 w 2120482"/>
                <a:gd name="connsiteY87" fmla="*/ 66712 h 1577258"/>
                <a:gd name="connsiteX88" fmla="*/ 995912 w 2120482"/>
                <a:gd name="connsiteY88" fmla="*/ 66712 h 1577258"/>
                <a:gd name="connsiteX89" fmla="*/ 1038798 w 2120482"/>
                <a:gd name="connsiteY89" fmla="*/ 76244 h 1577258"/>
                <a:gd name="connsiteX90" fmla="*/ 1076918 w 2120482"/>
                <a:gd name="connsiteY90" fmla="*/ 90538 h 1577258"/>
                <a:gd name="connsiteX91" fmla="*/ 1100744 w 2120482"/>
                <a:gd name="connsiteY91" fmla="*/ 95304 h 1577258"/>
                <a:gd name="connsiteX92" fmla="*/ 1134100 w 2120482"/>
                <a:gd name="connsiteY92" fmla="*/ 90538 h 1577258"/>
                <a:gd name="connsiteX93" fmla="*/ 1157926 w 2120482"/>
                <a:gd name="connsiteY93" fmla="*/ 76244 h 1577258"/>
                <a:gd name="connsiteX94" fmla="*/ 1162690 w 2120482"/>
                <a:gd name="connsiteY94" fmla="*/ 76244 h 1577258"/>
                <a:gd name="connsiteX95" fmla="*/ 1162690 w 2120482"/>
                <a:gd name="connsiteY95" fmla="*/ 81008 h 1577258"/>
                <a:gd name="connsiteX96" fmla="*/ 1172222 w 2120482"/>
                <a:gd name="connsiteY96" fmla="*/ 95304 h 1577258"/>
                <a:gd name="connsiteX97" fmla="*/ 1176986 w 2120482"/>
                <a:gd name="connsiteY97" fmla="*/ 95304 h 1577258"/>
                <a:gd name="connsiteX98" fmla="*/ 1191282 w 2120482"/>
                <a:gd name="connsiteY98" fmla="*/ 100068 h 1577258"/>
                <a:gd name="connsiteX99" fmla="*/ 1200812 w 2120482"/>
                <a:gd name="connsiteY99" fmla="*/ 104834 h 1577258"/>
                <a:gd name="connsiteX100" fmla="*/ 1215108 w 2120482"/>
                <a:gd name="connsiteY100" fmla="*/ 104834 h 1577258"/>
                <a:gd name="connsiteX101" fmla="*/ 1224638 w 2120482"/>
                <a:gd name="connsiteY101" fmla="*/ 109598 h 1577258"/>
                <a:gd name="connsiteX102" fmla="*/ 1224638 w 2120482"/>
                <a:gd name="connsiteY102" fmla="*/ 119130 h 1577258"/>
                <a:gd name="connsiteX103" fmla="*/ 1219872 w 2120482"/>
                <a:gd name="connsiteY103" fmla="*/ 128660 h 1577258"/>
                <a:gd name="connsiteX104" fmla="*/ 1215108 w 2120482"/>
                <a:gd name="connsiteY104" fmla="*/ 138190 h 1577258"/>
                <a:gd name="connsiteX105" fmla="*/ 1210342 w 2120482"/>
                <a:gd name="connsiteY105" fmla="*/ 147720 h 1577258"/>
                <a:gd name="connsiteX106" fmla="*/ 1215108 w 2120482"/>
                <a:gd name="connsiteY106" fmla="*/ 152486 h 1577258"/>
                <a:gd name="connsiteX107" fmla="*/ 1219872 w 2120482"/>
                <a:gd name="connsiteY107" fmla="*/ 152486 h 1577258"/>
                <a:gd name="connsiteX108" fmla="*/ 1224638 w 2120482"/>
                <a:gd name="connsiteY108" fmla="*/ 157250 h 1577258"/>
                <a:gd name="connsiteX109" fmla="*/ 1229402 w 2120482"/>
                <a:gd name="connsiteY109" fmla="*/ 152486 h 1577258"/>
                <a:gd name="connsiteX110" fmla="*/ 1234168 w 2120482"/>
                <a:gd name="connsiteY110" fmla="*/ 147720 h 1577258"/>
                <a:gd name="connsiteX111" fmla="*/ 1238932 w 2120482"/>
                <a:gd name="connsiteY111" fmla="*/ 142954 h 1577258"/>
                <a:gd name="connsiteX112" fmla="*/ 1243698 w 2120482"/>
                <a:gd name="connsiteY112" fmla="*/ 147720 h 1577258"/>
                <a:gd name="connsiteX113" fmla="*/ 1262758 w 2120482"/>
                <a:gd name="connsiteY113" fmla="*/ 157250 h 1577258"/>
                <a:gd name="connsiteX114" fmla="*/ 1296114 w 2120482"/>
                <a:gd name="connsiteY114" fmla="*/ 171546 h 1577258"/>
                <a:gd name="connsiteX115" fmla="*/ 1310410 w 2120482"/>
                <a:gd name="connsiteY115" fmla="*/ 171546 h 1577258"/>
                <a:gd name="connsiteX116" fmla="*/ 1324706 w 2120482"/>
                <a:gd name="connsiteY116" fmla="*/ 176310 h 1577258"/>
                <a:gd name="connsiteX117" fmla="*/ 1329470 w 2120482"/>
                <a:gd name="connsiteY117" fmla="*/ 181076 h 1577258"/>
                <a:gd name="connsiteX118" fmla="*/ 1353296 w 2120482"/>
                <a:gd name="connsiteY118" fmla="*/ 204902 h 1577258"/>
                <a:gd name="connsiteX119" fmla="*/ 1358062 w 2120482"/>
                <a:gd name="connsiteY119" fmla="*/ 204902 h 1577258"/>
                <a:gd name="connsiteX120" fmla="*/ 1367592 w 2120482"/>
                <a:gd name="connsiteY120" fmla="*/ 204902 h 1577258"/>
                <a:gd name="connsiteX121" fmla="*/ 1381886 w 2120482"/>
                <a:gd name="connsiteY121" fmla="*/ 204902 h 1577258"/>
                <a:gd name="connsiteX122" fmla="*/ 1391416 w 2120482"/>
                <a:gd name="connsiteY122" fmla="*/ 200136 h 1577258"/>
                <a:gd name="connsiteX123" fmla="*/ 1396182 w 2120482"/>
                <a:gd name="connsiteY123" fmla="*/ 200136 h 1577258"/>
                <a:gd name="connsiteX124" fmla="*/ 1405712 w 2120482"/>
                <a:gd name="connsiteY124" fmla="*/ 204902 h 1577258"/>
                <a:gd name="connsiteX125" fmla="*/ 1410478 w 2120482"/>
                <a:gd name="connsiteY125" fmla="*/ 209666 h 1577258"/>
                <a:gd name="connsiteX126" fmla="*/ 1420008 w 2120482"/>
                <a:gd name="connsiteY126" fmla="*/ 214432 h 1577258"/>
                <a:gd name="connsiteX127" fmla="*/ 1429538 w 2120482"/>
                <a:gd name="connsiteY127" fmla="*/ 223962 h 1577258"/>
                <a:gd name="connsiteX128" fmla="*/ 1439068 w 2120482"/>
                <a:gd name="connsiteY128" fmla="*/ 228728 h 1577258"/>
                <a:gd name="connsiteX129" fmla="*/ 1477190 w 2120482"/>
                <a:gd name="connsiteY129" fmla="*/ 223962 h 1577258"/>
                <a:gd name="connsiteX130" fmla="*/ 1481954 w 2120482"/>
                <a:gd name="connsiteY130" fmla="*/ 228728 h 1577258"/>
                <a:gd name="connsiteX131" fmla="*/ 1491484 w 2120482"/>
                <a:gd name="connsiteY131" fmla="*/ 228728 h 1577258"/>
                <a:gd name="connsiteX132" fmla="*/ 1501014 w 2120482"/>
                <a:gd name="connsiteY132" fmla="*/ 228728 h 1577258"/>
                <a:gd name="connsiteX133" fmla="*/ 1524840 w 2120482"/>
                <a:gd name="connsiteY133" fmla="*/ 228728 h 1577258"/>
                <a:gd name="connsiteX134" fmla="*/ 1543900 w 2120482"/>
                <a:gd name="connsiteY134" fmla="*/ 228728 h 1577258"/>
                <a:gd name="connsiteX135" fmla="*/ 1543900 w 2120482"/>
                <a:gd name="connsiteY135" fmla="*/ 204902 h 1577258"/>
                <a:gd name="connsiteX136" fmla="*/ 1548666 w 2120482"/>
                <a:gd name="connsiteY136" fmla="*/ 195372 h 1577258"/>
                <a:gd name="connsiteX137" fmla="*/ 1553432 w 2120482"/>
                <a:gd name="connsiteY137" fmla="*/ 195372 h 1577258"/>
                <a:gd name="connsiteX138" fmla="*/ 1562962 w 2120482"/>
                <a:gd name="connsiteY138" fmla="*/ 195372 h 1577258"/>
                <a:gd name="connsiteX139" fmla="*/ 1601082 w 2120482"/>
                <a:gd name="connsiteY139" fmla="*/ 209666 h 1577258"/>
                <a:gd name="connsiteX140" fmla="*/ 1615378 w 2120482"/>
                <a:gd name="connsiteY140" fmla="*/ 219196 h 1577258"/>
                <a:gd name="connsiteX141" fmla="*/ 1634438 w 2120482"/>
                <a:gd name="connsiteY141" fmla="*/ 223962 h 1577258"/>
                <a:gd name="connsiteX142" fmla="*/ 1643968 w 2120482"/>
                <a:gd name="connsiteY142" fmla="*/ 223962 h 1577258"/>
                <a:gd name="connsiteX143" fmla="*/ 1653498 w 2120482"/>
                <a:gd name="connsiteY143" fmla="*/ 228728 h 1577258"/>
                <a:gd name="connsiteX144" fmla="*/ 1667794 w 2120482"/>
                <a:gd name="connsiteY144" fmla="*/ 247788 h 1577258"/>
                <a:gd name="connsiteX145" fmla="*/ 1663030 w 2120482"/>
                <a:gd name="connsiteY145" fmla="*/ 257318 h 1577258"/>
                <a:gd name="connsiteX146" fmla="*/ 1667794 w 2120482"/>
                <a:gd name="connsiteY146" fmla="*/ 262082 h 1577258"/>
                <a:gd name="connsiteX147" fmla="*/ 1667794 w 2120482"/>
                <a:gd name="connsiteY147" fmla="*/ 271614 h 1577258"/>
                <a:gd name="connsiteX148" fmla="*/ 1667794 w 2120482"/>
                <a:gd name="connsiteY148" fmla="*/ 276378 h 1577258"/>
                <a:gd name="connsiteX149" fmla="*/ 1672560 w 2120482"/>
                <a:gd name="connsiteY149" fmla="*/ 281144 h 1577258"/>
                <a:gd name="connsiteX150" fmla="*/ 1677324 w 2120482"/>
                <a:gd name="connsiteY150" fmla="*/ 281144 h 1577258"/>
                <a:gd name="connsiteX151" fmla="*/ 1682090 w 2120482"/>
                <a:gd name="connsiteY151" fmla="*/ 281144 h 1577258"/>
                <a:gd name="connsiteX152" fmla="*/ 1691620 w 2120482"/>
                <a:gd name="connsiteY152" fmla="*/ 276378 h 1577258"/>
                <a:gd name="connsiteX153" fmla="*/ 1705916 w 2120482"/>
                <a:gd name="connsiteY153" fmla="*/ 271614 h 1577258"/>
                <a:gd name="connsiteX154" fmla="*/ 1710680 w 2120482"/>
                <a:gd name="connsiteY154" fmla="*/ 266848 h 1577258"/>
                <a:gd name="connsiteX155" fmla="*/ 1734506 w 2120482"/>
                <a:gd name="connsiteY155" fmla="*/ 276378 h 1577258"/>
                <a:gd name="connsiteX156" fmla="*/ 1744036 w 2120482"/>
                <a:gd name="connsiteY156" fmla="*/ 285908 h 1577258"/>
                <a:gd name="connsiteX157" fmla="*/ 1748802 w 2120482"/>
                <a:gd name="connsiteY157" fmla="*/ 290674 h 1577258"/>
                <a:gd name="connsiteX158" fmla="*/ 1753566 w 2120482"/>
                <a:gd name="connsiteY158" fmla="*/ 300204 h 1577258"/>
                <a:gd name="connsiteX159" fmla="*/ 1763096 w 2120482"/>
                <a:gd name="connsiteY159" fmla="*/ 300204 h 1577258"/>
                <a:gd name="connsiteX160" fmla="*/ 1772626 w 2120482"/>
                <a:gd name="connsiteY160" fmla="*/ 290674 h 1577258"/>
                <a:gd name="connsiteX161" fmla="*/ 1786922 w 2120482"/>
                <a:gd name="connsiteY161" fmla="*/ 285908 h 1577258"/>
                <a:gd name="connsiteX162" fmla="*/ 1815514 w 2120482"/>
                <a:gd name="connsiteY162" fmla="*/ 290674 h 1577258"/>
                <a:gd name="connsiteX163" fmla="*/ 1844104 w 2120482"/>
                <a:gd name="connsiteY163" fmla="*/ 300204 h 1577258"/>
                <a:gd name="connsiteX164" fmla="*/ 1858400 w 2120482"/>
                <a:gd name="connsiteY164" fmla="*/ 304970 h 1577258"/>
                <a:gd name="connsiteX165" fmla="*/ 1858400 w 2120482"/>
                <a:gd name="connsiteY165" fmla="*/ 300204 h 1577258"/>
                <a:gd name="connsiteX166" fmla="*/ 1863164 w 2120482"/>
                <a:gd name="connsiteY166" fmla="*/ 290674 h 1577258"/>
                <a:gd name="connsiteX167" fmla="*/ 1867930 w 2120482"/>
                <a:gd name="connsiteY167" fmla="*/ 285908 h 1577258"/>
                <a:gd name="connsiteX168" fmla="*/ 1872694 w 2120482"/>
                <a:gd name="connsiteY168" fmla="*/ 285908 h 1577258"/>
                <a:gd name="connsiteX169" fmla="*/ 1882224 w 2120482"/>
                <a:gd name="connsiteY169" fmla="*/ 285908 h 1577258"/>
                <a:gd name="connsiteX170" fmla="*/ 1896520 w 2120482"/>
                <a:gd name="connsiteY170" fmla="*/ 276378 h 1577258"/>
                <a:gd name="connsiteX171" fmla="*/ 1906050 w 2120482"/>
                <a:gd name="connsiteY171" fmla="*/ 276378 h 1577258"/>
                <a:gd name="connsiteX172" fmla="*/ 1920346 w 2120482"/>
                <a:gd name="connsiteY172" fmla="*/ 281144 h 1577258"/>
                <a:gd name="connsiteX173" fmla="*/ 1934642 w 2120482"/>
                <a:gd name="connsiteY173" fmla="*/ 285908 h 1577258"/>
                <a:gd name="connsiteX174" fmla="*/ 1944172 w 2120482"/>
                <a:gd name="connsiteY174" fmla="*/ 285908 h 1577258"/>
                <a:gd name="connsiteX175" fmla="*/ 1948936 w 2120482"/>
                <a:gd name="connsiteY175" fmla="*/ 295438 h 1577258"/>
                <a:gd name="connsiteX176" fmla="*/ 1958466 w 2120482"/>
                <a:gd name="connsiteY176" fmla="*/ 300204 h 1577258"/>
                <a:gd name="connsiteX177" fmla="*/ 1963232 w 2120482"/>
                <a:gd name="connsiteY177" fmla="*/ 314500 h 1577258"/>
                <a:gd name="connsiteX178" fmla="*/ 1948936 w 2120482"/>
                <a:gd name="connsiteY178" fmla="*/ 319264 h 1577258"/>
                <a:gd name="connsiteX179" fmla="*/ 1939406 w 2120482"/>
                <a:gd name="connsiteY179" fmla="*/ 319264 h 1577258"/>
                <a:gd name="connsiteX180" fmla="*/ 1934642 w 2120482"/>
                <a:gd name="connsiteY180" fmla="*/ 338324 h 1577258"/>
                <a:gd name="connsiteX181" fmla="*/ 1939406 w 2120482"/>
                <a:gd name="connsiteY181" fmla="*/ 347856 h 1577258"/>
                <a:gd name="connsiteX182" fmla="*/ 1948936 w 2120482"/>
                <a:gd name="connsiteY182" fmla="*/ 352620 h 1577258"/>
                <a:gd name="connsiteX183" fmla="*/ 1948936 w 2120482"/>
                <a:gd name="connsiteY183" fmla="*/ 357386 h 1577258"/>
                <a:gd name="connsiteX184" fmla="*/ 1953702 w 2120482"/>
                <a:gd name="connsiteY184" fmla="*/ 385976 h 1577258"/>
                <a:gd name="connsiteX185" fmla="*/ 1934642 w 2120482"/>
                <a:gd name="connsiteY185" fmla="*/ 405036 h 1577258"/>
                <a:gd name="connsiteX186" fmla="*/ 1915580 w 2120482"/>
                <a:gd name="connsiteY186" fmla="*/ 424098 h 1577258"/>
                <a:gd name="connsiteX187" fmla="*/ 1805982 w 2120482"/>
                <a:gd name="connsiteY187" fmla="*/ 486044 h 1577258"/>
                <a:gd name="connsiteX188" fmla="*/ 1777392 w 2120482"/>
                <a:gd name="connsiteY188" fmla="*/ 514634 h 1577258"/>
                <a:gd name="connsiteX189" fmla="*/ 1767862 w 2120482"/>
                <a:gd name="connsiteY189" fmla="*/ 524164 h 1577258"/>
                <a:gd name="connsiteX190" fmla="*/ 1686854 w 2120482"/>
                <a:gd name="connsiteY190" fmla="*/ 543226 h 1577258"/>
                <a:gd name="connsiteX191" fmla="*/ 1634438 w 2120482"/>
                <a:gd name="connsiteY191" fmla="*/ 562286 h 1577258"/>
                <a:gd name="connsiteX192" fmla="*/ 1605848 w 2120482"/>
                <a:gd name="connsiteY192" fmla="*/ 571816 h 1577258"/>
                <a:gd name="connsiteX193" fmla="*/ 1572492 w 2120482"/>
                <a:gd name="connsiteY193" fmla="*/ 605172 h 1577258"/>
                <a:gd name="connsiteX194" fmla="*/ 1558196 w 2120482"/>
                <a:gd name="connsiteY194" fmla="*/ 619468 h 1577258"/>
                <a:gd name="connsiteX195" fmla="*/ 1567726 w 2120482"/>
                <a:gd name="connsiteY195" fmla="*/ 624232 h 1577258"/>
                <a:gd name="connsiteX196" fmla="*/ 1582022 w 2120482"/>
                <a:gd name="connsiteY196" fmla="*/ 638528 h 1577258"/>
                <a:gd name="connsiteX197" fmla="*/ 1577256 w 2120482"/>
                <a:gd name="connsiteY197" fmla="*/ 648058 h 1577258"/>
                <a:gd name="connsiteX198" fmla="*/ 1558196 w 2120482"/>
                <a:gd name="connsiteY198" fmla="*/ 657588 h 1577258"/>
                <a:gd name="connsiteX199" fmla="*/ 1548666 w 2120482"/>
                <a:gd name="connsiteY199" fmla="*/ 662354 h 1577258"/>
                <a:gd name="connsiteX200" fmla="*/ 1543900 w 2120482"/>
                <a:gd name="connsiteY200" fmla="*/ 662354 h 1577258"/>
                <a:gd name="connsiteX201" fmla="*/ 1539136 w 2120482"/>
                <a:gd name="connsiteY201" fmla="*/ 662354 h 1577258"/>
                <a:gd name="connsiteX202" fmla="*/ 1501014 w 2120482"/>
                <a:gd name="connsiteY202" fmla="*/ 724300 h 1577258"/>
                <a:gd name="connsiteX203" fmla="*/ 1467658 w 2120482"/>
                <a:gd name="connsiteY203" fmla="*/ 767186 h 1577258"/>
                <a:gd name="connsiteX204" fmla="*/ 1448598 w 2120482"/>
                <a:gd name="connsiteY204" fmla="*/ 786246 h 1577258"/>
                <a:gd name="connsiteX205" fmla="*/ 1434302 w 2120482"/>
                <a:gd name="connsiteY205" fmla="*/ 814838 h 1577258"/>
                <a:gd name="connsiteX206" fmla="*/ 1391416 w 2120482"/>
                <a:gd name="connsiteY206" fmla="*/ 886314 h 1577258"/>
                <a:gd name="connsiteX207" fmla="*/ 1391416 w 2120482"/>
                <a:gd name="connsiteY207" fmla="*/ 905376 h 1577258"/>
                <a:gd name="connsiteX208" fmla="*/ 1410478 w 2120482"/>
                <a:gd name="connsiteY208" fmla="*/ 976852 h 1577258"/>
                <a:gd name="connsiteX209" fmla="*/ 1424772 w 2120482"/>
                <a:gd name="connsiteY209" fmla="*/ 995912 h 1577258"/>
                <a:gd name="connsiteX210" fmla="*/ 1439068 w 2120482"/>
                <a:gd name="connsiteY210" fmla="*/ 1014972 h 1577258"/>
                <a:gd name="connsiteX211" fmla="*/ 1467658 w 2120482"/>
                <a:gd name="connsiteY211" fmla="*/ 1024504 h 1577258"/>
                <a:gd name="connsiteX212" fmla="*/ 1477190 w 2120482"/>
                <a:gd name="connsiteY212" fmla="*/ 1038798 h 1577258"/>
                <a:gd name="connsiteX213" fmla="*/ 1462894 w 2120482"/>
                <a:gd name="connsiteY213" fmla="*/ 1053094 h 1577258"/>
                <a:gd name="connsiteX214" fmla="*/ 1434302 w 2120482"/>
                <a:gd name="connsiteY214" fmla="*/ 1072154 h 1577258"/>
                <a:gd name="connsiteX215" fmla="*/ 1386652 w 2120482"/>
                <a:gd name="connsiteY215" fmla="*/ 1105510 h 1577258"/>
                <a:gd name="connsiteX216" fmla="*/ 1362826 w 2120482"/>
                <a:gd name="connsiteY216" fmla="*/ 1129336 h 1577258"/>
                <a:gd name="connsiteX217" fmla="*/ 1358062 w 2120482"/>
                <a:gd name="connsiteY217" fmla="*/ 1148396 h 1577258"/>
                <a:gd name="connsiteX218" fmla="*/ 1343766 w 2120482"/>
                <a:gd name="connsiteY218" fmla="*/ 1162692 h 1577258"/>
                <a:gd name="connsiteX219" fmla="*/ 1339000 w 2120482"/>
                <a:gd name="connsiteY219" fmla="*/ 1191282 h 1577258"/>
                <a:gd name="connsiteX220" fmla="*/ 1329470 w 2120482"/>
                <a:gd name="connsiteY220" fmla="*/ 1215108 h 1577258"/>
                <a:gd name="connsiteX221" fmla="*/ 1324706 w 2120482"/>
                <a:gd name="connsiteY221" fmla="*/ 1219874 h 1577258"/>
                <a:gd name="connsiteX222" fmla="*/ 1315174 w 2120482"/>
                <a:gd name="connsiteY222" fmla="*/ 1234168 h 1577258"/>
                <a:gd name="connsiteX223" fmla="*/ 1315174 w 2120482"/>
                <a:gd name="connsiteY223" fmla="*/ 1248464 h 1577258"/>
                <a:gd name="connsiteX224" fmla="*/ 1329470 w 2120482"/>
                <a:gd name="connsiteY224" fmla="*/ 1262760 h 1577258"/>
                <a:gd name="connsiteX225" fmla="*/ 1324706 w 2120482"/>
                <a:gd name="connsiteY225" fmla="*/ 1272290 h 1577258"/>
                <a:gd name="connsiteX226" fmla="*/ 1315174 w 2120482"/>
                <a:gd name="connsiteY226" fmla="*/ 1272290 h 1577258"/>
                <a:gd name="connsiteX227" fmla="*/ 1296114 w 2120482"/>
                <a:gd name="connsiteY227" fmla="*/ 1277056 h 1577258"/>
                <a:gd name="connsiteX228" fmla="*/ 1234168 w 2120482"/>
                <a:gd name="connsiteY228" fmla="*/ 1277056 h 1577258"/>
                <a:gd name="connsiteX229" fmla="*/ 1186516 w 2120482"/>
                <a:gd name="connsiteY229" fmla="*/ 1310410 h 1577258"/>
                <a:gd name="connsiteX230" fmla="*/ 1162690 w 2120482"/>
                <a:gd name="connsiteY230" fmla="*/ 1343766 h 1577258"/>
                <a:gd name="connsiteX231" fmla="*/ 1143630 w 2120482"/>
                <a:gd name="connsiteY231" fmla="*/ 1396184 h 1577258"/>
                <a:gd name="connsiteX232" fmla="*/ 1115040 w 2120482"/>
                <a:gd name="connsiteY232" fmla="*/ 1429540 h 1577258"/>
                <a:gd name="connsiteX233" fmla="*/ 1100744 w 2120482"/>
                <a:gd name="connsiteY233" fmla="*/ 1439070 h 1577258"/>
                <a:gd name="connsiteX234" fmla="*/ 1086448 w 2120482"/>
                <a:gd name="connsiteY234" fmla="*/ 1424774 h 1577258"/>
                <a:gd name="connsiteX235" fmla="*/ 1062624 w 2120482"/>
                <a:gd name="connsiteY235" fmla="*/ 1420008 h 1577258"/>
                <a:gd name="connsiteX236" fmla="*/ 1038798 w 2120482"/>
                <a:gd name="connsiteY236" fmla="*/ 1424774 h 1577258"/>
                <a:gd name="connsiteX237" fmla="*/ 1029268 w 2120482"/>
                <a:gd name="connsiteY237" fmla="*/ 1439070 h 1577258"/>
                <a:gd name="connsiteX238" fmla="*/ 1010206 w 2120482"/>
                <a:gd name="connsiteY238" fmla="*/ 1443834 h 1577258"/>
                <a:gd name="connsiteX239" fmla="*/ 991146 w 2120482"/>
                <a:gd name="connsiteY239" fmla="*/ 1439070 h 1577258"/>
                <a:gd name="connsiteX240" fmla="*/ 953026 w 2120482"/>
                <a:gd name="connsiteY240" fmla="*/ 1434304 h 1577258"/>
                <a:gd name="connsiteX241" fmla="*/ 933964 w 2120482"/>
                <a:gd name="connsiteY241" fmla="*/ 1434304 h 1577258"/>
                <a:gd name="connsiteX242" fmla="*/ 910140 w 2120482"/>
                <a:gd name="connsiteY242" fmla="*/ 1443834 h 1577258"/>
                <a:gd name="connsiteX243" fmla="*/ 886314 w 2120482"/>
                <a:gd name="connsiteY243" fmla="*/ 1439070 h 1577258"/>
                <a:gd name="connsiteX244" fmla="*/ 848192 w 2120482"/>
                <a:gd name="connsiteY244" fmla="*/ 1434304 h 1577258"/>
                <a:gd name="connsiteX245" fmla="*/ 762420 w 2120482"/>
                <a:gd name="connsiteY245" fmla="*/ 1443834 h 1577258"/>
                <a:gd name="connsiteX246" fmla="*/ 752890 w 2120482"/>
                <a:gd name="connsiteY246" fmla="*/ 1443834 h 1577258"/>
                <a:gd name="connsiteX247" fmla="*/ 738594 w 2120482"/>
                <a:gd name="connsiteY247" fmla="*/ 1458130 h 1577258"/>
                <a:gd name="connsiteX248" fmla="*/ 714768 w 2120482"/>
                <a:gd name="connsiteY248" fmla="*/ 1481956 h 1577258"/>
                <a:gd name="connsiteX249" fmla="*/ 671882 w 2120482"/>
                <a:gd name="connsiteY249" fmla="*/ 1481956 h 1577258"/>
                <a:gd name="connsiteX250" fmla="*/ 638526 w 2120482"/>
                <a:gd name="connsiteY250" fmla="*/ 1501016 h 1577258"/>
                <a:gd name="connsiteX251" fmla="*/ 628996 w 2120482"/>
                <a:gd name="connsiteY251" fmla="*/ 1510546 h 1577258"/>
                <a:gd name="connsiteX252" fmla="*/ 609936 w 2120482"/>
                <a:gd name="connsiteY252" fmla="*/ 1534372 h 1577258"/>
                <a:gd name="connsiteX253" fmla="*/ 605170 w 2120482"/>
                <a:gd name="connsiteY253" fmla="*/ 1553432 h 1577258"/>
                <a:gd name="connsiteX254" fmla="*/ 605170 w 2120482"/>
                <a:gd name="connsiteY254" fmla="*/ 1558198 h 1577258"/>
                <a:gd name="connsiteX255" fmla="*/ 600406 w 2120482"/>
                <a:gd name="connsiteY255" fmla="*/ 1553432 h 1577258"/>
                <a:gd name="connsiteX256" fmla="*/ 595640 w 2120482"/>
                <a:gd name="connsiteY256" fmla="*/ 1553432 h 1577258"/>
                <a:gd name="connsiteX257" fmla="*/ 590876 w 2120482"/>
                <a:gd name="connsiteY257" fmla="*/ 1567728 h 1577258"/>
                <a:gd name="connsiteX258" fmla="*/ 576580 w 2120482"/>
                <a:gd name="connsiteY258" fmla="*/ 1572492 h 1577258"/>
                <a:gd name="connsiteX259" fmla="*/ 567050 w 2120482"/>
                <a:gd name="connsiteY259" fmla="*/ 1577258 h 1577258"/>
                <a:gd name="connsiteX260" fmla="*/ 538460 w 2120482"/>
                <a:gd name="connsiteY260" fmla="*/ 1562962 h 1577258"/>
                <a:gd name="connsiteX261" fmla="*/ 514634 w 2120482"/>
                <a:gd name="connsiteY261" fmla="*/ 1543902 h 1577258"/>
                <a:gd name="connsiteX262" fmla="*/ 500338 w 2120482"/>
                <a:gd name="connsiteY262" fmla="*/ 1543902 h 1577258"/>
                <a:gd name="connsiteX263" fmla="*/ 481278 w 2120482"/>
                <a:gd name="connsiteY263" fmla="*/ 1515312 h 1577258"/>
                <a:gd name="connsiteX264" fmla="*/ 471748 w 2120482"/>
                <a:gd name="connsiteY264" fmla="*/ 1501016 h 1577258"/>
                <a:gd name="connsiteX265" fmla="*/ 466982 w 2120482"/>
                <a:gd name="connsiteY265" fmla="*/ 1481956 h 1577258"/>
                <a:gd name="connsiteX266" fmla="*/ 466982 w 2120482"/>
                <a:gd name="connsiteY266" fmla="*/ 1472426 h 1577258"/>
                <a:gd name="connsiteX267" fmla="*/ 466982 w 2120482"/>
                <a:gd name="connsiteY267" fmla="*/ 1467660 h 1577258"/>
                <a:gd name="connsiteX268" fmla="*/ 447922 w 2120482"/>
                <a:gd name="connsiteY268" fmla="*/ 1458130 h 1577258"/>
                <a:gd name="connsiteX269" fmla="*/ 443156 w 2120482"/>
                <a:gd name="connsiteY269" fmla="*/ 1439070 h 1577258"/>
                <a:gd name="connsiteX270" fmla="*/ 457452 w 2120482"/>
                <a:gd name="connsiteY270" fmla="*/ 1415244 h 1577258"/>
                <a:gd name="connsiteX271" fmla="*/ 466982 w 2120482"/>
                <a:gd name="connsiteY271" fmla="*/ 1405714 h 1577258"/>
                <a:gd name="connsiteX272" fmla="*/ 457452 w 2120482"/>
                <a:gd name="connsiteY272" fmla="*/ 1405714 h 1577258"/>
                <a:gd name="connsiteX273" fmla="*/ 443156 w 2120482"/>
                <a:gd name="connsiteY273" fmla="*/ 1420008 h 1577258"/>
                <a:gd name="connsiteX274" fmla="*/ 428862 w 2120482"/>
                <a:gd name="connsiteY274" fmla="*/ 1396184 h 1577258"/>
                <a:gd name="connsiteX275" fmla="*/ 366914 w 2120482"/>
                <a:gd name="connsiteY275" fmla="*/ 1348532 h 1577258"/>
                <a:gd name="connsiteX276" fmla="*/ 371680 w 2120482"/>
                <a:gd name="connsiteY276" fmla="*/ 1339002 h 1577258"/>
                <a:gd name="connsiteX277" fmla="*/ 371680 w 2120482"/>
                <a:gd name="connsiteY277" fmla="*/ 1334236 h 1577258"/>
                <a:gd name="connsiteX278" fmla="*/ 362150 w 2120482"/>
                <a:gd name="connsiteY278" fmla="*/ 1343766 h 1577258"/>
                <a:gd name="connsiteX279" fmla="*/ 352620 w 2120482"/>
                <a:gd name="connsiteY279" fmla="*/ 1348532 h 1577258"/>
                <a:gd name="connsiteX280" fmla="*/ 324028 w 2120482"/>
                <a:gd name="connsiteY280" fmla="*/ 1348532 h 1577258"/>
                <a:gd name="connsiteX281" fmla="*/ 285908 w 2120482"/>
                <a:gd name="connsiteY281" fmla="*/ 1353296 h 1577258"/>
                <a:gd name="connsiteX282" fmla="*/ 276378 w 2120482"/>
                <a:gd name="connsiteY282" fmla="*/ 1305646 h 1577258"/>
                <a:gd name="connsiteX283" fmla="*/ 271612 w 2120482"/>
                <a:gd name="connsiteY283" fmla="*/ 1286586 h 1577258"/>
                <a:gd name="connsiteX284" fmla="*/ 271612 w 2120482"/>
                <a:gd name="connsiteY284" fmla="*/ 1272290 h 1577258"/>
                <a:gd name="connsiteX285" fmla="*/ 281142 w 2120482"/>
                <a:gd name="connsiteY285" fmla="*/ 1243700 h 1577258"/>
                <a:gd name="connsiteX286" fmla="*/ 290672 w 2120482"/>
                <a:gd name="connsiteY286" fmla="*/ 1234168 h 1577258"/>
                <a:gd name="connsiteX287" fmla="*/ 304968 w 2120482"/>
                <a:gd name="connsiteY287" fmla="*/ 1210344 h 1577258"/>
                <a:gd name="connsiteX288" fmla="*/ 324028 w 2120482"/>
                <a:gd name="connsiteY288" fmla="*/ 1191282 h 1577258"/>
                <a:gd name="connsiteX289" fmla="*/ 338324 w 2120482"/>
                <a:gd name="connsiteY289" fmla="*/ 1186518 h 1577258"/>
                <a:gd name="connsiteX290" fmla="*/ 347854 w 2120482"/>
                <a:gd name="connsiteY290" fmla="*/ 1181752 h 1577258"/>
                <a:gd name="connsiteX291" fmla="*/ 352620 w 2120482"/>
                <a:gd name="connsiteY291" fmla="*/ 1167458 h 1577258"/>
                <a:gd name="connsiteX292" fmla="*/ 357384 w 2120482"/>
                <a:gd name="connsiteY292" fmla="*/ 1153162 h 1577258"/>
                <a:gd name="connsiteX293" fmla="*/ 352620 w 2120482"/>
                <a:gd name="connsiteY293" fmla="*/ 1153162 h 1577258"/>
                <a:gd name="connsiteX294" fmla="*/ 333558 w 2120482"/>
                <a:gd name="connsiteY294" fmla="*/ 1153162 h 1577258"/>
                <a:gd name="connsiteX295" fmla="*/ 295438 w 2120482"/>
                <a:gd name="connsiteY295" fmla="*/ 1100746 h 1577258"/>
                <a:gd name="connsiteX296" fmla="*/ 300202 w 2120482"/>
                <a:gd name="connsiteY296" fmla="*/ 1091216 h 1577258"/>
                <a:gd name="connsiteX297" fmla="*/ 304968 w 2120482"/>
                <a:gd name="connsiteY297" fmla="*/ 1076920 h 1577258"/>
                <a:gd name="connsiteX298" fmla="*/ 304968 w 2120482"/>
                <a:gd name="connsiteY298" fmla="*/ 1062624 h 1577258"/>
                <a:gd name="connsiteX299" fmla="*/ 304968 w 2120482"/>
                <a:gd name="connsiteY299" fmla="*/ 1048328 h 1577258"/>
                <a:gd name="connsiteX300" fmla="*/ 314498 w 2120482"/>
                <a:gd name="connsiteY300" fmla="*/ 1038798 h 1577258"/>
                <a:gd name="connsiteX301" fmla="*/ 328794 w 2120482"/>
                <a:gd name="connsiteY301" fmla="*/ 1024504 h 1577258"/>
                <a:gd name="connsiteX302" fmla="*/ 343090 w 2120482"/>
                <a:gd name="connsiteY302" fmla="*/ 1010208 h 1577258"/>
                <a:gd name="connsiteX303" fmla="*/ 347854 w 2120482"/>
                <a:gd name="connsiteY303" fmla="*/ 995912 h 1577258"/>
                <a:gd name="connsiteX304" fmla="*/ 352620 w 2120482"/>
                <a:gd name="connsiteY304" fmla="*/ 981618 h 1577258"/>
                <a:gd name="connsiteX305" fmla="*/ 343090 w 2120482"/>
                <a:gd name="connsiteY305" fmla="*/ 967322 h 1577258"/>
                <a:gd name="connsiteX306" fmla="*/ 324028 w 2120482"/>
                <a:gd name="connsiteY306" fmla="*/ 962556 h 1577258"/>
                <a:gd name="connsiteX307" fmla="*/ 304968 w 2120482"/>
                <a:gd name="connsiteY307" fmla="*/ 924436 h 1577258"/>
                <a:gd name="connsiteX308" fmla="*/ 300202 w 2120482"/>
                <a:gd name="connsiteY308" fmla="*/ 895844 h 1577258"/>
                <a:gd name="connsiteX309" fmla="*/ 295438 w 2120482"/>
                <a:gd name="connsiteY309" fmla="*/ 895844 h 1577258"/>
                <a:gd name="connsiteX310" fmla="*/ 281142 w 2120482"/>
                <a:gd name="connsiteY310" fmla="*/ 881550 h 1577258"/>
                <a:gd name="connsiteX311" fmla="*/ 266848 w 2120482"/>
                <a:gd name="connsiteY311" fmla="*/ 862488 h 1577258"/>
                <a:gd name="connsiteX312" fmla="*/ 266848 w 2120482"/>
                <a:gd name="connsiteY312" fmla="*/ 857724 h 1577258"/>
                <a:gd name="connsiteX313" fmla="*/ 281142 w 2120482"/>
                <a:gd name="connsiteY313" fmla="*/ 852958 h 1577258"/>
                <a:gd name="connsiteX314" fmla="*/ 333558 w 2120482"/>
                <a:gd name="connsiteY314" fmla="*/ 852958 h 1577258"/>
                <a:gd name="connsiteX315" fmla="*/ 343090 w 2120482"/>
                <a:gd name="connsiteY315" fmla="*/ 848194 h 1577258"/>
                <a:gd name="connsiteX316" fmla="*/ 352620 w 2120482"/>
                <a:gd name="connsiteY316" fmla="*/ 829134 h 1577258"/>
                <a:gd name="connsiteX317" fmla="*/ 366914 w 2120482"/>
                <a:gd name="connsiteY317" fmla="*/ 800542 h 1577258"/>
                <a:gd name="connsiteX318" fmla="*/ 366914 w 2120482"/>
                <a:gd name="connsiteY318" fmla="*/ 781482 h 1577258"/>
                <a:gd name="connsiteX319" fmla="*/ 362150 w 2120482"/>
                <a:gd name="connsiteY319" fmla="*/ 776716 h 1577258"/>
                <a:gd name="connsiteX320" fmla="*/ 347854 w 2120482"/>
                <a:gd name="connsiteY320" fmla="*/ 757656 h 1577258"/>
                <a:gd name="connsiteX321" fmla="*/ 347854 w 2120482"/>
                <a:gd name="connsiteY321" fmla="*/ 752892 h 1577258"/>
                <a:gd name="connsiteX322" fmla="*/ 347854 w 2120482"/>
                <a:gd name="connsiteY322" fmla="*/ 743360 h 1577258"/>
                <a:gd name="connsiteX323" fmla="*/ 357384 w 2120482"/>
                <a:gd name="connsiteY323" fmla="*/ 738596 h 1577258"/>
                <a:gd name="connsiteX324" fmla="*/ 371680 w 2120482"/>
                <a:gd name="connsiteY324" fmla="*/ 729066 h 1577258"/>
                <a:gd name="connsiteX325" fmla="*/ 381210 w 2120482"/>
                <a:gd name="connsiteY325" fmla="*/ 719536 h 1577258"/>
                <a:gd name="connsiteX326" fmla="*/ 381210 w 2120482"/>
                <a:gd name="connsiteY326" fmla="*/ 710004 h 1577258"/>
                <a:gd name="connsiteX327" fmla="*/ 376444 w 2120482"/>
                <a:gd name="connsiteY327" fmla="*/ 705240 h 1577258"/>
                <a:gd name="connsiteX328" fmla="*/ 371680 w 2120482"/>
                <a:gd name="connsiteY328" fmla="*/ 695710 h 1577258"/>
                <a:gd name="connsiteX329" fmla="*/ 376444 w 2120482"/>
                <a:gd name="connsiteY329" fmla="*/ 690944 h 1577258"/>
                <a:gd name="connsiteX330" fmla="*/ 376444 w 2120482"/>
                <a:gd name="connsiteY330" fmla="*/ 662354 h 1577258"/>
                <a:gd name="connsiteX331" fmla="*/ 381210 w 2120482"/>
                <a:gd name="connsiteY331" fmla="*/ 652824 h 1577258"/>
                <a:gd name="connsiteX332" fmla="*/ 376444 w 2120482"/>
                <a:gd name="connsiteY332" fmla="*/ 628998 h 1577258"/>
                <a:gd name="connsiteX333" fmla="*/ 371680 w 2120482"/>
                <a:gd name="connsiteY333" fmla="*/ 609938 h 1577258"/>
                <a:gd name="connsiteX334" fmla="*/ 362150 w 2120482"/>
                <a:gd name="connsiteY334" fmla="*/ 581346 h 1577258"/>
                <a:gd name="connsiteX335" fmla="*/ 362150 w 2120482"/>
                <a:gd name="connsiteY335" fmla="*/ 576582 h 1577258"/>
                <a:gd name="connsiteX336" fmla="*/ 366914 w 2120482"/>
                <a:gd name="connsiteY336" fmla="*/ 571816 h 1577258"/>
                <a:gd name="connsiteX337" fmla="*/ 385976 w 2120482"/>
                <a:gd name="connsiteY337" fmla="*/ 562286 h 1577258"/>
                <a:gd name="connsiteX338" fmla="*/ 400270 w 2120482"/>
                <a:gd name="connsiteY338" fmla="*/ 538460 h 1577258"/>
                <a:gd name="connsiteX339" fmla="*/ 419332 w 2120482"/>
                <a:gd name="connsiteY339" fmla="*/ 519400 h 1577258"/>
                <a:gd name="connsiteX340" fmla="*/ 443156 w 2120482"/>
                <a:gd name="connsiteY340" fmla="*/ 505104 h 1577258"/>
                <a:gd name="connsiteX341" fmla="*/ 462218 w 2120482"/>
                <a:gd name="connsiteY341" fmla="*/ 486044 h 1577258"/>
                <a:gd name="connsiteX342" fmla="*/ 466982 w 2120482"/>
                <a:gd name="connsiteY342" fmla="*/ 476514 h 1577258"/>
                <a:gd name="connsiteX343" fmla="*/ 471748 w 2120482"/>
                <a:gd name="connsiteY343" fmla="*/ 471748 h 1577258"/>
                <a:gd name="connsiteX344" fmla="*/ 471748 w 2120482"/>
                <a:gd name="connsiteY344" fmla="*/ 466984 h 1577258"/>
                <a:gd name="connsiteX345" fmla="*/ 466982 w 2120482"/>
                <a:gd name="connsiteY345" fmla="*/ 457454 h 1577258"/>
                <a:gd name="connsiteX346" fmla="*/ 457452 w 2120482"/>
                <a:gd name="connsiteY346" fmla="*/ 447922 h 1577258"/>
                <a:gd name="connsiteX347" fmla="*/ 447922 w 2120482"/>
                <a:gd name="connsiteY347" fmla="*/ 443158 h 1577258"/>
                <a:gd name="connsiteX348" fmla="*/ 428862 w 2120482"/>
                <a:gd name="connsiteY348" fmla="*/ 443158 h 1577258"/>
                <a:gd name="connsiteX349" fmla="*/ 424096 w 2120482"/>
                <a:gd name="connsiteY349" fmla="*/ 443158 h 1577258"/>
                <a:gd name="connsiteX350" fmla="*/ 419332 w 2120482"/>
                <a:gd name="connsiteY350" fmla="*/ 438392 h 1577258"/>
                <a:gd name="connsiteX351" fmla="*/ 419332 w 2120482"/>
                <a:gd name="connsiteY351" fmla="*/ 419332 h 1577258"/>
                <a:gd name="connsiteX352" fmla="*/ 419332 w 2120482"/>
                <a:gd name="connsiteY352" fmla="*/ 400272 h 1577258"/>
                <a:gd name="connsiteX353" fmla="*/ 419332 w 2120482"/>
                <a:gd name="connsiteY353" fmla="*/ 390742 h 1577258"/>
                <a:gd name="connsiteX354" fmla="*/ 409800 w 2120482"/>
                <a:gd name="connsiteY354" fmla="*/ 385976 h 1577258"/>
                <a:gd name="connsiteX355" fmla="*/ 395506 w 2120482"/>
                <a:gd name="connsiteY355" fmla="*/ 385976 h 1577258"/>
                <a:gd name="connsiteX356" fmla="*/ 385976 w 2120482"/>
                <a:gd name="connsiteY356" fmla="*/ 381212 h 1577258"/>
                <a:gd name="connsiteX357" fmla="*/ 376444 w 2120482"/>
                <a:gd name="connsiteY357" fmla="*/ 381212 h 1577258"/>
                <a:gd name="connsiteX358" fmla="*/ 371680 w 2120482"/>
                <a:gd name="connsiteY358" fmla="*/ 385976 h 1577258"/>
                <a:gd name="connsiteX359" fmla="*/ 347854 w 2120482"/>
                <a:gd name="connsiteY359" fmla="*/ 385976 h 1577258"/>
                <a:gd name="connsiteX360" fmla="*/ 333558 w 2120482"/>
                <a:gd name="connsiteY360" fmla="*/ 381212 h 1577258"/>
                <a:gd name="connsiteX361" fmla="*/ 328794 w 2120482"/>
                <a:gd name="connsiteY361" fmla="*/ 376446 h 1577258"/>
                <a:gd name="connsiteX362" fmla="*/ 324028 w 2120482"/>
                <a:gd name="connsiteY362" fmla="*/ 381212 h 1577258"/>
                <a:gd name="connsiteX363" fmla="*/ 319264 w 2120482"/>
                <a:gd name="connsiteY363" fmla="*/ 385976 h 1577258"/>
                <a:gd name="connsiteX364" fmla="*/ 319264 w 2120482"/>
                <a:gd name="connsiteY364" fmla="*/ 390742 h 1577258"/>
                <a:gd name="connsiteX365" fmla="*/ 319264 w 2120482"/>
                <a:gd name="connsiteY365" fmla="*/ 395506 h 1577258"/>
                <a:gd name="connsiteX366" fmla="*/ 309734 w 2120482"/>
                <a:gd name="connsiteY366" fmla="*/ 405036 h 1577258"/>
                <a:gd name="connsiteX367" fmla="*/ 285908 w 2120482"/>
                <a:gd name="connsiteY367" fmla="*/ 409802 h 1577258"/>
                <a:gd name="connsiteX368" fmla="*/ 271612 w 2120482"/>
                <a:gd name="connsiteY368" fmla="*/ 409802 h 1577258"/>
                <a:gd name="connsiteX369" fmla="*/ 252552 w 2120482"/>
                <a:gd name="connsiteY369" fmla="*/ 405036 h 1577258"/>
                <a:gd name="connsiteX370" fmla="*/ 247786 w 2120482"/>
                <a:gd name="connsiteY370" fmla="*/ 400272 h 1577258"/>
                <a:gd name="connsiteX371" fmla="*/ 243022 w 2120482"/>
                <a:gd name="connsiteY371" fmla="*/ 400272 h 1577258"/>
                <a:gd name="connsiteX372" fmla="*/ 209666 w 2120482"/>
                <a:gd name="connsiteY372" fmla="*/ 400272 h 1577258"/>
                <a:gd name="connsiteX373" fmla="*/ 204900 w 2120482"/>
                <a:gd name="connsiteY373" fmla="*/ 400272 h 1577258"/>
                <a:gd name="connsiteX374" fmla="*/ 195370 w 2120482"/>
                <a:gd name="connsiteY374" fmla="*/ 405036 h 1577258"/>
                <a:gd name="connsiteX375" fmla="*/ 181074 w 2120482"/>
                <a:gd name="connsiteY375" fmla="*/ 414568 h 1577258"/>
                <a:gd name="connsiteX376" fmla="*/ 171544 w 2120482"/>
                <a:gd name="connsiteY376" fmla="*/ 414568 h 1577258"/>
                <a:gd name="connsiteX377" fmla="*/ 166780 w 2120482"/>
                <a:gd name="connsiteY377" fmla="*/ 409802 h 1577258"/>
                <a:gd name="connsiteX378" fmla="*/ 157250 w 2120482"/>
                <a:gd name="connsiteY378" fmla="*/ 395506 h 1577258"/>
                <a:gd name="connsiteX379" fmla="*/ 162014 w 2120482"/>
                <a:gd name="connsiteY379" fmla="*/ 390742 h 1577258"/>
                <a:gd name="connsiteX380" fmla="*/ 176310 w 2120482"/>
                <a:gd name="connsiteY380" fmla="*/ 371680 h 1577258"/>
                <a:gd name="connsiteX381" fmla="*/ 171544 w 2120482"/>
                <a:gd name="connsiteY381" fmla="*/ 366916 h 1577258"/>
                <a:gd name="connsiteX382" fmla="*/ 166780 w 2120482"/>
                <a:gd name="connsiteY382" fmla="*/ 362150 h 1577258"/>
                <a:gd name="connsiteX383" fmla="*/ 162014 w 2120482"/>
                <a:gd name="connsiteY383" fmla="*/ 352620 h 1577258"/>
                <a:gd name="connsiteX384" fmla="*/ 162014 w 2120482"/>
                <a:gd name="connsiteY384" fmla="*/ 347856 h 1577258"/>
                <a:gd name="connsiteX385" fmla="*/ 152484 w 2120482"/>
                <a:gd name="connsiteY385" fmla="*/ 347856 h 1577258"/>
                <a:gd name="connsiteX386" fmla="*/ 142954 w 2120482"/>
                <a:gd name="connsiteY386" fmla="*/ 347856 h 1577258"/>
                <a:gd name="connsiteX387" fmla="*/ 109598 w 2120482"/>
                <a:gd name="connsiteY387" fmla="*/ 362150 h 1577258"/>
                <a:gd name="connsiteX388" fmla="*/ 104832 w 2120482"/>
                <a:gd name="connsiteY388" fmla="*/ 362150 h 1577258"/>
                <a:gd name="connsiteX389" fmla="*/ 85772 w 2120482"/>
                <a:gd name="connsiteY389" fmla="*/ 371680 h 1577258"/>
                <a:gd name="connsiteX390" fmla="*/ 71476 w 2120482"/>
                <a:gd name="connsiteY390" fmla="*/ 385976 h 1577258"/>
                <a:gd name="connsiteX391" fmla="*/ 61946 w 2120482"/>
                <a:gd name="connsiteY391" fmla="*/ 390742 h 1577258"/>
                <a:gd name="connsiteX392" fmla="*/ 57182 w 2120482"/>
                <a:gd name="connsiteY392" fmla="*/ 385976 h 1577258"/>
                <a:gd name="connsiteX393" fmla="*/ 57182 w 2120482"/>
                <a:gd name="connsiteY393" fmla="*/ 352620 h 1577258"/>
                <a:gd name="connsiteX394" fmla="*/ 71476 w 2120482"/>
                <a:gd name="connsiteY394" fmla="*/ 328794 h 1577258"/>
                <a:gd name="connsiteX395" fmla="*/ 85772 w 2120482"/>
                <a:gd name="connsiteY395" fmla="*/ 314500 h 1577258"/>
                <a:gd name="connsiteX396" fmla="*/ 81008 w 2120482"/>
                <a:gd name="connsiteY396" fmla="*/ 314500 h 1577258"/>
                <a:gd name="connsiteX397" fmla="*/ 66712 w 2120482"/>
                <a:gd name="connsiteY397" fmla="*/ 314500 h 1577258"/>
                <a:gd name="connsiteX398" fmla="*/ 66712 w 2120482"/>
                <a:gd name="connsiteY398" fmla="*/ 304970 h 1577258"/>
                <a:gd name="connsiteX399" fmla="*/ 76242 w 2120482"/>
                <a:gd name="connsiteY399" fmla="*/ 300204 h 1577258"/>
                <a:gd name="connsiteX400" fmla="*/ 81008 w 2120482"/>
                <a:gd name="connsiteY400" fmla="*/ 285908 h 1577258"/>
                <a:gd name="connsiteX401" fmla="*/ 71476 w 2120482"/>
                <a:gd name="connsiteY401" fmla="*/ 281144 h 1577258"/>
                <a:gd name="connsiteX402" fmla="*/ 66712 w 2120482"/>
                <a:gd name="connsiteY402" fmla="*/ 276378 h 1577258"/>
                <a:gd name="connsiteX403" fmla="*/ 66712 w 2120482"/>
                <a:gd name="connsiteY403" fmla="*/ 257318 h 1577258"/>
                <a:gd name="connsiteX404" fmla="*/ 71476 w 2120482"/>
                <a:gd name="connsiteY404" fmla="*/ 247788 h 1577258"/>
                <a:gd name="connsiteX405" fmla="*/ 66712 w 2120482"/>
                <a:gd name="connsiteY405" fmla="*/ 238258 h 1577258"/>
                <a:gd name="connsiteX406" fmla="*/ 38122 w 2120482"/>
                <a:gd name="connsiteY406" fmla="*/ 252552 h 1577258"/>
                <a:gd name="connsiteX407" fmla="*/ 33356 w 2120482"/>
                <a:gd name="connsiteY407" fmla="*/ 247788 h 1577258"/>
                <a:gd name="connsiteX408" fmla="*/ 33356 w 2120482"/>
                <a:gd name="connsiteY408" fmla="*/ 233492 h 1577258"/>
                <a:gd name="connsiteX409" fmla="*/ 47652 w 2120482"/>
                <a:gd name="connsiteY409" fmla="*/ 214432 h 1577258"/>
                <a:gd name="connsiteX410" fmla="*/ 47652 w 2120482"/>
                <a:gd name="connsiteY410" fmla="*/ 204902 h 1577258"/>
                <a:gd name="connsiteX411" fmla="*/ 33356 w 2120482"/>
                <a:gd name="connsiteY411" fmla="*/ 200136 h 1577258"/>
                <a:gd name="connsiteX412" fmla="*/ 19060 w 2120482"/>
                <a:gd name="connsiteY412" fmla="*/ 190606 h 1577258"/>
                <a:gd name="connsiteX413" fmla="*/ 9530 w 2120482"/>
                <a:gd name="connsiteY413" fmla="*/ 181076 h 1577258"/>
                <a:gd name="connsiteX414" fmla="*/ 0 w 2120482"/>
                <a:gd name="connsiteY414" fmla="*/ 166780 h 1577258"/>
                <a:gd name="connsiteX415" fmla="*/ 0 w 2120482"/>
                <a:gd name="connsiteY415" fmla="*/ 152486 h 1577258"/>
                <a:gd name="connsiteX416" fmla="*/ 9530 w 2120482"/>
                <a:gd name="connsiteY416" fmla="*/ 123894 h 1577258"/>
                <a:gd name="connsiteX417" fmla="*/ 23826 w 2120482"/>
                <a:gd name="connsiteY417" fmla="*/ 114364 h 1577258"/>
                <a:gd name="connsiteX418" fmla="*/ 33356 w 2120482"/>
                <a:gd name="connsiteY418" fmla="*/ 109598 h 1577258"/>
                <a:gd name="connsiteX419" fmla="*/ 57182 w 2120482"/>
                <a:gd name="connsiteY419" fmla="*/ 90538 h 1577258"/>
                <a:gd name="connsiteX420" fmla="*/ 90538 w 2120482"/>
                <a:gd name="connsiteY420" fmla="*/ 95304 h 1577258"/>
                <a:gd name="connsiteX421" fmla="*/ 109598 w 2120482"/>
                <a:gd name="connsiteY421" fmla="*/ 90538 h 1577258"/>
                <a:gd name="connsiteX422" fmla="*/ 128658 w 2120482"/>
                <a:gd name="connsiteY422" fmla="*/ 81008 h 1577258"/>
                <a:gd name="connsiteX423" fmla="*/ 138188 w 2120482"/>
                <a:gd name="connsiteY423" fmla="*/ 76244 h 1577258"/>
                <a:gd name="connsiteX424" fmla="*/ 157250 w 2120482"/>
                <a:gd name="connsiteY424" fmla="*/ 66712 h 1577258"/>
                <a:gd name="connsiteX425" fmla="*/ 157250 w 2120482"/>
                <a:gd name="connsiteY425" fmla="*/ 57182 h 1577258"/>
                <a:gd name="connsiteX426" fmla="*/ 147718 w 2120482"/>
                <a:gd name="connsiteY426" fmla="*/ 47652 h 1577258"/>
                <a:gd name="connsiteX427" fmla="*/ 152484 w 2120482"/>
                <a:gd name="connsiteY427" fmla="*/ 38122 h 1577258"/>
                <a:gd name="connsiteX428" fmla="*/ 171544 w 2120482"/>
                <a:gd name="connsiteY428" fmla="*/ 28592 h 1577258"/>
                <a:gd name="connsiteX429" fmla="*/ 195370 w 2120482"/>
                <a:gd name="connsiteY429" fmla="*/ 14296 h 1577258"/>
                <a:gd name="connsiteX430" fmla="*/ 219196 w 2120482"/>
                <a:gd name="connsiteY430" fmla="*/ 9532 h 157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</a:cxnLst>
              <a:rect l="l" t="t" r="r" b="b"/>
              <a:pathLst>
                <a:path w="2120482" h="1577258">
                  <a:moveTo>
                    <a:pt x="1667794" y="1038798"/>
                  </a:moveTo>
                  <a:lnTo>
                    <a:pt x="1677324" y="1048328"/>
                  </a:lnTo>
                  <a:lnTo>
                    <a:pt x="1691620" y="1053094"/>
                  </a:lnTo>
                  <a:lnTo>
                    <a:pt x="1691620" y="1057860"/>
                  </a:lnTo>
                  <a:lnTo>
                    <a:pt x="1677324" y="1057860"/>
                  </a:lnTo>
                  <a:lnTo>
                    <a:pt x="1663030" y="1057860"/>
                  </a:lnTo>
                  <a:lnTo>
                    <a:pt x="1663030" y="1048328"/>
                  </a:lnTo>
                  <a:lnTo>
                    <a:pt x="1663030" y="1043564"/>
                  </a:lnTo>
                  <a:close/>
                  <a:moveTo>
                    <a:pt x="1686854" y="967320"/>
                  </a:moveTo>
                  <a:lnTo>
                    <a:pt x="1696386" y="972086"/>
                  </a:lnTo>
                  <a:lnTo>
                    <a:pt x="1696386" y="981616"/>
                  </a:lnTo>
                  <a:lnTo>
                    <a:pt x="1677324" y="1005442"/>
                  </a:lnTo>
                  <a:lnTo>
                    <a:pt x="1667794" y="1005442"/>
                  </a:lnTo>
                  <a:lnTo>
                    <a:pt x="1663028" y="1019736"/>
                  </a:lnTo>
                  <a:lnTo>
                    <a:pt x="1639204" y="1014972"/>
                  </a:lnTo>
                  <a:lnTo>
                    <a:pt x="1634438" y="1010206"/>
                  </a:lnTo>
                  <a:lnTo>
                    <a:pt x="1639204" y="995912"/>
                  </a:lnTo>
                  <a:lnTo>
                    <a:pt x="1648734" y="995912"/>
                  </a:lnTo>
                  <a:lnTo>
                    <a:pt x="1648734" y="986382"/>
                  </a:lnTo>
                  <a:lnTo>
                    <a:pt x="1653498" y="976852"/>
                  </a:lnTo>
                  <a:close/>
                  <a:moveTo>
                    <a:pt x="1939406" y="795776"/>
                  </a:moveTo>
                  <a:lnTo>
                    <a:pt x="1944172" y="795776"/>
                  </a:lnTo>
                  <a:lnTo>
                    <a:pt x="1939406" y="805308"/>
                  </a:lnTo>
                  <a:lnTo>
                    <a:pt x="1944172" y="810072"/>
                  </a:lnTo>
                  <a:lnTo>
                    <a:pt x="1944172" y="814838"/>
                  </a:lnTo>
                  <a:lnTo>
                    <a:pt x="1939406" y="819602"/>
                  </a:lnTo>
                  <a:lnTo>
                    <a:pt x="1934642" y="829132"/>
                  </a:lnTo>
                  <a:lnTo>
                    <a:pt x="1948936" y="838664"/>
                  </a:lnTo>
                  <a:lnTo>
                    <a:pt x="1967998" y="833898"/>
                  </a:lnTo>
                  <a:lnTo>
                    <a:pt x="1972762" y="833898"/>
                  </a:lnTo>
                  <a:lnTo>
                    <a:pt x="1982292" y="838664"/>
                  </a:lnTo>
                  <a:lnTo>
                    <a:pt x="1987058" y="848194"/>
                  </a:lnTo>
                  <a:lnTo>
                    <a:pt x="1977528" y="862488"/>
                  </a:lnTo>
                  <a:lnTo>
                    <a:pt x="1967998" y="876784"/>
                  </a:lnTo>
                  <a:lnTo>
                    <a:pt x="1958468" y="895844"/>
                  </a:lnTo>
                  <a:lnTo>
                    <a:pt x="1948936" y="914906"/>
                  </a:lnTo>
                  <a:lnTo>
                    <a:pt x="1934642" y="924436"/>
                  </a:lnTo>
                  <a:lnTo>
                    <a:pt x="1925112" y="929200"/>
                  </a:lnTo>
                  <a:lnTo>
                    <a:pt x="1896520" y="914906"/>
                  </a:lnTo>
                  <a:lnTo>
                    <a:pt x="1882224" y="914906"/>
                  </a:lnTo>
                  <a:lnTo>
                    <a:pt x="1877460" y="910140"/>
                  </a:lnTo>
                  <a:lnTo>
                    <a:pt x="1872694" y="886314"/>
                  </a:lnTo>
                  <a:lnTo>
                    <a:pt x="1867930" y="881550"/>
                  </a:lnTo>
                  <a:lnTo>
                    <a:pt x="1853634" y="876784"/>
                  </a:lnTo>
                  <a:lnTo>
                    <a:pt x="1848868" y="886314"/>
                  </a:lnTo>
                  <a:lnTo>
                    <a:pt x="1834574" y="895844"/>
                  </a:lnTo>
                  <a:lnTo>
                    <a:pt x="1829808" y="886314"/>
                  </a:lnTo>
                  <a:lnTo>
                    <a:pt x="1820278" y="881550"/>
                  </a:lnTo>
                  <a:lnTo>
                    <a:pt x="1815514" y="876784"/>
                  </a:lnTo>
                  <a:lnTo>
                    <a:pt x="1815514" y="867254"/>
                  </a:lnTo>
                  <a:lnTo>
                    <a:pt x="1877460" y="819602"/>
                  </a:lnTo>
                  <a:lnTo>
                    <a:pt x="1896520" y="805308"/>
                  </a:lnTo>
                  <a:close/>
                  <a:moveTo>
                    <a:pt x="2077594" y="771952"/>
                  </a:moveTo>
                  <a:lnTo>
                    <a:pt x="2106186" y="781482"/>
                  </a:lnTo>
                  <a:lnTo>
                    <a:pt x="2120482" y="805306"/>
                  </a:lnTo>
                  <a:lnTo>
                    <a:pt x="2120482" y="810072"/>
                  </a:lnTo>
                  <a:lnTo>
                    <a:pt x="2115716" y="819602"/>
                  </a:lnTo>
                  <a:lnTo>
                    <a:pt x="2110950" y="824368"/>
                  </a:lnTo>
                  <a:lnTo>
                    <a:pt x="2063300" y="800542"/>
                  </a:lnTo>
                  <a:lnTo>
                    <a:pt x="2049004" y="795776"/>
                  </a:lnTo>
                  <a:lnTo>
                    <a:pt x="2044238" y="791012"/>
                  </a:lnTo>
                  <a:lnTo>
                    <a:pt x="2044238" y="781482"/>
                  </a:lnTo>
                  <a:lnTo>
                    <a:pt x="2044238" y="776716"/>
                  </a:lnTo>
                  <a:close/>
                  <a:moveTo>
                    <a:pt x="243022" y="0"/>
                  </a:moveTo>
                  <a:lnTo>
                    <a:pt x="257316" y="4766"/>
                  </a:lnTo>
                  <a:lnTo>
                    <a:pt x="271612" y="4766"/>
                  </a:lnTo>
                  <a:lnTo>
                    <a:pt x="290672" y="14296"/>
                  </a:lnTo>
                  <a:lnTo>
                    <a:pt x="309734" y="33356"/>
                  </a:lnTo>
                  <a:lnTo>
                    <a:pt x="343090" y="42888"/>
                  </a:lnTo>
                  <a:lnTo>
                    <a:pt x="366914" y="38122"/>
                  </a:lnTo>
                  <a:lnTo>
                    <a:pt x="409800" y="33356"/>
                  </a:lnTo>
                  <a:lnTo>
                    <a:pt x="433626" y="38122"/>
                  </a:lnTo>
                  <a:lnTo>
                    <a:pt x="471748" y="33356"/>
                  </a:lnTo>
                  <a:lnTo>
                    <a:pt x="495574" y="33356"/>
                  </a:lnTo>
                  <a:lnTo>
                    <a:pt x="528930" y="23826"/>
                  </a:lnTo>
                  <a:lnTo>
                    <a:pt x="557520" y="38122"/>
                  </a:lnTo>
                  <a:lnTo>
                    <a:pt x="614702" y="42888"/>
                  </a:lnTo>
                  <a:lnTo>
                    <a:pt x="648058" y="57182"/>
                  </a:lnTo>
                  <a:lnTo>
                    <a:pt x="738594" y="71478"/>
                  </a:lnTo>
                  <a:lnTo>
                    <a:pt x="771950" y="71478"/>
                  </a:lnTo>
                  <a:lnTo>
                    <a:pt x="814836" y="61948"/>
                  </a:lnTo>
                  <a:lnTo>
                    <a:pt x="838662" y="57182"/>
                  </a:lnTo>
                  <a:lnTo>
                    <a:pt x="852958" y="61948"/>
                  </a:lnTo>
                  <a:lnTo>
                    <a:pt x="881548" y="52418"/>
                  </a:lnTo>
                  <a:lnTo>
                    <a:pt x="895844" y="52418"/>
                  </a:lnTo>
                  <a:lnTo>
                    <a:pt x="910140" y="66712"/>
                  </a:lnTo>
                  <a:lnTo>
                    <a:pt x="967320" y="81008"/>
                  </a:lnTo>
                  <a:lnTo>
                    <a:pt x="981616" y="66712"/>
                  </a:lnTo>
                  <a:lnTo>
                    <a:pt x="995912" y="66712"/>
                  </a:lnTo>
                  <a:lnTo>
                    <a:pt x="1038798" y="76244"/>
                  </a:lnTo>
                  <a:lnTo>
                    <a:pt x="1076918" y="90538"/>
                  </a:lnTo>
                  <a:lnTo>
                    <a:pt x="1100744" y="95304"/>
                  </a:lnTo>
                  <a:lnTo>
                    <a:pt x="1134100" y="90538"/>
                  </a:lnTo>
                  <a:lnTo>
                    <a:pt x="1157926" y="76244"/>
                  </a:lnTo>
                  <a:lnTo>
                    <a:pt x="1162690" y="76244"/>
                  </a:lnTo>
                  <a:lnTo>
                    <a:pt x="1162690" y="81008"/>
                  </a:lnTo>
                  <a:lnTo>
                    <a:pt x="1172222" y="95304"/>
                  </a:lnTo>
                  <a:lnTo>
                    <a:pt x="1176986" y="95304"/>
                  </a:lnTo>
                  <a:lnTo>
                    <a:pt x="1191282" y="100068"/>
                  </a:lnTo>
                  <a:lnTo>
                    <a:pt x="1200812" y="104834"/>
                  </a:lnTo>
                  <a:lnTo>
                    <a:pt x="1215108" y="104834"/>
                  </a:lnTo>
                  <a:lnTo>
                    <a:pt x="1224638" y="109598"/>
                  </a:lnTo>
                  <a:lnTo>
                    <a:pt x="1224638" y="119130"/>
                  </a:lnTo>
                  <a:lnTo>
                    <a:pt x="1219872" y="128660"/>
                  </a:lnTo>
                  <a:lnTo>
                    <a:pt x="1215108" y="138190"/>
                  </a:lnTo>
                  <a:lnTo>
                    <a:pt x="1210342" y="147720"/>
                  </a:lnTo>
                  <a:lnTo>
                    <a:pt x="1215108" y="152486"/>
                  </a:lnTo>
                  <a:lnTo>
                    <a:pt x="1219872" y="152486"/>
                  </a:lnTo>
                  <a:lnTo>
                    <a:pt x="1224638" y="157250"/>
                  </a:lnTo>
                  <a:lnTo>
                    <a:pt x="1229402" y="152486"/>
                  </a:lnTo>
                  <a:lnTo>
                    <a:pt x="1234168" y="147720"/>
                  </a:lnTo>
                  <a:lnTo>
                    <a:pt x="1238932" y="142954"/>
                  </a:lnTo>
                  <a:lnTo>
                    <a:pt x="1243698" y="147720"/>
                  </a:lnTo>
                  <a:lnTo>
                    <a:pt x="1262758" y="157250"/>
                  </a:lnTo>
                  <a:lnTo>
                    <a:pt x="1296114" y="171546"/>
                  </a:lnTo>
                  <a:lnTo>
                    <a:pt x="1310410" y="171546"/>
                  </a:lnTo>
                  <a:lnTo>
                    <a:pt x="1324706" y="176310"/>
                  </a:lnTo>
                  <a:lnTo>
                    <a:pt x="1329470" y="181076"/>
                  </a:lnTo>
                  <a:lnTo>
                    <a:pt x="1353296" y="204902"/>
                  </a:lnTo>
                  <a:lnTo>
                    <a:pt x="1358062" y="204902"/>
                  </a:lnTo>
                  <a:lnTo>
                    <a:pt x="1367592" y="204902"/>
                  </a:lnTo>
                  <a:lnTo>
                    <a:pt x="1381886" y="204902"/>
                  </a:lnTo>
                  <a:lnTo>
                    <a:pt x="1391416" y="200136"/>
                  </a:lnTo>
                  <a:lnTo>
                    <a:pt x="1396182" y="200136"/>
                  </a:lnTo>
                  <a:lnTo>
                    <a:pt x="1405712" y="204902"/>
                  </a:lnTo>
                  <a:lnTo>
                    <a:pt x="1410478" y="209666"/>
                  </a:lnTo>
                  <a:lnTo>
                    <a:pt x="1420008" y="214432"/>
                  </a:lnTo>
                  <a:lnTo>
                    <a:pt x="1429538" y="223962"/>
                  </a:lnTo>
                  <a:lnTo>
                    <a:pt x="1439068" y="228728"/>
                  </a:lnTo>
                  <a:lnTo>
                    <a:pt x="1477190" y="223962"/>
                  </a:lnTo>
                  <a:lnTo>
                    <a:pt x="1481954" y="228728"/>
                  </a:lnTo>
                  <a:lnTo>
                    <a:pt x="1491484" y="228728"/>
                  </a:lnTo>
                  <a:lnTo>
                    <a:pt x="1501014" y="228728"/>
                  </a:lnTo>
                  <a:lnTo>
                    <a:pt x="1524840" y="228728"/>
                  </a:lnTo>
                  <a:lnTo>
                    <a:pt x="1543900" y="228728"/>
                  </a:lnTo>
                  <a:lnTo>
                    <a:pt x="1543900" y="204902"/>
                  </a:lnTo>
                  <a:lnTo>
                    <a:pt x="1548666" y="195372"/>
                  </a:lnTo>
                  <a:lnTo>
                    <a:pt x="1553432" y="195372"/>
                  </a:lnTo>
                  <a:lnTo>
                    <a:pt x="1562962" y="195372"/>
                  </a:lnTo>
                  <a:lnTo>
                    <a:pt x="1601082" y="209666"/>
                  </a:lnTo>
                  <a:lnTo>
                    <a:pt x="1615378" y="219196"/>
                  </a:lnTo>
                  <a:lnTo>
                    <a:pt x="1634438" y="223962"/>
                  </a:lnTo>
                  <a:lnTo>
                    <a:pt x="1643968" y="223962"/>
                  </a:lnTo>
                  <a:lnTo>
                    <a:pt x="1653498" y="228728"/>
                  </a:lnTo>
                  <a:lnTo>
                    <a:pt x="1667794" y="247788"/>
                  </a:lnTo>
                  <a:lnTo>
                    <a:pt x="1663030" y="257318"/>
                  </a:lnTo>
                  <a:lnTo>
                    <a:pt x="1667794" y="262082"/>
                  </a:lnTo>
                  <a:lnTo>
                    <a:pt x="1667794" y="271614"/>
                  </a:lnTo>
                  <a:lnTo>
                    <a:pt x="1667794" y="276378"/>
                  </a:lnTo>
                  <a:lnTo>
                    <a:pt x="1672560" y="281144"/>
                  </a:lnTo>
                  <a:lnTo>
                    <a:pt x="1677324" y="281144"/>
                  </a:lnTo>
                  <a:lnTo>
                    <a:pt x="1682090" y="281144"/>
                  </a:lnTo>
                  <a:lnTo>
                    <a:pt x="1691620" y="276378"/>
                  </a:lnTo>
                  <a:lnTo>
                    <a:pt x="1705916" y="271614"/>
                  </a:lnTo>
                  <a:lnTo>
                    <a:pt x="1710680" y="266848"/>
                  </a:lnTo>
                  <a:lnTo>
                    <a:pt x="1734506" y="276378"/>
                  </a:lnTo>
                  <a:lnTo>
                    <a:pt x="1744036" y="285908"/>
                  </a:lnTo>
                  <a:lnTo>
                    <a:pt x="1748802" y="290674"/>
                  </a:lnTo>
                  <a:lnTo>
                    <a:pt x="1753566" y="300204"/>
                  </a:lnTo>
                  <a:lnTo>
                    <a:pt x="1763096" y="300204"/>
                  </a:lnTo>
                  <a:lnTo>
                    <a:pt x="1772626" y="290674"/>
                  </a:lnTo>
                  <a:lnTo>
                    <a:pt x="1786922" y="285908"/>
                  </a:lnTo>
                  <a:lnTo>
                    <a:pt x="1815514" y="290674"/>
                  </a:lnTo>
                  <a:lnTo>
                    <a:pt x="1844104" y="300204"/>
                  </a:lnTo>
                  <a:lnTo>
                    <a:pt x="1858400" y="304970"/>
                  </a:lnTo>
                  <a:lnTo>
                    <a:pt x="1858400" y="300204"/>
                  </a:lnTo>
                  <a:lnTo>
                    <a:pt x="1863164" y="290674"/>
                  </a:lnTo>
                  <a:lnTo>
                    <a:pt x="1867930" y="285908"/>
                  </a:lnTo>
                  <a:lnTo>
                    <a:pt x="1872694" y="285908"/>
                  </a:lnTo>
                  <a:lnTo>
                    <a:pt x="1882224" y="285908"/>
                  </a:lnTo>
                  <a:lnTo>
                    <a:pt x="1896520" y="276378"/>
                  </a:lnTo>
                  <a:lnTo>
                    <a:pt x="1906050" y="276378"/>
                  </a:lnTo>
                  <a:lnTo>
                    <a:pt x="1920346" y="281144"/>
                  </a:lnTo>
                  <a:lnTo>
                    <a:pt x="1934642" y="285908"/>
                  </a:lnTo>
                  <a:lnTo>
                    <a:pt x="1944172" y="285908"/>
                  </a:lnTo>
                  <a:lnTo>
                    <a:pt x="1948936" y="295438"/>
                  </a:lnTo>
                  <a:lnTo>
                    <a:pt x="1958466" y="300204"/>
                  </a:lnTo>
                  <a:lnTo>
                    <a:pt x="1963232" y="314500"/>
                  </a:lnTo>
                  <a:lnTo>
                    <a:pt x="1948936" y="319264"/>
                  </a:lnTo>
                  <a:lnTo>
                    <a:pt x="1939406" y="319264"/>
                  </a:lnTo>
                  <a:lnTo>
                    <a:pt x="1934642" y="338324"/>
                  </a:lnTo>
                  <a:lnTo>
                    <a:pt x="1939406" y="347856"/>
                  </a:lnTo>
                  <a:lnTo>
                    <a:pt x="1948936" y="352620"/>
                  </a:lnTo>
                  <a:lnTo>
                    <a:pt x="1948936" y="357386"/>
                  </a:lnTo>
                  <a:lnTo>
                    <a:pt x="1953702" y="385976"/>
                  </a:lnTo>
                  <a:lnTo>
                    <a:pt x="1934642" y="405036"/>
                  </a:lnTo>
                  <a:lnTo>
                    <a:pt x="1915580" y="424098"/>
                  </a:lnTo>
                  <a:lnTo>
                    <a:pt x="1805982" y="486044"/>
                  </a:lnTo>
                  <a:lnTo>
                    <a:pt x="1777392" y="514634"/>
                  </a:lnTo>
                  <a:lnTo>
                    <a:pt x="1767862" y="524164"/>
                  </a:lnTo>
                  <a:lnTo>
                    <a:pt x="1686854" y="543226"/>
                  </a:lnTo>
                  <a:lnTo>
                    <a:pt x="1634438" y="562286"/>
                  </a:lnTo>
                  <a:lnTo>
                    <a:pt x="1605848" y="571816"/>
                  </a:lnTo>
                  <a:lnTo>
                    <a:pt x="1572492" y="605172"/>
                  </a:lnTo>
                  <a:lnTo>
                    <a:pt x="1558196" y="619468"/>
                  </a:lnTo>
                  <a:lnTo>
                    <a:pt x="1567726" y="624232"/>
                  </a:lnTo>
                  <a:lnTo>
                    <a:pt x="1582022" y="638528"/>
                  </a:lnTo>
                  <a:lnTo>
                    <a:pt x="1577256" y="648058"/>
                  </a:lnTo>
                  <a:lnTo>
                    <a:pt x="1558196" y="657588"/>
                  </a:lnTo>
                  <a:lnTo>
                    <a:pt x="1548666" y="662354"/>
                  </a:lnTo>
                  <a:lnTo>
                    <a:pt x="1543900" y="662354"/>
                  </a:lnTo>
                  <a:lnTo>
                    <a:pt x="1539136" y="662354"/>
                  </a:lnTo>
                  <a:lnTo>
                    <a:pt x="1501014" y="724300"/>
                  </a:lnTo>
                  <a:lnTo>
                    <a:pt x="1467658" y="767186"/>
                  </a:lnTo>
                  <a:lnTo>
                    <a:pt x="1448598" y="786246"/>
                  </a:lnTo>
                  <a:lnTo>
                    <a:pt x="1434302" y="814838"/>
                  </a:lnTo>
                  <a:lnTo>
                    <a:pt x="1391416" y="886314"/>
                  </a:lnTo>
                  <a:lnTo>
                    <a:pt x="1391416" y="905376"/>
                  </a:lnTo>
                  <a:lnTo>
                    <a:pt x="1410478" y="976852"/>
                  </a:lnTo>
                  <a:lnTo>
                    <a:pt x="1424772" y="995912"/>
                  </a:lnTo>
                  <a:lnTo>
                    <a:pt x="1439068" y="1014972"/>
                  </a:lnTo>
                  <a:lnTo>
                    <a:pt x="1467658" y="1024504"/>
                  </a:lnTo>
                  <a:lnTo>
                    <a:pt x="1477190" y="1038798"/>
                  </a:lnTo>
                  <a:lnTo>
                    <a:pt x="1462894" y="1053094"/>
                  </a:lnTo>
                  <a:lnTo>
                    <a:pt x="1434302" y="1072154"/>
                  </a:lnTo>
                  <a:lnTo>
                    <a:pt x="1386652" y="1105510"/>
                  </a:lnTo>
                  <a:lnTo>
                    <a:pt x="1362826" y="1129336"/>
                  </a:lnTo>
                  <a:lnTo>
                    <a:pt x="1358062" y="1148396"/>
                  </a:lnTo>
                  <a:lnTo>
                    <a:pt x="1343766" y="1162692"/>
                  </a:lnTo>
                  <a:lnTo>
                    <a:pt x="1339000" y="1191282"/>
                  </a:lnTo>
                  <a:lnTo>
                    <a:pt x="1329470" y="1215108"/>
                  </a:lnTo>
                  <a:lnTo>
                    <a:pt x="1324706" y="1219874"/>
                  </a:lnTo>
                  <a:lnTo>
                    <a:pt x="1315174" y="1234168"/>
                  </a:lnTo>
                  <a:lnTo>
                    <a:pt x="1315174" y="1248464"/>
                  </a:lnTo>
                  <a:lnTo>
                    <a:pt x="1329470" y="1262760"/>
                  </a:lnTo>
                  <a:lnTo>
                    <a:pt x="1324706" y="1272290"/>
                  </a:lnTo>
                  <a:lnTo>
                    <a:pt x="1315174" y="1272290"/>
                  </a:lnTo>
                  <a:lnTo>
                    <a:pt x="1296114" y="1277056"/>
                  </a:lnTo>
                  <a:lnTo>
                    <a:pt x="1234168" y="1277056"/>
                  </a:lnTo>
                  <a:lnTo>
                    <a:pt x="1186516" y="1310410"/>
                  </a:lnTo>
                  <a:lnTo>
                    <a:pt x="1162690" y="1343766"/>
                  </a:lnTo>
                  <a:lnTo>
                    <a:pt x="1143630" y="1396184"/>
                  </a:lnTo>
                  <a:lnTo>
                    <a:pt x="1115040" y="1429540"/>
                  </a:lnTo>
                  <a:lnTo>
                    <a:pt x="1100744" y="1439070"/>
                  </a:lnTo>
                  <a:lnTo>
                    <a:pt x="1086448" y="1424774"/>
                  </a:lnTo>
                  <a:lnTo>
                    <a:pt x="1062624" y="1420008"/>
                  </a:lnTo>
                  <a:lnTo>
                    <a:pt x="1038798" y="1424774"/>
                  </a:lnTo>
                  <a:lnTo>
                    <a:pt x="1029268" y="1439070"/>
                  </a:lnTo>
                  <a:lnTo>
                    <a:pt x="1010206" y="1443834"/>
                  </a:lnTo>
                  <a:lnTo>
                    <a:pt x="991146" y="1439070"/>
                  </a:lnTo>
                  <a:lnTo>
                    <a:pt x="953026" y="1434304"/>
                  </a:lnTo>
                  <a:lnTo>
                    <a:pt x="933964" y="1434304"/>
                  </a:lnTo>
                  <a:lnTo>
                    <a:pt x="910140" y="1443834"/>
                  </a:lnTo>
                  <a:lnTo>
                    <a:pt x="886314" y="1439070"/>
                  </a:lnTo>
                  <a:lnTo>
                    <a:pt x="848192" y="1434304"/>
                  </a:lnTo>
                  <a:lnTo>
                    <a:pt x="762420" y="1443834"/>
                  </a:lnTo>
                  <a:lnTo>
                    <a:pt x="752890" y="1443834"/>
                  </a:lnTo>
                  <a:lnTo>
                    <a:pt x="738594" y="1458130"/>
                  </a:lnTo>
                  <a:lnTo>
                    <a:pt x="714768" y="1481956"/>
                  </a:lnTo>
                  <a:lnTo>
                    <a:pt x="671882" y="1481956"/>
                  </a:lnTo>
                  <a:lnTo>
                    <a:pt x="638526" y="1501016"/>
                  </a:lnTo>
                  <a:lnTo>
                    <a:pt x="628996" y="1510546"/>
                  </a:lnTo>
                  <a:lnTo>
                    <a:pt x="609936" y="1534372"/>
                  </a:lnTo>
                  <a:lnTo>
                    <a:pt x="605170" y="1553432"/>
                  </a:lnTo>
                  <a:lnTo>
                    <a:pt x="605170" y="1558198"/>
                  </a:lnTo>
                  <a:lnTo>
                    <a:pt x="600406" y="1553432"/>
                  </a:lnTo>
                  <a:lnTo>
                    <a:pt x="595640" y="1553432"/>
                  </a:lnTo>
                  <a:lnTo>
                    <a:pt x="590876" y="1567728"/>
                  </a:lnTo>
                  <a:lnTo>
                    <a:pt x="576580" y="1572492"/>
                  </a:lnTo>
                  <a:lnTo>
                    <a:pt x="567050" y="1577258"/>
                  </a:lnTo>
                  <a:lnTo>
                    <a:pt x="538460" y="1562962"/>
                  </a:lnTo>
                  <a:lnTo>
                    <a:pt x="514634" y="1543902"/>
                  </a:lnTo>
                  <a:lnTo>
                    <a:pt x="500338" y="1543902"/>
                  </a:lnTo>
                  <a:lnTo>
                    <a:pt x="481278" y="1515312"/>
                  </a:lnTo>
                  <a:lnTo>
                    <a:pt x="471748" y="1501016"/>
                  </a:lnTo>
                  <a:lnTo>
                    <a:pt x="466982" y="1481956"/>
                  </a:lnTo>
                  <a:lnTo>
                    <a:pt x="466982" y="1472426"/>
                  </a:lnTo>
                  <a:lnTo>
                    <a:pt x="466982" y="1467660"/>
                  </a:lnTo>
                  <a:lnTo>
                    <a:pt x="447922" y="1458130"/>
                  </a:lnTo>
                  <a:lnTo>
                    <a:pt x="443156" y="1439070"/>
                  </a:lnTo>
                  <a:lnTo>
                    <a:pt x="457452" y="1415244"/>
                  </a:lnTo>
                  <a:lnTo>
                    <a:pt x="466982" y="1405714"/>
                  </a:lnTo>
                  <a:lnTo>
                    <a:pt x="457452" y="1405714"/>
                  </a:lnTo>
                  <a:lnTo>
                    <a:pt x="443156" y="1420008"/>
                  </a:lnTo>
                  <a:lnTo>
                    <a:pt x="428862" y="1396184"/>
                  </a:lnTo>
                  <a:lnTo>
                    <a:pt x="366914" y="1348532"/>
                  </a:lnTo>
                  <a:lnTo>
                    <a:pt x="371680" y="1339002"/>
                  </a:lnTo>
                  <a:lnTo>
                    <a:pt x="371680" y="1334236"/>
                  </a:lnTo>
                  <a:lnTo>
                    <a:pt x="362150" y="1343766"/>
                  </a:lnTo>
                  <a:lnTo>
                    <a:pt x="352620" y="1348532"/>
                  </a:lnTo>
                  <a:lnTo>
                    <a:pt x="324028" y="1348532"/>
                  </a:lnTo>
                  <a:lnTo>
                    <a:pt x="285908" y="1353296"/>
                  </a:lnTo>
                  <a:lnTo>
                    <a:pt x="276378" y="1305646"/>
                  </a:lnTo>
                  <a:lnTo>
                    <a:pt x="271612" y="1286586"/>
                  </a:lnTo>
                  <a:lnTo>
                    <a:pt x="271612" y="1272290"/>
                  </a:lnTo>
                  <a:lnTo>
                    <a:pt x="281142" y="1243700"/>
                  </a:lnTo>
                  <a:lnTo>
                    <a:pt x="290672" y="1234168"/>
                  </a:lnTo>
                  <a:lnTo>
                    <a:pt x="304968" y="1210344"/>
                  </a:lnTo>
                  <a:lnTo>
                    <a:pt x="324028" y="1191282"/>
                  </a:lnTo>
                  <a:lnTo>
                    <a:pt x="338324" y="1186518"/>
                  </a:lnTo>
                  <a:lnTo>
                    <a:pt x="347854" y="1181752"/>
                  </a:lnTo>
                  <a:lnTo>
                    <a:pt x="352620" y="1167458"/>
                  </a:lnTo>
                  <a:lnTo>
                    <a:pt x="357384" y="1153162"/>
                  </a:lnTo>
                  <a:lnTo>
                    <a:pt x="352620" y="1153162"/>
                  </a:lnTo>
                  <a:lnTo>
                    <a:pt x="333558" y="1153162"/>
                  </a:lnTo>
                  <a:lnTo>
                    <a:pt x="295438" y="1100746"/>
                  </a:lnTo>
                  <a:lnTo>
                    <a:pt x="300202" y="1091216"/>
                  </a:lnTo>
                  <a:lnTo>
                    <a:pt x="304968" y="1076920"/>
                  </a:lnTo>
                  <a:lnTo>
                    <a:pt x="304968" y="1062624"/>
                  </a:lnTo>
                  <a:lnTo>
                    <a:pt x="304968" y="1048328"/>
                  </a:lnTo>
                  <a:lnTo>
                    <a:pt x="314498" y="1038798"/>
                  </a:lnTo>
                  <a:lnTo>
                    <a:pt x="328794" y="1024504"/>
                  </a:lnTo>
                  <a:lnTo>
                    <a:pt x="343090" y="1010208"/>
                  </a:lnTo>
                  <a:lnTo>
                    <a:pt x="347854" y="995912"/>
                  </a:lnTo>
                  <a:lnTo>
                    <a:pt x="352620" y="981618"/>
                  </a:lnTo>
                  <a:lnTo>
                    <a:pt x="343090" y="967322"/>
                  </a:lnTo>
                  <a:lnTo>
                    <a:pt x="324028" y="962556"/>
                  </a:lnTo>
                  <a:lnTo>
                    <a:pt x="304968" y="924436"/>
                  </a:lnTo>
                  <a:lnTo>
                    <a:pt x="300202" y="895844"/>
                  </a:lnTo>
                  <a:lnTo>
                    <a:pt x="295438" y="895844"/>
                  </a:lnTo>
                  <a:lnTo>
                    <a:pt x="281142" y="881550"/>
                  </a:lnTo>
                  <a:lnTo>
                    <a:pt x="266848" y="862488"/>
                  </a:lnTo>
                  <a:lnTo>
                    <a:pt x="266848" y="857724"/>
                  </a:lnTo>
                  <a:lnTo>
                    <a:pt x="281142" y="852958"/>
                  </a:lnTo>
                  <a:lnTo>
                    <a:pt x="333558" y="852958"/>
                  </a:lnTo>
                  <a:lnTo>
                    <a:pt x="343090" y="848194"/>
                  </a:lnTo>
                  <a:lnTo>
                    <a:pt x="352620" y="829134"/>
                  </a:lnTo>
                  <a:lnTo>
                    <a:pt x="366914" y="800542"/>
                  </a:lnTo>
                  <a:lnTo>
                    <a:pt x="366914" y="781482"/>
                  </a:lnTo>
                  <a:lnTo>
                    <a:pt x="362150" y="776716"/>
                  </a:lnTo>
                  <a:lnTo>
                    <a:pt x="347854" y="757656"/>
                  </a:lnTo>
                  <a:lnTo>
                    <a:pt x="347854" y="752892"/>
                  </a:lnTo>
                  <a:lnTo>
                    <a:pt x="347854" y="743360"/>
                  </a:lnTo>
                  <a:lnTo>
                    <a:pt x="357384" y="738596"/>
                  </a:lnTo>
                  <a:lnTo>
                    <a:pt x="371680" y="729066"/>
                  </a:lnTo>
                  <a:lnTo>
                    <a:pt x="381210" y="719536"/>
                  </a:lnTo>
                  <a:lnTo>
                    <a:pt x="381210" y="710004"/>
                  </a:lnTo>
                  <a:lnTo>
                    <a:pt x="376444" y="705240"/>
                  </a:lnTo>
                  <a:lnTo>
                    <a:pt x="371680" y="695710"/>
                  </a:lnTo>
                  <a:lnTo>
                    <a:pt x="376444" y="690944"/>
                  </a:lnTo>
                  <a:lnTo>
                    <a:pt x="376444" y="662354"/>
                  </a:lnTo>
                  <a:lnTo>
                    <a:pt x="381210" y="652824"/>
                  </a:lnTo>
                  <a:lnTo>
                    <a:pt x="376444" y="628998"/>
                  </a:lnTo>
                  <a:lnTo>
                    <a:pt x="371680" y="609938"/>
                  </a:lnTo>
                  <a:lnTo>
                    <a:pt x="362150" y="581346"/>
                  </a:lnTo>
                  <a:lnTo>
                    <a:pt x="362150" y="576582"/>
                  </a:lnTo>
                  <a:lnTo>
                    <a:pt x="366914" y="571816"/>
                  </a:lnTo>
                  <a:lnTo>
                    <a:pt x="385976" y="562286"/>
                  </a:lnTo>
                  <a:lnTo>
                    <a:pt x="400270" y="538460"/>
                  </a:lnTo>
                  <a:lnTo>
                    <a:pt x="419332" y="519400"/>
                  </a:lnTo>
                  <a:lnTo>
                    <a:pt x="443156" y="505104"/>
                  </a:lnTo>
                  <a:lnTo>
                    <a:pt x="462218" y="486044"/>
                  </a:lnTo>
                  <a:lnTo>
                    <a:pt x="466982" y="476514"/>
                  </a:lnTo>
                  <a:lnTo>
                    <a:pt x="471748" y="471748"/>
                  </a:lnTo>
                  <a:lnTo>
                    <a:pt x="471748" y="466984"/>
                  </a:lnTo>
                  <a:lnTo>
                    <a:pt x="466982" y="457454"/>
                  </a:lnTo>
                  <a:lnTo>
                    <a:pt x="457452" y="447922"/>
                  </a:lnTo>
                  <a:lnTo>
                    <a:pt x="447922" y="443158"/>
                  </a:lnTo>
                  <a:lnTo>
                    <a:pt x="428862" y="443158"/>
                  </a:lnTo>
                  <a:lnTo>
                    <a:pt x="424096" y="443158"/>
                  </a:lnTo>
                  <a:lnTo>
                    <a:pt x="419332" y="438392"/>
                  </a:lnTo>
                  <a:lnTo>
                    <a:pt x="419332" y="419332"/>
                  </a:lnTo>
                  <a:lnTo>
                    <a:pt x="419332" y="400272"/>
                  </a:lnTo>
                  <a:lnTo>
                    <a:pt x="419332" y="390742"/>
                  </a:lnTo>
                  <a:lnTo>
                    <a:pt x="409800" y="385976"/>
                  </a:lnTo>
                  <a:lnTo>
                    <a:pt x="395506" y="385976"/>
                  </a:lnTo>
                  <a:lnTo>
                    <a:pt x="385976" y="381212"/>
                  </a:lnTo>
                  <a:lnTo>
                    <a:pt x="376444" y="381212"/>
                  </a:lnTo>
                  <a:lnTo>
                    <a:pt x="371680" y="385976"/>
                  </a:lnTo>
                  <a:lnTo>
                    <a:pt x="347854" y="385976"/>
                  </a:lnTo>
                  <a:lnTo>
                    <a:pt x="333558" y="381212"/>
                  </a:lnTo>
                  <a:lnTo>
                    <a:pt x="328794" y="376446"/>
                  </a:lnTo>
                  <a:lnTo>
                    <a:pt x="324028" y="381212"/>
                  </a:lnTo>
                  <a:lnTo>
                    <a:pt x="319264" y="385976"/>
                  </a:lnTo>
                  <a:lnTo>
                    <a:pt x="319264" y="390742"/>
                  </a:lnTo>
                  <a:lnTo>
                    <a:pt x="319264" y="395506"/>
                  </a:lnTo>
                  <a:lnTo>
                    <a:pt x="309734" y="405036"/>
                  </a:lnTo>
                  <a:lnTo>
                    <a:pt x="285908" y="409802"/>
                  </a:lnTo>
                  <a:lnTo>
                    <a:pt x="271612" y="409802"/>
                  </a:lnTo>
                  <a:lnTo>
                    <a:pt x="252552" y="405036"/>
                  </a:lnTo>
                  <a:lnTo>
                    <a:pt x="247786" y="400272"/>
                  </a:lnTo>
                  <a:lnTo>
                    <a:pt x="243022" y="400272"/>
                  </a:lnTo>
                  <a:lnTo>
                    <a:pt x="209666" y="400272"/>
                  </a:lnTo>
                  <a:lnTo>
                    <a:pt x="204900" y="400272"/>
                  </a:lnTo>
                  <a:lnTo>
                    <a:pt x="195370" y="405036"/>
                  </a:lnTo>
                  <a:lnTo>
                    <a:pt x="181074" y="414568"/>
                  </a:lnTo>
                  <a:lnTo>
                    <a:pt x="171544" y="414568"/>
                  </a:lnTo>
                  <a:lnTo>
                    <a:pt x="166780" y="409802"/>
                  </a:lnTo>
                  <a:lnTo>
                    <a:pt x="157250" y="395506"/>
                  </a:lnTo>
                  <a:lnTo>
                    <a:pt x="162014" y="390742"/>
                  </a:lnTo>
                  <a:lnTo>
                    <a:pt x="176310" y="371680"/>
                  </a:lnTo>
                  <a:lnTo>
                    <a:pt x="171544" y="366916"/>
                  </a:lnTo>
                  <a:lnTo>
                    <a:pt x="166780" y="362150"/>
                  </a:lnTo>
                  <a:lnTo>
                    <a:pt x="162014" y="352620"/>
                  </a:lnTo>
                  <a:lnTo>
                    <a:pt x="162014" y="347856"/>
                  </a:lnTo>
                  <a:lnTo>
                    <a:pt x="152484" y="347856"/>
                  </a:lnTo>
                  <a:lnTo>
                    <a:pt x="142954" y="347856"/>
                  </a:lnTo>
                  <a:lnTo>
                    <a:pt x="109598" y="362150"/>
                  </a:lnTo>
                  <a:lnTo>
                    <a:pt x="104832" y="362150"/>
                  </a:lnTo>
                  <a:lnTo>
                    <a:pt x="85772" y="371680"/>
                  </a:lnTo>
                  <a:lnTo>
                    <a:pt x="71476" y="385976"/>
                  </a:lnTo>
                  <a:lnTo>
                    <a:pt x="61946" y="390742"/>
                  </a:lnTo>
                  <a:lnTo>
                    <a:pt x="57182" y="385976"/>
                  </a:lnTo>
                  <a:lnTo>
                    <a:pt x="57182" y="352620"/>
                  </a:lnTo>
                  <a:lnTo>
                    <a:pt x="71476" y="328794"/>
                  </a:lnTo>
                  <a:lnTo>
                    <a:pt x="85772" y="314500"/>
                  </a:lnTo>
                  <a:lnTo>
                    <a:pt x="81008" y="314500"/>
                  </a:lnTo>
                  <a:lnTo>
                    <a:pt x="66712" y="314500"/>
                  </a:lnTo>
                  <a:lnTo>
                    <a:pt x="66712" y="304970"/>
                  </a:lnTo>
                  <a:lnTo>
                    <a:pt x="76242" y="300204"/>
                  </a:lnTo>
                  <a:lnTo>
                    <a:pt x="81008" y="285908"/>
                  </a:lnTo>
                  <a:lnTo>
                    <a:pt x="71476" y="281144"/>
                  </a:lnTo>
                  <a:lnTo>
                    <a:pt x="66712" y="276378"/>
                  </a:lnTo>
                  <a:lnTo>
                    <a:pt x="66712" y="257318"/>
                  </a:lnTo>
                  <a:lnTo>
                    <a:pt x="71476" y="247788"/>
                  </a:lnTo>
                  <a:lnTo>
                    <a:pt x="66712" y="238258"/>
                  </a:lnTo>
                  <a:lnTo>
                    <a:pt x="38122" y="252552"/>
                  </a:lnTo>
                  <a:lnTo>
                    <a:pt x="33356" y="247788"/>
                  </a:lnTo>
                  <a:lnTo>
                    <a:pt x="33356" y="233492"/>
                  </a:lnTo>
                  <a:lnTo>
                    <a:pt x="47652" y="214432"/>
                  </a:lnTo>
                  <a:lnTo>
                    <a:pt x="47652" y="204902"/>
                  </a:lnTo>
                  <a:lnTo>
                    <a:pt x="33356" y="200136"/>
                  </a:lnTo>
                  <a:lnTo>
                    <a:pt x="19060" y="190606"/>
                  </a:lnTo>
                  <a:lnTo>
                    <a:pt x="9530" y="181076"/>
                  </a:lnTo>
                  <a:lnTo>
                    <a:pt x="0" y="166780"/>
                  </a:lnTo>
                  <a:lnTo>
                    <a:pt x="0" y="152486"/>
                  </a:lnTo>
                  <a:lnTo>
                    <a:pt x="9530" y="123894"/>
                  </a:lnTo>
                  <a:lnTo>
                    <a:pt x="23826" y="114364"/>
                  </a:lnTo>
                  <a:lnTo>
                    <a:pt x="33356" y="109598"/>
                  </a:lnTo>
                  <a:lnTo>
                    <a:pt x="57182" y="90538"/>
                  </a:lnTo>
                  <a:lnTo>
                    <a:pt x="90538" y="95304"/>
                  </a:lnTo>
                  <a:lnTo>
                    <a:pt x="109598" y="90538"/>
                  </a:lnTo>
                  <a:lnTo>
                    <a:pt x="128658" y="81008"/>
                  </a:lnTo>
                  <a:lnTo>
                    <a:pt x="138188" y="76244"/>
                  </a:lnTo>
                  <a:lnTo>
                    <a:pt x="157250" y="66712"/>
                  </a:lnTo>
                  <a:lnTo>
                    <a:pt x="157250" y="57182"/>
                  </a:lnTo>
                  <a:lnTo>
                    <a:pt x="147718" y="47652"/>
                  </a:lnTo>
                  <a:lnTo>
                    <a:pt x="152484" y="38122"/>
                  </a:lnTo>
                  <a:lnTo>
                    <a:pt x="171544" y="28592"/>
                  </a:lnTo>
                  <a:lnTo>
                    <a:pt x="195370" y="14296"/>
                  </a:lnTo>
                  <a:lnTo>
                    <a:pt x="219196" y="953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7" name="Freeform 95">
              <a:extLst>
                <a:ext uri="{FF2B5EF4-FFF2-40B4-BE49-F238E27FC236}">
                  <a16:creationId xmlns:a16="http://schemas.microsoft.com/office/drawing/2014/main" id="{B37BE381-E957-46CA-97A4-71E1B439D806}"/>
                </a:ext>
              </a:extLst>
            </p:cNvPr>
            <p:cNvSpPr/>
            <p:nvPr/>
          </p:nvSpPr>
          <p:spPr bwMode="auto">
            <a:xfrm>
              <a:off x="5850401" y="3520764"/>
              <a:ext cx="159572" cy="102527"/>
            </a:xfrm>
            <a:custGeom>
              <a:avLst/>
              <a:gdLst>
                <a:gd name="connsiteX0" fmla="*/ 109598 w 986382"/>
                <a:gd name="connsiteY0" fmla="*/ 309734 h 633762"/>
                <a:gd name="connsiteX1" fmla="*/ 119128 w 986382"/>
                <a:gd name="connsiteY1" fmla="*/ 314499 h 633762"/>
                <a:gd name="connsiteX2" fmla="*/ 133424 w 986382"/>
                <a:gd name="connsiteY2" fmla="*/ 319264 h 633762"/>
                <a:gd name="connsiteX3" fmla="*/ 142954 w 986382"/>
                <a:gd name="connsiteY3" fmla="*/ 319264 h 633762"/>
                <a:gd name="connsiteX4" fmla="*/ 152484 w 986382"/>
                <a:gd name="connsiteY4" fmla="*/ 309734 h 633762"/>
                <a:gd name="connsiteX5" fmla="*/ 176310 w 986382"/>
                <a:gd name="connsiteY5" fmla="*/ 314499 h 633762"/>
                <a:gd name="connsiteX6" fmla="*/ 228726 w 986382"/>
                <a:gd name="connsiteY6" fmla="*/ 352620 h 633762"/>
                <a:gd name="connsiteX7" fmla="*/ 233490 w 986382"/>
                <a:gd name="connsiteY7" fmla="*/ 362150 h 633762"/>
                <a:gd name="connsiteX8" fmla="*/ 200136 w 986382"/>
                <a:gd name="connsiteY8" fmla="*/ 366915 h 633762"/>
                <a:gd name="connsiteX9" fmla="*/ 195370 w 986382"/>
                <a:gd name="connsiteY9" fmla="*/ 376446 h 633762"/>
                <a:gd name="connsiteX10" fmla="*/ 185840 w 986382"/>
                <a:gd name="connsiteY10" fmla="*/ 385976 h 633762"/>
                <a:gd name="connsiteX11" fmla="*/ 176310 w 986382"/>
                <a:gd name="connsiteY11" fmla="*/ 390741 h 633762"/>
                <a:gd name="connsiteX12" fmla="*/ 162014 w 986382"/>
                <a:gd name="connsiteY12" fmla="*/ 405036 h 633762"/>
                <a:gd name="connsiteX13" fmla="*/ 142954 w 986382"/>
                <a:gd name="connsiteY13" fmla="*/ 419332 h 633762"/>
                <a:gd name="connsiteX14" fmla="*/ 138188 w 986382"/>
                <a:gd name="connsiteY14" fmla="*/ 428862 h 633762"/>
                <a:gd name="connsiteX15" fmla="*/ 104832 w 986382"/>
                <a:gd name="connsiteY15" fmla="*/ 428862 h 633762"/>
                <a:gd name="connsiteX16" fmla="*/ 81008 w 986382"/>
                <a:gd name="connsiteY16" fmla="*/ 433627 h 633762"/>
                <a:gd name="connsiteX17" fmla="*/ 66712 w 986382"/>
                <a:gd name="connsiteY17" fmla="*/ 447922 h 633762"/>
                <a:gd name="connsiteX18" fmla="*/ 61946 w 986382"/>
                <a:gd name="connsiteY18" fmla="*/ 481278 h 633762"/>
                <a:gd name="connsiteX19" fmla="*/ 47652 w 986382"/>
                <a:gd name="connsiteY19" fmla="*/ 505104 h 633762"/>
                <a:gd name="connsiteX20" fmla="*/ 38120 w 986382"/>
                <a:gd name="connsiteY20" fmla="*/ 514634 h 633762"/>
                <a:gd name="connsiteX21" fmla="*/ 23826 w 986382"/>
                <a:gd name="connsiteY21" fmla="*/ 514634 h 633762"/>
                <a:gd name="connsiteX22" fmla="*/ 23826 w 986382"/>
                <a:gd name="connsiteY22" fmla="*/ 509869 h 633762"/>
                <a:gd name="connsiteX23" fmla="*/ 23826 w 986382"/>
                <a:gd name="connsiteY23" fmla="*/ 500339 h 633762"/>
                <a:gd name="connsiteX24" fmla="*/ 47652 w 986382"/>
                <a:gd name="connsiteY24" fmla="*/ 462218 h 633762"/>
                <a:gd name="connsiteX25" fmla="*/ 52416 w 986382"/>
                <a:gd name="connsiteY25" fmla="*/ 452687 h 633762"/>
                <a:gd name="connsiteX26" fmla="*/ 42886 w 986382"/>
                <a:gd name="connsiteY26" fmla="*/ 447922 h 633762"/>
                <a:gd name="connsiteX27" fmla="*/ 28590 w 986382"/>
                <a:gd name="connsiteY27" fmla="*/ 433627 h 633762"/>
                <a:gd name="connsiteX28" fmla="*/ 4766 w 986382"/>
                <a:gd name="connsiteY28" fmla="*/ 419332 h 633762"/>
                <a:gd name="connsiteX29" fmla="*/ 0 w 986382"/>
                <a:gd name="connsiteY29" fmla="*/ 409801 h 633762"/>
                <a:gd name="connsiteX30" fmla="*/ 9530 w 986382"/>
                <a:gd name="connsiteY30" fmla="*/ 405036 h 633762"/>
                <a:gd name="connsiteX31" fmla="*/ 14296 w 986382"/>
                <a:gd name="connsiteY31" fmla="*/ 405036 h 633762"/>
                <a:gd name="connsiteX32" fmla="*/ 19060 w 986382"/>
                <a:gd name="connsiteY32" fmla="*/ 395506 h 633762"/>
                <a:gd name="connsiteX33" fmla="*/ 23826 w 986382"/>
                <a:gd name="connsiteY33" fmla="*/ 381211 h 633762"/>
                <a:gd name="connsiteX34" fmla="*/ 4766 w 986382"/>
                <a:gd name="connsiteY34" fmla="*/ 347855 h 633762"/>
                <a:gd name="connsiteX35" fmla="*/ 14296 w 986382"/>
                <a:gd name="connsiteY35" fmla="*/ 343090 h 633762"/>
                <a:gd name="connsiteX36" fmla="*/ 23826 w 986382"/>
                <a:gd name="connsiteY36" fmla="*/ 343090 h 633762"/>
                <a:gd name="connsiteX37" fmla="*/ 38120 w 986382"/>
                <a:gd name="connsiteY37" fmla="*/ 352620 h 633762"/>
                <a:gd name="connsiteX38" fmla="*/ 52416 w 986382"/>
                <a:gd name="connsiteY38" fmla="*/ 343090 h 633762"/>
                <a:gd name="connsiteX39" fmla="*/ 57182 w 986382"/>
                <a:gd name="connsiteY39" fmla="*/ 343090 h 633762"/>
                <a:gd name="connsiteX40" fmla="*/ 66712 w 986382"/>
                <a:gd name="connsiteY40" fmla="*/ 347855 h 633762"/>
                <a:gd name="connsiteX41" fmla="*/ 76242 w 986382"/>
                <a:gd name="connsiteY41" fmla="*/ 324029 h 633762"/>
                <a:gd name="connsiteX42" fmla="*/ 100068 w 986382"/>
                <a:gd name="connsiteY42" fmla="*/ 319264 h 633762"/>
                <a:gd name="connsiteX43" fmla="*/ 204900 w 986382"/>
                <a:gd name="connsiteY43" fmla="*/ 295438 h 633762"/>
                <a:gd name="connsiteX44" fmla="*/ 233490 w 986382"/>
                <a:gd name="connsiteY44" fmla="*/ 304968 h 633762"/>
                <a:gd name="connsiteX45" fmla="*/ 238256 w 986382"/>
                <a:gd name="connsiteY45" fmla="*/ 324029 h 633762"/>
                <a:gd name="connsiteX46" fmla="*/ 233490 w 986382"/>
                <a:gd name="connsiteY46" fmla="*/ 333559 h 633762"/>
                <a:gd name="connsiteX47" fmla="*/ 223960 w 986382"/>
                <a:gd name="connsiteY47" fmla="*/ 338324 h 633762"/>
                <a:gd name="connsiteX48" fmla="*/ 190606 w 986382"/>
                <a:gd name="connsiteY48" fmla="*/ 314498 h 633762"/>
                <a:gd name="connsiteX49" fmla="*/ 200136 w 986382"/>
                <a:gd name="connsiteY49" fmla="*/ 300203 h 633762"/>
                <a:gd name="connsiteX50" fmla="*/ 114364 w 986382"/>
                <a:gd name="connsiteY50" fmla="*/ 171545 h 633762"/>
                <a:gd name="connsiteX51" fmla="*/ 123894 w 986382"/>
                <a:gd name="connsiteY51" fmla="*/ 171545 h 633762"/>
                <a:gd name="connsiteX52" fmla="*/ 133424 w 986382"/>
                <a:gd name="connsiteY52" fmla="*/ 176310 h 633762"/>
                <a:gd name="connsiteX53" fmla="*/ 133424 w 986382"/>
                <a:gd name="connsiteY53" fmla="*/ 185840 h 633762"/>
                <a:gd name="connsiteX54" fmla="*/ 138188 w 986382"/>
                <a:gd name="connsiteY54" fmla="*/ 195371 h 633762"/>
                <a:gd name="connsiteX55" fmla="*/ 166780 w 986382"/>
                <a:gd name="connsiteY55" fmla="*/ 200136 h 633762"/>
                <a:gd name="connsiteX56" fmla="*/ 176310 w 986382"/>
                <a:gd name="connsiteY56" fmla="*/ 223961 h 633762"/>
                <a:gd name="connsiteX57" fmla="*/ 181074 w 986382"/>
                <a:gd name="connsiteY57" fmla="*/ 247787 h 633762"/>
                <a:gd name="connsiteX58" fmla="*/ 166780 w 986382"/>
                <a:gd name="connsiteY58" fmla="*/ 252552 h 633762"/>
                <a:gd name="connsiteX59" fmla="*/ 157250 w 986382"/>
                <a:gd name="connsiteY59" fmla="*/ 266847 h 633762"/>
                <a:gd name="connsiteX60" fmla="*/ 147720 w 986382"/>
                <a:gd name="connsiteY60" fmla="*/ 257317 h 633762"/>
                <a:gd name="connsiteX61" fmla="*/ 142954 w 986382"/>
                <a:gd name="connsiteY61" fmla="*/ 252552 h 633762"/>
                <a:gd name="connsiteX62" fmla="*/ 128658 w 986382"/>
                <a:gd name="connsiteY62" fmla="*/ 285908 h 633762"/>
                <a:gd name="connsiteX63" fmla="*/ 109598 w 986382"/>
                <a:gd name="connsiteY63" fmla="*/ 290673 h 633762"/>
                <a:gd name="connsiteX64" fmla="*/ 100068 w 986382"/>
                <a:gd name="connsiteY64" fmla="*/ 285908 h 633762"/>
                <a:gd name="connsiteX65" fmla="*/ 100068 w 986382"/>
                <a:gd name="connsiteY65" fmla="*/ 271613 h 633762"/>
                <a:gd name="connsiteX66" fmla="*/ 90538 w 986382"/>
                <a:gd name="connsiteY66" fmla="*/ 238257 h 633762"/>
                <a:gd name="connsiteX67" fmla="*/ 71478 w 986382"/>
                <a:gd name="connsiteY67" fmla="*/ 228726 h 633762"/>
                <a:gd name="connsiteX68" fmla="*/ 47652 w 986382"/>
                <a:gd name="connsiteY68" fmla="*/ 228726 h 633762"/>
                <a:gd name="connsiteX69" fmla="*/ 33356 w 986382"/>
                <a:gd name="connsiteY69" fmla="*/ 214431 h 633762"/>
                <a:gd name="connsiteX70" fmla="*/ 95302 w 986382"/>
                <a:gd name="connsiteY70" fmla="*/ 204901 h 633762"/>
                <a:gd name="connsiteX71" fmla="*/ 104832 w 986382"/>
                <a:gd name="connsiteY71" fmla="*/ 190605 h 633762"/>
                <a:gd name="connsiteX72" fmla="*/ 571816 w 986382"/>
                <a:gd name="connsiteY72" fmla="*/ 0 h 633762"/>
                <a:gd name="connsiteX73" fmla="*/ 590876 w 986382"/>
                <a:gd name="connsiteY73" fmla="*/ 4765 h 633762"/>
                <a:gd name="connsiteX74" fmla="*/ 619468 w 986382"/>
                <a:gd name="connsiteY74" fmla="*/ 4765 h 633762"/>
                <a:gd name="connsiteX75" fmla="*/ 719534 w 986382"/>
                <a:gd name="connsiteY75" fmla="*/ 28591 h 633762"/>
                <a:gd name="connsiteX76" fmla="*/ 748126 w 986382"/>
                <a:gd name="connsiteY76" fmla="*/ 28591 h 633762"/>
                <a:gd name="connsiteX77" fmla="*/ 781482 w 986382"/>
                <a:gd name="connsiteY77" fmla="*/ 52416 h 633762"/>
                <a:gd name="connsiteX78" fmla="*/ 800542 w 986382"/>
                <a:gd name="connsiteY78" fmla="*/ 61947 h 633762"/>
                <a:gd name="connsiteX79" fmla="*/ 857724 w 986382"/>
                <a:gd name="connsiteY79" fmla="*/ 61947 h 633762"/>
                <a:gd name="connsiteX80" fmla="*/ 943496 w 986382"/>
                <a:gd name="connsiteY80" fmla="*/ 71477 h 633762"/>
                <a:gd name="connsiteX81" fmla="*/ 962556 w 986382"/>
                <a:gd name="connsiteY81" fmla="*/ 52416 h 633762"/>
                <a:gd name="connsiteX82" fmla="*/ 972086 w 986382"/>
                <a:gd name="connsiteY82" fmla="*/ 57182 h 633762"/>
                <a:gd name="connsiteX83" fmla="*/ 981616 w 986382"/>
                <a:gd name="connsiteY83" fmla="*/ 76242 h 633762"/>
                <a:gd name="connsiteX84" fmla="*/ 986382 w 986382"/>
                <a:gd name="connsiteY84" fmla="*/ 85772 h 633762"/>
                <a:gd name="connsiteX85" fmla="*/ 981616 w 986382"/>
                <a:gd name="connsiteY85" fmla="*/ 90537 h 633762"/>
                <a:gd name="connsiteX86" fmla="*/ 972086 w 986382"/>
                <a:gd name="connsiteY86" fmla="*/ 95303 h 633762"/>
                <a:gd name="connsiteX87" fmla="*/ 967322 w 986382"/>
                <a:gd name="connsiteY87" fmla="*/ 100068 h 633762"/>
                <a:gd name="connsiteX88" fmla="*/ 962556 w 986382"/>
                <a:gd name="connsiteY88" fmla="*/ 104833 h 633762"/>
                <a:gd name="connsiteX89" fmla="*/ 953026 w 986382"/>
                <a:gd name="connsiteY89" fmla="*/ 104833 h 633762"/>
                <a:gd name="connsiteX90" fmla="*/ 948260 w 986382"/>
                <a:gd name="connsiteY90" fmla="*/ 114363 h 633762"/>
                <a:gd name="connsiteX91" fmla="*/ 938730 w 986382"/>
                <a:gd name="connsiteY91" fmla="*/ 138189 h 633762"/>
                <a:gd name="connsiteX92" fmla="*/ 924436 w 986382"/>
                <a:gd name="connsiteY92" fmla="*/ 181075 h 633762"/>
                <a:gd name="connsiteX93" fmla="*/ 910140 w 986382"/>
                <a:gd name="connsiteY93" fmla="*/ 204900 h 633762"/>
                <a:gd name="connsiteX94" fmla="*/ 886314 w 986382"/>
                <a:gd name="connsiteY94" fmla="*/ 195370 h 633762"/>
                <a:gd name="connsiteX95" fmla="*/ 852958 w 986382"/>
                <a:gd name="connsiteY95" fmla="*/ 200135 h 633762"/>
                <a:gd name="connsiteX96" fmla="*/ 824368 w 986382"/>
                <a:gd name="connsiteY96" fmla="*/ 209666 h 633762"/>
                <a:gd name="connsiteX97" fmla="*/ 800542 w 986382"/>
                <a:gd name="connsiteY97" fmla="*/ 233491 h 633762"/>
                <a:gd name="connsiteX98" fmla="*/ 800542 w 986382"/>
                <a:gd name="connsiteY98" fmla="*/ 257317 h 633762"/>
                <a:gd name="connsiteX99" fmla="*/ 829132 w 986382"/>
                <a:gd name="connsiteY99" fmla="*/ 304968 h 633762"/>
                <a:gd name="connsiteX100" fmla="*/ 843428 w 986382"/>
                <a:gd name="connsiteY100" fmla="*/ 362150 h 633762"/>
                <a:gd name="connsiteX101" fmla="*/ 857724 w 986382"/>
                <a:gd name="connsiteY101" fmla="*/ 376445 h 633762"/>
                <a:gd name="connsiteX102" fmla="*/ 872018 w 986382"/>
                <a:gd name="connsiteY102" fmla="*/ 405036 h 633762"/>
                <a:gd name="connsiteX103" fmla="*/ 881550 w 986382"/>
                <a:gd name="connsiteY103" fmla="*/ 433627 h 633762"/>
                <a:gd name="connsiteX104" fmla="*/ 881550 w 986382"/>
                <a:gd name="connsiteY104" fmla="*/ 443157 h 633762"/>
                <a:gd name="connsiteX105" fmla="*/ 905374 w 986382"/>
                <a:gd name="connsiteY105" fmla="*/ 490808 h 633762"/>
                <a:gd name="connsiteX106" fmla="*/ 910140 w 986382"/>
                <a:gd name="connsiteY106" fmla="*/ 514634 h 633762"/>
                <a:gd name="connsiteX107" fmla="*/ 919670 w 986382"/>
                <a:gd name="connsiteY107" fmla="*/ 524164 h 633762"/>
                <a:gd name="connsiteX108" fmla="*/ 924436 w 986382"/>
                <a:gd name="connsiteY108" fmla="*/ 528929 h 633762"/>
                <a:gd name="connsiteX109" fmla="*/ 929200 w 986382"/>
                <a:gd name="connsiteY109" fmla="*/ 533694 h 633762"/>
                <a:gd name="connsiteX110" fmla="*/ 929200 w 986382"/>
                <a:gd name="connsiteY110" fmla="*/ 538459 h 633762"/>
                <a:gd name="connsiteX111" fmla="*/ 924436 w 986382"/>
                <a:gd name="connsiteY111" fmla="*/ 543225 h 633762"/>
                <a:gd name="connsiteX112" fmla="*/ 891080 w 986382"/>
                <a:gd name="connsiteY112" fmla="*/ 557520 h 633762"/>
                <a:gd name="connsiteX113" fmla="*/ 886314 w 986382"/>
                <a:gd name="connsiteY113" fmla="*/ 567050 h 633762"/>
                <a:gd name="connsiteX114" fmla="*/ 881550 w 986382"/>
                <a:gd name="connsiteY114" fmla="*/ 576580 h 633762"/>
                <a:gd name="connsiteX115" fmla="*/ 867254 w 986382"/>
                <a:gd name="connsiteY115" fmla="*/ 595641 h 633762"/>
                <a:gd name="connsiteX116" fmla="*/ 862488 w 986382"/>
                <a:gd name="connsiteY116" fmla="*/ 609936 h 633762"/>
                <a:gd name="connsiteX117" fmla="*/ 862488 w 986382"/>
                <a:gd name="connsiteY117" fmla="*/ 628997 h 633762"/>
                <a:gd name="connsiteX118" fmla="*/ 862488 w 986382"/>
                <a:gd name="connsiteY118" fmla="*/ 633762 h 633762"/>
                <a:gd name="connsiteX119" fmla="*/ 857724 w 986382"/>
                <a:gd name="connsiteY119" fmla="*/ 633762 h 633762"/>
                <a:gd name="connsiteX120" fmla="*/ 833898 w 986382"/>
                <a:gd name="connsiteY120" fmla="*/ 633762 h 633762"/>
                <a:gd name="connsiteX121" fmla="*/ 810072 w 986382"/>
                <a:gd name="connsiteY121" fmla="*/ 619467 h 633762"/>
                <a:gd name="connsiteX122" fmla="*/ 800542 w 986382"/>
                <a:gd name="connsiteY122" fmla="*/ 609936 h 633762"/>
                <a:gd name="connsiteX123" fmla="*/ 791012 w 986382"/>
                <a:gd name="connsiteY123" fmla="*/ 609936 h 633762"/>
                <a:gd name="connsiteX124" fmla="*/ 776716 w 986382"/>
                <a:gd name="connsiteY124" fmla="*/ 614702 h 633762"/>
                <a:gd name="connsiteX125" fmla="*/ 733830 w 986382"/>
                <a:gd name="connsiteY125" fmla="*/ 633762 h 633762"/>
                <a:gd name="connsiteX126" fmla="*/ 719534 w 986382"/>
                <a:gd name="connsiteY126" fmla="*/ 628997 h 633762"/>
                <a:gd name="connsiteX127" fmla="*/ 695710 w 986382"/>
                <a:gd name="connsiteY127" fmla="*/ 614702 h 633762"/>
                <a:gd name="connsiteX128" fmla="*/ 681414 w 986382"/>
                <a:gd name="connsiteY128" fmla="*/ 595641 h 633762"/>
                <a:gd name="connsiteX129" fmla="*/ 652822 w 986382"/>
                <a:gd name="connsiteY129" fmla="*/ 562285 h 633762"/>
                <a:gd name="connsiteX130" fmla="*/ 652822 w 986382"/>
                <a:gd name="connsiteY130" fmla="*/ 552755 h 633762"/>
                <a:gd name="connsiteX131" fmla="*/ 648058 w 986382"/>
                <a:gd name="connsiteY131" fmla="*/ 543225 h 633762"/>
                <a:gd name="connsiteX132" fmla="*/ 619468 w 986382"/>
                <a:gd name="connsiteY132" fmla="*/ 533694 h 633762"/>
                <a:gd name="connsiteX133" fmla="*/ 605172 w 986382"/>
                <a:gd name="connsiteY133" fmla="*/ 524164 h 633762"/>
                <a:gd name="connsiteX134" fmla="*/ 595642 w 986382"/>
                <a:gd name="connsiteY134" fmla="*/ 519399 h 633762"/>
                <a:gd name="connsiteX135" fmla="*/ 581346 w 986382"/>
                <a:gd name="connsiteY135" fmla="*/ 514634 h 633762"/>
                <a:gd name="connsiteX136" fmla="*/ 547990 w 986382"/>
                <a:gd name="connsiteY136" fmla="*/ 486043 h 633762"/>
                <a:gd name="connsiteX137" fmla="*/ 538460 w 986382"/>
                <a:gd name="connsiteY137" fmla="*/ 481278 h 633762"/>
                <a:gd name="connsiteX138" fmla="*/ 533694 w 986382"/>
                <a:gd name="connsiteY138" fmla="*/ 486043 h 633762"/>
                <a:gd name="connsiteX139" fmla="*/ 533694 w 986382"/>
                <a:gd name="connsiteY139" fmla="*/ 495573 h 633762"/>
                <a:gd name="connsiteX140" fmla="*/ 528930 w 986382"/>
                <a:gd name="connsiteY140" fmla="*/ 495573 h 633762"/>
                <a:gd name="connsiteX141" fmla="*/ 519400 w 986382"/>
                <a:gd name="connsiteY141" fmla="*/ 486043 h 633762"/>
                <a:gd name="connsiteX142" fmla="*/ 509870 w 986382"/>
                <a:gd name="connsiteY142" fmla="*/ 476513 h 633762"/>
                <a:gd name="connsiteX143" fmla="*/ 481278 w 986382"/>
                <a:gd name="connsiteY143" fmla="*/ 495573 h 633762"/>
                <a:gd name="connsiteX144" fmla="*/ 466982 w 986382"/>
                <a:gd name="connsiteY144" fmla="*/ 500338 h 633762"/>
                <a:gd name="connsiteX145" fmla="*/ 457452 w 986382"/>
                <a:gd name="connsiteY145" fmla="*/ 500338 h 633762"/>
                <a:gd name="connsiteX146" fmla="*/ 409802 w 986382"/>
                <a:gd name="connsiteY146" fmla="*/ 524164 h 633762"/>
                <a:gd name="connsiteX147" fmla="*/ 395506 w 986382"/>
                <a:gd name="connsiteY147" fmla="*/ 533694 h 633762"/>
                <a:gd name="connsiteX148" fmla="*/ 385976 w 986382"/>
                <a:gd name="connsiteY148" fmla="*/ 533694 h 633762"/>
                <a:gd name="connsiteX149" fmla="*/ 390740 w 986382"/>
                <a:gd name="connsiteY149" fmla="*/ 524164 h 633762"/>
                <a:gd name="connsiteX150" fmla="*/ 409802 w 986382"/>
                <a:gd name="connsiteY150" fmla="*/ 466983 h 633762"/>
                <a:gd name="connsiteX151" fmla="*/ 414566 w 986382"/>
                <a:gd name="connsiteY151" fmla="*/ 419331 h 633762"/>
                <a:gd name="connsiteX152" fmla="*/ 419332 w 986382"/>
                <a:gd name="connsiteY152" fmla="*/ 414566 h 633762"/>
                <a:gd name="connsiteX153" fmla="*/ 424096 w 986382"/>
                <a:gd name="connsiteY153" fmla="*/ 405036 h 633762"/>
                <a:gd name="connsiteX154" fmla="*/ 419332 w 986382"/>
                <a:gd name="connsiteY154" fmla="*/ 390740 h 633762"/>
                <a:gd name="connsiteX155" fmla="*/ 400272 w 986382"/>
                <a:gd name="connsiteY155" fmla="*/ 381210 h 633762"/>
                <a:gd name="connsiteX156" fmla="*/ 390740 w 986382"/>
                <a:gd name="connsiteY156" fmla="*/ 381210 h 633762"/>
                <a:gd name="connsiteX157" fmla="*/ 381210 w 986382"/>
                <a:gd name="connsiteY157" fmla="*/ 400271 h 633762"/>
                <a:gd name="connsiteX158" fmla="*/ 376446 w 986382"/>
                <a:gd name="connsiteY158" fmla="*/ 409801 h 633762"/>
                <a:gd name="connsiteX159" fmla="*/ 357384 w 986382"/>
                <a:gd name="connsiteY159" fmla="*/ 419331 h 633762"/>
                <a:gd name="connsiteX160" fmla="*/ 338324 w 986382"/>
                <a:gd name="connsiteY160" fmla="*/ 405036 h 633762"/>
                <a:gd name="connsiteX161" fmla="*/ 300204 w 986382"/>
                <a:gd name="connsiteY161" fmla="*/ 390740 h 633762"/>
                <a:gd name="connsiteX162" fmla="*/ 290674 w 986382"/>
                <a:gd name="connsiteY162" fmla="*/ 366915 h 633762"/>
                <a:gd name="connsiteX163" fmla="*/ 290674 w 986382"/>
                <a:gd name="connsiteY163" fmla="*/ 347854 h 633762"/>
                <a:gd name="connsiteX164" fmla="*/ 266848 w 986382"/>
                <a:gd name="connsiteY164" fmla="*/ 324029 h 633762"/>
                <a:gd name="connsiteX165" fmla="*/ 262082 w 986382"/>
                <a:gd name="connsiteY165" fmla="*/ 300203 h 633762"/>
                <a:gd name="connsiteX166" fmla="*/ 262082 w 986382"/>
                <a:gd name="connsiteY166" fmla="*/ 281143 h 633762"/>
                <a:gd name="connsiteX167" fmla="*/ 281142 w 986382"/>
                <a:gd name="connsiteY167" fmla="*/ 271612 h 633762"/>
                <a:gd name="connsiteX168" fmla="*/ 285908 w 986382"/>
                <a:gd name="connsiteY168" fmla="*/ 262082 h 633762"/>
                <a:gd name="connsiteX169" fmla="*/ 262082 w 986382"/>
                <a:gd name="connsiteY169" fmla="*/ 262082 h 633762"/>
                <a:gd name="connsiteX170" fmla="*/ 257318 w 986382"/>
                <a:gd name="connsiteY170" fmla="*/ 252552 h 633762"/>
                <a:gd name="connsiteX171" fmla="*/ 247786 w 986382"/>
                <a:gd name="connsiteY171" fmla="*/ 223961 h 633762"/>
                <a:gd name="connsiteX172" fmla="*/ 257318 w 986382"/>
                <a:gd name="connsiteY172" fmla="*/ 209666 h 633762"/>
                <a:gd name="connsiteX173" fmla="*/ 262082 w 986382"/>
                <a:gd name="connsiteY173" fmla="*/ 200135 h 633762"/>
                <a:gd name="connsiteX174" fmla="*/ 252552 w 986382"/>
                <a:gd name="connsiteY174" fmla="*/ 185840 h 633762"/>
                <a:gd name="connsiteX175" fmla="*/ 257318 w 986382"/>
                <a:gd name="connsiteY175" fmla="*/ 176310 h 633762"/>
                <a:gd name="connsiteX176" fmla="*/ 262082 w 986382"/>
                <a:gd name="connsiteY176" fmla="*/ 166779 h 633762"/>
                <a:gd name="connsiteX177" fmla="*/ 257318 w 986382"/>
                <a:gd name="connsiteY177" fmla="*/ 138189 h 633762"/>
                <a:gd name="connsiteX178" fmla="*/ 281142 w 986382"/>
                <a:gd name="connsiteY178" fmla="*/ 123893 h 633762"/>
                <a:gd name="connsiteX179" fmla="*/ 304968 w 986382"/>
                <a:gd name="connsiteY179" fmla="*/ 114363 h 633762"/>
                <a:gd name="connsiteX180" fmla="*/ 347854 w 986382"/>
                <a:gd name="connsiteY180" fmla="*/ 109598 h 633762"/>
                <a:gd name="connsiteX181" fmla="*/ 343090 w 986382"/>
                <a:gd name="connsiteY181" fmla="*/ 85772 h 633762"/>
                <a:gd name="connsiteX182" fmla="*/ 362150 w 986382"/>
                <a:gd name="connsiteY182" fmla="*/ 81007 h 633762"/>
                <a:gd name="connsiteX183" fmla="*/ 395506 w 986382"/>
                <a:gd name="connsiteY183" fmla="*/ 52416 h 633762"/>
                <a:gd name="connsiteX184" fmla="*/ 428862 w 986382"/>
                <a:gd name="connsiteY184" fmla="*/ 57182 h 633762"/>
                <a:gd name="connsiteX185" fmla="*/ 476514 w 986382"/>
                <a:gd name="connsiteY185" fmla="*/ 38121 h 633762"/>
                <a:gd name="connsiteX186" fmla="*/ 562286 w 986382"/>
                <a:gd name="connsiteY186" fmla="*/ 38121 h 633762"/>
                <a:gd name="connsiteX187" fmla="*/ 576580 w 986382"/>
                <a:gd name="connsiteY187" fmla="*/ 28591 h 633762"/>
                <a:gd name="connsiteX188" fmla="*/ 571816 w 986382"/>
                <a:gd name="connsiteY188" fmla="*/ 14295 h 633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</a:cxnLst>
              <a:rect l="l" t="t" r="r" b="b"/>
              <a:pathLst>
                <a:path w="986381" h="633762">
                  <a:moveTo>
                    <a:pt x="109598" y="309734"/>
                  </a:moveTo>
                  <a:lnTo>
                    <a:pt x="119128" y="314499"/>
                  </a:lnTo>
                  <a:lnTo>
                    <a:pt x="133424" y="319264"/>
                  </a:lnTo>
                  <a:lnTo>
                    <a:pt x="142954" y="319264"/>
                  </a:lnTo>
                  <a:lnTo>
                    <a:pt x="152484" y="309734"/>
                  </a:lnTo>
                  <a:lnTo>
                    <a:pt x="176310" y="314499"/>
                  </a:lnTo>
                  <a:lnTo>
                    <a:pt x="228726" y="352620"/>
                  </a:lnTo>
                  <a:lnTo>
                    <a:pt x="233490" y="362150"/>
                  </a:lnTo>
                  <a:lnTo>
                    <a:pt x="200136" y="366915"/>
                  </a:lnTo>
                  <a:lnTo>
                    <a:pt x="195370" y="376446"/>
                  </a:lnTo>
                  <a:lnTo>
                    <a:pt x="185840" y="385976"/>
                  </a:lnTo>
                  <a:lnTo>
                    <a:pt x="176310" y="390741"/>
                  </a:lnTo>
                  <a:lnTo>
                    <a:pt x="162014" y="405036"/>
                  </a:lnTo>
                  <a:lnTo>
                    <a:pt x="142954" y="419332"/>
                  </a:lnTo>
                  <a:lnTo>
                    <a:pt x="138188" y="428862"/>
                  </a:lnTo>
                  <a:lnTo>
                    <a:pt x="104832" y="428862"/>
                  </a:lnTo>
                  <a:lnTo>
                    <a:pt x="81008" y="433627"/>
                  </a:lnTo>
                  <a:lnTo>
                    <a:pt x="66712" y="447922"/>
                  </a:lnTo>
                  <a:lnTo>
                    <a:pt x="61946" y="481278"/>
                  </a:lnTo>
                  <a:lnTo>
                    <a:pt x="47652" y="505104"/>
                  </a:lnTo>
                  <a:lnTo>
                    <a:pt x="38120" y="514634"/>
                  </a:lnTo>
                  <a:lnTo>
                    <a:pt x="23826" y="514634"/>
                  </a:lnTo>
                  <a:lnTo>
                    <a:pt x="23826" y="509869"/>
                  </a:lnTo>
                  <a:lnTo>
                    <a:pt x="23826" y="500339"/>
                  </a:lnTo>
                  <a:lnTo>
                    <a:pt x="47652" y="462218"/>
                  </a:lnTo>
                  <a:lnTo>
                    <a:pt x="52416" y="452687"/>
                  </a:lnTo>
                  <a:lnTo>
                    <a:pt x="42886" y="447922"/>
                  </a:lnTo>
                  <a:lnTo>
                    <a:pt x="28590" y="433627"/>
                  </a:lnTo>
                  <a:lnTo>
                    <a:pt x="4766" y="419332"/>
                  </a:lnTo>
                  <a:lnTo>
                    <a:pt x="0" y="409801"/>
                  </a:lnTo>
                  <a:lnTo>
                    <a:pt x="9530" y="405036"/>
                  </a:lnTo>
                  <a:lnTo>
                    <a:pt x="14296" y="405036"/>
                  </a:lnTo>
                  <a:lnTo>
                    <a:pt x="19060" y="395506"/>
                  </a:lnTo>
                  <a:lnTo>
                    <a:pt x="23826" y="381211"/>
                  </a:lnTo>
                  <a:lnTo>
                    <a:pt x="4766" y="347855"/>
                  </a:lnTo>
                  <a:lnTo>
                    <a:pt x="14296" y="343090"/>
                  </a:lnTo>
                  <a:lnTo>
                    <a:pt x="23826" y="343090"/>
                  </a:lnTo>
                  <a:lnTo>
                    <a:pt x="38120" y="352620"/>
                  </a:lnTo>
                  <a:lnTo>
                    <a:pt x="52416" y="343090"/>
                  </a:lnTo>
                  <a:lnTo>
                    <a:pt x="57182" y="343090"/>
                  </a:lnTo>
                  <a:lnTo>
                    <a:pt x="66712" y="347855"/>
                  </a:lnTo>
                  <a:lnTo>
                    <a:pt x="76242" y="324029"/>
                  </a:lnTo>
                  <a:lnTo>
                    <a:pt x="100068" y="319264"/>
                  </a:lnTo>
                  <a:close/>
                  <a:moveTo>
                    <a:pt x="204900" y="295438"/>
                  </a:moveTo>
                  <a:lnTo>
                    <a:pt x="233490" y="304968"/>
                  </a:lnTo>
                  <a:lnTo>
                    <a:pt x="238256" y="324029"/>
                  </a:lnTo>
                  <a:lnTo>
                    <a:pt x="233490" y="333559"/>
                  </a:lnTo>
                  <a:lnTo>
                    <a:pt x="223960" y="338324"/>
                  </a:lnTo>
                  <a:lnTo>
                    <a:pt x="190606" y="314498"/>
                  </a:lnTo>
                  <a:lnTo>
                    <a:pt x="200136" y="300203"/>
                  </a:lnTo>
                  <a:close/>
                  <a:moveTo>
                    <a:pt x="114364" y="171545"/>
                  </a:moveTo>
                  <a:lnTo>
                    <a:pt x="123894" y="171545"/>
                  </a:lnTo>
                  <a:lnTo>
                    <a:pt x="133424" y="176310"/>
                  </a:lnTo>
                  <a:lnTo>
                    <a:pt x="133424" y="185840"/>
                  </a:lnTo>
                  <a:lnTo>
                    <a:pt x="138188" y="195371"/>
                  </a:lnTo>
                  <a:lnTo>
                    <a:pt x="166780" y="200136"/>
                  </a:lnTo>
                  <a:lnTo>
                    <a:pt x="176310" y="223961"/>
                  </a:lnTo>
                  <a:lnTo>
                    <a:pt x="181074" y="247787"/>
                  </a:lnTo>
                  <a:lnTo>
                    <a:pt x="166780" y="252552"/>
                  </a:lnTo>
                  <a:lnTo>
                    <a:pt x="157250" y="266847"/>
                  </a:lnTo>
                  <a:lnTo>
                    <a:pt x="147720" y="257317"/>
                  </a:lnTo>
                  <a:lnTo>
                    <a:pt x="142954" y="252552"/>
                  </a:lnTo>
                  <a:lnTo>
                    <a:pt x="128658" y="285908"/>
                  </a:lnTo>
                  <a:lnTo>
                    <a:pt x="109598" y="290673"/>
                  </a:lnTo>
                  <a:lnTo>
                    <a:pt x="100068" y="285908"/>
                  </a:lnTo>
                  <a:lnTo>
                    <a:pt x="100068" y="271613"/>
                  </a:lnTo>
                  <a:lnTo>
                    <a:pt x="90538" y="238257"/>
                  </a:lnTo>
                  <a:lnTo>
                    <a:pt x="71478" y="228726"/>
                  </a:lnTo>
                  <a:lnTo>
                    <a:pt x="47652" y="228726"/>
                  </a:lnTo>
                  <a:lnTo>
                    <a:pt x="33356" y="214431"/>
                  </a:lnTo>
                  <a:lnTo>
                    <a:pt x="95302" y="204901"/>
                  </a:lnTo>
                  <a:lnTo>
                    <a:pt x="104832" y="190605"/>
                  </a:lnTo>
                  <a:close/>
                  <a:moveTo>
                    <a:pt x="571816" y="0"/>
                  </a:moveTo>
                  <a:lnTo>
                    <a:pt x="590876" y="4765"/>
                  </a:lnTo>
                  <a:lnTo>
                    <a:pt x="619468" y="4765"/>
                  </a:lnTo>
                  <a:lnTo>
                    <a:pt x="719534" y="28591"/>
                  </a:lnTo>
                  <a:lnTo>
                    <a:pt x="748126" y="28591"/>
                  </a:lnTo>
                  <a:lnTo>
                    <a:pt x="781482" y="52416"/>
                  </a:lnTo>
                  <a:lnTo>
                    <a:pt x="800542" y="61947"/>
                  </a:lnTo>
                  <a:lnTo>
                    <a:pt x="857724" y="61947"/>
                  </a:lnTo>
                  <a:lnTo>
                    <a:pt x="943496" y="71477"/>
                  </a:lnTo>
                  <a:lnTo>
                    <a:pt x="962556" y="52416"/>
                  </a:lnTo>
                  <a:lnTo>
                    <a:pt x="972086" y="57182"/>
                  </a:lnTo>
                  <a:lnTo>
                    <a:pt x="981616" y="76242"/>
                  </a:lnTo>
                  <a:lnTo>
                    <a:pt x="986382" y="85772"/>
                  </a:lnTo>
                  <a:lnTo>
                    <a:pt x="981616" y="90537"/>
                  </a:lnTo>
                  <a:lnTo>
                    <a:pt x="972086" y="95303"/>
                  </a:lnTo>
                  <a:lnTo>
                    <a:pt x="967322" y="100068"/>
                  </a:lnTo>
                  <a:lnTo>
                    <a:pt x="962556" y="104833"/>
                  </a:lnTo>
                  <a:lnTo>
                    <a:pt x="953026" y="104833"/>
                  </a:lnTo>
                  <a:lnTo>
                    <a:pt x="948260" y="114363"/>
                  </a:lnTo>
                  <a:lnTo>
                    <a:pt x="938730" y="138189"/>
                  </a:lnTo>
                  <a:lnTo>
                    <a:pt x="924436" y="181075"/>
                  </a:lnTo>
                  <a:lnTo>
                    <a:pt x="910140" y="204900"/>
                  </a:lnTo>
                  <a:lnTo>
                    <a:pt x="886314" y="195370"/>
                  </a:lnTo>
                  <a:lnTo>
                    <a:pt x="852958" y="200135"/>
                  </a:lnTo>
                  <a:lnTo>
                    <a:pt x="824368" y="209666"/>
                  </a:lnTo>
                  <a:lnTo>
                    <a:pt x="800542" y="233491"/>
                  </a:lnTo>
                  <a:lnTo>
                    <a:pt x="800542" y="257317"/>
                  </a:lnTo>
                  <a:lnTo>
                    <a:pt x="829132" y="304968"/>
                  </a:lnTo>
                  <a:lnTo>
                    <a:pt x="843428" y="362150"/>
                  </a:lnTo>
                  <a:lnTo>
                    <a:pt x="857724" y="376445"/>
                  </a:lnTo>
                  <a:lnTo>
                    <a:pt x="872018" y="405036"/>
                  </a:lnTo>
                  <a:lnTo>
                    <a:pt x="881550" y="433627"/>
                  </a:lnTo>
                  <a:lnTo>
                    <a:pt x="881550" y="443157"/>
                  </a:lnTo>
                  <a:lnTo>
                    <a:pt x="905374" y="490808"/>
                  </a:lnTo>
                  <a:lnTo>
                    <a:pt x="910140" y="514634"/>
                  </a:lnTo>
                  <a:lnTo>
                    <a:pt x="919670" y="524164"/>
                  </a:lnTo>
                  <a:lnTo>
                    <a:pt x="924436" y="528929"/>
                  </a:lnTo>
                  <a:lnTo>
                    <a:pt x="929200" y="533694"/>
                  </a:lnTo>
                  <a:lnTo>
                    <a:pt x="929200" y="538459"/>
                  </a:lnTo>
                  <a:lnTo>
                    <a:pt x="924436" y="543225"/>
                  </a:lnTo>
                  <a:lnTo>
                    <a:pt x="891080" y="557520"/>
                  </a:lnTo>
                  <a:lnTo>
                    <a:pt x="886314" y="567050"/>
                  </a:lnTo>
                  <a:lnTo>
                    <a:pt x="881550" y="576580"/>
                  </a:lnTo>
                  <a:lnTo>
                    <a:pt x="867254" y="595641"/>
                  </a:lnTo>
                  <a:lnTo>
                    <a:pt x="862488" y="609936"/>
                  </a:lnTo>
                  <a:lnTo>
                    <a:pt x="862488" y="628997"/>
                  </a:lnTo>
                  <a:lnTo>
                    <a:pt x="862488" y="633762"/>
                  </a:lnTo>
                  <a:lnTo>
                    <a:pt x="857724" y="633762"/>
                  </a:lnTo>
                  <a:lnTo>
                    <a:pt x="833898" y="633762"/>
                  </a:lnTo>
                  <a:lnTo>
                    <a:pt x="810072" y="619467"/>
                  </a:lnTo>
                  <a:lnTo>
                    <a:pt x="800542" y="609936"/>
                  </a:lnTo>
                  <a:lnTo>
                    <a:pt x="791012" y="609936"/>
                  </a:lnTo>
                  <a:lnTo>
                    <a:pt x="776716" y="614702"/>
                  </a:lnTo>
                  <a:lnTo>
                    <a:pt x="733830" y="633762"/>
                  </a:lnTo>
                  <a:lnTo>
                    <a:pt x="719534" y="628997"/>
                  </a:lnTo>
                  <a:lnTo>
                    <a:pt x="695710" y="614702"/>
                  </a:lnTo>
                  <a:lnTo>
                    <a:pt x="681414" y="595641"/>
                  </a:lnTo>
                  <a:lnTo>
                    <a:pt x="652822" y="562285"/>
                  </a:lnTo>
                  <a:lnTo>
                    <a:pt x="652822" y="552755"/>
                  </a:lnTo>
                  <a:lnTo>
                    <a:pt x="648058" y="543225"/>
                  </a:lnTo>
                  <a:lnTo>
                    <a:pt x="619468" y="533694"/>
                  </a:lnTo>
                  <a:lnTo>
                    <a:pt x="605172" y="524164"/>
                  </a:lnTo>
                  <a:lnTo>
                    <a:pt x="595642" y="519399"/>
                  </a:lnTo>
                  <a:lnTo>
                    <a:pt x="581346" y="514634"/>
                  </a:lnTo>
                  <a:lnTo>
                    <a:pt x="547990" y="486043"/>
                  </a:lnTo>
                  <a:lnTo>
                    <a:pt x="538460" y="481278"/>
                  </a:lnTo>
                  <a:lnTo>
                    <a:pt x="533694" y="486043"/>
                  </a:lnTo>
                  <a:lnTo>
                    <a:pt x="533694" y="495573"/>
                  </a:lnTo>
                  <a:lnTo>
                    <a:pt x="528930" y="495573"/>
                  </a:lnTo>
                  <a:lnTo>
                    <a:pt x="519400" y="486043"/>
                  </a:lnTo>
                  <a:lnTo>
                    <a:pt x="509870" y="476513"/>
                  </a:lnTo>
                  <a:lnTo>
                    <a:pt x="481278" y="495573"/>
                  </a:lnTo>
                  <a:lnTo>
                    <a:pt x="466982" y="500338"/>
                  </a:lnTo>
                  <a:lnTo>
                    <a:pt x="457452" y="500338"/>
                  </a:lnTo>
                  <a:lnTo>
                    <a:pt x="409802" y="524164"/>
                  </a:lnTo>
                  <a:lnTo>
                    <a:pt x="395506" y="533694"/>
                  </a:lnTo>
                  <a:lnTo>
                    <a:pt x="385976" y="533694"/>
                  </a:lnTo>
                  <a:lnTo>
                    <a:pt x="390740" y="524164"/>
                  </a:lnTo>
                  <a:lnTo>
                    <a:pt x="409802" y="466983"/>
                  </a:lnTo>
                  <a:lnTo>
                    <a:pt x="414566" y="419331"/>
                  </a:lnTo>
                  <a:lnTo>
                    <a:pt x="419332" y="414566"/>
                  </a:lnTo>
                  <a:lnTo>
                    <a:pt x="424096" y="405036"/>
                  </a:lnTo>
                  <a:lnTo>
                    <a:pt x="419332" y="390740"/>
                  </a:lnTo>
                  <a:lnTo>
                    <a:pt x="400272" y="381210"/>
                  </a:lnTo>
                  <a:lnTo>
                    <a:pt x="390740" y="381210"/>
                  </a:lnTo>
                  <a:lnTo>
                    <a:pt x="381210" y="400271"/>
                  </a:lnTo>
                  <a:lnTo>
                    <a:pt x="376446" y="409801"/>
                  </a:lnTo>
                  <a:lnTo>
                    <a:pt x="357384" y="419331"/>
                  </a:lnTo>
                  <a:lnTo>
                    <a:pt x="338324" y="405036"/>
                  </a:lnTo>
                  <a:lnTo>
                    <a:pt x="300204" y="390740"/>
                  </a:lnTo>
                  <a:lnTo>
                    <a:pt x="290674" y="366915"/>
                  </a:lnTo>
                  <a:lnTo>
                    <a:pt x="290674" y="347854"/>
                  </a:lnTo>
                  <a:lnTo>
                    <a:pt x="266848" y="324029"/>
                  </a:lnTo>
                  <a:lnTo>
                    <a:pt x="262082" y="300203"/>
                  </a:lnTo>
                  <a:lnTo>
                    <a:pt x="262082" y="281143"/>
                  </a:lnTo>
                  <a:lnTo>
                    <a:pt x="281142" y="271612"/>
                  </a:lnTo>
                  <a:lnTo>
                    <a:pt x="285908" y="262082"/>
                  </a:lnTo>
                  <a:lnTo>
                    <a:pt x="262082" y="262082"/>
                  </a:lnTo>
                  <a:lnTo>
                    <a:pt x="257318" y="252552"/>
                  </a:lnTo>
                  <a:lnTo>
                    <a:pt x="247786" y="223961"/>
                  </a:lnTo>
                  <a:lnTo>
                    <a:pt x="257318" y="209666"/>
                  </a:lnTo>
                  <a:lnTo>
                    <a:pt x="262082" y="200135"/>
                  </a:lnTo>
                  <a:lnTo>
                    <a:pt x="252552" y="185840"/>
                  </a:lnTo>
                  <a:lnTo>
                    <a:pt x="257318" y="176310"/>
                  </a:lnTo>
                  <a:lnTo>
                    <a:pt x="262082" y="166779"/>
                  </a:lnTo>
                  <a:lnTo>
                    <a:pt x="257318" y="138189"/>
                  </a:lnTo>
                  <a:lnTo>
                    <a:pt x="281142" y="123893"/>
                  </a:lnTo>
                  <a:lnTo>
                    <a:pt x="304968" y="114363"/>
                  </a:lnTo>
                  <a:lnTo>
                    <a:pt x="347854" y="109598"/>
                  </a:lnTo>
                  <a:lnTo>
                    <a:pt x="343090" y="85772"/>
                  </a:lnTo>
                  <a:lnTo>
                    <a:pt x="362150" y="81007"/>
                  </a:lnTo>
                  <a:lnTo>
                    <a:pt x="395506" y="52416"/>
                  </a:lnTo>
                  <a:lnTo>
                    <a:pt x="428862" y="57182"/>
                  </a:lnTo>
                  <a:lnTo>
                    <a:pt x="476514" y="38121"/>
                  </a:lnTo>
                  <a:lnTo>
                    <a:pt x="562286" y="38121"/>
                  </a:lnTo>
                  <a:lnTo>
                    <a:pt x="576580" y="28591"/>
                  </a:lnTo>
                  <a:lnTo>
                    <a:pt x="571816" y="1429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8" name="Freeform 4695">
              <a:extLst>
                <a:ext uri="{FF2B5EF4-FFF2-40B4-BE49-F238E27FC236}">
                  <a16:creationId xmlns:a16="http://schemas.microsoft.com/office/drawing/2014/main" id="{9DD30AF1-3A05-48B5-A342-B168FA95DF6C}"/>
                </a:ext>
              </a:extLst>
            </p:cNvPr>
            <p:cNvSpPr/>
            <p:nvPr/>
          </p:nvSpPr>
          <p:spPr bwMode="auto">
            <a:xfrm>
              <a:off x="6132542" y="5030140"/>
              <a:ext cx="378500" cy="292162"/>
            </a:xfrm>
            <a:custGeom>
              <a:avLst/>
              <a:gdLst>
                <a:gd name="T0" fmla="*/ 592 w 982"/>
                <a:gd name="T1" fmla="*/ 138 h 758"/>
                <a:gd name="T2" fmla="*/ 548 w 982"/>
                <a:gd name="T3" fmla="*/ 92 h 758"/>
                <a:gd name="T4" fmla="*/ 492 w 982"/>
                <a:gd name="T5" fmla="*/ 42 h 758"/>
                <a:gd name="T6" fmla="*/ 452 w 982"/>
                <a:gd name="T7" fmla="*/ 28 h 758"/>
                <a:gd name="T8" fmla="*/ 422 w 982"/>
                <a:gd name="T9" fmla="*/ 22 h 758"/>
                <a:gd name="T10" fmla="*/ 398 w 982"/>
                <a:gd name="T11" fmla="*/ 16 h 758"/>
                <a:gd name="T12" fmla="*/ 356 w 982"/>
                <a:gd name="T13" fmla="*/ 28 h 758"/>
                <a:gd name="T14" fmla="*/ 332 w 982"/>
                <a:gd name="T15" fmla="*/ 10 h 758"/>
                <a:gd name="T16" fmla="*/ 308 w 982"/>
                <a:gd name="T17" fmla="*/ 26 h 758"/>
                <a:gd name="T18" fmla="*/ 284 w 982"/>
                <a:gd name="T19" fmla="*/ 32 h 758"/>
                <a:gd name="T20" fmla="*/ 266 w 982"/>
                <a:gd name="T21" fmla="*/ 38 h 758"/>
                <a:gd name="T22" fmla="*/ 232 w 982"/>
                <a:gd name="T23" fmla="*/ 40 h 758"/>
                <a:gd name="T24" fmla="*/ 218 w 982"/>
                <a:gd name="T25" fmla="*/ 90 h 758"/>
                <a:gd name="T26" fmla="*/ 206 w 982"/>
                <a:gd name="T27" fmla="*/ 130 h 758"/>
                <a:gd name="T28" fmla="*/ 184 w 982"/>
                <a:gd name="T29" fmla="*/ 146 h 758"/>
                <a:gd name="T30" fmla="*/ 154 w 982"/>
                <a:gd name="T31" fmla="*/ 182 h 758"/>
                <a:gd name="T32" fmla="*/ 130 w 982"/>
                <a:gd name="T33" fmla="*/ 230 h 758"/>
                <a:gd name="T34" fmla="*/ 124 w 982"/>
                <a:gd name="T35" fmla="*/ 272 h 758"/>
                <a:gd name="T36" fmla="*/ 102 w 982"/>
                <a:gd name="T37" fmla="*/ 266 h 758"/>
                <a:gd name="T38" fmla="*/ 86 w 982"/>
                <a:gd name="T39" fmla="*/ 308 h 758"/>
                <a:gd name="T40" fmla="*/ 72 w 982"/>
                <a:gd name="T41" fmla="*/ 344 h 758"/>
                <a:gd name="T42" fmla="*/ 70 w 982"/>
                <a:gd name="T43" fmla="*/ 390 h 758"/>
                <a:gd name="T44" fmla="*/ 66 w 982"/>
                <a:gd name="T45" fmla="*/ 426 h 758"/>
                <a:gd name="T46" fmla="*/ 26 w 982"/>
                <a:gd name="T47" fmla="*/ 428 h 758"/>
                <a:gd name="T48" fmla="*/ 0 w 982"/>
                <a:gd name="T49" fmla="*/ 462 h 758"/>
                <a:gd name="T50" fmla="*/ 26 w 982"/>
                <a:gd name="T51" fmla="*/ 476 h 758"/>
                <a:gd name="T52" fmla="*/ 64 w 982"/>
                <a:gd name="T53" fmla="*/ 496 h 758"/>
                <a:gd name="T54" fmla="*/ 84 w 982"/>
                <a:gd name="T55" fmla="*/ 524 h 758"/>
                <a:gd name="T56" fmla="*/ 114 w 982"/>
                <a:gd name="T57" fmla="*/ 552 h 758"/>
                <a:gd name="T58" fmla="*/ 132 w 982"/>
                <a:gd name="T59" fmla="*/ 606 h 758"/>
                <a:gd name="T60" fmla="*/ 148 w 982"/>
                <a:gd name="T61" fmla="*/ 626 h 758"/>
                <a:gd name="T62" fmla="*/ 158 w 982"/>
                <a:gd name="T63" fmla="*/ 630 h 758"/>
                <a:gd name="T64" fmla="*/ 184 w 982"/>
                <a:gd name="T65" fmla="*/ 646 h 758"/>
                <a:gd name="T66" fmla="*/ 190 w 982"/>
                <a:gd name="T67" fmla="*/ 682 h 758"/>
                <a:gd name="T68" fmla="*/ 232 w 982"/>
                <a:gd name="T69" fmla="*/ 694 h 758"/>
                <a:gd name="T70" fmla="*/ 286 w 982"/>
                <a:gd name="T71" fmla="*/ 714 h 758"/>
                <a:gd name="T72" fmla="*/ 342 w 982"/>
                <a:gd name="T73" fmla="*/ 748 h 758"/>
                <a:gd name="T74" fmla="*/ 402 w 982"/>
                <a:gd name="T75" fmla="*/ 754 h 758"/>
                <a:gd name="T76" fmla="*/ 444 w 982"/>
                <a:gd name="T77" fmla="*/ 738 h 758"/>
                <a:gd name="T78" fmla="*/ 508 w 982"/>
                <a:gd name="T79" fmla="*/ 704 h 758"/>
                <a:gd name="T80" fmla="*/ 538 w 982"/>
                <a:gd name="T81" fmla="*/ 726 h 758"/>
                <a:gd name="T82" fmla="*/ 584 w 982"/>
                <a:gd name="T83" fmla="*/ 720 h 758"/>
                <a:gd name="T84" fmla="*/ 646 w 982"/>
                <a:gd name="T85" fmla="*/ 700 h 758"/>
                <a:gd name="T86" fmla="*/ 676 w 982"/>
                <a:gd name="T87" fmla="*/ 672 h 758"/>
                <a:gd name="T88" fmla="*/ 720 w 982"/>
                <a:gd name="T89" fmla="*/ 660 h 758"/>
                <a:gd name="T90" fmla="*/ 782 w 982"/>
                <a:gd name="T91" fmla="*/ 662 h 758"/>
                <a:gd name="T92" fmla="*/ 862 w 982"/>
                <a:gd name="T93" fmla="*/ 576 h 758"/>
                <a:gd name="T94" fmla="*/ 946 w 982"/>
                <a:gd name="T95" fmla="*/ 492 h 758"/>
                <a:gd name="T96" fmla="*/ 894 w 982"/>
                <a:gd name="T97" fmla="*/ 450 h 758"/>
                <a:gd name="T98" fmla="*/ 762 w 982"/>
                <a:gd name="T99" fmla="*/ 406 h 758"/>
                <a:gd name="T100" fmla="*/ 694 w 982"/>
                <a:gd name="T101" fmla="*/ 370 h 758"/>
                <a:gd name="T102" fmla="*/ 668 w 982"/>
                <a:gd name="T103" fmla="*/ 334 h 758"/>
                <a:gd name="T104" fmla="*/ 644 w 982"/>
                <a:gd name="T105" fmla="*/ 308 h 758"/>
                <a:gd name="T106" fmla="*/ 632 w 982"/>
                <a:gd name="T107" fmla="*/ 284 h 758"/>
                <a:gd name="T108" fmla="*/ 650 w 982"/>
                <a:gd name="T109" fmla="*/ 258 h 758"/>
                <a:gd name="T110" fmla="*/ 626 w 982"/>
                <a:gd name="T111" fmla="*/ 254 h 758"/>
                <a:gd name="T112" fmla="*/ 586 w 982"/>
                <a:gd name="T113" fmla="*/ 262 h 758"/>
                <a:gd name="T114" fmla="*/ 574 w 982"/>
                <a:gd name="T115" fmla="*/ 220 h 758"/>
                <a:gd name="T116" fmla="*/ 600 w 982"/>
                <a:gd name="T117" fmla="*/ 184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82" h="758">
                  <a:moveTo>
                    <a:pt x="614" y="160"/>
                  </a:moveTo>
                  <a:lnTo>
                    <a:pt x="608" y="154"/>
                  </a:lnTo>
                  <a:lnTo>
                    <a:pt x="604" y="148"/>
                  </a:lnTo>
                  <a:lnTo>
                    <a:pt x="598" y="140"/>
                  </a:lnTo>
                  <a:lnTo>
                    <a:pt x="592" y="138"/>
                  </a:lnTo>
                  <a:lnTo>
                    <a:pt x="586" y="132"/>
                  </a:lnTo>
                  <a:lnTo>
                    <a:pt x="580" y="124"/>
                  </a:lnTo>
                  <a:lnTo>
                    <a:pt x="574" y="112"/>
                  </a:lnTo>
                  <a:lnTo>
                    <a:pt x="564" y="104"/>
                  </a:lnTo>
                  <a:lnTo>
                    <a:pt x="548" y="92"/>
                  </a:lnTo>
                  <a:lnTo>
                    <a:pt x="532" y="76"/>
                  </a:lnTo>
                  <a:lnTo>
                    <a:pt x="520" y="58"/>
                  </a:lnTo>
                  <a:lnTo>
                    <a:pt x="512" y="50"/>
                  </a:lnTo>
                  <a:lnTo>
                    <a:pt x="508" y="48"/>
                  </a:lnTo>
                  <a:lnTo>
                    <a:pt x="492" y="42"/>
                  </a:lnTo>
                  <a:lnTo>
                    <a:pt x="482" y="34"/>
                  </a:lnTo>
                  <a:lnTo>
                    <a:pt x="472" y="28"/>
                  </a:lnTo>
                  <a:lnTo>
                    <a:pt x="468" y="26"/>
                  </a:lnTo>
                  <a:lnTo>
                    <a:pt x="462" y="26"/>
                  </a:lnTo>
                  <a:lnTo>
                    <a:pt x="452" y="28"/>
                  </a:lnTo>
                  <a:lnTo>
                    <a:pt x="442" y="24"/>
                  </a:lnTo>
                  <a:lnTo>
                    <a:pt x="438" y="24"/>
                  </a:lnTo>
                  <a:lnTo>
                    <a:pt x="432" y="22"/>
                  </a:lnTo>
                  <a:lnTo>
                    <a:pt x="428" y="22"/>
                  </a:lnTo>
                  <a:lnTo>
                    <a:pt x="422" y="22"/>
                  </a:lnTo>
                  <a:lnTo>
                    <a:pt x="410" y="26"/>
                  </a:lnTo>
                  <a:lnTo>
                    <a:pt x="406" y="26"/>
                  </a:lnTo>
                  <a:lnTo>
                    <a:pt x="404" y="22"/>
                  </a:lnTo>
                  <a:lnTo>
                    <a:pt x="402" y="18"/>
                  </a:lnTo>
                  <a:lnTo>
                    <a:pt x="398" y="16"/>
                  </a:lnTo>
                  <a:lnTo>
                    <a:pt x="394" y="16"/>
                  </a:lnTo>
                  <a:lnTo>
                    <a:pt x="392" y="18"/>
                  </a:lnTo>
                  <a:lnTo>
                    <a:pt x="380" y="24"/>
                  </a:lnTo>
                  <a:lnTo>
                    <a:pt x="360" y="28"/>
                  </a:lnTo>
                  <a:lnTo>
                    <a:pt x="356" y="28"/>
                  </a:lnTo>
                  <a:lnTo>
                    <a:pt x="352" y="26"/>
                  </a:lnTo>
                  <a:lnTo>
                    <a:pt x="342" y="14"/>
                  </a:lnTo>
                  <a:lnTo>
                    <a:pt x="338" y="12"/>
                  </a:lnTo>
                  <a:lnTo>
                    <a:pt x="336" y="12"/>
                  </a:lnTo>
                  <a:lnTo>
                    <a:pt x="332" y="10"/>
                  </a:lnTo>
                  <a:lnTo>
                    <a:pt x="328" y="8"/>
                  </a:lnTo>
                  <a:lnTo>
                    <a:pt x="324" y="2"/>
                  </a:lnTo>
                  <a:lnTo>
                    <a:pt x="320" y="0"/>
                  </a:lnTo>
                  <a:lnTo>
                    <a:pt x="316" y="10"/>
                  </a:lnTo>
                  <a:lnTo>
                    <a:pt x="308" y="26"/>
                  </a:lnTo>
                  <a:lnTo>
                    <a:pt x="304" y="36"/>
                  </a:lnTo>
                  <a:lnTo>
                    <a:pt x="300" y="48"/>
                  </a:lnTo>
                  <a:lnTo>
                    <a:pt x="298" y="48"/>
                  </a:lnTo>
                  <a:lnTo>
                    <a:pt x="296" y="46"/>
                  </a:lnTo>
                  <a:lnTo>
                    <a:pt x="284" y="32"/>
                  </a:lnTo>
                  <a:lnTo>
                    <a:pt x="278" y="26"/>
                  </a:lnTo>
                  <a:lnTo>
                    <a:pt x="274" y="28"/>
                  </a:lnTo>
                  <a:lnTo>
                    <a:pt x="270" y="30"/>
                  </a:lnTo>
                  <a:lnTo>
                    <a:pt x="268" y="34"/>
                  </a:lnTo>
                  <a:lnTo>
                    <a:pt x="266" y="38"/>
                  </a:lnTo>
                  <a:lnTo>
                    <a:pt x="264" y="40"/>
                  </a:lnTo>
                  <a:lnTo>
                    <a:pt x="258" y="38"/>
                  </a:lnTo>
                  <a:lnTo>
                    <a:pt x="250" y="36"/>
                  </a:lnTo>
                  <a:lnTo>
                    <a:pt x="240" y="36"/>
                  </a:lnTo>
                  <a:lnTo>
                    <a:pt x="232" y="40"/>
                  </a:lnTo>
                  <a:lnTo>
                    <a:pt x="230" y="40"/>
                  </a:lnTo>
                  <a:lnTo>
                    <a:pt x="226" y="58"/>
                  </a:lnTo>
                  <a:lnTo>
                    <a:pt x="226" y="68"/>
                  </a:lnTo>
                  <a:lnTo>
                    <a:pt x="222" y="82"/>
                  </a:lnTo>
                  <a:lnTo>
                    <a:pt x="218" y="90"/>
                  </a:lnTo>
                  <a:lnTo>
                    <a:pt x="216" y="94"/>
                  </a:lnTo>
                  <a:lnTo>
                    <a:pt x="214" y="98"/>
                  </a:lnTo>
                  <a:lnTo>
                    <a:pt x="210" y="106"/>
                  </a:lnTo>
                  <a:lnTo>
                    <a:pt x="206" y="118"/>
                  </a:lnTo>
                  <a:lnTo>
                    <a:pt x="206" y="130"/>
                  </a:lnTo>
                  <a:lnTo>
                    <a:pt x="206" y="138"/>
                  </a:lnTo>
                  <a:lnTo>
                    <a:pt x="204" y="142"/>
                  </a:lnTo>
                  <a:lnTo>
                    <a:pt x="204" y="144"/>
                  </a:lnTo>
                  <a:lnTo>
                    <a:pt x="196" y="144"/>
                  </a:lnTo>
                  <a:lnTo>
                    <a:pt x="184" y="146"/>
                  </a:lnTo>
                  <a:lnTo>
                    <a:pt x="178" y="148"/>
                  </a:lnTo>
                  <a:lnTo>
                    <a:pt x="174" y="150"/>
                  </a:lnTo>
                  <a:lnTo>
                    <a:pt x="170" y="156"/>
                  </a:lnTo>
                  <a:lnTo>
                    <a:pt x="160" y="172"/>
                  </a:lnTo>
                  <a:lnTo>
                    <a:pt x="154" y="182"/>
                  </a:lnTo>
                  <a:lnTo>
                    <a:pt x="148" y="194"/>
                  </a:lnTo>
                  <a:lnTo>
                    <a:pt x="138" y="204"/>
                  </a:lnTo>
                  <a:lnTo>
                    <a:pt x="136" y="208"/>
                  </a:lnTo>
                  <a:lnTo>
                    <a:pt x="134" y="218"/>
                  </a:lnTo>
                  <a:lnTo>
                    <a:pt x="130" y="230"/>
                  </a:lnTo>
                  <a:lnTo>
                    <a:pt x="128" y="240"/>
                  </a:lnTo>
                  <a:lnTo>
                    <a:pt x="128" y="248"/>
                  </a:lnTo>
                  <a:lnTo>
                    <a:pt x="126" y="262"/>
                  </a:lnTo>
                  <a:lnTo>
                    <a:pt x="126" y="268"/>
                  </a:lnTo>
                  <a:lnTo>
                    <a:pt x="124" y="272"/>
                  </a:lnTo>
                  <a:lnTo>
                    <a:pt x="118" y="274"/>
                  </a:lnTo>
                  <a:lnTo>
                    <a:pt x="116" y="276"/>
                  </a:lnTo>
                  <a:lnTo>
                    <a:pt x="110" y="272"/>
                  </a:lnTo>
                  <a:lnTo>
                    <a:pt x="104" y="268"/>
                  </a:lnTo>
                  <a:lnTo>
                    <a:pt x="102" y="266"/>
                  </a:lnTo>
                  <a:lnTo>
                    <a:pt x="98" y="270"/>
                  </a:lnTo>
                  <a:lnTo>
                    <a:pt x="94" y="274"/>
                  </a:lnTo>
                  <a:lnTo>
                    <a:pt x="88" y="282"/>
                  </a:lnTo>
                  <a:lnTo>
                    <a:pt x="84" y="290"/>
                  </a:lnTo>
                  <a:lnTo>
                    <a:pt x="86" y="308"/>
                  </a:lnTo>
                  <a:lnTo>
                    <a:pt x="86" y="312"/>
                  </a:lnTo>
                  <a:lnTo>
                    <a:pt x="84" y="318"/>
                  </a:lnTo>
                  <a:lnTo>
                    <a:pt x="78" y="332"/>
                  </a:lnTo>
                  <a:lnTo>
                    <a:pt x="76" y="336"/>
                  </a:lnTo>
                  <a:lnTo>
                    <a:pt x="72" y="344"/>
                  </a:lnTo>
                  <a:lnTo>
                    <a:pt x="70" y="358"/>
                  </a:lnTo>
                  <a:lnTo>
                    <a:pt x="70" y="362"/>
                  </a:lnTo>
                  <a:lnTo>
                    <a:pt x="70" y="364"/>
                  </a:lnTo>
                  <a:lnTo>
                    <a:pt x="70" y="378"/>
                  </a:lnTo>
                  <a:lnTo>
                    <a:pt x="70" y="390"/>
                  </a:lnTo>
                  <a:lnTo>
                    <a:pt x="72" y="408"/>
                  </a:lnTo>
                  <a:lnTo>
                    <a:pt x="72" y="414"/>
                  </a:lnTo>
                  <a:lnTo>
                    <a:pt x="72" y="420"/>
                  </a:lnTo>
                  <a:lnTo>
                    <a:pt x="70" y="422"/>
                  </a:lnTo>
                  <a:lnTo>
                    <a:pt x="66" y="426"/>
                  </a:lnTo>
                  <a:lnTo>
                    <a:pt x="62" y="428"/>
                  </a:lnTo>
                  <a:lnTo>
                    <a:pt x="52" y="430"/>
                  </a:lnTo>
                  <a:lnTo>
                    <a:pt x="42" y="430"/>
                  </a:lnTo>
                  <a:lnTo>
                    <a:pt x="36" y="428"/>
                  </a:lnTo>
                  <a:lnTo>
                    <a:pt x="26" y="428"/>
                  </a:lnTo>
                  <a:lnTo>
                    <a:pt x="18" y="430"/>
                  </a:lnTo>
                  <a:lnTo>
                    <a:pt x="14" y="432"/>
                  </a:lnTo>
                  <a:lnTo>
                    <a:pt x="10" y="442"/>
                  </a:lnTo>
                  <a:lnTo>
                    <a:pt x="4" y="456"/>
                  </a:lnTo>
                  <a:lnTo>
                    <a:pt x="0" y="462"/>
                  </a:lnTo>
                  <a:lnTo>
                    <a:pt x="0" y="464"/>
                  </a:lnTo>
                  <a:lnTo>
                    <a:pt x="0" y="468"/>
                  </a:lnTo>
                  <a:lnTo>
                    <a:pt x="4" y="470"/>
                  </a:lnTo>
                  <a:lnTo>
                    <a:pt x="14" y="474"/>
                  </a:lnTo>
                  <a:lnTo>
                    <a:pt x="26" y="476"/>
                  </a:lnTo>
                  <a:lnTo>
                    <a:pt x="34" y="478"/>
                  </a:lnTo>
                  <a:lnTo>
                    <a:pt x="38" y="478"/>
                  </a:lnTo>
                  <a:lnTo>
                    <a:pt x="44" y="480"/>
                  </a:lnTo>
                  <a:lnTo>
                    <a:pt x="58" y="490"/>
                  </a:lnTo>
                  <a:lnTo>
                    <a:pt x="64" y="496"/>
                  </a:lnTo>
                  <a:lnTo>
                    <a:pt x="66" y="500"/>
                  </a:lnTo>
                  <a:lnTo>
                    <a:pt x="68" y="504"/>
                  </a:lnTo>
                  <a:lnTo>
                    <a:pt x="70" y="510"/>
                  </a:lnTo>
                  <a:lnTo>
                    <a:pt x="78" y="518"/>
                  </a:lnTo>
                  <a:lnTo>
                    <a:pt x="84" y="524"/>
                  </a:lnTo>
                  <a:lnTo>
                    <a:pt x="96" y="532"/>
                  </a:lnTo>
                  <a:lnTo>
                    <a:pt x="102" y="538"/>
                  </a:lnTo>
                  <a:lnTo>
                    <a:pt x="108" y="542"/>
                  </a:lnTo>
                  <a:lnTo>
                    <a:pt x="112" y="546"/>
                  </a:lnTo>
                  <a:lnTo>
                    <a:pt x="114" y="552"/>
                  </a:lnTo>
                  <a:lnTo>
                    <a:pt x="120" y="570"/>
                  </a:lnTo>
                  <a:lnTo>
                    <a:pt x="124" y="580"/>
                  </a:lnTo>
                  <a:lnTo>
                    <a:pt x="128" y="588"/>
                  </a:lnTo>
                  <a:lnTo>
                    <a:pt x="130" y="600"/>
                  </a:lnTo>
                  <a:lnTo>
                    <a:pt x="132" y="606"/>
                  </a:lnTo>
                  <a:lnTo>
                    <a:pt x="136" y="612"/>
                  </a:lnTo>
                  <a:lnTo>
                    <a:pt x="142" y="618"/>
                  </a:lnTo>
                  <a:lnTo>
                    <a:pt x="148" y="622"/>
                  </a:lnTo>
                  <a:lnTo>
                    <a:pt x="148" y="624"/>
                  </a:lnTo>
                  <a:lnTo>
                    <a:pt x="148" y="626"/>
                  </a:lnTo>
                  <a:lnTo>
                    <a:pt x="148" y="630"/>
                  </a:lnTo>
                  <a:lnTo>
                    <a:pt x="150" y="632"/>
                  </a:lnTo>
                  <a:lnTo>
                    <a:pt x="152" y="632"/>
                  </a:lnTo>
                  <a:lnTo>
                    <a:pt x="156" y="632"/>
                  </a:lnTo>
                  <a:lnTo>
                    <a:pt x="158" y="630"/>
                  </a:lnTo>
                  <a:lnTo>
                    <a:pt x="162" y="628"/>
                  </a:lnTo>
                  <a:lnTo>
                    <a:pt x="180" y="634"/>
                  </a:lnTo>
                  <a:lnTo>
                    <a:pt x="182" y="638"/>
                  </a:lnTo>
                  <a:lnTo>
                    <a:pt x="182" y="642"/>
                  </a:lnTo>
                  <a:lnTo>
                    <a:pt x="184" y="646"/>
                  </a:lnTo>
                  <a:lnTo>
                    <a:pt x="182" y="650"/>
                  </a:lnTo>
                  <a:lnTo>
                    <a:pt x="180" y="660"/>
                  </a:lnTo>
                  <a:lnTo>
                    <a:pt x="180" y="668"/>
                  </a:lnTo>
                  <a:lnTo>
                    <a:pt x="186" y="676"/>
                  </a:lnTo>
                  <a:lnTo>
                    <a:pt x="190" y="682"/>
                  </a:lnTo>
                  <a:lnTo>
                    <a:pt x="194" y="690"/>
                  </a:lnTo>
                  <a:lnTo>
                    <a:pt x="198" y="692"/>
                  </a:lnTo>
                  <a:lnTo>
                    <a:pt x="202" y="692"/>
                  </a:lnTo>
                  <a:lnTo>
                    <a:pt x="214" y="692"/>
                  </a:lnTo>
                  <a:lnTo>
                    <a:pt x="232" y="694"/>
                  </a:lnTo>
                  <a:lnTo>
                    <a:pt x="250" y="694"/>
                  </a:lnTo>
                  <a:lnTo>
                    <a:pt x="252" y="694"/>
                  </a:lnTo>
                  <a:lnTo>
                    <a:pt x="256" y="694"/>
                  </a:lnTo>
                  <a:lnTo>
                    <a:pt x="272" y="706"/>
                  </a:lnTo>
                  <a:lnTo>
                    <a:pt x="286" y="714"/>
                  </a:lnTo>
                  <a:lnTo>
                    <a:pt x="300" y="724"/>
                  </a:lnTo>
                  <a:lnTo>
                    <a:pt x="312" y="732"/>
                  </a:lnTo>
                  <a:lnTo>
                    <a:pt x="324" y="738"/>
                  </a:lnTo>
                  <a:lnTo>
                    <a:pt x="332" y="746"/>
                  </a:lnTo>
                  <a:lnTo>
                    <a:pt x="342" y="748"/>
                  </a:lnTo>
                  <a:lnTo>
                    <a:pt x="356" y="748"/>
                  </a:lnTo>
                  <a:lnTo>
                    <a:pt x="368" y="748"/>
                  </a:lnTo>
                  <a:lnTo>
                    <a:pt x="376" y="752"/>
                  </a:lnTo>
                  <a:lnTo>
                    <a:pt x="390" y="754"/>
                  </a:lnTo>
                  <a:lnTo>
                    <a:pt x="402" y="754"/>
                  </a:lnTo>
                  <a:lnTo>
                    <a:pt x="408" y="756"/>
                  </a:lnTo>
                  <a:lnTo>
                    <a:pt x="426" y="758"/>
                  </a:lnTo>
                  <a:lnTo>
                    <a:pt x="428" y="756"/>
                  </a:lnTo>
                  <a:lnTo>
                    <a:pt x="436" y="750"/>
                  </a:lnTo>
                  <a:lnTo>
                    <a:pt x="444" y="738"/>
                  </a:lnTo>
                  <a:lnTo>
                    <a:pt x="448" y="732"/>
                  </a:lnTo>
                  <a:lnTo>
                    <a:pt x="460" y="726"/>
                  </a:lnTo>
                  <a:lnTo>
                    <a:pt x="480" y="716"/>
                  </a:lnTo>
                  <a:lnTo>
                    <a:pt x="494" y="710"/>
                  </a:lnTo>
                  <a:lnTo>
                    <a:pt x="508" y="704"/>
                  </a:lnTo>
                  <a:lnTo>
                    <a:pt x="516" y="710"/>
                  </a:lnTo>
                  <a:lnTo>
                    <a:pt x="526" y="718"/>
                  </a:lnTo>
                  <a:lnTo>
                    <a:pt x="530" y="722"/>
                  </a:lnTo>
                  <a:lnTo>
                    <a:pt x="534" y="724"/>
                  </a:lnTo>
                  <a:lnTo>
                    <a:pt x="538" y="726"/>
                  </a:lnTo>
                  <a:lnTo>
                    <a:pt x="548" y="726"/>
                  </a:lnTo>
                  <a:lnTo>
                    <a:pt x="556" y="724"/>
                  </a:lnTo>
                  <a:lnTo>
                    <a:pt x="572" y="724"/>
                  </a:lnTo>
                  <a:lnTo>
                    <a:pt x="582" y="724"/>
                  </a:lnTo>
                  <a:lnTo>
                    <a:pt x="584" y="720"/>
                  </a:lnTo>
                  <a:lnTo>
                    <a:pt x="592" y="714"/>
                  </a:lnTo>
                  <a:lnTo>
                    <a:pt x="604" y="708"/>
                  </a:lnTo>
                  <a:lnTo>
                    <a:pt x="612" y="708"/>
                  </a:lnTo>
                  <a:lnTo>
                    <a:pt x="642" y="702"/>
                  </a:lnTo>
                  <a:lnTo>
                    <a:pt x="646" y="700"/>
                  </a:lnTo>
                  <a:lnTo>
                    <a:pt x="648" y="698"/>
                  </a:lnTo>
                  <a:lnTo>
                    <a:pt x="650" y="692"/>
                  </a:lnTo>
                  <a:lnTo>
                    <a:pt x="656" y="686"/>
                  </a:lnTo>
                  <a:lnTo>
                    <a:pt x="664" y="680"/>
                  </a:lnTo>
                  <a:lnTo>
                    <a:pt x="676" y="672"/>
                  </a:lnTo>
                  <a:lnTo>
                    <a:pt x="690" y="666"/>
                  </a:lnTo>
                  <a:lnTo>
                    <a:pt x="694" y="666"/>
                  </a:lnTo>
                  <a:lnTo>
                    <a:pt x="710" y="662"/>
                  </a:lnTo>
                  <a:lnTo>
                    <a:pt x="714" y="660"/>
                  </a:lnTo>
                  <a:lnTo>
                    <a:pt x="720" y="660"/>
                  </a:lnTo>
                  <a:lnTo>
                    <a:pt x="722" y="660"/>
                  </a:lnTo>
                  <a:lnTo>
                    <a:pt x="744" y="660"/>
                  </a:lnTo>
                  <a:lnTo>
                    <a:pt x="762" y="662"/>
                  </a:lnTo>
                  <a:lnTo>
                    <a:pt x="780" y="662"/>
                  </a:lnTo>
                  <a:lnTo>
                    <a:pt x="782" y="662"/>
                  </a:lnTo>
                  <a:lnTo>
                    <a:pt x="794" y="648"/>
                  </a:lnTo>
                  <a:lnTo>
                    <a:pt x="814" y="626"/>
                  </a:lnTo>
                  <a:lnTo>
                    <a:pt x="828" y="612"/>
                  </a:lnTo>
                  <a:lnTo>
                    <a:pt x="848" y="590"/>
                  </a:lnTo>
                  <a:lnTo>
                    <a:pt x="862" y="576"/>
                  </a:lnTo>
                  <a:lnTo>
                    <a:pt x="880" y="558"/>
                  </a:lnTo>
                  <a:lnTo>
                    <a:pt x="896" y="542"/>
                  </a:lnTo>
                  <a:lnTo>
                    <a:pt x="916" y="522"/>
                  </a:lnTo>
                  <a:lnTo>
                    <a:pt x="928" y="510"/>
                  </a:lnTo>
                  <a:lnTo>
                    <a:pt x="946" y="492"/>
                  </a:lnTo>
                  <a:lnTo>
                    <a:pt x="966" y="474"/>
                  </a:lnTo>
                  <a:lnTo>
                    <a:pt x="982" y="458"/>
                  </a:lnTo>
                  <a:lnTo>
                    <a:pt x="916" y="458"/>
                  </a:lnTo>
                  <a:lnTo>
                    <a:pt x="912" y="456"/>
                  </a:lnTo>
                  <a:lnTo>
                    <a:pt x="894" y="450"/>
                  </a:lnTo>
                  <a:lnTo>
                    <a:pt x="842" y="434"/>
                  </a:lnTo>
                  <a:lnTo>
                    <a:pt x="822" y="426"/>
                  </a:lnTo>
                  <a:lnTo>
                    <a:pt x="802" y="420"/>
                  </a:lnTo>
                  <a:lnTo>
                    <a:pt x="780" y="412"/>
                  </a:lnTo>
                  <a:lnTo>
                    <a:pt x="762" y="406"/>
                  </a:lnTo>
                  <a:lnTo>
                    <a:pt x="722" y="392"/>
                  </a:lnTo>
                  <a:lnTo>
                    <a:pt x="720" y="392"/>
                  </a:lnTo>
                  <a:lnTo>
                    <a:pt x="710" y="382"/>
                  </a:lnTo>
                  <a:lnTo>
                    <a:pt x="696" y="370"/>
                  </a:lnTo>
                  <a:lnTo>
                    <a:pt x="694" y="370"/>
                  </a:lnTo>
                  <a:lnTo>
                    <a:pt x="686" y="366"/>
                  </a:lnTo>
                  <a:lnTo>
                    <a:pt x="680" y="360"/>
                  </a:lnTo>
                  <a:lnTo>
                    <a:pt x="674" y="352"/>
                  </a:lnTo>
                  <a:lnTo>
                    <a:pt x="670" y="340"/>
                  </a:lnTo>
                  <a:lnTo>
                    <a:pt x="668" y="334"/>
                  </a:lnTo>
                  <a:lnTo>
                    <a:pt x="660" y="330"/>
                  </a:lnTo>
                  <a:lnTo>
                    <a:pt x="656" y="324"/>
                  </a:lnTo>
                  <a:lnTo>
                    <a:pt x="650" y="316"/>
                  </a:lnTo>
                  <a:lnTo>
                    <a:pt x="644" y="312"/>
                  </a:lnTo>
                  <a:lnTo>
                    <a:pt x="644" y="308"/>
                  </a:lnTo>
                  <a:lnTo>
                    <a:pt x="640" y="300"/>
                  </a:lnTo>
                  <a:lnTo>
                    <a:pt x="636" y="292"/>
                  </a:lnTo>
                  <a:lnTo>
                    <a:pt x="634" y="288"/>
                  </a:lnTo>
                  <a:lnTo>
                    <a:pt x="632" y="286"/>
                  </a:lnTo>
                  <a:lnTo>
                    <a:pt x="632" y="284"/>
                  </a:lnTo>
                  <a:lnTo>
                    <a:pt x="640" y="274"/>
                  </a:lnTo>
                  <a:lnTo>
                    <a:pt x="642" y="270"/>
                  </a:lnTo>
                  <a:lnTo>
                    <a:pt x="646" y="266"/>
                  </a:lnTo>
                  <a:lnTo>
                    <a:pt x="648" y="262"/>
                  </a:lnTo>
                  <a:lnTo>
                    <a:pt x="650" y="258"/>
                  </a:lnTo>
                  <a:lnTo>
                    <a:pt x="644" y="258"/>
                  </a:lnTo>
                  <a:lnTo>
                    <a:pt x="640" y="258"/>
                  </a:lnTo>
                  <a:lnTo>
                    <a:pt x="638" y="256"/>
                  </a:lnTo>
                  <a:lnTo>
                    <a:pt x="632" y="254"/>
                  </a:lnTo>
                  <a:lnTo>
                    <a:pt x="626" y="254"/>
                  </a:lnTo>
                  <a:lnTo>
                    <a:pt x="620" y="256"/>
                  </a:lnTo>
                  <a:lnTo>
                    <a:pt x="610" y="258"/>
                  </a:lnTo>
                  <a:lnTo>
                    <a:pt x="600" y="260"/>
                  </a:lnTo>
                  <a:lnTo>
                    <a:pt x="592" y="260"/>
                  </a:lnTo>
                  <a:lnTo>
                    <a:pt x="586" y="262"/>
                  </a:lnTo>
                  <a:lnTo>
                    <a:pt x="582" y="262"/>
                  </a:lnTo>
                  <a:lnTo>
                    <a:pt x="576" y="260"/>
                  </a:lnTo>
                  <a:lnTo>
                    <a:pt x="576" y="246"/>
                  </a:lnTo>
                  <a:lnTo>
                    <a:pt x="574" y="232"/>
                  </a:lnTo>
                  <a:lnTo>
                    <a:pt x="574" y="220"/>
                  </a:lnTo>
                  <a:lnTo>
                    <a:pt x="576" y="214"/>
                  </a:lnTo>
                  <a:lnTo>
                    <a:pt x="578" y="210"/>
                  </a:lnTo>
                  <a:lnTo>
                    <a:pt x="586" y="202"/>
                  </a:lnTo>
                  <a:lnTo>
                    <a:pt x="590" y="198"/>
                  </a:lnTo>
                  <a:lnTo>
                    <a:pt x="600" y="184"/>
                  </a:lnTo>
                  <a:lnTo>
                    <a:pt x="608" y="170"/>
                  </a:lnTo>
                  <a:lnTo>
                    <a:pt x="614" y="16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9" name="Line 4696">
              <a:extLst>
                <a:ext uri="{FF2B5EF4-FFF2-40B4-BE49-F238E27FC236}">
                  <a16:creationId xmlns:a16="http://schemas.microsoft.com/office/drawing/2014/main" id="{5B52D0DA-66AB-4FDE-82F9-A6365E8D43C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369201" y="5091810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0" name="Line 4698">
              <a:extLst>
                <a:ext uri="{FF2B5EF4-FFF2-40B4-BE49-F238E27FC236}">
                  <a16:creationId xmlns:a16="http://schemas.microsoft.com/office/drawing/2014/main" id="{409EF3BB-98CD-4FE6-9DD4-DF58E3EB19A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369201" y="5091810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1" name="Freeform 99">
              <a:extLst>
                <a:ext uri="{FF2B5EF4-FFF2-40B4-BE49-F238E27FC236}">
                  <a16:creationId xmlns:a16="http://schemas.microsoft.com/office/drawing/2014/main" id="{F8668BDD-3501-4F19-B0D5-EF49444BD235}"/>
                </a:ext>
              </a:extLst>
            </p:cNvPr>
            <p:cNvSpPr/>
            <p:nvPr/>
          </p:nvSpPr>
          <p:spPr bwMode="auto">
            <a:xfrm>
              <a:off x="5791814" y="2892499"/>
              <a:ext cx="303725" cy="619785"/>
            </a:xfrm>
            <a:custGeom>
              <a:avLst/>
              <a:gdLst>
                <a:gd name="connsiteX0" fmla="*/ 152484 w 1877460"/>
                <a:gd name="connsiteY0" fmla="*/ 3750155 h 3831162"/>
                <a:gd name="connsiteX1" fmla="*/ 162014 w 1877460"/>
                <a:gd name="connsiteY1" fmla="*/ 3750155 h 3831162"/>
                <a:gd name="connsiteX2" fmla="*/ 171544 w 1877460"/>
                <a:gd name="connsiteY2" fmla="*/ 3759686 h 3831162"/>
                <a:gd name="connsiteX3" fmla="*/ 166780 w 1877460"/>
                <a:gd name="connsiteY3" fmla="*/ 3769216 h 3831162"/>
                <a:gd name="connsiteX4" fmla="*/ 157250 w 1877460"/>
                <a:gd name="connsiteY4" fmla="*/ 3769216 h 3831162"/>
                <a:gd name="connsiteX5" fmla="*/ 152484 w 1877460"/>
                <a:gd name="connsiteY5" fmla="*/ 3764451 h 3831162"/>
                <a:gd name="connsiteX6" fmla="*/ 138188 w 1877460"/>
                <a:gd name="connsiteY6" fmla="*/ 3764451 h 3831162"/>
                <a:gd name="connsiteX7" fmla="*/ 138188 w 1877460"/>
                <a:gd name="connsiteY7" fmla="*/ 3759686 h 3831162"/>
                <a:gd name="connsiteX8" fmla="*/ 142954 w 1877460"/>
                <a:gd name="connsiteY8" fmla="*/ 3754920 h 3831162"/>
                <a:gd name="connsiteX9" fmla="*/ 319264 w 1877460"/>
                <a:gd name="connsiteY9" fmla="*/ 3721564 h 3831162"/>
                <a:gd name="connsiteX10" fmla="*/ 328794 w 1877460"/>
                <a:gd name="connsiteY10" fmla="*/ 3721564 h 3831162"/>
                <a:gd name="connsiteX11" fmla="*/ 333560 w 1877460"/>
                <a:gd name="connsiteY11" fmla="*/ 3731094 h 3831162"/>
                <a:gd name="connsiteX12" fmla="*/ 328794 w 1877460"/>
                <a:gd name="connsiteY12" fmla="*/ 3740625 h 3831162"/>
                <a:gd name="connsiteX13" fmla="*/ 314500 w 1877460"/>
                <a:gd name="connsiteY13" fmla="*/ 3745390 h 3831162"/>
                <a:gd name="connsiteX14" fmla="*/ 304968 w 1877460"/>
                <a:gd name="connsiteY14" fmla="*/ 3735860 h 3831162"/>
                <a:gd name="connsiteX15" fmla="*/ 309734 w 1877460"/>
                <a:gd name="connsiteY15" fmla="*/ 3726329 h 3831162"/>
                <a:gd name="connsiteX16" fmla="*/ 347856 w 1877460"/>
                <a:gd name="connsiteY16" fmla="*/ 3712034 h 3831162"/>
                <a:gd name="connsiteX17" fmla="*/ 366916 w 1877460"/>
                <a:gd name="connsiteY17" fmla="*/ 3712034 h 3831162"/>
                <a:gd name="connsiteX18" fmla="*/ 362150 w 1877460"/>
                <a:gd name="connsiteY18" fmla="*/ 3731095 h 3831162"/>
                <a:gd name="connsiteX19" fmla="*/ 343090 w 1877460"/>
                <a:gd name="connsiteY19" fmla="*/ 3740625 h 3831162"/>
                <a:gd name="connsiteX20" fmla="*/ 338324 w 1877460"/>
                <a:gd name="connsiteY20" fmla="*/ 3735860 h 3831162"/>
                <a:gd name="connsiteX21" fmla="*/ 338324 w 1877460"/>
                <a:gd name="connsiteY21" fmla="*/ 3721564 h 3831162"/>
                <a:gd name="connsiteX22" fmla="*/ 4766 w 1877460"/>
                <a:gd name="connsiteY22" fmla="*/ 3697739 h 3831162"/>
                <a:gd name="connsiteX23" fmla="*/ 14296 w 1877460"/>
                <a:gd name="connsiteY23" fmla="*/ 3697739 h 3831162"/>
                <a:gd name="connsiteX24" fmla="*/ 23828 w 1877460"/>
                <a:gd name="connsiteY24" fmla="*/ 3716800 h 3831162"/>
                <a:gd name="connsiteX25" fmla="*/ 23828 w 1877460"/>
                <a:gd name="connsiteY25" fmla="*/ 3721565 h 3831162"/>
                <a:gd name="connsiteX26" fmla="*/ 14296 w 1877460"/>
                <a:gd name="connsiteY26" fmla="*/ 3721565 h 3831162"/>
                <a:gd name="connsiteX27" fmla="*/ 9532 w 1877460"/>
                <a:gd name="connsiteY27" fmla="*/ 3721565 h 3831162"/>
                <a:gd name="connsiteX28" fmla="*/ 9532 w 1877460"/>
                <a:gd name="connsiteY28" fmla="*/ 3731095 h 3831162"/>
                <a:gd name="connsiteX29" fmla="*/ 0 w 1877460"/>
                <a:gd name="connsiteY29" fmla="*/ 3726330 h 3831162"/>
                <a:gd name="connsiteX30" fmla="*/ 0 w 1877460"/>
                <a:gd name="connsiteY30" fmla="*/ 3716800 h 3831162"/>
                <a:gd name="connsiteX31" fmla="*/ 414566 w 1877460"/>
                <a:gd name="connsiteY31" fmla="*/ 3654852 h 3831162"/>
                <a:gd name="connsiteX32" fmla="*/ 433626 w 1877460"/>
                <a:gd name="connsiteY32" fmla="*/ 3664382 h 3831162"/>
                <a:gd name="connsiteX33" fmla="*/ 443156 w 1877460"/>
                <a:gd name="connsiteY33" fmla="*/ 3664382 h 3831162"/>
                <a:gd name="connsiteX34" fmla="*/ 452688 w 1877460"/>
                <a:gd name="connsiteY34" fmla="*/ 3678678 h 3831162"/>
                <a:gd name="connsiteX35" fmla="*/ 433626 w 1877460"/>
                <a:gd name="connsiteY35" fmla="*/ 3688208 h 3831162"/>
                <a:gd name="connsiteX36" fmla="*/ 433626 w 1877460"/>
                <a:gd name="connsiteY36" fmla="*/ 3702503 h 3831162"/>
                <a:gd name="connsiteX37" fmla="*/ 438392 w 1877460"/>
                <a:gd name="connsiteY37" fmla="*/ 3712034 h 3831162"/>
                <a:gd name="connsiteX38" fmla="*/ 443156 w 1877460"/>
                <a:gd name="connsiteY38" fmla="*/ 3721564 h 3831162"/>
                <a:gd name="connsiteX39" fmla="*/ 428862 w 1877460"/>
                <a:gd name="connsiteY39" fmla="*/ 3721564 h 3831162"/>
                <a:gd name="connsiteX40" fmla="*/ 419332 w 1877460"/>
                <a:gd name="connsiteY40" fmla="*/ 3712034 h 3831162"/>
                <a:gd name="connsiteX41" fmla="*/ 414566 w 1877460"/>
                <a:gd name="connsiteY41" fmla="*/ 3697738 h 3831162"/>
                <a:gd name="connsiteX42" fmla="*/ 409802 w 1877460"/>
                <a:gd name="connsiteY42" fmla="*/ 3688208 h 3831162"/>
                <a:gd name="connsiteX43" fmla="*/ 400272 w 1877460"/>
                <a:gd name="connsiteY43" fmla="*/ 3683443 h 3831162"/>
                <a:gd name="connsiteX44" fmla="*/ 405036 w 1877460"/>
                <a:gd name="connsiteY44" fmla="*/ 3673913 h 3831162"/>
                <a:gd name="connsiteX45" fmla="*/ 405036 w 1877460"/>
                <a:gd name="connsiteY45" fmla="*/ 3664382 h 3831162"/>
                <a:gd name="connsiteX46" fmla="*/ 57182 w 1877460"/>
                <a:gd name="connsiteY46" fmla="*/ 3645322 h 3831162"/>
                <a:gd name="connsiteX47" fmla="*/ 66712 w 1877460"/>
                <a:gd name="connsiteY47" fmla="*/ 3659617 h 3831162"/>
                <a:gd name="connsiteX48" fmla="*/ 71478 w 1877460"/>
                <a:gd name="connsiteY48" fmla="*/ 3664383 h 3831162"/>
                <a:gd name="connsiteX49" fmla="*/ 76242 w 1877460"/>
                <a:gd name="connsiteY49" fmla="*/ 3664383 h 3831162"/>
                <a:gd name="connsiteX50" fmla="*/ 81008 w 1877460"/>
                <a:gd name="connsiteY50" fmla="*/ 3659617 h 3831162"/>
                <a:gd name="connsiteX51" fmla="*/ 85772 w 1877460"/>
                <a:gd name="connsiteY51" fmla="*/ 3664383 h 3831162"/>
                <a:gd name="connsiteX52" fmla="*/ 100068 w 1877460"/>
                <a:gd name="connsiteY52" fmla="*/ 3673913 h 3831162"/>
                <a:gd name="connsiteX53" fmla="*/ 104832 w 1877460"/>
                <a:gd name="connsiteY53" fmla="*/ 3683443 h 3831162"/>
                <a:gd name="connsiteX54" fmla="*/ 114364 w 1877460"/>
                <a:gd name="connsiteY54" fmla="*/ 3683443 h 3831162"/>
                <a:gd name="connsiteX55" fmla="*/ 114364 w 1877460"/>
                <a:gd name="connsiteY55" fmla="*/ 3692973 h 3831162"/>
                <a:gd name="connsiteX56" fmla="*/ 104832 w 1877460"/>
                <a:gd name="connsiteY56" fmla="*/ 3712034 h 3831162"/>
                <a:gd name="connsiteX57" fmla="*/ 100068 w 1877460"/>
                <a:gd name="connsiteY57" fmla="*/ 3712034 h 3831162"/>
                <a:gd name="connsiteX58" fmla="*/ 95302 w 1877460"/>
                <a:gd name="connsiteY58" fmla="*/ 3712034 h 3831162"/>
                <a:gd name="connsiteX59" fmla="*/ 85772 w 1877460"/>
                <a:gd name="connsiteY59" fmla="*/ 3712034 h 3831162"/>
                <a:gd name="connsiteX60" fmla="*/ 81008 w 1877460"/>
                <a:gd name="connsiteY60" fmla="*/ 3716799 h 3831162"/>
                <a:gd name="connsiteX61" fmla="*/ 81008 w 1877460"/>
                <a:gd name="connsiteY61" fmla="*/ 3726329 h 3831162"/>
                <a:gd name="connsiteX62" fmla="*/ 81008 w 1877460"/>
                <a:gd name="connsiteY62" fmla="*/ 3745390 h 3831162"/>
                <a:gd name="connsiteX63" fmla="*/ 42886 w 1877460"/>
                <a:gd name="connsiteY63" fmla="*/ 3750155 h 3831162"/>
                <a:gd name="connsiteX64" fmla="*/ 33356 w 1877460"/>
                <a:gd name="connsiteY64" fmla="*/ 3740625 h 3831162"/>
                <a:gd name="connsiteX65" fmla="*/ 23826 w 1877460"/>
                <a:gd name="connsiteY65" fmla="*/ 3702504 h 3831162"/>
                <a:gd name="connsiteX66" fmla="*/ 23826 w 1877460"/>
                <a:gd name="connsiteY66" fmla="*/ 3688208 h 3831162"/>
                <a:gd name="connsiteX67" fmla="*/ 33356 w 1877460"/>
                <a:gd name="connsiteY67" fmla="*/ 3683443 h 3831162"/>
                <a:gd name="connsiteX68" fmla="*/ 38122 w 1877460"/>
                <a:gd name="connsiteY68" fmla="*/ 3683443 h 3831162"/>
                <a:gd name="connsiteX69" fmla="*/ 42886 w 1877460"/>
                <a:gd name="connsiteY69" fmla="*/ 3707269 h 3831162"/>
                <a:gd name="connsiteX70" fmla="*/ 52416 w 1877460"/>
                <a:gd name="connsiteY70" fmla="*/ 3702504 h 3831162"/>
                <a:gd name="connsiteX71" fmla="*/ 52416 w 1877460"/>
                <a:gd name="connsiteY71" fmla="*/ 3688208 h 3831162"/>
                <a:gd name="connsiteX72" fmla="*/ 52416 w 1877460"/>
                <a:gd name="connsiteY72" fmla="*/ 3678678 h 3831162"/>
                <a:gd name="connsiteX73" fmla="*/ 52416 w 1877460"/>
                <a:gd name="connsiteY73" fmla="*/ 3673913 h 3831162"/>
                <a:gd name="connsiteX74" fmla="*/ 42886 w 1877460"/>
                <a:gd name="connsiteY74" fmla="*/ 3669148 h 3831162"/>
                <a:gd name="connsiteX75" fmla="*/ 42886 w 1877460"/>
                <a:gd name="connsiteY75" fmla="*/ 3664383 h 3831162"/>
                <a:gd name="connsiteX76" fmla="*/ 47652 w 1877460"/>
                <a:gd name="connsiteY76" fmla="*/ 3650087 h 3831162"/>
                <a:gd name="connsiteX77" fmla="*/ 357384 w 1877460"/>
                <a:gd name="connsiteY77" fmla="*/ 3626262 h 3831162"/>
                <a:gd name="connsiteX78" fmla="*/ 371680 w 1877460"/>
                <a:gd name="connsiteY78" fmla="*/ 3635792 h 3831162"/>
                <a:gd name="connsiteX79" fmla="*/ 381210 w 1877460"/>
                <a:gd name="connsiteY79" fmla="*/ 3645322 h 3831162"/>
                <a:gd name="connsiteX80" fmla="*/ 371680 w 1877460"/>
                <a:gd name="connsiteY80" fmla="*/ 3650088 h 3831162"/>
                <a:gd name="connsiteX81" fmla="*/ 385976 w 1877460"/>
                <a:gd name="connsiteY81" fmla="*/ 3664383 h 3831162"/>
                <a:gd name="connsiteX82" fmla="*/ 385976 w 1877460"/>
                <a:gd name="connsiteY82" fmla="*/ 3669148 h 3831162"/>
                <a:gd name="connsiteX83" fmla="*/ 376446 w 1877460"/>
                <a:gd name="connsiteY83" fmla="*/ 3669148 h 3831162"/>
                <a:gd name="connsiteX84" fmla="*/ 357384 w 1877460"/>
                <a:gd name="connsiteY84" fmla="*/ 3654853 h 3831162"/>
                <a:gd name="connsiteX85" fmla="*/ 357384 w 1877460"/>
                <a:gd name="connsiteY85" fmla="*/ 3645322 h 3831162"/>
                <a:gd name="connsiteX86" fmla="*/ 362150 w 1877460"/>
                <a:gd name="connsiteY86" fmla="*/ 3645322 h 3831162"/>
                <a:gd name="connsiteX87" fmla="*/ 357384 w 1877460"/>
                <a:gd name="connsiteY87" fmla="*/ 3631027 h 3831162"/>
                <a:gd name="connsiteX88" fmla="*/ 271614 w 1877460"/>
                <a:gd name="connsiteY88" fmla="*/ 3573845 h 3831162"/>
                <a:gd name="connsiteX89" fmla="*/ 276378 w 1877460"/>
                <a:gd name="connsiteY89" fmla="*/ 3588140 h 3831162"/>
                <a:gd name="connsiteX90" fmla="*/ 300204 w 1877460"/>
                <a:gd name="connsiteY90" fmla="*/ 3607201 h 3831162"/>
                <a:gd name="connsiteX91" fmla="*/ 300204 w 1877460"/>
                <a:gd name="connsiteY91" fmla="*/ 3621496 h 3831162"/>
                <a:gd name="connsiteX92" fmla="*/ 290674 w 1877460"/>
                <a:gd name="connsiteY92" fmla="*/ 3621496 h 3831162"/>
                <a:gd name="connsiteX93" fmla="*/ 276378 w 1877460"/>
                <a:gd name="connsiteY93" fmla="*/ 3621496 h 3831162"/>
                <a:gd name="connsiteX94" fmla="*/ 266848 w 1877460"/>
                <a:gd name="connsiteY94" fmla="*/ 3607201 h 3831162"/>
                <a:gd name="connsiteX95" fmla="*/ 262084 w 1877460"/>
                <a:gd name="connsiteY95" fmla="*/ 3583375 h 3831162"/>
                <a:gd name="connsiteX96" fmla="*/ 266848 w 1877460"/>
                <a:gd name="connsiteY96" fmla="*/ 3578610 h 3831162"/>
                <a:gd name="connsiteX97" fmla="*/ 266848 w 1877460"/>
                <a:gd name="connsiteY97" fmla="*/ 2692297 h 3831162"/>
                <a:gd name="connsiteX98" fmla="*/ 266848 w 1877460"/>
                <a:gd name="connsiteY98" fmla="*/ 2701827 h 3831162"/>
                <a:gd name="connsiteX99" fmla="*/ 262082 w 1877460"/>
                <a:gd name="connsiteY99" fmla="*/ 2706592 h 3831162"/>
                <a:gd name="connsiteX100" fmla="*/ 266848 w 1877460"/>
                <a:gd name="connsiteY100" fmla="*/ 2716122 h 3831162"/>
                <a:gd name="connsiteX101" fmla="*/ 276378 w 1877460"/>
                <a:gd name="connsiteY101" fmla="*/ 2711357 h 3831162"/>
                <a:gd name="connsiteX102" fmla="*/ 285908 w 1877460"/>
                <a:gd name="connsiteY102" fmla="*/ 2701827 h 3831162"/>
                <a:gd name="connsiteX103" fmla="*/ 295438 w 1877460"/>
                <a:gd name="connsiteY103" fmla="*/ 2706592 h 3831162"/>
                <a:gd name="connsiteX104" fmla="*/ 295438 w 1877460"/>
                <a:gd name="connsiteY104" fmla="*/ 2720888 h 3831162"/>
                <a:gd name="connsiteX105" fmla="*/ 290672 w 1877460"/>
                <a:gd name="connsiteY105" fmla="*/ 2720888 h 3831162"/>
                <a:gd name="connsiteX106" fmla="*/ 285908 w 1877460"/>
                <a:gd name="connsiteY106" fmla="*/ 2720888 h 3831162"/>
                <a:gd name="connsiteX107" fmla="*/ 281142 w 1877460"/>
                <a:gd name="connsiteY107" fmla="*/ 2730418 h 3831162"/>
                <a:gd name="connsiteX108" fmla="*/ 281142 w 1877460"/>
                <a:gd name="connsiteY108" fmla="*/ 2735183 h 3831162"/>
                <a:gd name="connsiteX109" fmla="*/ 271612 w 1877460"/>
                <a:gd name="connsiteY109" fmla="*/ 2739948 h 3831162"/>
                <a:gd name="connsiteX110" fmla="*/ 252552 w 1877460"/>
                <a:gd name="connsiteY110" fmla="*/ 2720888 h 3831162"/>
                <a:gd name="connsiteX111" fmla="*/ 243022 w 1877460"/>
                <a:gd name="connsiteY111" fmla="*/ 2697062 h 3831162"/>
                <a:gd name="connsiteX112" fmla="*/ 824368 w 1877460"/>
                <a:gd name="connsiteY112" fmla="*/ 2044239 h 3831162"/>
                <a:gd name="connsiteX113" fmla="*/ 848194 w 1877460"/>
                <a:gd name="connsiteY113" fmla="*/ 2058534 h 3831162"/>
                <a:gd name="connsiteX114" fmla="*/ 852960 w 1877460"/>
                <a:gd name="connsiteY114" fmla="*/ 2063299 h 3831162"/>
                <a:gd name="connsiteX115" fmla="*/ 838664 w 1877460"/>
                <a:gd name="connsiteY115" fmla="*/ 2068064 h 3831162"/>
                <a:gd name="connsiteX116" fmla="*/ 829134 w 1877460"/>
                <a:gd name="connsiteY116" fmla="*/ 2082360 h 3831162"/>
                <a:gd name="connsiteX117" fmla="*/ 810072 w 1877460"/>
                <a:gd name="connsiteY117" fmla="*/ 2091890 h 3831162"/>
                <a:gd name="connsiteX118" fmla="*/ 791012 w 1877460"/>
                <a:gd name="connsiteY118" fmla="*/ 2087125 h 3831162"/>
                <a:gd name="connsiteX119" fmla="*/ 791012 w 1877460"/>
                <a:gd name="connsiteY119" fmla="*/ 2063299 h 3831162"/>
                <a:gd name="connsiteX120" fmla="*/ 800542 w 1877460"/>
                <a:gd name="connsiteY120" fmla="*/ 2049004 h 3831162"/>
                <a:gd name="connsiteX121" fmla="*/ 1286586 w 1877460"/>
                <a:gd name="connsiteY121" fmla="*/ 0 h 3831162"/>
                <a:gd name="connsiteX122" fmla="*/ 1305646 w 1877460"/>
                <a:gd name="connsiteY122" fmla="*/ 0 h 3831162"/>
                <a:gd name="connsiteX123" fmla="*/ 1329472 w 1877460"/>
                <a:gd name="connsiteY123" fmla="*/ 42886 h 3831162"/>
                <a:gd name="connsiteX124" fmla="*/ 1367592 w 1877460"/>
                <a:gd name="connsiteY124" fmla="*/ 85772 h 3831162"/>
                <a:gd name="connsiteX125" fmla="*/ 1386652 w 1877460"/>
                <a:gd name="connsiteY125" fmla="*/ 109598 h 3831162"/>
                <a:gd name="connsiteX126" fmla="*/ 1448600 w 1877460"/>
                <a:gd name="connsiteY126" fmla="*/ 152484 h 3831162"/>
                <a:gd name="connsiteX127" fmla="*/ 1501016 w 1877460"/>
                <a:gd name="connsiteY127" fmla="*/ 176310 h 3831162"/>
                <a:gd name="connsiteX128" fmla="*/ 1534372 w 1877460"/>
                <a:gd name="connsiteY128" fmla="*/ 266847 h 3831162"/>
                <a:gd name="connsiteX129" fmla="*/ 1515312 w 1877460"/>
                <a:gd name="connsiteY129" fmla="*/ 300203 h 3831162"/>
                <a:gd name="connsiteX130" fmla="*/ 1510546 w 1877460"/>
                <a:gd name="connsiteY130" fmla="*/ 314498 h 3831162"/>
                <a:gd name="connsiteX131" fmla="*/ 1481956 w 1877460"/>
                <a:gd name="connsiteY131" fmla="*/ 347854 h 3831162"/>
                <a:gd name="connsiteX132" fmla="*/ 1458130 w 1877460"/>
                <a:gd name="connsiteY132" fmla="*/ 395506 h 3831162"/>
                <a:gd name="connsiteX133" fmla="*/ 1453364 w 1877460"/>
                <a:gd name="connsiteY133" fmla="*/ 424096 h 3831162"/>
                <a:gd name="connsiteX134" fmla="*/ 1462894 w 1877460"/>
                <a:gd name="connsiteY134" fmla="*/ 447922 h 3831162"/>
                <a:gd name="connsiteX135" fmla="*/ 1472426 w 1877460"/>
                <a:gd name="connsiteY135" fmla="*/ 466982 h 3831162"/>
                <a:gd name="connsiteX136" fmla="*/ 1462894 w 1877460"/>
                <a:gd name="connsiteY136" fmla="*/ 471748 h 3831162"/>
                <a:gd name="connsiteX137" fmla="*/ 1434304 w 1877460"/>
                <a:gd name="connsiteY137" fmla="*/ 490808 h 3831162"/>
                <a:gd name="connsiteX138" fmla="*/ 1410478 w 1877460"/>
                <a:gd name="connsiteY138" fmla="*/ 505103 h 3831162"/>
                <a:gd name="connsiteX139" fmla="*/ 1386652 w 1877460"/>
                <a:gd name="connsiteY139" fmla="*/ 514634 h 3831162"/>
                <a:gd name="connsiteX140" fmla="*/ 1396184 w 1877460"/>
                <a:gd name="connsiteY140" fmla="*/ 528929 h 3831162"/>
                <a:gd name="connsiteX141" fmla="*/ 1434304 w 1877460"/>
                <a:gd name="connsiteY141" fmla="*/ 533694 h 3831162"/>
                <a:gd name="connsiteX142" fmla="*/ 1439070 w 1877460"/>
                <a:gd name="connsiteY142" fmla="*/ 538459 h 3831162"/>
                <a:gd name="connsiteX143" fmla="*/ 1443834 w 1877460"/>
                <a:gd name="connsiteY143" fmla="*/ 543224 h 3831162"/>
                <a:gd name="connsiteX144" fmla="*/ 1443834 w 1877460"/>
                <a:gd name="connsiteY144" fmla="*/ 557520 h 3831162"/>
                <a:gd name="connsiteX145" fmla="*/ 1443834 w 1877460"/>
                <a:gd name="connsiteY145" fmla="*/ 571815 h 3831162"/>
                <a:gd name="connsiteX146" fmla="*/ 1396184 w 1877460"/>
                <a:gd name="connsiteY146" fmla="*/ 676648 h 3831162"/>
                <a:gd name="connsiteX147" fmla="*/ 1396184 w 1877460"/>
                <a:gd name="connsiteY147" fmla="*/ 695708 h 3831162"/>
                <a:gd name="connsiteX148" fmla="*/ 1410478 w 1877460"/>
                <a:gd name="connsiteY148" fmla="*/ 752890 h 3831162"/>
                <a:gd name="connsiteX149" fmla="*/ 1429538 w 1877460"/>
                <a:gd name="connsiteY149" fmla="*/ 819602 h 3831162"/>
                <a:gd name="connsiteX150" fmla="*/ 1491486 w 1877460"/>
                <a:gd name="connsiteY150" fmla="*/ 852958 h 3831162"/>
                <a:gd name="connsiteX151" fmla="*/ 1534372 w 1877460"/>
                <a:gd name="connsiteY151" fmla="*/ 876783 h 3831162"/>
                <a:gd name="connsiteX152" fmla="*/ 1562962 w 1877460"/>
                <a:gd name="connsiteY152" fmla="*/ 929200 h 3831162"/>
                <a:gd name="connsiteX153" fmla="*/ 1610614 w 1877460"/>
                <a:gd name="connsiteY153" fmla="*/ 1005442 h 3831162"/>
                <a:gd name="connsiteX154" fmla="*/ 1634440 w 1877460"/>
                <a:gd name="connsiteY154" fmla="*/ 1029267 h 3831162"/>
                <a:gd name="connsiteX155" fmla="*/ 1634440 w 1877460"/>
                <a:gd name="connsiteY155" fmla="*/ 1038798 h 3831162"/>
                <a:gd name="connsiteX156" fmla="*/ 1624910 w 1877460"/>
                <a:gd name="connsiteY156" fmla="*/ 1086449 h 3831162"/>
                <a:gd name="connsiteX157" fmla="*/ 1596318 w 1877460"/>
                <a:gd name="connsiteY157" fmla="*/ 1138865 h 3831162"/>
                <a:gd name="connsiteX158" fmla="*/ 1567728 w 1877460"/>
                <a:gd name="connsiteY158" fmla="*/ 1176986 h 3831162"/>
                <a:gd name="connsiteX159" fmla="*/ 1539136 w 1877460"/>
                <a:gd name="connsiteY159" fmla="*/ 1229403 h 3831162"/>
                <a:gd name="connsiteX160" fmla="*/ 1520076 w 1877460"/>
                <a:gd name="connsiteY160" fmla="*/ 1272289 h 3831162"/>
                <a:gd name="connsiteX161" fmla="*/ 1491486 w 1877460"/>
                <a:gd name="connsiteY161" fmla="*/ 1319940 h 3831162"/>
                <a:gd name="connsiteX162" fmla="*/ 1491486 w 1877460"/>
                <a:gd name="connsiteY162" fmla="*/ 1339001 h 3831162"/>
                <a:gd name="connsiteX163" fmla="*/ 1491486 w 1877460"/>
                <a:gd name="connsiteY163" fmla="*/ 1353296 h 3831162"/>
                <a:gd name="connsiteX164" fmla="*/ 1496250 w 1877460"/>
                <a:gd name="connsiteY164" fmla="*/ 1367591 h 3831162"/>
                <a:gd name="connsiteX165" fmla="*/ 1524842 w 1877460"/>
                <a:gd name="connsiteY165" fmla="*/ 1429538 h 3831162"/>
                <a:gd name="connsiteX166" fmla="*/ 1539136 w 1877460"/>
                <a:gd name="connsiteY166" fmla="*/ 1462894 h 3831162"/>
                <a:gd name="connsiteX167" fmla="*/ 1553432 w 1877460"/>
                <a:gd name="connsiteY167" fmla="*/ 1496250 h 3831162"/>
                <a:gd name="connsiteX168" fmla="*/ 1562962 w 1877460"/>
                <a:gd name="connsiteY168" fmla="*/ 1529606 h 3831162"/>
                <a:gd name="connsiteX169" fmla="*/ 1572492 w 1877460"/>
                <a:gd name="connsiteY169" fmla="*/ 1562962 h 3831162"/>
                <a:gd name="connsiteX170" fmla="*/ 1586788 w 1877460"/>
                <a:gd name="connsiteY170" fmla="*/ 1596318 h 3831162"/>
                <a:gd name="connsiteX171" fmla="*/ 1591554 w 1877460"/>
                <a:gd name="connsiteY171" fmla="*/ 1610613 h 3831162"/>
                <a:gd name="connsiteX172" fmla="*/ 1605848 w 1877460"/>
                <a:gd name="connsiteY172" fmla="*/ 1634438 h 3831162"/>
                <a:gd name="connsiteX173" fmla="*/ 1620144 w 1877460"/>
                <a:gd name="connsiteY173" fmla="*/ 1667794 h 3831162"/>
                <a:gd name="connsiteX174" fmla="*/ 1624910 w 1877460"/>
                <a:gd name="connsiteY174" fmla="*/ 1691620 h 3831162"/>
                <a:gd name="connsiteX175" fmla="*/ 1648734 w 1877460"/>
                <a:gd name="connsiteY175" fmla="*/ 1782158 h 3831162"/>
                <a:gd name="connsiteX176" fmla="*/ 1653500 w 1877460"/>
                <a:gd name="connsiteY176" fmla="*/ 1805983 h 3831162"/>
                <a:gd name="connsiteX177" fmla="*/ 1648734 w 1877460"/>
                <a:gd name="connsiteY177" fmla="*/ 1820278 h 3831162"/>
                <a:gd name="connsiteX178" fmla="*/ 1639204 w 1877460"/>
                <a:gd name="connsiteY178" fmla="*/ 1825044 h 3831162"/>
                <a:gd name="connsiteX179" fmla="*/ 1620144 w 1877460"/>
                <a:gd name="connsiteY179" fmla="*/ 1829809 h 3831162"/>
                <a:gd name="connsiteX180" fmla="*/ 1591554 w 1877460"/>
                <a:gd name="connsiteY180" fmla="*/ 1839339 h 3831162"/>
                <a:gd name="connsiteX181" fmla="*/ 1591554 w 1877460"/>
                <a:gd name="connsiteY181" fmla="*/ 1844104 h 3831162"/>
                <a:gd name="connsiteX182" fmla="*/ 1605848 w 1877460"/>
                <a:gd name="connsiteY182" fmla="*/ 1863165 h 3831162"/>
                <a:gd name="connsiteX183" fmla="*/ 1591554 w 1877460"/>
                <a:gd name="connsiteY183" fmla="*/ 1901286 h 3831162"/>
                <a:gd name="connsiteX184" fmla="*/ 1591554 w 1877460"/>
                <a:gd name="connsiteY184" fmla="*/ 1953702 h 3831162"/>
                <a:gd name="connsiteX185" fmla="*/ 1577258 w 1877460"/>
                <a:gd name="connsiteY185" fmla="*/ 1977528 h 3831162"/>
                <a:gd name="connsiteX186" fmla="*/ 1577258 w 1877460"/>
                <a:gd name="connsiteY186" fmla="*/ 1987058 h 3831162"/>
                <a:gd name="connsiteX187" fmla="*/ 1577258 w 1877460"/>
                <a:gd name="connsiteY187" fmla="*/ 1991823 h 3831162"/>
                <a:gd name="connsiteX188" fmla="*/ 1577258 w 1877460"/>
                <a:gd name="connsiteY188" fmla="*/ 1996588 h 3831162"/>
                <a:gd name="connsiteX189" fmla="*/ 1605848 w 1877460"/>
                <a:gd name="connsiteY189" fmla="*/ 2001353 h 3831162"/>
                <a:gd name="connsiteX190" fmla="*/ 1610614 w 1877460"/>
                <a:gd name="connsiteY190" fmla="*/ 2010884 h 3831162"/>
                <a:gd name="connsiteX191" fmla="*/ 1610614 w 1877460"/>
                <a:gd name="connsiteY191" fmla="*/ 2025179 h 3831162"/>
                <a:gd name="connsiteX192" fmla="*/ 1605848 w 1877460"/>
                <a:gd name="connsiteY192" fmla="*/ 2039474 h 3831162"/>
                <a:gd name="connsiteX193" fmla="*/ 1591554 w 1877460"/>
                <a:gd name="connsiteY193" fmla="*/ 2049004 h 3831162"/>
                <a:gd name="connsiteX194" fmla="*/ 1577258 w 1877460"/>
                <a:gd name="connsiteY194" fmla="*/ 2063300 h 3831162"/>
                <a:gd name="connsiteX195" fmla="*/ 1572492 w 1877460"/>
                <a:gd name="connsiteY195" fmla="*/ 2077595 h 3831162"/>
                <a:gd name="connsiteX196" fmla="*/ 1577258 w 1877460"/>
                <a:gd name="connsiteY196" fmla="*/ 2087126 h 3831162"/>
                <a:gd name="connsiteX197" fmla="*/ 1582024 w 1877460"/>
                <a:gd name="connsiteY197" fmla="*/ 2110951 h 3831162"/>
                <a:gd name="connsiteX198" fmla="*/ 1591554 w 1877460"/>
                <a:gd name="connsiteY198" fmla="*/ 2134777 h 3831162"/>
                <a:gd name="connsiteX199" fmla="*/ 1601084 w 1877460"/>
                <a:gd name="connsiteY199" fmla="*/ 2149072 h 3831162"/>
                <a:gd name="connsiteX200" fmla="*/ 1648734 w 1877460"/>
                <a:gd name="connsiteY200" fmla="*/ 2163368 h 3831162"/>
                <a:gd name="connsiteX201" fmla="*/ 1653500 w 1877460"/>
                <a:gd name="connsiteY201" fmla="*/ 2177663 h 3831162"/>
                <a:gd name="connsiteX202" fmla="*/ 1658266 w 1877460"/>
                <a:gd name="connsiteY202" fmla="*/ 2191958 h 3831162"/>
                <a:gd name="connsiteX203" fmla="*/ 1653500 w 1877460"/>
                <a:gd name="connsiteY203" fmla="*/ 2206254 h 3831162"/>
                <a:gd name="connsiteX204" fmla="*/ 1634440 w 1877460"/>
                <a:gd name="connsiteY204" fmla="*/ 2239610 h 3831162"/>
                <a:gd name="connsiteX205" fmla="*/ 1634440 w 1877460"/>
                <a:gd name="connsiteY205" fmla="*/ 2253905 h 3831162"/>
                <a:gd name="connsiteX206" fmla="*/ 1643970 w 1877460"/>
                <a:gd name="connsiteY206" fmla="*/ 2282496 h 3831162"/>
                <a:gd name="connsiteX207" fmla="*/ 1653500 w 1877460"/>
                <a:gd name="connsiteY207" fmla="*/ 2311086 h 3831162"/>
                <a:gd name="connsiteX208" fmla="*/ 1696386 w 1877460"/>
                <a:gd name="connsiteY208" fmla="*/ 2339677 h 3831162"/>
                <a:gd name="connsiteX209" fmla="*/ 1710682 w 1877460"/>
                <a:gd name="connsiteY209" fmla="*/ 2353973 h 3831162"/>
                <a:gd name="connsiteX210" fmla="*/ 1715446 w 1877460"/>
                <a:gd name="connsiteY210" fmla="*/ 2368268 h 3831162"/>
                <a:gd name="connsiteX211" fmla="*/ 1720212 w 1877460"/>
                <a:gd name="connsiteY211" fmla="*/ 2392094 h 3831162"/>
                <a:gd name="connsiteX212" fmla="*/ 1720212 w 1877460"/>
                <a:gd name="connsiteY212" fmla="*/ 2411154 h 3831162"/>
                <a:gd name="connsiteX213" fmla="*/ 1715446 w 1877460"/>
                <a:gd name="connsiteY213" fmla="*/ 2434980 h 3831162"/>
                <a:gd name="connsiteX214" fmla="*/ 1701152 w 1877460"/>
                <a:gd name="connsiteY214" fmla="*/ 2458806 h 3831162"/>
                <a:gd name="connsiteX215" fmla="*/ 1667796 w 1877460"/>
                <a:gd name="connsiteY215" fmla="*/ 2511222 h 3831162"/>
                <a:gd name="connsiteX216" fmla="*/ 1634440 w 1877460"/>
                <a:gd name="connsiteY216" fmla="*/ 2530282 h 3831162"/>
                <a:gd name="connsiteX217" fmla="*/ 1634440 w 1877460"/>
                <a:gd name="connsiteY217" fmla="*/ 2535048 h 3831162"/>
                <a:gd name="connsiteX218" fmla="*/ 1643970 w 1877460"/>
                <a:gd name="connsiteY218" fmla="*/ 2549343 h 3831162"/>
                <a:gd name="connsiteX219" fmla="*/ 1701152 w 1877460"/>
                <a:gd name="connsiteY219" fmla="*/ 2616055 h 3831162"/>
                <a:gd name="connsiteX220" fmla="*/ 1739272 w 1877460"/>
                <a:gd name="connsiteY220" fmla="*/ 2644646 h 3831162"/>
                <a:gd name="connsiteX221" fmla="*/ 1786924 w 1877460"/>
                <a:gd name="connsiteY221" fmla="*/ 2687532 h 3831162"/>
                <a:gd name="connsiteX222" fmla="*/ 1820280 w 1877460"/>
                <a:gd name="connsiteY222" fmla="*/ 2720888 h 3831162"/>
                <a:gd name="connsiteX223" fmla="*/ 1829810 w 1877460"/>
                <a:gd name="connsiteY223" fmla="*/ 2739948 h 3831162"/>
                <a:gd name="connsiteX224" fmla="*/ 1844106 w 1877460"/>
                <a:gd name="connsiteY224" fmla="*/ 2768539 h 3831162"/>
                <a:gd name="connsiteX225" fmla="*/ 1863166 w 1877460"/>
                <a:gd name="connsiteY225" fmla="*/ 2787599 h 3831162"/>
                <a:gd name="connsiteX226" fmla="*/ 1872696 w 1877460"/>
                <a:gd name="connsiteY226" fmla="*/ 2806660 h 3831162"/>
                <a:gd name="connsiteX227" fmla="*/ 1877460 w 1877460"/>
                <a:gd name="connsiteY227" fmla="*/ 2816190 h 3831162"/>
                <a:gd name="connsiteX228" fmla="*/ 1877460 w 1877460"/>
                <a:gd name="connsiteY228" fmla="*/ 2830485 h 3831162"/>
                <a:gd name="connsiteX229" fmla="*/ 1863166 w 1877460"/>
                <a:gd name="connsiteY229" fmla="*/ 2868606 h 3831162"/>
                <a:gd name="connsiteX230" fmla="*/ 1853636 w 1877460"/>
                <a:gd name="connsiteY230" fmla="*/ 2897197 h 3831162"/>
                <a:gd name="connsiteX231" fmla="*/ 1839340 w 1877460"/>
                <a:gd name="connsiteY231" fmla="*/ 2940083 h 3831162"/>
                <a:gd name="connsiteX232" fmla="*/ 1820280 w 1877460"/>
                <a:gd name="connsiteY232" fmla="*/ 2968674 h 3831162"/>
                <a:gd name="connsiteX233" fmla="*/ 1782158 w 1877460"/>
                <a:gd name="connsiteY233" fmla="*/ 3021090 h 3831162"/>
                <a:gd name="connsiteX234" fmla="*/ 1724976 w 1877460"/>
                <a:gd name="connsiteY234" fmla="*/ 3087802 h 3831162"/>
                <a:gd name="connsiteX235" fmla="*/ 1710682 w 1877460"/>
                <a:gd name="connsiteY235" fmla="*/ 3106863 h 3831162"/>
                <a:gd name="connsiteX236" fmla="*/ 1682090 w 1877460"/>
                <a:gd name="connsiteY236" fmla="*/ 3140218 h 3831162"/>
                <a:gd name="connsiteX237" fmla="*/ 1639204 w 1877460"/>
                <a:gd name="connsiteY237" fmla="*/ 3206930 h 3831162"/>
                <a:gd name="connsiteX238" fmla="*/ 1624910 w 1877460"/>
                <a:gd name="connsiteY238" fmla="*/ 3225991 h 3831162"/>
                <a:gd name="connsiteX239" fmla="*/ 1586788 w 1877460"/>
                <a:gd name="connsiteY239" fmla="*/ 3278407 h 3831162"/>
                <a:gd name="connsiteX240" fmla="*/ 1572492 w 1877460"/>
                <a:gd name="connsiteY240" fmla="*/ 3297468 h 3831162"/>
                <a:gd name="connsiteX241" fmla="*/ 1558198 w 1877460"/>
                <a:gd name="connsiteY241" fmla="*/ 3311763 h 3831162"/>
                <a:gd name="connsiteX242" fmla="*/ 1520076 w 1877460"/>
                <a:gd name="connsiteY242" fmla="*/ 3364180 h 3831162"/>
                <a:gd name="connsiteX243" fmla="*/ 1477190 w 1877460"/>
                <a:gd name="connsiteY243" fmla="*/ 3402300 h 3831162"/>
                <a:gd name="connsiteX244" fmla="*/ 1439070 w 1877460"/>
                <a:gd name="connsiteY244" fmla="*/ 3435656 h 3831162"/>
                <a:gd name="connsiteX245" fmla="*/ 1429538 w 1877460"/>
                <a:gd name="connsiteY245" fmla="*/ 3454717 h 3831162"/>
                <a:gd name="connsiteX246" fmla="*/ 1410478 w 1877460"/>
                <a:gd name="connsiteY246" fmla="*/ 3469012 h 3831162"/>
                <a:gd name="connsiteX247" fmla="*/ 1396184 w 1877460"/>
                <a:gd name="connsiteY247" fmla="*/ 3483308 h 3831162"/>
                <a:gd name="connsiteX248" fmla="*/ 1386652 w 1877460"/>
                <a:gd name="connsiteY248" fmla="*/ 3488073 h 3831162"/>
                <a:gd name="connsiteX249" fmla="*/ 1348532 w 1877460"/>
                <a:gd name="connsiteY249" fmla="*/ 3535724 h 3831162"/>
                <a:gd name="connsiteX250" fmla="*/ 1291350 w 1877460"/>
                <a:gd name="connsiteY250" fmla="*/ 3607201 h 3831162"/>
                <a:gd name="connsiteX251" fmla="*/ 1286586 w 1877460"/>
                <a:gd name="connsiteY251" fmla="*/ 3607201 h 3831162"/>
                <a:gd name="connsiteX252" fmla="*/ 1272290 w 1877460"/>
                <a:gd name="connsiteY252" fmla="*/ 3616731 h 3831162"/>
                <a:gd name="connsiteX253" fmla="*/ 1248464 w 1877460"/>
                <a:gd name="connsiteY253" fmla="*/ 3616731 h 3831162"/>
                <a:gd name="connsiteX254" fmla="*/ 1238934 w 1877460"/>
                <a:gd name="connsiteY254" fmla="*/ 3626262 h 3831162"/>
                <a:gd name="connsiteX255" fmla="*/ 1205578 w 1877460"/>
                <a:gd name="connsiteY255" fmla="*/ 3602436 h 3831162"/>
                <a:gd name="connsiteX256" fmla="*/ 1200812 w 1877460"/>
                <a:gd name="connsiteY256" fmla="*/ 3602436 h 3831162"/>
                <a:gd name="connsiteX257" fmla="*/ 1181752 w 1877460"/>
                <a:gd name="connsiteY257" fmla="*/ 3607201 h 3831162"/>
                <a:gd name="connsiteX258" fmla="*/ 1157926 w 1877460"/>
                <a:gd name="connsiteY258" fmla="*/ 3626262 h 3831162"/>
                <a:gd name="connsiteX259" fmla="*/ 1124570 w 1877460"/>
                <a:gd name="connsiteY259" fmla="*/ 3631027 h 3831162"/>
                <a:gd name="connsiteX260" fmla="*/ 1105510 w 1877460"/>
                <a:gd name="connsiteY260" fmla="*/ 3635792 h 3831162"/>
                <a:gd name="connsiteX261" fmla="*/ 1095980 w 1877460"/>
                <a:gd name="connsiteY261" fmla="*/ 3645322 h 3831162"/>
                <a:gd name="connsiteX262" fmla="*/ 1091214 w 1877460"/>
                <a:gd name="connsiteY262" fmla="*/ 3626262 h 3831162"/>
                <a:gd name="connsiteX263" fmla="*/ 1095980 w 1877460"/>
                <a:gd name="connsiteY263" fmla="*/ 3602436 h 3831162"/>
                <a:gd name="connsiteX264" fmla="*/ 1105510 w 1877460"/>
                <a:gd name="connsiteY264" fmla="*/ 3588140 h 3831162"/>
                <a:gd name="connsiteX265" fmla="*/ 1105510 w 1877460"/>
                <a:gd name="connsiteY265" fmla="*/ 3573845 h 3831162"/>
                <a:gd name="connsiteX266" fmla="*/ 1100746 w 1877460"/>
                <a:gd name="connsiteY266" fmla="*/ 3578610 h 3831162"/>
                <a:gd name="connsiteX267" fmla="*/ 1091214 w 1877460"/>
                <a:gd name="connsiteY267" fmla="*/ 3597671 h 3831162"/>
                <a:gd name="connsiteX268" fmla="*/ 1081684 w 1877460"/>
                <a:gd name="connsiteY268" fmla="*/ 3626262 h 3831162"/>
                <a:gd name="connsiteX269" fmla="*/ 1072154 w 1877460"/>
                <a:gd name="connsiteY269" fmla="*/ 3640557 h 3831162"/>
                <a:gd name="connsiteX270" fmla="*/ 1043564 w 1877460"/>
                <a:gd name="connsiteY270" fmla="*/ 3645322 h 3831162"/>
                <a:gd name="connsiteX271" fmla="*/ 1014972 w 1877460"/>
                <a:gd name="connsiteY271" fmla="*/ 3626262 h 3831162"/>
                <a:gd name="connsiteX272" fmla="*/ 1005442 w 1877460"/>
                <a:gd name="connsiteY272" fmla="*/ 3626262 h 3831162"/>
                <a:gd name="connsiteX273" fmla="*/ 1014972 w 1877460"/>
                <a:gd name="connsiteY273" fmla="*/ 3640557 h 3831162"/>
                <a:gd name="connsiteX274" fmla="*/ 1019738 w 1877460"/>
                <a:gd name="connsiteY274" fmla="*/ 3654852 h 3831162"/>
                <a:gd name="connsiteX275" fmla="*/ 1014972 w 1877460"/>
                <a:gd name="connsiteY275" fmla="*/ 3664382 h 3831162"/>
                <a:gd name="connsiteX276" fmla="*/ 1000678 w 1877460"/>
                <a:gd name="connsiteY276" fmla="*/ 3664382 h 3831162"/>
                <a:gd name="connsiteX277" fmla="*/ 986382 w 1877460"/>
                <a:gd name="connsiteY277" fmla="*/ 3673913 h 3831162"/>
                <a:gd name="connsiteX278" fmla="*/ 972086 w 1877460"/>
                <a:gd name="connsiteY278" fmla="*/ 3688208 h 3831162"/>
                <a:gd name="connsiteX279" fmla="*/ 967322 w 1877460"/>
                <a:gd name="connsiteY279" fmla="*/ 3688208 h 3831162"/>
                <a:gd name="connsiteX280" fmla="*/ 957792 w 1877460"/>
                <a:gd name="connsiteY280" fmla="*/ 3669148 h 3831162"/>
                <a:gd name="connsiteX281" fmla="*/ 938730 w 1877460"/>
                <a:gd name="connsiteY281" fmla="*/ 3678678 h 3831162"/>
                <a:gd name="connsiteX282" fmla="*/ 924436 w 1877460"/>
                <a:gd name="connsiteY282" fmla="*/ 3692973 h 3831162"/>
                <a:gd name="connsiteX283" fmla="*/ 895844 w 1877460"/>
                <a:gd name="connsiteY283" fmla="*/ 3697738 h 3831162"/>
                <a:gd name="connsiteX284" fmla="*/ 881550 w 1877460"/>
                <a:gd name="connsiteY284" fmla="*/ 3712034 h 3831162"/>
                <a:gd name="connsiteX285" fmla="*/ 848194 w 1877460"/>
                <a:gd name="connsiteY285" fmla="*/ 3726329 h 3831162"/>
                <a:gd name="connsiteX286" fmla="*/ 829132 w 1877460"/>
                <a:gd name="connsiteY286" fmla="*/ 3726329 h 3831162"/>
                <a:gd name="connsiteX287" fmla="*/ 791012 w 1877460"/>
                <a:gd name="connsiteY287" fmla="*/ 3740624 h 3831162"/>
                <a:gd name="connsiteX288" fmla="*/ 781482 w 1877460"/>
                <a:gd name="connsiteY288" fmla="*/ 3759685 h 3831162"/>
                <a:gd name="connsiteX289" fmla="*/ 767186 w 1877460"/>
                <a:gd name="connsiteY289" fmla="*/ 3769215 h 3831162"/>
                <a:gd name="connsiteX290" fmla="*/ 752890 w 1877460"/>
                <a:gd name="connsiteY290" fmla="*/ 3759685 h 3831162"/>
                <a:gd name="connsiteX291" fmla="*/ 705240 w 1877460"/>
                <a:gd name="connsiteY291" fmla="*/ 3769215 h 3831162"/>
                <a:gd name="connsiteX292" fmla="*/ 657588 w 1877460"/>
                <a:gd name="connsiteY292" fmla="*/ 3783511 h 3831162"/>
                <a:gd name="connsiteX293" fmla="*/ 633762 w 1877460"/>
                <a:gd name="connsiteY293" fmla="*/ 3783511 h 3831162"/>
                <a:gd name="connsiteX294" fmla="*/ 614702 w 1877460"/>
                <a:gd name="connsiteY294" fmla="*/ 3778746 h 3831162"/>
                <a:gd name="connsiteX295" fmla="*/ 595642 w 1877460"/>
                <a:gd name="connsiteY295" fmla="*/ 3797806 h 3831162"/>
                <a:gd name="connsiteX296" fmla="*/ 571816 w 1877460"/>
                <a:gd name="connsiteY296" fmla="*/ 3821632 h 3831162"/>
                <a:gd name="connsiteX297" fmla="*/ 547990 w 1877460"/>
                <a:gd name="connsiteY297" fmla="*/ 3831162 h 3831162"/>
                <a:gd name="connsiteX298" fmla="*/ 538460 w 1877460"/>
                <a:gd name="connsiteY298" fmla="*/ 3826397 h 3831162"/>
                <a:gd name="connsiteX299" fmla="*/ 543226 w 1877460"/>
                <a:gd name="connsiteY299" fmla="*/ 3812102 h 3831162"/>
                <a:gd name="connsiteX300" fmla="*/ 562286 w 1877460"/>
                <a:gd name="connsiteY300" fmla="*/ 3802571 h 3831162"/>
                <a:gd name="connsiteX301" fmla="*/ 571816 w 1877460"/>
                <a:gd name="connsiteY301" fmla="*/ 3783511 h 3831162"/>
                <a:gd name="connsiteX302" fmla="*/ 571816 w 1877460"/>
                <a:gd name="connsiteY302" fmla="*/ 3769215 h 3831162"/>
                <a:gd name="connsiteX303" fmla="*/ 567050 w 1877460"/>
                <a:gd name="connsiteY303" fmla="*/ 3759685 h 3831162"/>
                <a:gd name="connsiteX304" fmla="*/ 557520 w 1877460"/>
                <a:gd name="connsiteY304" fmla="*/ 3759685 h 3831162"/>
                <a:gd name="connsiteX305" fmla="*/ 543226 w 1877460"/>
                <a:gd name="connsiteY305" fmla="*/ 3745390 h 3831162"/>
                <a:gd name="connsiteX306" fmla="*/ 528930 w 1877460"/>
                <a:gd name="connsiteY306" fmla="*/ 3707269 h 3831162"/>
                <a:gd name="connsiteX307" fmla="*/ 524164 w 1877460"/>
                <a:gd name="connsiteY307" fmla="*/ 3707269 h 3831162"/>
                <a:gd name="connsiteX308" fmla="*/ 519400 w 1877460"/>
                <a:gd name="connsiteY308" fmla="*/ 3716799 h 3831162"/>
                <a:gd name="connsiteX309" fmla="*/ 514634 w 1877460"/>
                <a:gd name="connsiteY309" fmla="*/ 3740624 h 3831162"/>
                <a:gd name="connsiteX310" fmla="*/ 509870 w 1877460"/>
                <a:gd name="connsiteY310" fmla="*/ 3750155 h 3831162"/>
                <a:gd name="connsiteX311" fmla="*/ 505104 w 1877460"/>
                <a:gd name="connsiteY311" fmla="*/ 3754920 h 3831162"/>
                <a:gd name="connsiteX312" fmla="*/ 495574 w 1877460"/>
                <a:gd name="connsiteY312" fmla="*/ 3764450 h 3831162"/>
                <a:gd name="connsiteX313" fmla="*/ 486044 w 1877460"/>
                <a:gd name="connsiteY313" fmla="*/ 3764450 h 3831162"/>
                <a:gd name="connsiteX314" fmla="*/ 457452 w 1877460"/>
                <a:gd name="connsiteY314" fmla="*/ 3764450 h 3831162"/>
                <a:gd name="connsiteX315" fmla="*/ 457452 w 1877460"/>
                <a:gd name="connsiteY315" fmla="*/ 3750155 h 3831162"/>
                <a:gd name="connsiteX316" fmla="*/ 457452 w 1877460"/>
                <a:gd name="connsiteY316" fmla="*/ 3745390 h 3831162"/>
                <a:gd name="connsiteX317" fmla="*/ 462218 w 1877460"/>
                <a:gd name="connsiteY317" fmla="*/ 3726329 h 3831162"/>
                <a:gd name="connsiteX318" fmla="*/ 457452 w 1877460"/>
                <a:gd name="connsiteY318" fmla="*/ 3726329 h 3831162"/>
                <a:gd name="connsiteX319" fmla="*/ 462218 w 1877460"/>
                <a:gd name="connsiteY319" fmla="*/ 3712034 h 3831162"/>
                <a:gd name="connsiteX320" fmla="*/ 466982 w 1877460"/>
                <a:gd name="connsiteY320" fmla="*/ 3712034 h 3831162"/>
                <a:gd name="connsiteX321" fmla="*/ 476514 w 1877460"/>
                <a:gd name="connsiteY321" fmla="*/ 3707269 h 3831162"/>
                <a:gd name="connsiteX322" fmla="*/ 476514 w 1877460"/>
                <a:gd name="connsiteY322" fmla="*/ 3702504 h 3831162"/>
                <a:gd name="connsiteX323" fmla="*/ 476514 w 1877460"/>
                <a:gd name="connsiteY323" fmla="*/ 3692973 h 3831162"/>
                <a:gd name="connsiteX324" fmla="*/ 466982 w 1877460"/>
                <a:gd name="connsiteY324" fmla="*/ 3692973 h 3831162"/>
                <a:gd name="connsiteX325" fmla="*/ 466982 w 1877460"/>
                <a:gd name="connsiteY325" fmla="*/ 3683443 h 3831162"/>
                <a:gd name="connsiteX326" fmla="*/ 476514 w 1877460"/>
                <a:gd name="connsiteY326" fmla="*/ 3659618 h 3831162"/>
                <a:gd name="connsiteX327" fmla="*/ 476514 w 1877460"/>
                <a:gd name="connsiteY327" fmla="*/ 3654852 h 3831162"/>
                <a:gd name="connsiteX328" fmla="*/ 466982 w 1877460"/>
                <a:gd name="connsiteY328" fmla="*/ 3654852 h 3831162"/>
                <a:gd name="connsiteX329" fmla="*/ 428862 w 1877460"/>
                <a:gd name="connsiteY329" fmla="*/ 3650087 h 3831162"/>
                <a:gd name="connsiteX330" fmla="*/ 376446 w 1877460"/>
                <a:gd name="connsiteY330" fmla="*/ 3616731 h 3831162"/>
                <a:gd name="connsiteX331" fmla="*/ 362150 w 1877460"/>
                <a:gd name="connsiteY331" fmla="*/ 3616731 h 3831162"/>
                <a:gd name="connsiteX332" fmla="*/ 357386 w 1877460"/>
                <a:gd name="connsiteY332" fmla="*/ 3588140 h 3831162"/>
                <a:gd name="connsiteX333" fmla="*/ 343090 w 1877460"/>
                <a:gd name="connsiteY333" fmla="*/ 3588140 h 3831162"/>
                <a:gd name="connsiteX334" fmla="*/ 328794 w 1877460"/>
                <a:gd name="connsiteY334" fmla="*/ 3607201 h 3831162"/>
                <a:gd name="connsiteX335" fmla="*/ 314498 w 1877460"/>
                <a:gd name="connsiteY335" fmla="*/ 3592906 h 3831162"/>
                <a:gd name="connsiteX336" fmla="*/ 300204 w 1877460"/>
                <a:gd name="connsiteY336" fmla="*/ 3588140 h 3831162"/>
                <a:gd name="connsiteX337" fmla="*/ 295438 w 1877460"/>
                <a:gd name="connsiteY337" fmla="*/ 3573845 h 3831162"/>
                <a:gd name="connsiteX338" fmla="*/ 295438 w 1877460"/>
                <a:gd name="connsiteY338" fmla="*/ 3554785 h 3831162"/>
                <a:gd name="connsiteX339" fmla="*/ 295438 w 1877460"/>
                <a:gd name="connsiteY339" fmla="*/ 3530959 h 3831162"/>
                <a:gd name="connsiteX340" fmla="*/ 290674 w 1877460"/>
                <a:gd name="connsiteY340" fmla="*/ 3507133 h 3831162"/>
                <a:gd name="connsiteX341" fmla="*/ 285908 w 1877460"/>
                <a:gd name="connsiteY341" fmla="*/ 3469012 h 3831162"/>
                <a:gd name="connsiteX342" fmla="*/ 290674 w 1877460"/>
                <a:gd name="connsiteY342" fmla="*/ 3435656 h 3831162"/>
                <a:gd name="connsiteX343" fmla="*/ 300204 w 1877460"/>
                <a:gd name="connsiteY343" fmla="*/ 3416596 h 3831162"/>
                <a:gd name="connsiteX344" fmla="*/ 304968 w 1877460"/>
                <a:gd name="connsiteY344" fmla="*/ 3402300 h 3831162"/>
                <a:gd name="connsiteX345" fmla="*/ 309734 w 1877460"/>
                <a:gd name="connsiteY345" fmla="*/ 3364180 h 3831162"/>
                <a:gd name="connsiteX346" fmla="*/ 314498 w 1877460"/>
                <a:gd name="connsiteY346" fmla="*/ 3321294 h 3831162"/>
                <a:gd name="connsiteX347" fmla="*/ 309734 w 1877460"/>
                <a:gd name="connsiteY347" fmla="*/ 3306998 h 3831162"/>
                <a:gd name="connsiteX348" fmla="*/ 309734 w 1877460"/>
                <a:gd name="connsiteY348" fmla="*/ 3297468 h 3831162"/>
                <a:gd name="connsiteX349" fmla="*/ 319264 w 1877460"/>
                <a:gd name="connsiteY349" fmla="*/ 3297468 h 3831162"/>
                <a:gd name="connsiteX350" fmla="*/ 314498 w 1877460"/>
                <a:gd name="connsiteY350" fmla="*/ 3292703 h 3831162"/>
                <a:gd name="connsiteX351" fmla="*/ 314498 w 1877460"/>
                <a:gd name="connsiteY351" fmla="*/ 3287938 h 3831162"/>
                <a:gd name="connsiteX352" fmla="*/ 309734 w 1877460"/>
                <a:gd name="connsiteY352" fmla="*/ 3278407 h 3831162"/>
                <a:gd name="connsiteX353" fmla="*/ 314498 w 1877460"/>
                <a:gd name="connsiteY353" fmla="*/ 3273642 h 3831162"/>
                <a:gd name="connsiteX354" fmla="*/ 324030 w 1877460"/>
                <a:gd name="connsiteY354" fmla="*/ 3273642 h 3831162"/>
                <a:gd name="connsiteX355" fmla="*/ 324030 w 1877460"/>
                <a:gd name="connsiteY355" fmla="*/ 3268877 h 3831162"/>
                <a:gd name="connsiteX356" fmla="*/ 324030 w 1877460"/>
                <a:gd name="connsiteY356" fmla="*/ 3264112 h 3831162"/>
                <a:gd name="connsiteX357" fmla="*/ 314498 w 1877460"/>
                <a:gd name="connsiteY357" fmla="*/ 3240286 h 3831162"/>
                <a:gd name="connsiteX358" fmla="*/ 314498 w 1877460"/>
                <a:gd name="connsiteY358" fmla="*/ 3225991 h 3831162"/>
                <a:gd name="connsiteX359" fmla="*/ 304968 w 1877460"/>
                <a:gd name="connsiteY359" fmla="*/ 3192635 h 3831162"/>
                <a:gd name="connsiteX360" fmla="*/ 290674 w 1877460"/>
                <a:gd name="connsiteY360" fmla="*/ 3159279 h 3831162"/>
                <a:gd name="connsiteX361" fmla="*/ 271612 w 1877460"/>
                <a:gd name="connsiteY361" fmla="*/ 3130688 h 3831162"/>
                <a:gd name="connsiteX362" fmla="*/ 276378 w 1877460"/>
                <a:gd name="connsiteY362" fmla="*/ 3092567 h 3831162"/>
                <a:gd name="connsiteX363" fmla="*/ 285908 w 1877460"/>
                <a:gd name="connsiteY363" fmla="*/ 3054446 h 3831162"/>
                <a:gd name="connsiteX364" fmla="*/ 285908 w 1877460"/>
                <a:gd name="connsiteY364" fmla="*/ 3035386 h 3831162"/>
                <a:gd name="connsiteX365" fmla="*/ 281142 w 1877460"/>
                <a:gd name="connsiteY365" fmla="*/ 3016325 h 3831162"/>
                <a:gd name="connsiteX366" fmla="*/ 257318 w 1877460"/>
                <a:gd name="connsiteY366" fmla="*/ 2992500 h 3831162"/>
                <a:gd name="connsiteX367" fmla="*/ 252552 w 1877460"/>
                <a:gd name="connsiteY367" fmla="*/ 2954379 h 3831162"/>
                <a:gd name="connsiteX368" fmla="*/ 247788 w 1877460"/>
                <a:gd name="connsiteY368" fmla="*/ 2921023 h 3831162"/>
                <a:gd name="connsiteX369" fmla="*/ 247788 w 1877460"/>
                <a:gd name="connsiteY369" fmla="*/ 2897197 h 3831162"/>
                <a:gd name="connsiteX370" fmla="*/ 252552 w 1877460"/>
                <a:gd name="connsiteY370" fmla="*/ 2878137 h 3831162"/>
                <a:gd name="connsiteX371" fmla="*/ 262082 w 1877460"/>
                <a:gd name="connsiteY371" fmla="*/ 2863841 h 3831162"/>
                <a:gd name="connsiteX372" fmla="*/ 300204 w 1877460"/>
                <a:gd name="connsiteY372" fmla="*/ 2806660 h 3831162"/>
                <a:gd name="connsiteX373" fmla="*/ 304968 w 1877460"/>
                <a:gd name="connsiteY373" fmla="*/ 2778069 h 3831162"/>
                <a:gd name="connsiteX374" fmla="*/ 333560 w 1877460"/>
                <a:gd name="connsiteY374" fmla="*/ 2778069 h 3831162"/>
                <a:gd name="connsiteX375" fmla="*/ 319264 w 1877460"/>
                <a:gd name="connsiteY375" fmla="*/ 2749478 h 3831162"/>
                <a:gd name="connsiteX376" fmla="*/ 314498 w 1877460"/>
                <a:gd name="connsiteY376" fmla="*/ 2735183 h 3831162"/>
                <a:gd name="connsiteX377" fmla="*/ 314498 w 1877460"/>
                <a:gd name="connsiteY377" fmla="*/ 2720888 h 3831162"/>
                <a:gd name="connsiteX378" fmla="*/ 357386 w 1877460"/>
                <a:gd name="connsiteY378" fmla="*/ 2706592 h 3831162"/>
                <a:gd name="connsiteX379" fmla="*/ 371680 w 1877460"/>
                <a:gd name="connsiteY379" fmla="*/ 2716122 h 3831162"/>
                <a:gd name="connsiteX380" fmla="*/ 405036 w 1877460"/>
                <a:gd name="connsiteY380" fmla="*/ 2706592 h 3831162"/>
                <a:gd name="connsiteX381" fmla="*/ 438392 w 1877460"/>
                <a:gd name="connsiteY381" fmla="*/ 2682766 h 3831162"/>
                <a:gd name="connsiteX382" fmla="*/ 438392 w 1877460"/>
                <a:gd name="connsiteY382" fmla="*/ 2673236 h 3831162"/>
                <a:gd name="connsiteX383" fmla="*/ 433628 w 1877460"/>
                <a:gd name="connsiteY383" fmla="*/ 2658941 h 3831162"/>
                <a:gd name="connsiteX384" fmla="*/ 424096 w 1877460"/>
                <a:gd name="connsiteY384" fmla="*/ 2639880 h 3831162"/>
                <a:gd name="connsiteX385" fmla="*/ 428862 w 1877460"/>
                <a:gd name="connsiteY385" fmla="*/ 2635115 h 3831162"/>
                <a:gd name="connsiteX386" fmla="*/ 438392 w 1877460"/>
                <a:gd name="connsiteY386" fmla="*/ 2635115 h 3831162"/>
                <a:gd name="connsiteX387" fmla="*/ 433628 w 1877460"/>
                <a:gd name="connsiteY387" fmla="*/ 2625585 h 3831162"/>
                <a:gd name="connsiteX388" fmla="*/ 438392 w 1877460"/>
                <a:gd name="connsiteY388" fmla="*/ 2616055 h 3831162"/>
                <a:gd name="connsiteX389" fmla="*/ 447922 w 1877460"/>
                <a:gd name="connsiteY389" fmla="*/ 2620820 h 3831162"/>
                <a:gd name="connsiteX390" fmla="*/ 466982 w 1877460"/>
                <a:gd name="connsiteY390" fmla="*/ 2587464 h 3831162"/>
                <a:gd name="connsiteX391" fmla="*/ 471748 w 1877460"/>
                <a:gd name="connsiteY391" fmla="*/ 2563638 h 3831162"/>
                <a:gd name="connsiteX392" fmla="*/ 505104 w 1877460"/>
                <a:gd name="connsiteY392" fmla="*/ 2554108 h 3831162"/>
                <a:gd name="connsiteX393" fmla="*/ 543226 w 1877460"/>
                <a:gd name="connsiteY393" fmla="*/ 2501692 h 3831162"/>
                <a:gd name="connsiteX394" fmla="*/ 562286 w 1877460"/>
                <a:gd name="connsiteY394" fmla="*/ 2487396 h 3831162"/>
                <a:gd name="connsiteX395" fmla="*/ 581346 w 1877460"/>
                <a:gd name="connsiteY395" fmla="*/ 2477866 h 3831162"/>
                <a:gd name="connsiteX396" fmla="*/ 619468 w 1877460"/>
                <a:gd name="connsiteY396" fmla="*/ 2430215 h 3831162"/>
                <a:gd name="connsiteX397" fmla="*/ 638528 w 1877460"/>
                <a:gd name="connsiteY397" fmla="*/ 2425450 h 3831162"/>
                <a:gd name="connsiteX398" fmla="*/ 643292 w 1877460"/>
                <a:gd name="connsiteY398" fmla="*/ 2392094 h 3831162"/>
                <a:gd name="connsiteX399" fmla="*/ 676648 w 1877460"/>
                <a:gd name="connsiteY399" fmla="*/ 2349208 h 3831162"/>
                <a:gd name="connsiteX400" fmla="*/ 686178 w 1877460"/>
                <a:gd name="connsiteY400" fmla="*/ 2344442 h 3831162"/>
                <a:gd name="connsiteX401" fmla="*/ 700474 w 1877460"/>
                <a:gd name="connsiteY401" fmla="*/ 2301556 h 3831162"/>
                <a:gd name="connsiteX402" fmla="*/ 743360 w 1877460"/>
                <a:gd name="connsiteY402" fmla="*/ 2253905 h 3831162"/>
                <a:gd name="connsiteX403" fmla="*/ 767186 w 1877460"/>
                <a:gd name="connsiteY403" fmla="*/ 2196724 h 3831162"/>
                <a:gd name="connsiteX404" fmla="*/ 781482 w 1877460"/>
                <a:gd name="connsiteY404" fmla="*/ 2172898 h 3831162"/>
                <a:gd name="connsiteX405" fmla="*/ 786246 w 1877460"/>
                <a:gd name="connsiteY405" fmla="*/ 2149072 h 3831162"/>
                <a:gd name="connsiteX406" fmla="*/ 800542 w 1877460"/>
                <a:gd name="connsiteY406" fmla="*/ 2149072 h 3831162"/>
                <a:gd name="connsiteX407" fmla="*/ 814838 w 1877460"/>
                <a:gd name="connsiteY407" fmla="*/ 2130012 h 3831162"/>
                <a:gd name="connsiteX408" fmla="*/ 848194 w 1877460"/>
                <a:gd name="connsiteY408" fmla="*/ 2120482 h 3831162"/>
                <a:gd name="connsiteX409" fmla="*/ 876784 w 1877460"/>
                <a:gd name="connsiteY409" fmla="*/ 2125246 h 3831162"/>
                <a:gd name="connsiteX410" fmla="*/ 886314 w 1877460"/>
                <a:gd name="connsiteY410" fmla="*/ 2130012 h 3831162"/>
                <a:gd name="connsiteX411" fmla="*/ 900610 w 1877460"/>
                <a:gd name="connsiteY411" fmla="*/ 2130012 h 3831162"/>
                <a:gd name="connsiteX412" fmla="*/ 900610 w 1877460"/>
                <a:gd name="connsiteY412" fmla="*/ 2106186 h 3831162"/>
                <a:gd name="connsiteX413" fmla="*/ 891080 w 1877460"/>
                <a:gd name="connsiteY413" fmla="*/ 2096656 h 3831162"/>
                <a:gd name="connsiteX414" fmla="*/ 895844 w 1877460"/>
                <a:gd name="connsiteY414" fmla="*/ 2082360 h 3831162"/>
                <a:gd name="connsiteX415" fmla="*/ 914906 w 1877460"/>
                <a:gd name="connsiteY415" fmla="*/ 2072830 h 3831162"/>
                <a:gd name="connsiteX416" fmla="*/ 910140 w 1877460"/>
                <a:gd name="connsiteY416" fmla="*/ 2053770 h 3831162"/>
                <a:gd name="connsiteX417" fmla="*/ 910140 w 1877460"/>
                <a:gd name="connsiteY417" fmla="*/ 2039474 h 3831162"/>
                <a:gd name="connsiteX418" fmla="*/ 895844 w 1877460"/>
                <a:gd name="connsiteY418" fmla="*/ 2025179 h 3831162"/>
                <a:gd name="connsiteX419" fmla="*/ 900610 w 1877460"/>
                <a:gd name="connsiteY419" fmla="*/ 1987058 h 3831162"/>
                <a:gd name="connsiteX420" fmla="*/ 905374 w 1877460"/>
                <a:gd name="connsiteY420" fmla="*/ 1948937 h 3831162"/>
                <a:gd name="connsiteX421" fmla="*/ 910140 w 1877460"/>
                <a:gd name="connsiteY421" fmla="*/ 1896520 h 3831162"/>
                <a:gd name="connsiteX422" fmla="*/ 891080 w 1877460"/>
                <a:gd name="connsiteY422" fmla="*/ 1872695 h 3831162"/>
                <a:gd name="connsiteX423" fmla="*/ 829132 w 1877460"/>
                <a:gd name="connsiteY423" fmla="*/ 1829809 h 3831162"/>
                <a:gd name="connsiteX424" fmla="*/ 819602 w 1877460"/>
                <a:gd name="connsiteY424" fmla="*/ 1829809 h 3831162"/>
                <a:gd name="connsiteX425" fmla="*/ 805308 w 1877460"/>
                <a:gd name="connsiteY425" fmla="*/ 1825044 h 3831162"/>
                <a:gd name="connsiteX426" fmla="*/ 791012 w 1877460"/>
                <a:gd name="connsiteY426" fmla="*/ 1791688 h 3831162"/>
                <a:gd name="connsiteX427" fmla="*/ 795776 w 1877460"/>
                <a:gd name="connsiteY427" fmla="*/ 1767862 h 3831162"/>
                <a:gd name="connsiteX428" fmla="*/ 795776 w 1877460"/>
                <a:gd name="connsiteY428" fmla="*/ 1753567 h 3831162"/>
                <a:gd name="connsiteX429" fmla="*/ 791012 w 1877460"/>
                <a:gd name="connsiteY429" fmla="*/ 1753567 h 3831162"/>
                <a:gd name="connsiteX430" fmla="*/ 781482 w 1877460"/>
                <a:gd name="connsiteY430" fmla="*/ 1767862 h 3831162"/>
                <a:gd name="connsiteX431" fmla="*/ 762420 w 1877460"/>
                <a:gd name="connsiteY431" fmla="*/ 1786923 h 3831162"/>
                <a:gd name="connsiteX432" fmla="*/ 738596 w 1877460"/>
                <a:gd name="connsiteY432" fmla="*/ 1772627 h 3831162"/>
                <a:gd name="connsiteX433" fmla="*/ 724300 w 1877460"/>
                <a:gd name="connsiteY433" fmla="*/ 1777392 h 3831162"/>
                <a:gd name="connsiteX434" fmla="*/ 705240 w 1877460"/>
                <a:gd name="connsiteY434" fmla="*/ 1705915 h 3831162"/>
                <a:gd name="connsiteX435" fmla="*/ 700474 w 1877460"/>
                <a:gd name="connsiteY435" fmla="*/ 1677325 h 3831162"/>
                <a:gd name="connsiteX436" fmla="*/ 686178 w 1877460"/>
                <a:gd name="connsiteY436" fmla="*/ 1643969 h 3831162"/>
                <a:gd name="connsiteX437" fmla="*/ 662354 w 1877460"/>
                <a:gd name="connsiteY437" fmla="*/ 1624908 h 3831162"/>
                <a:gd name="connsiteX438" fmla="*/ 657588 w 1877460"/>
                <a:gd name="connsiteY438" fmla="*/ 1620143 h 3831162"/>
                <a:gd name="connsiteX439" fmla="*/ 652822 w 1877460"/>
                <a:gd name="connsiteY439" fmla="*/ 1601083 h 3831162"/>
                <a:gd name="connsiteX440" fmla="*/ 652822 w 1877460"/>
                <a:gd name="connsiteY440" fmla="*/ 1582022 h 3831162"/>
                <a:gd name="connsiteX441" fmla="*/ 648058 w 1877460"/>
                <a:gd name="connsiteY441" fmla="*/ 1553431 h 3831162"/>
                <a:gd name="connsiteX442" fmla="*/ 648058 w 1877460"/>
                <a:gd name="connsiteY442" fmla="*/ 1529606 h 3831162"/>
                <a:gd name="connsiteX443" fmla="*/ 652822 w 1877460"/>
                <a:gd name="connsiteY443" fmla="*/ 1515310 h 3831162"/>
                <a:gd name="connsiteX444" fmla="*/ 662354 w 1877460"/>
                <a:gd name="connsiteY444" fmla="*/ 1505780 h 3831162"/>
                <a:gd name="connsiteX445" fmla="*/ 676648 w 1877460"/>
                <a:gd name="connsiteY445" fmla="*/ 1477189 h 3831162"/>
                <a:gd name="connsiteX446" fmla="*/ 681414 w 1877460"/>
                <a:gd name="connsiteY446" fmla="*/ 1458129 h 3831162"/>
                <a:gd name="connsiteX447" fmla="*/ 681414 w 1877460"/>
                <a:gd name="connsiteY447" fmla="*/ 1424773 h 3831162"/>
                <a:gd name="connsiteX448" fmla="*/ 690944 w 1877460"/>
                <a:gd name="connsiteY448" fmla="*/ 1400947 h 3831162"/>
                <a:gd name="connsiteX449" fmla="*/ 695710 w 1877460"/>
                <a:gd name="connsiteY449" fmla="*/ 1386652 h 3831162"/>
                <a:gd name="connsiteX450" fmla="*/ 695710 w 1877460"/>
                <a:gd name="connsiteY450" fmla="*/ 1372356 h 3831162"/>
                <a:gd name="connsiteX451" fmla="*/ 690944 w 1877460"/>
                <a:gd name="connsiteY451" fmla="*/ 1358061 h 3831162"/>
                <a:gd name="connsiteX452" fmla="*/ 681414 w 1877460"/>
                <a:gd name="connsiteY452" fmla="*/ 1334236 h 3831162"/>
                <a:gd name="connsiteX453" fmla="*/ 662354 w 1877460"/>
                <a:gd name="connsiteY453" fmla="*/ 1310410 h 3831162"/>
                <a:gd name="connsiteX454" fmla="*/ 648058 w 1877460"/>
                <a:gd name="connsiteY454" fmla="*/ 1281819 h 3831162"/>
                <a:gd name="connsiteX455" fmla="*/ 643292 w 1877460"/>
                <a:gd name="connsiteY455" fmla="*/ 1257994 h 3831162"/>
                <a:gd name="connsiteX456" fmla="*/ 638528 w 1877460"/>
                <a:gd name="connsiteY456" fmla="*/ 1234168 h 3831162"/>
                <a:gd name="connsiteX457" fmla="*/ 643292 w 1877460"/>
                <a:gd name="connsiteY457" fmla="*/ 1215107 h 3831162"/>
                <a:gd name="connsiteX458" fmla="*/ 643292 w 1877460"/>
                <a:gd name="connsiteY458" fmla="*/ 1200812 h 3831162"/>
                <a:gd name="connsiteX459" fmla="*/ 662354 w 1877460"/>
                <a:gd name="connsiteY459" fmla="*/ 1186517 h 3831162"/>
                <a:gd name="connsiteX460" fmla="*/ 662354 w 1877460"/>
                <a:gd name="connsiteY460" fmla="*/ 1176986 h 3831162"/>
                <a:gd name="connsiteX461" fmla="*/ 657588 w 1877460"/>
                <a:gd name="connsiteY461" fmla="*/ 1138865 h 3831162"/>
                <a:gd name="connsiteX462" fmla="*/ 648058 w 1877460"/>
                <a:gd name="connsiteY462" fmla="*/ 1129335 h 3831162"/>
                <a:gd name="connsiteX463" fmla="*/ 628998 w 1877460"/>
                <a:gd name="connsiteY463" fmla="*/ 1129335 h 3831162"/>
                <a:gd name="connsiteX464" fmla="*/ 614702 w 1877460"/>
                <a:gd name="connsiteY464" fmla="*/ 1129335 h 3831162"/>
                <a:gd name="connsiteX465" fmla="*/ 614702 w 1877460"/>
                <a:gd name="connsiteY465" fmla="*/ 1124570 h 3831162"/>
                <a:gd name="connsiteX466" fmla="*/ 614702 w 1877460"/>
                <a:gd name="connsiteY466" fmla="*/ 1115040 h 3831162"/>
                <a:gd name="connsiteX467" fmla="*/ 614702 w 1877460"/>
                <a:gd name="connsiteY467" fmla="*/ 1100744 h 3831162"/>
                <a:gd name="connsiteX468" fmla="*/ 624232 w 1877460"/>
                <a:gd name="connsiteY468" fmla="*/ 1081684 h 3831162"/>
                <a:gd name="connsiteX469" fmla="*/ 628998 w 1877460"/>
                <a:gd name="connsiteY469" fmla="*/ 1072154 h 3831162"/>
                <a:gd name="connsiteX470" fmla="*/ 628998 w 1877460"/>
                <a:gd name="connsiteY470" fmla="*/ 1057858 h 3831162"/>
                <a:gd name="connsiteX471" fmla="*/ 619468 w 1877460"/>
                <a:gd name="connsiteY471" fmla="*/ 1029267 h 3831162"/>
                <a:gd name="connsiteX472" fmla="*/ 619468 w 1877460"/>
                <a:gd name="connsiteY472" fmla="*/ 986381 h 3831162"/>
                <a:gd name="connsiteX473" fmla="*/ 619468 w 1877460"/>
                <a:gd name="connsiteY473" fmla="*/ 953025 h 3831162"/>
                <a:gd name="connsiteX474" fmla="*/ 643292 w 1877460"/>
                <a:gd name="connsiteY474" fmla="*/ 929200 h 3831162"/>
                <a:gd name="connsiteX475" fmla="*/ 643292 w 1877460"/>
                <a:gd name="connsiteY475" fmla="*/ 919670 h 3831162"/>
                <a:gd name="connsiteX476" fmla="*/ 614702 w 1877460"/>
                <a:gd name="connsiteY476" fmla="*/ 895844 h 3831162"/>
                <a:gd name="connsiteX477" fmla="*/ 600406 w 1877460"/>
                <a:gd name="connsiteY477" fmla="*/ 862488 h 3831162"/>
                <a:gd name="connsiteX478" fmla="*/ 590876 w 1877460"/>
                <a:gd name="connsiteY478" fmla="*/ 848193 h 3831162"/>
                <a:gd name="connsiteX479" fmla="*/ 571816 w 1877460"/>
                <a:gd name="connsiteY479" fmla="*/ 843427 h 3831162"/>
                <a:gd name="connsiteX480" fmla="*/ 557520 w 1877460"/>
                <a:gd name="connsiteY480" fmla="*/ 791011 h 3831162"/>
                <a:gd name="connsiteX481" fmla="*/ 538460 w 1877460"/>
                <a:gd name="connsiteY481" fmla="*/ 767185 h 3831162"/>
                <a:gd name="connsiteX482" fmla="*/ 519400 w 1877460"/>
                <a:gd name="connsiteY482" fmla="*/ 748125 h 3831162"/>
                <a:gd name="connsiteX483" fmla="*/ 509870 w 1877460"/>
                <a:gd name="connsiteY483" fmla="*/ 738595 h 3831162"/>
                <a:gd name="connsiteX484" fmla="*/ 443158 w 1877460"/>
                <a:gd name="connsiteY484" fmla="*/ 705239 h 3831162"/>
                <a:gd name="connsiteX485" fmla="*/ 419332 w 1877460"/>
                <a:gd name="connsiteY485" fmla="*/ 700474 h 3831162"/>
                <a:gd name="connsiteX486" fmla="*/ 385976 w 1877460"/>
                <a:gd name="connsiteY486" fmla="*/ 681413 h 3831162"/>
                <a:gd name="connsiteX487" fmla="*/ 362150 w 1877460"/>
                <a:gd name="connsiteY487" fmla="*/ 657588 h 3831162"/>
                <a:gd name="connsiteX488" fmla="*/ 343090 w 1877460"/>
                <a:gd name="connsiteY488" fmla="*/ 643292 h 3831162"/>
                <a:gd name="connsiteX489" fmla="*/ 328794 w 1877460"/>
                <a:gd name="connsiteY489" fmla="*/ 624232 h 3831162"/>
                <a:gd name="connsiteX490" fmla="*/ 304968 w 1877460"/>
                <a:gd name="connsiteY490" fmla="*/ 609936 h 3831162"/>
                <a:gd name="connsiteX491" fmla="*/ 295438 w 1877460"/>
                <a:gd name="connsiteY491" fmla="*/ 595641 h 3831162"/>
                <a:gd name="connsiteX492" fmla="*/ 271612 w 1877460"/>
                <a:gd name="connsiteY492" fmla="*/ 567050 h 3831162"/>
                <a:gd name="connsiteX493" fmla="*/ 257318 w 1877460"/>
                <a:gd name="connsiteY493" fmla="*/ 547990 h 3831162"/>
                <a:gd name="connsiteX494" fmla="*/ 219196 w 1877460"/>
                <a:gd name="connsiteY494" fmla="*/ 514634 h 3831162"/>
                <a:gd name="connsiteX495" fmla="*/ 214432 w 1877460"/>
                <a:gd name="connsiteY495" fmla="*/ 500338 h 3831162"/>
                <a:gd name="connsiteX496" fmla="*/ 214432 w 1877460"/>
                <a:gd name="connsiteY496" fmla="*/ 490808 h 3831162"/>
                <a:gd name="connsiteX497" fmla="*/ 214432 w 1877460"/>
                <a:gd name="connsiteY497" fmla="*/ 481278 h 3831162"/>
                <a:gd name="connsiteX498" fmla="*/ 171544 w 1877460"/>
                <a:gd name="connsiteY498" fmla="*/ 457452 h 3831162"/>
                <a:gd name="connsiteX499" fmla="*/ 181076 w 1877460"/>
                <a:gd name="connsiteY499" fmla="*/ 443157 h 3831162"/>
                <a:gd name="connsiteX500" fmla="*/ 214432 w 1877460"/>
                <a:gd name="connsiteY500" fmla="*/ 443157 h 3831162"/>
                <a:gd name="connsiteX501" fmla="*/ 243022 w 1877460"/>
                <a:gd name="connsiteY501" fmla="*/ 457452 h 3831162"/>
                <a:gd name="connsiteX502" fmla="*/ 247788 w 1877460"/>
                <a:gd name="connsiteY502" fmla="*/ 452687 h 3831162"/>
                <a:gd name="connsiteX503" fmla="*/ 252552 w 1877460"/>
                <a:gd name="connsiteY503" fmla="*/ 438392 h 3831162"/>
                <a:gd name="connsiteX504" fmla="*/ 238256 w 1877460"/>
                <a:gd name="connsiteY504" fmla="*/ 390740 h 3831162"/>
                <a:gd name="connsiteX505" fmla="*/ 243022 w 1877460"/>
                <a:gd name="connsiteY505" fmla="*/ 381210 h 3831162"/>
                <a:gd name="connsiteX506" fmla="*/ 252552 w 1877460"/>
                <a:gd name="connsiteY506" fmla="*/ 366915 h 3831162"/>
                <a:gd name="connsiteX507" fmla="*/ 271612 w 1877460"/>
                <a:gd name="connsiteY507" fmla="*/ 352619 h 3831162"/>
                <a:gd name="connsiteX508" fmla="*/ 300204 w 1877460"/>
                <a:gd name="connsiteY508" fmla="*/ 352619 h 3831162"/>
                <a:gd name="connsiteX509" fmla="*/ 324030 w 1877460"/>
                <a:gd name="connsiteY509" fmla="*/ 352619 h 3831162"/>
                <a:gd name="connsiteX510" fmla="*/ 328794 w 1877460"/>
                <a:gd name="connsiteY510" fmla="*/ 357384 h 3831162"/>
                <a:gd name="connsiteX511" fmla="*/ 357386 w 1877460"/>
                <a:gd name="connsiteY511" fmla="*/ 405036 h 3831162"/>
                <a:gd name="connsiteX512" fmla="*/ 385976 w 1877460"/>
                <a:gd name="connsiteY512" fmla="*/ 457452 h 3831162"/>
                <a:gd name="connsiteX513" fmla="*/ 400272 w 1877460"/>
                <a:gd name="connsiteY513" fmla="*/ 476513 h 3831162"/>
                <a:gd name="connsiteX514" fmla="*/ 433628 w 1877460"/>
                <a:gd name="connsiteY514" fmla="*/ 538459 h 3831162"/>
                <a:gd name="connsiteX515" fmla="*/ 447922 w 1877460"/>
                <a:gd name="connsiteY515" fmla="*/ 571815 h 3831162"/>
                <a:gd name="connsiteX516" fmla="*/ 452688 w 1877460"/>
                <a:gd name="connsiteY516" fmla="*/ 595641 h 3831162"/>
                <a:gd name="connsiteX517" fmla="*/ 466982 w 1877460"/>
                <a:gd name="connsiteY517" fmla="*/ 595641 h 3831162"/>
                <a:gd name="connsiteX518" fmla="*/ 514634 w 1877460"/>
                <a:gd name="connsiteY518" fmla="*/ 605171 h 3831162"/>
                <a:gd name="connsiteX519" fmla="*/ 552756 w 1877460"/>
                <a:gd name="connsiteY519" fmla="*/ 614701 h 3831162"/>
                <a:gd name="connsiteX520" fmla="*/ 567050 w 1877460"/>
                <a:gd name="connsiteY520" fmla="*/ 628997 h 3831162"/>
                <a:gd name="connsiteX521" fmla="*/ 595642 w 1877460"/>
                <a:gd name="connsiteY521" fmla="*/ 624232 h 3831162"/>
                <a:gd name="connsiteX522" fmla="*/ 614702 w 1877460"/>
                <a:gd name="connsiteY522" fmla="*/ 614701 h 3831162"/>
                <a:gd name="connsiteX523" fmla="*/ 652822 w 1877460"/>
                <a:gd name="connsiteY523" fmla="*/ 600406 h 3831162"/>
                <a:gd name="connsiteX524" fmla="*/ 662354 w 1877460"/>
                <a:gd name="connsiteY524" fmla="*/ 581346 h 3831162"/>
                <a:gd name="connsiteX525" fmla="*/ 676648 w 1877460"/>
                <a:gd name="connsiteY525" fmla="*/ 557520 h 3831162"/>
                <a:gd name="connsiteX526" fmla="*/ 700474 w 1877460"/>
                <a:gd name="connsiteY526" fmla="*/ 562285 h 3831162"/>
                <a:gd name="connsiteX527" fmla="*/ 724300 w 1877460"/>
                <a:gd name="connsiteY527" fmla="*/ 576580 h 3831162"/>
                <a:gd name="connsiteX528" fmla="*/ 752890 w 1877460"/>
                <a:gd name="connsiteY528" fmla="*/ 600406 h 3831162"/>
                <a:gd name="connsiteX529" fmla="*/ 776716 w 1877460"/>
                <a:gd name="connsiteY529" fmla="*/ 609936 h 3831162"/>
                <a:gd name="connsiteX530" fmla="*/ 810072 w 1877460"/>
                <a:gd name="connsiteY530" fmla="*/ 624232 h 3831162"/>
                <a:gd name="connsiteX531" fmla="*/ 824368 w 1877460"/>
                <a:gd name="connsiteY531" fmla="*/ 643292 h 3831162"/>
                <a:gd name="connsiteX532" fmla="*/ 848194 w 1877460"/>
                <a:gd name="connsiteY532" fmla="*/ 652822 h 3831162"/>
                <a:gd name="connsiteX533" fmla="*/ 867254 w 1877460"/>
                <a:gd name="connsiteY533" fmla="*/ 628997 h 3831162"/>
                <a:gd name="connsiteX534" fmla="*/ 881550 w 1877460"/>
                <a:gd name="connsiteY534" fmla="*/ 576580 h 3831162"/>
                <a:gd name="connsiteX535" fmla="*/ 895844 w 1877460"/>
                <a:gd name="connsiteY535" fmla="*/ 552755 h 3831162"/>
                <a:gd name="connsiteX536" fmla="*/ 910140 w 1877460"/>
                <a:gd name="connsiteY536" fmla="*/ 533694 h 3831162"/>
                <a:gd name="connsiteX537" fmla="*/ 929200 w 1877460"/>
                <a:gd name="connsiteY537" fmla="*/ 524164 h 3831162"/>
                <a:gd name="connsiteX538" fmla="*/ 943496 w 1877460"/>
                <a:gd name="connsiteY538" fmla="*/ 524164 h 3831162"/>
                <a:gd name="connsiteX539" fmla="*/ 957792 w 1877460"/>
                <a:gd name="connsiteY539" fmla="*/ 509869 h 3831162"/>
                <a:gd name="connsiteX540" fmla="*/ 972086 w 1877460"/>
                <a:gd name="connsiteY540" fmla="*/ 481278 h 3831162"/>
                <a:gd name="connsiteX541" fmla="*/ 976852 w 1877460"/>
                <a:gd name="connsiteY541" fmla="*/ 443157 h 3831162"/>
                <a:gd name="connsiteX542" fmla="*/ 972086 w 1877460"/>
                <a:gd name="connsiteY542" fmla="*/ 371680 h 3831162"/>
                <a:gd name="connsiteX543" fmla="*/ 976852 w 1877460"/>
                <a:gd name="connsiteY543" fmla="*/ 352619 h 3831162"/>
                <a:gd name="connsiteX544" fmla="*/ 986382 w 1877460"/>
                <a:gd name="connsiteY544" fmla="*/ 314498 h 3831162"/>
                <a:gd name="connsiteX545" fmla="*/ 1005442 w 1877460"/>
                <a:gd name="connsiteY545" fmla="*/ 214431 h 3831162"/>
                <a:gd name="connsiteX546" fmla="*/ 1014972 w 1877460"/>
                <a:gd name="connsiteY546" fmla="*/ 185840 h 3831162"/>
                <a:gd name="connsiteX547" fmla="*/ 1024504 w 1877460"/>
                <a:gd name="connsiteY547" fmla="*/ 166779 h 3831162"/>
                <a:gd name="connsiteX548" fmla="*/ 1034034 w 1877460"/>
                <a:gd name="connsiteY548" fmla="*/ 157249 h 3831162"/>
                <a:gd name="connsiteX549" fmla="*/ 1057858 w 1877460"/>
                <a:gd name="connsiteY549" fmla="*/ 128658 h 3831162"/>
                <a:gd name="connsiteX550" fmla="*/ 1095980 w 1877460"/>
                <a:gd name="connsiteY550" fmla="*/ 66712 h 3831162"/>
                <a:gd name="connsiteX551" fmla="*/ 1100746 w 1877460"/>
                <a:gd name="connsiteY551" fmla="*/ 61947 h 3831162"/>
                <a:gd name="connsiteX552" fmla="*/ 1124570 w 1877460"/>
                <a:gd name="connsiteY552" fmla="*/ 57182 h 3831162"/>
                <a:gd name="connsiteX553" fmla="*/ 1157926 w 1877460"/>
                <a:gd name="connsiteY553" fmla="*/ 61947 h 3831162"/>
                <a:gd name="connsiteX554" fmla="*/ 1186518 w 1877460"/>
                <a:gd name="connsiteY554" fmla="*/ 71477 h 3831162"/>
                <a:gd name="connsiteX555" fmla="*/ 1200812 w 1877460"/>
                <a:gd name="connsiteY555" fmla="*/ 66712 h 3831162"/>
                <a:gd name="connsiteX556" fmla="*/ 1219874 w 1877460"/>
                <a:gd name="connsiteY556" fmla="*/ 47651 h 3831162"/>
                <a:gd name="connsiteX557" fmla="*/ 1257994 w 1877460"/>
                <a:gd name="connsiteY557" fmla="*/ 9530 h 3831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</a:cxnLst>
              <a:rect l="l" t="t" r="r" b="b"/>
              <a:pathLst>
                <a:path w="1877460" h="3831161">
                  <a:moveTo>
                    <a:pt x="152484" y="3750155"/>
                  </a:moveTo>
                  <a:lnTo>
                    <a:pt x="162014" y="3750155"/>
                  </a:lnTo>
                  <a:lnTo>
                    <a:pt x="171544" y="3759686"/>
                  </a:lnTo>
                  <a:lnTo>
                    <a:pt x="166780" y="3769216"/>
                  </a:lnTo>
                  <a:lnTo>
                    <a:pt x="157250" y="3769216"/>
                  </a:lnTo>
                  <a:lnTo>
                    <a:pt x="152484" y="3764451"/>
                  </a:lnTo>
                  <a:lnTo>
                    <a:pt x="138188" y="3764451"/>
                  </a:lnTo>
                  <a:lnTo>
                    <a:pt x="138188" y="3759686"/>
                  </a:lnTo>
                  <a:lnTo>
                    <a:pt x="142954" y="3754920"/>
                  </a:lnTo>
                  <a:close/>
                  <a:moveTo>
                    <a:pt x="319264" y="3721564"/>
                  </a:moveTo>
                  <a:lnTo>
                    <a:pt x="328794" y="3721564"/>
                  </a:lnTo>
                  <a:lnTo>
                    <a:pt x="333560" y="3731094"/>
                  </a:lnTo>
                  <a:lnTo>
                    <a:pt x="328794" y="3740625"/>
                  </a:lnTo>
                  <a:lnTo>
                    <a:pt x="314500" y="3745390"/>
                  </a:lnTo>
                  <a:lnTo>
                    <a:pt x="304968" y="3735860"/>
                  </a:lnTo>
                  <a:lnTo>
                    <a:pt x="309734" y="3726329"/>
                  </a:lnTo>
                  <a:close/>
                  <a:moveTo>
                    <a:pt x="347856" y="3712034"/>
                  </a:moveTo>
                  <a:lnTo>
                    <a:pt x="366916" y="3712034"/>
                  </a:lnTo>
                  <a:lnTo>
                    <a:pt x="362150" y="3731095"/>
                  </a:lnTo>
                  <a:lnTo>
                    <a:pt x="343090" y="3740625"/>
                  </a:lnTo>
                  <a:lnTo>
                    <a:pt x="338324" y="3735860"/>
                  </a:lnTo>
                  <a:lnTo>
                    <a:pt x="338324" y="3721564"/>
                  </a:lnTo>
                  <a:close/>
                  <a:moveTo>
                    <a:pt x="4766" y="3697739"/>
                  </a:moveTo>
                  <a:lnTo>
                    <a:pt x="14296" y="3697739"/>
                  </a:lnTo>
                  <a:lnTo>
                    <a:pt x="23828" y="3716800"/>
                  </a:lnTo>
                  <a:lnTo>
                    <a:pt x="23828" y="3721565"/>
                  </a:lnTo>
                  <a:lnTo>
                    <a:pt x="14296" y="3721565"/>
                  </a:lnTo>
                  <a:lnTo>
                    <a:pt x="9532" y="3721565"/>
                  </a:lnTo>
                  <a:lnTo>
                    <a:pt x="9532" y="3731095"/>
                  </a:lnTo>
                  <a:lnTo>
                    <a:pt x="0" y="3726330"/>
                  </a:lnTo>
                  <a:lnTo>
                    <a:pt x="0" y="3716800"/>
                  </a:lnTo>
                  <a:close/>
                  <a:moveTo>
                    <a:pt x="414566" y="3654852"/>
                  </a:moveTo>
                  <a:lnTo>
                    <a:pt x="433626" y="3664382"/>
                  </a:lnTo>
                  <a:lnTo>
                    <a:pt x="443156" y="3664382"/>
                  </a:lnTo>
                  <a:lnTo>
                    <a:pt x="452688" y="3678678"/>
                  </a:lnTo>
                  <a:lnTo>
                    <a:pt x="433626" y="3688208"/>
                  </a:lnTo>
                  <a:lnTo>
                    <a:pt x="433626" y="3702503"/>
                  </a:lnTo>
                  <a:lnTo>
                    <a:pt x="438392" y="3712034"/>
                  </a:lnTo>
                  <a:lnTo>
                    <a:pt x="443156" y="3721564"/>
                  </a:lnTo>
                  <a:lnTo>
                    <a:pt x="428862" y="3721564"/>
                  </a:lnTo>
                  <a:lnTo>
                    <a:pt x="419332" y="3712034"/>
                  </a:lnTo>
                  <a:lnTo>
                    <a:pt x="414566" y="3697738"/>
                  </a:lnTo>
                  <a:lnTo>
                    <a:pt x="409802" y="3688208"/>
                  </a:lnTo>
                  <a:lnTo>
                    <a:pt x="400272" y="3683443"/>
                  </a:lnTo>
                  <a:lnTo>
                    <a:pt x="405036" y="3673913"/>
                  </a:lnTo>
                  <a:lnTo>
                    <a:pt x="405036" y="3664382"/>
                  </a:lnTo>
                  <a:close/>
                  <a:moveTo>
                    <a:pt x="57182" y="3645322"/>
                  </a:moveTo>
                  <a:lnTo>
                    <a:pt x="66712" y="3659617"/>
                  </a:lnTo>
                  <a:lnTo>
                    <a:pt x="71478" y="3664383"/>
                  </a:lnTo>
                  <a:lnTo>
                    <a:pt x="76242" y="3664383"/>
                  </a:lnTo>
                  <a:lnTo>
                    <a:pt x="81008" y="3659617"/>
                  </a:lnTo>
                  <a:lnTo>
                    <a:pt x="85772" y="3664383"/>
                  </a:lnTo>
                  <a:lnTo>
                    <a:pt x="100068" y="3673913"/>
                  </a:lnTo>
                  <a:lnTo>
                    <a:pt x="104832" y="3683443"/>
                  </a:lnTo>
                  <a:lnTo>
                    <a:pt x="114364" y="3683443"/>
                  </a:lnTo>
                  <a:lnTo>
                    <a:pt x="114364" y="3692973"/>
                  </a:lnTo>
                  <a:lnTo>
                    <a:pt x="104832" y="3712034"/>
                  </a:lnTo>
                  <a:lnTo>
                    <a:pt x="100068" y="3712034"/>
                  </a:lnTo>
                  <a:lnTo>
                    <a:pt x="95302" y="3712034"/>
                  </a:lnTo>
                  <a:lnTo>
                    <a:pt x="85772" y="3712034"/>
                  </a:lnTo>
                  <a:lnTo>
                    <a:pt x="81008" y="3716799"/>
                  </a:lnTo>
                  <a:lnTo>
                    <a:pt x="81008" y="3726329"/>
                  </a:lnTo>
                  <a:lnTo>
                    <a:pt x="81008" y="3745390"/>
                  </a:lnTo>
                  <a:lnTo>
                    <a:pt x="42886" y="3750155"/>
                  </a:lnTo>
                  <a:lnTo>
                    <a:pt x="33356" y="3740625"/>
                  </a:lnTo>
                  <a:lnTo>
                    <a:pt x="23826" y="3702504"/>
                  </a:lnTo>
                  <a:lnTo>
                    <a:pt x="23826" y="3688208"/>
                  </a:lnTo>
                  <a:lnTo>
                    <a:pt x="33356" y="3683443"/>
                  </a:lnTo>
                  <a:lnTo>
                    <a:pt x="38122" y="3683443"/>
                  </a:lnTo>
                  <a:lnTo>
                    <a:pt x="42886" y="3707269"/>
                  </a:lnTo>
                  <a:lnTo>
                    <a:pt x="52416" y="3702504"/>
                  </a:lnTo>
                  <a:lnTo>
                    <a:pt x="52416" y="3688208"/>
                  </a:lnTo>
                  <a:lnTo>
                    <a:pt x="52416" y="3678678"/>
                  </a:lnTo>
                  <a:lnTo>
                    <a:pt x="52416" y="3673913"/>
                  </a:lnTo>
                  <a:lnTo>
                    <a:pt x="42886" y="3669148"/>
                  </a:lnTo>
                  <a:lnTo>
                    <a:pt x="42886" y="3664383"/>
                  </a:lnTo>
                  <a:lnTo>
                    <a:pt x="47652" y="3650087"/>
                  </a:lnTo>
                  <a:close/>
                  <a:moveTo>
                    <a:pt x="357384" y="3626262"/>
                  </a:moveTo>
                  <a:lnTo>
                    <a:pt x="371680" y="3635792"/>
                  </a:lnTo>
                  <a:lnTo>
                    <a:pt x="381210" y="3645322"/>
                  </a:lnTo>
                  <a:lnTo>
                    <a:pt x="371680" y="3650088"/>
                  </a:lnTo>
                  <a:lnTo>
                    <a:pt x="385976" y="3664383"/>
                  </a:lnTo>
                  <a:lnTo>
                    <a:pt x="385976" y="3669148"/>
                  </a:lnTo>
                  <a:lnTo>
                    <a:pt x="376446" y="3669148"/>
                  </a:lnTo>
                  <a:lnTo>
                    <a:pt x="357384" y="3654853"/>
                  </a:lnTo>
                  <a:lnTo>
                    <a:pt x="357384" y="3645322"/>
                  </a:lnTo>
                  <a:lnTo>
                    <a:pt x="362150" y="3645322"/>
                  </a:lnTo>
                  <a:lnTo>
                    <a:pt x="357384" y="3631027"/>
                  </a:lnTo>
                  <a:close/>
                  <a:moveTo>
                    <a:pt x="271614" y="3573845"/>
                  </a:moveTo>
                  <a:lnTo>
                    <a:pt x="276378" y="3588140"/>
                  </a:lnTo>
                  <a:lnTo>
                    <a:pt x="300204" y="3607201"/>
                  </a:lnTo>
                  <a:lnTo>
                    <a:pt x="300204" y="3621496"/>
                  </a:lnTo>
                  <a:lnTo>
                    <a:pt x="290674" y="3621496"/>
                  </a:lnTo>
                  <a:lnTo>
                    <a:pt x="276378" y="3621496"/>
                  </a:lnTo>
                  <a:lnTo>
                    <a:pt x="266848" y="3607201"/>
                  </a:lnTo>
                  <a:lnTo>
                    <a:pt x="262084" y="3583375"/>
                  </a:lnTo>
                  <a:lnTo>
                    <a:pt x="266848" y="3578610"/>
                  </a:lnTo>
                  <a:close/>
                  <a:moveTo>
                    <a:pt x="266848" y="2692297"/>
                  </a:moveTo>
                  <a:lnTo>
                    <a:pt x="266848" y="2701827"/>
                  </a:lnTo>
                  <a:lnTo>
                    <a:pt x="262082" y="2706592"/>
                  </a:lnTo>
                  <a:lnTo>
                    <a:pt x="266848" y="2716122"/>
                  </a:lnTo>
                  <a:lnTo>
                    <a:pt x="276378" y="2711357"/>
                  </a:lnTo>
                  <a:lnTo>
                    <a:pt x="285908" y="2701827"/>
                  </a:lnTo>
                  <a:lnTo>
                    <a:pt x="295438" y="2706592"/>
                  </a:lnTo>
                  <a:lnTo>
                    <a:pt x="295438" y="2720888"/>
                  </a:lnTo>
                  <a:lnTo>
                    <a:pt x="290672" y="2720888"/>
                  </a:lnTo>
                  <a:lnTo>
                    <a:pt x="285908" y="2720888"/>
                  </a:lnTo>
                  <a:lnTo>
                    <a:pt x="281142" y="2730418"/>
                  </a:lnTo>
                  <a:lnTo>
                    <a:pt x="281142" y="2735183"/>
                  </a:lnTo>
                  <a:lnTo>
                    <a:pt x="271612" y="2739948"/>
                  </a:lnTo>
                  <a:lnTo>
                    <a:pt x="252552" y="2720888"/>
                  </a:lnTo>
                  <a:lnTo>
                    <a:pt x="243022" y="2697062"/>
                  </a:lnTo>
                  <a:close/>
                  <a:moveTo>
                    <a:pt x="824368" y="2044239"/>
                  </a:moveTo>
                  <a:lnTo>
                    <a:pt x="848194" y="2058534"/>
                  </a:lnTo>
                  <a:lnTo>
                    <a:pt x="852960" y="2063299"/>
                  </a:lnTo>
                  <a:lnTo>
                    <a:pt x="838664" y="2068064"/>
                  </a:lnTo>
                  <a:lnTo>
                    <a:pt x="829134" y="2082360"/>
                  </a:lnTo>
                  <a:lnTo>
                    <a:pt x="810072" y="2091890"/>
                  </a:lnTo>
                  <a:lnTo>
                    <a:pt x="791012" y="2087125"/>
                  </a:lnTo>
                  <a:lnTo>
                    <a:pt x="791012" y="2063299"/>
                  </a:lnTo>
                  <a:lnTo>
                    <a:pt x="800542" y="2049004"/>
                  </a:lnTo>
                  <a:close/>
                  <a:moveTo>
                    <a:pt x="1286586" y="0"/>
                  </a:moveTo>
                  <a:lnTo>
                    <a:pt x="1305646" y="0"/>
                  </a:lnTo>
                  <a:lnTo>
                    <a:pt x="1329472" y="42886"/>
                  </a:lnTo>
                  <a:lnTo>
                    <a:pt x="1367592" y="85772"/>
                  </a:lnTo>
                  <a:lnTo>
                    <a:pt x="1386652" y="109598"/>
                  </a:lnTo>
                  <a:lnTo>
                    <a:pt x="1448600" y="152484"/>
                  </a:lnTo>
                  <a:lnTo>
                    <a:pt x="1501016" y="176310"/>
                  </a:lnTo>
                  <a:lnTo>
                    <a:pt x="1534372" y="266847"/>
                  </a:lnTo>
                  <a:lnTo>
                    <a:pt x="1515312" y="300203"/>
                  </a:lnTo>
                  <a:lnTo>
                    <a:pt x="1510546" y="314498"/>
                  </a:lnTo>
                  <a:lnTo>
                    <a:pt x="1481956" y="347854"/>
                  </a:lnTo>
                  <a:lnTo>
                    <a:pt x="1458130" y="395506"/>
                  </a:lnTo>
                  <a:lnTo>
                    <a:pt x="1453364" y="424096"/>
                  </a:lnTo>
                  <a:lnTo>
                    <a:pt x="1462894" y="447922"/>
                  </a:lnTo>
                  <a:lnTo>
                    <a:pt x="1472426" y="466982"/>
                  </a:lnTo>
                  <a:lnTo>
                    <a:pt x="1462894" y="471748"/>
                  </a:lnTo>
                  <a:lnTo>
                    <a:pt x="1434304" y="490808"/>
                  </a:lnTo>
                  <a:lnTo>
                    <a:pt x="1410478" y="505103"/>
                  </a:lnTo>
                  <a:lnTo>
                    <a:pt x="1386652" y="514634"/>
                  </a:lnTo>
                  <a:lnTo>
                    <a:pt x="1396184" y="528929"/>
                  </a:lnTo>
                  <a:lnTo>
                    <a:pt x="1434304" y="533694"/>
                  </a:lnTo>
                  <a:lnTo>
                    <a:pt x="1439070" y="538459"/>
                  </a:lnTo>
                  <a:lnTo>
                    <a:pt x="1443834" y="543224"/>
                  </a:lnTo>
                  <a:lnTo>
                    <a:pt x="1443834" y="557520"/>
                  </a:lnTo>
                  <a:lnTo>
                    <a:pt x="1443834" y="571815"/>
                  </a:lnTo>
                  <a:lnTo>
                    <a:pt x="1396184" y="676648"/>
                  </a:lnTo>
                  <a:lnTo>
                    <a:pt x="1396184" y="695708"/>
                  </a:lnTo>
                  <a:lnTo>
                    <a:pt x="1410478" y="752890"/>
                  </a:lnTo>
                  <a:lnTo>
                    <a:pt x="1429538" y="819602"/>
                  </a:lnTo>
                  <a:lnTo>
                    <a:pt x="1491486" y="852958"/>
                  </a:lnTo>
                  <a:lnTo>
                    <a:pt x="1534372" y="876783"/>
                  </a:lnTo>
                  <a:lnTo>
                    <a:pt x="1562962" y="929200"/>
                  </a:lnTo>
                  <a:lnTo>
                    <a:pt x="1610614" y="1005442"/>
                  </a:lnTo>
                  <a:lnTo>
                    <a:pt x="1634440" y="1029267"/>
                  </a:lnTo>
                  <a:lnTo>
                    <a:pt x="1634440" y="1038798"/>
                  </a:lnTo>
                  <a:lnTo>
                    <a:pt x="1624910" y="1086449"/>
                  </a:lnTo>
                  <a:lnTo>
                    <a:pt x="1596318" y="1138865"/>
                  </a:lnTo>
                  <a:lnTo>
                    <a:pt x="1567728" y="1176986"/>
                  </a:lnTo>
                  <a:lnTo>
                    <a:pt x="1539136" y="1229403"/>
                  </a:lnTo>
                  <a:lnTo>
                    <a:pt x="1520076" y="1272289"/>
                  </a:lnTo>
                  <a:lnTo>
                    <a:pt x="1491486" y="1319940"/>
                  </a:lnTo>
                  <a:lnTo>
                    <a:pt x="1491486" y="1339001"/>
                  </a:lnTo>
                  <a:lnTo>
                    <a:pt x="1491486" y="1353296"/>
                  </a:lnTo>
                  <a:lnTo>
                    <a:pt x="1496250" y="1367591"/>
                  </a:lnTo>
                  <a:lnTo>
                    <a:pt x="1524842" y="1429538"/>
                  </a:lnTo>
                  <a:lnTo>
                    <a:pt x="1539136" y="1462894"/>
                  </a:lnTo>
                  <a:lnTo>
                    <a:pt x="1553432" y="1496250"/>
                  </a:lnTo>
                  <a:lnTo>
                    <a:pt x="1562962" y="1529606"/>
                  </a:lnTo>
                  <a:lnTo>
                    <a:pt x="1572492" y="1562962"/>
                  </a:lnTo>
                  <a:lnTo>
                    <a:pt x="1586788" y="1596318"/>
                  </a:lnTo>
                  <a:lnTo>
                    <a:pt x="1591554" y="1610613"/>
                  </a:lnTo>
                  <a:lnTo>
                    <a:pt x="1605848" y="1634438"/>
                  </a:lnTo>
                  <a:lnTo>
                    <a:pt x="1620144" y="1667794"/>
                  </a:lnTo>
                  <a:lnTo>
                    <a:pt x="1624910" y="1691620"/>
                  </a:lnTo>
                  <a:lnTo>
                    <a:pt x="1648734" y="1782158"/>
                  </a:lnTo>
                  <a:lnTo>
                    <a:pt x="1653500" y="1805983"/>
                  </a:lnTo>
                  <a:lnTo>
                    <a:pt x="1648734" y="1820278"/>
                  </a:lnTo>
                  <a:lnTo>
                    <a:pt x="1639204" y="1825044"/>
                  </a:lnTo>
                  <a:lnTo>
                    <a:pt x="1620144" y="1829809"/>
                  </a:lnTo>
                  <a:lnTo>
                    <a:pt x="1591554" y="1839339"/>
                  </a:lnTo>
                  <a:lnTo>
                    <a:pt x="1591554" y="1844104"/>
                  </a:lnTo>
                  <a:lnTo>
                    <a:pt x="1605848" y="1863165"/>
                  </a:lnTo>
                  <a:lnTo>
                    <a:pt x="1591554" y="1901286"/>
                  </a:lnTo>
                  <a:lnTo>
                    <a:pt x="1591554" y="1953702"/>
                  </a:lnTo>
                  <a:lnTo>
                    <a:pt x="1577258" y="1977528"/>
                  </a:lnTo>
                  <a:lnTo>
                    <a:pt x="1577258" y="1987058"/>
                  </a:lnTo>
                  <a:lnTo>
                    <a:pt x="1577258" y="1991823"/>
                  </a:lnTo>
                  <a:lnTo>
                    <a:pt x="1577258" y="1996588"/>
                  </a:lnTo>
                  <a:lnTo>
                    <a:pt x="1605848" y="2001353"/>
                  </a:lnTo>
                  <a:lnTo>
                    <a:pt x="1610614" y="2010884"/>
                  </a:lnTo>
                  <a:lnTo>
                    <a:pt x="1610614" y="2025179"/>
                  </a:lnTo>
                  <a:lnTo>
                    <a:pt x="1605848" y="2039474"/>
                  </a:lnTo>
                  <a:lnTo>
                    <a:pt x="1591554" y="2049004"/>
                  </a:lnTo>
                  <a:lnTo>
                    <a:pt x="1577258" y="2063300"/>
                  </a:lnTo>
                  <a:lnTo>
                    <a:pt x="1572492" y="2077595"/>
                  </a:lnTo>
                  <a:lnTo>
                    <a:pt x="1577258" y="2087126"/>
                  </a:lnTo>
                  <a:lnTo>
                    <a:pt x="1582024" y="2110951"/>
                  </a:lnTo>
                  <a:lnTo>
                    <a:pt x="1591554" y="2134777"/>
                  </a:lnTo>
                  <a:lnTo>
                    <a:pt x="1601084" y="2149072"/>
                  </a:lnTo>
                  <a:lnTo>
                    <a:pt x="1648734" y="2163368"/>
                  </a:lnTo>
                  <a:lnTo>
                    <a:pt x="1653500" y="2177663"/>
                  </a:lnTo>
                  <a:lnTo>
                    <a:pt x="1658266" y="2191958"/>
                  </a:lnTo>
                  <a:lnTo>
                    <a:pt x="1653500" y="2206254"/>
                  </a:lnTo>
                  <a:lnTo>
                    <a:pt x="1634440" y="2239610"/>
                  </a:lnTo>
                  <a:lnTo>
                    <a:pt x="1634440" y="2253905"/>
                  </a:lnTo>
                  <a:lnTo>
                    <a:pt x="1643970" y="2282496"/>
                  </a:lnTo>
                  <a:lnTo>
                    <a:pt x="1653500" y="2311086"/>
                  </a:lnTo>
                  <a:lnTo>
                    <a:pt x="1696386" y="2339677"/>
                  </a:lnTo>
                  <a:lnTo>
                    <a:pt x="1710682" y="2353973"/>
                  </a:lnTo>
                  <a:lnTo>
                    <a:pt x="1715446" y="2368268"/>
                  </a:lnTo>
                  <a:lnTo>
                    <a:pt x="1720212" y="2392094"/>
                  </a:lnTo>
                  <a:lnTo>
                    <a:pt x="1720212" y="2411154"/>
                  </a:lnTo>
                  <a:lnTo>
                    <a:pt x="1715446" y="2434980"/>
                  </a:lnTo>
                  <a:lnTo>
                    <a:pt x="1701152" y="2458806"/>
                  </a:lnTo>
                  <a:lnTo>
                    <a:pt x="1667796" y="2511222"/>
                  </a:lnTo>
                  <a:lnTo>
                    <a:pt x="1634440" y="2530282"/>
                  </a:lnTo>
                  <a:lnTo>
                    <a:pt x="1634440" y="2535048"/>
                  </a:lnTo>
                  <a:lnTo>
                    <a:pt x="1643970" y="2549343"/>
                  </a:lnTo>
                  <a:lnTo>
                    <a:pt x="1701152" y="2616055"/>
                  </a:lnTo>
                  <a:lnTo>
                    <a:pt x="1739272" y="2644646"/>
                  </a:lnTo>
                  <a:lnTo>
                    <a:pt x="1786924" y="2687532"/>
                  </a:lnTo>
                  <a:lnTo>
                    <a:pt x="1820280" y="2720888"/>
                  </a:lnTo>
                  <a:lnTo>
                    <a:pt x="1829810" y="2739948"/>
                  </a:lnTo>
                  <a:lnTo>
                    <a:pt x="1844106" y="2768539"/>
                  </a:lnTo>
                  <a:lnTo>
                    <a:pt x="1863166" y="2787599"/>
                  </a:lnTo>
                  <a:lnTo>
                    <a:pt x="1872696" y="2806660"/>
                  </a:lnTo>
                  <a:lnTo>
                    <a:pt x="1877460" y="2816190"/>
                  </a:lnTo>
                  <a:lnTo>
                    <a:pt x="1877460" y="2830485"/>
                  </a:lnTo>
                  <a:lnTo>
                    <a:pt x="1863166" y="2868606"/>
                  </a:lnTo>
                  <a:lnTo>
                    <a:pt x="1853636" y="2897197"/>
                  </a:lnTo>
                  <a:lnTo>
                    <a:pt x="1839340" y="2940083"/>
                  </a:lnTo>
                  <a:lnTo>
                    <a:pt x="1820280" y="2968674"/>
                  </a:lnTo>
                  <a:lnTo>
                    <a:pt x="1782158" y="3021090"/>
                  </a:lnTo>
                  <a:lnTo>
                    <a:pt x="1724976" y="3087802"/>
                  </a:lnTo>
                  <a:lnTo>
                    <a:pt x="1710682" y="3106863"/>
                  </a:lnTo>
                  <a:lnTo>
                    <a:pt x="1682090" y="3140218"/>
                  </a:lnTo>
                  <a:lnTo>
                    <a:pt x="1639204" y="3206930"/>
                  </a:lnTo>
                  <a:lnTo>
                    <a:pt x="1624910" y="3225991"/>
                  </a:lnTo>
                  <a:lnTo>
                    <a:pt x="1586788" y="3278407"/>
                  </a:lnTo>
                  <a:lnTo>
                    <a:pt x="1572492" y="3297468"/>
                  </a:lnTo>
                  <a:lnTo>
                    <a:pt x="1558198" y="3311763"/>
                  </a:lnTo>
                  <a:lnTo>
                    <a:pt x="1520076" y="3364180"/>
                  </a:lnTo>
                  <a:lnTo>
                    <a:pt x="1477190" y="3402300"/>
                  </a:lnTo>
                  <a:lnTo>
                    <a:pt x="1439070" y="3435656"/>
                  </a:lnTo>
                  <a:lnTo>
                    <a:pt x="1429538" y="3454717"/>
                  </a:lnTo>
                  <a:lnTo>
                    <a:pt x="1410478" y="3469012"/>
                  </a:lnTo>
                  <a:lnTo>
                    <a:pt x="1396184" y="3483308"/>
                  </a:lnTo>
                  <a:lnTo>
                    <a:pt x="1386652" y="3488073"/>
                  </a:lnTo>
                  <a:lnTo>
                    <a:pt x="1348532" y="3535724"/>
                  </a:lnTo>
                  <a:lnTo>
                    <a:pt x="1291350" y="3607201"/>
                  </a:lnTo>
                  <a:lnTo>
                    <a:pt x="1286586" y="3607201"/>
                  </a:lnTo>
                  <a:lnTo>
                    <a:pt x="1272290" y="3616731"/>
                  </a:lnTo>
                  <a:lnTo>
                    <a:pt x="1248464" y="3616731"/>
                  </a:lnTo>
                  <a:lnTo>
                    <a:pt x="1238934" y="3626262"/>
                  </a:lnTo>
                  <a:lnTo>
                    <a:pt x="1205578" y="3602436"/>
                  </a:lnTo>
                  <a:lnTo>
                    <a:pt x="1200812" y="3602436"/>
                  </a:lnTo>
                  <a:lnTo>
                    <a:pt x="1181752" y="3607201"/>
                  </a:lnTo>
                  <a:lnTo>
                    <a:pt x="1157926" y="3626262"/>
                  </a:lnTo>
                  <a:lnTo>
                    <a:pt x="1124570" y="3631027"/>
                  </a:lnTo>
                  <a:lnTo>
                    <a:pt x="1105510" y="3635792"/>
                  </a:lnTo>
                  <a:lnTo>
                    <a:pt x="1095980" y="3645322"/>
                  </a:lnTo>
                  <a:lnTo>
                    <a:pt x="1091214" y="3626262"/>
                  </a:lnTo>
                  <a:lnTo>
                    <a:pt x="1095980" y="3602436"/>
                  </a:lnTo>
                  <a:lnTo>
                    <a:pt x="1105510" y="3588140"/>
                  </a:lnTo>
                  <a:lnTo>
                    <a:pt x="1105510" y="3573845"/>
                  </a:lnTo>
                  <a:lnTo>
                    <a:pt x="1100746" y="3578610"/>
                  </a:lnTo>
                  <a:lnTo>
                    <a:pt x="1091214" y="3597671"/>
                  </a:lnTo>
                  <a:lnTo>
                    <a:pt x="1081684" y="3626262"/>
                  </a:lnTo>
                  <a:lnTo>
                    <a:pt x="1072154" y="3640557"/>
                  </a:lnTo>
                  <a:lnTo>
                    <a:pt x="1043564" y="3645322"/>
                  </a:lnTo>
                  <a:lnTo>
                    <a:pt x="1014972" y="3626262"/>
                  </a:lnTo>
                  <a:lnTo>
                    <a:pt x="1005442" y="3626262"/>
                  </a:lnTo>
                  <a:lnTo>
                    <a:pt x="1014972" y="3640557"/>
                  </a:lnTo>
                  <a:lnTo>
                    <a:pt x="1019738" y="3654852"/>
                  </a:lnTo>
                  <a:lnTo>
                    <a:pt x="1014972" y="3664382"/>
                  </a:lnTo>
                  <a:lnTo>
                    <a:pt x="1000678" y="3664382"/>
                  </a:lnTo>
                  <a:lnTo>
                    <a:pt x="986382" y="3673913"/>
                  </a:lnTo>
                  <a:lnTo>
                    <a:pt x="972086" y="3688208"/>
                  </a:lnTo>
                  <a:lnTo>
                    <a:pt x="967322" y="3688208"/>
                  </a:lnTo>
                  <a:lnTo>
                    <a:pt x="957792" y="3669148"/>
                  </a:lnTo>
                  <a:lnTo>
                    <a:pt x="938730" y="3678678"/>
                  </a:lnTo>
                  <a:lnTo>
                    <a:pt x="924436" y="3692973"/>
                  </a:lnTo>
                  <a:lnTo>
                    <a:pt x="895844" y="3697738"/>
                  </a:lnTo>
                  <a:lnTo>
                    <a:pt x="881550" y="3712034"/>
                  </a:lnTo>
                  <a:lnTo>
                    <a:pt x="848194" y="3726329"/>
                  </a:lnTo>
                  <a:lnTo>
                    <a:pt x="829132" y="3726329"/>
                  </a:lnTo>
                  <a:lnTo>
                    <a:pt x="791012" y="3740624"/>
                  </a:lnTo>
                  <a:lnTo>
                    <a:pt x="781482" y="3759685"/>
                  </a:lnTo>
                  <a:lnTo>
                    <a:pt x="767186" y="3769215"/>
                  </a:lnTo>
                  <a:lnTo>
                    <a:pt x="752890" y="3759685"/>
                  </a:lnTo>
                  <a:lnTo>
                    <a:pt x="705240" y="3769215"/>
                  </a:lnTo>
                  <a:lnTo>
                    <a:pt x="657588" y="3783511"/>
                  </a:lnTo>
                  <a:lnTo>
                    <a:pt x="633762" y="3783511"/>
                  </a:lnTo>
                  <a:lnTo>
                    <a:pt x="614702" y="3778746"/>
                  </a:lnTo>
                  <a:lnTo>
                    <a:pt x="595642" y="3797806"/>
                  </a:lnTo>
                  <a:lnTo>
                    <a:pt x="571816" y="3821632"/>
                  </a:lnTo>
                  <a:lnTo>
                    <a:pt x="547990" y="3831162"/>
                  </a:lnTo>
                  <a:lnTo>
                    <a:pt x="538460" y="3826397"/>
                  </a:lnTo>
                  <a:lnTo>
                    <a:pt x="543226" y="3812102"/>
                  </a:lnTo>
                  <a:lnTo>
                    <a:pt x="562286" y="3802571"/>
                  </a:lnTo>
                  <a:lnTo>
                    <a:pt x="571816" y="3783511"/>
                  </a:lnTo>
                  <a:lnTo>
                    <a:pt x="571816" y="3769215"/>
                  </a:lnTo>
                  <a:lnTo>
                    <a:pt x="567050" y="3759685"/>
                  </a:lnTo>
                  <a:lnTo>
                    <a:pt x="557520" y="3759685"/>
                  </a:lnTo>
                  <a:lnTo>
                    <a:pt x="543226" y="3745390"/>
                  </a:lnTo>
                  <a:lnTo>
                    <a:pt x="528930" y="3707269"/>
                  </a:lnTo>
                  <a:lnTo>
                    <a:pt x="524164" y="3707269"/>
                  </a:lnTo>
                  <a:lnTo>
                    <a:pt x="519400" y="3716799"/>
                  </a:lnTo>
                  <a:lnTo>
                    <a:pt x="514634" y="3740624"/>
                  </a:lnTo>
                  <a:lnTo>
                    <a:pt x="509870" y="3750155"/>
                  </a:lnTo>
                  <a:lnTo>
                    <a:pt x="505104" y="3754920"/>
                  </a:lnTo>
                  <a:lnTo>
                    <a:pt x="495574" y="3764450"/>
                  </a:lnTo>
                  <a:lnTo>
                    <a:pt x="486044" y="3764450"/>
                  </a:lnTo>
                  <a:lnTo>
                    <a:pt x="457452" y="3764450"/>
                  </a:lnTo>
                  <a:lnTo>
                    <a:pt x="457452" y="3750155"/>
                  </a:lnTo>
                  <a:lnTo>
                    <a:pt x="457452" y="3745390"/>
                  </a:lnTo>
                  <a:lnTo>
                    <a:pt x="462218" y="3726329"/>
                  </a:lnTo>
                  <a:lnTo>
                    <a:pt x="457452" y="3726329"/>
                  </a:lnTo>
                  <a:lnTo>
                    <a:pt x="462218" y="3712034"/>
                  </a:lnTo>
                  <a:lnTo>
                    <a:pt x="466982" y="3712034"/>
                  </a:lnTo>
                  <a:lnTo>
                    <a:pt x="476514" y="3707269"/>
                  </a:lnTo>
                  <a:lnTo>
                    <a:pt x="476514" y="3702504"/>
                  </a:lnTo>
                  <a:lnTo>
                    <a:pt x="476514" y="3692973"/>
                  </a:lnTo>
                  <a:lnTo>
                    <a:pt x="466982" y="3692973"/>
                  </a:lnTo>
                  <a:lnTo>
                    <a:pt x="466982" y="3683443"/>
                  </a:lnTo>
                  <a:lnTo>
                    <a:pt x="476514" y="3659618"/>
                  </a:lnTo>
                  <a:lnTo>
                    <a:pt x="476514" y="3654852"/>
                  </a:lnTo>
                  <a:lnTo>
                    <a:pt x="466982" y="3654852"/>
                  </a:lnTo>
                  <a:lnTo>
                    <a:pt x="428862" y="3650087"/>
                  </a:lnTo>
                  <a:lnTo>
                    <a:pt x="376446" y="3616731"/>
                  </a:lnTo>
                  <a:lnTo>
                    <a:pt x="362150" y="3616731"/>
                  </a:lnTo>
                  <a:lnTo>
                    <a:pt x="357386" y="3588140"/>
                  </a:lnTo>
                  <a:lnTo>
                    <a:pt x="343090" y="3588140"/>
                  </a:lnTo>
                  <a:lnTo>
                    <a:pt x="328794" y="3607201"/>
                  </a:lnTo>
                  <a:lnTo>
                    <a:pt x="314498" y="3592906"/>
                  </a:lnTo>
                  <a:lnTo>
                    <a:pt x="300204" y="3588140"/>
                  </a:lnTo>
                  <a:lnTo>
                    <a:pt x="295438" y="3573845"/>
                  </a:lnTo>
                  <a:lnTo>
                    <a:pt x="295438" y="3554785"/>
                  </a:lnTo>
                  <a:lnTo>
                    <a:pt x="295438" y="3530959"/>
                  </a:lnTo>
                  <a:lnTo>
                    <a:pt x="290674" y="3507133"/>
                  </a:lnTo>
                  <a:lnTo>
                    <a:pt x="285908" y="3469012"/>
                  </a:lnTo>
                  <a:lnTo>
                    <a:pt x="290674" y="3435656"/>
                  </a:lnTo>
                  <a:lnTo>
                    <a:pt x="300204" y="3416596"/>
                  </a:lnTo>
                  <a:lnTo>
                    <a:pt x="304968" y="3402300"/>
                  </a:lnTo>
                  <a:lnTo>
                    <a:pt x="309734" y="3364180"/>
                  </a:lnTo>
                  <a:lnTo>
                    <a:pt x="314498" y="3321294"/>
                  </a:lnTo>
                  <a:lnTo>
                    <a:pt x="309734" y="3306998"/>
                  </a:lnTo>
                  <a:lnTo>
                    <a:pt x="309734" y="3297468"/>
                  </a:lnTo>
                  <a:lnTo>
                    <a:pt x="319264" y="3297468"/>
                  </a:lnTo>
                  <a:lnTo>
                    <a:pt x="314498" y="3292703"/>
                  </a:lnTo>
                  <a:lnTo>
                    <a:pt x="314498" y="3287938"/>
                  </a:lnTo>
                  <a:lnTo>
                    <a:pt x="309734" y="3278407"/>
                  </a:lnTo>
                  <a:lnTo>
                    <a:pt x="314498" y="3273642"/>
                  </a:lnTo>
                  <a:lnTo>
                    <a:pt x="324030" y="3273642"/>
                  </a:lnTo>
                  <a:lnTo>
                    <a:pt x="324030" y="3268877"/>
                  </a:lnTo>
                  <a:lnTo>
                    <a:pt x="324030" y="3264112"/>
                  </a:lnTo>
                  <a:lnTo>
                    <a:pt x="314498" y="3240286"/>
                  </a:lnTo>
                  <a:lnTo>
                    <a:pt x="314498" y="3225991"/>
                  </a:lnTo>
                  <a:lnTo>
                    <a:pt x="304968" y="3192635"/>
                  </a:lnTo>
                  <a:lnTo>
                    <a:pt x="290674" y="3159279"/>
                  </a:lnTo>
                  <a:lnTo>
                    <a:pt x="271612" y="3130688"/>
                  </a:lnTo>
                  <a:lnTo>
                    <a:pt x="276378" y="3092567"/>
                  </a:lnTo>
                  <a:lnTo>
                    <a:pt x="285908" y="3054446"/>
                  </a:lnTo>
                  <a:lnTo>
                    <a:pt x="285908" y="3035386"/>
                  </a:lnTo>
                  <a:lnTo>
                    <a:pt x="281142" y="3016325"/>
                  </a:lnTo>
                  <a:lnTo>
                    <a:pt x="257318" y="2992500"/>
                  </a:lnTo>
                  <a:lnTo>
                    <a:pt x="252552" y="2954379"/>
                  </a:lnTo>
                  <a:lnTo>
                    <a:pt x="247788" y="2921023"/>
                  </a:lnTo>
                  <a:lnTo>
                    <a:pt x="247788" y="2897197"/>
                  </a:lnTo>
                  <a:lnTo>
                    <a:pt x="252552" y="2878137"/>
                  </a:lnTo>
                  <a:lnTo>
                    <a:pt x="262082" y="2863841"/>
                  </a:lnTo>
                  <a:lnTo>
                    <a:pt x="300204" y="2806660"/>
                  </a:lnTo>
                  <a:lnTo>
                    <a:pt x="304968" y="2778069"/>
                  </a:lnTo>
                  <a:lnTo>
                    <a:pt x="333560" y="2778069"/>
                  </a:lnTo>
                  <a:lnTo>
                    <a:pt x="319264" y="2749478"/>
                  </a:lnTo>
                  <a:lnTo>
                    <a:pt x="314498" y="2735183"/>
                  </a:lnTo>
                  <a:lnTo>
                    <a:pt x="314498" y="2720888"/>
                  </a:lnTo>
                  <a:lnTo>
                    <a:pt x="357386" y="2706592"/>
                  </a:lnTo>
                  <a:lnTo>
                    <a:pt x="371680" y="2716122"/>
                  </a:lnTo>
                  <a:lnTo>
                    <a:pt x="405036" y="2706592"/>
                  </a:lnTo>
                  <a:lnTo>
                    <a:pt x="438392" y="2682766"/>
                  </a:lnTo>
                  <a:lnTo>
                    <a:pt x="438392" y="2673236"/>
                  </a:lnTo>
                  <a:lnTo>
                    <a:pt x="433628" y="2658941"/>
                  </a:lnTo>
                  <a:lnTo>
                    <a:pt x="424096" y="2639880"/>
                  </a:lnTo>
                  <a:lnTo>
                    <a:pt x="428862" y="2635115"/>
                  </a:lnTo>
                  <a:lnTo>
                    <a:pt x="438392" y="2635115"/>
                  </a:lnTo>
                  <a:lnTo>
                    <a:pt x="433628" y="2625585"/>
                  </a:lnTo>
                  <a:lnTo>
                    <a:pt x="438392" y="2616055"/>
                  </a:lnTo>
                  <a:lnTo>
                    <a:pt x="447922" y="2620820"/>
                  </a:lnTo>
                  <a:lnTo>
                    <a:pt x="466982" y="2587464"/>
                  </a:lnTo>
                  <a:lnTo>
                    <a:pt x="471748" y="2563638"/>
                  </a:lnTo>
                  <a:lnTo>
                    <a:pt x="505104" y="2554108"/>
                  </a:lnTo>
                  <a:lnTo>
                    <a:pt x="543226" y="2501692"/>
                  </a:lnTo>
                  <a:lnTo>
                    <a:pt x="562286" y="2487396"/>
                  </a:lnTo>
                  <a:lnTo>
                    <a:pt x="581346" y="2477866"/>
                  </a:lnTo>
                  <a:lnTo>
                    <a:pt x="619468" y="2430215"/>
                  </a:lnTo>
                  <a:lnTo>
                    <a:pt x="638528" y="2425450"/>
                  </a:lnTo>
                  <a:lnTo>
                    <a:pt x="643292" y="2392094"/>
                  </a:lnTo>
                  <a:lnTo>
                    <a:pt x="676648" y="2349208"/>
                  </a:lnTo>
                  <a:lnTo>
                    <a:pt x="686178" y="2344442"/>
                  </a:lnTo>
                  <a:lnTo>
                    <a:pt x="700474" y="2301556"/>
                  </a:lnTo>
                  <a:lnTo>
                    <a:pt x="743360" y="2253905"/>
                  </a:lnTo>
                  <a:lnTo>
                    <a:pt x="767186" y="2196724"/>
                  </a:lnTo>
                  <a:lnTo>
                    <a:pt x="781482" y="2172898"/>
                  </a:lnTo>
                  <a:lnTo>
                    <a:pt x="786246" y="2149072"/>
                  </a:lnTo>
                  <a:lnTo>
                    <a:pt x="800542" y="2149072"/>
                  </a:lnTo>
                  <a:lnTo>
                    <a:pt x="814838" y="2130012"/>
                  </a:lnTo>
                  <a:lnTo>
                    <a:pt x="848194" y="2120482"/>
                  </a:lnTo>
                  <a:lnTo>
                    <a:pt x="876784" y="2125246"/>
                  </a:lnTo>
                  <a:lnTo>
                    <a:pt x="886314" y="2130012"/>
                  </a:lnTo>
                  <a:lnTo>
                    <a:pt x="900610" y="2130012"/>
                  </a:lnTo>
                  <a:lnTo>
                    <a:pt x="900610" y="2106186"/>
                  </a:lnTo>
                  <a:lnTo>
                    <a:pt x="891080" y="2096656"/>
                  </a:lnTo>
                  <a:lnTo>
                    <a:pt x="895844" y="2082360"/>
                  </a:lnTo>
                  <a:lnTo>
                    <a:pt x="914906" y="2072830"/>
                  </a:lnTo>
                  <a:lnTo>
                    <a:pt x="910140" y="2053770"/>
                  </a:lnTo>
                  <a:lnTo>
                    <a:pt x="910140" y="2039474"/>
                  </a:lnTo>
                  <a:lnTo>
                    <a:pt x="895844" y="2025179"/>
                  </a:lnTo>
                  <a:lnTo>
                    <a:pt x="900610" y="1987058"/>
                  </a:lnTo>
                  <a:lnTo>
                    <a:pt x="905374" y="1948937"/>
                  </a:lnTo>
                  <a:lnTo>
                    <a:pt x="910140" y="1896520"/>
                  </a:lnTo>
                  <a:lnTo>
                    <a:pt x="891080" y="1872695"/>
                  </a:lnTo>
                  <a:lnTo>
                    <a:pt x="829132" y="1829809"/>
                  </a:lnTo>
                  <a:lnTo>
                    <a:pt x="819602" y="1829809"/>
                  </a:lnTo>
                  <a:lnTo>
                    <a:pt x="805308" y="1825044"/>
                  </a:lnTo>
                  <a:lnTo>
                    <a:pt x="791012" y="1791688"/>
                  </a:lnTo>
                  <a:lnTo>
                    <a:pt x="795776" y="1767862"/>
                  </a:lnTo>
                  <a:lnTo>
                    <a:pt x="795776" y="1753567"/>
                  </a:lnTo>
                  <a:lnTo>
                    <a:pt x="791012" y="1753567"/>
                  </a:lnTo>
                  <a:lnTo>
                    <a:pt x="781482" y="1767862"/>
                  </a:lnTo>
                  <a:lnTo>
                    <a:pt x="762420" y="1786923"/>
                  </a:lnTo>
                  <a:lnTo>
                    <a:pt x="738596" y="1772627"/>
                  </a:lnTo>
                  <a:lnTo>
                    <a:pt x="724300" y="1777392"/>
                  </a:lnTo>
                  <a:lnTo>
                    <a:pt x="705240" y="1705915"/>
                  </a:lnTo>
                  <a:lnTo>
                    <a:pt x="700474" y="1677325"/>
                  </a:lnTo>
                  <a:lnTo>
                    <a:pt x="686178" y="1643969"/>
                  </a:lnTo>
                  <a:lnTo>
                    <a:pt x="662354" y="1624908"/>
                  </a:lnTo>
                  <a:lnTo>
                    <a:pt x="657588" y="1620143"/>
                  </a:lnTo>
                  <a:lnTo>
                    <a:pt x="652822" y="1601083"/>
                  </a:lnTo>
                  <a:lnTo>
                    <a:pt x="652822" y="1582022"/>
                  </a:lnTo>
                  <a:lnTo>
                    <a:pt x="648058" y="1553431"/>
                  </a:lnTo>
                  <a:lnTo>
                    <a:pt x="648058" y="1529606"/>
                  </a:lnTo>
                  <a:lnTo>
                    <a:pt x="652822" y="1515310"/>
                  </a:lnTo>
                  <a:lnTo>
                    <a:pt x="662354" y="1505780"/>
                  </a:lnTo>
                  <a:lnTo>
                    <a:pt x="676648" y="1477189"/>
                  </a:lnTo>
                  <a:lnTo>
                    <a:pt x="681414" y="1458129"/>
                  </a:lnTo>
                  <a:lnTo>
                    <a:pt x="681414" y="1424773"/>
                  </a:lnTo>
                  <a:lnTo>
                    <a:pt x="690944" y="1400947"/>
                  </a:lnTo>
                  <a:lnTo>
                    <a:pt x="695710" y="1386652"/>
                  </a:lnTo>
                  <a:lnTo>
                    <a:pt x="695710" y="1372356"/>
                  </a:lnTo>
                  <a:lnTo>
                    <a:pt x="690944" y="1358061"/>
                  </a:lnTo>
                  <a:lnTo>
                    <a:pt x="681414" y="1334236"/>
                  </a:lnTo>
                  <a:lnTo>
                    <a:pt x="662354" y="1310410"/>
                  </a:lnTo>
                  <a:lnTo>
                    <a:pt x="648058" y="1281819"/>
                  </a:lnTo>
                  <a:lnTo>
                    <a:pt x="643292" y="1257994"/>
                  </a:lnTo>
                  <a:lnTo>
                    <a:pt x="638528" y="1234168"/>
                  </a:lnTo>
                  <a:lnTo>
                    <a:pt x="643292" y="1215107"/>
                  </a:lnTo>
                  <a:lnTo>
                    <a:pt x="643292" y="1200812"/>
                  </a:lnTo>
                  <a:lnTo>
                    <a:pt x="662354" y="1186517"/>
                  </a:lnTo>
                  <a:lnTo>
                    <a:pt x="662354" y="1176986"/>
                  </a:lnTo>
                  <a:lnTo>
                    <a:pt x="657588" y="1138865"/>
                  </a:lnTo>
                  <a:lnTo>
                    <a:pt x="648058" y="1129335"/>
                  </a:lnTo>
                  <a:lnTo>
                    <a:pt x="628998" y="1129335"/>
                  </a:lnTo>
                  <a:lnTo>
                    <a:pt x="614702" y="1129335"/>
                  </a:lnTo>
                  <a:lnTo>
                    <a:pt x="614702" y="1124570"/>
                  </a:lnTo>
                  <a:lnTo>
                    <a:pt x="614702" y="1115040"/>
                  </a:lnTo>
                  <a:lnTo>
                    <a:pt x="614702" y="1100744"/>
                  </a:lnTo>
                  <a:lnTo>
                    <a:pt x="624232" y="1081684"/>
                  </a:lnTo>
                  <a:lnTo>
                    <a:pt x="628998" y="1072154"/>
                  </a:lnTo>
                  <a:lnTo>
                    <a:pt x="628998" y="1057858"/>
                  </a:lnTo>
                  <a:lnTo>
                    <a:pt x="619468" y="1029267"/>
                  </a:lnTo>
                  <a:lnTo>
                    <a:pt x="619468" y="986381"/>
                  </a:lnTo>
                  <a:lnTo>
                    <a:pt x="619468" y="953025"/>
                  </a:lnTo>
                  <a:lnTo>
                    <a:pt x="643292" y="929200"/>
                  </a:lnTo>
                  <a:lnTo>
                    <a:pt x="643292" y="919670"/>
                  </a:lnTo>
                  <a:lnTo>
                    <a:pt x="614702" y="895844"/>
                  </a:lnTo>
                  <a:lnTo>
                    <a:pt x="600406" y="862488"/>
                  </a:lnTo>
                  <a:lnTo>
                    <a:pt x="590876" y="848193"/>
                  </a:lnTo>
                  <a:lnTo>
                    <a:pt x="571816" y="843427"/>
                  </a:lnTo>
                  <a:lnTo>
                    <a:pt x="557520" y="791011"/>
                  </a:lnTo>
                  <a:lnTo>
                    <a:pt x="538460" y="767185"/>
                  </a:lnTo>
                  <a:lnTo>
                    <a:pt x="519400" y="748125"/>
                  </a:lnTo>
                  <a:lnTo>
                    <a:pt x="509870" y="738595"/>
                  </a:lnTo>
                  <a:lnTo>
                    <a:pt x="443158" y="705239"/>
                  </a:lnTo>
                  <a:lnTo>
                    <a:pt x="419332" y="700474"/>
                  </a:lnTo>
                  <a:lnTo>
                    <a:pt x="385976" y="681413"/>
                  </a:lnTo>
                  <a:lnTo>
                    <a:pt x="362150" y="657588"/>
                  </a:lnTo>
                  <a:lnTo>
                    <a:pt x="343090" y="643292"/>
                  </a:lnTo>
                  <a:lnTo>
                    <a:pt x="328794" y="624232"/>
                  </a:lnTo>
                  <a:lnTo>
                    <a:pt x="304968" y="609936"/>
                  </a:lnTo>
                  <a:lnTo>
                    <a:pt x="295438" y="595641"/>
                  </a:lnTo>
                  <a:lnTo>
                    <a:pt x="271612" y="567050"/>
                  </a:lnTo>
                  <a:lnTo>
                    <a:pt x="257318" y="547990"/>
                  </a:lnTo>
                  <a:lnTo>
                    <a:pt x="219196" y="514634"/>
                  </a:lnTo>
                  <a:lnTo>
                    <a:pt x="214432" y="500338"/>
                  </a:lnTo>
                  <a:lnTo>
                    <a:pt x="214432" y="490808"/>
                  </a:lnTo>
                  <a:lnTo>
                    <a:pt x="214432" y="481278"/>
                  </a:lnTo>
                  <a:lnTo>
                    <a:pt x="171544" y="457452"/>
                  </a:lnTo>
                  <a:lnTo>
                    <a:pt x="181076" y="443157"/>
                  </a:lnTo>
                  <a:lnTo>
                    <a:pt x="214432" y="443157"/>
                  </a:lnTo>
                  <a:lnTo>
                    <a:pt x="243022" y="457452"/>
                  </a:lnTo>
                  <a:lnTo>
                    <a:pt x="247788" y="452687"/>
                  </a:lnTo>
                  <a:lnTo>
                    <a:pt x="252552" y="438392"/>
                  </a:lnTo>
                  <a:lnTo>
                    <a:pt x="238256" y="390740"/>
                  </a:lnTo>
                  <a:lnTo>
                    <a:pt x="243022" y="381210"/>
                  </a:lnTo>
                  <a:lnTo>
                    <a:pt x="252552" y="366915"/>
                  </a:lnTo>
                  <a:lnTo>
                    <a:pt x="271612" y="352619"/>
                  </a:lnTo>
                  <a:lnTo>
                    <a:pt x="300204" y="352619"/>
                  </a:lnTo>
                  <a:lnTo>
                    <a:pt x="324030" y="352619"/>
                  </a:lnTo>
                  <a:lnTo>
                    <a:pt x="328794" y="357384"/>
                  </a:lnTo>
                  <a:lnTo>
                    <a:pt x="357386" y="405036"/>
                  </a:lnTo>
                  <a:lnTo>
                    <a:pt x="385976" y="457452"/>
                  </a:lnTo>
                  <a:lnTo>
                    <a:pt x="400272" y="476513"/>
                  </a:lnTo>
                  <a:lnTo>
                    <a:pt x="433628" y="538459"/>
                  </a:lnTo>
                  <a:lnTo>
                    <a:pt x="447922" y="571815"/>
                  </a:lnTo>
                  <a:lnTo>
                    <a:pt x="452688" y="595641"/>
                  </a:lnTo>
                  <a:lnTo>
                    <a:pt x="466982" y="595641"/>
                  </a:lnTo>
                  <a:lnTo>
                    <a:pt x="514634" y="605171"/>
                  </a:lnTo>
                  <a:lnTo>
                    <a:pt x="552756" y="614701"/>
                  </a:lnTo>
                  <a:lnTo>
                    <a:pt x="567050" y="628997"/>
                  </a:lnTo>
                  <a:lnTo>
                    <a:pt x="595642" y="624232"/>
                  </a:lnTo>
                  <a:lnTo>
                    <a:pt x="614702" y="614701"/>
                  </a:lnTo>
                  <a:lnTo>
                    <a:pt x="652822" y="600406"/>
                  </a:lnTo>
                  <a:lnTo>
                    <a:pt x="662354" y="581346"/>
                  </a:lnTo>
                  <a:lnTo>
                    <a:pt x="676648" y="557520"/>
                  </a:lnTo>
                  <a:lnTo>
                    <a:pt x="700474" y="562285"/>
                  </a:lnTo>
                  <a:lnTo>
                    <a:pt x="724300" y="576580"/>
                  </a:lnTo>
                  <a:lnTo>
                    <a:pt x="752890" y="600406"/>
                  </a:lnTo>
                  <a:lnTo>
                    <a:pt x="776716" y="609936"/>
                  </a:lnTo>
                  <a:lnTo>
                    <a:pt x="810072" y="624232"/>
                  </a:lnTo>
                  <a:lnTo>
                    <a:pt x="824368" y="643292"/>
                  </a:lnTo>
                  <a:lnTo>
                    <a:pt x="848194" y="652822"/>
                  </a:lnTo>
                  <a:lnTo>
                    <a:pt x="867254" y="628997"/>
                  </a:lnTo>
                  <a:lnTo>
                    <a:pt x="881550" y="576580"/>
                  </a:lnTo>
                  <a:lnTo>
                    <a:pt x="895844" y="552755"/>
                  </a:lnTo>
                  <a:lnTo>
                    <a:pt x="910140" y="533694"/>
                  </a:lnTo>
                  <a:lnTo>
                    <a:pt x="929200" y="524164"/>
                  </a:lnTo>
                  <a:lnTo>
                    <a:pt x="943496" y="524164"/>
                  </a:lnTo>
                  <a:lnTo>
                    <a:pt x="957792" y="509869"/>
                  </a:lnTo>
                  <a:lnTo>
                    <a:pt x="972086" y="481278"/>
                  </a:lnTo>
                  <a:lnTo>
                    <a:pt x="976852" y="443157"/>
                  </a:lnTo>
                  <a:lnTo>
                    <a:pt x="972086" y="371680"/>
                  </a:lnTo>
                  <a:lnTo>
                    <a:pt x="976852" y="352619"/>
                  </a:lnTo>
                  <a:lnTo>
                    <a:pt x="986382" y="314498"/>
                  </a:lnTo>
                  <a:lnTo>
                    <a:pt x="1005442" y="214431"/>
                  </a:lnTo>
                  <a:lnTo>
                    <a:pt x="1014972" y="185840"/>
                  </a:lnTo>
                  <a:lnTo>
                    <a:pt x="1024504" y="166779"/>
                  </a:lnTo>
                  <a:lnTo>
                    <a:pt x="1034034" y="157249"/>
                  </a:lnTo>
                  <a:lnTo>
                    <a:pt x="1057858" y="128658"/>
                  </a:lnTo>
                  <a:lnTo>
                    <a:pt x="1095980" y="66712"/>
                  </a:lnTo>
                  <a:lnTo>
                    <a:pt x="1100746" y="61947"/>
                  </a:lnTo>
                  <a:lnTo>
                    <a:pt x="1124570" y="57182"/>
                  </a:lnTo>
                  <a:lnTo>
                    <a:pt x="1157926" y="61947"/>
                  </a:lnTo>
                  <a:lnTo>
                    <a:pt x="1186518" y="71477"/>
                  </a:lnTo>
                  <a:lnTo>
                    <a:pt x="1200812" y="66712"/>
                  </a:lnTo>
                  <a:lnTo>
                    <a:pt x="1219874" y="47651"/>
                  </a:lnTo>
                  <a:lnTo>
                    <a:pt x="1257994" y="953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2" name="Freeform 100">
              <a:extLst>
                <a:ext uri="{FF2B5EF4-FFF2-40B4-BE49-F238E27FC236}">
                  <a16:creationId xmlns:a16="http://schemas.microsoft.com/office/drawing/2014/main" id="{D80E31B1-3FF2-4A79-8523-92D0DD91C1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53616" y="6923028"/>
              <a:ext cx="84796" cy="42399"/>
            </a:xfrm>
            <a:custGeom>
              <a:avLst/>
              <a:gdLst>
                <a:gd name="connsiteX0" fmla="*/ 209666 w 524164"/>
                <a:gd name="connsiteY0" fmla="*/ 219196 h 262084"/>
                <a:gd name="connsiteX1" fmla="*/ 214432 w 524164"/>
                <a:gd name="connsiteY1" fmla="*/ 219196 h 262084"/>
                <a:gd name="connsiteX2" fmla="*/ 228728 w 524164"/>
                <a:gd name="connsiteY2" fmla="*/ 228728 h 262084"/>
                <a:gd name="connsiteX3" fmla="*/ 228728 w 524164"/>
                <a:gd name="connsiteY3" fmla="*/ 243020 h 262084"/>
                <a:gd name="connsiteX4" fmla="*/ 219196 w 524164"/>
                <a:gd name="connsiteY4" fmla="*/ 247788 h 262084"/>
                <a:gd name="connsiteX5" fmla="*/ 214432 w 524164"/>
                <a:gd name="connsiteY5" fmla="*/ 247788 h 262084"/>
                <a:gd name="connsiteX6" fmla="*/ 209666 w 524164"/>
                <a:gd name="connsiteY6" fmla="*/ 238256 h 262084"/>
                <a:gd name="connsiteX7" fmla="*/ 209666 w 524164"/>
                <a:gd name="connsiteY7" fmla="*/ 223960 h 262084"/>
                <a:gd name="connsiteX8" fmla="*/ 414566 w 524164"/>
                <a:gd name="connsiteY8" fmla="*/ 185840 h 262084"/>
                <a:gd name="connsiteX9" fmla="*/ 419332 w 524164"/>
                <a:gd name="connsiteY9" fmla="*/ 185840 h 262084"/>
                <a:gd name="connsiteX10" fmla="*/ 424096 w 524164"/>
                <a:gd name="connsiteY10" fmla="*/ 185840 h 262084"/>
                <a:gd name="connsiteX11" fmla="*/ 424096 w 524164"/>
                <a:gd name="connsiteY11" fmla="*/ 209668 h 262084"/>
                <a:gd name="connsiteX12" fmla="*/ 409802 w 524164"/>
                <a:gd name="connsiteY12" fmla="*/ 200136 h 262084"/>
                <a:gd name="connsiteX13" fmla="*/ 405036 w 524164"/>
                <a:gd name="connsiteY13" fmla="*/ 190608 h 262084"/>
                <a:gd name="connsiteX14" fmla="*/ 19060 w 524164"/>
                <a:gd name="connsiteY14" fmla="*/ 128660 h 262084"/>
                <a:gd name="connsiteX15" fmla="*/ 28590 w 524164"/>
                <a:gd name="connsiteY15" fmla="*/ 133424 h 262084"/>
                <a:gd name="connsiteX16" fmla="*/ 42886 w 524164"/>
                <a:gd name="connsiteY16" fmla="*/ 133424 h 262084"/>
                <a:gd name="connsiteX17" fmla="*/ 33356 w 524164"/>
                <a:gd name="connsiteY17" fmla="*/ 157248 h 262084"/>
                <a:gd name="connsiteX18" fmla="*/ 28590 w 524164"/>
                <a:gd name="connsiteY18" fmla="*/ 171544 h 262084"/>
                <a:gd name="connsiteX19" fmla="*/ 19060 w 524164"/>
                <a:gd name="connsiteY19" fmla="*/ 171544 h 262084"/>
                <a:gd name="connsiteX20" fmla="*/ 4766 w 524164"/>
                <a:gd name="connsiteY20" fmla="*/ 152484 h 262084"/>
                <a:gd name="connsiteX21" fmla="*/ 0 w 524164"/>
                <a:gd name="connsiteY21" fmla="*/ 142956 h 262084"/>
                <a:gd name="connsiteX22" fmla="*/ 14296 w 524164"/>
                <a:gd name="connsiteY22" fmla="*/ 138188 h 262084"/>
                <a:gd name="connsiteX23" fmla="*/ 95302 w 524164"/>
                <a:gd name="connsiteY23" fmla="*/ 19060 h 262084"/>
                <a:gd name="connsiteX24" fmla="*/ 109598 w 524164"/>
                <a:gd name="connsiteY24" fmla="*/ 33356 h 262084"/>
                <a:gd name="connsiteX25" fmla="*/ 133424 w 524164"/>
                <a:gd name="connsiteY25" fmla="*/ 47652 h 262084"/>
                <a:gd name="connsiteX26" fmla="*/ 157250 w 524164"/>
                <a:gd name="connsiteY26" fmla="*/ 52416 h 262084"/>
                <a:gd name="connsiteX27" fmla="*/ 176310 w 524164"/>
                <a:gd name="connsiteY27" fmla="*/ 33356 h 262084"/>
                <a:gd name="connsiteX28" fmla="*/ 190606 w 524164"/>
                <a:gd name="connsiteY28" fmla="*/ 28592 h 262084"/>
                <a:gd name="connsiteX29" fmla="*/ 200136 w 524164"/>
                <a:gd name="connsiteY29" fmla="*/ 33356 h 262084"/>
                <a:gd name="connsiteX30" fmla="*/ 209666 w 524164"/>
                <a:gd name="connsiteY30" fmla="*/ 42888 h 262084"/>
                <a:gd name="connsiteX31" fmla="*/ 223962 w 524164"/>
                <a:gd name="connsiteY31" fmla="*/ 42888 h 262084"/>
                <a:gd name="connsiteX32" fmla="*/ 257318 w 524164"/>
                <a:gd name="connsiteY32" fmla="*/ 33356 h 262084"/>
                <a:gd name="connsiteX33" fmla="*/ 262082 w 524164"/>
                <a:gd name="connsiteY33" fmla="*/ 33356 h 262084"/>
                <a:gd name="connsiteX34" fmla="*/ 271612 w 524164"/>
                <a:gd name="connsiteY34" fmla="*/ 23828 h 262084"/>
                <a:gd name="connsiteX35" fmla="*/ 285908 w 524164"/>
                <a:gd name="connsiteY35" fmla="*/ 28592 h 262084"/>
                <a:gd name="connsiteX36" fmla="*/ 290672 w 524164"/>
                <a:gd name="connsiteY36" fmla="*/ 38120 h 262084"/>
                <a:gd name="connsiteX37" fmla="*/ 290672 w 524164"/>
                <a:gd name="connsiteY37" fmla="*/ 52416 h 262084"/>
                <a:gd name="connsiteX38" fmla="*/ 276378 w 524164"/>
                <a:gd name="connsiteY38" fmla="*/ 61948 h 262084"/>
                <a:gd name="connsiteX39" fmla="*/ 271612 w 524164"/>
                <a:gd name="connsiteY39" fmla="*/ 71476 h 262084"/>
                <a:gd name="connsiteX40" fmla="*/ 266848 w 524164"/>
                <a:gd name="connsiteY40" fmla="*/ 81008 h 262084"/>
                <a:gd name="connsiteX41" fmla="*/ 252552 w 524164"/>
                <a:gd name="connsiteY41" fmla="*/ 90536 h 262084"/>
                <a:gd name="connsiteX42" fmla="*/ 243022 w 524164"/>
                <a:gd name="connsiteY42" fmla="*/ 104832 h 262084"/>
                <a:gd name="connsiteX43" fmla="*/ 223962 w 524164"/>
                <a:gd name="connsiteY43" fmla="*/ 133424 h 262084"/>
                <a:gd name="connsiteX44" fmla="*/ 190606 w 524164"/>
                <a:gd name="connsiteY44" fmla="*/ 176312 h 262084"/>
                <a:gd name="connsiteX45" fmla="*/ 181076 w 524164"/>
                <a:gd name="connsiteY45" fmla="*/ 181076 h 262084"/>
                <a:gd name="connsiteX46" fmla="*/ 157250 w 524164"/>
                <a:gd name="connsiteY46" fmla="*/ 181076 h 262084"/>
                <a:gd name="connsiteX47" fmla="*/ 147720 w 524164"/>
                <a:gd name="connsiteY47" fmla="*/ 181076 h 262084"/>
                <a:gd name="connsiteX48" fmla="*/ 138188 w 524164"/>
                <a:gd name="connsiteY48" fmla="*/ 181076 h 262084"/>
                <a:gd name="connsiteX49" fmla="*/ 133424 w 524164"/>
                <a:gd name="connsiteY49" fmla="*/ 200136 h 262084"/>
                <a:gd name="connsiteX50" fmla="*/ 123894 w 524164"/>
                <a:gd name="connsiteY50" fmla="*/ 219196 h 262084"/>
                <a:gd name="connsiteX51" fmla="*/ 119128 w 524164"/>
                <a:gd name="connsiteY51" fmla="*/ 223960 h 262084"/>
                <a:gd name="connsiteX52" fmla="*/ 104834 w 524164"/>
                <a:gd name="connsiteY52" fmla="*/ 223960 h 262084"/>
                <a:gd name="connsiteX53" fmla="*/ 100068 w 524164"/>
                <a:gd name="connsiteY53" fmla="*/ 228728 h 262084"/>
                <a:gd name="connsiteX54" fmla="*/ 100068 w 524164"/>
                <a:gd name="connsiteY54" fmla="*/ 233492 h 262084"/>
                <a:gd name="connsiteX55" fmla="*/ 71478 w 524164"/>
                <a:gd name="connsiteY55" fmla="*/ 233492 h 262084"/>
                <a:gd name="connsiteX56" fmla="*/ 52416 w 524164"/>
                <a:gd name="connsiteY56" fmla="*/ 219196 h 262084"/>
                <a:gd name="connsiteX57" fmla="*/ 28592 w 524164"/>
                <a:gd name="connsiteY57" fmla="*/ 200136 h 262084"/>
                <a:gd name="connsiteX58" fmla="*/ 57182 w 524164"/>
                <a:gd name="connsiteY58" fmla="*/ 171544 h 262084"/>
                <a:gd name="connsiteX59" fmla="*/ 85772 w 524164"/>
                <a:gd name="connsiteY59" fmla="*/ 171544 h 262084"/>
                <a:gd name="connsiteX60" fmla="*/ 109598 w 524164"/>
                <a:gd name="connsiteY60" fmla="*/ 152484 h 262084"/>
                <a:gd name="connsiteX61" fmla="*/ 123894 w 524164"/>
                <a:gd name="connsiteY61" fmla="*/ 142956 h 262084"/>
                <a:gd name="connsiteX62" fmla="*/ 133424 w 524164"/>
                <a:gd name="connsiteY62" fmla="*/ 133424 h 262084"/>
                <a:gd name="connsiteX63" fmla="*/ 142954 w 524164"/>
                <a:gd name="connsiteY63" fmla="*/ 128660 h 262084"/>
                <a:gd name="connsiteX64" fmla="*/ 142954 w 524164"/>
                <a:gd name="connsiteY64" fmla="*/ 114364 h 262084"/>
                <a:gd name="connsiteX65" fmla="*/ 133424 w 524164"/>
                <a:gd name="connsiteY65" fmla="*/ 114364 h 262084"/>
                <a:gd name="connsiteX66" fmla="*/ 128658 w 524164"/>
                <a:gd name="connsiteY66" fmla="*/ 114364 h 262084"/>
                <a:gd name="connsiteX67" fmla="*/ 119128 w 524164"/>
                <a:gd name="connsiteY67" fmla="*/ 119128 h 262084"/>
                <a:gd name="connsiteX68" fmla="*/ 100068 w 524164"/>
                <a:gd name="connsiteY68" fmla="*/ 123892 h 262084"/>
                <a:gd name="connsiteX69" fmla="*/ 85772 w 524164"/>
                <a:gd name="connsiteY69" fmla="*/ 109600 h 262084"/>
                <a:gd name="connsiteX70" fmla="*/ 95302 w 524164"/>
                <a:gd name="connsiteY70" fmla="*/ 104832 h 262084"/>
                <a:gd name="connsiteX71" fmla="*/ 104834 w 524164"/>
                <a:gd name="connsiteY71" fmla="*/ 104832 h 262084"/>
                <a:gd name="connsiteX72" fmla="*/ 133424 w 524164"/>
                <a:gd name="connsiteY72" fmla="*/ 95304 h 262084"/>
                <a:gd name="connsiteX73" fmla="*/ 138188 w 524164"/>
                <a:gd name="connsiteY73" fmla="*/ 90536 h 262084"/>
                <a:gd name="connsiteX74" fmla="*/ 128658 w 524164"/>
                <a:gd name="connsiteY74" fmla="*/ 76244 h 262084"/>
                <a:gd name="connsiteX75" fmla="*/ 114364 w 524164"/>
                <a:gd name="connsiteY75" fmla="*/ 66712 h 262084"/>
                <a:gd name="connsiteX76" fmla="*/ 100068 w 524164"/>
                <a:gd name="connsiteY76" fmla="*/ 52416 h 262084"/>
                <a:gd name="connsiteX77" fmla="*/ 95302 w 524164"/>
                <a:gd name="connsiteY77" fmla="*/ 47652 h 262084"/>
                <a:gd name="connsiteX78" fmla="*/ 95302 w 524164"/>
                <a:gd name="connsiteY78" fmla="*/ 38120 h 262084"/>
                <a:gd name="connsiteX79" fmla="*/ 90538 w 524164"/>
                <a:gd name="connsiteY79" fmla="*/ 23828 h 262084"/>
                <a:gd name="connsiteX80" fmla="*/ 347856 w 524164"/>
                <a:gd name="connsiteY80" fmla="*/ 0 h 262084"/>
                <a:gd name="connsiteX81" fmla="*/ 357384 w 524164"/>
                <a:gd name="connsiteY81" fmla="*/ 0 h 262084"/>
                <a:gd name="connsiteX82" fmla="*/ 357386 w 524164"/>
                <a:gd name="connsiteY82" fmla="*/ 0 h 262084"/>
                <a:gd name="connsiteX83" fmla="*/ 381212 w 524164"/>
                <a:gd name="connsiteY83" fmla="*/ 14296 h 262084"/>
                <a:gd name="connsiteX84" fmla="*/ 409802 w 524164"/>
                <a:gd name="connsiteY84" fmla="*/ 9532 h 262084"/>
                <a:gd name="connsiteX85" fmla="*/ 424098 w 524164"/>
                <a:gd name="connsiteY85" fmla="*/ 14296 h 262084"/>
                <a:gd name="connsiteX86" fmla="*/ 428862 w 524164"/>
                <a:gd name="connsiteY86" fmla="*/ 23828 h 262084"/>
                <a:gd name="connsiteX87" fmla="*/ 428862 w 524164"/>
                <a:gd name="connsiteY87" fmla="*/ 38124 h 262084"/>
                <a:gd name="connsiteX88" fmla="*/ 419332 w 524164"/>
                <a:gd name="connsiteY88" fmla="*/ 38124 h 262084"/>
                <a:gd name="connsiteX89" fmla="*/ 409802 w 524164"/>
                <a:gd name="connsiteY89" fmla="*/ 38124 h 262084"/>
                <a:gd name="connsiteX90" fmla="*/ 409802 w 524164"/>
                <a:gd name="connsiteY90" fmla="*/ 52416 h 262084"/>
                <a:gd name="connsiteX91" fmla="*/ 414566 w 524164"/>
                <a:gd name="connsiteY91" fmla="*/ 61948 h 262084"/>
                <a:gd name="connsiteX92" fmla="*/ 447922 w 524164"/>
                <a:gd name="connsiteY92" fmla="*/ 76244 h 262084"/>
                <a:gd name="connsiteX93" fmla="*/ 452688 w 524164"/>
                <a:gd name="connsiteY93" fmla="*/ 76244 h 262084"/>
                <a:gd name="connsiteX94" fmla="*/ 452688 w 524164"/>
                <a:gd name="connsiteY94" fmla="*/ 71476 h 262084"/>
                <a:gd name="connsiteX95" fmla="*/ 447922 w 524164"/>
                <a:gd name="connsiteY95" fmla="*/ 57184 h 262084"/>
                <a:gd name="connsiteX96" fmla="*/ 443158 w 524164"/>
                <a:gd name="connsiteY96" fmla="*/ 47652 h 262084"/>
                <a:gd name="connsiteX97" fmla="*/ 447922 w 524164"/>
                <a:gd name="connsiteY97" fmla="*/ 38124 h 262084"/>
                <a:gd name="connsiteX98" fmla="*/ 457454 w 524164"/>
                <a:gd name="connsiteY98" fmla="*/ 33356 h 262084"/>
                <a:gd name="connsiteX99" fmla="*/ 495574 w 524164"/>
                <a:gd name="connsiteY99" fmla="*/ 28592 h 262084"/>
                <a:gd name="connsiteX100" fmla="*/ 500340 w 524164"/>
                <a:gd name="connsiteY100" fmla="*/ 33356 h 262084"/>
                <a:gd name="connsiteX101" fmla="*/ 519400 w 524164"/>
                <a:gd name="connsiteY101" fmla="*/ 61948 h 262084"/>
                <a:gd name="connsiteX102" fmla="*/ 505104 w 524164"/>
                <a:gd name="connsiteY102" fmla="*/ 66712 h 262084"/>
                <a:gd name="connsiteX103" fmla="*/ 495574 w 524164"/>
                <a:gd name="connsiteY103" fmla="*/ 81008 h 262084"/>
                <a:gd name="connsiteX104" fmla="*/ 509870 w 524164"/>
                <a:gd name="connsiteY104" fmla="*/ 85772 h 262084"/>
                <a:gd name="connsiteX105" fmla="*/ 524164 w 524164"/>
                <a:gd name="connsiteY105" fmla="*/ 90540 h 262084"/>
                <a:gd name="connsiteX106" fmla="*/ 514634 w 524164"/>
                <a:gd name="connsiteY106" fmla="*/ 104832 h 262084"/>
                <a:gd name="connsiteX107" fmla="*/ 514634 w 524164"/>
                <a:gd name="connsiteY107" fmla="*/ 109600 h 262084"/>
                <a:gd name="connsiteX108" fmla="*/ 490810 w 524164"/>
                <a:gd name="connsiteY108" fmla="*/ 119128 h 262084"/>
                <a:gd name="connsiteX109" fmla="*/ 466984 w 524164"/>
                <a:gd name="connsiteY109" fmla="*/ 123896 h 262084"/>
                <a:gd name="connsiteX110" fmla="*/ 457454 w 524164"/>
                <a:gd name="connsiteY110" fmla="*/ 138188 h 262084"/>
                <a:gd name="connsiteX111" fmla="*/ 438392 w 524164"/>
                <a:gd name="connsiteY111" fmla="*/ 147720 h 262084"/>
                <a:gd name="connsiteX112" fmla="*/ 385976 w 524164"/>
                <a:gd name="connsiteY112" fmla="*/ 166780 h 262084"/>
                <a:gd name="connsiteX113" fmla="*/ 390742 w 524164"/>
                <a:gd name="connsiteY113" fmla="*/ 181076 h 262084"/>
                <a:gd name="connsiteX114" fmla="*/ 390742 w 524164"/>
                <a:gd name="connsiteY114" fmla="*/ 190608 h 262084"/>
                <a:gd name="connsiteX115" fmla="*/ 390742 w 524164"/>
                <a:gd name="connsiteY115" fmla="*/ 209668 h 262084"/>
                <a:gd name="connsiteX116" fmla="*/ 314500 w 524164"/>
                <a:gd name="connsiteY116" fmla="*/ 185840 h 262084"/>
                <a:gd name="connsiteX117" fmla="*/ 304968 w 524164"/>
                <a:gd name="connsiteY117" fmla="*/ 185840 h 262084"/>
                <a:gd name="connsiteX118" fmla="*/ 324030 w 524164"/>
                <a:gd name="connsiteY118" fmla="*/ 228728 h 262084"/>
                <a:gd name="connsiteX119" fmla="*/ 309734 w 524164"/>
                <a:gd name="connsiteY119" fmla="*/ 233492 h 262084"/>
                <a:gd name="connsiteX120" fmla="*/ 295438 w 524164"/>
                <a:gd name="connsiteY120" fmla="*/ 228728 h 262084"/>
                <a:gd name="connsiteX121" fmla="*/ 281144 w 524164"/>
                <a:gd name="connsiteY121" fmla="*/ 233492 h 262084"/>
                <a:gd name="connsiteX122" fmla="*/ 271614 w 524164"/>
                <a:gd name="connsiteY122" fmla="*/ 262084 h 262084"/>
                <a:gd name="connsiteX123" fmla="*/ 252552 w 524164"/>
                <a:gd name="connsiteY123" fmla="*/ 243024 h 262084"/>
                <a:gd name="connsiteX124" fmla="*/ 233492 w 524164"/>
                <a:gd name="connsiteY124" fmla="*/ 219196 h 262084"/>
                <a:gd name="connsiteX125" fmla="*/ 233492 w 524164"/>
                <a:gd name="connsiteY125" fmla="*/ 204900 h 262084"/>
                <a:gd name="connsiteX126" fmla="*/ 252552 w 524164"/>
                <a:gd name="connsiteY126" fmla="*/ 176312 h 262084"/>
                <a:gd name="connsiteX127" fmla="*/ 243022 w 524164"/>
                <a:gd name="connsiteY127" fmla="*/ 166780 h 262084"/>
                <a:gd name="connsiteX128" fmla="*/ 285908 w 524164"/>
                <a:gd name="connsiteY128" fmla="*/ 128660 h 262084"/>
                <a:gd name="connsiteX129" fmla="*/ 295438 w 524164"/>
                <a:gd name="connsiteY129" fmla="*/ 119128 h 262084"/>
                <a:gd name="connsiteX130" fmla="*/ 304968 w 524164"/>
                <a:gd name="connsiteY130" fmla="*/ 109600 h 262084"/>
                <a:gd name="connsiteX131" fmla="*/ 319264 w 524164"/>
                <a:gd name="connsiteY131" fmla="*/ 109600 h 262084"/>
                <a:gd name="connsiteX132" fmla="*/ 324030 w 524164"/>
                <a:gd name="connsiteY132" fmla="*/ 104832 h 262084"/>
                <a:gd name="connsiteX133" fmla="*/ 324030 w 524164"/>
                <a:gd name="connsiteY133" fmla="*/ 95304 h 262084"/>
                <a:gd name="connsiteX134" fmla="*/ 319264 w 524164"/>
                <a:gd name="connsiteY134" fmla="*/ 81008 h 262084"/>
                <a:gd name="connsiteX135" fmla="*/ 319264 w 524164"/>
                <a:gd name="connsiteY135" fmla="*/ 57184 h 262084"/>
                <a:gd name="connsiteX136" fmla="*/ 352620 w 524164"/>
                <a:gd name="connsiteY136" fmla="*/ 23828 h 262084"/>
                <a:gd name="connsiteX137" fmla="*/ 152484 w 524164"/>
                <a:gd name="connsiteY137" fmla="*/ 0 h 262084"/>
                <a:gd name="connsiteX138" fmla="*/ 166780 w 524164"/>
                <a:gd name="connsiteY138" fmla="*/ 9532 h 262084"/>
                <a:gd name="connsiteX139" fmla="*/ 166780 w 524164"/>
                <a:gd name="connsiteY139" fmla="*/ 19060 h 262084"/>
                <a:gd name="connsiteX140" fmla="*/ 162014 w 524164"/>
                <a:gd name="connsiteY140" fmla="*/ 33356 h 262084"/>
                <a:gd name="connsiteX141" fmla="*/ 138190 w 524164"/>
                <a:gd name="connsiteY141" fmla="*/ 33356 h 262084"/>
                <a:gd name="connsiteX142" fmla="*/ 133424 w 524164"/>
                <a:gd name="connsiteY142" fmla="*/ 23828 h 262084"/>
                <a:gd name="connsiteX143" fmla="*/ 133424 w 524164"/>
                <a:gd name="connsiteY143" fmla="*/ 4768 h 262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</a:cxnLst>
              <a:rect l="l" t="t" r="r" b="b"/>
              <a:pathLst>
                <a:path w="524163" h="262083">
                  <a:moveTo>
                    <a:pt x="209666" y="219196"/>
                  </a:moveTo>
                  <a:lnTo>
                    <a:pt x="214432" y="219196"/>
                  </a:lnTo>
                  <a:lnTo>
                    <a:pt x="228728" y="228728"/>
                  </a:lnTo>
                  <a:lnTo>
                    <a:pt x="228728" y="243020"/>
                  </a:lnTo>
                  <a:lnTo>
                    <a:pt x="219196" y="247788"/>
                  </a:lnTo>
                  <a:lnTo>
                    <a:pt x="214432" y="247788"/>
                  </a:lnTo>
                  <a:lnTo>
                    <a:pt x="209666" y="238256"/>
                  </a:lnTo>
                  <a:lnTo>
                    <a:pt x="209666" y="223960"/>
                  </a:lnTo>
                  <a:close/>
                  <a:moveTo>
                    <a:pt x="414566" y="185840"/>
                  </a:moveTo>
                  <a:lnTo>
                    <a:pt x="419332" y="185840"/>
                  </a:lnTo>
                  <a:lnTo>
                    <a:pt x="424096" y="185840"/>
                  </a:lnTo>
                  <a:lnTo>
                    <a:pt x="424096" y="209668"/>
                  </a:lnTo>
                  <a:lnTo>
                    <a:pt x="409802" y="200136"/>
                  </a:lnTo>
                  <a:lnTo>
                    <a:pt x="405036" y="190608"/>
                  </a:lnTo>
                  <a:close/>
                  <a:moveTo>
                    <a:pt x="19060" y="128660"/>
                  </a:moveTo>
                  <a:lnTo>
                    <a:pt x="28590" y="133424"/>
                  </a:lnTo>
                  <a:lnTo>
                    <a:pt x="42886" y="133424"/>
                  </a:lnTo>
                  <a:lnTo>
                    <a:pt x="33356" y="157248"/>
                  </a:lnTo>
                  <a:lnTo>
                    <a:pt x="28590" y="171544"/>
                  </a:lnTo>
                  <a:lnTo>
                    <a:pt x="19060" y="171544"/>
                  </a:lnTo>
                  <a:lnTo>
                    <a:pt x="4766" y="152484"/>
                  </a:lnTo>
                  <a:lnTo>
                    <a:pt x="0" y="142956"/>
                  </a:lnTo>
                  <a:lnTo>
                    <a:pt x="14296" y="138188"/>
                  </a:lnTo>
                  <a:close/>
                  <a:moveTo>
                    <a:pt x="95302" y="19060"/>
                  </a:moveTo>
                  <a:lnTo>
                    <a:pt x="109598" y="33356"/>
                  </a:lnTo>
                  <a:lnTo>
                    <a:pt x="133424" y="47652"/>
                  </a:lnTo>
                  <a:lnTo>
                    <a:pt x="157250" y="52416"/>
                  </a:lnTo>
                  <a:lnTo>
                    <a:pt x="176310" y="33356"/>
                  </a:lnTo>
                  <a:lnTo>
                    <a:pt x="190606" y="28592"/>
                  </a:lnTo>
                  <a:lnTo>
                    <a:pt x="200136" y="33356"/>
                  </a:lnTo>
                  <a:lnTo>
                    <a:pt x="209666" y="42888"/>
                  </a:lnTo>
                  <a:lnTo>
                    <a:pt x="223962" y="42888"/>
                  </a:lnTo>
                  <a:lnTo>
                    <a:pt x="257318" y="33356"/>
                  </a:lnTo>
                  <a:lnTo>
                    <a:pt x="262082" y="33356"/>
                  </a:lnTo>
                  <a:lnTo>
                    <a:pt x="271612" y="23828"/>
                  </a:lnTo>
                  <a:lnTo>
                    <a:pt x="285908" y="28592"/>
                  </a:lnTo>
                  <a:lnTo>
                    <a:pt x="290672" y="38120"/>
                  </a:lnTo>
                  <a:lnTo>
                    <a:pt x="290672" y="52416"/>
                  </a:lnTo>
                  <a:lnTo>
                    <a:pt x="276378" y="61948"/>
                  </a:lnTo>
                  <a:lnTo>
                    <a:pt x="271612" y="71476"/>
                  </a:lnTo>
                  <a:lnTo>
                    <a:pt x="266848" y="81008"/>
                  </a:lnTo>
                  <a:lnTo>
                    <a:pt x="252552" y="90536"/>
                  </a:lnTo>
                  <a:lnTo>
                    <a:pt x="243022" y="104832"/>
                  </a:lnTo>
                  <a:lnTo>
                    <a:pt x="223962" y="133424"/>
                  </a:lnTo>
                  <a:lnTo>
                    <a:pt x="190606" y="176312"/>
                  </a:lnTo>
                  <a:lnTo>
                    <a:pt x="181076" y="181076"/>
                  </a:lnTo>
                  <a:lnTo>
                    <a:pt x="157250" y="181076"/>
                  </a:lnTo>
                  <a:lnTo>
                    <a:pt x="147720" y="181076"/>
                  </a:lnTo>
                  <a:lnTo>
                    <a:pt x="138188" y="181076"/>
                  </a:lnTo>
                  <a:lnTo>
                    <a:pt x="133424" y="200136"/>
                  </a:lnTo>
                  <a:lnTo>
                    <a:pt x="123894" y="219196"/>
                  </a:lnTo>
                  <a:lnTo>
                    <a:pt x="119128" y="223960"/>
                  </a:lnTo>
                  <a:lnTo>
                    <a:pt x="104834" y="223960"/>
                  </a:lnTo>
                  <a:lnTo>
                    <a:pt x="100068" y="228728"/>
                  </a:lnTo>
                  <a:lnTo>
                    <a:pt x="100068" y="233492"/>
                  </a:lnTo>
                  <a:lnTo>
                    <a:pt x="71478" y="233492"/>
                  </a:lnTo>
                  <a:lnTo>
                    <a:pt x="52416" y="219196"/>
                  </a:lnTo>
                  <a:lnTo>
                    <a:pt x="28592" y="200136"/>
                  </a:lnTo>
                  <a:lnTo>
                    <a:pt x="57182" y="171544"/>
                  </a:lnTo>
                  <a:lnTo>
                    <a:pt x="85772" y="171544"/>
                  </a:lnTo>
                  <a:lnTo>
                    <a:pt x="109598" y="152484"/>
                  </a:lnTo>
                  <a:lnTo>
                    <a:pt x="123894" y="142956"/>
                  </a:lnTo>
                  <a:lnTo>
                    <a:pt x="133424" y="133424"/>
                  </a:lnTo>
                  <a:lnTo>
                    <a:pt x="142954" y="128660"/>
                  </a:lnTo>
                  <a:lnTo>
                    <a:pt x="142954" y="114364"/>
                  </a:lnTo>
                  <a:lnTo>
                    <a:pt x="133424" y="114364"/>
                  </a:lnTo>
                  <a:lnTo>
                    <a:pt x="128658" y="114364"/>
                  </a:lnTo>
                  <a:lnTo>
                    <a:pt x="119128" y="119128"/>
                  </a:lnTo>
                  <a:lnTo>
                    <a:pt x="100068" y="123892"/>
                  </a:lnTo>
                  <a:lnTo>
                    <a:pt x="85772" y="109600"/>
                  </a:lnTo>
                  <a:lnTo>
                    <a:pt x="95302" y="104832"/>
                  </a:lnTo>
                  <a:lnTo>
                    <a:pt x="104834" y="104832"/>
                  </a:lnTo>
                  <a:lnTo>
                    <a:pt x="133424" y="95304"/>
                  </a:lnTo>
                  <a:lnTo>
                    <a:pt x="138188" y="90536"/>
                  </a:lnTo>
                  <a:lnTo>
                    <a:pt x="128658" y="76244"/>
                  </a:lnTo>
                  <a:lnTo>
                    <a:pt x="114364" y="66712"/>
                  </a:lnTo>
                  <a:lnTo>
                    <a:pt x="100068" y="52416"/>
                  </a:lnTo>
                  <a:lnTo>
                    <a:pt x="95302" y="47652"/>
                  </a:lnTo>
                  <a:lnTo>
                    <a:pt x="95302" y="38120"/>
                  </a:lnTo>
                  <a:lnTo>
                    <a:pt x="90538" y="23828"/>
                  </a:lnTo>
                  <a:close/>
                  <a:moveTo>
                    <a:pt x="347856" y="0"/>
                  </a:moveTo>
                  <a:lnTo>
                    <a:pt x="357384" y="0"/>
                  </a:lnTo>
                  <a:lnTo>
                    <a:pt x="357386" y="0"/>
                  </a:lnTo>
                  <a:lnTo>
                    <a:pt x="381212" y="14296"/>
                  </a:lnTo>
                  <a:lnTo>
                    <a:pt x="409802" y="9532"/>
                  </a:lnTo>
                  <a:lnTo>
                    <a:pt x="424098" y="14296"/>
                  </a:lnTo>
                  <a:lnTo>
                    <a:pt x="428862" y="23828"/>
                  </a:lnTo>
                  <a:lnTo>
                    <a:pt x="428862" y="38124"/>
                  </a:lnTo>
                  <a:lnTo>
                    <a:pt x="419332" y="38124"/>
                  </a:lnTo>
                  <a:lnTo>
                    <a:pt x="409802" y="38124"/>
                  </a:lnTo>
                  <a:lnTo>
                    <a:pt x="409802" y="52416"/>
                  </a:lnTo>
                  <a:lnTo>
                    <a:pt x="414566" y="61948"/>
                  </a:lnTo>
                  <a:lnTo>
                    <a:pt x="447922" y="76244"/>
                  </a:lnTo>
                  <a:lnTo>
                    <a:pt x="452688" y="76244"/>
                  </a:lnTo>
                  <a:lnTo>
                    <a:pt x="452688" y="71476"/>
                  </a:lnTo>
                  <a:lnTo>
                    <a:pt x="447922" y="57184"/>
                  </a:lnTo>
                  <a:lnTo>
                    <a:pt x="443158" y="47652"/>
                  </a:lnTo>
                  <a:lnTo>
                    <a:pt x="447922" y="38124"/>
                  </a:lnTo>
                  <a:lnTo>
                    <a:pt x="457454" y="33356"/>
                  </a:lnTo>
                  <a:lnTo>
                    <a:pt x="495574" y="28592"/>
                  </a:lnTo>
                  <a:lnTo>
                    <a:pt x="500340" y="33356"/>
                  </a:lnTo>
                  <a:lnTo>
                    <a:pt x="519400" y="61948"/>
                  </a:lnTo>
                  <a:lnTo>
                    <a:pt x="505104" y="66712"/>
                  </a:lnTo>
                  <a:lnTo>
                    <a:pt x="495574" y="81008"/>
                  </a:lnTo>
                  <a:lnTo>
                    <a:pt x="509870" y="85772"/>
                  </a:lnTo>
                  <a:lnTo>
                    <a:pt x="524164" y="90540"/>
                  </a:lnTo>
                  <a:lnTo>
                    <a:pt x="514634" y="104832"/>
                  </a:lnTo>
                  <a:lnTo>
                    <a:pt x="514634" y="109600"/>
                  </a:lnTo>
                  <a:lnTo>
                    <a:pt x="490810" y="119128"/>
                  </a:lnTo>
                  <a:lnTo>
                    <a:pt x="466984" y="123896"/>
                  </a:lnTo>
                  <a:lnTo>
                    <a:pt x="457454" y="138188"/>
                  </a:lnTo>
                  <a:lnTo>
                    <a:pt x="438392" y="147720"/>
                  </a:lnTo>
                  <a:lnTo>
                    <a:pt x="385976" y="166780"/>
                  </a:lnTo>
                  <a:lnTo>
                    <a:pt x="390742" y="181076"/>
                  </a:lnTo>
                  <a:lnTo>
                    <a:pt x="390742" y="190608"/>
                  </a:lnTo>
                  <a:lnTo>
                    <a:pt x="390742" y="209668"/>
                  </a:lnTo>
                  <a:lnTo>
                    <a:pt x="314500" y="185840"/>
                  </a:lnTo>
                  <a:lnTo>
                    <a:pt x="304968" y="185840"/>
                  </a:lnTo>
                  <a:lnTo>
                    <a:pt x="324030" y="228728"/>
                  </a:lnTo>
                  <a:lnTo>
                    <a:pt x="309734" y="233492"/>
                  </a:lnTo>
                  <a:lnTo>
                    <a:pt x="295438" y="228728"/>
                  </a:lnTo>
                  <a:lnTo>
                    <a:pt x="281144" y="233492"/>
                  </a:lnTo>
                  <a:lnTo>
                    <a:pt x="271614" y="262084"/>
                  </a:lnTo>
                  <a:lnTo>
                    <a:pt x="252552" y="243024"/>
                  </a:lnTo>
                  <a:lnTo>
                    <a:pt x="233492" y="219196"/>
                  </a:lnTo>
                  <a:lnTo>
                    <a:pt x="233492" y="204900"/>
                  </a:lnTo>
                  <a:lnTo>
                    <a:pt x="252552" y="176312"/>
                  </a:lnTo>
                  <a:lnTo>
                    <a:pt x="243022" y="166780"/>
                  </a:lnTo>
                  <a:lnTo>
                    <a:pt x="285908" y="128660"/>
                  </a:lnTo>
                  <a:lnTo>
                    <a:pt x="295438" y="119128"/>
                  </a:lnTo>
                  <a:lnTo>
                    <a:pt x="304968" y="109600"/>
                  </a:lnTo>
                  <a:lnTo>
                    <a:pt x="319264" y="109600"/>
                  </a:lnTo>
                  <a:lnTo>
                    <a:pt x="324030" y="104832"/>
                  </a:lnTo>
                  <a:lnTo>
                    <a:pt x="324030" y="95304"/>
                  </a:lnTo>
                  <a:lnTo>
                    <a:pt x="319264" y="81008"/>
                  </a:lnTo>
                  <a:lnTo>
                    <a:pt x="319264" y="57184"/>
                  </a:lnTo>
                  <a:lnTo>
                    <a:pt x="352620" y="23828"/>
                  </a:lnTo>
                  <a:close/>
                  <a:moveTo>
                    <a:pt x="152484" y="0"/>
                  </a:moveTo>
                  <a:lnTo>
                    <a:pt x="166780" y="9532"/>
                  </a:lnTo>
                  <a:lnTo>
                    <a:pt x="166780" y="19060"/>
                  </a:lnTo>
                  <a:lnTo>
                    <a:pt x="162014" y="33356"/>
                  </a:lnTo>
                  <a:lnTo>
                    <a:pt x="138190" y="33356"/>
                  </a:lnTo>
                  <a:lnTo>
                    <a:pt x="133424" y="23828"/>
                  </a:lnTo>
                  <a:lnTo>
                    <a:pt x="133424" y="4768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3" name="Freeform 4732">
              <a:extLst>
                <a:ext uri="{FF2B5EF4-FFF2-40B4-BE49-F238E27FC236}">
                  <a16:creationId xmlns:a16="http://schemas.microsoft.com/office/drawing/2014/main" id="{651537D8-B0E1-460C-A117-2F6B03CFA413}"/>
                </a:ext>
              </a:extLst>
            </p:cNvPr>
            <p:cNvSpPr/>
            <p:nvPr/>
          </p:nvSpPr>
          <p:spPr bwMode="auto">
            <a:xfrm>
              <a:off x="6693740" y="5948640"/>
              <a:ext cx="15418" cy="13105"/>
            </a:xfrm>
            <a:custGeom>
              <a:avLst/>
              <a:gdLst>
                <a:gd name="T0" fmla="*/ 38 w 40"/>
                <a:gd name="T1" fmla="*/ 32 h 34"/>
                <a:gd name="T2" fmla="*/ 40 w 40"/>
                <a:gd name="T3" fmla="*/ 28 h 34"/>
                <a:gd name="T4" fmla="*/ 40 w 40"/>
                <a:gd name="T5" fmla="*/ 18 h 34"/>
                <a:gd name="T6" fmla="*/ 34 w 40"/>
                <a:gd name="T7" fmla="*/ 10 h 34"/>
                <a:gd name="T8" fmla="*/ 30 w 40"/>
                <a:gd name="T9" fmla="*/ 2 h 34"/>
                <a:gd name="T10" fmla="*/ 24 w 40"/>
                <a:gd name="T11" fmla="*/ 0 h 34"/>
                <a:gd name="T12" fmla="*/ 16 w 40"/>
                <a:gd name="T13" fmla="*/ 0 h 34"/>
                <a:gd name="T14" fmla="*/ 6 w 40"/>
                <a:gd name="T15" fmla="*/ 2 h 34"/>
                <a:gd name="T16" fmla="*/ 2 w 40"/>
                <a:gd name="T17" fmla="*/ 10 h 34"/>
                <a:gd name="T18" fmla="*/ 0 w 40"/>
                <a:gd name="T19" fmla="*/ 14 h 34"/>
                <a:gd name="T20" fmla="*/ 6 w 40"/>
                <a:gd name="T21" fmla="*/ 24 h 34"/>
                <a:gd name="T22" fmla="*/ 10 w 40"/>
                <a:gd name="T23" fmla="*/ 28 h 34"/>
                <a:gd name="T24" fmla="*/ 22 w 40"/>
                <a:gd name="T25" fmla="*/ 34 h 34"/>
                <a:gd name="T26" fmla="*/ 28 w 40"/>
                <a:gd name="T27" fmla="*/ 34 h 34"/>
                <a:gd name="T28" fmla="*/ 38 w 40"/>
                <a:gd name="T29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0" h="34">
                  <a:moveTo>
                    <a:pt x="38" y="32"/>
                  </a:moveTo>
                  <a:lnTo>
                    <a:pt x="40" y="28"/>
                  </a:lnTo>
                  <a:lnTo>
                    <a:pt x="40" y="18"/>
                  </a:lnTo>
                  <a:lnTo>
                    <a:pt x="34" y="10"/>
                  </a:lnTo>
                  <a:lnTo>
                    <a:pt x="30" y="2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6" y="2"/>
                  </a:lnTo>
                  <a:lnTo>
                    <a:pt x="2" y="10"/>
                  </a:lnTo>
                  <a:lnTo>
                    <a:pt x="0" y="14"/>
                  </a:lnTo>
                  <a:lnTo>
                    <a:pt x="6" y="24"/>
                  </a:lnTo>
                  <a:lnTo>
                    <a:pt x="10" y="28"/>
                  </a:lnTo>
                  <a:lnTo>
                    <a:pt x="22" y="34"/>
                  </a:lnTo>
                  <a:lnTo>
                    <a:pt x="28" y="34"/>
                  </a:lnTo>
                  <a:lnTo>
                    <a:pt x="38" y="3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4" name="Line 4733">
              <a:extLst>
                <a:ext uri="{FF2B5EF4-FFF2-40B4-BE49-F238E27FC236}">
                  <a16:creationId xmlns:a16="http://schemas.microsoft.com/office/drawing/2014/main" id="{86FC88BE-D1AD-45DD-B8BC-61F1E40384C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708387" y="5960974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5" name="Line 4735">
              <a:extLst>
                <a:ext uri="{FF2B5EF4-FFF2-40B4-BE49-F238E27FC236}">
                  <a16:creationId xmlns:a16="http://schemas.microsoft.com/office/drawing/2014/main" id="{1A1B617A-80AB-4775-B9E7-73AB6A74D02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708387" y="5960974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6" name="Freeform 104">
              <a:extLst>
                <a:ext uri="{FF2B5EF4-FFF2-40B4-BE49-F238E27FC236}">
                  <a16:creationId xmlns:a16="http://schemas.microsoft.com/office/drawing/2014/main" id="{B3ABE749-6A72-4587-8B66-E9B8730336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11130" y="3379693"/>
              <a:ext cx="25439" cy="50107"/>
            </a:xfrm>
            <a:custGeom>
              <a:avLst/>
              <a:gdLst>
                <a:gd name="connsiteX0" fmla="*/ 76244 w 157252"/>
                <a:gd name="connsiteY0" fmla="*/ 238257 h 309734"/>
                <a:gd name="connsiteX1" fmla="*/ 81008 w 157252"/>
                <a:gd name="connsiteY1" fmla="*/ 238257 h 309734"/>
                <a:gd name="connsiteX2" fmla="*/ 81008 w 157252"/>
                <a:gd name="connsiteY2" fmla="*/ 247787 h 309734"/>
                <a:gd name="connsiteX3" fmla="*/ 100068 w 157252"/>
                <a:gd name="connsiteY3" fmla="*/ 252552 h 309734"/>
                <a:gd name="connsiteX4" fmla="*/ 104834 w 157252"/>
                <a:gd name="connsiteY4" fmla="*/ 257318 h 309734"/>
                <a:gd name="connsiteX5" fmla="*/ 104834 w 157252"/>
                <a:gd name="connsiteY5" fmla="*/ 271613 h 309734"/>
                <a:gd name="connsiteX6" fmla="*/ 109598 w 157252"/>
                <a:gd name="connsiteY6" fmla="*/ 285908 h 309734"/>
                <a:gd name="connsiteX7" fmla="*/ 109598 w 157252"/>
                <a:gd name="connsiteY7" fmla="*/ 300204 h 309734"/>
                <a:gd name="connsiteX8" fmla="*/ 114364 w 157252"/>
                <a:gd name="connsiteY8" fmla="*/ 309734 h 309734"/>
                <a:gd name="connsiteX9" fmla="*/ 109598 w 157252"/>
                <a:gd name="connsiteY9" fmla="*/ 309734 h 309734"/>
                <a:gd name="connsiteX10" fmla="*/ 100068 w 157252"/>
                <a:gd name="connsiteY10" fmla="*/ 300204 h 309734"/>
                <a:gd name="connsiteX11" fmla="*/ 81008 w 157252"/>
                <a:gd name="connsiteY11" fmla="*/ 271613 h 309734"/>
                <a:gd name="connsiteX12" fmla="*/ 76244 w 157252"/>
                <a:gd name="connsiteY12" fmla="*/ 247787 h 309734"/>
                <a:gd name="connsiteX13" fmla="*/ 90540 w 157252"/>
                <a:gd name="connsiteY13" fmla="*/ 147719 h 309734"/>
                <a:gd name="connsiteX14" fmla="*/ 95304 w 157252"/>
                <a:gd name="connsiteY14" fmla="*/ 152484 h 309734"/>
                <a:gd name="connsiteX15" fmla="*/ 119130 w 157252"/>
                <a:gd name="connsiteY15" fmla="*/ 162014 h 309734"/>
                <a:gd name="connsiteX16" fmla="*/ 123896 w 157252"/>
                <a:gd name="connsiteY16" fmla="*/ 176310 h 309734"/>
                <a:gd name="connsiteX17" fmla="*/ 123896 w 157252"/>
                <a:gd name="connsiteY17" fmla="*/ 181075 h 309734"/>
                <a:gd name="connsiteX18" fmla="*/ 119130 w 157252"/>
                <a:gd name="connsiteY18" fmla="*/ 195370 h 309734"/>
                <a:gd name="connsiteX19" fmla="*/ 114364 w 157252"/>
                <a:gd name="connsiteY19" fmla="*/ 195370 h 309734"/>
                <a:gd name="connsiteX20" fmla="*/ 100070 w 157252"/>
                <a:gd name="connsiteY20" fmla="*/ 176310 h 309734"/>
                <a:gd name="connsiteX21" fmla="*/ 90540 w 157252"/>
                <a:gd name="connsiteY21" fmla="*/ 171544 h 309734"/>
                <a:gd name="connsiteX22" fmla="*/ 85774 w 157252"/>
                <a:gd name="connsiteY22" fmla="*/ 162014 h 309734"/>
                <a:gd name="connsiteX23" fmla="*/ 81008 w 157252"/>
                <a:gd name="connsiteY23" fmla="*/ 152484 h 309734"/>
                <a:gd name="connsiteX24" fmla="*/ 28592 w 157252"/>
                <a:gd name="connsiteY24" fmla="*/ 66712 h 309734"/>
                <a:gd name="connsiteX25" fmla="*/ 38122 w 157252"/>
                <a:gd name="connsiteY25" fmla="*/ 71477 h 309734"/>
                <a:gd name="connsiteX26" fmla="*/ 47652 w 157252"/>
                <a:gd name="connsiteY26" fmla="*/ 85772 h 309734"/>
                <a:gd name="connsiteX27" fmla="*/ 57184 w 157252"/>
                <a:gd name="connsiteY27" fmla="*/ 95303 h 309734"/>
                <a:gd name="connsiteX28" fmla="*/ 47652 w 157252"/>
                <a:gd name="connsiteY28" fmla="*/ 100068 h 309734"/>
                <a:gd name="connsiteX29" fmla="*/ 38122 w 157252"/>
                <a:gd name="connsiteY29" fmla="*/ 104833 h 309734"/>
                <a:gd name="connsiteX30" fmla="*/ 23826 w 157252"/>
                <a:gd name="connsiteY30" fmla="*/ 100068 h 309734"/>
                <a:gd name="connsiteX31" fmla="*/ 4766 w 157252"/>
                <a:gd name="connsiteY31" fmla="*/ 90538 h 309734"/>
                <a:gd name="connsiteX32" fmla="*/ 0 w 157252"/>
                <a:gd name="connsiteY32" fmla="*/ 71477 h 309734"/>
                <a:gd name="connsiteX33" fmla="*/ 14296 w 157252"/>
                <a:gd name="connsiteY33" fmla="*/ 71477 h 309734"/>
                <a:gd name="connsiteX34" fmla="*/ 71478 w 157252"/>
                <a:gd name="connsiteY34" fmla="*/ 9530 h 309734"/>
                <a:gd name="connsiteX35" fmla="*/ 95304 w 157252"/>
                <a:gd name="connsiteY35" fmla="*/ 28590 h 309734"/>
                <a:gd name="connsiteX36" fmla="*/ 123894 w 157252"/>
                <a:gd name="connsiteY36" fmla="*/ 42886 h 309734"/>
                <a:gd name="connsiteX37" fmla="*/ 119128 w 157252"/>
                <a:gd name="connsiteY37" fmla="*/ 85772 h 309734"/>
                <a:gd name="connsiteX38" fmla="*/ 109598 w 157252"/>
                <a:gd name="connsiteY38" fmla="*/ 85772 h 309734"/>
                <a:gd name="connsiteX39" fmla="*/ 100068 w 157252"/>
                <a:gd name="connsiteY39" fmla="*/ 71476 h 309734"/>
                <a:gd name="connsiteX40" fmla="*/ 90538 w 157252"/>
                <a:gd name="connsiteY40" fmla="*/ 71476 h 309734"/>
                <a:gd name="connsiteX41" fmla="*/ 90538 w 157252"/>
                <a:gd name="connsiteY41" fmla="*/ 76242 h 309734"/>
                <a:gd name="connsiteX42" fmla="*/ 90538 w 157252"/>
                <a:gd name="connsiteY42" fmla="*/ 85772 h 309734"/>
                <a:gd name="connsiteX43" fmla="*/ 95304 w 157252"/>
                <a:gd name="connsiteY43" fmla="*/ 90537 h 309734"/>
                <a:gd name="connsiteX44" fmla="*/ 109598 w 157252"/>
                <a:gd name="connsiteY44" fmla="*/ 119128 h 309734"/>
                <a:gd name="connsiteX45" fmla="*/ 109598 w 157252"/>
                <a:gd name="connsiteY45" fmla="*/ 128658 h 309734"/>
                <a:gd name="connsiteX46" fmla="*/ 109598 w 157252"/>
                <a:gd name="connsiteY46" fmla="*/ 133423 h 309734"/>
                <a:gd name="connsiteX47" fmla="*/ 95304 w 157252"/>
                <a:gd name="connsiteY47" fmla="*/ 123893 h 309734"/>
                <a:gd name="connsiteX48" fmla="*/ 61948 w 157252"/>
                <a:gd name="connsiteY48" fmla="*/ 85772 h 309734"/>
                <a:gd name="connsiteX49" fmla="*/ 38122 w 157252"/>
                <a:gd name="connsiteY49" fmla="*/ 23825 h 309734"/>
                <a:gd name="connsiteX50" fmla="*/ 133424 w 157252"/>
                <a:gd name="connsiteY50" fmla="*/ 0 h 309734"/>
                <a:gd name="connsiteX51" fmla="*/ 147720 w 157252"/>
                <a:gd name="connsiteY51" fmla="*/ 19061 h 309734"/>
                <a:gd name="connsiteX52" fmla="*/ 157252 w 157252"/>
                <a:gd name="connsiteY52" fmla="*/ 33356 h 309734"/>
                <a:gd name="connsiteX53" fmla="*/ 147720 w 157252"/>
                <a:gd name="connsiteY53" fmla="*/ 57182 h 309734"/>
                <a:gd name="connsiteX54" fmla="*/ 138190 w 157252"/>
                <a:gd name="connsiteY54" fmla="*/ 52417 h 309734"/>
                <a:gd name="connsiteX55" fmla="*/ 138190 w 157252"/>
                <a:gd name="connsiteY55" fmla="*/ 47652 h 309734"/>
                <a:gd name="connsiteX56" fmla="*/ 133424 w 157252"/>
                <a:gd name="connsiteY56" fmla="*/ 42886 h 309734"/>
                <a:gd name="connsiteX57" fmla="*/ 133424 w 157252"/>
                <a:gd name="connsiteY57" fmla="*/ 23826 h 309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57252" h="309734">
                  <a:moveTo>
                    <a:pt x="76244" y="238257"/>
                  </a:moveTo>
                  <a:lnTo>
                    <a:pt x="81008" y="238257"/>
                  </a:lnTo>
                  <a:lnTo>
                    <a:pt x="81008" y="247787"/>
                  </a:lnTo>
                  <a:lnTo>
                    <a:pt x="100068" y="252552"/>
                  </a:lnTo>
                  <a:lnTo>
                    <a:pt x="104834" y="257318"/>
                  </a:lnTo>
                  <a:lnTo>
                    <a:pt x="104834" y="271613"/>
                  </a:lnTo>
                  <a:lnTo>
                    <a:pt x="109598" y="285908"/>
                  </a:lnTo>
                  <a:lnTo>
                    <a:pt x="109598" y="300204"/>
                  </a:lnTo>
                  <a:lnTo>
                    <a:pt x="114364" y="309734"/>
                  </a:lnTo>
                  <a:lnTo>
                    <a:pt x="109598" y="309734"/>
                  </a:lnTo>
                  <a:lnTo>
                    <a:pt x="100068" y="300204"/>
                  </a:lnTo>
                  <a:lnTo>
                    <a:pt x="81008" y="271613"/>
                  </a:lnTo>
                  <a:lnTo>
                    <a:pt x="76244" y="247787"/>
                  </a:lnTo>
                  <a:close/>
                  <a:moveTo>
                    <a:pt x="90540" y="147719"/>
                  </a:moveTo>
                  <a:lnTo>
                    <a:pt x="95304" y="152484"/>
                  </a:lnTo>
                  <a:lnTo>
                    <a:pt x="119130" y="162014"/>
                  </a:lnTo>
                  <a:lnTo>
                    <a:pt x="123896" y="176310"/>
                  </a:lnTo>
                  <a:lnTo>
                    <a:pt x="123896" y="181075"/>
                  </a:lnTo>
                  <a:lnTo>
                    <a:pt x="119130" y="195370"/>
                  </a:lnTo>
                  <a:lnTo>
                    <a:pt x="114364" y="195370"/>
                  </a:lnTo>
                  <a:lnTo>
                    <a:pt x="100070" y="176310"/>
                  </a:lnTo>
                  <a:lnTo>
                    <a:pt x="90540" y="171544"/>
                  </a:lnTo>
                  <a:lnTo>
                    <a:pt x="85774" y="162014"/>
                  </a:lnTo>
                  <a:lnTo>
                    <a:pt x="81008" y="152484"/>
                  </a:lnTo>
                  <a:close/>
                  <a:moveTo>
                    <a:pt x="28592" y="66712"/>
                  </a:moveTo>
                  <a:lnTo>
                    <a:pt x="38122" y="71477"/>
                  </a:lnTo>
                  <a:lnTo>
                    <a:pt x="47652" y="85772"/>
                  </a:lnTo>
                  <a:lnTo>
                    <a:pt x="57184" y="95303"/>
                  </a:lnTo>
                  <a:lnTo>
                    <a:pt x="47652" y="100068"/>
                  </a:lnTo>
                  <a:lnTo>
                    <a:pt x="38122" y="104833"/>
                  </a:lnTo>
                  <a:lnTo>
                    <a:pt x="23826" y="100068"/>
                  </a:lnTo>
                  <a:lnTo>
                    <a:pt x="4766" y="90538"/>
                  </a:lnTo>
                  <a:lnTo>
                    <a:pt x="0" y="71477"/>
                  </a:lnTo>
                  <a:lnTo>
                    <a:pt x="14296" y="71477"/>
                  </a:lnTo>
                  <a:close/>
                  <a:moveTo>
                    <a:pt x="71478" y="9530"/>
                  </a:moveTo>
                  <a:lnTo>
                    <a:pt x="95304" y="28590"/>
                  </a:lnTo>
                  <a:lnTo>
                    <a:pt x="123894" y="42886"/>
                  </a:lnTo>
                  <a:lnTo>
                    <a:pt x="119128" y="85772"/>
                  </a:lnTo>
                  <a:lnTo>
                    <a:pt x="109598" y="85772"/>
                  </a:lnTo>
                  <a:lnTo>
                    <a:pt x="100068" y="71476"/>
                  </a:lnTo>
                  <a:lnTo>
                    <a:pt x="90538" y="71476"/>
                  </a:lnTo>
                  <a:lnTo>
                    <a:pt x="90538" y="76242"/>
                  </a:lnTo>
                  <a:lnTo>
                    <a:pt x="90538" y="85772"/>
                  </a:lnTo>
                  <a:lnTo>
                    <a:pt x="95304" y="90537"/>
                  </a:lnTo>
                  <a:lnTo>
                    <a:pt x="109598" y="119128"/>
                  </a:lnTo>
                  <a:lnTo>
                    <a:pt x="109598" y="128658"/>
                  </a:lnTo>
                  <a:lnTo>
                    <a:pt x="109598" y="133423"/>
                  </a:lnTo>
                  <a:lnTo>
                    <a:pt x="95304" y="123893"/>
                  </a:lnTo>
                  <a:lnTo>
                    <a:pt x="61948" y="85772"/>
                  </a:lnTo>
                  <a:lnTo>
                    <a:pt x="38122" y="23825"/>
                  </a:lnTo>
                  <a:close/>
                  <a:moveTo>
                    <a:pt x="133424" y="0"/>
                  </a:moveTo>
                  <a:lnTo>
                    <a:pt x="147720" y="19061"/>
                  </a:lnTo>
                  <a:lnTo>
                    <a:pt x="157252" y="33356"/>
                  </a:lnTo>
                  <a:lnTo>
                    <a:pt x="147720" y="57182"/>
                  </a:lnTo>
                  <a:lnTo>
                    <a:pt x="138190" y="52417"/>
                  </a:lnTo>
                  <a:lnTo>
                    <a:pt x="138190" y="47652"/>
                  </a:lnTo>
                  <a:lnTo>
                    <a:pt x="133424" y="42886"/>
                  </a:lnTo>
                  <a:lnTo>
                    <a:pt x="133424" y="2382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7" name="Freeform 4748">
              <a:extLst>
                <a:ext uri="{FF2B5EF4-FFF2-40B4-BE49-F238E27FC236}">
                  <a16:creationId xmlns:a16="http://schemas.microsoft.com/office/drawing/2014/main" id="{2C82A9E2-2D8F-4A0F-BE34-C2BFE1563335}"/>
                </a:ext>
              </a:extLst>
            </p:cNvPr>
            <p:cNvSpPr/>
            <p:nvPr/>
          </p:nvSpPr>
          <p:spPr bwMode="auto">
            <a:xfrm>
              <a:off x="9414550" y="5274508"/>
              <a:ext cx="2313" cy="1542"/>
            </a:xfrm>
            <a:custGeom>
              <a:avLst/>
              <a:gdLst>
                <a:gd name="T0" fmla="*/ 4 w 6"/>
                <a:gd name="T1" fmla="*/ 0 h 4"/>
                <a:gd name="T2" fmla="*/ 4 w 6"/>
                <a:gd name="T3" fmla="*/ 0 h 4"/>
                <a:gd name="T4" fmla="*/ 0 w 6"/>
                <a:gd name="T5" fmla="*/ 2 h 4"/>
                <a:gd name="T6" fmla="*/ 2 w 6"/>
                <a:gd name="T7" fmla="*/ 2 h 4"/>
                <a:gd name="T8" fmla="*/ 6 w 6"/>
                <a:gd name="T9" fmla="*/ 4 h 4"/>
                <a:gd name="T10" fmla="*/ 4 w 6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6" y="4"/>
                  </a:lnTo>
                  <a:lnTo>
                    <a:pt x="4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8" name="Freeform 4749">
              <a:extLst>
                <a:ext uri="{FF2B5EF4-FFF2-40B4-BE49-F238E27FC236}">
                  <a16:creationId xmlns:a16="http://schemas.microsoft.com/office/drawing/2014/main" id="{ECBAFBDB-DEFE-4436-BE2B-BDE2F8A7E382}"/>
                </a:ext>
              </a:extLst>
            </p:cNvPr>
            <p:cNvSpPr/>
            <p:nvPr/>
          </p:nvSpPr>
          <p:spPr bwMode="auto">
            <a:xfrm>
              <a:off x="9293522" y="5232881"/>
              <a:ext cx="5396" cy="4625"/>
            </a:xfrm>
            <a:custGeom>
              <a:avLst/>
              <a:gdLst>
                <a:gd name="T0" fmla="*/ 12 w 14"/>
                <a:gd name="T1" fmla="*/ 10 h 12"/>
                <a:gd name="T2" fmla="*/ 12 w 14"/>
                <a:gd name="T3" fmla="*/ 8 h 12"/>
                <a:gd name="T4" fmla="*/ 14 w 14"/>
                <a:gd name="T5" fmla="*/ 6 h 12"/>
                <a:gd name="T6" fmla="*/ 12 w 14"/>
                <a:gd name="T7" fmla="*/ 2 h 12"/>
                <a:gd name="T8" fmla="*/ 4 w 14"/>
                <a:gd name="T9" fmla="*/ 0 h 12"/>
                <a:gd name="T10" fmla="*/ 2 w 14"/>
                <a:gd name="T11" fmla="*/ 2 h 12"/>
                <a:gd name="T12" fmla="*/ 0 w 14"/>
                <a:gd name="T13" fmla="*/ 4 h 12"/>
                <a:gd name="T14" fmla="*/ 2 w 14"/>
                <a:gd name="T15" fmla="*/ 6 h 12"/>
                <a:gd name="T16" fmla="*/ 4 w 14"/>
                <a:gd name="T17" fmla="*/ 12 h 12"/>
                <a:gd name="T18" fmla="*/ 8 w 14"/>
                <a:gd name="T19" fmla="*/ 12 h 12"/>
                <a:gd name="T20" fmla="*/ 12 w 14"/>
                <a:gd name="T21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2">
                  <a:moveTo>
                    <a:pt x="12" y="10"/>
                  </a:moveTo>
                  <a:lnTo>
                    <a:pt x="12" y="8"/>
                  </a:lnTo>
                  <a:lnTo>
                    <a:pt x="14" y="6"/>
                  </a:lnTo>
                  <a:lnTo>
                    <a:pt x="12" y="2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2" y="1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9" name="Freeform 4750">
              <a:extLst>
                <a:ext uri="{FF2B5EF4-FFF2-40B4-BE49-F238E27FC236}">
                  <a16:creationId xmlns:a16="http://schemas.microsoft.com/office/drawing/2014/main" id="{5AD547AA-588E-4D38-B17F-FC91F46DCFE5}"/>
                </a:ext>
              </a:extLst>
            </p:cNvPr>
            <p:cNvSpPr/>
            <p:nvPr/>
          </p:nvSpPr>
          <p:spPr bwMode="auto">
            <a:xfrm>
              <a:off x="9127784" y="5222088"/>
              <a:ext cx="2313" cy="1542"/>
            </a:xfrm>
            <a:custGeom>
              <a:avLst/>
              <a:gdLst>
                <a:gd name="T0" fmla="*/ 6 w 6"/>
                <a:gd name="T1" fmla="*/ 4 h 4"/>
                <a:gd name="T2" fmla="*/ 6 w 6"/>
                <a:gd name="T3" fmla="*/ 2 h 4"/>
                <a:gd name="T4" fmla="*/ 6 w 6"/>
                <a:gd name="T5" fmla="*/ 2 h 4"/>
                <a:gd name="T6" fmla="*/ 4 w 6"/>
                <a:gd name="T7" fmla="*/ 0 h 4"/>
                <a:gd name="T8" fmla="*/ 4 w 6"/>
                <a:gd name="T9" fmla="*/ 0 h 4"/>
                <a:gd name="T10" fmla="*/ 2 w 6"/>
                <a:gd name="T11" fmla="*/ 2 h 4"/>
                <a:gd name="T12" fmla="*/ 4 w 6"/>
                <a:gd name="T13" fmla="*/ 2 h 4"/>
                <a:gd name="T14" fmla="*/ 4 w 6"/>
                <a:gd name="T15" fmla="*/ 2 h 4"/>
                <a:gd name="T16" fmla="*/ 0 w 6"/>
                <a:gd name="T17" fmla="*/ 4 h 4"/>
                <a:gd name="T18" fmla="*/ 0 w 6"/>
                <a:gd name="T19" fmla="*/ 4 h 4"/>
                <a:gd name="T20" fmla="*/ 2 w 6"/>
                <a:gd name="T21" fmla="*/ 4 h 4"/>
                <a:gd name="T22" fmla="*/ 6 w 6"/>
                <a:gd name="T23" fmla="*/ 4 h 4"/>
                <a:gd name="T24" fmla="*/ 6 w 6"/>
                <a:gd name="T2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4">
                  <a:moveTo>
                    <a:pt x="6" y="4"/>
                  </a:move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6" y="4"/>
                  </a:lnTo>
                  <a:lnTo>
                    <a:pt x="6" y="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0" name="Freeform 4751">
              <a:extLst>
                <a:ext uri="{FF2B5EF4-FFF2-40B4-BE49-F238E27FC236}">
                  <a16:creationId xmlns:a16="http://schemas.microsoft.com/office/drawing/2014/main" id="{D44FDC91-CBA4-4922-9CBE-D7454A018BE0}"/>
                </a:ext>
              </a:extLst>
            </p:cNvPr>
            <p:cNvSpPr/>
            <p:nvPr/>
          </p:nvSpPr>
          <p:spPr bwMode="auto">
            <a:xfrm>
              <a:off x="9135492" y="5220547"/>
              <a:ext cx="1542" cy="771"/>
            </a:xfrm>
            <a:custGeom>
              <a:avLst/>
              <a:gdLst>
                <a:gd name="T0" fmla="*/ 2 w 4"/>
                <a:gd name="T1" fmla="*/ 2 h 2"/>
                <a:gd name="T2" fmla="*/ 4 w 4"/>
                <a:gd name="T3" fmla="*/ 0 h 2"/>
                <a:gd name="T4" fmla="*/ 2 w 4"/>
                <a:gd name="T5" fmla="*/ 0 h 2"/>
                <a:gd name="T6" fmla="*/ 2 w 4"/>
                <a:gd name="T7" fmla="*/ 0 h 2"/>
                <a:gd name="T8" fmla="*/ 0 w 4"/>
                <a:gd name="T9" fmla="*/ 0 h 2"/>
                <a:gd name="T10" fmla="*/ 0 w 4"/>
                <a:gd name="T11" fmla="*/ 0 h 2"/>
                <a:gd name="T12" fmla="*/ 0 w 4"/>
                <a:gd name="T13" fmla="*/ 2 h 2"/>
                <a:gd name="T14" fmla="*/ 0 w 4"/>
                <a:gd name="T15" fmla="*/ 2 h 2"/>
                <a:gd name="T16" fmla="*/ 2 w 4"/>
                <a:gd name="T1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2">
                  <a:moveTo>
                    <a:pt x="2" y="2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1" name="Freeform 4752">
              <a:extLst>
                <a:ext uri="{FF2B5EF4-FFF2-40B4-BE49-F238E27FC236}">
                  <a16:creationId xmlns:a16="http://schemas.microsoft.com/office/drawing/2014/main" id="{BFA6EF92-B255-4D13-9DA7-0AF0D83FCBD6}"/>
                </a:ext>
              </a:extLst>
            </p:cNvPr>
            <p:cNvSpPr/>
            <p:nvPr/>
          </p:nvSpPr>
          <p:spPr bwMode="auto">
            <a:xfrm>
              <a:off x="8786285" y="5165814"/>
              <a:ext cx="4625" cy="4625"/>
            </a:xfrm>
            <a:custGeom>
              <a:avLst/>
              <a:gdLst>
                <a:gd name="T0" fmla="*/ 6 w 12"/>
                <a:gd name="T1" fmla="*/ 6 h 12"/>
                <a:gd name="T2" fmla="*/ 8 w 12"/>
                <a:gd name="T3" fmla="*/ 6 h 12"/>
                <a:gd name="T4" fmla="*/ 12 w 12"/>
                <a:gd name="T5" fmla="*/ 4 h 12"/>
                <a:gd name="T6" fmla="*/ 10 w 12"/>
                <a:gd name="T7" fmla="*/ 0 h 12"/>
                <a:gd name="T8" fmla="*/ 6 w 12"/>
                <a:gd name="T9" fmla="*/ 2 h 12"/>
                <a:gd name="T10" fmla="*/ 4 w 12"/>
                <a:gd name="T11" fmla="*/ 4 h 12"/>
                <a:gd name="T12" fmla="*/ 2 w 12"/>
                <a:gd name="T13" fmla="*/ 8 h 12"/>
                <a:gd name="T14" fmla="*/ 0 w 12"/>
                <a:gd name="T15" fmla="*/ 10 h 12"/>
                <a:gd name="T16" fmla="*/ 2 w 12"/>
                <a:gd name="T17" fmla="*/ 12 h 12"/>
                <a:gd name="T18" fmla="*/ 6 w 12"/>
                <a:gd name="T1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6" y="6"/>
                  </a:moveTo>
                  <a:lnTo>
                    <a:pt x="8" y="6"/>
                  </a:lnTo>
                  <a:lnTo>
                    <a:pt x="12" y="4"/>
                  </a:lnTo>
                  <a:lnTo>
                    <a:pt x="10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6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2" name="Line 4753">
              <a:extLst>
                <a:ext uri="{FF2B5EF4-FFF2-40B4-BE49-F238E27FC236}">
                  <a16:creationId xmlns:a16="http://schemas.microsoft.com/office/drawing/2014/main" id="{55AD07C1-15FB-40AB-8F3E-E2E13F9D35B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788598" y="5168127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3" name="Line 4759">
              <a:extLst>
                <a:ext uri="{FF2B5EF4-FFF2-40B4-BE49-F238E27FC236}">
                  <a16:creationId xmlns:a16="http://schemas.microsoft.com/office/drawing/2014/main" id="{0A796DEE-7330-4FBF-884C-8DC56FDF449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788598" y="5168127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4" name="Freeform 4760">
              <a:extLst>
                <a:ext uri="{FF2B5EF4-FFF2-40B4-BE49-F238E27FC236}">
                  <a16:creationId xmlns:a16="http://schemas.microsoft.com/office/drawing/2014/main" id="{38E09DDF-A1C2-4453-A727-52180C77FE3A}"/>
                </a:ext>
              </a:extLst>
            </p:cNvPr>
            <p:cNvSpPr/>
            <p:nvPr/>
          </p:nvSpPr>
          <p:spPr bwMode="auto">
            <a:xfrm>
              <a:off x="5518153" y="5351596"/>
              <a:ext cx="146467" cy="157259"/>
            </a:xfrm>
            <a:custGeom>
              <a:avLst/>
              <a:gdLst>
                <a:gd name="T0" fmla="*/ 274 w 380"/>
                <a:gd name="T1" fmla="*/ 4 h 408"/>
                <a:gd name="T2" fmla="*/ 226 w 380"/>
                <a:gd name="T3" fmla="*/ 0 h 408"/>
                <a:gd name="T4" fmla="*/ 174 w 380"/>
                <a:gd name="T5" fmla="*/ 2 h 408"/>
                <a:gd name="T6" fmla="*/ 174 w 380"/>
                <a:gd name="T7" fmla="*/ 78 h 408"/>
                <a:gd name="T8" fmla="*/ 84 w 380"/>
                <a:gd name="T9" fmla="*/ 86 h 408"/>
                <a:gd name="T10" fmla="*/ 72 w 380"/>
                <a:gd name="T11" fmla="*/ 84 h 408"/>
                <a:gd name="T12" fmla="*/ 58 w 380"/>
                <a:gd name="T13" fmla="*/ 84 h 408"/>
                <a:gd name="T14" fmla="*/ 60 w 380"/>
                <a:gd name="T15" fmla="*/ 114 h 408"/>
                <a:gd name="T16" fmla="*/ 42 w 380"/>
                <a:gd name="T17" fmla="*/ 114 h 408"/>
                <a:gd name="T18" fmla="*/ 82 w 380"/>
                <a:gd name="T19" fmla="*/ 136 h 408"/>
                <a:gd name="T20" fmla="*/ 58 w 380"/>
                <a:gd name="T21" fmla="*/ 140 h 408"/>
                <a:gd name="T22" fmla="*/ 44 w 380"/>
                <a:gd name="T23" fmla="*/ 128 h 408"/>
                <a:gd name="T24" fmla="*/ 30 w 380"/>
                <a:gd name="T25" fmla="*/ 188 h 408"/>
                <a:gd name="T26" fmla="*/ 8 w 380"/>
                <a:gd name="T27" fmla="*/ 196 h 408"/>
                <a:gd name="T28" fmla="*/ 14 w 380"/>
                <a:gd name="T29" fmla="*/ 218 h 408"/>
                <a:gd name="T30" fmla="*/ 40 w 380"/>
                <a:gd name="T31" fmla="*/ 240 h 408"/>
                <a:gd name="T32" fmla="*/ 42 w 380"/>
                <a:gd name="T33" fmla="*/ 252 h 408"/>
                <a:gd name="T34" fmla="*/ 46 w 380"/>
                <a:gd name="T35" fmla="*/ 258 h 408"/>
                <a:gd name="T36" fmla="*/ 30 w 380"/>
                <a:gd name="T37" fmla="*/ 250 h 408"/>
                <a:gd name="T38" fmla="*/ 52 w 380"/>
                <a:gd name="T39" fmla="*/ 274 h 408"/>
                <a:gd name="T40" fmla="*/ 44 w 380"/>
                <a:gd name="T41" fmla="*/ 280 h 408"/>
                <a:gd name="T42" fmla="*/ 62 w 380"/>
                <a:gd name="T43" fmla="*/ 306 h 408"/>
                <a:gd name="T44" fmla="*/ 90 w 380"/>
                <a:gd name="T45" fmla="*/ 318 h 408"/>
                <a:gd name="T46" fmla="*/ 70 w 380"/>
                <a:gd name="T47" fmla="*/ 316 h 408"/>
                <a:gd name="T48" fmla="*/ 142 w 380"/>
                <a:gd name="T49" fmla="*/ 384 h 408"/>
                <a:gd name="T50" fmla="*/ 166 w 380"/>
                <a:gd name="T51" fmla="*/ 392 h 408"/>
                <a:gd name="T52" fmla="*/ 200 w 380"/>
                <a:gd name="T53" fmla="*/ 392 h 408"/>
                <a:gd name="T54" fmla="*/ 206 w 380"/>
                <a:gd name="T55" fmla="*/ 386 h 408"/>
                <a:gd name="T56" fmla="*/ 212 w 380"/>
                <a:gd name="T57" fmla="*/ 368 h 408"/>
                <a:gd name="T58" fmla="*/ 198 w 380"/>
                <a:gd name="T59" fmla="*/ 352 h 408"/>
                <a:gd name="T60" fmla="*/ 194 w 380"/>
                <a:gd name="T61" fmla="*/ 338 h 408"/>
                <a:gd name="T62" fmla="*/ 188 w 380"/>
                <a:gd name="T63" fmla="*/ 308 h 408"/>
                <a:gd name="T64" fmla="*/ 210 w 380"/>
                <a:gd name="T65" fmla="*/ 304 h 408"/>
                <a:gd name="T66" fmla="*/ 246 w 380"/>
                <a:gd name="T67" fmla="*/ 298 h 408"/>
                <a:gd name="T68" fmla="*/ 246 w 380"/>
                <a:gd name="T69" fmla="*/ 282 h 408"/>
                <a:gd name="T70" fmla="*/ 264 w 380"/>
                <a:gd name="T71" fmla="*/ 272 h 408"/>
                <a:gd name="T72" fmla="*/ 292 w 380"/>
                <a:gd name="T73" fmla="*/ 306 h 408"/>
                <a:gd name="T74" fmla="*/ 330 w 380"/>
                <a:gd name="T75" fmla="*/ 290 h 408"/>
                <a:gd name="T76" fmla="*/ 338 w 380"/>
                <a:gd name="T77" fmla="*/ 310 h 408"/>
                <a:gd name="T78" fmla="*/ 360 w 380"/>
                <a:gd name="T79" fmla="*/ 304 h 408"/>
                <a:gd name="T80" fmla="*/ 364 w 380"/>
                <a:gd name="T81" fmla="*/ 286 h 408"/>
                <a:gd name="T82" fmla="*/ 376 w 380"/>
                <a:gd name="T83" fmla="*/ 262 h 408"/>
                <a:gd name="T84" fmla="*/ 376 w 380"/>
                <a:gd name="T85" fmla="*/ 232 h 408"/>
                <a:gd name="T86" fmla="*/ 380 w 380"/>
                <a:gd name="T87" fmla="*/ 188 h 408"/>
                <a:gd name="T88" fmla="*/ 354 w 380"/>
                <a:gd name="T89" fmla="*/ 170 h 408"/>
                <a:gd name="T90" fmla="*/ 340 w 380"/>
                <a:gd name="T91" fmla="*/ 146 h 408"/>
                <a:gd name="T92" fmla="*/ 352 w 380"/>
                <a:gd name="T93" fmla="*/ 116 h 408"/>
                <a:gd name="T94" fmla="*/ 370 w 380"/>
                <a:gd name="T95" fmla="*/ 106 h 408"/>
                <a:gd name="T96" fmla="*/ 374 w 380"/>
                <a:gd name="T97" fmla="*/ 84 h 408"/>
                <a:gd name="T98" fmla="*/ 352 w 380"/>
                <a:gd name="T99" fmla="*/ 58 h 408"/>
                <a:gd name="T100" fmla="*/ 300 w 380"/>
                <a:gd name="T101" fmla="*/ 70 h 408"/>
                <a:gd name="T102" fmla="*/ 298 w 380"/>
                <a:gd name="T103" fmla="*/ 56 h 408"/>
                <a:gd name="T104" fmla="*/ 302 w 380"/>
                <a:gd name="T105" fmla="*/ 14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80" h="408">
                  <a:moveTo>
                    <a:pt x="302" y="8"/>
                  </a:moveTo>
                  <a:lnTo>
                    <a:pt x="300" y="4"/>
                  </a:lnTo>
                  <a:lnTo>
                    <a:pt x="296" y="2"/>
                  </a:lnTo>
                  <a:lnTo>
                    <a:pt x="290" y="2"/>
                  </a:lnTo>
                  <a:lnTo>
                    <a:pt x="274" y="4"/>
                  </a:lnTo>
                  <a:lnTo>
                    <a:pt x="260" y="2"/>
                  </a:lnTo>
                  <a:lnTo>
                    <a:pt x="256" y="2"/>
                  </a:lnTo>
                  <a:lnTo>
                    <a:pt x="252" y="2"/>
                  </a:lnTo>
                  <a:lnTo>
                    <a:pt x="240" y="0"/>
                  </a:lnTo>
                  <a:lnTo>
                    <a:pt x="226" y="0"/>
                  </a:lnTo>
                  <a:lnTo>
                    <a:pt x="224" y="0"/>
                  </a:lnTo>
                  <a:lnTo>
                    <a:pt x="212" y="0"/>
                  </a:lnTo>
                  <a:lnTo>
                    <a:pt x="188" y="0"/>
                  </a:lnTo>
                  <a:lnTo>
                    <a:pt x="174" y="0"/>
                  </a:lnTo>
                  <a:lnTo>
                    <a:pt x="174" y="2"/>
                  </a:lnTo>
                  <a:lnTo>
                    <a:pt x="174" y="4"/>
                  </a:lnTo>
                  <a:lnTo>
                    <a:pt x="172" y="8"/>
                  </a:lnTo>
                  <a:lnTo>
                    <a:pt x="174" y="24"/>
                  </a:lnTo>
                  <a:lnTo>
                    <a:pt x="174" y="64"/>
                  </a:lnTo>
                  <a:lnTo>
                    <a:pt x="174" y="78"/>
                  </a:lnTo>
                  <a:lnTo>
                    <a:pt x="174" y="86"/>
                  </a:lnTo>
                  <a:lnTo>
                    <a:pt x="160" y="86"/>
                  </a:lnTo>
                  <a:lnTo>
                    <a:pt x="142" y="84"/>
                  </a:lnTo>
                  <a:lnTo>
                    <a:pt x="88" y="84"/>
                  </a:lnTo>
                  <a:lnTo>
                    <a:pt x="84" y="86"/>
                  </a:lnTo>
                  <a:lnTo>
                    <a:pt x="82" y="88"/>
                  </a:lnTo>
                  <a:lnTo>
                    <a:pt x="80" y="88"/>
                  </a:lnTo>
                  <a:lnTo>
                    <a:pt x="76" y="86"/>
                  </a:lnTo>
                  <a:lnTo>
                    <a:pt x="72" y="86"/>
                  </a:lnTo>
                  <a:lnTo>
                    <a:pt x="72" y="84"/>
                  </a:lnTo>
                  <a:lnTo>
                    <a:pt x="70" y="80"/>
                  </a:lnTo>
                  <a:lnTo>
                    <a:pt x="66" y="80"/>
                  </a:lnTo>
                  <a:lnTo>
                    <a:pt x="64" y="80"/>
                  </a:lnTo>
                  <a:lnTo>
                    <a:pt x="62" y="82"/>
                  </a:lnTo>
                  <a:lnTo>
                    <a:pt x="58" y="84"/>
                  </a:lnTo>
                  <a:lnTo>
                    <a:pt x="58" y="86"/>
                  </a:lnTo>
                  <a:lnTo>
                    <a:pt x="62" y="100"/>
                  </a:lnTo>
                  <a:lnTo>
                    <a:pt x="62" y="108"/>
                  </a:lnTo>
                  <a:lnTo>
                    <a:pt x="60" y="112"/>
                  </a:lnTo>
                  <a:lnTo>
                    <a:pt x="60" y="114"/>
                  </a:lnTo>
                  <a:lnTo>
                    <a:pt x="56" y="112"/>
                  </a:lnTo>
                  <a:lnTo>
                    <a:pt x="56" y="108"/>
                  </a:lnTo>
                  <a:lnTo>
                    <a:pt x="52" y="106"/>
                  </a:lnTo>
                  <a:lnTo>
                    <a:pt x="42" y="110"/>
                  </a:lnTo>
                  <a:lnTo>
                    <a:pt x="42" y="114"/>
                  </a:lnTo>
                  <a:lnTo>
                    <a:pt x="46" y="118"/>
                  </a:lnTo>
                  <a:lnTo>
                    <a:pt x="52" y="126"/>
                  </a:lnTo>
                  <a:lnTo>
                    <a:pt x="56" y="132"/>
                  </a:lnTo>
                  <a:lnTo>
                    <a:pt x="70" y="138"/>
                  </a:lnTo>
                  <a:lnTo>
                    <a:pt x="82" y="136"/>
                  </a:lnTo>
                  <a:lnTo>
                    <a:pt x="86" y="138"/>
                  </a:lnTo>
                  <a:lnTo>
                    <a:pt x="74" y="142"/>
                  </a:lnTo>
                  <a:lnTo>
                    <a:pt x="72" y="148"/>
                  </a:lnTo>
                  <a:lnTo>
                    <a:pt x="68" y="144"/>
                  </a:lnTo>
                  <a:lnTo>
                    <a:pt x="58" y="140"/>
                  </a:lnTo>
                  <a:lnTo>
                    <a:pt x="50" y="140"/>
                  </a:lnTo>
                  <a:lnTo>
                    <a:pt x="48" y="138"/>
                  </a:lnTo>
                  <a:lnTo>
                    <a:pt x="46" y="134"/>
                  </a:lnTo>
                  <a:lnTo>
                    <a:pt x="44" y="130"/>
                  </a:lnTo>
                  <a:lnTo>
                    <a:pt x="44" y="128"/>
                  </a:lnTo>
                  <a:lnTo>
                    <a:pt x="40" y="132"/>
                  </a:lnTo>
                  <a:lnTo>
                    <a:pt x="42" y="144"/>
                  </a:lnTo>
                  <a:lnTo>
                    <a:pt x="42" y="154"/>
                  </a:lnTo>
                  <a:lnTo>
                    <a:pt x="40" y="174"/>
                  </a:lnTo>
                  <a:lnTo>
                    <a:pt x="30" y="188"/>
                  </a:lnTo>
                  <a:lnTo>
                    <a:pt x="26" y="192"/>
                  </a:lnTo>
                  <a:lnTo>
                    <a:pt x="22" y="192"/>
                  </a:lnTo>
                  <a:lnTo>
                    <a:pt x="20" y="192"/>
                  </a:lnTo>
                  <a:lnTo>
                    <a:pt x="16" y="196"/>
                  </a:lnTo>
                  <a:lnTo>
                    <a:pt x="8" y="196"/>
                  </a:lnTo>
                  <a:lnTo>
                    <a:pt x="4" y="190"/>
                  </a:lnTo>
                  <a:lnTo>
                    <a:pt x="0" y="190"/>
                  </a:lnTo>
                  <a:lnTo>
                    <a:pt x="10" y="210"/>
                  </a:lnTo>
                  <a:lnTo>
                    <a:pt x="12" y="212"/>
                  </a:lnTo>
                  <a:lnTo>
                    <a:pt x="14" y="218"/>
                  </a:lnTo>
                  <a:lnTo>
                    <a:pt x="16" y="220"/>
                  </a:lnTo>
                  <a:lnTo>
                    <a:pt x="24" y="236"/>
                  </a:lnTo>
                  <a:lnTo>
                    <a:pt x="34" y="242"/>
                  </a:lnTo>
                  <a:lnTo>
                    <a:pt x="38" y="240"/>
                  </a:lnTo>
                  <a:lnTo>
                    <a:pt x="40" y="240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38" y="248"/>
                  </a:lnTo>
                  <a:lnTo>
                    <a:pt x="40" y="250"/>
                  </a:lnTo>
                  <a:lnTo>
                    <a:pt x="42" y="252"/>
                  </a:lnTo>
                  <a:lnTo>
                    <a:pt x="46" y="250"/>
                  </a:lnTo>
                  <a:lnTo>
                    <a:pt x="50" y="250"/>
                  </a:lnTo>
                  <a:lnTo>
                    <a:pt x="52" y="252"/>
                  </a:lnTo>
                  <a:lnTo>
                    <a:pt x="54" y="256"/>
                  </a:lnTo>
                  <a:lnTo>
                    <a:pt x="46" y="258"/>
                  </a:lnTo>
                  <a:lnTo>
                    <a:pt x="44" y="258"/>
                  </a:lnTo>
                  <a:lnTo>
                    <a:pt x="40" y="258"/>
                  </a:lnTo>
                  <a:lnTo>
                    <a:pt x="22" y="236"/>
                  </a:lnTo>
                  <a:lnTo>
                    <a:pt x="24" y="242"/>
                  </a:lnTo>
                  <a:lnTo>
                    <a:pt x="30" y="250"/>
                  </a:lnTo>
                  <a:lnTo>
                    <a:pt x="38" y="264"/>
                  </a:lnTo>
                  <a:lnTo>
                    <a:pt x="36" y="268"/>
                  </a:lnTo>
                  <a:lnTo>
                    <a:pt x="38" y="270"/>
                  </a:lnTo>
                  <a:lnTo>
                    <a:pt x="42" y="270"/>
                  </a:lnTo>
                  <a:lnTo>
                    <a:pt x="52" y="274"/>
                  </a:lnTo>
                  <a:lnTo>
                    <a:pt x="52" y="278"/>
                  </a:lnTo>
                  <a:lnTo>
                    <a:pt x="52" y="280"/>
                  </a:lnTo>
                  <a:lnTo>
                    <a:pt x="42" y="274"/>
                  </a:lnTo>
                  <a:lnTo>
                    <a:pt x="40" y="276"/>
                  </a:lnTo>
                  <a:lnTo>
                    <a:pt x="44" y="280"/>
                  </a:lnTo>
                  <a:lnTo>
                    <a:pt x="46" y="284"/>
                  </a:lnTo>
                  <a:lnTo>
                    <a:pt x="56" y="292"/>
                  </a:lnTo>
                  <a:lnTo>
                    <a:pt x="58" y="296"/>
                  </a:lnTo>
                  <a:lnTo>
                    <a:pt x="58" y="300"/>
                  </a:lnTo>
                  <a:lnTo>
                    <a:pt x="62" y="306"/>
                  </a:lnTo>
                  <a:lnTo>
                    <a:pt x="64" y="308"/>
                  </a:lnTo>
                  <a:lnTo>
                    <a:pt x="70" y="308"/>
                  </a:lnTo>
                  <a:lnTo>
                    <a:pt x="76" y="310"/>
                  </a:lnTo>
                  <a:lnTo>
                    <a:pt x="82" y="314"/>
                  </a:lnTo>
                  <a:lnTo>
                    <a:pt x="90" y="318"/>
                  </a:lnTo>
                  <a:lnTo>
                    <a:pt x="88" y="320"/>
                  </a:lnTo>
                  <a:lnTo>
                    <a:pt x="86" y="320"/>
                  </a:lnTo>
                  <a:lnTo>
                    <a:pt x="70" y="312"/>
                  </a:lnTo>
                  <a:lnTo>
                    <a:pt x="68" y="312"/>
                  </a:lnTo>
                  <a:lnTo>
                    <a:pt x="70" y="316"/>
                  </a:lnTo>
                  <a:lnTo>
                    <a:pt x="86" y="330"/>
                  </a:lnTo>
                  <a:lnTo>
                    <a:pt x="108" y="348"/>
                  </a:lnTo>
                  <a:lnTo>
                    <a:pt x="124" y="366"/>
                  </a:lnTo>
                  <a:lnTo>
                    <a:pt x="128" y="374"/>
                  </a:lnTo>
                  <a:lnTo>
                    <a:pt x="142" y="384"/>
                  </a:lnTo>
                  <a:lnTo>
                    <a:pt x="148" y="390"/>
                  </a:lnTo>
                  <a:lnTo>
                    <a:pt x="154" y="402"/>
                  </a:lnTo>
                  <a:lnTo>
                    <a:pt x="160" y="408"/>
                  </a:lnTo>
                  <a:lnTo>
                    <a:pt x="164" y="398"/>
                  </a:lnTo>
                  <a:lnTo>
                    <a:pt x="166" y="392"/>
                  </a:lnTo>
                  <a:lnTo>
                    <a:pt x="170" y="390"/>
                  </a:lnTo>
                  <a:lnTo>
                    <a:pt x="184" y="382"/>
                  </a:lnTo>
                  <a:lnTo>
                    <a:pt x="186" y="382"/>
                  </a:lnTo>
                  <a:lnTo>
                    <a:pt x="196" y="392"/>
                  </a:lnTo>
                  <a:lnTo>
                    <a:pt x="200" y="392"/>
                  </a:lnTo>
                  <a:lnTo>
                    <a:pt x="202" y="392"/>
                  </a:lnTo>
                  <a:lnTo>
                    <a:pt x="206" y="392"/>
                  </a:lnTo>
                  <a:lnTo>
                    <a:pt x="208" y="392"/>
                  </a:lnTo>
                  <a:lnTo>
                    <a:pt x="210" y="388"/>
                  </a:lnTo>
                  <a:lnTo>
                    <a:pt x="206" y="386"/>
                  </a:lnTo>
                  <a:lnTo>
                    <a:pt x="206" y="382"/>
                  </a:lnTo>
                  <a:lnTo>
                    <a:pt x="208" y="378"/>
                  </a:lnTo>
                  <a:lnTo>
                    <a:pt x="210" y="374"/>
                  </a:lnTo>
                  <a:lnTo>
                    <a:pt x="212" y="370"/>
                  </a:lnTo>
                  <a:lnTo>
                    <a:pt x="212" y="368"/>
                  </a:lnTo>
                  <a:lnTo>
                    <a:pt x="210" y="366"/>
                  </a:lnTo>
                  <a:lnTo>
                    <a:pt x="202" y="362"/>
                  </a:lnTo>
                  <a:lnTo>
                    <a:pt x="198" y="358"/>
                  </a:lnTo>
                  <a:lnTo>
                    <a:pt x="196" y="356"/>
                  </a:lnTo>
                  <a:lnTo>
                    <a:pt x="198" y="352"/>
                  </a:lnTo>
                  <a:lnTo>
                    <a:pt x="202" y="348"/>
                  </a:lnTo>
                  <a:lnTo>
                    <a:pt x="202" y="346"/>
                  </a:lnTo>
                  <a:lnTo>
                    <a:pt x="198" y="344"/>
                  </a:lnTo>
                  <a:lnTo>
                    <a:pt x="196" y="340"/>
                  </a:lnTo>
                  <a:lnTo>
                    <a:pt x="194" y="338"/>
                  </a:lnTo>
                  <a:lnTo>
                    <a:pt x="186" y="336"/>
                  </a:lnTo>
                  <a:lnTo>
                    <a:pt x="188" y="332"/>
                  </a:lnTo>
                  <a:lnTo>
                    <a:pt x="190" y="326"/>
                  </a:lnTo>
                  <a:lnTo>
                    <a:pt x="190" y="320"/>
                  </a:lnTo>
                  <a:lnTo>
                    <a:pt x="188" y="308"/>
                  </a:lnTo>
                  <a:lnTo>
                    <a:pt x="188" y="306"/>
                  </a:lnTo>
                  <a:lnTo>
                    <a:pt x="192" y="304"/>
                  </a:lnTo>
                  <a:lnTo>
                    <a:pt x="194" y="306"/>
                  </a:lnTo>
                  <a:lnTo>
                    <a:pt x="198" y="308"/>
                  </a:lnTo>
                  <a:lnTo>
                    <a:pt x="210" y="304"/>
                  </a:lnTo>
                  <a:lnTo>
                    <a:pt x="214" y="304"/>
                  </a:lnTo>
                  <a:lnTo>
                    <a:pt x="216" y="306"/>
                  </a:lnTo>
                  <a:lnTo>
                    <a:pt x="220" y="308"/>
                  </a:lnTo>
                  <a:lnTo>
                    <a:pt x="246" y="304"/>
                  </a:lnTo>
                  <a:lnTo>
                    <a:pt x="246" y="298"/>
                  </a:lnTo>
                  <a:lnTo>
                    <a:pt x="248" y="292"/>
                  </a:lnTo>
                  <a:lnTo>
                    <a:pt x="248" y="288"/>
                  </a:lnTo>
                  <a:lnTo>
                    <a:pt x="248" y="286"/>
                  </a:lnTo>
                  <a:lnTo>
                    <a:pt x="246" y="284"/>
                  </a:lnTo>
                  <a:lnTo>
                    <a:pt x="246" y="282"/>
                  </a:lnTo>
                  <a:lnTo>
                    <a:pt x="246" y="276"/>
                  </a:lnTo>
                  <a:lnTo>
                    <a:pt x="248" y="276"/>
                  </a:lnTo>
                  <a:lnTo>
                    <a:pt x="256" y="270"/>
                  </a:lnTo>
                  <a:lnTo>
                    <a:pt x="258" y="270"/>
                  </a:lnTo>
                  <a:lnTo>
                    <a:pt x="264" y="272"/>
                  </a:lnTo>
                  <a:lnTo>
                    <a:pt x="268" y="278"/>
                  </a:lnTo>
                  <a:lnTo>
                    <a:pt x="274" y="286"/>
                  </a:lnTo>
                  <a:lnTo>
                    <a:pt x="276" y="294"/>
                  </a:lnTo>
                  <a:lnTo>
                    <a:pt x="282" y="302"/>
                  </a:lnTo>
                  <a:lnTo>
                    <a:pt x="292" y="306"/>
                  </a:lnTo>
                  <a:lnTo>
                    <a:pt x="306" y="308"/>
                  </a:lnTo>
                  <a:lnTo>
                    <a:pt x="312" y="308"/>
                  </a:lnTo>
                  <a:lnTo>
                    <a:pt x="322" y="300"/>
                  </a:lnTo>
                  <a:lnTo>
                    <a:pt x="328" y="294"/>
                  </a:lnTo>
                  <a:lnTo>
                    <a:pt x="330" y="290"/>
                  </a:lnTo>
                  <a:lnTo>
                    <a:pt x="334" y="292"/>
                  </a:lnTo>
                  <a:lnTo>
                    <a:pt x="338" y="300"/>
                  </a:lnTo>
                  <a:lnTo>
                    <a:pt x="340" y="304"/>
                  </a:lnTo>
                  <a:lnTo>
                    <a:pt x="340" y="306"/>
                  </a:lnTo>
                  <a:lnTo>
                    <a:pt x="338" y="310"/>
                  </a:lnTo>
                  <a:lnTo>
                    <a:pt x="340" y="312"/>
                  </a:lnTo>
                  <a:lnTo>
                    <a:pt x="348" y="314"/>
                  </a:lnTo>
                  <a:lnTo>
                    <a:pt x="354" y="312"/>
                  </a:lnTo>
                  <a:lnTo>
                    <a:pt x="356" y="310"/>
                  </a:lnTo>
                  <a:lnTo>
                    <a:pt x="360" y="304"/>
                  </a:lnTo>
                  <a:lnTo>
                    <a:pt x="360" y="302"/>
                  </a:lnTo>
                  <a:lnTo>
                    <a:pt x="358" y="300"/>
                  </a:lnTo>
                  <a:lnTo>
                    <a:pt x="358" y="296"/>
                  </a:lnTo>
                  <a:lnTo>
                    <a:pt x="362" y="294"/>
                  </a:lnTo>
                  <a:lnTo>
                    <a:pt x="364" y="286"/>
                  </a:lnTo>
                  <a:lnTo>
                    <a:pt x="364" y="282"/>
                  </a:lnTo>
                  <a:lnTo>
                    <a:pt x="366" y="278"/>
                  </a:lnTo>
                  <a:lnTo>
                    <a:pt x="372" y="276"/>
                  </a:lnTo>
                  <a:lnTo>
                    <a:pt x="374" y="274"/>
                  </a:lnTo>
                  <a:lnTo>
                    <a:pt x="376" y="262"/>
                  </a:lnTo>
                  <a:lnTo>
                    <a:pt x="374" y="258"/>
                  </a:lnTo>
                  <a:lnTo>
                    <a:pt x="374" y="254"/>
                  </a:lnTo>
                  <a:lnTo>
                    <a:pt x="378" y="250"/>
                  </a:lnTo>
                  <a:lnTo>
                    <a:pt x="378" y="244"/>
                  </a:lnTo>
                  <a:lnTo>
                    <a:pt x="376" y="232"/>
                  </a:lnTo>
                  <a:lnTo>
                    <a:pt x="376" y="222"/>
                  </a:lnTo>
                  <a:lnTo>
                    <a:pt x="374" y="214"/>
                  </a:lnTo>
                  <a:lnTo>
                    <a:pt x="376" y="202"/>
                  </a:lnTo>
                  <a:lnTo>
                    <a:pt x="380" y="190"/>
                  </a:lnTo>
                  <a:lnTo>
                    <a:pt x="380" y="188"/>
                  </a:lnTo>
                  <a:lnTo>
                    <a:pt x="376" y="184"/>
                  </a:lnTo>
                  <a:lnTo>
                    <a:pt x="372" y="182"/>
                  </a:lnTo>
                  <a:lnTo>
                    <a:pt x="362" y="178"/>
                  </a:lnTo>
                  <a:lnTo>
                    <a:pt x="358" y="174"/>
                  </a:lnTo>
                  <a:lnTo>
                    <a:pt x="354" y="170"/>
                  </a:lnTo>
                  <a:lnTo>
                    <a:pt x="352" y="168"/>
                  </a:lnTo>
                  <a:lnTo>
                    <a:pt x="342" y="166"/>
                  </a:lnTo>
                  <a:lnTo>
                    <a:pt x="338" y="164"/>
                  </a:lnTo>
                  <a:lnTo>
                    <a:pt x="340" y="156"/>
                  </a:lnTo>
                  <a:lnTo>
                    <a:pt x="340" y="146"/>
                  </a:lnTo>
                  <a:lnTo>
                    <a:pt x="340" y="138"/>
                  </a:lnTo>
                  <a:lnTo>
                    <a:pt x="342" y="132"/>
                  </a:lnTo>
                  <a:lnTo>
                    <a:pt x="344" y="128"/>
                  </a:lnTo>
                  <a:lnTo>
                    <a:pt x="350" y="122"/>
                  </a:lnTo>
                  <a:lnTo>
                    <a:pt x="352" y="116"/>
                  </a:lnTo>
                  <a:lnTo>
                    <a:pt x="354" y="116"/>
                  </a:lnTo>
                  <a:lnTo>
                    <a:pt x="364" y="114"/>
                  </a:lnTo>
                  <a:lnTo>
                    <a:pt x="366" y="112"/>
                  </a:lnTo>
                  <a:lnTo>
                    <a:pt x="370" y="110"/>
                  </a:lnTo>
                  <a:lnTo>
                    <a:pt x="370" y="106"/>
                  </a:lnTo>
                  <a:lnTo>
                    <a:pt x="374" y="102"/>
                  </a:lnTo>
                  <a:lnTo>
                    <a:pt x="376" y="98"/>
                  </a:lnTo>
                  <a:lnTo>
                    <a:pt x="376" y="94"/>
                  </a:lnTo>
                  <a:lnTo>
                    <a:pt x="376" y="92"/>
                  </a:lnTo>
                  <a:lnTo>
                    <a:pt x="374" y="84"/>
                  </a:lnTo>
                  <a:lnTo>
                    <a:pt x="370" y="80"/>
                  </a:lnTo>
                  <a:lnTo>
                    <a:pt x="368" y="78"/>
                  </a:lnTo>
                  <a:lnTo>
                    <a:pt x="364" y="64"/>
                  </a:lnTo>
                  <a:lnTo>
                    <a:pt x="360" y="60"/>
                  </a:lnTo>
                  <a:lnTo>
                    <a:pt x="352" y="58"/>
                  </a:lnTo>
                  <a:lnTo>
                    <a:pt x="338" y="58"/>
                  </a:lnTo>
                  <a:lnTo>
                    <a:pt x="330" y="60"/>
                  </a:lnTo>
                  <a:lnTo>
                    <a:pt x="316" y="64"/>
                  </a:lnTo>
                  <a:lnTo>
                    <a:pt x="306" y="68"/>
                  </a:lnTo>
                  <a:lnTo>
                    <a:pt x="300" y="70"/>
                  </a:lnTo>
                  <a:lnTo>
                    <a:pt x="296" y="68"/>
                  </a:lnTo>
                  <a:lnTo>
                    <a:pt x="294" y="66"/>
                  </a:lnTo>
                  <a:lnTo>
                    <a:pt x="298" y="64"/>
                  </a:lnTo>
                  <a:lnTo>
                    <a:pt x="298" y="62"/>
                  </a:lnTo>
                  <a:lnTo>
                    <a:pt x="298" y="56"/>
                  </a:lnTo>
                  <a:lnTo>
                    <a:pt x="294" y="50"/>
                  </a:lnTo>
                  <a:lnTo>
                    <a:pt x="292" y="42"/>
                  </a:lnTo>
                  <a:lnTo>
                    <a:pt x="294" y="34"/>
                  </a:lnTo>
                  <a:lnTo>
                    <a:pt x="296" y="24"/>
                  </a:lnTo>
                  <a:lnTo>
                    <a:pt x="302" y="14"/>
                  </a:lnTo>
                  <a:lnTo>
                    <a:pt x="302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5" name="Line 4761">
              <a:extLst>
                <a:ext uri="{FF2B5EF4-FFF2-40B4-BE49-F238E27FC236}">
                  <a16:creationId xmlns:a16="http://schemas.microsoft.com/office/drawing/2014/main" id="{AF1F10BD-DF22-439A-B060-23328515101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634556" y="5354679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6" name="Line 4763">
              <a:extLst>
                <a:ext uri="{FF2B5EF4-FFF2-40B4-BE49-F238E27FC236}">
                  <a16:creationId xmlns:a16="http://schemas.microsoft.com/office/drawing/2014/main" id="{506911E9-8E22-4869-BAFB-5C4BD7F2CEE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634556" y="5354679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7" name="Freeform 4812">
              <a:extLst>
                <a:ext uri="{FF2B5EF4-FFF2-40B4-BE49-F238E27FC236}">
                  <a16:creationId xmlns:a16="http://schemas.microsoft.com/office/drawing/2014/main" id="{ADC0575A-D658-4494-80EE-7098CA3764DF}"/>
                </a:ext>
              </a:extLst>
            </p:cNvPr>
            <p:cNvSpPr/>
            <p:nvPr/>
          </p:nvSpPr>
          <p:spPr bwMode="auto">
            <a:xfrm>
              <a:off x="6308302" y="4183718"/>
              <a:ext cx="169593" cy="85567"/>
            </a:xfrm>
            <a:custGeom>
              <a:avLst/>
              <a:gdLst>
                <a:gd name="T0" fmla="*/ 414 w 440"/>
                <a:gd name="T1" fmla="*/ 144 h 222"/>
                <a:gd name="T2" fmla="*/ 398 w 440"/>
                <a:gd name="T3" fmla="*/ 140 h 222"/>
                <a:gd name="T4" fmla="*/ 386 w 440"/>
                <a:gd name="T5" fmla="*/ 132 h 222"/>
                <a:gd name="T6" fmla="*/ 372 w 440"/>
                <a:gd name="T7" fmla="*/ 120 h 222"/>
                <a:gd name="T8" fmla="*/ 376 w 440"/>
                <a:gd name="T9" fmla="*/ 98 h 222"/>
                <a:gd name="T10" fmla="*/ 352 w 440"/>
                <a:gd name="T11" fmla="*/ 94 h 222"/>
                <a:gd name="T12" fmla="*/ 334 w 440"/>
                <a:gd name="T13" fmla="*/ 80 h 222"/>
                <a:gd name="T14" fmla="*/ 320 w 440"/>
                <a:gd name="T15" fmla="*/ 76 h 222"/>
                <a:gd name="T16" fmla="*/ 306 w 440"/>
                <a:gd name="T17" fmla="*/ 76 h 222"/>
                <a:gd name="T18" fmla="*/ 286 w 440"/>
                <a:gd name="T19" fmla="*/ 78 h 222"/>
                <a:gd name="T20" fmla="*/ 264 w 440"/>
                <a:gd name="T21" fmla="*/ 88 h 222"/>
                <a:gd name="T22" fmla="*/ 248 w 440"/>
                <a:gd name="T23" fmla="*/ 88 h 222"/>
                <a:gd name="T24" fmla="*/ 252 w 440"/>
                <a:gd name="T25" fmla="*/ 78 h 222"/>
                <a:gd name="T26" fmla="*/ 240 w 440"/>
                <a:gd name="T27" fmla="*/ 70 h 222"/>
                <a:gd name="T28" fmla="*/ 204 w 440"/>
                <a:gd name="T29" fmla="*/ 54 h 222"/>
                <a:gd name="T30" fmla="*/ 192 w 440"/>
                <a:gd name="T31" fmla="*/ 40 h 222"/>
                <a:gd name="T32" fmla="*/ 170 w 440"/>
                <a:gd name="T33" fmla="*/ 38 h 222"/>
                <a:gd name="T34" fmla="*/ 142 w 440"/>
                <a:gd name="T35" fmla="*/ 34 h 222"/>
                <a:gd name="T36" fmla="*/ 98 w 440"/>
                <a:gd name="T37" fmla="*/ 28 h 222"/>
                <a:gd name="T38" fmla="*/ 64 w 440"/>
                <a:gd name="T39" fmla="*/ 14 h 222"/>
                <a:gd name="T40" fmla="*/ 36 w 440"/>
                <a:gd name="T41" fmla="*/ 6 h 222"/>
                <a:gd name="T42" fmla="*/ 8 w 440"/>
                <a:gd name="T43" fmla="*/ 2 h 222"/>
                <a:gd name="T44" fmla="*/ 14 w 440"/>
                <a:gd name="T45" fmla="*/ 24 h 222"/>
                <a:gd name="T46" fmla="*/ 58 w 440"/>
                <a:gd name="T47" fmla="*/ 46 h 222"/>
                <a:gd name="T48" fmla="*/ 96 w 440"/>
                <a:gd name="T49" fmla="*/ 76 h 222"/>
                <a:gd name="T50" fmla="*/ 112 w 440"/>
                <a:gd name="T51" fmla="*/ 128 h 222"/>
                <a:gd name="T52" fmla="*/ 118 w 440"/>
                <a:gd name="T53" fmla="*/ 158 h 222"/>
                <a:gd name="T54" fmla="*/ 106 w 440"/>
                <a:gd name="T55" fmla="*/ 186 h 222"/>
                <a:gd name="T56" fmla="*/ 122 w 440"/>
                <a:gd name="T57" fmla="*/ 192 h 222"/>
                <a:gd name="T58" fmla="*/ 148 w 440"/>
                <a:gd name="T59" fmla="*/ 186 h 222"/>
                <a:gd name="T60" fmla="*/ 164 w 440"/>
                <a:gd name="T61" fmla="*/ 190 h 222"/>
                <a:gd name="T62" fmla="*/ 172 w 440"/>
                <a:gd name="T63" fmla="*/ 178 h 222"/>
                <a:gd name="T64" fmla="*/ 182 w 440"/>
                <a:gd name="T65" fmla="*/ 178 h 222"/>
                <a:gd name="T66" fmla="*/ 192 w 440"/>
                <a:gd name="T67" fmla="*/ 188 h 222"/>
                <a:gd name="T68" fmla="*/ 210 w 440"/>
                <a:gd name="T69" fmla="*/ 204 h 222"/>
                <a:gd name="T70" fmla="*/ 212 w 440"/>
                <a:gd name="T71" fmla="*/ 212 h 222"/>
                <a:gd name="T72" fmla="*/ 226 w 440"/>
                <a:gd name="T73" fmla="*/ 214 h 222"/>
                <a:gd name="T74" fmla="*/ 228 w 440"/>
                <a:gd name="T75" fmla="*/ 220 h 222"/>
                <a:gd name="T76" fmla="*/ 252 w 440"/>
                <a:gd name="T77" fmla="*/ 218 h 222"/>
                <a:gd name="T78" fmla="*/ 274 w 440"/>
                <a:gd name="T79" fmla="*/ 212 h 222"/>
                <a:gd name="T80" fmla="*/ 302 w 440"/>
                <a:gd name="T81" fmla="*/ 210 h 222"/>
                <a:gd name="T82" fmla="*/ 318 w 440"/>
                <a:gd name="T83" fmla="*/ 208 h 222"/>
                <a:gd name="T84" fmla="*/ 330 w 440"/>
                <a:gd name="T85" fmla="*/ 204 h 222"/>
                <a:gd name="T86" fmla="*/ 358 w 440"/>
                <a:gd name="T87" fmla="*/ 192 h 222"/>
                <a:gd name="T88" fmla="*/ 378 w 440"/>
                <a:gd name="T89" fmla="*/ 206 h 222"/>
                <a:gd name="T90" fmla="*/ 398 w 440"/>
                <a:gd name="T91" fmla="*/ 214 h 222"/>
                <a:gd name="T92" fmla="*/ 414 w 440"/>
                <a:gd name="T93" fmla="*/ 216 h 222"/>
                <a:gd name="T94" fmla="*/ 426 w 440"/>
                <a:gd name="T95" fmla="*/ 222 h 222"/>
                <a:gd name="T96" fmla="*/ 438 w 440"/>
                <a:gd name="T97" fmla="*/ 208 h 222"/>
                <a:gd name="T98" fmla="*/ 428 w 440"/>
                <a:gd name="T99" fmla="*/ 194 h 222"/>
                <a:gd name="T100" fmla="*/ 412 w 440"/>
                <a:gd name="T101" fmla="*/ 176 h 222"/>
                <a:gd name="T102" fmla="*/ 408 w 440"/>
                <a:gd name="T103" fmla="*/ 172 h 222"/>
                <a:gd name="T104" fmla="*/ 412 w 440"/>
                <a:gd name="T105" fmla="*/ 162 h 222"/>
                <a:gd name="T106" fmla="*/ 422 w 440"/>
                <a:gd name="T107" fmla="*/ 154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40" h="221">
                  <a:moveTo>
                    <a:pt x="424" y="150"/>
                  </a:moveTo>
                  <a:lnTo>
                    <a:pt x="422" y="150"/>
                  </a:lnTo>
                  <a:lnTo>
                    <a:pt x="414" y="144"/>
                  </a:lnTo>
                  <a:lnTo>
                    <a:pt x="410" y="142"/>
                  </a:lnTo>
                  <a:lnTo>
                    <a:pt x="406" y="142"/>
                  </a:lnTo>
                  <a:lnTo>
                    <a:pt x="398" y="140"/>
                  </a:lnTo>
                  <a:lnTo>
                    <a:pt x="392" y="138"/>
                  </a:lnTo>
                  <a:lnTo>
                    <a:pt x="390" y="136"/>
                  </a:lnTo>
                  <a:lnTo>
                    <a:pt x="386" y="132"/>
                  </a:lnTo>
                  <a:lnTo>
                    <a:pt x="378" y="128"/>
                  </a:lnTo>
                  <a:lnTo>
                    <a:pt x="372" y="122"/>
                  </a:lnTo>
                  <a:lnTo>
                    <a:pt x="372" y="120"/>
                  </a:lnTo>
                  <a:lnTo>
                    <a:pt x="376" y="110"/>
                  </a:lnTo>
                  <a:lnTo>
                    <a:pt x="378" y="100"/>
                  </a:lnTo>
                  <a:lnTo>
                    <a:pt x="376" y="98"/>
                  </a:lnTo>
                  <a:lnTo>
                    <a:pt x="372" y="96"/>
                  </a:lnTo>
                  <a:lnTo>
                    <a:pt x="368" y="94"/>
                  </a:lnTo>
                  <a:lnTo>
                    <a:pt x="352" y="94"/>
                  </a:lnTo>
                  <a:lnTo>
                    <a:pt x="344" y="84"/>
                  </a:lnTo>
                  <a:lnTo>
                    <a:pt x="340" y="82"/>
                  </a:lnTo>
                  <a:lnTo>
                    <a:pt x="334" y="80"/>
                  </a:lnTo>
                  <a:lnTo>
                    <a:pt x="326" y="76"/>
                  </a:lnTo>
                  <a:lnTo>
                    <a:pt x="322" y="74"/>
                  </a:lnTo>
                  <a:lnTo>
                    <a:pt x="320" y="76"/>
                  </a:lnTo>
                  <a:lnTo>
                    <a:pt x="316" y="86"/>
                  </a:lnTo>
                  <a:lnTo>
                    <a:pt x="310" y="78"/>
                  </a:lnTo>
                  <a:lnTo>
                    <a:pt x="306" y="76"/>
                  </a:lnTo>
                  <a:lnTo>
                    <a:pt x="302" y="74"/>
                  </a:lnTo>
                  <a:lnTo>
                    <a:pt x="298" y="74"/>
                  </a:lnTo>
                  <a:lnTo>
                    <a:pt x="286" y="78"/>
                  </a:lnTo>
                  <a:lnTo>
                    <a:pt x="278" y="84"/>
                  </a:lnTo>
                  <a:lnTo>
                    <a:pt x="272" y="86"/>
                  </a:lnTo>
                  <a:lnTo>
                    <a:pt x="264" y="88"/>
                  </a:lnTo>
                  <a:lnTo>
                    <a:pt x="262" y="90"/>
                  </a:lnTo>
                  <a:lnTo>
                    <a:pt x="254" y="90"/>
                  </a:lnTo>
                  <a:lnTo>
                    <a:pt x="248" y="88"/>
                  </a:lnTo>
                  <a:lnTo>
                    <a:pt x="248" y="86"/>
                  </a:lnTo>
                  <a:lnTo>
                    <a:pt x="248" y="82"/>
                  </a:lnTo>
                  <a:lnTo>
                    <a:pt x="252" y="78"/>
                  </a:lnTo>
                  <a:lnTo>
                    <a:pt x="252" y="76"/>
                  </a:lnTo>
                  <a:lnTo>
                    <a:pt x="250" y="76"/>
                  </a:lnTo>
                  <a:lnTo>
                    <a:pt x="240" y="70"/>
                  </a:lnTo>
                  <a:lnTo>
                    <a:pt x="236" y="66"/>
                  </a:lnTo>
                  <a:lnTo>
                    <a:pt x="222" y="62"/>
                  </a:lnTo>
                  <a:lnTo>
                    <a:pt x="204" y="54"/>
                  </a:lnTo>
                  <a:lnTo>
                    <a:pt x="198" y="48"/>
                  </a:lnTo>
                  <a:lnTo>
                    <a:pt x="198" y="44"/>
                  </a:lnTo>
                  <a:lnTo>
                    <a:pt x="192" y="40"/>
                  </a:lnTo>
                  <a:lnTo>
                    <a:pt x="184" y="38"/>
                  </a:lnTo>
                  <a:lnTo>
                    <a:pt x="176" y="38"/>
                  </a:lnTo>
                  <a:lnTo>
                    <a:pt x="170" y="38"/>
                  </a:lnTo>
                  <a:lnTo>
                    <a:pt x="162" y="32"/>
                  </a:lnTo>
                  <a:lnTo>
                    <a:pt x="152" y="32"/>
                  </a:lnTo>
                  <a:lnTo>
                    <a:pt x="142" y="34"/>
                  </a:lnTo>
                  <a:lnTo>
                    <a:pt x="136" y="36"/>
                  </a:lnTo>
                  <a:lnTo>
                    <a:pt x="106" y="32"/>
                  </a:lnTo>
                  <a:lnTo>
                    <a:pt x="98" y="28"/>
                  </a:lnTo>
                  <a:lnTo>
                    <a:pt x="92" y="22"/>
                  </a:lnTo>
                  <a:lnTo>
                    <a:pt x="74" y="18"/>
                  </a:lnTo>
                  <a:lnTo>
                    <a:pt x="64" y="14"/>
                  </a:lnTo>
                  <a:lnTo>
                    <a:pt x="54" y="8"/>
                  </a:lnTo>
                  <a:lnTo>
                    <a:pt x="44" y="4"/>
                  </a:lnTo>
                  <a:lnTo>
                    <a:pt x="36" y="6"/>
                  </a:lnTo>
                  <a:lnTo>
                    <a:pt x="24" y="4"/>
                  </a:lnTo>
                  <a:lnTo>
                    <a:pt x="12" y="0"/>
                  </a:lnTo>
                  <a:lnTo>
                    <a:pt x="8" y="2"/>
                  </a:lnTo>
                  <a:lnTo>
                    <a:pt x="4" y="8"/>
                  </a:lnTo>
                  <a:lnTo>
                    <a:pt x="0" y="14"/>
                  </a:lnTo>
                  <a:lnTo>
                    <a:pt x="14" y="24"/>
                  </a:lnTo>
                  <a:lnTo>
                    <a:pt x="32" y="40"/>
                  </a:lnTo>
                  <a:lnTo>
                    <a:pt x="36" y="42"/>
                  </a:lnTo>
                  <a:lnTo>
                    <a:pt x="58" y="46"/>
                  </a:lnTo>
                  <a:lnTo>
                    <a:pt x="72" y="58"/>
                  </a:lnTo>
                  <a:lnTo>
                    <a:pt x="76" y="68"/>
                  </a:lnTo>
                  <a:lnTo>
                    <a:pt x="96" y="76"/>
                  </a:lnTo>
                  <a:lnTo>
                    <a:pt x="100" y="82"/>
                  </a:lnTo>
                  <a:lnTo>
                    <a:pt x="106" y="106"/>
                  </a:lnTo>
                  <a:lnTo>
                    <a:pt x="112" y="128"/>
                  </a:lnTo>
                  <a:lnTo>
                    <a:pt x="118" y="144"/>
                  </a:lnTo>
                  <a:lnTo>
                    <a:pt x="118" y="152"/>
                  </a:lnTo>
                  <a:lnTo>
                    <a:pt x="118" y="158"/>
                  </a:lnTo>
                  <a:lnTo>
                    <a:pt x="114" y="168"/>
                  </a:lnTo>
                  <a:lnTo>
                    <a:pt x="102" y="184"/>
                  </a:lnTo>
                  <a:lnTo>
                    <a:pt x="106" y="186"/>
                  </a:lnTo>
                  <a:lnTo>
                    <a:pt x="114" y="188"/>
                  </a:lnTo>
                  <a:lnTo>
                    <a:pt x="120" y="190"/>
                  </a:lnTo>
                  <a:lnTo>
                    <a:pt x="122" y="192"/>
                  </a:lnTo>
                  <a:lnTo>
                    <a:pt x="128" y="186"/>
                  </a:lnTo>
                  <a:lnTo>
                    <a:pt x="138" y="186"/>
                  </a:lnTo>
                  <a:lnTo>
                    <a:pt x="148" y="186"/>
                  </a:lnTo>
                  <a:lnTo>
                    <a:pt x="152" y="188"/>
                  </a:lnTo>
                  <a:lnTo>
                    <a:pt x="158" y="190"/>
                  </a:lnTo>
                  <a:lnTo>
                    <a:pt x="164" y="190"/>
                  </a:lnTo>
                  <a:lnTo>
                    <a:pt x="166" y="188"/>
                  </a:lnTo>
                  <a:lnTo>
                    <a:pt x="170" y="180"/>
                  </a:lnTo>
                  <a:lnTo>
                    <a:pt x="172" y="178"/>
                  </a:lnTo>
                  <a:lnTo>
                    <a:pt x="174" y="178"/>
                  </a:lnTo>
                  <a:lnTo>
                    <a:pt x="178" y="178"/>
                  </a:lnTo>
                  <a:lnTo>
                    <a:pt x="182" y="178"/>
                  </a:lnTo>
                  <a:lnTo>
                    <a:pt x="186" y="180"/>
                  </a:lnTo>
                  <a:lnTo>
                    <a:pt x="188" y="186"/>
                  </a:lnTo>
                  <a:lnTo>
                    <a:pt x="192" y="188"/>
                  </a:lnTo>
                  <a:lnTo>
                    <a:pt x="202" y="198"/>
                  </a:lnTo>
                  <a:lnTo>
                    <a:pt x="208" y="202"/>
                  </a:lnTo>
                  <a:lnTo>
                    <a:pt x="210" y="204"/>
                  </a:lnTo>
                  <a:lnTo>
                    <a:pt x="208" y="206"/>
                  </a:lnTo>
                  <a:lnTo>
                    <a:pt x="208" y="208"/>
                  </a:lnTo>
                  <a:lnTo>
                    <a:pt x="212" y="212"/>
                  </a:lnTo>
                  <a:lnTo>
                    <a:pt x="218" y="212"/>
                  </a:lnTo>
                  <a:lnTo>
                    <a:pt x="222" y="212"/>
                  </a:lnTo>
                  <a:lnTo>
                    <a:pt x="226" y="214"/>
                  </a:lnTo>
                  <a:lnTo>
                    <a:pt x="228" y="216"/>
                  </a:lnTo>
                  <a:lnTo>
                    <a:pt x="228" y="218"/>
                  </a:lnTo>
                  <a:lnTo>
                    <a:pt x="228" y="220"/>
                  </a:lnTo>
                  <a:lnTo>
                    <a:pt x="232" y="218"/>
                  </a:lnTo>
                  <a:lnTo>
                    <a:pt x="242" y="218"/>
                  </a:lnTo>
                  <a:lnTo>
                    <a:pt x="252" y="218"/>
                  </a:lnTo>
                  <a:lnTo>
                    <a:pt x="258" y="214"/>
                  </a:lnTo>
                  <a:lnTo>
                    <a:pt x="270" y="212"/>
                  </a:lnTo>
                  <a:lnTo>
                    <a:pt x="274" y="212"/>
                  </a:lnTo>
                  <a:lnTo>
                    <a:pt x="280" y="210"/>
                  </a:lnTo>
                  <a:lnTo>
                    <a:pt x="296" y="212"/>
                  </a:lnTo>
                  <a:lnTo>
                    <a:pt x="302" y="210"/>
                  </a:lnTo>
                  <a:lnTo>
                    <a:pt x="320" y="210"/>
                  </a:lnTo>
                  <a:lnTo>
                    <a:pt x="320" y="210"/>
                  </a:lnTo>
                  <a:lnTo>
                    <a:pt x="318" y="208"/>
                  </a:lnTo>
                  <a:lnTo>
                    <a:pt x="318" y="206"/>
                  </a:lnTo>
                  <a:lnTo>
                    <a:pt x="328" y="204"/>
                  </a:lnTo>
                  <a:lnTo>
                    <a:pt x="330" y="204"/>
                  </a:lnTo>
                  <a:lnTo>
                    <a:pt x="344" y="192"/>
                  </a:lnTo>
                  <a:lnTo>
                    <a:pt x="348" y="190"/>
                  </a:lnTo>
                  <a:lnTo>
                    <a:pt x="358" y="192"/>
                  </a:lnTo>
                  <a:lnTo>
                    <a:pt x="378" y="200"/>
                  </a:lnTo>
                  <a:lnTo>
                    <a:pt x="376" y="204"/>
                  </a:lnTo>
                  <a:lnTo>
                    <a:pt x="378" y="206"/>
                  </a:lnTo>
                  <a:lnTo>
                    <a:pt x="382" y="210"/>
                  </a:lnTo>
                  <a:lnTo>
                    <a:pt x="390" y="212"/>
                  </a:lnTo>
                  <a:lnTo>
                    <a:pt x="398" y="214"/>
                  </a:lnTo>
                  <a:lnTo>
                    <a:pt x="402" y="212"/>
                  </a:lnTo>
                  <a:lnTo>
                    <a:pt x="408" y="212"/>
                  </a:lnTo>
                  <a:lnTo>
                    <a:pt x="414" y="216"/>
                  </a:lnTo>
                  <a:lnTo>
                    <a:pt x="420" y="220"/>
                  </a:lnTo>
                  <a:lnTo>
                    <a:pt x="424" y="222"/>
                  </a:lnTo>
                  <a:lnTo>
                    <a:pt x="426" y="222"/>
                  </a:lnTo>
                  <a:lnTo>
                    <a:pt x="430" y="220"/>
                  </a:lnTo>
                  <a:lnTo>
                    <a:pt x="436" y="214"/>
                  </a:lnTo>
                  <a:lnTo>
                    <a:pt x="438" y="208"/>
                  </a:lnTo>
                  <a:lnTo>
                    <a:pt x="440" y="204"/>
                  </a:lnTo>
                  <a:lnTo>
                    <a:pt x="436" y="198"/>
                  </a:lnTo>
                  <a:lnTo>
                    <a:pt x="428" y="194"/>
                  </a:lnTo>
                  <a:lnTo>
                    <a:pt x="420" y="188"/>
                  </a:lnTo>
                  <a:lnTo>
                    <a:pt x="416" y="184"/>
                  </a:lnTo>
                  <a:lnTo>
                    <a:pt x="412" y="176"/>
                  </a:lnTo>
                  <a:lnTo>
                    <a:pt x="410" y="176"/>
                  </a:lnTo>
                  <a:lnTo>
                    <a:pt x="408" y="174"/>
                  </a:lnTo>
                  <a:lnTo>
                    <a:pt x="408" y="172"/>
                  </a:lnTo>
                  <a:lnTo>
                    <a:pt x="408" y="168"/>
                  </a:lnTo>
                  <a:lnTo>
                    <a:pt x="408" y="164"/>
                  </a:lnTo>
                  <a:lnTo>
                    <a:pt x="412" y="162"/>
                  </a:lnTo>
                  <a:lnTo>
                    <a:pt x="416" y="162"/>
                  </a:lnTo>
                  <a:lnTo>
                    <a:pt x="418" y="160"/>
                  </a:lnTo>
                  <a:lnTo>
                    <a:pt x="422" y="154"/>
                  </a:lnTo>
                  <a:lnTo>
                    <a:pt x="424" y="150"/>
                  </a:lnTo>
                </a:path>
              </a:pathLst>
            </a:custGeom>
            <a:solidFill>
              <a:schemeClr val="bg1"/>
            </a:solidFill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8" name="Freeform 4820">
              <a:extLst>
                <a:ext uri="{FF2B5EF4-FFF2-40B4-BE49-F238E27FC236}">
                  <a16:creationId xmlns:a16="http://schemas.microsoft.com/office/drawing/2014/main" id="{7DF0E1D7-4646-42FE-AE22-CE5B535DF928}"/>
                </a:ext>
              </a:extLst>
            </p:cNvPr>
            <p:cNvSpPr/>
            <p:nvPr/>
          </p:nvSpPr>
          <p:spPr bwMode="auto">
            <a:xfrm>
              <a:off x="5216740" y="5125729"/>
              <a:ext cx="111777" cy="163426"/>
            </a:xfrm>
            <a:custGeom>
              <a:avLst/>
              <a:gdLst>
                <a:gd name="T0" fmla="*/ 190 w 290"/>
                <a:gd name="T1" fmla="*/ 6 h 424"/>
                <a:gd name="T2" fmla="*/ 180 w 290"/>
                <a:gd name="T3" fmla="*/ 10 h 424"/>
                <a:gd name="T4" fmla="*/ 170 w 290"/>
                <a:gd name="T5" fmla="*/ 16 h 424"/>
                <a:gd name="T6" fmla="*/ 148 w 290"/>
                <a:gd name="T7" fmla="*/ 10 h 424"/>
                <a:gd name="T8" fmla="*/ 108 w 290"/>
                <a:gd name="T9" fmla="*/ 10 h 424"/>
                <a:gd name="T10" fmla="*/ 48 w 290"/>
                <a:gd name="T11" fmla="*/ 12 h 424"/>
                <a:gd name="T12" fmla="*/ 26 w 290"/>
                <a:gd name="T13" fmla="*/ 12 h 424"/>
                <a:gd name="T14" fmla="*/ 26 w 290"/>
                <a:gd name="T15" fmla="*/ 48 h 424"/>
                <a:gd name="T16" fmla="*/ 28 w 290"/>
                <a:gd name="T17" fmla="*/ 56 h 424"/>
                <a:gd name="T18" fmla="*/ 30 w 290"/>
                <a:gd name="T19" fmla="*/ 72 h 424"/>
                <a:gd name="T20" fmla="*/ 30 w 290"/>
                <a:gd name="T21" fmla="*/ 100 h 424"/>
                <a:gd name="T22" fmla="*/ 34 w 290"/>
                <a:gd name="T23" fmla="*/ 120 h 424"/>
                <a:gd name="T24" fmla="*/ 32 w 290"/>
                <a:gd name="T25" fmla="*/ 136 h 424"/>
                <a:gd name="T26" fmla="*/ 40 w 290"/>
                <a:gd name="T27" fmla="*/ 154 h 424"/>
                <a:gd name="T28" fmla="*/ 48 w 290"/>
                <a:gd name="T29" fmla="*/ 196 h 424"/>
                <a:gd name="T30" fmla="*/ 40 w 290"/>
                <a:gd name="T31" fmla="*/ 202 h 424"/>
                <a:gd name="T32" fmla="*/ 30 w 290"/>
                <a:gd name="T33" fmla="*/ 214 h 424"/>
                <a:gd name="T34" fmla="*/ 22 w 290"/>
                <a:gd name="T35" fmla="*/ 232 h 424"/>
                <a:gd name="T36" fmla="*/ 14 w 290"/>
                <a:gd name="T37" fmla="*/ 266 h 424"/>
                <a:gd name="T38" fmla="*/ 0 w 290"/>
                <a:gd name="T39" fmla="*/ 294 h 424"/>
                <a:gd name="T40" fmla="*/ 0 w 290"/>
                <a:gd name="T41" fmla="*/ 314 h 424"/>
                <a:gd name="T42" fmla="*/ 14 w 290"/>
                <a:gd name="T43" fmla="*/ 356 h 424"/>
                <a:gd name="T44" fmla="*/ 28 w 290"/>
                <a:gd name="T45" fmla="*/ 368 h 424"/>
                <a:gd name="T46" fmla="*/ 30 w 290"/>
                <a:gd name="T47" fmla="*/ 386 h 424"/>
                <a:gd name="T48" fmla="*/ 22 w 290"/>
                <a:gd name="T49" fmla="*/ 398 h 424"/>
                <a:gd name="T50" fmla="*/ 8 w 290"/>
                <a:gd name="T51" fmla="*/ 402 h 424"/>
                <a:gd name="T52" fmla="*/ 54 w 290"/>
                <a:gd name="T53" fmla="*/ 412 h 424"/>
                <a:gd name="T54" fmla="*/ 96 w 290"/>
                <a:gd name="T55" fmla="*/ 416 h 424"/>
                <a:gd name="T56" fmla="*/ 160 w 290"/>
                <a:gd name="T57" fmla="*/ 394 h 424"/>
                <a:gd name="T58" fmla="*/ 204 w 290"/>
                <a:gd name="T59" fmla="*/ 370 h 424"/>
                <a:gd name="T60" fmla="*/ 274 w 290"/>
                <a:gd name="T61" fmla="*/ 354 h 424"/>
                <a:gd name="T62" fmla="*/ 290 w 290"/>
                <a:gd name="T63" fmla="*/ 336 h 424"/>
                <a:gd name="T64" fmla="*/ 280 w 290"/>
                <a:gd name="T65" fmla="*/ 330 h 424"/>
                <a:gd name="T66" fmla="*/ 266 w 290"/>
                <a:gd name="T67" fmla="*/ 318 h 424"/>
                <a:gd name="T68" fmla="*/ 258 w 290"/>
                <a:gd name="T69" fmla="*/ 304 h 424"/>
                <a:gd name="T70" fmla="*/ 246 w 290"/>
                <a:gd name="T71" fmla="*/ 286 h 424"/>
                <a:gd name="T72" fmla="*/ 250 w 290"/>
                <a:gd name="T73" fmla="*/ 276 h 424"/>
                <a:gd name="T74" fmla="*/ 254 w 290"/>
                <a:gd name="T75" fmla="*/ 254 h 424"/>
                <a:gd name="T76" fmla="*/ 244 w 290"/>
                <a:gd name="T77" fmla="*/ 244 h 424"/>
                <a:gd name="T78" fmla="*/ 252 w 290"/>
                <a:gd name="T79" fmla="*/ 196 h 424"/>
                <a:gd name="T80" fmla="*/ 252 w 290"/>
                <a:gd name="T81" fmla="*/ 178 h 424"/>
                <a:gd name="T82" fmla="*/ 236 w 290"/>
                <a:gd name="T83" fmla="*/ 160 h 424"/>
                <a:gd name="T84" fmla="*/ 242 w 290"/>
                <a:gd name="T85" fmla="*/ 146 h 424"/>
                <a:gd name="T86" fmla="*/ 246 w 290"/>
                <a:gd name="T87" fmla="*/ 118 h 424"/>
                <a:gd name="T88" fmla="*/ 230 w 290"/>
                <a:gd name="T89" fmla="*/ 116 h 424"/>
                <a:gd name="T90" fmla="*/ 230 w 290"/>
                <a:gd name="T91" fmla="*/ 112 h 424"/>
                <a:gd name="T92" fmla="*/ 234 w 290"/>
                <a:gd name="T93" fmla="*/ 104 h 424"/>
                <a:gd name="T94" fmla="*/ 230 w 290"/>
                <a:gd name="T95" fmla="*/ 100 h 424"/>
                <a:gd name="T96" fmla="*/ 234 w 290"/>
                <a:gd name="T97" fmla="*/ 88 h 424"/>
                <a:gd name="T98" fmla="*/ 238 w 290"/>
                <a:gd name="T99" fmla="*/ 58 h 424"/>
                <a:gd name="T100" fmla="*/ 218 w 290"/>
                <a:gd name="T101" fmla="*/ 42 h 424"/>
                <a:gd name="T102" fmla="*/ 206 w 290"/>
                <a:gd name="T103" fmla="*/ 30 h 424"/>
                <a:gd name="T104" fmla="*/ 212 w 290"/>
                <a:gd name="T105" fmla="*/ 8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0" h="423">
                  <a:moveTo>
                    <a:pt x="208" y="4"/>
                  </a:moveTo>
                  <a:lnTo>
                    <a:pt x="192" y="0"/>
                  </a:lnTo>
                  <a:lnTo>
                    <a:pt x="192" y="2"/>
                  </a:lnTo>
                  <a:lnTo>
                    <a:pt x="190" y="6"/>
                  </a:lnTo>
                  <a:lnTo>
                    <a:pt x="186" y="6"/>
                  </a:lnTo>
                  <a:lnTo>
                    <a:pt x="184" y="4"/>
                  </a:lnTo>
                  <a:lnTo>
                    <a:pt x="182" y="8"/>
                  </a:lnTo>
                  <a:lnTo>
                    <a:pt x="180" y="10"/>
                  </a:lnTo>
                  <a:lnTo>
                    <a:pt x="176" y="12"/>
                  </a:lnTo>
                  <a:lnTo>
                    <a:pt x="172" y="14"/>
                  </a:lnTo>
                  <a:lnTo>
                    <a:pt x="170" y="16"/>
                  </a:lnTo>
                  <a:lnTo>
                    <a:pt x="170" y="16"/>
                  </a:lnTo>
                  <a:lnTo>
                    <a:pt x="166" y="12"/>
                  </a:lnTo>
                  <a:lnTo>
                    <a:pt x="162" y="12"/>
                  </a:lnTo>
                  <a:lnTo>
                    <a:pt x="152" y="12"/>
                  </a:lnTo>
                  <a:lnTo>
                    <a:pt x="148" y="10"/>
                  </a:lnTo>
                  <a:lnTo>
                    <a:pt x="144" y="10"/>
                  </a:lnTo>
                  <a:lnTo>
                    <a:pt x="132" y="12"/>
                  </a:lnTo>
                  <a:lnTo>
                    <a:pt x="112" y="10"/>
                  </a:lnTo>
                  <a:lnTo>
                    <a:pt x="108" y="10"/>
                  </a:lnTo>
                  <a:lnTo>
                    <a:pt x="108" y="12"/>
                  </a:lnTo>
                  <a:lnTo>
                    <a:pt x="88" y="12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2" y="28"/>
                  </a:lnTo>
                  <a:lnTo>
                    <a:pt x="22" y="38"/>
                  </a:lnTo>
                  <a:lnTo>
                    <a:pt x="24" y="44"/>
                  </a:lnTo>
                  <a:lnTo>
                    <a:pt x="26" y="48"/>
                  </a:lnTo>
                  <a:lnTo>
                    <a:pt x="30" y="48"/>
                  </a:lnTo>
                  <a:lnTo>
                    <a:pt x="30" y="50"/>
                  </a:lnTo>
                  <a:lnTo>
                    <a:pt x="28" y="54"/>
                  </a:lnTo>
                  <a:lnTo>
                    <a:pt x="28" y="56"/>
                  </a:lnTo>
                  <a:lnTo>
                    <a:pt x="30" y="58"/>
                  </a:lnTo>
                  <a:lnTo>
                    <a:pt x="30" y="62"/>
                  </a:lnTo>
                  <a:lnTo>
                    <a:pt x="30" y="64"/>
                  </a:lnTo>
                  <a:lnTo>
                    <a:pt x="30" y="72"/>
                  </a:lnTo>
                  <a:lnTo>
                    <a:pt x="32" y="84"/>
                  </a:lnTo>
                  <a:lnTo>
                    <a:pt x="32" y="92"/>
                  </a:lnTo>
                  <a:lnTo>
                    <a:pt x="30" y="94"/>
                  </a:lnTo>
                  <a:lnTo>
                    <a:pt x="30" y="100"/>
                  </a:lnTo>
                  <a:lnTo>
                    <a:pt x="34" y="108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34" y="120"/>
                  </a:lnTo>
                  <a:lnTo>
                    <a:pt x="34" y="124"/>
                  </a:lnTo>
                  <a:lnTo>
                    <a:pt x="36" y="126"/>
                  </a:lnTo>
                  <a:lnTo>
                    <a:pt x="36" y="130"/>
                  </a:lnTo>
                  <a:lnTo>
                    <a:pt x="32" y="136"/>
                  </a:lnTo>
                  <a:lnTo>
                    <a:pt x="32" y="142"/>
                  </a:lnTo>
                  <a:lnTo>
                    <a:pt x="36" y="142"/>
                  </a:lnTo>
                  <a:lnTo>
                    <a:pt x="38" y="146"/>
                  </a:lnTo>
                  <a:lnTo>
                    <a:pt x="40" y="154"/>
                  </a:lnTo>
                  <a:lnTo>
                    <a:pt x="42" y="158"/>
                  </a:lnTo>
                  <a:lnTo>
                    <a:pt x="42" y="158"/>
                  </a:lnTo>
                  <a:lnTo>
                    <a:pt x="44" y="178"/>
                  </a:lnTo>
                  <a:lnTo>
                    <a:pt x="48" y="196"/>
                  </a:lnTo>
                  <a:lnTo>
                    <a:pt x="46" y="198"/>
                  </a:lnTo>
                  <a:lnTo>
                    <a:pt x="42" y="200"/>
                  </a:lnTo>
                  <a:lnTo>
                    <a:pt x="40" y="200"/>
                  </a:lnTo>
                  <a:lnTo>
                    <a:pt x="40" y="202"/>
                  </a:lnTo>
                  <a:lnTo>
                    <a:pt x="42" y="204"/>
                  </a:lnTo>
                  <a:lnTo>
                    <a:pt x="40" y="208"/>
                  </a:lnTo>
                  <a:lnTo>
                    <a:pt x="38" y="208"/>
                  </a:lnTo>
                  <a:lnTo>
                    <a:pt x="30" y="214"/>
                  </a:lnTo>
                  <a:lnTo>
                    <a:pt x="28" y="218"/>
                  </a:lnTo>
                  <a:lnTo>
                    <a:pt x="26" y="222"/>
                  </a:lnTo>
                  <a:lnTo>
                    <a:pt x="24" y="226"/>
                  </a:lnTo>
                  <a:lnTo>
                    <a:pt x="22" y="232"/>
                  </a:lnTo>
                  <a:lnTo>
                    <a:pt x="18" y="246"/>
                  </a:lnTo>
                  <a:lnTo>
                    <a:pt x="16" y="258"/>
                  </a:lnTo>
                  <a:lnTo>
                    <a:pt x="16" y="262"/>
                  </a:lnTo>
                  <a:lnTo>
                    <a:pt x="14" y="266"/>
                  </a:lnTo>
                  <a:lnTo>
                    <a:pt x="14" y="270"/>
                  </a:lnTo>
                  <a:lnTo>
                    <a:pt x="4" y="280"/>
                  </a:lnTo>
                  <a:lnTo>
                    <a:pt x="0" y="290"/>
                  </a:lnTo>
                  <a:lnTo>
                    <a:pt x="0" y="294"/>
                  </a:lnTo>
                  <a:lnTo>
                    <a:pt x="0" y="296"/>
                  </a:lnTo>
                  <a:lnTo>
                    <a:pt x="0" y="300"/>
                  </a:lnTo>
                  <a:lnTo>
                    <a:pt x="0" y="308"/>
                  </a:lnTo>
                  <a:lnTo>
                    <a:pt x="0" y="314"/>
                  </a:lnTo>
                  <a:lnTo>
                    <a:pt x="2" y="320"/>
                  </a:lnTo>
                  <a:lnTo>
                    <a:pt x="8" y="336"/>
                  </a:lnTo>
                  <a:lnTo>
                    <a:pt x="12" y="348"/>
                  </a:lnTo>
                  <a:lnTo>
                    <a:pt x="14" y="356"/>
                  </a:lnTo>
                  <a:lnTo>
                    <a:pt x="16" y="362"/>
                  </a:lnTo>
                  <a:lnTo>
                    <a:pt x="18" y="364"/>
                  </a:lnTo>
                  <a:lnTo>
                    <a:pt x="18" y="366"/>
                  </a:lnTo>
                  <a:lnTo>
                    <a:pt x="28" y="368"/>
                  </a:lnTo>
                  <a:lnTo>
                    <a:pt x="30" y="368"/>
                  </a:lnTo>
                  <a:lnTo>
                    <a:pt x="32" y="380"/>
                  </a:lnTo>
                  <a:lnTo>
                    <a:pt x="32" y="384"/>
                  </a:lnTo>
                  <a:lnTo>
                    <a:pt x="30" y="386"/>
                  </a:lnTo>
                  <a:lnTo>
                    <a:pt x="30" y="392"/>
                  </a:lnTo>
                  <a:lnTo>
                    <a:pt x="28" y="396"/>
                  </a:lnTo>
                  <a:lnTo>
                    <a:pt x="28" y="398"/>
                  </a:lnTo>
                  <a:lnTo>
                    <a:pt x="22" y="398"/>
                  </a:lnTo>
                  <a:lnTo>
                    <a:pt x="18" y="400"/>
                  </a:lnTo>
                  <a:lnTo>
                    <a:pt x="14" y="400"/>
                  </a:lnTo>
                  <a:lnTo>
                    <a:pt x="10" y="400"/>
                  </a:lnTo>
                  <a:lnTo>
                    <a:pt x="8" y="402"/>
                  </a:lnTo>
                  <a:lnTo>
                    <a:pt x="10" y="402"/>
                  </a:lnTo>
                  <a:lnTo>
                    <a:pt x="18" y="406"/>
                  </a:lnTo>
                  <a:lnTo>
                    <a:pt x="34" y="408"/>
                  </a:lnTo>
                  <a:lnTo>
                    <a:pt x="54" y="412"/>
                  </a:lnTo>
                  <a:lnTo>
                    <a:pt x="64" y="416"/>
                  </a:lnTo>
                  <a:lnTo>
                    <a:pt x="74" y="424"/>
                  </a:lnTo>
                  <a:lnTo>
                    <a:pt x="80" y="424"/>
                  </a:lnTo>
                  <a:lnTo>
                    <a:pt x="96" y="416"/>
                  </a:lnTo>
                  <a:lnTo>
                    <a:pt x="104" y="410"/>
                  </a:lnTo>
                  <a:lnTo>
                    <a:pt x="114" y="406"/>
                  </a:lnTo>
                  <a:lnTo>
                    <a:pt x="142" y="396"/>
                  </a:lnTo>
                  <a:lnTo>
                    <a:pt x="160" y="394"/>
                  </a:lnTo>
                  <a:lnTo>
                    <a:pt x="168" y="388"/>
                  </a:lnTo>
                  <a:lnTo>
                    <a:pt x="180" y="382"/>
                  </a:lnTo>
                  <a:lnTo>
                    <a:pt x="190" y="376"/>
                  </a:lnTo>
                  <a:lnTo>
                    <a:pt x="204" y="370"/>
                  </a:lnTo>
                  <a:lnTo>
                    <a:pt x="230" y="358"/>
                  </a:lnTo>
                  <a:lnTo>
                    <a:pt x="256" y="358"/>
                  </a:lnTo>
                  <a:lnTo>
                    <a:pt x="262" y="358"/>
                  </a:lnTo>
                  <a:lnTo>
                    <a:pt x="274" y="354"/>
                  </a:lnTo>
                  <a:lnTo>
                    <a:pt x="278" y="348"/>
                  </a:lnTo>
                  <a:lnTo>
                    <a:pt x="280" y="342"/>
                  </a:lnTo>
                  <a:lnTo>
                    <a:pt x="284" y="340"/>
                  </a:lnTo>
                  <a:lnTo>
                    <a:pt x="290" y="336"/>
                  </a:lnTo>
                  <a:lnTo>
                    <a:pt x="290" y="332"/>
                  </a:lnTo>
                  <a:lnTo>
                    <a:pt x="286" y="332"/>
                  </a:lnTo>
                  <a:lnTo>
                    <a:pt x="284" y="330"/>
                  </a:lnTo>
                  <a:lnTo>
                    <a:pt x="280" y="330"/>
                  </a:lnTo>
                  <a:lnTo>
                    <a:pt x="278" y="324"/>
                  </a:lnTo>
                  <a:lnTo>
                    <a:pt x="276" y="322"/>
                  </a:lnTo>
                  <a:lnTo>
                    <a:pt x="272" y="320"/>
                  </a:lnTo>
                  <a:lnTo>
                    <a:pt x="266" y="318"/>
                  </a:lnTo>
                  <a:lnTo>
                    <a:pt x="260" y="312"/>
                  </a:lnTo>
                  <a:lnTo>
                    <a:pt x="258" y="308"/>
                  </a:lnTo>
                  <a:lnTo>
                    <a:pt x="260" y="306"/>
                  </a:lnTo>
                  <a:lnTo>
                    <a:pt x="258" y="304"/>
                  </a:lnTo>
                  <a:lnTo>
                    <a:pt x="256" y="304"/>
                  </a:lnTo>
                  <a:lnTo>
                    <a:pt x="252" y="294"/>
                  </a:lnTo>
                  <a:lnTo>
                    <a:pt x="248" y="290"/>
                  </a:lnTo>
                  <a:lnTo>
                    <a:pt x="246" y="286"/>
                  </a:lnTo>
                  <a:lnTo>
                    <a:pt x="246" y="284"/>
                  </a:lnTo>
                  <a:lnTo>
                    <a:pt x="246" y="280"/>
                  </a:lnTo>
                  <a:lnTo>
                    <a:pt x="248" y="278"/>
                  </a:lnTo>
                  <a:lnTo>
                    <a:pt x="250" y="276"/>
                  </a:lnTo>
                  <a:lnTo>
                    <a:pt x="252" y="274"/>
                  </a:lnTo>
                  <a:lnTo>
                    <a:pt x="252" y="270"/>
                  </a:lnTo>
                  <a:lnTo>
                    <a:pt x="252" y="262"/>
                  </a:lnTo>
                  <a:lnTo>
                    <a:pt x="254" y="254"/>
                  </a:lnTo>
                  <a:lnTo>
                    <a:pt x="250" y="250"/>
                  </a:lnTo>
                  <a:lnTo>
                    <a:pt x="248" y="250"/>
                  </a:lnTo>
                  <a:lnTo>
                    <a:pt x="246" y="248"/>
                  </a:lnTo>
                  <a:lnTo>
                    <a:pt x="244" y="244"/>
                  </a:lnTo>
                  <a:lnTo>
                    <a:pt x="244" y="240"/>
                  </a:lnTo>
                  <a:lnTo>
                    <a:pt x="252" y="228"/>
                  </a:lnTo>
                  <a:lnTo>
                    <a:pt x="250" y="200"/>
                  </a:lnTo>
                  <a:lnTo>
                    <a:pt x="252" y="196"/>
                  </a:lnTo>
                  <a:lnTo>
                    <a:pt x="254" y="194"/>
                  </a:lnTo>
                  <a:lnTo>
                    <a:pt x="258" y="190"/>
                  </a:lnTo>
                  <a:lnTo>
                    <a:pt x="256" y="186"/>
                  </a:lnTo>
                  <a:lnTo>
                    <a:pt x="252" y="178"/>
                  </a:lnTo>
                  <a:lnTo>
                    <a:pt x="244" y="172"/>
                  </a:lnTo>
                  <a:lnTo>
                    <a:pt x="240" y="168"/>
                  </a:lnTo>
                  <a:lnTo>
                    <a:pt x="236" y="162"/>
                  </a:lnTo>
                  <a:lnTo>
                    <a:pt x="236" y="160"/>
                  </a:lnTo>
                  <a:lnTo>
                    <a:pt x="242" y="156"/>
                  </a:lnTo>
                  <a:lnTo>
                    <a:pt x="244" y="154"/>
                  </a:lnTo>
                  <a:lnTo>
                    <a:pt x="244" y="150"/>
                  </a:lnTo>
                  <a:lnTo>
                    <a:pt x="242" y="146"/>
                  </a:lnTo>
                  <a:lnTo>
                    <a:pt x="242" y="136"/>
                  </a:lnTo>
                  <a:lnTo>
                    <a:pt x="244" y="130"/>
                  </a:lnTo>
                  <a:lnTo>
                    <a:pt x="246" y="120"/>
                  </a:lnTo>
                  <a:lnTo>
                    <a:pt x="246" y="118"/>
                  </a:lnTo>
                  <a:lnTo>
                    <a:pt x="242" y="112"/>
                  </a:lnTo>
                  <a:lnTo>
                    <a:pt x="238" y="112"/>
                  </a:lnTo>
                  <a:lnTo>
                    <a:pt x="236" y="112"/>
                  </a:lnTo>
                  <a:lnTo>
                    <a:pt x="230" y="116"/>
                  </a:lnTo>
                  <a:lnTo>
                    <a:pt x="230" y="116"/>
                  </a:lnTo>
                  <a:lnTo>
                    <a:pt x="228" y="114"/>
                  </a:lnTo>
                  <a:lnTo>
                    <a:pt x="228" y="114"/>
                  </a:lnTo>
                  <a:lnTo>
                    <a:pt x="230" y="112"/>
                  </a:lnTo>
                  <a:lnTo>
                    <a:pt x="228" y="108"/>
                  </a:lnTo>
                  <a:lnTo>
                    <a:pt x="230" y="106"/>
                  </a:lnTo>
                  <a:lnTo>
                    <a:pt x="234" y="106"/>
                  </a:lnTo>
                  <a:lnTo>
                    <a:pt x="234" y="104"/>
                  </a:lnTo>
                  <a:lnTo>
                    <a:pt x="230" y="102"/>
                  </a:lnTo>
                  <a:lnTo>
                    <a:pt x="230" y="102"/>
                  </a:lnTo>
                  <a:lnTo>
                    <a:pt x="230" y="100"/>
                  </a:lnTo>
                  <a:lnTo>
                    <a:pt x="230" y="100"/>
                  </a:lnTo>
                  <a:lnTo>
                    <a:pt x="232" y="100"/>
                  </a:lnTo>
                  <a:lnTo>
                    <a:pt x="234" y="98"/>
                  </a:lnTo>
                  <a:lnTo>
                    <a:pt x="234" y="90"/>
                  </a:lnTo>
                  <a:lnTo>
                    <a:pt x="234" y="88"/>
                  </a:lnTo>
                  <a:lnTo>
                    <a:pt x="236" y="82"/>
                  </a:lnTo>
                  <a:lnTo>
                    <a:pt x="236" y="62"/>
                  </a:lnTo>
                  <a:lnTo>
                    <a:pt x="236" y="60"/>
                  </a:lnTo>
                  <a:lnTo>
                    <a:pt x="238" y="58"/>
                  </a:lnTo>
                  <a:lnTo>
                    <a:pt x="234" y="58"/>
                  </a:lnTo>
                  <a:lnTo>
                    <a:pt x="226" y="52"/>
                  </a:lnTo>
                  <a:lnTo>
                    <a:pt x="222" y="48"/>
                  </a:lnTo>
                  <a:lnTo>
                    <a:pt x="218" y="42"/>
                  </a:lnTo>
                  <a:lnTo>
                    <a:pt x="214" y="40"/>
                  </a:lnTo>
                  <a:lnTo>
                    <a:pt x="208" y="36"/>
                  </a:lnTo>
                  <a:lnTo>
                    <a:pt x="206" y="32"/>
                  </a:lnTo>
                  <a:lnTo>
                    <a:pt x="206" y="30"/>
                  </a:lnTo>
                  <a:lnTo>
                    <a:pt x="208" y="24"/>
                  </a:lnTo>
                  <a:lnTo>
                    <a:pt x="212" y="18"/>
                  </a:lnTo>
                  <a:lnTo>
                    <a:pt x="212" y="10"/>
                  </a:lnTo>
                  <a:lnTo>
                    <a:pt x="212" y="8"/>
                  </a:lnTo>
                  <a:lnTo>
                    <a:pt x="208" y="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9" name="Freeform 4824">
              <a:extLst>
                <a:ext uri="{FF2B5EF4-FFF2-40B4-BE49-F238E27FC236}">
                  <a16:creationId xmlns:a16="http://schemas.microsoft.com/office/drawing/2014/main" id="{3A15E0A5-71E0-4B4A-9474-52CDA50B525C}"/>
                </a:ext>
              </a:extLst>
            </p:cNvPr>
            <p:cNvSpPr/>
            <p:nvPr/>
          </p:nvSpPr>
          <p:spPr bwMode="auto">
            <a:xfrm>
              <a:off x="4918411" y="5086414"/>
              <a:ext cx="185781" cy="140300"/>
            </a:xfrm>
            <a:custGeom>
              <a:avLst/>
              <a:gdLst>
                <a:gd name="T0" fmla="*/ 196 w 482"/>
                <a:gd name="T1" fmla="*/ 20 h 364"/>
                <a:gd name="T2" fmla="*/ 158 w 482"/>
                <a:gd name="T3" fmla="*/ 20 h 364"/>
                <a:gd name="T4" fmla="*/ 134 w 482"/>
                <a:gd name="T5" fmla="*/ 14 h 364"/>
                <a:gd name="T6" fmla="*/ 128 w 482"/>
                <a:gd name="T7" fmla="*/ 4 h 364"/>
                <a:gd name="T8" fmla="*/ 86 w 482"/>
                <a:gd name="T9" fmla="*/ 6 h 364"/>
                <a:gd name="T10" fmla="*/ 78 w 482"/>
                <a:gd name="T11" fmla="*/ 28 h 364"/>
                <a:gd name="T12" fmla="*/ 86 w 482"/>
                <a:gd name="T13" fmla="*/ 46 h 364"/>
                <a:gd name="T14" fmla="*/ 50 w 482"/>
                <a:gd name="T15" fmla="*/ 68 h 364"/>
                <a:gd name="T16" fmla="*/ 18 w 482"/>
                <a:gd name="T17" fmla="*/ 86 h 364"/>
                <a:gd name="T18" fmla="*/ 4 w 482"/>
                <a:gd name="T19" fmla="*/ 126 h 364"/>
                <a:gd name="T20" fmla="*/ 22 w 482"/>
                <a:gd name="T21" fmla="*/ 130 h 364"/>
                <a:gd name="T22" fmla="*/ 40 w 482"/>
                <a:gd name="T23" fmla="*/ 162 h 364"/>
                <a:gd name="T24" fmla="*/ 72 w 482"/>
                <a:gd name="T25" fmla="*/ 182 h 364"/>
                <a:gd name="T26" fmla="*/ 90 w 482"/>
                <a:gd name="T27" fmla="*/ 194 h 364"/>
                <a:gd name="T28" fmla="*/ 108 w 482"/>
                <a:gd name="T29" fmla="*/ 226 h 364"/>
                <a:gd name="T30" fmla="*/ 122 w 482"/>
                <a:gd name="T31" fmla="*/ 242 h 364"/>
                <a:gd name="T32" fmla="*/ 146 w 482"/>
                <a:gd name="T33" fmla="*/ 226 h 364"/>
                <a:gd name="T34" fmla="*/ 160 w 482"/>
                <a:gd name="T35" fmla="*/ 202 h 364"/>
                <a:gd name="T36" fmla="*/ 190 w 482"/>
                <a:gd name="T37" fmla="*/ 188 h 364"/>
                <a:gd name="T38" fmla="*/ 252 w 482"/>
                <a:gd name="T39" fmla="*/ 180 h 364"/>
                <a:gd name="T40" fmla="*/ 280 w 482"/>
                <a:gd name="T41" fmla="*/ 220 h 364"/>
                <a:gd name="T42" fmla="*/ 282 w 482"/>
                <a:gd name="T43" fmla="*/ 240 h 364"/>
                <a:gd name="T44" fmla="*/ 298 w 482"/>
                <a:gd name="T45" fmla="*/ 266 h 364"/>
                <a:gd name="T46" fmla="*/ 286 w 482"/>
                <a:gd name="T47" fmla="*/ 292 h 364"/>
                <a:gd name="T48" fmla="*/ 306 w 482"/>
                <a:gd name="T49" fmla="*/ 280 h 364"/>
                <a:gd name="T50" fmla="*/ 326 w 482"/>
                <a:gd name="T51" fmla="*/ 284 h 364"/>
                <a:gd name="T52" fmla="*/ 350 w 482"/>
                <a:gd name="T53" fmla="*/ 280 h 364"/>
                <a:gd name="T54" fmla="*/ 362 w 482"/>
                <a:gd name="T55" fmla="*/ 290 h 364"/>
                <a:gd name="T56" fmla="*/ 366 w 482"/>
                <a:gd name="T57" fmla="*/ 310 h 364"/>
                <a:gd name="T58" fmla="*/ 372 w 482"/>
                <a:gd name="T59" fmla="*/ 336 h 364"/>
                <a:gd name="T60" fmla="*/ 370 w 482"/>
                <a:gd name="T61" fmla="*/ 352 h 364"/>
                <a:gd name="T62" fmla="*/ 388 w 482"/>
                <a:gd name="T63" fmla="*/ 364 h 364"/>
                <a:gd name="T64" fmla="*/ 406 w 482"/>
                <a:gd name="T65" fmla="*/ 358 h 364"/>
                <a:gd name="T66" fmla="*/ 416 w 482"/>
                <a:gd name="T67" fmla="*/ 334 h 364"/>
                <a:gd name="T68" fmla="*/ 430 w 482"/>
                <a:gd name="T69" fmla="*/ 342 h 364"/>
                <a:gd name="T70" fmla="*/ 454 w 482"/>
                <a:gd name="T71" fmla="*/ 324 h 364"/>
                <a:gd name="T72" fmla="*/ 458 w 482"/>
                <a:gd name="T73" fmla="*/ 302 h 364"/>
                <a:gd name="T74" fmla="*/ 446 w 482"/>
                <a:gd name="T75" fmla="*/ 282 h 364"/>
                <a:gd name="T76" fmla="*/ 474 w 482"/>
                <a:gd name="T77" fmla="*/ 282 h 364"/>
                <a:gd name="T78" fmla="*/ 480 w 482"/>
                <a:gd name="T79" fmla="*/ 270 h 364"/>
                <a:gd name="T80" fmla="*/ 476 w 482"/>
                <a:gd name="T81" fmla="*/ 240 h 364"/>
                <a:gd name="T82" fmla="*/ 464 w 482"/>
                <a:gd name="T83" fmla="*/ 220 h 364"/>
                <a:gd name="T84" fmla="*/ 452 w 482"/>
                <a:gd name="T85" fmla="*/ 182 h 364"/>
                <a:gd name="T86" fmla="*/ 462 w 482"/>
                <a:gd name="T87" fmla="*/ 162 h 364"/>
                <a:gd name="T88" fmla="*/ 440 w 482"/>
                <a:gd name="T89" fmla="*/ 124 h 364"/>
                <a:gd name="T90" fmla="*/ 424 w 482"/>
                <a:gd name="T91" fmla="*/ 114 h 364"/>
                <a:gd name="T92" fmla="*/ 428 w 482"/>
                <a:gd name="T93" fmla="*/ 98 h 364"/>
                <a:gd name="T94" fmla="*/ 430 w 482"/>
                <a:gd name="T95" fmla="*/ 86 h 364"/>
                <a:gd name="T96" fmla="*/ 410 w 482"/>
                <a:gd name="T97" fmla="*/ 70 h 364"/>
                <a:gd name="T98" fmla="*/ 394 w 482"/>
                <a:gd name="T99" fmla="*/ 20 h 364"/>
                <a:gd name="T100" fmla="*/ 370 w 482"/>
                <a:gd name="T101" fmla="*/ 16 h 364"/>
                <a:gd name="T102" fmla="*/ 364 w 482"/>
                <a:gd name="T103" fmla="*/ 30 h 364"/>
                <a:gd name="T104" fmla="*/ 330 w 482"/>
                <a:gd name="T105" fmla="*/ 38 h 364"/>
                <a:gd name="T106" fmla="*/ 292 w 482"/>
                <a:gd name="T107" fmla="*/ 46 h 364"/>
                <a:gd name="T108" fmla="*/ 282 w 482"/>
                <a:gd name="T109" fmla="*/ 50 h 364"/>
                <a:gd name="T110" fmla="*/ 256 w 482"/>
                <a:gd name="T111" fmla="*/ 40 h 364"/>
                <a:gd name="T112" fmla="*/ 232 w 482"/>
                <a:gd name="T113" fmla="*/ 32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82" h="364">
                  <a:moveTo>
                    <a:pt x="240" y="18"/>
                  </a:moveTo>
                  <a:lnTo>
                    <a:pt x="236" y="18"/>
                  </a:lnTo>
                  <a:lnTo>
                    <a:pt x="228" y="18"/>
                  </a:lnTo>
                  <a:lnTo>
                    <a:pt x="212" y="20"/>
                  </a:lnTo>
                  <a:lnTo>
                    <a:pt x="206" y="20"/>
                  </a:lnTo>
                  <a:lnTo>
                    <a:pt x="196" y="20"/>
                  </a:lnTo>
                  <a:lnTo>
                    <a:pt x="190" y="20"/>
                  </a:lnTo>
                  <a:lnTo>
                    <a:pt x="180" y="24"/>
                  </a:lnTo>
                  <a:lnTo>
                    <a:pt x="174" y="24"/>
                  </a:lnTo>
                  <a:lnTo>
                    <a:pt x="170" y="20"/>
                  </a:lnTo>
                  <a:lnTo>
                    <a:pt x="164" y="20"/>
                  </a:lnTo>
                  <a:lnTo>
                    <a:pt x="158" y="20"/>
                  </a:lnTo>
                  <a:lnTo>
                    <a:pt x="152" y="16"/>
                  </a:lnTo>
                  <a:lnTo>
                    <a:pt x="148" y="16"/>
                  </a:lnTo>
                  <a:lnTo>
                    <a:pt x="142" y="12"/>
                  </a:lnTo>
                  <a:lnTo>
                    <a:pt x="138" y="10"/>
                  </a:lnTo>
                  <a:lnTo>
                    <a:pt x="136" y="12"/>
                  </a:lnTo>
                  <a:lnTo>
                    <a:pt x="134" y="14"/>
                  </a:lnTo>
                  <a:lnTo>
                    <a:pt x="134" y="14"/>
                  </a:lnTo>
                  <a:lnTo>
                    <a:pt x="130" y="14"/>
                  </a:lnTo>
                  <a:lnTo>
                    <a:pt x="128" y="10"/>
                  </a:lnTo>
                  <a:lnTo>
                    <a:pt x="130" y="6"/>
                  </a:lnTo>
                  <a:lnTo>
                    <a:pt x="130" y="4"/>
                  </a:lnTo>
                  <a:lnTo>
                    <a:pt x="128" y="4"/>
                  </a:lnTo>
                  <a:lnTo>
                    <a:pt x="124" y="4"/>
                  </a:lnTo>
                  <a:lnTo>
                    <a:pt x="118" y="4"/>
                  </a:lnTo>
                  <a:lnTo>
                    <a:pt x="110" y="2"/>
                  </a:lnTo>
                  <a:lnTo>
                    <a:pt x="108" y="2"/>
                  </a:lnTo>
                  <a:lnTo>
                    <a:pt x="86" y="0"/>
                  </a:lnTo>
                  <a:lnTo>
                    <a:pt x="86" y="6"/>
                  </a:lnTo>
                  <a:lnTo>
                    <a:pt x="90" y="14"/>
                  </a:lnTo>
                  <a:lnTo>
                    <a:pt x="90" y="20"/>
                  </a:lnTo>
                  <a:lnTo>
                    <a:pt x="88" y="26"/>
                  </a:lnTo>
                  <a:lnTo>
                    <a:pt x="86" y="28"/>
                  </a:lnTo>
                  <a:lnTo>
                    <a:pt x="84" y="28"/>
                  </a:lnTo>
                  <a:lnTo>
                    <a:pt x="78" y="28"/>
                  </a:lnTo>
                  <a:lnTo>
                    <a:pt x="72" y="32"/>
                  </a:lnTo>
                  <a:lnTo>
                    <a:pt x="72" y="34"/>
                  </a:lnTo>
                  <a:lnTo>
                    <a:pt x="74" y="36"/>
                  </a:lnTo>
                  <a:lnTo>
                    <a:pt x="78" y="40"/>
                  </a:lnTo>
                  <a:lnTo>
                    <a:pt x="80" y="42"/>
                  </a:lnTo>
                  <a:lnTo>
                    <a:pt x="86" y="46"/>
                  </a:lnTo>
                  <a:lnTo>
                    <a:pt x="86" y="48"/>
                  </a:lnTo>
                  <a:lnTo>
                    <a:pt x="86" y="58"/>
                  </a:lnTo>
                  <a:lnTo>
                    <a:pt x="86" y="64"/>
                  </a:lnTo>
                  <a:lnTo>
                    <a:pt x="72" y="68"/>
                  </a:lnTo>
                  <a:lnTo>
                    <a:pt x="60" y="70"/>
                  </a:lnTo>
                  <a:lnTo>
                    <a:pt x="50" y="68"/>
                  </a:lnTo>
                  <a:lnTo>
                    <a:pt x="46" y="70"/>
                  </a:lnTo>
                  <a:lnTo>
                    <a:pt x="38" y="76"/>
                  </a:lnTo>
                  <a:lnTo>
                    <a:pt x="28" y="78"/>
                  </a:lnTo>
                  <a:lnTo>
                    <a:pt x="24" y="78"/>
                  </a:lnTo>
                  <a:lnTo>
                    <a:pt x="22" y="80"/>
                  </a:lnTo>
                  <a:lnTo>
                    <a:pt x="18" y="86"/>
                  </a:lnTo>
                  <a:lnTo>
                    <a:pt x="6" y="108"/>
                  </a:lnTo>
                  <a:lnTo>
                    <a:pt x="2" y="114"/>
                  </a:lnTo>
                  <a:lnTo>
                    <a:pt x="0" y="116"/>
                  </a:lnTo>
                  <a:lnTo>
                    <a:pt x="0" y="124"/>
                  </a:lnTo>
                  <a:lnTo>
                    <a:pt x="2" y="126"/>
                  </a:lnTo>
                  <a:lnTo>
                    <a:pt x="4" y="126"/>
                  </a:lnTo>
                  <a:lnTo>
                    <a:pt x="8" y="116"/>
                  </a:lnTo>
                  <a:lnTo>
                    <a:pt x="10" y="114"/>
                  </a:lnTo>
                  <a:lnTo>
                    <a:pt x="14" y="116"/>
                  </a:lnTo>
                  <a:lnTo>
                    <a:pt x="18" y="118"/>
                  </a:lnTo>
                  <a:lnTo>
                    <a:pt x="18" y="122"/>
                  </a:lnTo>
                  <a:lnTo>
                    <a:pt x="22" y="130"/>
                  </a:lnTo>
                  <a:lnTo>
                    <a:pt x="24" y="134"/>
                  </a:lnTo>
                  <a:lnTo>
                    <a:pt x="30" y="128"/>
                  </a:lnTo>
                  <a:lnTo>
                    <a:pt x="30" y="130"/>
                  </a:lnTo>
                  <a:lnTo>
                    <a:pt x="28" y="138"/>
                  </a:lnTo>
                  <a:lnTo>
                    <a:pt x="28" y="142"/>
                  </a:lnTo>
                  <a:lnTo>
                    <a:pt x="40" y="162"/>
                  </a:lnTo>
                  <a:lnTo>
                    <a:pt x="58" y="170"/>
                  </a:lnTo>
                  <a:lnTo>
                    <a:pt x="62" y="172"/>
                  </a:lnTo>
                  <a:lnTo>
                    <a:pt x="66" y="170"/>
                  </a:lnTo>
                  <a:lnTo>
                    <a:pt x="66" y="172"/>
                  </a:lnTo>
                  <a:lnTo>
                    <a:pt x="66" y="176"/>
                  </a:lnTo>
                  <a:lnTo>
                    <a:pt x="72" y="182"/>
                  </a:lnTo>
                  <a:lnTo>
                    <a:pt x="80" y="188"/>
                  </a:lnTo>
                  <a:lnTo>
                    <a:pt x="84" y="188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90"/>
                  </a:lnTo>
                  <a:lnTo>
                    <a:pt x="90" y="194"/>
                  </a:lnTo>
                  <a:lnTo>
                    <a:pt x="90" y="204"/>
                  </a:lnTo>
                  <a:lnTo>
                    <a:pt x="88" y="210"/>
                  </a:lnTo>
                  <a:lnTo>
                    <a:pt x="96" y="210"/>
                  </a:lnTo>
                  <a:lnTo>
                    <a:pt x="106" y="218"/>
                  </a:lnTo>
                  <a:lnTo>
                    <a:pt x="108" y="222"/>
                  </a:lnTo>
                  <a:lnTo>
                    <a:pt x="108" y="226"/>
                  </a:lnTo>
                  <a:lnTo>
                    <a:pt x="114" y="232"/>
                  </a:lnTo>
                  <a:lnTo>
                    <a:pt x="116" y="234"/>
                  </a:lnTo>
                  <a:lnTo>
                    <a:pt x="114" y="240"/>
                  </a:lnTo>
                  <a:lnTo>
                    <a:pt x="114" y="242"/>
                  </a:lnTo>
                  <a:lnTo>
                    <a:pt x="118" y="242"/>
                  </a:lnTo>
                  <a:lnTo>
                    <a:pt x="122" y="242"/>
                  </a:lnTo>
                  <a:lnTo>
                    <a:pt x="126" y="242"/>
                  </a:lnTo>
                  <a:lnTo>
                    <a:pt x="128" y="242"/>
                  </a:lnTo>
                  <a:lnTo>
                    <a:pt x="132" y="240"/>
                  </a:lnTo>
                  <a:lnTo>
                    <a:pt x="134" y="236"/>
                  </a:lnTo>
                  <a:lnTo>
                    <a:pt x="136" y="228"/>
                  </a:lnTo>
                  <a:lnTo>
                    <a:pt x="146" y="226"/>
                  </a:lnTo>
                  <a:lnTo>
                    <a:pt x="150" y="222"/>
                  </a:lnTo>
                  <a:lnTo>
                    <a:pt x="154" y="214"/>
                  </a:lnTo>
                  <a:lnTo>
                    <a:pt x="156" y="208"/>
                  </a:lnTo>
                  <a:lnTo>
                    <a:pt x="158" y="206"/>
                  </a:lnTo>
                  <a:lnTo>
                    <a:pt x="160" y="204"/>
                  </a:lnTo>
                  <a:lnTo>
                    <a:pt x="160" y="202"/>
                  </a:lnTo>
                  <a:lnTo>
                    <a:pt x="162" y="200"/>
                  </a:lnTo>
                  <a:lnTo>
                    <a:pt x="166" y="194"/>
                  </a:lnTo>
                  <a:lnTo>
                    <a:pt x="166" y="188"/>
                  </a:lnTo>
                  <a:lnTo>
                    <a:pt x="172" y="186"/>
                  </a:lnTo>
                  <a:lnTo>
                    <a:pt x="182" y="184"/>
                  </a:lnTo>
                  <a:lnTo>
                    <a:pt x="190" y="188"/>
                  </a:lnTo>
                  <a:lnTo>
                    <a:pt x="204" y="184"/>
                  </a:lnTo>
                  <a:lnTo>
                    <a:pt x="206" y="180"/>
                  </a:lnTo>
                  <a:lnTo>
                    <a:pt x="218" y="180"/>
                  </a:lnTo>
                  <a:lnTo>
                    <a:pt x="234" y="180"/>
                  </a:lnTo>
                  <a:lnTo>
                    <a:pt x="248" y="180"/>
                  </a:lnTo>
                  <a:lnTo>
                    <a:pt x="252" y="180"/>
                  </a:lnTo>
                  <a:lnTo>
                    <a:pt x="254" y="184"/>
                  </a:lnTo>
                  <a:lnTo>
                    <a:pt x="258" y="190"/>
                  </a:lnTo>
                  <a:lnTo>
                    <a:pt x="262" y="194"/>
                  </a:lnTo>
                  <a:lnTo>
                    <a:pt x="268" y="202"/>
                  </a:lnTo>
                  <a:lnTo>
                    <a:pt x="274" y="212"/>
                  </a:lnTo>
                  <a:lnTo>
                    <a:pt x="280" y="220"/>
                  </a:lnTo>
                  <a:lnTo>
                    <a:pt x="286" y="226"/>
                  </a:lnTo>
                  <a:lnTo>
                    <a:pt x="286" y="226"/>
                  </a:lnTo>
                  <a:lnTo>
                    <a:pt x="286" y="228"/>
                  </a:lnTo>
                  <a:lnTo>
                    <a:pt x="284" y="234"/>
                  </a:lnTo>
                  <a:lnTo>
                    <a:pt x="282" y="238"/>
                  </a:lnTo>
                  <a:lnTo>
                    <a:pt x="282" y="240"/>
                  </a:lnTo>
                  <a:lnTo>
                    <a:pt x="282" y="240"/>
                  </a:lnTo>
                  <a:lnTo>
                    <a:pt x="290" y="242"/>
                  </a:lnTo>
                  <a:lnTo>
                    <a:pt x="290" y="248"/>
                  </a:lnTo>
                  <a:lnTo>
                    <a:pt x="290" y="254"/>
                  </a:lnTo>
                  <a:lnTo>
                    <a:pt x="294" y="262"/>
                  </a:lnTo>
                  <a:lnTo>
                    <a:pt x="298" y="266"/>
                  </a:lnTo>
                  <a:lnTo>
                    <a:pt x="298" y="268"/>
                  </a:lnTo>
                  <a:lnTo>
                    <a:pt x="290" y="278"/>
                  </a:lnTo>
                  <a:lnTo>
                    <a:pt x="286" y="286"/>
                  </a:lnTo>
                  <a:lnTo>
                    <a:pt x="284" y="288"/>
                  </a:lnTo>
                  <a:lnTo>
                    <a:pt x="284" y="290"/>
                  </a:lnTo>
                  <a:lnTo>
                    <a:pt x="286" y="292"/>
                  </a:lnTo>
                  <a:lnTo>
                    <a:pt x="288" y="290"/>
                  </a:lnTo>
                  <a:lnTo>
                    <a:pt x="290" y="292"/>
                  </a:lnTo>
                  <a:lnTo>
                    <a:pt x="294" y="292"/>
                  </a:lnTo>
                  <a:lnTo>
                    <a:pt x="298" y="288"/>
                  </a:lnTo>
                  <a:lnTo>
                    <a:pt x="304" y="280"/>
                  </a:lnTo>
                  <a:lnTo>
                    <a:pt x="306" y="280"/>
                  </a:lnTo>
                  <a:lnTo>
                    <a:pt x="312" y="280"/>
                  </a:lnTo>
                  <a:lnTo>
                    <a:pt x="316" y="280"/>
                  </a:lnTo>
                  <a:lnTo>
                    <a:pt x="320" y="278"/>
                  </a:lnTo>
                  <a:lnTo>
                    <a:pt x="324" y="278"/>
                  </a:lnTo>
                  <a:lnTo>
                    <a:pt x="326" y="282"/>
                  </a:lnTo>
                  <a:lnTo>
                    <a:pt x="326" y="284"/>
                  </a:lnTo>
                  <a:lnTo>
                    <a:pt x="344" y="278"/>
                  </a:lnTo>
                  <a:lnTo>
                    <a:pt x="344" y="276"/>
                  </a:lnTo>
                  <a:lnTo>
                    <a:pt x="346" y="276"/>
                  </a:lnTo>
                  <a:lnTo>
                    <a:pt x="348" y="282"/>
                  </a:lnTo>
                  <a:lnTo>
                    <a:pt x="348" y="282"/>
                  </a:lnTo>
                  <a:lnTo>
                    <a:pt x="350" y="280"/>
                  </a:lnTo>
                  <a:lnTo>
                    <a:pt x="352" y="280"/>
                  </a:lnTo>
                  <a:lnTo>
                    <a:pt x="352" y="282"/>
                  </a:lnTo>
                  <a:lnTo>
                    <a:pt x="354" y="284"/>
                  </a:lnTo>
                  <a:lnTo>
                    <a:pt x="356" y="286"/>
                  </a:lnTo>
                  <a:lnTo>
                    <a:pt x="360" y="288"/>
                  </a:lnTo>
                  <a:lnTo>
                    <a:pt x="362" y="290"/>
                  </a:lnTo>
                  <a:lnTo>
                    <a:pt x="362" y="296"/>
                  </a:lnTo>
                  <a:lnTo>
                    <a:pt x="362" y="300"/>
                  </a:lnTo>
                  <a:lnTo>
                    <a:pt x="364" y="302"/>
                  </a:lnTo>
                  <a:lnTo>
                    <a:pt x="366" y="306"/>
                  </a:lnTo>
                  <a:lnTo>
                    <a:pt x="366" y="308"/>
                  </a:lnTo>
                  <a:lnTo>
                    <a:pt x="366" y="310"/>
                  </a:lnTo>
                  <a:lnTo>
                    <a:pt x="368" y="314"/>
                  </a:lnTo>
                  <a:lnTo>
                    <a:pt x="366" y="318"/>
                  </a:lnTo>
                  <a:lnTo>
                    <a:pt x="368" y="322"/>
                  </a:lnTo>
                  <a:lnTo>
                    <a:pt x="370" y="326"/>
                  </a:lnTo>
                  <a:lnTo>
                    <a:pt x="372" y="332"/>
                  </a:lnTo>
                  <a:lnTo>
                    <a:pt x="372" y="336"/>
                  </a:lnTo>
                  <a:lnTo>
                    <a:pt x="370" y="340"/>
                  </a:lnTo>
                  <a:lnTo>
                    <a:pt x="370" y="344"/>
                  </a:lnTo>
                  <a:lnTo>
                    <a:pt x="366" y="350"/>
                  </a:lnTo>
                  <a:lnTo>
                    <a:pt x="366" y="350"/>
                  </a:lnTo>
                  <a:lnTo>
                    <a:pt x="368" y="352"/>
                  </a:lnTo>
                  <a:lnTo>
                    <a:pt x="370" y="352"/>
                  </a:lnTo>
                  <a:lnTo>
                    <a:pt x="372" y="352"/>
                  </a:lnTo>
                  <a:lnTo>
                    <a:pt x="378" y="354"/>
                  </a:lnTo>
                  <a:lnTo>
                    <a:pt x="382" y="356"/>
                  </a:lnTo>
                  <a:lnTo>
                    <a:pt x="384" y="360"/>
                  </a:lnTo>
                  <a:lnTo>
                    <a:pt x="388" y="362"/>
                  </a:lnTo>
                  <a:lnTo>
                    <a:pt x="388" y="364"/>
                  </a:lnTo>
                  <a:lnTo>
                    <a:pt x="392" y="364"/>
                  </a:lnTo>
                  <a:lnTo>
                    <a:pt x="398" y="362"/>
                  </a:lnTo>
                  <a:lnTo>
                    <a:pt x="398" y="360"/>
                  </a:lnTo>
                  <a:lnTo>
                    <a:pt x="400" y="360"/>
                  </a:lnTo>
                  <a:lnTo>
                    <a:pt x="404" y="360"/>
                  </a:lnTo>
                  <a:lnTo>
                    <a:pt x="406" y="358"/>
                  </a:lnTo>
                  <a:lnTo>
                    <a:pt x="408" y="352"/>
                  </a:lnTo>
                  <a:lnTo>
                    <a:pt x="412" y="348"/>
                  </a:lnTo>
                  <a:lnTo>
                    <a:pt x="414" y="346"/>
                  </a:lnTo>
                  <a:lnTo>
                    <a:pt x="414" y="342"/>
                  </a:lnTo>
                  <a:lnTo>
                    <a:pt x="414" y="338"/>
                  </a:lnTo>
                  <a:lnTo>
                    <a:pt x="416" y="334"/>
                  </a:lnTo>
                  <a:lnTo>
                    <a:pt x="418" y="332"/>
                  </a:lnTo>
                  <a:lnTo>
                    <a:pt x="422" y="332"/>
                  </a:lnTo>
                  <a:lnTo>
                    <a:pt x="424" y="334"/>
                  </a:lnTo>
                  <a:lnTo>
                    <a:pt x="424" y="338"/>
                  </a:lnTo>
                  <a:lnTo>
                    <a:pt x="428" y="340"/>
                  </a:lnTo>
                  <a:lnTo>
                    <a:pt x="430" y="342"/>
                  </a:lnTo>
                  <a:lnTo>
                    <a:pt x="434" y="338"/>
                  </a:lnTo>
                  <a:lnTo>
                    <a:pt x="438" y="340"/>
                  </a:lnTo>
                  <a:lnTo>
                    <a:pt x="446" y="342"/>
                  </a:lnTo>
                  <a:lnTo>
                    <a:pt x="448" y="340"/>
                  </a:lnTo>
                  <a:lnTo>
                    <a:pt x="454" y="328"/>
                  </a:lnTo>
                  <a:lnTo>
                    <a:pt x="454" y="324"/>
                  </a:lnTo>
                  <a:lnTo>
                    <a:pt x="454" y="322"/>
                  </a:lnTo>
                  <a:lnTo>
                    <a:pt x="456" y="314"/>
                  </a:lnTo>
                  <a:lnTo>
                    <a:pt x="460" y="310"/>
                  </a:lnTo>
                  <a:lnTo>
                    <a:pt x="460" y="308"/>
                  </a:lnTo>
                  <a:lnTo>
                    <a:pt x="460" y="302"/>
                  </a:lnTo>
                  <a:lnTo>
                    <a:pt x="458" y="302"/>
                  </a:lnTo>
                  <a:lnTo>
                    <a:pt x="456" y="302"/>
                  </a:lnTo>
                  <a:lnTo>
                    <a:pt x="452" y="300"/>
                  </a:lnTo>
                  <a:lnTo>
                    <a:pt x="448" y="298"/>
                  </a:lnTo>
                  <a:lnTo>
                    <a:pt x="444" y="296"/>
                  </a:lnTo>
                  <a:lnTo>
                    <a:pt x="446" y="286"/>
                  </a:lnTo>
                  <a:lnTo>
                    <a:pt x="446" y="282"/>
                  </a:lnTo>
                  <a:lnTo>
                    <a:pt x="448" y="280"/>
                  </a:lnTo>
                  <a:lnTo>
                    <a:pt x="450" y="280"/>
                  </a:lnTo>
                  <a:lnTo>
                    <a:pt x="458" y="280"/>
                  </a:lnTo>
                  <a:lnTo>
                    <a:pt x="464" y="280"/>
                  </a:lnTo>
                  <a:lnTo>
                    <a:pt x="470" y="282"/>
                  </a:lnTo>
                  <a:lnTo>
                    <a:pt x="474" y="282"/>
                  </a:lnTo>
                  <a:lnTo>
                    <a:pt x="476" y="284"/>
                  </a:lnTo>
                  <a:lnTo>
                    <a:pt x="478" y="288"/>
                  </a:lnTo>
                  <a:lnTo>
                    <a:pt x="482" y="288"/>
                  </a:lnTo>
                  <a:lnTo>
                    <a:pt x="482" y="286"/>
                  </a:lnTo>
                  <a:lnTo>
                    <a:pt x="482" y="276"/>
                  </a:lnTo>
                  <a:lnTo>
                    <a:pt x="480" y="270"/>
                  </a:lnTo>
                  <a:lnTo>
                    <a:pt x="476" y="264"/>
                  </a:lnTo>
                  <a:lnTo>
                    <a:pt x="464" y="260"/>
                  </a:lnTo>
                  <a:lnTo>
                    <a:pt x="464" y="254"/>
                  </a:lnTo>
                  <a:lnTo>
                    <a:pt x="466" y="248"/>
                  </a:lnTo>
                  <a:lnTo>
                    <a:pt x="468" y="244"/>
                  </a:lnTo>
                  <a:lnTo>
                    <a:pt x="476" y="240"/>
                  </a:lnTo>
                  <a:lnTo>
                    <a:pt x="474" y="238"/>
                  </a:lnTo>
                  <a:lnTo>
                    <a:pt x="472" y="236"/>
                  </a:lnTo>
                  <a:lnTo>
                    <a:pt x="468" y="234"/>
                  </a:lnTo>
                  <a:lnTo>
                    <a:pt x="468" y="226"/>
                  </a:lnTo>
                  <a:lnTo>
                    <a:pt x="468" y="218"/>
                  </a:lnTo>
                  <a:lnTo>
                    <a:pt x="464" y="220"/>
                  </a:lnTo>
                  <a:lnTo>
                    <a:pt x="460" y="220"/>
                  </a:lnTo>
                  <a:lnTo>
                    <a:pt x="456" y="218"/>
                  </a:lnTo>
                  <a:lnTo>
                    <a:pt x="452" y="214"/>
                  </a:lnTo>
                  <a:lnTo>
                    <a:pt x="452" y="202"/>
                  </a:lnTo>
                  <a:lnTo>
                    <a:pt x="452" y="188"/>
                  </a:lnTo>
                  <a:lnTo>
                    <a:pt x="452" y="182"/>
                  </a:lnTo>
                  <a:lnTo>
                    <a:pt x="452" y="178"/>
                  </a:lnTo>
                  <a:lnTo>
                    <a:pt x="456" y="176"/>
                  </a:lnTo>
                  <a:lnTo>
                    <a:pt x="460" y="172"/>
                  </a:lnTo>
                  <a:lnTo>
                    <a:pt x="462" y="168"/>
                  </a:lnTo>
                  <a:lnTo>
                    <a:pt x="464" y="164"/>
                  </a:lnTo>
                  <a:lnTo>
                    <a:pt x="462" y="162"/>
                  </a:lnTo>
                  <a:lnTo>
                    <a:pt x="462" y="158"/>
                  </a:lnTo>
                  <a:lnTo>
                    <a:pt x="446" y="150"/>
                  </a:lnTo>
                  <a:lnTo>
                    <a:pt x="444" y="148"/>
                  </a:lnTo>
                  <a:lnTo>
                    <a:pt x="442" y="138"/>
                  </a:lnTo>
                  <a:lnTo>
                    <a:pt x="440" y="130"/>
                  </a:lnTo>
                  <a:lnTo>
                    <a:pt x="440" y="124"/>
                  </a:lnTo>
                  <a:lnTo>
                    <a:pt x="442" y="120"/>
                  </a:lnTo>
                  <a:lnTo>
                    <a:pt x="442" y="116"/>
                  </a:lnTo>
                  <a:lnTo>
                    <a:pt x="440" y="114"/>
                  </a:lnTo>
                  <a:lnTo>
                    <a:pt x="436" y="110"/>
                  </a:lnTo>
                  <a:lnTo>
                    <a:pt x="430" y="110"/>
                  </a:lnTo>
                  <a:lnTo>
                    <a:pt x="424" y="114"/>
                  </a:lnTo>
                  <a:lnTo>
                    <a:pt x="422" y="114"/>
                  </a:lnTo>
                  <a:lnTo>
                    <a:pt x="420" y="114"/>
                  </a:lnTo>
                  <a:lnTo>
                    <a:pt x="418" y="112"/>
                  </a:lnTo>
                  <a:lnTo>
                    <a:pt x="418" y="110"/>
                  </a:lnTo>
                  <a:lnTo>
                    <a:pt x="424" y="102"/>
                  </a:lnTo>
                  <a:lnTo>
                    <a:pt x="428" y="98"/>
                  </a:lnTo>
                  <a:lnTo>
                    <a:pt x="432" y="94"/>
                  </a:lnTo>
                  <a:lnTo>
                    <a:pt x="434" y="92"/>
                  </a:lnTo>
                  <a:lnTo>
                    <a:pt x="436" y="90"/>
                  </a:lnTo>
                  <a:lnTo>
                    <a:pt x="436" y="88"/>
                  </a:lnTo>
                  <a:lnTo>
                    <a:pt x="434" y="88"/>
                  </a:lnTo>
                  <a:lnTo>
                    <a:pt x="430" y="86"/>
                  </a:lnTo>
                  <a:lnTo>
                    <a:pt x="424" y="80"/>
                  </a:lnTo>
                  <a:lnTo>
                    <a:pt x="420" y="80"/>
                  </a:lnTo>
                  <a:lnTo>
                    <a:pt x="418" y="78"/>
                  </a:lnTo>
                  <a:lnTo>
                    <a:pt x="414" y="72"/>
                  </a:lnTo>
                  <a:lnTo>
                    <a:pt x="414" y="70"/>
                  </a:lnTo>
                  <a:lnTo>
                    <a:pt x="410" y="70"/>
                  </a:lnTo>
                  <a:lnTo>
                    <a:pt x="408" y="68"/>
                  </a:lnTo>
                  <a:lnTo>
                    <a:pt x="408" y="52"/>
                  </a:lnTo>
                  <a:lnTo>
                    <a:pt x="402" y="38"/>
                  </a:lnTo>
                  <a:lnTo>
                    <a:pt x="400" y="30"/>
                  </a:lnTo>
                  <a:lnTo>
                    <a:pt x="396" y="22"/>
                  </a:lnTo>
                  <a:lnTo>
                    <a:pt x="394" y="20"/>
                  </a:lnTo>
                  <a:lnTo>
                    <a:pt x="388" y="16"/>
                  </a:lnTo>
                  <a:lnTo>
                    <a:pt x="382" y="14"/>
                  </a:lnTo>
                  <a:lnTo>
                    <a:pt x="376" y="14"/>
                  </a:lnTo>
                  <a:lnTo>
                    <a:pt x="372" y="14"/>
                  </a:lnTo>
                  <a:lnTo>
                    <a:pt x="370" y="14"/>
                  </a:lnTo>
                  <a:lnTo>
                    <a:pt x="370" y="16"/>
                  </a:lnTo>
                  <a:lnTo>
                    <a:pt x="374" y="22"/>
                  </a:lnTo>
                  <a:lnTo>
                    <a:pt x="374" y="24"/>
                  </a:lnTo>
                  <a:lnTo>
                    <a:pt x="374" y="28"/>
                  </a:lnTo>
                  <a:lnTo>
                    <a:pt x="372" y="28"/>
                  </a:lnTo>
                  <a:lnTo>
                    <a:pt x="370" y="30"/>
                  </a:lnTo>
                  <a:lnTo>
                    <a:pt x="364" y="30"/>
                  </a:lnTo>
                  <a:lnTo>
                    <a:pt x="358" y="34"/>
                  </a:lnTo>
                  <a:lnTo>
                    <a:pt x="352" y="36"/>
                  </a:lnTo>
                  <a:lnTo>
                    <a:pt x="350" y="44"/>
                  </a:lnTo>
                  <a:lnTo>
                    <a:pt x="346" y="44"/>
                  </a:lnTo>
                  <a:lnTo>
                    <a:pt x="342" y="44"/>
                  </a:lnTo>
                  <a:lnTo>
                    <a:pt x="330" y="38"/>
                  </a:lnTo>
                  <a:lnTo>
                    <a:pt x="320" y="34"/>
                  </a:lnTo>
                  <a:lnTo>
                    <a:pt x="312" y="32"/>
                  </a:lnTo>
                  <a:lnTo>
                    <a:pt x="308" y="34"/>
                  </a:lnTo>
                  <a:lnTo>
                    <a:pt x="306" y="34"/>
                  </a:lnTo>
                  <a:lnTo>
                    <a:pt x="300" y="36"/>
                  </a:lnTo>
                  <a:lnTo>
                    <a:pt x="292" y="46"/>
                  </a:lnTo>
                  <a:lnTo>
                    <a:pt x="290" y="50"/>
                  </a:lnTo>
                  <a:lnTo>
                    <a:pt x="288" y="52"/>
                  </a:lnTo>
                  <a:lnTo>
                    <a:pt x="286" y="52"/>
                  </a:lnTo>
                  <a:lnTo>
                    <a:pt x="284" y="52"/>
                  </a:lnTo>
                  <a:lnTo>
                    <a:pt x="282" y="52"/>
                  </a:lnTo>
                  <a:lnTo>
                    <a:pt x="282" y="50"/>
                  </a:lnTo>
                  <a:lnTo>
                    <a:pt x="278" y="44"/>
                  </a:lnTo>
                  <a:lnTo>
                    <a:pt x="274" y="36"/>
                  </a:lnTo>
                  <a:lnTo>
                    <a:pt x="270" y="32"/>
                  </a:lnTo>
                  <a:lnTo>
                    <a:pt x="264" y="32"/>
                  </a:lnTo>
                  <a:lnTo>
                    <a:pt x="260" y="34"/>
                  </a:lnTo>
                  <a:lnTo>
                    <a:pt x="256" y="40"/>
                  </a:lnTo>
                  <a:lnTo>
                    <a:pt x="252" y="44"/>
                  </a:lnTo>
                  <a:lnTo>
                    <a:pt x="248" y="46"/>
                  </a:lnTo>
                  <a:lnTo>
                    <a:pt x="246" y="44"/>
                  </a:lnTo>
                  <a:lnTo>
                    <a:pt x="238" y="38"/>
                  </a:lnTo>
                  <a:lnTo>
                    <a:pt x="232" y="34"/>
                  </a:lnTo>
                  <a:lnTo>
                    <a:pt x="232" y="32"/>
                  </a:lnTo>
                  <a:lnTo>
                    <a:pt x="234" y="30"/>
                  </a:lnTo>
                  <a:lnTo>
                    <a:pt x="236" y="24"/>
                  </a:lnTo>
                  <a:lnTo>
                    <a:pt x="238" y="20"/>
                  </a:lnTo>
                  <a:lnTo>
                    <a:pt x="240" y="1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0" name="Line 4825">
              <a:extLst>
                <a:ext uri="{FF2B5EF4-FFF2-40B4-BE49-F238E27FC236}">
                  <a16:creationId xmlns:a16="http://schemas.microsoft.com/office/drawing/2014/main" id="{C1BA483E-7D9E-49D4-AB61-E168B602D2A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010916" y="5093352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1" name="Line 4827">
              <a:extLst>
                <a:ext uri="{FF2B5EF4-FFF2-40B4-BE49-F238E27FC236}">
                  <a16:creationId xmlns:a16="http://schemas.microsoft.com/office/drawing/2014/main" id="{314D90B1-9E25-439F-B0F8-2A5BFE57FF7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010916" y="5093352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2" name="Freeform 4828">
              <a:extLst>
                <a:ext uri="{FF2B5EF4-FFF2-40B4-BE49-F238E27FC236}">
                  <a16:creationId xmlns:a16="http://schemas.microsoft.com/office/drawing/2014/main" id="{24B5D2E1-C00F-4DF0-9C38-7BC7EA8BA78B}"/>
                </a:ext>
              </a:extLst>
            </p:cNvPr>
            <p:cNvSpPr/>
            <p:nvPr/>
          </p:nvSpPr>
          <p:spPr bwMode="auto">
            <a:xfrm>
              <a:off x="4873700" y="5057121"/>
              <a:ext cx="75546" cy="19272"/>
            </a:xfrm>
            <a:custGeom>
              <a:avLst/>
              <a:gdLst>
                <a:gd name="T0" fmla="*/ 8 w 196"/>
                <a:gd name="T1" fmla="*/ 46 h 50"/>
                <a:gd name="T2" fmla="*/ 24 w 196"/>
                <a:gd name="T3" fmla="*/ 44 h 50"/>
                <a:gd name="T4" fmla="*/ 64 w 196"/>
                <a:gd name="T5" fmla="*/ 44 h 50"/>
                <a:gd name="T6" fmla="*/ 70 w 196"/>
                <a:gd name="T7" fmla="*/ 32 h 50"/>
                <a:gd name="T8" fmla="*/ 88 w 196"/>
                <a:gd name="T9" fmla="*/ 30 h 50"/>
                <a:gd name="T10" fmla="*/ 102 w 196"/>
                <a:gd name="T11" fmla="*/ 26 h 50"/>
                <a:gd name="T12" fmla="*/ 106 w 196"/>
                <a:gd name="T13" fmla="*/ 18 h 50"/>
                <a:gd name="T14" fmla="*/ 112 w 196"/>
                <a:gd name="T15" fmla="*/ 18 h 50"/>
                <a:gd name="T16" fmla="*/ 122 w 196"/>
                <a:gd name="T17" fmla="*/ 24 h 50"/>
                <a:gd name="T18" fmla="*/ 132 w 196"/>
                <a:gd name="T19" fmla="*/ 28 h 50"/>
                <a:gd name="T20" fmla="*/ 156 w 196"/>
                <a:gd name="T21" fmla="*/ 36 h 50"/>
                <a:gd name="T22" fmla="*/ 184 w 196"/>
                <a:gd name="T23" fmla="*/ 36 h 50"/>
                <a:gd name="T24" fmla="*/ 196 w 196"/>
                <a:gd name="T25" fmla="*/ 28 h 50"/>
                <a:gd name="T26" fmla="*/ 186 w 196"/>
                <a:gd name="T27" fmla="*/ 18 h 50"/>
                <a:gd name="T28" fmla="*/ 172 w 196"/>
                <a:gd name="T29" fmla="*/ 20 h 50"/>
                <a:gd name="T30" fmla="*/ 164 w 196"/>
                <a:gd name="T31" fmla="*/ 22 h 50"/>
                <a:gd name="T32" fmla="*/ 150 w 196"/>
                <a:gd name="T33" fmla="*/ 18 h 50"/>
                <a:gd name="T34" fmla="*/ 142 w 196"/>
                <a:gd name="T35" fmla="*/ 12 h 50"/>
                <a:gd name="T36" fmla="*/ 124 w 196"/>
                <a:gd name="T37" fmla="*/ 2 h 50"/>
                <a:gd name="T38" fmla="*/ 112 w 196"/>
                <a:gd name="T39" fmla="*/ 0 h 50"/>
                <a:gd name="T40" fmla="*/ 90 w 196"/>
                <a:gd name="T41" fmla="*/ 6 h 50"/>
                <a:gd name="T42" fmla="*/ 76 w 196"/>
                <a:gd name="T43" fmla="*/ 16 h 50"/>
                <a:gd name="T44" fmla="*/ 32 w 196"/>
                <a:gd name="T45" fmla="*/ 14 h 50"/>
                <a:gd name="T46" fmla="*/ 18 w 196"/>
                <a:gd name="T47" fmla="*/ 24 h 50"/>
                <a:gd name="T48" fmla="*/ 30 w 196"/>
                <a:gd name="T49" fmla="*/ 32 h 50"/>
                <a:gd name="T50" fmla="*/ 62 w 196"/>
                <a:gd name="T51" fmla="*/ 24 h 50"/>
                <a:gd name="T52" fmla="*/ 90 w 196"/>
                <a:gd name="T53" fmla="*/ 22 h 50"/>
                <a:gd name="T54" fmla="*/ 88 w 196"/>
                <a:gd name="T55" fmla="*/ 24 h 50"/>
                <a:gd name="T56" fmla="*/ 66 w 196"/>
                <a:gd name="T57" fmla="*/ 26 h 50"/>
                <a:gd name="T58" fmla="*/ 42 w 196"/>
                <a:gd name="T59" fmla="*/ 30 h 50"/>
                <a:gd name="T60" fmla="*/ 42 w 196"/>
                <a:gd name="T61" fmla="*/ 36 h 50"/>
                <a:gd name="T62" fmla="*/ 26 w 196"/>
                <a:gd name="T63" fmla="*/ 36 h 50"/>
                <a:gd name="T64" fmla="*/ 14 w 196"/>
                <a:gd name="T65" fmla="*/ 30 h 50"/>
                <a:gd name="T66" fmla="*/ 10 w 196"/>
                <a:gd name="T67" fmla="*/ 22 h 50"/>
                <a:gd name="T68" fmla="*/ 0 w 196"/>
                <a:gd name="T69" fmla="*/ 32 h 50"/>
                <a:gd name="T70" fmla="*/ 4 w 196"/>
                <a:gd name="T7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6" h="50">
                  <a:moveTo>
                    <a:pt x="4" y="50"/>
                  </a:moveTo>
                  <a:lnTo>
                    <a:pt x="8" y="46"/>
                  </a:lnTo>
                  <a:lnTo>
                    <a:pt x="10" y="44"/>
                  </a:lnTo>
                  <a:lnTo>
                    <a:pt x="24" y="44"/>
                  </a:lnTo>
                  <a:lnTo>
                    <a:pt x="52" y="44"/>
                  </a:lnTo>
                  <a:lnTo>
                    <a:pt x="64" y="44"/>
                  </a:lnTo>
                  <a:lnTo>
                    <a:pt x="66" y="32"/>
                  </a:lnTo>
                  <a:lnTo>
                    <a:pt x="70" y="32"/>
                  </a:lnTo>
                  <a:lnTo>
                    <a:pt x="76" y="30"/>
                  </a:lnTo>
                  <a:lnTo>
                    <a:pt x="88" y="30"/>
                  </a:lnTo>
                  <a:lnTo>
                    <a:pt x="100" y="28"/>
                  </a:lnTo>
                  <a:lnTo>
                    <a:pt x="102" y="26"/>
                  </a:lnTo>
                  <a:lnTo>
                    <a:pt x="104" y="22"/>
                  </a:lnTo>
                  <a:lnTo>
                    <a:pt x="106" y="18"/>
                  </a:lnTo>
                  <a:lnTo>
                    <a:pt x="108" y="18"/>
                  </a:lnTo>
                  <a:lnTo>
                    <a:pt x="112" y="18"/>
                  </a:lnTo>
                  <a:lnTo>
                    <a:pt x="118" y="20"/>
                  </a:lnTo>
                  <a:lnTo>
                    <a:pt x="122" y="24"/>
                  </a:lnTo>
                  <a:lnTo>
                    <a:pt x="128" y="26"/>
                  </a:lnTo>
                  <a:lnTo>
                    <a:pt x="132" y="28"/>
                  </a:lnTo>
                  <a:lnTo>
                    <a:pt x="140" y="32"/>
                  </a:lnTo>
                  <a:lnTo>
                    <a:pt x="156" y="36"/>
                  </a:lnTo>
                  <a:lnTo>
                    <a:pt x="168" y="38"/>
                  </a:lnTo>
                  <a:lnTo>
                    <a:pt x="184" y="36"/>
                  </a:lnTo>
                  <a:lnTo>
                    <a:pt x="194" y="32"/>
                  </a:lnTo>
                  <a:lnTo>
                    <a:pt x="196" y="28"/>
                  </a:lnTo>
                  <a:lnTo>
                    <a:pt x="194" y="22"/>
                  </a:lnTo>
                  <a:lnTo>
                    <a:pt x="186" y="18"/>
                  </a:lnTo>
                  <a:lnTo>
                    <a:pt x="174" y="18"/>
                  </a:lnTo>
                  <a:lnTo>
                    <a:pt x="172" y="20"/>
                  </a:lnTo>
                  <a:lnTo>
                    <a:pt x="166" y="22"/>
                  </a:lnTo>
                  <a:lnTo>
                    <a:pt x="164" y="22"/>
                  </a:lnTo>
                  <a:lnTo>
                    <a:pt x="158" y="22"/>
                  </a:lnTo>
                  <a:lnTo>
                    <a:pt x="150" y="18"/>
                  </a:lnTo>
                  <a:lnTo>
                    <a:pt x="146" y="14"/>
                  </a:lnTo>
                  <a:lnTo>
                    <a:pt x="142" y="12"/>
                  </a:lnTo>
                  <a:lnTo>
                    <a:pt x="134" y="10"/>
                  </a:lnTo>
                  <a:lnTo>
                    <a:pt x="124" y="2"/>
                  </a:lnTo>
                  <a:lnTo>
                    <a:pt x="118" y="0"/>
                  </a:lnTo>
                  <a:lnTo>
                    <a:pt x="112" y="0"/>
                  </a:lnTo>
                  <a:lnTo>
                    <a:pt x="102" y="2"/>
                  </a:lnTo>
                  <a:lnTo>
                    <a:pt x="90" y="6"/>
                  </a:lnTo>
                  <a:lnTo>
                    <a:pt x="86" y="16"/>
                  </a:lnTo>
                  <a:lnTo>
                    <a:pt x="76" y="16"/>
                  </a:lnTo>
                  <a:lnTo>
                    <a:pt x="52" y="14"/>
                  </a:lnTo>
                  <a:lnTo>
                    <a:pt x="32" y="14"/>
                  </a:lnTo>
                  <a:lnTo>
                    <a:pt x="16" y="16"/>
                  </a:lnTo>
                  <a:lnTo>
                    <a:pt x="18" y="24"/>
                  </a:lnTo>
                  <a:lnTo>
                    <a:pt x="24" y="32"/>
                  </a:lnTo>
                  <a:lnTo>
                    <a:pt x="30" y="32"/>
                  </a:lnTo>
                  <a:lnTo>
                    <a:pt x="44" y="24"/>
                  </a:lnTo>
                  <a:lnTo>
                    <a:pt x="62" y="24"/>
                  </a:lnTo>
                  <a:lnTo>
                    <a:pt x="82" y="22"/>
                  </a:lnTo>
                  <a:lnTo>
                    <a:pt x="90" y="22"/>
                  </a:lnTo>
                  <a:lnTo>
                    <a:pt x="90" y="24"/>
                  </a:lnTo>
                  <a:lnTo>
                    <a:pt x="88" y="24"/>
                  </a:lnTo>
                  <a:lnTo>
                    <a:pt x="78" y="24"/>
                  </a:lnTo>
                  <a:lnTo>
                    <a:pt x="66" y="26"/>
                  </a:lnTo>
                  <a:lnTo>
                    <a:pt x="54" y="28"/>
                  </a:lnTo>
                  <a:lnTo>
                    <a:pt x="42" y="30"/>
                  </a:lnTo>
                  <a:lnTo>
                    <a:pt x="40" y="32"/>
                  </a:lnTo>
                  <a:lnTo>
                    <a:pt x="42" y="36"/>
                  </a:lnTo>
                  <a:lnTo>
                    <a:pt x="36" y="36"/>
                  </a:lnTo>
                  <a:lnTo>
                    <a:pt x="26" y="36"/>
                  </a:lnTo>
                  <a:lnTo>
                    <a:pt x="16" y="34"/>
                  </a:lnTo>
                  <a:lnTo>
                    <a:pt x="14" y="30"/>
                  </a:lnTo>
                  <a:lnTo>
                    <a:pt x="12" y="26"/>
                  </a:lnTo>
                  <a:lnTo>
                    <a:pt x="10" y="22"/>
                  </a:lnTo>
                  <a:lnTo>
                    <a:pt x="4" y="26"/>
                  </a:lnTo>
                  <a:lnTo>
                    <a:pt x="0" y="32"/>
                  </a:lnTo>
                  <a:lnTo>
                    <a:pt x="2" y="44"/>
                  </a:lnTo>
                  <a:lnTo>
                    <a:pt x="4" y="5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3" name="Freeform 4832">
              <a:extLst>
                <a:ext uri="{FF2B5EF4-FFF2-40B4-BE49-F238E27FC236}">
                  <a16:creationId xmlns:a16="http://schemas.microsoft.com/office/drawing/2014/main" id="{58B36A5A-A0CC-48B1-AE9F-CCE413B17CD1}"/>
                </a:ext>
              </a:extLst>
            </p:cNvPr>
            <p:cNvSpPr/>
            <p:nvPr/>
          </p:nvSpPr>
          <p:spPr bwMode="auto">
            <a:xfrm>
              <a:off x="4895285" y="5124958"/>
              <a:ext cx="1542" cy="3854"/>
            </a:xfrm>
            <a:custGeom>
              <a:avLst/>
              <a:gdLst>
                <a:gd name="T0" fmla="*/ 4 w 4"/>
                <a:gd name="T1" fmla="*/ 8 h 10"/>
                <a:gd name="T2" fmla="*/ 4 w 4"/>
                <a:gd name="T3" fmla="*/ 4 h 10"/>
                <a:gd name="T4" fmla="*/ 4 w 4"/>
                <a:gd name="T5" fmla="*/ 2 h 10"/>
                <a:gd name="T6" fmla="*/ 2 w 4"/>
                <a:gd name="T7" fmla="*/ 0 h 10"/>
                <a:gd name="T8" fmla="*/ 0 w 4"/>
                <a:gd name="T9" fmla="*/ 0 h 10"/>
                <a:gd name="T10" fmla="*/ 0 w 4"/>
                <a:gd name="T11" fmla="*/ 6 h 10"/>
                <a:gd name="T12" fmla="*/ 0 w 4"/>
                <a:gd name="T13" fmla="*/ 8 h 10"/>
                <a:gd name="T14" fmla="*/ 0 w 4"/>
                <a:gd name="T15" fmla="*/ 10 h 10"/>
                <a:gd name="T16" fmla="*/ 4 w 4"/>
                <a:gd name="T17" fmla="*/ 10 h 10"/>
                <a:gd name="T18" fmla="*/ 4 w 4"/>
                <a:gd name="T1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0">
                  <a:moveTo>
                    <a:pt x="4" y="8"/>
                  </a:moveTo>
                  <a:lnTo>
                    <a:pt x="4" y="4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4" name="Freeform 4833">
              <a:extLst>
                <a:ext uri="{FF2B5EF4-FFF2-40B4-BE49-F238E27FC236}">
                  <a16:creationId xmlns:a16="http://schemas.microsoft.com/office/drawing/2014/main" id="{F8AEF4E5-DB0A-40EB-A5DD-3504D3E4E1E8}"/>
                </a:ext>
              </a:extLst>
            </p:cNvPr>
            <p:cNvSpPr/>
            <p:nvPr/>
          </p:nvSpPr>
          <p:spPr bwMode="auto">
            <a:xfrm>
              <a:off x="4888347" y="5124958"/>
              <a:ext cx="4625" cy="3854"/>
            </a:xfrm>
            <a:custGeom>
              <a:avLst/>
              <a:gdLst>
                <a:gd name="T0" fmla="*/ 8 w 12"/>
                <a:gd name="T1" fmla="*/ 10 h 10"/>
                <a:gd name="T2" fmla="*/ 10 w 12"/>
                <a:gd name="T3" fmla="*/ 8 h 10"/>
                <a:gd name="T4" fmla="*/ 12 w 12"/>
                <a:gd name="T5" fmla="*/ 4 h 10"/>
                <a:gd name="T6" fmla="*/ 10 w 12"/>
                <a:gd name="T7" fmla="*/ 0 h 10"/>
                <a:gd name="T8" fmla="*/ 10 w 12"/>
                <a:gd name="T9" fmla="*/ 0 h 10"/>
                <a:gd name="T10" fmla="*/ 8 w 12"/>
                <a:gd name="T11" fmla="*/ 0 h 10"/>
                <a:gd name="T12" fmla="*/ 6 w 12"/>
                <a:gd name="T13" fmla="*/ 2 h 10"/>
                <a:gd name="T14" fmla="*/ 4 w 12"/>
                <a:gd name="T15" fmla="*/ 4 h 10"/>
                <a:gd name="T16" fmla="*/ 2 w 12"/>
                <a:gd name="T17" fmla="*/ 4 h 10"/>
                <a:gd name="T18" fmla="*/ 0 w 12"/>
                <a:gd name="T19" fmla="*/ 6 h 10"/>
                <a:gd name="T20" fmla="*/ 0 w 12"/>
                <a:gd name="T21" fmla="*/ 6 h 10"/>
                <a:gd name="T22" fmla="*/ 2 w 12"/>
                <a:gd name="T23" fmla="*/ 10 h 10"/>
                <a:gd name="T24" fmla="*/ 8 w 12"/>
                <a:gd name="T2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10">
                  <a:moveTo>
                    <a:pt x="8" y="10"/>
                  </a:moveTo>
                  <a:lnTo>
                    <a:pt x="10" y="8"/>
                  </a:lnTo>
                  <a:lnTo>
                    <a:pt x="12" y="4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10"/>
                  </a:lnTo>
                  <a:lnTo>
                    <a:pt x="8" y="1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5" name="Freeform 4834">
              <a:extLst>
                <a:ext uri="{FF2B5EF4-FFF2-40B4-BE49-F238E27FC236}">
                  <a16:creationId xmlns:a16="http://schemas.microsoft.com/office/drawing/2014/main" id="{7C1B45EE-58D3-467F-98E6-600C81F68647}"/>
                </a:ext>
              </a:extLst>
            </p:cNvPr>
            <p:cNvSpPr/>
            <p:nvPr/>
          </p:nvSpPr>
          <p:spPr bwMode="auto">
            <a:xfrm>
              <a:off x="4899910" y="5121875"/>
              <a:ext cx="3084" cy="3854"/>
            </a:xfrm>
            <a:custGeom>
              <a:avLst/>
              <a:gdLst>
                <a:gd name="T0" fmla="*/ 4 w 8"/>
                <a:gd name="T1" fmla="*/ 6 h 10"/>
                <a:gd name="T2" fmla="*/ 6 w 8"/>
                <a:gd name="T3" fmla="*/ 6 h 10"/>
                <a:gd name="T4" fmla="*/ 8 w 8"/>
                <a:gd name="T5" fmla="*/ 4 h 10"/>
                <a:gd name="T6" fmla="*/ 8 w 8"/>
                <a:gd name="T7" fmla="*/ 2 h 10"/>
                <a:gd name="T8" fmla="*/ 6 w 8"/>
                <a:gd name="T9" fmla="*/ 2 h 10"/>
                <a:gd name="T10" fmla="*/ 4 w 8"/>
                <a:gd name="T11" fmla="*/ 0 h 10"/>
                <a:gd name="T12" fmla="*/ 2 w 8"/>
                <a:gd name="T13" fmla="*/ 2 h 10"/>
                <a:gd name="T14" fmla="*/ 0 w 8"/>
                <a:gd name="T15" fmla="*/ 8 h 10"/>
                <a:gd name="T16" fmla="*/ 0 w 8"/>
                <a:gd name="T17" fmla="*/ 8 h 10"/>
                <a:gd name="T18" fmla="*/ 4 w 8"/>
                <a:gd name="T19" fmla="*/ 10 h 10"/>
                <a:gd name="T20" fmla="*/ 4 w 8"/>
                <a:gd name="T21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10">
                  <a:moveTo>
                    <a:pt x="4" y="6"/>
                  </a:moveTo>
                  <a:lnTo>
                    <a:pt x="6" y="6"/>
                  </a:lnTo>
                  <a:lnTo>
                    <a:pt x="8" y="4"/>
                  </a:lnTo>
                  <a:lnTo>
                    <a:pt x="8" y="2"/>
                  </a:lnTo>
                  <a:lnTo>
                    <a:pt x="6" y="2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10"/>
                  </a:lnTo>
                  <a:lnTo>
                    <a:pt x="4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6" name="Freeform 4835">
              <a:extLst>
                <a:ext uri="{FF2B5EF4-FFF2-40B4-BE49-F238E27FC236}">
                  <a16:creationId xmlns:a16="http://schemas.microsoft.com/office/drawing/2014/main" id="{1A69F60A-FD9E-4807-AB92-D31C5BD69542}"/>
                </a:ext>
              </a:extLst>
            </p:cNvPr>
            <p:cNvSpPr/>
            <p:nvPr/>
          </p:nvSpPr>
          <p:spPr bwMode="auto">
            <a:xfrm>
              <a:off x="4893743" y="5114937"/>
              <a:ext cx="3084" cy="3854"/>
            </a:xfrm>
            <a:custGeom>
              <a:avLst/>
              <a:gdLst>
                <a:gd name="T0" fmla="*/ 8 w 8"/>
                <a:gd name="T1" fmla="*/ 8 h 10"/>
                <a:gd name="T2" fmla="*/ 6 w 8"/>
                <a:gd name="T3" fmla="*/ 0 h 10"/>
                <a:gd name="T4" fmla="*/ 4 w 8"/>
                <a:gd name="T5" fmla="*/ 0 h 10"/>
                <a:gd name="T6" fmla="*/ 0 w 8"/>
                <a:gd name="T7" fmla="*/ 4 h 10"/>
                <a:gd name="T8" fmla="*/ 0 w 8"/>
                <a:gd name="T9" fmla="*/ 6 h 10"/>
                <a:gd name="T10" fmla="*/ 2 w 8"/>
                <a:gd name="T11" fmla="*/ 10 h 10"/>
                <a:gd name="T12" fmla="*/ 4 w 8"/>
                <a:gd name="T13" fmla="*/ 10 h 10"/>
                <a:gd name="T14" fmla="*/ 8 w 8"/>
                <a:gd name="T1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0">
                  <a:moveTo>
                    <a:pt x="8" y="8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8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7" name="Freeform 4836">
              <a:extLst>
                <a:ext uri="{FF2B5EF4-FFF2-40B4-BE49-F238E27FC236}">
                  <a16:creationId xmlns:a16="http://schemas.microsoft.com/office/drawing/2014/main" id="{ABDE14D1-40D0-42DD-B66C-62D42EDBC7A4}"/>
                </a:ext>
              </a:extLst>
            </p:cNvPr>
            <p:cNvSpPr/>
            <p:nvPr/>
          </p:nvSpPr>
          <p:spPr bwMode="auto">
            <a:xfrm>
              <a:off x="4903764" y="5113395"/>
              <a:ext cx="3084" cy="3084"/>
            </a:xfrm>
            <a:custGeom>
              <a:avLst/>
              <a:gdLst>
                <a:gd name="T0" fmla="*/ 4 w 8"/>
                <a:gd name="T1" fmla="*/ 8 h 8"/>
                <a:gd name="T2" fmla="*/ 6 w 8"/>
                <a:gd name="T3" fmla="*/ 6 h 8"/>
                <a:gd name="T4" fmla="*/ 8 w 8"/>
                <a:gd name="T5" fmla="*/ 6 h 8"/>
                <a:gd name="T6" fmla="*/ 8 w 8"/>
                <a:gd name="T7" fmla="*/ 0 h 8"/>
                <a:gd name="T8" fmla="*/ 6 w 8"/>
                <a:gd name="T9" fmla="*/ 2 h 8"/>
                <a:gd name="T10" fmla="*/ 0 w 8"/>
                <a:gd name="T11" fmla="*/ 8 h 8"/>
                <a:gd name="T12" fmla="*/ 4 w 8"/>
                <a:gd name="T13" fmla="*/ 8 h 8"/>
                <a:gd name="T14" fmla="*/ 4 w 8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lnTo>
                    <a:pt x="6" y="6"/>
                  </a:lnTo>
                  <a:lnTo>
                    <a:pt x="8" y="6"/>
                  </a:lnTo>
                  <a:lnTo>
                    <a:pt x="8" y="0"/>
                  </a:lnTo>
                  <a:lnTo>
                    <a:pt x="6" y="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8" name="Freeform 4837">
              <a:extLst>
                <a:ext uri="{FF2B5EF4-FFF2-40B4-BE49-F238E27FC236}">
                  <a16:creationId xmlns:a16="http://schemas.microsoft.com/office/drawing/2014/main" id="{D0EF51D9-135E-4FFA-AAEB-17EF6A76DD40}"/>
                </a:ext>
              </a:extLst>
            </p:cNvPr>
            <p:cNvSpPr/>
            <p:nvPr/>
          </p:nvSpPr>
          <p:spPr bwMode="auto">
            <a:xfrm>
              <a:off x="4890659" y="5107228"/>
              <a:ext cx="3854" cy="3084"/>
            </a:xfrm>
            <a:custGeom>
              <a:avLst/>
              <a:gdLst>
                <a:gd name="T0" fmla="*/ 10 w 10"/>
                <a:gd name="T1" fmla="*/ 0 h 8"/>
                <a:gd name="T2" fmla="*/ 8 w 10"/>
                <a:gd name="T3" fmla="*/ 0 h 8"/>
                <a:gd name="T4" fmla="*/ 0 w 10"/>
                <a:gd name="T5" fmla="*/ 0 h 8"/>
                <a:gd name="T6" fmla="*/ 0 w 10"/>
                <a:gd name="T7" fmla="*/ 2 h 8"/>
                <a:gd name="T8" fmla="*/ 2 w 10"/>
                <a:gd name="T9" fmla="*/ 8 h 8"/>
                <a:gd name="T10" fmla="*/ 6 w 10"/>
                <a:gd name="T11" fmla="*/ 8 h 8"/>
                <a:gd name="T12" fmla="*/ 10 w 10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8">
                  <a:moveTo>
                    <a:pt x="10" y="0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8"/>
                  </a:lnTo>
                  <a:lnTo>
                    <a:pt x="6" y="8"/>
                  </a:lnTo>
                  <a:lnTo>
                    <a:pt x="1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79" name="Freeform 4838">
              <a:extLst>
                <a:ext uri="{FF2B5EF4-FFF2-40B4-BE49-F238E27FC236}">
                  <a16:creationId xmlns:a16="http://schemas.microsoft.com/office/drawing/2014/main" id="{4CCC447F-A43A-4EDC-9D46-A5EF3C4B60EA}"/>
                </a:ext>
              </a:extLst>
            </p:cNvPr>
            <p:cNvSpPr/>
            <p:nvPr/>
          </p:nvSpPr>
          <p:spPr bwMode="auto">
            <a:xfrm>
              <a:off x="4876013" y="5086414"/>
              <a:ext cx="77088" cy="44711"/>
            </a:xfrm>
            <a:custGeom>
              <a:avLst/>
              <a:gdLst>
                <a:gd name="T0" fmla="*/ 196 w 200"/>
                <a:gd name="T1" fmla="*/ 6 h 116"/>
                <a:gd name="T2" fmla="*/ 156 w 200"/>
                <a:gd name="T3" fmla="*/ 0 h 116"/>
                <a:gd name="T4" fmla="*/ 100 w 200"/>
                <a:gd name="T5" fmla="*/ 0 h 116"/>
                <a:gd name="T6" fmla="*/ 76 w 200"/>
                <a:gd name="T7" fmla="*/ 14 h 116"/>
                <a:gd name="T8" fmla="*/ 38 w 200"/>
                <a:gd name="T9" fmla="*/ 16 h 116"/>
                <a:gd name="T10" fmla="*/ 24 w 200"/>
                <a:gd name="T11" fmla="*/ 20 h 116"/>
                <a:gd name="T12" fmla="*/ 12 w 200"/>
                <a:gd name="T13" fmla="*/ 22 h 116"/>
                <a:gd name="T14" fmla="*/ 0 w 200"/>
                <a:gd name="T15" fmla="*/ 22 h 116"/>
                <a:gd name="T16" fmla="*/ 26 w 200"/>
                <a:gd name="T17" fmla="*/ 30 h 116"/>
                <a:gd name="T18" fmla="*/ 30 w 200"/>
                <a:gd name="T19" fmla="*/ 32 h 116"/>
                <a:gd name="T20" fmla="*/ 26 w 200"/>
                <a:gd name="T21" fmla="*/ 42 h 116"/>
                <a:gd name="T22" fmla="*/ 38 w 200"/>
                <a:gd name="T23" fmla="*/ 52 h 116"/>
                <a:gd name="T24" fmla="*/ 52 w 200"/>
                <a:gd name="T25" fmla="*/ 50 h 116"/>
                <a:gd name="T26" fmla="*/ 52 w 200"/>
                <a:gd name="T27" fmla="*/ 60 h 116"/>
                <a:gd name="T28" fmla="*/ 70 w 200"/>
                <a:gd name="T29" fmla="*/ 58 h 116"/>
                <a:gd name="T30" fmla="*/ 84 w 200"/>
                <a:gd name="T31" fmla="*/ 50 h 116"/>
                <a:gd name="T32" fmla="*/ 106 w 200"/>
                <a:gd name="T33" fmla="*/ 48 h 116"/>
                <a:gd name="T34" fmla="*/ 108 w 200"/>
                <a:gd name="T35" fmla="*/ 50 h 116"/>
                <a:gd name="T36" fmla="*/ 104 w 200"/>
                <a:gd name="T37" fmla="*/ 52 h 116"/>
                <a:gd name="T38" fmla="*/ 86 w 200"/>
                <a:gd name="T39" fmla="*/ 54 h 116"/>
                <a:gd name="T40" fmla="*/ 80 w 200"/>
                <a:gd name="T41" fmla="*/ 60 h 116"/>
                <a:gd name="T42" fmla="*/ 86 w 200"/>
                <a:gd name="T43" fmla="*/ 72 h 116"/>
                <a:gd name="T44" fmla="*/ 92 w 200"/>
                <a:gd name="T45" fmla="*/ 68 h 116"/>
                <a:gd name="T46" fmla="*/ 104 w 200"/>
                <a:gd name="T47" fmla="*/ 68 h 116"/>
                <a:gd name="T48" fmla="*/ 102 w 200"/>
                <a:gd name="T49" fmla="*/ 74 h 116"/>
                <a:gd name="T50" fmla="*/ 84 w 200"/>
                <a:gd name="T51" fmla="*/ 80 h 116"/>
                <a:gd name="T52" fmla="*/ 84 w 200"/>
                <a:gd name="T53" fmla="*/ 86 h 116"/>
                <a:gd name="T54" fmla="*/ 90 w 200"/>
                <a:gd name="T55" fmla="*/ 86 h 116"/>
                <a:gd name="T56" fmla="*/ 86 w 200"/>
                <a:gd name="T57" fmla="*/ 90 h 116"/>
                <a:gd name="T58" fmla="*/ 86 w 200"/>
                <a:gd name="T59" fmla="*/ 98 h 116"/>
                <a:gd name="T60" fmla="*/ 96 w 200"/>
                <a:gd name="T61" fmla="*/ 102 h 116"/>
                <a:gd name="T62" fmla="*/ 98 w 200"/>
                <a:gd name="T63" fmla="*/ 110 h 116"/>
                <a:gd name="T64" fmla="*/ 106 w 200"/>
                <a:gd name="T65" fmla="*/ 104 h 116"/>
                <a:gd name="T66" fmla="*/ 106 w 200"/>
                <a:gd name="T67" fmla="*/ 112 h 116"/>
                <a:gd name="T68" fmla="*/ 112 w 200"/>
                <a:gd name="T69" fmla="*/ 114 h 116"/>
                <a:gd name="T70" fmla="*/ 128 w 200"/>
                <a:gd name="T71" fmla="*/ 86 h 116"/>
                <a:gd name="T72" fmla="*/ 134 w 200"/>
                <a:gd name="T73" fmla="*/ 78 h 116"/>
                <a:gd name="T74" fmla="*/ 148 w 200"/>
                <a:gd name="T75" fmla="*/ 76 h 116"/>
                <a:gd name="T76" fmla="*/ 160 w 200"/>
                <a:gd name="T77" fmla="*/ 68 h 116"/>
                <a:gd name="T78" fmla="*/ 182 w 200"/>
                <a:gd name="T79" fmla="*/ 68 h 116"/>
                <a:gd name="T80" fmla="*/ 196 w 200"/>
                <a:gd name="T81" fmla="*/ 58 h 116"/>
                <a:gd name="T82" fmla="*/ 196 w 200"/>
                <a:gd name="T83" fmla="*/ 46 h 116"/>
                <a:gd name="T84" fmla="*/ 188 w 200"/>
                <a:gd name="T85" fmla="*/ 40 h 116"/>
                <a:gd name="T86" fmla="*/ 182 w 200"/>
                <a:gd name="T87" fmla="*/ 34 h 116"/>
                <a:gd name="T88" fmla="*/ 188 w 200"/>
                <a:gd name="T89" fmla="*/ 28 h 116"/>
                <a:gd name="T90" fmla="*/ 196 w 200"/>
                <a:gd name="T91" fmla="*/ 28 h 116"/>
                <a:gd name="T92" fmla="*/ 200 w 200"/>
                <a:gd name="T93" fmla="*/ 2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0" h="115">
                  <a:moveTo>
                    <a:pt x="200" y="14"/>
                  </a:moveTo>
                  <a:lnTo>
                    <a:pt x="196" y="6"/>
                  </a:lnTo>
                  <a:lnTo>
                    <a:pt x="196" y="0"/>
                  </a:lnTo>
                  <a:lnTo>
                    <a:pt x="156" y="0"/>
                  </a:lnTo>
                  <a:lnTo>
                    <a:pt x="132" y="0"/>
                  </a:lnTo>
                  <a:lnTo>
                    <a:pt x="100" y="0"/>
                  </a:lnTo>
                  <a:lnTo>
                    <a:pt x="88" y="6"/>
                  </a:lnTo>
                  <a:lnTo>
                    <a:pt x="76" y="14"/>
                  </a:lnTo>
                  <a:lnTo>
                    <a:pt x="58" y="16"/>
                  </a:lnTo>
                  <a:lnTo>
                    <a:pt x="38" y="16"/>
                  </a:lnTo>
                  <a:lnTo>
                    <a:pt x="32" y="16"/>
                  </a:lnTo>
                  <a:lnTo>
                    <a:pt x="24" y="20"/>
                  </a:lnTo>
                  <a:lnTo>
                    <a:pt x="20" y="22"/>
                  </a:lnTo>
                  <a:lnTo>
                    <a:pt x="12" y="22"/>
                  </a:lnTo>
                  <a:lnTo>
                    <a:pt x="4" y="22"/>
                  </a:lnTo>
                  <a:lnTo>
                    <a:pt x="0" y="22"/>
                  </a:lnTo>
                  <a:lnTo>
                    <a:pt x="18" y="32"/>
                  </a:lnTo>
                  <a:lnTo>
                    <a:pt x="26" y="30"/>
                  </a:lnTo>
                  <a:lnTo>
                    <a:pt x="32" y="30"/>
                  </a:lnTo>
                  <a:lnTo>
                    <a:pt x="30" y="32"/>
                  </a:lnTo>
                  <a:lnTo>
                    <a:pt x="26" y="36"/>
                  </a:lnTo>
                  <a:lnTo>
                    <a:pt x="26" y="42"/>
                  </a:lnTo>
                  <a:lnTo>
                    <a:pt x="30" y="48"/>
                  </a:lnTo>
                  <a:lnTo>
                    <a:pt x="38" y="52"/>
                  </a:lnTo>
                  <a:lnTo>
                    <a:pt x="50" y="48"/>
                  </a:lnTo>
                  <a:lnTo>
                    <a:pt x="52" y="50"/>
                  </a:lnTo>
                  <a:lnTo>
                    <a:pt x="54" y="52"/>
                  </a:lnTo>
                  <a:lnTo>
                    <a:pt x="52" y="60"/>
                  </a:lnTo>
                  <a:lnTo>
                    <a:pt x="60" y="62"/>
                  </a:lnTo>
                  <a:lnTo>
                    <a:pt x="70" y="58"/>
                  </a:lnTo>
                  <a:lnTo>
                    <a:pt x="80" y="52"/>
                  </a:lnTo>
                  <a:lnTo>
                    <a:pt x="84" y="50"/>
                  </a:lnTo>
                  <a:lnTo>
                    <a:pt x="100" y="50"/>
                  </a:lnTo>
                  <a:lnTo>
                    <a:pt x="106" y="48"/>
                  </a:lnTo>
                  <a:lnTo>
                    <a:pt x="108" y="48"/>
                  </a:lnTo>
                  <a:lnTo>
                    <a:pt x="108" y="50"/>
                  </a:lnTo>
                  <a:lnTo>
                    <a:pt x="106" y="52"/>
                  </a:lnTo>
                  <a:lnTo>
                    <a:pt x="104" y="52"/>
                  </a:lnTo>
                  <a:lnTo>
                    <a:pt x="100" y="54"/>
                  </a:lnTo>
                  <a:lnTo>
                    <a:pt x="86" y="54"/>
                  </a:lnTo>
                  <a:lnTo>
                    <a:pt x="82" y="56"/>
                  </a:lnTo>
                  <a:lnTo>
                    <a:pt x="80" y="60"/>
                  </a:lnTo>
                  <a:lnTo>
                    <a:pt x="80" y="64"/>
                  </a:lnTo>
                  <a:lnTo>
                    <a:pt x="86" y="72"/>
                  </a:lnTo>
                  <a:lnTo>
                    <a:pt x="90" y="72"/>
                  </a:lnTo>
                  <a:lnTo>
                    <a:pt x="92" y="68"/>
                  </a:lnTo>
                  <a:lnTo>
                    <a:pt x="98" y="68"/>
                  </a:lnTo>
                  <a:lnTo>
                    <a:pt x="104" y="68"/>
                  </a:lnTo>
                  <a:lnTo>
                    <a:pt x="108" y="74"/>
                  </a:lnTo>
                  <a:lnTo>
                    <a:pt x="102" y="74"/>
                  </a:lnTo>
                  <a:lnTo>
                    <a:pt x="96" y="74"/>
                  </a:lnTo>
                  <a:lnTo>
                    <a:pt x="84" y="80"/>
                  </a:lnTo>
                  <a:lnTo>
                    <a:pt x="82" y="86"/>
                  </a:lnTo>
                  <a:lnTo>
                    <a:pt x="84" y="86"/>
                  </a:lnTo>
                  <a:lnTo>
                    <a:pt x="86" y="86"/>
                  </a:lnTo>
                  <a:lnTo>
                    <a:pt x="90" y="86"/>
                  </a:lnTo>
                  <a:lnTo>
                    <a:pt x="90" y="88"/>
                  </a:lnTo>
                  <a:lnTo>
                    <a:pt x="86" y="90"/>
                  </a:lnTo>
                  <a:lnTo>
                    <a:pt x="86" y="96"/>
                  </a:lnTo>
                  <a:lnTo>
                    <a:pt x="86" y="98"/>
                  </a:lnTo>
                  <a:lnTo>
                    <a:pt x="92" y="102"/>
                  </a:lnTo>
                  <a:lnTo>
                    <a:pt x="96" y="102"/>
                  </a:lnTo>
                  <a:lnTo>
                    <a:pt x="98" y="102"/>
                  </a:lnTo>
                  <a:lnTo>
                    <a:pt x="98" y="110"/>
                  </a:lnTo>
                  <a:lnTo>
                    <a:pt x="100" y="110"/>
                  </a:lnTo>
                  <a:lnTo>
                    <a:pt x="106" y="104"/>
                  </a:lnTo>
                  <a:lnTo>
                    <a:pt x="110" y="104"/>
                  </a:lnTo>
                  <a:lnTo>
                    <a:pt x="106" y="112"/>
                  </a:lnTo>
                  <a:lnTo>
                    <a:pt x="110" y="116"/>
                  </a:lnTo>
                  <a:lnTo>
                    <a:pt x="112" y="114"/>
                  </a:lnTo>
                  <a:lnTo>
                    <a:pt x="116" y="108"/>
                  </a:lnTo>
                  <a:lnTo>
                    <a:pt x="128" y="86"/>
                  </a:lnTo>
                  <a:lnTo>
                    <a:pt x="132" y="80"/>
                  </a:lnTo>
                  <a:lnTo>
                    <a:pt x="134" y="78"/>
                  </a:lnTo>
                  <a:lnTo>
                    <a:pt x="138" y="78"/>
                  </a:lnTo>
                  <a:lnTo>
                    <a:pt x="148" y="76"/>
                  </a:lnTo>
                  <a:lnTo>
                    <a:pt x="156" y="70"/>
                  </a:lnTo>
                  <a:lnTo>
                    <a:pt x="160" y="68"/>
                  </a:lnTo>
                  <a:lnTo>
                    <a:pt x="170" y="70"/>
                  </a:lnTo>
                  <a:lnTo>
                    <a:pt x="182" y="68"/>
                  </a:lnTo>
                  <a:lnTo>
                    <a:pt x="196" y="64"/>
                  </a:lnTo>
                  <a:lnTo>
                    <a:pt x="196" y="58"/>
                  </a:lnTo>
                  <a:lnTo>
                    <a:pt x="196" y="48"/>
                  </a:lnTo>
                  <a:lnTo>
                    <a:pt x="196" y="46"/>
                  </a:lnTo>
                  <a:lnTo>
                    <a:pt x="190" y="42"/>
                  </a:lnTo>
                  <a:lnTo>
                    <a:pt x="188" y="40"/>
                  </a:lnTo>
                  <a:lnTo>
                    <a:pt x="184" y="36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88" y="28"/>
                  </a:lnTo>
                  <a:lnTo>
                    <a:pt x="194" y="28"/>
                  </a:lnTo>
                  <a:lnTo>
                    <a:pt x="196" y="28"/>
                  </a:lnTo>
                  <a:lnTo>
                    <a:pt x="198" y="26"/>
                  </a:lnTo>
                  <a:lnTo>
                    <a:pt x="200" y="20"/>
                  </a:lnTo>
                  <a:lnTo>
                    <a:pt x="200" y="1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0" name="Line 4839">
              <a:extLst>
                <a:ext uri="{FF2B5EF4-FFF2-40B4-BE49-F238E27FC236}">
                  <a16:creationId xmlns:a16="http://schemas.microsoft.com/office/drawing/2014/main" id="{5DA28E8B-23DC-40A9-BDC3-264101857D5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953100" y="5091810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1" name="Line 4847">
              <a:extLst>
                <a:ext uri="{FF2B5EF4-FFF2-40B4-BE49-F238E27FC236}">
                  <a16:creationId xmlns:a16="http://schemas.microsoft.com/office/drawing/2014/main" id="{EB3CA628-70DA-441B-898D-84C67C6788F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953100" y="5091810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2" name="Freeform 130">
              <a:extLst>
                <a:ext uri="{FF2B5EF4-FFF2-40B4-BE49-F238E27FC236}">
                  <a16:creationId xmlns:a16="http://schemas.microsoft.com/office/drawing/2014/main" id="{BF95A727-1CEB-4488-BE56-C91ED5C0786A}"/>
                </a:ext>
              </a:extLst>
            </p:cNvPr>
            <p:cNvSpPr/>
            <p:nvPr/>
          </p:nvSpPr>
          <p:spPr bwMode="auto">
            <a:xfrm>
              <a:off x="5511215" y="5314594"/>
              <a:ext cx="74004" cy="70921"/>
            </a:xfrm>
            <a:custGeom>
              <a:avLst/>
              <a:gdLst>
                <a:gd name="connsiteX0" fmla="*/ 214430 w 457452"/>
                <a:gd name="connsiteY0" fmla="*/ 228724 h 438392"/>
                <a:gd name="connsiteX1" fmla="*/ 219196 w 457452"/>
                <a:gd name="connsiteY1" fmla="*/ 228724 h 438392"/>
                <a:gd name="connsiteX2" fmla="*/ 219196 w 457452"/>
                <a:gd name="connsiteY2" fmla="*/ 233490 h 438392"/>
                <a:gd name="connsiteX3" fmla="*/ 223960 w 457452"/>
                <a:gd name="connsiteY3" fmla="*/ 238256 h 438392"/>
                <a:gd name="connsiteX4" fmla="*/ 228726 w 457452"/>
                <a:gd name="connsiteY4" fmla="*/ 243020 h 438392"/>
                <a:gd name="connsiteX5" fmla="*/ 243022 w 457452"/>
                <a:gd name="connsiteY5" fmla="*/ 247786 h 438392"/>
                <a:gd name="connsiteX6" fmla="*/ 452686 w 457452"/>
                <a:gd name="connsiteY6" fmla="*/ 247786 h 438392"/>
                <a:gd name="connsiteX7" fmla="*/ 457452 w 457452"/>
                <a:gd name="connsiteY7" fmla="*/ 285906 h 438392"/>
                <a:gd name="connsiteX8" fmla="*/ 457452 w 457452"/>
                <a:gd name="connsiteY8" fmla="*/ 381210 h 438392"/>
                <a:gd name="connsiteX9" fmla="*/ 457452 w 457452"/>
                <a:gd name="connsiteY9" fmla="*/ 414566 h 438392"/>
                <a:gd name="connsiteX10" fmla="*/ 457452 w 457452"/>
                <a:gd name="connsiteY10" fmla="*/ 433626 h 438392"/>
                <a:gd name="connsiteX11" fmla="*/ 424096 w 457452"/>
                <a:gd name="connsiteY11" fmla="*/ 433626 h 438392"/>
                <a:gd name="connsiteX12" fmla="*/ 381210 w 457452"/>
                <a:gd name="connsiteY12" fmla="*/ 428860 h 438392"/>
                <a:gd name="connsiteX13" fmla="*/ 252552 w 457452"/>
                <a:gd name="connsiteY13" fmla="*/ 428860 h 438392"/>
                <a:gd name="connsiteX14" fmla="*/ 243022 w 457452"/>
                <a:gd name="connsiteY14" fmla="*/ 433626 h 438392"/>
                <a:gd name="connsiteX15" fmla="*/ 238256 w 457452"/>
                <a:gd name="connsiteY15" fmla="*/ 438392 h 438392"/>
                <a:gd name="connsiteX16" fmla="*/ 233492 w 457452"/>
                <a:gd name="connsiteY16" fmla="*/ 438392 h 438392"/>
                <a:gd name="connsiteX17" fmla="*/ 223960 w 457452"/>
                <a:gd name="connsiteY17" fmla="*/ 433626 h 438392"/>
                <a:gd name="connsiteX18" fmla="*/ 214430 w 457452"/>
                <a:gd name="connsiteY18" fmla="*/ 433626 h 438392"/>
                <a:gd name="connsiteX19" fmla="*/ 214430 w 457452"/>
                <a:gd name="connsiteY19" fmla="*/ 428860 h 438392"/>
                <a:gd name="connsiteX20" fmla="*/ 209666 w 457452"/>
                <a:gd name="connsiteY20" fmla="*/ 419330 h 438392"/>
                <a:gd name="connsiteX21" fmla="*/ 200136 w 457452"/>
                <a:gd name="connsiteY21" fmla="*/ 419330 h 438392"/>
                <a:gd name="connsiteX22" fmla="*/ 195370 w 457452"/>
                <a:gd name="connsiteY22" fmla="*/ 419330 h 438392"/>
                <a:gd name="connsiteX23" fmla="*/ 190606 w 457452"/>
                <a:gd name="connsiteY23" fmla="*/ 424096 h 438392"/>
                <a:gd name="connsiteX24" fmla="*/ 181074 w 457452"/>
                <a:gd name="connsiteY24" fmla="*/ 428860 h 438392"/>
                <a:gd name="connsiteX25" fmla="*/ 185840 w 457452"/>
                <a:gd name="connsiteY25" fmla="*/ 424096 h 438392"/>
                <a:gd name="connsiteX26" fmla="*/ 171544 w 457452"/>
                <a:gd name="connsiteY26" fmla="*/ 414566 h 438392"/>
                <a:gd name="connsiteX27" fmla="*/ 162014 w 457452"/>
                <a:gd name="connsiteY27" fmla="*/ 414566 h 438392"/>
                <a:gd name="connsiteX28" fmla="*/ 152484 w 457452"/>
                <a:gd name="connsiteY28" fmla="*/ 409800 h 438392"/>
                <a:gd name="connsiteX29" fmla="*/ 157250 w 457452"/>
                <a:gd name="connsiteY29" fmla="*/ 385974 h 438392"/>
                <a:gd name="connsiteX30" fmla="*/ 166780 w 457452"/>
                <a:gd name="connsiteY30" fmla="*/ 362148 h 438392"/>
                <a:gd name="connsiteX31" fmla="*/ 181074 w 457452"/>
                <a:gd name="connsiteY31" fmla="*/ 347854 h 438392"/>
                <a:gd name="connsiteX32" fmla="*/ 190606 w 457452"/>
                <a:gd name="connsiteY32" fmla="*/ 343088 h 438392"/>
                <a:gd name="connsiteX33" fmla="*/ 190606 w 457452"/>
                <a:gd name="connsiteY33" fmla="*/ 333558 h 438392"/>
                <a:gd name="connsiteX34" fmla="*/ 204900 w 457452"/>
                <a:gd name="connsiteY34" fmla="*/ 309732 h 438392"/>
                <a:gd name="connsiteX35" fmla="*/ 214430 w 457452"/>
                <a:gd name="connsiteY35" fmla="*/ 285906 h 438392"/>
                <a:gd name="connsiteX36" fmla="*/ 214430 w 457452"/>
                <a:gd name="connsiteY36" fmla="*/ 262080 h 438392"/>
                <a:gd name="connsiteX37" fmla="*/ 47652 w 457452"/>
                <a:gd name="connsiteY37" fmla="*/ 0 h 438392"/>
                <a:gd name="connsiteX38" fmla="*/ 52416 w 457452"/>
                <a:gd name="connsiteY38" fmla="*/ 0 h 438392"/>
                <a:gd name="connsiteX39" fmla="*/ 76242 w 457452"/>
                <a:gd name="connsiteY39" fmla="*/ 0 h 438392"/>
                <a:gd name="connsiteX40" fmla="*/ 81006 w 457452"/>
                <a:gd name="connsiteY40" fmla="*/ 9530 h 438392"/>
                <a:gd name="connsiteX41" fmla="*/ 81006 w 457452"/>
                <a:gd name="connsiteY41" fmla="*/ 19060 h 438392"/>
                <a:gd name="connsiteX42" fmla="*/ 57182 w 457452"/>
                <a:gd name="connsiteY42" fmla="*/ 57180 h 438392"/>
                <a:gd name="connsiteX43" fmla="*/ 52416 w 457452"/>
                <a:gd name="connsiteY43" fmla="*/ 71476 h 438392"/>
                <a:gd name="connsiteX44" fmla="*/ 42886 w 457452"/>
                <a:gd name="connsiteY44" fmla="*/ 85772 h 438392"/>
                <a:gd name="connsiteX45" fmla="*/ 38120 w 457452"/>
                <a:gd name="connsiteY45" fmla="*/ 85772 h 438392"/>
                <a:gd name="connsiteX46" fmla="*/ 9530 w 457452"/>
                <a:gd name="connsiteY46" fmla="*/ 76240 h 438392"/>
                <a:gd name="connsiteX47" fmla="*/ 4766 w 457452"/>
                <a:gd name="connsiteY47" fmla="*/ 71476 h 438392"/>
                <a:gd name="connsiteX48" fmla="*/ 0 w 457452"/>
                <a:gd name="connsiteY48" fmla="*/ 66710 h 438392"/>
                <a:gd name="connsiteX49" fmla="*/ 4766 w 457452"/>
                <a:gd name="connsiteY49" fmla="*/ 52416 h 438392"/>
                <a:gd name="connsiteX50" fmla="*/ 9530 w 457452"/>
                <a:gd name="connsiteY50" fmla="*/ 47650 h 438392"/>
                <a:gd name="connsiteX51" fmla="*/ 19060 w 457452"/>
                <a:gd name="connsiteY51" fmla="*/ 47650 h 438392"/>
                <a:gd name="connsiteX52" fmla="*/ 23826 w 457452"/>
                <a:gd name="connsiteY52" fmla="*/ 42884 h 438392"/>
                <a:gd name="connsiteX53" fmla="*/ 33356 w 457452"/>
                <a:gd name="connsiteY53" fmla="*/ 28590 h 438392"/>
                <a:gd name="connsiteX54" fmla="*/ 33356 w 457452"/>
                <a:gd name="connsiteY54" fmla="*/ 14294 h 438392"/>
                <a:gd name="connsiteX55" fmla="*/ 38120 w 457452"/>
                <a:gd name="connsiteY55" fmla="*/ 4764 h 438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457452" h="438392">
                  <a:moveTo>
                    <a:pt x="214430" y="228724"/>
                  </a:moveTo>
                  <a:lnTo>
                    <a:pt x="219196" y="228724"/>
                  </a:lnTo>
                  <a:lnTo>
                    <a:pt x="219196" y="233490"/>
                  </a:lnTo>
                  <a:lnTo>
                    <a:pt x="223960" y="238256"/>
                  </a:lnTo>
                  <a:lnTo>
                    <a:pt x="228726" y="243020"/>
                  </a:lnTo>
                  <a:lnTo>
                    <a:pt x="243022" y="247786"/>
                  </a:lnTo>
                  <a:lnTo>
                    <a:pt x="452686" y="247786"/>
                  </a:lnTo>
                  <a:lnTo>
                    <a:pt x="457452" y="285906"/>
                  </a:lnTo>
                  <a:lnTo>
                    <a:pt x="457452" y="381210"/>
                  </a:lnTo>
                  <a:lnTo>
                    <a:pt x="457452" y="414566"/>
                  </a:lnTo>
                  <a:lnTo>
                    <a:pt x="457452" y="433626"/>
                  </a:lnTo>
                  <a:lnTo>
                    <a:pt x="424096" y="433626"/>
                  </a:lnTo>
                  <a:lnTo>
                    <a:pt x="381210" y="428860"/>
                  </a:lnTo>
                  <a:lnTo>
                    <a:pt x="252552" y="428860"/>
                  </a:lnTo>
                  <a:lnTo>
                    <a:pt x="243022" y="433626"/>
                  </a:lnTo>
                  <a:lnTo>
                    <a:pt x="238256" y="438392"/>
                  </a:lnTo>
                  <a:lnTo>
                    <a:pt x="233492" y="438392"/>
                  </a:lnTo>
                  <a:lnTo>
                    <a:pt x="223960" y="433626"/>
                  </a:lnTo>
                  <a:lnTo>
                    <a:pt x="214430" y="433626"/>
                  </a:lnTo>
                  <a:lnTo>
                    <a:pt x="214430" y="428860"/>
                  </a:lnTo>
                  <a:lnTo>
                    <a:pt x="209666" y="419330"/>
                  </a:lnTo>
                  <a:lnTo>
                    <a:pt x="200136" y="419330"/>
                  </a:lnTo>
                  <a:lnTo>
                    <a:pt x="195370" y="419330"/>
                  </a:lnTo>
                  <a:lnTo>
                    <a:pt x="190606" y="424096"/>
                  </a:lnTo>
                  <a:lnTo>
                    <a:pt x="181074" y="428860"/>
                  </a:lnTo>
                  <a:lnTo>
                    <a:pt x="185840" y="424096"/>
                  </a:lnTo>
                  <a:lnTo>
                    <a:pt x="171544" y="414566"/>
                  </a:lnTo>
                  <a:lnTo>
                    <a:pt x="162014" y="414566"/>
                  </a:lnTo>
                  <a:lnTo>
                    <a:pt x="152484" y="409800"/>
                  </a:lnTo>
                  <a:lnTo>
                    <a:pt x="157250" y="385974"/>
                  </a:lnTo>
                  <a:lnTo>
                    <a:pt x="166780" y="362148"/>
                  </a:lnTo>
                  <a:lnTo>
                    <a:pt x="181074" y="347854"/>
                  </a:lnTo>
                  <a:lnTo>
                    <a:pt x="190606" y="343088"/>
                  </a:lnTo>
                  <a:lnTo>
                    <a:pt x="190606" y="333558"/>
                  </a:lnTo>
                  <a:lnTo>
                    <a:pt x="204900" y="309732"/>
                  </a:lnTo>
                  <a:lnTo>
                    <a:pt x="214430" y="285906"/>
                  </a:lnTo>
                  <a:lnTo>
                    <a:pt x="214430" y="262080"/>
                  </a:lnTo>
                  <a:close/>
                  <a:moveTo>
                    <a:pt x="47652" y="0"/>
                  </a:moveTo>
                  <a:lnTo>
                    <a:pt x="52416" y="0"/>
                  </a:lnTo>
                  <a:lnTo>
                    <a:pt x="76242" y="0"/>
                  </a:lnTo>
                  <a:lnTo>
                    <a:pt x="81006" y="9530"/>
                  </a:lnTo>
                  <a:lnTo>
                    <a:pt x="81006" y="19060"/>
                  </a:lnTo>
                  <a:lnTo>
                    <a:pt x="57182" y="57180"/>
                  </a:lnTo>
                  <a:lnTo>
                    <a:pt x="52416" y="71476"/>
                  </a:lnTo>
                  <a:lnTo>
                    <a:pt x="42886" y="85772"/>
                  </a:lnTo>
                  <a:lnTo>
                    <a:pt x="38120" y="85772"/>
                  </a:lnTo>
                  <a:lnTo>
                    <a:pt x="9530" y="76240"/>
                  </a:lnTo>
                  <a:lnTo>
                    <a:pt x="4766" y="71476"/>
                  </a:lnTo>
                  <a:lnTo>
                    <a:pt x="0" y="66710"/>
                  </a:lnTo>
                  <a:lnTo>
                    <a:pt x="4766" y="52416"/>
                  </a:lnTo>
                  <a:lnTo>
                    <a:pt x="9530" y="47650"/>
                  </a:lnTo>
                  <a:lnTo>
                    <a:pt x="19060" y="47650"/>
                  </a:lnTo>
                  <a:lnTo>
                    <a:pt x="23826" y="42884"/>
                  </a:lnTo>
                  <a:lnTo>
                    <a:pt x="33356" y="28590"/>
                  </a:lnTo>
                  <a:lnTo>
                    <a:pt x="33356" y="14294"/>
                  </a:lnTo>
                  <a:lnTo>
                    <a:pt x="38120" y="476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3" name="Freeform 131">
              <a:extLst>
                <a:ext uri="{FF2B5EF4-FFF2-40B4-BE49-F238E27FC236}">
                  <a16:creationId xmlns:a16="http://schemas.microsoft.com/office/drawing/2014/main" id="{F9A96615-4197-4CBA-A0E5-04B5DC5C90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94898" y="4246930"/>
              <a:ext cx="216617" cy="219700"/>
            </a:xfrm>
            <a:custGeom>
              <a:avLst/>
              <a:gdLst>
                <a:gd name="connsiteX0" fmla="*/ 638528 w 1339002"/>
                <a:gd name="connsiteY0" fmla="*/ 1219872 h 1358062"/>
                <a:gd name="connsiteX1" fmla="*/ 643294 w 1339002"/>
                <a:gd name="connsiteY1" fmla="*/ 1224638 h 1358062"/>
                <a:gd name="connsiteX2" fmla="*/ 648060 w 1339002"/>
                <a:gd name="connsiteY2" fmla="*/ 1238932 h 1358062"/>
                <a:gd name="connsiteX3" fmla="*/ 657590 w 1339002"/>
                <a:gd name="connsiteY3" fmla="*/ 1243698 h 1358062"/>
                <a:gd name="connsiteX4" fmla="*/ 667120 w 1339002"/>
                <a:gd name="connsiteY4" fmla="*/ 1243698 h 1358062"/>
                <a:gd name="connsiteX5" fmla="*/ 681414 w 1339002"/>
                <a:gd name="connsiteY5" fmla="*/ 1243698 h 1358062"/>
                <a:gd name="connsiteX6" fmla="*/ 686180 w 1339002"/>
                <a:gd name="connsiteY6" fmla="*/ 1243698 h 1358062"/>
                <a:gd name="connsiteX7" fmla="*/ 695710 w 1339002"/>
                <a:gd name="connsiteY7" fmla="*/ 1229402 h 1358062"/>
                <a:gd name="connsiteX8" fmla="*/ 705240 w 1339002"/>
                <a:gd name="connsiteY8" fmla="*/ 1229402 h 1358062"/>
                <a:gd name="connsiteX9" fmla="*/ 710006 w 1339002"/>
                <a:gd name="connsiteY9" fmla="*/ 1243698 h 1358062"/>
                <a:gd name="connsiteX10" fmla="*/ 700476 w 1339002"/>
                <a:gd name="connsiteY10" fmla="*/ 1248462 h 1358062"/>
                <a:gd name="connsiteX11" fmla="*/ 695710 w 1339002"/>
                <a:gd name="connsiteY11" fmla="*/ 1248462 h 1358062"/>
                <a:gd name="connsiteX12" fmla="*/ 700476 w 1339002"/>
                <a:gd name="connsiteY12" fmla="*/ 1253228 h 1358062"/>
                <a:gd name="connsiteX13" fmla="*/ 710006 w 1339002"/>
                <a:gd name="connsiteY13" fmla="*/ 1257994 h 1358062"/>
                <a:gd name="connsiteX14" fmla="*/ 719536 w 1339002"/>
                <a:gd name="connsiteY14" fmla="*/ 1253228 h 1358062"/>
                <a:gd name="connsiteX15" fmla="*/ 719536 w 1339002"/>
                <a:gd name="connsiteY15" fmla="*/ 1262758 h 1358062"/>
                <a:gd name="connsiteX16" fmla="*/ 724302 w 1339002"/>
                <a:gd name="connsiteY16" fmla="*/ 1272288 h 1358062"/>
                <a:gd name="connsiteX17" fmla="*/ 729066 w 1339002"/>
                <a:gd name="connsiteY17" fmla="*/ 1277054 h 1358062"/>
                <a:gd name="connsiteX18" fmla="*/ 733832 w 1339002"/>
                <a:gd name="connsiteY18" fmla="*/ 1277054 h 1358062"/>
                <a:gd name="connsiteX19" fmla="*/ 748126 w 1339002"/>
                <a:gd name="connsiteY19" fmla="*/ 1272288 h 1358062"/>
                <a:gd name="connsiteX20" fmla="*/ 762422 w 1339002"/>
                <a:gd name="connsiteY20" fmla="*/ 1272288 h 1358062"/>
                <a:gd name="connsiteX21" fmla="*/ 776718 w 1339002"/>
                <a:gd name="connsiteY21" fmla="*/ 1267524 h 1358062"/>
                <a:gd name="connsiteX22" fmla="*/ 791014 w 1339002"/>
                <a:gd name="connsiteY22" fmla="*/ 1262758 h 1358062"/>
                <a:gd name="connsiteX23" fmla="*/ 838664 w 1339002"/>
                <a:gd name="connsiteY23" fmla="*/ 1267524 h 1358062"/>
                <a:gd name="connsiteX24" fmla="*/ 852960 w 1339002"/>
                <a:gd name="connsiteY24" fmla="*/ 1277054 h 1358062"/>
                <a:gd name="connsiteX25" fmla="*/ 881550 w 1339002"/>
                <a:gd name="connsiteY25" fmla="*/ 1281818 h 1358062"/>
                <a:gd name="connsiteX26" fmla="*/ 910142 w 1339002"/>
                <a:gd name="connsiteY26" fmla="*/ 1286584 h 1358062"/>
                <a:gd name="connsiteX27" fmla="*/ 924436 w 1339002"/>
                <a:gd name="connsiteY27" fmla="*/ 1281818 h 1358062"/>
                <a:gd name="connsiteX28" fmla="*/ 948262 w 1339002"/>
                <a:gd name="connsiteY28" fmla="*/ 1277054 h 1358062"/>
                <a:gd name="connsiteX29" fmla="*/ 953028 w 1339002"/>
                <a:gd name="connsiteY29" fmla="*/ 1281818 h 1358062"/>
                <a:gd name="connsiteX30" fmla="*/ 953028 w 1339002"/>
                <a:gd name="connsiteY30" fmla="*/ 1310410 h 1358062"/>
                <a:gd name="connsiteX31" fmla="*/ 953028 w 1339002"/>
                <a:gd name="connsiteY31" fmla="*/ 1319940 h 1358062"/>
                <a:gd name="connsiteX32" fmla="*/ 957792 w 1339002"/>
                <a:gd name="connsiteY32" fmla="*/ 1319940 h 1358062"/>
                <a:gd name="connsiteX33" fmla="*/ 967322 w 1339002"/>
                <a:gd name="connsiteY33" fmla="*/ 1319940 h 1358062"/>
                <a:gd name="connsiteX34" fmla="*/ 976854 w 1339002"/>
                <a:gd name="connsiteY34" fmla="*/ 1310410 h 1358062"/>
                <a:gd name="connsiteX35" fmla="*/ 995914 w 1339002"/>
                <a:gd name="connsiteY35" fmla="*/ 1305644 h 1358062"/>
                <a:gd name="connsiteX36" fmla="*/ 1019740 w 1339002"/>
                <a:gd name="connsiteY36" fmla="*/ 1305644 h 1358062"/>
                <a:gd name="connsiteX37" fmla="*/ 1038800 w 1339002"/>
                <a:gd name="connsiteY37" fmla="*/ 1286584 h 1358062"/>
                <a:gd name="connsiteX38" fmla="*/ 1043564 w 1339002"/>
                <a:gd name="connsiteY38" fmla="*/ 1286584 h 1358062"/>
                <a:gd name="connsiteX39" fmla="*/ 1038800 w 1339002"/>
                <a:gd name="connsiteY39" fmla="*/ 1296114 h 1358062"/>
                <a:gd name="connsiteX40" fmla="*/ 1038800 w 1339002"/>
                <a:gd name="connsiteY40" fmla="*/ 1315174 h 1358062"/>
                <a:gd name="connsiteX41" fmla="*/ 1034034 w 1339002"/>
                <a:gd name="connsiteY41" fmla="*/ 1324706 h 1358062"/>
                <a:gd name="connsiteX42" fmla="*/ 1029270 w 1339002"/>
                <a:gd name="connsiteY42" fmla="*/ 1334236 h 1358062"/>
                <a:gd name="connsiteX43" fmla="*/ 1019740 w 1339002"/>
                <a:gd name="connsiteY43" fmla="*/ 1339000 h 1358062"/>
                <a:gd name="connsiteX44" fmla="*/ 1000678 w 1339002"/>
                <a:gd name="connsiteY44" fmla="*/ 1343766 h 1358062"/>
                <a:gd name="connsiteX45" fmla="*/ 967322 w 1339002"/>
                <a:gd name="connsiteY45" fmla="*/ 1339000 h 1358062"/>
                <a:gd name="connsiteX46" fmla="*/ 933966 w 1339002"/>
                <a:gd name="connsiteY46" fmla="*/ 1343766 h 1358062"/>
                <a:gd name="connsiteX47" fmla="*/ 867256 w 1339002"/>
                <a:gd name="connsiteY47" fmla="*/ 1353296 h 1358062"/>
                <a:gd name="connsiteX48" fmla="*/ 805308 w 1339002"/>
                <a:gd name="connsiteY48" fmla="*/ 1358062 h 1358062"/>
                <a:gd name="connsiteX49" fmla="*/ 795778 w 1339002"/>
                <a:gd name="connsiteY49" fmla="*/ 1353296 h 1358062"/>
                <a:gd name="connsiteX50" fmla="*/ 795778 w 1339002"/>
                <a:gd name="connsiteY50" fmla="*/ 1343766 h 1358062"/>
                <a:gd name="connsiteX51" fmla="*/ 795778 w 1339002"/>
                <a:gd name="connsiteY51" fmla="*/ 1334236 h 1358062"/>
                <a:gd name="connsiteX52" fmla="*/ 791014 w 1339002"/>
                <a:gd name="connsiteY52" fmla="*/ 1329470 h 1358062"/>
                <a:gd name="connsiteX53" fmla="*/ 771952 w 1339002"/>
                <a:gd name="connsiteY53" fmla="*/ 1324706 h 1358062"/>
                <a:gd name="connsiteX54" fmla="*/ 752892 w 1339002"/>
                <a:gd name="connsiteY54" fmla="*/ 1315174 h 1358062"/>
                <a:gd name="connsiteX55" fmla="*/ 681414 w 1339002"/>
                <a:gd name="connsiteY55" fmla="*/ 1300880 h 1358062"/>
                <a:gd name="connsiteX56" fmla="*/ 662354 w 1339002"/>
                <a:gd name="connsiteY56" fmla="*/ 1296114 h 1358062"/>
                <a:gd name="connsiteX57" fmla="*/ 633764 w 1339002"/>
                <a:gd name="connsiteY57" fmla="*/ 1300880 h 1358062"/>
                <a:gd name="connsiteX58" fmla="*/ 624234 w 1339002"/>
                <a:gd name="connsiteY58" fmla="*/ 1300880 h 1358062"/>
                <a:gd name="connsiteX59" fmla="*/ 614704 w 1339002"/>
                <a:gd name="connsiteY59" fmla="*/ 1296114 h 1358062"/>
                <a:gd name="connsiteX60" fmla="*/ 609938 w 1339002"/>
                <a:gd name="connsiteY60" fmla="*/ 1286584 h 1358062"/>
                <a:gd name="connsiteX61" fmla="*/ 609938 w 1339002"/>
                <a:gd name="connsiteY61" fmla="*/ 1267524 h 1358062"/>
                <a:gd name="connsiteX62" fmla="*/ 614704 w 1339002"/>
                <a:gd name="connsiteY62" fmla="*/ 1243698 h 1358062"/>
                <a:gd name="connsiteX63" fmla="*/ 619468 w 1339002"/>
                <a:gd name="connsiteY63" fmla="*/ 1234168 h 1358062"/>
                <a:gd name="connsiteX64" fmla="*/ 624234 w 1339002"/>
                <a:gd name="connsiteY64" fmla="*/ 1243698 h 1358062"/>
                <a:gd name="connsiteX65" fmla="*/ 628998 w 1339002"/>
                <a:gd name="connsiteY65" fmla="*/ 1248462 h 1358062"/>
                <a:gd name="connsiteX66" fmla="*/ 633764 w 1339002"/>
                <a:gd name="connsiteY66" fmla="*/ 1238932 h 1358062"/>
                <a:gd name="connsiteX67" fmla="*/ 633764 w 1339002"/>
                <a:gd name="connsiteY67" fmla="*/ 1229402 h 1358062"/>
                <a:gd name="connsiteX68" fmla="*/ 1181752 w 1339002"/>
                <a:gd name="connsiteY68" fmla="*/ 1186518 h 1358062"/>
                <a:gd name="connsiteX69" fmla="*/ 1181752 w 1339002"/>
                <a:gd name="connsiteY69" fmla="*/ 1205578 h 1358062"/>
                <a:gd name="connsiteX70" fmla="*/ 1172222 w 1339002"/>
                <a:gd name="connsiteY70" fmla="*/ 1224638 h 1358062"/>
                <a:gd name="connsiteX71" fmla="*/ 1181752 w 1339002"/>
                <a:gd name="connsiteY71" fmla="*/ 1238934 h 1358062"/>
                <a:gd name="connsiteX72" fmla="*/ 1186518 w 1339002"/>
                <a:gd name="connsiteY72" fmla="*/ 1253228 h 1358062"/>
                <a:gd name="connsiteX73" fmla="*/ 1176988 w 1339002"/>
                <a:gd name="connsiteY73" fmla="*/ 1257994 h 1358062"/>
                <a:gd name="connsiteX74" fmla="*/ 1172222 w 1339002"/>
                <a:gd name="connsiteY74" fmla="*/ 1267524 h 1358062"/>
                <a:gd name="connsiteX75" fmla="*/ 1162692 w 1339002"/>
                <a:gd name="connsiteY75" fmla="*/ 1257994 h 1358062"/>
                <a:gd name="connsiteX76" fmla="*/ 1167458 w 1339002"/>
                <a:gd name="connsiteY76" fmla="*/ 1248464 h 1358062"/>
                <a:gd name="connsiteX77" fmla="*/ 1157928 w 1339002"/>
                <a:gd name="connsiteY77" fmla="*/ 1229404 h 1358062"/>
                <a:gd name="connsiteX78" fmla="*/ 1172222 w 1339002"/>
                <a:gd name="connsiteY78" fmla="*/ 1205578 h 1358062"/>
                <a:gd name="connsiteX79" fmla="*/ 1172222 w 1339002"/>
                <a:gd name="connsiteY79" fmla="*/ 1191282 h 1358062"/>
                <a:gd name="connsiteX80" fmla="*/ 514636 w 1339002"/>
                <a:gd name="connsiteY80" fmla="*/ 1076918 h 1358062"/>
                <a:gd name="connsiteX81" fmla="*/ 524166 w 1339002"/>
                <a:gd name="connsiteY81" fmla="*/ 1091214 h 1358062"/>
                <a:gd name="connsiteX82" fmla="*/ 538460 w 1339002"/>
                <a:gd name="connsiteY82" fmla="*/ 1105510 h 1358062"/>
                <a:gd name="connsiteX83" fmla="*/ 533696 w 1339002"/>
                <a:gd name="connsiteY83" fmla="*/ 1115040 h 1358062"/>
                <a:gd name="connsiteX84" fmla="*/ 528930 w 1339002"/>
                <a:gd name="connsiteY84" fmla="*/ 1124570 h 1358062"/>
                <a:gd name="connsiteX85" fmla="*/ 514636 w 1339002"/>
                <a:gd name="connsiteY85" fmla="*/ 1119804 h 1358062"/>
                <a:gd name="connsiteX86" fmla="*/ 509870 w 1339002"/>
                <a:gd name="connsiteY86" fmla="*/ 1110274 h 1358062"/>
                <a:gd name="connsiteX87" fmla="*/ 509870 w 1339002"/>
                <a:gd name="connsiteY87" fmla="*/ 1091214 h 1358062"/>
                <a:gd name="connsiteX88" fmla="*/ 514636 w 1339002"/>
                <a:gd name="connsiteY88" fmla="*/ 1081684 h 1358062"/>
                <a:gd name="connsiteX89" fmla="*/ 1339002 w 1339002"/>
                <a:gd name="connsiteY89" fmla="*/ 1067388 h 1358062"/>
                <a:gd name="connsiteX90" fmla="*/ 1339002 w 1339002"/>
                <a:gd name="connsiteY90" fmla="*/ 1081684 h 1358062"/>
                <a:gd name="connsiteX91" fmla="*/ 1329472 w 1339002"/>
                <a:gd name="connsiteY91" fmla="*/ 1110274 h 1358062"/>
                <a:gd name="connsiteX92" fmla="*/ 1315176 w 1339002"/>
                <a:gd name="connsiteY92" fmla="*/ 1129334 h 1358062"/>
                <a:gd name="connsiteX93" fmla="*/ 1319942 w 1339002"/>
                <a:gd name="connsiteY93" fmla="*/ 1138866 h 1358062"/>
                <a:gd name="connsiteX94" fmla="*/ 1300882 w 1339002"/>
                <a:gd name="connsiteY94" fmla="*/ 1143630 h 1358062"/>
                <a:gd name="connsiteX95" fmla="*/ 1281820 w 1339002"/>
                <a:gd name="connsiteY95" fmla="*/ 1167456 h 1358062"/>
                <a:gd name="connsiteX96" fmla="*/ 1267526 w 1339002"/>
                <a:gd name="connsiteY96" fmla="*/ 1172222 h 1358062"/>
                <a:gd name="connsiteX97" fmla="*/ 1262760 w 1339002"/>
                <a:gd name="connsiteY97" fmla="*/ 1172222 h 1358062"/>
                <a:gd name="connsiteX98" fmla="*/ 1257996 w 1339002"/>
                <a:gd name="connsiteY98" fmla="*/ 1162690 h 1358062"/>
                <a:gd name="connsiteX99" fmla="*/ 1267526 w 1339002"/>
                <a:gd name="connsiteY99" fmla="*/ 1138866 h 1358062"/>
                <a:gd name="connsiteX100" fmla="*/ 1262760 w 1339002"/>
                <a:gd name="connsiteY100" fmla="*/ 1124570 h 1358062"/>
                <a:gd name="connsiteX101" fmla="*/ 1262760 w 1339002"/>
                <a:gd name="connsiteY101" fmla="*/ 1119804 h 1358062"/>
                <a:gd name="connsiteX102" fmla="*/ 1267526 w 1339002"/>
                <a:gd name="connsiteY102" fmla="*/ 1110274 h 1358062"/>
                <a:gd name="connsiteX103" fmla="*/ 1277056 w 1339002"/>
                <a:gd name="connsiteY103" fmla="*/ 1100744 h 1358062"/>
                <a:gd name="connsiteX104" fmla="*/ 1291350 w 1339002"/>
                <a:gd name="connsiteY104" fmla="*/ 1086448 h 1358062"/>
                <a:gd name="connsiteX105" fmla="*/ 1329472 w 1339002"/>
                <a:gd name="connsiteY105" fmla="*/ 1072154 h 1358062"/>
                <a:gd name="connsiteX106" fmla="*/ 900610 w 1339002"/>
                <a:gd name="connsiteY106" fmla="*/ 1062622 h 1358062"/>
                <a:gd name="connsiteX107" fmla="*/ 910140 w 1339002"/>
                <a:gd name="connsiteY107" fmla="*/ 1067388 h 1358062"/>
                <a:gd name="connsiteX108" fmla="*/ 910140 w 1339002"/>
                <a:gd name="connsiteY108" fmla="*/ 1076918 h 1358062"/>
                <a:gd name="connsiteX109" fmla="*/ 905376 w 1339002"/>
                <a:gd name="connsiteY109" fmla="*/ 1086450 h 1358062"/>
                <a:gd name="connsiteX110" fmla="*/ 895844 w 1339002"/>
                <a:gd name="connsiteY110" fmla="*/ 1081684 h 1358062"/>
                <a:gd name="connsiteX111" fmla="*/ 900610 w 1339002"/>
                <a:gd name="connsiteY111" fmla="*/ 1076918 h 1358062"/>
                <a:gd name="connsiteX112" fmla="*/ 900610 w 1339002"/>
                <a:gd name="connsiteY112" fmla="*/ 1072154 h 1358062"/>
                <a:gd name="connsiteX113" fmla="*/ 900610 w 1339002"/>
                <a:gd name="connsiteY113" fmla="*/ 1067388 h 1358062"/>
                <a:gd name="connsiteX114" fmla="*/ 1277056 w 1339002"/>
                <a:gd name="connsiteY114" fmla="*/ 1029266 h 1358062"/>
                <a:gd name="connsiteX115" fmla="*/ 1281820 w 1339002"/>
                <a:gd name="connsiteY115" fmla="*/ 1029266 h 1358062"/>
                <a:gd name="connsiteX116" fmla="*/ 1286584 w 1339002"/>
                <a:gd name="connsiteY116" fmla="*/ 1034032 h 1358062"/>
                <a:gd name="connsiteX117" fmla="*/ 1286584 w 1339002"/>
                <a:gd name="connsiteY117" fmla="*/ 1038798 h 1358062"/>
                <a:gd name="connsiteX118" fmla="*/ 1281820 w 1339002"/>
                <a:gd name="connsiteY118" fmla="*/ 1043562 h 1358062"/>
                <a:gd name="connsiteX119" fmla="*/ 1281820 w 1339002"/>
                <a:gd name="connsiteY119" fmla="*/ 1048328 h 1358062"/>
                <a:gd name="connsiteX120" fmla="*/ 1272290 w 1339002"/>
                <a:gd name="connsiteY120" fmla="*/ 1038798 h 1358062"/>
                <a:gd name="connsiteX121" fmla="*/ 1272290 w 1339002"/>
                <a:gd name="connsiteY121" fmla="*/ 1034032 h 1358062"/>
                <a:gd name="connsiteX122" fmla="*/ 1048330 w 1339002"/>
                <a:gd name="connsiteY122" fmla="*/ 1029266 h 1358062"/>
                <a:gd name="connsiteX123" fmla="*/ 1057860 w 1339002"/>
                <a:gd name="connsiteY123" fmla="*/ 1034032 h 1358062"/>
                <a:gd name="connsiteX124" fmla="*/ 1062624 w 1339002"/>
                <a:gd name="connsiteY124" fmla="*/ 1038798 h 1358062"/>
                <a:gd name="connsiteX125" fmla="*/ 1053094 w 1339002"/>
                <a:gd name="connsiteY125" fmla="*/ 1043562 h 1358062"/>
                <a:gd name="connsiteX126" fmla="*/ 1043564 w 1339002"/>
                <a:gd name="connsiteY126" fmla="*/ 1053094 h 1358062"/>
                <a:gd name="connsiteX127" fmla="*/ 1034034 w 1339002"/>
                <a:gd name="connsiteY127" fmla="*/ 1048328 h 1358062"/>
                <a:gd name="connsiteX128" fmla="*/ 1034034 w 1339002"/>
                <a:gd name="connsiteY128" fmla="*/ 1038798 h 1358062"/>
                <a:gd name="connsiteX129" fmla="*/ 1043564 w 1339002"/>
                <a:gd name="connsiteY129" fmla="*/ 1038798 h 1358062"/>
                <a:gd name="connsiteX130" fmla="*/ 1053094 w 1339002"/>
                <a:gd name="connsiteY130" fmla="*/ 1034032 h 1358062"/>
                <a:gd name="connsiteX131" fmla="*/ 762422 w 1339002"/>
                <a:gd name="connsiteY131" fmla="*/ 1005442 h 1358062"/>
                <a:gd name="connsiteX132" fmla="*/ 762422 w 1339002"/>
                <a:gd name="connsiteY132" fmla="*/ 1014972 h 1358062"/>
                <a:gd name="connsiteX133" fmla="*/ 762422 w 1339002"/>
                <a:gd name="connsiteY133" fmla="*/ 1019738 h 1358062"/>
                <a:gd name="connsiteX134" fmla="*/ 729066 w 1339002"/>
                <a:gd name="connsiteY134" fmla="*/ 1024502 h 1358062"/>
                <a:gd name="connsiteX135" fmla="*/ 733832 w 1339002"/>
                <a:gd name="connsiteY135" fmla="*/ 1010208 h 1358062"/>
                <a:gd name="connsiteX136" fmla="*/ 738596 w 1339002"/>
                <a:gd name="connsiteY136" fmla="*/ 1010208 h 1358062"/>
                <a:gd name="connsiteX137" fmla="*/ 748126 w 1339002"/>
                <a:gd name="connsiteY137" fmla="*/ 1014972 h 1358062"/>
                <a:gd name="connsiteX138" fmla="*/ 748126 w 1339002"/>
                <a:gd name="connsiteY138" fmla="*/ 1010208 h 1358062"/>
                <a:gd name="connsiteX139" fmla="*/ 752892 w 1339002"/>
                <a:gd name="connsiteY139" fmla="*/ 1010208 h 1358062"/>
                <a:gd name="connsiteX140" fmla="*/ 881550 w 1339002"/>
                <a:gd name="connsiteY140" fmla="*/ 1000678 h 1358062"/>
                <a:gd name="connsiteX141" fmla="*/ 900612 w 1339002"/>
                <a:gd name="connsiteY141" fmla="*/ 1014972 h 1358062"/>
                <a:gd name="connsiteX142" fmla="*/ 895846 w 1339002"/>
                <a:gd name="connsiteY142" fmla="*/ 1024502 h 1358062"/>
                <a:gd name="connsiteX143" fmla="*/ 881550 w 1339002"/>
                <a:gd name="connsiteY143" fmla="*/ 1014972 h 1358062"/>
                <a:gd name="connsiteX144" fmla="*/ 876784 w 1339002"/>
                <a:gd name="connsiteY144" fmla="*/ 1005442 h 1358062"/>
                <a:gd name="connsiteX145" fmla="*/ 1181754 w 1339002"/>
                <a:gd name="connsiteY145" fmla="*/ 976850 h 1358062"/>
                <a:gd name="connsiteX146" fmla="*/ 1191284 w 1339002"/>
                <a:gd name="connsiteY146" fmla="*/ 976850 h 1358062"/>
                <a:gd name="connsiteX147" fmla="*/ 1205580 w 1339002"/>
                <a:gd name="connsiteY147" fmla="*/ 986382 h 1358062"/>
                <a:gd name="connsiteX148" fmla="*/ 1176988 w 1339002"/>
                <a:gd name="connsiteY148" fmla="*/ 995912 h 1358062"/>
                <a:gd name="connsiteX149" fmla="*/ 1172224 w 1339002"/>
                <a:gd name="connsiteY149" fmla="*/ 1000676 h 1358062"/>
                <a:gd name="connsiteX150" fmla="*/ 1153162 w 1339002"/>
                <a:gd name="connsiteY150" fmla="*/ 1000676 h 1358062"/>
                <a:gd name="connsiteX151" fmla="*/ 1138868 w 1339002"/>
                <a:gd name="connsiteY151" fmla="*/ 1010206 h 1358062"/>
                <a:gd name="connsiteX152" fmla="*/ 1134102 w 1339002"/>
                <a:gd name="connsiteY152" fmla="*/ 1010206 h 1358062"/>
                <a:gd name="connsiteX153" fmla="*/ 1143632 w 1339002"/>
                <a:gd name="connsiteY153" fmla="*/ 1000676 h 1358062"/>
                <a:gd name="connsiteX154" fmla="*/ 1157928 w 1339002"/>
                <a:gd name="connsiteY154" fmla="*/ 991146 h 1358062"/>
                <a:gd name="connsiteX155" fmla="*/ 991148 w 1339002"/>
                <a:gd name="connsiteY155" fmla="*/ 972086 h 1358062"/>
                <a:gd name="connsiteX156" fmla="*/ 1000678 w 1339002"/>
                <a:gd name="connsiteY156" fmla="*/ 976852 h 1358062"/>
                <a:gd name="connsiteX157" fmla="*/ 991148 w 1339002"/>
                <a:gd name="connsiteY157" fmla="*/ 981616 h 1358062"/>
                <a:gd name="connsiteX158" fmla="*/ 972088 w 1339002"/>
                <a:gd name="connsiteY158" fmla="*/ 1000678 h 1358062"/>
                <a:gd name="connsiteX159" fmla="*/ 957792 w 1339002"/>
                <a:gd name="connsiteY159" fmla="*/ 1000678 h 1358062"/>
                <a:gd name="connsiteX160" fmla="*/ 953028 w 1339002"/>
                <a:gd name="connsiteY160" fmla="*/ 1000678 h 1358062"/>
                <a:gd name="connsiteX161" fmla="*/ 962558 w 1339002"/>
                <a:gd name="connsiteY161" fmla="*/ 995912 h 1358062"/>
                <a:gd name="connsiteX162" fmla="*/ 967322 w 1339002"/>
                <a:gd name="connsiteY162" fmla="*/ 991146 h 1358062"/>
                <a:gd name="connsiteX163" fmla="*/ 967322 w 1339002"/>
                <a:gd name="connsiteY163" fmla="*/ 986382 h 1358062"/>
                <a:gd name="connsiteX164" fmla="*/ 981618 w 1339002"/>
                <a:gd name="connsiteY164" fmla="*/ 981616 h 1358062"/>
                <a:gd name="connsiteX165" fmla="*/ 786248 w 1339002"/>
                <a:gd name="connsiteY165" fmla="*/ 953026 h 1358062"/>
                <a:gd name="connsiteX166" fmla="*/ 791012 w 1339002"/>
                <a:gd name="connsiteY166" fmla="*/ 953026 h 1358062"/>
                <a:gd name="connsiteX167" fmla="*/ 800542 w 1339002"/>
                <a:gd name="connsiteY167" fmla="*/ 967320 h 1358062"/>
                <a:gd name="connsiteX168" fmla="*/ 791012 w 1339002"/>
                <a:gd name="connsiteY168" fmla="*/ 972086 h 1358062"/>
                <a:gd name="connsiteX169" fmla="*/ 791012 w 1339002"/>
                <a:gd name="connsiteY169" fmla="*/ 976850 h 1358062"/>
                <a:gd name="connsiteX170" fmla="*/ 786248 w 1339002"/>
                <a:gd name="connsiteY170" fmla="*/ 967320 h 1358062"/>
                <a:gd name="connsiteX171" fmla="*/ 786248 w 1339002"/>
                <a:gd name="connsiteY171" fmla="*/ 957790 h 1358062"/>
                <a:gd name="connsiteX172" fmla="*/ 1129336 w 1339002"/>
                <a:gd name="connsiteY172" fmla="*/ 943494 h 1358062"/>
                <a:gd name="connsiteX173" fmla="*/ 1143632 w 1339002"/>
                <a:gd name="connsiteY173" fmla="*/ 948260 h 1358062"/>
                <a:gd name="connsiteX174" fmla="*/ 1153162 w 1339002"/>
                <a:gd name="connsiteY174" fmla="*/ 957790 h 1358062"/>
                <a:gd name="connsiteX175" fmla="*/ 1153162 w 1339002"/>
                <a:gd name="connsiteY175" fmla="*/ 962556 h 1358062"/>
                <a:gd name="connsiteX176" fmla="*/ 1153162 w 1339002"/>
                <a:gd name="connsiteY176" fmla="*/ 967322 h 1358062"/>
                <a:gd name="connsiteX177" fmla="*/ 1134102 w 1339002"/>
                <a:gd name="connsiteY177" fmla="*/ 967322 h 1358062"/>
                <a:gd name="connsiteX178" fmla="*/ 1138866 w 1339002"/>
                <a:gd name="connsiteY178" fmla="*/ 953026 h 1358062"/>
                <a:gd name="connsiteX179" fmla="*/ 872020 w 1339002"/>
                <a:gd name="connsiteY179" fmla="*/ 929200 h 1358062"/>
                <a:gd name="connsiteX180" fmla="*/ 881550 w 1339002"/>
                <a:gd name="connsiteY180" fmla="*/ 933966 h 1358062"/>
                <a:gd name="connsiteX181" fmla="*/ 876784 w 1339002"/>
                <a:gd name="connsiteY181" fmla="*/ 943496 h 1358062"/>
                <a:gd name="connsiteX182" fmla="*/ 881550 w 1339002"/>
                <a:gd name="connsiteY182" fmla="*/ 943496 h 1358062"/>
                <a:gd name="connsiteX183" fmla="*/ 867254 w 1339002"/>
                <a:gd name="connsiteY183" fmla="*/ 957790 h 1358062"/>
                <a:gd name="connsiteX184" fmla="*/ 857724 w 1339002"/>
                <a:gd name="connsiteY184" fmla="*/ 957790 h 1358062"/>
                <a:gd name="connsiteX185" fmla="*/ 852960 w 1339002"/>
                <a:gd name="connsiteY185" fmla="*/ 953026 h 1358062"/>
                <a:gd name="connsiteX186" fmla="*/ 857724 w 1339002"/>
                <a:gd name="connsiteY186" fmla="*/ 938730 h 1358062"/>
                <a:gd name="connsiteX187" fmla="*/ 919670 w 1339002"/>
                <a:gd name="connsiteY187" fmla="*/ 919670 h 1358062"/>
                <a:gd name="connsiteX188" fmla="*/ 924436 w 1339002"/>
                <a:gd name="connsiteY188" fmla="*/ 919670 h 1358062"/>
                <a:gd name="connsiteX189" fmla="*/ 929200 w 1339002"/>
                <a:gd name="connsiteY189" fmla="*/ 929200 h 1358062"/>
                <a:gd name="connsiteX190" fmla="*/ 929200 w 1339002"/>
                <a:gd name="connsiteY190" fmla="*/ 953024 h 1358062"/>
                <a:gd name="connsiteX191" fmla="*/ 919670 w 1339002"/>
                <a:gd name="connsiteY191" fmla="*/ 967320 h 1358062"/>
                <a:gd name="connsiteX192" fmla="*/ 905376 w 1339002"/>
                <a:gd name="connsiteY192" fmla="*/ 972086 h 1358062"/>
                <a:gd name="connsiteX193" fmla="*/ 900610 w 1339002"/>
                <a:gd name="connsiteY193" fmla="*/ 962554 h 1358062"/>
                <a:gd name="connsiteX194" fmla="*/ 891080 w 1339002"/>
                <a:gd name="connsiteY194" fmla="*/ 943494 h 1358062"/>
                <a:gd name="connsiteX195" fmla="*/ 757656 w 1339002"/>
                <a:gd name="connsiteY195" fmla="*/ 914904 h 1358062"/>
                <a:gd name="connsiteX196" fmla="*/ 762420 w 1339002"/>
                <a:gd name="connsiteY196" fmla="*/ 919670 h 1358062"/>
                <a:gd name="connsiteX197" fmla="*/ 762420 w 1339002"/>
                <a:gd name="connsiteY197" fmla="*/ 924434 h 1358062"/>
                <a:gd name="connsiteX198" fmla="*/ 762420 w 1339002"/>
                <a:gd name="connsiteY198" fmla="*/ 933964 h 1358062"/>
                <a:gd name="connsiteX199" fmla="*/ 757656 w 1339002"/>
                <a:gd name="connsiteY199" fmla="*/ 938730 h 1358062"/>
                <a:gd name="connsiteX200" fmla="*/ 748126 w 1339002"/>
                <a:gd name="connsiteY200" fmla="*/ 933964 h 1358062"/>
                <a:gd name="connsiteX201" fmla="*/ 748126 w 1339002"/>
                <a:gd name="connsiteY201" fmla="*/ 919670 h 1358062"/>
                <a:gd name="connsiteX202" fmla="*/ 748126 w 1339002"/>
                <a:gd name="connsiteY202" fmla="*/ 867254 h 1358062"/>
                <a:gd name="connsiteX203" fmla="*/ 748126 w 1339002"/>
                <a:gd name="connsiteY203" fmla="*/ 872018 h 1358062"/>
                <a:gd name="connsiteX204" fmla="*/ 752892 w 1339002"/>
                <a:gd name="connsiteY204" fmla="*/ 876784 h 1358062"/>
                <a:gd name="connsiteX205" fmla="*/ 748126 w 1339002"/>
                <a:gd name="connsiteY205" fmla="*/ 891078 h 1358062"/>
                <a:gd name="connsiteX206" fmla="*/ 738596 w 1339002"/>
                <a:gd name="connsiteY206" fmla="*/ 895844 h 1358062"/>
                <a:gd name="connsiteX207" fmla="*/ 743360 w 1339002"/>
                <a:gd name="connsiteY207" fmla="*/ 881548 h 1358062"/>
                <a:gd name="connsiteX208" fmla="*/ 738596 w 1339002"/>
                <a:gd name="connsiteY208" fmla="*/ 876784 h 1358062"/>
                <a:gd name="connsiteX209" fmla="*/ 743360 w 1339002"/>
                <a:gd name="connsiteY209" fmla="*/ 872018 h 1358062"/>
                <a:gd name="connsiteX210" fmla="*/ 891080 w 1339002"/>
                <a:gd name="connsiteY210" fmla="*/ 857722 h 1358062"/>
                <a:gd name="connsiteX211" fmla="*/ 910140 w 1339002"/>
                <a:gd name="connsiteY211" fmla="*/ 867254 h 1358062"/>
                <a:gd name="connsiteX212" fmla="*/ 905376 w 1339002"/>
                <a:gd name="connsiteY212" fmla="*/ 872018 h 1358062"/>
                <a:gd name="connsiteX213" fmla="*/ 900610 w 1339002"/>
                <a:gd name="connsiteY213" fmla="*/ 876784 h 1358062"/>
                <a:gd name="connsiteX214" fmla="*/ 886316 w 1339002"/>
                <a:gd name="connsiteY214" fmla="*/ 876784 h 1358062"/>
                <a:gd name="connsiteX215" fmla="*/ 886316 w 1339002"/>
                <a:gd name="connsiteY215" fmla="*/ 862488 h 1358062"/>
                <a:gd name="connsiteX216" fmla="*/ 819604 w 1339002"/>
                <a:gd name="connsiteY216" fmla="*/ 857722 h 1358062"/>
                <a:gd name="connsiteX217" fmla="*/ 829132 w 1339002"/>
                <a:gd name="connsiteY217" fmla="*/ 862488 h 1358062"/>
                <a:gd name="connsiteX218" fmla="*/ 824368 w 1339002"/>
                <a:gd name="connsiteY218" fmla="*/ 881550 h 1358062"/>
                <a:gd name="connsiteX219" fmla="*/ 819604 w 1339002"/>
                <a:gd name="connsiteY219" fmla="*/ 876784 h 1358062"/>
                <a:gd name="connsiteX220" fmla="*/ 819604 w 1339002"/>
                <a:gd name="connsiteY220" fmla="*/ 872018 h 1358062"/>
                <a:gd name="connsiteX221" fmla="*/ 1043564 w 1339002"/>
                <a:gd name="connsiteY221" fmla="*/ 824366 h 1358062"/>
                <a:gd name="connsiteX222" fmla="*/ 1048330 w 1339002"/>
                <a:gd name="connsiteY222" fmla="*/ 824366 h 1358062"/>
                <a:gd name="connsiteX223" fmla="*/ 1038800 w 1339002"/>
                <a:gd name="connsiteY223" fmla="*/ 838662 h 1358062"/>
                <a:gd name="connsiteX224" fmla="*/ 1024504 w 1339002"/>
                <a:gd name="connsiteY224" fmla="*/ 848192 h 1358062"/>
                <a:gd name="connsiteX225" fmla="*/ 995914 w 1339002"/>
                <a:gd name="connsiteY225" fmla="*/ 852958 h 1358062"/>
                <a:gd name="connsiteX226" fmla="*/ 991148 w 1339002"/>
                <a:gd name="connsiteY226" fmla="*/ 857722 h 1358062"/>
                <a:gd name="connsiteX227" fmla="*/ 991148 w 1339002"/>
                <a:gd name="connsiteY227" fmla="*/ 848192 h 1358062"/>
                <a:gd name="connsiteX228" fmla="*/ 1005444 w 1339002"/>
                <a:gd name="connsiteY228" fmla="*/ 833898 h 1358062"/>
                <a:gd name="connsiteX229" fmla="*/ 1024504 w 1339002"/>
                <a:gd name="connsiteY229" fmla="*/ 833898 h 1358062"/>
                <a:gd name="connsiteX230" fmla="*/ 833900 w 1339002"/>
                <a:gd name="connsiteY230" fmla="*/ 824366 h 1358062"/>
                <a:gd name="connsiteX231" fmla="*/ 843430 w 1339002"/>
                <a:gd name="connsiteY231" fmla="*/ 824366 h 1358062"/>
                <a:gd name="connsiteX232" fmla="*/ 848194 w 1339002"/>
                <a:gd name="connsiteY232" fmla="*/ 829132 h 1358062"/>
                <a:gd name="connsiteX233" fmla="*/ 872020 w 1339002"/>
                <a:gd name="connsiteY233" fmla="*/ 833898 h 1358062"/>
                <a:gd name="connsiteX234" fmla="*/ 876784 w 1339002"/>
                <a:gd name="connsiteY234" fmla="*/ 838662 h 1358062"/>
                <a:gd name="connsiteX235" fmla="*/ 872020 w 1339002"/>
                <a:gd name="connsiteY235" fmla="*/ 852958 h 1358062"/>
                <a:gd name="connsiteX236" fmla="*/ 862490 w 1339002"/>
                <a:gd name="connsiteY236" fmla="*/ 852958 h 1358062"/>
                <a:gd name="connsiteX237" fmla="*/ 843430 w 1339002"/>
                <a:gd name="connsiteY237" fmla="*/ 838662 h 1358062"/>
                <a:gd name="connsiteX238" fmla="*/ 838664 w 1339002"/>
                <a:gd name="connsiteY238" fmla="*/ 833898 h 1358062"/>
                <a:gd name="connsiteX239" fmla="*/ 729066 w 1339002"/>
                <a:gd name="connsiteY239" fmla="*/ 824366 h 1358062"/>
                <a:gd name="connsiteX240" fmla="*/ 738596 w 1339002"/>
                <a:gd name="connsiteY240" fmla="*/ 824366 h 1358062"/>
                <a:gd name="connsiteX241" fmla="*/ 743362 w 1339002"/>
                <a:gd name="connsiteY241" fmla="*/ 829132 h 1358062"/>
                <a:gd name="connsiteX242" fmla="*/ 733832 w 1339002"/>
                <a:gd name="connsiteY242" fmla="*/ 843428 h 1358062"/>
                <a:gd name="connsiteX243" fmla="*/ 724300 w 1339002"/>
                <a:gd name="connsiteY243" fmla="*/ 852958 h 1358062"/>
                <a:gd name="connsiteX244" fmla="*/ 724300 w 1339002"/>
                <a:gd name="connsiteY244" fmla="*/ 838662 h 1358062"/>
                <a:gd name="connsiteX245" fmla="*/ 1110276 w 1339002"/>
                <a:gd name="connsiteY245" fmla="*/ 800542 h 1358062"/>
                <a:gd name="connsiteX246" fmla="*/ 1119806 w 1339002"/>
                <a:gd name="connsiteY246" fmla="*/ 800542 h 1358062"/>
                <a:gd name="connsiteX247" fmla="*/ 1138866 w 1339002"/>
                <a:gd name="connsiteY247" fmla="*/ 805306 h 1358062"/>
                <a:gd name="connsiteX248" fmla="*/ 1143632 w 1339002"/>
                <a:gd name="connsiteY248" fmla="*/ 805306 h 1358062"/>
                <a:gd name="connsiteX249" fmla="*/ 1153162 w 1339002"/>
                <a:gd name="connsiteY249" fmla="*/ 805306 h 1358062"/>
                <a:gd name="connsiteX250" fmla="*/ 1157928 w 1339002"/>
                <a:gd name="connsiteY250" fmla="*/ 819602 h 1358062"/>
                <a:gd name="connsiteX251" fmla="*/ 1143632 w 1339002"/>
                <a:gd name="connsiteY251" fmla="*/ 819602 h 1358062"/>
                <a:gd name="connsiteX252" fmla="*/ 1124572 w 1339002"/>
                <a:gd name="connsiteY252" fmla="*/ 833898 h 1358062"/>
                <a:gd name="connsiteX253" fmla="*/ 1115040 w 1339002"/>
                <a:gd name="connsiteY253" fmla="*/ 829132 h 1358062"/>
                <a:gd name="connsiteX254" fmla="*/ 1105510 w 1339002"/>
                <a:gd name="connsiteY254" fmla="*/ 819602 h 1358062"/>
                <a:gd name="connsiteX255" fmla="*/ 1086450 w 1339002"/>
                <a:gd name="connsiteY255" fmla="*/ 819602 h 1358062"/>
                <a:gd name="connsiteX256" fmla="*/ 1081684 w 1339002"/>
                <a:gd name="connsiteY256" fmla="*/ 814836 h 1358062"/>
                <a:gd name="connsiteX257" fmla="*/ 1091216 w 1339002"/>
                <a:gd name="connsiteY257" fmla="*/ 805306 h 1358062"/>
                <a:gd name="connsiteX258" fmla="*/ 162016 w 1339002"/>
                <a:gd name="connsiteY258" fmla="*/ 776716 h 1358062"/>
                <a:gd name="connsiteX259" fmla="*/ 176310 w 1339002"/>
                <a:gd name="connsiteY259" fmla="*/ 791012 h 1358062"/>
                <a:gd name="connsiteX260" fmla="*/ 185842 w 1339002"/>
                <a:gd name="connsiteY260" fmla="*/ 791012 h 1358062"/>
                <a:gd name="connsiteX261" fmla="*/ 195372 w 1339002"/>
                <a:gd name="connsiteY261" fmla="*/ 800542 h 1358062"/>
                <a:gd name="connsiteX262" fmla="*/ 209668 w 1339002"/>
                <a:gd name="connsiteY262" fmla="*/ 819602 h 1358062"/>
                <a:gd name="connsiteX263" fmla="*/ 195372 w 1339002"/>
                <a:gd name="connsiteY263" fmla="*/ 814836 h 1358062"/>
                <a:gd name="connsiteX264" fmla="*/ 181076 w 1339002"/>
                <a:gd name="connsiteY264" fmla="*/ 829132 h 1358062"/>
                <a:gd name="connsiteX265" fmla="*/ 166780 w 1339002"/>
                <a:gd name="connsiteY265" fmla="*/ 814836 h 1358062"/>
                <a:gd name="connsiteX266" fmla="*/ 152484 w 1339002"/>
                <a:gd name="connsiteY266" fmla="*/ 795776 h 1358062"/>
                <a:gd name="connsiteX267" fmla="*/ 152484 w 1339002"/>
                <a:gd name="connsiteY267" fmla="*/ 791012 h 1358062"/>
                <a:gd name="connsiteX268" fmla="*/ 800542 w 1339002"/>
                <a:gd name="connsiteY268" fmla="*/ 762420 h 1358062"/>
                <a:gd name="connsiteX269" fmla="*/ 805308 w 1339002"/>
                <a:gd name="connsiteY269" fmla="*/ 762420 h 1358062"/>
                <a:gd name="connsiteX270" fmla="*/ 814838 w 1339002"/>
                <a:gd name="connsiteY270" fmla="*/ 776716 h 1358062"/>
                <a:gd name="connsiteX271" fmla="*/ 829132 w 1339002"/>
                <a:gd name="connsiteY271" fmla="*/ 781480 h 1358062"/>
                <a:gd name="connsiteX272" fmla="*/ 829132 w 1339002"/>
                <a:gd name="connsiteY272" fmla="*/ 791010 h 1358062"/>
                <a:gd name="connsiteX273" fmla="*/ 833898 w 1339002"/>
                <a:gd name="connsiteY273" fmla="*/ 800542 h 1358062"/>
                <a:gd name="connsiteX274" fmla="*/ 833898 w 1339002"/>
                <a:gd name="connsiteY274" fmla="*/ 810072 h 1358062"/>
                <a:gd name="connsiteX275" fmla="*/ 829132 w 1339002"/>
                <a:gd name="connsiteY275" fmla="*/ 824366 h 1358062"/>
                <a:gd name="connsiteX276" fmla="*/ 819602 w 1339002"/>
                <a:gd name="connsiteY276" fmla="*/ 805306 h 1358062"/>
                <a:gd name="connsiteX277" fmla="*/ 805308 w 1339002"/>
                <a:gd name="connsiteY277" fmla="*/ 795776 h 1358062"/>
                <a:gd name="connsiteX278" fmla="*/ 800542 w 1339002"/>
                <a:gd name="connsiteY278" fmla="*/ 786246 h 1358062"/>
                <a:gd name="connsiteX279" fmla="*/ 791012 w 1339002"/>
                <a:gd name="connsiteY279" fmla="*/ 781480 h 1358062"/>
                <a:gd name="connsiteX280" fmla="*/ 791012 w 1339002"/>
                <a:gd name="connsiteY280" fmla="*/ 767186 h 1358062"/>
                <a:gd name="connsiteX281" fmla="*/ 600408 w 1339002"/>
                <a:gd name="connsiteY281" fmla="*/ 762420 h 1358062"/>
                <a:gd name="connsiteX282" fmla="*/ 605172 w 1339002"/>
                <a:gd name="connsiteY282" fmla="*/ 762420 h 1358062"/>
                <a:gd name="connsiteX283" fmla="*/ 605172 w 1339002"/>
                <a:gd name="connsiteY283" fmla="*/ 767186 h 1358062"/>
                <a:gd name="connsiteX284" fmla="*/ 609938 w 1339002"/>
                <a:gd name="connsiteY284" fmla="*/ 776716 h 1358062"/>
                <a:gd name="connsiteX285" fmla="*/ 605172 w 1339002"/>
                <a:gd name="connsiteY285" fmla="*/ 781482 h 1358062"/>
                <a:gd name="connsiteX286" fmla="*/ 595642 w 1339002"/>
                <a:gd name="connsiteY286" fmla="*/ 781482 h 1358062"/>
                <a:gd name="connsiteX287" fmla="*/ 590876 w 1339002"/>
                <a:gd name="connsiteY287" fmla="*/ 776716 h 1358062"/>
                <a:gd name="connsiteX288" fmla="*/ 590876 w 1339002"/>
                <a:gd name="connsiteY288" fmla="*/ 771950 h 1358062"/>
                <a:gd name="connsiteX289" fmla="*/ 595642 w 1339002"/>
                <a:gd name="connsiteY289" fmla="*/ 767186 h 1358062"/>
                <a:gd name="connsiteX290" fmla="*/ 152484 w 1339002"/>
                <a:gd name="connsiteY290" fmla="*/ 667118 h 1358062"/>
                <a:gd name="connsiteX291" fmla="*/ 157250 w 1339002"/>
                <a:gd name="connsiteY291" fmla="*/ 667118 h 1358062"/>
                <a:gd name="connsiteX292" fmla="*/ 162016 w 1339002"/>
                <a:gd name="connsiteY292" fmla="*/ 667118 h 1358062"/>
                <a:gd name="connsiteX293" fmla="*/ 166780 w 1339002"/>
                <a:gd name="connsiteY293" fmla="*/ 671884 h 1358062"/>
                <a:gd name="connsiteX294" fmla="*/ 166780 w 1339002"/>
                <a:gd name="connsiteY294" fmla="*/ 676648 h 1358062"/>
                <a:gd name="connsiteX295" fmla="*/ 166780 w 1339002"/>
                <a:gd name="connsiteY295" fmla="*/ 681414 h 1358062"/>
                <a:gd name="connsiteX296" fmla="*/ 171546 w 1339002"/>
                <a:gd name="connsiteY296" fmla="*/ 690944 h 1358062"/>
                <a:gd name="connsiteX297" fmla="*/ 176312 w 1339002"/>
                <a:gd name="connsiteY297" fmla="*/ 695708 h 1358062"/>
                <a:gd name="connsiteX298" fmla="*/ 166780 w 1339002"/>
                <a:gd name="connsiteY298" fmla="*/ 700474 h 1358062"/>
                <a:gd name="connsiteX299" fmla="*/ 157250 w 1339002"/>
                <a:gd name="connsiteY299" fmla="*/ 681414 h 1358062"/>
                <a:gd name="connsiteX300" fmla="*/ 142956 w 1339002"/>
                <a:gd name="connsiteY300" fmla="*/ 667118 h 1358062"/>
                <a:gd name="connsiteX301" fmla="*/ 152486 w 1339002"/>
                <a:gd name="connsiteY301" fmla="*/ 686178 h 1358062"/>
                <a:gd name="connsiteX302" fmla="*/ 152486 w 1339002"/>
                <a:gd name="connsiteY302" fmla="*/ 710004 h 1358062"/>
                <a:gd name="connsiteX303" fmla="*/ 162016 w 1339002"/>
                <a:gd name="connsiteY303" fmla="*/ 714770 h 1358062"/>
                <a:gd name="connsiteX304" fmla="*/ 176312 w 1339002"/>
                <a:gd name="connsiteY304" fmla="*/ 733830 h 1358062"/>
                <a:gd name="connsiteX305" fmla="*/ 176312 w 1339002"/>
                <a:gd name="connsiteY305" fmla="*/ 743360 h 1358062"/>
                <a:gd name="connsiteX306" fmla="*/ 176312 w 1339002"/>
                <a:gd name="connsiteY306" fmla="*/ 748126 h 1358062"/>
                <a:gd name="connsiteX307" fmla="*/ 147720 w 1339002"/>
                <a:gd name="connsiteY307" fmla="*/ 738594 h 1358062"/>
                <a:gd name="connsiteX308" fmla="*/ 142956 w 1339002"/>
                <a:gd name="connsiteY308" fmla="*/ 743360 h 1358062"/>
                <a:gd name="connsiteX309" fmla="*/ 138190 w 1339002"/>
                <a:gd name="connsiteY309" fmla="*/ 738594 h 1358062"/>
                <a:gd name="connsiteX310" fmla="*/ 133424 w 1339002"/>
                <a:gd name="connsiteY310" fmla="*/ 729064 h 1358062"/>
                <a:gd name="connsiteX311" fmla="*/ 133424 w 1339002"/>
                <a:gd name="connsiteY311" fmla="*/ 724300 h 1358062"/>
                <a:gd name="connsiteX312" fmla="*/ 128660 w 1339002"/>
                <a:gd name="connsiteY312" fmla="*/ 719534 h 1358062"/>
                <a:gd name="connsiteX313" fmla="*/ 123894 w 1339002"/>
                <a:gd name="connsiteY313" fmla="*/ 714770 h 1358062"/>
                <a:gd name="connsiteX314" fmla="*/ 114364 w 1339002"/>
                <a:gd name="connsiteY314" fmla="*/ 724300 h 1358062"/>
                <a:gd name="connsiteX315" fmla="*/ 109600 w 1339002"/>
                <a:gd name="connsiteY315" fmla="*/ 724300 h 1358062"/>
                <a:gd name="connsiteX316" fmla="*/ 109600 w 1339002"/>
                <a:gd name="connsiteY316" fmla="*/ 719534 h 1358062"/>
                <a:gd name="connsiteX317" fmla="*/ 119130 w 1339002"/>
                <a:gd name="connsiteY317" fmla="*/ 695708 h 1358062"/>
                <a:gd name="connsiteX318" fmla="*/ 123894 w 1339002"/>
                <a:gd name="connsiteY318" fmla="*/ 690944 h 1358062"/>
                <a:gd name="connsiteX319" fmla="*/ 128660 w 1339002"/>
                <a:gd name="connsiteY319" fmla="*/ 700474 h 1358062"/>
                <a:gd name="connsiteX320" fmla="*/ 138190 w 1339002"/>
                <a:gd name="connsiteY320" fmla="*/ 695708 h 1358062"/>
                <a:gd name="connsiteX321" fmla="*/ 142956 w 1339002"/>
                <a:gd name="connsiteY321" fmla="*/ 681414 h 1358062"/>
                <a:gd name="connsiteX322" fmla="*/ 142956 w 1339002"/>
                <a:gd name="connsiteY322" fmla="*/ 671884 h 1358062"/>
                <a:gd name="connsiteX323" fmla="*/ 995912 w 1339002"/>
                <a:gd name="connsiteY323" fmla="*/ 643292 h 1358062"/>
                <a:gd name="connsiteX324" fmla="*/ 1010208 w 1339002"/>
                <a:gd name="connsiteY324" fmla="*/ 652822 h 1358062"/>
                <a:gd name="connsiteX325" fmla="*/ 1019738 w 1339002"/>
                <a:gd name="connsiteY325" fmla="*/ 652822 h 1358062"/>
                <a:gd name="connsiteX326" fmla="*/ 1014972 w 1339002"/>
                <a:gd name="connsiteY326" fmla="*/ 667118 h 1358062"/>
                <a:gd name="connsiteX327" fmla="*/ 1014972 w 1339002"/>
                <a:gd name="connsiteY327" fmla="*/ 700474 h 1358062"/>
                <a:gd name="connsiteX328" fmla="*/ 1010208 w 1339002"/>
                <a:gd name="connsiteY328" fmla="*/ 705238 h 1358062"/>
                <a:gd name="connsiteX329" fmla="*/ 1010208 w 1339002"/>
                <a:gd name="connsiteY329" fmla="*/ 714768 h 1358062"/>
                <a:gd name="connsiteX330" fmla="*/ 1005442 w 1339002"/>
                <a:gd name="connsiteY330" fmla="*/ 719534 h 1358062"/>
                <a:gd name="connsiteX331" fmla="*/ 991148 w 1339002"/>
                <a:gd name="connsiteY331" fmla="*/ 729064 h 1358062"/>
                <a:gd name="connsiteX332" fmla="*/ 976852 w 1339002"/>
                <a:gd name="connsiteY332" fmla="*/ 714768 h 1358062"/>
                <a:gd name="connsiteX333" fmla="*/ 972088 w 1339002"/>
                <a:gd name="connsiteY333" fmla="*/ 710004 h 1358062"/>
                <a:gd name="connsiteX334" fmla="*/ 986382 w 1339002"/>
                <a:gd name="connsiteY334" fmla="*/ 700474 h 1358062"/>
                <a:gd name="connsiteX335" fmla="*/ 991148 w 1339002"/>
                <a:gd name="connsiteY335" fmla="*/ 690944 h 1358062"/>
                <a:gd name="connsiteX336" fmla="*/ 986382 w 1339002"/>
                <a:gd name="connsiteY336" fmla="*/ 676648 h 1358062"/>
                <a:gd name="connsiteX337" fmla="*/ 967322 w 1339002"/>
                <a:gd name="connsiteY337" fmla="*/ 662352 h 1358062"/>
                <a:gd name="connsiteX338" fmla="*/ 967322 w 1339002"/>
                <a:gd name="connsiteY338" fmla="*/ 648058 h 1358062"/>
                <a:gd name="connsiteX339" fmla="*/ 162016 w 1339002"/>
                <a:gd name="connsiteY339" fmla="*/ 595642 h 1358062"/>
                <a:gd name="connsiteX340" fmla="*/ 166780 w 1339002"/>
                <a:gd name="connsiteY340" fmla="*/ 600406 h 1358062"/>
                <a:gd name="connsiteX341" fmla="*/ 166780 w 1339002"/>
                <a:gd name="connsiteY341" fmla="*/ 633762 h 1358062"/>
                <a:gd name="connsiteX342" fmla="*/ 162016 w 1339002"/>
                <a:gd name="connsiteY342" fmla="*/ 638526 h 1358062"/>
                <a:gd name="connsiteX343" fmla="*/ 157250 w 1339002"/>
                <a:gd name="connsiteY343" fmla="*/ 643292 h 1358062"/>
                <a:gd name="connsiteX344" fmla="*/ 152486 w 1339002"/>
                <a:gd name="connsiteY344" fmla="*/ 643292 h 1358062"/>
                <a:gd name="connsiteX345" fmla="*/ 147720 w 1339002"/>
                <a:gd name="connsiteY345" fmla="*/ 643292 h 1358062"/>
                <a:gd name="connsiteX346" fmla="*/ 142956 w 1339002"/>
                <a:gd name="connsiteY346" fmla="*/ 643292 h 1358062"/>
                <a:gd name="connsiteX347" fmla="*/ 142956 w 1339002"/>
                <a:gd name="connsiteY347" fmla="*/ 628996 h 1358062"/>
                <a:gd name="connsiteX348" fmla="*/ 147720 w 1339002"/>
                <a:gd name="connsiteY348" fmla="*/ 609936 h 1358062"/>
                <a:gd name="connsiteX349" fmla="*/ 152486 w 1339002"/>
                <a:gd name="connsiteY349" fmla="*/ 600406 h 1358062"/>
                <a:gd name="connsiteX350" fmla="*/ 757656 w 1339002"/>
                <a:gd name="connsiteY350" fmla="*/ 567050 h 1358062"/>
                <a:gd name="connsiteX351" fmla="*/ 767186 w 1339002"/>
                <a:gd name="connsiteY351" fmla="*/ 571816 h 1358062"/>
                <a:gd name="connsiteX352" fmla="*/ 771952 w 1339002"/>
                <a:gd name="connsiteY352" fmla="*/ 586110 h 1358062"/>
                <a:gd name="connsiteX353" fmla="*/ 786248 w 1339002"/>
                <a:gd name="connsiteY353" fmla="*/ 600406 h 1358062"/>
                <a:gd name="connsiteX354" fmla="*/ 767186 w 1339002"/>
                <a:gd name="connsiteY354" fmla="*/ 605170 h 1358062"/>
                <a:gd name="connsiteX355" fmla="*/ 762422 w 1339002"/>
                <a:gd name="connsiteY355" fmla="*/ 605170 h 1358062"/>
                <a:gd name="connsiteX356" fmla="*/ 767186 w 1339002"/>
                <a:gd name="connsiteY356" fmla="*/ 600406 h 1358062"/>
                <a:gd name="connsiteX357" fmla="*/ 767186 w 1339002"/>
                <a:gd name="connsiteY357" fmla="*/ 595640 h 1358062"/>
                <a:gd name="connsiteX358" fmla="*/ 752892 w 1339002"/>
                <a:gd name="connsiteY358" fmla="*/ 586110 h 1358062"/>
                <a:gd name="connsiteX359" fmla="*/ 752892 w 1339002"/>
                <a:gd name="connsiteY359" fmla="*/ 571816 h 1358062"/>
                <a:gd name="connsiteX360" fmla="*/ 562286 w 1339002"/>
                <a:gd name="connsiteY360" fmla="*/ 557520 h 1358062"/>
                <a:gd name="connsiteX361" fmla="*/ 571816 w 1339002"/>
                <a:gd name="connsiteY361" fmla="*/ 557520 h 1358062"/>
                <a:gd name="connsiteX362" fmla="*/ 590878 w 1339002"/>
                <a:gd name="connsiteY362" fmla="*/ 571816 h 1358062"/>
                <a:gd name="connsiteX363" fmla="*/ 595642 w 1339002"/>
                <a:gd name="connsiteY363" fmla="*/ 590876 h 1358062"/>
                <a:gd name="connsiteX364" fmla="*/ 605172 w 1339002"/>
                <a:gd name="connsiteY364" fmla="*/ 600406 h 1358062"/>
                <a:gd name="connsiteX365" fmla="*/ 624234 w 1339002"/>
                <a:gd name="connsiteY365" fmla="*/ 609936 h 1358062"/>
                <a:gd name="connsiteX366" fmla="*/ 628998 w 1339002"/>
                <a:gd name="connsiteY366" fmla="*/ 609936 h 1358062"/>
                <a:gd name="connsiteX367" fmla="*/ 662354 w 1339002"/>
                <a:gd name="connsiteY367" fmla="*/ 624232 h 1358062"/>
                <a:gd name="connsiteX368" fmla="*/ 695710 w 1339002"/>
                <a:gd name="connsiteY368" fmla="*/ 628998 h 1358062"/>
                <a:gd name="connsiteX369" fmla="*/ 700476 w 1339002"/>
                <a:gd name="connsiteY369" fmla="*/ 633762 h 1358062"/>
                <a:gd name="connsiteX370" fmla="*/ 705240 w 1339002"/>
                <a:gd name="connsiteY370" fmla="*/ 643292 h 1358062"/>
                <a:gd name="connsiteX371" fmla="*/ 710006 w 1339002"/>
                <a:gd name="connsiteY371" fmla="*/ 652822 h 1358062"/>
                <a:gd name="connsiteX372" fmla="*/ 714770 w 1339002"/>
                <a:gd name="connsiteY372" fmla="*/ 662354 h 1358062"/>
                <a:gd name="connsiteX373" fmla="*/ 710006 w 1339002"/>
                <a:gd name="connsiteY373" fmla="*/ 671884 h 1358062"/>
                <a:gd name="connsiteX374" fmla="*/ 714770 w 1339002"/>
                <a:gd name="connsiteY374" fmla="*/ 695708 h 1358062"/>
                <a:gd name="connsiteX375" fmla="*/ 724300 w 1339002"/>
                <a:gd name="connsiteY375" fmla="*/ 719534 h 1358062"/>
                <a:gd name="connsiteX376" fmla="*/ 738596 w 1339002"/>
                <a:gd name="connsiteY376" fmla="*/ 729064 h 1358062"/>
                <a:gd name="connsiteX377" fmla="*/ 752892 w 1339002"/>
                <a:gd name="connsiteY377" fmla="*/ 733830 h 1358062"/>
                <a:gd name="connsiteX378" fmla="*/ 767186 w 1339002"/>
                <a:gd name="connsiteY378" fmla="*/ 733830 h 1358062"/>
                <a:gd name="connsiteX379" fmla="*/ 771952 w 1339002"/>
                <a:gd name="connsiteY379" fmla="*/ 738596 h 1358062"/>
                <a:gd name="connsiteX380" fmla="*/ 771952 w 1339002"/>
                <a:gd name="connsiteY380" fmla="*/ 757656 h 1358062"/>
                <a:gd name="connsiteX381" fmla="*/ 762422 w 1339002"/>
                <a:gd name="connsiteY381" fmla="*/ 767186 h 1358062"/>
                <a:gd name="connsiteX382" fmla="*/ 757656 w 1339002"/>
                <a:gd name="connsiteY382" fmla="*/ 767186 h 1358062"/>
                <a:gd name="connsiteX383" fmla="*/ 752892 w 1339002"/>
                <a:gd name="connsiteY383" fmla="*/ 767186 h 1358062"/>
                <a:gd name="connsiteX384" fmla="*/ 748126 w 1339002"/>
                <a:gd name="connsiteY384" fmla="*/ 762420 h 1358062"/>
                <a:gd name="connsiteX385" fmla="*/ 743362 w 1339002"/>
                <a:gd name="connsiteY385" fmla="*/ 757656 h 1358062"/>
                <a:gd name="connsiteX386" fmla="*/ 738596 w 1339002"/>
                <a:gd name="connsiteY386" fmla="*/ 757656 h 1358062"/>
                <a:gd name="connsiteX387" fmla="*/ 729066 w 1339002"/>
                <a:gd name="connsiteY387" fmla="*/ 748126 h 1358062"/>
                <a:gd name="connsiteX388" fmla="*/ 714770 w 1339002"/>
                <a:gd name="connsiteY388" fmla="*/ 738596 h 1358062"/>
                <a:gd name="connsiteX389" fmla="*/ 710006 w 1339002"/>
                <a:gd name="connsiteY389" fmla="*/ 733830 h 1358062"/>
                <a:gd name="connsiteX390" fmla="*/ 710006 w 1339002"/>
                <a:gd name="connsiteY390" fmla="*/ 719534 h 1358062"/>
                <a:gd name="connsiteX391" fmla="*/ 700476 w 1339002"/>
                <a:gd name="connsiteY391" fmla="*/ 714770 h 1358062"/>
                <a:gd name="connsiteX392" fmla="*/ 695710 w 1339002"/>
                <a:gd name="connsiteY392" fmla="*/ 700474 h 1358062"/>
                <a:gd name="connsiteX393" fmla="*/ 690944 w 1339002"/>
                <a:gd name="connsiteY393" fmla="*/ 695708 h 1358062"/>
                <a:gd name="connsiteX394" fmla="*/ 686180 w 1339002"/>
                <a:gd name="connsiteY394" fmla="*/ 686178 h 1358062"/>
                <a:gd name="connsiteX395" fmla="*/ 662354 w 1339002"/>
                <a:gd name="connsiteY395" fmla="*/ 681414 h 1358062"/>
                <a:gd name="connsiteX396" fmla="*/ 643294 w 1339002"/>
                <a:gd name="connsiteY396" fmla="*/ 681414 h 1358062"/>
                <a:gd name="connsiteX397" fmla="*/ 624234 w 1339002"/>
                <a:gd name="connsiteY397" fmla="*/ 671884 h 1358062"/>
                <a:gd name="connsiteX398" fmla="*/ 619468 w 1339002"/>
                <a:gd name="connsiteY398" fmla="*/ 652822 h 1358062"/>
                <a:gd name="connsiteX399" fmla="*/ 609938 w 1339002"/>
                <a:gd name="connsiteY399" fmla="*/ 643292 h 1358062"/>
                <a:gd name="connsiteX400" fmla="*/ 605172 w 1339002"/>
                <a:gd name="connsiteY400" fmla="*/ 638528 h 1358062"/>
                <a:gd name="connsiteX401" fmla="*/ 595642 w 1339002"/>
                <a:gd name="connsiteY401" fmla="*/ 628998 h 1358062"/>
                <a:gd name="connsiteX402" fmla="*/ 581348 w 1339002"/>
                <a:gd name="connsiteY402" fmla="*/ 614702 h 1358062"/>
                <a:gd name="connsiteX403" fmla="*/ 562286 w 1339002"/>
                <a:gd name="connsiteY403" fmla="*/ 600406 h 1358062"/>
                <a:gd name="connsiteX404" fmla="*/ 547992 w 1339002"/>
                <a:gd name="connsiteY404" fmla="*/ 595642 h 1358062"/>
                <a:gd name="connsiteX405" fmla="*/ 528930 w 1339002"/>
                <a:gd name="connsiteY405" fmla="*/ 586110 h 1358062"/>
                <a:gd name="connsiteX406" fmla="*/ 514636 w 1339002"/>
                <a:gd name="connsiteY406" fmla="*/ 595642 h 1358062"/>
                <a:gd name="connsiteX407" fmla="*/ 505104 w 1339002"/>
                <a:gd name="connsiteY407" fmla="*/ 590876 h 1358062"/>
                <a:gd name="connsiteX408" fmla="*/ 505104 w 1339002"/>
                <a:gd name="connsiteY408" fmla="*/ 586110 h 1358062"/>
                <a:gd name="connsiteX409" fmla="*/ 524166 w 1339002"/>
                <a:gd name="connsiteY409" fmla="*/ 581346 h 1358062"/>
                <a:gd name="connsiteX410" fmla="*/ 547992 w 1339002"/>
                <a:gd name="connsiteY410" fmla="*/ 562286 h 1358062"/>
                <a:gd name="connsiteX411" fmla="*/ 614704 w 1339002"/>
                <a:gd name="connsiteY411" fmla="*/ 519398 h 1358062"/>
                <a:gd name="connsiteX412" fmla="*/ 648060 w 1339002"/>
                <a:gd name="connsiteY412" fmla="*/ 538460 h 1358062"/>
                <a:gd name="connsiteX413" fmla="*/ 638528 w 1339002"/>
                <a:gd name="connsiteY413" fmla="*/ 547990 h 1358062"/>
                <a:gd name="connsiteX414" fmla="*/ 628998 w 1339002"/>
                <a:gd name="connsiteY414" fmla="*/ 543224 h 1358062"/>
                <a:gd name="connsiteX415" fmla="*/ 676650 w 1339002"/>
                <a:gd name="connsiteY415" fmla="*/ 509870 h 1358062"/>
                <a:gd name="connsiteX416" fmla="*/ 671884 w 1339002"/>
                <a:gd name="connsiteY416" fmla="*/ 519400 h 1358062"/>
                <a:gd name="connsiteX417" fmla="*/ 662354 w 1339002"/>
                <a:gd name="connsiteY417" fmla="*/ 528930 h 1358062"/>
                <a:gd name="connsiteX418" fmla="*/ 652824 w 1339002"/>
                <a:gd name="connsiteY418" fmla="*/ 533694 h 1358062"/>
                <a:gd name="connsiteX419" fmla="*/ 662354 w 1339002"/>
                <a:gd name="connsiteY419" fmla="*/ 514634 h 1358062"/>
                <a:gd name="connsiteX420" fmla="*/ 1019738 w 1339002"/>
                <a:gd name="connsiteY420" fmla="*/ 486042 h 1358062"/>
                <a:gd name="connsiteX421" fmla="*/ 1048330 w 1339002"/>
                <a:gd name="connsiteY421" fmla="*/ 486042 h 1358062"/>
                <a:gd name="connsiteX422" fmla="*/ 1057860 w 1339002"/>
                <a:gd name="connsiteY422" fmla="*/ 495574 h 1358062"/>
                <a:gd name="connsiteX423" fmla="*/ 1053094 w 1339002"/>
                <a:gd name="connsiteY423" fmla="*/ 505104 h 1358062"/>
                <a:gd name="connsiteX424" fmla="*/ 1076920 w 1339002"/>
                <a:gd name="connsiteY424" fmla="*/ 528930 h 1358062"/>
                <a:gd name="connsiteX425" fmla="*/ 1081684 w 1339002"/>
                <a:gd name="connsiteY425" fmla="*/ 538460 h 1358062"/>
                <a:gd name="connsiteX426" fmla="*/ 1086450 w 1339002"/>
                <a:gd name="connsiteY426" fmla="*/ 552754 h 1358062"/>
                <a:gd name="connsiteX427" fmla="*/ 1081684 w 1339002"/>
                <a:gd name="connsiteY427" fmla="*/ 557520 h 1358062"/>
                <a:gd name="connsiteX428" fmla="*/ 1076920 w 1339002"/>
                <a:gd name="connsiteY428" fmla="*/ 547990 h 1358062"/>
                <a:gd name="connsiteX429" fmla="*/ 1067390 w 1339002"/>
                <a:gd name="connsiteY429" fmla="*/ 547990 h 1358062"/>
                <a:gd name="connsiteX430" fmla="*/ 1072154 w 1339002"/>
                <a:gd name="connsiteY430" fmla="*/ 557520 h 1358062"/>
                <a:gd name="connsiteX431" fmla="*/ 1076920 w 1339002"/>
                <a:gd name="connsiteY431" fmla="*/ 562284 h 1358062"/>
                <a:gd name="connsiteX432" fmla="*/ 1067390 w 1339002"/>
                <a:gd name="connsiteY432" fmla="*/ 567050 h 1358062"/>
                <a:gd name="connsiteX433" fmla="*/ 1053094 w 1339002"/>
                <a:gd name="connsiteY433" fmla="*/ 567050 h 1358062"/>
                <a:gd name="connsiteX434" fmla="*/ 1019738 w 1339002"/>
                <a:gd name="connsiteY434" fmla="*/ 557520 h 1358062"/>
                <a:gd name="connsiteX435" fmla="*/ 1010208 w 1339002"/>
                <a:gd name="connsiteY435" fmla="*/ 547990 h 1358062"/>
                <a:gd name="connsiteX436" fmla="*/ 1029268 w 1339002"/>
                <a:gd name="connsiteY436" fmla="*/ 528930 h 1358062"/>
                <a:gd name="connsiteX437" fmla="*/ 1034034 w 1339002"/>
                <a:gd name="connsiteY437" fmla="*/ 524164 h 1358062"/>
                <a:gd name="connsiteX438" fmla="*/ 1019738 w 1339002"/>
                <a:gd name="connsiteY438" fmla="*/ 524164 h 1358062"/>
                <a:gd name="connsiteX439" fmla="*/ 1005442 w 1339002"/>
                <a:gd name="connsiteY439" fmla="*/ 543224 h 1358062"/>
                <a:gd name="connsiteX440" fmla="*/ 976852 w 1339002"/>
                <a:gd name="connsiteY440" fmla="*/ 533694 h 1358062"/>
                <a:gd name="connsiteX441" fmla="*/ 967322 w 1339002"/>
                <a:gd name="connsiteY441" fmla="*/ 524164 h 1358062"/>
                <a:gd name="connsiteX442" fmla="*/ 976852 w 1339002"/>
                <a:gd name="connsiteY442" fmla="*/ 505104 h 1358062"/>
                <a:gd name="connsiteX443" fmla="*/ 995912 w 1339002"/>
                <a:gd name="connsiteY443" fmla="*/ 505104 h 1358062"/>
                <a:gd name="connsiteX444" fmla="*/ 1005442 w 1339002"/>
                <a:gd name="connsiteY444" fmla="*/ 500338 h 1358062"/>
                <a:gd name="connsiteX445" fmla="*/ 1019738 w 1339002"/>
                <a:gd name="connsiteY445" fmla="*/ 495574 h 1358062"/>
                <a:gd name="connsiteX446" fmla="*/ 28592 w 1339002"/>
                <a:gd name="connsiteY446" fmla="*/ 395506 h 1358062"/>
                <a:gd name="connsiteX447" fmla="*/ 38122 w 1339002"/>
                <a:gd name="connsiteY447" fmla="*/ 400270 h 1358062"/>
                <a:gd name="connsiteX448" fmla="*/ 42888 w 1339002"/>
                <a:gd name="connsiteY448" fmla="*/ 405036 h 1358062"/>
                <a:gd name="connsiteX449" fmla="*/ 47652 w 1339002"/>
                <a:gd name="connsiteY449" fmla="*/ 409800 h 1358062"/>
                <a:gd name="connsiteX450" fmla="*/ 33356 w 1339002"/>
                <a:gd name="connsiteY450" fmla="*/ 424096 h 1358062"/>
                <a:gd name="connsiteX451" fmla="*/ 33356 w 1339002"/>
                <a:gd name="connsiteY451" fmla="*/ 428860 h 1358062"/>
                <a:gd name="connsiteX452" fmla="*/ 38122 w 1339002"/>
                <a:gd name="connsiteY452" fmla="*/ 438390 h 1358062"/>
                <a:gd name="connsiteX453" fmla="*/ 38122 w 1339002"/>
                <a:gd name="connsiteY453" fmla="*/ 443156 h 1358062"/>
                <a:gd name="connsiteX454" fmla="*/ 42888 w 1339002"/>
                <a:gd name="connsiteY454" fmla="*/ 462216 h 1358062"/>
                <a:gd name="connsiteX455" fmla="*/ 47652 w 1339002"/>
                <a:gd name="connsiteY455" fmla="*/ 466982 h 1358062"/>
                <a:gd name="connsiteX456" fmla="*/ 61948 w 1339002"/>
                <a:gd name="connsiteY456" fmla="*/ 471746 h 1358062"/>
                <a:gd name="connsiteX457" fmla="*/ 66712 w 1339002"/>
                <a:gd name="connsiteY457" fmla="*/ 476512 h 1358062"/>
                <a:gd name="connsiteX458" fmla="*/ 71478 w 1339002"/>
                <a:gd name="connsiteY458" fmla="*/ 486042 h 1358062"/>
                <a:gd name="connsiteX459" fmla="*/ 52418 w 1339002"/>
                <a:gd name="connsiteY459" fmla="*/ 481276 h 1358062"/>
                <a:gd name="connsiteX460" fmla="*/ 38122 w 1339002"/>
                <a:gd name="connsiteY460" fmla="*/ 466982 h 1358062"/>
                <a:gd name="connsiteX461" fmla="*/ 23826 w 1339002"/>
                <a:gd name="connsiteY461" fmla="*/ 443156 h 1358062"/>
                <a:gd name="connsiteX462" fmla="*/ 0 w 1339002"/>
                <a:gd name="connsiteY462" fmla="*/ 414566 h 1358062"/>
                <a:gd name="connsiteX463" fmla="*/ 0 w 1339002"/>
                <a:gd name="connsiteY463" fmla="*/ 405036 h 1358062"/>
                <a:gd name="connsiteX464" fmla="*/ 9532 w 1339002"/>
                <a:gd name="connsiteY464" fmla="*/ 400270 h 1358062"/>
                <a:gd name="connsiteX465" fmla="*/ 905376 w 1339002"/>
                <a:gd name="connsiteY465" fmla="*/ 352618 h 1358062"/>
                <a:gd name="connsiteX466" fmla="*/ 905376 w 1339002"/>
                <a:gd name="connsiteY466" fmla="*/ 362150 h 1358062"/>
                <a:gd name="connsiteX467" fmla="*/ 900610 w 1339002"/>
                <a:gd name="connsiteY467" fmla="*/ 371680 h 1358062"/>
                <a:gd name="connsiteX468" fmla="*/ 895846 w 1339002"/>
                <a:gd name="connsiteY468" fmla="*/ 381210 h 1358062"/>
                <a:gd name="connsiteX469" fmla="*/ 891080 w 1339002"/>
                <a:gd name="connsiteY469" fmla="*/ 400270 h 1358062"/>
                <a:gd name="connsiteX470" fmla="*/ 881550 w 1339002"/>
                <a:gd name="connsiteY470" fmla="*/ 400270 h 1358062"/>
                <a:gd name="connsiteX471" fmla="*/ 876786 w 1339002"/>
                <a:gd name="connsiteY471" fmla="*/ 395504 h 1358062"/>
                <a:gd name="connsiteX472" fmla="*/ 876786 w 1339002"/>
                <a:gd name="connsiteY472" fmla="*/ 390740 h 1358062"/>
                <a:gd name="connsiteX473" fmla="*/ 876786 w 1339002"/>
                <a:gd name="connsiteY473" fmla="*/ 381210 h 1358062"/>
                <a:gd name="connsiteX474" fmla="*/ 872020 w 1339002"/>
                <a:gd name="connsiteY474" fmla="*/ 381210 h 1358062"/>
                <a:gd name="connsiteX475" fmla="*/ 867254 w 1339002"/>
                <a:gd name="connsiteY475" fmla="*/ 390740 h 1358062"/>
                <a:gd name="connsiteX476" fmla="*/ 867254 w 1339002"/>
                <a:gd name="connsiteY476" fmla="*/ 395504 h 1358062"/>
                <a:gd name="connsiteX477" fmla="*/ 857724 w 1339002"/>
                <a:gd name="connsiteY477" fmla="*/ 395504 h 1358062"/>
                <a:gd name="connsiteX478" fmla="*/ 848194 w 1339002"/>
                <a:gd name="connsiteY478" fmla="*/ 390740 h 1358062"/>
                <a:gd name="connsiteX479" fmla="*/ 848194 w 1339002"/>
                <a:gd name="connsiteY479" fmla="*/ 376444 h 1358062"/>
                <a:gd name="connsiteX480" fmla="*/ 843428 w 1339002"/>
                <a:gd name="connsiteY480" fmla="*/ 362150 h 1358062"/>
                <a:gd name="connsiteX481" fmla="*/ 872020 w 1339002"/>
                <a:gd name="connsiteY481" fmla="*/ 357384 h 1358062"/>
                <a:gd name="connsiteX482" fmla="*/ 881550 w 1339002"/>
                <a:gd name="connsiteY482" fmla="*/ 366914 h 1358062"/>
                <a:gd name="connsiteX483" fmla="*/ 891080 w 1339002"/>
                <a:gd name="connsiteY483" fmla="*/ 362150 h 1358062"/>
                <a:gd name="connsiteX484" fmla="*/ 895846 w 1339002"/>
                <a:gd name="connsiteY484" fmla="*/ 357384 h 1358062"/>
                <a:gd name="connsiteX485" fmla="*/ 924436 w 1339002"/>
                <a:gd name="connsiteY485" fmla="*/ 252552 h 1358062"/>
                <a:gd name="connsiteX486" fmla="*/ 933966 w 1339002"/>
                <a:gd name="connsiteY486" fmla="*/ 257318 h 1358062"/>
                <a:gd name="connsiteX487" fmla="*/ 938730 w 1339002"/>
                <a:gd name="connsiteY487" fmla="*/ 266848 h 1358062"/>
                <a:gd name="connsiteX488" fmla="*/ 943496 w 1339002"/>
                <a:gd name="connsiteY488" fmla="*/ 271612 h 1358062"/>
                <a:gd name="connsiteX489" fmla="*/ 924436 w 1339002"/>
                <a:gd name="connsiteY489" fmla="*/ 276378 h 1358062"/>
                <a:gd name="connsiteX490" fmla="*/ 905376 w 1339002"/>
                <a:gd name="connsiteY490" fmla="*/ 262082 h 1358062"/>
                <a:gd name="connsiteX491" fmla="*/ 776718 w 1339002"/>
                <a:gd name="connsiteY491" fmla="*/ 195370 h 1358062"/>
                <a:gd name="connsiteX492" fmla="*/ 791012 w 1339002"/>
                <a:gd name="connsiteY492" fmla="*/ 200136 h 1358062"/>
                <a:gd name="connsiteX493" fmla="*/ 800542 w 1339002"/>
                <a:gd name="connsiteY493" fmla="*/ 209666 h 1358062"/>
                <a:gd name="connsiteX494" fmla="*/ 805308 w 1339002"/>
                <a:gd name="connsiteY494" fmla="*/ 214430 h 1358062"/>
                <a:gd name="connsiteX495" fmla="*/ 800542 w 1339002"/>
                <a:gd name="connsiteY495" fmla="*/ 223960 h 1358062"/>
                <a:gd name="connsiteX496" fmla="*/ 800542 w 1339002"/>
                <a:gd name="connsiteY496" fmla="*/ 233490 h 1358062"/>
                <a:gd name="connsiteX497" fmla="*/ 781482 w 1339002"/>
                <a:gd name="connsiteY497" fmla="*/ 243022 h 1358062"/>
                <a:gd name="connsiteX498" fmla="*/ 762422 w 1339002"/>
                <a:gd name="connsiteY498" fmla="*/ 228726 h 1358062"/>
                <a:gd name="connsiteX499" fmla="*/ 762422 w 1339002"/>
                <a:gd name="connsiteY499" fmla="*/ 219196 h 1358062"/>
                <a:gd name="connsiteX500" fmla="*/ 771952 w 1339002"/>
                <a:gd name="connsiteY500" fmla="*/ 200136 h 1358062"/>
                <a:gd name="connsiteX501" fmla="*/ 1024504 w 1339002"/>
                <a:gd name="connsiteY501" fmla="*/ 0 h 1358062"/>
                <a:gd name="connsiteX502" fmla="*/ 1043564 w 1339002"/>
                <a:gd name="connsiteY502" fmla="*/ 4766 h 1358062"/>
                <a:gd name="connsiteX503" fmla="*/ 1057860 w 1339002"/>
                <a:gd name="connsiteY503" fmla="*/ 9530 h 1358062"/>
                <a:gd name="connsiteX504" fmla="*/ 1062626 w 1339002"/>
                <a:gd name="connsiteY504" fmla="*/ 14296 h 1358062"/>
                <a:gd name="connsiteX505" fmla="*/ 1072156 w 1339002"/>
                <a:gd name="connsiteY505" fmla="*/ 23826 h 1358062"/>
                <a:gd name="connsiteX506" fmla="*/ 1076920 w 1339002"/>
                <a:gd name="connsiteY506" fmla="*/ 28590 h 1358062"/>
                <a:gd name="connsiteX507" fmla="*/ 1081686 w 1339002"/>
                <a:gd name="connsiteY507" fmla="*/ 28590 h 1358062"/>
                <a:gd name="connsiteX508" fmla="*/ 1086450 w 1339002"/>
                <a:gd name="connsiteY508" fmla="*/ 47652 h 1358062"/>
                <a:gd name="connsiteX509" fmla="*/ 1091216 w 1339002"/>
                <a:gd name="connsiteY509" fmla="*/ 71476 h 1358062"/>
                <a:gd name="connsiteX510" fmla="*/ 1086450 w 1339002"/>
                <a:gd name="connsiteY510" fmla="*/ 81008 h 1358062"/>
                <a:gd name="connsiteX511" fmla="*/ 1076920 w 1339002"/>
                <a:gd name="connsiteY511" fmla="*/ 81008 h 1358062"/>
                <a:gd name="connsiteX512" fmla="*/ 1043564 w 1339002"/>
                <a:gd name="connsiteY512" fmla="*/ 104832 h 1358062"/>
                <a:gd name="connsiteX513" fmla="*/ 1043564 w 1339002"/>
                <a:gd name="connsiteY513" fmla="*/ 123894 h 1358062"/>
                <a:gd name="connsiteX514" fmla="*/ 1043564 w 1339002"/>
                <a:gd name="connsiteY514" fmla="*/ 133424 h 1358062"/>
                <a:gd name="connsiteX515" fmla="*/ 1043564 w 1339002"/>
                <a:gd name="connsiteY515" fmla="*/ 138188 h 1358062"/>
                <a:gd name="connsiteX516" fmla="*/ 1048330 w 1339002"/>
                <a:gd name="connsiteY516" fmla="*/ 147718 h 1358062"/>
                <a:gd name="connsiteX517" fmla="*/ 1048330 w 1339002"/>
                <a:gd name="connsiteY517" fmla="*/ 152484 h 1358062"/>
                <a:gd name="connsiteX518" fmla="*/ 1043564 w 1339002"/>
                <a:gd name="connsiteY518" fmla="*/ 162014 h 1358062"/>
                <a:gd name="connsiteX519" fmla="*/ 1029270 w 1339002"/>
                <a:gd name="connsiteY519" fmla="*/ 176310 h 1358062"/>
                <a:gd name="connsiteX520" fmla="*/ 1019740 w 1339002"/>
                <a:gd name="connsiteY520" fmla="*/ 190606 h 1358062"/>
                <a:gd name="connsiteX521" fmla="*/ 1010208 w 1339002"/>
                <a:gd name="connsiteY521" fmla="*/ 204900 h 1358062"/>
                <a:gd name="connsiteX522" fmla="*/ 1005444 w 1339002"/>
                <a:gd name="connsiteY522" fmla="*/ 209666 h 1358062"/>
                <a:gd name="connsiteX523" fmla="*/ 1000678 w 1339002"/>
                <a:gd name="connsiteY523" fmla="*/ 209666 h 1358062"/>
                <a:gd name="connsiteX524" fmla="*/ 995914 w 1339002"/>
                <a:gd name="connsiteY524" fmla="*/ 200136 h 1358062"/>
                <a:gd name="connsiteX525" fmla="*/ 967322 w 1339002"/>
                <a:gd name="connsiteY525" fmla="*/ 185840 h 1358062"/>
                <a:gd name="connsiteX526" fmla="*/ 914906 w 1339002"/>
                <a:gd name="connsiteY526" fmla="*/ 176310 h 1358062"/>
                <a:gd name="connsiteX527" fmla="*/ 886316 w 1339002"/>
                <a:gd name="connsiteY527" fmla="*/ 166780 h 1358062"/>
                <a:gd name="connsiteX528" fmla="*/ 876786 w 1339002"/>
                <a:gd name="connsiteY528" fmla="*/ 166780 h 1358062"/>
                <a:gd name="connsiteX529" fmla="*/ 852960 w 1339002"/>
                <a:gd name="connsiteY529" fmla="*/ 157250 h 1358062"/>
                <a:gd name="connsiteX530" fmla="*/ 838664 w 1339002"/>
                <a:gd name="connsiteY530" fmla="*/ 162014 h 1358062"/>
                <a:gd name="connsiteX531" fmla="*/ 805308 w 1339002"/>
                <a:gd name="connsiteY531" fmla="*/ 185840 h 1358062"/>
                <a:gd name="connsiteX532" fmla="*/ 786248 w 1339002"/>
                <a:gd name="connsiteY532" fmla="*/ 181074 h 1358062"/>
                <a:gd name="connsiteX533" fmla="*/ 767188 w 1339002"/>
                <a:gd name="connsiteY533" fmla="*/ 166780 h 1358062"/>
                <a:gd name="connsiteX534" fmla="*/ 752892 w 1339002"/>
                <a:gd name="connsiteY534" fmla="*/ 166780 h 1358062"/>
                <a:gd name="connsiteX535" fmla="*/ 738596 w 1339002"/>
                <a:gd name="connsiteY535" fmla="*/ 171544 h 1358062"/>
                <a:gd name="connsiteX536" fmla="*/ 714770 w 1339002"/>
                <a:gd name="connsiteY536" fmla="*/ 200136 h 1358062"/>
                <a:gd name="connsiteX537" fmla="*/ 690946 w 1339002"/>
                <a:gd name="connsiteY537" fmla="*/ 209666 h 1358062"/>
                <a:gd name="connsiteX538" fmla="*/ 671884 w 1339002"/>
                <a:gd name="connsiteY538" fmla="*/ 204900 h 1358062"/>
                <a:gd name="connsiteX539" fmla="*/ 643294 w 1339002"/>
                <a:gd name="connsiteY539" fmla="*/ 204900 h 1358062"/>
                <a:gd name="connsiteX540" fmla="*/ 638528 w 1339002"/>
                <a:gd name="connsiteY540" fmla="*/ 219196 h 1358062"/>
                <a:gd name="connsiteX541" fmla="*/ 643294 w 1339002"/>
                <a:gd name="connsiteY541" fmla="*/ 228726 h 1358062"/>
                <a:gd name="connsiteX542" fmla="*/ 662354 w 1339002"/>
                <a:gd name="connsiteY542" fmla="*/ 247786 h 1358062"/>
                <a:gd name="connsiteX543" fmla="*/ 652824 w 1339002"/>
                <a:gd name="connsiteY543" fmla="*/ 262082 h 1358062"/>
                <a:gd name="connsiteX544" fmla="*/ 657590 w 1339002"/>
                <a:gd name="connsiteY544" fmla="*/ 271612 h 1358062"/>
                <a:gd name="connsiteX545" fmla="*/ 667120 w 1339002"/>
                <a:gd name="connsiteY545" fmla="*/ 276378 h 1358062"/>
                <a:gd name="connsiteX546" fmla="*/ 686180 w 1339002"/>
                <a:gd name="connsiteY546" fmla="*/ 276378 h 1358062"/>
                <a:gd name="connsiteX547" fmla="*/ 714770 w 1339002"/>
                <a:gd name="connsiteY547" fmla="*/ 290672 h 1358062"/>
                <a:gd name="connsiteX548" fmla="*/ 724302 w 1339002"/>
                <a:gd name="connsiteY548" fmla="*/ 309734 h 1358062"/>
                <a:gd name="connsiteX549" fmla="*/ 733832 w 1339002"/>
                <a:gd name="connsiteY549" fmla="*/ 328794 h 1358062"/>
                <a:gd name="connsiteX550" fmla="*/ 714770 w 1339002"/>
                <a:gd name="connsiteY550" fmla="*/ 314498 h 1358062"/>
                <a:gd name="connsiteX551" fmla="*/ 705240 w 1339002"/>
                <a:gd name="connsiteY551" fmla="*/ 300202 h 1358062"/>
                <a:gd name="connsiteX552" fmla="*/ 690946 w 1339002"/>
                <a:gd name="connsiteY552" fmla="*/ 300202 h 1358062"/>
                <a:gd name="connsiteX553" fmla="*/ 667120 w 1339002"/>
                <a:gd name="connsiteY553" fmla="*/ 285908 h 1358062"/>
                <a:gd name="connsiteX554" fmla="*/ 652824 w 1339002"/>
                <a:gd name="connsiteY554" fmla="*/ 285908 h 1358062"/>
                <a:gd name="connsiteX555" fmla="*/ 638528 w 1339002"/>
                <a:gd name="connsiteY555" fmla="*/ 290672 h 1358062"/>
                <a:gd name="connsiteX556" fmla="*/ 638528 w 1339002"/>
                <a:gd name="connsiteY556" fmla="*/ 300202 h 1358062"/>
                <a:gd name="connsiteX557" fmla="*/ 652824 w 1339002"/>
                <a:gd name="connsiteY557" fmla="*/ 319264 h 1358062"/>
                <a:gd name="connsiteX558" fmla="*/ 667120 w 1339002"/>
                <a:gd name="connsiteY558" fmla="*/ 328794 h 1358062"/>
                <a:gd name="connsiteX559" fmla="*/ 676650 w 1339002"/>
                <a:gd name="connsiteY559" fmla="*/ 333558 h 1358062"/>
                <a:gd name="connsiteX560" fmla="*/ 681414 w 1339002"/>
                <a:gd name="connsiteY560" fmla="*/ 352620 h 1358062"/>
                <a:gd name="connsiteX561" fmla="*/ 676650 w 1339002"/>
                <a:gd name="connsiteY561" fmla="*/ 362150 h 1358062"/>
                <a:gd name="connsiteX562" fmla="*/ 671884 w 1339002"/>
                <a:gd name="connsiteY562" fmla="*/ 366914 h 1358062"/>
                <a:gd name="connsiteX563" fmla="*/ 652824 w 1339002"/>
                <a:gd name="connsiteY563" fmla="*/ 352620 h 1358062"/>
                <a:gd name="connsiteX564" fmla="*/ 628998 w 1339002"/>
                <a:gd name="connsiteY564" fmla="*/ 314498 h 1358062"/>
                <a:gd name="connsiteX565" fmla="*/ 590878 w 1339002"/>
                <a:gd name="connsiteY565" fmla="*/ 304968 h 1358062"/>
                <a:gd name="connsiteX566" fmla="*/ 586112 w 1339002"/>
                <a:gd name="connsiteY566" fmla="*/ 314498 h 1358062"/>
                <a:gd name="connsiteX567" fmla="*/ 590878 w 1339002"/>
                <a:gd name="connsiteY567" fmla="*/ 333558 h 1358062"/>
                <a:gd name="connsiteX568" fmla="*/ 595642 w 1339002"/>
                <a:gd name="connsiteY568" fmla="*/ 343090 h 1358062"/>
                <a:gd name="connsiteX569" fmla="*/ 628998 w 1339002"/>
                <a:gd name="connsiteY569" fmla="*/ 366914 h 1358062"/>
                <a:gd name="connsiteX570" fmla="*/ 628998 w 1339002"/>
                <a:gd name="connsiteY570" fmla="*/ 371680 h 1358062"/>
                <a:gd name="connsiteX571" fmla="*/ 624234 w 1339002"/>
                <a:gd name="connsiteY571" fmla="*/ 376444 h 1358062"/>
                <a:gd name="connsiteX572" fmla="*/ 586112 w 1339002"/>
                <a:gd name="connsiteY572" fmla="*/ 362150 h 1358062"/>
                <a:gd name="connsiteX573" fmla="*/ 576582 w 1339002"/>
                <a:gd name="connsiteY573" fmla="*/ 343090 h 1358062"/>
                <a:gd name="connsiteX574" fmla="*/ 571816 w 1339002"/>
                <a:gd name="connsiteY574" fmla="*/ 314498 h 1358062"/>
                <a:gd name="connsiteX575" fmla="*/ 538462 w 1339002"/>
                <a:gd name="connsiteY575" fmla="*/ 295438 h 1358062"/>
                <a:gd name="connsiteX576" fmla="*/ 509870 w 1339002"/>
                <a:gd name="connsiteY576" fmla="*/ 276378 h 1358062"/>
                <a:gd name="connsiteX577" fmla="*/ 500340 w 1339002"/>
                <a:gd name="connsiteY577" fmla="*/ 257316 h 1358062"/>
                <a:gd name="connsiteX578" fmla="*/ 505106 w 1339002"/>
                <a:gd name="connsiteY578" fmla="*/ 252552 h 1358062"/>
                <a:gd name="connsiteX579" fmla="*/ 509870 w 1339002"/>
                <a:gd name="connsiteY579" fmla="*/ 238256 h 1358062"/>
                <a:gd name="connsiteX580" fmla="*/ 495574 w 1339002"/>
                <a:gd name="connsiteY580" fmla="*/ 243022 h 1358062"/>
                <a:gd name="connsiteX581" fmla="*/ 486044 w 1339002"/>
                <a:gd name="connsiteY581" fmla="*/ 247786 h 1358062"/>
                <a:gd name="connsiteX582" fmla="*/ 466984 w 1339002"/>
                <a:gd name="connsiteY582" fmla="*/ 257316 h 1358062"/>
                <a:gd name="connsiteX583" fmla="*/ 466984 w 1339002"/>
                <a:gd name="connsiteY583" fmla="*/ 271612 h 1358062"/>
                <a:gd name="connsiteX584" fmla="*/ 466984 w 1339002"/>
                <a:gd name="connsiteY584" fmla="*/ 285908 h 1358062"/>
                <a:gd name="connsiteX585" fmla="*/ 462218 w 1339002"/>
                <a:gd name="connsiteY585" fmla="*/ 304968 h 1358062"/>
                <a:gd name="connsiteX586" fmla="*/ 457454 w 1339002"/>
                <a:gd name="connsiteY586" fmla="*/ 333558 h 1358062"/>
                <a:gd name="connsiteX587" fmla="*/ 462218 w 1339002"/>
                <a:gd name="connsiteY587" fmla="*/ 352620 h 1358062"/>
                <a:gd name="connsiteX588" fmla="*/ 500340 w 1339002"/>
                <a:gd name="connsiteY588" fmla="*/ 400270 h 1358062"/>
                <a:gd name="connsiteX589" fmla="*/ 509870 w 1339002"/>
                <a:gd name="connsiteY589" fmla="*/ 433626 h 1358062"/>
                <a:gd name="connsiteX590" fmla="*/ 519400 w 1339002"/>
                <a:gd name="connsiteY590" fmla="*/ 447922 h 1358062"/>
                <a:gd name="connsiteX591" fmla="*/ 538462 w 1339002"/>
                <a:gd name="connsiteY591" fmla="*/ 462218 h 1358062"/>
                <a:gd name="connsiteX592" fmla="*/ 562286 w 1339002"/>
                <a:gd name="connsiteY592" fmla="*/ 490808 h 1358062"/>
                <a:gd name="connsiteX593" fmla="*/ 567052 w 1339002"/>
                <a:gd name="connsiteY593" fmla="*/ 505104 h 1358062"/>
                <a:gd name="connsiteX594" fmla="*/ 576582 w 1339002"/>
                <a:gd name="connsiteY594" fmla="*/ 528928 h 1358062"/>
                <a:gd name="connsiteX595" fmla="*/ 557522 w 1339002"/>
                <a:gd name="connsiteY595" fmla="*/ 543224 h 1358062"/>
                <a:gd name="connsiteX596" fmla="*/ 547992 w 1339002"/>
                <a:gd name="connsiteY596" fmla="*/ 543224 h 1358062"/>
                <a:gd name="connsiteX597" fmla="*/ 543226 w 1339002"/>
                <a:gd name="connsiteY597" fmla="*/ 533694 h 1358062"/>
                <a:gd name="connsiteX598" fmla="*/ 547992 w 1339002"/>
                <a:gd name="connsiteY598" fmla="*/ 519398 h 1358062"/>
                <a:gd name="connsiteX599" fmla="*/ 547992 w 1339002"/>
                <a:gd name="connsiteY599" fmla="*/ 509868 h 1358062"/>
                <a:gd name="connsiteX600" fmla="*/ 524166 w 1339002"/>
                <a:gd name="connsiteY600" fmla="*/ 495574 h 1358062"/>
                <a:gd name="connsiteX601" fmla="*/ 509870 w 1339002"/>
                <a:gd name="connsiteY601" fmla="*/ 500338 h 1358062"/>
                <a:gd name="connsiteX602" fmla="*/ 500340 w 1339002"/>
                <a:gd name="connsiteY602" fmla="*/ 509868 h 1358062"/>
                <a:gd name="connsiteX603" fmla="*/ 505106 w 1339002"/>
                <a:gd name="connsiteY603" fmla="*/ 528928 h 1358062"/>
                <a:gd name="connsiteX604" fmla="*/ 514636 w 1339002"/>
                <a:gd name="connsiteY604" fmla="*/ 538460 h 1358062"/>
                <a:gd name="connsiteX605" fmla="*/ 519400 w 1339002"/>
                <a:gd name="connsiteY605" fmla="*/ 557520 h 1358062"/>
                <a:gd name="connsiteX606" fmla="*/ 533696 w 1339002"/>
                <a:gd name="connsiteY606" fmla="*/ 552754 h 1358062"/>
                <a:gd name="connsiteX607" fmla="*/ 514636 w 1339002"/>
                <a:gd name="connsiteY607" fmla="*/ 571814 h 1358062"/>
                <a:gd name="connsiteX608" fmla="*/ 490810 w 1339002"/>
                <a:gd name="connsiteY608" fmla="*/ 581346 h 1358062"/>
                <a:gd name="connsiteX609" fmla="*/ 471750 w 1339002"/>
                <a:gd name="connsiteY609" fmla="*/ 581346 h 1358062"/>
                <a:gd name="connsiteX610" fmla="*/ 462218 w 1339002"/>
                <a:gd name="connsiteY610" fmla="*/ 586110 h 1358062"/>
                <a:gd name="connsiteX611" fmla="*/ 457454 w 1339002"/>
                <a:gd name="connsiteY611" fmla="*/ 586110 h 1358062"/>
                <a:gd name="connsiteX612" fmla="*/ 466984 w 1339002"/>
                <a:gd name="connsiteY612" fmla="*/ 590876 h 1358062"/>
                <a:gd name="connsiteX613" fmla="*/ 476514 w 1339002"/>
                <a:gd name="connsiteY613" fmla="*/ 590876 h 1358062"/>
                <a:gd name="connsiteX614" fmla="*/ 490810 w 1339002"/>
                <a:gd name="connsiteY614" fmla="*/ 600406 h 1358062"/>
                <a:gd name="connsiteX615" fmla="*/ 528930 w 1339002"/>
                <a:gd name="connsiteY615" fmla="*/ 614702 h 1358062"/>
                <a:gd name="connsiteX616" fmla="*/ 547992 w 1339002"/>
                <a:gd name="connsiteY616" fmla="*/ 628996 h 1358062"/>
                <a:gd name="connsiteX617" fmla="*/ 562286 w 1339002"/>
                <a:gd name="connsiteY617" fmla="*/ 628996 h 1358062"/>
                <a:gd name="connsiteX618" fmla="*/ 581348 w 1339002"/>
                <a:gd name="connsiteY618" fmla="*/ 657588 h 1358062"/>
                <a:gd name="connsiteX619" fmla="*/ 614704 w 1339002"/>
                <a:gd name="connsiteY619" fmla="*/ 662352 h 1358062"/>
                <a:gd name="connsiteX620" fmla="*/ 628998 w 1339002"/>
                <a:gd name="connsiteY620" fmla="*/ 690944 h 1358062"/>
                <a:gd name="connsiteX621" fmla="*/ 652824 w 1339002"/>
                <a:gd name="connsiteY621" fmla="*/ 695708 h 1358062"/>
                <a:gd name="connsiteX622" fmla="*/ 676650 w 1339002"/>
                <a:gd name="connsiteY622" fmla="*/ 705238 h 1358062"/>
                <a:gd name="connsiteX623" fmla="*/ 681414 w 1339002"/>
                <a:gd name="connsiteY623" fmla="*/ 714768 h 1358062"/>
                <a:gd name="connsiteX624" fmla="*/ 686180 w 1339002"/>
                <a:gd name="connsiteY624" fmla="*/ 733830 h 1358062"/>
                <a:gd name="connsiteX625" fmla="*/ 686180 w 1339002"/>
                <a:gd name="connsiteY625" fmla="*/ 771950 h 1358062"/>
                <a:gd name="connsiteX626" fmla="*/ 690946 w 1339002"/>
                <a:gd name="connsiteY626" fmla="*/ 795776 h 1358062"/>
                <a:gd name="connsiteX627" fmla="*/ 690946 w 1339002"/>
                <a:gd name="connsiteY627" fmla="*/ 805306 h 1358062"/>
                <a:gd name="connsiteX628" fmla="*/ 690946 w 1339002"/>
                <a:gd name="connsiteY628" fmla="*/ 819602 h 1358062"/>
                <a:gd name="connsiteX629" fmla="*/ 681414 w 1339002"/>
                <a:gd name="connsiteY629" fmla="*/ 824366 h 1358062"/>
                <a:gd name="connsiteX630" fmla="*/ 676650 w 1339002"/>
                <a:gd name="connsiteY630" fmla="*/ 824366 h 1358062"/>
                <a:gd name="connsiteX631" fmla="*/ 662354 w 1339002"/>
                <a:gd name="connsiteY631" fmla="*/ 805306 h 1358062"/>
                <a:gd name="connsiteX632" fmla="*/ 638528 w 1339002"/>
                <a:gd name="connsiteY632" fmla="*/ 786246 h 1358062"/>
                <a:gd name="connsiteX633" fmla="*/ 614704 w 1339002"/>
                <a:gd name="connsiteY633" fmla="*/ 757654 h 1358062"/>
                <a:gd name="connsiteX634" fmla="*/ 609938 w 1339002"/>
                <a:gd name="connsiteY634" fmla="*/ 752890 h 1358062"/>
                <a:gd name="connsiteX635" fmla="*/ 600408 w 1339002"/>
                <a:gd name="connsiteY635" fmla="*/ 752890 h 1358062"/>
                <a:gd name="connsiteX636" fmla="*/ 590878 w 1339002"/>
                <a:gd name="connsiteY636" fmla="*/ 762420 h 1358062"/>
                <a:gd name="connsiteX637" fmla="*/ 552756 w 1339002"/>
                <a:gd name="connsiteY637" fmla="*/ 771950 h 1358062"/>
                <a:gd name="connsiteX638" fmla="*/ 538462 w 1339002"/>
                <a:gd name="connsiteY638" fmla="*/ 776716 h 1358062"/>
                <a:gd name="connsiteX639" fmla="*/ 533696 w 1339002"/>
                <a:gd name="connsiteY639" fmla="*/ 781480 h 1358062"/>
                <a:gd name="connsiteX640" fmla="*/ 528930 w 1339002"/>
                <a:gd name="connsiteY640" fmla="*/ 786246 h 1358062"/>
                <a:gd name="connsiteX641" fmla="*/ 538462 w 1339002"/>
                <a:gd name="connsiteY641" fmla="*/ 791010 h 1358062"/>
                <a:gd name="connsiteX642" fmla="*/ 547992 w 1339002"/>
                <a:gd name="connsiteY642" fmla="*/ 800542 h 1358062"/>
                <a:gd name="connsiteX643" fmla="*/ 547992 w 1339002"/>
                <a:gd name="connsiteY643" fmla="*/ 819602 h 1358062"/>
                <a:gd name="connsiteX644" fmla="*/ 552756 w 1339002"/>
                <a:gd name="connsiteY644" fmla="*/ 838662 h 1358062"/>
                <a:gd name="connsiteX645" fmla="*/ 567052 w 1339002"/>
                <a:gd name="connsiteY645" fmla="*/ 843428 h 1358062"/>
                <a:gd name="connsiteX646" fmla="*/ 576582 w 1339002"/>
                <a:gd name="connsiteY646" fmla="*/ 838662 h 1358062"/>
                <a:gd name="connsiteX647" fmla="*/ 586112 w 1339002"/>
                <a:gd name="connsiteY647" fmla="*/ 843428 h 1358062"/>
                <a:gd name="connsiteX648" fmla="*/ 586112 w 1339002"/>
                <a:gd name="connsiteY648" fmla="*/ 852958 h 1358062"/>
                <a:gd name="connsiteX649" fmla="*/ 595642 w 1339002"/>
                <a:gd name="connsiteY649" fmla="*/ 862488 h 1358062"/>
                <a:gd name="connsiteX650" fmla="*/ 600408 w 1339002"/>
                <a:gd name="connsiteY650" fmla="*/ 867252 h 1358062"/>
                <a:gd name="connsiteX651" fmla="*/ 600408 w 1339002"/>
                <a:gd name="connsiteY651" fmla="*/ 872018 h 1358062"/>
                <a:gd name="connsiteX652" fmla="*/ 562286 w 1339002"/>
                <a:gd name="connsiteY652" fmla="*/ 886314 h 1358062"/>
                <a:gd name="connsiteX653" fmla="*/ 557522 w 1339002"/>
                <a:gd name="connsiteY653" fmla="*/ 891078 h 1358062"/>
                <a:gd name="connsiteX654" fmla="*/ 547992 w 1339002"/>
                <a:gd name="connsiteY654" fmla="*/ 891078 h 1358062"/>
                <a:gd name="connsiteX655" fmla="*/ 538462 w 1339002"/>
                <a:gd name="connsiteY655" fmla="*/ 886314 h 1358062"/>
                <a:gd name="connsiteX656" fmla="*/ 538462 w 1339002"/>
                <a:gd name="connsiteY656" fmla="*/ 872018 h 1358062"/>
                <a:gd name="connsiteX657" fmla="*/ 524166 w 1339002"/>
                <a:gd name="connsiteY657" fmla="*/ 862488 h 1358062"/>
                <a:gd name="connsiteX658" fmla="*/ 514636 w 1339002"/>
                <a:gd name="connsiteY658" fmla="*/ 857722 h 1358062"/>
                <a:gd name="connsiteX659" fmla="*/ 500340 w 1339002"/>
                <a:gd name="connsiteY659" fmla="*/ 852958 h 1358062"/>
                <a:gd name="connsiteX660" fmla="*/ 490810 w 1339002"/>
                <a:gd name="connsiteY660" fmla="*/ 843428 h 1358062"/>
                <a:gd name="connsiteX661" fmla="*/ 481280 w 1339002"/>
                <a:gd name="connsiteY661" fmla="*/ 852958 h 1358062"/>
                <a:gd name="connsiteX662" fmla="*/ 486044 w 1339002"/>
                <a:gd name="connsiteY662" fmla="*/ 881548 h 1358062"/>
                <a:gd name="connsiteX663" fmla="*/ 500340 w 1339002"/>
                <a:gd name="connsiteY663" fmla="*/ 900608 h 1358062"/>
                <a:gd name="connsiteX664" fmla="*/ 524166 w 1339002"/>
                <a:gd name="connsiteY664" fmla="*/ 953026 h 1358062"/>
                <a:gd name="connsiteX665" fmla="*/ 533696 w 1339002"/>
                <a:gd name="connsiteY665" fmla="*/ 986380 h 1358062"/>
                <a:gd name="connsiteX666" fmla="*/ 533696 w 1339002"/>
                <a:gd name="connsiteY666" fmla="*/ 1000676 h 1358062"/>
                <a:gd name="connsiteX667" fmla="*/ 528930 w 1339002"/>
                <a:gd name="connsiteY667" fmla="*/ 1029266 h 1358062"/>
                <a:gd name="connsiteX668" fmla="*/ 543226 w 1339002"/>
                <a:gd name="connsiteY668" fmla="*/ 1048328 h 1358062"/>
                <a:gd name="connsiteX669" fmla="*/ 547992 w 1339002"/>
                <a:gd name="connsiteY669" fmla="*/ 1067388 h 1358062"/>
                <a:gd name="connsiteX670" fmla="*/ 543226 w 1339002"/>
                <a:gd name="connsiteY670" fmla="*/ 1067388 h 1358062"/>
                <a:gd name="connsiteX671" fmla="*/ 533696 w 1339002"/>
                <a:gd name="connsiteY671" fmla="*/ 1057858 h 1358062"/>
                <a:gd name="connsiteX672" fmla="*/ 519400 w 1339002"/>
                <a:gd name="connsiteY672" fmla="*/ 1048328 h 1358062"/>
                <a:gd name="connsiteX673" fmla="*/ 495574 w 1339002"/>
                <a:gd name="connsiteY673" fmla="*/ 1019736 h 1358062"/>
                <a:gd name="connsiteX674" fmla="*/ 490810 w 1339002"/>
                <a:gd name="connsiteY674" fmla="*/ 1000676 h 1358062"/>
                <a:gd name="connsiteX675" fmla="*/ 481280 w 1339002"/>
                <a:gd name="connsiteY675" fmla="*/ 1000676 h 1358062"/>
                <a:gd name="connsiteX676" fmla="*/ 462218 w 1339002"/>
                <a:gd name="connsiteY676" fmla="*/ 1000676 h 1358062"/>
                <a:gd name="connsiteX677" fmla="*/ 443158 w 1339002"/>
                <a:gd name="connsiteY677" fmla="*/ 1043562 h 1358062"/>
                <a:gd name="connsiteX678" fmla="*/ 443158 w 1339002"/>
                <a:gd name="connsiteY678" fmla="*/ 1067388 h 1358062"/>
                <a:gd name="connsiteX679" fmla="*/ 433628 w 1339002"/>
                <a:gd name="connsiteY679" fmla="*/ 1062622 h 1358062"/>
                <a:gd name="connsiteX680" fmla="*/ 428864 w 1339002"/>
                <a:gd name="connsiteY680" fmla="*/ 1053092 h 1358062"/>
                <a:gd name="connsiteX681" fmla="*/ 428864 w 1339002"/>
                <a:gd name="connsiteY681" fmla="*/ 1029266 h 1358062"/>
                <a:gd name="connsiteX682" fmla="*/ 428864 w 1339002"/>
                <a:gd name="connsiteY682" fmla="*/ 1014972 h 1358062"/>
                <a:gd name="connsiteX683" fmla="*/ 405038 w 1339002"/>
                <a:gd name="connsiteY683" fmla="*/ 981616 h 1358062"/>
                <a:gd name="connsiteX684" fmla="*/ 395508 w 1339002"/>
                <a:gd name="connsiteY684" fmla="*/ 976850 h 1358062"/>
                <a:gd name="connsiteX685" fmla="*/ 390742 w 1339002"/>
                <a:gd name="connsiteY685" fmla="*/ 967320 h 1358062"/>
                <a:gd name="connsiteX686" fmla="*/ 381212 w 1339002"/>
                <a:gd name="connsiteY686" fmla="*/ 953026 h 1358062"/>
                <a:gd name="connsiteX687" fmla="*/ 371682 w 1339002"/>
                <a:gd name="connsiteY687" fmla="*/ 953026 h 1358062"/>
                <a:gd name="connsiteX688" fmla="*/ 362152 w 1339002"/>
                <a:gd name="connsiteY688" fmla="*/ 962556 h 1358062"/>
                <a:gd name="connsiteX689" fmla="*/ 357386 w 1339002"/>
                <a:gd name="connsiteY689" fmla="*/ 981616 h 1358062"/>
                <a:gd name="connsiteX690" fmla="*/ 357386 w 1339002"/>
                <a:gd name="connsiteY690" fmla="*/ 995912 h 1358062"/>
                <a:gd name="connsiteX691" fmla="*/ 352620 w 1339002"/>
                <a:gd name="connsiteY691" fmla="*/ 1010206 h 1358062"/>
                <a:gd name="connsiteX692" fmla="*/ 328796 w 1339002"/>
                <a:gd name="connsiteY692" fmla="*/ 986380 h 1358062"/>
                <a:gd name="connsiteX693" fmla="*/ 300204 w 1339002"/>
                <a:gd name="connsiteY693" fmla="*/ 943494 h 1358062"/>
                <a:gd name="connsiteX694" fmla="*/ 300204 w 1339002"/>
                <a:gd name="connsiteY694" fmla="*/ 919670 h 1358062"/>
                <a:gd name="connsiteX695" fmla="*/ 319266 w 1339002"/>
                <a:gd name="connsiteY695" fmla="*/ 895844 h 1358062"/>
                <a:gd name="connsiteX696" fmla="*/ 319266 w 1339002"/>
                <a:gd name="connsiteY696" fmla="*/ 881548 h 1358062"/>
                <a:gd name="connsiteX697" fmla="*/ 300204 w 1339002"/>
                <a:gd name="connsiteY697" fmla="*/ 852958 h 1358062"/>
                <a:gd name="connsiteX698" fmla="*/ 276378 w 1339002"/>
                <a:gd name="connsiteY698" fmla="*/ 833896 h 1358062"/>
                <a:gd name="connsiteX699" fmla="*/ 262084 w 1339002"/>
                <a:gd name="connsiteY699" fmla="*/ 829132 h 1358062"/>
                <a:gd name="connsiteX700" fmla="*/ 257318 w 1339002"/>
                <a:gd name="connsiteY700" fmla="*/ 805306 h 1358062"/>
                <a:gd name="connsiteX701" fmla="*/ 243024 w 1339002"/>
                <a:gd name="connsiteY701" fmla="*/ 795776 h 1358062"/>
                <a:gd name="connsiteX702" fmla="*/ 233492 w 1339002"/>
                <a:gd name="connsiteY702" fmla="*/ 791010 h 1358062"/>
                <a:gd name="connsiteX703" fmla="*/ 233492 w 1339002"/>
                <a:gd name="connsiteY703" fmla="*/ 781480 h 1358062"/>
                <a:gd name="connsiteX704" fmla="*/ 233492 w 1339002"/>
                <a:gd name="connsiteY704" fmla="*/ 776716 h 1358062"/>
                <a:gd name="connsiteX705" fmla="*/ 257318 w 1339002"/>
                <a:gd name="connsiteY705" fmla="*/ 757654 h 1358062"/>
                <a:gd name="connsiteX706" fmla="*/ 276378 w 1339002"/>
                <a:gd name="connsiteY706" fmla="*/ 724298 h 1358062"/>
                <a:gd name="connsiteX707" fmla="*/ 281144 w 1339002"/>
                <a:gd name="connsiteY707" fmla="*/ 719534 h 1358062"/>
                <a:gd name="connsiteX708" fmla="*/ 295440 w 1339002"/>
                <a:gd name="connsiteY708" fmla="*/ 729064 h 1358062"/>
                <a:gd name="connsiteX709" fmla="*/ 314500 w 1339002"/>
                <a:gd name="connsiteY709" fmla="*/ 724298 h 1358062"/>
                <a:gd name="connsiteX710" fmla="*/ 328796 w 1339002"/>
                <a:gd name="connsiteY710" fmla="*/ 705238 h 1358062"/>
                <a:gd name="connsiteX711" fmla="*/ 338326 w 1339002"/>
                <a:gd name="connsiteY711" fmla="*/ 695708 h 1358062"/>
                <a:gd name="connsiteX712" fmla="*/ 362152 w 1339002"/>
                <a:gd name="connsiteY712" fmla="*/ 695708 h 1358062"/>
                <a:gd name="connsiteX713" fmla="*/ 405038 w 1339002"/>
                <a:gd name="connsiteY713" fmla="*/ 724298 h 1358062"/>
                <a:gd name="connsiteX714" fmla="*/ 452688 w 1339002"/>
                <a:gd name="connsiteY714" fmla="*/ 738594 h 1358062"/>
                <a:gd name="connsiteX715" fmla="*/ 476514 w 1339002"/>
                <a:gd name="connsiteY715" fmla="*/ 752890 h 1358062"/>
                <a:gd name="connsiteX716" fmla="*/ 490810 w 1339002"/>
                <a:gd name="connsiteY716" fmla="*/ 767186 h 1358062"/>
                <a:gd name="connsiteX717" fmla="*/ 500340 w 1339002"/>
                <a:gd name="connsiteY717" fmla="*/ 767186 h 1358062"/>
                <a:gd name="connsiteX718" fmla="*/ 509870 w 1339002"/>
                <a:gd name="connsiteY718" fmla="*/ 771950 h 1358062"/>
                <a:gd name="connsiteX719" fmla="*/ 509870 w 1339002"/>
                <a:gd name="connsiteY719" fmla="*/ 762420 h 1358062"/>
                <a:gd name="connsiteX720" fmla="*/ 505106 w 1339002"/>
                <a:gd name="connsiteY720" fmla="*/ 752890 h 1358062"/>
                <a:gd name="connsiteX721" fmla="*/ 514636 w 1339002"/>
                <a:gd name="connsiteY721" fmla="*/ 748124 h 1358062"/>
                <a:gd name="connsiteX722" fmla="*/ 543226 w 1339002"/>
                <a:gd name="connsiteY722" fmla="*/ 748124 h 1358062"/>
                <a:gd name="connsiteX723" fmla="*/ 547992 w 1339002"/>
                <a:gd name="connsiteY723" fmla="*/ 743360 h 1358062"/>
                <a:gd name="connsiteX724" fmla="*/ 552756 w 1339002"/>
                <a:gd name="connsiteY724" fmla="*/ 733830 h 1358062"/>
                <a:gd name="connsiteX725" fmla="*/ 547992 w 1339002"/>
                <a:gd name="connsiteY725" fmla="*/ 724298 h 1358062"/>
                <a:gd name="connsiteX726" fmla="*/ 538462 w 1339002"/>
                <a:gd name="connsiteY726" fmla="*/ 724298 h 1358062"/>
                <a:gd name="connsiteX727" fmla="*/ 528930 w 1339002"/>
                <a:gd name="connsiteY727" fmla="*/ 719534 h 1358062"/>
                <a:gd name="connsiteX728" fmla="*/ 524166 w 1339002"/>
                <a:gd name="connsiteY728" fmla="*/ 719534 h 1358062"/>
                <a:gd name="connsiteX729" fmla="*/ 514636 w 1339002"/>
                <a:gd name="connsiteY729" fmla="*/ 719534 h 1358062"/>
                <a:gd name="connsiteX730" fmla="*/ 495574 w 1339002"/>
                <a:gd name="connsiteY730" fmla="*/ 714768 h 1358062"/>
                <a:gd name="connsiteX731" fmla="*/ 490810 w 1339002"/>
                <a:gd name="connsiteY731" fmla="*/ 710004 h 1358062"/>
                <a:gd name="connsiteX732" fmla="*/ 486044 w 1339002"/>
                <a:gd name="connsiteY732" fmla="*/ 705238 h 1358062"/>
                <a:gd name="connsiteX733" fmla="*/ 457454 w 1339002"/>
                <a:gd name="connsiteY733" fmla="*/ 690944 h 1358062"/>
                <a:gd name="connsiteX734" fmla="*/ 433628 w 1339002"/>
                <a:gd name="connsiteY734" fmla="*/ 676648 h 1358062"/>
                <a:gd name="connsiteX735" fmla="*/ 428864 w 1339002"/>
                <a:gd name="connsiteY735" fmla="*/ 686178 h 1358062"/>
                <a:gd name="connsiteX736" fmla="*/ 419332 w 1339002"/>
                <a:gd name="connsiteY736" fmla="*/ 690944 h 1358062"/>
                <a:gd name="connsiteX737" fmla="*/ 405038 w 1339002"/>
                <a:gd name="connsiteY737" fmla="*/ 690944 h 1358062"/>
                <a:gd name="connsiteX738" fmla="*/ 362152 w 1339002"/>
                <a:gd name="connsiteY738" fmla="*/ 681412 h 1358062"/>
                <a:gd name="connsiteX739" fmla="*/ 338326 w 1339002"/>
                <a:gd name="connsiteY739" fmla="*/ 686178 h 1358062"/>
                <a:gd name="connsiteX740" fmla="*/ 324030 w 1339002"/>
                <a:gd name="connsiteY740" fmla="*/ 690944 h 1358062"/>
                <a:gd name="connsiteX741" fmla="*/ 314500 w 1339002"/>
                <a:gd name="connsiteY741" fmla="*/ 690944 h 1358062"/>
                <a:gd name="connsiteX742" fmla="*/ 300204 w 1339002"/>
                <a:gd name="connsiteY742" fmla="*/ 695708 h 1358062"/>
                <a:gd name="connsiteX743" fmla="*/ 285910 w 1339002"/>
                <a:gd name="connsiteY743" fmla="*/ 695708 h 1358062"/>
                <a:gd name="connsiteX744" fmla="*/ 271614 w 1339002"/>
                <a:gd name="connsiteY744" fmla="*/ 681412 h 1358062"/>
                <a:gd name="connsiteX745" fmla="*/ 266848 w 1339002"/>
                <a:gd name="connsiteY745" fmla="*/ 667118 h 1358062"/>
                <a:gd name="connsiteX746" fmla="*/ 262084 w 1339002"/>
                <a:gd name="connsiteY746" fmla="*/ 662352 h 1358062"/>
                <a:gd name="connsiteX747" fmla="*/ 262084 w 1339002"/>
                <a:gd name="connsiteY747" fmla="*/ 676648 h 1358062"/>
                <a:gd name="connsiteX748" fmla="*/ 257318 w 1339002"/>
                <a:gd name="connsiteY748" fmla="*/ 686178 h 1358062"/>
                <a:gd name="connsiteX749" fmla="*/ 238258 w 1339002"/>
                <a:gd name="connsiteY749" fmla="*/ 690944 h 1358062"/>
                <a:gd name="connsiteX750" fmla="*/ 228728 w 1339002"/>
                <a:gd name="connsiteY750" fmla="*/ 686178 h 1358062"/>
                <a:gd name="connsiteX751" fmla="*/ 219198 w 1339002"/>
                <a:gd name="connsiteY751" fmla="*/ 662352 h 1358062"/>
                <a:gd name="connsiteX752" fmla="*/ 209668 w 1339002"/>
                <a:gd name="connsiteY752" fmla="*/ 633762 h 1358062"/>
                <a:gd name="connsiteX753" fmla="*/ 190606 w 1339002"/>
                <a:gd name="connsiteY753" fmla="*/ 605170 h 1358062"/>
                <a:gd name="connsiteX754" fmla="*/ 176312 w 1339002"/>
                <a:gd name="connsiteY754" fmla="*/ 600406 h 1358062"/>
                <a:gd name="connsiteX755" fmla="*/ 176312 w 1339002"/>
                <a:gd name="connsiteY755" fmla="*/ 586110 h 1358062"/>
                <a:gd name="connsiteX756" fmla="*/ 176312 w 1339002"/>
                <a:gd name="connsiteY756" fmla="*/ 576580 h 1358062"/>
                <a:gd name="connsiteX757" fmla="*/ 195372 w 1339002"/>
                <a:gd name="connsiteY757" fmla="*/ 571814 h 1358062"/>
                <a:gd name="connsiteX758" fmla="*/ 223962 w 1339002"/>
                <a:gd name="connsiteY758" fmla="*/ 586110 h 1358062"/>
                <a:gd name="connsiteX759" fmla="*/ 228728 w 1339002"/>
                <a:gd name="connsiteY759" fmla="*/ 581346 h 1358062"/>
                <a:gd name="connsiteX760" fmla="*/ 233492 w 1339002"/>
                <a:gd name="connsiteY760" fmla="*/ 576580 h 1358062"/>
                <a:gd name="connsiteX761" fmla="*/ 233492 w 1339002"/>
                <a:gd name="connsiteY761" fmla="*/ 567050 h 1358062"/>
                <a:gd name="connsiteX762" fmla="*/ 228728 w 1339002"/>
                <a:gd name="connsiteY762" fmla="*/ 557520 h 1358062"/>
                <a:gd name="connsiteX763" fmla="*/ 223962 w 1339002"/>
                <a:gd name="connsiteY763" fmla="*/ 557520 h 1358062"/>
                <a:gd name="connsiteX764" fmla="*/ 219198 w 1339002"/>
                <a:gd name="connsiteY764" fmla="*/ 557520 h 1358062"/>
                <a:gd name="connsiteX765" fmla="*/ 200136 w 1339002"/>
                <a:gd name="connsiteY765" fmla="*/ 552754 h 1358062"/>
                <a:gd name="connsiteX766" fmla="*/ 176312 w 1339002"/>
                <a:gd name="connsiteY766" fmla="*/ 562284 h 1358062"/>
                <a:gd name="connsiteX767" fmla="*/ 166780 w 1339002"/>
                <a:gd name="connsiteY767" fmla="*/ 557520 h 1358062"/>
                <a:gd name="connsiteX768" fmla="*/ 162016 w 1339002"/>
                <a:gd name="connsiteY768" fmla="*/ 547990 h 1358062"/>
                <a:gd name="connsiteX769" fmla="*/ 142956 w 1339002"/>
                <a:gd name="connsiteY769" fmla="*/ 533694 h 1358062"/>
                <a:gd name="connsiteX770" fmla="*/ 128660 w 1339002"/>
                <a:gd name="connsiteY770" fmla="*/ 509868 h 1358062"/>
                <a:gd name="connsiteX771" fmla="*/ 100070 w 1339002"/>
                <a:gd name="connsiteY771" fmla="*/ 495574 h 1358062"/>
                <a:gd name="connsiteX772" fmla="*/ 85774 w 1339002"/>
                <a:gd name="connsiteY772" fmla="*/ 452686 h 1358062"/>
                <a:gd name="connsiteX773" fmla="*/ 71478 w 1339002"/>
                <a:gd name="connsiteY773" fmla="*/ 433626 h 1358062"/>
                <a:gd name="connsiteX774" fmla="*/ 57184 w 1339002"/>
                <a:gd name="connsiteY774" fmla="*/ 419330 h 1358062"/>
                <a:gd name="connsiteX775" fmla="*/ 66714 w 1339002"/>
                <a:gd name="connsiteY775" fmla="*/ 419330 h 1358062"/>
                <a:gd name="connsiteX776" fmla="*/ 76244 w 1339002"/>
                <a:gd name="connsiteY776" fmla="*/ 428862 h 1358062"/>
                <a:gd name="connsiteX777" fmla="*/ 85774 w 1339002"/>
                <a:gd name="connsiteY777" fmla="*/ 428862 h 1358062"/>
                <a:gd name="connsiteX778" fmla="*/ 95304 w 1339002"/>
                <a:gd name="connsiteY778" fmla="*/ 424096 h 1358062"/>
                <a:gd name="connsiteX779" fmla="*/ 100070 w 1339002"/>
                <a:gd name="connsiteY779" fmla="*/ 419330 h 1358062"/>
                <a:gd name="connsiteX780" fmla="*/ 100070 w 1339002"/>
                <a:gd name="connsiteY780" fmla="*/ 414566 h 1358062"/>
                <a:gd name="connsiteX781" fmla="*/ 100070 w 1339002"/>
                <a:gd name="connsiteY781" fmla="*/ 405036 h 1358062"/>
                <a:gd name="connsiteX782" fmla="*/ 104834 w 1339002"/>
                <a:gd name="connsiteY782" fmla="*/ 400270 h 1358062"/>
                <a:gd name="connsiteX783" fmla="*/ 109600 w 1339002"/>
                <a:gd name="connsiteY783" fmla="*/ 400270 h 1358062"/>
                <a:gd name="connsiteX784" fmla="*/ 114364 w 1339002"/>
                <a:gd name="connsiteY784" fmla="*/ 400270 h 1358062"/>
                <a:gd name="connsiteX785" fmla="*/ 114364 w 1339002"/>
                <a:gd name="connsiteY785" fmla="*/ 390740 h 1358062"/>
                <a:gd name="connsiteX786" fmla="*/ 109600 w 1339002"/>
                <a:gd name="connsiteY786" fmla="*/ 381210 h 1358062"/>
                <a:gd name="connsiteX787" fmla="*/ 104834 w 1339002"/>
                <a:gd name="connsiteY787" fmla="*/ 371680 h 1358062"/>
                <a:gd name="connsiteX788" fmla="*/ 104834 w 1339002"/>
                <a:gd name="connsiteY788" fmla="*/ 362150 h 1358062"/>
                <a:gd name="connsiteX789" fmla="*/ 109600 w 1339002"/>
                <a:gd name="connsiteY789" fmla="*/ 362150 h 1358062"/>
                <a:gd name="connsiteX790" fmla="*/ 114364 w 1339002"/>
                <a:gd name="connsiteY790" fmla="*/ 357384 h 1358062"/>
                <a:gd name="connsiteX791" fmla="*/ 119130 w 1339002"/>
                <a:gd name="connsiteY791" fmla="*/ 347854 h 1358062"/>
                <a:gd name="connsiteX792" fmla="*/ 128660 w 1339002"/>
                <a:gd name="connsiteY792" fmla="*/ 347854 h 1358062"/>
                <a:gd name="connsiteX793" fmla="*/ 138190 w 1339002"/>
                <a:gd name="connsiteY793" fmla="*/ 347854 h 1358062"/>
                <a:gd name="connsiteX794" fmla="*/ 147720 w 1339002"/>
                <a:gd name="connsiteY794" fmla="*/ 343090 h 1358062"/>
                <a:gd name="connsiteX795" fmla="*/ 157250 w 1339002"/>
                <a:gd name="connsiteY795" fmla="*/ 333558 h 1358062"/>
                <a:gd name="connsiteX796" fmla="*/ 157250 w 1339002"/>
                <a:gd name="connsiteY796" fmla="*/ 328794 h 1358062"/>
                <a:gd name="connsiteX797" fmla="*/ 162016 w 1339002"/>
                <a:gd name="connsiteY797" fmla="*/ 309734 h 1358062"/>
                <a:gd name="connsiteX798" fmla="*/ 166780 w 1339002"/>
                <a:gd name="connsiteY798" fmla="*/ 300202 h 1358062"/>
                <a:gd name="connsiteX799" fmla="*/ 171546 w 1339002"/>
                <a:gd name="connsiteY799" fmla="*/ 290672 h 1358062"/>
                <a:gd name="connsiteX800" fmla="*/ 176312 w 1339002"/>
                <a:gd name="connsiteY800" fmla="*/ 281142 h 1358062"/>
                <a:gd name="connsiteX801" fmla="*/ 181076 w 1339002"/>
                <a:gd name="connsiteY801" fmla="*/ 266846 h 1358062"/>
                <a:gd name="connsiteX802" fmla="*/ 195372 w 1339002"/>
                <a:gd name="connsiteY802" fmla="*/ 262082 h 1358062"/>
                <a:gd name="connsiteX803" fmla="*/ 204902 w 1339002"/>
                <a:gd name="connsiteY803" fmla="*/ 257316 h 1358062"/>
                <a:gd name="connsiteX804" fmla="*/ 214432 w 1339002"/>
                <a:gd name="connsiteY804" fmla="*/ 243022 h 1358062"/>
                <a:gd name="connsiteX805" fmla="*/ 214432 w 1339002"/>
                <a:gd name="connsiteY805" fmla="*/ 233492 h 1358062"/>
                <a:gd name="connsiteX806" fmla="*/ 214432 w 1339002"/>
                <a:gd name="connsiteY806" fmla="*/ 223960 h 1358062"/>
                <a:gd name="connsiteX807" fmla="*/ 209668 w 1339002"/>
                <a:gd name="connsiteY807" fmla="*/ 214430 h 1358062"/>
                <a:gd name="connsiteX808" fmla="*/ 204902 w 1339002"/>
                <a:gd name="connsiteY808" fmla="*/ 200136 h 1358062"/>
                <a:gd name="connsiteX809" fmla="*/ 204902 w 1339002"/>
                <a:gd name="connsiteY809" fmla="*/ 185840 h 1358062"/>
                <a:gd name="connsiteX810" fmla="*/ 228728 w 1339002"/>
                <a:gd name="connsiteY810" fmla="*/ 185840 h 1358062"/>
                <a:gd name="connsiteX811" fmla="*/ 233492 w 1339002"/>
                <a:gd name="connsiteY811" fmla="*/ 181074 h 1358062"/>
                <a:gd name="connsiteX812" fmla="*/ 262084 w 1339002"/>
                <a:gd name="connsiteY812" fmla="*/ 181074 h 1358062"/>
                <a:gd name="connsiteX813" fmla="*/ 276378 w 1339002"/>
                <a:gd name="connsiteY813" fmla="*/ 171544 h 1358062"/>
                <a:gd name="connsiteX814" fmla="*/ 281144 w 1339002"/>
                <a:gd name="connsiteY814" fmla="*/ 176310 h 1358062"/>
                <a:gd name="connsiteX815" fmla="*/ 300204 w 1339002"/>
                <a:gd name="connsiteY815" fmla="*/ 181074 h 1358062"/>
                <a:gd name="connsiteX816" fmla="*/ 309734 w 1339002"/>
                <a:gd name="connsiteY816" fmla="*/ 176310 h 1358062"/>
                <a:gd name="connsiteX817" fmla="*/ 333560 w 1339002"/>
                <a:gd name="connsiteY817" fmla="*/ 166780 h 1358062"/>
                <a:gd name="connsiteX818" fmla="*/ 357386 w 1339002"/>
                <a:gd name="connsiteY818" fmla="*/ 133424 h 1358062"/>
                <a:gd name="connsiteX819" fmla="*/ 366916 w 1339002"/>
                <a:gd name="connsiteY819" fmla="*/ 128658 h 1358062"/>
                <a:gd name="connsiteX820" fmla="*/ 390742 w 1339002"/>
                <a:gd name="connsiteY820" fmla="*/ 123894 h 1358062"/>
                <a:gd name="connsiteX821" fmla="*/ 395508 w 1339002"/>
                <a:gd name="connsiteY821" fmla="*/ 119128 h 1358062"/>
                <a:gd name="connsiteX822" fmla="*/ 405038 w 1339002"/>
                <a:gd name="connsiteY822" fmla="*/ 123894 h 1358062"/>
                <a:gd name="connsiteX823" fmla="*/ 428864 w 1339002"/>
                <a:gd name="connsiteY823" fmla="*/ 128658 h 1358062"/>
                <a:gd name="connsiteX824" fmla="*/ 443158 w 1339002"/>
                <a:gd name="connsiteY824" fmla="*/ 128658 h 1358062"/>
                <a:gd name="connsiteX825" fmla="*/ 462218 w 1339002"/>
                <a:gd name="connsiteY825" fmla="*/ 123894 h 1358062"/>
                <a:gd name="connsiteX826" fmla="*/ 481280 w 1339002"/>
                <a:gd name="connsiteY826" fmla="*/ 119128 h 1358062"/>
                <a:gd name="connsiteX827" fmla="*/ 486044 w 1339002"/>
                <a:gd name="connsiteY827" fmla="*/ 90538 h 1358062"/>
                <a:gd name="connsiteX828" fmla="*/ 490810 w 1339002"/>
                <a:gd name="connsiteY828" fmla="*/ 85772 h 1358062"/>
                <a:gd name="connsiteX829" fmla="*/ 500340 w 1339002"/>
                <a:gd name="connsiteY829" fmla="*/ 85772 h 1358062"/>
                <a:gd name="connsiteX830" fmla="*/ 509870 w 1339002"/>
                <a:gd name="connsiteY830" fmla="*/ 85772 h 1358062"/>
                <a:gd name="connsiteX831" fmla="*/ 528930 w 1339002"/>
                <a:gd name="connsiteY831" fmla="*/ 85772 h 1358062"/>
                <a:gd name="connsiteX832" fmla="*/ 547992 w 1339002"/>
                <a:gd name="connsiteY832" fmla="*/ 85772 h 1358062"/>
                <a:gd name="connsiteX833" fmla="*/ 562286 w 1339002"/>
                <a:gd name="connsiteY833" fmla="*/ 76242 h 1358062"/>
                <a:gd name="connsiteX834" fmla="*/ 581348 w 1339002"/>
                <a:gd name="connsiteY834" fmla="*/ 71476 h 1358062"/>
                <a:gd name="connsiteX835" fmla="*/ 590878 w 1339002"/>
                <a:gd name="connsiteY835" fmla="*/ 71476 h 1358062"/>
                <a:gd name="connsiteX836" fmla="*/ 609938 w 1339002"/>
                <a:gd name="connsiteY836" fmla="*/ 76242 h 1358062"/>
                <a:gd name="connsiteX837" fmla="*/ 624234 w 1339002"/>
                <a:gd name="connsiteY837" fmla="*/ 76242 h 1358062"/>
                <a:gd name="connsiteX838" fmla="*/ 643294 w 1339002"/>
                <a:gd name="connsiteY838" fmla="*/ 66712 h 1358062"/>
                <a:gd name="connsiteX839" fmla="*/ 662354 w 1339002"/>
                <a:gd name="connsiteY839" fmla="*/ 57182 h 1358062"/>
                <a:gd name="connsiteX840" fmla="*/ 676650 w 1339002"/>
                <a:gd name="connsiteY840" fmla="*/ 61946 h 1358062"/>
                <a:gd name="connsiteX841" fmla="*/ 681414 w 1339002"/>
                <a:gd name="connsiteY841" fmla="*/ 57182 h 1358062"/>
                <a:gd name="connsiteX842" fmla="*/ 686180 w 1339002"/>
                <a:gd name="connsiteY842" fmla="*/ 57182 h 1358062"/>
                <a:gd name="connsiteX843" fmla="*/ 690946 w 1339002"/>
                <a:gd name="connsiteY843" fmla="*/ 42886 h 1358062"/>
                <a:gd name="connsiteX844" fmla="*/ 714770 w 1339002"/>
                <a:gd name="connsiteY844" fmla="*/ 42886 h 1358062"/>
                <a:gd name="connsiteX845" fmla="*/ 724302 w 1339002"/>
                <a:gd name="connsiteY845" fmla="*/ 42886 h 1358062"/>
                <a:gd name="connsiteX846" fmla="*/ 738596 w 1339002"/>
                <a:gd name="connsiteY846" fmla="*/ 42886 h 1358062"/>
                <a:gd name="connsiteX847" fmla="*/ 757656 w 1339002"/>
                <a:gd name="connsiteY847" fmla="*/ 38122 h 1358062"/>
                <a:gd name="connsiteX848" fmla="*/ 762422 w 1339002"/>
                <a:gd name="connsiteY848" fmla="*/ 38122 h 1358062"/>
                <a:gd name="connsiteX849" fmla="*/ 767188 w 1339002"/>
                <a:gd name="connsiteY849" fmla="*/ 57182 h 1358062"/>
                <a:gd name="connsiteX850" fmla="*/ 771952 w 1339002"/>
                <a:gd name="connsiteY850" fmla="*/ 61946 h 1358062"/>
                <a:gd name="connsiteX851" fmla="*/ 781482 w 1339002"/>
                <a:gd name="connsiteY851" fmla="*/ 66712 h 1358062"/>
                <a:gd name="connsiteX852" fmla="*/ 800544 w 1339002"/>
                <a:gd name="connsiteY852" fmla="*/ 81008 h 1358062"/>
                <a:gd name="connsiteX853" fmla="*/ 805308 w 1339002"/>
                <a:gd name="connsiteY853" fmla="*/ 76242 h 1358062"/>
                <a:gd name="connsiteX854" fmla="*/ 810074 w 1339002"/>
                <a:gd name="connsiteY854" fmla="*/ 71476 h 1358062"/>
                <a:gd name="connsiteX855" fmla="*/ 833900 w 1339002"/>
                <a:gd name="connsiteY855" fmla="*/ 76242 h 1358062"/>
                <a:gd name="connsiteX856" fmla="*/ 857724 w 1339002"/>
                <a:gd name="connsiteY856" fmla="*/ 90538 h 1358062"/>
                <a:gd name="connsiteX857" fmla="*/ 876786 w 1339002"/>
                <a:gd name="connsiteY857" fmla="*/ 104832 h 1358062"/>
                <a:gd name="connsiteX858" fmla="*/ 895846 w 1339002"/>
                <a:gd name="connsiteY858" fmla="*/ 100068 h 1358062"/>
                <a:gd name="connsiteX859" fmla="*/ 919672 w 1339002"/>
                <a:gd name="connsiteY859" fmla="*/ 90538 h 1358062"/>
                <a:gd name="connsiteX860" fmla="*/ 933966 w 1339002"/>
                <a:gd name="connsiteY860" fmla="*/ 90538 h 1358062"/>
                <a:gd name="connsiteX861" fmla="*/ 948262 w 1339002"/>
                <a:gd name="connsiteY861" fmla="*/ 90538 h 1358062"/>
                <a:gd name="connsiteX862" fmla="*/ 957792 w 1339002"/>
                <a:gd name="connsiteY862" fmla="*/ 85772 h 1358062"/>
                <a:gd name="connsiteX863" fmla="*/ 981618 w 1339002"/>
                <a:gd name="connsiteY863" fmla="*/ 90538 h 1358062"/>
                <a:gd name="connsiteX864" fmla="*/ 1000678 w 1339002"/>
                <a:gd name="connsiteY864" fmla="*/ 81008 h 1358062"/>
                <a:gd name="connsiteX865" fmla="*/ 1014974 w 1339002"/>
                <a:gd name="connsiteY865" fmla="*/ 76242 h 1358062"/>
                <a:gd name="connsiteX866" fmla="*/ 1014974 w 1339002"/>
                <a:gd name="connsiteY866" fmla="*/ 61946 h 1358062"/>
                <a:gd name="connsiteX867" fmla="*/ 1014974 w 1339002"/>
                <a:gd name="connsiteY867" fmla="*/ 47652 h 1358062"/>
                <a:gd name="connsiteX868" fmla="*/ 1010208 w 1339002"/>
                <a:gd name="connsiteY868" fmla="*/ 28590 h 1358062"/>
                <a:gd name="connsiteX869" fmla="*/ 1005444 w 1339002"/>
                <a:gd name="connsiteY869" fmla="*/ 19060 h 1358062"/>
                <a:gd name="connsiteX870" fmla="*/ 1000678 w 1339002"/>
                <a:gd name="connsiteY870" fmla="*/ 14296 h 1358062"/>
                <a:gd name="connsiteX871" fmla="*/ 1005444 w 1339002"/>
                <a:gd name="connsiteY871" fmla="*/ 9530 h 1358062"/>
                <a:gd name="connsiteX872" fmla="*/ 1010208 w 1339002"/>
                <a:gd name="connsiteY872" fmla="*/ 4766 h 1358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</a:cxnLst>
              <a:rect l="l" t="t" r="r" b="b"/>
              <a:pathLst>
                <a:path w="1339002" h="1358062">
                  <a:moveTo>
                    <a:pt x="638528" y="1219872"/>
                  </a:moveTo>
                  <a:lnTo>
                    <a:pt x="643294" y="1224638"/>
                  </a:lnTo>
                  <a:lnTo>
                    <a:pt x="648060" y="1238932"/>
                  </a:lnTo>
                  <a:lnTo>
                    <a:pt x="657590" y="1243698"/>
                  </a:lnTo>
                  <a:lnTo>
                    <a:pt x="667120" y="1243698"/>
                  </a:lnTo>
                  <a:lnTo>
                    <a:pt x="681414" y="1243698"/>
                  </a:lnTo>
                  <a:lnTo>
                    <a:pt x="686180" y="1243698"/>
                  </a:lnTo>
                  <a:lnTo>
                    <a:pt x="695710" y="1229402"/>
                  </a:lnTo>
                  <a:lnTo>
                    <a:pt x="705240" y="1229402"/>
                  </a:lnTo>
                  <a:lnTo>
                    <a:pt x="710006" y="1243698"/>
                  </a:lnTo>
                  <a:lnTo>
                    <a:pt x="700476" y="1248462"/>
                  </a:lnTo>
                  <a:lnTo>
                    <a:pt x="695710" y="1248462"/>
                  </a:lnTo>
                  <a:lnTo>
                    <a:pt x="700476" y="1253228"/>
                  </a:lnTo>
                  <a:lnTo>
                    <a:pt x="710006" y="1257994"/>
                  </a:lnTo>
                  <a:lnTo>
                    <a:pt x="719536" y="1253228"/>
                  </a:lnTo>
                  <a:lnTo>
                    <a:pt x="719536" y="1262758"/>
                  </a:lnTo>
                  <a:lnTo>
                    <a:pt x="724302" y="1272288"/>
                  </a:lnTo>
                  <a:lnTo>
                    <a:pt x="729066" y="1277054"/>
                  </a:lnTo>
                  <a:lnTo>
                    <a:pt x="733832" y="1277054"/>
                  </a:lnTo>
                  <a:lnTo>
                    <a:pt x="748126" y="1272288"/>
                  </a:lnTo>
                  <a:lnTo>
                    <a:pt x="762422" y="1272288"/>
                  </a:lnTo>
                  <a:lnTo>
                    <a:pt x="776718" y="1267524"/>
                  </a:lnTo>
                  <a:lnTo>
                    <a:pt x="791014" y="1262758"/>
                  </a:lnTo>
                  <a:lnTo>
                    <a:pt x="838664" y="1267524"/>
                  </a:lnTo>
                  <a:lnTo>
                    <a:pt x="852960" y="1277054"/>
                  </a:lnTo>
                  <a:lnTo>
                    <a:pt x="881550" y="1281818"/>
                  </a:lnTo>
                  <a:lnTo>
                    <a:pt x="910142" y="1286584"/>
                  </a:lnTo>
                  <a:lnTo>
                    <a:pt x="924436" y="1281818"/>
                  </a:lnTo>
                  <a:lnTo>
                    <a:pt x="948262" y="1277054"/>
                  </a:lnTo>
                  <a:lnTo>
                    <a:pt x="953028" y="1281818"/>
                  </a:lnTo>
                  <a:lnTo>
                    <a:pt x="953028" y="1310410"/>
                  </a:lnTo>
                  <a:lnTo>
                    <a:pt x="953028" y="1319940"/>
                  </a:lnTo>
                  <a:lnTo>
                    <a:pt x="957792" y="1319940"/>
                  </a:lnTo>
                  <a:lnTo>
                    <a:pt x="967322" y="1319940"/>
                  </a:lnTo>
                  <a:lnTo>
                    <a:pt x="976854" y="1310410"/>
                  </a:lnTo>
                  <a:lnTo>
                    <a:pt x="995914" y="1305644"/>
                  </a:lnTo>
                  <a:lnTo>
                    <a:pt x="1019740" y="1305644"/>
                  </a:lnTo>
                  <a:lnTo>
                    <a:pt x="1038800" y="1286584"/>
                  </a:lnTo>
                  <a:lnTo>
                    <a:pt x="1043564" y="1286584"/>
                  </a:lnTo>
                  <a:lnTo>
                    <a:pt x="1038800" y="1296114"/>
                  </a:lnTo>
                  <a:lnTo>
                    <a:pt x="1038800" y="1315174"/>
                  </a:lnTo>
                  <a:lnTo>
                    <a:pt x="1034034" y="1324706"/>
                  </a:lnTo>
                  <a:lnTo>
                    <a:pt x="1029270" y="1334236"/>
                  </a:lnTo>
                  <a:lnTo>
                    <a:pt x="1019740" y="1339000"/>
                  </a:lnTo>
                  <a:lnTo>
                    <a:pt x="1000678" y="1343766"/>
                  </a:lnTo>
                  <a:lnTo>
                    <a:pt x="967322" y="1339000"/>
                  </a:lnTo>
                  <a:lnTo>
                    <a:pt x="933966" y="1343766"/>
                  </a:lnTo>
                  <a:lnTo>
                    <a:pt x="867256" y="1353296"/>
                  </a:lnTo>
                  <a:lnTo>
                    <a:pt x="805308" y="1358062"/>
                  </a:lnTo>
                  <a:lnTo>
                    <a:pt x="795778" y="1353296"/>
                  </a:lnTo>
                  <a:lnTo>
                    <a:pt x="795778" y="1343766"/>
                  </a:lnTo>
                  <a:lnTo>
                    <a:pt x="795778" y="1334236"/>
                  </a:lnTo>
                  <a:lnTo>
                    <a:pt x="791014" y="1329470"/>
                  </a:lnTo>
                  <a:lnTo>
                    <a:pt x="771952" y="1324706"/>
                  </a:lnTo>
                  <a:lnTo>
                    <a:pt x="752892" y="1315174"/>
                  </a:lnTo>
                  <a:lnTo>
                    <a:pt x="681414" y="1300880"/>
                  </a:lnTo>
                  <a:lnTo>
                    <a:pt x="662354" y="1296114"/>
                  </a:lnTo>
                  <a:lnTo>
                    <a:pt x="633764" y="1300880"/>
                  </a:lnTo>
                  <a:lnTo>
                    <a:pt x="624234" y="1300880"/>
                  </a:lnTo>
                  <a:lnTo>
                    <a:pt x="614704" y="1296114"/>
                  </a:lnTo>
                  <a:lnTo>
                    <a:pt x="609938" y="1286584"/>
                  </a:lnTo>
                  <a:lnTo>
                    <a:pt x="609938" y="1267524"/>
                  </a:lnTo>
                  <a:lnTo>
                    <a:pt x="614704" y="1243698"/>
                  </a:lnTo>
                  <a:lnTo>
                    <a:pt x="619468" y="1234168"/>
                  </a:lnTo>
                  <a:lnTo>
                    <a:pt x="624234" y="1243698"/>
                  </a:lnTo>
                  <a:lnTo>
                    <a:pt x="628998" y="1248462"/>
                  </a:lnTo>
                  <a:lnTo>
                    <a:pt x="633764" y="1238932"/>
                  </a:lnTo>
                  <a:lnTo>
                    <a:pt x="633764" y="1229402"/>
                  </a:lnTo>
                  <a:close/>
                  <a:moveTo>
                    <a:pt x="1181752" y="1186518"/>
                  </a:moveTo>
                  <a:lnTo>
                    <a:pt x="1181752" y="1205578"/>
                  </a:lnTo>
                  <a:lnTo>
                    <a:pt x="1172222" y="1224638"/>
                  </a:lnTo>
                  <a:lnTo>
                    <a:pt x="1181752" y="1238934"/>
                  </a:lnTo>
                  <a:lnTo>
                    <a:pt x="1186518" y="1253228"/>
                  </a:lnTo>
                  <a:lnTo>
                    <a:pt x="1176988" y="1257994"/>
                  </a:lnTo>
                  <a:lnTo>
                    <a:pt x="1172222" y="1267524"/>
                  </a:lnTo>
                  <a:lnTo>
                    <a:pt x="1162692" y="1257994"/>
                  </a:lnTo>
                  <a:lnTo>
                    <a:pt x="1167458" y="1248464"/>
                  </a:lnTo>
                  <a:lnTo>
                    <a:pt x="1157928" y="1229404"/>
                  </a:lnTo>
                  <a:lnTo>
                    <a:pt x="1172222" y="1205578"/>
                  </a:lnTo>
                  <a:lnTo>
                    <a:pt x="1172222" y="1191282"/>
                  </a:lnTo>
                  <a:close/>
                  <a:moveTo>
                    <a:pt x="514636" y="1076918"/>
                  </a:moveTo>
                  <a:lnTo>
                    <a:pt x="524166" y="1091214"/>
                  </a:lnTo>
                  <a:lnTo>
                    <a:pt x="538460" y="1105510"/>
                  </a:lnTo>
                  <a:lnTo>
                    <a:pt x="533696" y="1115040"/>
                  </a:lnTo>
                  <a:lnTo>
                    <a:pt x="528930" y="1124570"/>
                  </a:lnTo>
                  <a:lnTo>
                    <a:pt x="514636" y="1119804"/>
                  </a:lnTo>
                  <a:lnTo>
                    <a:pt x="509870" y="1110274"/>
                  </a:lnTo>
                  <a:lnTo>
                    <a:pt x="509870" y="1091214"/>
                  </a:lnTo>
                  <a:lnTo>
                    <a:pt x="514636" y="1081684"/>
                  </a:lnTo>
                  <a:close/>
                  <a:moveTo>
                    <a:pt x="1339002" y="1067388"/>
                  </a:moveTo>
                  <a:lnTo>
                    <a:pt x="1339002" y="1081684"/>
                  </a:lnTo>
                  <a:lnTo>
                    <a:pt x="1329472" y="1110274"/>
                  </a:lnTo>
                  <a:lnTo>
                    <a:pt x="1315176" y="1129334"/>
                  </a:lnTo>
                  <a:lnTo>
                    <a:pt x="1319942" y="1138866"/>
                  </a:lnTo>
                  <a:lnTo>
                    <a:pt x="1300882" y="1143630"/>
                  </a:lnTo>
                  <a:lnTo>
                    <a:pt x="1281820" y="1167456"/>
                  </a:lnTo>
                  <a:lnTo>
                    <a:pt x="1267526" y="1172222"/>
                  </a:lnTo>
                  <a:lnTo>
                    <a:pt x="1262760" y="1172222"/>
                  </a:lnTo>
                  <a:lnTo>
                    <a:pt x="1257996" y="1162690"/>
                  </a:lnTo>
                  <a:lnTo>
                    <a:pt x="1267526" y="1138866"/>
                  </a:lnTo>
                  <a:lnTo>
                    <a:pt x="1262760" y="1124570"/>
                  </a:lnTo>
                  <a:lnTo>
                    <a:pt x="1262760" y="1119804"/>
                  </a:lnTo>
                  <a:lnTo>
                    <a:pt x="1267526" y="1110274"/>
                  </a:lnTo>
                  <a:lnTo>
                    <a:pt x="1277056" y="1100744"/>
                  </a:lnTo>
                  <a:lnTo>
                    <a:pt x="1291350" y="1086448"/>
                  </a:lnTo>
                  <a:lnTo>
                    <a:pt x="1329472" y="1072154"/>
                  </a:lnTo>
                  <a:close/>
                  <a:moveTo>
                    <a:pt x="900610" y="1062622"/>
                  </a:moveTo>
                  <a:lnTo>
                    <a:pt x="910140" y="1067388"/>
                  </a:lnTo>
                  <a:lnTo>
                    <a:pt x="910140" y="1076918"/>
                  </a:lnTo>
                  <a:lnTo>
                    <a:pt x="905376" y="1086450"/>
                  </a:lnTo>
                  <a:lnTo>
                    <a:pt x="895844" y="1081684"/>
                  </a:lnTo>
                  <a:lnTo>
                    <a:pt x="900610" y="1076918"/>
                  </a:lnTo>
                  <a:lnTo>
                    <a:pt x="900610" y="1072154"/>
                  </a:lnTo>
                  <a:lnTo>
                    <a:pt x="900610" y="1067388"/>
                  </a:lnTo>
                  <a:close/>
                  <a:moveTo>
                    <a:pt x="1277056" y="1029266"/>
                  </a:moveTo>
                  <a:lnTo>
                    <a:pt x="1281820" y="1029266"/>
                  </a:lnTo>
                  <a:lnTo>
                    <a:pt x="1286584" y="1034032"/>
                  </a:lnTo>
                  <a:lnTo>
                    <a:pt x="1286584" y="1038798"/>
                  </a:lnTo>
                  <a:lnTo>
                    <a:pt x="1281820" y="1043562"/>
                  </a:lnTo>
                  <a:lnTo>
                    <a:pt x="1281820" y="1048328"/>
                  </a:lnTo>
                  <a:lnTo>
                    <a:pt x="1272290" y="1038798"/>
                  </a:lnTo>
                  <a:lnTo>
                    <a:pt x="1272290" y="1034032"/>
                  </a:lnTo>
                  <a:close/>
                  <a:moveTo>
                    <a:pt x="1048330" y="1029266"/>
                  </a:moveTo>
                  <a:lnTo>
                    <a:pt x="1057860" y="1034032"/>
                  </a:lnTo>
                  <a:lnTo>
                    <a:pt x="1062624" y="1038798"/>
                  </a:lnTo>
                  <a:lnTo>
                    <a:pt x="1053094" y="1043562"/>
                  </a:lnTo>
                  <a:lnTo>
                    <a:pt x="1043564" y="1053094"/>
                  </a:lnTo>
                  <a:lnTo>
                    <a:pt x="1034034" y="1048328"/>
                  </a:lnTo>
                  <a:lnTo>
                    <a:pt x="1034034" y="1038798"/>
                  </a:lnTo>
                  <a:lnTo>
                    <a:pt x="1043564" y="1038798"/>
                  </a:lnTo>
                  <a:lnTo>
                    <a:pt x="1053094" y="1034032"/>
                  </a:lnTo>
                  <a:close/>
                  <a:moveTo>
                    <a:pt x="762422" y="1005442"/>
                  </a:moveTo>
                  <a:lnTo>
                    <a:pt x="762422" y="1014972"/>
                  </a:lnTo>
                  <a:lnTo>
                    <a:pt x="762422" y="1019738"/>
                  </a:lnTo>
                  <a:lnTo>
                    <a:pt x="729066" y="1024502"/>
                  </a:lnTo>
                  <a:lnTo>
                    <a:pt x="733832" y="1010208"/>
                  </a:lnTo>
                  <a:lnTo>
                    <a:pt x="738596" y="1010208"/>
                  </a:lnTo>
                  <a:lnTo>
                    <a:pt x="748126" y="1014972"/>
                  </a:lnTo>
                  <a:lnTo>
                    <a:pt x="748126" y="1010208"/>
                  </a:lnTo>
                  <a:lnTo>
                    <a:pt x="752892" y="1010208"/>
                  </a:lnTo>
                  <a:close/>
                  <a:moveTo>
                    <a:pt x="881550" y="1000678"/>
                  </a:moveTo>
                  <a:lnTo>
                    <a:pt x="900612" y="1014972"/>
                  </a:lnTo>
                  <a:lnTo>
                    <a:pt x="895846" y="1024502"/>
                  </a:lnTo>
                  <a:lnTo>
                    <a:pt x="881550" y="1014972"/>
                  </a:lnTo>
                  <a:lnTo>
                    <a:pt x="876784" y="1005442"/>
                  </a:lnTo>
                  <a:close/>
                  <a:moveTo>
                    <a:pt x="1181754" y="976850"/>
                  </a:moveTo>
                  <a:lnTo>
                    <a:pt x="1191284" y="976850"/>
                  </a:lnTo>
                  <a:lnTo>
                    <a:pt x="1205580" y="986382"/>
                  </a:lnTo>
                  <a:lnTo>
                    <a:pt x="1176988" y="995912"/>
                  </a:lnTo>
                  <a:lnTo>
                    <a:pt x="1172224" y="1000676"/>
                  </a:lnTo>
                  <a:lnTo>
                    <a:pt x="1153162" y="1000676"/>
                  </a:lnTo>
                  <a:lnTo>
                    <a:pt x="1138868" y="1010206"/>
                  </a:lnTo>
                  <a:lnTo>
                    <a:pt x="1134102" y="1010206"/>
                  </a:lnTo>
                  <a:lnTo>
                    <a:pt x="1143632" y="1000676"/>
                  </a:lnTo>
                  <a:lnTo>
                    <a:pt x="1157928" y="991146"/>
                  </a:lnTo>
                  <a:close/>
                  <a:moveTo>
                    <a:pt x="991148" y="972086"/>
                  </a:moveTo>
                  <a:lnTo>
                    <a:pt x="1000678" y="976852"/>
                  </a:lnTo>
                  <a:lnTo>
                    <a:pt x="991148" y="981616"/>
                  </a:lnTo>
                  <a:lnTo>
                    <a:pt x="972088" y="1000678"/>
                  </a:lnTo>
                  <a:lnTo>
                    <a:pt x="957792" y="1000678"/>
                  </a:lnTo>
                  <a:lnTo>
                    <a:pt x="953028" y="1000678"/>
                  </a:lnTo>
                  <a:lnTo>
                    <a:pt x="962558" y="995912"/>
                  </a:lnTo>
                  <a:lnTo>
                    <a:pt x="967322" y="991146"/>
                  </a:lnTo>
                  <a:lnTo>
                    <a:pt x="967322" y="986382"/>
                  </a:lnTo>
                  <a:lnTo>
                    <a:pt x="981618" y="981616"/>
                  </a:lnTo>
                  <a:close/>
                  <a:moveTo>
                    <a:pt x="786248" y="953026"/>
                  </a:moveTo>
                  <a:lnTo>
                    <a:pt x="791012" y="953026"/>
                  </a:lnTo>
                  <a:lnTo>
                    <a:pt x="800542" y="967320"/>
                  </a:lnTo>
                  <a:lnTo>
                    <a:pt x="791012" y="972086"/>
                  </a:lnTo>
                  <a:lnTo>
                    <a:pt x="791012" y="976850"/>
                  </a:lnTo>
                  <a:lnTo>
                    <a:pt x="786248" y="967320"/>
                  </a:lnTo>
                  <a:lnTo>
                    <a:pt x="786248" y="957790"/>
                  </a:lnTo>
                  <a:close/>
                  <a:moveTo>
                    <a:pt x="1129336" y="943494"/>
                  </a:moveTo>
                  <a:lnTo>
                    <a:pt x="1143632" y="948260"/>
                  </a:lnTo>
                  <a:lnTo>
                    <a:pt x="1153162" y="957790"/>
                  </a:lnTo>
                  <a:lnTo>
                    <a:pt x="1153162" y="962556"/>
                  </a:lnTo>
                  <a:lnTo>
                    <a:pt x="1153162" y="967322"/>
                  </a:lnTo>
                  <a:lnTo>
                    <a:pt x="1134102" y="967322"/>
                  </a:lnTo>
                  <a:lnTo>
                    <a:pt x="1138866" y="953026"/>
                  </a:lnTo>
                  <a:close/>
                  <a:moveTo>
                    <a:pt x="872020" y="929200"/>
                  </a:moveTo>
                  <a:lnTo>
                    <a:pt x="881550" y="933966"/>
                  </a:lnTo>
                  <a:lnTo>
                    <a:pt x="876784" y="943496"/>
                  </a:lnTo>
                  <a:lnTo>
                    <a:pt x="881550" y="943496"/>
                  </a:lnTo>
                  <a:lnTo>
                    <a:pt x="867254" y="957790"/>
                  </a:lnTo>
                  <a:lnTo>
                    <a:pt x="857724" y="957790"/>
                  </a:lnTo>
                  <a:lnTo>
                    <a:pt x="852960" y="953026"/>
                  </a:lnTo>
                  <a:lnTo>
                    <a:pt x="857724" y="938730"/>
                  </a:lnTo>
                  <a:close/>
                  <a:moveTo>
                    <a:pt x="919670" y="919670"/>
                  </a:moveTo>
                  <a:lnTo>
                    <a:pt x="924436" y="919670"/>
                  </a:lnTo>
                  <a:lnTo>
                    <a:pt x="929200" y="929200"/>
                  </a:lnTo>
                  <a:lnTo>
                    <a:pt x="929200" y="953024"/>
                  </a:lnTo>
                  <a:lnTo>
                    <a:pt x="919670" y="967320"/>
                  </a:lnTo>
                  <a:lnTo>
                    <a:pt x="905376" y="972086"/>
                  </a:lnTo>
                  <a:lnTo>
                    <a:pt x="900610" y="962554"/>
                  </a:lnTo>
                  <a:lnTo>
                    <a:pt x="891080" y="943494"/>
                  </a:lnTo>
                  <a:close/>
                  <a:moveTo>
                    <a:pt x="757656" y="914904"/>
                  </a:moveTo>
                  <a:lnTo>
                    <a:pt x="762420" y="919670"/>
                  </a:lnTo>
                  <a:lnTo>
                    <a:pt x="762420" y="924434"/>
                  </a:lnTo>
                  <a:lnTo>
                    <a:pt x="762420" y="933964"/>
                  </a:lnTo>
                  <a:lnTo>
                    <a:pt x="757656" y="938730"/>
                  </a:lnTo>
                  <a:lnTo>
                    <a:pt x="748126" y="933964"/>
                  </a:lnTo>
                  <a:lnTo>
                    <a:pt x="748126" y="919670"/>
                  </a:lnTo>
                  <a:close/>
                  <a:moveTo>
                    <a:pt x="748126" y="867254"/>
                  </a:moveTo>
                  <a:lnTo>
                    <a:pt x="748126" y="872018"/>
                  </a:lnTo>
                  <a:lnTo>
                    <a:pt x="752892" y="876784"/>
                  </a:lnTo>
                  <a:lnTo>
                    <a:pt x="748126" y="891078"/>
                  </a:lnTo>
                  <a:lnTo>
                    <a:pt x="738596" y="895844"/>
                  </a:lnTo>
                  <a:lnTo>
                    <a:pt x="743360" y="881548"/>
                  </a:lnTo>
                  <a:lnTo>
                    <a:pt x="738596" y="876784"/>
                  </a:lnTo>
                  <a:lnTo>
                    <a:pt x="743360" y="872018"/>
                  </a:lnTo>
                  <a:close/>
                  <a:moveTo>
                    <a:pt x="891080" y="857722"/>
                  </a:moveTo>
                  <a:lnTo>
                    <a:pt x="910140" y="867254"/>
                  </a:lnTo>
                  <a:lnTo>
                    <a:pt x="905376" y="872018"/>
                  </a:lnTo>
                  <a:lnTo>
                    <a:pt x="900610" y="876784"/>
                  </a:lnTo>
                  <a:lnTo>
                    <a:pt x="886316" y="876784"/>
                  </a:lnTo>
                  <a:lnTo>
                    <a:pt x="886316" y="862488"/>
                  </a:lnTo>
                  <a:close/>
                  <a:moveTo>
                    <a:pt x="819604" y="857722"/>
                  </a:moveTo>
                  <a:lnTo>
                    <a:pt x="829132" y="862488"/>
                  </a:lnTo>
                  <a:lnTo>
                    <a:pt x="824368" y="881550"/>
                  </a:lnTo>
                  <a:lnTo>
                    <a:pt x="819604" y="876784"/>
                  </a:lnTo>
                  <a:lnTo>
                    <a:pt x="819604" y="872018"/>
                  </a:lnTo>
                  <a:close/>
                  <a:moveTo>
                    <a:pt x="1043564" y="824366"/>
                  </a:moveTo>
                  <a:lnTo>
                    <a:pt x="1048330" y="824366"/>
                  </a:lnTo>
                  <a:lnTo>
                    <a:pt x="1038800" y="838662"/>
                  </a:lnTo>
                  <a:lnTo>
                    <a:pt x="1024504" y="848192"/>
                  </a:lnTo>
                  <a:lnTo>
                    <a:pt x="995914" y="852958"/>
                  </a:lnTo>
                  <a:lnTo>
                    <a:pt x="991148" y="857722"/>
                  </a:lnTo>
                  <a:lnTo>
                    <a:pt x="991148" y="848192"/>
                  </a:lnTo>
                  <a:lnTo>
                    <a:pt x="1005444" y="833898"/>
                  </a:lnTo>
                  <a:lnTo>
                    <a:pt x="1024504" y="833898"/>
                  </a:lnTo>
                  <a:close/>
                  <a:moveTo>
                    <a:pt x="833900" y="824366"/>
                  </a:moveTo>
                  <a:lnTo>
                    <a:pt x="843430" y="824366"/>
                  </a:lnTo>
                  <a:lnTo>
                    <a:pt x="848194" y="829132"/>
                  </a:lnTo>
                  <a:lnTo>
                    <a:pt x="872020" y="833898"/>
                  </a:lnTo>
                  <a:lnTo>
                    <a:pt x="876784" y="838662"/>
                  </a:lnTo>
                  <a:lnTo>
                    <a:pt x="872020" y="852958"/>
                  </a:lnTo>
                  <a:lnTo>
                    <a:pt x="862490" y="852958"/>
                  </a:lnTo>
                  <a:lnTo>
                    <a:pt x="843430" y="838662"/>
                  </a:lnTo>
                  <a:lnTo>
                    <a:pt x="838664" y="833898"/>
                  </a:lnTo>
                  <a:close/>
                  <a:moveTo>
                    <a:pt x="729066" y="824366"/>
                  </a:moveTo>
                  <a:lnTo>
                    <a:pt x="738596" y="824366"/>
                  </a:lnTo>
                  <a:lnTo>
                    <a:pt x="743362" y="829132"/>
                  </a:lnTo>
                  <a:lnTo>
                    <a:pt x="733832" y="843428"/>
                  </a:lnTo>
                  <a:lnTo>
                    <a:pt x="724300" y="852958"/>
                  </a:lnTo>
                  <a:lnTo>
                    <a:pt x="724300" y="838662"/>
                  </a:lnTo>
                  <a:close/>
                  <a:moveTo>
                    <a:pt x="1110276" y="800542"/>
                  </a:moveTo>
                  <a:lnTo>
                    <a:pt x="1119806" y="800542"/>
                  </a:lnTo>
                  <a:lnTo>
                    <a:pt x="1138866" y="805306"/>
                  </a:lnTo>
                  <a:lnTo>
                    <a:pt x="1143632" y="805306"/>
                  </a:lnTo>
                  <a:lnTo>
                    <a:pt x="1153162" y="805306"/>
                  </a:lnTo>
                  <a:lnTo>
                    <a:pt x="1157928" y="819602"/>
                  </a:lnTo>
                  <a:lnTo>
                    <a:pt x="1143632" y="819602"/>
                  </a:lnTo>
                  <a:lnTo>
                    <a:pt x="1124572" y="833898"/>
                  </a:lnTo>
                  <a:lnTo>
                    <a:pt x="1115040" y="829132"/>
                  </a:lnTo>
                  <a:lnTo>
                    <a:pt x="1105510" y="819602"/>
                  </a:lnTo>
                  <a:lnTo>
                    <a:pt x="1086450" y="819602"/>
                  </a:lnTo>
                  <a:lnTo>
                    <a:pt x="1081684" y="814836"/>
                  </a:lnTo>
                  <a:lnTo>
                    <a:pt x="1091216" y="805306"/>
                  </a:lnTo>
                  <a:close/>
                  <a:moveTo>
                    <a:pt x="162016" y="776716"/>
                  </a:moveTo>
                  <a:lnTo>
                    <a:pt x="176310" y="791012"/>
                  </a:lnTo>
                  <a:lnTo>
                    <a:pt x="185842" y="791012"/>
                  </a:lnTo>
                  <a:lnTo>
                    <a:pt x="195372" y="800542"/>
                  </a:lnTo>
                  <a:lnTo>
                    <a:pt x="209668" y="819602"/>
                  </a:lnTo>
                  <a:lnTo>
                    <a:pt x="195372" y="814836"/>
                  </a:lnTo>
                  <a:lnTo>
                    <a:pt x="181076" y="829132"/>
                  </a:lnTo>
                  <a:lnTo>
                    <a:pt x="166780" y="814836"/>
                  </a:lnTo>
                  <a:lnTo>
                    <a:pt x="152484" y="795776"/>
                  </a:lnTo>
                  <a:lnTo>
                    <a:pt x="152484" y="791012"/>
                  </a:lnTo>
                  <a:close/>
                  <a:moveTo>
                    <a:pt x="800542" y="762420"/>
                  </a:moveTo>
                  <a:lnTo>
                    <a:pt x="805308" y="762420"/>
                  </a:lnTo>
                  <a:lnTo>
                    <a:pt x="814838" y="776716"/>
                  </a:lnTo>
                  <a:lnTo>
                    <a:pt x="829132" y="781480"/>
                  </a:lnTo>
                  <a:lnTo>
                    <a:pt x="829132" y="791010"/>
                  </a:lnTo>
                  <a:lnTo>
                    <a:pt x="833898" y="800542"/>
                  </a:lnTo>
                  <a:lnTo>
                    <a:pt x="833898" y="810072"/>
                  </a:lnTo>
                  <a:lnTo>
                    <a:pt x="829132" y="824366"/>
                  </a:lnTo>
                  <a:lnTo>
                    <a:pt x="819602" y="805306"/>
                  </a:lnTo>
                  <a:lnTo>
                    <a:pt x="805308" y="795776"/>
                  </a:lnTo>
                  <a:lnTo>
                    <a:pt x="800542" y="786246"/>
                  </a:lnTo>
                  <a:lnTo>
                    <a:pt x="791012" y="781480"/>
                  </a:lnTo>
                  <a:lnTo>
                    <a:pt x="791012" y="767186"/>
                  </a:lnTo>
                  <a:close/>
                  <a:moveTo>
                    <a:pt x="600408" y="762420"/>
                  </a:moveTo>
                  <a:lnTo>
                    <a:pt x="605172" y="762420"/>
                  </a:lnTo>
                  <a:lnTo>
                    <a:pt x="605172" y="767186"/>
                  </a:lnTo>
                  <a:lnTo>
                    <a:pt x="609938" y="776716"/>
                  </a:lnTo>
                  <a:lnTo>
                    <a:pt x="605172" y="781482"/>
                  </a:lnTo>
                  <a:lnTo>
                    <a:pt x="595642" y="781482"/>
                  </a:lnTo>
                  <a:lnTo>
                    <a:pt x="590876" y="776716"/>
                  </a:lnTo>
                  <a:lnTo>
                    <a:pt x="590876" y="771950"/>
                  </a:lnTo>
                  <a:lnTo>
                    <a:pt x="595642" y="767186"/>
                  </a:lnTo>
                  <a:close/>
                  <a:moveTo>
                    <a:pt x="152484" y="667118"/>
                  </a:moveTo>
                  <a:lnTo>
                    <a:pt x="157250" y="667118"/>
                  </a:lnTo>
                  <a:lnTo>
                    <a:pt x="162016" y="667118"/>
                  </a:lnTo>
                  <a:lnTo>
                    <a:pt x="166780" y="671884"/>
                  </a:lnTo>
                  <a:lnTo>
                    <a:pt x="166780" y="676648"/>
                  </a:lnTo>
                  <a:lnTo>
                    <a:pt x="166780" y="681414"/>
                  </a:lnTo>
                  <a:lnTo>
                    <a:pt x="171546" y="690944"/>
                  </a:lnTo>
                  <a:lnTo>
                    <a:pt x="176312" y="695708"/>
                  </a:lnTo>
                  <a:lnTo>
                    <a:pt x="166780" y="700474"/>
                  </a:lnTo>
                  <a:lnTo>
                    <a:pt x="157250" y="681414"/>
                  </a:lnTo>
                  <a:close/>
                  <a:moveTo>
                    <a:pt x="142956" y="667118"/>
                  </a:moveTo>
                  <a:lnTo>
                    <a:pt x="152486" y="686178"/>
                  </a:lnTo>
                  <a:lnTo>
                    <a:pt x="152486" y="710004"/>
                  </a:lnTo>
                  <a:lnTo>
                    <a:pt x="162016" y="714770"/>
                  </a:lnTo>
                  <a:lnTo>
                    <a:pt x="176312" y="733830"/>
                  </a:lnTo>
                  <a:lnTo>
                    <a:pt x="176312" y="743360"/>
                  </a:lnTo>
                  <a:lnTo>
                    <a:pt x="176312" y="748126"/>
                  </a:lnTo>
                  <a:lnTo>
                    <a:pt x="147720" y="738594"/>
                  </a:lnTo>
                  <a:lnTo>
                    <a:pt x="142956" y="743360"/>
                  </a:lnTo>
                  <a:lnTo>
                    <a:pt x="138190" y="738594"/>
                  </a:lnTo>
                  <a:lnTo>
                    <a:pt x="133424" y="729064"/>
                  </a:lnTo>
                  <a:lnTo>
                    <a:pt x="133424" y="724300"/>
                  </a:lnTo>
                  <a:lnTo>
                    <a:pt x="128660" y="719534"/>
                  </a:lnTo>
                  <a:lnTo>
                    <a:pt x="123894" y="714770"/>
                  </a:lnTo>
                  <a:lnTo>
                    <a:pt x="114364" y="724300"/>
                  </a:lnTo>
                  <a:lnTo>
                    <a:pt x="109600" y="724300"/>
                  </a:lnTo>
                  <a:lnTo>
                    <a:pt x="109600" y="719534"/>
                  </a:lnTo>
                  <a:lnTo>
                    <a:pt x="119130" y="695708"/>
                  </a:lnTo>
                  <a:lnTo>
                    <a:pt x="123894" y="690944"/>
                  </a:lnTo>
                  <a:lnTo>
                    <a:pt x="128660" y="700474"/>
                  </a:lnTo>
                  <a:lnTo>
                    <a:pt x="138190" y="695708"/>
                  </a:lnTo>
                  <a:lnTo>
                    <a:pt x="142956" y="681414"/>
                  </a:lnTo>
                  <a:lnTo>
                    <a:pt x="142956" y="671884"/>
                  </a:lnTo>
                  <a:close/>
                  <a:moveTo>
                    <a:pt x="995912" y="643292"/>
                  </a:moveTo>
                  <a:lnTo>
                    <a:pt x="1010208" y="652822"/>
                  </a:lnTo>
                  <a:lnTo>
                    <a:pt x="1019738" y="652822"/>
                  </a:lnTo>
                  <a:lnTo>
                    <a:pt x="1014972" y="667118"/>
                  </a:lnTo>
                  <a:lnTo>
                    <a:pt x="1014972" y="700474"/>
                  </a:lnTo>
                  <a:lnTo>
                    <a:pt x="1010208" y="705238"/>
                  </a:lnTo>
                  <a:lnTo>
                    <a:pt x="1010208" y="714768"/>
                  </a:lnTo>
                  <a:lnTo>
                    <a:pt x="1005442" y="719534"/>
                  </a:lnTo>
                  <a:lnTo>
                    <a:pt x="991148" y="729064"/>
                  </a:lnTo>
                  <a:lnTo>
                    <a:pt x="976852" y="714768"/>
                  </a:lnTo>
                  <a:lnTo>
                    <a:pt x="972088" y="710004"/>
                  </a:lnTo>
                  <a:lnTo>
                    <a:pt x="986382" y="700474"/>
                  </a:lnTo>
                  <a:lnTo>
                    <a:pt x="991148" y="690944"/>
                  </a:lnTo>
                  <a:lnTo>
                    <a:pt x="986382" y="676648"/>
                  </a:lnTo>
                  <a:lnTo>
                    <a:pt x="967322" y="662352"/>
                  </a:lnTo>
                  <a:lnTo>
                    <a:pt x="967322" y="648058"/>
                  </a:lnTo>
                  <a:close/>
                  <a:moveTo>
                    <a:pt x="162016" y="595642"/>
                  </a:moveTo>
                  <a:lnTo>
                    <a:pt x="166780" y="600406"/>
                  </a:lnTo>
                  <a:lnTo>
                    <a:pt x="166780" y="633762"/>
                  </a:lnTo>
                  <a:lnTo>
                    <a:pt x="162016" y="638526"/>
                  </a:lnTo>
                  <a:lnTo>
                    <a:pt x="157250" y="643292"/>
                  </a:lnTo>
                  <a:lnTo>
                    <a:pt x="152486" y="643292"/>
                  </a:lnTo>
                  <a:lnTo>
                    <a:pt x="147720" y="643292"/>
                  </a:lnTo>
                  <a:lnTo>
                    <a:pt x="142956" y="643292"/>
                  </a:lnTo>
                  <a:lnTo>
                    <a:pt x="142956" y="628996"/>
                  </a:lnTo>
                  <a:lnTo>
                    <a:pt x="147720" y="609936"/>
                  </a:lnTo>
                  <a:lnTo>
                    <a:pt x="152486" y="600406"/>
                  </a:lnTo>
                  <a:close/>
                  <a:moveTo>
                    <a:pt x="757656" y="567050"/>
                  </a:moveTo>
                  <a:lnTo>
                    <a:pt x="767186" y="571816"/>
                  </a:lnTo>
                  <a:lnTo>
                    <a:pt x="771952" y="586110"/>
                  </a:lnTo>
                  <a:lnTo>
                    <a:pt x="786248" y="600406"/>
                  </a:lnTo>
                  <a:lnTo>
                    <a:pt x="767186" y="605170"/>
                  </a:lnTo>
                  <a:lnTo>
                    <a:pt x="762422" y="605170"/>
                  </a:lnTo>
                  <a:lnTo>
                    <a:pt x="767186" y="600406"/>
                  </a:lnTo>
                  <a:lnTo>
                    <a:pt x="767186" y="595640"/>
                  </a:lnTo>
                  <a:lnTo>
                    <a:pt x="752892" y="586110"/>
                  </a:lnTo>
                  <a:lnTo>
                    <a:pt x="752892" y="571816"/>
                  </a:lnTo>
                  <a:close/>
                  <a:moveTo>
                    <a:pt x="562286" y="557520"/>
                  </a:moveTo>
                  <a:lnTo>
                    <a:pt x="571816" y="557520"/>
                  </a:lnTo>
                  <a:lnTo>
                    <a:pt x="590878" y="571816"/>
                  </a:lnTo>
                  <a:lnTo>
                    <a:pt x="595642" y="590876"/>
                  </a:lnTo>
                  <a:lnTo>
                    <a:pt x="605172" y="600406"/>
                  </a:lnTo>
                  <a:lnTo>
                    <a:pt x="624234" y="609936"/>
                  </a:lnTo>
                  <a:lnTo>
                    <a:pt x="628998" y="609936"/>
                  </a:lnTo>
                  <a:lnTo>
                    <a:pt x="662354" y="624232"/>
                  </a:lnTo>
                  <a:lnTo>
                    <a:pt x="695710" y="628998"/>
                  </a:lnTo>
                  <a:lnTo>
                    <a:pt x="700476" y="633762"/>
                  </a:lnTo>
                  <a:lnTo>
                    <a:pt x="705240" y="643292"/>
                  </a:lnTo>
                  <a:lnTo>
                    <a:pt x="710006" y="652822"/>
                  </a:lnTo>
                  <a:lnTo>
                    <a:pt x="714770" y="662354"/>
                  </a:lnTo>
                  <a:lnTo>
                    <a:pt x="710006" y="671884"/>
                  </a:lnTo>
                  <a:lnTo>
                    <a:pt x="714770" y="695708"/>
                  </a:lnTo>
                  <a:lnTo>
                    <a:pt x="724300" y="719534"/>
                  </a:lnTo>
                  <a:lnTo>
                    <a:pt x="738596" y="729064"/>
                  </a:lnTo>
                  <a:lnTo>
                    <a:pt x="752892" y="733830"/>
                  </a:lnTo>
                  <a:lnTo>
                    <a:pt x="767186" y="733830"/>
                  </a:lnTo>
                  <a:lnTo>
                    <a:pt x="771952" y="738596"/>
                  </a:lnTo>
                  <a:lnTo>
                    <a:pt x="771952" y="757656"/>
                  </a:lnTo>
                  <a:lnTo>
                    <a:pt x="762422" y="767186"/>
                  </a:lnTo>
                  <a:lnTo>
                    <a:pt x="757656" y="767186"/>
                  </a:lnTo>
                  <a:lnTo>
                    <a:pt x="752892" y="767186"/>
                  </a:lnTo>
                  <a:lnTo>
                    <a:pt x="748126" y="762420"/>
                  </a:lnTo>
                  <a:lnTo>
                    <a:pt x="743362" y="757656"/>
                  </a:lnTo>
                  <a:lnTo>
                    <a:pt x="738596" y="757656"/>
                  </a:lnTo>
                  <a:lnTo>
                    <a:pt x="729066" y="748126"/>
                  </a:lnTo>
                  <a:lnTo>
                    <a:pt x="714770" y="738596"/>
                  </a:lnTo>
                  <a:lnTo>
                    <a:pt x="710006" y="733830"/>
                  </a:lnTo>
                  <a:lnTo>
                    <a:pt x="710006" y="719534"/>
                  </a:lnTo>
                  <a:lnTo>
                    <a:pt x="700476" y="714770"/>
                  </a:lnTo>
                  <a:lnTo>
                    <a:pt x="695710" y="700474"/>
                  </a:lnTo>
                  <a:lnTo>
                    <a:pt x="690944" y="695708"/>
                  </a:lnTo>
                  <a:lnTo>
                    <a:pt x="686180" y="686178"/>
                  </a:lnTo>
                  <a:lnTo>
                    <a:pt x="662354" y="681414"/>
                  </a:lnTo>
                  <a:lnTo>
                    <a:pt x="643294" y="681414"/>
                  </a:lnTo>
                  <a:lnTo>
                    <a:pt x="624234" y="671884"/>
                  </a:lnTo>
                  <a:lnTo>
                    <a:pt x="619468" y="652822"/>
                  </a:lnTo>
                  <a:lnTo>
                    <a:pt x="609938" y="643292"/>
                  </a:lnTo>
                  <a:lnTo>
                    <a:pt x="605172" y="638528"/>
                  </a:lnTo>
                  <a:lnTo>
                    <a:pt x="595642" y="628998"/>
                  </a:lnTo>
                  <a:lnTo>
                    <a:pt x="581348" y="614702"/>
                  </a:lnTo>
                  <a:lnTo>
                    <a:pt x="562286" y="600406"/>
                  </a:lnTo>
                  <a:lnTo>
                    <a:pt x="547992" y="595642"/>
                  </a:lnTo>
                  <a:lnTo>
                    <a:pt x="528930" y="586110"/>
                  </a:lnTo>
                  <a:lnTo>
                    <a:pt x="514636" y="595642"/>
                  </a:lnTo>
                  <a:lnTo>
                    <a:pt x="505104" y="590876"/>
                  </a:lnTo>
                  <a:lnTo>
                    <a:pt x="505104" y="586110"/>
                  </a:lnTo>
                  <a:lnTo>
                    <a:pt x="524166" y="581346"/>
                  </a:lnTo>
                  <a:lnTo>
                    <a:pt x="547992" y="562286"/>
                  </a:lnTo>
                  <a:close/>
                  <a:moveTo>
                    <a:pt x="614704" y="519398"/>
                  </a:moveTo>
                  <a:lnTo>
                    <a:pt x="648060" y="538460"/>
                  </a:lnTo>
                  <a:lnTo>
                    <a:pt x="638528" y="547990"/>
                  </a:lnTo>
                  <a:lnTo>
                    <a:pt x="628998" y="543224"/>
                  </a:lnTo>
                  <a:close/>
                  <a:moveTo>
                    <a:pt x="676650" y="509870"/>
                  </a:moveTo>
                  <a:lnTo>
                    <a:pt x="671884" y="519400"/>
                  </a:lnTo>
                  <a:lnTo>
                    <a:pt x="662354" y="528930"/>
                  </a:lnTo>
                  <a:lnTo>
                    <a:pt x="652824" y="533694"/>
                  </a:lnTo>
                  <a:lnTo>
                    <a:pt x="662354" y="514634"/>
                  </a:lnTo>
                  <a:close/>
                  <a:moveTo>
                    <a:pt x="1019738" y="486042"/>
                  </a:moveTo>
                  <a:lnTo>
                    <a:pt x="1048330" y="486042"/>
                  </a:lnTo>
                  <a:lnTo>
                    <a:pt x="1057860" y="495574"/>
                  </a:lnTo>
                  <a:lnTo>
                    <a:pt x="1053094" y="505104"/>
                  </a:lnTo>
                  <a:lnTo>
                    <a:pt x="1076920" y="528930"/>
                  </a:lnTo>
                  <a:lnTo>
                    <a:pt x="1081684" y="538460"/>
                  </a:lnTo>
                  <a:lnTo>
                    <a:pt x="1086450" y="552754"/>
                  </a:lnTo>
                  <a:lnTo>
                    <a:pt x="1081684" y="557520"/>
                  </a:lnTo>
                  <a:lnTo>
                    <a:pt x="1076920" y="547990"/>
                  </a:lnTo>
                  <a:lnTo>
                    <a:pt x="1067390" y="547990"/>
                  </a:lnTo>
                  <a:lnTo>
                    <a:pt x="1072154" y="557520"/>
                  </a:lnTo>
                  <a:lnTo>
                    <a:pt x="1076920" y="562284"/>
                  </a:lnTo>
                  <a:lnTo>
                    <a:pt x="1067390" y="567050"/>
                  </a:lnTo>
                  <a:lnTo>
                    <a:pt x="1053094" y="567050"/>
                  </a:lnTo>
                  <a:lnTo>
                    <a:pt x="1019738" y="557520"/>
                  </a:lnTo>
                  <a:lnTo>
                    <a:pt x="1010208" y="547990"/>
                  </a:lnTo>
                  <a:lnTo>
                    <a:pt x="1029268" y="528930"/>
                  </a:lnTo>
                  <a:lnTo>
                    <a:pt x="1034034" y="524164"/>
                  </a:lnTo>
                  <a:lnTo>
                    <a:pt x="1019738" y="524164"/>
                  </a:lnTo>
                  <a:lnTo>
                    <a:pt x="1005442" y="543224"/>
                  </a:lnTo>
                  <a:lnTo>
                    <a:pt x="976852" y="533694"/>
                  </a:lnTo>
                  <a:lnTo>
                    <a:pt x="967322" y="524164"/>
                  </a:lnTo>
                  <a:lnTo>
                    <a:pt x="976852" y="505104"/>
                  </a:lnTo>
                  <a:lnTo>
                    <a:pt x="995912" y="505104"/>
                  </a:lnTo>
                  <a:lnTo>
                    <a:pt x="1005442" y="500338"/>
                  </a:lnTo>
                  <a:lnTo>
                    <a:pt x="1019738" y="495574"/>
                  </a:lnTo>
                  <a:close/>
                  <a:moveTo>
                    <a:pt x="28592" y="395506"/>
                  </a:moveTo>
                  <a:lnTo>
                    <a:pt x="38122" y="400270"/>
                  </a:lnTo>
                  <a:lnTo>
                    <a:pt x="42888" y="405036"/>
                  </a:lnTo>
                  <a:lnTo>
                    <a:pt x="47652" y="409800"/>
                  </a:lnTo>
                  <a:lnTo>
                    <a:pt x="33356" y="424096"/>
                  </a:lnTo>
                  <a:lnTo>
                    <a:pt x="33356" y="428860"/>
                  </a:lnTo>
                  <a:lnTo>
                    <a:pt x="38122" y="438390"/>
                  </a:lnTo>
                  <a:lnTo>
                    <a:pt x="38122" y="443156"/>
                  </a:lnTo>
                  <a:lnTo>
                    <a:pt x="42888" y="462216"/>
                  </a:lnTo>
                  <a:lnTo>
                    <a:pt x="47652" y="466982"/>
                  </a:lnTo>
                  <a:lnTo>
                    <a:pt x="61948" y="471746"/>
                  </a:lnTo>
                  <a:lnTo>
                    <a:pt x="66712" y="476512"/>
                  </a:lnTo>
                  <a:lnTo>
                    <a:pt x="71478" y="486042"/>
                  </a:lnTo>
                  <a:lnTo>
                    <a:pt x="52418" y="481276"/>
                  </a:lnTo>
                  <a:lnTo>
                    <a:pt x="38122" y="466982"/>
                  </a:lnTo>
                  <a:lnTo>
                    <a:pt x="23826" y="443156"/>
                  </a:lnTo>
                  <a:lnTo>
                    <a:pt x="0" y="414566"/>
                  </a:lnTo>
                  <a:lnTo>
                    <a:pt x="0" y="405036"/>
                  </a:lnTo>
                  <a:lnTo>
                    <a:pt x="9532" y="400270"/>
                  </a:lnTo>
                  <a:close/>
                  <a:moveTo>
                    <a:pt x="905376" y="352618"/>
                  </a:moveTo>
                  <a:lnTo>
                    <a:pt x="905376" y="362150"/>
                  </a:lnTo>
                  <a:lnTo>
                    <a:pt x="900610" y="371680"/>
                  </a:lnTo>
                  <a:lnTo>
                    <a:pt x="895846" y="381210"/>
                  </a:lnTo>
                  <a:lnTo>
                    <a:pt x="891080" y="400270"/>
                  </a:lnTo>
                  <a:lnTo>
                    <a:pt x="881550" y="400270"/>
                  </a:lnTo>
                  <a:lnTo>
                    <a:pt x="876786" y="395504"/>
                  </a:lnTo>
                  <a:lnTo>
                    <a:pt x="876786" y="390740"/>
                  </a:lnTo>
                  <a:lnTo>
                    <a:pt x="876786" y="381210"/>
                  </a:lnTo>
                  <a:lnTo>
                    <a:pt x="872020" y="381210"/>
                  </a:lnTo>
                  <a:lnTo>
                    <a:pt x="867254" y="390740"/>
                  </a:lnTo>
                  <a:lnTo>
                    <a:pt x="867254" y="395504"/>
                  </a:lnTo>
                  <a:lnTo>
                    <a:pt x="857724" y="395504"/>
                  </a:lnTo>
                  <a:lnTo>
                    <a:pt x="848194" y="390740"/>
                  </a:lnTo>
                  <a:lnTo>
                    <a:pt x="848194" y="376444"/>
                  </a:lnTo>
                  <a:lnTo>
                    <a:pt x="843428" y="362150"/>
                  </a:lnTo>
                  <a:lnTo>
                    <a:pt x="872020" y="357384"/>
                  </a:lnTo>
                  <a:lnTo>
                    <a:pt x="881550" y="366914"/>
                  </a:lnTo>
                  <a:lnTo>
                    <a:pt x="891080" y="362150"/>
                  </a:lnTo>
                  <a:lnTo>
                    <a:pt x="895846" y="357384"/>
                  </a:lnTo>
                  <a:close/>
                  <a:moveTo>
                    <a:pt x="924436" y="252552"/>
                  </a:moveTo>
                  <a:lnTo>
                    <a:pt x="933966" y="257318"/>
                  </a:lnTo>
                  <a:lnTo>
                    <a:pt x="938730" y="266848"/>
                  </a:lnTo>
                  <a:lnTo>
                    <a:pt x="943496" y="271612"/>
                  </a:lnTo>
                  <a:lnTo>
                    <a:pt x="924436" y="276378"/>
                  </a:lnTo>
                  <a:lnTo>
                    <a:pt x="905376" y="262082"/>
                  </a:lnTo>
                  <a:close/>
                  <a:moveTo>
                    <a:pt x="776718" y="195370"/>
                  </a:moveTo>
                  <a:lnTo>
                    <a:pt x="791012" y="200136"/>
                  </a:lnTo>
                  <a:lnTo>
                    <a:pt x="800542" y="209666"/>
                  </a:lnTo>
                  <a:lnTo>
                    <a:pt x="805308" y="214430"/>
                  </a:lnTo>
                  <a:lnTo>
                    <a:pt x="800542" y="223960"/>
                  </a:lnTo>
                  <a:lnTo>
                    <a:pt x="800542" y="233490"/>
                  </a:lnTo>
                  <a:lnTo>
                    <a:pt x="781482" y="243022"/>
                  </a:lnTo>
                  <a:lnTo>
                    <a:pt x="762422" y="228726"/>
                  </a:lnTo>
                  <a:lnTo>
                    <a:pt x="762422" y="219196"/>
                  </a:lnTo>
                  <a:lnTo>
                    <a:pt x="771952" y="200136"/>
                  </a:lnTo>
                  <a:close/>
                  <a:moveTo>
                    <a:pt x="1024504" y="0"/>
                  </a:moveTo>
                  <a:lnTo>
                    <a:pt x="1043564" y="4766"/>
                  </a:lnTo>
                  <a:lnTo>
                    <a:pt x="1057860" y="9530"/>
                  </a:lnTo>
                  <a:lnTo>
                    <a:pt x="1062626" y="14296"/>
                  </a:lnTo>
                  <a:lnTo>
                    <a:pt x="1072156" y="23826"/>
                  </a:lnTo>
                  <a:lnTo>
                    <a:pt x="1076920" y="28590"/>
                  </a:lnTo>
                  <a:lnTo>
                    <a:pt x="1081686" y="28590"/>
                  </a:lnTo>
                  <a:lnTo>
                    <a:pt x="1086450" y="47652"/>
                  </a:lnTo>
                  <a:lnTo>
                    <a:pt x="1091216" y="71476"/>
                  </a:lnTo>
                  <a:lnTo>
                    <a:pt x="1086450" y="81008"/>
                  </a:lnTo>
                  <a:lnTo>
                    <a:pt x="1076920" y="81008"/>
                  </a:lnTo>
                  <a:lnTo>
                    <a:pt x="1043564" y="104832"/>
                  </a:lnTo>
                  <a:lnTo>
                    <a:pt x="1043564" y="123894"/>
                  </a:lnTo>
                  <a:lnTo>
                    <a:pt x="1043564" y="133424"/>
                  </a:lnTo>
                  <a:lnTo>
                    <a:pt x="1043564" y="138188"/>
                  </a:lnTo>
                  <a:lnTo>
                    <a:pt x="1048330" y="147718"/>
                  </a:lnTo>
                  <a:lnTo>
                    <a:pt x="1048330" y="152484"/>
                  </a:lnTo>
                  <a:lnTo>
                    <a:pt x="1043564" y="162014"/>
                  </a:lnTo>
                  <a:lnTo>
                    <a:pt x="1029270" y="176310"/>
                  </a:lnTo>
                  <a:lnTo>
                    <a:pt x="1019740" y="190606"/>
                  </a:lnTo>
                  <a:lnTo>
                    <a:pt x="1010208" y="204900"/>
                  </a:lnTo>
                  <a:lnTo>
                    <a:pt x="1005444" y="209666"/>
                  </a:lnTo>
                  <a:lnTo>
                    <a:pt x="1000678" y="209666"/>
                  </a:lnTo>
                  <a:lnTo>
                    <a:pt x="995914" y="200136"/>
                  </a:lnTo>
                  <a:lnTo>
                    <a:pt x="967322" y="185840"/>
                  </a:lnTo>
                  <a:lnTo>
                    <a:pt x="914906" y="176310"/>
                  </a:lnTo>
                  <a:lnTo>
                    <a:pt x="886316" y="166780"/>
                  </a:lnTo>
                  <a:lnTo>
                    <a:pt x="876786" y="166780"/>
                  </a:lnTo>
                  <a:lnTo>
                    <a:pt x="852960" y="157250"/>
                  </a:lnTo>
                  <a:lnTo>
                    <a:pt x="838664" y="162014"/>
                  </a:lnTo>
                  <a:lnTo>
                    <a:pt x="805308" y="185840"/>
                  </a:lnTo>
                  <a:lnTo>
                    <a:pt x="786248" y="181074"/>
                  </a:lnTo>
                  <a:lnTo>
                    <a:pt x="767188" y="166780"/>
                  </a:lnTo>
                  <a:lnTo>
                    <a:pt x="752892" y="166780"/>
                  </a:lnTo>
                  <a:lnTo>
                    <a:pt x="738596" y="171544"/>
                  </a:lnTo>
                  <a:lnTo>
                    <a:pt x="714770" y="200136"/>
                  </a:lnTo>
                  <a:lnTo>
                    <a:pt x="690946" y="209666"/>
                  </a:lnTo>
                  <a:lnTo>
                    <a:pt x="671884" y="204900"/>
                  </a:lnTo>
                  <a:lnTo>
                    <a:pt x="643294" y="204900"/>
                  </a:lnTo>
                  <a:lnTo>
                    <a:pt x="638528" y="219196"/>
                  </a:lnTo>
                  <a:lnTo>
                    <a:pt x="643294" y="228726"/>
                  </a:lnTo>
                  <a:lnTo>
                    <a:pt x="662354" y="247786"/>
                  </a:lnTo>
                  <a:lnTo>
                    <a:pt x="652824" y="262082"/>
                  </a:lnTo>
                  <a:lnTo>
                    <a:pt x="657590" y="271612"/>
                  </a:lnTo>
                  <a:lnTo>
                    <a:pt x="667120" y="276378"/>
                  </a:lnTo>
                  <a:lnTo>
                    <a:pt x="686180" y="276378"/>
                  </a:lnTo>
                  <a:lnTo>
                    <a:pt x="714770" y="290672"/>
                  </a:lnTo>
                  <a:lnTo>
                    <a:pt x="724302" y="309734"/>
                  </a:lnTo>
                  <a:lnTo>
                    <a:pt x="733832" y="328794"/>
                  </a:lnTo>
                  <a:lnTo>
                    <a:pt x="714770" y="314498"/>
                  </a:lnTo>
                  <a:lnTo>
                    <a:pt x="705240" y="300202"/>
                  </a:lnTo>
                  <a:lnTo>
                    <a:pt x="690946" y="300202"/>
                  </a:lnTo>
                  <a:lnTo>
                    <a:pt x="667120" y="285908"/>
                  </a:lnTo>
                  <a:lnTo>
                    <a:pt x="652824" y="285908"/>
                  </a:lnTo>
                  <a:lnTo>
                    <a:pt x="638528" y="290672"/>
                  </a:lnTo>
                  <a:lnTo>
                    <a:pt x="638528" y="300202"/>
                  </a:lnTo>
                  <a:lnTo>
                    <a:pt x="652824" y="319264"/>
                  </a:lnTo>
                  <a:lnTo>
                    <a:pt x="667120" y="328794"/>
                  </a:lnTo>
                  <a:lnTo>
                    <a:pt x="676650" y="333558"/>
                  </a:lnTo>
                  <a:lnTo>
                    <a:pt x="681414" y="352620"/>
                  </a:lnTo>
                  <a:lnTo>
                    <a:pt x="676650" y="362150"/>
                  </a:lnTo>
                  <a:lnTo>
                    <a:pt x="671884" y="366914"/>
                  </a:lnTo>
                  <a:lnTo>
                    <a:pt x="652824" y="352620"/>
                  </a:lnTo>
                  <a:lnTo>
                    <a:pt x="628998" y="314498"/>
                  </a:lnTo>
                  <a:lnTo>
                    <a:pt x="590878" y="304968"/>
                  </a:lnTo>
                  <a:lnTo>
                    <a:pt x="586112" y="314498"/>
                  </a:lnTo>
                  <a:lnTo>
                    <a:pt x="590878" y="333558"/>
                  </a:lnTo>
                  <a:lnTo>
                    <a:pt x="595642" y="343090"/>
                  </a:lnTo>
                  <a:lnTo>
                    <a:pt x="628998" y="366914"/>
                  </a:lnTo>
                  <a:lnTo>
                    <a:pt x="628998" y="371680"/>
                  </a:lnTo>
                  <a:lnTo>
                    <a:pt x="624234" y="376444"/>
                  </a:lnTo>
                  <a:lnTo>
                    <a:pt x="586112" y="362150"/>
                  </a:lnTo>
                  <a:lnTo>
                    <a:pt x="576582" y="343090"/>
                  </a:lnTo>
                  <a:lnTo>
                    <a:pt x="571816" y="314498"/>
                  </a:lnTo>
                  <a:lnTo>
                    <a:pt x="538462" y="295438"/>
                  </a:lnTo>
                  <a:lnTo>
                    <a:pt x="509870" y="276378"/>
                  </a:lnTo>
                  <a:lnTo>
                    <a:pt x="500340" y="257316"/>
                  </a:lnTo>
                  <a:lnTo>
                    <a:pt x="505106" y="252552"/>
                  </a:lnTo>
                  <a:lnTo>
                    <a:pt x="509870" y="238256"/>
                  </a:lnTo>
                  <a:lnTo>
                    <a:pt x="495574" y="243022"/>
                  </a:lnTo>
                  <a:lnTo>
                    <a:pt x="486044" y="247786"/>
                  </a:lnTo>
                  <a:lnTo>
                    <a:pt x="466984" y="257316"/>
                  </a:lnTo>
                  <a:lnTo>
                    <a:pt x="466984" y="271612"/>
                  </a:lnTo>
                  <a:lnTo>
                    <a:pt x="466984" y="285908"/>
                  </a:lnTo>
                  <a:lnTo>
                    <a:pt x="462218" y="304968"/>
                  </a:lnTo>
                  <a:lnTo>
                    <a:pt x="457454" y="333558"/>
                  </a:lnTo>
                  <a:lnTo>
                    <a:pt x="462218" y="352620"/>
                  </a:lnTo>
                  <a:lnTo>
                    <a:pt x="500340" y="400270"/>
                  </a:lnTo>
                  <a:lnTo>
                    <a:pt x="509870" y="433626"/>
                  </a:lnTo>
                  <a:lnTo>
                    <a:pt x="519400" y="447922"/>
                  </a:lnTo>
                  <a:lnTo>
                    <a:pt x="538462" y="462218"/>
                  </a:lnTo>
                  <a:lnTo>
                    <a:pt x="562286" y="490808"/>
                  </a:lnTo>
                  <a:lnTo>
                    <a:pt x="567052" y="505104"/>
                  </a:lnTo>
                  <a:lnTo>
                    <a:pt x="576582" y="528928"/>
                  </a:lnTo>
                  <a:lnTo>
                    <a:pt x="557522" y="543224"/>
                  </a:lnTo>
                  <a:lnTo>
                    <a:pt x="547992" y="543224"/>
                  </a:lnTo>
                  <a:lnTo>
                    <a:pt x="543226" y="533694"/>
                  </a:lnTo>
                  <a:lnTo>
                    <a:pt x="547992" y="519398"/>
                  </a:lnTo>
                  <a:lnTo>
                    <a:pt x="547992" y="509868"/>
                  </a:lnTo>
                  <a:lnTo>
                    <a:pt x="524166" y="495574"/>
                  </a:lnTo>
                  <a:lnTo>
                    <a:pt x="509870" y="500338"/>
                  </a:lnTo>
                  <a:lnTo>
                    <a:pt x="500340" y="509868"/>
                  </a:lnTo>
                  <a:lnTo>
                    <a:pt x="505106" y="528928"/>
                  </a:lnTo>
                  <a:lnTo>
                    <a:pt x="514636" y="538460"/>
                  </a:lnTo>
                  <a:lnTo>
                    <a:pt x="519400" y="557520"/>
                  </a:lnTo>
                  <a:lnTo>
                    <a:pt x="533696" y="552754"/>
                  </a:lnTo>
                  <a:lnTo>
                    <a:pt x="514636" y="571814"/>
                  </a:lnTo>
                  <a:lnTo>
                    <a:pt x="490810" y="581346"/>
                  </a:lnTo>
                  <a:lnTo>
                    <a:pt x="471750" y="581346"/>
                  </a:lnTo>
                  <a:lnTo>
                    <a:pt x="462218" y="586110"/>
                  </a:lnTo>
                  <a:lnTo>
                    <a:pt x="457454" y="586110"/>
                  </a:lnTo>
                  <a:lnTo>
                    <a:pt x="466984" y="590876"/>
                  </a:lnTo>
                  <a:lnTo>
                    <a:pt x="476514" y="590876"/>
                  </a:lnTo>
                  <a:lnTo>
                    <a:pt x="490810" y="600406"/>
                  </a:lnTo>
                  <a:lnTo>
                    <a:pt x="528930" y="614702"/>
                  </a:lnTo>
                  <a:lnTo>
                    <a:pt x="547992" y="628996"/>
                  </a:lnTo>
                  <a:lnTo>
                    <a:pt x="562286" y="628996"/>
                  </a:lnTo>
                  <a:lnTo>
                    <a:pt x="581348" y="657588"/>
                  </a:lnTo>
                  <a:lnTo>
                    <a:pt x="614704" y="662352"/>
                  </a:lnTo>
                  <a:lnTo>
                    <a:pt x="628998" y="690944"/>
                  </a:lnTo>
                  <a:lnTo>
                    <a:pt x="652824" y="695708"/>
                  </a:lnTo>
                  <a:lnTo>
                    <a:pt x="676650" y="705238"/>
                  </a:lnTo>
                  <a:lnTo>
                    <a:pt x="681414" y="714768"/>
                  </a:lnTo>
                  <a:lnTo>
                    <a:pt x="686180" y="733830"/>
                  </a:lnTo>
                  <a:lnTo>
                    <a:pt x="686180" y="771950"/>
                  </a:lnTo>
                  <a:lnTo>
                    <a:pt x="690946" y="795776"/>
                  </a:lnTo>
                  <a:lnTo>
                    <a:pt x="690946" y="805306"/>
                  </a:lnTo>
                  <a:lnTo>
                    <a:pt x="690946" y="819602"/>
                  </a:lnTo>
                  <a:lnTo>
                    <a:pt x="681414" y="824366"/>
                  </a:lnTo>
                  <a:lnTo>
                    <a:pt x="676650" y="824366"/>
                  </a:lnTo>
                  <a:lnTo>
                    <a:pt x="662354" y="805306"/>
                  </a:lnTo>
                  <a:lnTo>
                    <a:pt x="638528" y="786246"/>
                  </a:lnTo>
                  <a:lnTo>
                    <a:pt x="614704" y="757654"/>
                  </a:lnTo>
                  <a:lnTo>
                    <a:pt x="609938" y="752890"/>
                  </a:lnTo>
                  <a:lnTo>
                    <a:pt x="600408" y="752890"/>
                  </a:lnTo>
                  <a:lnTo>
                    <a:pt x="590878" y="762420"/>
                  </a:lnTo>
                  <a:lnTo>
                    <a:pt x="552756" y="771950"/>
                  </a:lnTo>
                  <a:lnTo>
                    <a:pt x="538462" y="776716"/>
                  </a:lnTo>
                  <a:lnTo>
                    <a:pt x="533696" y="781480"/>
                  </a:lnTo>
                  <a:lnTo>
                    <a:pt x="528930" y="786246"/>
                  </a:lnTo>
                  <a:lnTo>
                    <a:pt x="538462" y="791010"/>
                  </a:lnTo>
                  <a:lnTo>
                    <a:pt x="547992" y="800542"/>
                  </a:lnTo>
                  <a:lnTo>
                    <a:pt x="547992" y="819602"/>
                  </a:lnTo>
                  <a:lnTo>
                    <a:pt x="552756" y="838662"/>
                  </a:lnTo>
                  <a:lnTo>
                    <a:pt x="567052" y="843428"/>
                  </a:lnTo>
                  <a:lnTo>
                    <a:pt x="576582" y="838662"/>
                  </a:lnTo>
                  <a:lnTo>
                    <a:pt x="586112" y="843428"/>
                  </a:lnTo>
                  <a:lnTo>
                    <a:pt x="586112" y="852958"/>
                  </a:lnTo>
                  <a:lnTo>
                    <a:pt x="595642" y="862488"/>
                  </a:lnTo>
                  <a:lnTo>
                    <a:pt x="600408" y="867252"/>
                  </a:lnTo>
                  <a:lnTo>
                    <a:pt x="600408" y="872018"/>
                  </a:lnTo>
                  <a:lnTo>
                    <a:pt x="562286" y="886314"/>
                  </a:lnTo>
                  <a:lnTo>
                    <a:pt x="557522" y="891078"/>
                  </a:lnTo>
                  <a:lnTo>
                    <a:pt x="547992" y="891078"/>
                  </a:lnTo>
                  <a:lnTo>
                    <a:pt x="538462" y="886314"/>
                  </a:lnTo>
                  <a:lnTo>
                    <a:pt x="538462" y="872018"/>
                  </a:lnTo>
                  <a:lnTo>
                    <a:pt x="524166" y="862488"/>
                  </a:lnTo>
                  <a:lnTo>
                    <a:pt x="514636" y="857722"/>
                  </a:lnTo>
                  <a:lnTo>
                    <a:pt x="500340" y="852958"/>
                  </a:lnTo>
                  <a:lnTo>
                    <a:pt x="490810" y="843428"/>
                  </a:lnTo>
                  <a:lnTo>
                    <a:pt x="481280" y="852958"/>
                  </a:lnTo>
                  <a:lnTo>
                    <a:pt x="486044" y="881548"/>
                  </a:lnTo>
                  <a:lnTo>
                    <a:pt x="500340" y="900608"/>
                  </a:lnTo>
                  <a:lnTo>
                    <a:pt x="524166" y="953026"/>
                  </a:lnTo>
                  <a:lnTo>
                    <a:pt x="533696" y="986380"/>
                  </a:lnTo>
                  <a:lnTo>
                    <a:pt x="533696" y="1000676"/>
                  </a:lnTo>
                  <a:lnTo>
                    <a:pt x="528930" y="1029266"/>
                  </a:lnTo>
                  <a:lnTo>
                    <a:pt x="543226" y="1048328"/>
                  </a:lnTo>
                  <a:lnTo>
                    <a:pt x="547992" y="1067388"/>
                  </a:lnTo>
                  <a:lnTo>
                    <a:pt x="543226" y="1067388"/>
                  </a:lnTo>
                  <a:lnTo>
                    <a:pt x="533696" y="1057858"/>
                  </a:lnTo>
                  <a:lnTo>
                    <a:pt x="519400" y="1048328"/>
                  </a:lnTo>
                  <a:lnTo>
                    <a:pt x="495574" y="1019736"/>
                  </a:lnTo>
                  <a:lnTo>
                    <a:pt x="490810" y="1000676"/>
                  </a:lnTo>
                  <a:lnTo>
                    <a:pt x="481280" y="1000676"/>
                  </a:lnTo>
                  <a:lnTo>
                    <a:pt x="462218" y="1000676"/>
                  </a:lnTo>
                  <a:lnTo>
                    <a:pt x="443158" y="1043562"/>
                  </a:lnTo>
                  <a:lnTo>
                    <a:pt x="443158" y="1067388"/>
                  </a:lnTo>
                  <a:lnTo>
                    <a:pt x="433628" y="1062622"/>
                  </a:lnTo>
                  <a:lnTo>
                    <a:pt x="428864" y="1053092"/>
                  </a:lnTo>
                  <a:lnTo>
                    <a:pt x="428864" y="1029266"/>
                  </a:lnTo>
                  <a:lnTo>
                    <a:pt x="428864" y="1014972"/>
                  </a:lnTo>
                  <a:lnTo>
                    <a:pt x="405038" y="981616"/>
                  </a:lnTo>
                  <a:lnTo>
                    <a:pt x="395508" y="976850"/>
                  </a:lnTo>
                  <a:lnTo>
                    <a:pt x="390742" y="967320"/>
                  </a:lnTo>
                  <a:lnTo>
                    <a:pt x="381212" y="953026"/>
                  </a:lnTo>
                  <a:lnTo>
                    <a:pt x="371682" y="953026"/>
                  </a:lnTo>
                  <a:lnTo>
                    <a:pt x="362152" y="962556"/>
                  </a:lnTo>
                  <a:lnTo>
                    <a:pt x="357386" y="981616"/>
                  </a:lnTo>
                  <a:lnTo>
                    <a:pt x="357386" y="995912"/>
                  </a:lnTo>
                  <a:lnTo>
                    <a:pt x="352620" y="1010206"/>
                  </a:lnTo>
                  <a:lnTo>
                    <a:pt x="328796" y="986380"/>
                  </a:lnTo>
                  <a:lnTo>
                    <a:pt x="300204" y="943494"/>
                  </a:lnTo>
                  <a:lnTo>
                    <a:pt x="300204" y="919670"/>
                  </a:lnTo>
                  <a:lnTo>
                    <a:pt x="319266" y="895844"/>
                  </a:lnTo>
                  <a:lnTo>
                    <a:pt x="319266" y="881548"/>
                  </a:lnTo>
                  <a:lnTo>
                    <a:pt x="300204" y="852958"/>
                  </a:lnTo>
                  <a:lnTo>
                    <a:pt x="276378" y="833896"/>
                  </a:lnTo>
                  <a:lnTo>
                    <a:pt x="262084" y="829132"/>
                  </a:lnTo>
                  <a:lnTo>
                    <a:pt x="257318" y="805306"/>
                  </a:lnTo>
                  <a:lnTo>
                    <a:pt x="243024" y="795776"/>
                  </a:lnTo>
                  <a:lnTo>
                    <a:pt x="233492" y="791010"/>
                  </a:lnTo>
                  <a:lnTo>
                    <a:pt x="233492" y="781480"/>
                  </a:lnTo>
                  <a:lnTo>
                    <a:pt x="233492" y="776716"/>
                  </a:lnTo>
                  <a:lnTo>
                    <a:pt x="257318" y="757654"/>
                  </a:lnTo>
                  <a:lnTo>
                    <a:pt x="276378" y="724298"/>
                  </a:lnTo>
                  <a:lnTo>
                    <a:pt x="281144" y="719534"/>
                  </a:lnTo>
                  <a:lnTo>
                    <a:pt x="295440" y="729064"/>
                  </a:lnTo>
                  <a:lnTo>
                    <a:pt x="314500" y="724298"/>
                  </a:lnTo>
                  <a:lnTo>
                    <a:pt x="328796" y="705238"/>
                  </a:lnTo>
                  <a:lnTo>
                    <a:pt x="338326" y="695708"/>
                  </a:lnTo>
                  <a:lnTo>
                    <a:pt x="362152" y="695708"/>
                  </a:lnTo>
                  <a:lnTo>
                    <a:pt x="405038" y="724298"/>
                  </a:lnTo>
                  <a:lnTo>
                    <a:pt x="452688" y="738594"/>
                  </a:lnTo>
                  <a:lnTo>
                    <a:pt x="476514" y="752890"/>
                  </a:lnTo>
                  <a:lnTo>
                    <a:pt x="490810" y="767186"/>
                  </a:lnTo>
                  <a:lnTo>
                    <a:pt x="500340" y="767186"/>
                  </a:lnTo>
                  <a:lnTo>
                    <a:pt x="509870" y="771950"/>
                  </a:lnTo>
                  <a:lnTo>
                    <a:pt x="509870" y="762420"/>
                  </a:lnTo>
                  <a:lnTo>
                    <a:pt x="505106" y="752890"/>
                  </a:lnTo>
                  <a:lnTo>
                    <a:pt x="514636" y="748124"/>
                  </a:lnTo>
                  <a:lnTo>
                    <a:pt x="543226" y="748124"/>
                  </a:lnTo>
                  <a:lnTo>
                    <a:pt x="547992" y="743360"/>
                  </a:lnTo>
                  <a:lnTo>
                    <a:pt x="552756" y="733830"/>
                  </a:lnTo>
                  <a:lnTo>
                    <a:pt x="547992" y="724298"/>
                  </a:lnTo>
                  <a:lnTo>
                    <a:pt x="538462" y="724298"/>
                  </a:lnTo>
                  <a:lnTo>
                    <a:pt x="528930" y="719534"/>
                  </a:lnTo>
                  <a:lnTo>
                    <a:pt x="524166" y="719534"/>
                  </a:lnTo>
                  <a:lnTo>
                    <a:pt x="514636" y="719534"/>
                  </a:lnTo>
                  <a:lnTo>
                    <a:pt x="495574" y="714768"/>
                  </a:lnTo>
                  <a:lnTo>
                    <a:pt x="490810" y="710004"/>
                  </a:lnTo>
                  <a:lnTo>
                    <a:pt x="486044" y="705238"/>
                  </a:lnTo>
                  <a:lnTo>
                    <a:pt x="457454" y="690944"/>
                  </a:lnTo>
                  <a:lnTo>
                    <a:pt x="433628" y="676648"/>
                  </a:lnTo>
                  <a:lnTo>
                    <a:pt x="428864" y="686178"/>
                  </a:lnTo>
                  <a:lnTo>
                    <a:pt x="419332" y="690944"/>
                  </a:lnTo>
                  <a:lnTo>
                    <a:pt x="405038" y="690944"/>
                  </a:lnTo>
                  <a:lnTo>
                    <a:pt x="362152" y="681412"/>
                  </a:lnTo>
                  <a:lnTo>
                    <a:pt x="338326" y="686178"/>
                  </a:lnTo>
                  <a:lnTo>
                    <a:pt x="324030" y="690944"/>
                  </a:lnTo>
                  <a:lnTo>
                    <a:pt x="314500" y="690944"/>
                  </a:lnTo>
                  <a:lnTo>
                    <a:pt x="300204" y="695708"/>
                  </a:lnTo>
                  <a:lnTo>
                    <a:pt x="285910" y="695708"/>
                  </a:lnTo>
                  <a:lnTo>
                    <a:pt x="271614" y="681412"/>
                  </a:lnTo>
                  <a:lnTo>
                    <a:pt x="266848" y="667118"/>
                  </a:lnTo>
                  <a:lnTo>
                    <a:pt x="262084" y="662352"/>
                  </a:lnTo>
                  <a:lnTo>
                    <a:pt x="262084" y="676648"/>
                  </a:lnTo>
                  <a:lnTo>
                    <a:pt x="257318" y="686178"/>
                  </a:lnTo>
                  <a:lnTo>
                    <a:pt x="238258" y="690944"/>
                  </a:lnTo>
                  <a:lnTo>
                    <a:pt x="228728" y="686178"/>
                  </a:lnTo>
                  <a:lnTo>
                    <a:pt x="219198" y="662352"/>
                  </a:lnTo>
                  <a:lnTo>
                    <a:pt x="209668" y="633762"/>
                  </a:lnTo>
                  <a:lnTo>
                    <a:pt x="190606" y="605170"/>
                  </a:lnTo>
                  <a:lnTo>
                    <a:pt x="176312" y="600406"/>
                  </a:lnTo>
                  <a:lnTo>
                    <a:pt x="176312" y="586110"/>
                  </a:lnTo>
                  <a:lnTo>
                    <a:pt x="176312" y="576580"/>
                  </a:lnTo>
                  <a:lnTo>
                    <a:pt x="195372" y="571814"/>
                  </a:lnTo>
                  <a:lnTo>
                    <a:pt x="223962" y="586110"/>
                  </a:lnTo>
                  <a:lnTo>
                    <a:pt x="228728" y="581346"/>
                  </a:lnTo>
                  <a:lnTo>
                    <a:pt x="233492" y="576580"/>
                  </a:lnTo>
                  <a:lnTo>
                    <a:pt x="233492" y="567050"/>
                  </a:lnTo>
                  <a:lnTo>
                    <a:pt x="228728" y="557520"/>
                  </a:lnTo>
                  <a:lnTo>
                    <a:pt x="223962" y="557520"/>
                  </a:lnTo>
                  <a:lnTo>
                    <a:pt x="219198" y="557520"/>
                  </a:lnTo>
                  <a:lnTo>
                    <a:pt x="200136" y="552754"/>
                  </a:lnTo>
                  <a:lnTo>
                    <a:pt x="176312" y="562284"/>
                  </a:lnTo>
                  <a:lnTo>
                    <a:pt x="166780" y="557520"/>
                  </a:lnTo>
                  <a:lnTo>
                    <a:pt x="162016" y="547990"/>
                  </a:lnTo>
                  <a:lnTo>
                    <a:pt x="142956" y="533694"/>
                  </a:lnTo>
                  <a:lnTo>
                    <a:pt x="128660" y="509868"/>
                  </a:lnTo>
                  <a:lnTo>
                    <a:pt x="100070" y="495574"/>
                  </a:lnTo>
                  <a:lnTo>
                    <a:pt x="85774" y="452686"/>
                  </a:lnTo>
                  <a:lnTo>
                    <a:pt x="71478" y="433626"/>
                  </a:lnTo>
                  <a:lnTo>
                    <a:pt x="57184" y="419330"/>
                  </a:lnTo>
                  <a:lnTo>
                    <a:pt x="66714" y="419330"/>
                  </a:lnTo>
                  <a:lnTo>
                    <a:pt x="76244" y="428862"/>
                  </a:lnTo>
                  <a:lnTo>
                    <a:pt x="85774" y="428862"/>
                  </a:lnTo>
                  <a:lnTo>
                    <a:pt x="95304" y="424096"/>
                  </a:lnTo>
                  <a:lnTo>
                    <a:pt x="100070" y="419330"/>
                  </a:lnTo>
                  <a:lnTo>
                    <a:pt x="100070" y="414566"/>
                  </a:lnTo>
                  <a:lnTo>
                    <a:pt x="100070" y="405036"/>
                  </a:lnTo>
                  <a:lnTo>
                    <a:pt x="104834" y="400270"/>
                  </a:lnTo>
                  <a:lnTo>
                    <a:pt x="109600" y="400270"/>
                  </a:lnTo>
                  <a:lnTo>
                    <a:pt x="114364" y="400270"/>
                  </a:lnTo>
                  <a:lnTo>
                    <a:pt x="114364" y="390740"/>
                  </a:lnTo>
                  <a:lnTo>
                    <a:pt x="109600" y="381210"/>
                  </a:lnTo>
                  <a:lnTo>
                    <a:pt x="104834" y="371680"/>
                  </a:lnTo>
                  <a:lnTo>
                    <a:pt x="104834" y="362150"/>
                  </a:lnTo>
                  <a:lnTo>
                    <a:pt x="109600" y="362150"/>
                  </a:lnTo>
                  <a:lnTo>
                    <a:pt x="114364" y="357384"/>
                  </a:lnTo>
                  <a:lnTo>
                    <a:pt x="119130" y="347854"/>
                  </a:lnTo>
                  <a:lnTo>
                    <a:pt x="128660" y="347854"/>
                  </a:lnTo>
                  <a:lnTo>
                    <a:pt x="138190" y="347854"/>
                  </a:lnTo>
                  <a:lnTo>
                    <a:pt x="147720" y="343090"/>
                  </a:lnTo>
                  <a:lnTo>
                    <a:pt x="157250" y="333558"/>
                  </a:lnTo>
                  <a:lnTo>
                    <a:pt x="157250" y="328794"/>
                  </a:lnTo>
                  <a:lnTo>
                    <a:pt x="162016" y="309734"/>
                  </a:lnTo>
                  <a:lnTo>
                    <a:pt x="166780" y="300202"/>
                  </a:lnTo>
                  <a:lnTo>
                    <a:pt x="171546" y="290672"/>
                  </a:lnTo>
                  <a:lnTo>
                    <a:pt x="176312" y="281142"/>
                  </a:lnTo>
                  <a:lnTo>
                    <a:pt x="181076" y="266846"/>
                  </a:lnTo>
                  <a:lnTo>
                    <a:pt x="195372" y="262082"/>
                  </a:lnTo>
                  <a:lnTo>
                    <a:pt x="204902" y="257316"/>
                  </a:lnTo>
                  <a:lnTo>
                    <a:pt x="214432" y="243022"/>
                  </a:lnTo>
                  <a:lnTo>
                    <a:pt x="214432" y="233492"/>
                  </a:lnTo>
                  <a:lnTo>
                    <a:pt x="214432" y="223960"/>
                  </a:lnTo>
                  <a:lnTo>
                    <a:pt x="209668" y="214430"/>
                  </a:lnTo>
                  <a:lnTo>
                    <a:pt x="204902" y="200136"/>
                  </a:lnTo>
                  <a:lnTo>
                    <a:pt x="204902" y="185840"/>
                  </a:lnTo>
                  <a:lnTo>
                    <a:pt x="228728" y="185840"/>
                  </a:lnTo>
                  <a:lnTo>
                    <a:pt x="233492" y="181074"/>
                  </a:lnTo>
                  <a:lnTo>
                    <a:pt x="262084" y="181074"/>
                  </a:lnTo>
                  <a:lnTo>
                    <a:pt x="276378" y="171544"/>
                  </a:lnTo>
                  <a:lnTo>
                    <a:pt x="281144" y="176310"/>
                  </a:lnTo>
                  <a:lnTo>
                    <a:pt x="300204" y="181074"/>
                  </a:lnTo>
                  <a:lnTo>
                    <a:pt x="309734" y="176310"/>
                  </a:lnTo>
                  <a:lnTo>
                    <a:pt x="333560" y="166780"/>
                  </a:lnTo>
                  <a:lnTo>
                    <a:pt x="357386" y="133424"/>
                  </a:lnTo>
                  <a:lnTo>
                    <a:pt x="366916" y="128658"/>
                  </a:lnTo>
                  <a:lnTo>
                    <a:pt x="390742" y="123894"/>
                  </a:lnTo>
                  <a:lnTo>
                    <a:pt x="395508" y="119128"/>
                  </a:lnTo>
                  <a:lnTo>
                    <a:pt x="405038" y="123894"/>
                  </a:lnTo>
                  <a:lnTo>
                    <a:pt x="428864" y="128658"/>
                  </a:lnTo>
                  <a:lnTo>
                    <a:pt x="443158" y="128658"/>
                  </a:lnTo>
                  <a:lnTo>
                    <a:pt x="462218" y="123894"/>
                  </a:lnTo>
                  <a:lnTo>
                    <a:pt x="481280" y="119128"/>
                  </a:lnTo>
                  <a:lnTo>
                    <a:pt x="486044" y="90538"/>
                  </a:lnTo>
                  <a:lnTo>
                    <a:pt x="490810" y="85772"/>
                  </a:lnTo>
                  <a:lnTo>
                    <a:pt x="500340" y="85772"/>
                  </a:lnTo>
                  <a:lnTo>
                    <a:pt x="509870" y="85772"/>
                  </a:lnTo>
                  <a:lnTo>
                    <a:pt x="528930" y="85772"/>
                  </a:lnTo>
                  <a:lnTo>
                    <a:pt x="547992" y="85772"/>
                  </a:lnTo>
                  <a:lnTo>
                    <a:pt x="562286" y="76242"/>
                  </a:lnTo>
                  <a:lnTo>
                    <a:pt x="581348" y="71476"/>
                  </a:lnTo>
                  <a:lnTo>
                    <a:pt x="590878" y="71476"/>
                  </a:lnTo>
                  <a:lnTo>
                    <a:pt x="609938" y="76242"/>
                  </a:lnTo>
                  <a:lnTo>
                    <a:pt x="624234" y="76242"/>
                  </a:lnTo>
                  <a:lnTo>
                    <a:pt x="643294" y="66712"/>
                  </a:lnTo>
                  <a:lnTo>
                    <a:pt x="662354" y="57182"/>
                  </a:lnTo>
                  <a:lnTo>
                    <a:pt x="676650" y="61946"/>
                  </a:lnTo>
                  <a:lnTo>
                    <a:pt x="681414" y="57182"/>
                  </a:lnTo>
                  <a:lnTo>
                    <a:pt x="686180" y="57182"/>
                  </a:lnTo>
                  <a:lnTo>
                    <a:pt x="690946" y="42886"/>
                  </a:lnTo>
                  <a:lnTo>
                    <a:pt x="714770" y="42886"/>
                  </a:lnTo>
                  <a:lnTo>
                    <a:pt x="724302" y="42886"/>
                  </a:lnTo>
                  <a:lnTo>
                    <a:pt x="738596" y="42886"/>
                  </a:lnTo>
                  <a:lnTo>
                    <a:pt x="757656" y="38122"/>
                  </a:lnTo>
                  <a:lnTo>
                    <a:pt x="762422" y="38122"/>
                  </a:lnTo>
                  <a:lnTo>
                    <a:pt x="767188" y="57182"/>
                  </a:lnTo>
                  <a:lnTo>
                    <a:pt x="771952" y="61946"/>
                  </a:lnTo>
                  <a:lnTo>
                    <a:pt x="781482" y="66712"/>
                  </a:lnTo>
                  <a:lnTo>
                    <a:pt x="800544" y="81008"/>
                  </a:lnTo>
                  <a:lnTo>
                    <a:pt x="805308" y="76242"/>
                  </a:lnTo>
                  <a:lnTo>
                    <a:pt x="810074" y="71476"/>
                  </a:lnTo>
                  <a:lnTo>
                    <a:pt x="833900" y="76242"/>
                  </a:lnTo>
                  <a:lnTo>
                    <a:pt x="857724" y="90538"/>
                  </a:lnTo>
                  <a:lnTo>
                    <a:pt x="876786" y="104832"/>
                  </a:lnTo>
                  <a:lnTo>
                    <a:pt x="895846" y="100068"/>
                  </a:lnTo>
                  <a:lnTo>
                    <a:pt x="919672" y="90538"/>
                  </a:lnTo>
                  <a:lnTo>
                    <a:pt x="933966" y="90538"/>
                  </a:lnTo>
                  <a:lnTo>
                    <a:pt x="948262" y="90538"/>
                  </a:lnTo>
                  <a:lnTo>
                    <a:pt x="957792" y="85772"/>
                  </a:lnTo>
                  <a:lnTo>
                    <a:pt x="981618" y="90538"/>
                  </a:lnTo>
                  <a:lnTo>
                    <a:pt x="1000678" y="81008"/>
                  </a:lnTo>
                  <a:lnTo>
                    <a:pt x="1014974" y="76242"/>
                  </a:lnTo>
                  <a:lnTo>
                    <a:pt x="1014974" y="61946"/>
                  </a:lnTo>
                  <a:lnTo>
                    <a:pt x="1014974" y="47652"/>
                  </a:lnTo>
                  <a:lnTo>
                    <a:pt x="1010208" y="28590"/>
                  </a:lnTo>
                  <a:lnTo>
                    <a:pt x="1005444" y="19060"/>
                  </a:lnTo>
                  <a:lnTo>
                    <a:pt x="1000678" y="14296"/>
                  </a:lnTo>
                  <a:lnTo>
                    <a:pt x="1005444" y="9530"/>
                  </a:lnTo>
                  <a:lnTo>
                    <a:pt x="1010208" y="476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4" name="Freeform 4937">
              <a:extLst>
                <a:ext uri="{FF2B5EF4-FFF2-40B4-BE49-F238E27FC236}">
                  <a16:creationId xmlns:a16="http://schemas.microsoft.com/office/drawing/2014/main" id="{1CB183AE-31F6-402E-839B-385BA9E33C61}"/>
                </a:ext>
              </a:extLst>
            </p:cNvPr>
            <p:cNvSpPr/>
            <p:nvPr/>
          </p:nvSpPr>
          <p:spPr bwMode="auto">
            <a:xfrm>
              <a:off x="3737428" y="5097977"/>
              <a:ext cx="4625" cy="6167"/>
            </a:xfrm>
            <a:custGeom>
              <a:avLst/>
              <a:gdLst>
                <a:gd name="T0" fmla="*/ 4 w 12"/>
                <a:gd name="T1" fmla="*/ 16 h 16"/>
                <a:gd name="T2" fmla="*/ 10 w 12"/>
                <a:gd name="T3" fmla="*/ 12 h 16"/>
                <a:gd name="T4" fmla="*/ 12 w 12"/>
                <a:gd name="T5" fmla="*/ 0 h 16"/>
                <a:gd name="T6" fmla="*/ 8 w 12"/>
                <a:gd name="T7" fmla="*/ 0 h 16"/>
                <a:gd name="T8" fmla="*/ 4 w 12"/>
                <a:gd name="T9" fmla="*/ 4 h 16"/>
                <a:gd name="T10" fmla="*/ 2 w 12"/>
                <a:gd name="T11" fmla="*/ 8 h 16"/>
                <a:gd name="T12" fmla="*/ 2 w 12"/>
                <a:gd name="T13" fmla="*/ 14 h 16"/>
                <a:gd name="T14" fmla="*/ 0 w 12"/>
                <a:gd name="T15" fmla="*/ 16 h 16"/>
                <a:gd name="T16" fmla="*/ 4 w 12"/>
                <a:gd name="T1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6">
                  <a:moveTo>
                    <a:pt x="4" y="16"/>
                  </a:moveTo>
                  <a:lnTo>
                    <a:pt x="10" y="12"/>
                  </a:lnTo>
                  <a:lnTo>
                    <a:pt x="12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2" y="8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4" y="1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5" name="Line 4938">
              <a:extLst>
                <a:ext uri="{FF2B5EF4-FFF2-40B4-BE49-F238E27FC236}">
                  <a16:creationId xmlns:a16="http://schemas.microsoft.com/office/drawing/2014/main" id="{93770526-ADF6-4E32-B6D9-A4D90147AB7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38970" y="5104144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6" name="Line 4940">
              <a:extLst>
                <a:ext uri="{FF2B5EF4-FFF2-40B4-BE49-F238E27FC236}">
                  <a16:creationId xmlns:a16="http://schemas.microsoft.com/office/drawing/2014/main" id="{B1504B7D-14CF-4B9D-B255-899E4917692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38970" y="5104144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7" name="Freeform 4977">
              <a:extLst>
                <a:ext uri="{FF2B5EF4-FFF2-40B4-BE49-F238E27FC236}">
                  <a16:creationId xmlns:a16="http://schemas.microsoft.com/office/drawing/2014/main" id="{A54F2D84-CB3A-4D81-B2C2-DBF3AB996F7C}"/>
                </a:ext>
              </a:extLst>
            </p:cNvPr>
            <p:cNvSpPr/>
            <p:nvPr/>
          </p:nvSpPr>
          <p:spPr bwMode="auto">
            <a:xfrm>
              <a:off x="2968478" y="4952282"/>
              <a:ext cx="100985" cy="107152"/>
            </a:xfrm>
            <a:custGeom>
              <a:avLst/>
              <a:gdLst>
                <a:gd name="T0" fmla="*/ 164 w 262"/>
                <a:gd name="T1" fmla="*/ 0 h 278"/>
                <a:gd name="T2" fmla="*/ 80 w 262"/>
                <a:gd name="T3" fmla="*/ 0 h 278"/>
                <a:gd name="T4" fmla="*/ 80 w 262"/>
                <a:gd name="T5" fmla="*/ 38 h 278"/>
                <a:gd name="T6" fmla="*/ 54 w 262"/>
                <a:gd name="T7" fmla="*/ 40 h 278"/>
                <a:gd name="T8" fmla="*/ 66 w 262"/>
                <a:gd name="T9" fmla="*/ 48 h 278"/>
                <a:gd name="T10" fmla="*/ 82 w 262"/>
                <a:gd name="T11" fmla="*/ 64 h 278"/>
                <a:gd name="T12" fmla="*/ 100 w 262"/>
                <a:gd name="T13" fmla="*/ 76 h 278"/>
                <a:gd name="T14" fmla="*/ 104 w 262"/>
                <a:gd name="T15" fmla="*/ 84 h 278"/>
                <a:gd name="T16" fmla="*/ 108 w 262"/>
                <a:gd name="T17" fmla="*/ 92 h 278"/>
                <a:gd name="T18" fmla="*/ 118 w 262"/>
                <a:gd name="T19" fmla="*/ 98 h 278"/>
                <a:gd name="T20" fmla="*/ 116 w 262"/>
                <a:gd name="T21" fmla="*/ 106 h 278"/>
                <a:gd name="T22" fmla="*/ 116 w 262"/>
                <a:gd name="T23" fmla="*/ 118 h 278"/>
                <a:gd name="T24" fmla="*/ 52 w 262"/>
                <a:gd name="T25" fmla="*/ 120 h 278"/>
                <a:gd name="T26" fmla="*/ 26 w 262"/>
                <a:gd name="T27" fmla="*/ 128 h 278"/>
                <a:gd name="T28" fmla="*/ 10 w 262"/>
                <a:gd name="T29" fmla="*/ 158 h 278"/>
                <a:gd name="T30" fmla="*/ 2 w 262"/>
                <a:gd name="T31" fmla="*/ 174 h 278"/>
                <a:gd name="T32" fmla="*/ 10 w 262"/>
                <a:gd name="T33" fmla="*/ 186 h 278"/>
                <a:gd name="T34" fmla="*/ 6 w 262"/>
                <a:gd name="T35" fmla="*/ 192 h 278"/>
                <a:gd name="T36" fmla="*/ 4 w 262"/>
                <a:gd name="T37" fmla="*/ 198 h 278"/>
                <a:gd name="T38" fmla="*/ 4 w 262"/>
                <a:gd name="T39" fmla="*/ 208 h 278"/>
                <a:gd name="T40" fmla="*/ 2 w 262"/>
                <a:gd name="T41" fmla="*/ 216 h 278"/>
                <a:gd name="T42" fmla="*/ 0 w 262"/>
                <a:gd name="T43" fmla="*/ 222 h 278"/>
                <a:gd name="T44" fmla="*/ 38 w 262"/>
                <a:gd name="T45" fmla="*/ 252 h 278"/>
                <a:gd name="T46" fmla="*/ 70 w 262"/>
                <a:gd name="T47" fmla="*/ 264 h 278"/>
                <a:gd name="T48" fmla="*/ 114 w 262"/>
                <a:gd name="T49" fmla="*/ 266 h 278"/>
                <a:gd name="T50" fmla="*/ 140 w 262"/>
                <a:gd name="T51" fmla="*/ 274 h 278"/>
                <a:gd name="T52" fmla="*/ 142 w 262"/>
                <a:gd name="T53" fmla="*/ 266 h 278"/>
                <a:gd name="T54" fmla="*/ 154 w 262"/>
                <a:gd name="T55" fmla="*/ 256 h 278"/>
                <a:gd name="T56" fmla="*/ 160 w 262"/>
                <a:gd name="T57" fmla="*/ 256 h 278"/>
                <a:gd name="T58" fmla="*/ 164 w 262"/>
                <a:gd name="T59" fmla="*/ 250 h 278"/>
                <a:gd name="T60" fmla="*/ 174 w 262"/>
                <a:gd name="T61" fmla="*/ 244 h 278"/>
                <a:gd name="T62" fmla="*/ 176 w 262"/>
                <a:gd name="T63" fmla="*/ 240 h 278"/>
                <a:gd name="T64" fmla="*/ 174 w 262"/>
                <a:gd name="T65" fmla="*/ 232 h 278"/>
                <a:gd name="T66" fmla="*/ 178 w 262"/>
                <a:gd name="T67" fmla="*/ 232 h 278"/>
                <a:gd name="T68" fmla="*/ 186 w 262"/>
                <a:gd name="T69" fmla="*/ 230 h 278"/>
                <a:gd name="T70" fmla="*/ 190 w 262"/>
                <a:gd name="T71" fmla="*/ 228 h 278"/>
                <a:gd name="T72" fmla="*/ 200 w 262"/>
                <a:gd name="T73" fmla="*/ 218 h 278"/>
                <a:gd name="T74" fmla="*/ 198 w 262"/>
                <a:gd name="T75" fmla="*/ 206 h 278"/>
                <a:gd name="T76" fmla="*/ 198 w 262"/>
                <a:gd name="T77" fmla="*/ 198 h 278"/>
                <a:gd name="T78" fmla="*/ 202 w 262"/>
                <a:gd name="T79" fmla="*/ 186 h 278"/>
                <a:gd name="T80" fmla="*/ 214 w 262"/>
                <a:gd name="T81" fmla="*/ 182 h 278"/>
                <a:gd name="T82" fmla="*/ 232 w 262"/>
                <a:gd name="T83" fmla="*/ 168 h 278"/>
                <a:gd name="T84" fmla="*/ 254 w 262"/>
                <a:gd name="T85" fmla="*/ 150 h 278"/>
                <a:gd name="T86" fmla="*/ 262 w 262"/>
                <a:gd name="T87" fmla="*/ 142 h 278"/>
                <a:gd name="T88" fmla="*/ 238 w 262"/>
                <a:gd name="T89" fmla="*/ 128 h 278"/>
                <a:gd name="T90" fmla="*/ 242 w 262"/>
                <a:gd name="T91" fmla="*/ 134 h 278"/>
                <a:gd name="T92" fmla="*/ 230 w 262"/>
                <a:gd name="T93" fmla="*/ 136 h 278"/>
                <a:gd name="T94" fmla="*/ 222 w 262"/>
                <a:gd name="T95" fmla="*/ 132 h 278"/>
                <a:gd name="T96" fmla="*/ 216 w 262"/>
                <a:gd name="T97" fmla="*/ 132 h 278"/>
                <a:gd name="T98" fmla="*/ 196 w 262"/>
                <a:gd name="T99" fmla="*/ 132 h 278"/>
                <a:gd name="T100" fmla="*/ 196 w 262"/>
                <a:gd name="T101" fmla="*/ 114 h 278"/>
                <a:gd name="T102" fmla="*/ 198 w 262"/>
                <a:gd name="T103" fmla="*/ 68 h 278"/>
                <a:gd name="T104" fmla="*/ 200 w 262"/>
                <a:gd name="T105" fmla="*/ 36 h 278"/>
                <a:gd name="T106" fmla="*/ 200 w 262"/>
                <a:gd name="T107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2" h="278">
                  <a:moveTo>
                    <a:pt x="200" y="0"/>
                  </a:moveTo>
                  <a:lnTo>
                    <a:pt x="164" y="0"/>
                  </a:lnTo>
                  <a:lnTo>
                    <a:pt x="134" y="0"/>
                  </a:lnTo>
                  <a:lnTo>
                    <a:pt x="80" y="0"/>
                  </a:lnTo>
                  <a:lnTo>
                    <a:pt x="80" y="24"/>
                  </a:lnTo>
                  <a:lnTo>
                    <a:pt x="80" y="38"/>
                  </a:lnTo>
                  <a:lnTo>
                    <a:pt x="54" y="38"/>
                  </a:lnTo>
                  <a:lnTo>
                    <a:pt x="54" y="40"/>
                  </a:lnTo>
                  <a:lnTo>
                    <a:pt x="60" y="42"/>
                  </a:lnTo>
                  <a:lnTo>
                    <a:pt x="66" y="48"/>
                  </a:lnTo>
                  <a:lnTo>
                    <a:pt x="74" y="56"/>
                  </a:lnTo>
                  <a:lnTo>
                    <a:pt x="82" y="64"/>
                  </a:lnTo>
                  <a:lnTo>
                    <a:pt x="92" y="70"/>
                  </a:lnTo>
                  <a:lnTo>
                    <a:pt x="100" y="76"/>
                  </a:lnTo>
                  <a:lnTo>
                    <a:pt x="102" y="80"/>
                  </a:lnTo>
                  <a:lnTo>
                    <a:pt x="104" y="84"/>
                  </a:lnTo>
                  <a:lnTo>
                    <a:pt x="104" y="88"/>
                  </a:lnTo>
                  <a:lnTo>
                    <a:pt x="108" y="92"/>
                  </a:lnTo>
                  <a:lnTo>
                    <a:pt x="116" y="94"/>
                  </a:lnTo>
                  <a:lnTo>
                    <a:pt x="118" y="98"/>
                  </a:lnTo>
                  <a:lnTo>
                    <a:pt x="118" y="100"/>
                  </a:lnTo>
                  <a:lnTo>
                    <a:pt x="116" y="106"/>
                  </a:lnTo>
                  <a:lnTo>
                    <a:pt x="116" y="112"/>
                  </a:lnTo>
                  <a:lnTo>
                    <a:pt x="116" y="118"/>
                  </a:lnTo>
                  <a:lnTo>
                    <a:pt x="66" y="118"/>
                  </a:lnTo>
                  <a:lnTo>
                    <a:pt x="52" y="120"/>
                  </a:lnTo>
                  <a:lnTo>
                    <a:pt x="32" y="120"/>
                  </a:lnTo>
                  <a:lnTo>
                    <a:pt x="26" y="128"/>
                  </a:lnTo>
                  <a:lnTo>
                    <a:pt x="18" y="144"/>
                  </a:lnTo>
                  <a:lnTo>
                    <a:pt x="10" y="158"/>
                  </a:lnTo>
                  <a:lnTo>
                    <a:pt x="2" y="170"/>
                  </a:lnTo>
                  <a:lnTo>
                    <a:pt x="2" y="174"/>
                  </a:lnTo>
                  <a:lnTo>
                    <a:pt x="2" y="176"/>
                  </a:lnTo>
                  <a:lnTo>
                    <a:pt x="10" y="186"/>
                  </a:lnTo>
                  <a:lnTo>
                    <a:pt x="8" y="190"/>
                  </a:lnTo>
                  <a:lnTo>
                    <a:pt x="6" y="192"/>
                  </a:lnTo>
                  <a:lnTo>
                    <a:pt x="4" y="194"/>
                  </a:lnTo>
                  <a:lnTo>
                    <a:pt x="4" y="198"/>
                  </a:lnTo>
                  <a:lnTo>
                    <a:pt x="2" y="204"/>
                  </a:lnTo>
                  <a:lnTo>
                    <a:pt x="4" y="208"/>
                  </a:lnTo>
                  <a:lnTo>
                    <a:pt x="4" y="212"/>
                  </a:lnTo>
                  <a:lnTo>
                    <a:pt x="2" y="216"/>
                  </a:lnTo>
                  <a:lnTo>
                    <a:pt x="2" y="220"/>
                  </a:lnTo>
                  <a:lnTo>
                    <a:pt x="0" y="222"/>
                  </a:lnTo>
                  <a:lnTo>
                    <a:pt x="26" y="244"/>
                  </a:lnTo>
                  <a:lnTo>
                    <a:pt x="38" y="252"/>
                  </a:lnTo>
                  <a:lnTo>
                    <a:pt x="56" y="260"/>
                  </a:lnTo>
                  <a:lnTo>
                    <a:pt x="70" y="264"/>
                  </a:lnTo>
                  <a:lnTo>
                    <a:pt x="106" y="264"/>
                  </a:lnTo>
                  <a:lnTo>
                    <a:pt x="114" y="266"/>
                  </a:lnTo>
                  <a:lnTo>
                    <a:pt x="140" y="278"/>
                  </a:lnTo>
                  <a:lnTo>
                    <a:pt x="140" y="274"/>
                  </a:lnTo>
                  <a:lnTo>
                    <a:pt x="140" y="270"/>
                  </a:lnTo>
                  <a:lnTo>
                    <a:pt x="142" y="266"/>
                  </a:lnTo>
                  <a:lnTo>
                    <a:pt x="150" y="260"/>
                  </a:lnTo>
                  <a:lnTo>
                    <a:pt x="154" y="256"/>
                  </a:lnTo>
                  <a:lnTo>
                    <a:pt x="156" y="256"/>
                  </a:lnTo>
                  <a:lnTo>
                    <a:pt x="160" y="256"/>
                  </a:lnTo>
                  <a:lnTo>
                    <a:pt x="162" y="254"/>
                  </a:lnTo>
                  <a:lnTo>
                    <a:pt x="164" y="250"/>
                  </a:lnTo>
                  <a:lnTo>
                    <a:pt x="168" y="248"/>
                  </a:lnTo>
                  <a:lnTo>
                    <a:pt x="174" y="244"/>
                  </a:lnTo>
                  <a:lnTo>
                    <a:pt x="176" y="244"/>
                  </a:lnTo>
                  <a:lnTo>
                    <a:pt x="176" y="240"/>
                  </a:lnTo>
                  <a:lnTo>
                    <a:pt x="174" y="236"/>
                  </a:lnTo>
                  <a:lnTo>
                    <a:pt x="174" y="232"/>
                  </a:lnTo>
                  <a:lnTo>
                    <a:pt x="176" y="232"/>
                  </a:lnTo>
                  <a:lnTo>
                    <a:pt x="178" y="232"/>
                  </a:lnTo>
                  <a:lnTo>
                    <a:pt x="184" y="230"/>
                  </a:lnTo>
                  <a:lnTo>
                    <a:pt x="186" y="230"/>
                  </a:lnTo>
                  <a:lnTo>
                    <a:pt x="188" y="232"/>
                  </a:lnTo>
                  <a:lnTo>
                    <a:pt x="190" y="228"/>
                  </a:lnTo>
                  <a:lnTo>
                    <a:pt x="192" y="224"/>
                  </a:lnTo>
                  <a:lnTo>
                    <a:pt x="200" y="218"/>
                  </a:lnTo>
                  <a:lnTo>
                    <a:pt x="200" y="214"/>
                  </a:lnTo>
                  <a:lnTo>
                    <a:pt x="198" y="206"/>
                  </a:lnTo>
                  <a:lnTo>
                    <a:pt x="198" y="200"/>
                  </a:lnTo>
                  <a:lnTo>
                    <a:pt x="198" y="198"/>
                  </a:lnTo>
                  <a:lnTo>
                    <a:pt x="200" y="188"/>
                  </a:lnTo>
                  <a:lnTo>
                    <a:pt x="202" y="186"/>
                  </a:lnTo>
                  <a:lnTo>
                    <a:pt x="214" y="182"/>
                  </a:lnTo>
                  <a:lnTo>
                    <a:pt x="214" y="182"/>
                  </a:lnTo>
                  <a:lnTo>
                    <a:pt x="222" y="174"/>
                  </a:lnTo>
                  <a:lnTo>
                    <a:pt x="232" y="168"/>
                  </a:lnTo>
                  <a:lnTo>
                    <a:pt x="242" y="160"/>
                  </a:lnTo>
                  <a:lnTo>
                    <a:pt x="254" y="150"/>
                  </a:lnTo>
                  <a:lnTo>
                    <a:pt x="260" y="144"/>
                  </a:lnTo>
                  <a:lnTo>
                    <a:pt x="262" y="142"/>
                  </a:lnTo>
                  <a:lnTo>
                    <a:pt x="238" y="128"/>
                  </a:lnTo>
                  <a:lnTo>
                    <a:pt x="238" y="128"/>
                  </a:lnTo>
                  <a:lnTo>
                    <a:pt x="240" y="130"/>
                  </a:lnTo>
                  <a:lnTo>
                    <a:pt x="242" y="134"/>
                  </a:lnTo>
                  <a:lnTo>
                    <a:pt x="238" y="140"/>
                  </a:lnTo>
                  <a:lnTo>
                    <a:pt x="230" y="136"/>
                  </a:lnTo>
                  <a:lnTo>
                    <a:pt x="224" y="132"/>
                  </a:lnTo>
                  <a:lnTo>
                    <a:pt x="222" y="132"/>
                  </a:lnTo>
                  <a:lnTo>
                    <a:pt x="218" y="132"/>
                  </a:lnTo>
                  <a:lnTo>
                    <a:pt x="216" y="132"/>
                  </a:lnTo>
                  <a:lnTo>
                    <a:pt x="204" y="130"/>
                  </a:lnTo>
                  <a:lnTo>
                    <a:pt x="196" y="132"/>
                  </a:lnTo>
                  <a:lnTo>
                    <a:pt x="196" y="130"/>
                  </a:lnTo>
                  <a:lnTo>
                    <a:pt x="196" y="114"/>
                  </a:lnTo>
                  <a:lnTo>
                    <a:pt x="198" y="88"/>
                  </a:lnTo>
                  <a:lnTo>
                    <a:pt x="198" y="68"/>
                  </a:lnTo>
                  <a:lnTo>
                    <a:pt x="200" y="50"/>
                  </a:lnTo>
                  <a:lnTo>
                    <a:pt x="200" y="36"/>
                  </a:lnTo>
                  <a:lnTo>
                    <a:pt x="200" y="16"/>
                  </a:lnTo>
                  <a:lnTo>
                    <a:pt x="20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8" name="Freeform 4981">
              <a:extLst>
                <a:ext uri="{FF2B5EF4-FFF2-40B4-BE49-F238E27FC236}">
                  <a16:creationId xmlns:a16="http://schemas.microsoft.com/office/drawing/2014/main" id="{0D20E7D4-740E-4AFD-8766-8004F22D8713}"/>
                </a:ext>
              </a:extLst>
            </p:cNvPr>
            <p:cNvSpPr/>
            <p:nvPr/>
          </p:nvSpPr>
          <p:spPr bwMode="auto">
            <a:xfrm>
              <a:off x="8952794" y="5061746"/>
              <a:ext cx="7709" cy="10021"/>
            </a:xfrm>
            <a:custGeom>
              <a:avLst/>
              <a:gdLst>
                <a:gd name="T0" fmla="*/ 8 w 20"/>
                <a:gd name="T1" fmla="*/ 26 h 26"/>
                <a:gd name="T2" fmla="*/ 10 w 20"/>
                <a:gd name="T3" fmla="*/ 16 h 26"/>
                <a:gd name="T4" fmla="*/ 20 w 20"/>
                <a:gd name="T5" fmla="*/ 4 h 26"/>
                <a:gd name="T6" fmla="*/ 18 w 20"/>
                <a:gd name="T7" fmla="*/ 2 h 26"/>
                <a:gd name="T8" fmla="*/ 16 w 20"/>
                <a:gd name="T9" fmla="*/ 2 h 26"/>
                <a:gd name="T10" fmla="*/ 14 w 20"/>
                <a:gd name="T11" fmla="*/ 0 h 26"/>
                <a:gd name="T12" fmla="*/ 10 w 20"/>
                <a:gd name="T13" fmla="*/ 8 h 26"/>
                <a:gd name="T14" fmla="*/ 0 w 20"/>
                <a:gd name="T15" fmla="*/ 14 h 26"/>
                <a:gd name="T16" fmla="*/ 0 w 20"/>
                <a:gd name="T17" fmla="*/ 22 h 26"/>
                <a:gd name="T18" fmla="*/ 2 w 20"/>
                <a:gd name="T19" fmla="*/ 24 h 26"/>
                <a:gd name="T20" fmla="*/ 4 w 20"/>
                <a:gd name="T21" fmla="*/ 26 h 26"/>
                <a:gd name="T22" fmla="*/ 8 w 20"/>
                <a:gd name="T2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" h="26">
                  <a:moveTo>
                    <a:pt x="8" y="26"/>
                  </a:moveTo>
                  <a:lnTo>
                    <a:pt x="10" y="16"/>
                  </a:lnTo>
                  <a:lnTo>
                    <a:pt x="20" y="4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0" y="8"/>
                  </a:lnTo>
                  <a:lnTo>
                    <a:pt x="0" y="14"/>
                  </a:lnTo>
                  <a:lnTo>
                    <a:pt x="0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8" y="2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9" name="Line 4982">
              <a:extLst>
                <a:ext uri="{FF2B5EF4-FFF2-40B4-BE49-F238E27FC236}">
                  <a16:creationId xmlns:a16="http://schemas.microsoft.com/office/drawing/2014/main" id="{50DFDDD1-52E8-485C-87B6-3FCEEC26506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955878" y="5071768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0" name="Line 4984">
              <a:extLst>
                <a:ext uri="{FF2B5EF4-FFF2-40B4-BE49-F238E27FC236}">
                  <a16:creationId xmlns:a16="http://schemas.microsoft.com/office/drawing/2014/main" id="{EC9679D4-7DA7-42A3-8AD2-F7E64B92EA9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955878" y="5071768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1" name="Freeform 4985">
              <a:extLst>
                <a:ext uri="{FF2B5EF4-FFF2-40B4-BE49-F238E27FC236}">
                  <a16:creationId xmlns:a16="http://schemas.microsoft.com/office/drawing/2014/main" id="{78F80D19-F1F7-4D6B-A2AA-EF7965EEA16D}"/>
                </a:ext>
              </a:extLst>
            </p:cNvPr>
            <p:cNvSpPr/>
            <p:nvPr/>
          </p:nvSpPr>
          <p:spPr bwMode="auto">
            <a:xfrm>
              <a:off x="3747449" y="5192795"/>
              <a:ext cx="124111" cy="186552"/>
            </a:xfrm>
            <a:custGeom>
              <a:avLst/>
              <a:gdLst>
                <a:gd name="T0" fmla="*/ 272 w 322"/>
                <a:gd name="T1" fmla="*/ 156 h 484"/>
                <a:gd name="T2" fmla="*/ 222 w 322"/>
                <a:gd name="T3" fmla="*/ 116 h 484"/>
                <a:gd name="T4" fmla="*/ 188 w 322"/>
                <a:gd name="T5" fmla="*/ 120 h 484"/>
                <a:gd name="T6" fmla="*/ 182 w 322"/>
                <a:gd name="T7" fmla="*/ 122 h 484"/>
                <a:gd name="T8" fmla="*/ 180 w 322"/>
                <a:gd name="T9" fmla="*/ 66 h 484"/>
                <a:gd name="T10" fmla="*/ 112 w 322"/>
                <a:gd name="T11" fmla="*/ 12 h 484"/>
                <a:gd name="T12" fmla="*/ 92 w 322"/>
                <a:gd name="T13" fmla="*/ 0 h 484"/>
                <a:gd name="T14" fmla="*/ 92 w 322"/>
                <a:gd name="T15" fmla="*/ 24 h 484"/>
                <a:gd name="T16" fmla="*/ 68 w 322"/>
                <a:gd name="T17" fmla="*/ 46 h 484"/>
                <a:gd name="T18" fmla="*/ 48 w 322"/>
                <a:gd name="T19" fmla="*/ 64 h 484"/>
                <a:gd name="T20" fmla="*/ 48 w 322"/>
                <a:gd name="T21" fmla="*/ 86 h 484"/>
                <a:gd name="T22" fmla="*/ 64 w 322"/>
                <a:gd name="T23" fmla="*/ 92 h 484"/>
                <a:gd name="T24" fmla="*/ 64 w 322"/>
                <a:gd name="T25" fmla="*/ 106 h 484"/>
                <a:gd name="T26" fmla="*/ 34 w 322"/>
                <a:gd name="T27" fmla="*/ 116 h 484"/>
                <a:gd name="T28" fmla="*/ 16 w 322"/>
                <a:gd name="T29" fmla="*/ 122 h 484"/>
                <a:gd name="T30" fmla="*/ 16 w 322"/>
                <a:gd name="T31" fmla="*/ 144 h 484"/>
                <a:gd name="T32" fmla="*/ 0 w 322"/>
                <a:gd name="T33" fmla="*/ 172 h 484"/>
                <a:gd name="T34" fmla="*/ 52 w 322"/>
                <a:gd name="T35" fmla="*/ 222 h 484"/>
                <a:gd name="T36" fmla="*/ 78 w 322"/>
                <a:gd name="T37" fmla="*/ 218 h 484"/>
                <a:gd name="T38" fmla="*/ 90 w 322"/>
                <a:gd name="T39" fmla="*/ 236 h 484"/>
                <a:gd name="T40" fmla="*/ 82 w 322"/>
                <a:gd name="T41" fmla="*/ 260 h 484"/>
                <a:gd name="T42" fmla="*/ 94 w 322"/>
                <a:gd name="T43" fmla="*/ 268 h 484"/>
                <a:gd name="T44" fmla="*/ 110 w 322"/>
                <a:gd name="T45" fmla="*/ 276 h 484"/>
                <a:gd name="T46" fmla="*/ 116 w 322"/>
                <a:gd name="T47" fmla="*/ 298 h 484"/>
                <a:gd name="T48" fmla="*/ 116 w 322"/>
                <a:gd name="T49" fmla="*/ 312 h 484"/>
                <a:gd name="T50" fmla="*/ 102 w 322"/>
                <a:gd name="T51" fmla="*/ 336 h 484"/>
                <a:gd name="T52" fmla="*/ 92 w 322"/>
                <a:gd name="T53" fmla="*/ 366 h 484"/>
                <a:gd name="T54" fmla="*/ 100 w 322"/>
                <a:gd name="T55" fmla="*/ 410 h 484"/>
                <a:gd name="T56" fmla="*/ 108 w 322"/>
                <a:gd name="T57" fmla="*/ 440 h 484"/>
                <a:gd name="T58" fmla="*/ 118 w 322"/>
                <a:gd name="T59" fmla="*/ 450 h 484"/>
                <a:gd name="T60" fmla="*/ 136 w 322"/>
                <a:gd name="T61" fmla="*/ 466 h 484"/>
                <a:gd name="T62" fmla="*/ 168 w 322"/>
                <a:gd name="T63" fmla="*/ 484 h 484"/>
                <a:gd name="T64" fmla="*/ 188 w 322"/>
                <a:gd name="T65" fmla="*/ 478 h 484"/>
                <a:gd name="T66" fmla="*/ 196 w 322"/>
                <a:gd name="T67" fmla="*/ 466 h 484"/>
                <a:gd name="T68" fmla="*/ 204 w 322"/>
                <a:gd name="T69" fmla="*/ 460 h 484"/>
                <a:gd name="T70" fmla="*/ 220 w 322"/>
                <a:gd name="T71" fmla="*/ 462 h 484"/>
                <a:gd name="T72" fmla="*/ 230 w 322"/>
                <a:gd name="T73" fmla="*/ 454 h 484"/>
                <a:gd name="T74" fmla="*/ 254 w 322"/>
                <a:gd name="T75" fmla="*/ 446 h 484"/>
                <a:gd name="T76" fmla="*/ 276 w 322"/>
                <a:gd name="T77" fmla="*/ 432 h 484"/>
                <a:gd name="T78" fmla="*/ 290 w 322"/>
                <a:gd name="T79" fmla="*/ 436 h 484"/>
                <a:gd name="T80" fmla="*/ 316 w 322"/>
                <a:gd name="T81" fmla="*/ 438 h 484"/>
                <a:gd name="T82" fmla="*/ 312 w 322"/>
                <a:gd name="T83" fmla="*/ 430 h 484"/>
                <a:gd name="T84" fmla="*/ 294 w 322"/>
                <a:gd name="T85" fmla="*/ 410 h 484"/>
                <a:gd name="T86" fmla="*/ 286 w 322"/>
                <a:gd name="T87" fmla="*/ 392 h 484"/>
                <a:gd name="T88" fmla="*/ 280 w 322"/>
                <a:gd name="T89" fmla="*/ 382 h 484"/>
                <a:gd name="T90" fmla="*/ 274 w 322"/>
                <a:gd name="T91" fmla="*/ 368 h 484"/>
                <a:gd name="T92" fmla="*/ 270 w 322"/>
                <a:gd name="T93" fmla="*/ 354 h 484"/>
                <a:gd name="T94" fmla="*/ 258 w 322"/>
                <a:gd name="T95" fmla="*/ 342 h 484"/>
                <a:gd name="T96" fmla="*/ 244 w 322"/>
                <a:gd name="T97" fmla="*/ 338 h 484"/>
                <a:gd name="T98" fmla="*/ 228 w 322"/>
                <a:gd name="T99" fmla="*/ 310 h 484"/>
                <a:gd name="T100" fmla="*/ 224 w 322"/>
                <a:gd name="T101" fmla="*/ 278 h 484"/>
                <a:gd name="T102" fmla="*/ 230 w 322"/>
                <a:gd name="T103" fmla="*/ 252 h 484"/>
                <a:gd name="T104" fmla="*/ 234 w 322"/>
                <a:gd name="T105" fmla="*/ 238 h 484"/>
                <a:gd name="T106" fmla="*/ 260 w 322"/>
                <a:gd name="T107" fmla="*/ 234 h 484"/>
                <a:gd name="T108" fmla="*/ 272 w 322"/>
                <a:gd name="T109" fmla="*/ 222 h 484"/>
                <a:gd name="T110" fmla="*/ 270 w 322"/>
                <a:gd name="T111" fmla="*/ 218 h 484"/>
                <a:gd name="T112" fmla="*/ 274 w 322"/>
                <a:gd name="T113" fmla="*/ 198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2" h="483">
                  <a:moveTo>
                    <a:pt x="274" y="198"/>
                  </a:moveTo>
                  <a:lnTo>
                    <a:pt x="274" y="198"/>
                  </a:lnTo>
                  <a:lnTo>
                    <a:pt x="276" y="176"/>
                  </a:lnTo>
                  <a:lnTo>
                    <a:pt x="276" y="162"/>
                  </a:lnTo>
                  <a:lnTo>
                    <a:pt x="272" y="156"/>
                  </a:lnTo>
                  <a:lnTo>
                    <a:pt x="264" y="150"/>
                  </a:lnTo>
                  <a:lnTo>
                    <a:pt x="252" y="146"/>
                  </a:lnTo>
                  <a:lnTo>
                    <a:pt x="248" y="138"/>
                  </a:lnTo>
                  <a:lnTo>
                    <a:pt x="236" y="130"/>
                  </a:lnTo>
                  <a:lnTo>
                    <a:pt x="222" y="116"/>
                  </a:lnTo>
                  <a:lnTo>
                    <a:pt x="216" y="114"/>
                  </a:lnTo>
                  <a:lnTo>
                    <a:pt x="210" y="114"/>
                  </a:lnTo>
                  <a:lnTo>
                    <a:pt x="202" y="110"/>
                  </a:lnTo>
                  <a:lnTo>
                    <a:pt x="194" y="112"/>
                  </a:lnTo>
                  <a:lnTo>
                    <a:pt x="188" y="120"/>
                  </a:lnTo>
                  <a:lnTo>
                    <a:pt x="184" y="128"/>
                  </a:lnTo>
                  <a:lnTo>
                    <a:pt x="182" y="138"/>
                  </a:lnTo>
                  <a:lnTo>
                    <a:pt x="178" y="142"/>
                  </a:lnTo>
                  <a:lnTo>
                    <a:pt x="182" y="136"/>
                  </a:lnTo>
                  <a:lnTo>
                    <a:pt x="182" y="122"/>
                  </a:lnTo>
                  <a:lnTo>
                    <a:pt x="184" y="112"/>
                  </a:lnTo>
                  <a:lnTo>
                    <a:pt x="190" y="100"/>
                  </a:lnTo>
                  <a:lnTo>
                    <a:pt x="190" y="80"/>
                  </a:lnTo>
                  <a:lnTo>
                    <a:pt x="188" y="76"/>
                  </a:lnTo>
                  <a:lnTo>
                    <a:pt x="180" y="66"/>
                  </a:lnTo>
                  <a:lnTo>
                    <a:pt x="176" y="62"/>
                  </a:lnTo>
                  <a:lnTo>
                    <a:pt x="168" y="54"/>
                  </a:lnTo>
                  <a:lnTo>
                    <a:pt x="142" y="32"/>
                  </a:lnTo>
                  <a:lnTo>
                    <a:pt x="124" y="20"/>
                  </a:lnTo>
                  <a:lnTo>
                    <a:pt x="112" y="12"/>
                  </a:lnTo>
                  <a:lnTo>
                    <a:pt x="108" y="12"/>
                  </a:lnTo>
                  <a:lnTo>
                    <a:pt x="108" y="14"/>
                  </a:lnTo>
                  <a:lnTo>
                    <a:pt x="106" y="14"/>
                  </a:lnTo>
                  <a:lnTo>
                    <a:pt x="102" y="12"/>
                  </a:lnTo>
                  <a:lnTo>
                    <a:pt x="92" y="0"/>
                  </a:lnTo>
                  <a:lnTo>
                    <a:pt x="90" y="0"/>
                  </a:lnTo>
                  <a:lnTo>
                    <a:pt x="102" y="16"/>
                  </a:lnTo>
                  <a:lnTo>
                    <a:pt x="102" y="18"/>
                  </a:lnTo>
                  <a:lnTo>
                    <a:pt x="100" y="20"/>
                  </a:lnTo>
                  <a:lnTo>
                    <a:pt x="92" y="24"/>
                  </a:lnTo>
                  <a:lnTo>
                    <a:pt x="92" y="26"/>
                  </a:lnTo>
                  <a:lnTo>
                    <a:pt x="88" y="32"/>
                  </a:lnTo>
                  <a:lnTo>
                    <a:pt x="80" y="36"/>
                  </a:lnTo>
                  <a:lnTo>
                    <a:pt x="72" y="42"/>
                  </a:lnTo>
                  <a:lnTo>
                    <a:pt x="68" y="46"/>
                  </a:lnTo>
                  <a:lnTo>
                    <a:pt x="66" y="48"/>
                  </a:lnTo>
                  <a:lnTo>
                    <a:pt x="58" y="48"/>
                  </a:lnTo>
                  <a:lnTo>
                    <a:pt x="54" y="52"/>
                  </a:lnTo>
                  <a:lnTo>
                    <a:pt x="50" y="60"/>
                  </a:lnTo>
                  <a:lnTo>
                    <a:pt x="48" y="64"/>
                  </a:lnTo>
                  <a:lnTo>
                    <a:pt x="44" y="66"/>
                  </a:lnTo>
                  <a:lnTo>
                    <a:pt x="44" y="70"/>
                  </a:lnTo>
                  <a:lnTo>
                    <a:pt x="50" y="78"/>
                  </a:lnTo>
                  <a:lnTo>
                    <a:pt x="50" y="82"/>
                  </a:lnTo>
                  <a:lnTo>
                    <a:pt x="48" y="86"/>
                  </a:lnTo>
                  <a:lnTo>
                    <a:pt x="50" y="88"/>
                  </a:lnTo>
                  <a:lnTo>
                    <a:pt x="52" y="92"/>
                  </a:lnTo>
                  <a:lnTo>
                    <a:pt x="56" y="92"/>
                  </a:lnTo>
                  <a:lnTo>
                    <a:pt x="60" y="92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70" y="94"/>
                  </a:lnTo>
                  <a:lnTo>
                    <a:pt x="70" y="96"/>
                  </a:lnTo>
                  <a:lnTo>
                    <a:pt x="68" y="102"/>
                  </a:lnTo>
                  <a:lnTo>
                    <a:pt x="64" y="106"/>
                  </a:lnTo>
                  <a:lnTo>
                    <a:pt x="52" y="112"/>
                  </a:lnTo>
                  <a:lnTo>
                    <a:pt x="46" y="116"/>
                  </a:lnTo>
                  <a:lnTo>
                    <a:pt x="44" y="118"/>
                  </a:lnTo>
                  <a:lnTo>
                    <a:pt x="36" y="116"/>
                  </a:lnTo>
                  <a:lnTo>
                    <a:pt x="34" y="116"/>
                  </a:lnTo>
                  <a:lnTo>
                    <a:pt x="30" y="118"/>
                  </a:lnTo>
                  <a:lnTo>
                    <a:pt x="30" y="120"/>
                  </a:lnTo>
                  <a:lnTo>
                    <a:pt x="24" y="120"/>
                  </a:lnTo>
                  <a:lnTo>
                    <a:pt x="18" y="122"/>
                  </a:lnTo>
                  <a:lnTo>
                    <a:pt x="16" y="122"/>
                  </a:lnTo>
                  <a:lnTo>
                    <a:pt x="14" y="126"/>
                  </a:lnTo>
                  <a:lnTo>
                    <a:pt x="12" y="130"/>
                  </a:lnTo>
                  <a:lnTo>
                    <a:pt x="14" y="134"/>
                  </a:lnTo>
                  <a:lnTo>
                    <a:pt x="16" y="138"/>
                  </a:lnTo>
                  <a:lnTo>
                    <a:pt x="16" y="144"/>
                  </a:lnTo>
                  <a:lnTo>
                    <a:pt x="16" y="154"/>
                  </a:lnTo>
                  <a:lnTo>
                    <a:pt x="14" y="156"/>
                  </a:lnTo>
                  <a:lnTo>
                    <a:pt x="10" y="160"/>
                  </a:lnTo>
                  <a:lnTo>
                    <a:pt x="6" y="166"/>
                  </a:lnTo>
                  <a:lnTo>
                    <a:pt x="0" y="172"/>
                  </a:lnTo>
                  <a:lnTo>
                    <a:pt x="0" y="174"/>
                  </a:lnTo>
                  <a:lnTo>
                    <a:pt x="28" y="206"/>
                  </a:lnTo>
                  <a:lnTo>
                    <a:pt x="42" y="222"/>
                  </a:lnTo>
                  <a:lnTo>
                    <a:pt x="48" y="220"/>
                  </a:lnTo>
                  <a:lnTo>
                    <a:pt x="52" y="222"/>
                  </a:lnTo>
                  <a:lnTo>
                    <a:pt x="60" y="222"/>
                  </a:lnTo>
                  <a:lnTo>
                    <a:pt x="64" y="220"/>
                  </a:lnTo>
                  <a:lnTo>
                    <a:pt x="68" y="222"/>
                  </a:lnTo>
                  <a:lnTo>
                    <a:pt x="74" y="218"/>
                  </a:lnTo>
                  <a:lnTo>
                    <a:pt x="78" y="218"/>
                  </a:lnTo>
                  <a:lnTo>
                    <a:pt x="82" y="218"/>
                  </a:lnTo>
                  <a:lnTo>
                    <a:pt x="84" y="222"/>
                  </a:lnTo>
                  <a:lnTo>
                    <a:pt x="86" y="224"/>
                  </a:lnTo>
                  <a:lnTo>
                    <a:pt x="92" y="228"/>
                  </a:lnTo>
                  <a:lnTo>
                    <a:pt x="90" y="236"/>
                  </a:lnTo>
                  <a:lnTo>
                    <a:pt x="90" y="240"/>
                  </a:lnTo>
                  <a:lnTo>
                    <a:pt x="88" y="246"/>
                  </a:lnTo>
                  <a:lnTo>
                    <a:pt x="88" y="252"/>
                  </a:lnTo>
                  <a:lnTo>
                    <a:pt x="86" y="256"/>
                  </a:lnTo>
                  <a:lnTo>
                    <a:pt x="82" y="260"/>
                  </a:lnTo>
                  <a:lnTo>
                    <a:pt x="82" y="262"/>
                  </a:lnTo>
                  <a:lnTo>
                    <a:pt x="80" y="264"/>
                  </a:lnTo>
                  <a:lnTo>
                    <a:pt x="84" y="266"/>
                  </a:lnTo>
                  <a:lnTo>
                    <a:pt x="88" y="268"/>
                  </a:lnTo>
                  <a:lnTo>
                    <a:pt x="94" y="268"/>
                  </a:lnTo>
                  <a:lnTo>
                    <a:pt x="96" y="268"/>
                  </a:lnTo>
                  <a:lnTo>
                    <a:pt x="102" y="268"/>
                  </a:lnTo>
                  <a:lnTo>
                    <a:pt x="108" y="272"/>
                  </a:lnTo>
                  <a:lnTo>
                    <a:pt x="110" y="276"/>
                  </a:lnTo>
                  <a:lnTo>
                    <a:pt x="110" y="276"/>
                  </a:lnTo>
                  <a:lnTo>
                    <a:pt x="108" y="282"/>
                  </a:lnTo>
                  <a:lnTo>
                    <a:pt x="108" y="286"/>
                  </a:lnTo>
                  <a:lnTo>
                    <a:pt x="110" y="288"/>
                  </a:lnTo>
                  <a:lnTo>
                    <a:pt x="112" y="290"/>
                  </a:lnTo>
                  <a:lnTo>
                    <a:pt x="116" y="298"/>
                  </a:lnTo>
                  <a:lnTo>
                    <a:pt x="118" y="302"/>
                  </a:lnTo>
                  <a:lnTo>
                    <a:pt x="120" y="302"/>
                  </a:lnTo>
                  <a:lnTo>
                    <a:pt x="120" y="304"/>
                  </a:lnTo>
                  <a:lnTo>
                    <a:pt x="118" y="308"/>
                  </a:lnTo>
                  <a:lnTo>
                    <a:pt x="116" y="312"/>
                  </a:lnTo>
                  <a:lnTo>
                    <a:pt x="112" y="316"/>
                  </a:lnTo>
                  <a:lnTo>
                    <a:pt x="112" y="320"/>
                  </a:lnTo>
                  <a:lnTo>
                    <a:pt x="108" y="322"/>
                  </a:lnTo>
                  <a:lnTo>
                    <a:pt x="100" y="328"/>
                  </a:lnTo>
                  <a:lnTo>
                    <a:pt x="102" y="336"/>
                  </a:lnTo>
                  <a:lnTo>
                    <a:pt x="102" y="340"/>
                  </a:lnTo>
                  <a:lnTo>
                    <a:pt x="102" y="342"/>
                  </a:lnTo>
                  <a:lnTo>
                    <a:pt x="98" y="348"/>
                  </a:lnTo>
                  <a:lnTo>
                    <a:pt x="94" y="360"/>
                  </a:lnTo>
                  <a:lnTo>
                    <a:pt x="92" y="366"/>
                  </a:lnTo>
                  <a:lnTo>
                    <a:pt x="90" y="382"/>
                  </a:lnTo>
                  <a:lnTo>
                    <a:pt x="92" y="386"/>
                  </a:lnTo>
                  <a:lnTo>
                    <a:pt x="94" y="392"/>
                  </a:lnTo>
                  <a:lnTo>
                    <a:pt x="98" y="408"/>
                  </a:lnTo>
                  <a:lnTo>
                    <a:pt x="100" y="410"/>
                  </a:lnTo>
                  <a:lnTo>
                    <a:pt x="106" y="414"/>
                  </a:lnTo>
                  <a:lnTo>
                    <a:pt x="108" y="424"/>
                  </a:lnTo>
                  <a:lnTo>
                    <a:pt x="106" y="434"/>
                  </a:lnTo>
                  <a:lnTo>
                    <a:pt x="106" y="438"/>
                  </a:lnTo>
                  <a:lnTo>
                    <a:pt x="108" y="440"/>
                  </a:lnTo>
                  <a:lnTo>
                    <a:pt x="110" y="440"/>
                  </a:lnTo>
                  <a:lnTo>
                    <a:pt x="112" y="442"/>
                  </a:lnTo>
                  <a:lnTo>
                    <a:pt x="112" y="444"/>
                  </a:lnTo>
                  <a:lnTo>
                    <a:pt x="112" y="448"/>
                  </a:lnTo>
                  <a:lnTo>
                    <a:pt x="118" y="450"/>
                  </a:lnTo>
                  <a:lnTo>
                    <a:pt x="122" y="452"/>
                  </a:lnTo>
                  <a:lnTo>
                    <a:pt x="124" y="456"/>
                  </a:lnTo>
                  <a:lnTo>
                    <a:pt x="132" y="462"/>
                  </a:lnTo>
                  <a:lnTo>
                    <a:pt x="134" y="464"/>
                  </a:lnTo>
                  <a:lnTo>
                    <a:pt x="136" y="466"/>
                  </a:lnTo>
                  <a:lnTo>
                    <a:pt x="142" y="472"/>
                  </a:lnTo>
                  <a:lnTo>
                    <a:pt x="158" y="476"/>
                  </a:lnTo>
                  <a:lnTo>
                    <a:pt x="162" y="480"/>
                  </a:lnTo>
                  <a:lnTo>
                    <a:pt x="166" y="484"/>
                  </a:lnTo>
                  <a:lnTo>
                    <a:pt x="168" y="484"/>
                  </a:lnTo>
                  <a:lnTo>
                    <a:pt x="170" y="484"/>
                  </a:lnTo>
                  <a:lnTo>
                    <a:pt x="174" y="480"/>
                  </a:lnTo>
                  <a:lnTo>
                    <a:pt x="178" y="478"/>
                  </a:lnTo>
                  <a:lnTo>
                    <a:pt x="182" y="478"/>
                  </a:lnTo>
                  <a:lnTo>
                    <a:pt x="188" y="478"/>
                  </a:lnTo>
                  <a:lnTo>
                    <a:pt x="190" y="476"/>
                  </a:lnTo>
                  <a:lnTo>
                    <a:pt x="190" y="474"/>
                  </a:lnTo>
                  <a:lnTo>
                    <a:pt x="188" y="468"/>
                  </a:lnTo>
                  <a:lnTo>
                    <a:pt x="190" y="466"/>
                  </a:lnTo>
                  <a:lnTo>
                    <a:pt x="196" y="466"/>
                  </a:lnTo>
                  <a:lnTo>
                    <a:pt x="196" y="462"/>
                  </a:lnTo>
                  <a:lnTo>
                    <a:pt x="198" y="460"/>
                  </a:lnTo>
                  <a:lnTo>
                    <a:pt x="200" y="458"/>
                  </a:lnTo>
                  <a:lnTo>
                    <a:pt x="202" y="458"/>
                  </a:lnTo>
                  <a:lnTo>
                    <a:pt x="204" y="460"/>
                  </a:lnTo>
                  <a:lnTo>
                    <a:pt x="206" y="460"/>
                  </a:lnTo>
                  <a:lnTo>
                    <a:pt x="210" y="460"/>
                  </a:lnTo>
                  <a:lnTo>
                    <a:pt x="212" y="464"/>
                  </a:lnTo>
                  <a:lnTo>
                    <a:pt x="216" y="464"/>
                  </a:lnTo>
                  <a:lnTo>
                    <a:pt x="220" y="462"/>
                  </a:lnTo>
                  <a:lnTo>
                    <a:pt x="222" y="462"/>
                  </a:lnTo>
                  <a:lnTo>
                    <a:pt x="222" y="460"/>
                  </a:lnTo>
                  <a:lnTo>
                    <a:pt x="222" y="454"/>
                  </a:lnTo>
                  <a:lnTo>
                    <a:pt x="226" y="454"/>
                  </a:lnTo>
                  <a:lnTo>
                    <a:pt x="230" y="454"/>
                  </a:lnTo>
                  <a:lnTo>
                    <a:pt x="236" y="452"/>
                  </a:lnTo>
                  <a:lnTo>
                    <a:pt x="242" y="450"/>
                  </a:lnTo>
                  <a:lnTo>
                    <a:pt x="248" y="450"/>
                  </a:lnTo>
                  <a:lnTo>
                    <a:pt x="252" y="450"/>
                  </a:lnTo>
                  <a:lnTo>
                    <a:pt x="254" y="446"/>
                  </a:lnTo>
                  <a:lnTo>
                    <a:pt x="260" y="438"/>
                  </a:lnTo>
                  <a:lnTo>
                    <a:pt x="264" y="436"/>
                  </a:lnTo>
                  <a:lnTo>
                    <a:pt x="266" y="434"/>
                  </a:lnTo>
                  <a:lnTo>
                    <a:pt x="270" y="434"/>
                  </a:lnTo>
                  <a:lnTo>
                    <a:pt x="276" y="432"/>
                  </a:lnTo>
                  <a:lnTo>
                    <a:pt x="280" y="430"/>
                  </a:lnTo>
                  <a:lnTo>
                    <a:pt x="282" y="432"/>
                  </a:lnTo>
                  <a:lnTo>
                    <a:pt x="284" y="436"/>
                  </a:lnTo>
                  <a:lnTo>
                    <a:pt x="286" y="436"/>
                  </a:lnTo>
                  <a:lnTo>
                    <a:pt x="290" y="436"/>
                  </a:lnTo>
                  <a:lnTo>
                    <a:pt x="298" y="440"/>
                  </a:lnTo>
                  <a:lnTo>
                    <a:pt x="302" y="438"/>
                  </a:lnTo>
                  <a:lnTo>
                    <a:pt x="308" y="436"/>
                  </a:lnTo>
                  <a:lnTo>
                    <a:pt x="312" y="436"/>
                  </a:lnTo>
                  <a:lnTo>
                    <a:pt x="316" y="438"/>
                  </a:lnTo>
                  <a:lnTo>
                    <a:pt x="318" y="436"/>
                  </a:lnTo>
                  <a:lnTo>
                    <a:pt x="322" y="436"/>
                  </a:lnTo>
                  <a:lnTo>
                    <a:pt x="318" y="434"/>
                  </a:lnTo>
                  <a:lnTo>
                    <a:pt x="316" y="432"/>
                  </a:lnTo>
                  <a:lnTo>
                    <a:pt x="312" y="430"/>
                  </a:lnTo>
                  <a:lnTo>
                    <a:pt x="306" y="428"/>
                  </a:lnTo>
                  <a:lnTo>
                    <a:pt x="304" y="424"/>
                  </a:lnTo>
                  <a:lnTo>
                    <a:pt x="300" y="416"/>
                  </a:lnTo>
                  <a:lnTo>
                    <a:pt x="298" y="414"/>
                  </a:lnTo>
                  <a:lnTo>
                    <a:pt x="294" y="410"/>
                  </a:lnTo>
                  <a:lnTo>
                    <a:pt x="292" y="406"/>
                  </a:lnTo>
                  <a:lnTo>
                    <a:pt x="292" y="402"/>
                  </a:lnTo>
                  <a:lnTo>
                    <a:pt x="288" y="398"/>
                  </a:lnTo>
                  <a:lnTo>
                    <a:pt x="288" y="396"/>
                  </a:lnTo>
                  <a:lnTo>
                    <a:pt x="286" y="392"/>
                  </a:lnTo>
                  <a:lnTo>
                    <a:pt x="286" y="390"/>
                  </a:lnTo>
                  <a:lnTo>
                    <a:pt x="284" y="390"/>
                  </a:lnTo>
                  <a:lnTo>
                    <a:pt x="284" y="388"/>
                  </a:lnTo>
                  <a:lnTo>
                    <a:pt x="280" y="382"/>
                  </a:lnTo>
                  <a:lnTo>
                    <a:pt x="280" y="382"/>
                  </a:lnTo>
                  <a:lnTo>
                    <a:pt x="280" y="380"/>
                  </a:lnTo>
                  <a:lnTo>
                    <a:pt x="276" y="376"/>
                  </a:lnTo>
                  <a:lnTo>
                    <a:pt x="274" y="376"/>
                  </a:lnTo>
                  <a:lnTo>
                    <a:pt x="274" y="374"/>
                  </a:lnTo>
                  <a:lnTo>
                    <a:pt x="274" y="368"/>
                  </a:lnTo>
                  <a:lnTo>
                    <a:pt x="272" y="366"/>
                  </a:lnTo>
                  <a:lnTo>
                    <a:pt x="272" y="360"/>
                  </a:lnTo>
                  <a:lnTo>
                    <a:pt x="272" y="358"/>
                  </a:lnTo>
                  <a:lnTo>
                    <a:pt x="272" y="356"/>
                  </a:lnTo>
                  <a:lnTo>
                    <a:pt x="270" y="354"/>
                  </a:lnTo>
                  <a:lnTo>
                    <a:pt x="268" y="352"/>
                  </a:lnTo>
                  <a:lnTo>
                    <a:pt x="268" y="342"/>
                  </a:lnTo>
                  <a:lnTo>
                    <a:pt x="268" y="342"/>
                  </a:lnTo>
                  <a:lnTo>
                    <a:pt x="260" y="342"/>
                  </a:lnTo>
                  <a:lnTo>
                    <a:pt x="258" y="342"/>
                  </a:lnTo>
                  <a:lnTo>
                    <a:pt x="256" y="342"/>
                  </a:lnTo>
                  <a:lnTo>
                    <a:pt x="252" y="342"/>
                  </a:lnTo>
                  <a:lnTo>
                    <a:pt x="248" y="342"/>
                  </a:lnTo>
                  <a:lnTo>
                    <a:pt x="244" y="340"/>
                  </a:lnTo>
                  <a:lnTo>
                    <a:pt x="244" y="338"/>
                  </a:lnTo>
                  <a:lnTo>
                    <a:pt x="244" y="332"/>
                  </a:lnTo>
                  <a:lnTo>
                    <a:pt x="240" y="328"/>
                  </a:lnTo>
                  <a:lnTo>
                    <a:pt x="232" y="322"/>
                  </a:lnTo>
                  <a:lnTo>
                    <a:pt x="230" y="314"/>
                  </a:lnTo>
                  <a:lnTo>
                    <a:pt x="228" y="310"/>
                  </a:lnTo>
                  <a:lnTo>
                    <a:pt x="220" y="300"/>
                  </a:lnTo>
                  <a:lnTo>
                    <a:pt x="218" y="294"/>
                  </a:lnTo>
                  <a:lnTo>
                    <a:pt x="218" y="288"/>
                  </a:lnTo>
                  <a:lnTo>
                    <a:pt x="222" y="284"/>
                  </a:lnTo>
                  <a:lnTo>
                    <a:pt x="224" y="278"/>
                  </a:lnTo>
                  <a:lnTo>
                    <a:pt x="226" y="270"/>
                  </a:lnTo>
                  <a:lnTo>
                    <a:pt x="228" y="266"/>
                  </a:lnTo>
                  <a:lnTo>
                    <a:pt x="230" y="262"/>
                  </a:lnTo>
                  <a:lnTo>
                    <a:pt x="232" y="256"/>
                  </a:lnTo>
                  <a:lnTo>
                    <a:pt x="230" y="252"/>
                  </a:lnTo>
                  <a:lnTo>
                    <a:pt x="228" y="248"/>
                  </a:lnTo>
                  <a:lnTo>
                    <a:pt x="228" y="246"/>
                  </a:lnTo>
                  <a:lnTo>
                    <a:pt x="230" y="242"/>
                  </a:lnTo>
                  <a:lnTo>
                    <a:pt x="232" y="240"/>
                  </a:lnTo>
                  <a:lnTo>
                    <a:pt x="234" y="238"/>
                  </a:lnTo>
                  <a:lnTo>
                    <a:pt x="238" y="238"/>
                  </a:lnTo>
                  <a:lnTo>
                    <a:pt x="240" y="234"/>
                  </a:lnTo>
                  <a:lnTo>
                    <a:pt x="244" y="234"/>
                  </a:lnTo>
                  <a:lnTo>
                    <a:pt x="250" y="234"/>
                  </a:lnTo>
                  <a:lnTo>
                    <a:pt x="260" y="234"/>
                  </a:lnTo>
                  <a:lnTo>
                    <a:pt x="266" y="234"/>
                  </a:lnTo>
                  <a:lnTo>
                    <a:pt x="268" y="230"/>
                  </a:lnTo>
                  <a:lnTo>
                    <a:pt x="266" y="228"/>
                  </a:lnTo>
                  <a:lnTo>
                    <a:pt x="270" y="224"/>
                  </a:lnTo>
                  <a:lnTo>
                    <a:pt x="272" y="222"/>
                  </a:lnTo>
                  <a:lnTo>
                    <a:pt x="274" y="222"/>
                  </a:lnTo>
                  <a:lnTo>
                    <a:pt x="274" y="220"/>
                  </a:lnTo>
                  <a:lnTo>
                    <a:pt x="272" y="220"/>
                  </a:lnTo>
                  <a:lnTo>
                    <a:pt x="272" y="218"/>
                  </a:lnTo>
                  <a:lnTo>
                    <a:pt x="270" y="218"/>
                  </a:lnTo>
                  <a:lnTo>
                    <a:pt x="266" y="212"/>
                  </a:lnTo>
                  <a:lnTo>
                    <a:pt x="268" y="210"/>
                  </a:lnTo>
                  <a:lnTo>
                    <a:pt x="270" y="204"/>
                  </a:lnTo>
                  <a:lnTo>
                    <a:pt x="272" y="202"/>
                  </a:lnTo>
                  <a:lnTo>
                    <a:pt x="274" y="19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2" name="Freeform 140">
              <a:extLst>
                <a:ext uri="{FF2B5EF4-FFF2-40B4-BE49-F238E27FC236}">
                  <a16:creationId xmlns:a16="http://schemas.microsoft.com/office/drawing/2014/main" id="{EB1D700C-1EA9-4976-B9C8-79DA788F36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74980" y="4824316"/>
              <a:ext cx="12334" cy="10021"/>
            </a:xfrm>
            <a:custGeom>
              <a:avLst/>
              <a:gdLst>
                <a:gd name="connsiteX0" fmla="*/ 42884 w 76240"/>
                <a:gd name="connsiteY0" fmla="*/ 42886 h 61946"/>
                <a:gd name="connsiteX1" fmla="*/ 52416 w 76240"/>
                <a:gd name="connsiteY1" fmla="*/ 42886 h 61946"/>
                <a:gd name="connsiteX2" fmla="*/ 61944 w 76240"/>
                <a:gd name="connsiteY2" fmla="*/ 47652 h 61946"/>
                <a:gd name="connsiteX3" fmla="*/ 61944 w 76240"/>
                <a:gd name="connsiteY3" fmla="*/ 57182 h 61946"/>
                <a:gd name="connsiteX4" fmla="*/ 57180 w 76240"/>
                <a:gd name="connsiteY4" fmla="*/ 57182 h 61946"/>
                <a:gd name="connsiteX5" fmla="*/ 57180 w 76240"/>
                <a:gd name="connsiteY5" fmla="*/ 61946 h 61946"/>
                <a:gd name="connsiteX6" fmla="*/ 42884 w 76240"/>
                <a:gd name="connsiteY6" fmla="*/ 47652 h 61946"/>
                <a:gd name="connsiteX7" fmla="*/ 28592 w 76240"/>
                <a:gd name="connsiteY7" fmla="*/ 38122 h 61946"/>
                <a:gd name="connsiteX8" fmla="*/ 23824 w 76240"/>
                <a:gd name="connsiteY8" fmla="*/ 47652 h 61946"/>
                <a:gd name="connsiteX9" fmla="*/ 23824 w 76240"/>
                <a:gd name="connsiteY9" fmla="*/ 57182 h 61946"/>
                <a:gd name="connsiteX10" fmla="*/ 4764 w 76240"/>
                <a:gd name="connsiteY10" fmla="*/ 57182 h 61946"/>
                <a:gd name="connsiteX11" fmla="*/ 0 w 76240"/>
                <a:gd name="connsiteY11" fmla="*/ 57182 h 61946"/>
                <a:gd name="connsiteX12" fmla="*/ 0 w 76240"/>
                <a:gd name="connsiteY12" fmla="*/ 52416 h 61946"/>
                <a:gd name="connsiteX13" fmla="*/ 4764 w 76240"/>
                <a:gd name="connsiteY13" fmla="*/ 47652 h 61946"/>
                <a:gd name="connsiteX14" fmla="*/ 38120 w 76240"/>
                <a:gd name="connsiteY14" fmla="*/ 0 h 61946"/>
                <a:gd name="connsiteX15" fmla="*/ 42884 w 76240"/>
                <a:gd name="connsiteY15" fmla="*/ 0 h 61946"/>
                <a:gd name="connsiteX16" fmla="*/ 52416 w 76240"/>
                <a:gd name="connsiteY16" fmla="*/ 0 h 61946"/>
                <a:gd name="connsiteX17" fmla="*/ 57180 w 76240"/>
                <a:gd name="connsiteY17" fmla="*/ 0 h 61946"/>
                <a:gd name="connsiteX18" fmla="*/ 61944 w 76240"/>
                <a:gd name="connsiteY18" fmla="*/ 4766 h 61946"/>
                <a:gd name="connsiteX19" fmla="*/ 66712 w 76240"/>
                <a:gd name="connsiteY19" fmla="*/ 4766 h 61946"/>
                <a:gd name="connsiteX20" fmla="*/ 66712 w 76240"/>
                <a:gd name="connsiteY20" fmla="*/ 9530 h 61946"/>
                <a:gd name="connsiteX21" fmla="*/ 66712 w 76240"/>
                <a:gd name="connsiteY21" fmla="*/ 19060 h 61946"/>
                <a:gd name="connsiteX22" fmla="*/ 71476 w 76240"/>
                <a:gd name="connsiteY22" fmla="*/ 19060 h 61946"/>
                <a:gd name="connsiteX23" fmla="*/ 76240 w 76240"/>
                <a:gd name="connsiteY23" fmla="*/ 28590 h 61946"/>
                <a:gd name="connsiteX24" fmla="*/ 66712 w 76240"/>
                <a:gd name="connsiteY24" fmla="*/ 28590 h 61946"/>
                <a:gd name="connsiteX25" fmla="*/ 66712 w 76240"/>
                <a:gd name="connsiteY25" fmla="*/ 38120 h 61946"/>
                <a:gd name="connsiteX26" fmla="*/ 66712 w 76240"/>
                <a:gd name="connsiteY26" fmla="*/ 42886 h 61946"/>
                <a:gd name="connsiteX27" fmla="*/ 42884 w 76240"/>
                <a:gd name="connsiteY27" fmla="*/ 33356 h 61946"/>
                <a:gd name="connsiteX28" fmla="*/ 28588 w 76240"/>
                <a:gd name="connsiteY28" fmla="*/ 28590 h 61946"/>
                <a:gd name="connsiteX29" fmla="*/ 14296 w 76240"/>
                <a:gd name="connsiteY29" fmla="*/ 33356 h 61946"/>
                <a:gd name="connsiteX30" fmla="*/ 9528 w 76240"/>
                <a:gd name="connsiteY30" fmla="*/ 28590 h 61946"/>
                <a:gd name="connsiteX31" fmla="*/ 4764 w 76240"/>
                <a:gd name="connsiteY31" fmla="*/ 23826 h 61946"/>
                <a:gd name="connsiteX32" fmla="*/ 23824 w 76240"/>
                <a:gd name="connsiteY32" fmla="*/ 14296 h 61946"/>
                <a:gd name="connsiteX33" fmla="*/ 23824 w 76240"/>
                <a:gd name="connsiteY33" fmla="*/ 9530 h 61946"/>
                <a:gd name="connsiteX34" fmla="*/ 33356 w 76240"/>
                <a:gd name="connsiteY34" fmla="*/ 4766 h 61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6240" h="61946">
                  <a:moveTo>
                    <a:pt x="42884" y="42886"/>
                  </a:moveTo>
                  <a:lnTo>
                    <a:pt x="52416" y="42886"/>
                  </a:lnTo>
                  <a:lnTo>
                    <a:pt x="61944" y="47652"/>
                  </a:lnTo>
                  <a:lnTo>
                    <a:pt x="61944" y="57182"/>
                  </a:lnTo>
                  <a:lnTo>
                    <a:pt x="57180" y="57182"/>
                  </a:lnTo>
                  <a:lnTo>
                    <a:pt x="57180" y="61946"/>
                  </a:lnTo>
                  <a:lnTo>
                    <a:pt x="42884" y="47652"/>
                  </a:lnTo>
                  <a:close/>
                  <a:moveTo>
                    <a:pt x="28592" y="38122"/>
                  </a:moveTo>
                  <a:lnTo>
                    <a:pt x="23824" y="47652"/>
                  </a:lnTo>
                  <a:lnTo>
                    <a:pt x="23824" y="57182"/>
                  </a:lnTo>
                  <a:lnTo>
                    <a:pt x="4764" y="57182"/>
                  </a:lnTo>
                  <a:lnTo>
                    <a:pt x="0" y="57182"/>
                  </a:lnTo>
                  <a:lnTo>
                    <a:pt x="0" y="52416"/>
                  </a:lnTo>
                  <a:lnTo>
                    <a:pt x="4764" y="47652"/>
                  </a:lnTo>
                  <a:close/>
                  <a:moveTo>
                    <a:pt x="38120" y="0"/>
                  </a:moveTo>
                  <a:lnTo>
                    <a:pt x="42884" y="0"/>
                  </a:lnTo>
                  <a:lnTo>
                    <a:pt x="52416" y="0"/>
                  </a:lnTo>
                  <a:lnTo>
                    <a:pt x="57180" y="0"/>
                  </a:lnTo>
                  <a:lnTo>
                    <a:pt x="61944" y="4766"/>
                  </a:lnTo>
                  <a:lnTo>
                    <a:pt x="66712" y="4766"/>
                  </a:lnTo>
                  <a:lnTo>
                    <a:pt x="66712" y="9530"/>
                  </a:lnTo>
                  <a:lnTo>
                    <a:pt x="66712" y="19060"/>
                  </a:lnTo>
                  <a:lnTo>
                    <a:pt x="71476" y="19060"/>
                  </a:lnTo>
                  <a:lnTo>
                    <a:pt x="76240" y="28590"/>
                  </a:lnTo>
                  <a:lnTo>
                    <a:pt x="66712" y="28590"/>
                  </a:lnTo>
                  <a:lnTo>
                    <a:pt x="66712" y="38120"/>
                  </a:lnTo>
                  <a:lnTo>
                    <a:pt x="66712" y="42886"/>
                  </a:lnTo>
                  <a:lnTo>
                    <a:pt x="42884" y="33356"/>
                  </a:lnTo>
                  <a:lnTo>
                    <a:pt x="28588" y="28590"/>
                  </a:lnTo>
                  <a:lnTo>
                    <a:pt x="14296" y="33356"/>
                  </a:lnTo>
                  <a:lnTo>
                    <a:pt x="9528" y="28590"/>
                  </a:lnTo>
                  <a:lnTo>
                    <a:pt x="4764" y="23826"/>
                  </a:lnTo>
                  <a:lnTo>
                    <a:pt x="23824" y="14296"/>
                  </a:lnTo>
                  <a:lnTo>
                    <a:pt x="23824" y="9530"/>
                  </a:lnTo>
                  <a:lnTo>
                    <a:pt x="33356" y="476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3" name="Freeform 4997">
              <a:extLst>
                <a:ext uri="{FF2B5EF4-FFF2-40B4-BE49-F238E27FC236}">
                  <a16:creationId xmlns:a16="http://schemas.microsoft.com/office/drawing/2014/main" id="{2E809543-AB2F-4C6B-BE98-DCB4655219DF}"/>
                </a:ext>
              </a:extLst>
            </p:cNvPr>
            <p:cNvSpPr/>
            <p:nvPr/>
          </p:nvSpPr>
          <p:spPr bwMode="auto">
            <a:xfrm>
              <a:off x="7149328" y="6993178"/>
              <a:ext cx="14647" cy="9251"/>
            </a:xfrm>
            <a:custGeom>
              <a:avLst/>
              <a:gdLst>
                <a:gd name="T0" fmla="*/ 30 w 38"/>
                <a:gd name="T1" fmla="*/ 18 h 24"/>
                <a:gd name="T2" fmla="*/ 36 w 38"/>
                <a:gd name="T3" fmla="*/ 18 h 24"/>
                <a:gd name="T4" fmla="*/ 38 w 38"/>
                <a:gd name="T5" fmla="*/ 16 h 24"/>
                <a:gd name="T6" fmla="*/ 32 w 38"/>
                <a:gd name="T7" fmla="*/ 12 h 24"/>
                <a:gd name="T8" fmla="*/ 22 w 38"/>
                <a:gd name="T9" fmla="*/ 6 h 24"/>
                <a:gd name="T10" fmla="*/ 10 w 38"/>
                <a:gd name="T11" fmla="*/ 4 h 24"/>
                <a:gd name="T12" fmla="*/ 4 w 38"/>
                <a:gd name="T13" fmla="*/ 0 h 24"/>
                <a:gd name="T14" fmla="*/ 0 w 38"/>
                <a:gd name="T15" fmla="*/ 0 h 24"/>
                <a:gd name="T16" fmla="*/ 0 w 38"/>
                <a:gd name="T17" fmla="*/ 2 h 24"/>
                <a:gd name="T18" fmla="*/ 2 w 38"/>
                <a:gd name="T19" fmla="*/ 6 h 24"/>
                <a:gd name="T20" fmla="*/ 6 w 38"/>
                <a:gd name="T21" fmla="*/ 6 h 24"/>
                <a:gd name="T22" fmla="*/ 10 w 38"/>
                <a:gd name="T23" fmla="*/ 20 h 24"/>
                <a:gd name="T24" fmla="*/ 14 w 38"/>
                <a:gd name="T25" fmla="*/ 24 h 24"/>
                <a:gd name="T26" fmla="*/ 22 w 38"/>
                <a:gd name="T27" fmla="*/ 24 h 24"/>
                <a:gd name="T28" fmla="*/ 30 w 38"/>
                <a:gd name="T29" fmla="*/ 1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" h="24">
                  <a:moveTo>
                    <a:pt x="30" y="18"/>
                  </a:moveTo>
                  <a:lnTo>
                    <a:pt x="36" y="18"/>
                  </a:lnTo>
                  <a:lnTo>
                    <a:pt x="38" y="16"/>
                  </a:lnTo>
                  <a:lnTo>
                    <a:pt x="32" y="12"/>
                  </a:lnTo>
                  <a:lnTo>
                    <a:pt x="22" y="6"/>
                  </a:lnTo>
                  <a:lnTo>
                    <a:pt x="10" y="4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6"/>
                  </a:lnTo>
                  <a:lnTo>
                    <a:pt x="6" y="6"/>
                  </a:lnTo>
                  <a:lnTo>
                    <a:pt x="10" y="20"/>
                  </a:lnTo>
                  <a:lnTo>
                    <a:pt x="14" y="24"/>
                  </a:lnTo>
                  <a:lnTo>
                    <a:pt x="22" y="24"/>
                  </a:lnTo>
                  <a:lnTo>
                    <a:pt x="30" y="1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4" name="Line 4998">
              <a:extLst>
                <a:ext uri="{FF2B5EF4-FFF2-40B4-BE49-F238E27FC236}">
                  <a16:creationId xmlns:a16="http://schemas.microsoft.com/office/drawing/2014/main" id="{F24219F2-0EF5-4150-8984-0A33F6B9D15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160891" y="7000115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5" name="Line 5000">
              <a:extLst>
                <a:ext uri="{FF2B5EF4-FFF2-40B4-BE49-F238E27FC236}">
                  <a16:creationId xmlns:a16="http://schemas.microsoft.com/office/drawing/2014/main" id="{2D2E11DB-6A81-41B8-9BFB-046096C3910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160891" y="7000115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6" name="Freeform 144">
              <a:extLst>
                <a:ext uri="{FF2B5EF4-FFF2-40B4-BE49-F238E27FC236}">
                  <a16:creationId xmlns:a16="http://schemas.microsoft.com/office/drawing/2014/main" id="{F09E8DA8-2282-4871-AABE-B1573E341C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0941" y="4986200"/>
              <a:ext cx="156103" cy="92505"/>
            </a:xfrm>
            <a:custGeom>
              <a:avLst/>
              <a:gdLst>
                <a:gd name="connsiteX0" fmla="*/ 526547 w 964939"/>
                <a:gd name="connsiteY0" fmla="*/ 81006 h 571814"/>
                <a:gd name="connsiteX1" fmla="*/ 555138 w 964939"/>
                <a:gd name="connsiteY1" fmla="*/ 85772 h 571814"/>
                <a:gd name="connsiteX2" fmla="*/ 602789 w 964939"/>
                <a:gd name="connsiteY2" fmla="*/ 100066 h 571814"/>
                <a:gd name="connsiteX3" fmla="*/ 650440 w 964939"/>
                <a:gd name="connsiteY3" fmla="*/ 100066 h 571814"/>
                <a:gd name="connsiteX4" fmla="*/ 669501 w 964939"/>
                <a:gd name="connsiteY4" fmla="*/ 90536 h 571814"/>
                <a:gd name="connsiteX5" fmla="*/ 683796 w 964939"/>
                <a:gd name="connsiteY5" fmla="*/ 85772 h 571814"/>
                <a:gd name="connsiteX6" fmla="*/ 731448 w 964939"/>
                <a:gd name="connsiteY6" fmla="*/ 104832 h 571814"/>
                <a:gd name="connsiteX7" fmla="*/ 745743 w 964939"/>
                <a:gd name="connsiteY7" fmla="*/ 119128 h 571814"/>
                <a:gd name="connsiteX8" fmla="*/ 760038 w 964939"/>
                <a:gd name="connsiteY8" fmla="*/ 119128 h 571814"/>
                <a:gd name="connsiteX9" fmla="*/ 764803 w 964939"/>
                <a:gd name="connsiteY9" fmla="*/ 114362 h 571814"/>
                <a:gd name="connsiteX10" fmla="*/ 769569 w 964939"/>
                <a:gd name="connsiteY10" fmla="*/ 114362 h 571814"/>
                <a:gd name="connsiteX11" fmla="*/ 760038 w 964939"/>
                <a:gd name="connsiteY11" fmla="*/ 109596 h 571814"/>
                <a:gd name="connsiteX12" fmla="*/ 755273 w 964939"/>
                <a:gd name="connsiteY12" fmla="*/ 104832 h 571814"/>
                <a:gd name="connsiteX13" fmla="*/ 793394 w 964939"/>
                <a:gd name="connsiteY13" fmla="*/ 114362 h 571814"/>
                <a:gd name="connsiteX14" fmla="*/ 869636 w 964939"/>
                <a:gd name="connsiteY14" fmla="*/ 176308 h 571814"/>
                <a:gd name="connsiteX15" fmla="*/ 869636 w 964939"/>
                <a:gd name="connsiteY15" fmla="*/ 181074 h 571814"/>
                <a:gd name="connsiteX16" fmla="*/ 841046 w 964939"/>
                <a:gd name="connsiteY16" fmla="*/ 162014 h 571814"/>
                <a:gd name="connsiteX17" fmla="*/ 821985 w 964939"/>
                <a:gd name="connsiteY17" fmla="*/ 162014 h 571814"/>
                <a:gd name="connsiteX18" fmla="*/ 817220 w 964939"/>
                <a:gd name="connsiteY18" fmla="*/ 166778 h 571814"/>
                <a:gd name="connsiteX19" fmla="*/ 817220 w 964939"/>
                <a:gd name="connsiteY19" fmla="*/ 176308 h 571814"/>
                <a:gd name="connsiteX20" fmla="*/ 821985 w 964939"/>
                <a:gd name="connsiteY20" fmla="*/ 181074 h 571814"/>
                <a:gd name="connsiteX21" fmla="*/ 826750 w 964939"/>
                <a:gd name="connsiteY21" fmla="*/ 181074 h 571814"/>
                <a:gd name="connsiteX22" fmla="*/ 831515 w 964939"/>
                <a:gd name="connsiteY22" fmla="*/ 181074 h 571814"/>
                <a:gd name="connsiteX23" fmla="*/ 845811 w 964939"/>
                <a:gd name="connsiteY23" fmla="*/ 181074 h 571814"/>
                <a:gd name="connsiteX24" fmla="*/ 855341 w 964939"/>
                <a:gd name="connsiteY24" fmla="*/ 190604 h 571814"/>
                <a:gd name="connsiteX25" fmla="*/ 864871 w 964939"/>
                <a:gd name="connsiteY25" fmla="*/ 200134 h 571814"/>
                <a:gd name="connsiteX26" fmla="*/ 869636 w 964939"/>
                <a:gd name="connsiteY26" fmla="*/ 209664 h 571814"/>
                <a:gd name="connsiteX27" fmla="*/ 879167 w 964939"/>
                <a:gd name="connsiteY27" fmla="*/ 209664 h 571814"/>
                <a:gd name="connsiteX28" fmla="*/ 883932 w 964939"/>
                <a:gd name="connsiteY28" fmla="*/ 204900 h 571814"/>
                <a:gd name="connsiteX29" fmla="*/ 898227 w 964939"/>
                <a:gd name="connsiteY29" fmla="*/ 204900 h 571814"/>
                <a:gd name="connsiteX30" fmla="*/ 907757 w 964939"/>
                <a:gd name="connsiteY30" fmla="*/ 209664 h 571814"/>
                <a:gd name="connsiteX31" fmla="*/ 912523 w 964939"/>
                <a:gd name="connsiteY31" fmla="*/ 209664 h 571814"/>
                <a:gd name="connsiteX32" fmla="*/ 902992 w 964939"/>
                <a:gd name="connsiteY32" fmla="*/ 200134 h 571814"/>
                <a:gd name="connsiteX33" fmla="*/ 883932 w 964939"/>
                <a:gd name="connsiteY33" fmla="*/ 185838 h 571814"/>
                <a:gd name="connsiteX34" fmla="*/ 888697 w 964939"/>
                <a:gd name="connsiteY34" fmla="*/ 185838 h 571814"/>
                <a:gd name="connsiteX35" fmla="*/ 931583 w 964939"/>
                <a:gd name="connsiteY35" fmla="*/ 209664 h 571814"/>
                <a:gd name="connsiteX36" fmla="*/ 945879 w 964939"/>
                <a:gd name="connsiteY36" fmla="*/ 233490 h 571814"/>
                <a:gd name="connsiteX37" fmla="*/ 955409 w 964939"/>
                <a:gd name="connsiteY37" fmla="*/ 238256 h 571814"/>
                <a:gd name="connsiteX38" fmla="*/ 964939 w 964939"/>
                <a:gd name="connsiteY38" fmla="*/ 247786 h 571814"/>
                <a:gd name="connsiteX39" fmla="*/ 926818 w 964939"/>
                <a:gd name="connsiteY39" fmla="*/ 247786 h 571814"/>
                <a:gd name="connsiteX40" fmla="*/ 907757 w 964939"/>
                <a:gd name="connsiteY40" fmla="*/ 252550 h 571814"/>
                <a:gd name="connsiteX41" fmla="*/ 898227 w 964939"/>
                <a:gd name="connsiteY41" fmla="*/ 262080 h 571814"/>
                <a:gd name="connsiteX42" fmla="*/ 893462 w 964939"/>
                <a:gd name="connsiteY42" fmla="*/ 266846 h 571814"/>
                <a:gd name="connsiteX43" fmla="*/ 883932 w 964939"/>
                <a:gd name="connsiteY43" fmla="*/ 266846 h 571814"/>
                <a:gd name="connsiteX44" fmla="*/ 874401 w 964939"/>
                <a:gd name="connsiteY44" fmla="*/ 271612 h 571814"/>
                <a:gd name="connsiteX45" fmla="*/ 855341 w 964939"/>
                <a:gd name="connsiteY45" fmla="*/ 281142 h 571814"/>
                <a:gd name="connsiteX46" fmla="*/ 841046 w 964939"/>
                <a:gd name="connsiteY46" fmla="*/ 285906 h 571814"/>
                <a:gd name="connsiteX47" fmla="*/ 826750 w 964939"/>
                <a:gd name="connsiteY47" fmla="*/ 281142 h 571814"/>
                <a:gd name="connsiteX48" fmla="*/ 821985 w 964939"/>
                <a:gd name="connsiteY48" fmla="*/ 285906 h 571814"/>
                <a:gd name="connsiteX49" fmla="*/ 817220 w 964939"/>
                <a:gd name="connsiteY49" fmla="*/ 285906 h 571814"/>
                <a:gd name="connsiteX50" fmla="*/ 817220 w 964939"/>
                <a:gd name="connsiteY50" fmla="*/ 290672 h 571814"/>
                <a:gd name="connsiteX51" fmla="*/ 812455 w 964939"/>
                <a:gd name="connsiteY51" fmla="*/ 290672 h 571814"/>
                <a:gd name="connsiteX52" fmla="*/ 802925 w 964939"/>
                <a:gd name="connsiteY52" fmla="*/ 290672 h 571814"/>
                <a:gd name="connsiteX53" fmla="*/ 798159 w 964939"/>
                <a:gd name="connsiteY53" fmla="*/ 285906 h 571814"/>
                <a:gd name="connsiteX54" fmla="*/ 793394 w 964939"/>
                <a:gd name="connsiteY54" fmla="*/ 290672 h 571814"/>
                <a:gd name="connsiteX55" fmla="*/ 793394 w 964939"/>
                <a:gd name="connsiteY55" fmla="*/ 295436 h 571814"/>
                <a:gd name="connsiteX56" fmla="*/ 788629 w 964939"/>
                <a:gd name="connsiteY56" fmla="*/ 295436 h 571814"/>
                <a:gd name="connsiteX57" fmla="*/ 783864 w 964939"/>
                <a:gd name="connsiteY57" fmla="*/ 295436 h 571814"/>
                <a:gd name="connsiteX58" fmla="*/ 774334 w 964939"/>
                <a:gd name="connsiteY58" fmla="*/ 295436 h 571814"/>
                <a:gd name="connsiteX59" fmla="*/ 764803 w 964939"/>
                <a:gd name="connsiteY59" fmla="*/ 304966 h 571814"/>
                <a:gd name="connsiteX60" fmla="*/ 750508 w 964939"/>
                <a:gd name="connsiteY60" fmla="*/ 304966 h 571814"/>
                <a:gd name="connsiteX61" fmla="*/ 731448 w 964939"/>
                <a:gd name="connsiteY61" fmla="*/ 300202 h 571814"/>
                <a:gd name="connsiteX62" fmla="*/ 721917 w 964939"/>
                <a:gd name="connsiteY62" fmla="*/ 295436 h 571814"/>
                <a:gd name="connsiteX63" fmla="*/ 712387 w 964939"/>
                <a:gd name="connsiteY63" fmla="*/ 281142 h 571814"/>
                <a:gd name="connsiteX64" fmla="*/ 702857 w 964939"/>
                <a:gd name="connsiteY64" fmla="*/ 276376 h 571814"/>
                <a:gd name="connsiteX65" fmla="*/ 679031 w 964939"/>
                <a:gd name="connsiteY65" fmla="*/ 285906 h 571814"/>
                <a:gd name="connsiteX66" fmla="*/ 674266 w 964939"/>
                <a:gd name="connsiteY66" fmla="*/ 300202 h 571814"/>
                <a:gd name="connsiteX67" fmla="*/ 669501 w 964939"/>
                <a:gd name="connsiteY67" fmla="*/ 304966 h 571814"/>
                <a:gd name="connsiteX68" fmla="*/ 674266 w 964939"/>
                <a:gd name="connsiteY68" fmla="*/ 309732 h 571814"/>
                <a:gd name="connsiteX69" fmla="*/ 669501 w 964939"/>
                <a:gd name="connsiteY69" fmla="*/ 314498 h 571814"/>
                <a:gd name="connsiteX70" fmla="*/ 659971 w 964939"/>
                <a:gd name="connsiteY70" fmla="*/ 314498 h 571814"/>
                <a:gd name="connsiteX71" fmla="*/ 655205 w 964939"/>
                <a:gd name="connsiteY71" fmla="*/ 324028 h 571814"/>
                <a:gd name="connsiteX72" fmla="*/ 650440 w 964939"/>
                <a:gd name="connsiteY72" fmla="*/ 338322 h 571814"/>
                <a:gd name="connsiteX73" fmla="*/ 645675 w 964939"/>
                <a:gd name="connsiteY73" fmla="*/ 347854 h 571814"/>
                <a:gd name="connsiteX74" fmla="*/ 650440 w 964939"/>
                <a:gd name="connsiteY74" fmla="*/ 352618 h 571814"/>
                <a:gd name="connsiteX75" fmla="*/ 645675 w 964939"/>
                <a:gd name="connsiteY75" fmla="*/ 357384 h 571814"/>
                <a:gd name="connsiteX76" fmla="*/ 636145 w 964939"/>
                <a:gd name="connsiteY76" fmla="*/ 362148 h 571814"/>
                <a:gd name="connsiteX77" fmla="*/ 621850 w 964939"/>
                <a:gd name="connsiteY77" fmla="*/ 371678 h 571814"/>
                <a:gd name="connsiteX78" fmla="*/ 602789 w 964939"/>
                <a:gd name="connsiteY78" fmla="*/ 390740 h 571814"/>
                <a:gd name="connsiteX79" fmla="*/ 588494 w 964939"/>
                <a:gd name="connsiteY79" fmla="*/ 405034 h 571814"/>
                <a:gd name="connsiteX80" fmla="*/ 574198 w 964939"/>
                <a:gd name="connsiteY80" fmla="*/ 409800 h 571814"/>
                <a:gd name="connsiteX81" fmla="*/ 564668 w 964939"/>
                <a:gd name="connsiteY81" fmla="*/ 419330 h 571814"/>
                <a:gd name="connsiteX82" fmla="*/ 564668 w 964939"/>
                <a:gd name="connsiteY82" fmla="*/ 428860 h 571814"/>
                <a:gd name="connsiteX83" fmla="*/ 564668 w 964939"/>
                <a:gd name="connsiteY83" fmla="*/ 433626 h 571814"/>
                <a:gd name="connsiteX84" fmla="*/ 555138 w 964939"/>
                <a:gd name="connsiteY84" fmla="*/ 433626 h 571814"/>
                <a:gd name="connsiteX85" fmla="*/ 526547 w 964939"/>
                <a:gd name="connsiteY85" fmla="*/ 414564 h 571814"/>
                <a:gd name="connsiteX86" fmla="*/ 517017 w 964939"/>
                <a:gd name="connsiteY86" fmla="*/ 400270 h 571814"/>
                <a:gd name="connsiteX87" fmla="*/ 507486 w 964939"/>
                <a:gd name="connsiteY87" fmla="*/ 405034 h 571814"/>
                <a:gd name="connsiteX88" fmla="*/ 500339 w 964939"/>
                <a:gd name="connsiteY88" fmla="*/ 409800 h 571814"/>
                <a:gd name="connsiteX89" fmla="*/ 486043 w 964939"/>
                <a:gd name="connsiteY89" fmla="*/ 424096 h 571814"/>
                <a:gd name="connsiteX90" fmla="*/ 471748 w 964939"/>
                <a:gd name="connsiteY90" fmla="*/ 447920 h 571814"/>
                <a:gd name="connsiteX91" fmla="*/ 466983 w 964939"/>
                <a:gd name="connsiteY91" fmla="*/ 447920 h 571814"/>
                <a:gd name="connsiteX92" fmla="*/ 428862 w 964939"/>
                <a:gd name="connsiteY92" fmla="*/ 443156 h 571814"/>
                <a:gd name="connsiteX93" fmla="*/ 409801 w 964939"/>
                <a:gd name="connsiteY93" fmla="*/ 447920 h 571814"/>
                <a:gd name="connsiteX94" fmla="*/ 405036 w 964939"/>
                <a:gd name="connsiteY94" fmla="*/ 447920 h 571814"/>
                <a:gd name="connsiteX95" fmla="*/ 405036 w 964939"/>
                <a:gd name="connsiteY95" fmla="*/ 457450 h 571814"/>
                <a:gd name="connsiteX96" fmla="*/ 405036 w 964939"/>
                <a:gd name="connsiteY96" fmla="*/ 466982 h 571814"/>
                <a:gd name="connsiteX97" fmla="*/ 409801 w 964939"/>
                <a:gd name="connsiteY97" fmla="*/ 505102 h 571814"/>
                <a:gd name="connsiteX98" fmla="*/ 414566 w 964939"/>
                <a:gd name="connsiteY98" fmla="*/ 519398 h 571814"/>
                <a:gd name="connsiteX99" fmla="*/ 409801 w 964939"/>
                <a:gd name="connsiteY99" fmla="*/ 524162 h 571814"/>
                <a:gd name="connsiteX100" fmla="*/ 400271 w 964939"/>
                <a:gd name="connsiteY100" fmla="*/ 524162 h 571814"/>
                <a:gd name="connsiteX101" fmla="*/ 385976 w 964939"/>
                <a:gd name="connsiteY101" fmla="*/ 528928 h 571814"/>
                <a:gd name="connsiteX102" fmla="*/ 381210 w 964939"/>
                <a:gd name="connsiteY102" fmla="*/ 533692 h 571814"/>
                <a:gd name="connsiteX103" fmla="*/ 381210 w 964939"/>
                <a:gd name="connsiteY103" fmla="*/ 538458 h 571814"/>
                <a:gd name="connsiteX104" fmla="*/ 381210 w 964939"/>
                <a:gd name="connsiteY104" fmla="*/ 547988 h 571814"/>
                <a:gd name="connsiteX105" fmla="*/ 376445 w 964939"/>
                <a:gd name="connsiteY105" fmla="*/ 562284 h 571814"/>
                <a:gd name="connsiteX106" fmla="*/ 366915 w 964939"/>
                <a:gd name="connsiteY106" fmla="*/ 567048 h 571814"/>
                <a:gd name="connsiteX107" fmla="*/ 357385 w 964939"/>
                <a:gd name="connsiteY107" fmla="*/ 571814 h 571814"/>
                <a:gd name="connsiteX108" fmla="*/ 314499 w 964939"/>
                <a:gd name="connsiteY108" fmla="*/ 571814 h 571814"/>
                <a:gd name="connsiteX109" fmla="*/ 314499 w 964939"/>
                <a:gd name="connsiteY109" fmla="*/ 557518 h 571814"/>
                <a:gd name="connsiteX110" fmla="*/ 304968 w 964939"/>
                <a:gd name="connsiteY110" fmla="*/ 547988 h 571814"/>
                <a:gd name="connsiteX111" fmla="*/ 295438 w 964939"/>
                <a:gd name="connsiteY111" fmla="*/ 533692 h 571814"/>
                <a:gd name="connsiteX112" fmla="*/ 290673 w 964939"/>
                <a:gd name="connsiteY112" fmla="*/ 524162 h 571814"/>
                <a:gd name="connsiteX113" fmla="*/ 290673 w 964939"/>
                <a:gd name="connsiteY113" fmla="*/ 519398 h 571814"/>
                <a:gd name="connsiteX114" fmla="*/ 290673 w 964939"/>
                <a:gd name="connsiteY114" fmla="*/ 514632 h 571814"/>
                <a:gd name="connsiteX115" fmla="*/ 276378 w 964939"/>
                <a:gd name="connsiteY115" fmla="*/ 505102 h 571814"/>
                <a:gd name="connsiteX116" fmla="*/ 257317 w 964939"/>
                <a:gd name="connsiteY116" fmla="*/ 509868 h 571814"/>
                <a:gd name="connsiteX117" fmla="*/ 247787 w 964939"/>
                <a:gd name="connsiteY117" fmla="*/ 509868 h 571814"/>
                <a:gd name="connsiteX118" fmla="*/ 243022 w 964939"/>
                <a:gd name="connsiteY118" fmla="*/ 505102 h 571814"/>
                <a:gd name="connsiteX119" fmla="*/ 252552 w 964939"/>
                <a:gd name="connsiteY119" fmla="*/ 495572 h 571814"/>
                <a:gd name="connsiteX120" fmla="*/ 252552 w 964939"/>
                <a:gd name="connsiteY120" fmla="*/ 490806 h 571814"/>
                <a:gd name="connsiteX121" fmla="*/ 247787 w 964939"/>
                <a:gd name="connsiteY121" fmla="*/ 486042 h 571814"/>
                <a:gd name="connsiteX122" fmla="*/ 247787 w 964939"/>
                <a:gd name="connsiteY122" fmla="*/ 476512 h 571814"/>
                <a:gd name="connsiteX123" fmla="*/ 247787 w 964939"/>
                <a:gd name="connsiteY123" fmla="*/ 466982 h 571814"/>
                <a:gd name="connsiteX124" fmla="*/ 257317 w 964939"/>
                <a:gd name="connsiteY124" fmla="*/ 438390 h 571814"/>
                <a:gd name="connsiteX125" fmla="*/ 252552 w 964939"/>
                <a:gd name="connsiteY125" fmla="*/ 433626 h 571814"/>
                <a:gd name="connsiteX126" fmla="*/ 243022 w 964939"/>
                <a:gd name="connsiteY126" fmla="*/ 424096 h 571814"/>
                <a:gd name="connsiteX127" fmla="*/ 228726 w 964939"/>
                <a:gd name="connsiteY127" fmla="*/ 424096 h 571814"/>
                <a:gd name="connsiteX128" fmla="*/ 214431 w 964939"/>
                <a:gd name="connsiteY128" fmla="*/ 428860 h 571814"/>
                <a:gd name="connsiteX129" fmla="*/ 204901 w 964939"/>
                <a:gd name="connsiteY129" fmla="*/ 424096 h 571814"/>
                <a:gd name="connsiteX130" fmla="*/ 200135 w 964939"/>
                <a:gd name="connsiteY130" fmla="*/ 414564 h 571814"/>
                <a:gd name="connsiteX131" fmla="*/ 190605 w 964939"/>
                <a:gd name="connsiteY131" fmla="*/ 409800 h 571814"/>
                <a:gd name="connsiteX132" fmla="*/ 166780 w 964939"/>
                <a:gd name="connsiteY132" fmla="*/ 419330 h 571814"/>
                <a:gd name="connsiteX133" fmla="*/ 147719 w 964939"/>
                <a:gd name="connsiteY133" fmla="*/ 428860 h 571814"/>
                <a:gd name="connsiteX134" fmla="*/ 142954 w 964939"/>
                <a:gd name="connsiteY134" fmla="*/ 433626 h 571814"/>
                <a:gd name="connsiteX135" fmla="*/ 138189 w 964939"/>
                <a:gd name="connsiteY135" fmla="*/ 433626 h 571814"/>
                <a:gd name="connsiteX136" fmla="*/ 133424 w 964939"/>
                <a:gd name="connsiteY136" fmla="*/ 424096 h 571814"/>
                <a:gd name="connsiteX137" fmla="*/ 133424 w 964939"/>
                <a:gd name="connsiteY137" fmla="*/ 414564 h 571814"/>
                <a:gd name="connsiteX138" fmla="*/ 133424 w 964939"/>
                <a:gd name="connsiteY138" fmla="*/ 409800 h 571814"/>
                <a:gd name="connsiteX139" fmla="*/ 119128 w 964939"/>
                <a:gd name="connsiteY139" fmla="*/ 409800 h 571814"/>
                <a:gd name="connsiteX140" fmla="*/ 109598 w 964939"/>
                <a:gd name="connsiteY140" fmla="*/ 405034 h 571814"/>
                <a:gd name="connsiteX141" fmla="*/ 100068 w 964939"/>
                <a:gd name="connsiteY141" fmla="*/ 405034 h 571814"/>
                <a:gd name="connsiteX142" fmla="*/ 95303 w 964939"/>
                <a:gd name="connsiteY142" fmla="*/ 395504 h 571814"/>
                <a:gd name="connsiteX143" fmla="*/ 81007 w 964939"/>
                <a:gd name="connsiteY143" fmla="*/ 390740 h 571814"/>
                <a:gd name="connsiteX144" fmla="*/ 76242 w 964939"/>
                <a:gd name="connsiteY144" fmla="*/ 381208 h 571814"/>
                <a:gd name="connsiteX145" fmla="*/ 57182 w 964939"/>
                <a:gd name="connsiteY145" fmla="*/ 366914 h 571814"/>
                <a:gd name="connsiteX146" fmla="*/ 52416 w 964939"/>
                <a:gd name="connsiteY146" fmla="*/ 362148 h 571814"/>
                <a:gd name="connsiteX147" fmla="*/ 47651 w 964939"/>
                <a:gd name="connsiteY147" fmla="*/ 357384 h 571814"/>
                <a:gd name="connsiteX148" fmla="*/ 38121 w 964939"/>
                <a:gd name="connsiteY148" fmla="*/ 347854 h 571814"/>
                <a:gd name="connsiteX149" fmla="*/ 28591 w 964939"/>
                <a:gd name="connsiteY149" fmla="*/ 352618 h 571814"/>
                <a:gd name="connsiteX150" fmla="*/ 4765 w 964939"/>
                <a:gd name="connsiteY150" fmla="*/ 343088 h 571814"/>
                <a:gd name="connsiteX151" fmla="*/ 0 w 964939"/>
                <a:gd name="connsiteY151" fmla="*/ 343088 h 571814"/>
                <a:gd name="connsiteX152" fmla="*/ 4765 w 964939"/>
                <a:gd name="connsiteY152" fmla="*/ 333558 h 571814"/>
                <a:gd name="connsiteX153" fmla="*/ 9530 w 964939"/>
                <a:gd name="connsiteY153" fmla="*/ 324028 h 571814"/>
                <a:gd name="connsiteX154" fmla="*/ 28591 w 964939"/>
                <a:gd name="connsiteY154" fmla="*/ 309732 h 571814"/>
                <a:gd name="connsiteX155" fmla="*/ 28591 w 964939"/>
                <a:gd name="connsiteY155" fmla="*/ 300202 h 571814"/>
                <a:gd name="connsiteX156" fmla="*/ 23826 w 964939"/>
                <a:gd name="connsiteY156" fmla="*/ 281142 h 571814"/>
                <a:gd name="connsiteX157" fmla="*/ 23826 w 964939"/>
                <a:gd name="connsiteY157" fmla="*/ 266846 h 571814"/>
                <a:gd name="connsiteX158" fmla="*/ 23826 w 964939"/>
                <a:gd name="connsiteY158" fmla="*/ 262080 h 571814"/>
                <a:gd name="connsiteX159" fmla="*/ 28591 w 964939"/>
                <a:gd name="connsiteY159" fmla="*/ 238256 h 571814"/>
                <a:gd name="connsiteX160" fmla="*/ 33356 w 964939"/>
                <a:gd name="connsiteY160" fmla="*/ 233490 h 571814"/>
                <a:gd name="connsiteX161" fmla="*/ 61947 w 964939"/>
                <a:gd name="connsiteY161" fmla="*/ 223960 h 571814"/>
                <a:gd name="connsiteX162" fmla="*/ 81007 w 964939"/>
                <a:gd name="connsiteY162" fmla="*/ 204900 h 571814"/>
                <a:gd name="connsiteX163" fmla="*/ 104833 w 964939"/>
                <a:gd name="connsiteY163" fmla="*/ 190604 h 571814"/>
                <a:gd name="connsiteX164" fmla="*/ 128659 w 964939"/>
                <a:gd name="connsiteY164" fmla="*/ 171544 h 571814"/>
                <a:gd name="connsiteX165" fmla="*/ 157249 w 964939"/>
                <a:gd name="connsiteY165" fmla="*/ 147718 h 571814"/>
                <a:gd name="connsiteX166" fmla="*/ 171545 w 964939"/>
                <a:gd name="connsiteY166" fmla="*/ 133422 h 571814"/>
                <a:gd name="connsiteX167" fmla="*/ 176310 w 964939"/>
                <a:gd name="connsiteY167" fmla="*/ 128658 h 571814"/>
                <a:gd name="connsiteX168" fmla="*/ 190605 w 964939"/>
                <a:gd name="connsiteY168" fmla="*/ 133422 h 571814"/>
                <a:gd name="connsiteX169" fmla="*/ 204901 w 964939"/>
                <a:gd name="connsiteY169" fmla="*/ 123892 h 571814"/>
                <a:gd name="connsiteX170" fmla="*/ 209666 w 964939"/>
                <a:gd name="connsiteY170" fmla="*/ 119128 h 571814"/>
                <a:gd name="connsiteX171" fmla="*/ 228726 w 964939"/>
                <a:gd name="connsiteY171" fmla="*/ 104832 h 571814"/>
                <a:gd name="connsiteX172" fmla="*/ 233491 w 964939"/>
                <a:gd name="connsiteY172" fmla="*/ 104832 h 571814"/>
                <a:gd name="connsiteX173" fmla="*/ 257317 w 964939"/>
                <a:gd name="connsiteY173" fmla="*/ 100066 h 571814"/>
                <a:gd name="connsiteX174" fmla="*/ 271612 w 964939"/>
                <a:gd name="connsiteY174" fmla="*/ 100066 h 571814"/>
                <a:gd name="connsiteX175" fmla="*/ 281143 w 964939"/>
                <a:gd name="connsiteY175" fmla="*/ 114362 h 571814"/>
                <a:gd name="connsiteX176" fmla="*/ 290673 w 964939"/>
                <a:gd name="connsiteY176" fmla="*/ 119128 h 571814"/>
                <a:gd name="connsiteX177" fmla="*/ 309733 w 964939"/>
                <a:gd name="connsiteY177" fmla="*/ 114362 h 571814"/>
                <a:gd name="connsiteX178" fmla="*/ 324029 w 964939"/>
                <a:gd name="connsiteY178" fmla="*/ 114362 h 571814"/>
                <a:gd name="connsiteX179" fmla="*/ 381210 w 964939"/>
                <a:gd name="connsiteY179" fmla="*/ 123892 h 571814"/>
                <a:gd name="connsiteX180" fmla="*/ 405036 w 964939"/>
                <a:gd name="connsiteY180" fmla="*/ 119128 h 571814"/>
                <a:gd name="connsiteX181" fmla="*/ 447922 w 964939"/>
                <a:gd name="connsiteY181" fmla="*/ 119128 h 571814"/>
                <a:gd name="connsiteX182" fmla="*/ 466983 w 964939"/>
                <a:gd name="connsiteY182" fmla="*/ 119128 h 571814"/>
                <a:gd name="connsiteX183" fmla="*/ 495574 w 964939"/>
                <a:gd name="connsiteY183" fmla="*/ 104832 h 571814"/>
                <a:gd name="connsiteX184" fmla="*/ 512252 w 964939"/>
                <a:gd name="connsiteY184" fmla="*/ 100066 h 571814"/>
                <a:gd name="connsiteX185" fmla="*/ 531312 w 964939"/>
                <a:gd name="connsiteY185" fmla="*/ 95302 h 571814"/>
                <a:gd name="connsiteX186" fmla="*/ 531312 w 964939"/>
                <a:gd name="connsiteY186" fmla="*/ 85772 h 571814"/>
                <a:gd name="connsiteX187" fmla="*/ 471749 w 964939"/>
                <a:gd name="connsiteY187" fmla="*/ 14294 h 571814"/>
                <a:gd name="connsiteX188" fmla="*/ 486044 w 964939"/>
                <a:gd name="connsiteY188" fmla="*/ 14294 h 571814"/>
                <a:gd name="connsiteX189" fmla="*/ 457453 w 964939"/>
                <a:gd name="connsiteY189" fmla="*/ 23824 h 571814"/>
                <a:gd name="connsiteX190" fmla="*/ 433627 w 964939"/>
                <a:gd name="connsiteY190" fmla="*/ 38120 h 571814"/>
                <a:gd name="connsiteX191" fmla="*/ 424097 w 964939"/>
                <a:gd name="connsiteY191" fmla="*/ 38120 h 571814"/>
                <a:gd name="connsiteX192" fmla="*/ 438392 w 964939"/>
                <a:gd name="connsiteY192" fmla="*/ 23824 h 571814"/>
                <a:gd name="connsiteX193" fmla="*/ 457453 w 964939"/>
                <a:gd name="connsiteY193" fmla="*/ 19060 h 571814"/>
                <a:gd name="connsiteX194" fmla="*/ 540844 w 964939"/>
                <a:gd name="connsiteY194" fmla="*/ 0 h 571814"/>
                <a:gd name="connsiteX195" fmla="*/ 550374 w 964939"/>
                <a:gd name="connsiteY195" fmla="*/ 0 h 571814"/>
                <a:gd name="connsiteX196" fmla="*/ 545609 w 964939"/>
                <a:gd name="connsiteY196" fmla="*/ 4764 h 571814"/>
                <a:gd name="connsiteX197" fmla="*/ 540844 w 964939"/>
                <a:gd name="connsiteY197" fmla="*/ 9530 h 571814"/>
                <a:gd name="connsiteX198" fmla="*/ 531313 w 964939"/>
                <a:gd name="connsiteY198" fmla="*/ 19060 h 571814"/>
                <a:gd name="connsiteX199" fmla="*/ 526548 w 964939"/>
                <a:gd name="connsiteY199" fmla="*/ 14294 h 571814"/>
                <a:gd name="connsiteX200" fmla="*/ 536078 w 964939"/>
                <a:gd name="connsiteY200" fmla="*/ 4764 h 571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</a:cxnLst>
              <a:rect l="l" t="t" r="r" b="b"/>
              <a:pathLst>
                <a:path w="964939" h="571814">
                  <a:moveTo>
                    <a:pt x="526547" y="81006"/>
                  </a:moveTo>
                  <a:lnTo>
                    <a:pt x="555138" y="85772"/>
                  </a:lnTo>
                  <a:lnTo>
                    <a:pt x="602789" y="100066"/>
                  </a:lnTo>
                  <a:lnTo>
                    <a:pt x="650440" y="100066"/>
                  </a:lnTo>
                  <a:lnTo>
                    <a:pt x="669501" y="90536"/>
                  </a:lnTo>
                  <a:lnTo>
                    <a:pt x="683796" y="85772"/>
                  </a:lnTo>
                  <a:lnTo>
                    <a:pt x="731448" y="104832"/>
                  </a:lnTo>
                  <a:lnTo>
                    <a:pt x="745743" y="119128"/>
                  </a:lnTo>
                  <a:lnTo>
                    <a:pt x="760038" y="119128"/>
                  </a:lnTo>
                  <a:lnTo>
                    <a:pt x="764803" y="114362"/>
                  </a:lnTo>
                  <a:lnTo>
                    <a:pt x="769569" y="114362"/>
                  </a:lnTo>
                  <a:lnTo>
                    <a:pt x="760038" y="109596"/>
                  </a:lnTo>
                  <a:lnTo>
                    <a:pt x="755273" y="104832"/>
                  </a:lnTo>
                  <a:lnTo>
                    <a:pt x="793394" y="114362"/>
                  </a:lnTo>
                  <a:lnTo>
                    <a:pt x="869636" y="176308"/>
                  </a:lnTo>
                  <a:lnTo>
                    <a:pt x="869636" y="181074"/>
                  </a:lnTo>
                  <a:lnTo>
                    <a:pt x="841046" y="162014"/>
                  </a:lnTo>
                  <a:lnTo>
                    <a:pt x="821985" y="162014"/>
                  </a:lnTo>
                  <a:lnTo>
                    <a:pt x="817220" y="166778"/>
                  </a:lnTo>
                  <a:lnTo>
                    <a:pt x="817220" y="176308"/>
                  </a:lnTo>
                  <a:lnTo>
                    <a:pt x="821985" y="181074"/>
                  </a:lnTo>
                  <a:lnTo>
                    <a:pt x="826750" y="181074"/>
                  </a:lnTo>
                  <a:lnTo>
                    <a:pt x="831515" y="181074"/>
                  </a:lnTo>
                  <a:lnTo>
                    <a:pt x="845811" y="181074"/>
                  </a:lnTo>
                  <a:lnTo>
                    <a:pt x="855341" y="190604"/>
                  </a:lnTo>
                  <a:lnTo>
                    <a:pt x="864871" y="200134"/>
                  </a:lnTo>
                  <a:lnTo>
                    <a:pt x="869636" y="209664"/>
                  </a:lnTo>
                  <a:lnTo>
                    <a:pt x="879167" y="209664"/>
                  </a:lnTo>
                  <a:lnTo>
                    <a:pt x="883932" y="204900"/>
                  </a:lnTo>
                  <a:lnTo>
                    <a:pt x="898227" y="204900"/>
                  </a:lnTo>
                  <a:lnTo>
                    <a:pt x="907757" y="209664"/>
                  </a:lnTo>
                  <a:lnTo>
                    <a:pt x="912523" y="209664"/>
                  </a:lnTo>
                  <a:lnTo>
                    <a:pt x="902992" y="200134"/>
                  </a:lnTo>
                  <a:lnTo>
                    <a:pt x="883932" y="185838"/>
                  </a:lnTo>
                  <a:lnTo>
                    <a:pt x="888697" y="185838"/>
                  </a:lnTo>
                  <a:lnTo>
                    <a:pt x="931583" y="209664"/>
                  </a:lnTo>
                  <a:lnTo>
                    <a:pt x="945879" y="233490"/>
                  </a:lnTo>
                  <a:lnTo>
                    <a:pt x="955409" y="238256"/>
                  </a:lnTo>
                  <a:lnTo>
                    <a:pt x="964939" y="247786"/>
                  </a:lnTo>
                  <a:lnTo>
                    <a:pt x="926818" y="247786"/>
                  </a:lnTo>
                  <a:lnTo>
                    <a:pt x="907757" y="252550"/>
                  </a:lnTo>
                  <a:lnTo>
                    <a:pt x="898227" y="262080"/>
                  </a:lnTo>
                  <a:lnTo>
                    <a:pt x="893462" y="266846"/>
                  </a:lnTo>
                  <a:lnTo>
                    <a:pt x="883932" y="266846"/>
                  </a:lnTo>
                  <a:lnTo>
                    <a:pt x="874401" y="271612"/>
                  </a:lnTo>
                  <a:lnTo>
                    <a:pt x="855341" y="281142"/>
                  </a:lnTo>
                  <a:lnTo>
                    <a:pt x="841046" y="285906"/>
                  </a:lnTo>
                  <a:lnTo>
                    <a:pt x="826750" y="281142"/>
                  </a:lnTo>
                  <a:lnTo>
                    <a:pt x="821985" y="285906"/>
                  </a:lnTo>
                  <a:lnTo>
                    <a:pt x="817220" y="285906"/>
                  </a:lnTo>
                  <a:lnTo>
                    <a:pt x="817220" y="290672"/>
                  </a:lnTo>
                  <a:lnTo>
                    <a:pt x="812455" y="290672"/>
                  </a:lnTo>
                  <a:lnTo>
                    <a:pt x="802925" y="290672"/>
                  </a:lnTo>
                  <a:lnTo>
                    <a:pt x="798159" y="285906"/>
                  </a:lnTo>
                  <a:lnTo>
                    <a:pt x="793394" y="290672"/>
                  </a:lnTo>
                  <a:lnTo>
                    <a:pt x="793394" y="295436"/>
                  </a:lnTo>
                  <a:lnTo>
                    <a:pt x="788629" y="295436"/>
                  </a:lnTo>
                  <a:lnTo>
                    <a:pt x="783864" y="295436"/>
                  </a:lnTo>
                  <a:lnTo>
                    <a:pt x="774334" y="295436"/>
                  </a:lnTo>
                  <a:lnTo>
                    <a:pt x="764803" y="304966"/>
                  </a:lnTo>
                  <a:lnTo>
                    <a:pt x="750508" y="304966"/>
                  </a:lnTo>
                  <a:lnTo>
                    <a:pt x="731448" y="300202"/>
                  </a:lnTo>
                  <a:lnTo>
                    <a:pt x="721917" y="295436"/>
                  </a:lnTo>
                  <a:lnTo>
                    <a:pt x="712387" y="281142"/>
                  </a:lnTo>
                  <a:lnTo>
                    <a:pt x="702857" y="276376"/>
                  </a:lnTo>
                  <a:lnTo>
                    <a:pt x="679031" y="285906"/>
                  </a:lnTo>
                  <a:lnTo>
                    <a:pt x="674266" y="300202"/>
                  </a:lnTo>
                  <a:lnTo>
                    <a:pt x="669501" y="304966"/>
                  </a:lnTo>
                  <a:lnTo>
                    <a:pt x="674266" y="309732"/>
                  </a:lnTo>
                  <a:lnTo>
                    <a:pt x="669501" y="314498"/>
                  </a:lnTo>
                  <a:lnTo>
                    <a:pt x="659971" y="314498"/>
                  </a:lnTo>
                  <a:lnTo>
                    <a:pt x="655205" y="324028"/>
                  </a:lnTo>
                  <a:lnTo>
                    <a:pt x="650440" y="338322"/>
                  </a:lnTo>
                  <a:lnTo>
                    <a:pt x="645675" y="347854"/>
                  </a:lnTo>
                  <a:lnTo>
                    <a:pt x="650440" y="352618"/>
                  </a:lnTo>
                  <a:lnTo>
                    <a:pt x="645675" y="357384"/>
                  </a:lnTo>
                  <a:lnTo>
                    <a:pt x="636145" y="362148"/>
                  </a:lnTo>
                  <a:lnTo>
                    <a:pt x="621850" y="371678"/>
                  </a:lnTo>
                  <a:lnTo>
                    <a:pt x="602789" y="390740"/>
                  </a:lnTo>
                  <a:lnTo>
                    <a:pt x="588494" y="405034"/>
                  </a:lnTo>
                  <a:lnTo>
                    <a:pt x="574198" y="409800"/>
                  </a:lnTo>
                  <a:lnTo>
                    <a:pt x="564668" y="419330"/>
                  </a:lnTo>
                  <a:lnTo>
                    <a:pt x="564668" y="428860"/>
                  </a:lnTo>
                  <a:lnTo>
                    <a:pt x="564668" y="433626"/>
                  </a:lnTo>
                  <a:lnTo>
                    <a:pt x="555138" y="433626"/>
                  </a:lnTo>
                  <a:lnTo>
                    <a:pt x="526547" y="414564"/>
                  </a:lnTo>
                  <a:lnTo>
                    <a:pt x="517017" y="400270"/>
                  </a:lnTo>
                  <a:lnTo>
                    <a:pt x="507486" y="405034"/>
                  </a:lnTo>
                  <a:lnTo>
                    <a:pt x="500339" y="409800"/>
                  </a:lnTo>
                  <a:lnTo>
                    <a:pt x="486043" y="424096"/>
                  </a:lnTo>
                  <a:lnTo>
                    <a:pt x="471748" y="447920"/>
                  </a:lnTo>
                  <a:lnTo>
                    <a:pt x="466983" y="447920"/>
                  </a:lnTo>
                  <a:lnTo>
                    <a:pt x="428862" y="443156"/>
                  </a:lnTo>
                  <a:lnTo>
                    <a:pt x="409801" y="447920"/>
                  </a:lnTo>
                  <a:lnTo>
                    <a:pt x="405036" y="447920"/>
                  </a:lnTo>
                  <a:lnTo>
                    <a:pt x="405036" y="457450"/>
                  </a:lnTo>
                  <a:lnTo>
                    <a:pt x="405036" y="466982"/>
                  </a:lnTo>
                  <a:lnTo>
                    <a:pt x="409801" y="505102"/>
                  </a:lnTo>
                  <a:lnTo>
                    <a:pt x="414566" y="519398"/>
                  </a:lnTo>
                  <a:lnTo>
                    <a:pt x="409801" y="524162"/>
                  </a:lnTo>
                  <a:lnTo>
                    <a:pt x="400271" y="524162"/>
                  </a:lnTo>
                  <a:lnTo>
                    <a:pt x="385976" y="528928"/>
                  </a:lnTo>
                  <a:lnTo>
                    <a:pt x="381210" y="533692"/>
                  </a:lnTo>
                  <a:lnTo>
                    <a:pt x="381210" y="538458"/>
                  </a:lnTo>
                  <a:lnTo>
                    <a:pt x="381210" y="547988"/>
                  </a:lnTo>
                  <a:lnTo>
                    <a:pt x="376445" y="562284"/>
                  </a:lnTo>
                  <a:lnTo>
                    <a:pt x="366915" y="567048"/>
                  </a:lnTo>
                  <a:lnTo>
                    <a:pt x="357385" y="571814"/>
                  </a:lnTo>
                  <a:lnTo>
                    <a:pt x="314499" y="571814"/>
                  </a:lnTo>
                  <a:lnTo>
                    <a:pt x="314499" y="557518"/>
                  </a:lnTo>
                  <a:lnTo>
                    <a:pt x="304968" y="547988"/>
                  </a:lnTo>
                  <a:lnTo>
                    <a:pt x="295438" y="533692"/>
                  </a:lnTo>
                  <a:lnTo>
                    <a:pt x="290673" y="524162"/>
                  </a:lnTo>
                  <a:lnTo>
                    <a:pt x="290673" y="519398"/>
                  </a:lnTo>
                  <a:lnTo>
                    <a:pt x="290673" y="514632"/>
                  </a:lnTo>
                  <a:lnTo>
                    <a:pt x="276378" y="505102"/>
                  </a:lnTo>
                  <a:lnTo>
                    <a:pt x="257317" y="509868"/>
                  </a:lnTo>
                  <a:lnTo>
                    <a:pt x="247787" y="509868"/>
                  </a:lnTo>
                  <a:lnTo>
                    <a:pt x="243022" y="505102"/>
                  </a:lnTo>
                  <a:lnTo>
                    <a:pt x="252552" y="495572"/>
                  </a:lnTo>
                  <a:lnTo>
                    <a:pt x="252552" y="490806"/>
                  </a:lnTo>
                  <a:lnTo>
                    <a:pt x="247787" y="486042"/>
                  </a:lnTo>
                  <a:lnTo>
                    <a:pt x="247787" y="476512"/>
                  </a:lnTo>
                  <a:lnTo>
                    <a:pt x="247787" y="466982"/>
                  </a:lnTo>
                  <a:lnTo>
                    <a:pt x="257317" y="438390"/>
                  </a:lnTo>
                  <a:lnTo>
                    <a:pt x="252552" y="433626"/>
                  </a:lnTo>
                  <a:lnTo>
                    <a:pt x="243022" y="424096"/>
                  </a:lnTo>
                  <a:lnTo>
                    <a:pt x="228726" y="424096"/>
                  </a:lnTo>
                  <a:lnTo>
                    <a:pt x="214431" y="428860"/>
                  </a:lnTo>
                  <a:lnTo>
                    <a:pt x="204901" y="424096"/>
                  </a:lnTo>
                  <a:lnTo>
                    <a:pt x="200135" y="414564"/>
                  </a:lnTo>
                  <a:lnTo>
                    <a:pt x="190605" y="409800"/>
                  </a:lnTo>
                  <a:lnTo>
                    <a:pt x="166780" y="419330"/>
                  </a:lnTo>
                  <a:lnTo>
                    <a:pt x="147719" y="428860"/>
                  </a:lnTo>
                  <a:lnTo>
                    <a:pt x="142954" y="433626"/>
                  </a:lnTo>
                  <a:lnTo>
                    <a:pt x="138189" y="433626"/>
                  </a:lnTo>
                  <a:lnTo>
                    <a:pt x="133424" y="424096"/>
                  </a:lnTo>
                  <a:lnTo>
                    <a:pt x="133424" y="414564"/>
                  </a:lnTo>
                  <a:lnTo>
                    <a:pt x="133424" y="409800"/>
                  </a:lnTo>
                  <a:lnTo>
                    <a:pt x="119128" y="409800"/>
                  </a:lnTo>
                  <a:lnTo>
                    <a:pt x="109598" y="405034"/>
                  </a:lnTo>
                  <a:lnTo>
                    <a:pt x="100068" y="405034"/>
                  </a:lnTo>
                  <a:lnTo>
                    <a:pt x="95303" y="395504"/>
                  </a:lnTo>
                  <a:lnTo>
                    <a:pt x="81007" y="390740"/>
                  </a:lnTo>
                  <a:lnTo>
                    <a:pt x="76242" y="381208"/>
                  </a:lnTo>
                  <a:lnTo>
                    <a:pt x="57182" y="366914"/>
                  </a:lnTo>
                  <a:lnTo>
                    <a:pt x="52416" y="362148"/>
                  </a:lnTo>
                  <a:lnTo>
                    <a:pt x="47651" y="357384"/>
                  </a:lnTo>
                  <a:lnTo>
                    <a:pt x="38121" y="347854"/>
                  </a:lnTo>
                  <a:lnTo>
                    <a:pt x="28591" y="352618"/>
                  </a:lnTo>
                  <a:lnTo>
                    <a:pt x="4765" y="343088"/>
                  </a:lnTo>
                  <a:lnTo>
                    <a:pt x="0" y="343088"/>
                  </a:lnTo>
                  <a:lnTo>
                    <a:pt x="4765" y="333558"/>
                  </a:lnTo>
                  <a:lnTo>
                    <a:pt x="9530" y="324028"/>
                  </a:lnTo>
                  <a:lnTo>
                    <a:pt x="28591" y="309732"/>
                  </a:lnTo>
                  <a:lnTo>
                    <a:pt x="28591" y="300202"/>
                  </a:lnTo>
                  <a:lnTo>
                    <a:pt x="23826" y="281142"/>
                  </a:lnTo>
                  <a:lnTo>
                    <a:pt x="23826" y="266846"/>
                  </a:lnTo>
                  <a:lnTo>
                    <a:pt x="23826" y="262080"/>
                  </a:lnTo>
                  <a:lnTo>
                    <a:pt x="28591" y="238256"/>
                  </a:lnTo>
                  <a:lnTo>
                    <a:pt x="33356" y="233490"/>
                  </a:lnTo>
                  <a:lnTo>
                    <a:pt x="61947" y="223960"/>
                  </a:lnTo>
                  <a:lnTo>
                    <a:pt x="81007" y="204900"/>
                  </a:lnTo>
                  <a:lnTo>
                    <a:pt x="104833" y="190604"/>
                  </a:lnTo>
                  <a:lnTo>
                    <a:pt x="128659" y="171544"/>
                  </a:lnTo>
                  <a:lnTo>
                    <a:pt x="157249" y="147718"/>
                  </a:lnTo>
                  <a:lnTo>
                    <a:pt x="171545" y="133422"/>
                  </a:lnTo>
                  <a:lnTo>
                    <a:pt x="176310" y="128658"/>
                  </a:lnTo>
                  <a:lnTo>
                    <a:pt x="190605" y="133422"/>
                  </a:lnTo>
                  <a:lnTo>
                    <a:pt x="204901" y="123892"/>
                  </a:lnTo>
                  <a:lnTo>
                    <a:pt x="209666" y="119128"/>
                  </a:lnTo>
                  <a:lnTo>
                    <a:pt x="228726" y="104832"/>
                  </a:lnTo>
                  <a:lnTo>
                    <a:pt x="233491" y="104832"/>
                  </a:lnTo>
                  <a:lnTo>
                    <a:pt x="257317" y="100066"/>
                  </a:lnTo>
                  <a:lnTo>
                    <a:pt x="271612" y="100066"/>
                  </a:lnTo>
                  <a:lnTo>
                    <a:pt x="281143" y="114362"/>
                  </a:lnTo>
                  <a:lnTo>
                    <a:pt x="290673" y="119128"/>
                  </a:lnTo>
                  <a:lnTo>
                    <a:pt x="309733" y="114362"/>
                  </a:lnTo>
                  <a:lnTo>
                    <a:pt x="324029" y="114362"/>
                  </a:lnTo>
                  <a:lnTo>
                    <a:pt x="381210" y="123892"/>
                  </a:lnTo>
                  <a:lnTo>
                    <a:pt x="405036" y="119128"/>
                  </a:lnTo>
                  <a:lnTo>
                    <a:pt x="447922" y="119128"/>
                  </a:lnTo>
                  <a:lnTo>
                    <a:pt x="466983" y="119128"/>
                  </a:lnTo>
                  <a:lnTo>
                    <a:pt x="495574" y="104832"/>
                  </a:lnTo>
                  <a:lnTo>
                    <a:pt x="512252" y="100066"/>
                  </a:lnTo>
                  <a:lnTo>
                    <a:pt x="531312" y="95302"/>
                  </a:lnTo>
                  <a:lnTo>
                    <a:pt x="531312" y="85772"/>
                  </a:lnTo>
                  <a:close/>
                  <a:moveTo>
                    <a:pt x="471749" y="14294"/>
                  </a:moveTo>
                  <a:lnTo>
                    <a:pt x="486044" y="14294"/>
                  </a:lnTo>
                  <a:lnTo>
                    <a:pt x="457453" y="23824"/>
                  </a:lnTo>
                  <a:lnTo>
                    <a:pt x="433627" y="38120"/>
                  </a:lnTo>
                  <a:lnTo>
                    <a:pt x="424097" y="38120"/>
                  </a:lnTo>
                  <a:lnTo>
                    <a:pt x="438392" y="23824"/>
                  </a:lnTo>
                  <a:lnTo>
                    <a:pt x="457453" y="19060"/>
                  </a:lnTo>
                  <a:close/>
                  <a:moveTo>
                    <a:pt x="540844" y="0"/>
                  </a:moveTo>
                  <a:lnTo>
                    <a:pt x="550374" y="0"/>
                  </a:lnTo>
                  <a:lnTo>
                    <a:pt x="545609" y="4764"/>
                  </a:lnTo>
                  <a:lnTo>
                    <a:pt x="540844" y="9530"/>
                  </a:lnTo>
                  <a:lnTo>
                    <a:pt x="531313" y="19060"/>
                  </a:lnTo>
                  <a:lnTo>
                    <a:pt x="526548" y="14294"/>
                  </a:lnTo>
                  <a:lnTo>
                    <a:pt x="536078" y="476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7" name="Freeform 145">
              <a:extLst>
                <a:ext uri="{FF2B5EF4-FFF2-40B4-BE49-F238E27FC236}">
                  <a16:creationId xmlns:a16="http://schemas.microsoft.com/office/drawing/2014/main" id="{B0CFB603-DA22-4B5F-81B6-EB10DAEE5B76}"/>
                </a:ext>
              </a:extLst>
            </p:cNvPr>
            <p:cNvSpPr/>
            <p:nvPr/>
          </p:nvSpPr>
          <p:spPr bwMode="auto">
            <a:xfrm>
              <a:off x="5639952" y="4078107"/>
              <a:ext cx="148779" cy="144925"/>
            </a:xfrm>
            <a:custGeom>
              <a:avLst/>
              <a:gdLst>
                <a:gd name="connsiteX0" fmla="*/ 605170 w 919668"/>
                <a:gd name="connsiteY0" fmla="*/ 819600 h 895844"/>
                <a:gd name="connsiteX1" fmla="*/ 609936 w 919668"/>
                <a:gd name="connsiteY1" fmla="*/ 819600 h 895844"/>
                <a:gd name="connsiteX2" fmla="*/ 638526 w 919668"/>
                <a:gd name="connsiteY2" fmla="*/ 824364 h 895844"/>
                <a:gd name="connsiteX3" fmla="*/ 662352 w 919668"/>
                <a:gd name="connsiteY3" fmla="*/ 843428 h 895844"/>
                <a:gd name="connsiteX4" fmla="*/ 595640 w 919668"/>
                <a:gd name="connsiteY4" fmla="*/ 824364 h 895844"/>
                <a:gd name="connsiteX5" fmla="*/ 490808 w 919668"/>
                <a:gd name="connsiteY5" fmla="*/ 776716 h 895844"/>
                <a:gd name="connsiteX6" fmla="*/ 519398 w 919668"/>
                <a:gd name="connsiteY6" fmla="*/ 786244 h 895844"/>
                <a:gd name="connsiteX7" fmla="*/ 538458 w 919668"/>
                <a:gd name="connsiteY7" fmla="*/ 781480 h 895844"/>
                <a:gd name="connsiteX8" fmla="*/ 557518 w 919668"/>
                <a:gd name="connsiteY8" fmla="*/ 786244 h 895844"/>
                <a:gd name="connsiteX9" fmla="*/ 571814 w 919668"/>
                <a:gd name="connsiteY9" fmla="*/ 791008 h 895844"/>
                <a:gd name="connsiteX10" fmla="*/ 571814 w 919668"/>
                <a:gd name="connsiteY10" fmla="*/ 795776 h 895844"/>
                <a:gd name="connsiteX11" fmla="*/ 557518 w 919668"/>
                <a:gd name="connsiteY11" fmla="*/ 795776 h 895844"/>
                <a:gd name="connsiteX12" fmla="*/ 543224 w 919668"/>
                <a:gd name="connsiteY12" fmla="*/ 791008 h 895844"/>
                <a:gd name="connsiteX13" fmla="*/ 519398 w 919668"/>
                <a:gd name="connsiteY13" fmla="*/ 800540 h 895844"/>
                <a:gd name="connsiteX14" fmla="*/ 505102 w 919668"/>
                <a:gd name="connsiteY14" fmla="*/ 795776 h 895844"/>
                <a:gd name="connsiteX15" fmla="*/ 495572 w 919668"/>
                <a:gd name="connsiteY15" fmla="*/ 791008 h 895844"/>
                <a:gd name="connsiteX16" fmla="*/ 490808 w 919668"/>
                <a:gd name="connsiteY16" fmla="*/ 786244 h 895844"/>
                <a:gd name="connsiteX17" fmla="*/ 552752 w 919668"/>
                <a:gd name="connsiteY17" fmla="*/ 771950 h 895844"/>
                <a:gd name="connsiteX18" fmla="*/ 562284 w 919668"/>
                <a:gd name="connsiteY18" fmla="*/ 771950 h 895844"/>
                <a:gd name="connsiteX19" fmla="*/ 581344 w 919668"/>
                <a:gd name="connsiteY19" fmla="*/ 771950 h 895844"/>
                <a:gd name="connsiteX20" fmla="*/ 657586 w 919668"/>
                <a:gd name="connsiteY20" fmla="*/ 810070 h 895844"/>
                <a:gd name="connsiteX21" fmla="*/ 648056 w 919668"/>
                <a:gd name="connsiteY21" fmla="*/ 800540 h 895844"/>
                <a:gd name="connsiteX22" fmla="*/ 662350 w 919668"/>
                <a:gd name="connsiteY22" fmla="*/ 795776 h 895844"/>
                <a:gd name="connsiteX23" fmla="*/ 671882 w 919668"/>
                <a:gd name="connsiteY23" fmla="*/ 800540 h 895844"/>
                <a:gd name="connsiteX24" fmla="*/ 676646 w 919668"/>
                <a:gd name="connsiteY24" fmla="*/ 810070 h 895844"/>
                <a:gd name="connsiteX25" fmla="*/ 686176 w 919668"/>
                <a:gd name="connsiteY25" fmla="*/ 819602 h 895844"/>
                <a:gd name="connsiteX26" fmla="*/ 710002 w 919668"/>
                <a:gd name="connsiteY26" fmla="*/ 833896 h 895844"/>
                <a:gd name="connsiteX27" fmla="*/ 719532 w 919668"/>
                <a:gd name="connsiteY27" fmla="*/ 843426 h 895844"/>
                <a:gd name="connsiteX28" fmla="*/ 748124 w 919668"/>
                <a:gd name="connsiteY28" fmla="*/ 862488 h 895844"/>
                <a:gd name="connsiteX29" fmla="*/ 752888 w 919668"/>
                <a:gd name="connsiteY29" fmla="*/ 867252 h 895844"/>
                <a:gd name="connsiteX30" fmla="*/ 767184 w 919668"/>
                <a:gd name="connsiteY30" fmla="*/ 872018 h 895844"/>
                <a:gd name="connsiteX31" fmla="*/ 767184 w 919668"/>
                <a:gd name="connsiteY31" fmla="*/ 876782 h 895844"/>
                <a:gd name="connsiteX32" fmla="*/ 776714 w 919668"/>
                <a:gd name="connsiteY32" fmla="*/ 886312 h 895844"/>
                <a:gd name="connsiteX33" fmla="*/ 781480 w 919668"/>
                <a:gd name="connsiteY33" fmla="*/ 895844 h 895844"/>
                <a:gd name="connsiteX34" fmla="*/ 752888 w 919668"/>
                <a:gd name="connsiteY34" fmla="*/ 876782 h 895844"/>
                <a:gd name="connsiteX35" fmla="*/ 724298 w 919668"/>
                <a:gd name="connsiteY35" fmla="*/ 857722 h 895844"/>
                <a:gd name="connsiteX36" fmla="*/ 671882 w 919668"/>
                <a:gd name="connsiteY36" fmla="*/ 819602 h 895844"/>
                <a:gd name="connsiteX37" fmla="*/ 633760 w 919668"/>
                <a:gd name="connsiteY37" fmla="*/ 810070 h 895844"/>
                <a:gd name="connsiteX38" fmla="*/ 586108 w 919668"/>
                <a:gd name="connsiteY38" fmla="*/ 786246 h 895844"/>
                <a:gd name="connsiteX39" fmla="*/ 447920 w 919668"/>
                <a:gd name="connsiteY39" fmla="*/ 729064 h 895844"/>
                <a:gd name="connsiteX40" fmla="*/ 471746 w 919668"/>
                <a:gd name="connsiteY40" fmla="*/ 729064 h 895844"/>
                <a:gd name="connsiteX41" fmla="*/ 490808 w 919668"/>
                <a:gd name="connsiteY41" fmla="*/ 729064 h 895844"/>
                <a:gd name="connsiteX42" fmla="*/ 495572 w 919668"/>
                <a:gd name="connsiteY42" fmla="*/ 738592 h 895844"/>
                <a:gd name="connsiteX43" fmla="*/ 552754 w 919668"/>
                <a:gd name="connsiteY43" fmla="*/ 748124 h 895844"/>
                <a:gd name="connsiteX44" fmla="*/ 576580 w 919668"/>
                <a:gd name="connsiteY44" fmla="*/ 748124 h 895844"/>
                <a:gd name="connsiteX45" fmla="*/ 562284 w 919668"/>
                <a:gd name="connsiteY45" fmla="*/ 752888 h 895844"/>
                <a:gd name="connsiteX46" fmla="*/ 495572 w 919668"/>
                <a:gd name="connsiteY46" fmla="*/ 752888 h 895844"/>
                <a:gd name="connsiteX47" fmla="*/ 476512 w 919668"/>
                <a:gd name="connsiteY47" fmla="*/ 748124 h 895844"/>
                <a:gd name="connsiteX48" fmla="*/ 452686 w 919668"/>
                <a:gd name="connsiteY48" fmla="*/ 733828 h 895844"/>
                <a:gd name="connsiteX49" fmla="*/ 457452 w 919668"/>
                <a:gd name="connsiteY49" fmla="*/ 695708 h 895844"/>
                <a:gd name="connsiteX50" fmla="*/ 481276 w 919668"/>
                <a:gd name="connsiteY50" fmla="*/ 695708 h 895844"/>
                <a:gd name="connsiteX51" fmla="*/ 519398 w 919668"/>
                <a:gd name="connsiteY51" fmla="*/ 700472 h 895844"/>
                <a:gd name="connsiteX52" fmla="*/ 528928 w 919668"/>
                <a:gd name="connsiteY52" fmla="*/ 710004 h 895844"/>
                <a:gd name="connsiteX53" fmla="*/ 524162 w 919668"/>
                <a:gd name="connsiteY53" fmla="*/ 714768 h 895844"/>
                <a:gd name="connsiteX54" fmla="*/ 509868 w 919668"/>
                <a:gd name="connsiteY54" fmla="*/ 719532 h 895844"/>
                <a:gd name="connsiteX55" fmla="*/ 486042 w 919668"/>
                <a:gd name="connsiteY55" fmla="*/ 719532 h 895844"/>
                <a:gd name="connsiteX56" fmla="*/ 466982 w 919668"/>
                <a:gd name="connsiteY56" fmla="*/ 714768 h 895844"/>
                <a:gd name="connsiteX57" fmla="*/ 452686 w 919668"/>
                <a:gd name="connsiteY57" fmla="*/ 710004 h 895844"/>
                <a:gd name="connsiteX58" fmla="*/ 457452 w 919668"/>
                <a:gd name="connsiteY58" fmla="*/ 705236 h 895844"/>
                <a:gd name="connsiteX59" fmla="*/ 276376 w 919668"/>
                <a:gd name="connsiteY59" fmla="*/ 562284 h 895844"/>
                <a:gd name="connsiteX60" fmla="*/ 290672 w 919668"/>
                <a:gd name="connsiteY60" fmla="*/ 567048 h 895844"/>
                <a:gd name="connsiteX61" fmla="*/ 300202 w 919668"/>
                <a:gd name="connsiteY61" fmla="*/ 586108 h 895844"/>
                <a:gd name="connsiteX62" fmla="*/ 290672 w 919668"/>
                <a:gd name="connsiteY62" fmla="*/ 581344 h 895844"/>
                <a:gd name="connsiteX63" fmla="*/ 281142 w 919668"/>
                <a:gd name="connsiteY63" fmla="*/ 571812 h 895844"/>
                <a:gd name="connsiteX64" fmla="*/ 243020 w 919668"/>
                <a:gd name="connsiteY64" fmla="*/ 528928 h 895844"/>
                <a:gd name="connsiteX65" fmla="*/ 266846 w 919668"/>
                <a:gd name="connsiteY65" fmla="*/ 547988 h 895844"/>
                <a:gd name="connsiteX66" fmla="*/ 271612 w 919668"/>
                <a:gd name="connsiteY66" fmla="*/ 557520 h 895844"/>
                <a:gd name="connsiteX67" fmla="*/ 252550 w 919668"/>
                <a:gd name="connsiteY67" fmla="*/ 543224 h 895844"/>
                <a:gd name="connsiteX68" fmla="*/ 243020 w 919668"/>
                <a:gd name="connsiteY68" fmla="*/ 533692 h 895844"/>
                <a:gd name="connsiteX69" fmla="*/ 209664 w 919668"/>
                <a:gd name="connsiteY69" fmla="*/ 524164 h 895844"/>
                <a:gd name="connsiteX70" fmla="*/ 223960 w 919668"/>
                <a:gd name="connsiteY70" fmla="*/ 538456 h 895844"/>
                <a:gd name="connsiteX71" fmla="*/ 262080 w 919668"/>
                <a:gd name="connsiteY71" fmla="*/ 576580 h 895844"/>
                <a:gd name="connsiteX72" fmla="*/ 262080 w 919668"/>
                <a:gd name="connsiteY72" fmla="*/ 581344 h 895844"/>
                <a:gd name="connsiteX73" fmla="*/ 262080 w 919668"/>
                <a:gd name="connsiteY73" fmla="*/ 586108 h 895844"/>
                <a:gd name="connsiteX74" fmla="*/ 257314 w 919668"/>
                <a:gd name="connsiteY74" fmla="*/ 581344 h 895844"/>
                <a:gd name="connsiteX75" fmla="*/ 252550 w 919668"/>
                <a:gd name="connsiteY75" fmla="*/ 581344 h 895844"/>
                <a:gd name="connsiteX76" fmla="*/ 214430 w 919668"/>
                <a:gd name="connsiteY76" fmla="*/ 533692 h 895844"/>
                <a:gd name="connsiteX77" fmla="*/ 195370 w 919668"/>
                <a:gd name="connsiteY77" fmla="*/ 414564 h 895844"/>
                <a:gd name="connsiteX78" fmla="*/ 200134 w 919668"/>
                <a:gd name="connsiteY78" fmla="*/ 419328 h 895844"/>
                <a:gd name="connsiteX79" fmla="*/ 209664 w 919668"/>
                <a:gd name="connsiteY79" fmla="*/ 428860 h 895844"/>
                <a:gd name="connsiteX80" fmla="*/ 214430 w 919668"/>
                <a:gd name="connsiteY80" fmla="*/ 428860 h 895844"/>
                <a:gd name="connsiteX81" fmla="*/ 233490 w 919668"/>
                <a:gd name="connsiteY81" fmla="*/ 447920 h 895844"/>
                <a:gd name="connsiteX82" fmla="*/ 247786 w 919668"/>
                <a:gd name="connsiteY82" fmla="*/ 466980 h 895844"/>
                <a:gd name="connsiteX83" fmla="*/ 271612 w 919668"/>
                <a:gd name="connsiteY83" fmla="*/ 486040 h 895844"/>
                <a:gd name="connsiteX84" fmla="*/ 266846 w 919668"/>
                <a:gd name="connsiteY84" fmla="*/ 486040 h 895844"/>
                <a:gd name="connsiteX85" fmla="*/ 262080 w 919668"/>
                <a:gd name="connsiteY85" fmla="*/ 490804 h 895844"/>
                <a:gd name="connsiteX86" fmla="*/ 257316 w 919668"/>
                <a:gd name="connsiteY86" fmla="*/ 495572 h 895844"/>
                <a:gd name="connsiteX87" fmla="*/ 247786 w 919668"/>
                <a:gd name="connsiteY87" fmla="*/ 486040 h 895844"/>
                <a:gd name="connsiteX88" fmla="*/ 238256 w 919668"/>
                <a:gd name="connsiteY88" fmla="*/ 476512 h 895844"/>
                <a:gd name="connsiteX89" fmla="*/ 233490 w 919668"/>
                <a:gd name="connsiteY89" fmla="*/ 466980 h 895844"/>
                <a:gd name="connsiteX90" fmla="*/ 219194 w 919668"/>
                <a:gd name="connsiteY90" fmla="*/ 457452 h 895844"/>
                <a:gd name="connsiteX91" fmla="*/ 214430 w 919668"/>
                <a:gd name="connsiteY91" fmla="*/ 443156 h 895844"/>
                <a:gd name="connsiteX92" fmla="*/ 185840 w 919668"/>
                <a:gd name="connsiteY92" fmla="*/ 376444 h 895844"/>
                <a:gd name="connsiteX93" fmla="*/ 195370 w 919668"/>
                <a:gd name="connsiteY93" fmla="*/ 376444 h 895844"/>
                <a:gd name="connsiteX94" fmla="*/ 195370 w 919668"/>
                <a:gd name="connsiteY94" fmla="*/ 381208 h 895844"/>
                <a:gd name="connsiteX95" fmla="*/ 204900 w 919668"/>
                <a:gd name="connsiteY95" fmla="*/ 395504 h 895844"/>
                <a:gd name="connsiteX96" fmla="*/ 209664 w 919668"/>
                <a:gd name="connsiteY96" fmla="*/ 405036 h 895844"/>
                <a:gd name="connsiteX97" fmla="*/ 195370 w 919668"/>
                <a:gd name="connsiteY97" fmla="*/ 395504 h 895844"/>
                <a:gd name="connsiteX98" fmla="*/ 181074 w 919668"/>
                <a:gd name="connsiteY98" fmla="*/ 395504 h 895844"/>
                <a:gd name="connsiteX99" fmla="*/ 181074 w 919668"/>
                <a:gd name="connsiteY99" fmla="*/ 385972 h 895844"/>
                <a:gd name="connsiteX100" fmla="*/ 181074 w 919668"/>
                <a:gd name="connsiteY100" fmla="*/ 381208 h 895844"/>
                <a:gd name="connsiteX101" fmla="*/ 128658 w 919668"/>
                <a:gd name="connsiteY101" fmla="*/ 304968 h 895844"/>
                <a:gd name="connsiteX102" fmla="*/ 133422 w 919668"/>
                <a:gd name="connsiteY102" fmla="*/ 304968 h 895844"/>
                <a:gd name="connsiteX103" fmla="*/ 133422 w 919668"/>
                <a:gd name="connsiteY103" fmla="*/ 324028 h 895844"/>
                <a:gd name="connsiteX104" fmla="*/ 138188 w 919668"/>
                <a:gd name="connsiteY104" fmla="*/ 338320 h 895844"/>
                <a:gd name="connsiteX105" fmla="*/ 147718 w 919668"/>
                <a:gd name="connsiteY105" fmla="*/ 347852 h 895844"/>
                <a:gd name="connsiteX106" fmla="*/ 147718 w 919668"/>
                <a:gd name="connsiteY106" fmla="*/ 371676 h 895844"/>
                <a:gd name="connsiteX107" fmla="*/ 147718 w 919668"/>
                <a:gd name="connsiteY107" fmla="*/ 405032 h 895844"/>
                <a:gd name="connsiteX108" fmla="*/ 152484 w 919668"/>
                <a:gd name="connsiteY108" fmla="*/ 409800 h 895844"/>
                <a:gd name="connsiteX109" fmla="*/ 152484 w 919668"/>
                <a:gd name="connsiteY109" fmla="*/ 419328 h 895844"/>
                <a:gd name="connsiteX110" fmla="*/ 152484 w 919668"/>
                <a:gd name="connsiteY110" fmla="*/ 428860 h 895844"/>
                <a:gd name="connsiteX111" fmla="*/ 142952 w 919668"/>
                <a:gd name="connsiteY111" fmla="*/ 414564 h 895844"/>
                <a:gd name="connsiteX112" fmla="*/ 138188 w 919668"/>
                <a:gd name="connsiteY112" fmla="*/ 395504 h 895844"/>
                <a:gd name="connsiteX113" fmla="*/ 123892 w 919668"/>
                <a:gd name="connsiteY113" fmla="*/ 366912 h 895844"/>
                <a:gd name="connsiteX114" fmla="*/ 123892 w 919668"/>
                <a:gd name="connsiteY114" fmla="*/ 357384 h 895844"/>
                <a:gd name="connsiteX115" fmla="*/ 128658 w 919668"/>
                <a:gd name="connsiteY115" fmla="*/ 347852 h 895844"/>
                <a:gd name="connsiteX116" fmla="*/ 128658 w 919668"/>
                <a:gd name="connsiteY116" fmla="*/ 338320 h 895844"/>
                <a:gd name="connsiteX117" fmla="*/ 119128 w 919668"/>
                <a:gd name="connsiteY117" fmla="*/ 309732 h 895844"/>
                <a:gd name="connsiteX118" fmla="*/ 166778 w 919668"/>
                <a:gd name="connsiteY118" fmla="*/ 295436 h 895844"/>
                <a:gd name="connsiteX119" fmla="*/ 176308 w 919668"/>
                <a:gd name="connsiteY119" fmla="*/ 304968 h 895844"/>
                <a:gd name="connsiteX120" fmla="*/ 185838 w 919668"/>
                <a:gd name="connsiteY120" fmla="*/ 324028 h 895844"/>
                <a:gd name="connsiteX121" fmla="*/ 190604 w 919668"/>
                <a:gd name="connsiteY121" fmla="*/ 328792 h 895844"/>
                <a:gd name="connsiteX122" fmla="*/ 200134 w 919668"/>
                <a:gd name="connsiteY122" fmla="*/ 347852 h 895844"/>
                <a:gd name="connsiteX123" fmla="*/ 181074 w 919668"/>
                <a:gd name="connsiteY123" fmla="*/ 352620 h 895844"/>
                <a:gd name="connsiteX124" fmla="*/ 176308 w 919668"/>
                <a:gd name="connsiteY124" fmla="*/ 343088 h 895844"/>
                <a:gd name="connsiteX125" fmla="*/ 171544 w 919668"/>
                <a:gd name="connsiteY125" fmla="*/ 338324 h 895844"/>
                <a:gd name="connsiteX126" fmla="*/ 157248 w 919668"/>
                <a:gd name="connsiteY126" fmla="*/ 333556 h 895844"/>
                <a:gd name="connsiteX127" fmla="*/ 147718 w 919668"/>
                <a:gd name="connsiteY127" fmla="*/ 324028 h 895844"/>
                <a:gd name="connsiteX128" fmla="*/ 142952 w 919668"/>
                <a:gd name="connsiteY128" fmla="*/ 319260 h 895844"/>
                <a:gd name="connsiteX129" fmla="*/ 157248 w 919668"/>
                <a:gd name="connsiteY129" fmla="*/ 309732 h 895844"/>
                <a:gd name="connsiteX130" fmla="*/ 433626 w 919668"/>
                <a:gd name="connsiteY130" fmla="*/ 0 h 895844"/>
                <a:gd name="connsiteX131" fmla="*/ 438390 w 919668"/>
                <a:gd name="connsiteY131" fmla="*/ 0 h 895844"/>
                <a:gd name="connsiteX132" fmla="*/ 452686 w 919668"/>
                <a:gd name="connsiteY132" fmla="*/ 0 h 895844"/>
                <a:gd name="connsiteX133" fmla="*/ 466982 w 919668"/>
                <a:gd name="connsiteY133" fmla="*/ 4764 h 895844"/>
                <a:gd name="connsiteX134" fmla="*/ 476512 w 919668"/>
                <a:gd name="connsiteY134" fmla="*/ 9528 h 895844"/>
                <a:gd name="connsiteX135" fmla="*/ 505102 w 919668"/>
                <a:gd name="connsiteY135" fmla="*/ 23824 h 895844"/>
                <a:gd name="connsiteX136" fmla="*/ 524164 w 919668"/>
                <a:gd name="connsiteY136" fmla="*/ 42884 h 895844"/>
                <a:gd name="connsiteX137" fmla="*/ 533694 w 919668"/>
                <a:gd name="connsiteY137" fmla="*/ 61944 h 895844"/>
                <a:gd name="connsiteX138" fmla="*/ 547988 w 919668"/>
                <a:gd name="connsiteY138" fmla="*/ 76240 h 895844"/>
                <a:gd name="connsiteX139" fmla="*/ 567050 w 919668"/>
                <a:gd name="connsiteY139" fmla="*/ 90536 h 895844"/>
                <a:gd name="connsiteX140" fmla="*/ 581344 w 919668"/>
                <a:gd name="connsiteY140" fmla="*/ 104832 h 895844"/>
                <a:gd name="connsiteX141" fmla="*/ 590876 w 919668"/>
                <a:gd name="connsiteY141" fmla="*/ 119128 h 895844"/>
                <a:gd name="connsiteX142" fmla="*/ 609936 w 919668"/>
                <a:gd name="connsiteY142" fmla="*/ 133420 h 895844"/>
                <a:gd name="connsiteX143" fmla="*/ 628996 w 919668"/>
                <a:gd name="connsiteY143" fmla="*/ 133420 h 895844"/>
                <a:gd name="connsiteX144" fmla="*/ 638526 w 919668"/>
                <a:gd name="connsiteY144" fmla="*/ 138188 h 895844"/>
                <a:gd name="connsiteX145" fmla="*/ 643292 w 919668"/>
                <a:gd name="connsiteY145" fmla="*/ 147716 h 895844"/>
                <a:gd name="connsiteX146" fmla="*/ 657586 w 919668"/>
                <a:gd name="connsiteY146" fmla="*/ 157248 h 895844"/>
                <a:gd name="connsiteX147" fmla="*/ 671882 w 919668"/>
                <a:gd name="connsiteY147" fmla="*/ 166776 h 895844"/>
                <a:gd name="connsiteX148" fmla="*/ 695708 w 919668"/>
                <a:gd name="connsiteY148" fmla="*/ 171544 h 895844"/>
                <a:gd name="connsiteX149" fmla="*/ 743360 w 919668"/>
                <a:gd name="connsiteY149" fmla="*/ 171544 h 895844"/>
                <a:gd name="connsiteX150" fmla="*/ 748124 w 919668"/>
                <a:gd name="connsiteY150" fmla="*/ 171544 h 895844"/>
                <a:gd name="connsiteX151" fmla="*/ 757654 w 919668"/>
                <a:gd name="connsiteY151" fmla="*/ 176308 h 895844"/>
                <a:gd name="connsiteX152" fmla="*/ 767184 w 919668"/>
                <a:gd name="connsiteY152" fmla="*/ 171544 h 895844"/>
                <a:gd name="connsiteX153" fmla="*/ 786246 w 919668"/>
                <a:gd name="connsiteY153" fmla="*/ 166776 h 895844"/>
                <a:gd name="connsiteX154" fmla="*/ 791010 w 919668"/>
                <a:gd name="connsiteY154" fmla="*/ 162012 h 895844"/>
                <a:gd name="connsiteX155" fmla="*/ 805306 w 919668"/>
                <a:gd name="connsiteY155" fmla="*/ 142952 h 895844"/>
                <a:gd name="connsiteX156" fmla="*/ 814836 w 919668"/>
                <a:gd name="connsiteY156" fmla="*/ 142952 h 895844"/>
                <a:gd name="connsiteX157" fmla="*/ 829132 w 919668"/>
                <a:gd name="connsiteY157" fmla="*/ 138188 h 895844"/>
                <a:gd name="connsiteX158" fmla="*/ 843426 w 919668"/>
                <a:gd name="connsiteY158" fmla="*/ 133420 h 895844"/>
                <a:gd name="connsiteX159" fmla="*/ 843426 w 919668"/>
                <a:gd name="connsiteY159" fmla="*/ 142952 h 895844"/>
                <a:gd name="connsiteX160" fmla="*/ 838662 w 919668"/>
                <a:gd name="connsiteY160" fmla="*/ 152484 h 895844"/>
                <a:gd name="connsiteX161" fmla="*/ 833896 w 919668"/>
                <a:gd name="connsiteY161" fmla="*/ 157248 h 895844"/>
                <a:gd name="connsiteX162" fmla="*/ 838662 w 919668"/>
                <a:gd name="connsiteY162" fmla="*/ 171544 h 895844"/>
                <a:gd name="connsiteX163" fmla="*/ 848192 w 919668"/>
                <a:gd name="connsiteY163" fmla="*/ 195368 h 895844"/>
                <a:gd name="connsiteX164" fmla="*/ 843426 w 919668"/>
                <a:gd name="connsiteY164" fmla="*/ 209664 h 895844"/>
                <a:gd name="connsiteX165" fmla="*/ 848192 w 919668"/>
                <a:gd name="connsiteY165" fmla="*/ 219192 h 895844"/>
                <a:gd name="connsiteX166" fmla="*/ 867252 w 919668"/>
                <a:gd name="connsiteY166" fmla="*/ 223960 h 895844"/>
                <a:gd name="connsiteX167" fmla="*/ 867252 w 919668"/>
                <a:gd name="connsiteY167" fmla="*/ 228724 h 895844"/>
                <a:gd name="connsiteX168" fmla="*/ 862488 w 919668"/>
                <a:gd name="connsiteY168" fmla="*/ 233488 h 895844"/>
                <a:gd name="connsiteX169" fmla="*/ 857722 w 919668"/>
                <a:gd name="connsiteY169" fmla="*/ 238256 h 895844"/>
                <a:gd name="connsiteX170" fmla="*/ 857722 w 919668"/>
                <a:gd name="connsiteY170" fmla="*/ 252548 h 895844"/>
                <a:gd name="connsiteX171" fmla="*/ 872018 w 919668"/>
                <a:gd name="connsiteY171" fmla="*/ 266844 h 895844"/>
                <a:gd name="connsiteX172" fmla="*/ 900608 w 919668"/>
                <a:gd name="connsiteY172" fmla="*/ 281140 h 895844"/>
                <a:gd name="connsiteX173" fmla="*/ 910138 w 919668"/>
                <a:gd name="connsiteY173" fmla="*/ 285904 h 895844"/>
                <a:gd name="connsiteX174" fmla="*/ 910138 w 919668"/>
                <a:gd name="connsiteY174" fmla="*/ 290672 h 895844"/>
                <a:gd name="connsiteX175" fmla="*/ 914904 w 919668"/>
                <a:gd name="connsiteY175" fmla="*/ 290672 h 895844"/>
                <a:gd name="connsiteX176" fmla="*/ 919668 w 919668"/>
                <a:gd name="connsiteY176" fmla="*/ 295436 h 895844"/>
                <a:gd name="connsiteX177" fmla="*/ 919668 w 919668"/>
                <a:gd name="connsiteY177" fmla="*/ 300200 h 895844"/>
                <a:gd name="connsiteX178" fmla="*/ 919668 w 919668"/>
                <a:gd name="connsiteY178" fmla="*/ 304968 h 895844"/>
                <a:gd name="connsiteX179" fmla="*/ 905374 w 919668"/>
                <a:gd name="connsiteY179" fmla="*/ 304968 h 895844"/>
                <a:gd name="connsiteX180" fmla="*/ 891078 w 919668"/>
                <a:gd name="connsiteY180" fmla="*/ 304968 h 895844"/>
                <a:gd name="connsiteX181" fmla="*/ 876782 w 919668"/>
                <a:gd name="connsiteY181" fmla="*/ 300200 h 895844"/>
                <a:gd name="connsiteX182" fmla="*/ 876782 w 919668"/>
                <a:gd name="connsiteY182" fmla="*/ 304968 h 895844"/>
                <a:gd name="connsiteX183" fmla="*/ 876782 w 919668"/>
                <a:gd name="connsiteY183" fmla="*/ 309732 h 895844"/>
                <a:gd name="connsiteX184" fmla="*/ 867252 w 919668"/>
                <a:gd name="connsiteY184" fmla="*/ 314496 h 895844"/>
                <a:gd name="connsiteX185" fmla="*/ 872018 w 919668"/>
                <a:gd name="connsiteY185" fmla="*/ 347852 h 895844"/>
                <a:gd name="connsiteX186" fmla="*/ 872018 w 919668"/>
                <a:gd name="connsiteY186" fmla="*/ 357384 h 895844"/>
                <a:gd name="connsiteX187" fmla="*/ 867252 w 919668"/>
                <a:gd name="connsiteY187" fmla="*/ 362148 h 895844"/>
                <a:gd name="connsiteX188" fmla="*/ 862488 w 919668"/>
                <a:gd name="connsiteY188" fmla="*/ 362148 h 895844"/>
                <a:gd name="connsiteX189" fmla="*/ 857722 w 919668"/>
                <a:gd name="connsiteY189" fmla="*/ 362148 h 895844"/>
                <a:gd name="connsiteX190" fmla="*/ 857722 w 919668"/>
                <a:gd name="connsiteY190" fmla="*/ 371676 h 895844"/>
                <a:gd name="connsiteX191" fmla="*/ 848192 w 919668"/>
                <a:gd name="connsiteY191" fmla="*/ 371676 h 895844"/>
                <a:gd name="connsiteX192" fmla="*/ 829132 w 919668"/>
                <a:gd name="connsiteY192" fmla="*/ 366912 h 895844"/>
                <a:gd name="connsiteX193" fmla="*/ 824366 w 919668"/>
                <a:gd name="connsiteY193" fmla="*/ 362148 h 895844"/>
                <a:gd name="connsiteX194" fmla="*/ 824366 w 919668"/>
                <a:gd name="connsiteY194" fmla="*/ 352616 h 895844"/>
                <a:gd name="connsiteX195" fmla="*/ 824366 w 919668"/>
                <a:gd name="connsiteY195" fmla="*/ 347852 h 895844"/>
                <a:gd name="connsiteX196" fmla="*/ 819602 w 919668"/>
                <a:gd name="connsiteY196" fmla="*/ 338320 h 895844"/>
                <a:gd name="connsiteX197" fmla="*/ 805306 w 919668"/>
                <a:gd name="connsiteY197" fmla="*/ 324028 h 895844"/>
                <a:gd name="connsiteX198" fmla="*/ 776716 w 919668"/>
                <a:gd name="connsiteY198" fmla="*/ 324028 h 895844"/>
                <a:gd name="connsiteX199" fmla="*/ 767184 w 919668"/>
                <a:gd name="connsiteY199" fmla="*/ 319260 h 895844"/>
                <a:gd name="connsiteX200" fmla="*/ 757654 w 919668"/>
                <a:gd name="connsiteY200" fmla="*/ 314496 h 895844"/>
                <a:gd name="connsiteX201" fmla="*/ 743360 w 919668"/>
                <a:gd name="connsiteY201" fmla="*/ 314496 h 895844"/>
                <a:gd name="connsiteX202" fmla="*/ 733828 w 919668"/>
                <a:gd name="connsiteY202" fmla="*/ 314496 h 895844"/>
                <a:gd name="connsiteX203" fmla="*/ 724298 w 919668"/>
                <a:gd name="connsiteY203" fmla="*/ 314496 h 895844"/>
                <a:gd name="connsiteX204" fmla="*/ 700474 w 919668"/>
                <a:gd name="connsiteY204" fmla="*/ 309732 h 895844"/>
                <a:gd name="connsiteX205" fmla="*/ 690942 w 919668"/>
                <a:gd name="connsiteY205" fmla="*/ 319260 h 895844"/>
                <a:gd name="connsiteX206" fmla="*/ 681412 w 919668"/>
                <a:gd name="connsiteY206" fmla="*/ 324028 h 895844"/>
                <a:gd name="connsiteX207" fmla="*/ 671882 w 919668"/>
                <a:gd name="connsiteY207" fmla="*/ 324028 h 895844"/>
                <a:gd name="connsiteX208" fmla="*/ 652822 w 919668"/>
                <a:gd name="connsiteY208" fmla="*/ 309732 h 895844"/>
                <a:gd name="connsiteX209" fmla="*/ 648056 w 919668"/>
                <a:gd name="connsiteY209" fmla="*/ 304968 h 895844"/>
                <a:gd name="connsiteX210" fmla="*/ 628996 w 919668"/>
                <a:gd name="connsiteY210" fmla="*/ 314496 h 895844"/>
                <a:gd name="connsiteX211" fmla="*/ 624232 w 919668"/>
                <a:gd name="connsiteY211" fmla="*/ 314496 h 895844"/>
                <a:gd name="connsiteX212" fmla="*/ 619466 w 919668"/>
                <a:gd name="connsiteY212" fmla="*/ 314496 h 895844"/>
                <a:gd name="connsiteX213" fmla="*/ 595640 w 919668"/>
                <a:gd name="connsiteY213" fmla="*/ 304968 h 895844"/>
                <a:gd name="connsiteX214" fmla="*/ 586110 w 919668"/>
                <a:gd name="connsiteY214" fmla="*/ 304968 h 895844"/>
                <a:gd name="connsiteX215" fmla="*/ 576580 w 919668"/>
                <a:gd name="connsiteY215" fmla="*/ 309732 h 895844"/>
                <a:gd name="connsiteX216" fmla="*/ 562284 w 919668"/>
                <a:gd name="connsiteY216" fmla="*/ 304968 h 895844"/>
                <a:gd name="connsiteX217" fmla="*/ 533694 w 919668"/>
                <a:gd name="connsiteY217" fmla="*/ 281140 h 895844"/>
                <a:gd name="connsiteX218" fmla="*/ 509868 w 919668"/>
                <a:gd name="connsiteY218" fmla="*/ 300200 h 895844"/>
                <a:gd name="connsiteX219" fmla="*/ 471746 w 919668"/>
                <a:gd name="connsiteY219" fmla="*/ 295436 h 895844"/>
                <a:gd name="connsiteX220" fmla="*/ 457452 w 919668"/>
                <a:gd name="connsiteY220" fmla="*/ 309732 h 895844"/>
                <a:gd name="connsiteX221" fmla="*/ 447922 w 919668"/>
                <a:gd name="connsiteY221" fmla="*/ 328792 h 895844"/>
                <a:gd name="connsiteX222" fmla="*/ 433626 w 919668"/>
                <a:gd name="connsiteY222" fmla="*/ 343088 h 895844"/>
                <a:gd name="connsiteX223" fmla="*/ 424096 w 919668"/>
                <a:gd name="connsiteY223" fmla="*/ 338320 h 895844"/>
                <a:gd name="connsiteX224" fmla="*/ 414566 w 919668"/>
                <a:gd name="connsiteY224" fmla="*/ 328792 h 895844"/>
                <a:gd name="connsiteX225" fmla="*/ 390740 w 919668"/>
                <a:gd name="connsiteY225" fmla="*/ 300200 h 895844"/>
                <a:gd name="connsiteX226" fmla="*/ 381210 w 919668"/>
                <a:gd name="connsiteY226" fmla="*/ 295436 h 895844"/>
                <a:gd name="connsiteX227" fmla="*/ 371680 w 919668"/>
                <a:gd name="connsiteY227" fmla="*/ 295436 h 895844"/>
                <a:gd name="connsiteX228" fmla="*/ 362148 w 919668"/>
                <a:gd name="connsiteY228" fmla="*/ 300200 h 895844"/>
                <a:gd name="connsiteX229" fmla="*/ 357384 w 919668"/>
                <a:gd name="connsiteY229" fmla="*/ 304968 h 895844"/>
                <a:gd name="connsiteX230" fmla="*/ 352618 w 919668"/>
                <a:gd name="connsiteY230" fmla="*/ 343088 h 895844"/>
                <a:gd name="connsiteX231" fmla="*/ 347854 w 919668"/>
                <a:gd name="connsiteY231" fmla="*/ 376444 h 895844"/>
                <a:gd name="connsiteX232" fmla="*/ 347854 w 919668"/>
                <a:gd name="connsiteY232" fmla="*/ 395504 h 895844"/>
                <a:gd name="connsiteX233" fmla="*/ 371680 w 919668"/>
                <a:gd name="connsiteY233" fmla="*/ 414564 h 895844"/>
                <a:gd name="connsiteX234" fmla="*/ 395504 w 919668"/>
                <a:gd name="connsiteY234" fmla="*/ 443156 h 895844"/>
                <a:gd name="connsiteX235" fmla="*/ 405036 w 919668"/>
                <a:gd name="connsiteY235" fmla="*/ 447920 h 895844"/>
                <a:gd name="connsiteX236" fmla="*/ 409800 w 919668"/>
                <a:gd name="connsiteY236" fmla="*/ 457452 h 895844"/>
                <a:gd name="connsiteX237" fmla="*/ 414566 w 919668"/>
                <a:gd name="connsiteY237" fmla="*/ 486040 h 895844"/>
                <a:gd name="connsiteX238" fmla="*/ 424096 w 919668"/>
                <a:gd name="connsiteY238" fmla="*/ 514632 h 895844"/>
                <a:gd name="connsiteX239" fmla="*/ 433626 w 919668"/>
                <a:gd name="connsiteY239" fmla="*/ 533692 h 895844"/>
                <a:gd name="connsiteX240" fmla="*/ 447922 w 919668"/>
                <a:gd name="connsiteY240" fmla="*/ 547988 h 895844"/>
                <a:gd name="connsiteX241" fmla="*/ 462216 w 919668"/>
                <a:gd name="connsiteY241" fmla="*/ 562284 h 895844"/>
                <a:gd name="connsiteX242" fmla="*/ 481278 w 919668"/>
                <a:gd name="connsiteY242" fmla="*/ 581344 h 895844"/>
                <a:gd name="connsiteX243" fmla="*/ 495572 w 919668"/>
                <a:gd name="connsiteY243" fmla="*/ 600404 h 895844"/>
                <a:gd name="connsiteX244" fmla="*/ 500338 w 919668"/>
                <a:gd name="connsiteY244" fmla="*/ 609936 h 895844"/>
                <a:gd name="connsiteX245" fmla="*/ 557520 w 919668"/>
                <a:gd name="connsiteY245" fmla="*/ 667116 h 895844"/>
                <a:gd name="connsiteX246" fmla="*/ 581344 w 919668"/>
                <a:gd name="connsiteY246" fmla="*/ 676644 h 895844"/>
                <a:gd name="connsiteX247" fmla="*/ 586110 w 919668"/>
                <a:gd name="connsiteY247" fmla="*/ 681412 h 895844"/>
                <a:gd name="connsiteX248" fmla="*/ 586110 w 919668"/>
                <a:gd name="connsiteY248" fmla="*/ 705236 h 895844"/>
                <a:gd name="connsiteX249" fmla="*/ 590876 w 919668"/>
                <a:gd name="connsiteY249" fmla="*/ 710000 h 895844"/>
                <a:gd name="connsiteX250" fmla="*/ 605170 w 919668"/>
                <a:gd name="connsiteY250" fmla="*/ 733828 h 895844"/>
                <a:gd name="connsiteX251" fmla="*/ 643292 w 919668"/>
                <a:gd name="connsiteY251" fmla="*/ 767184 h 895844"/>
                <a:gd name="connsiteX252" fmla="*/ 648056 w 919668"/>
                <a:gd name="connsiteY252" fmla="*/ 776712 h 895844"/>
                <a:gd name="connsiteX253" fmla="*/ 648056 w 919668"/>
                <a:gd name="connsiteY253" fmla="*/ 781480 h 895844"/>
                <a:gd name="connsiteX254" fmla="*/ 643292 w 919668"/>
                <a:gd name="connsiteY254" fmla="*/ 786244 h 895844"/>
                <a:gd name="connsiteX255" fmla="*/ 633762 w 919668"/>
                <a:gd name="connsiteY255" fmla="*/ 791008 h 895844"/>
                <a:gd name="connsiteX256" fmla="*/ 628996 w 919668"/>
                <a:gd name="connsiteY256" fmla="*/ 786244 h 895844"/>
                <a:gd name="connsiteX257" fmla="*/ 595640 w 919668"/>
                <a:gd name="connsiteY257" fmla="*/ 752888 h 895844"/>
                <a:gd name="connsiteX258" fmla="*/ 567050 w 919668"/>
                <a:gd name="connsiteY258" fmla="*/ 733828 h 895844"/>
                <a:gd name="connsiteX259" fmla="*/ 528928 w 919668"/>
                <a:gd name="connsiteY259" fmla="*/ 690940 h 895844"/>
                <a:gd name="connsiteX260" fmla="*/ 481278 w 919668"/>
                <a:gd name="connsiteY260" fmla="*/ 676644 h 895844"/>
                <a:gd name="connsiteX261" fmla="*/ 447922 w 919668"/>
                <a:gd name="connsiteY261" fmla="*/ 662352 h 895844"/>
                <a:gd name="connsiteX262" fmla="*/ 428860 w 919668"/>
                <a:gd name="connsiteY262" fmla="*/ 662352 h 895844"/>
                <a:gd name="connsiteX263" fmla="*/ 409800 w 919668"/>
                <a:gd name="connsiteY263" fmla="*/ 667116 h 895844"/>
                <a:gd name="connsiteX264" fmla="*/ 395504 w 919668"/>
                <a:gd name="connsiteY264" fmla="*/ 667116 h 895844"/>
                <a:gd name="connsiteX265" fmla="*/ 385974 w 919668"/>
                <a:gd name="connsiteY265" fmla="*/ 667116 h 895844"/>
                <a:gd name="connsiteX266" fmla="*/ 381210 w 919668"/>
                <a:gd name="connsiteY266" fmla="*/ 652820 h 895844"/>
                <a:gd name="connsiteX267" fmla="*/ 381210 w 919668"/>
                <a:gd name="connsiteY267" fmla="*/ 648056 h 895844"/>
                <a:gd name="connsiteX268" fmla="*/ 381210 w 919668"/>
                <a:gd name="connsiteY268" fmla="*/ 638524 h 895844"/>
                <a:gd name="connsiteX269" fmla="*/ 362148 w 919668"/>
                <a:gd name="connsiteY269" fmla="*/ 619464 h 895844"/>
                <a:gd name="connsiteX270" fmla="*/ 333558 w 919668"/>
                <a:gd name="connsiteY270" fmla="*/ 605168 h 895844"/>
                <a:gd name="connsiteX271" fmla="*/ 309732 w 919668"/>
                <a:gd name="connsiteY271" fmla="*/ 581344 h 895844"/>
                <a:gd name="connsiteX272" fmla="*/ 262082 w 919668"/>
                <a:gd name="connsiteY272" fmla="*/ 524160 h 895844"/>
                <a:gd name="connsiteX273" fmla="*/ 252550 w 919668"/>
                <a:gd name="connsiteY273" fmla="*/ 505100 h 895844"/>
                <a:gd name="connsiteX274" fmla="*/ 262082 w 919668"/>
                <a:gd name="connsiteY274" fmla="*/ 505100 h 895844"/>
                <a:gd name="connsiteX275" fmla="*/ 266846 w 919668"/>
                <a:gd name="connsiteY275" fmla="*/ 505100 h 895844"/>
                <a:gd name="connsiteX276" fmla="*/ 276376 w 919668"/>
                <a:gd name="connsiteY276" fmla="*/ 500336 h 895844"/>
                <a:gd name="connsiteX277" fmla="*/ 290672 w 919668"/>
                <a:gd name="connsiteY277" fmla="*/ 500336 h 895844"/>
                <a:gd name="connsiteX278" fmla="*/ 304968 w 919668"/>
                <a:gd name="connsiteY278" fmla="*/ 505100 h 895844"/>
                <a:gd name="connsiteX279" fmla="*/ 290672 w 919668"/>
                <a:gd name="connsiteY279" fmla="*/ 490808 h 895844"/>
                <a:gd name="connsiteX280" fmla="*/ 276376 w 919668"/>
                <a:gd name="connsiteY280" fmla="*/ 476512 h 895844"/>
                <a:gd name="connsiteX281" fmla="*/ 228726 w 919668"/>
                <a:gd name="connsiteY281" fmla="*/ 428860 h 895844"/>
                <a:gd name="connsiteX282" fmla="*/ 214430 w 919668"/>
                <a:gd name="connsiteY282" fmla="*/ 409800 h 895844"/>
                <a:gd name="connsiteX283" fmla="*/ 214430 w 919668"/>
                <a:gd name="connsiteY283" fmla="*/ 381208 h 895844"/>
                <a:gd name="connsiteX284" fmla="*/ 219194 w 919668"/>
                <a:gd name="connsiteY284" fmla="*/ 347852 h 895844"/>
                <a:gd name="connsiteX285" fmla="*/ 209664 w 919668"/>
                <a:gd name="connsiteY285" fmla="*/ 324028 h 895844"/>
                <a:gd name="connsiteX286" fmla="*/ 176308 w 919668"/>
                <a:gd name="connsiteY286" fmla="*/ 295436 h 895844"/>
                <a:gd name="connsiteX287" fmla="*/ 162014 w 919668"/>
                <a:gd name="connsiteY287" fmla="*/ 276376 h 895844"/>
                <a:gd name="connsiteX288" fmla="*/ 138188 w 919668"/>
                <a:gd name="connsiteY288" fmla="*/ 266844 h 895844"/>
                <a:gd name="connsiteX289" fmla="*/ 123892 w 919668"/>
                <a:gd name="connsiteY289" fmla="*/ 266844 h 895844"/>
                <a:gd name="connsiteX290" fmla="*/ 119128 w 919668"/>
                <a:gd name="connsiteY290" fmla="*/ 281140 h 895844"/>
                <a:gd name="connsiteX291" fmla="*/ 114362 w 919668"/>
                <a:gd name="connsiteY291" fmla="*/ 309732 h 895844"/>
                <a:gd name="connsiteX292" fmla="*/ 90536 w 919668"/>
                <a:gd name="connsiteY292" fmla="*/ 343088 h 895844"/>
                <a:gd name="connsiteX293" fmla="*/ 81006 w 919668"/>
                <a:gd name="connsiteY293" fmla="*/ 357384 h 895844"/>
                <a:gd name="connsiteX294" fmla="*/ 71476 w 919668"/>
                <a:gd name="connsiteY294" fmla="*/ 381208 h 895844"/>
                <a:gd name="connsiteX295" fmla="*/ 61946 w 919668"/>
                <a:gd name="connsiteY295" fmla="*/ 381208 h 895844"/>
                <a:gd name="connsiteX296" fmla="*/ 52416 w 919668"/>
                <a:gd name="connsiteY296" fmla="*/ 376444 h 895844"/>
                <a:gd name="connsiteX297" fmla="*/ 38120 w 919668"/>
                <a:gd name="connsiteY297" fmla="*/ 343088 h 895844"/>
                <a:gd name="connsiteX298" fmla="*/ 19060 w 919668"/>
                <a:gd name="connsiteY298" fmla="*/ 319260 h 895844"/>
                <a:gd name="connsiteX299" fmla="*/ 14294 w 919668"/>
                <a:gd name="connsiteY299" fmla="*/ 304968 h 895844"/>
                <a:gd name="connsiteX300" fmla="*/ 14294 w 919668"/>
                <a:gd name="connsiteY300" fmla="*/ 290672 h 895844"/>
                <a:gd name="connsiteX301" fmla="*/ 0 w 919668"/>
                <a:gd name="connsiteY301" fmla="*/ 238256 h 895844"/>
                <a:gd name="connsiteX302" fmla="*/ 9530 w 919668"/>
                <a:gd name="connsiteY302" fmla="*/ 228724 h 895844"/>
                <a:gd name="connsiteX303" fmla="*/ 14294 w 919668"/>
                <a:gd name="connsiteY303" fmla="*/ 238256 h 895844"/>
                <a:gd name="connsiteX304" fmla="*/ 57180 w 919668"/>
                <a:gd name="connsiteY304" fmla="*/ 247784 h 895844"/>
                <a:gd name="connsiteX305" fmla="*/ 66710 w 919668"/>
                <a:gd name="connsiteY305" fmla="*/ 243020 h 895844"/>
                <a:gd name="connsiteX306" fmla="*/ 71476 w 919668"/>
                <a:gd name="connsiteY306" fmla="*/ 238256 h 895844"/>
                <a:gd name="connsiteX307" fmla="*/ 71476 w 919668"/>
                <a:gd name="connsiteY307" fmla="*/ 233488 h 895844"/>
                <a:gd name="connsiteX308" fmla="*/ 76242 w 919668"/>
                <a:gd name="connsiteY308" fmla="*/ 228724 h 895844"/>
                <a:gd name="connsiteX309" fmla="*/ 90536 w 919668"/>
                <a:gd name="connsiteY309" fmla="*/ 238256 h 895844"/>
                <a:gd name="connsiteX310" fmla="*/ 100066 w 919668"/>
                <a:gd name="connsiteY310" fmla="*/ 233488 h 895844"/>
                <a:gd name="connsiteX311" fmla="*/ 119128 w 919668"/>
                <a:gd name="connsiteY311" fmla="*/ 233488 h 895844"/>
                <a:gd name="connsiteX312" fmla="*/ 133422 w 919668"/>
                <a:gd name="connsiteY312" fmla="*/ 238256 h 895844"/>
                <a:gd name="connsiteX313" fmla="*/ 142952 w 919668"/>
                <a:gd name="connsiteY313" fmla="*/ 228724 h 895844"/>
                <a:gd name="connsiteX314" fmla="*/ 157248 w 919668"/>
                <a:gd name="connsiteY314" fmla="*/ 209664 h 895844"/>
                <a:gd name="connsiteX315" fmla="*/ 157248 w 919668"/>
                <a:gd name="connsiteY315" fmla="*/ 200132 h 895844"/>
                <a:gd name="connsiteX316" fmla="*/ 166778 w 919668"/>
                <a:gd name="connsiteY316" fmla="*/ 195368 h 895844"/>
                <a:gd name="connsiteX317" fmla="*/ 166778 w 919668"/>
                <a:gd name="connsiteY317" fmla="*/ 200132 h 895844"/>
                <a:gd name="connsiteX318" fmla="*/ 171544 w 919668"/>
                <a:gd name="connsiteY318" fmla="*/ 209664 h 895844"/>
                <a:gd name="connsiteX319" fmla="*/ 176308 w 919668"/>
                <a:gd name="connsiteY319" fmla="*/ 214428 h 895844"/>
                <a:gd name="connsiteX320" fmla="*/ 190604 w 919668"/>
                <a:gd name="connsiteY320" fmla="*/ 228724 h 895844"/>
                <a:gd name="connsiteX321" fmla="*/ 200134 w 919668"/>
                <a:gd name="connsiteY321" fmla="*/ 238256 h 895844"/>
                <a:gd name="connsiteX322" fmla="*/ 209664 w 919668"/>
                <a:gd name="connsiteY322" fmla="*/ 238256 h 895844"/>
                <a:gd name="connsiteX323" fmla="*/ 214430 w 919668"/>
                <a:gd name="connsiteY323" fmla="*/ 233488 h 895844"/>
                <a:gd name="connsiteX324" fmla="*/ 223960 w 919668"/>
                <a:gd name="connsiteY324" fmla="*/ 233488 h 895844"/>
                <a:gd name="connsiteX325" fmla="*/ 247786 w 919668"/>
                <a:gd name="connsiteY325" fmla="*/ 243020 h 895844"/>
                <a:gd name="connsiteX326" fmla="*/ 271612 w 919668"/>
                <a:gd name="connsiteY326" fmla="*/ 247784 h 895844"/>
                <a:gd name="connsiteX327" fmla="*/ 285906 w 919668"/>
                <a:gd name="connsiteY327" fmla="*/ 238256 h 895844"/>
                <a:gd name="connsiteX328" fmla="*/ 281142 w 919668"/>
                <a:gd name="connsiteY328" fmla="*/ 233488 h 895844"/>
                <a:gd name="connsiteX329" fmla="*/ 276376 w 919668"/>
                <a:gd name="connsiteY329" fmla="*/ 223960 h 895844"/>
                <a:gd name="connsiteX330" fmla="*/ 276376 w 919668"/>
                <a:gd name="connsiteY330" fmla="*/ 214428 h 895844"/>
                <a:gd name="connsiteX331" fmla="*/ 276376 w 919668"/>
                <a:gd name="connsiteY331" fmla="*/ 204900 h 895844"/>
                <a:gd name="connsiteX332" fmla="*/ 285906 w 919668"/>
                <a:gd name="connsiteY332" fmla="*/ 200132 h 895844"/>
                <a:gd name="connsiteX333" fmla="*/ 285906 w 919668"/>
                <a:gd name="connsiteY333" fmla="*/ 195368 h 895844"/>
                <a:gd name="connsiteX334" fmla="*/ 276376 w 919668"/>
                <a:gd name="connsiteY334" fmla="*/ 181072 h 895844"/>
                <a:gd name="connsiteX335" fmla="*/ 304968 w 919668"/>
                <a:gd name="connsiteY335" fmla="*/ 166776 h 895844"/>
                <a:gd name="connsiteX336" fmla="*/ 328792 w 919668"/>
                <a:gd name="connsiteY336" fmla="*/ 157248 h 895844"/>
                <a:gd name="connsiteX337" fmla="*/ 333558 w 919668"/>
                <a:gd name="connsiteY337" fmla="*/ 152484 h 895844"/>
                <a:gd name="connsiteX338" fmla="*/ 338324 w 919668"/>
                <a:gd name="connsiteY338" fmla="*/ 142952 h 895844"/>
                <a:gd name="connsiteX339" fmla="*/ 338324 w 919668"/>
                <a:gd name="connsiteY339" fmla="*/ 123892 h 895844"/>
                <a:gd name="connsiteX340" fmla="*/ 338324 w 919668"/>
                <a:gd name="connsiteY340" fmla="*/ 109596 h 895844"/>
                <a:gd name="connsiteX341" fmla="*/ 324028 w 919668"/>
                <a:gd name="connsiteY341" fmla="*/ 95300 h 895844"/>
                <a:gd name="connsiteX342" fmla="*/ 324028 w 919668"/>
                <a:gd name="connsiteY342" fmla="*/ 90536 h 895844"/>
                <a:gd name="connsiteX343" fmla="*/ 328792 w 919668"/>
                <a:gd name="connsiteY343" fmla="*/ 81004 h 895844"/>
                <a:gd name="connsiteX344" fmla="*/ 333558 w 919668"/>
                <a:gd name="connsiteY344" fmla="*/ 76240 h 895844"/>
                <a:gd name="connsiteX345" fmla="*/ 343088 w 919668"/>
                <a:gd name="connsiteY345" fmla="*/ 71476 h 895844"/>
                <a:gd name="connsiteX346" fmla="*/ 352618 w 919668"/>
                <a:gd name="connsiteY346" fmla="*/ 66708 h 895844"/>
                <a:gd name="connsiteX347" fmla="*/ 362148 w 919668"/>
                <a:gd name="connsiteY347" fmla="*/ 61944 h 895844"/>
                <a:gd name="connsiteX348" fmla="*/ 376444 w 919668"/>
                <a:gd name="connsiteY348" fmla="*/ 57180 h 895844"/>
                <a:gd name="connsiteX349" fmla="*/ 390740 w 919668"/>
                <a:gd name="connsiteY349" fmla="*/ 52416 h 895844"/>
                <a:gd name="connsiteX350" fmla="*/ 400270 w 919668"/>
                <a:gd name="connsiteY350" fmla="*/ 38120 h 895844"/>
                <a:gd name="connsiteX351" fmla="*/ 405036 w 919668"/>
                <a:gd name="connsiteY351" fmla="*/ 33352 h 895844"/>
                <a:gd name="connsiteX352" fmla="*/ 424096 w 919668"/>
                <a:gd name="connsiteY352" fmla="*/ 38120 h 895844"/>
                <a:gd name="connsiteX353" fmla="*/ 428860 w 919668"/>
                <a:gd name="connsiteY353" fmla="*/ 33352 h 895844"/>
                <a:gd name="connsiteX354" fmla="*/ 424096 w 919668"/>
                <a:gd name="connsiteY354" fmla="*/ 9528 h 895844"/>
                <a:gd name="connsiteX355" fmla="*/ 428860 w 919668"/>
                <a:gd name="connsiteY355" fmla="*/ 4764 h 895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919668" h="895844">
                  <a:moveTo>
                    <a:pt x="605170" y="819600"/>
                  </a:moveTo>
                  <a:lnTo>
                    <a:pt x="609936" y="819600"/>
                  </a:lnTo>
                  <a:lnTo>
                    <a:pt x="638526" y="824364"/>
                  </a:lnTo>
                  <a:lnTo>
                    <a:pt x="662352" y="843428"/>
                  </a:lnTo>
                  <a:lnTo>
                    <a:pt x="595640" y="824364"/>
                  </a:lnTo>
                  <a:close/>
                  <a:moveTo>
                    <a:pt x="490808" y="776716"/>
                  </a:moveTo>
                  <a:lnTo>
                    <a:pt x="519398" y="786244"/>
                  </a:lnTo>
                  <a:lnTo>
                    <a:pt x="538458" y="781480"/>
                  </a:lnTo>
                  <a:lnTo>
                    <a:pt x="557518" y="786244"/>
                  </a:lnTo>
                  <a:lnTo>
                    <a:pt x="571814" y="791008"/>
                  </a:lnTo>
                  <a:lnTo>
                    <a:pt x="571814" y="795776"/>
                  </a:lnTo>
                  <a:lnTo>
                    <a:pt x="557518" y="795776"/>
                  </a:lnTo>
                  <a:lnTo>
                    <a:pt x="543224" y="791008"/>
                  </a:lnTo>
                  <a:lnTo>
                    <a:pt x="519398" y="800540"/>
                  </a:lnTo>
                  <a:lnTo>
                    <a:pt x="505102" y="795776"/>
                  </a:lnTo>
                  <a:lnTo>
                    <a:pt x="495572" y="791008"/>
                  </a:lnTo>
                  <a:lnTo>
                    <a:pt x="490808" y="786244"/>
                  </a:lnTo>
                  <a:close/>
                  <a:moveTo>
                    <a:pt x="552752" y="771950"/>
                  </a:moveTo>
                  <a:lnTo>
                    <a:pt x="562284" y="771950"/>
                  </a:lnTo>
                  <a:lnTo>
                    <a:pt x="581344" y="771950"/>
                  </a:lnTo>
                  <a:lnTo>
                    <a:pt x="657586" y="810070"/>
                  </a:lnTo>
                  <a:lnTo>
                    <a:pt x="648056" y="800540"/>
                  </a:lnTo>
                  <a:lnTo>
                    <a:pt x="662350" y="795776"/>
                  </a:lnTo>
                  <a:lnTo>
                    <a:pt x="671882" y="800540"/>
                  </a:lnTo>
                  <a:lnTo>
                    <a:pt x="676646" y="810070"/>
                  </a:lnTo>
                  <a:lnTo>
                    <a:pt x="686176" y="819602"/>
                  </a:lnTo>
                  <a:lnTo>
                    <a:pt x="710002" y="833896"/>
                  </a:lnTo>
                  <a:lnTo>
                    <a:pt x="719532" y="843426"/>
                  </a:lnTo>
                  <a:lnTo>
                    <a:pt x="748124" y="862488"/>
                  </a:lnTo>
                  <a:lnTo>
                    <a:pt x="752888" y="867252"/>
                  </a:lnTo>
                  <a:lnTo>
                    <a:pt x="767184" y="872018"/>
                  </a:lnTo>
                  <a:lnTo>
                    <a:pt x="767184" y="876782"/>
                  </a:lnTo>
                  <a:lnTo>
                    <a:pt x="776714" y="886312"/>
                  </a:lnTo>
                  <a:lnTo>
                    <a:pt x="781480" y="895844"/>
                  </a:lnTo>
                  <a:lnTo>
                    <a:pt x="752888" y="876782"/>
                  </a:lnTo>
                  <a:lnTo>
                    <a:pt x="724298" y="857722"/>
                  </a:lnTo>
                  <a:lnTo>
                    <a:pt x="671882" y="819602"/>
                  </a:lnTo>
                  <a:lnTo>
                    <a:pt x="633760" y="810070"/>
                  </a:lnTo>
                  <a:lnTo>
                    <a:pt x="586108" y="786246"/>
                  </a:lnTo>
                  <a:close/>
                  <a:moveTo>
                    <a:pt x="447920" y="729064"/>
                  </a:moveTo>
                  <a:lnTo>
                    <a:pt x="471746" y="729064"/>
                  </a:lnTo>
                  <a:lnTo>
                    <a:pt x="490808" y="729064"/>
                  </a:lnTo>
                  <a:lnTo>
                    <a:pt x="495572" y="738592"/>
                  </a:lnTo>
                  <a:lnTo>
                    <a:pt x="552754" y="748124"/>
                  </a:lnTo>
                  <a:lnTo>
                    <a:pt x="576580" y="748124"/>
                  </a:lnTo>
                  <a:lnTo>
                    <a:pt x="562284" y="752888"/>
                  </a:lnTo>
                  <a:lnTo>
                    <a:pt x="495572" y="752888"/>
                  </a:lnTo>
                  <a:lnTo>
                    <a:pt x="476512" y="748124"/>
                  </a:lnTo>
                  <a:lnTo>
                    <a:pt x="452686" y="733828"/>
                  </a:lnTo>
                  <a:close/>
                  <a:moveTo>
                    <a:pt x="457452" y="695708"/>
                  </a:moveTo>
                  <a:lnTo>
                    <a:pt x="481276" y="695708"/>
                  </a:lnTo>
                  <a:lnTo>
                    <a:pt x="519398" y="700472"/>
                  </a:lnTo>
                  <a:lnTo>
                    <a:pt x="528928" y="710004"/>
                  </a:lnTo>
                  <a:lnTo>
                    <a:pt x="524162" y="714768"/>
                  </a:lnTo>
                  <a:lnTo>
                    <a:pt x="509868" y="719532"/>
                  </a:lnTo>
                  <a:lnTo>
                    <a:pt x="486042" y="719532"/>
                  </a:lnTo>
                  <a:lnTo>
                    <a:pt x="466982" y="714768"/>
                  </a:lnTo>
                  <a:lnTo>
                    <a:pt x="452686" y="710004"/>
                  </a:lnTo>
                  <a:lnTo>
                    <a:pt x="457452" y="705236"/>
                  </a:lnTo>
                  <a:close/>
                  <a:moveTo>
                    <a:pt x="276376" y="562284"/>
                  </a:moveTo>
                  <a:lnTo>
                    <a:pt x="290672" y="567048"/>
                  </a:lnTo>
                  <a:lnTo>
                    <a:pt x="300202" y="586108"/>
                  </a:lnTo>
                  <a:lnTo>
                    <a:pt x="290672" y="581344"/>
                  </a:lnTo>
                  <a:lnTo>
                    <a:pt x="281142" y="571812"/>
                  </a:lnTo>
                  <a:close/>
                  <a:moveTo>
                    <a:pt x="243020" y="528928"/>
                  </a:moveTo>
                  <a:lnTo>
                    <a:pt x="266846" y="547988"/>
                  </a:lnTo>
                  <a:lnTo>
                    <a:pt x="271612" y="557520"/>
                  </a:lnTo>
                  <a:lnTo>
                    <a:pt x="252550" y="543224"/>
                  </a:lnTo>
                  <a:lnTo>
                    <a:pt x="243020" y="533692"/>
                  </a:lnTo>
                  <a:close/>
                  <a:moveTo>
                    <a:pt x="209664" y="524164"/>
                  </a:moveTo>
                  <a:lnTo>
                    <a:pt x="223960" y="538456"/>
                  </a:lnTo>
                  <a:lnTo>
                    <a:pt x="262080" y="576580"/>
                  </a:lnTo>
                  <a:lnTo>
                    <a:pt x="262080" y="581344"/>
                  </a:lnTo>
                  <a:lnTo>
                    <a:pt x="262080" y="586108"/>
                  </a:lnTo>
                  <a:lnTo>
                    <a:pt x="257314" y="581344"/>
                  </a:lnTo>
                  <a:lnTo>
                    <a:pt x="252550" y="581344"/>
                  </a:lnTo>
                  <a:lnTo>
                    <a:pt x="214430" y="533692"/>
                  </a:lnTo>
                  <a:close/>
                  <a:moveTo>
                    <a:pt x="195370" y="414564"/>
                  </a:moveTo>
                  <a:lnTo>
                    <a:pt x="200134" y="419328"/>
                  </a:lnTo>
                  <a:lnTo>
                    <a:pt x="209664" y="428860"/>
                  </a:lnTo>
                  <a:lnTo>
                    <a:pt x="214430" y="428860"/>
                  </a:lnTo>
                  <a:lnTo>
                    <a:pt x="233490" y="447920"/>
                  </a:lnTo>
                  <a:lnTo>
                    <a:pt x="247786" y="466980"/>
                  </a:lnTo>
                  <a:lnTo>
                    <a:pt x="271612" y="486040"/>
                  </a:lnTo>
                  <a:lnTo>
                    <a:pt x="266846" y="486040"/>
                  </a:lnTo>
                  <a:lnTo>
                    <a:pt x="262080" y="490804"/>
                  </a:lnTo>
                  <a:lnTo>
                    <a:pt x="257316" y="495572"/>
                  </a:lnTo>
                  <a:lnTo>
                    <a:pt x="247786" y="486040"/>
                  </a:lnTo>
                  <a:lnTo>
                    <a:pt x="238256" y="476512"/>
                  </a:lnTo>
                  <a:lnTo>
                    <a:pt x="233490" y="466980"/>
                  </a:lnTo>
                  <a:lnTo>
                    <a:pt x="219194" y="457452"/>
                  </a:lnTo>
                  <a:lnTo>
                    <a:pt x="214430" y="443156"/>
                  </a:lnTo>
                  <a:close/>
                  <a:moveTo>
                    <a:pt x="185840" y="376444"/>
                  </a:moveTo>
                  <a:lnTo>
                    <a:pt x="195370" y="376444"/>
                  </a:lnTo>
                  <a:lnTo>
                    <a:pt x="195370" y="381208"/>
                  </a:lnTo>
                  <a:lnTo>
                    <a:pt x="204900" y="395504"/>
                  </a:lnTo>
                  <a:lnTo>
                    <a:pt x="209664" y="405036"/>
                  </a:lnTo>
                  <a:lnTo>
                    <a:pt x="195370" y="395504"/>
                  </a:lnTo>
                  <a:lnTo>
                    <a:pt x="181074" y="395504"/>
                  </a:lnTo>
                  <a:lnTo>
                    <a:pt x="181074" y="385972"/>
                  </a:lnTo>
                  <a:lnTo>
                    <a:pt x="181074" y="381208"/>
                  </a:lnTo>
                  <a:close/>
                  <a:moveTo>
                    <a:pt x="128658" y="304968"/>
                  </a:moveTo>
                  <a:lnTo>
                    <a:pt x="133422" y="304968"/>
                  </a:lnTo>
                  <a:lnTo>
                    <a:pt x="133422" y="324028"/>
                  </a:lnTo>
                  <a:lnTo>
                    <a:pt x="138188" y="338320"/>
                  </a:lnTo>
                  <a:lnTo>
                    <a:pt x="147718" y="347852"/>
                  </a:lnTo>
                  <a:lnTo>
                    <a:pt x="147718" y="371676"/>
                  </a:lnTo>
                  <a:lnTo>
                    <a:pt x="147718" y="405032"/>
                  </a:lnTo>
                  <a:lnTo>
                    <a:pt x="152484" y="409800"/>
                  </a:lnTo>
                  <a:lnTo>
                    <a:pt x="152484" y="419328"/>
                  </a:lnTo>
                  <a:lnTo>
                    <a:pt x="152484" y="428860"/>
                  </a:lnTo>
                  <a:lnTo>
                    <a:pt x="142952" y="414564"/>
                  </a:lnTo>
                  <a:lnTo>
                    <a:pt x="138188" y="395504"/>
                  </a:lnTo>
                  <a:lnTo>
                    <a:pt x="123892" y="366912"/>
                  </a:lnTo>
                  <a:lnTo>
                    <a:pt x="123892" y="357384"/>
                  </a:lnTo>
                  <a:lnTo>
                    <a:pt x="128658" y="347852"/>
                  </a:lnTo>
                  <a:lnTo>
                    <a:pt x="128658" y="338320"/>
                  </a:lnTo>
                  <a:lnTo>
                    <a:pt x="119128" y="309732"/>
                  </a:lnTo>
                  <a:close/>
                  <a:moveTo>
                    <a:pt x="166778" y="295436"/>
                  </a:moveTo>
                  <a:lnTo>
                    <a:pt x="176308" y="304968"/>
                  </a:lnTo>
                  <a:lnTo>
                    <a:pt x="185838" y="324028"/>
                  </a:lnTo>
                  <a:lnTo>
                    <a:pt x="190604" y="328792"/>
                  </a:lnTo>
                  <a:lnTo>
                    <a:pt x="200134" y="347852"/>
                  </a:lnTo>
                  <a:lnTo>
                    <a:pt x="181074" y="352620"/>
                  </a:lnTo>
                  <a:lnTo>
                    <a:pt x="176308" y="343088"/>
                  </a:lnTo>
                  <a:lnTo>
                    <a:pt x="171544" y="338324"/>
                  </a:lnTo>
                  <a:lnTo>
                    <a:pt x="157248" y="333556"/>
                  </a:lnTo>
                  <a:lnTo>
                    <a:pt x="147718" y="324028"/>
                  </a:lnTo>
                  <a:lnTo>
                    <a:pt x="142952" y="319260"/>
                  </a:lnTo>
                  <a:lnTo>
                    <a:pt x="157248" y="309732"/>
                  </a:lnTo>
                  <a:close/>
                  <a:moveTo>
                    <a:pt x="433626" y="0"/>
                  </a:moveTo>
                  <a:lnTo>
                    <a:pt x="438390" y="0"/>
                  </a:lnTo>
                  <a:lnTo>
                    <a:pt x="452686" y="0"/>
                  </a:lnTo>
                  <a:lnTo>
                    <a:pt x="466982" y="4764"/>
                  </a:lnTo>
                  <a:lnTo>
                    <a:pt x="476512" y="9528"/>
                  </a:lnTo>
                  <a:lnTo>
                    <a:pt x="505102" y="23824"/>
                  </a:lnTo>
                  <a:lnTo>
                    <a:pt x="524164" y="42884"/>
                  </a:lnTo>
                  <a:lnTo>
                    <a:pt x="533694" y="61944"/>
                  </a:lnTo>
                  <a:lnTo>
                    <a:pt x="547988" y="76240"/>
                  </a:lnTo>
                  <a:lnTo>
                    <a:pt x="567050" y="90536"/>
                  </a:lnTo>
                  <a:lnTo>
                    <a:pt x="581344" y="104832"/>
                  </a:lnTo>
                  <a:lnTo>
                    <a:pt x="590876" y="119128"/>
                  </a:lnTo>
                  <a:lnTo>
                    <a:pt x="609936" y="133420"/>
                  </a:lnTo>
                  <a:lnTo>
                    <a:pt x="628996" y="133420"/>
                  </a:lnTo>
                  <a:lnTo>
                    <a:pt x="638526" y="138188"/>
                  </a:lnTo>
                  <a:lnTo>
                    <a:pt x="643292" y="147716"/>
                  </a:lnTo>
                  <a:lnTo>
                    <a:pt x="657586" y="157248"/>
                  </a:lnTo>
                  <a:lnTo>
                    <a:pt x="671882" y="166776"/>
                  </a:lnTo>
                  <a:lnTo>
                    <a:pt x="695708" y="171544"/>
                  </a:lnTo>
                  <a:lnTo>
                    <a:pt x="743360" y="171544"/>
                  </a:lnTo>
                  <a:lnTo>
                    <a:pt x="748124" y="171544"/>
                  </a:lnTo>
                  <a:lnTo>
                    <a:pt x="757654" y="176308"/>
                  </a:lnTo>
                  <a:lnTo>
                    <a:pt x="767184" y="171544"/>
                  </a:lnTo>
                  <a:lnTo>
                    <a:pt x="786246" y="166776"/>
                  </a:lnTo>
                  <a:lnTo>
                    <a:pt x="791010" y="162012"/>
                  </a:lnTo>
                  <a:lnTo>
                    <a:pt x="805306" y="142952"/>
                  </a:lnTo>
                  <a:lnTo>
                    <a:pt x="814836" y="142952"/>
                  </a:lnTo>
                  <a:lnTo>
                    <a:pt x="829132" y="138188"/>
                  </a:lnTo>
                  <a:lnTo>
                    <a:pt x="843426" y="133420"/>
                  </a:lnTo>
                  <a:lnTo>
                    <a:pt x="843426" y="142952"/>
                  </a:lnTo>
                  <a:lnTo>
                    <a:pt x="838662" y="152484"/>
                  </a:lnTo>
                  <a:lnTo>
                    <a:pt x="833896" y="157248"/>
                  </a:lnTo>
                  <a:lnTo>
                    <a:pt x="838662" y="171544"/>
                  </a:lnTo>
                  <a:lnTo>
                    <a:pt x="848192" y="195368"/>
                  </a:lnTo>
                  <a:lnTo>
                    <a:pt x="843426" y="209664"/>
                  </a:lnTo>
                  <a:lnTo>
                    <a:pt x="848192" y="219192"/>
                  </a:lnTo>
                  <a:lnTo>
                    <a:pt x="867252" y="223960"/>
                  </a:lnTo>
                  <a:lnTo>
                    <a:pt x="867252" y="228724"/>
                  </a:lnTo>
                  <a:lnTo>
                    <a:pt x="862488" y="233488"/>
                  </a:lnTo>
                  <a:lnTo>
                    <a:pt x="857722" y="238256"/>
                  </a:lnTo>
                  <a:lnTo>
                    <a:pt x="857722" y="252548"/>
                  </a:lnTo>
                  <a:lnTo>
                    <a:pt x="872018" y="266844"/>
                  </a:lnTo>
                  <a:lnTo>
                    <a:pt x="900608" y="281140"/>
                  </a:lnTo>
                  <a:lnTo>
                    <a:pt x="910138" y="285904"/>
                  </a:lnTo>
                  <a:lnTo>
                    <a:pt x="910138" y="290672"/>
                  </a:lnTo>
                  <a:lnTo>
                    <a:pt x="914904" y="290672"/>
                  </a:lnTo>
                  <a:lnTo>
                    <a:pt x="919668" y="295436"/>
                  </a:lnTo>
                  <a:lnTo>
                    <a:pt x="919668" y="300200"/>
                  </a:lnTo>
                  <a:lnTo>
                    <a:pt x="919668" y="304968"/>
                  </a:lnTo>
                  <a:lnTo>
                    <a:pt x="905374" y="304968"/>
                  </a:lnTo>
                  <a:lnTo>
                    <a:pt x="891078" y="304968"/>
                  </a:lnTo>
                  <a:lnTo>
                    <a:pt x="876782" y="300200"/>
                  </a:lnTo>
                  <a:lnTo>
                    <a:pt x="876782" y="304968"/>
                  </a:lnTo>
                  <a:lnTo>
                    <a:pt x="876782" y="309732"/>
                  </a:lnTo>
                  <a:lnTo>
                    <a:pt x="867252" y="314496"/>
                  </a:lnTo>
                  <a:lnTo>
                    <a:pt x="872018" y="347852"/>
                  </a:lnTo>
                  <a:lnTo>
                    <a:pt x="872018" y="357384"/>
                  </a:lnTo>
                  <a:lnTo>
                    <a:pt x="867252" y="362148"/>
                  </a:lnTo>
                  <a:lnTo>
                    <a:pt x="862488" y="362148"/>
                  </a:lnTo>
                  <a:lnTo>
                    <a:pt x="857722" y="362148"/>
                  </a:lnTo>
                  <a:lnTo>
                    <a:pt x="857722" y="371676"/>
                  </a:lnTo>
                  <a:lnTo>
                    <a:pt x="848192" y="371676"/>
                  </a:lnTo>
                  <a:lnTo>
                    <a:pt x="829132" y="366912"/>
                  </a:lnTo>
                  <a:lnTo>
                    <a:pt x="824366" y="362148"/>
                  </a:lnTo>
                  <a:lnTo>
                    <a:pt x="824366" y="352616"/>
                  </a:lnTo>
                  <a:lnTo>
                    <a:pt x="824366" y="347852"/>
                  </a:lnTo>
                  <a:lnTo>
                    <a:pt x="819602" y="338320"/>
                  </a:lnTo>
                  <a:lnTo>
                    <a:pt x="805306" y="324028"/>
                  </a:lnTo>
                  <a:lnTo>
                    <a:pt x="776716" y="324028"/>
                  </a:lnTo>
                  <a:lnTo>
                    <a:pt x="767184" y="319260"/>
                  </a:lnTo>
                  <a:lnTo>
                    <a:pt x="757654" y="314496"/>
                  </a:lnTo>
                  <a:lnTo>
                    <a:pt x="743360" y="314496"/>
                  </a:lnTo>
                  <a:lnTo>
                    <a:pt x="733828" y="314496"/>
                  </a:lnTo>
                  <a:lnTo>
                    <a:pt x="724298" y="314496"/>
                  </a:lnTo>
                  <a:lnTo>
                    <a:pt x="700474" y="309732"/>
                  </a:lnTo>
                  <a:lnTo>
                    <a:pt x="690942" y="319260"/>
                  </a:lnTo>
                  <a:lnTo>
                    <a:pt x="681412" y="324028"/>
                  </a:lnTo>
                  <a:lnTo>
                    <a:pt x="671882" y="324028"/>
                  </a:lnTo>
                  <a:lnTo>
                    <a:pt x="652822" y="309732"/>
                  </a:lnTo>
                  <a:lnTo>
                    <a:pt x="648056" y="304968"/>
                  </a:lnTo>
                  <a:lnTo>
                    <a:pt x="628996" y="314496"/>
                  </a:lnTo>
                  <a:lnTo>
                    <a:pt x="624232" y="314496"/>
                  </a:lnTo>
                  <a:lnTo>
                    <a:pt x="619466" y="314496"/>
                  </a:lnTo>
                  <a:lnTo>
                    <a:pt x="595640" y="304968"/>
                  </a:lnTo>
                  <a:lnTo>
                    <a:pt x="586110" y="304968"/>
                  </a:lnTo>
                  <a:lnTo>
                    <a:pt x="576580" y="309732"/>
                  </a:lnTo>
                  <a:lnTo>
                    <a:pt x="562284" y="304968"/>
                  </a:lnTo>
                  <a:lnTo>
                    <a:pt x="533694" y="281140"/>
                  </a:lnTo>
                  <a:lnTo>
                    <a:pt x="509868" y="300200"/>
                  </a:lnTo>
                  <a:lnTo>
                    <a:pt x="471746" y="295436"/>
                  </a:lnTo>
                  <a:lnTo>
                    <a:pt x="457452" y="309732"/>
                  </a:lnTo>
                  <a:lnTo>
                    <a:pt x="447922" y="328792"/>
                  </a:lnTo>
                  <a:lnTo>
                    <a:pt x="433626" y="343088"/>
                  </a:lnTo>
                  <a:lnTo>
                    <a:pt x="424096" y="338320"/>
                  </a:lnTo>
                  <a:lnTo>
                    <a:pt x="414566" y="328792"/>
                  </a:lnTo>
                  <a:lnTo>
                    <a:pt x="390740" y="300200"/>
                  </a:lnTo>
                  <a:lnTo>
                    <a:pt x="381210" y="295436"/>
                  </a:lnTo>
                  <a:lnTo>
                    <a:pt x="371680" y="295436"/>
                  </a:lnTo>
                  <a:lnTo>
                    <a:pt x="362148" y="300200"/>
                  </a:lnTo>
                  <a:lnTo>
                    <a:pt x="357384" y="304968"/>
                  </a:lnTo>
                  <a:lnTo>
                    <a:pt x="352618" y="343088"/>
                  </a:lnTo>
                  <a:lnTo>
                    <a:pt x="347854" y="376444"/>
                  </a:lnTo>
                  <a:lnTo>
                    <a:pt x="347854" y="395504"/>
                  </a:lnTo>
                  <a:lnTo>
                    <a:pt x="371680" y="414564"/>
                  </a:lnTo>
                  <a:lnTo>
                    <a:pt x="395504" y="443156"/>
                  </a:lnTo>
                  <a:lnTo>
                    <a:pt x="405036" y="447920"/>
                  </a:lnTo>
                  <a:lnTo>
                    <a:pt x="409800" y="457452"/>
                  </a:lnTo>
                  <a:lnTo>
                    <a:pt x="414566" y="486040"/>
                  </a:lnTo>
                  <a:lnTo>
                    <a:pt x="424096" y="514632"/>
                  </a:lnTo>
                  <a:lnTo>
                    <a:pt x="433626" y="533692"/>
                  </a:lnTo>
                  <a:lnTo>
                    <a:pt x="447922" y="547988"/>
                  </a:lnTo>
                  <a:lnTo>
                    <a:pt x="462216" y="562284"/>
                  </a:lnTo>
                  <a:lnTo>
                    <a:pt x="481278" y="581344"/>
                  </a:lnTo>
                  <a:lnTo>
                    <a:pt x="495572" y="600404"/>
                  </a:lnTo>
                  <a:lnTo>
                    <a:pt x="500338" y="609936"/>
                  </a:lnTo>
                  <a:lnTo>
                    <a:pt x="557520" y="667116"/>
                  </a:lnTo>
                  <a:lnTo>
                    <a:pt x="581344" y="676644"/>
                  </a:lnTo>
                  <a:lnTo>
                    <a:pt x="586110" y="681412"/>
                  </a:lnTo>
                  <a:lnTo>
                    <a:pt x="586110" y="705236"/>
                  </a:lnTo>
                  <a:lnTo>
                    <a:pt x="590876" y="710000"/>
                  </a:lnTo>
                  <a:lnTo>
                    <a:pt x="605170" y="733828"/>
                  </a:lnTo>
                  <a:lnTo>
                    <a:pt x="643292" y="767184"/>
                  </a:lnTo>
                  <a:lnTo>
                    <a:pt x="648056" y="776712"/>
                  </a:lnTo>
                  <a:lnTo>
                    <a:pt x="648056" y="781480"/>
                  </a:lnTo>
                  <a:lnTo>
                    <a:pt x="643292" y="786244"/>
                  </a:lnTo>
                  <a:lnTo>
                    <a:pt x="633762" y="791008"/>
                  </a:lnTo>
                  <a:lnTo>
                    <a:pt x="628996" y="786244"/>
                  </a:lnTo>
                  <a:lnTo>
                    <a:pt x="595640" y="752888"/>
                  </a:lnTo>
                  <a:lnTo>
                    <a:pt x="567050" y="733828"/>
                  </a:lnTo>
                  <a:lnTo>
                    <a:pt x="528928" y="690940"/>
                  </a:lnTo>
                  <a:lnTo>
                    <a:pt x="481278" y="676644"/>
                  </a:lnTo>
                  <a:lnTo>
                    <a:pt x="447922" y="662352"/>
                  </a:lnTo>
                  <a:lnTo>
                    <a:pt x="428860" y="662352"/>
                  </a:lnTo>
                  <a:lnTo>
                    <a:pt x="409800" y="667116"/>
                  </a:lnTo>
                  <a:lnTo>
                    <a:pt x="395504" y="667116"/>
                  </a:lnTo>
                  <a:lnTo>
                    <a:pt x="385974" y="667116"/>
                  </a:lnTo>
                  <a:lnTo>
                    <a:pt x="381210" y="652820"/>
                  </a:lnTo>
                  <a:lnTo>
                    <a:pt x="381210" y="648056"/>
                  </a:lnTo>
                  <a:lnTo>
                    <a:pt x="381210" y="638524"/>
                  </a:lnTo>
                  <a:lnTo>
                    <a:pt x="362148" y="619464"/>
                  </a:lnTo>
                  <a:lnTo>
                    <a:pt x="333558" y="605168"/>
                  </a:lnTo>
                  <a:lnTo>
                    <a:pt x="309732" y="581344"/>
                  </a:lnTo>
                  <a:lnTo>
                    <a:pt x="262082" y="524160"/>
                  </a:lnTo>
                  <a:lnTo>
                    <a:pt x="252550" y="505100"/>
                  </a:lnTo>
                  <a:lnTo>
                    <a:pt x="262082" y="505100"/>
                  </a:lnTo>
                  <a:lnTo>
                    <a:pt x="266846" y="505100"/>
                  </a:lnTo>
                  <a:lnTo>
                    <a:pt x="276376" y="500336"/>
                  </a:lnTo>
                  <a:lnTo>
                    <a:pt x="290672" y="500336"/>
                  </a:lnTo>
                  <a:lnTo>
                    <a:pt x="304968" y="505100"/>
                  </a:lnTo>
                  <a:lnTo>
                    <a:pt x="290672" y="490808"/>
                  </a:lnTo>
                  <a:lnTo>
                    <a:pt x="276376" y="476512"/>
                  </a:lnTo>
                  <a:lnTo>
                    <a:pt x="228726" y="428860"/>
                  </a:lnTo>
                  <a:lnTo>
                    <a:pt x="214430" y="409800"/>
                  </a:lnTo>
                  <a:lnTo>
                    <a:pt x="214430" y="381208"/>
                  </a:lnTo>
                  <a:lnTo>
                    <a:pt x="219194" y="347852"/>
                  </a:lnTo>
                  <a:lnTo>
                    <a:pt x="209664" y="324028"/>
                  </a:lnTo>
                  <a:lnTo>
                    <a:pt x="176308" y="295436"/>
                  </a:lnTo>
                  <a:lnTo>
                    <a:pt x="162014" y="276376"/>
                  </a:lnTo>
                  <a:lnTo>
                    <a:pt x="138188" y="266844"/>
                  </a:lnTo>
                  <a:lnTo>
                    <a:pt x="123892" y="266844"/>
                  </a:lnTo>
                  <a:lnTo>
                    <a:pt x="119128" y="281140"/>
                  </a:lnTo>
                  <a:lnTo>
                    <a:pt x="114362" y="309732"/>
                  </a:lnTo>
                  <a:lnTo>
                    <a:pt x="90536" y="343088"/>
                  </a:lnTo>
                  <a:lnTo>
                    <a:pt x="81006" y="357384"/>
                  </a:lnTo>
                  <a:lnTo>
                    <a:pt x="71476" y="381208"/>
                  </a:lnTo>
                  <a:lnTo>
                    <a:pt x="61946" y="381208"/>
                  </a:lnTo>
                  <a:lnTo>
                    <a:pt x="52416" y="376444"/>
                  </a:lnTo>
                  <a:lnTo>
                    <a:pt x="38120" y="343088"/>
                  </a:lnTo>
                  <a:lnTo>
                    <a:pt x="19060" y="319260"/>
                  </a:lnTo>
                  <a:lnTo>
                    <a:pt x="14294" y="304968"/>
                  </a:lnTo>
                  <a:lnTo>
                    <a:pt x="14294" y="290672"/>
                  </a:lnTo>
                  <a:lnTo>
                    <a:pt x="0" y="238256"/>
                  </a:lnTo>
                  <a:lnTo>
                    <a:pt x="9530" y="228724"/>
                  </a:lnTo>
                  <a:lnTo>
                    <a:pt x="14294" y="238256"/>
                  </a:lnTo>
                  <a:lnTo>
                    <a:pt x="57180" y="247784"/>
                  </a:lnTo>
                  <a:lnTo>
                    <a:pt x="66710" y="243020"/>
                  </a:lnTo>
                  <a:lnTo>
                    <a:pt x="71476" y="238256"/>
                  </a:lnTo>
                  <a:lnTo>
                    <a:pt x="71476" y="233488"/>
                  </a:lnTo>
                  <a:lnTo>
                    <a:pt x="76242" y="228724"/>
                  </a:lnTo>
                  <a:lnTo>
                    <a:pt x="90536" y="238256"/>
                  </a:lnTo>
                  <a:lnTo>
                    <a:pt x="100066" y="233488"/>
                  </a:lnTo>
                  <a:lnTo>
                    <a:pt x="119128" y="233488"/>
                  </a:lnTo>
                  <a:lnTo>
                    <a:pt x="133422" y="238256"/>
                  </a:lnTo>
                  <a:lnTo>
                    <a:pt x="142952" y="228724"/>
                  </a:lnTo>
                  <a:lnTo>
                    <a:pt x="157248" y="209664"/>
                  </a:lnTo>
                  <a:lnTo>
                    <a:pt x="157248" y="200132"/>
                  </a:lnTo>
                  <a:lnTo>
                    <a:pt x="166778" y="195368"/>
                  </a:lnTo>
                  <a:lnTo>
                    <a:pt x="166778" y="200132"/>
                  </a:lnTo>
                  <a:lnTo>
                    <a:pt x="171544" y="209664"/>
                  </a:lnTo>
                  <a:lnTo>
                    <a:pt x="176308" y="214428"/>
                  </a:lnTo>
                  <a:lnTo>
                    <a:pt x="190604" y="228724"/>
                  </a:lnTo>
                  <a:lnTo>
                    <a:pt x="200134" y="238256"/>
                  </a:lnTo>
                  <a:lnTo>
                    <a:pt x="209664" y="238256"/>
                  </a:lnTo>
                  <a:lnTo>
                    <a:pt x="214430" y="233488"/>
                  </a:lnTo>
                  <a:lnTo>
                    <a:pt x="223960" y="233488"/>
                  </a:lnTo>
                  <a:lnTo>
                    <a:pt x="247786" y="243020"/>
                  </a:lnTo>
                  <a:lnTo>
                    <a:pt x="271612" y="247784"/>
                  </a:lnTo>
                  <a:lnTo>
                    <a:pt x="285906" y="238256"/>
                  </a:lnTo>
                  <a:lnTo>
                    <a:pt x="281142" y="233488"/>
                  </a:lnTo>
                  <a:lnTo>
                    <a:pt x="276376" y="223960"/>
                  </a:lnTo>
                  <a:lnTo>
                    <a:pt x="276376" y="214428"/>
                  </a:lnTo>
                  <a:lnTo>
                    <a:pt x="276376" y="204900"/>
                  </a:lnTo>
                  <a:lnTo>
                    <a:pt x="285906" y="200132"/>
                  </a:lnTo>
                  <a:lnTo>
                    <a:pt x="285906" y="195368"/>
                  </a:lnTo>
                  <a:lnTo>
                    <a:pt x="276376" y="181072"/>
                  </a:lnTo>
                  <a:lnTo>
                    <a:pt x="304968" y="166776"/>
                  </a:lnTo>
                  <a:lnTo>
                    <a:pt x="328792" y="157248"/>
                  </a:lnTo>
                  <a:lnTo>
                    <a:pt x="333558" y="152484"/>
                  </a:lnTo>
                  <a:lnTo>
                    <a:pt x="338324" y="142952"/>
                  </a:lnTo>
                  <a:lnTo>
                    <a:pt x="338324" y="123892"/>
                  </a:lnTo>
                  <a:lnTo>
                    <a:pt x="338324" y="109596"/>
                  </a:lnTo>
                  <a:lnTo>
                    <a:pt x="324028" y="95300"/>
                  </a:lnTo>
                  <a:lnTo>
                    <a:pt x="324028" y="90536"/>
                  </a:lnTo>
                  <a:lnTo>
                    <a:pt x="328792" y="81004"/>
                  </a:lnTo>
                  <a:lnTo>
                    <a:pt x="333558" y="76240"/>
                  </a:lnTo>
                  <a:lnTo>
                    <a:pt x="343088" y="71476"/>
                  </a:lnTo>
                  <a:lnTo>
                    <a:pt x="352618" y="66708"/>
                  </a:lnTo>
                  <a:lnTo>
                    <a:pt x="362148" y="61944"/>
                  </a:lnTo>
                  <a:lnTo>
                    <a:pt x="376444" y="57180"/>
                  </a:lnTo>
                  <a:lnTo>
                    <a:pt x="390740" y="52416"/>
                  </a:lnTo>
                  <a:lnTo>
                    <a:pt x="400270" y="38120"/>
                  </a:lnTo>
                  <a:lnTo>
                    <a:pt x="405036" y="33352"/>
                  </a:lnTo>
                  <a:lnTo>
                    <a:pt x="424096" y="38120"/>
                  </a:lnTo>
                  <a:lnTo>
                    <a:pt x="428860" y="33352"/>
                  </a:lnTo>
                  <a:lnTo>
                    <a:pt x="424096" y="9528"/>
                  </a:lnTo>
                  <a:lnTo>
                    <a:pt x="428860" y="476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8" name="Freeform 146">
              <a:extLst>
                <a:ext uri="{FF2B5EF4-FFF2-40B4-BE49-F238E27FC236}">
                  <a16:creationId xmlns:a16="http://schemas.microsoft.com/office/drawing/2014/main" id="{128D58AC-A0B9-4461-A8E0-34F8E4BC0D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16743" y="4891382"/>
              <a:ext cx="71691" cy="54732"/>
            </a:xfrm>
            <a:custGeom>
              <a:avLst/>
              <a:gdLst>
                <a:gd name="connsiteX0" fmla="*/ 185840 w 443156"/>
                <a:gd name="connsiteY0" fmla="*/ 185840 h 338324"/>
                <a:gd name="connsiteX1" fmla="*/ 204900 w 443156"/>
                <a:gd name="connsiteY1" fmla="*/ 185840 h 338324"/>
                <a:gd name="connsiteX2" fmla="*/ 219196 w 443156"/>
                <a:gd name="connsiteY2" fmla="*/ 190606 h 338324"/>
                <a:gd name="connsiteX3" fmla="*/ 243022 w 443156"/>
                <a:gd name="connsiteY3" fmla="*/ 200136 h 338324"/>
                <a:gd name="connsiteX4" fmla="*/ 262082 w 443156"/>
                <a:gd name="connsiteY4" fmla="*/ 214430 h 338324"/>
                <a:gd name="connsiteX5" fmla="*/ 257316 w 443156"/>
                <a:gd name="connsiteY5" fmla="*/ 228726 h 338324"/>
                <a:gd name="connsiteX6" fmla="*/ 219196 w 443156"/>
                <a:gd name="connsiteY6" fmla="*/ 214430 h 338324"/>
                <a:gd name="connsiteX7" fmla="*/ 185840 w 443156"/>
                <a:gd name="connsiteY7" fmla="*/ 195370 h 338324"/>
                <a:gd name="connsiteX8" fmla="*/ 247786 w 443156"/>
                <a:gd name="connsiteY8" fmla="*/ 23826 h 338324"/>
                <a:gd name="connsiteX9" fmla="*/ 285908 w 443156"/>
                <a:gd name="connsiteY9" fmla="*/ 28592 h 338324"/>
                <a:gd name="connsiteX10" fmla="*/ 319264 w 443156"/>
                <a:gd name="connsiteY10" fmla="*/ 42886 h 338324"/>
                <a:gd name="connsiteX11" fmla="*/ 352620 w 443156"/>
                <a:gd name="connsiteY11" fmla="*/ 57182 h 338324"/>
                <a:gd name="connsiteX12" fmla="*/ 395506 w 443156"/>
                <a:gd name="connsiteY12" fmla="*/ 61946 h 338324"/>
                <a:gd name="connsiteX13" fmla="*/ 409802 w 443156"/>
                <a:gd name="connsiteY13" fmla="*/ 66712 h 338324"/>
                <a:gd name="connsiteX14" fmla="*/ 419332 w 443156"/>
                <a:gd name="connsiteY14" fmla="*/ 61946 h 338324"/>
                <a:gd name="connsiteX15" fmla="*/ 424096 w 443156"/>
                <a:gd name="connsiteY15" fmla="*/ 66712 h 338324"/>
                <a:gd name="connsiteX16" fmla="*/ 428862 w 443156"/>
                <a:gd name="connsiteY16" fmla="*/ 100068 h 338324"/>
                <a:gd name="connsiteX17" fmla="*/ 433626 w 443156"/>
                <a:gd name="connsiteY17" fmla="*/ 109598 h 338324"/>
                <a:gd name="connsiteX18" fmla="*/ 424096 w 443156"/>
                <a:gd name="connsiteY18" fmla="*/ 123894 h 338324"/>
                <a:gd name="connsiteX19" fmla="*/ 424096 w 443156"/>
                <a:gd name="connsiteY19" fmla="*/ 133424 h 338324"/>
                <a:gd name="connsiteX20" fmla="*/ 443156 w 443156"/>
                <a:gd name="connsiteY20" fmla="*/ 147720 h 338324"/>
                <a:gd name="connsiteX21" fmla="*/ 443156 w 443156"/>
                <a:gd name="connsiteY21" fmla="*/ 152484 h 338324"/>
                <a:gd name="connsiteX22" fmla="*/ 438392 w 443156"/>
                <a:gd name="connsiteY22" fmla="*/ 157250 h 338324"/>
                <a:gd name="connsiteX23" fmla="*/ 424096 w 443156"/>
                <a:gd name="connsiteY23" fmla="*/ 171544 h 338324"/>
                <a:gd name="connsiteX24" fmla="*/ 414566 w 443156"/>
                <a:gd name="connsiteY24" fmla="*/ 181076 h 338324"/>
                <a:gd name="connsiteX25" fmla="*/ 419332 w 443156"/>
                <a:gd name="connsiteY25" fmla="*/ 195370 h 338324"/>
                <a:gd name="connsiteX26" fmla="*/ 428862 w 443156"/>
                <a:gd name="connsiteY26" fmla="*/ 204900 h 338324"/>
                <a:gd name="connsiteX27" fmla="*/ 428862 w 443156"/>
                <a:gd name="connsiteY27" fmla="*/ 214430 h 338324"/>
                <a:gd name="connsiteX28" fmla="*/ 424096 w 443156"/>
                <a:gd name="connsiteY28" fmla="*/ 223962 h 338324"/>
                <a:gd name="connsiteX29" fmla="*/ 414566 w 443156"/>
                <a:gd name="connsiteY29" fmla="*/ 238256 h 338324"/>
                <a:gd name="connsiteX30" fmla="*/ 405036 w 443156"/>
                <a:gd name="connsiteY30" fmla="*/ 243022 h 338324"/>
                <a:gd name="connsiteX31" fmla="*/ 385976 w 443156"/>
                <a:gd name="connsiteY31" fmla="*/ 243022 h 338324"/>
                <a:gd name="connsiteX32" fmla="*/ 385976 w 443156"/>
                <a:gd name="connsiteY32" fmla="*/ 247786 h 338324"/>
                <a:gd name="connsiteX33" fmla="*/ 395506 w 443156"/>
                <a:gd name="connsiteY33" fmla="*/ 262082 h 338324"/>
                <a:gd name="connsiteX34" fmla="*/ 405036 w 443156"/>
                <a:gd name="connsiteY34" fmla="*/ 276378 h 338324"/>
                <a:gd name="connsiteX35" fmla="*/ 424096 w 443156"/>
                <a:gd name="connsiteY35" fmla="*/ 290672 h 338324"/>
                <a:gd name="connsiteX36" fmla="*/ 428862 w 443156"/>
                <a:gd name="connsiteY36" fmla="*/ 300204 h 338324"/>
                <a:gd name="connsiteX37" fmla="*/ 424096 w 443156"/>
                <a:gd name="connsiteY37" fmla="*/ 309734 h 338324"/>
                <a:gd name="connsiteX38" fmla="*/ 424096 w 443156"/>
                <a:gd name="connsiteY38" fmla="*/ 338324 h 338324"/>
                <a:gd name="connsiteX39" fmla="*/ 409802 w 443156"/>
                <a:gd name="connsiteY39" fmla="*/ 324028 h 338324"/>
                <a:gd name="connsiteX40" fmla="*/ 395506 w 443156"/>
                <a:gd name="connsiteY40" fmla="*/ 314498 h 338324"/>
                <a:gd name="connsiteX41" fmla="*/ 385976 w 443156"/>
                <a:gd name="connsiteY41" fmla="*/ 309734 h 338324"/>
                <a:gd name="connsiteX42" fmla="*/ 376446 w 443156"/>
                <a:gd name="connsiteY42" fmla="*/ 304968 h 338324"/>
                <a:gd name="connsiteX43" fmla="*/ 304968 w 443156"/>
                <a:gd name="connsiteY43" fmla="*/ 309734 h 338324"/>
                <a:gd name="connsiteX44" fmla="*/ 300204 w 443156"/>
                <a:gd name="connsiteY44" fmla="*/ 309734 h 338324"/>
                <a:gd name="connsiteX45" fmla="*/ 295438 w 443156"/>
                <a:gd name="connsiteY45" fmla="*/ 314498 h 338324"/>
                <a:gd name="connsiteX46" fmla="*/ 285908 w 443156"/>
                <a:gd name="connsiteY46" fmla="*/ 314498 h 338324"/>
                <a:gd name="connsiteX47" fmla="*/ 266848 w 443156"/>
                <a:gd name="connsiteY47" fmla="*/ 319264 h 338324"/>
                <a:gd name="connsiteX48" fmla="*/ 247786 w 443156"/>
                <a:gd name="connsiteY48" fmla="*/ 319264 h 338324"/>
                <a:gd name="connsiteX49" fmla="*/ 204900 w 443156"/>
                <a:gd name="connsiteY49" fmla="*/ 309734 h 338324"/>
                <a:gd name="connsiteX50" fmla="*/ 185840 w 443156"/>
                <a:gd name="connsiteY50" fmla="*/ 304968 h 338324"/>
                <a:gd name="connsiteX51" fmla="*/ 171544 w 443156"/>
                <a:gd name="connsiteY51" fmla="*/ 304968 h 338324"/>
                <a:gd name="connsiteX52" fmla="*/ 147720 w 443156"/>
                <a:gd name="connsiteY52" fmla="*/ 304968 h 338324"/>
                <a:gd name="connsiteX53" fmla="*/ 128658 w 443156"/>
                <a:gd name="connsiteY53" fmla="*/ 304968 h 338324"/>
                <a:gd name="connsiteX54" fmla="*/ 114364 w 443156"/>
                <a:gd name="connsiteY54" fmla="*/ 314498 h 338324"/>
                <a:gd name="connsiteX55" fmla="*/ 100068 w 443156"/>
                <a:gd name="connsiteY55" fmla="*/ 324028 h 338324"/>
                <a:gd name="connsiteX56" fmla="*/ 100068 w 443156"/>
                <a:gd name="connsiteY56" fmla="*/ 333558 h 338324"/>
                <a:gd name="connsiteX57" fmla="*/ 90538 w 443156"/>
                <a:gd name="connsiteY57" fmla="*/ 338324 h 338324"/>
                <a:gd name="connsiteX58" fmla="*/ 76242 w 443156"/>
                <a:gd name="connsiteY58" fmla="*/ 319264 h 338324"/>
                <a:gd name="connsiteX59" fmla="*/ 61946 w 443156"/>
                <a:gd name="connsiteY59" fmla="*/ 309734 h 338324"/>
                <a:gd name="connsiteX60" fmla="*/ 42886 w 443156"/>
                <a:gd name="connsiteY60" fmla="*/ 300204 h 338324"/>
                <a:gd name="connsiteX61" fmla="*/ 9530 w 443156"/>
                <a:gd name="connsiteY61" fmla="*/ 285908 h 338324"/>
                <a:gd name="connsiteX62" fmla="*/ 0 w 443156"/>
                <a:gd name="connsiteY62" fmla="*/ 281142 h 338324"/>
                <a:gd name="connsiteX63" fmla="*/ 0 w 443156"/>
                <a:gd name="connsiteY63" fmla="*/ 271612 h 338324"/>
                <a:gd name="connsiteX64" fmla="*/ 14296 w 443156"/>
                <a:gd name="connsiteY64" fmla="*/ 243022 h 338324"/>
                <a:gd name="connsiteX65" fmla="*/ 28590 w 443156"/>
                <a:gd name="connsiteY65" fmla="*/ 238256 h 338324"/>
                <a:gd name="connsiteX66" fmla="*/ 38122 w 443156"/>
                <a:gd name="connsiteY66" fmla="*/ 233492 h 338324"/>
                <a:gd name="connsiteX67" fmla="*/ 57182 w 443156"/>
                <a:gd name="connsiteY67" fmla="*/ 238256 h 338324"/>
                <a:gd name="connsiteX68" fmla="*/ 76242 w 443156"/>
                <a:gd name="connsiteY68" fmla="*/ 243022 h 338324"/>
                <a:gd name="connsiteX69" fmla="*/ 95302 w 443156"/>
                <a:gd name="connsiteY69" fmla="*/ 247786 h 338324"/>
                <a:gd name="connsiteX70" fmla="*/ 123894 w 443156"/>
                <a:gd name="connsiteY70" fmla="*/ 252552 h 338324"/>
                <a:gd name="connsiteX71" fmla="*/ 138188 w 443156"/>
                <a:gd name="connsiteY71" fmla="*/ 257316 h 338324"/>
                <a:gd name="connsiteX72" fmla="*/ 243022 w 443156"/>
                <a:gd name="connsiteY72" fmla="*/ 271612 h 338324"/>
                <a:gd name="connsiteX73" fmla="*/ 262082 w 443156"/>
                <a:gd name="connsiteY73" fmla="*/ 271612 h 338324"/>
                <a:gd name="connsiteX74" fmla="*/ 271612 w 443156"/>
                <a:gd name="connsiteY74" fmla="*/ 271612 h 338324"/>
                <a:gd name="connsiteX75" fmla="*/ 276378 w 443156"/>
                <a:gd name="connsiteY75" fmla="*/ 266848 h 338324"/>
                <a:gd name="connsiteX76" fmla="*/ 281142 w 443156"/>
                <a:gd name="connsiteY76" fmla="*/ 257316 h 338324"/>
                <a:gd name="connsiteX77" fmla="*/ 290672 w 443156"/>
                <a:gd name="connsiteY77" fmla="*/ 252552 h 338324"/>
                <a:gd name="connsiteX78" fmla="*/ 319264 w 443156"/>
                <a:gd name="connsiteY78" fmla="*/ 252552 h 338324"/>
                <a:gd name="connsiteX79" fmla="*/ 328794 w 443156"/>
                <a:gd name="connsiteY79" fmla="*/ 252552 h 338324"/>
                <a:gd name="connsiteX80" fmla="*/ 333560 w 443156"/>
                <a:gd name="connsiteY80" fmla="*/ 243022 h 338324"/>
                <a:gd name="connsiteX81" fmla="*/ 333560 w 443156"/>
                <a:gd name="connsiteY81" fmla="*/ 233492 h 338324"/>
                <a:gd name="connsiteX82" fmla="*/ 314498 w 443156"/>
                <a:gd name="connsiteY82" fmla="*/ 223962 h 338324"/>
                <a:gd name="connsiteX83" fmla="*/ 285908 w 443156"/>
                <a:gd name="connsiteY83" fmla="*/ 195370 h 338324"/>
                <a:gd name="connsiteX84" fmla="*/ 257316 w 443156"/>
                <a:gd name="connsiteY84" fmla="*/ 166780 h 338324"/>
                <a:gd name="connsiteX85" fmla="*/ 271612 w 443156"/>
                <a:gd name="connsiteY85" fmla="*/ 157250 h 338324"/>
                <a:gd name="connsiteX86" fmla="*/ 266848 w 443156"/>
                <a:gd name="connsiteY86" fmla="*/ 138188 h 338324"/>
                <a:gd name="connsiteX87" fmla="*/ 271612 w 443156"/>
                <a:gd name="connsiteY87" fmla="*/ 123894 h 338324"/>
                <a:gd name="connsiteX88" fmla="*/ 276378 w 443156"/>
                <a:gd name="connsiteY88" fmla="*/ 104834 h 338324"/>
                <a:gd name="connsiteX89" fmla="*/ 252552 w 443156"/>
                <a:gd name="connsiteY89" fmla="*/ 95302 h 338324"/>
                <a:gd name="connsiteX90" fmla="*/ 223962 w 443156"/>
                <a:gd name="connsiteY90" fmla="*/ 81008 h 338324"/>
                <a:gd name="connsiteX91" fmla="*/ 181074 w 443156"/>
                <a:gd name="connsiteY91" fmla="*/ 76242 h 338324"/>
                <a:gd name="connsiteX92" fmla="*/ 166780 w 443156"/>
                <a:gd name="connsiteY92" fmla="*/ 71478 h 338324"/>
                <a:gd name="connsiteX93" fmla="*/ 162014 w 443156"/>
                <a:gd name="connsiteY93" fmla="*/ 61946 h 338324"/>
                <a:gd name="connsiteX94" fmla="*/ 166780 w 443156"/>
                <a:gd name="connsiteY94" fmla="*/ 47652 h 338324"/>
                <a:gd name="connsiteX95" fmla="*/ 181074 w 443156"/>
                <a:gd name="connsiteY95" fmla="*/ 38122 h 338324"/>
                <a:gd name="connsiteX96" fmla="*/ 195370 w 443156"/>
                <a:gd name="connsiteY96" fmla="*/ 33356 h 338324"/>
                <a:gd name="connsiteX97" fmla="*/ 209666 w 443156"/>
                <a:gd name="connsiteY97" fmla="*/ 28592 h 338324"/>
                <a:gd name="connsiteX98" fmla="*/ 243022 w 443156"/>
                <a:gd name="connsiteY98" fmla="*/ 0 h 338324"/>
                <a:gd name="connsiteX99" fmla="*/ 252552 w 443156"/>
                <a:gd name="connsiteY99" fmla="*/ 0 h 338324"/>
                <a:gd name="connsiteX100" fmla="*/ 262082 w 443156"/>
                <a:gd name="connsiteY100" fmla="*/ 0 h 338324"/>
                <a:gd name="connsiteX101" fmla="*/ 281142 w 443156"/>
                <a:gd name="connsiteY101" fmla="*/ 9530 h 338324"/>
                <a:gd name="connsiteX102" fmla="*/ 290672 w 443156"/>
                <a:gd name="connsiteY102" fmla="*/ 9530 h 338324"/>
                <a:gd name="connsiteX103" fmla="*/ 285906 w 443156"/>
                <a:gd name="connsiteY103" fmla="*/ 14296 h 338324"/>
                <a:gd name="connsiteX104" fmla="*/ 271612 w 443156"/>
                <a:gd name="connsiteY104" fmla="*/ 14296 h 338324"/>
                <a:gd name="connsiteX105" fmla="*/ 252552 w 443156"/>
                <a:gd name="connsiteY105" fmla="*/ 9530 h 338324"/>
                <a:gd name="connsiteX106" fmla="*/ 247786 w 443156"/>
                <a:gd name="connsiteY106" fmla="*/ 9530 h 338324"/>
                <a:gd name="connsiteX107" fmla="*/ 238256 w 443156"/>
                <a:gd name="connsiteY107" fmla="*/ 4764 h 338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443155" h="338324">
                  <a:moveTo>
                    <a:pt x="185840" y="185840"/>
                  </a:moveTo>
                  <a:lnTo>
                    <a:pt x="204900" y="185840"/>
                  </a:lnTo>
                  <a:lnTo>
                    <a:pt x="219196" y="190606"/>
                  </a:lnTo>
                  <a:lnTo>
                    <a:pt x="243022" y="200136"/>
                  </a:lnTo>
                  <a:lnTo>
                    <a:pt x="262082" y="214430"/>
                  </a:lnTo>
                  <a:lnTo>
                    <a:pt x="257316" y="228726"/>
                  </a:lnTo>
                  <a:lnTo>
                    <a:pt x="219196" y="214430"/>
                  </a:lnTo>
                  <a:lnTo>
                    <a:pt x="185840" y="195370"/>
                  </a:lnTo>
                  <a:close/>
                  <a:moveTo>
                    <a:pt x="247786" y="23826"/>
                  </a:moveTo>
                  <a:lnTo>
                    <a:pt x="285908" y="28592"/>
                  </a:lnTo>
                  <a:lnTo>
                    <a:pt x="319264" y="42886"/>
                  </a:lnTo>
                  <a:lnTo>
                    <a:pt x="352620" y="57182"/>
                  </a:lnTo>
                  <a:lnTo>
                    <a:pt x="395506" y="61946"/>
                  </a:lnTo>
                  <a:lnTo>
                    <a:pt x="409802" y="66712"/>
                  </a:lnTo>
                  <a:lnTo>
                    <a:pt x="419332" y="61946"/>
                  </a:lnTo>
                  <a:lnTo>
                    <a:pt x="424096" y="66712"/>
                  </a:lnTo>
                  <a:lnTo>
                    <a:pt x="428862" y="100068"/>
                  </a:lnTo>
                  <a:lnTo>
                    <a:pt x="433626" y="109598"/>
                  </a:lnTo>
                  <a:lnTo>
                    <a:pt x="424096" y="123894"/>
                  </a:lnTo>
                  <a:lnTo>
                    <a:pt x="424096" y="133424"/>
                  </a:lnTo>
                  <a:lnTo>
                    <a:pt x="443156" y="147720"/>
                  </a:lnTo>
                  <a:lnTo>
                    <a:pt x="443156" y="152484"/>
                  </a:lnTo>
                  <a:lnTo>
                    <a:pt x="438392" y="157250"/>
                  </a:lnTo>
                  <a:lnTo>
                    <a:pt x="424096" y="171544"/>
                  </a:lnTo>
                  <a:lnTo>
                    <a:pt x="414566" y="181076"/>
                  </a:lnTo>
                  <a:lnTo>
                    <a:pt x="419332" y="195370"/>
                  </a:lnTo>
                  <a:lnTo>
                    <a:pt x="428862" y="204900"/>
                  </a:lnTo>
                  <a:lnTo>
                    <a:pt x="428862" y="214430"/>
                  </a:lnTo>
                  <a:lnTo>
                    <a:pt x="424096" y="223962"/>
                  </a:lnTo>
                  <a:lnTo>
                    <a:pt x="414566" y="238256"/>
                  </a:lnTo>
                  <a:lnTo>
                    <a:pt x="405036" y="243022"/>
                  </a:lnTo>
                  <a:lnTo>
                    <a:pt x="385976" y="243022"/>
                  </a:lnTo>
                  <a:lnTo>
                    <a:pt x="385976" y="247786"/>
                  </a:lnTo>
                  <a:lnTo>
                    <a:pt x="395506" y="262082"/>
                  </a:lnTo>
                  <a:lnTo>
                    <a:pt x="405036" y="276378"/>
                  </a:lnTo>
                  <a:lnTo>
                    <a:pt x="424096" y="290672"/>
                  </a:lnTo>
                  <a:lnTo>
                    <a:pt x="428862" y="300204"/>
                  </a:lnTo>
                  <a:lnTo>
                    <a:pt x="424096" y="309734"/>
                  </a:lnTo>
                  <a:lnTo>
                    <a:pt x="424096" y="338324"/>
                  </a:lnTo>
                  <a:lnTo>
                    <a:pt x="409802" y="324028"/>
                  </a:lnTo>
                  <a:lnTo>
                    <a:pt x="395506" y="314498"/>
                  </a:lnTo>
                  <a:lnTo>
                    <a:pt x="385976" y="309734"/>
                  </a:lnTo>
                  <a:lnTo>
                    <a:pt x="376446" y="304968"/>
                  </a:lnTo>
                  <a:lnTo>
                    <a:pt x="304968" y="309734"/>
                  </a:lnTo>
                  <a:lnTo>
                    <a:pt x="300204" y="309734"/>
                  </a:lnTo>
                  <a:lnTo>
                    <a:pt x="295438" y="314498"/>
                  </a:lnTo>
                  <a:lnTo>
                    <a:pt x="285908" y="314498"/>
                  </a:lnTo>
                  <a:lnTo>
                    <a:pt x="266848" y="319264"/>
                  </a:lnTo>
                  <a:lnTo>
                    <a:pt x="247786" y="319264"/>
                  </a:lnTo>
                  <a:lnTo>
                    <a:pt x="204900" y="309734"/>
                  </a:lnTo>
                  <a:lnTo>
                    <a:pt x="185840" y="304968"/>
                  </a:lnTo>
                  <a:lnTo>
                    <a:pt x="171544" y="304968"/>
                  </a:lnTo>
                  <a:lnTo>
                    <a:pt x="147720" y="304968"/>
                  </a:lnTo>
                  <a:lnTo>
                    <a:pt x="128658" y="304968"/>
                  </a:lnTo>
                  <a:lnTo>
                    <a:pt x="114364" y="314498"/>
                  </a:lnTo>
                  <a:lnTo>
                    <a:pt x="100068" y="324028"/>
                  </a:lnTo>
                  <a:lnTo>
                    <a:pt x="100068" y="333558"/>
                  </a:lnTo>
                  <a:lnTo>
                    <a:pt x="90538" y="338324"/>
                  </a:lnTo>
                  <a:lnTo>
                    <a:pt x="76242" y="319264"/>
                  </a:lnTo>
                  <a:lnTo>
                    <a:pt x="61946" y="309734"/>
                  </a:lnTo>
                  <a:lnTo>
                    <a:pt x="42886" y="300204"/>
                  </a:lnTo>
                  <a:lnTo>
                    <a:pt x="9530" y="285908"/>
                  </a:lnTo>
                  <a:lnTo>
                    <a:pt x="0" y="281142"/>
                  </a:lnTo>
                  <a:lnTo>
                    <a:pt x="0" y="271612"/>
                  </a:lnTo>
                  <a:lnTo>
                    <a:pt x="14296" y="243022"/>
                  </a:lnTo>
                  <a:lnTo>
                    <a:pt x="28590" y="238256"/>
                  </a:lnTo>
                  <a:lnTo>
                    <a:pt x="38122" y="233492"/>
                  </a:lnTo>
                  <a:lnTo>
                    <a:pt x="57182" y="238256"/>
                  </a:lnTo>
                  <a:lnTo>
                    <a:pt x="76242" y="243022"/>
                  </a:lnTo>
                  <a:lnTo>
                    <a:pt x="95302" y="247786"/>
                  </a:lnTo>
                  <a:lnTo>
                    <a:pt x="123894" y="252552"/>
                  </a:lnTo>
                  <a:lnTo>
                    <a:pt x="138188" y="257316"/>
                  </a:lnTo>
                  <a:lnTo>
                    <a:pt x="243022" y="271612"/>
                  </a:lnTo>
                  <a:lnTo>
                    <a:pt x="262082" y="271612"/>
                  </a:lnTo>
                  <a:lnTo>
                    <a:pt x="271612" y="271612"/>
                  </a:lnTo>
                  <a:lnTo>
                    <a:pt x="276378" y="266848"/>
                  </a:lnTo>
                  <a:lnTo>
                    <a:pt x="281142" y="257316"/>
                  </a:lnTo>
                  <a:lnTo>
                    <a:pt x="290672" y="252552"/>
                  </a:lnTo>
                  <a:lnTo>
                    <a:pt x="319264" y="252552"/>
                  </a:lnTo>
                  <a:lnTo>
                    <a:pt x="328794" y="252552"/>
                  </a:lnTo>
                  <a:lnTo>
                    <a:pt x="333560" y="243022"/>
                  </a:lnTo>
                  <a:lnTo>
                    <a:pt x="333560" y="233492"/>
                  </a:lnTo>
                  <a:lnTo>
                    <a:pt x="314498" y="223962"/>
                  </a:lnTo>
                  <a:lnTo>
                    <a:pt x="285908" y="195370"/>
                  </a:lnTo>
                  <a:lnTo>
                    <a:pt x="257316" y="166780"/>
                  </a:lnTo>
                  <a:lnTo>
                    <a:pt x="271612" y="157250"/>
                  </a:lnTo>
                  <a:lnTo>
                    <a:pt x="266848" y="138188"/>
                  </a:lnTo>
                  <a:lnTo>
                    <a:pt x="271612" y="123894"/>
                  </a:lnTo>
                  <a:lnTo>
                    <a:pt x="276378" y="104834"/>
                  </a:lnTo>
                  <a:lnTo>
                    <a:pt x="252552" y="95302"/>
                  </a:lnTo>
                  <a:lnTo>
                    <a:pt x="223962" y="81008"/>
                  </a:lnTo>
                  <a:lnTo>
                    <a:pt x="181074" y="76242"/>
                  </a:lnTo>
                  <a:lnTo>
                    <a:pt x="166780" y="71478"/>
                  </a:lnTo>
                  <a:lnTo>
                    <a:pt x="162014" y="61946"/>
                  </a:lnTo>
                  <a:lnTo>
                    <a:pt x="166780" y="47652"/>
                  </a:lnTo>
                  <a:lnTo>
                    <a:pt x="181074" y="38122"/>
                  </a:lnTo>
                  <a:lnTo>
                    <a:pt x="195370" y="33356"/>
                  </a:lnTo>
                  <a:lnTo>
                    <a:pt x="209666" y="28592"/>
                  </a:lnTo>
                  <a:close/>
                  <a:moveTo>
                    <a:pt x="243022" y="0"/>
                  </a:moveTo>
                  <a:lnTo>
                    <a:pt x="252552" y="0"/>
                  </a:lnTo>
                  <a:lnTo>
                    <a:pt x="262082" y="0"/>
                  </a:lnTo>
                  <a:lnTo>
                    <a:pt x="281142" y="9530"/>
                  </a:lnTo>
                  <a:lnTo>
                    <a:pt x="290672" y="9530"/>
                  </a:lnTo>
                  <a:lnTo>
                    <a:pt x="285906" y="14296"/>
                  </a:lnTo>
                  <a:lnTo>
                    <a:pt x="271612" y="14296"/>
                  </a:lnTo>
                  <a:lnTo>
                    <a:pt x="252552" y="9530"/>
                  </a:lnTo>
                  <a:lnTo>
                    <a:pt x="247786" y="9530"/>
                  </a:lnTo>
                  <a:lnTo>
                    <a:pt x="238256" y="476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9" name="Freeform 5045">
              <a:extLst>
                <a:ext uri="{FF2B5EF4-FFF2-40B4-BE49-F238E27FC236}">
                  <a16:creationId xmlns:a16="http://schemas.microsoft.com/office/drawing/2014/main" id="{48CF6730-3D7F-4C93-8A98-4085EDC8F4F9}"/>
                </a:ext>
              </a:extLst>
            </p:cNvPr>
            <p:cNvSpPr/>
            <p:nvPr/>
          </p:nvSpPr>
          <p:spPr bwMode="auto">
            <a:xfrm>
              <a:off x="5704705" y="4002562"/>
              <a:ext cx="171905" cy="104068"/>
            </a:xfrm>
            <a:custGeom>
              <a:avLst/>
              <a:gdLst>
                <a:gd name="T0" fmla="*/ 370 w 446"/>
                <a:gd name="T1" fmla="*/ 20 h 270"/>
                <a:gd name="T2" fmla="*/ 362 w 446"/>
                <a:gd name="T3" fmla="*/ 8 h 270"/>
                <a:gd name="T4" fmla="*/ 348 w 446"/>
                <a:gd name="T5" fmla="*/ 0 h 270"/>
                <a:gd name="T6" fmla="*/ 314 w 446"/>
                <a:gd name="T7" fmla="*/ 0 h 270"/>
                <a:gd name="T8" fmla="*/ 280 w 446"/>
                <a:gd name="T9" fmla="*/ 26 h 270"/>
                <a:gd name="T10" fmla="*/ 244 w 446"/>
                <a:gd name="T11" fmla="*/ 38 h 270"/>
                <a:gd name="T12" fmla="*/ 224 w 446"/>
                <a:gd name="T13" fmla="*/ 38 h 270"/>
                <a:gd name="T14" fmla="*/ 178 w 446"/>
                <a:gd name="T15" fmla="*/ 54 h 270"/>
                <a:gd name="T16" fmla="*/ 174 w 446"/>
                <a:gd name="T17" fmla="*/ 74 h 270"/>
                <a:gd name="T18" fmla="*/ 122 w 446"/>
                <a:gd name="T19" fmla="*/ 76 h 270"/>
                <a:gd name="T20" fmla="*/ 82 w 446"/>
                <a:gd name="T21" fmla="*/ 56 h 270"/>
                <a:gd name="T22" fmla="*/ 70 w 446"/>
                <a:gd name="T23" fmla="*/ 54 h 270"/>
                <a:gd name="T24" fmla="*/ 62 w 446"/>
                <a:gd name="T25" fmla="*/ 70 h 270"/>
                <a:gd name="T26" fmla="*/ 58 w 446"/>
                <a:gd name="T27" fmla="*/ 84 h 270"/>
                <a:gd name="T28" fmla="*/ 44 w 446"/>
                <a:gd name="T29" fmla="*/ 84 h 270"/>
                <a:gd name="T30" fmla="*/ 30 w 446"/>
                <a:gd name="T31" fmla="*/ 82 h 270"/>
                <a:gd name="T32" fmla="*/ 36 w 446"/>
                <a:gd name="T33" fmla="*/ 92 h 270"/>
                <a:gd name="T34" fmla="*/ 32 w 446"/>
                <a:gd name="T35" fmla="*/ 110 h 270"/>
                <a:gd name="T36" fmla="*/ 26 w 446"/>
                <a:gd name="T37" fmla="*/ 124 h 270"/>
                <a:gd name="T38" fmla="*/ 26 w 446"/>
                <a:gd name="T39" fmla="*/ 138 h 270"/>
                <a:gd name="T40" fmla="*/ 26 w 446"/>
                <a:gd name="T41" fmla="*/ 148 h 270"/>
                <a:gd name="T42" fmla="*/ 12 w 446"/>
                <a:gd name="T43" fmla="*/ 154 h 270"/>
                <a:gd name="T44" fmla="*/ 16 w 446"/>
                <a:gd name="T45" fmla="*/ 172 h 270"/>
                <a:gd name="T46" fmla="*/ 20 w 446"/>
                <a:gd name="T47" fmla="*/ 186 h 270"/>
                <a:gd name="T48" fmla="*/ 32 w 446"/>
                <a:gd name="T49" fmla="*/ 200 h 270"/>
                <a:gd name="T50" fmla="*/ 62 w 446"/>
                <a:gd name="T51" fmla="*/ 228 h 270"/>
                <a:gd name="T52" fmla="*/ 88 w 446"/>
                <a:gd name="T53" fmla="*/ 252 h 270"/>
                <a:gd name="T54" fmla="*/ 108 w 446"/>
                <a:gd name="T55" fmla="*/ 262 h 270"/>
                <a:gd name="T56" fmla="*/ 146 w 446"/>
                <a:gd name="T57" fmla="*/ 268 h 270"/>
                <a:gd name="T58" fmla="*/ 164 w 446"/>
                <a:gd name="T59" fmla="*/ 264 h 270"/>
                <a:gd name="T60" fmla="*/ 186 w 446"/>
                <a:gd name="T61" fmla="*/ 252 h 270"/>
                <a:gd name="T62" fmla="*/ 196 w 446"/>
                <a:gd name="T63" fmla="*/ 246 h 270"/>
                <a:gd name="T64" fmla="*/ 210 w 446"/>
                <a:gd name="T65" fmla="*/ 246 h 270"/>
                <a:gd name="T66" fmla="*/ 222 w 446"/>
                <a:gd name="T67" fmla="*/ 238 h 270"/>
                <a:gd name="T68" fmla="*/ 246 w 446"/>
                <a:gd name="T69" fmla="*/ 232 h 270"/>
                <a:gd name="T70" fmla="*/ 274 w 446"/>
                <a:gd name="T71" fmla="*/ 236 h 270"/>
                <a:gd name="T72" fmla="*/ 300 w 446"/>
                <a:gd name="T73" fmla="*/ 232 h 270"/>
                <a:gd name="T74" fmla="*/ 308 w 446"/>
                <a:gd name="T75" fmla="*/ 224 h 270"/>
                <a:gd name="T76" fmla="*/ 332 w 446"/>
                <a:gd name="T77" fmla="*/ 218 h 270"/>
                <a:gd name="T78" fmla="*/ 340 w 446"/>
                <a:gd name="T79" fmla="*/ 204 h 270"/>
                <a:gd name="T80" fmla="*/ 346 w 446"/>
                <a:gd name="T81" fmla="*/ 188 h 270"/>
                <a:gd name="T82" fmla="*/ 356 w 446"/>
                <a:gd name="T83" fmla="*/ 172 h 270"/>
                <a:gd name="T84" fmla="*/ 366 w 446"/>
                <a:gd name="T85" fmla="*/ 146 h 270"/>
                <a:gd name="T86" fmla="*/ 382 w 446"/>
                <a:gd name="T87" fmla="*/ 120 h 270"/>
                <a:gd name="T88" fmla="*/ 390 w 446"/>
                <a:gd name="T89" fmla="*/ 100 h 270"/>
                <a:gd name="T90" fmla="*/ 408 w 446"/>
                <a:gd name="T91" fmla="*/ 80 h 270"/>
                <a:gd name="T92" fmla="*/ 426 w 446"/>
                <a:gd name="T93" fmla="*/ 78 h 270"/>
                <a:gd name="T94" fmla="*/ 446 w 446"/>
                <a:gd name="T95" fmla="*/ 60 h 270"/>
                <a:gd name="T96" fmla="*/ 444 w 446"/>
                <a:gd name="T97" fmla="*/ 48 h 270"/>
                <a:gd name="T98" fmla="*/ 434 w 446"/>
                <a:gd name="T99" fmla="*/ 44 h 270"/>
                <a:gd name="T100" fmla="*/ 412 w 446"/>
                <a:gd name="T101" fmla="*/ 30 h 270"/>
                <a:gd name="T102" fmla="*/ 406 w 446"/>
                <a:gd name="T103" fmla="*/ 18 h 270"/>
                <a:gd name="T104" fmla="*/ 398 w 446"/>
                <a:gd name="T105" fmla="*/ 14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46" h="270">
                  <a:moveTo>
                    <a:pt x="398" y="14"/>
                  </a:moveTo>
                  <a:lnTo>
                    <a:pt x="396" y="16"/>
                  </a:lnTo>
                  <a:lnTo>
                    <a:pt x="374" y="22"/>
                  </a:lnTo>
                  <a:lnTo>
                    <a:pt x="370" y="20"/>
                  </a:lnTo>
                  <a:lnTo>
                    <a:pt x="366" y="16"/>
                  </a:lnTo>
                  <a:lnTo>
                    <a:pt x="366" y="14"/>
                  </a:lnTo>
                  <a:lnTo>
                    <a:pt x="364" y="14"/>
                  </a:lnTo>
                  <a:lnTo>
                    <a:pt x="362" y="8"/>
                  </a:lnTo>
                  <a:lnTo>
                    <a:pt x="360" y="6"/>
                  </a:lnTo>
                  <a:lnTo>
                    <a:pt x="356" y="2"/>
                  </a:lnTo>
                  <a:lnTo>
                    <a:pt x="352" y="0"/>
                  </a:lnTo>
                  <a:lnTo>
                    <a:pt x="348" y="0"/>
                  </a:lnTo>
                  <a:lnTo>
                    <a:pt x="336" y="4"/>
                  </a:lnTo>
                  <a:lnTo>
                    <a:pt x="328" y="4"/>
                  </a:lnTo>
                  <a:lnTo>
                    <a:pt x="322" y="2"/>
                  </a:lnTo>
                  <a:lnTo>
                    <a:pt x="314" y="0"/>
                  </a:lnTo>
                  <a:lnTo>
                    <a:pt x="300" y="0"/>
                  </a:lnTo>
                  <a:lnTo>
                    <a:pt x="290" y="2"/>
                  </a:lnTo>
                  <a:lnTo>
                    <a:pt x="288" y="6"/>
                  </a:lnTo>
                  <a:lnTo>
                    <a:pt x="280" y="26"/>
                  </a:lnTo>
                  <a:lnTo>
                    <a:pt x="266" y="32"/>
                  </a:lnTo>
                  <a:lnTo>
                    <a:pt x="254" y="40"/>
                  </a:lnTo>
                  <a:lnTo>
                    <a:pt x="250" y="42"/>
                  </a:lnTo>
                  <a:lnTo>
                    <a:pt x="244" y="38"/>
                  </a:lnTo>
                  <a:lnTo>
                    <a:pt x="238" y="34"/>
                  </a:lnTo>
                  <a:lnTo>
                    <a:pt x="232" y="32"/>
                  </a:lnTo>
                  <a:lnTo>
                    <a:pt x="228" y="34"/>
                  </a:lnTo>
                  <a:lnTo>
                    <a:pt x="224" y="38"/>
                  </a:lnTo>
                  <a:lnTo>
                    <a:pt x="222" y="44"/>
                  </a:lnTo>
                  <a:lnTo>
                    <a:pt x="210" y="48"/>
                  </a:lnTo>
                  <a:lnTo>
                    <a:pt x="186" y="50"/>
                  </a:lnTo>
                  <a:lnTo>
                    <a:pt x="178" y="54"/>
                  </a:lnTo>
                  <a:lnTo>
                    <a:pt x="176" y="60"/>
                  </a:lnTo>
                  <a:lnTo>
                    <a:pt x="176" y="64"/>
                  </a:lnTo>
                  <a:lnTo>
                    <a:pt x="178" y="68"/>
                  </a:lnTo>
                  <a:lnTo>
                    <a:pt x="174" y="74"/>
                  </a:lnTo>
                  <a:lnTo>
                    <a:pt x="174" y="74"/>
                  </a:lnTo>
                  <a:lnTo>
                    <a:pt x="158" y="76"/>
                  </a:lnTo>
                  <a:lnTo>
                    <a:pt x="136" y="78"/>
                  </a:lnTo>
                  <a:lnTo>
                    <a:pt x="122" y="76"/>
                  </a:lnTo>
                  <a:lnTo>
                    <a:pt x="110" y="76"/>
                  </a:lnTo>
                  <a:lnTo>
                    <a:pt x="102" y="72"/>
                  </a:lnTo>
                  <a:lnTo>
                    <a:pt x="92" y="66"/>
                  </a:lnTo>
                  <a:lnTo>
                    <a:pt x="82" y="56"/>
                  </a:lnTo>
                  <a:lnTo>
                    <a:pt x="80" y="54"/>
                  </a:lnTo>
                  <a:lnTo>
                    <a:pt x="78" y="54"/>
                  </a:lnTo>
                  <a:lnTo>
                    <a:pt x="72" y="54"/>
                  </a:lnTo>
                  <a:lnTo>
                    <a:pt x="70" y="54"/>
                  </a:lnTo>
                  <a:lnTo>
                    <a:pt x="66" y="58"/>
                  </a:lnTo>
                  <a:lnTo>
                    <a:pt x="66" y="64"/>
                  </a:lnTo>
                  <a:lnTo>
                    <a:pt x="64" y="66"/>
                  </a:lnTo>
                  <a:lnTo>
                    <a:pt x="62" y="70"/>
                  </a:lnTo>
                  <a:lnTo>
                    <a:pt x="64" y="74"/>
                  </a:lnTo>
                  <a:lnTo>
                    <a:pt x="64" y="78"/>
                  </a:lnTo>
                  <a:lnTo>
                    <a:pt x="64" y="82"/>
                  </a:lnTo>
                  <a:lnTo>
                    <a:pt x="58" y="84"/>
                  </a:lnTo>
                  <a:lnTo>
                    <a:pt x="52" y="84"/>
                  </a:lnTo>
                  <a:lnTo>
                    <a:pt x="48" y="84"/>
                  </a:lnTo>
                  <a:lnTo>
                    <a:pt x="46" y="86"/>
                  </a:lnTo>
                  <a:lnTo>
                    <a:pt x="44" y="84"/>
                  </a:lnTo>
                  <a:lnTo>
                    <a:pt x="38" y="80"/>
                  </a:lnTo>
                  <a:lnTo>
                    <a:pt x="34" y="78"/>
                  </a:lnTo>
                  <a:lnTo>
                    <a:pt x="32" y="78"/>
                  </a:lnTo>
                  <a:lnTo>
                    <a:pt x="30" y="82"/>
                  </a:lnTo>
                  <a:lnTo>
                    <a:pt x="26" y="84"/>
                  </a:lnTo>
                  <a:lnTo>
                    <a:pt x="22" y="86"/>
                  </a:lnTo>
                  <a:lnTo>
                    <a:pt x="24" y="88"/>
                  </a:lnTo>
                  <a:lnTo>
                    <a:pt x="36" y="92"/>
                  </a:lnTo>
                  <a:lnTo>
                    <a:pt x="40" y="100"/>
                  </a:lnTo>
                  <a:lnTo>
                    <a:pt x="36" y="106"/>
                  </a:lnTo>
                  <a:lnTo>
                    <a:pt x="36" y="108"/>
                  </a:lnTo>
                  <a:lnTo>
                    <a:pt x="32" y="110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6" y="124"/>
                  </a:lnTo>
                  <a:lnTo>
                    <a:pt x="24" y="126"/>
                  </a:lnTo>
                  <a:lnTo>
                    <a:pt x="22" y="130"/>
                  </a:lnTo>
                  <a:lnTo>
                    <a:pt x="24" y="138"/>
                  </a:lnTo>
                  <a:lnTo>
                    <a:pt x="26" y="138"/>
                  </a:lnTo>
                  <a:lnTo>
                    <a:pt x="28" y="140"/>
                  </a:lnTo>
                  <a:lnTo>
                    <a:pt x="26" y="142"/>
                  </a:lnTo>
                  <a:lnTo>
                    <a:pt x="26" y="146"/>
                  </a:lnTo>
                  <a:lnTo>
                    <a:pt x="26" y="148"/>
                  </a:lnTo>
                  <a:lnTo>
                    <a:pt x="24" y="150"/>
                  </a:lnTo>
                  <a:lnTo>
                    <a:pt x="22" y="152"/>
                  </a:lnTo>
                  <a:lnTo>
                    <a:pt x="16" y="150"/>
                  </a:lnTo>
                  <a:lnTo>
                    <a:pt x="12" y="154"/>
                  </a:lnTo>
                  <a:lnTo>
                    <a:pt x="0" y="164"/>
                  </a:lnTo>
                  <a:lnTo>
                    <a:pt x="14" y="164"/>
                  </a:lnTo>
                  <a:lnTo>
                    <a:pt x="16" y="168"/>
                  </a:lnTo>
                  <a:lnTo>
                    <a:pt x="16" y="172"/>
                  </a:lnTo>
                  <a:lnTo>
                    <a:pt x="16" y="178"/>
                  </a:lnTo>
                  <a:lnTo>
                    <a:pt x="20" y="180"/>
                  </a:lnTo>
                  <a:lnTo>
                    <a:pt x="20" y="182"/>
                  </a:lnTo>
                  <a:lnTo>
                    <a:pt x="20" y="186"/>
                  </a:lnTo>
                  <a:lnTo>
                    <a:pt x="22" y="188"/>
                  </a:lnTo>
                  <a:lnTo>
                    <a:pt x="28" y="196"/>
                  </a:lnTo>
                  <a:lnTo>
                    <a:pt x="28" y="198"/>
                  </a:lnTo>
                  <a:lnTo>
                    <a:pt x="32" y="200"/>
                  </a:lnTo>
                  <a:lnTo>
                    <a:pt x="44" y="206"/>
                  </a:lnTo>
                  <a:lnTo>
                    <a:pt x="52" y="214"/>
                  </a:lnTo>
                  <a:lnTo>
                    <a:pt x="56" y="222"/>
                  </a:lnTo>
                  <a:lnTo>
                    <a:pt x="62" y="228"/>
                  </a:lnTo>
                  <a:lnTo>
                    <a:pt x="70" y="234"/>
                  </a:lnTo>
                  <a:lnTo>
                    <a:pt x="76" y="240"/>
                  </a:lnTo>
                  <a:lnTo>
                    <a:pt x="80" y="246"/>
                  </a:lnTo>
                  <a:lnTo>
                    <a:pt x="88" y="252"/>
                  </a:lnTo>
                  <a:lnTo>
                    <a:pt x="96" y="252"/>
                  </a:lnTo>
                  <a:lnTo>
                    <a:pt x="100" y="254"/>
                  </a:lnTo>
                  <a:lnTo>
                    <a:pt x="102" y="258"/>
                  </a:lnTo>
                  <a:lnTo>
                    <a:pt x="108" y="262"/>
                  </a:lnTo>
                  <a:lnTo>
                    <a:pt x="114" y="266"/>
                  </a:lnTo>
                  <a:lnTo>
                    <a:pt x="124" y="268"/>
                  </a:lnTo>
                  <a:lnTo>
                    <a:pt x="144" y="268"/>
                  </a:lnTo>
                  <a:lnTo>
                    <a:pt x="146" y="268"/>
                  </a:lnTo>
                  <a:lnTo>
                    <a:pt x="150" y="270"/>
                  </a:lnTo>
                  <a:lnTo>
                    <a:pt x="154" y="268"/>
                  </a:lnTo>
                  <a:lnTo>
                    <a:pt x="162" y="266"/>
                  </a:lnTo>
                  <a:lnTo>
                    <a:pt x="164" y="264"/>
                  </a:lnTo>
                  <a:lnTo>
                    <a:pt x="170" y="256"/>
                  </a:lnTo>
                  <a:lnTo>
                    <a:pt x="174" y="256"/>
                  </a:lnTo>
                  <a:lnTo>
                    <a:pt x="180" y="254"/>
                  </a:lnTo>
                  <a:lnTo>
                    <a:pt x="186" y="252"/>
                  </a:lnTo>
                  <a:lnTo>
                    <a:pt x="186" y="252"/>
                  </a:lnTo>
                  <a:lnTo>
                    <a:pt x="192" y="250"/>
                  </a:lnTo>
                  <a:lnTo>
                    <a:pt x="194" y="248"/>
                  </a:lnTo>
                  <a:lnTo>
                    <a:pt x="196" y="246"/>
                  </a:lnTo>
                  <a:lnTo>
                    <a:pt x="198" y="244"/>
                  </a:lnTo>
                  <a:lnTo>
                    <a:pt x="202" y="248"/>
                  </a:lnTo>
                  <a:lnTo>
                    <a:pt x="206" y="248"/>
                  </a:lnTo>
                  <a:lnTo>
                    <a:pt x="210" y="246"/>
                  </a:lnTo>
                  <a:lnTo>
                    <a:pt x="214" y="244"/>
                  </a:lnTo>
                  <a:lnTo>
                    <a:pt x="218" y="242"/>
                  </a:lnTo>
                  <a:lnTo>
                    <a:pt x="220" y="240"/>
                  </a:lnTo>
                  <a:lnTo>
                    <a:pt x="222" y="238"/>
                  </a:lnTo>
                  <a:lnTo>
                    <a:pt x="226" y="232"/>
                  </a:lnTo>
                  <a:lnTo>
                    <a:pt x="232" y="230"/>
                  </a:lnTo>
                  <a:lnTo>
                    <a:pt x="240" y="232"/>
                  </a:lnTo>
                  <a:lnTo>
                    <a:pt x="246" y="232"/>
                  </a:lnTo>
                  <a:lnTo>
                    <a:pt x="252" y="232"/>
                  </a:lnTo>
                  <a:lnTo>
                    <a:pt x="268" y="234"/>
                  </a:lnTo>
                  <a:lnTo>
                    <a:pt x="270" y="234"/>
                  </a:lnTo>
                  <a:lnTo>
                    <a:pt x="274" y="236"/>
                  </a:lnTo>
                  <a:lnTo>
                    <a:pt x="276" y="234"/>
                  </a:lnTo>
                  <a:lnTo>
                    <a:pt x="290" y="230"/>
                  </a:lnTo>
                  <a:lnTo>
                    <a:pt x="298" y="234"/>
                  </a:lnTo>
                  <a:lnTo>
                    <a:pt x="300" y="232"/>
                  </a:lnTo>
                  <a:lnTo>
                    <a:pt x="304" y="230"/>
                  </a:lnTo>
                  <a:lnTo>
                    <a:pt x="306" y="228"/>
                  </a:lnTo>
                  <a:lnTo>
                    <a:pt x="306" y="226"/>
                  </a:lnTo>
                  <a:lnTo>
                    <a:pt x="308" y="224"/>
                  </a:lnTo>
                  <a:lnTo>
                    <a:pt x="312" y="222"/>
                  </a:lnTo>
                  <a:lnTo>
                    <a:pt x="326" y="224"/>
                  </a:lnTo>
                  <a:lnTo>
                    <a:pt x="330" y="220"/>
                  </a:lnTo>
                  <a:lnTo>
                    <a:pt x="332" y="218"/>
                  </a:lnTo>
                  <a:lnTo>
                    <a:pt x="334" y="214"/>
                  </a:lnTo>
                  <a:lnTo>
                    <a:pt x="336" y="210"/>
                  </a:lnTo>
                  <a:lnTo>
                    <a:pt x="340" y="208"/>
                  </a:lnTo>
                  <a:lnTo>
                    <a:pt x="340" y="204"/>
                  </a:lnTo>
                  <a:lnTo>
                    <a:pt x="340" y="200"/>
                  </a:lnTo>
                  <a:lnTo>
                    <a:pt x="342" y="192"/>
                  </a:lnTo>
                  <a:lnTo>
                    <a:pt x="344" y="188"/>
                  </a:lnTo>
                  <a:lnTo>
                    <a:pt x="346" y="188"/>
                  </a:lnTo>
                  <a:lnTo>
                    <a:pt x="350" y="186"/>
                  </a:lnTo>
                  <a:lnTo>
                    <a:pt x="356" y="180"/>
                  </a:lnTo>
                  <a:lnTo>
                    <a:pt x="354" y="174"/>
                  </a:lnTo>
                  <a:lnTo>
                    <a:pt x="356" y="172"/>
                  </a:lnTo>
                  <a:lnTo>
                    <a:pt x="360" y="162"/>
                  </a:lnTo>
                  <a:lnTo>
                    <a:pt x="366" y="154"/>
                  </a:lnTo>
                  <a:lnTo>
                    <a:pt x="366" y="150"/>
                  </a:lnTo>
                  <a:lnTo>
                    <a:pt x="366" y="146"/>
                  </a:lnTo>
                  <a:lnTo>
                    <a:pt x="370" y="142"/>
                  </a:lnTo>
                  <a:lnTo>
                    <a:pt x="374" y="138"/>
                  </a:lnTo>
                  <a:lnTo>
                    <a:pt x="380" y="122"/>
                  </a:lnTo>
                  <a:lnTo>
                    <a:pt x="382" y="120"/>
                  </a:lnTo>
                  <a:lnTo>
                    <a:pt x="386" y="116"/>
                  </a:lnTo>
                  <a:lnTo>
                    <a:pt x="388" y="114"/>
                  </a:lnTo>
                  <a:lnTo>
                    <a:pt x="388" y="102"/>
                  </a:lnTo>
                  <a:lnTo>
                    <a:pt x="390" y="100"/>
                  </a:lnTo>
                  <a:lnTo>
                    <a:pt x="396" y="96"/>
                  </a:lnTo>
                  <a:lnTo>
                    <a:pt x="400" y="90"/>
                  </a:lnTo>
                  <a:lnTo>
                    <a:pt x="404" y="84"/>
                  </a:lnTo>
                  <a:lnTo>
                    <a:pt x="408" y="80"/>
                  </a:lnTo>
                  <a:lnTo>
                    <a:pt x="412" y="80"/>
                  </a:lnTo>
                  <a:lnTo>
                    <a:pt x="416" y="78"/>
                  </a:lnTo>
                  <a:lnTo>
                    <a:pt x="420" y="76"/>
                  </a:lnTo>
                  <a:lnTo>
                    <a:pt x="426" y="78"/>
                  </a:lnTo>
                  <a:lnTo>
                    <a:pt x="428" y="76"/>
                  </a:lnTo>
                  <a:lnTo>
                    <a:pt x="432" y="74"/>
                  </a:lnTo>
                  <a:lnTo>
                    <a:pt x="444" y="62"/>
                  </a:lnTo>
                  <a:lnTo>
                    <a:pt x="446" y="60"/>
                  </a:lnTo>
                  <a:lnTo>
                    <a:pt x="444" y="58"/>
                  </a:lnTo>
                  <a:lnTo>
                    <a:pt x="444" y="54"/>
                  </a:lnTo>
                  <a:lnTo>
                    <a:pt x="444" y="52"/>
                  </a:lnTo>
                  <a:lnTo>
                    <a:pt x="444" y="48"/>
                  </a:lnTo>
                  <a:lnTo>
                    <a:pt x="440" y="44"/>
                  </a:lnTo>
                  <a:lnTo>
                    <a:pt x="438" y="44"/>
                  </a:lnTo>
                  <a:lnTo>
                    <a:pt x="434" y="44"/>
                  </a:lnTo>
                  <a:lnTo>
                    <a:pt x="434" y="44"/>
                  </a:lnTo>
                  <a:lnTo>
                    <a:pt x="426" y="40"/>
                  </a:lnTo>
                  <a:lnTo>
                    <a:pt x="422" y="34"/>
                  </a:lnTo>
                  <a:lnTo>
                    <a:pt x="416" y="30"/>
                  </a:lnTo>
                  <a:lnTo>
                    <a:pt x="412" y="30"/>
                  </a:lnTo>
                  <a:lnTo>
                    <a:pt x="410" y="26"/>
                  </a:lnTo>
                  <a:lnTo>
                    <a:pt x="408" y="22"/>
                  </a:lnTo>
                  <a:lnTo>
                    <a:pt x="406" y="18"/>
                  </a:lnTo>
                  <a:lnTo>
                    <a:pt x="406" y="18"/>
                  </a:lnTo>
                  <a:lnTo>
                    <a:pt x="406" y="14"/>
                  </a:lnTo>
                  <a:lnTo>
                    <a:pt x="404" y="14"/>
                  </a:lnTo>
                  <a:lnTo>
                    <a:pt x="404" y="14"/>
                  </a:lnTo>
                  <a:lnTo>
                    <a:pt x="398" y="1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0" name="Freeform 148">
              <a:extLst>
                <a:ext uri="{FF2B5EF4-FFF2-40B4-BE49-F238E27FC236}">
                  <a16:creationId xmlns:a16="http://schemas.microsoft.com/office/drawing/2014/main" id="{8051D4D8-C630-4672-A57E-2EDF974CE876}"/>
                </a:ext>
              </a:extLst>
            </p:cNvPr>
            <p:cNvSpPr/>
            <p:nvPr/>
          </p:nvSpPr>
          <p:spPr bwMode="auto">
            <a:xfrm>
              <a:off x="7020592" y="4448899"/>
              <a:ext cx="737729" cy="790149"/>
            </a:xfrm>
            <a:custGeom>
              <a:avLst/>
              <a:gdLst>
                <a:gd name="connsiteX0" fmla="*/ 4007468 w 4560224"/>
                <a:gd name="connsiteY0" fmla="*/ 4803248 h 4884256"/>
                <a:gd name="connsiteX1" fmla="*/ 4017000 w 4560224"/>
                <a:gd name="connsiteY1" fmla="*/ 4808014 h 4884256"/>
                <a:gd name="connsiteX2" fmla="*/ 4026528 w 4560224"/>
                <a:gd name="connsiteY2" fmla="*/ 4846136 h 4884256"/>
                <a:gd name="connsiteX3" fmla="*/ 4021764 w 4560224"/>
                <a:gd name="connsiteY3" fmla="*/ 4869960 h 4884256"/>
                <a:gd name="connsiteX4" fmla="*/ 4012236 w 4560224"/>
                <a:gd name="connsiteY4" fmla="*/ 4884256 h 4884256"/>
                <a:gd name="connsiteX5" fmla="*/ 3993176 w 4560224"/>
                <a:gd name="connsiteY5" fmla="*/ 4841370 h 4884256"/>
                <a:gd name="connsiteX6" fmla="*/ 3983644 w 4560224"/>
                <a:gd name="connsiteY6" fmla="*/ 4841370 h 4884256"/>
                <a:gd name="connsiteX7" fmla="*/ 3983644 w 4560224"/>
                <a:gd name="connsiteY7" fmla="*/ 4822310 h 4884256"/>
                <a:gd name="connsiteX8" fmla="*/ 3988408 w 4560224"/>
                <a:gd name="connsiteY8" fmla="*/ 4812780 h 4884256"/>
                <a:gd name="connsiteX9" fmla="*/ 3988408 w 4560224"/>
                <a:gd name="connsiteY9" fmla="*/ 4779424 h 4884256"/>
                <a:gd name="connsiteX10" fmla="*/ 3993176 w 4560224"/>
                <a:gd name="connsiteY10" fmla="*/ 4788954 h 4884256"/>
                <a:gd name="connsiteX11" fmla="*/ 3978880 w 4560224"/>
                <a:gd name="connsiteY11" fmla="*/ 4803248 h 4884256"/>
                <a:gd name="connsiteX12" fmla="*/ 3974112 w 4560224"/>
                <a:gd name="connsiteY12" fmla="*/ 4793718 h 4884256"/>
                <a:gd name="connsiteX13" fmla="*/ 3978880 w 4560224"/>
                <a:gd name="connsiteY13" fmla="*/ 4784188 h 4884256"/>
                <a:gd name="connsiteX14" fmla="*/ 3983644 w 4560224"/>
                <a:gd name="connsiteY14" fmla="*/ 4784188 h 4884256"/>
                <a:gd name="connsiteX15" fmla="*/ 3931228 w 4560224"/>
                <a:gd name="connsiteY15" fmla="*/ 4684120 h 4884256"/>
                <a:gd name="connsiteX16" fmla="*/ 3940756 w 4560224"/>
                <a:gd name="connsiteY16" fmla="*/ 4684120 h 4884256"/>
                <a:gd name="connsiteX17" fmla="*/ 3950288 w 4560224"/>
                <a:gd name="connsiteY17" fmla="*/ 4693652 h 4884256"/>
                <a:gd name="connsiteX18" fmla="*/ 3950288 w 4560224"/>
                <a:gd name="connsiteY18" fmla="*/ 4698416 h 4884256"/>
                <a:gd name="connsiteX19" fmla="*/ 3950288 w 4560224"/>
                <a:gd name="connsiteY19" fmla="*/ 4703182 h 4884256"/>
                <a:gd name="connsiteX20" fmla="*/ 3935992 w 4560224"/>
                <a:gd name="connsiteY20" fmla="*/ 4703182 h 4884256"/>
                <a:gd name="connsiteX21" fmla="*/ 3935992 w 4560224"/>
                <a:gd name="connsiteY21" fmla="*/ 4698416 h 4884256"/>
                <a:gd name="connsiteX22" fmla="*/ 3931228 w 4560224"/>
                <a:gd name="connsiteY22" fmla="*/ 4688886 h 4884256"/>
                <a:gd name="connsiteX23" fmla="*/ 3959816 w 4560224"/>
                <a:gd name="connsiteY23" fmla="*/ 4650764 h 4884256"/>
                <a:gd name="connsiteX24" fmla="*/ 3964584 w 4560224"/>
                <a:gd name="connsiteY24" fmla="*/ 4650764 h 4884256"/>
                <a:gd name="connsiteX25" fmla="*/ 3959816 w 4560224"/>
                <a:gd name="connsiteY25" fmla="*/ 4660296 h 4884256"/>
                <a:gd name="connsiteX26" fmla="*/ 3964584 w 4560224"/>
                <a:gd name="connsiteY26" fmla="*/ 4674590 h 4884256"/>
                <a:gd name="connsiteX27" fmla="*/ 3955052 w 4560224"/>
                <a:gd name="connsiteY27" fmla="*/ 4679356 h 4884256"/>
                <a:gd name="connsiteX28" fmla="*/ 3955052 w 4560224"/>
                <a:gd name="connsiteY28" fmla="*/ 4674590 h 4884256"/>
                <a:gd name="connsiteX29" fmla="*/ 3955052 w 4560224"/>
                <a:gd name="connsiteY29" fmla="*/ 4669826 h 4884256"/>
                <a:gd name="connsiteX30" fmla="*/ 3950288 w 4560224"/>
                <a:gd name="connsiteY30" fmla="*/ 4655530 h 4884256"/>
                <a:gd name="connsiteX31" fmla="*/ 3893104 w 4560224"/>
                <a:gd name="connsiteY31" fmla="*/ 4631704 h 4884256"/>
                <a:gd name="connsiteX32" fmla="*/ 3897872 w 4560224"/>
                <a:gd name="connsiteY32" fmla="*/ 4631704 h 4884256"/>
                <a:gd name="connsiteX33" fmla="*/ 3902636 w 4560224"/>
                <a:gd name="connsiteY33" fmla="*/ 4646000 h 4884256"/>
                <a:gd name="connsiteX34" fmla="*/ 3907400 w 4560224"/>
                <a:gd name="connsiteY34" fmla="*/ 4650766 h 4884256"/>
                <a:gd name="connsiteX35" fmla="*/ 3897872 w 4560224"/>
                <a:gd name="connsiteY35" fmla="*/ 4650766 h 4884256"/>
                <a:gd name="connsiteX36" fmla="*/ 3893104 w 4560224"/>
                <a:gd name="connsiteY36" fmla="*/ 4641236 h 4884256"/>
                <a:gd name="connsiteX37" fmla="*/ 3840688 w 4560224"/>
                <a:gd name="connsiteY37" fmla="*/ 4488752 h 4884256"/>
                <a:gd name="connsiteX38" fmla="*/ 3845456 w 4560224"/>
                <a:gd name="connsiteY38" fmla="*/ 4488752 h 4884256"/>
                <a:gd name="connsiteX39" fmla="*/ 3850220 w 4560224"/>
                <a:gd name="connsiteY39" fmla="*/ 4498282 h 4884256"/>
                <a:gd name="connsiteX40" fmla="*/ 3850220 w 4560224"/>
                <a:gd name="connsiteY40" fmla="*/ 4503046 h 4884256"/>
                <a:gd name="connsiteX41" fmla="*/ 3840688 w 4560224"/>
                <a:gd name="connsiteY41" fmla="*/ 4507812 h 4884256"/>
                <a:gd name="connsiteX42" fmla="*/ 3835924 w 4560224"/>
                <a:gd name="connsiteY42" fmla="*/ 4503046 h 4884256"/>
                <a:gd name="connsiteX43" fmla="*/ 3835924 w 4560224"/>
                <a:gd name="connsiteY43" fmla="*/ 4493516 h 4884256"/>
                <a:gd name="connsiteX44" fmla="*/ 3802568 w 4560224"/>
                <a:gd name="connsiteY44" fmla="*/ 4226668 h 4884256"/>
                <a:gd name="connsiteX45" fmla="*/ 3812100 w 4560224"/>
                <a:gd name="connsiteY45" fmla="*/ 4240964 h 4884256"/>
                <a:gd name="connsiteX46" fmla="*/ 3812100 w 4560224"/>
                <a:gd name="connsiteY46" fmla="*/ 4255260 h 4884256"/>
                <a:gd name="connsiteX47" fmla="*/ 3802568 w 4560224"/>
                <a:gd name="connsiteY47" fmla="*/ 4279086 h 4884256"/>
                <a:gd name="connsiteX48" fmla="*/ 3797804 w 4560224"/>
                <a:gd name="connsiteY48" fmla="*/ 4283852 h 4884256"/>
                <a:gd name="connsiteX49" fmla="*/ 3783508 w 4560224"/>
                <a:gd name="connsiteY49" fmla="*/ 4283852 h 4884256"/>
                <a:gd name="connsiteX50" fmla="*/ 3783508 w 4560224"/>
                <a:gd name="connsiteY50" fmla="*/ 4264790 h 4884256"/>
                <a:gd name="connsiteX51" fmla="*/ 3778744 w 4560224"/>
                <a:gd name="connsiteY51" fmla="*/ 4250494 h 4884256"/>
                <a:gd name="connsiteX52" fmla="*/ 3783508 w 4560224"/>
                <a:gd name="connsiteY52" fmla="*/ 4240964 h 4884256"/>
                <a:gd name="connsiteX53" fmla="*/ 3793040 w 4560224"/>
                <a:gd name="connsiteY53" fmla="*/ 4231434 h 4884256"/>
                <a:gd name="connsiteX54" fmla="*/ 3826392 w 4560224"/>
                <a:gd name="connsiteY54" fmla="*/ 4126600 h 4884256"/>
                <a:gd name="connsiteX55" fmla="*/ 3831160 w 4560224"/>
                <a:gd name="connsiteY55" fmla="*/ 4136132 h 4884256"/>
                <a:gd name="connsiteX56" fmla="*/ 3831160 w 4560224"/>
                <a:gd name="connsiteY56" fmla="*/ 4145662 h 4884256"/>
                <a:gd name="connsiteX57" fmla="*/ 3831160 w 4560224"/>
                <a:gd name="connsiteY57" fmla="*/ 4150428 h 4884256"/>
                <a:gd name="connsiteX58" fmla="*/ 3826392 w 4560224"/>
                <a:gd name="connsiteY58" fmla="*/ 4150428 h 4884256"/>
                <a:gd name="connsiteX59" fmla="*/ 3816864 w 4560224"/>
                <a:gd name="connsiteY59" fmla="*/ 4150428 h 4884256"/>
                <a:gd name="connsiteX60" fmla="*/ 3826392 w 4560224"/>
                <a:gd name="connsiteY60" fmla="*/ 4140896 h 4884256"/>
                <a:gd name="connsiteX61" fmla="*/ 3878812 w 4560224"/>
                <a:gd name="connsiteY61" fmla="*/ 4045594 h 4884256"/>
                <a:gd name="connsiteX62" fmla="*/ 3883576 w 4560224"/>
                <a:gd name="connsiteY62" fmla="*/ 4045594 h 4884256"/>
                <a:gd name="connsiteX63" fmla="*/ 3888340 w 4560224"/>
                <a:gd name="connsiteY63" fmla="*/ 4064656 h 4884256"/>
                <a:gd name="connsiteX64" fmla="*/ 3878812 w 4560224"/>
                <a:gd name="connsiteY64" fmla="*/ 4055124 h 4884256"/>
                <a:gd name="connsiteX65" fmla="*/ 3874048 w 4560224"/>
                <a:gd name="connsiteY65" fmla="*/ 4050360 h 4884256"/>
                <a:gd name="connsiteX66" fmla="*/ 3831160 w 4560224"/>
                <a:gd name="connsiteY66" fmla="*/ 3897876 h 4884256"/>
                <a:gd name="connsiteX67" fmla="*/ 3835924 w 4560224"/>
                <a:gd name="connsiteY67" fmla="*/ 3897876 h 4884256"/>
                <a:gd name="connsiteX68" fmla="*/ 3840688 w 4560224"/>
                <a:gd name="connsiteY68" fmla="*/ 3897876 h 4884256"/>
                <a:gd name="connsiteX69" fmla="*/ 3835924 w 4560224"/>
                <a:gd name="connsiteY69" fmla="*/ 3912170 h 4884256"/>
                <a:gd name="connsiteX70" fmla="*/ 3831160 w 4560224"/>
                <a:gd name="connsiteY70" fmla="*/ 3921700 h 4884256"/>
                <a:gd name="connsiteX71" fmla="*/ 3883576 w 4560224"/>
                <a:gd name="connsiteY71" fmla="*/ 3802572 h 4884256"/>
                <a:gd name="connsiteX72" fmla="*/ 3888340 w 4560224"/>
                <a:gd name="connsiteY72" fmla="*/ 3802572 h 4884256"/>
                <a:gd name="connsiteX73" fmla="*/ 3893104 w 4560224"/>
                <a:gd name="connsiteY73" fmla="*/ 3821632 h 4884256"/>
                <a:gd name="connsiteX74" fmla="*/ 3893104 w 4560224"/>
                <a:gd name="connsiteY74" fmla="*/ 3826398 h 4884256"/>
                <a:gd name="connsiteX75" fmla="*/ 3883576 w 4560224"/>
                <a:gd name="connsiteY75" fmla="*/ 3835928 h 4884256"/>
                <a:gd name="connsiteX76" fmla="*/ 3893104 w 4560224"/>
                <a:gd name="connsiteY76" fmla="*/ 3850224 h 4884256"/>
                <a:gd name="connsiteX77" fmla="*/ 3893104 w 4560224"/>
                <a:gd name="connsiteY77" fmla="*/ 3854988 h 4884256"/>
                <a:gd name="connsiteX78" fmla="*/ 3888340 w 4560224"/>
                <a:gd name="connsiteY78" fmla="*/ 3864518 h 4884256"/>
                <a:gd name="connsiteX79" fmla="*/ 3883576 w 4560224"/>
                <a:gd name="connsiteY79" fmla="*/ 3874048 h 4884256"/>
                <a:gd name="connsiteX80" fmla="*/ 3874044 w 4560224"/>
                <a:gd name="connsiteY80" fmla="*/ 3878814 h 4884256"/>
                <a:gd name="connsiteX81" fmla="*/ 3869280 w 4560224"/>
                <a:gd name="connsiteY81" fmla="*/ 3893110 h 4884256"/>
                <a:gd name="connsiteX82" fmla="*/ 3864516 w 4560224"/>
                <a:gd name="connsiteY82" fmla="*/ 3897874 h 4884256"/>
                <a:gd name="connsiteX83" fmla="*/ 3874044 w 4560224"/>
                <a:gd name="connsiteY83" fmla="*/ 3912170 h 4884256"/>
                <a:gd name="connsiteX84" fmla="*/ 3878812 w 4560224"/>
                <a:gd name="connsiteY84" fmla="*/ 3964586 h 4884256"/>
                <a:gd name="connsiteX85" fmla="*/ 3869280 w 4560224"/>
                <a:gd name="connsiteY85" fmla="*/ 3978882 h 4884256"/>
                <a:gd name="connsiteX86" fmla="*/ 3859752 w 4560224"/>
                <a:gd name="connsiteY86" fmla="*/ 3978882 h 4884256"/>
                <a:gd name="connsiteX87" fmla="*/ 3864516 w 4560224"/>
                <a:gd name="connsiteY87" fmla="*/ 4012238 h 4884256"/>
                <a:gd name="connsiteX88" fmla="*/ 3859752 w 4560224"/>
                <a:gd name="connsiteY88" fmla="*/ 4021768 h 4884256"/>
                <a:gd name="connsiteX89" fmla="*/ 3850220 w 4560224"/>
                <a:gd name="connsiteY89" fmla="*/ 4036064 h 4884256"/>
                <a:gd name="connsiteX90" fmla="*/ 3845456 w 4560224"/>
                <a:gd name="connsiteY90" fmla="*/ 4045594 h 4884256"/>
                <a:gd name="connsiteX91" fmla="*/ 3840688 w 4560224"/>
                <a:gd name="connsiteY91" fmla="*/ 4050358 h 4884256"/>
                <a:gd name="connsiteX92" fmla="*/ 3845456 w 4560224"/>
                <a:gd name="connsiteY92" fmla="*/ 4059890 h 4884256"/>
                <a:gd name="connsiteX93" fmla="*/ 3850220 w 4560224"/>
                <a:gd name="connsiteY93" fmla="*/ 4064654 h 4884256"/>
                <a:gd name="connsiteX94" fmla="*/ 3850220 w 4560224"/>
                <a:gd name="connsiteY94" fmla="*/ 4069420 h 4884256"/>
                <a:gd name="connsiteX95" fmla="*/ 3845456 w 4560224"/>
                <a:gd name="connsiteY95" fmla="*/ 4088480 h 4884256"/>
                <a:gd name="connsiteX96" fmla="*/ 3845456 w 4560224"/>
                <a:gd name="connsiteY96" fmla="*/ 4107540 h 4884256"/>
                <a:gd name="connsiteX97" fmla="*/ 3835924 w 4560224"/>
                <a:gd name="connsiteY97" fmla="*/ 4126600 h 4884256"/>
                <a:gd name="connsiteX98" fmla="*/ 3831160 w 4560224"/>
                <a:gd name="connsiteY98" fmla="*/ 4121836 h 4884256"/>
                <a:gd name="connsiteX99" fmla="*/ 3816864 w 4560224"/>
                <a:gd name="connsiteY99" fmla="*/ 4093246 h 4884256"/>
                <a:gd name="connsiteX100" fmla="*/ 3812100 w 4560224"/>
                <a:gd name="connsiteY100" fmla="*/ 4078950 h 4884256"/>
                <a:gd name="connsiteX101" fmla="*/ 3807336 w 4560224"/>
                <a:gd name="connsiteY101" fmla="*/ 4069420 h 4884256"/>
                <a:gd name="connsiteX102" fmla="*/ 3812100 w 4560224"/>
                <a:gd name="connsiteY102" fmla="*/ 4059890 h 4884256"/>
                <a:gd name="connsiteX103" fmla="*/ 3821628 w 4560224"/>
                <a:gd name="connsiteY103" fmla="*/ 4059890 h 4884256"/>
                <a:gd name="connsiteX104" fmla="*/ 3821628 w 4560224"/>
                <a:gd name="connsiteY104" fmla="*/ 4050358 h 4884256"/>
                <a:gd name="connsiteX105" fmla="*/ 3826396 w 4560224"/>
                <a:gd name="connsiteY105" fmla="*/ 4031298 h 4884256"/>
                <a:gd name="connsiteX106" fmla="*/ 3831160 w 4560224"/>
                <a:gd name="connsiteY106" fmla="*/ 4017002 h 4884256"/>
                <a:gd name="connsiteX107" fmla="*/ 3845456 w 4560224"/>
                <a:gd name="connsiteY107" fmla="*/ 4017002 h 4884256"/>
                <a:gd name="connsiteX108" fmla="*/ 3850220 w 4560224"/>
                <a:gd name="connsiteY108" fmla="*/ 4012238 h 4884256"/>
                <a:gd name="connsiteX109" fmla="*/ 3845456 w 4560224"/>
                <a:gd name="connsiteY109" fmla="*/ 4002708 h 4884256"/>
                <a:gd name="connsiteX110" fmla="*/ 3840688 w 4560224"/>
                <a:gd name="connsiteY110" fmla="*/ 3997942 h 4884256"/>
                <a:gd name="connsiteX111" fmla="*/ 3835924 w 4560224"/>
                <a:gd name="connsiteY111" fmla="*/ 3993178 h 4884256"/>
                <a:gd name="connsiteX112" fmla="*/ 3835924 w 4560224"/>
                <a:gd name="connsiteY112" fmla="*/ 3964586 h 4884256"/>
                <a:gd name="connsiteX113" fmla="*/ 3840688 w 4560224"/>
                <a:gd name="connsiteY113" fmla="*/ 3950292 h 4884256"/>
                <a:gd name="connsiteX114" fmla="*/ 3840688 w 4560224"/>
                <a:gd name="connsiteY114" fmla="*/ 3945526 h 4884256"/>
                <a:gd name="connsiteX115" fmla="*/ 3840688 w 4560224"/>
                <a:gd name="connsiteY115" fmla="*/ 3926466 h 4884256"/>
                <a:gd name="connsiteX116" fmla="*/ 3840688 w 4560224"/>
                <a:gd name="connsiteY116" fmla="*/ 3921700 h 4884256"/>
                <a:gd name="connsiteX117" fmla="*/ 3850220 w 4560224"/>
                <a:gd name="connsiteY117" fmla="*/ 3912170 h 4884256"/>
                <a:gd name="connsiteX118" fmla="*/ 3854984 w 4560224"/>
                <a:gd name="connsiteY118" fmla="*/ 3888344 h 4884256"/>
                <a:gd name="connsiteX119" fmla="*/ 3850220 w 4560224"/>
                <a:gd name="connsiteY119" fmla="*/ 3883580 h 4884256"/>
                <a:gd name="connsiteX120" fmla="*/ 3859752 w 4560224"/>
                <a:gd name="connsiteY120" fmla="*/ 3854988 h 4884256"/>
                <a:gd name="connsiteX121" fmla="*/ 3859752 w 4560224"/>
                <a:gd name="connsiteY121" fmla="*/ 3831162 h 4884256"/>
                <a:gd name="connsiteX122" fmla="*/ 3869280 w 4560224"/>
                <a:gd name="connsiteY122" fmla="*/ 3812102 h 4884256"/>
                <a:gd name="connsiteX123" fmla="*/ 1505780 w 4560224"/>
                <a:gd name="connsiteY123" fmla="*/ 0 h 4884256"/>
                <a:gd name="connsiteX124" fmla="*/ 1510544 w 4560224"/>
                <a:gd name="connsiteY124" fmla="*/ 4766 h 4884256"/>
                <a:gd name="connsiteX125" fmla="*/ 1515308 w 4560224"/>
                <a:gd name="connsiteY125" fmla="*/ 9532 h 4884256"/>
                <a:gd name="connsiteX126" fmla="*/ 1520072 w 4560224"/>
                <a:gd name="connsiteY126" fmla="*/ 9532 h 4884256"/>
                <a:gd name="connsiteX127" fmla="*/ 1529604 w 4560224"/>
                <a:gd name="connsiteY127" fmla="*/ 4766 h 4884256"/>
                <a:gd name="connsiteX128" fmla="*/ 1539136 w 4560224"/>
                <a:gd name="connsiteY128" fmla="*/ 0 h 4884256"/>
                <a:gd name="connsiteX129" fmla="*/ 1543900 w 4560224"/>
                <a:gd name="connsiteY129" fmla="*/ 4766 h 4884256"/>
                <a:gd name="connsiteX130" fmla="*/ 1543900 w 4560224"/>
                <a:gd name="connsiteY130" fmla="*/ 9532 h 4884256"/>
                <a:gd name="connsiteX131" fmla="*/ 1539136 w 4560224"/>
                <a:gd name="connsiteY131" fmla="*/ 38122 h 4884256"/>
                <a:gd name="connsiteX132" fmla="*/ 1539136 w 4560224"/>
                <a:gd name="connsiteY132" fmla="*/ 47652 h 4884256"/>
                <a:gd name="connsiteX133" fmla="*/ 1548664 w 4560224"/>
                <a:gd name="connsiteY133" fmla="*/ 71478 h 4884256"/>
                <a:gd name="connsiteX134" fmla="*/ 1562960 w 4560224"/>
                <a:gd name="connsiteY134" fmla="*/ 104834 h 4884256"/>
                <a:gd name="connsiteX135" fmla="*/ 1577256 w 4560224"/>
                <a:gd name="connsiteY135" fmla="*/ 138190 h 4884256"/>
                <a:gd name="connsiteX136" fmla="*/ 1582020 w 4560224"/>
                <a:gd name="connsiteY136" fmla="*/ 162016 h 4884256"/>
                <a:gd name="connsiteX137" fmla="*/ 1586784 w 4560224"/>
                <a:gd name="connsiteY137" fmla="*/ 171546 h 4884256"/>
                <a:gd name="connsiteX138" fmla="*/ 1620140 w 4560224"/>
                <a:gd name="connsiteY138" fmla="*/ 181076 h 4884256"/>
                <a:gd name="connsiteX139" fmla="*/ 1643968 w 4560224"/>
                <a:gd name="connsiteY139" fmla="*/ 185840 h 4884256"/>
                <a:gd name="connsiteX140" fmla="*/ 1658264 w 4560224"/>
                <a:gd name="connsiteY140" fmla="*/ 200136 h 4884256"/>
                <a:gd name="connsiteX141" fmla="*/ 1672556 w 4560224"/>
                <a:gd name="connsiteY141" fmla="*/ 214432 h 4884256"/>
                <a:gd name="connsiteX142" fmla="*/ 1682088 w 4560224"/>
                <a:gd name="connsiteY142" fmla="*/ 219196 h 4884256"/>
                <a:gd name="connsiteX143" fmla="*/ 1691620 w 4560224"/>
                <a:gd name="connsiteY143" fmla="*/ 228728 h 4884256"/>
                <a:gd name="connsiteX144" fmla="*/ 1691620 w 4560224"/>
                <a:gd name="connsiteY144" fmla="*/ 238258 h 4884256"/>
                <a:gd name="connsiteX145" fmla="*/ 1691620 w 4560224"/>
                <a:gd name="connsiteY145" fmla="*/ 243022 h 4884256"/>
                <a:gd name="connsiteX146" fmla="*/ 1682088 w 4560224"/>
                <a:gd name="connsiteY146" fmla="*/ 252552 h 4884256"/>
                <a:gd name="connsiteX147" fmla="*/ 1653496 w 4560224"/>
                <a:gd name="connsiteY147" fmla="*/ 271614 h 4884256"/>
                <a:gd name="connsiteX148" fmla="*/ 1653496 w 4560224"/>
                <a:gd name="connsiteY148" fmla="*/ 276378 h 4884256"/>
                <a:gd name="connsiteX149" fmla="*/ 1653496 w 4560224"/>
                <a:gd name="connsiteY149" fmla="*/ 281144 h 4884256"/>
                <a:gd name="connsiteX150" fmla="*/ 1658264 w 4560224"/>
                <a:gd name="connsiteY150" fmla="*/ 304970 h 4884256"/>
                <a:gd name="connsiteX151" fmla="*/ 1658264 w 4560224"/>
                <a:gd name="connsiteY151" fmla="*/ 324030 h 4884256"/>
                <a:gd name="connsiteX152" fmla="*/ 1663028 w 4560224"/>
                <a:gd name="connsiteY152" fmla="*/ 352620 h 4884256"/>
                <a:gd name="connsiteX153" fmla="*/ 1663028 w 4560224"/>
                <a:gd name="connsiteY153" fmla="*/ 381212 h 4884256"/>
                <a:gd name="connsiteX154" fmla="*/ 1672556 w 4560224"/>
                <a:gd name="connsiteY154" fmla="*/ 390742 h 4884256"/>
                <a:gd name="connsiteX155" fmla="*/ 1682088 w 4560224"/>
                <a:gd name="connsiteY155" fmla="*/ 400272 h 4884256"/>
                <a:gd name="connsiteX156" fmla="*/ 1686852 w 4560224"/>
                <a:gd name="connsiteY156" fmla="*/ 409802 h 4884256"/>
                <a:gd name="connsiteX157" fmla="*/ 1696384 w 4560224"/>
                <a:gd name="connsiteY157" fmla="*/ 419332 h 4884256"/>
                <a:gd name="connsiteX158" fmla="*/ 1705912 w 4560224"/>
                <a:gd name="connsiteY158" fmla="*/ 424098 h 4884256"/>
                <a:gd name="connsiteX159" fmla="*/ 1710680 w 4560224"/>
                <a:gd name="connsiteY159" fmla="*/ 428862 h 4884256"/>
                <a:gd name="connsiteX160" fmla="*/ 1715444 w 4560224"/>
                <a:gd name="connsiteY160" fmla="*/ 443158 h 4884256"/>
                <a:gd name="connsiteX161" fmla="*/ 1715444 w 4560224"/>
                <a:gd name="connsiteY161" fmla="*/ 452688 h 4884256"/>
                <a:gd name="connsiteX162" fmla="*/ 1710680 w 4560224"/>
                <a:gd name="connsiteY162" fmla="*/ 462218 h 4884256"/>
                <a:gd name="connsiteX163" fmla="*/ 1710680 w 4560224"/>
                <a:gd name="connsiteY163" fmla="*/ 466984 h 4884256"/>
                <a:gd name="connsiteX164" fmla="*/ 1715444 w 4560224"/>
                <a:gd name="connsiteY164" fmla="*/ 471748 h 4884256"/>
                <a:gd name="connsiteX165" fmla="*/ 1724976 w 4560224"/>
                <a:gd name="connsiteY165" fmla="*/ 481278 h 4884256"/>
                <a:gd name="connsiteX166" fmla="*/ 1729740 w 4560224"/>
                <a:gd name="connsiteY166" fmla="*/ 495574 h 4884256"/>
                <a:gd name="connsiteX167" fmla="*/ 1724976 w 4560224"/>
                <a:gd name="connsiteY167" fmla="*/ 509870 h 4884256"/>
                <a:gd name="connsiteX168" fmla="*/ 1729740 w 4560224"/>
                <a:gd name="connsiteY168" fmla="*/ 519400 h 4884256"/>
                <a:gd name="connsiteX169" fmla="*/ 1729740 w 4560224"/>
                <a:gd name="connsiteY169" fmla="*/ 528930 h 4884256"/>
                <a:gd name="connsiteX170" fmla="*/ 1729740 w 4560224"/>
                <a:gd name="connsiteY170" fmla="*/ 552756 h 4884256"/>
                <a:gd name="connsiteX171" fmla="*/ 1729740 w 4560224"/>
                <a:gd name="connsiteY171" fmla="*/ 567052 h 4884256"/>
                <a:gd name="connsiteX172" fmla="*/ 1720208 w 4560224"/>
                <a:gd name="connsiteY172" fmla="*/ 567052 h 4884256"/>
                <a:gd name="connsiteX173" fmla="*/ 1715444 w 4560224"/>
                <a:gd name="connsiteY173" fmla="*/ 571816 h 4884256"/>
                <a:gd name="connsiteX174" fmla="*/ 1705912 w 4560224"/>
                <a:gd name="connsiteY174" fmla="*/ 586112 h 4884256"/>
                <a:gd name="connsiteX175" fmla="*/ 1696384 w 4560224"/>
                <a:gd name="connsiteY175" fmla="*/ 590876 h 4884256"/>
                <a:gd name="connsiteX176" fmla="*/ 1682088 w 4560224"/>
                <a:gd name="connsiteY176" fmla="*/ 590876 h 4884256"/>
                <a:gd name="connsiteX177" fmla="*/ 1667792 w 4560224"/>
                <a:gd name="connsiteY177" fmla="*/ 581346 h 4884256"/>
                <a:gd name="connsiteX178" fmla="*/ 1658264 w 4560224"/>
                <a:gd name="connsiteY178" fmla="*/ 571816 h 4884256"/>
                <a:gd name="connsiteX179" fmla="*/ 1658264 w 4560224"/>
                <a:gd name="connsiteY179" fmla="*/ 567052 h 4884256"/>
                <a:gd name="connsiteX180" fmla="*/ 1653496 w 4560224"/>
                <a:gd name="connsiteY180" fmla="*/ 557520 h 4884256"/>
                <a:gd name="connsiteX181" fmla="*/ 1648732 w 4560224"/>
                <a:gd name="connsiteY181" fmla="*/ 547990 h 4884256"/>
                <a:gd name="connsiteX182" fmla="*/ 1639200 w 4560224"/>
                <a:gd name="connsiteY182" fmla="*/ 552756 h 4884256"/>
                <a:gd name="connsiteX183" fmla="*/ 1620140 w 4560224"/>
                <a:gd name="connsiteY183" fmla="*/ 552756 h 4884256"/>
                <a:gd name="connsiteX184" fmla="*/ 1601080 w 4560224"/>
                <a:gd name="connsiteY184" fmla="*/ 557520 h 4884256"/>
                <a:gd name="connsiteX185" fmla="*/ 1601080 w 4560224"/>
                <a:gd name="connsiteY185" fmla="*/ 562286 h 4884256"/>
                <a:gd name="connsiteX186" fmla="*/ 1601080 w 4560224"/>
                <a:gd name="connsiteY186" fmla="*/ 571816 h 4884256"/>
                <a:gd name="connsiteX187" fmla="*/ 1605848 w 4560224"/>
                <a:gd name="connsiteY187" fmla="*/ 586112 h 4884256"/>
                <a:gd name="connsiteX188" fmla="*/ 1610612 w 4560224"/>
                <a:gd name="connsiteY188" fmla="*/ 605172 h 4884256"/>
                <a:gd name="connsiteX189" fmla="*/ 1615376 w 4560224"/>
                <a:gd name="connsiteY189" fmla="*/ 614702 h 4884256"/>
                <a:gd name="connsiteX190" fmla="*/ 1615376 w 4560224"/>
                <a:gd name="connsiteY190" fmla="*/ 619468 h 4884256"/>
                <a:gd name="connsiteX191" fmla="*/ 1643968 w 4560224"/>
                <a:gd name="connsiteY191" fmla="*/ 652824 h 4884256"/>
                <a:gd name="connsiteX192" fmla="*/ 1653496 w 4560224"/>
                <a:gd name="connsiteY192" fmla="*/ 662354 h 4884256"/>
                <a:gd name="connsiteX193" fmla="*/ 1653496 w 4560224"/>
                <a:gd name="connsiteY193" fmla="*/ 667118 h 4884256"/>
                <a:gd name="connsiteX194" fmla="*/ 1648732 w 4560224"/>
                <a:gd name="connsiteY194" fmla="*/ 681414 h 4884256"/>
                <a:gd name="connsiteX195" fmla="*/ 1648732 w 4560224"/>
                <a:gd name="connsiteY195" fmla="*/ 676648 h 4884256"/>
                <a:gd name="connsiteX196" fmla="*/ 1639200 w 4560224"/>
                <a:gd name="connsiteY196" fmla="*/ 662354 h 4884256"/>
                <a:gd name="connsiteX197" fmla="*/ 1648732 w 4560224"/>
                <a:gd name="connsiteY197" fmla="*/ 681414 h 4884256"/>
                <a:gd name="connsiteX198" fmla="*/ 1643968 w 4560224"/>
                <a:gd name="connsiteY198" fmla="*/ 695710 h 4884256"/>
                <a:gd name="connsiteX199" fmla="*/ 1643968 w 4560224"/>
                <a:gd name="connsiteY199" fmla="*/ 705240 h 4884256"/>
                <a:gd name="connsiteX200" fmla="*/ 1658264 w 4560224"/>
                <a:gd name="connsiteY200" fmla="*/ 719536 h 4884256"/>
                <a:gd name="connsiteX201" fmla="*/ 1663028 w 4560224"/>
                <a:gd name="connsiteY201" fmla="*/ 729066 h 4884256"/>
                <a:gd name="connsiteX202" fmla="*/ 1658264 w 4560224"/>
                <a:gd name="connsiteY202" fmla="*/ 738596 h 4884256"/>
                <a:gd name="connsiteX203" fmla="*/ 1653496 w 4560224"/>
                <a:gd name="connsiteY203" fmla="*/ 757656 h 4884256"/>
                <a:gd name="connsiteX204" fmla="*/ 1658264 w 4560224"/>
                <a:gd name="connsiteY204" fmla="*/ 762422 h 4884256"/>
                <a:gd name="connsiteX205" fmla="*/ 1653496 w 4560224"/>
                <a:gd name="connsiteY205" fmla="*/ 781482 h 4884256"/>
                <a:gd name="connsiteX206" fmla="*/ 1658264 w 4560224"/>
                <a:gd name="connsiteY206" fmla="*/ 786246 h 4884256"/>
                <a:gd name="connsiteX207" fmla="*/ 1663028 w 4560224"/>
                <a:gd name="connsiteY207" fmla="*/ 786246 h 4884256"/>
                <a:gd name="connsiteX208" fmla="*/ 1667792 w 4560224"/>
                <a:gd name="connsiteY208" fmla="*/ 786246 h 4884256"/>
                <a:gd name="connsiteX209" fmla="*/ 1677324 w 4560224"/>
                <a:gd name="connsiteY209" fmla="*/ 781482 h 4884256"/>
                <a:gd name="connsiteX210" fmla="*/ 1686852 w 4560224"/>
                <a:gd name="connsiteY210" fmla="*/ 781482 h 4884256"/>
                <a:gd name="connsiteX211" fmla="*/ 1691620 w 4560224"/>
                <a:gd name="connsiteY211" fmla="*/ 781482 h 4884256"/>
                <a:gd name="connsiteX212" fmla="*/ 1696384 w 4560224"/>
                <a:gd name="connsiteY212" fmla="*/ 767186 h 4884256"/>
                <a:gd name="connsiteX213" fmla="*/ 1701148 w 4560224"/>
                <a:gd name="connsiteY213" fmla="*/ 762422 h 4884256"/>
                <a:gd name="connsiteX214" fmla="*/ 1710680 w 4560224"/>
                <a:gd name="connsiteY214" fmla="*/ 767186 h 4884256"/>
                <a:gd name="connsiteX215" fmla="*/ 1729740 w 4560224"/>
                <a:gd name="connsiteY215" fmla="*/ 795778 h 4884256"/>
                <a:gd name="connsiteX216" fmla="*/ 1748800 w 4560224"/>
                <a:gd name="connsiteY216" fmla="*/ 824368 h 4884256"/>
                <a:gd name="connsiteX217" fmla="*/ 1753564 w 4560224"/>
                <a:gd name="connsiteY217" fmla="*/ 824368 h 4884256"/>
                <a:gd name="connsiteX218" fmla="*/ 1753564 w 4560224"/>
                <a:gd name="connsiteY218" fmla="*/ 829132 h 4884256"/>
                <a:gd name="connsiteX219" fmla="*/ 1772624 w 4560224"/>
                <a:gd name="connsiteY219" fmla="*/ 843428 h 4884256"/>
                <a:gd name="connsiteX220" fmla="*/ 1782156 w 4560224"/>
                <a:gd name="connsiteY220" fmla="*/ 848194 h 4884256"/>
                <a:gd name="connsiteX221" fmla="*/ 1796452 w 4560224"/>
                <a:gd name="connsiteY221" fmla="*/ 848194 h 4884256"/>
                <a:gd name="connsiteX222" fmla="*/ 1820276 w 4560224"/>
                <a:gd name="connsiteY222" fmla="*/ 848194 h 4884256"/>
                <a:gd name="connsiteX223" fmla="*/ 1829808 w 4560224"/>
                <a:gd name="connsiteY223" fmla="*/ 852958 h 4884256"/>
                <a:gd name="connsiteX224" fmla="*/ 1839336 w 4560224"/>
                <a:gd name="connsiteY224" fmla="*/ 862488 h 4884256"/>
                <a:gd name="connsiteX225" fmla="*/ 1863164 w 4560224"/>
                <a:gd name="connsiteY225" fmla="*/ 881550 h 4884256"/>
                <a:gd name="connsiteX226" fmla="*/ 1872692 w 4560224"/>
                <a:gd name="connsiteY226" fmla="*/ 881550 h 4884256"/>
                <a:gd name="connsiteX227" fmla="*/ 1882224 w 4560224"/>
                <a:gd name="connsiteY227" fmla="*/ 886314 h 4884256"/>
                <a:gd name="connsiteX228" fmla="*/ 1882224 w 4560224"/>
                <a:gd name="connsiteY228" fmla="*/ 900610 h 4884256"/>
                <a:gd name="connsiteX229" fmla="*/ 1877460 w 4560224"/>
                <a:gd name="connsiteY229" fmla="*/ 914906 h 4884256"/>
                <a:gd name="connsiteX230" fmla="*/ 1882224 w 4560224"/>
                <a:gd name="connsiteY230" fmla="*/ 919670 h 4884256"/>
                <a:gd name="connsiteX231" fmla="*/ 1891752 w 4560224"/>
                <a:gd name="connsiteY231" fmla="*/ 919670 h 4884256"/>
                <a:gd name="connsiteX232" fmla="*/ 1915580 w 4560224"/>
                <a:gd name="connsiteY232" fmla="*/ 929200 h 4884256"/>
                <a:gd name="connsiteX233" fmla="*/ 1934640 w 4560224"/>
                <a:gd name="connsiteY233" fmla="*/ 938730 h 4884256"/>
                <a:gd name="connsiteX234" fmla="*/ 1944168 w 4560224"/>
                <a:gd name="connsiteY234" fmla="*/ 943496 h 4884256"/>
                <a:gd name="connsiteX235" fmla="*/ 1958464 w 4560224"/>
                <a:gd name="connsiteY235" fmla="*/ 948262 h 4884256"/>
                <a:gd name="connsiteX236" fmla="*/ 1967996 w 4560224"/>
                <a:gd name="connsiteY236" fmla="*/ 957792 h 4884256"/>
                <a:gd name="connsiteX237" fmla="*/ 1987056 w 4560224"/>
                <a:gd name="connsiteY237" fmla="*/ 972086 h 4884256"/>
                <a:gd name="connsiteX238" fmla="*/ 2006116 w 4560224"/>
                <a:gd name="connsiteY238" fmla="*/ 981618 h 4884256"/>
                <a:gd name="connsiteX239" fmla="*/ 2006116 w 4560224"/>
                <a:gd name="connsiteY239" fmla="*/ 991148 h 4884256"/>
                <a:gd name="connsiteX240" fmla="*/ 2001352 w 4560224"/>
                <a:gd name="connsiteY240" fmla="*/ 991148 h 4884256"/>
                <a:gd name="connsiteX241" fmla="*/ 1991820 w 4560224"/>
                <a:gd name="connsiteY241" fmla="*/ 991148 h 4884256"/>
                <a:gd name="connsiteX242" fmla="*/ 1982292 w 4560224"/>
                <a:gd name="connsiteY242" fmla="*/ 995912 h 4884256"/>
                <a:gd name="connsiteX243" fmla="*/ 1977524 w 4560224"/>
                <a:gd name="connsiteY243" fmla="*/ 1000678 h 4884256"/>
                <a:gd name="connsiteX244" fmla="*/ 1958464 w 4560224"/>
                <a:gd name="connsiteY244" fmla="*/ 1024504 h 4884256"/>
                <a:gd name="connsiteX245" fmla="*/ 1944168 w 4560224"/>
                <a:gd name="connsiteY245" fmla="*/ 1029268 h 4884256"/>
                <a:gd name="connsiteX246" fmla="*/ 1934640 w 4560224"/>
                <a:gd name="connsiteY246" fmla="*/ 1038798 h 4884256"/>
                <a:gd name="connsiteX247" fmla="*/ 1915580 w 4560224"/>
                <a:gd name="connsiteY247" fmla="*/ 1072154 h 4884256"/>
                <a:gd name="connsiteX248" fmla="*/ 1901284 w 4560224"/>
                <a:gd name="connsiteY248" fmla="*/ 1100746 h 4884256"/>
                <a:gd name="connsiteX249" fmla="*/ 1891752 w 4560224"/>
                <a:gd name="connsiteY249" fmla="*/ 1124570 h 4884256"/>
                <a:gd name="connsiteX250" fmla="*/ 1891752 w 4560224"/>
                <a:gd name="connsiteY250" fmla="*/ 1143632 h 4884256"/>
                <a:gd name="connsiteX251" fmla="*/ 1886988 w 4560224"/>
                <a:gd name="connsiteY251" fmla="*/ 1167456 h 4884256"/>
                <a:gd name="connsiteX252" fmla="*/ 1877460 w 4560224"/>
                <a:gd name="connsiteY252" fmla="*/ 1181752 h 4884256"/>
                <a:gd name="connsiteX253" fmla="*/ 1872692 w 4560224"/>
                <a:gd name="connsiteY253" fmla="*/ 1186518 h 4884256"/>
                <a:gd name="connsiteX254" fmla="*/ 1863164 w 4560224"/>
                <a:gd name="connsiteY254" fmla="*/ 1205578 h 4884256"/>
                <a:gd name="connsiteX255" fmla="*/ 1858396 w 4560224"/>
                <a:gd name="connsiteY255" fmla="*/ 1224638 h 4884256"/>
                <a:gd name="connsiteX256" fmla="*/ 1863164 w 4560224"/>
                <a:gd name="connsiteY256" fmla="*/ 1234168 h 4884256"/>
                <a:gd name="connsiteX257" fmla="*/ 1872692 w 4560224"/>
                <a:gd name="connsiteY257" fmla="*/ 1243700 h 4884256"/>
                <a:gd name="connsiteX258" fmla="*/ 1886988 w 4560224"/>
                <a:gd name="connsiteY258" fmla="*/ 1253230 h 4884256"/>
                <a:gd name="connsiteX259" fmla="*/ 1901284 w 4560224"/>
                <a:gd name="connsiteY259" fmla="*/ 1262760 h 4884256"/>
                <a:gd name="connsiteX260" fmla="*/ 1915580 w 4560224"/>
                <a:gd name="connsiteY260" fmla="*/ 1272290 h 4884256"/>
                <a:gd name="connsiteX261" fmla="*/ 1925108 w 4560224"/>
                <a:gd name="connsiteY261" fmla="*/ 1272290 h 4884256"/>
                <a:gd name="connsiteX262" fmla="*/ 1929876 w 4560224"/>
                <a:gd name="connsiteY262" fmla="*/ 1267524 h 4884256"/>
                <a:gd name="connsiteX263" fmla="*/ 1929876 w 4560224"/>
                <a:gd name="connsiteY263" fmla="*/ 1262760 h 4884256"/>
                <a:gd name="connsiteX264" fmla="*/ 1944168 w 4560224"/>
                <a:gd name="connsiteY264" fmla="*/ 1262760 h 4884256"/>
                <a:gd name="connsiteX265" fmla="*/ 1953700 w 4560224"/>
                <a:gd name="connsiteY265" fmla="*/ 1272290 h 4884256"/>
                <a:gd name="connsiteX266" fmla="*/ 1963232 w 4560224"/>
                <a:gd name="connsiteY266" fmla="*/ 1281820 h 4884256"/>
                <a:gd name="connsiteX267" fmla="*/ 1967996 w 4560224"/>
                <a:gd name="connsiteY267" fmla="*/ 1286586 h 4884256"/>
                <a:gd name="connsiteX268" fmla="*/ 1991820 w 4560224"/>
                <a:gd name="connsiteY268" fmla="*/ 1296116 h 4884256"/>
                <a:gd name="connsiteX269" fmla="*/ 2010880 w 4560224"/>
                <a:gd name="connsiteY269" fmla="*/ 1305646 h 4884256"/>
                <a:gd name="connsiteX270" fmla="*/ 2034708 w 4560224"/>
                <a:gd name="connsiteY270" fmla="*/ 1319940 h 4884256"/>
                <a:gd name="connsiteX271" fmla="*/ 2039472 w 4560224"/>
                <a:gd name="connsiteY271" fmla="*/ 1329472 h 4884256"/>
                <a:gd name="connsiteX272" fmla="*/ 2044236 w 4560224"/>
                <a:gd name="connsiteY272" fmla="*/ 1339002 h 4884256"/>
                <a:gd name="connsiteX273" fmla="*/ 2053768 w 4560224"/>
                <a:gd name="connsiteY273" fmla="*/ 1348532 h 4884256"/>
                <a:gd name="connsiteX274" fmla="*/ 2082360 w 4560224"/>
                <a:gd name="connsiteY274" fmla="*/ 1367592 h 4884256"/>
                <a:gd name="connsiteX275" fmla="*/ 2106184 w 4560224"/>
                <a:gd name="connsiteY275" fmla="*/ 1381888 h 4884256"/>
                <a:gd name="connsiteX276" fmla="*/ 2125244 w 4560224"/>
                <a:gd name="connsiteY276" fmla="*/ 1396184 h 4884256"/>
                <a:gd name="connsiteX277" fmla="*/ 2139540 w 4560224"/>
                <a:gd name="connsiteY277" fmla="*/ 1405714 h 4884256"/>
                <a:gd name="connsiteX278" fmla="*/ 2149072 w 4560224"/>
                <a:gd name="connsiteY278" fmla="*/ 1400948 h 4884256"/>
                <a:gd name="connsiteX279" fmla="*/ 2153836 w 4560224"/>
                <a:gd name="connsiteY279" fmla="*/ 1396184 h 4884256"/>
                <a:gd name="connsiteX280" fmla="*/ 2163368 w 4560224"/>
                <a:gd name="connsiteY280" fmla="*/ 1396184 h 4884256"/>
                <a:gd name="connsiteX281" fmla="*/ 2168132 w 4560224"/>
                <a:gd name="connsiteY281" fmla="*/ 1396184 h 4884256"/>
                <a:gd name="connsiteX282" fmla="*/ 2177660 w 4560224"/>
                <a:gd name="connsiteY282" fmla="*/ 1405714 h 4884256"/>
                <a:gd name="connsiteX283" fmla="*/ 2206252 w 4560224"/>
                <a:gd name="connsiteY283" fmla="*/ 1424774 h 4884256"/>
                <a:gd name="connsiteX284" fmla="*/ 2234844 w 4560224"/>
                <a:gd name="connsiteY284" fmla="*/ 1439070 h 4884256"/>
                <a:gd name="connsiteX285" fmla="*/ 2263432 w 4560224"/>
                <a:gd name="connsiteY285" fmla="*/ 1434304 h 4884256"/>
                <a:gd name="connsiteX286" fmla="*/ 2268200 w 4560224"/>
                <a:gd name="connsiteY286" fmla="*/ 1439070 h 4884256"/>
                <a:gd name="connsiteX287" fmla="*/ 2272964 w 4560224"/>
                <a:gd name="connsiteY287" fmla="*/ 1448600 h 4884256"/>
                <a:gd name="connsiteX288" fmla="*/ 2277728 w 4560224"/>
                <a:gd name="connsiteY288" fmla="*/ 1462894 h 4884256"/>
                <a:gd name="connsiteX289" fmla="*/ 2306320 w 4560224"/>
                <a:gd name="connsiteY289" fmla="*/ 1472424 h 4884256"/>
                <a:gd name="connsiteX290" fmla="*/ 2330144 w 4560224"/>
                <a:gd name="connsiteY290" fmla="*/ 1477190 h 4884256"/>
                <a:gd name="connsiteX291" fmla="*/ 2353972 w 4560224"/>
                <a:gd name="connsiteY291" fmla="*/ 1486720 h 4884256"/>
                <a:gd name="connsiteX292" fmla="*/ 2363500 w 4560224"/>
                <a:gd name="connsiteY292" fmla="*/ 1491486 h 4884256"/>
                <a:gd name="connsiteX293" fmla="*/ 2377796 w 4560224"/>
                <a:gd name="connsiteY293" fmla="*/ 1481956 h 4884256"/>
                <a:gd name="connsiteX294" fmla="*/ 2377796 w 4560224"/>
                <a:gd name="connsiteY294" fmla="*/ 1477190 h 4884256"/>
                <a:gd name="connsiteX295" fmla="*/ 2387328 w 4560224"/>
                <a:gd name="connsiteY295" fmla="*/ 1472424 h 4884256"/>
                <a:gd name="connsiteX296" fmla="*/ 2406388 w 4560224"/>
                <a:gd name="connsiteY296" fmla="*/ 1477190 h 4884256"/>
                <a:gd name="connsiteX297" fmla="*/ 2434980 w 4560224"/>
                <a:gd name="connsiteY297" fmla="*/ 1486720 h 4884256"/>
                <a:gd name="connsiteX298" fmla="*/ 2449272 w 4560224"/>
                <a:gd name="connsiteY298" fmla="*/ 1491486 h 4884256"/>
                <a:gd name="connsiteX299" fmla="*/ 2458804 w 4560224"/>
                <a:gd name="connsiteY299" fmla="*/ 1481956 h 4884256"/>
                <a:gd name="connsiteX300" fmla="*/ 2477864 w 4560224"/>
                <a:gd name="connsiteY300" fmla="*/ 1477190 h 4884256"/>
                <a:gd name="connsiteX301" fmla="*/ 2487396 w 4560224"/>
                <a:gd name="connsiteY301" fmla="*/ 1467660 h 4884256"/>
                <a:gd name="connsiteX302" fmla="*/ 2511220 w 4560224"/>
                <a:gd name="connsiteY302" fmla="*/ 1481956 h 4884256"/>
                <a:gd name="connsiteX303" fmla="*/ 2549340 w 4560224"/>
                <a:gd name="connsiteY303" fmla="*/ 1496250 h 4884256"/>
                <a:gd name="connsiteX304" fmla="*/ 2573168 w 4560224"/>
                <a:gd name="connsiteY304" fmla="*/ 1505780 h 4884256"/>
                <a:gd name="connsiteX305" fmla="*/ 2573168 w 4560224"/>
                <a:gd name="connsiteY305" fmla="*/ 1510546 h 4884256"/>
                <a:gd name="connsiteX306" fmla="*/ 2577932 w 4560224"/>
                <a:gd name="connsiteY306" fmla="*/ 1520076 h 4884256"/>
                <a:gd name="connsiteX307" fmla="*/ 2577932 w 4560224"/>
                <a:gd name="connsiteY307" fmla="*/ 1539136 h 4884256"/>
                <a:gd name="connsiteX308" fmla="*/ 2582696 w 4560224"/>
                <a:gd name="connsiteY308" fmla="*/ 1548668 h 4884256"/>
                <a:gd name="connsiteX309" fmla="*/ 2620816 w 4560224"/>
                <a:gd name="connsiteY309" fmla="*/ 1567728 h 4884256"/>
                <a:gd name="connsiteX310" fmla="*/ 2635112 w 4560224"/>
                <a:gd name="connsiteY310" fmla="*/ 1577258 h 4884256"/>
                <a:gd name="connsiteX311" fmla="*/ 2644644 w 4560224"/>
                <a:gd name="connsiteY311" fmla="*/ 1582024 h 4884256"/>
                <a:gd name="connsiteX312" fmla="*/ 2649408 w 4560224"/>
                <a:gd name="connsiteY312" fmla="*/ 1582024 h 4884256"/>
                <a:gd name="connsiteX313" fmla="*/ 2654176 w 4560224"/>
                <a:gd name="connsiteY313" fmla="*/ 1582024 h 4884256"/>
                <a:gd name="connsiteX314" fmla="*/ 2658940 w 4560224"/>
                <a:gd name="connsiteY314" fmla="*/ 1596318 h 4884256"/>
                <a:gd name="connsiteX315" fmla="*/ 2668468 w 4560224"/>
                <a:gd name="connsiteY315" fmla="*/ 1601084 h 4884256"/>
                <a:gd name="connsiteX316" fmla="*/ 2678000 w 4560224"/>
                <a:gd name="connsiteY316" fmla="*/ 1601084 h 4884256"/>
                <a:gd name="connsiteX317" fmla="*/ 2701824 w 4560224"/>
                <a:gd name="connsiteY317" fmla="*/ 1591554 h 4884256"/>
                <a:gd name="connsiteX318" fmla="*/ 2720884 w 4560224"/>
                <a:gd name="connsiteY318" fmla="*/ 1582024 h 4884256"/>
                <a:gd name="connsiteX319" fmla="*/ 2735180 w 4560224"/>
                <a:gd name="connsiteY319" fmla="*/ 1586788 h 4884256"/>
                <a:gd name="connsiteX320" fmla="*/ 2739948 w 4560224"/>
                <a:gd name="connsiteY320" fmla="*/ 1596318 h 4884256"/>
                <a:gd name="connsiteX321" fmla="*/ 2739948 w 4560224"/>
                <a:gd name="connsiteY321" fmla="*/ 1605848 h 4884256"/>
                <a:gd name="connsiteX322" fmla="*/ 2744712 w 4560224"/>
                <a:gd name="connsiteY322" fmla="*/ 1620144 h 4884256"/>
                <a:gd name="connsiteX323" fmla="*/ 2754240 w 4560224"/>
                <a:gd name="connsiteY323" fmla="*/ 1624910 h 4884256"/>
                <a:gd name="connsiteX324" fmla="*/ 2763772 w 4560224"/>
                <a:gd name="connsiteY324" fmla="*/ 1624910 h 4884256"/>
                <a:gd name="connsiteX325" fmla="*/ 2787596 w 4560224"/>
                <a:gd name="connsiteY325" fmla="*/ 1615378 h 4884256"/>
                <a:gd name="connsiteX326" fmla="*/ 2806656 w 4560224"/>
                <a:gd name="connsiteY326" fmla="*/ 1624910 h 4884256"/>
                <a:gd name="connsiteX327" fmla="*/ 2825720 w 4560224"/>
                <a:gd name="connsiteY327" fmla="*/ 1624910 h 4884256"/>
                <a:gd name="connsiteX328" fmla="*/ 2844780 w 4560224"/>
                <a:gd name="connsiteY328" fmla="*/ 1629674 h 4884256"/>
                <a:gd name="connsiteX329" fmla="*/ 2854308 w 4560224"/>
                <a:gd name="connsiteY329" fmla="*/ 1634440 h 4884256"/>
                <a:gd name="connsiteX330" fmla="*/ 2873368 w 4560224"/>
                <a:gd name="connsiteY330" fmla="*/ 1643970 h 4884256"/>
                <a:gd name="connsiteX331" fmla="*/ 2897196 w 4560224"/>
                <a:gd name="connsiteY331" fmla="*/ 1653500 h 4884256"/>
                <a:gd name="connsiteX332" fmla="*/ 2906724 w 4560224"/>
                <a:gd name="connsiteY332" fmla="*/ 1653500 h 4884256"/>
                <a:gd name="connsiteX333" fmla="*/ 2944848 w 4560224"/>
                <a:gd name="connsiteY333" fmla="*/ 1634440 h 4884256"/>
                <a:gd name="connsiteX334" fmla="*/ 2949612 w 4560224"/>
                <a:gd name="connsiteY334" fmla="*/ 1634440 h 4884256"/>
                <a:gd name="connsiteX335" fmla="*/ 2959144 w 4560224"/>
                <a:gd name="connsiteY335" fmla="*/ 1653500 h 4884256"/>
                <a:gd name="connsiteX336" fmla="*/ 2968672 w 4560224"/>
                <a:gd name="connsiteY336" fmla="*/ 1663030 h 4884256"/>
                <a:gd name="connsiteX337" fmla="*/ 2987732 w 4560224"/>
                <a:gd name="connsiteY337" fmla="*/ 1667796 h 4884256"/>
                <a:gd name="connsiteX338" fmla="*/ 3006792 w 4560224"/>
                <a:gd name="connsiteY338" fmla="*/ 1658264 h 4884256"/>
                <a:gd name="connsiteX339" fmla="*/ 3025856 w 4560224"/>
                <a:gd name="connsiteY339" fmla="*/ 1658264 h 4884256"/>
                <a:gd name="connsiteX340" fmla="*/ 3044916 w 4560224"/>
                <a:gd name="connsiteY340" fmla="*/ 1663030 h 4884256"/>
                <a:gd name="connsiteX341" fmla="*/ 3059208 w 4560224"/>
                <a:gd name="connsiteY341" fmla="*/ 1658264 h 4884256"/>
                <a:gd name="connsiteX342" fmla="*/ 3078272 w 4560224"/>
                <a:gd name="connsiteY342" fmla="*/ 1653500 h 4884256"/>
                <a:gd name="connsiteX343" fmla="*/ 3097332 w 4560224"/>
                <a:gd name="connsiteY343" fmla="*/ 1663030 h 4884256"/>
                <a:gd name="connsiteX344" fmla="*/ 3102096 w 4560224"/>
                <a:gd name="connsiteY344" fmla="*/ 1663030 h 4884256"/>
                <a:gd name="connsiteX345" fmla="*/ 3106860 w 4560224"/>
                <a:gd name="connsiteY345" fmla="*/ 1653500 h 4884256"/>
                <a:gd name="connsiteX346" fmla="*/ 3116392 w 4560224"/>
                <a:gd name="connsiteY346" fmla="*/ 1629674 h 4884256"/>
                <a:gd name="connsiteX347" fmla="*/ 3125920 w 4560224"/>
                <a:gd name="connsiteY347" fmla="*/ 1605848 h 4884256"/>
                <a:gd name="connsiteX348" fmla="*/ 3125920 w 4560224"/>
                <a:gd name="connsiteY348" fmla="*/ 1591554 h 4884256"/>
                <a:gd name="connsiteX349" fmla="*/ 3116392 w 4560224"/>
                <a:gd name="connsiteY349" fmla="*/ 1567728 h 4884256"/>
                <a:gd name="connsiteX350" fmla="*/ 3097332 w 4560224"/>
                <a:gd name="connsiteY350" fmla="*/ 1539136 h 4884256"/>
                <a:gd name="connsiteX351" fmla="*/ 3097332 w 4560224"/>
                <a:gd name="connsiteY351" fmla="*/ 1534372 h 4884256"/>
                <a:gd name="connsiteX352" fmla="*/ 3102096 w 4560224"/>
                <a:gd name="connsiteY352" fmla="*/ 1481956 h 4884256"/>
                <a:gd name="connsiteX353" fmla="*/ 3111628 w 4560224"/>
                <a:gd name="connsiteY353" fmla="*/ 1458130 h 4884256"/>
                <a:gd name="connsiteX354" fmla="*/ 3116392 w 4560224"/>
                <a:gd name="connsiteY354" fmla="*/ 1443834 h 4884256"/>
                <a:gd name="connsiteX355" fmla="*/ 3121156 w 4560224"/>
                <a:gd name="connsiteY355" fmla="*/ 1424774 h 4884256"/>
                <a:gd name="connsiteX356" fmla="*/ 3125920 w 4560224"/>
                <a:gd name="connsiteY356" fmla="*/ 1415244 h 4884256"/>
                <a:gd name="connsiteX357" fmla="*/ 3125920 w 4560224"/>
                <a:gd name="connsiteY357" fmla="*/ 1405714 h 4884256"/>
                <a:gd name="connsiteX358" fmla="*/ 3116392 w 4560224"/>
                <a:gd name="connsiteY358" fmla="*/ 1400948 h 4884256"/>
                <a:gd name="connsiteX359" fmla="*/ 3116392 w 4560224"/>
                <a:gd name="connsiteY359" fmla="*/ 1396184 h 4884256"/>
                <a:gd name="connsiteX360" fmla="*/ 3116392 w 4560224"/>
                <a:gd name="connsiteY360" fmla="*/ 1391418 h 4884256"/>
                <a:gd name="connsiteX361" fmla="*/ 3121156 w 4560224"/>
                <a:gd name="connsiteY361" fmla="*/ 1386652 h 4884256"/>
                <a:gd name="connsiteX362" fmla="*/ 3144984 w 4560224"/>
                <a:gd name="connsiteY362" fmla="*/ 1386652 h 4884256"/>
                <a:gd name="connsiteX363" fmla="*/ 3168808 w 4560224"/>
                <a:gd name="connsiteY363" fmla="*/ 1377122 h 4884256"/>
                <a:gd name="connsiteX364" fmla="*/ 3173572 w 4560224"/>
                <a:gd name="connsiteY364" fmla="*/ 1372358 h 4884256"/>
                <a:gd name="connsiteX365" fmla="*/ 3183104 w 4560224"/>
                <a:gd name="connsiteY365" fmla="*/ 1367592 h 4884256"/>
                <a:gd name="connsiteX366" fmla="*/ 3187868 w 4560224"/>
                <a:gd name="connsiteY366" fmla="*/ 1362828 h 4884256"/>
                <a:gd name="connsiteX367" fmla="*/ 3197400 w 4560224"/>
                <a:gd name="connsiteY367" fmla="*/ 1362828 h 4884256"/>
                <a:gd name="connsiteX368" fmla="*/ 3216460 w 4560224"/>
                <a:gd name="connsiteY368" fmla="*/ 1372358 h 4884256"/>
                <a:gd name="connsiteX369" fmla="*/ 3225988 w 4560224"/>
                <a:gd name="connsiteY369" fmla="*/ 1377122 h 4884256"/>
                <a:gd name="connsiteX370" fmla="*/ 3230756 w 4560224"/>
                <a:gd name="connsiteY370" fmla="*/ 1396184 h 4884256"/>
                <a:gd name="connsiteX371" fmla="*/ 3230756 w 4560224"/>
                <a:gd name="connsiteY371" fmla="*/ 1400948 h 4884256"/>
                <a:gd name="connsiteX372" fmla="*/ 3230756 w 4560224"/>
                <a:gd name="connsiteY372" fmla="*/ 1420008 h 4884256"/>
                <a:gd name="connsiteX373" fmla="*/ 3216460 w 4560224"/>
                <a:gd name="connsiteY373" fmla="*/ 1462894 h 4884256"/>
                <a:gd name="connsiteX374" fmla="*/ 3221224 w 4560224"/>
                <a:gd name="connsiteY374" fmla="*/ 1481956 h 4884256"/>
                <a:gd name="connsiteX375" fmla="*/ 3230756 w 4560224"/>
                <a:gd name="connsiteY375" fmla="*/ 1491486 h 4884256"/>
                <a:gd name="connsiteX376" fmla="*/ 3240284 w 4560224"/>
                <a:gd name="connsiteY376" fmla="*/ 1501016 h 4884256"/>
                <a:gd name="connsiteX377" fmla="*/ 3240284 w 4560224"/>
                <a:gd name="connsiteY377" fmla="*/ 1505780 h 4884256"/>
                <a:gd name="connsiteX378" fmla="*/ 3221224 w 4560224"/>
                <a:gd name="connsiteY378" fmla="*/ 1520076 h 4884256"/>
                <a:gd name="connsiteX379" fmla="*/ 3216460 w 4560224"/>
                <a:gd name="connsiteY379" fmla="*/ 1524842 h 4884256"/>
                <a:gd name="connsiteX380" fmla="*/ 3221224 w 4560224"/>
                <a:gd name="connsiteY380" fmla="*/ 1534372 h 4884256"/>
                <a:gd name="connsiteX381" fmla="*/ 3225988 w 4560224"/>
                <a:gd name="connsiteY381" fmla="*/ 1539136 h 4884256"/>
                <a:gd name="connsiteX382" fmla="*/ 3230756 w 4560224"/>
                <a:gd name="connsiteY382" fmla="*/ 1543902 h 4884256"/>
                <a:gd name="connsiteX383" fmla="*/ 3235520 w 4560224"/>
                <a:gd name="connsiteY383" fmla="*/ 1562962 h 4884256"/>
                <a:gd name="connsiteX384" fmla="*/ 3245048 w 4560224"/>
                <a:gd name="connsiteY384" fmla="*/ 1567728 h 4884256"/>
                <a:gd name="connsiteX385" fmla="*/ 3264112 w 4560224"/>
                <a:gd name="connsiteY385" fmla="*/ 1582024 h 4884256"/>
                <a:gd name="connsiteX386" fmla="*/ 3278404 w 4560224"/>
                <a:gd name="connsiteY386" fmla="*/ 1586788 h 4884256"/>
                <a:gd name="connsiteX387" fmla="*/ 3306996 w 4560224"/>
                <a:gd name="connsiteY387" fmla="*/ 1582024 h 4884256"/>
                <a:gd name="connsiteX388" fmla="*/ 3316528 w 4560224"/>
                <a:gd name="connsiteY388" fmla="*/ 1586788 h 4884256"/>
                <a:gd name="connsiteX389" fmla="*/ 3330824 w 4560224"/>
                <a:gd name="connsiteY389" fmla="*/ 1591554 h 4884256"/>
                <a:gd name="connsiteX390" fmla="*/ 3340352 w 4560224"/>
                <a:gd name="connsiteY390" fmla="*/ 1591554 h 4884256"/>
                <a:gd name="connsiteX391" fmla="*/ 3349884 w 4560224"/>
                <a:gd name="connsiteY391" fmla="*/ 1596318 h 4884256"/>
                <a:gd name="connsiteX392" fmla="*/ 3349884 w 4560224"/>
                <a:gd name="connsiteY392" fmla="*/ 1601084 h 4884256"/>
                <a:gd name="connsiteX393" fmla="*/ 3349884 w 4560224"/>
                <a:gd name="connsiteY393" fmla="*/ 1605848 h 4884256"/>
                <a:gd name="connsiteX394" fmla="*/ 3368944 w 4560224"/>
                <a:gd name="connsiteY394" fmla="*/ 1605848 h 4884256"/>
                <a:gd name="connsiteX395" fmla="*/ 3373708 w 4560224"/>
                <a:gd name="connsiteY395" fmla="*/ 1605848 h 4884256"/>
                <a:gd name="connsiteX396" fmla="*/ 3402300 w 4560224"/>
                <a:gd name="connsiteY396" fmla="*/ 1605848 h 4884256"/>
                <a:gd name="connsiteX397" fmla="*/ 3430888 w 4560224"/>
                <a:gd name="connsiteY397" fmla="*/ 1601084 h 4884256"/>
                <a:gd name="connsiteX398" fmla="*/ 3445184 w 4560224"/>
                <a:gd name="connsiteY398" fmla="*/ 1582024 h 4884256"/>
                <a:gd name="connsiteX399" fmla="*/ 3449952 w 4560224"/>
                <a:gd name="connsiteY399" fmla="*/ 1582024 h 4884256"/>
                <a:gd name="connsiteX400" fmla="*/ 3464244 w 4560224"/>
                <a:gd name="connsiteY400" fmla="*/ 1577258 h 4884256"/>
                <a:gd name="connsiteX401" fmla="*/ 3483308 w 4560224"/>
                <a:gd name="connsiteY401" fmla="*/ 1582024 h 4884256"/>
                <a:gd name="connsiteX402" fmla="*/ 3497600 w 4560224"/>
                <a:gd name="connsiteY402" fmla="*/ 1591554 h 4884256"/>
                <a:gd name="connsiteX403" fmla="*/ 3511896 w 4560224"/>
                <a:gd name="connsiteY403" fmla="*/ 1596318 h 4884256"/>
                <a:gd name="connsiteX404" fmla="*/ 3526192 w 4560224"/>
                <a:gd name="connsiteY404" fmla="*/ 1596318 h 4884256"/>
                <a:gd name="connsiteX405" fmla="*/ 3545252 w 4560224"/>
                <a:gd name="connsiteY405" fmla="*/ 1596318 h 4884256"/>
                <a:gd name="connsiteX406" fmla="*/ 3588140 w 4560224"/>
                <a:gd name="connsiteY406" fmla="*/ 1591554 h 4884256"/>
                <a:gd name="connsiteX407" fmla="*/ 3611964 w 4560224"/>
                <a:gd name="connsiteY407" fmla="*/ 1591554 h 4884256"/>
                <a:gd name="connsiteX408" fmla="*/ 3635792 w 4560224"/>
                <a:gd name="connsiteY408" fmla="*/ 1577258 h 4884256"/>
                <a:gd name="connsiteX409" fmla="*/ 3640556 w 4560224"/>
                <a:gd name="connsiteY409" fmla="*/ 1577258 h 4884256"/>
                <a:gd name="connsiteX410" fmla="*/ 3650084 w 4560224"/>
                <a:gd name="connsiteY410" fmla="*/ 1591554 h 4884256"/>
                <a:gd name="connsiteX411" fmla="*/ 3673912 w 4560224"/>
                <a:gd name="connsiteY411" fmla="*/ 1591554 h 4884256"/>
                <a:gd name="connsiteX412" fmla="*/ 3688208 w 4560224"/>
                <a:gd name="connsiteY412" fmla="*/ 1586788 h 4884256"/>
                <a:gd name="connsiteX413" fmla="*/ 3697736 w 4560224"/>
                <a:gd name="connsiteY413" fmla="*/ 1582024 h 4884256"/>
                <a:gd name="connsiteX414" fmla="*/ 3707268 w 4560224"/>
                <a:gd name="connsiteY414" fmla="*/ 1582024 h 4884256"/>
                <a:gd name="connsiteX415" fmla="*/ 3716796 w 4560224"/>
                <a:gd name="connsiteY415" fmla="*/ 1582024 h 4884256"/>
                <a:gd name="connsiteX416" fmla="*/ 3726328 w 4560224"/>
                <a:gd name="connsiteY416" fmla="*/ 1582024 h 4884256"/>
                <a:gd name="connsiteX417" fmla="*/ 3731092 w 4560224"/>
                <a:gd name="connsiteY417" fmla="*/ 1577258 h 4884256"/>
                <a:gd name="connsiteX418" fmla="*/ 3735856 w 4560224"/>
                <a:gd name="connsiteY418" fmla="*/ 1572492 h 4884256"/>
                <a:gd name="connsiteX419" fmla="*/ 3735856 w 4560224"/>
                <a:gd name="connsiteY419" fmla="*/ 1558198 h 4884256"/>
                <a:gd name="connsiteX420" fmla="*/ 3731092 w 4560224"/>
                <a:gd name="connsiteY420" fmla="*/ 1548668 h 4884256"/>
                <a:gd name="connsiteX421" fmla="*/ 3726328 w 4560224"/>
                <a:gd name="connsiteY421" fmla="*/ 1543902 h 4884256"/>
                <a:gd name="connsiteX422" fmla="*/ 3721564 w 4560224"/>
                <a:gd name="connsiteY422" fmla="*/ 1539136 h 4884256"/>
                <a:gd name="connsiteX423" fmla="*/ 3726328 w 4560224"/>
                <a:gd name="connsiteY423" fmla="*/ 1529606 h 4884256"/>
                <a:gd name="connsiteX424" fmla="*/ 3731092 w 4560224"/>
                <a:gd name="connsiteY424" fmla="*/ 1520076 h 4884256"/>
                <a:gd name="connsiteX425" fmla="*/ 3735856 w 4560224"/>
                <a:gd name="connsiteY425" fmla="*/ 1505780 h 4884256"/>
                <a:gd name="connsiteX426" fmla="*/ 3731092 w 4560224"/>
                <a:gd name="connsiteY426" fmla="*/ 1491486 h 4884256"/>
                <a:gd name="connsiteX427" fmla="*/ 3721564 w 4560224"/>
                <a:gd name="connsiteY427" fmla="*/ 1477190 h 4884256"/>
                <a:gd name="connsiteX428" fmla="*/ 3716796 w 4560224"/>
                <a:gd name="connsiteY428" fmla="*/ 1477190 h 4884256"/>
                <a:gd name="connsiteX429" fmla="*/ 3702504 w 4560224"/>
                <a:gd name="connsiteY429" fmla="*/ 1477190 h 4884256"/>
                <a:gd name="connsiteX430" fmla="*/ 3683440 w 4560224"/>
                <a:gd name="connsiteY430" fmla="*/ 1477190 h 4884256"/>
                <a:gd name="connsiteX431" fmla="*/ 3669148 w 4560224"/>
                <a:gd name="connsiteY431" fmla="*/ 1467660 h 4884256"/>
                <a:gd name="connsiteX432" fmla="*/ 3659616 w 4560224"/>
                <a:gd name="connsiteY432" fmla="*/ 1458130 h 4884256"/>
                <a:gd name="connsiteX433" fmla="*/ 3659616 w 4560224"/>
                <a:gd name="connsiteY433" fmla="*/ 1448600 h 4884256"/>
                <a:gd name="connsiteX434" fmla="*/ 3659616 w 4560224"/>
                <a:gd name="connsiteY434" fmla="*/ 1439070 h 4884256"/>
                <a:gd name="connsiteX435" fmla="*/ 3669148 w 4560224"/>
                <a:gd name="connsiteY435" fmla="*/ 1424774 h 4884256"/>
                <a:gd name="connsiteX436" fmla="*/ 3678676 w 4560224"/>
                <a:gd name="connsiteY436" fmla="*/ 1424774 h 4884256"/>
                <a:gd name="connsiteX437" fmla="*/ 3697736 w 4560224"/>
                <a:gd name="connsiteY437" fmla="*/ 1424774 h 4884256"/>
                <a:gd name="connsiteX438" fmla="*/ 3712032 w 4560224"/>
                <a:gd name="connsiteY438" fmla="*/ 1429538 h 4884256"/>
                <a:gd name="connsiteX439" fmla="*/ 3721564 w 4560224"/>
                <a:gd name="connsiteY439" fmla="*/ 1429538 h 4884256"/>
                <a:gd name="connsiteX440" fmla="*/ 3740624 w 4560224"/>
                <a:gd name="connsiteY440" fmla="*/ 1415244 h 4884256"/>
                <a:gd name="connsiteX441" fmla="*/ 3750152 w 4560224"/>
                <a:gd name="connsiteY441" fmla="*/ 1415244 h 4884256"/>
                <a:gd name="connsiteX442" fmla="*/ 3759684 w 4560224"/>
                <a:gd name="connsiteY442" fmla="*/ 1410478 h 4884256"/>
                <a:gd name="connsiteX443" fmla="*/ 3764448 w 4560224"/>
                <a:gd name="connsiteY443" fmla="*/ 1405714 h 4884256"/>
                <a:gd name="connsiteX444" fmla="*/ 3769212 w 4560224"/>
                <a:gd name="connsiteY444" fmla="*/ 1410478 h 4884256"/>
                <a:gd name="connsiteX445" fmla="*/ 3778744 w 4560224"/>
                <a:gd name="connsiteY445" fmla="*/ 1410478 h 4884256"/>
                <a:gd name="connsiteX446" fmla="*/ 3788276 w 4560224"/>
                <a:gd name="connsiteY446" fmla="*/ 1410478 h 4884256"/>
                <a:gd name="connsiteX447" fmla="*/ 3797804 w 4560224"/>
                <a:gd name="connsiteY447" fmla="*/ 1405714 h 4884256"/>
                <a:gd name="connsiteX448" fmla="*/ 3812100 w 4560224"/>
                <a:gd name="connsiteY448" fmla="*/ 1400948 h 4884256"/>
                <a:gd name="connsiteX449" fmla="*/ 3826396 w 4560224"/>
                <a:gd name="connsiteY449" fmla="*/ 1386652 h 4884256"/>
                <a:gd name="connsiteX450" fmla="*/ 3831160 w 4560224"/>
                <a:gd name="connsiteY450" fmla="*/ 1381888 h 4884256"/>
                <a:gd name="connsiteX451" fmla="*/ 3831160 w 4560224"/>
                <a:gd name="connsiteY451" fmla="*/ 1377122 h 4884256"/>
                <a:gd name="connsiteX452" fmla="*/ 3831160 w 4560224"/>
                <a:gd name="connsiteY452" fmla="*/ 1372358 h 4884256"/>
                <a:gd name="connsiteX453" fmla="*/ 3826396 w 4560224"/>
                <a:gd name="connsiteY453" fmla="*/ 1367592 h 4884256"/>
                <a:gd name="connsiteX454" fmla="*/ 3826396 w 4560224"/>
                <a:gd name="connsiteY454" fmla="*/ 1362828 h 4884256"/>
                <a:gd name="connsiteX455" fmla="*/ 3835924 w 4560224"/>
                <a:gd name="connsiteY455" fmla="*/ 1353296 h 4884256"/>
                <a:gd name="connsiteX456" fmla="*/ 3864516 w 4560224"/>
                <a:gd name="connsiteY456" fmla="*/ 1339002 h 4884256"/>
                <a:gd name="connsiteX457" fmla="*/ 3888344 w 4560224"/>
                <a:gd name="connsiteY457" fmla="*/ 1319940 h 4884256"/>
                <a:gd name="connsiteX458" fmla="*/ 3897872 w 4560224"/>
                <a:gd name="connsiteY458" fmla="*/ 1310410 h 4884256"/>
                <a:gd name="connsiteX459" fmla="*/ 3907404 w 4560224"/>
                <a:gd name="connsiteY459" fmla="*/ 1291350 h 4884256"/>
                <a:gd name="connsiteX460" fmla="*/ 3912168 w 4560224"/>
                <a:gd name="connsiteY460" fmla="*/ 1277054 h 4884256"/>
                <a:gd name="connsiteX461" fmla="*/ 3921696 w 4560224"/>
                <a:gd name="connsiteY461" fmla="*/ 1267524 h 4884256"/>
                <a:gd name="connsiteX462" fmla="*/ 3935992 w 4560224"/>
                <a:gd name="connsiteY462" fmla="*/ 1262760 h 4884256"/>
                <a:gd name="connsiteX463" fmla="*/ 3983644 w 4560224"/>
                <a:gd name="connsiteY463" fmla="*/ 1257994 h 4884256"/>
                <a:gd name="connsiteX464" fmla="*/ 3997940 w 4560224"/>
                <a:gd name="connsiteY464" fmla="*/ 1248464 h 4884256"/>
                <a:gd name="connsiteX465" fmla="*/ 4021764 w 4560224"/>
                <a:gd name="connsiteY465" fmla="*/ 1238934 h 4884256"/>
                <a:gd name="connsiteX466" fmla="*/ 4031296 w 4560224"/>
                <a:gd name="connsiteY466" fmla="*/ 1229404 h 4884256"/>
                <a:gd name="connsiteX467" fmla="*/ 4040824 w 4560224"/>
                <a:gd name="connsiteY467" fmla="*/ 1219874 h 4884256"/>
                <a:gd name="connsiteX468" fmla="*/ 4040824 w 4560224"/>
                <a:gd name="connsiteY468" fmla="*/ 1210344 h 4884256"/>
                <a:gd name="connsiteX469" fmla="*/ 4055120 w 4560224"/>
                <a:gd name="connsiteY469" fmla="*/ 1205578 h 4884256"/>
                <a:gd name="connsiteX470" fmla="*/ 4069416 w 4560224"/>
                <a:gd name="connsiteY470" fmla="*/ 1191282 h 4884256"/>
                <a:gd name="connsiteX471" fmla="*/ 4083712 w 4560224"/>
                <a:gd name="connsiteY471" fmla="*/ 1176988 h 4884256"/>
                <a:gd name="connsiteX472" fmla="*/ 4112304 w 4560224"/>
                <a:gd name="connsiteY472" fmla="*/ 1162692 h 4884256"/>
                <a:gd name="connsiteX473" fmla="*/ 4136128 w 4560224"/>
                <a:gd name="connsiteY473" fmla="*/ 1148396 h 4884256"/>
                <a:gd name="connsiteX474" fmla="*/ 4140892 w 4560224"/>
                <a:gd name="connsiteY474" fmla="*/ 1148396 h 4884256"/>
                <a:gd name="connsiteX475" fmla="*/ 4150424 w 4560224"/>
                <a:gd name="connsiteY475" fmla="*/ 1157926 h 4884256"/>
                <a:gd name="connsiteX476" fmla="*/ 4155188 w 4560224"/>
                <a:gd name="connsiteY476" fmla="*/ 1167456 h 4884256"/>
                <a:gd name="connsiteX477" fmla="*/ 4159956 w 4560224"/>
                <a:gd name="connsiteY477" fmla="*/ 1172222 h 4884256"/>
                <a:gd name="connsiteX478" fmla="*/ 4188544 w 4560224"/>
                <a:gd name="connsiteY478" fmla="*/ 1176988 h 4884256"/>
                <a:gd name="connsiteX479" fmla="*/ 4193312 w 4560224"/>
                <a:gd name="connsiteY479" fmla="*/ 1176988 h 4884256"/>
                <a:gd name="connsiteX480" fmla="*/ 4217136 w 4560224"/>
                <a:gd name="connsiteY480" fmla="*/ 1181752 h 4884256"/>
                <a:gd name="connsiteX481" fmla="*/ 4236196 w 4560224"/>
                <a:gd name="connsiteY481" fmla="*/ 1191282 h 4884256"/>
                <a:gd name="connsiteX482" fmla="*/ 4250492 w 4560224"/>
                <a:gd name="connsiteY482" fmla="*/ 1196048 h 4884256"/>
                <a:gd name="connsiteX483" fmla="*/ 4255256 w 4560224"/>
                <a:gd name="connsiteY483" fmla="*/ 1196048 h 4884256"/>
                <a:gd name="connsiteX484" fmla="*/ 4260024 w 4560224"/>
                <a:gd name="connsiteY484" fmla="*/ 1191282 h 4884256"/>
                <a:gd name="connsiteX485" fmla="*/ 4264788 w 4560224"/>
                <a:gd name="connsiteY485" fmla="*/ 1186518 h 4884256"/>
                <a:gd name="connsiteX486" fmla="*/ 4269552 w 4560224"/>
                <a:gd name="connsiteY486" fmla="*/ 1176988 h 4884256"/>
                <a:gd name="connsiteX487" fmla="*/ 4274316 w 4560224"/>
                <a:gd name="connsiteY487" fmla="*/ 1176988 h 4884256"/>
                <a:gd name="connsiteX488" fmla="*/ 4274316 w 4560224"/>
                <a:gd name="connsiteY488" fmla="*/ 1167456 h 4884256"/>
                <a:gd name="connsiteX489" fmla="*/ 4302908 w 4560224"/>
                <a:gd name="connsiteY489" fmla="*/ 1148396 h 4884256"/>
                <a:gd name="connsiteX490" fmla="*/ 4331500 w 4560224"/>
                <a:gd name="connsiteY490" fmla="*/ 1134102 h 4884256"/>
                <a:gd name="connsiteX491" fmla="*/ 4355324 w 4560224"/>
                <a:gd name="connsiteY491" fmla="*/ 1119806 h 4884256"/>
                <a:gd name="connsiteX492" fmla="*/ 4360088 w 4560224"/>
                <a:gd name="connsiteY492" fmla="*/ 1124570 h 4884256"/>
                <a:gd name="connsiteX493" fmla="*/ 4369620 w 4560224"/>
                <a:gd name="connsiteY493" fmla="*/ 1134102 h 4884256"/>
                <a:gd name="connsiteX494" fmla="*/ 4379152 w 4560224"/>
                <a:gd name="connsiteY494" fmla="*/ 1153162 h 4884256"/>
                <a:gd name="connsiteX495" fmla="*/ 4383916 w 4560224"/>
                <a:gd name="connsiteY495" fmla="*/ 1157926 h 4884256"/>
                <a:gd name="connsiteX496" fmla="*/ 4402976 w 4560224"/>
                <a:gd name="connsiteY496" fmla="*/ 1153162 h 4884256"/>
                <a:gd name="connsiteX497" fmla="*/ 4402976 w 4560224"/>
                <a:gd name="connsiteY497" fmla="*/ 1157926 h 4884256"/>
                <a:gd name="connsiteX498" fmla="*/ 4402976 w 4560224"/>
                <a:gd name="connsiteY498" fmla="*/ 1162692 h 4884256"/>
                <a:gd name="connsiteX499" fmla="*/ 4393444 w 4560224"/>
                <a:gd name="connsiteY499" fmla="*/ 1172222 h 4884256"/>
                <a:gd name="connsiteX500" fmla="*/ 4379152 w 4560224"/>
                <a:gd name="connsiteY500" fmla="*/ 1181752 h 4884256"/>
                <a:gd name="connsiteX501" fmla="*/ 4369620 w 4560224"/>
                <a:gd name="connsiteY501" fmla="*/ 1186518 h 4884256"/>
                <a:gd name="connsiteX502" fmla="*/ 4369620 w 4560224"/>
                <a:gd name="connsiteY502" fmla="*/ 1210344 h 4884256"/>
                <a:gd name="connsiteX503" fmla="*/ 4369620 w 4560224"/>
                <a:gd name="connsiteY503" fmla="*/ 1215108 h 4884256"/>
                <a:gd name="connsiteX504" fmla="*/ 4374384 w 4560224"/>
                <a:gd name="connsiteY504" fmla="*/ 1219874 h 4884256"/>
                <a:gd name="connsiteX505" fmla="*/ 4402976 w 4560224"/>
                <a:gd name="connsiteY505" fmla="*/ 1196048 h 4884256"/>
                <a:gd name="connsiteX506" fmla="*/ 4417272 w 4560224"/>
                <a:gd name="connsiteY506" fmla="*/ 1191282 h 4884256"/>
                <a:gd name="connsiteX507" fmla="*/ 4422036 w 4560224"/>
                <a:gd name="connsiteY507" fmla="*/ 1196048 h 4884256"/>
                <a:gd name="connsiteX508" fmla="*/ 4422036 w 4560224"/>
                <a:gd name="connsiteY508" fmla="*/ 1210344 h 4884256"/>
                <a:gd name="connsiteX509" fmla="*/ 4436332 w 4560224"/>
                <a:gd name="connsiteY509" fmla="*/ 1234168 h 4884256"/>
                <a:gd name="connsiteX510" fmla="*/ 4441096 w 4560224"/>
                <a:gd name="connsiteY510" fmla="*/ 1243700 h 4884256"/>
                <a:gd name="connsiteX511" fmla="*/ 4412504 w 4560224"/>
                <a:gd name="connsiteY511" fmla="*/ 1272290 h 4884256"/>
                <a:gd name="connsiteX512" fmla="*/ 4402976 w 4560224"/>
                <a:gd name="connsiteY512" fmla="*/ 1286586 h 4884256"/>
                <a:gd name="connsiteX513" fmla="*/ 4402976 w 4560224"/>
                <a:gd name="connsiteY513" fmla="*/ 1291350 h 4884256"/>
                <a:gd name="connsiteX514" fmla="*/ 4398212 w 4560224"/>
                <a:gd name="connsiteY514" fmla="*/ 1296116 h 4884256"/>
                <a:gd name="connsiteX515" fmla="*/ 4393444 w 4560224"/>
                <a:gd name="connsiteY515" fmla="*/ 1305646 h 4884256"/>
                <a:gd name="connsiteX516" fmla="*/ 4398212 w 4560224"/>
                <a:gd name="connsiteY516" fmla="*/ 1310410 h 4884256"/>
                <a:gd name="connsiteX517" fmla="*/ 4407740 w 4560224"/>
                <a:gd name="connsiteY517" fmla="*/ 1315176 h 4884256"/>
                <a:gd name="connsiteX518" fmla="*/ 4412504 w 4560224"/>
                <a:gd name="connsiteY518" fmla="*/ 1315176 h 4884256"/>
                <a:gd name="connsiteX519" fmla="*/ 4417272 w 4560224"/>
                <a:gd name="connsiteY519" fmla="*/ 1305646 h 4884256"/>
                <a:gd name="connsiteX520" fmla="*/ 4445864 w 4560224"/>
                <a:gd name="connsiteY520" fmla="*/ 1296116 h 4884256"/>
                <a:gd name="connsiteX521" fmla="*/ 4450628 w 4560224"/>
                <a:gd name="connsiteY521" fmla="*/ 1300880 h 4884256"/>
                <a:gd name="connsiteX522" fmla="*/ 4469688 w 4560224"/>
                <a:gd name="connsiteY522" fmla="*/ 1315176 h 4884256"/>
                <a:gd name="connsiteX523" fmla="*/ 4479216 w 4560224"/>
                <a:gd name="connsiteY523" fmla="*/ 1315176 h 4884256"/>
                <a:gd name="connsiteX524" fmla="*/ 4503044 w 4560224"/>
                <a:gd name="connsiteY524" fmla="*/ 1319940 h 4884256"/>
                <a:gd name="connsiteX525" fmla="*/ 4517340 w 4560224"/>
                <a:gd name="connsiteY525" fmla="*/ 1315176 h 4884256"/>
                <a:gd name="connsiteX526" fmla="*/ 4526868 w 4560224"/>
                <a:gd name="connsiteY526" fmla="*/ 1319940 h 4884256"/>
                <a:gd name="connsiteX527" fmla="*/ 4550696 w 4560224"/>
                <a:gd name="connsiteY527" fmla="*/ 1339002 h 4884256"/>
                <a:gd name="connsiteX528" fmla="*/ 4555460 w 4560224"/>
                <a:gd name="connsiteY528" fmla="*/ 1343766 h 4884256"/>
                <a:gd name="connsiteX529" fmla="*/ 4555460 w 4560224"/>
                <a:gd name="connsiteY529" fmla="*/ 1353296 h 4884256"/>
                <a:gd name="connsiteX530" fmla="*/ 4555460 w 4560224"/>
                <a:gd name="connsiteY530" fmla="*/ 1362828 h 4884256"/>
                <a:gd name="connsiteX531" fmla="*/ 4560224 w 4560224"/>
                <a:gd name="connsiteY531" fmla="*/ 1372358 h 4884256"/>
                <a:gd name="connsiteX532" fmla="*/ 4560224 w 4560224"/>
                <a:gd name="connsiteY532" fmla="*/ 1381888 h 4884256"/>
                <a:gd name="connsiteX533" fmla="*/ 4560224 w 4560224"/>
                <a:gd name="connsiteY533" fmla="*/ 1391418 h 4884256"/>
                <a:gd name="connsiteX534" fmla="*/ 4555460 w 4560224"/>
                <a:gd name="connsiteY534" fmla="*/ 1396184 h 4884256"/>
                <a:gd name="connsiteX535" fmla="*/ 4541164 w 4560224"/>
                <a:gd name="connsiteY535" fmla="*/ 1400948 h 4884256"/>
                <a:gd name="connsiteX536" fmla="*/ 4531632 w 4560224"/>
                <a:gd name="connsiteY536" fmla="*/ 1410478 h 4884256"/>
                <a:gd name="connsiteX537" fmla="*/ 4512572 w 4560224"/>
                <a:gd name="connsiteY537" fmla="*/ 1424774 h 4884256"/>
                <a:gd name="connsiteX538" fmla="*/ 4498280 w 4560224"/>
                <a:gd name="connsiteY538" fmla="*/ 1434304 h 4884256"/>
                <a:gd name="connsiteX539" fmla="*/ 4488748 w 4560224"/>
                <a:gd name="connsiteY539" fmla="*/ 1443834 h 4884256"/>
                <a:gd name="connsiteX540" fmla="*/ 4483984 w 4560224"/>
                <a:gd name="connsiteY540" fmla="*/ 1453364 h 4884256"/>
                <a:gd name="connsiteX541" fmla="*/ 4488748 w 4560224"/>
                <a:gd name="connsiteY541" fmla="*/ 1467660 h 4884256"/>
                <a:gd name="connsiteX542" fmla="*/ 4488748 w 4560224"/>
                <a:gd name="connsiteY542" fmla="*/ 1477190 h 4884256"/>
                <a:gd name="connsiteX543" fmla="*/ 4522104 w 4560224"/>
                <a:gd name="connsiteY543" fmla="*/ 1529606 h 4884256"/>
                <a:gd name="connsiteX544" fmla="*/ 4522104 w 4560224"/>
                <a:gd name="connsiteY544" fmla="*/ 1534372 h 4884256"/>
                <a:gd name="connsiteX545" fmla="*/ 4512572 w 4560224"/>
                <a:gd name="connsiteY545" fmla="*/ 1539136 h 4884256"/>
                <a:gd name="connsiteX546" fmla="*/ 4498280 w 4560224"/>
                <a:gd name="connsiteY546" fmla="*/ 1534372 h 4884256"/>
                <a:gd name="connsiteX547" fmla="*/ 4488748 w 4560224"/>
                <a:gd name="connsiteY547" fmla="*/ 1524842 h 4884256"/>
                <a:gd name="connsiteX548" fmla="*/ 4474452 w 4560224"/>
                <a:gd name="connsiteY548" fmla="*/ 1505780 h 4884256"/>
                <a:gd name="connsiteX549" fmla="*/ 4464924 w 4560224"/>
                <a:gd name="connsiteY549" fmla="*/ 1496250 h 4884256"/>
                <a:gd name="connsiteX550" fmla="*/ 4455392 w 4560224"/>
                <a:gd name="connsiteY550" fmla="*/ 1496250 h 4884256"/>
                <a:gd name="connsiteX551" fmla="*/ 4393444 w 4560224"/>
                <a:gd name="connsiteY551" fmla="*/ 1505780 h 4884256"/>
                <a:gd name="connsiteX552" fmla="*/ 4379152 w 4560224"/>
                <a:gd name="connsiteY552" fmla="*/ 1510546 h 4884256"/>
                <a:gd name="connsiteX553" fmla="*/ 4360088 w 4560224"/>
                <a:gd name="connsiteY553" fmla="*/ 1520076 h 4884256"/>
                <a:gd name="connsiteX554" fmla="*/ 4345796 w 4560224"/>
                <a:gd name="connsiteY554" fmla="*/ 1534372 h 4884256"/>
                <a:gd name="connsiteX555" fmla="*/ 4336264 w 4560224"/>
                <a:gd name="connsiteY555" fmla="*/ 1548668 h 4884256"/>
                <a:gd name="connsiteX556" fmla="*/ 4321968 w 4560224"/>
                <a:gd name="connsiteY556" fmla="*/ 1553432 h 4884256"/>
                <a:gd name="connsiteX557" fmla="*/ 4307672 w 4560224"/>
                <a:gd name="connsiteY557" fmla="*/ 1562962 h 4884256"/>
                <a:gd name="connsiteX558" fmla="*/ 4264788 w 4560224"/>
                <a:gd name="connsiteY558" fmla="*/ 1601084 h 4884256"/>
                <a:gd name="connsiteX559" fmla="*/ 4240960 w 4560224"/>
                <a:gd name="connsiteY559" fmla="*/ 1615378 h 4884256"/>
                <a:gd name="connsiteX560" fmla="*/ 4226664 w 4560224"/>
                <a:gd name="connsiteY560" fmla="*/ 1620144 h 4884256"/>
                <a:gd name="connsiteX561" fmla="*/ 4212372 w 4560224"/>
                <a:gd name="connsiteY561" fmla="*/ 1624910 h 4884256"/>
                <a:gd name="connsiteX562" fmla="*/ 4207604 w 4560224"/>
                <a:gd name="connsiteY562" fmla="*/ 1639204 h 4884256"/>
                <a:gd name="connsiteX563" fmla="*/ 4202840 w 4560224"/>
                <a:gd name="connsiteY563" fmla="*/ 1648734 h 4884256"/>
                <a:gd name="connsiteX564" fmla="*/ 4202840 w 4560224"/>
                <a:gd name="connsiteY564" fmla="*/ 1672560 h 4884256"/>
                <a:gd name="connsiteX565" fmla="*/ 4202840 w 4560224"/>
                <a:gd name="connsiteY565" fmla="*/ 1696386 h 4884256"/>
                <a:gd name="connsiteX566" fmla="*/ 4212372 w 4560224"/>
                <a:gd name="connsiteY566" fmla="*/ 1715446 h 4884256"/>
                <a:gd name="connsiteX567" fmla="*/ 4212372 w 4560224"/>
                <a:gd name="connsiteY567" fmla="*/ 1720212 h 4884256"/>
                <a:gd name="connsiteX568" fmla="*/ 4212372 w 4560224"/>
                <a:gd name="connsiteY568" fmla="*/ 1724976 h 4884256"/>
                <a:gd name="connsiteX569" fmla="*/ 4207604 w 4560224"/>
                <a:gd name="connsiteY569" fmla="*/ 1734508 h 4884256"/>
                <a:gd name="connsiteX570" fmla="*/ 4198076 w 4560224"/>
                <a:gd name="connsiteY570" fmla="*/ 1739272 h 4884256"/>
                <a:gd name="connsiteX571" fmla="*/ 4198076 w 4560224"/>
                <a:gd name="connsiteY571" fmla="*/ 1744038 h 4884256"/>
                <a:gd name="connsiteX572" fmla="*/ 4193312 w 4560224"/>
                <a:gd name="connsiteY572" fmla="*/ 1772628 h 4884256"/>
                <a:gd name="connsiteX573" fmla="*/ 4183780 w 4560224"/>
                <a:gd name="connsiteY573" fmla="*/ 1782158 h 4884256"/>
                <a:gd name="connsiteX574" fmla="*/ 4169484 w 4560224"/>
                <a:gd name="connsiteY574" fmla="*/ 1801218 h 4884256"/>
                <a:gd name="connsiteX575" fmla="*/ 4159956 w 4560224"/>
                <a:gd name="connsiteY575" fmla="*/ 1815514 h 4884256"/>
                <a:gd name="connsiteX576" fmla="*/ 4140892 w 4560224"/>
                <a:gd name="connsiteY576" fmla="*/ 1825044 h 4884256"/>
                <a:gd name="connsiteX577" fmla="*/ 4136128 w 4560224"/>
                <a:gd name="connsiteY577" fmla="*/ 1834574 h 4884256"/>
                <a:gd name="connsiteX578" fmla="*/ 4126600 w 4560224"/>
                <a:gd name="connsiteY578" fmla="*/ 1848870 h 4884256"/>
                <a:gd name="connsiteX579" fmla="*/ 4121832 w 4560224"/>
                <a:gd name="connsiteY579" fmla="*/ 1863166 h 4884256"/>
                <a:gd name="connsiteX580" fmla="*/ 4121832 w 4560224"/>
                <a:gd name="connsiteY580" fmla="*/ 1867930 h 4884256"/>
                <a:gd name="connsiteX581" fmla="*/ 4126600 w 4560224"/>
                <a:gd name="connsiteY581" fmla="*/ 1872696 h 4884256"/>
                <a:gd name="connsiteX582" fmla="*/ 4131364 w 4560224"/>
                <a:gd name="connsiteY582" fmla="*/ 1877460 h 4884256"/>
                <a:gd name="connsiteX583" fmla="*/ 4140892 w 4560224"/>
                <a:gd name="connsiteY583" fmla="*/ 1877460 h 4884256"/>
                <a:gd name="connsiteX584" fmla="*/ 4145660 w 4560224"/>
                <a:gd name="connsiteY584" fmla="*/ 1886992 h 4884256"/>
                <a:gd name="connsiteX585" fmla="*/ 4145660 w 4560224"/>
                <a:gd name="connsiteY585" fmla="*/ 1896522 h 4884256"/>
                <a:gd name="connsiteX586" fmla="*/ 4140892 w 4560224"/>
                <a:gd name="connsiteY586" fmla="*/ 1915582 h 4884256"/>
                <a:gd name="connsiteX587" fmla="*/ 4126600 w 4560224"/>
                <a:gd name="connsiteY587" fmla="*/ 1944172 h 4884256"/>
                <a:gd name="connsiteX588" fmla="*/ 4098008 w 4560224"/>
                <a:gd name="connsiteY588" fmla="*/ 1987058 h 4884256"/>
                <a:gd name="connsiteX589" fmla="*/ 4098008 w 4560224"/>
                <a:gd name="connsiteY589" fmla="*/ 1991824 h 4884256"/>
                <a:gd name="connsiteX590" fmla="*/ 4083712 w 4560224"/>
                <a:gd name="connsiteY590" fmla="*/ 2020414 h 4884256"/>
                <a:gd name="connsiteX591" fmla="*/ 4069416 w 4560224"/>
                <a:gd name="connsiteY591" fmla="*/ 2053770 h 4884256"/>
                <a:gd name="connsiteX592" fmla="*/ 4064652 w 4560224"/>
                <a:gd name="connsiteY592" fmla="*/ 2077596 h 4884256"/>
                <a:gd name="connsiteX593" fmla="*/ 4055120 w 4560224"/>
                <a:gd name="connsiteY593" fmla="*/ 2096656 h 4884256"/>
                <a:gd name="connsiteX594" fmla="*/ 4050356 w 4560224"/>
                <a:gd name="connsiteY594" fmla="*/ 2096656 h 4884256"/>
                <a:gd name="connsiteX595" fmla="*/ 4040824 w 4560224"/>
                <a:gd name="connsiteY595" fmla="*/ 2091892 h 4884256"/>
                <a:gd name="connsiteX596" fmla="*/ 4012236 w 4560224"/>
                <a:gd name="connsiteY596" fmla="*/ 2087126 h 4884256"/>
                <a:gd name="connsiteX597" fmla="*/ 3997940 w 4560224"/>
                <a:gd name="connsiteY597" fmla="*/ 2077596 h 4884256"/>
                <a:gd name="connsiteX598" fmla="*/ 3988408 w 4560224"/>
                <a:gd name="connsiteY598" fmla="*/ 2072832 h 4884256"/>
                <a:gd name="connsiteX599" fmla="*/ 3978880 w 4560224"/>
                <a:gd name="connsiteY599" fmla="*/ 2072832 h 4884256"/>
                <a:gd name="connsiteX600" fmla="*/ 3969348 w 4560224"/>
                <a:gd name="connsiteY600" fmla="*/ 2077596 h 4884256"/>
                <a:gd name="connsiteX601" fmla="*/ 3959820 w 4560224"/>
                <a:gd name="connsiteY601" fmla="*/ 2077596 h 4884256"/>
                <a:gd name="connsiteX602" fmla="*/ 3950288 w 4560224"/>
                <a:gd name="connsiteY602" fmla="*/ 2077596 h 4884256"/>
                <a:gd name="connsiteX603" fmla="*/ 3935992 w 4560224"/>
                <a:gd name="connsiteY603" fmla="*/ 2063300 h 4884256"/>
                <a:gd name="connsiteX604" fmla="*/ 3931228 w 4560224"/>
                <a:gd name="connsiteY604" fmla="*/ 2063300 h 4884256"/>
                <a:gd name="connsiteX605" fmla="*/ 3931228 w 4560224"/>
                <a:gd name="connsiteY605" fmla="*/ 2072832 h 4884256"/>
                <a:gd name="connsiteX606" fmla="*/ 3940760 w 4560224"/>
                <a:gd name="connsiteY606" fmla="*/ 2115716 h 4884256"/>
                <a:gd name="connsiteX607" fmla="*/ 3945524 w 4560224"/>
                <a:gd name="connsiteY607" fmla="*/ 2130012 h 4884256"/>
                <a:gd name="connsiteX608" fmla="*/ 3945524 w 4560224"/>
                <a:gd name="connsiteY608" fmla="*/ 2153838 h 4884256"/>
                <a:gd name="connsiteX609" fmla="*/ 3940760 w 4560224"/>
                <a:gd name="connsiteY609" fmla="*/ 2187194 h 4884256"/>
                <a:gd name="connsiteX610" fmla="*/ 3940760 w 4560224"/>
                <a:gd name="connsiteY610" fmla="*/ 2225316 h 4884256"/>
                <a:gd name="connsiteX611" fmla="*/ 3935992 w 4560224"/>
                <a:gd name="connsiteY611" fmla="*/ 2230080 h 4884256"/>
                <a:gd name="connsiteX612" fmla="*/ 3931228 w 4560224"/>
                <a:gd name="connsiteY612" fmla="*/ 2239610 h 4884256"/>
                <a:gd name="connsiteX613" fmla="*/ 3921696 w 4560224"/>
                <a:gd name="connsiteY613" fmla="*/ 2244376 h 4884256"/>
                <a:gd name="connsiteX614" fmla="*/ 3912168 w 4560224"/>
                <a:gd name="connsiteY614" fmla="*/ 2239610 h 4884256"/>
                <a:gd name="connsiteX615" fmla="*/ 3907404 w 4560224"/>
                <a:gd name="connsiteY615" fmla="*/ 2239610 h 4884256"/>
                <a:gd name="connsiteX616" fmla="*/ 3902636 w 4560224"/>
                <a:gd name="connsiteY616" fmla="*/ 2244376 h 4884256"/>
                <a:gd name="connsiteX617" fmla="*/ 3907404 w 4560224"/>
                <a:gd name="connsiteY617" fmla="*/ 2263436 h 4884256"/>
                <a:gd name="connsiteX618" fmla="*/ 3897872 w 4560224"/>
                <a:gd name="connsiteY618" fmla="*/ 2277732 h 4884256"/>
                <a:gd name="connsiteX619" fmla="*/ 3893108 w 4560224"/>
                <a:gd name="connsiteY619" fmla="*/ 2292026 h 4884256"/>
                <a:gd name="connsiteX620" fmla="*/ 3893108 w 4560224"/>
                <a:gd name="connsiteY620" fmla="*/ 2306322 h 4884256"/>
                <a:gd name="connsiteX621" fmla="*/ 3897872 w 4560224"/>
                <a:gd name="connsiteY621" fmla="*/ 2320618 h 4884256"/>
                <a:gd name="connsiteX622" fmla="*/ 3907404 w 4560224"/>
                <a:gd name="connsiteY622" fmla="*/ 2353974 h 4884256"/>
                <a:gd name="connsiteX623" fmla="*/ 3907404 w 4560224"/>
                <a:gd name="connsiteY623" fmla="*/ 2363504 h 4884256"/>
                <a:gd name="connsiteX624" fmla="*/ 3902636 w 4560224"/>
                <a:gd name="connsiteY624" fmla="*/ 2377800 h 4884256"/>
                <a:gd name="connsiteX625" fmla="*/ 3902636 w 4560224"/>
                <a:gd name="connsiteY625" fmla="*/ 2382564 h 4884256"/>
                <a:gd name="connsiteX626" fmla="*/ 3893108 w 4560224"/>
                <a:gd name="connsiteY626" fmla="*/ 2377800 h 4884256"/>
                <a:gd name="connsiteX627" fmla="*/ 3888344 w 4560224"/>
                <a:gd name="connsiteY627" fmla="*/ 2382564 h 4884256"/>
                <a:gd name="connsiteX628" fmla="*/ 3883576 w 4560224"/>
                <a:gd name="connsiteY628" fmla="*/ 2392094 h 4884256"/>
                <a:gd name="connsiteX629" fmla="*/ 3874048 w 4560224"/>
                <a:gd name="connsiteY629" fmla="*/ 2415920 h 4884256"/>
                <a:gd name="connsiteX630" fmla="*/ 3869280 w 4560224"/>
                <a:gd name="connsiteY630" fmla="*/ 2415920 h 4884256"/>
                <a:gd name="connsiteX631" fmla="*/ 3859752 w 4560224"/>
                <a:gd name="connsiteY631" fmla="*/ 2411156 h 4884256"/>
                <a:gd name="connsiteX632" fmla="*/ 3845456 w 4560224"/>
                <a:gd name="connsiteY632" fmla="*/ 2396860 h 4884256"/>
                <a:gd name="connsiteX633" fmla="*/ 3835924 w 4560224"/>
                <a:gd name="connsiteY633" fmla="*/ 2392094 h 4884256"/>
                <a:gd name="connsiteX634" fmla="*/ 3831160 w 4560224"/>
                <a:gd name="connsiteY634" fmla="*/ 2392094 h 4884256"/>
                <a:gd name="connsiteX635" fmla="*/ 3831160 w 4560224"/>
                <a:gd name="connsiteY635" fmla="*/ 2396860 h 4884256"/>
                <a:gd name="connsiteX636" fmla="*/ 3826396 w 4560224"/>
                <a:gd name="connsiteY636" fmla="*/ 2406390 h 4884256"/>
                <a:gd name="connsiteX637" fmla="*/ 3821632 w 4560224"/>
                <a:gd name="connsiteY637" fmla="*/ 2411156 h 4884256"/>
                <a:gd name="connsiteX638" fmla="*/ 3816864 w 4560224"/>
                <a:gd name="connsiteY638" fmla="*/ 2420686 h 4884256"/>
                <a:gd name="connsiteX639" fmla="*/ 3812100 w 4560224"/>
                <a:gd name="connsiteY639" fmla="*/ 2406390 h 4884256"/>
                <a:gd name="connsiteX640" fmla="*/ 3807336 w 4560224"/>
                <a:gd name="connsiteY640" fmla="*/ 2344444 h 4884256"/>
                <a:gd name="connsiteX641" fmla="*/ 3802568 w 4560224"/>
                <a:gd name="connsiteY641" fmla="*/ 2325382 h 4884256"/>
                <a:gd name="connsiteX642" fmla="*/ 3802568 w 4560224"/>
                <a:gd name="connsiteY642" fmla="*/ 2301556 h 4884256"/>
                <a:gd name="connsiteX643" fmla="*/ 3797804 w 4560224"/>
                <a:gd name="connsiteY643" fmla="*/ 2292026 h 4884256"/>
                <a:gd name="connsiteX644" fmla="*/ 3793040 w 4560224"/>
                <a:gd name="connsiteY644" fmla="*/ 2277732 h 4884256"/>
                <a:gd name="connsiteX645" fmla="*/ 3788276 w 4560224"/>
                <a:gd name="connsiteY645" fmla="*/ 2263436 h 4884256"/>
                <a:gd name="connsiteX646" fmla="*/ 3783508 w 4560224"/>
                <a:gd name="connsiteY646" fmla="*/ 2258672 h 4884256"/>
                <a:gd name="connsiteX647" fmla="*/ 3778744 w 4560224"/>
                <a:gd name="connsiteY647" fmla="*/ 2234846 h 4884256"/>
                <a:gd name="connsiteX648" fmla="*/ 3778744 w 4560224"/>
                <a:gd name="connsiteY648" fmla="*/ 2206254 h 4884256"/>
                <a:gd name="connsiteX649" fmla="*/ 3778744 w 4560224"/>
                <a:gd name="connsiteY649" fmla="*/ 2191960 h 4884256"/>
                <a:gd name="connsiteX650" fmla="*/ 3769212 w 4560224"/>
                <a:gd name="connsiteY650" fmla="*/ 2163368 h 4884256"/>
                <a:gd name="connsiteX651" fmla="*/ 3764448 w 4560224"/>
                <a:gd name="connsiteY651" fmla="*/ 2130012 h 4884256"/>
                <a:gd name="connsiteX652" fmla="*/ 3754920 w 4560224"/>
                <a:gd name="connsiteY652" fmla="*/ 2130012 h 4884256"/>
                <a:gd name="connsiteX653" fmla="*/ 3750152 w 4560224"/>
                <a:gd name="connsiteY653" fmla="*/ 2125248 h 4884256"/>
                <a:gd name="connsiteX654" fmla="*/ 3745388 w 4560224"/>
                <a:gd name="connsiteY654" fmla="*/ 2125248 h 4884256"/>
                <a:gd name="connsiteX655" fmla="*/ 3731092 w 4560224"/>
                <a:gd name="connsiteY655" fmla="*/ 2130012 h 4884256"/>
                <a:gd name="connsiteX656" fmla="*/ 3721564 w 4560224"/>
                <a:gd name="connsiteY656" fmla="*/ 2130012 h 4884256"/>
                <a:gd name="connsiteX657" fmla="*/ 3712032 w 4560224"/>
                <a:gd name="connsiteY657" fmla="*/ 2130012 h 4884256"/>
                <a:gd name="connsiteX658" fmla="*/ 3712032 w 4560224"/>
                <a:gd name="connsiteY658" fmla="*/ 2144308 h 4884256"/>
                <a:gd name="connsiteX659" fmla="*/ 3716796 w 4560224"/>
                <a:gd name="connsiteY659" fmla="*/ 2158604 h 4884256"/>
                <a:gd name="connsiteX660" fmla="*/ 3712032 w 4560224"/>
                <a:gd name="connsiteY660" fmla="*/ 2163368 h 4884256"/>
                <a:gd name="connsiteX661" fmla="*/ 3692972 w 4560224"/>
                <a:gd name="connsiteY661" fmla="*/ 2182428 h 4884256"/>
                <a:gd name="connsiteX662" fmla="*/ 3688208 w 4560224"/>
                <a:gd name="connsiteY662" fmla="*/ 2196724 h 4884256"/>
                <a:gd name="connsiteX663" fmla="*/ 3688208 w 4560224"/>
                <a:gd name="connsiteY663" fmla="*/ 2211020 h 4884256"/>
                <a:gd name="connsiteX664" fmla="*/ 3688208 w 4560224"/>
                <a:gd name="connsiteY664" fmla="*/ 2225316 h 4884256"/>
                <a:gd name="connsiteX665" fmla="*/ 3683440 w 4560224"/>
                <a:gd name="connsiteY665" fmla="*/ 2234846 h 4884256"/>
                <a:gd name="connsiteX666" fmla="*/ 3678676 w 4560224"/>
                <a:gd name="connsiteY666" fmla="*/ 2244376 h 4884256"/>
                <a:gd name="connsiteX667" fmla="*/ 3664380 w 4560224"/>
                <a:gd name="connsiteY667" fmla="*/ 2249140 h 4884256"/>
                <a:gd name="connsiteX668" fmla="*/ 3654852 w 4560224"/>
                <a:gd name="connsiteY668" fmla="*/ 2249140 h 4884256"/>
                <a:gd name="connsiteX669" fmla="*/ 3650084 w 4560224"/>
                <a:gd name="connsiteY669" fmla="*/ 2239610 h 4884256"/>
                <a:gd name="connsiteX670" fmla="*/ 3640556 w 4560224"/>
                <a:gd name="connsiteY670" fmla="*/ 2220550 h 4884256"/>
                <a:gd name="connsiteX671" fmla="*/ 3635792 w 4560224"/>
                <a:gd name="connsiteY671" fmla="*/ 2211020 h 4884256"/>
                <a:gd name="connsiteX672" fmla="*/ 3631024 w 4560224"/>
                <a:gd name="connsiteY672" fmla="*/ 2211020 h 4884256"/>
                <a:gd name="connsiteX673" fmla="*/ 3626260 w 4560224"/>
                <a:gd name="connsiteY673" fmla="*/ 2211020 h 4884256"/>
                <a:gd name="connsiteX674" fmla="*/ 3626260 w 4560224"/>
                <a:gd name="connsiteY674" fmla="*/ 2225316 h 4884256"/>
                <a:gd name="connsiteX675" fmla="*/ 3626260 w 4560224"/>
                <a:gd name="connsiteY675" fmla="*/ 2234846 h 4884256"/>
                <a:gd name="connsiteX676" fmla="*/ 3621496 w 4560224"/>
                <a:gd name="connsiteY676" fmla="*/ 2230080 h 4884256"/>
                <a:gd name="connsiteX677" fmla="*/ 3616728 w 4560224"/>
                <a:gd name="connsiteY677" fmla="*/ 2230080 h 4884256"/>
                <a:gd name="connsiteX678" fmla="*/ 3607200 w 4560224"/>
                <a:gd name="connsiteY678" fmla="*/ 2182428 h 4884256"/>
                <a:gd name="connsiteX679" fmla="*/ 3592904 w 4560224"/>
                <a:gd name="connsiteY679" fmla="*/ 2149072 h 4884256"/>
                <a:gd name="connsiteX680" fmla="*/ 3592904 w 4560224"/>
                <a:gd name="connsiteY680" fmla="*/ 2134778 h 4884256"/>
                <a:gd name="connsiteX681" fmla="*/ 3597668 w 4560224"/>
                <a:gd name="connsiteY681" fmla="*/ 2115716 h 4884256"/>
                <a:gd name="connsiteX682" fmla="*/ 3602436 w 4560224"/>
                <a:gd name="connsiteY682" fmla="*/ 2087126 h 4884256"/>
                <a:gd name="connsiteX683" fmla="*/ 3621496 w 4560224"/>
                <a:gd name="connsiteY683" fmla="*/ 2072832 h 4884256"/>
                <a:gd name="connsiteX684" fmla="*/ 3621496 w 4560224"/>
                <a:gd name="connsiteY684" fmla="*/ 2063300 h 4884256"/>
                <a:gd name="connsiteX685" fmla="*/ 3626260 w 4560224"/>
                <a:gd name="connsiteY685" fmla="*/ 2058536 h 4884256"/>
                <a:gd name="connsiteX686" fmla="*/ 3631024 w 4560224"/>
                <a:gd name="connsiteY686" fmla="*/ 2058536 h 4884256"/>
                <a:gd name="connsiteX687" fmla="*/ 3650084 w 4560224"/>
                <a:gd name="connsiteY687" fmla="*/ 2058536 h 4884256"/>
                <a:gd name="connsiteX688" fmla="*/ 3659616 w 4560224"/>
                <a:gd name="connsiteY688" fmla="*/ 2058536 h 4884256"/>
                <a:gd name="connsiteX689" fmla="*/ 3664380 w 4560224"/>
                <a:gd name="connsiteY689" fmla="*/ 2049006 h 4884256"/>
                <a:gd name="connsiteX690" fmla="*/ 3673912 w 4560224"/>
                <a:gd name="connsiteY690" fmla="*/ 2044240 h 4884256"/>
                <a:gd name="connsiteX691" fmla="*/ 3683440 w 4560224"/>
                <a:gd name="connsiteY691" fmla="*/ 2039476 h 4884256"/>
                <a:gd name="connsiteX692" fmla="*/ 3688208 w 4560224"/>
                <a:gd name="connsiteY692" fmla="*/ 2039476 h 4884256"/>
                <a:gd name="connsiteX693" fmla="*/ 3702504 w 4560224"/>
                <a:gd name="connsiteY693" fmla="*/ 2044240 h 4884256"/>
                <a:gd name="connsiteX694" fmla="*/ 3707268 w 4560224"/>
                <a:gd name="connsiteY694" fmla="*/ 2039476 h 4884256"/>
                <a:gd name="connsiteX695" fmla="*/ 3707268 w 4560224"/>
                <a:gd name="connsiteY695" fmla="*/ 2029944 h 4884256"/>
                <a:gd name="connsiteX696" fmla="*/ 3712032 w 4560224"/>
                <a:gd name="connsiteY696" fmla="*/ 2020414 h 4884256"/>
                <a:gd name="connsiteX697" fmla="*/ 3716796 w 4560224"/>
                <a:gd name="connsiteY697" fmla="*/ 2015650 h 4884256"/>
                <a:gd name="connsiteX698" fmla="*/ 3726328 w 4560224"/>
                <a:gd name="connsiteY698" fmla="*/ 2010884 h 4884256"/>
                <a:gd name="connsiteX699" fmla="*/ 3735856 w 4560224"/>
                <a:gd name="connsiteY699" fmla="*/ 2010884 h 4884256"/>
                <a:gd name="connsiteX700" fmla="*/ 3740624 w 4560224"/>
                <a:gd name="connsiteY700" fmla="*/ 2006120 h 4884256"/>
                <a:gd name="connsiteX701" fmla="*/ 3745388 w 4560224"/>
                <a:gd name="connsiteY701" fmla="*/ 1991824 h 4884256"/>
                <a:gd name="connsiteX702" fmla="*/ 3754920 w 4560224"/>
                <a:gd name="connsiteY702" fmla="*/ 1958468 h 4884256"/>
                <a:gd name="connsiteX703" fmla="*/ 3759684 w 4560224"/>
                <a:gd name="connsiteY703" fmla="*/ 1944172 h 4884256"/>
                <a:gd name="connsiteX704" fmla="*/ 3759684 w 4560224"/>
                <a:gd name="connsiteY704" fmla="*/ 1939408 h 4884256"/>
                <a:gd name="connsiteX705" fmla="*/ 3759684 w 4560224"/>
                <a:gd name="connsiteY705" fmla="*/ 1925112 h 4884256"/>
                <a:gd name="connsiteX706" fmla="*/ 3764448 w 4560224"/>
                <a:gd name="connsiteY706" fmla="*/ 1920348 h 4884256"/>
                <a:gd name="connsiteX707" fmla="*/ 3783508 w 4560224"/>
                <a:gd name="connsiteY707" fmla="*/ 1929878 h 4884256"/>
                <a:gd name="connsiteX708" fmla="*/ 3793040 w 4560224"/>
                <a:gd name="connsiteY708" fmla="*/ 1929878 h 4884256"/>
                <a:gd name="connsiteX709" fmla="*/ 3797804 w 4560224"/>
                <a:gd name="connsiteY709" fmla="*/ 1925112 h 4884256"/>
                <a:gd name="connsiteX710" fmla="*/ 3802568 w 4560224"/>
                <a:gd name="connsiteY710" fmla="*/ 1920348 h 4884256"/>
                <a:gd name="connsiteX711" fmla="*/ 3797804 w 4560224"/>
                <a:gd name="connsiteY711" fmla="*/ 1915582 h 4884256"/>
                <a:gd name="connsiteX712" fmla="*/ 3783508 w 4560224"/>
                <a:gd name="connsiteY712" fmla="*/ 1901286 h 4884256"/>
                <a:gd name="connsiteX713" fmla="*/ 3754920 w 4560224"/>
                <a:gd name="connsiteY713" fmla="*/ 1882226 h 4884256"/>
                <a:gd name="connsiteX714" fmla="*/ 3731092 w 4560224"/>
                <a:gd name="connsiteY714" fmla="*/ 1872696 h 4884256"/>
                <a:gd name="connsiteX715" fmla="*/ 3688208 w 4560224"/>
                <a:gd name="connsiteY715" fmla="*/ 1877460 h 4884256"/>
                <a:gd name="connsiteX716" fmla="*/ 3645320 w 4560224"/>
                <a:gd name="connsiteY716" fmla="*/ 1877460 h 4884256"/>
                <a:gd name="connsiteX717" fmla="*/ 3631024 w 4560224"/>
                <a:gd name="connsiteY717" fmla="*/ 1877460 h 4884256"/>
                <a:gd name="connsiteX718" fmla="*/ 3616728 w 4560224"/>
                <a:gd name="connsiteY718" fmla="*/ 1872696 h 4884256"/>
                <a:gd name="connsiteX719" fmla="*/ 3573844 w 4560224"/>
                <a:gd name="connsiteY719" fmla="*/ 1872696 h 4884256"/>
                <a:gd name="connsiteX720" fmla="*/ 3526192 w 4560224"/>
                <a:gd name="connsiteY720" fmla="*/ 1877460 h 4884256"/>
                <a:gd name="connsiteX721" fmla="*/ 3507132 w 4560224"/>
                <a:gd name="connsiteY721" fmla="*/ 1872696 h 4884256"/>
                <a:gd name="connsiteX722" fmla="*/ 3497600 w 4560224"/>
                <a:gd name="connsiteY722" fmla="*/ 1872696 h 4884256"/>
                <a:gd name="connsiteX723" fmla="*/ 3483308 w 4560224"/>
                <a:gd name="connsiteY723" fmla="*/ 1877460 h 4884256"/>
                <a:gd name="connsiteX724" fmla="*/ 3449952 w 4560224"/>
                <a:gd name="connsiteY724" fmla="*/ 1872696 h 4884256"/>
                <a:gd name="connsiteX725" fmla="*/ 3430888 w 4560224"/>
                <a:gd name="connsiteY725" fmla="*/ 1867930 h 4884256"/>
                <a:gd name="connsiteX726" fmla="*/ 3411828 w 4560224"/>
                <a:gd name="connsiteY726" fmla="*/ 1858400 h 4884256"/>
                <a:gd name="connsiteX727" fmla="*/ 3392768 w 4560224"/>
                <a:gd name="connsiteY727" fmla="*/ 1853636 h 4884256"/>
                <a:gd name="connsiteX728" fmla="*/ 3388004 w 4560224"/>
                <a:gd name="connsiteY728" fmla="*/ 1853636 h 4884256"/>
                <a:gd name="connsiteX729" fmla="*/ 3383240 w 4560224"/>
                <a:gd name="connsiteY729" fmla="*/ 1848870 h 4884256"/>
                <a:gd name="connsiteX730" fmla="*/ 3383240 w 4560224"/>
                <a:gd name="connsiteY730" fmla="*/ 1844104 h 4884256"/>
                <a:gd name="connsiteX731" fmla="*/ 3378472 w 4560224"/>
                <a:gd name="connsiteY731" fmla="*/ 1839340 h 4884256"/>
                <a:gd name="connsiteX732" fmla="*/ 3383240 w 4560224"/>
                <a:gd name="connsiteY732" fmla="*/ 1805984 h 4884256"/>
                <a:gd name="connsiteX733" fmla="*/ 3383240 w 4560224"/>
                <a:gd name="connsiteY733" fmla="*/ 1758332 h 4884256"/>
                <a:gd name="connsiteX734" fmla="*/ 3383240 w 4560224"/>
                <a:gd name="connsiteY734" fmla="*/ 1739272 h 4884256"/>
                <a:gd name="connsiteX735" fmla="*/ 3368944 w 4560224"/>
                <a:gd name="connsiteY735" fmla="*/ 1701152 h 4884256"/>
                <a:gd name="connsiteX736" fmla="*/ 3359412 w 4560224"/>
                <a:gd name="connsiteY736" fmla="*/ 1691620 h 4884256"/>
                <a:gd name="connsiteX737" fmla="*/ 3354648 w 4560224"/>
                <a:gd name="connsiteY737" fmla="*/ 1691620 h 4884256"/>
                <a:gd name="connsiteX738" fmla="*/ 3349884 w 4560224"/>
                <a:gd name="connsiteY738" fmla="*/ 1696386 h 4884256"/>
                <a:gd name="connsiteX739" fmla="*/ 3345116 w 4560224"/>
                <a:gd name="connsiteY739" fmla="*/ 1705916 h 4884256"/>
                <a:gd name="connsiteX740" fmla="*/ 3349884 w 4560224"/>
                <a:gd name="connsiteY740" fmla="*/ 1720212 h 4884256"/>
                <a:gd name="connsiteX741" fmla="*/ 3340352 w 4560224"/>
                <a:gd name="connsiteY741" fmla="*/ 1729742 h 4884256"/>
                <a:gd name="connsiteX742" fmla="*/ 3330824 w 4560224"/>
                <a:gd name="connsiteY742" fmla="*/ 1734508 h 4884256"/>
                <a:gd name="connsiteX743" fmla="*/ 3316528 w 4560224"/>
                <a:gd name="connsiteY743" fmla="*/ 1729742 h 4884256"/>
                <a:gd name="connsiteX744" fmla="*/ 3302232 w 4560224"/>
                <a:gd name="connsiteY744" fmla="*/ 1724976 h 4884256"/>
                <a:gd name="connsiteX745" fmla="*/ 3283172 w 4560224"/>
                <a:gd name="connsiteY745" fmla="*/ 1710682 h 4884256"/>
                <a:gd name="connsiteX746" fmla="*/ 3273640 w 4560224"/>
                <a:gd name="connsiteY746" fmla="*/ 1696386 h 4884256"/>
                <a:gd name="connsiteX747" fmla="*/ 3273640 w 4560224"/>
                <a:gd name="connsiteY747" fmla="*/ 1677326 h 4884256"/>
                <a:gd name="connsiteX748" fmla="*/ 3268876 w 4560224"/>
                <a:gd name="connsiteY748" fmla="*/ 1663030 h 4884256"/>
                <a:gd name="connsiteX749" fmla="*/ 3259344 w 4560224"/>
                <a:gd name="connsiteY749" fmla="*/ 1658264 h 4884256"/>
                <a:gd name="connsiteX750" fmla="*/ 3254580 w 4560224"/>
                <a:gd name="connsiteY750" fmla="*/ 1658264 h 4884256"/>
                <a:gd name="connsiteX751" fmla="*/ 3249816 w 4560224"/>
                <a:gd name="connsiteY751" fmla="*/ 1658264 h 4884256"/>
                <a:gd name="connsiteX752" fmla="*/ 3245048 w 4560224"/>
                <a:gd name="connsiteY752" fmla="*/ 1663030 h 4884256"/>
                <a:gd name="connsiteX753" fmla="*/ 3249816 w 4560224"/>
                <a:gd name="connsiteY753" fmla="*/ 1672560 h 4884256"/>
                <a:gd name="connsiteX754" fmla="*/ 3254580 w 4560224"/>
                <a:gd name="connsiteY754" fmla="*/ 1682090 h 4884256"/>
                <a:gd name="connsiteX755" fmla="*/ 3249816 w 4560224"/>
                <a:gd name="connsiteY755" fmla="*/ 1686856 h 4884256"/>
                <a:gd name="connsiteX756" fmla="*/ 3245048 w 4560224"/>
                <a:gd name="connsiteY756" fmla="*/ 1686856 h 4884256"/>
                <a:gd name="connsiteX757" fmla="*/ 3240284 w 4560224"/>
                <a:gd name="connsiteY757" fmla="*/ 1686856 h 4884256"/>
                <a:gd name="connsiteX758" fmla="*/ 3230756 w 4560224"/>
                <a:gd name="connsiteY758" fmla="*/ 1686856 h 4884256"/>
                <a:gd name="connsiteX759" fmla="*/ 3221224 w 4560224"/>
                <a:gd name="connsiteY759" fmla="*/ 1682090 h 4884256"/>
                <a:gd name="connsiteX760" fmla="*/ 3211696 w 4560224"/>
                <a:gd name="connsiteY760" fmla="*/ 1682090 h 4884256"/>
                <a:gd name="connsiteX761" fmla="*/ 3206928 w 4560224"/>
                <a:gd name="connsiteY761" fmla="*/ 1682090 h 4884256"/>
                <a:gd name="connsiteX762" fmla="*/ 3206928 w 4560224"/>
                <a:gd name="connsiteY762" fmla="*/ 1667796 h 4884256"/>
                <a:gd name="connsiteX763" fmla="*/ 3197400 w 4560224"/>
                <a:gd name="connsiteY763" fmla="*/ 1653500 h 4884256"/>
                <a:gd name="connsiteX764" fmla="*/ 3183104 w 4560224"/>
                <a:gd name="connsiteY764" fmla="*/ 1639204 h 4884256"/>
                <a:gd name="connsiteX765" fmla="*/ 3164044 w 4560224"/>
                <a:gd name="connsiteY765" fmla="*/ 1629674 h 4884256"/>
                <a:gd name="connsiteX766" fmla="*/ 3159276 w 4560224"/>
                <a:gd name="connsiteY766" fmla="*/ 1634440 h 4884256"/>
                <a:gd name="connsiteX767" fmla="*/ 3154512 w 4560224"/>
                <a:gd name="connsiteY767" fmla="*/ 1643970 h 4884256"/>
                <a:gd name="connsiteX768" fmla="*/ 3159276 w 4560224"/>
                <a:gd name="connsiteY768" fmla="*/ 1648734 h 4884256"/>
                <a:gd name="connsiteX769" fmla="*/ 3168808 w 4560224"/>
                <a:gd name="connsiteY769" fmla="*/ 1653500 h 4884256"/>
                <a:gd name="connsiteX770" fmla="*/ 3168808 w 4560224"/>
                <a:gd name="connsiteY770" fmla="*/ 1663030 h 4884256"/>
                <a:gd name="connsiteX771" fmla="*/ 3168808 w 4560224"/>
                <a:gd name="connsiteY771" fmla="*/ 1667796 h 4884256"/>
                <a:gd name="connsiteX772" fmla="*/ 3159276 w 4560224"/>
                <a:gd name="connsiteY772" fmla="*/ 1677326 h 4884256"/>
                <a:gd name="connsiteX773" fmla="*/ 3149748 w 4560224"/>
                <a:gd name="connsiteY773" fmla="*/ 1686856 h 4884256"/>
                <a:gd name="connsiteX774" fmla="*/ 3135452 w 4560224"/>
                <a:gd name="connsiteY774" fmla="*/ 1701152 h 4884256"/>
                <a:gd name="connsiteX775" fmla="*/ 3125920 w 4560224"/>
                <a:gd name="connsiteY775" fmla="*/ 1715446 h 4884256"/>
                <a:gd name="connsiteX776" fmla="*/ 3121156 w 4560224"/>
                <a:gd name="connsiteY776" fmla="*/ 1724976 h 4884256"/>
                <a:gd name="connsiteX777" fmla="*/ 3116392 w 4560224"/>
                <a:gd name="connsiteY777" fmla="*/ 1739272 h 4884256"/>
                <a:gd name="connsiteX778" fmla="*/ 3111628 w 4560224"/>
                <a:gd name="connsiteY778" fmla="*/ 1748802 h 4884256"/>
                <a:gd name="connsiteX779" fmla="*/ 3116392 w 4560224"/>
                <a:gd name="connsiteY779" fmla="*/ 1758332 h 4884256"/>
                <a:gd name="connsiteX780" fmla="*/ 3121156 w 4560224"/>
                <a:gd name="connsiteY780" fmla="*/ 1763098 h 4884256"/>
                <a:gd name="connsiteX781" fmla="*/ 3140216 w 4560224"/>
                <a:gd name="connsiteY781" fmla="*/ 1767862 h 4884256"/>
                <a:gd name="connsiteX782" fmla="*/ 3159276 w 4560224"/>
                <a:gd name="connsiteY782" fmla="*/ 1782158 h 4884256"/>
                <a:gd name="connsiteX783" fmla="*/ 3168808 w 4560224"/>
                <a:gd name="connsiteY783" fmla="*/ 1805984 h 4884256"/>
                <a:gd name="connsiteX784" fmla="*/ 3178336 w 4560224"/>
                <a:gd name="connsiteY784" fmla="*/ 1810748 h 4884256"/>
                <a:gd name="connsiteX785" fmla="*/ 3192632 w 4560224"/>
                <a:gd name="connsiteY785" fmla="*/ 1820280 h 4884256"/>
                <a:gd name="connsiteX786" fmla="*/ 3221224 w 4560224"/>
                <a:gd name="connsiteY786" fmla="*/ 1820280 h 4884256"/>
                <a:gd name="connsiteX787" fmla="*/ 3225988 w 4560224"/>
                <a:gd name="connsiteY787" fmla="*/ 1825044 h 4884256"/>
                <a:gd name="connsiteX788" fmla="*/ 3225988 w 4560224"/>
                <a:gd name="connsiteY788" fmla="*/ 1839340 h 4884256"/>
                <a:gd name="connsiteX789" fmla="*/ 3235520 w 4560224"/>
                <a:gd name="connsiteY789" fmla="*/ 1844104 h 4884256"/>
                <a:gd name="connsiteX790" fmla="*/ 3245048 w 4560224"/>
                <a:gd name="connsiteY790" fmla="*/ 1853636 h 4884256"/>
                <a:gd name="connsiteX791" fmla="*/ 3249816 w 4560224"/>
                <a:gd name="connsiteY791" fmla="*/ 1858400 h 4884256"/>
                <a:gd name="connsiteX792" fmla="*/ 3245048 w 4560224"/>
                <a:gd name="connsiteY792" fmla="*/ 1863166 h 4884256"/>
                <a:gd name="connsiteX793" fmla="*/ 3240284 w 4560224"/>
                <a:gd name="connsiteY793" fmla="*/ 1867930 h 4884256"/>
                <a:gd name="connsiteX794" fmla="*/ 3225988 w 4560224"/>
                <a:gd name="connsiteY794" fmla="*/ 1872696 h 4884256"/>
                <a:gd name="connsiteX795" fmla="*/ 3216460 w 4560224"/>
                <a:gd name="connsiteY795" fmla="*/ 1872696 h 4884256"/>
                <a:gd name="connsiteX796" fmla="*/ 3206928 w 4560224"/>
                <a:gd name="connsiteY796" fmla="*/ 1872696 h 4884256"/>
                <a:gd name="connsiteX797" fmla="*/ 3187868 w 4560224"/>
                <a:gd name="connsiteY797" fmla="*/ 1872696 h 4884256"/>
                <a:gd name="connsiteX798" fmla="*/ 3168808 w 4560224"/>
                <a:gd name="connsiteY798" fmla="*/ 1872696 h 4884256"/>
                <a:gd name="connsiteX799" fmla="*/ 3159276 w 4560224"/>
                <a:gd name="connsiteY799" fmla="*/ 1910816 h 4884256"/>
                <a:gd name="connsiteX800" fmla="*/ 3149748 w 4560224"/>
                <a:gd name="connsiteY800" fmla="*/ 1925112 h 4884256"/>
                <a:gd name="connsiteX801" fmla="*/ 3144984 w 4560224"/>
                <a:gd name="connsiteY801" fmla="*/ 1925112 h 4884256"/>
                <a:gd name="connsiteX802" fmla="*/ 3130688 w 4560224"/>
                <a:gd name="connsiteY802" fmla="*/ 1915582 h 4884256"/>
                <a:gd name="connsiteX803" fmla="*/ 3121156 w 4560224"/>
                <a:gd name="connsiteY803" fmla="*/ 1920348 h 4884256"/>
                <a:gd name="connsiteX804" fmla="*/ 3106860 w 4560224"/>
                <a:gd name="connsiteY804" fmla="*/ 1953702 h 4884256"/>
                <a:gd name="connsiteX805" fmla="*/ 3106860 w 4560224"/>
                <a:gd name="connsiteY805" fmla="*/ 1963234 h 4884256"/>
                <a:gd name="connsiteX806" fmla="*/ 3102096 w 4560224"/>
                <a:gd name="connsiteY806" fmla="*/ 1967998 h 4884256"/>
                <a:gd name="connsiteX807" fmla="*/ 3111628 w 4560224"/>
                <a:gd name="connsiteY807" fmla="*/ 1982294 h 4884256"/>
                <a:gd name="connsiteX808" fmla="*/ 3121156 w 4560224"/>
                <a:gd name="connsiteY808" fmla="*/ 1991824 h 4884256"/>
                <a:gd name="connsiteX809" fmla="*/ 3135452 w 4560224"/>
                <a:gd name="connsiteY809" fmla="*/ 1996588 h 4884256"/>
                <a:gd name="connsiteX810" fmla="*/ 3144984 w 4560224"/>
                <a:gd name="connsiteY810" fmla="*/ 1991824 h 4884256"/>
                <a:gd name="connsiteX811" fmla="*/ 3154512 w 4560224"/>
                <a:gd name="connsiteY811" fmla="*/ 1996588 h 4884256"/>
                <a:gd name="connsiteX812" fmla="*/ 3164044 w 4560224"/>
                <a:gd name="connsiteY812" fmla="*/ 2010884 h 4884256"/>
                <a:gd name="connsiteX813" fmla="*/ 3178336 w 4560224"/>
                <a:gd name="connsiteY813" fmla="*/ 2015650 h 4884256"/>
                <a:gd name="connsiteX814" fmla="*/ 3202164 w 4560224"/>
                <a:gd name="connsiteY814" fmla="*/ 2020414 h 4884256"/>
                <a:gd name="connsiteX815" fmla="*/ 3211696 w 4560224"/>
                <a:gd name="connsiteY815" fmla="*/ 2029944 h 4884256"/>
                <a:gd name="connsiteX816" fmla="*/ 3216460 w 4560224"/>
                <a:gd name="connsiteY816" fmla="*/ 2034710 h 4884256"/>
                <a:gd name="connsiteX817" fmla="*/ 3211696 w 4560224"/>
                <a:gd name="connsiteY817" fmla="*/ 2044240 h 4884256"/>
                <a:gd name="connsiteX818" fmla="*/ 3211696 w 4560224"/>
                <a:gd name="connsiteY818" fmla="*/ 2063300 h 4884256"/>
                <a:gd name="connsiteX819" fmla="*/ 3206928 w 4560224"/>
                <a:gd name="connsiteY819" fmla="*/ 2072832 h 4884256"/>
                <a:gd name="connsiteX820" fmla="*/ 3197400 w 4560224"/>
                <a:gd name="connsiteY820" fmla="*/ 2106186 h 4884256"/>
                <a:gd name="connsiteX821" fmla="*/ 3187868 w 4560224"/>
                <a:gd name="connsiteY821" fmla="*/ 2130012 h 4884256"/>
                <a:gd name="connsiteX822" fmla="*/ 3192632 w 4560224"/>
                <a:gd name="connsiteY822" fmla="*/ 2144308 h 4884256"/>
                <a:gd name="connsiteX823" fmla="*/ 3197400 w 4560224"/>
                <a:gd name="connsiteY823" fmla="*/ 2149072 h 4884256"/>
                <a:gd name="connsiteX824" fmla="*/ 3197400 w 4560224"/>
                <a:gd name="connsiteY824" fmla="*/ 2153838 h 4884256"/>
                <a:gd name="connsiteX825" fmla="*/ 3206928 w 4560224"/>
                <a:gd name="connsiteY825" fmla="*/ 2163368 h 4884256"/>
                <a:gd name="connsiteX826" fmla="*/ 3216460 w 4560224"/>
                <a:gd name="connsiteY826" fmla="*/ 2172898 h 4884256"/>
                <a:gd name="connsiteX827" fmla="*/ 3211696 w 4560224"/>
                <a:gd name="connsiteY827" fmla="*/ 2196724 h 4884256"/>
                <a:gd name="connsiteX828" fmla="*/ 3211696 w 4560224"/>
                <a:gd name="connsiteY828" fmla="*/ 2201490 h 4884256"/>
                <a:gd name="connsiteX829" fmla="*/ 3225988 w 4560224"/>
                <a:gd name="connsiteY829" fmla="*/ 2206254 h 4884256"/>
                <a:gd name="connsiteX830" fmla="*/ 3240284 w 4560224"/>
                <a:gd name="connsiteY830" fmla="*/ 2211020 h 4884256"/>
                <a:gd name="connsiteX831" fmla="*/ 3245048 w 4560224"/>
                <a:gd name="connsiteY831" fmla="*/ 2215784 h 4884256"/>
                <a:gd name="connsiteX832" fmla="*/ 3230756 w 4560224"/>
                <a:gd name="connsiteY832" fmla="*/ 2239610 h 4884256"/>
                <a:gd name="connsiteX833" fmla="*/ 3235520 w 4560224"/>
                <a:gd name="connsiteY833" fmla="*/ 2258672 h 4884256"/>
                <a:gd name="connsiteX834" fmla="*/ 3240284 w 4560224"/>
                <a:gd name="connsiteY834" fmla="*/ 2272966 h 4884256"/>
                <a:gd name="connsiteX835" fmla="*/ 3245048 w 4560224"/>
                <a:gd name="connsiteY835" fmla="*/ 2296792 h 4884256"/>
                <a:gd name="connsiteX836" fmla="*/ 3245048 w 4560224"/>
                <a:gd name="connsiteY836" fmla="*/ 2301556 h 4884256"/>
                <a:gd name="connsiteX837" fmla="*/ 3245048 w 4560224"/>
                <a:gd name="connsiteY837" fmla="*/ 2306322 h 4884256"/>
                <a:gd name="connsiteX838" fmla="*/ 3249816 w 4560224"/>
                <a:gd name="connsiteY838" fmla="*/ 2330148 h 4884256"/>
                <a:gd name="connsiteX839" fmla="*/ 3264112 w 4560224"/>
                <a:gd name="connsiteY839" fmla="*/ 2368268 h 4884256"/>
                <a:gd name="connsiteX840" fmla="*/ 3264112 w 4560224"/>
                <a:gd name="connsiteY840" fmla="*/ 2382564 h 4884256"/>
                <a:gd name="connsiteX841" fmla="*/ 3264112 w 4560224"/>
                <a:gd name="connsiteY841" fmla="*/ 2396860 h 4884256"/>
                <a:gd name="connsiteX842" fmla="*/ 3259344 w 4560224"/>
                <a:gd name="connsiteY842" fmla="*/ 2425450 h 4884256"/>
                <a:gd name="connsiteX843" fmla="*/ 3249816 w 4560224"/>
                <a:gd name="connsiteY843" fmla="*/ 2425450 h 4884256"/>
                <a:gd name="connsiteX844" fmla="*/ 3259344 w 4560224"/>
                <a:gd name="connsiteY844" fmla="*/ 2444510 h 4884256"/>
                <a:gd name="connsiteX845" fmla="*/ 3264112 w 4560224"/>
                <a:gd name="connsiteY845" fmla="*/ 2454040 h 4884256"/>
                <a:gd name="connsiteX846" fmla="*/ 3264112 w 4560224"/>
                <a:gd name="connsiteY846" fmla="*/ 2473102 h 4884256"/>
                <a:gd name="connsiteX847" fmla="*/ 3249816 w 4560224"/>
                <a:gd name="connsiteY847" fmla="*/ 2473102 h 4884256"/>
                <a:gd name="connsiteX848" fmla="*/ 3240284 w 4560224"/>
                <a:gd name="connsiteY848" fmla="*/ 2473102 h 4884256"/>
                <a:gd name="connsiteX849" fmla="*/ 3235520 w 4560224"/>
                <a:gd name="connsiteY849" fmla="*/ 2458806 h 4884256"/>
                <a:gd name="connsiteX850" fmla="*/ 3230756 w 4560224"/>
                <a:gd name="connsiteY850" fmla="*/ 2473102 h 4884256"/>
                <a:gd name="connsiteX851" fmla="*/ 3216460 w 4560224"/>
                <a:gd name="connsiteY851" fmla="*/ 2482632 h 4884256"/>
                <a:gd name="connsiteX852" fmla="*/ 3211696 w 4560224"/>
                <a:gd name="connsiteY852" fmla="*/ 2477866 h 4884256"/>
                <a:gd name="connsiteX853" fmla="*/ 3206928 w 4560224"/>
                <a:gd name="connsiteY853" fmla="*/ 2473102 h 4884256"/>
                <a:gd name="connsiteX854" fmla="*/ 3206928 w 4560224"/>
                <a:gd name="connsiteY854" fmla="*/ 2458806 h 4884256"/>
                <a:gd name="connsiteX855" fmla="*/ 3216460 w 4560224"/>
                <a:gd name="connsiteY855" fmla="*/ 2415920 h 4884256"/>
                <a:gd name="connsiteX856" fmla="*/ 3211696 w 4560224"/>
                <a:gd name="connsiteY856" fmla="*/ 2406390 h 4884256"/>
                <a:gd name="connsiteX857" fmla="*/ 3202164 w 4560224"/>
                <a:gd name="connsiteY857" fmla="*/ 2401624 h 4884256"/>
                <a:gd name="connsiteX858" fmla="*/ 3202164 w 4560224"/>
                <a:gd name="connsiteY858" fmla="*/ 2392094 h 4884256"/>
                <a:gd name="connsiteX859" fmla="*/ 3187868 w 4560224"/>
                <a:gd name="connsiteY859" fmla="*/ 2444510 h 4884256"/>
                <a:gd name="connsiteX860" fmla="*/ 3192632 w 4560224"/>
                <a:gd name="connsiteY860" fmla="*/ 2463572 h 4884256"/>
                <a:gd name="connsiteX861" fmla="*/ 3192632 w 4560224"/>
                <a:gd name="connsiteY861" fmla="*/ 2473102 h 4884256"/>
                <a:gd name="connsiteX862" fmla="*/ 3168808 w 4560224"/>
                <a:gd name="connsiteY862" fmla="*/ 2477866 h 4884256"/>
                <a:gd name="connsiteX863" fmla="*/ 3149748 w 4560224"/>
                <a:gd name="connsiteY863" fmla="*/ 2463572 h 4884256"/>
                <a:gd name="connsiteX864" fmla="*/ 3144984 w 4560224"/>
                <a:gd name="connsiteY864" fmla="*/ 2454040 h 4884256"/>
                <a:gd name="connsiteX865" fmla="*/ 3144984 w 4560224"/>
                <a:gd name="connsiteY865" fmla="*/ 2463572 h 4884256"/>
                <a:gd name="connsiteX866" fmla="*/ 3140216 w 4560224"/>
                <a:gd name="connsiteY866" fmla="*/ 2477866 h 4884256"/>
                <a:gd name="connsiteX867" fmla="*/ 3121156 w 4560224"/>
                <a:gd name="connsiteY867" fmla="*/ 2477866 h 4884256"/>
                <a:gd name="connsiteX868" fmla="*/ 3106860 w 4560224"/>
                <a:gd name="connsiteY868" fmla="*/ 2468336 h 4884256"/>
                <a:gd name="connsiteX869" fmla="*/ 3116392 w 4560224"/>
                <a:gd name="connsiteY869" fmla="*/ 2449276 h 4884256"/>
                <a:gd name="connsiteX870" fmla="*/ 3125920 w 4560224"/>
                <a:gd name="connsiteY870" fmla="*/ 2411156 h 4884256"/>
                <a:gd name="connsiteX871" fmla="*/ 3130688 w 4560224"/>
                <a:gd name="connsiteY871" fmla="*/ 2392094 h 4884256"/>
                <a:gd name="connsiteX872" fmla="*/ 3111628 w 4560224"/>
                <a:gd name="connsiteY872" fmla="*/ 2377800 h 4884256"/>
                <a:gd name="connsiteX873" fmla="*/ 3097332 w 4560224"/>
                <a:gd name="connsiteY873" fmla="*/ 2368268 h 4884256"/>
                <a:gd name="connsiteX874" fmla="*/ 3092564 w 4560224"/>
                <a:gd name="connsiteY874" fmla="*/ 2349208 h 4884256"/>
                <a:gd name="connsiteX875" fmla="*/ 3092564 w 4560224"/>
                <a:gd name="connsiteY875" fmla="*/ 2373034 h 4884256"/>
                <a:gd name="connsiteX876" fmla="*/ 3102096 w 4560224"/>
                <a:gd name="connsiteY876" fmla="*/ 2377800 h 4884256"/>
                <a:gd name="connsiteX877" fmla="*/ 3111628 w 4560224"/>
                <a:gd name="connsiteY877" fmla="*/ 2382564 h 4884256"/>
                <a:gd name="connsiteX878" fmla="*/ 3125920 w 4560224"/>
                <a:gd name="connsiteY878" fmla="*/ 2392094 h 4884256"/>
                <a:gd name="connsiteX879" fmla="*/ 3116392 w 4560224"/>
                <a:gd name="connsiteY879" fmla="*/ 2406390 h 4884256"/>
                <a:gd name="connsiteX880" fmla="*/ 3106860 w 4560224"/>
                <a:gd name="connsiteY880" fmla="*/ 2415920 h 4884256"/>
                <a:gd name="connsiteX881" fmla="*/ 3092564 w 4560224"/>
                <a:gd name="connsiteY881" fmla="*/ 2444510 h 4884256"/>
                <a:gd name="connsiteX882" fmla="*/ 3073504 w 4560224"/>
                <a:gd name="connsiteY882" fmla="*/ 2458806 h 4884256"/>
                <a:gd name="connsiteX883" fmla="*/ 3049680 w 4560224"/>
                <a:gd name="connsiteY883" fmla="*/ 2473102 h 4884256"/>
                <a:gd name="connsiteX884" fmla="*/ 2973436 w 4560224"/>
                <a:gd name="connsiteY884" fmla="*/ 2492162 h 4884256"/>
                <a:gd name="connsiteX885" fmla="*/ 2959144 w 4560224"/>
                <a:gd name="connsiteY885" fmla="*/ 2496928 h 4884256"/>
                <a:gd name="connsiteX886" fmla="*/ 2935316 w 4560224"/>
                <a:gd name="connsiteY886" fmla="*/ 2520752 h 4884256"/>
                <a:gd name="connsiteX887" fmla="*/ 2921020 w 4560224"/>
                <a:gd name="connsiteY887" fmla="*/ 2544578 h 4884256"/>
                <a:gd name="connsiteX888" fmla="*/ 2921020 w 4560224"/>
                <a:gd name="connsiteY888" fmla="*/ 2563640 h 4884256"/>
                <a:gd name="connsiteX889" fmla="*/ 2925788 w 4560224"/>
                <a:gd name="connsiteY889" fmla="*/ 2587464 h 4884256"/>
                <a:gd name="connsiteX890" fmla="*/ 2935316 w 4560224"/>
                <a:gd name="connsiteY890" fmla="*/ 2625586 h 4884256"/>
                <a:gd name="connsiteX891" fmla="*/ 2940080 w 4560224"/>
                <a:gd name="connsiteY891" fmla="*/ 2635116 h 4884256"/>
                <a:gd name="connsiteX892" fmla="*/ 2930552 w 4560224"/>
                <a:gd name="connsiteY892" fmla="*/ 2644646 h 4884256"/>
                <a:gd name="connsiteX893" fmla="*/ 2916256 w 4560224"/>
                <a:gd name="connsiteY893" fmla="*/ 2658942 h 4884256"/>
                <a:gd name="connsiteX894" fmla="*/ 2906724 w 4560224"/>
                <a:gd name="connsiteY894" fmla="*/ 2678002 h 4884256"/>
                <a:gd name="connsiteX895" fmla="*/ 2906724 w 4560224"/>
                <a:gd name="connsiteY895" fmla="*/ 2692298 h 4884256"/>
                <a:gd name="connsiteX896" fmla="*/ 2906724 w 4560224"/>
                <a:gd name="connsiteY896" fmla="*/ 2697062 h 4884256"/>
                <a:gd name="connsiteX897" fmla="*/ 2863840 w 4560224"/>
                <a:gd name="connsiteY897" fmla="*/ 2720888 h 4884256"/>
                <a:gd name="connsiteX898" fmla="*/ 2859076 w 4560224"/>
                <a:gd name="connsiteY898" fmla="*/ 2735184 h 4884256"/>
                <a:gd name="connsiteX899" fmla="*/ 2844780 w 4560224"/>
                <a:gd name="connsiteY899" fmla="*/ 2749480 h 4884256"/>
                <a:gd name="connsiteX900" fmla="*/ 2835248 w 4560224"/>
                <a:gd name="connsiteY900" fmla="*/ 2739948 h 4884256"/>
                <a:gd name="connsiteX901" fmla="*/ 2825720 w 4560224"/>
                <a:gd name="connsiteY901" fmla="*/ 2739948 h 4884256"/>
                <a:gd name="connsiteX902" fmla="*/ 2835248 w 4560224"/>
                <a:gd name="connsiteY902" fmla="*/ 2749480 h 4884256"/>
                <a:gd name="connsiteX903" fmla="*/ 2835248 w 4560224"/>
                <a:gd name="connsiteY903" fmla="*/ 2759010 h 4884256"/>
                <a:gd name="connsiteX904" fmla="*/ 2830484 w 4560224"/>
                <a:gd name="connsiteY904" fmla="*/ 2763774 h 4884256"/>
                <a:gd name="connsiteX905" fmla="*/ 2820952 w 4560224"/>
                <a:gd name="connsiteY905" fmla="*/ 2768540 h 4884256"/>
                <a:gd name="connsiteX906" fmla="*/ 2763772 w 4560224"/>
                <a:gd name="connsiteY906" fmla="*/ 2782834 h 4884256"/>
                <a:gd name="connsiteX907" fmla="*/ 2720884 w 4560224"/>
                <a:gd name="connsiteY907" fmla="*/ 2801896 h 4884256"/>
                <a:gd name="connsiteX908" fmla="*/ 2711356 w 4560224"/>
                <a:gd name="connsiteY908" fmla="*/ 2797130 h 4884256"/>
                <a:gd name="connsiteX909" fmla="*/ 2711356 w 4560224"/>
                <a:gd name="connsiteY909" fmla="*/ 2792364 h 4884256"/>
                <a:gd name="connsiteX910" fmla="*/ 2720884 w 4560224"/>
                <a:gd name="connsiteY910" fmla="*/ 2792364 h 4884256"/>
                <a:gd name="connsiteX911" fmla="*/ 2716120 w 4560224"/>
                <a:gd name="connsiteY911" fmla="*/ 2773304 h 4884256"/>
                <a:gd name="connsiteX912" fmla="*/ 2711356 w 4560224"/>
                <a:gd name="connsiteY912" fmla="*/ 2768540 h 4884256"/>
                <a:gd name="connsiteX913" fmla="*/ 2701824 w 4560224"/>
                <a:gd name="connsiteY913" fmla="*/ 2768540 h 4884256"/>
                <a:gd name="connsiteX914" fmla="*/ 2668468 w 4560224"/>
                <a:gd name="connsiteY914" fmla="*/ 2787600 h 4884256"/>
                <a:gd name="connsiteX915" fmla="*/ 2658940 w 4560224"/>
                <a:gd name="connsiteY915" fmla="*/ 2811426 h 4884256"/>
                <a:gd name="connsiteX916" fmla="*/ 2658940 w 4560224"/>
                <a:gd name="connsiteY916" fmla="*/ 2816190 h 4884256"/>
                <a:gd name="connsiteX917" fmla="*/ 2668468 w 4560224"/>
                <a:gd name="connsiteY917" fmla="*/ 2816190 h 4884256"/>
                <a:gd name="connsiteX918" fmla="*/ 2687528 w 4560224"/>
                <a:gd name="connsiteY918" fmla="*/ 2801896 h 4884256"/>
                <a:gd name="connsiteX919" fmla="*/ 2701824 w 4560224"/>
                <a:gd name="connsiteY919" fmla="*/ 2806660 h 4884256"/>
                <a:gd name="connsiteX920" fmla="*/ 2701824 w 4560224"/>
                <a:gd name="connsiteY920" fmla="*/ 2811426 h 4884256"/>
                <a:gd name="connsiteX921" fmla="*/ 2668468 w 4560224"/>
                <a:gd name="connsiteY921" fmla="*/ 2830486 h 4884256"/>
                <a:gd name="connsiteX922" fmla="*/ 2596992 w 4560224"/>
                <a:gd name="connsiteY922" fmla="*/ 2892432 h 4884256"/>
                <a:gd name="connsiteX923" fmla="*/ 2592228 w 4560224"/>
                <a:gd name="connsiteY923" fmla="*/ 2906728 h 4884256"/>
                <a:gd name="connsiteX924" fmla="*/ 2582696 w 4560224"/>
                <a:gd name="connsiteY924" fmla="*/ 2921024 h 4884256"/>
                <a:gd name="connsiteX925" fmla="*/ 2568400 w 4560224"/>
                <a:gd name="connsiteY925" fmla="*/ 2935318 h 4884256"/>
                <a:gd name="connsiteX926" fmla="*/ 2549340 w 4560224"/>
                <a:gd name="connsiteY926" fmla="*/ 2968674 h 4884256"/>
                <a:gd name="connsiteX927" fmla="*/ 2501688 w 4560224"/>
                <a:gd name="connsiteY927" fmla="*/ 3011560 h 4884256"/>
                <a:gd name="connsiteX928" fmla="*/ 2492160 w 4560224"/>
                <a:gd name="connsiteY928" fmla="*/ 3030622 h 4884256"/>
                <a:gd name="connsiteX929" fmla="*/ 2420684 w 4560224"/>
                <a:gd name="connsiteY929" fmla="*/ 3068742 h 4884256"/>
                <a:gd name="connsiteX930" fmla="*/ 2406388 w 4560224"/>
                <a:gd name="connsiteY930" fmla="*/ 3078272 h 4884256"/>
                <a:gd name="connsiteX931" fmla="*/ 2377796 w 4560224"/>
                <a:gd name="connsiteY931" fmla="*/ 3116394 h 4884256"/>
                <a:gd name="connsiteX932" fmla="*/ 2349204 w 4560224"/>
                <a:gd name="connsiteY932" fmla="*/ 3144984 h 4884256"/>
                <a:gd name="connsiteX933" fmla="*/ 2315848 w 4560224"/>
                <a:gd name="connsiteY933" fmla="*/ 3168810 h 4884256"/>
                <a:gd name="connsiteX934" fmla="*/ 2253904 w 4560224"/>
                <a:gd name="connsiteY934" fmla="*/ 3197400 h 4884256"/>
                <a:gd name="connsiteX935" fmla="*/ 2220548 w 4560224"/>
                <a:gd name="connsiteY935" fmla="*/ 3225992 h 4884256"/>
                <a:gd name="connsiteX936" fmla="*/ 2206252 w 4560224"/>
                <a:gd name="connsiteY936" fmla="*/ 3245052 h 4884256"/>
                <a:gd name="connsiteX937" fmla="*/ 2206252 w 4560224"/>
                <a:gd name="connsiteY937" fmla="*/ 3254582 h 4884256"/>
                <a:gd name="connsiteX938" fmla="*/ 2211016 w 4560224"/>
                <a:gd name="connsiteY938" fmla="*/ 3264112 h 4884256"/>
                <a:gd name="connsiteX939" fmla="*/ 2215784 w 4560224"/>
                <a:gd name="connsiteY939" fmla="*/ 3273642 h 4884256"/>
                <a:gd name="connsiteX940" fmla="*/ 2220548 w 4560224"/>
                <a:gd name="connsiteY940" fmla="*/ 3278408 h 4884256"/>
                <a:gd name="connsiteX941" fmla="*/ 2215784 w 4560224"/>
                <a:gd name="connsiteY941" fmla="*/ 3292704 h 4884256"/>
                <a:gd name="connsiteX942" fmla="*/ 2215784 w 4560224"/>
                <a:gd name="connsiteY942" fmla="*/ 3297468 h 4884256"/>
                <a:gd name="connsiteX943" fmla="*/ 2201488 w 4560224"/>
                <a:gd name="connsiteY943" fmla="*/ 3316528 h 4884256"/>
                <a:gd name="connsiteX944" fmla="*/ 2187192 w 4560224"/>
                <a:gd name="connsiteY944" fmla="*/ 3326060 h 4884256"/>
                <a:gd name="connsiteX945" fmla="*/ 2125244 w 4560224"/>
                <a:gd name="connsiteY945" fmla="*/ 3354650 h 4884256"/>
                <a:gd name="connsiteX946" fmla="*/ 2115716 w 4560224"/>
                <a:gd name="connsiteY946" fmla="*/ 3349884 h 4884256"/>
                <a:gd name="connsiteX947" fmla="*/ 2068064 w 4560224"/>
                <a:gd name="connsiteY947" fmla="*/ 3345120 h 4884256"/>
                <a:gd name="connsiteX948" fmla="*/ 2049004 w 4560224"/>
                <a:gd name="connsiteY948" fmla="*/ 3349884 h 4884256"/>
                <a:gd name="connsiteX949" fmla="*/ 2044236 w 4560224"/>
                <a:gd name="connsiteY949" fmla="*/ 3364180 h 4884256"/>
                <a:gd name="connsiteX950" fmla="*/ 2025176 w 4560224"/>
                <a:gd name="connsiteY950" fmla="*/ 3411832 h 4884256"/>
                <a:gd name="connsiteX951" fmla="*/ 2010880 w 4560224"/>
                <a:gd name="connsiteY951" fmla="*/ 3426128 h 4884256"/>
                <a:gd name="connsiteX952" fmla="*/ 2006116 w 4560224"/>
                <a:gd name="connsiteY952" fmla="*/ 3435658 h 4884256"/>
                <a:gd name="connsiteX953" fmla="*/ 2001352 w 4560224"/>
                <a:gd name="connsiteY953" fmla="*/ 3445188 h 4884256"/>
                <a:gd name="connsiteX954" fmla="*/ 1991820 w 4560224"/>
                <a:gd name="connsiteY954" fmla="*/ 3445188 h 4884256"/>
                <a:gd name="connsiteX955" fmla="*/ 1987056 w 4560224"/>
                <a:gd name="connsiteY955" fmla="*/ 3440422 h 4884256"/>
                <a:gd name="connsiteX956" fmla="*/ 1977524 w 4560224"/>
                <a:gd name="connsiteY956" fmla="*/ 3445188 h 4884256"/>
                <a:gd name="connsiteX957" fmla="*/ 1972760 w 4560224"/>
                <a:gd name="connsiteY957" fmla="*/ 3426128 h 4884256"/>
                <a:gd name="connsiteX958" fmla="*/ 1958464 w 4560224"/>
                <a:gd name="connsiteY958" fmla="*/ 3426128 h 4884256"/>
                <a:gd name="connsiteX959" fmla="*/ 1953700 w 4560224"/>
                <a:gd name="connsiteY959" fmla="*/ 3421362 h 4884256"/>
                <a:gd name="connsiteX960" fmla="*/ 1910816 w 4560224"/>
                <a:gd name="connsiteY960" fmla="*/ 3440422 h 4884256"/>
                <a:gd name="connsiteX961" fmla="*/ 1896520 w 4560224"/>
                <a:gd name="connsiteY961" fmla="*/ 3454718 h 4884256"/>
                <a:gd name="connsiteX962" fmla="*/ 1867928 w 4560224"/>
                <a:gd name="connsiteY962" fmla="*/ 3516664 h 4884256"/>
                <a:gd name="connsiteX963" fmla="*/ 1858396 w 4560224"/>
                <a:gd name="connsiteY963" fmla="*/ 3554786 h 4884256"/>
                <a:gd name="connsiteX964" fmla="*/ 1863164 w 4560224"/>
                <a:gd name="connsiteY964" fmla="*/ 3602436 h 4884256"/>
                <a:gd name="connsiteX965" fmla="*/ 1877460 w 4560224"/>
                <a:gd name="connsiteY965" fmla="*/ 3635792 h 4884256"/>
                <a:gd name="connsiteX966" fmla="*/ 1877460 w 4560224"/>
                <a:gd name="connsiteY966" fmla="*/ 3654852 h 4884256"/>
                <a:gd name="connsiteX967" fmla="*/ 1877460 w 4560224"/>
                <a:gd name="connsiteY967" fmla="*/ 3673914 h 4884256"/>
                <a:gd name="connsiteX968" fmla="*/ 1872692 w 4560224"/>
                <a:gd name="connsiteY968" fmla="*/ 3683444 h 4884256"/>
                <a:gd name="connsiteX969" fmla="*/ 1867928 w 4560224"/>
                <a:gd name="connsiteY969" fmla="*/ 3697740 h 4884256"/>
                <a:gd name="connsiteX970" fmla="*/ 1872692 w 4560224"/>
                <a:gd name="connsiteY970" fmla="*/ 3721564 h 4884256"/>
                <a:gd name="connsiteX971" fmla="*/ 1886988 w 4560224"/>
                <a:gd name="connsiteY971" fmla="*/ 3754920 h 4884256"/>
                <a:gd name="connsiteX972" fmla="*/ 1886988 w 4560224"/>
                <a:gd name="connsiteY972" fmla="*/ 3764450 h 4884256"/>
                <a:gd name="connsiteX973" fmla="*/ 1886988 w 4560224"/>
                <a:gd name="connsiteY973" fmla="*/ 3778746 h 4884256"/>
                <a:gd name="connsiteX974" fmla="*/ 1896520 w 4560224"/>
                <a:gd name="connsiteY974" fmla="*/ 3812102 h 4884256"/>
                <a:gd name="connsiteX975" fmla="*/ 1891752 w 4560224"/>
                <a:gd name="connsiteY975" fmla="*/ 3807336 h 4884256"/>
                <a:gd name="connsiteX976" fmla="*/ 1886988 w 4560224"/>
                <a:gd name="connsiteY976" fmla="*/ 3793042 h 4884256"/>
                <a:gd name="connsiteX977" fmla="*/ 1872692 w 4560224"/>
                <a:gd name="connsiteY977" fmla="*/ 3773980 h 4884256"/>
                <a:gd name="connsiteX978" fmla="*/ 1858396 w 4560224"/>
                <a:gd name="connsiteY978" fmla="*/ 3793042 h 4884256"/>
                <a:gd name="connsiteX979" fmla="*/ 1867928 w 4560224"/>
                <a:gd name="connsiteY979" fmla="*/ 3807336 h 4884256"/>
                <a:gd name="connsiteX980" fmla="*/ 1896520 w 4560224"/>
                <a:gd name="connsiteY980" fmla="*/ 3821632 h 4884256"/>
                <a:gd name="connsiteX981" fmla="*/ 1901284 w 4560224"/>
                <a:gd name="connsiteY981" fmla="*/ 3831162 h 4884256"/>
                <a:gd name="connsiteX982" fmla="*/ 1886988 w 4560224"/>
                <a:gd name="connsiteY982" fmla="*/ 3940760 h 4884256"/>
                <a:gd name="connsiteX983" fmla="*/ 1872692 w 4560224"/>
                <a:gd name="connsiteY983" fmla="*/ 3978882 h 4884256"/>
                <a:gd name="connsiteX984" fmla="*/ 1858396 w 4560224"/>
                <a:gd name="connsiteY984" fmla="*/ 4002708 h 4884256"/>
                <a:gd name="connsiteX985" fmla="*/ 1848868 w 4560224"/>
                <a:gd name="connsiteY985" fmla="*/ 4012238 h 4884256"/>
                <a:gd name="connsiteX986" fmla="*/ 1829808 w 4560224"/>
                <a:gd name="connsiteY986" fmla="*/ 4050358 h 4884256"/>
                <a:gd name="connsiteX987" fmla="*/ 1815512 w 4560224"/>
                <a:gd name="connsiteY987" fmla="*/ 4098010 h 4884256"/>
                <a:gd name="connsiteX988" fmla="*/ 1810748 w 4560224"/>
                <a:gd name="connsiteY988" fmla="*/ 4117070 h 4884256"/>
                <a:gd name="connsiteX989" fmla="*/ 1820276 w 4560224"/>
                <a:gd name="connsiteY989" fmla="*/ 4140896 h 4884256"/>
                <a:gd name="connsiteX990" fmla="*/ 1810748 w 4560224"/>
                <a:gd name="connsiteY990" fmla="*/ 4150426 h 4884256"/>
                <a:gd name="connsiteX991" fmla="*/ 1801216 w 4560224"/>
                <a:gd name="connsiteY991" fmla="*/ 4159956 h 4884256"/>
                <a:gd name="connsiteX992" fmla="*/ 1820276 w 4560224"/>
                <a:gd name="connsiteY992" fmla="*/ 4155192 h 4884256"/>
                <a:gd name="connsiteX993" fmla="*/ 1825040 w 4560224"/>
                <a:gd name="connsiteY993" fmla="*/ 4164722 h 4884256"/>
                <a:gd name="connsiteX994" fmla="*/ 1825040 w 4560224"/>
                <a:gd name="connsiteY994" fmla="*/ 4179016 h 4884256"/>
                <a:gd name="connsiteX995" fmla="*/ 1825040 w 4560224"/>
                <a:gd name="connsiteY995" fmla="*/ 4245728 h 4884256"/>
                <a:gd name="connsiteX996" fmla="*/ 1825040 w 4560224"/>
                <a:gd name="connsiteY996" fmla="*/ 4317206 h 4884256"/>
                <a:gd name="connsiteX997" fmla="*/ 1810748 w 4560224"/>
                <a:gd name="connsiteY997" fmla="*/ 4321970 h 4884256"/>
                <a:gd name="connsiteX998" fmla="*/ 1796452 w 4560224"/>
                <a:gd name="connsiteY998" fmla="*/ 4321970 h 4884256"/>
                <a:gd name="connsiteX999" fmla="*/ 1786920 w 4560224"/>
                <a:gd name="connsiteY999" fmla="*/ 4317206 h 4884256"/>
                <a:gd name="connsiteX1000" fmla="*/ 1777392 w 4560224"/>
                <a:gd name="connsiteY1000" fmla="*/ 4317206 h 4884256"/>
                <a:gd name="connsiteX1001" fmla="*/ 1753564 w 4560224"/>
                <a:gd name="connsiteY1001" fmla="*/ 4321970 h 4884256"/>
                <a:gd name="connsiteX1002" fmla="*/ 1744036 w 4560224"/>
                <a:gd name="connsiteY1002" fmla="*/ 4326736 h 4884256"/>
                <a:gd name="connsiteX1003" fmla="*/ 1734504 w 4560224"/>
                <a:gd name="connsiteY1003" fmla="*/ 4341032 h 4884256"/>
                <a:gd name="connsiteX1004" fmla="*/ 1734504 w 4560224"/>
                <a:gd name="connsiteY1004" fmla="*/ 4364856 h 4884256"/>
                <a:gd name="connsiteX1005" fmla="*/ 1691620 w 4560224"/>
                <a:gd name="connsiteY1005" fmla="*/ 4417272 h 4884256"/>
                <a:gd name="connsiteX1006" fmla="*/ 1686852 w 4560224"/>
                <a:gd name="connsiteY1006" fmla="*/ 4436334 h 4884256"/>
                <a:gd name="connsiteX1007" fmla="*/ 1682088 w 4560224"/>
                <a:gd name="connsiteY1007" fmla="*/ 4455394 h 4884256"/>
                <a:gd name="connsiteX1008" fmla="*/ 1686852 w 4560224"/>
                <a:gd name="connsiteY1008" fmla="*/ 4464924 h 4884256"/>
                <a:gd name="connsiteX1009" fmla="*/ 1696384 w 4560224"/>
                <a:gd name="connsiteY1009" fmla="*/ 4474454 h 4884256"/>
                <a:gd name="connsiteX1010" fmla="*/ 1710680 w 4560224"/>
                <a:gd name="connsiteY1010" fmla="*/ 4479220 h 4884256"/>
                <a:gd name="connsiteX1011" fmla="*/ 1739268 w 4560224"/>
                <a:gd name="connsiteY1011" fmla="*/ 4483984 h 4884256"/>
                <a:gd name="connsiteX1012" fmla="*/ 1748800 w 4560224"/>
                <a:gd name="connsiteY1012" fmla="*/ 4488750 h 4884256"/>
                <a:gd name="connsiteX1013" fmla="*/ 1758328 w 4560224"/>
                <a:gd name="connsiteY1013" fmla="*/ 4498280 h 4884256"/>
                <a:gd name="connsiteX1014" fmla="*/ 1729740 w 4560224"/>
                <a:gd name="connsiteY1014" fmla="*/ 4483984 h 4884256"/>
                <a:gd name="connsiteX1015" fmla="*/ 1691620 w 4560224"/>
                <a:gd name="connsiteY1015" fmla="*/ 4483984 h 4884256"/>
                <a:gd name="connsiteX1016" fmla="*/ 1605848 w 4560224"/>
                <a:gd name="connsiteY1016" fmla="*/ 4512576 h 4884256"/>
                <a:gd name="connsiteX1017" fmla="*/ 1582020 w 4560224"/>
                <a:gd name="connsiteY1017" fmla="*/ 4526872 h 4884256"/>
                <a:gd name="connsiteX1018" fmla="*/ 1567724 w 4560224"/>
                <a:gd name="connsiteY1018" fmla="*/ 4545932 h 4884256"/>
                <a:gd name="connsiteX1019" fmla="*/ 1558196 w 4560224"/>
                <a:gd name="connsiteY1019" fmla="*/ 4579288 h 4884256"/>
                <a:gd name="connsiteX1020" fmla="*/ 1558196 w 4560224"/>
                <a:gd name="connsiteY1020" fmla="*/ 4603112 h 4884256"/>
                <a:gd name="connsiteX1021" fmla="*/ 1548664 w 4560224"/>
                <a:gd name="connsiteY1021" fmla="*/ 4626938 h 4884256"/>
                <a:gd name="connsiteX1022" fmla="*/ 1501012 w 4560224"/>
                <a:gd name="connsiteY1022" fmla="*/ 4655530 h 4884256"/>
                <a:gd name="connsiteX1023" fmla="*/ 1472424 w 4560224"/>
                <a:gd name="connsiteY1023" fmla="*/ 4665060 h 4884256"/>
                <a:gd name="connsiteX1024" fmla="*/ 1462892 w 4560224"/>
                <a:gd name="connsiteY1024" fmla="*/ 4674590 h 4884256"/>
                <a:gd name="connsiteX1025" fmla="*/ 1429536 w 4560224"/>
                <a:gd name="connsiteY1025" fmla="*/ 4660294 h 4884256"/>
                <a:gd name="connsiteX1026" fmla="*/ 1391416 w 4560224"/>
                <a:gd name="connsiteY1026" fmla="*/ 4636468 h 4884256"/>
                <a:gd name="connsiteX1027" fmla="*/ 1377120 w 4560224"/>
                <a:gd name="connsiteY1027" fmla="*/ 4622174 h 4884256"/>
                <a:gd name="connsiteX1028" fmla="*/ 1319940 w 4560224"/>
                <a:gd name="connsiteY1028" fmla="*/ 4550696 h 4884256"/>
                <a:gd name="connsiteX1029" fmla="*/ 1310408 w 4560224"/>
                <a:gd name="connsiteY1029" fmla="*/ 4541166 h 4884256"/>
                <a:gd name="connsiteX1030" fmla="*/ 1300876 w 4560224"/>
                <a:gd name="connsiteY1030" fmla="*/ 4512576 h 4884256"/>
                <a:gd name="connsiteX1031" fmla="*/ 1300876 w 4560224"/>
                <a:gd name="connsiteY1031" fmla="*/ 4503046 h 4884256"/>
                <a:gd name="connsiteX1032" fmla="*/ 1296112 w 4560224"/>
                <a:gd name="connsiteY1032" fmla="*/ 4498280 h 4884256"/>
                <a:gd name="connsiteX1033" fmla="*/ 1291348 w 4560224"/>
                <a:gd name="connsiteY1033" fmla="*/ 4493516 h 4884256"/>
                <a:gd name="connsiteX1034" fmla="*/ 1286584 w 4560224"/>
                <a:gd name="connsiteY1034" fmla="*/ 4488750 h 4884256"/>
                <a:gd name="connsiteX1035" fmla="*/ 1277052 w 4560224"/>
                <a:gd name="connsiteY1035" fmla="*/ 4455394 h 4884256"/>
                <a:gd name="connsiteX1036" fmla="*/ 1272288 w 4560224"/>
                <a:gd name="connsiteY1036" fmla="*/ 4422038 h 4884256"/>
                <a:gd name="connsiteX1037" fmla="*/ 1262756 w 4560224"/>
                <a:gd name="connsiteY1037" fmla="*/ 4379152 h 4884256"/>
                <a:gd name="connsiteX1038" fmla="*/ 1272288 w 4560224"/>
                <a:gd name="connsiteY1038" fmla="*/ 4383918 h 4884256"/>
                <a:gd name="connsiteX1039" fmla="*/ 1281816 w 4560224"/>
                <a:gd name="connsiteY1039" fmla="*/ 4398212 h 4884256"/>
                <a:gd name="connsiteX1040" fmla="*/ 1281816 w 4560224"/>
                <a:gd name="connsiteY1040" fmla="*/ 4417272 h 4884256"/>
                <a:gd name="connsiteX1041" fmla="*/ 1286584 w 4560224"/>
                <a:gd name="connsiteY1041" fmla="*/ 4441100 h 4884256"/>
                <a:gd name="connsiteX1042" fmla="*/ 1291348 w 4560224"/>
                <a:gd name="connsiteY1042" fmla="*/ 4445864 h 4884256"/>
                <a:gd name="connsiteX1043" fmla="*/ 1296112 w 4560224"/>
                <a:gd name="connsiteY1043" fmla="*/ 4441100 h 4884256"/>
                <a:gd name="connsiteX1044" fmla="*/ 1281816 w 4560224"/>
                <a:gd name="connsiteY1044" fmla="*/ 4379152 h 4884256"/>
                <a:gd name="connsiteX1045" fmla="*/ 1262756 w 4560224"/>
                <a:gd name="connsiteY1045" fmla="*/ 4364856 h 4884256"/>
                <a:gd name="connsiteX1046" fmla="*/ 1257992 w 4560224"/>
                <a:gd name="connsiteY1046" fmla="*/ 4355326 h 4884256"/>
                <a:gd name="connsiteX1047" fmla="*/ 1253228 w 4560224"/>
                <a:gd name="connsiteY1047" fmla="*/ 4341032 h 4884256"/>
                <a:gd name="connsiteX1048" fmla="*/ 1257992 w 4560224"/>
                <a:gd name="connsiteY1048" fmla="*/ 4336266 h 4884256"/>
                <a:gd name="connsiteX1049" fmla="*/ 1243696 w 4560224"/>
                <a:gd name="connsiteY1049" fmla="*/ 4317206 h 4884256"/>
                <a:gd name="connsiteX1050" fmla="*/ 1238932 w 4560224"/>
                <a:gd name="connsiteY1050" fmla="*/ 4302910 h 4884256"/>
                <a:gd name="connsiteX1051" fmla="*/ 1215104 w 4560224"/>
                <a:gd name="connsiteY1051" fmla="*/ 4245728 h 4884256"/>
                <a:gd name="connsiteX1052" fmla="*/ 1200812 w 4560224"/>
                <a:gd name="connsiteY1052" fmla="*/ 4202842 h 4884256"/>
                <a:gd name="connsiteX1053" fmla="*/ 1181748 w 4560224"/>
                <a:gd name="connsiteY1053" fmla="*/ 4150426 h 4884256"/>
                <a:gd name="connsiteX1054" fmla="*/ 1172220 w 4560224"/>
                <a:gd name="connsiteY1054" fmla="*/ 4136130 h 4884256"/>
                <a:gd name="connsiteX1055" fmla="*/ 1153160 w 4560224"/>
                <a:gd name="connsiteY1055" fmla="*/ 4098010 h 4884256"/>
                <a:gd name="connsiteX1056" fmla="*/ 1134100 w 4560224"/>
                <a:gd name="connsiteY1056" fmla="*/ 4078950 h 4884256"/>
                <a:gd name="connsiteX1057" fmla="*/ 1119804 w 4560224"/>
                <a:gd name="connsiteY1057" fmla="*/ 4055124 h 4884256"/>
                <a:gd name="connsiteX1058" fmla="*/ 1105508 w 4560224"/>
                <a:gd name="connsiteY1058" fmla="*/ 4045594 h 4884256"/>
                <a:gd name="connsiteX1059" fmla="*/ 1100744 w 4560224"/>
                <a:gd name="connsiteY1059" fmla="*/ 4040828 h 4884256"/>
                <a:gd name="connsiteX1060" fmla="*/ 1062620 w 4560224"/>
                <a:gd name="connsiteY1060" fmla="*/ 3959820 h 4884256"/>
                <a:gd name="connsiteX1061" fmla="*/ 1048328 w 4560224"/>
                <a:gd name="connsiteY1061" fmla="*/ 3916936 h 4884256"/>
                <a:gd name="connsiteX1062" fmla="*/ 1038796 w 4560224"/>
                <a:gd name="connsiteY1062" fmla="*/ 3893110 h 4884256"/>
                <a:gd name="connsiteX1063" fmla="*/ 1034032 w 4560224"/>
                <a:gd name="connsiteY1063" fmla="*/ 3878814 h 4884256"/>
                <a:gd name="connsiteX1064" fmla="*/ 1019736 w 4560224"/>
                <a:gd name="connsiteY1064" fmla="*/ 3807336 h 4884256"/>
                <a:gd name="connsiteX1065" fmla="*/ 1019736 w 4560224"/>
                <a:gd name="connsiteY1065" fmla="*/ 3797806 h 4884256"/>
                <a:gd name="connsiteX1066" fmla="*/ 1019736 w 4560224"/>
                <a:gd name="connsiteY1066" fmla="*/ 3783512 h 4884256"/>
                <a:gd name="connsiteX1067" fmla="*/ 1010204 w 4560224"/>
                <a:gd name="connsiteY1067" fmla="*/ 3754920 h 4884256"/>
                <a:gd name="connsiteX1068" fmla="*/ 991144 w 4560224"/>
                <a:gd name="connsiteY1068" fmla="*/ 3721564 h 4884256"/>
                <a:gd name="connsiteX1069" fmla="*/ 986380 w 4560224"/>
                <a:gd name="connsiteY1069" fmla="*/ 3702504 h 4884256"/>
                <a:gd name="connsiteX1070" fmla="*/ 986380 w 4560224"/>
                <a:gd name="connsiteY1070" fmla="*/ 3692974 h 4884256"/>
                <a:gd name="connsiteX1071" fmla="*/ 976848 w 4560224"/>
                <a:gd name="connsiteY1071" fmla="*/ 3664384 h 4884256"/>
                <a:gd name="connsiteX1072" fmla="*/ 972084 w 4560224"/>
                <a:gd name="connsiteY1072" fmla="*/ 3650088 h 4884256"/>
                <a:gd name="connsiteX1073" fmla="*/ 967320 w 4560224"/>
                <a:gd name="connsiteY1073" fmla="*/ 3635792 h 4884256"/>
                <a:gd name="connsiteX1074" fmla="*/ 957788 w 4560224"/>
                <a:gd name="connsiteY1074" fmla="*/ 3626262 h 4884256"/>
                <a:gd name="connsiteX1075" fmla="*/ 948260 w 4560224"/>
                <a:gd name="connsiteY1075" fmla="*/ 3616732 h 4884256"/>
                <a:gd name="connsiteX1076" fmla="*/ 929196 w 4560224"/>
                <a:gd name="connsiteY1076" fmla="*/ 3583376 h 4884256"/>
                <a:gd name="connsiteX1077" fmla="*/ 919668 w 4560224"/>
                <a:gd name="connsiteY1077" fmla="*/ 3578612 h 4884256"/>
                <a:gd name="connsiteX1078" fmla="*/ 905372 w 4560224"/>
                <a:gd name="connsiteY1078" fmla="*/ 3554786 h 4884256"/>
                <a:gd name="connsiteX1079" fmla="*/ 895840 w 4560224"/>
                <a:gd name="connsiteY1079" fmla="*/ 3516664 h 4884256"/>
                <a:gd name="connsiteX1080" fmla="*/ 881548 w 4560224"/>
                <a:gd name="connsiteY1080" fmla="*/ 3502368 h 4884256"/>
                <a:gd name="connsiteX1081" fmla="*/ 900608 w 4560224"/>
                <a:gd name="connsiteY1081" fmla="*/ 3502368 h 4884256"/>
                <a:gd name="connsiteX1082" fmla="*/ 891076 w 4560224"/>
                <a:gd name="connsiteY1082" fmla="*/ 3492838 h 4884256"/>
                <a:gd name="connsiteX1083" fmla="*/ 886312 w 4560224"/>
                <a:gd name="connsiteY1083" fmla="*/ 3483308 h 4884256"/>
                <a:gd name="connsiteX1084" fmla="*/ 876780 w 4560224"/>
                <a:gd name="connsiteY1084" fmla="*/ 3473778 h 4884256"/>
                <a:gd name="connsiteX1085" fmla="*/ 886312 w 4560224"/>
                <a:gd name="connsiteY1085" fmla="*/ 3459482 h 4884256"/>
                <a:gd name="connsiteX1086" fmla="*/ 872016 w 4560224"/>
                <a:gd name="connsiteY1086" fmla="*/ 3464248 h 4884256"/>
                <a:gd name="connsiteX1087" fmla="*/ 862488 w 4560224"/>
                <a:gd name="connsiteY1087" fmla="*/ 3454718 h 4884256"/>
                <a:gd name="connsiteX1088" fmla="*/ 852956 w 4560224"/>
                <a:gd name="connsiteY1088" fmla="*/ 3426128 h 4884256"/>
                <a:gd name="connsiteX1089" fmla="*/ 833896 w 4560224"/>
                <a:gd name="connsiteY1089" fmla="*/ 3397536 h 4884256"/>
                <a:gd name="connsiteX1090" fmla="*/ 829132 w 4560224"/>
                <a:gd name="connsiteY1090" fmla="*/ 3383240 h 4884256"/>
                <a:gd name="connsiteX1091" fmla="*/ 810068 w 4560224"/>
                <a:gd name="connsiteY1091" fmla="*/ 3330824 h 4884256"/>
                <a:gd name="connsiteX1092" fmla="*/ 795776 w 4560224"/>
                <a:gd name="connsiteY1092" fmla="*/ 3211696 h 4884256"/>
                <a:gd name="connsiteX1093" fmla="*/ 781480 w 4560224"/>
                <a:gd name="connsiteY1093" fmla="*/ 3154514 h 4884256"/>
                <a:gd name="connsiteX1094" fmla="*/ 781480 w 4560224"/>
                <a:gd name="connsiteY1094" fmla="*/ 3140220 h 4884256"/>
                <a:gd name="connsiteX1095" fmla="*/ 762420 w 4560224"/>
                <a:gd name="connsiteY1095" fmla="*/ 3092568 h 4884256"/>
                <a:gd name="connsiteX1096" fmla="*/ 757652 w 4560224"/>
                <a:gd name="connsiteY1096" fmla="*/ 3063978 h 4884256"/>
                <a:gd name="connsiteX1097" fmla="*/ 752888 w 4560224"/>
                <a:gd name="connsiteY1097" fmla="*/ 3035386 h 4884256"/>
                <a:gd name="connsiteX1098" fmla="*/ 748124 w 4560224"/>
                <a:gd name="connsiteY1098" fmla="*/ 3021092 h 4884256"/>
                <a:gd name="connsiteX1099" fmla="*/ 743356 w 4560224"/>
                <a:gd name="connsiteY1099" fmla="*/ 2982970 h 4884256"/>
                <a:gd name="connsiteX1100" fmla="*/ 738592 w 4560224"/>
                <a:gd name="connsiteY1100" fmla="*/ 2973440 h 4884256"/>
                <a:gd name="connsiteX1101" fmla="*/ 738592 w 4560224"/>
                <a:gd name="connsiteY1101" fmla="*/ 2968674 h 4884256"/>
                <a:gd name="connsiteX1102" fmla="*/ 743356 w 4560224"/>
                <a:gd name="connsiteY1102" fmla="*/ 2949614 h 4884256"/>
                <a:gd name="connsiteX1103" fmla="*/ 752888 w 4560224"/>
                <a:gd name="connsiteY1103" fmla="*/ 2925788 h 4884256"/>
                <a:gd name="connsiteX1104" fmla="*/ 757652 w 4560224"/>
                <a:gd name="connsiteY1104" fmla="*/ 2911494 h 4884256"/>
                <a:gd name="connsiteX1105" fmla="*/ 752888 w 4560224"/>
                <a:gd name="connsiteY1105" fmla="*/ 2887668 h 4884256"/>
                <a:gd name="connsiteX1106" fmla="*/ 743356 w 4560224"/>
                <a:gd name="connsiteY1106" fmla="*/ 2911494 h 4884256"/>
                <a:gd name="connsiteX1107" fmla="*/ 733828 w 4560224"/>
                <a:gd name="connsiteY1107" fmla="*/ 2921024 h 4884256"/>
                <a:gd name="connsiteX1108" fmla="*/ 724296 w 4560224"/>
                <a:gd name="connsiteY1108" fmla="*/ 2901964 h 4884256"/>
                <a:gd name="connsiteX1109" fmla="*/ 724296 w 4560224"/>
                <a:gd name="connsiteY1109" fmla="*/ 2878138 h 4884256"/>
                <a:gd name="connsiteX1110" fmla="*/ 724296 w 4560224"/>
                <a:gd name="connsiteY1110" fmla="*/ 2873372 h 4884256"/>
                <a:gd name="connsiteX1111" fmla="*/ 729064 w 4560224"/>
                <a:gd name="connsiteY1111" fmla="*/ 2863842 h 4884256"/>
                <a:gd name="connsiteX1112" fmla="*/ 752888 w 4560224"/>
                <a:gd name="connsiteY1112" fmla="*/ 2868608 h 4884256"/>
                <a:gd name="connsiteX1113" fmla="*/ 724296 w 4560224"/>
                <a:gd name="connsiteY1113" fmla="*/ 2854312 h 4884256"/>
                <a:gd name="connsiteX1114" fmla="*/ 719532 w 4560224"/>
                <a:gd name="connsiteY1114" fmla="*/ 2844782 h 4884256"/>
                <a:gd name="connsiteX1115" fmla="*/ 719532 w 4560224"/>
                <a:gd name="connsiteY1115" fmla="*/ 2840016 h 4884256"/>
                <a:gd name="connsiteX1116" fmla="*/ 724296 w 4560224"/>
                <a:gd name="connsiteY1116" fmla="*/ 2830486 h 4884256"/>
                <a:gd name="connsiteX1117" fmla="*/ 714768 w 4560224"/>
                <a:gd name="connsiteY1117" fmla="*/ 2820956 h 4884256"/>
                <a:gd name="connsiteX1118" fmla="*/ 710000 w 4560224"/>
                <a:gd name="connsiteY1118" fmla="*/ 2787600 h 4884256"/>
                <a:gd name="connsiteX1119" fmla="*/ 705236 w 4560224"/>
                <a:gd name="connsiteY1119" fmla="*/ 2782834 h 4884256"/>
                <a:gd name="connsiteX1120" fmla="*/ 705236 w 4560224"/>
                <a:gd name="connsiteY1120" fmla="*/ 2778070 h 4884256"/>
                <a:gd name="connsiteX1121" fmla="*/ 710000 w 4560224"/>
                <a:gd name="connsiteY1121" fmla="*/ 2735184 h 4884256"/>
                <a:gd name="connsiteX1122" fmla="*/ 738592 w 4560224"/>
                <a:gd name="connsiteY1122" fmla="*/ 2654176 h 4884256"/>
                <a:gd name="connsiteX1123" fmla="*/ 738592 w 4560224"/>
                <a:gd name="connsiteY1123" fmla="*/ 2635116 h 4884256"/>
                <a:gd name="connsiteX1124" fmla="*/ 738592 w 4560224"/>
                <a:gd name="connsiteY1124" fmla="*/ 2611290 h 4884256"/>
                <a:gd name="connsiteX1125" fmla="*/ 733828 w 4560224"/>
                <a:gd name="connsiteY1125" fmla="*/ 2592230 h 4884256"/>
                <a:gd name="connsiteX1126" fmla="*/ 729064 w 4560224"/>
                <a:gd name="connsiteY1126" fmla="*/ 2568404 h 4884256"/>
                <a:gd name="connsiteX1127" fmla="*/ 729064 w 4560224"/>
                <a:gd name="connsiteY1127" fmla="*/ 2563640 h 4884256"/>
                <a:gd name="connsiteX1128" fmla="*/ 719532 w 4560224"/>
                <a:gd name="connsiteY1128" fmla="*/ 2558874 h 4884256"/>
                <a:gd name="connsiteX1129" fmla="*/ 710000 w 4560224"/>
                <a:gd name="connsiteY1129" fmla="*/ 2554108 h 4884256"/>
                <a:gd name="connsiteX1130" fmla="*/ 700472 w 4560224"/>
                <a:gd name="connsiteY1130" fmla="*/ 2520752 h 4884256"/>
                <a:gd name="connsiteX1131" fmla="*/ 710000 w 4560224"/>
                <a:gd name="connsiteY1131" fmla="*/ 2511222 h 4884256"/>
                <a:gd name="connsiteX1132" fmla="*/ 714768 w 4560224"/>
                <a:gd name="connsiteY1132" fmla="*/ 2501692 h 4884256"/>
                <a:gd name="connsiteX1133" fmla="*/ 705236 w 4560224"/>
                <a:gd name="connsiteY1133" fmla="*/ 2506458 h 4884256"/>
                <a:gd name="connsiteX1134" fmla="*/ 695708 w 4560224"/>
                <a:gd name="connsiteY1134" fmla="*/ 2506458 h 4884256"/>
                <a:gd name="connsiteX1135" fmla="*/ 714768 w 4560224"/>
                <a:gd name="connsiteY1135" fmla="*/ 2492162 h 4884256"/>
                <a:gd name="connsiteX1136" fmla="*/ 729064 w 4560224"/>
                <a:gd name="connsiteY1136" fmla="*/ 2477866 h 4884256"/>
                <a:gd name="connsiteX1137" fmla="*/ 762420 w 4560224"/>
                <a:gd name="connsiteY1137" fmla="*/ 2463572 h 4884256"/>
                <a:gd name="connsiteX1138" fmla="*/ 776712 w 4560224"/>
                <a:gd name="connsiteY1138" fmla="*/ 2458806 h 4884256"/>
                <a:gd name="connsiteX1139" fmla="*/ 752888 w 4560224"/>
                <a:gd name="connsiteY1139" fmla="*/ 2463572 h 4884256"/>
                <a:gd name="connsiteX1140" fmla="*/ 733828 w 4560224"/>
                <a:gd name="connsiteY1140" fmla="*/ 2468336 h 4884256"/>
                <a:gd name="connsiteX1141" fmla="*/ 686176 w 4560224"/>
                <a:gd name="connsiteY1141" fmla="*/ 2463572 h 4884256"/>
                <a:gd name="connsiteX1142" fmla="*/ 695708 w 4560224"/>
                <a:gd name="connsiteY1142" fmla="*/ 2434980 h 4884256"/>
                <a:gd name="connsiteX1143" fmla="*/ 700472 w 4560224"/>
                <a:gd name="connsiteY1143" fmla="*/ 2425450 h 4884256"/>
                <a:gd name="connsiteX1144" fmla="*/ 710000 w 4560224"/>
                <a:gd name="connsiteY1144" fmla="*/ 2420686 h 4884256"/>
                <a:gd name="connsiteX1145" fmla="*/ 695708 w 4560224"/>
                <a:gd name="connsiteY1145" fmla="*/ 2420686 h 4884256"/>
                <a:gd name="connsiteX1146" fmla="*/ 681412 w 4560224"/>
                <a:gd name="connsiteY1146" fmla="*/ 2420686 h 4884256"/>
                <a:gd name="connsiteX1147" fmla="*/ 686176 w 4560224"/>
                <a:gd name="connsiteY1147" fmla="*/ 2387330 h 4884256"/>
                <a:gd name="connsiteX1148" fmla="*/ 700472 w 4560224"/>
                <a:gd name="connsiteY1148" fmla="*/ 2382564 h 4884256"/>
                <a:gd name="connsiteX1149" fmla="*/ 710000 w 4560224"/>
                <a:gd name="connsiteY1149" fmla="*/ 2377800 h 4884256"/>
                <a:gd name="connsiteX1150" fmla="*/ 729064 w 4560224"/>
                <a:gd name="connsiteY1150" fmla="*/ 2377800 h 4884256"/>
                <a:gd name="connsiteX1151" fmla="*/ 710000 w 4560224"/>
                <a:gd name="connsiteY1151" fmla="*/ 2368268 h 4884256"/>
                <a:gd name="connsiteX1152" fmla="*/ 695708 w 4560224"/>
                <a:gd name="connsiteY1152" fmla="*/ 2368268 h 4884256"/>
                <a:gd name="connsiteX1153" fmla="*/ 671880 w 4560224"/>
                <a:gd name="connsiteY1153" fmla="*/ 2373034 h 4884256"/>
                <a:gd name="connsiteX1154" fmla="*/ 652820 w 4560224"/>
                <a:gd name="connsiteY1154" fmla="*/ 2368268 h 4884256"/>
                <a:gd name="connsiteX1155" fmla="*/ 628996 w 4560224"/>
                <a:gd name="connsiteY1155" fmla="*/ 2368268 h 4884256"/>
                <a:gd name="connsiteX1156" fmla="*/ 638524 w 4560224"/>
                <a:gd name="connsiteY1156" fmla="*/ 2373034 h 4884256"/>
                <a:gd name="connsiteX1157" fmla="*/ 648056 w 4560224"/>
                <a:gd name="connsiteY1157" fmla="*/ 2382564 h 4884256"/>
                <a:gd name="connsiteX1158" fmla="*/ 643292 w 4560224"/>
                <a:gd name="connsiteY1158" fmla="*/ 2401624 h 4884256"/>
                <a:gd name="connsiteX1159" fmla="*/ 638524 w 4560224"/>
                <a:gd name="connsiteY1159" fmla="*/ 2411156 h 4884256"/>
                <a:gd name="connsiteX1160" fmla="*/ 624228 w 4560224"/>
                <a:gd name="connsiteY1160" fmla="*/ 2415920 h 4884256"/>
                <a:gd name="connsiteX1161" fmla="*/ 614700 w 4560224"/>
                <a:gd name="connsiteY1161" fmla="*/ 2430216 h 4884256"/>
                <a:gd name="connsiteX1162" fmla="*/ 614700 w 4560224"/>
                <a:gd name="connsiteY1162" fmla="*/ 2439746 h 4884256"/>
                <a:gd name="connsiteX1163" fmla="*/ 605168 w 4560224"/>
                <a:gd name="connsiteY1163" fmla="*/ 2444510 h 4884256"/>
                <a:gd name="connsiteX1164" fmla="*/ 619464 w 4560224"/>
                <a:gd name="connsiteY1164" fmla="*/ 2449276 h 4884256"/>
                <a:gd name="connsiteX1165" fmla="*/ 628996 w 4560224"/>
                <a:gd name="connsiteY1165" fmla="*/ 2454040 h 4884256"/>
                <a:gd name="connsiteX1166" fmla="*/ 633760 w 4560224"/>
                <a:gd name="connsiteY1166" fmla="*/ 2458806 h 4884256"/>
                <a:gd name="connsiteX1167" fmla="*/ 643292 w 4560224"/>
                <a:gd name="connsiteY1167" fmla="*/ 2473102 h 4884256"/>
                <a:gd name="connsiteX1168" fmla="*/ 638524 w 4560224"/>
                <a:gd name="connsiteY1168" fmla="*/ 2492162 h 4884256"/>
                <a:gd name="connsiteX1169" fmla="*/ 614700 w 4560224"/>
                <a:gd name="connsiteY1169" fmla="*/ 2544578 h 4884256"/>
                <a:gd name="connsiteX1170" fmla="*/ 605168 w 4560224"/>
                <a:gd name="connsiteY1170" fmla="*/ 2558874 h 4884256"/>
                <a:gd name="connsiteX1171" fmla="*/ 533692 w 4560224"/>
                <a:gd name="connsiteY1171" fmla="*/ 2587464 h 4884256"/>
                <a:gd name="connsiteX1172" fmla="*/ 505100 w 4560224"/>
                <a:gd name="connsiteY1172" fmla="*/ 2606526 h 4884256"/>
                <a:gd name="connsiteX1173" fmla="*/ 447920 w 4560224"/>
                <a:gd name="connsiteY1173" fmla="*/ 2625586 h 4884256"/>
                <a:gd name="connsiteX1174" fmla="*/ 424096 w 4560224"/>
                <a:gd name="connsiteY1174" fmla="*/ 2630350 h 4884256"/>
                <a:gd name="connsiteX1175" fmla="*/ 400268 w 4560224"/>
                <a:gd name="connsiteY1175" fmla="*/ 2625586 h 4884256"/>
                <a:gd name="connsiteX1176" fmla="*/ 362148 w 4560224"/>
                <a:gd name="connsiteY1176" fmla="*/ 2611290 h 4884256"/>
                <a:gd name="connsiteX1177" fmla="*/ 309732 w 4560224"/>
                <a:gd name="connsiteY1177" fmla="*/ 2568404 h 4884256"/>
                <a:gd name="connsiteX1178" fmla="*/ 295436 w 4560224"/>
                <a:gd name="connsiteY1178" fmla="*/ 2554108 h 4884256"/>
                <a:gd name="connsiteX1179" fmla="*/ 247784 w 4560224"/>
                <a:gd name="connsiteY1179" fmla="*/ 2496928 h 4884256"/>
                <a:gd name="connsiteX1180" fmla="*/ 214428 w 4560224"/>
                <a:gd name="connsiteY1180" fmla="*/ 2468336 h 4884256"/>
                <a:gd name="connsiteX1181" fmla="*/ 190604 w 4560224"/>
                <a:gd name="connsiteY1181" fmla="*/ 2439746 h 4884256"/>
                <a:gd name="connsiteX1182" fmla="*/ 162012 w 4560224"/>
                <a:gd name="connsiteY1182" fmla="*/ 2415920 h 4884256"/>
                <a:gd name="connsiteX1183" fmla="*/ 133420 w 4560224"/>
                <a:gd name="connsiteY1183" fmla="*/ 2382564 h 4884256"/>
                <a:gd name="connsiteX1184" fmla="*/ 128656 w 4560224"/>
                <a:gd name="connsiteY1184" fmla="*/ 2363504 h 4884256"/>
                <a:gd name="connsiteX1185" fmla="*/ 128656 w 4560224"/>
                <a:gd name="connsiteY1185" fmla="*/ 2349208 h 4884256"/>
                <a:gd name="connsiteX1186" fmla="*/ 138188 w 4560224"/>
                <a:gd name="connsiteY1186" fmla="*/ 2339678 h 4884256"/>
                <a:gd name="connsiteX1187" fmla="*/ 152484 w 4560224"/>
                <a:gd name="connsiteY1187" fmla="*/ 2344444 h 4884256"/>
                <a:gd name="connsiteX1188" fmla="*/ 162012 w 4560224"/>
                <a:gd name="connsiteY1188" fmla="*/ 2358738 h 4884256"/>
                <a:gd name="connsiteX1189" fmla="*/ 171544 w 4560224"/>
                <a:gd name="connsiteY1189" fmla="*/ 2363504 h 4884256"/>
                <a:gd name="connsiteX1190" fmla="*/ 176308 w 4560224"/>
                <a:gd name="connsiteY1190" fmla="*/ 2368268 h 4884256"/>
                <a:gd name="connsiteX1191" fmla="*/ 219192 w 4560224"/>
                <a:gd name="connsiteY1191" fmla="*/ 2344444 h 4884256"/>
                <a:gd name="connsiteX1192" fmla="*/ 233488 w 4560224"/>
                <a:gd name="connsiteY1192" fmla="*/ 2344444 h 4884256"/>
                <a:gd name="connsiteX1193" fmla="*/ 247784 w 4560224"/>
                <a:gd name="connsiteY1193" fmla="*/ 2334912 h 4884256"/>
                <a:gd name="connsiteX1194" fmla="*/ 262080 w 4560224"/>
                <a:gd name="connsiteY1194" fmla="*/ 2339678 h 4884256"/>
                <a:gd name="connsiteX1195" fmla="*/ 290672 w 4560224"/>
                <a:gd name="connsiteY1195" fmla="*/ 2320618 h 4884256"/>
                <a:gd name="connsiteX1196" fmla="*/ 300200 w 4560224"/>
                <a:gd name="connsiteY1196" fmla="*/ 2320618 h 4884256"/>
                <a:gd name="connsiteX1197" fmla="*/ 314496 w 4560224"/>
                <a:gd name="connsiteY1197" fmla="*/ 2315852 h 4884256"/>
                <a:gd name="connsiteX1198" fmla="*/ 338324 w 4560224"/>
                <a:gd name="connsiteY1198" fmla="*/ 2277732 h 4884256"/>
                <a:gd name="connsiteX1199" fmla="*/ 357384 w 4560224"/>
                <a:gd name="connsiteY1199" fmla="*/ 2249140 h 4884256"/>
                <a:gd name="connsiteX1200" fmla="*/ 366912 w 4560224"/>
                <a:gd name="connsiteY1200" fmla="*/ 2244376 h 4884256"/>
                <a:gd name="connsiteX1201" fmla="*/ 366912 w 4560224"/>
                <a:gd name="connsiteY1201" fmla="*/ 2239610 h 4884256"/>
                <a:gd name="connsiteX1202" fmla="*/ 366912 w 4560224"/>
                <a:gd name="connsiteY1202" fmla="*/ 2230080 h 4884256"/>
                <a:gd name="connsiteX1203" fmla="*/ 357384 w 4560224"/>
                <a:gd name="connsiteY1203" fmla="*/ 2230080 h 4884256"/>
                <a:gd name="connsiteX1204" fmla="*/ 352616 w 4560224"/>
                <a:gd name="connsiteY1204" fmla="*/ 2239610 h 4884256"/>
                <a:gd name="connsiteX1205" fmla="*/ 347852 w 4560224"/>
                <a:gd name="connsiteY1205" fmla="*/ 2249140 h 4884256"/>
                <a:gd name="connsiteX1206" fmla="*/ 343088 w 4560224"/>
                <a:gd name="connsiteY1206" fmla="*/ 2253906 h 4884256"/>
                <a:gd name="connsiteX1207" fmla="*/ 328792 w 4560224"/>
                <a:gd name="connsiteY1207" fmla="*/ 2249140 h 4884256"/>
                <a:gd name="connsiteX1208" fmla="*/ 319260 w 4560224"/>
                <a:gd name="connsiteY1208" fmla="*/ 2249140 h 4884256"/>
                <a:gd name="connsiteX1209" fmla="*/ 304968 w 4560224"/>
                <a:gd name="connsiteY1209" fmla="*/ 2253906 h 4884256"/>
                <a:gd name="connsiteX1210" fmla="*/ 266844 w 4560224"/>
                <a:gd name="connsiteY1210" fmla="*/ 2268202 h 4884256"/>
                <a:gd name="connsiteX1211" fmla="*/ 247784 w 4560224"/>
                <a:gd name="connsiteY1211" fmla="*/ 2282496 h 4884256"/>
                <a:gd name="connsiteX1212" fmla="*/ 238256 w 4560224"/>
                <a:gd name="connsiteY1212" fmla="*/ 2287262 h 4884256"/>
                <a:gd name="connsiteX1213" fmla="*/ 171544 w 4560224"/>
                <a:gd name="connsiteY1213" fmla="*/ 2272966 h 4884256"/>
                <a:gd name="connsiteX1214" fmla="*/ 104832 w 4560224"/>
                <a:gd name="connsiteY1214" fmla="*/ 2234846 h 4884256"/>
                <a:gd name="connsiteX1215" fmla="*/ 76240 w 4560224"/>
                <a:gd name="connsiteY1215" fmla="*/ 2211020 h 4884256"/>
                <a:gd name="connsiteX1216" fmla="*/ 57180 w 4560224"/>
                <a:gd name="connsiteY1216" fmla="*/ 2182428 h 4884256"/>
                <a:gd name="connsiteX1217" fmla="*/ 42884 w 4560224"/>
                <a:gd name="connsiteY1217" fmla="*/ 2149072 h 4884256"/>
                <a:gd name="connsiteX1218" fmla="*/ 47648 w 4560224"/>
                <a:gd name="connsiteY1218" fmla="*/ 2139542 h 4884256"/>
                <a:gd name="connsiteX1219" fmla="*/ 76240 w 4560224"/>
                <a:gd name="connsiteY1219" fmla="*/ 2115716 h 4884256"/>
                <a:gd name="connsiteX1220" fmla="*/ 95300 w 4560224"/>
                <a:gd name="connsiteY1220" fmla="*/ 2101422 h 4884256"/>
                <a:gd name="connsiteX1221" fmla="*/ 76240 w 4560224"/>
                <a:gd name="connsiteY1221" fmla="*/ 2106186 h 4884256"/>
                <a:gd name="connsiteX1222" fmla="*/ 52416 w 4560224"/>
                <a:gd name="connsiteY1222" fmla="*/ 2115716 h 4884256"/>
                <a:gd name="connsiteX1223" fmla="*/ 42884 w 4560224"/>
                <a:gd name="connsiteY1223" fmla="*/ 2125248 h 4884256"/>
                <a:gd name="connsiteX1224" fmla="*/ 28588 w 4560224"/>
                <a:gd name="connsiteY1224" fmla="*/ 2139542 h 4884256"/>
                <a:gd name="connsiteX1225" fmla="*/ 14292 w 4560224"/>
                <a:gd name="connsiteY1225" fmla="*/ 2144308 h 4884256"/>
                <a:gd name="connsiteX1226" fmla="*/ 4764 w 4560224"/>
                <a:gd name="connsiteY1226" fmla="*/ 2120482 h 4884256"/>
                <a:gd name="connsiteX1227" fmla="*/ 0 w 4560224"/>
                <a:gd name="connsiteY1227" fmla="*/ 2101422 h 4884256"/>
                <a:gd name="connsiteX1228" fmla="*/ 14292 w 4560224"/>
                <a:gd name="connsiteY1228" fmla="*/ 2091892 h 4884256"/>
                <a:gd name="connsiteX1229" fmla="*/ 19060 w 4560224"/>
                <a:gd name="connsiteY1229" fmla="*/ 2087126 h 4884256"/>
                <a:gd name="connsiteX1230" fmla="*/ 33352 w 4560224"/>
                <a:gd name="connsiteY1230" fmla="*/ 2082362 h 4884256"/>
                <a:gd name="connsiteX1231" fmla="*/ 52416 w 4560224"/>
                <a:gd name="connsiteY1231" fmla="*/ 2082362 h 4884256"/>
                <a:gd name="connsiteX1232" fmla="*/ 66708 w 4560224"/>
                <a:gd name="connsiteY1232" fmla="*/ 2082362 h 4884256"/>
                <a:gd name="connsiteX1233" fmla="*/ 90536 w 4560224"/>
                <a:gd name="connsiteY1233" fmla="*/ 2082362 h 4884256"/>
                <a:gd name="connsiteX1234" fmla="*/ 90536 w 4560224"/>
                <a:gd name="connsiteY1234" fmla="*/ 2029944 h 4884256"/>
                <a:gd name="connsiteX1235" fmla="*/ 90536 w 4560224"/>
                <a:gd name="connsiteY1235" fmla="*/ 2025180 h 4884256"/>
                <a:gd name="connsiteX1236" fmla="*/ 95300 w 4560224"/>
                <a:gd name="connsiteY1236" fmla="*/ 2025180 h 4884256"/>
                <a:gd name="connsiteX1237" fmla="*/ 100064 w 4560224"/>
                <a:gd name="connsiteY1237" fmla="*/ 2020414 h 4884256"/>
                <a:gd name="connsiteX1238" fmla="*/ 104832 w 4560224"/>
                <a:gd name="connsiteY1238" fmla="*/ 2029944 h 4884256"/>
                <a:gd name="connsiteX1239" fmla="*/ 109596 w 4560224"/>
                <a:gd name="connsiteY1239" fmla="*/ 2029944 h 4884256"/>
                <a:gd name="connsiteX1240" fmla="*/ 114360 w 4560224"/>
                <a:gd name="connsiteY1240" fmla="*/ 2025180 h 4884256"/>
                <a:gd name="connsiteX1241" fmla="*/ 128656 w 4560224"/>
                <a:gd name="connsiteY1241" fmla="*/ 2029944 h 4884256"/>
                <a:gd name="connsiteX1242" fmla="*/ 138188 w 4560224"/>
                <a:gd name="connsiteY1242" fmla="*/ 2025180 h 4884256"/>
                <a:gd name="connsiteX1243" fmla="*/ 152484 w 4560224"/>
                <a:gd name="connsiteY1243" fmla="*/ 2029944 h 4884256"/>
                <a:gd name="connsiteX1244" fmla="*/ 171544 w 4560224"/>
                <a:gd name="connsiteY1244" fmla="*/ 2029944 h 4884256"/>
                <a:gd name="connsiteX1245" fmla="*/ 200132 w 4560224"/>
                <a:gd name="connsiteY1245" fmla="*/ 2029944 h 4884256"/>
                <a:gd name="connsiteX1246" fmla="*/ 219192 w 4560224"/>
                <a:gd name="connsiteY1246" fmla="*/ 2029944 h 4884256"/>
                <a:gd name="connsiteX1247" fmla="*/ 233488 w 4560224"/>
                <a:gd name="connsiteY1247" fmla="*/ 2034710 h 4884256"/>
                <a:gd name="connsiteX1248" fmla="*/ 243020 w 4560224"/>
                <a:gd name="connsiteY1248" fmla="*/ 2044240 h 4884256"/>
                <a:gd name="connsiteX1249" fmla="*/ 257316 w 4560224"/>
                <a:gd name="connsiteY1249" fmla="*/ 2049006 h 4884256"/>
                <a:gd name="connsiteX1250" fmla="*/ 276376 w 4560224"/>
                <a:gd name="connsiteY1250" fmla="*/ 2044240 h 4884256"/>
                <a:gd name="connsiteX1251" fmla="*/ 290672 w 4560224"/>
                <a:gd name="connsiteY1251" fmla="*/ 2044240 h 4884256"/>
                <a:gd name="connsiteX1252" fmla="*/ 300200 w 4560224"/>
                <a:gd name="connsiteY1252" fmla="*/ 2034710 h 4884256"/>
                <a:gd name="connsiteX1253" fmla="*/ 304968 w 4560224"/>
                <a:gd name="connsiteY1253" fmla="*/ 2025180 h 4884256"/>
                <a:gd name="connsiteX1254" fmla="*/ 333556 w 4560224"/>
                <a:gd name="connsiteY1254" fmla="*/ 2015650 h 4884256"/>
                <a:gd name="connsiteX1255" fmla="*/ 366912 w 4560224"/>
                <a:gd name="connsiteY1255" fmla="*/ 2006120 h 4884256"/>
                <a:gd name="connsiteX1256" fmla="*/ 371676 w 4560224"/>
                <a:gd name="connsiteY1256" fmla="*/ 2001354 h 4884256"/>
                <a:gd name="connsiteX1257" fmla="*/ 376444 w 4560224"/>
                <a:gd name="connsiteY1257" fmla="*/ 2010884 h 4884256"/>
                <a:gd name="connsiteX1258" fmla="*/ 376444 w 4560224"/>
                <a:gd name="connsiteY1258" fmla="*/ 2020414 h 4884256"/>
                <a:gd name="connsiteX1259" fmla="*/ 381208 w 4560224"/>
                <a:gd name="connsiteY1259" fmla="*/ 2029944 h 4884256"/>
                <a:gd name="connsiteX1260" fmla="*/ 390740 w 4560224"/>
                <a:gd name="connsiteY1260" fmla="*/ 2034710 h 4884256"/>
                <a:gd name="connsiteX1261" fmla="*/ 400268 w 4560224"/>
                <a:gd name="connsiteY1261" fmla="*/ 2034710 h 4884256"/>
                <a:gd name="connsiteX1262" fmla="*/ 409800 w 4560224"/>
                <a:gd name="connsiteY1262" fmla="*/ 2034710 h 4884256"/>
                <a:gd name="connsiteX1263" fmla="*/ 414564 w 4560224"/>
                <a:gd name="connsiteY1263" fmla="*/ 2029944 h 4884256"/>
                <a:gd name="connsiteX1264" fmla="*/ 428860 w 4560224"/>
                <a:gd name="connsiteY1264" fmla="*/ 2015650 h 4884256"/>
                <a:gd name="connsiteX1265" fmla="*/ 433624 w 4560224"/>
                <a:gd name="connsiteY1265" fmla="*/ 2010884 h 4884256"/>
                <a:gd name="connsiteX1266" fmla="*/ 443156 w 4560224"/>
                <a:gd name="connsiteY1266" fmla="*/ 2015650 h 4884256"/>
                <a:gd name="connsiteX1267" fmla="*/ 452684 w 4560224"/>
                <a:gd name="connsiteY1267" fmla="*/ 2006120 h 4884256"/>
                <a:gd name="connsiteX1268" fmla="*/ 452684 w 4560224"/>
                <a:gd name="connsiteY1268" fmla="*/ 2001354 h 4884256"/>
                <a:gd name="connsiteX1269" fmla="*/ 447920 w 4560224"/>
                <a:gd name="connsiteY1269" fmla="*/ 1996588 h 4884256"/>
                <a:gd name="connsiteX1270" fmla="*/ 438388 w 4560224"/>
                <a:gd name="connsiteY1270" fmla="*/ 1991824 h 4884256"/>
                <a:gd name="connsiteX1271" fmla="*/ 443156 w 4560224"/>
                <a:gd name="connsiteY1271" fmla="*/ 1987058 h 4884256"/>
                <a:gd name="connsiteX1272" fmla="*/ 438388 w 4560224"/>
                <a:gd name="connsiteY1272" fmla="*/ 1977528 h 4884256"/>
                <a:gd name="connsiteX1273" fmla="*/ 443156 w 4560224"/>
                <a:gd name="connsiteY1273" fmla="*/ 1967998 h 4884256"/>
                <a:gd name="connsiteX1274" fmla="*/ 443156 w 4560224"/>
                <a:gd name="connsiteY1274" fmla="*/ 1963234 h 4884256"/>
                <a:gd name="connsiteX1275" fmla="*/ 452684 w 4560224"/>
                <a:gd name="connsiteY1275" fmla="*/ 1958468 h 4884256"/>
                <a:gd name="connsiteX1276" fmla="*/ 447920 w 4560224"/>
                <a:gd name="connsiteY1276" fmla="*/ 1944172 h 4884256"/>
                <a:gd name="connsiteX1277" fmla="*/ 438388 w 4560224"/>
                <a:gd name="connsiteY1277" fmla="*/ 1920348 h 4884256"/>
                <a:gd name="connsiteX1278" fmla="*/ 424096 w 4560224"/>
                <a:gd name="connsiteY1278" fmla="*/ 1891756 h 4884256"/>
                <a:gd name="connsiteX1279" fmla="*/ 414564 w 4560224"/>
                <a:gd name="connsiteY1279" fmla="*/ 1867930 h 4884256"/>
                <a:gd name="connsiteX1280" fmla="*/ 400268 w 4560224"/>
                <a:gd name="connsiteY1280" fmla="*/ 1844104 h 4884256"/>
                <a:gd name="connsiteX1281" fmla="*/ 390740 w 4560224"/>
                <a:gd name="connsiteY1281" fmla="*/ 1829810 h 4884256"/>
                <a:gd name="connsiteX1282" fmla="*/ 390740 w 4560224"/>
                <a:gd name="connsiteY1282" fmla="*/ 1796454 h 4884256"/>
                <a:gd name="connsiteX1283" fmla="*/ 390740 w 4560224"/>
                <a:gd name="connsiteY1283" fmla="*/ 1786924 h 4884256"/>
                <a:gd name="connsiteX1284" fmla="*/ 385972 w 4560224"/>
                <a:gd name="connsiteY1284" fmla="*/ 1782158 h 4884256"/>
                <a:gd name="connsiteX1285" fmla="*/ 376444 w 4560224"/>
                <a:gd name="connsiteY1285" fmla="*/ 1782158 h 4884256"/>
                <a:gd name="connsiteX1286" fmla="*/ 366912 w 4560224"/>
                <a:gd name="connsiteY1286" fmla="*/ 1786924 h 4884256"/>
                <a:gd name="connsiteX1287" fmla="*/ 357384 w 4560224"/>
                <a:gd name="connsiteY1287" fmla="*/ 1786924 h 4884256"/>
                <a:gd name="connsiteX1288" fmla="*/ 338324 w 4560224"/>
                <a:gd name="connsiteY1288" fmla="*/ 1786924 h 4884256"/>
                <a:gd name="connsiteX1289" fmla="*/ 328792 w 4560224"/>
                <a:gd name="connsiteY1289" fmla="*/ 1782158 h 4884256"/>
                <a:gd name="connsiteX1290" fmla="*/ 304968 w 4560224"/>
                <a:gd name="connsiteY1290" fmla="*/ 1744038 h 4884256"/>
                <a:gd name="connsiteX1291" fmla="*/ 300200 w 4560224"/>
                <a:gd name="connsiteY1291" fmla="*/ 1734508 h 4884256"/>
                <a:gd name="connsiteX1292" fmla="*/ 300200 w 4560224"/>
                <a:gd name="connsiteY1292" fmla="*/ 1720212 h 4884256"/>
                <a:gd name="connsiteX1293" fmla="*/ 309732 w 4560224"/>
                <a:gd name="connsiteY1293" fmla="*/ 1691620 h 4884256"/>
                <a:gd name="connsiteX1294" fmla="*/ 309732 w 4560224"/>
                <a:gd name="connsiteY1294" fmla="*/ 1672560 h 4884256"/>
                <a:gd name="connsiteX1295" fmla="*/ 314496 w 4560224"/>
                <a:gd name="connsiteY1295" fmla="*/ 1648734 h 4884256"/>
                <a:gd name="connsiteX1296" fmla="*/ 309732 w 4560224"/>
                <a:gd name="connsiteY1296" fmla="*/ 1643970 h 4884256"/>
                <a:gd name="connsiteX1297" fmla="*/ 304968 w 4560224"/>
                <a:gd name="connsiteY1297" fmla="*/ 1634440 h 4884256"/>
                <a:gd name="connsiteX1298" fmla="*/ 295436 w 4560224"/>
                <a:gd name="connsiteY1298" fmla="*/ 1629674 h 4884256"/>
                <a:gd name="connsiteX1299" fmla="*/ 276376 w 4560224"/>
                <a:gd name="connsiteY1299" fmla="*/ 1629674 h 4884256"/>
                <a:gd name="connsiteX1300" fmla="*/ 247784 w 4560224"/>
                <a:gd name="connsiteY1300" fmla="*/ 1620144 h 4884256"/>
                <a:gd name="connsiteX1301" fmla="*/ 223960 w 4560224"/>
                <a:gd name="connsiteY1301" fmla="*/ 1610614 h 4884256"/>
                <a:gd name="connsiteX1302" fmla="*/ 209664 w 4560224"/>
                <a:gd name="connsiteY1302" fmla="*/ 1601084 h 4884256"/>
                <a:gd name="connsiteX1303" fmla="*/ 209664 w 4560224"/>
                <a:gd name="connsiteY1303" fmla="*/ 1596318 h 4884256"/>
                <a:gd name="connsiteX1304" fmla="*/ 204900 w 4560224"/>
                <a:gd name="connsiteY1304" fmla="*/ 1591554 h 4884256"/>
                <a:gd name="connsiteX1305" fmla="*/ 209664 w 4560224"/>
                <a:gd name="connsiteY1305" fmla="*/ 1562962 h 4884256"/>
                <a:gd name="connsiteX1306" fmla="*/ 214428 w 4560224"/>
                <a:gd name="connsiteY1306" fmla="*/ 1534372 h 4884256"/>
                <a:gd name="connsiteX1307" fmla="*/ 219192 w 4560224"/>
                <a:gd name="connsiteY1307" fmla="*/ 1524842 h 4884256"/>
                <a:gd name="connsiteX1308" fmla="*/ 228724 w 4560224"/>
                <a:gd name="connsiteY1308" fmla="*/ 1515312 h 4884256"/>
                <a:gd name="connsiteX1309" fmla="*/ 233488 w 4560224"/>
                <a:gd name="connsiteY1309" fmla="*/ 1510546 h 4884256"/>
                <a:gd name="connsiteX1310" fmla="*/ 247784 w 4560224"/>
                <a:gd name="connsiteY1310" fmla="*/ 1501016 h 4884256"/>
                <a:gd name="connsiteX1311" fmla="*/ 271612 w 4560224"/>
                <a:gd name="connsiteY1311" fmla="*/ 1472424 h 4884256"/>
                <a:gd name="connsiteX1312" fmla="*/ 295436 w 4560224"/>
                <a:gd name="connsiteY1312" fmla="*/ 1434304 h 4884256"/>
                <a:gd name="connsiteX1313" fmla="*/ 309732 w 4560224"/>
                <a:gd name="connsiteY1313" fmla="*/ 1405714 h 4884256"/>
                <a:gd name="connsiteX1314" fmla="*/ 319260 w 4560224"/>
                <a:gd name="connsiteY1314" fmla="*/ 1400948 h 4884256"/>
                <a:gd name="connsiteX1315" fmla="*/ 328792 w 4560224"/>
                <a:gd name="connsiteY1315" fmla="*/ 1391418 h 4884256"/>
                <a:gd name="connsiteX1316" fmla="*/ 338324 w 4560224"/>
                <a:gd name="connsiteY1316" fmla="*/ 1381888 h 4884256"/>
                <a:gd name="connsiteX1317" fmla="*/ 352616 w 4560224"/>
                <a:gd name="connsiteY1317" fmla="*/ 1377122 h 4884256"/>
                <a:gd name="connsiteX1318" fmla="*/ 366912 w 4560224"/>
                <a:gd name="connsiteY1318" fmla="*/ 1377122 h 4884256"/>
                <a:gd name="connsiteX1319" fmla="*/ 376444 w 4560224"/>
                <a:gd name="connsiteY1319" fmla="*/ 1381888 h 4884256"/>
                <a:gd name="connsiteX1320" fmla="*/ 385972 w 4560224"/>
                <a:gd name="connsiteY1320" fmla="*/ 1391418 h 4884256"/>
                <a:gd name="connsiteX1321" fmla="*/ 390740 w 4560224"/>
                <a:gd name="connsiteY1321" fmla="*/ 1410478 h 4884256"/>
                <a:gd name="connsiteX1322" fmla="*/ 395504 w 4560224"/>
                <a:gd name="connsiteY1322" fmla="*/ 1420008 h 4884256"/>
                <a:gd name="connsiteX1323" fmla="*/ 405032 w 4560224"/>
                <a:gd name="connsiteY1323" fmla="*/ 1429538 h 4884256"/>
                <a:gd name="connsiteX1324" fmla="*/ 414564 w 4560224"/>
                <a:gd name="connsiteY1324" fmla="*/ 1429538 h 4884256"/>
                <a:gd name="connsiteX1325" fmla="*/ 424096 w 4560224"/>
                <a:gd name="connsiteY1325" fmla="*/ 1429538 h 4884256"/>
                <a:gd name="connsiteX1326" fmla="*/ 471744 w 4560224"/>
                <a:gd name="connsiteY1326" fmla="*/ 1410478 h 4884256"/>
                <a:gd name="connsiteX1327" fmla="*/ 490808 w 4560224"/>
                <a:gd name="connsiteY1327" fmla="*/ 1405714 h 4884256"/>
                <a:gd name="connsiteX1328" fmla="*/ 528928 w 4560224"/>
                <a:gd name="connsiteY1328" fmla="*/ 1400948 h 4884256"/>
                <a:gd name="connsiteX1329" fmla="*/ 557516 w 4560224"/>
                <a:gd name="connsiteY1329" fmla="*/ 1396184 h 4884256"/>
                <a:gd name="connsiteX1330" fmla="*/ 581344 w 4560224"/>
                <a:gd name="connsiteY1330" fmla="*/ 1386652 h 4884256"/>
                <a:gd name="connsiteX1331" fmla="*/ 581344 w 4560224"/>
                <a:gd name="connsiteY1331" fmla="*/ 1372358 h 4884256"/>
                <a:gd name="connsiteX1332" fmla="*/ 590872 w 4560224"/>
                <a:gd name="connsiteY1332" fmla="*/ 1348532 h 4884256"/>
                <a:gd name="connsiteX1333" fmla="*/ 619464 w 4560224"/>
                <a:gd name="connsiteY1333" fmla="*/ 1319940 h 4884256"/>
                <a:gd name="connsiteX1334" fmla="*/ 628996 w 4560224"/>
                <a:gd name="connsiteY1334" fmla="*/ 1305646 h 4884256"/>
                <a:gd name="connsiteX1335" fmla="*/ 638524 w 4560224"/>
                <a:gd name="connsiteY1335" fmla="*/ 1277054 h 4884256"/>
                <a:gd name="connsiteX1336" fmla="*/ 648056 w 4560224"/>
                <a:gd name="connsiteY1336" fmla="*/ 1257994 h 4884256"/>
                <a:gd name="connsiteX1337" fmla="*/ 652820 w 4560224"/>
                <a:gd name="connsiteY1337" fmla="*/ 1248464 h 4884256"/>
                <a:gd name="connsiteX1338" fmla="*/ 700472 w 4560224"/>
                <a:gd name="connsiteY1338" fmla="*/ 1219874 h 4884256"/>
                <a:gd name="connsiteX1339" fmla="*/ 743356 w 4560224"/>
                <a:gd name="connsiteY1339" fmla="*/ 1196048 h 4884256"/>
                <a:gd name="connsiteX1340" fmla="*/ 748124 w 4560224"/>
                <a:gd name="connsiteY1340" fmla="*/ 1186518 h 4884256"/>
                <a:gd name="connsiteX1341" fmla="*/ 776712 w 4560224"/>
                <a:gd name="connsiteY1341" fmla="*/ 1138866 h 4884256"/>
                <a:gd name="connsiteX1342" fmla="*/ 795776 w 4560224"/>
                <a:gd name="connsiteY1342" fmla="*/ 1105510 h 4884256"/>
                <a:gd name="connsiteX1343" fmla="*/ 795776 w 4560224"/>
                <a:gd name="connsiteY1343" fmla="*/ 1091216 h 4884256"/>
                <a:gd name="connsiteX1344" fmla="*/ 814836 w 4560224"/>
                <a:gd name="connsiteY1344" fmla="*/ 1034034 h 4884256"/>
                <a:gd name="connsiteX1345" fmla="*/ 829132 w 4560224"/>
                <a:gd name="connsiteY1345" fmla="*/ 1029268 h 4884256"/>
                <a:gd name="connsiteX1346" fmla="*/ 857720 w 4560224"/>
                <a:gd name="connsiteY1346" fmla="*/ 1014972 h 4884256"/>
                <a:gd name="connsiteX1347" fmla="*/ 881548 w 4560224"/>
                <a:gd name="connsiteY1347" fmla="*/ 1005442 h 4884256"/>
                <a:gd name="connsiteX1348" fmla="*/ 895840 w 4560224"/>
                <a:gd name="connsiteY1348" fmla="*/ 995912 h 4884256"/>
                <a:gd name="connsiteX1349" fmla="*/ 900608 w 4560224"/>
                <a:gd name="connsiteY1349" fmla="*/ 981618 h 4884256"/>
                <a:gd name="connsiteX1350" fmla="*/ 900608 w 4560224"/>
                <a:gd name="connsiteY1350" fmla="*/ 972086 h 4884256"/>
                <a:gd name="connsiteX1351" fmla="*/ 895840 w 4560224"/>
                <a:gd name="connsiteY1351" fmla="*/ 957792 h 4884256"/>
                <a:gd name="connsiteX1352" fmla="*/ 895840 w 4560224"/>
                <a:gd name="connsiteY1352" fmla="*/ 953026 h 4884256"/>
                <a:gd name="connsiteX1353" fmla="*/ 895840 w 4560224"/>
                <a:gd name="connsiteY1353" fmla="*/ 943496 h 4884256"/>
                <a:gd name="connsiteX1354" fmla="*/ 914904 w 4560224"/>
                <a:gd name="connsiteY1354" fmla="*/ 929200 h 4884256"/>
                <a:gd name="connsiteX1355" fmla="*/ 948260 w 4560224"/>
                <a:gd name="connsiteY1355" fmla="*/ 881550 h 4884256"/>
                <a:gd name="connsiteX1356" fmla="*/ 967320 w 4560224"/>
                <a:gd name="connsiteY1356" fmla="*/ 862488 h 4884256"/>
                <a:gd name="connsiteX1357" fmla="*/ 972084 w 4560224"/>
                <a:gd name="connsiteY1357" fmla="*/ 862488 h 4884256"/>
                <a:gd name="connsiteX1358" fmla="*/ 991144 w 4560224"/>
                <a:gd name="connsiteY1358" fmla="*/ 848194 h 4884256"/>
                <a:gd name="connsiteX1359" fmla="*/ 1010204 w 4560224"/>
                <a:gd name="connsiteY1359" fmla="*/ 833898 h 4884256"/>
                <a:gd name="connsiteX1360" fmla="*/ 1010204 w 4560224"/>
                <a:gd name="connsiteY1360" fmla="*/ 829132 h 4884256"/>
                <a:gd name="connsiteX1361" fmla="*/ 1010204 w 4560224"/>
                <a:gd name="connsiteY1361" fmla="*/ 819602 h 4884256"/>
                <a:gd name="connsiteX1362" fmla="*/ 995908 w 4560224"/>
                <a:gd name="connsiteY1362" fmla="*/ 819602 h 4884256"/>
                <a:gd name="connsiteX1363" fmla="*/ 995908 w 4560224"/>
                <a:gd name="connsiteY1363" fmla="*/ 805308 h 4884256"/>
                <a:gd name="connsiteX1364" fmla="*/ 995908 w 4560224"/>
                <a:gd name="connsiteY1364" fmla="*/ 795778 h 4884256"/>
                <a:gd name="connsiteX1365" fmla="*/ 1005440 w 4560224"/>
                <a:gd name="connsiteY1365" fmla="*/ 757656 h 4884256"/>
                <a:gd name="connsiteX1366" fmla="*/ 1005440 w 4560224"/>
                <a:gd name="connsiteY1366" fmla="*/ 743360 h 4884256"/>
                <a:gd name="connsiteX1367" fmla="*/ 991144 w 4560224"/>
                <a:gd name="connsiteY1367" fmla="*/ 710004 h 4884256"/>
                <a:gd name="connsiteX1368" fmla="*/ 995908 w 4560224"/>
                <a:gd name="connsiteY1368" fmla="*/ 700474 h 4884256"/>
                <a:gd name="connsiteX1369" fmla="*/ 1000676 w 4560224"/>
                <a:gd name="connsiteY1369" fmla="*/ 690944 h 4884256"/>
                <a:gd name="connsiteX1370" fmla="*/ 1014972 w 4560224"/>
                <a:gd name="connsiteY1370" fmla="*/ 676648 h 4884256"/>
                <a:gd name="connsiteX1371" fmla="*/ 1029264 w 4560224"/>
                <a:gd name="connsiteY1371" fmla="*/ 667118 h 4884256"/>
                <a:gd name="connsiteX1372" fmla="*/ 1081680 w 4560224"/>
                <a:gd name="connsiteY1372" fmla="*/ 643294 h 4884256"/>
                <a:gd name="connsiteX1373" fmla="*/ 1091212 w 4560224"/>
                <a:gd name="connsiteY1373" fmla="*/ 638528 h 4884256"/>
                <a:gd name="connsiteX1374" fmla="*/ 1110272 w 4560224"/>
                <a:gd name="connsiteY1374" fmla="*/ 633762 h 4884256"/>
                <a:gd name="connsiteX1375" fmla="*/ 1119804 w 4560224"/>
                <a:gd name="connsiteY1375" fmla="*/ 619468 h 4884256"/>
                <a:gd name="connsiteX1376" fmla="*/ 1119804 w 4560224"/>
                <a:gd name="connsiteY1376" fmla="*/ 605172 h 4884256"/>
                <a:gd name="connsiteX1377" fmla="*/ 1115036 w 4560224"/>
                <a:gd name="connsiteY1377" fmla="*/ 600406 h 4884256"/>
                <a:gd name="connsiteX1378" fmla="*/ 1105508 w 4560224"/>
                <a:gd name="connsiteY1378" fmla="*/ 590876 h 4884256"/>
                <a:gd name="connsiteX1379" fmla="*/ 1086448 w 4560224"/>
                <a:gd name="connsiteY1379" fmla="*/ 581346 h 4884256"/>
                <a:gd name="connsiteX1380" fmla="*/ 1067388 w 4560224"/>
                <a:gd name="connsiteY1380" fmla="*/ 571816 h 4884256"/>
                <a:gd name="connsiteX1381" fmla="*/ 1034032 w 4560224"/>
                <a:gd name="connsiteY1381" fmla="*/ 571816 h 4884256"/>
                <a:gd name="connsiteX1382" fmla="*/ 1019736 w 4560224"/>
                <a:gd name="connsiteY1382" fmla="*/ 567052 h 4884256"/>
                <a:gd name="connsiteX1383" fmla="*/ 1014972 w 4560224"/>
                <a:gd name="connsiteY1383" fmla="*/ 562286 h 4884256"/>
                <a:gd name="connsiteX1384" fmla="*/ 1014972 w 4560224"/>
                <a:gd name="connsiteY1384" fmla="*/ 547990 h 4884256"/>
                <a:gd name="connsiteX1385" fmla="*/ 1014972 w 4560224"/>
                <a:gd name="connsiteY1385" fmla="*/ 519400 h 4884256"/>
                <a:gd name="connsiteX1386" fmla="*/ 1010204 w 4560224"/>
                <a:gd name="connsiteY1386" fmla="*/ 514634 h 4884256"/>
                <a:gd name="connsiteX1387" fmla="*/ 1005440 w 4560224"/>
                <a:gd name="connsiteY1387" fmla="*/ 519400 h 4884256"/>
                <a:gd name="connsiteX1388" fmla="*/ 991144 w 4560224"/>
                <a:gd name="connsiteY1388" fmla="*/ 514634 h 4884256"/>
                <a:gd name="connsiteX1389" fmla="*/ 967320 w 4560224"/>
                <a:gd name="connsiteY1389" fmla="*/ 514634 h 4884256"/>
                <a:gd name="connsiteX1390" fmla="*/ 962552 w 4560224"/>
                <a:gd name="connsiteY1390" fmla="*/ 509870 h 4884256"/>
                <a:gd name="connsiteX1391" fmla="*/ 962552 w 4560224"/>
                <a:gd name="connsiteY1391" fmla="*/ 500340 h 4884256"/>
                <a:gd name="connsiteX1392" fmla="*/ 962552 w 4560224"/>
                <a:gd name="connsiteY1392" fmla="*/ 486044 h 4884256"/>
                <a:gd name="connsiteX1393" fmla="*/ 962552 w 4560224"/>
                <a:gd name="connsiteY1393" fmla="*/ 476514 h 4884256"/>
                <a:gd name="connsiteX1394" fmla="*/ 957788 w 4560224"/>
                <a:gd name="connsiteY1394" fmla="*/ 471748 h 4884256"/>
                <a:gd name="connsiteX1395" fmla="*/ 948260 w 4560224"/>
                <a:gd name="connsiteY1395" fmla="*/ 466984 h 4884256"/>
                <a:gd name="connsiteX1396" fmla="*/ 933964 w 4560224"/>
                <a:gd name="connsiteY1396" fmla="*/ 457454 h 4884256"/>
                <a:gd name="connsiteX1397" fmla="*/ 919668 w 4560224"/>
                <a:gd name="connsiteY1397" fmla="*/ 447922 h 4884256"/>
                <a:gd name="connsiteX1398" fmla="*/ 914904 w 4560224"/>
                <a:gd name="connsiteY1398" fmla="*/ 438392 h 4884256"/>
                <a:gd name="connsiteX1399" fmla="*/ 910136 w 4560224"/>
                <a:gd name="connsiteY1399" fmla="*/ 433628 h 4884256"/>
                <a:gd name="connsiteX1400" fmla="*/ 914904 w 4560224"/>
                <a:gd name="connsiteY1400" fmla="*/ 428862 h 4884256"/>
                <a:gd name="connsiteX1401" fmla="*/ 919668 w 4560224"/>
                <a:gd name="connsiteY1401" fmla="*/ 414568 h 4884256"/>
                <a:gd name="connsiteX1402" fmla="*/ 933964 w 4560224"/>
                <a:gd name="connsiteY1402" fmla="*/ 400272 h 4884256"/>
                <a:gd name="connsiteX1403" fmla="*/ 933964 w 4560224"/>
                <a:gd name="connsiteY1403" fmla="*/ 385976 h 4884256"/>
                <a:gd name="connsiteX1404" fmla="*/ 938728 w 4560224"/>
                <a:gd name="connsiteY1404" fmla="*/ 376446 h 4884256"/>
                <a:gd name="connsiteX1405" fmla="*/ 933964 w 4560224"/>
                <a:gd name="connsiteY1405" fmla="*/ 371680 h 4884256"/>
                <a:gd name="connsiteX1406" fmla="*/ 924432 w 4560224"/>
                <a:gd name="connsiteY1406" fmla="*/ 362150 h 4884256"/>
                <a:gd name="connsiteX1407" fmla="*/ 914904 w 4560224"/>
                <a:gd name="connsiteY1407" fmla="*/ 352620 h 4884256"/>
                <a:gd name="connsiteX1408" fmla="*/ 910136 w 4560224"/>
                <a:gd name="connsiteY1408" fmla="*/ 347856 h 4884256"/>
                <a:gd name="connsiteX1409" fmla="*/ 910136 w 4560224"/>
                <a:gd name="connsiteY1409" fmla="*/ 338324 h 4884256"/>
                <a:gd name="connsiteX1410" fmla="*/ 914904 w 4560224"/>
                <a:gd name="connsiteY1410" fmla="*/ 324030 h 4884256"/>
                <a:gd name="connsiteX1411" fmla="*/ 924432 w 4560224"/>
                <a:gd name="connsiteY1411" fmla="*/ 314500 h 4884256"/>
                <a:gd name="connsiteX1412" fmla="*/ 948260 w 4560224"/>
                <a:gd name="connsiteY1412" fmla="*/ 304970 h 4884256"/>
                <a:gd name="connsiteX1413" fmla="*/ 953024 w 4560224"/>
                <a:gd name="connsiteY1413" fmla="*/ 295438 h 4884256"/>
                <a:gd name="connsiteX1414" fmla="*/ 953024 w 4560224"/>
                <a:gd name="connsiteY1414" fmla="*/ 285908 h 4884256"/>
                <a:gd name="connsiteX1415" fmla="*/ 948260 w 4560224"/>
                <a:gd name="connsiteY1415" fmla="*/ 285908 h 4884256"/>
                <a:gd name="connsiteX1416" fmla="*/ 929196 w 4560224"/>
                <a:gd name="connsiteY1416" fmla="*/ 285908 h 4884256"/>
                <a:gd name="connsiteX1417" fmla="*/ 905372 w 4560224"/>
                <a:gd name="connsiteY1417" fmla="*/ 281144 h 4884256"/>
                <a:gd name="connsiteX1418" fmla="*/ 900608 w 4560224"/>
                <a:gd name="connsiteY1418" fmla="*/ 276378 h 4884256"/>
                <a:gd name="connsiteX1419" fmla="*/ 900608 w 4560224"/>
                <a:gd name="connsiteY1419" fmla="*/ 271614 h 4884256"/>
                <a:gd name="connsiteX1420" fmla="*/ 900608 w 4560224"/>
                <a:gd name="connsiteY1420" fmla="*/ 266848 h 4884256"/>
                <a:gd name="connsiteX1421" fmla="*/ 905372 w 4560224"/>
                <a:gd name="connsiteY1421" fmla="*/ 257318 h 4884256"/>
                <a:gd name="connsiteX1422" fmla="*/ 910136 w 4560224"/>
                <a:gd name="connsiteY1422" fmla="*/ 247788 h 4884256"/>
                <a:gd name="connsiteX1423" fmla="*/ 910136 w 4560224"/>
                <a:gd name="connsiteY1423" fmla="*/ 243022 h 4884256"/>
                <a:gd name="connsiteX1424" fmla="*/ 900608 w 4560224"/>
                <a:gd name="connsiteY1424" fmla="*/ 233492 h 4884256"/>
                <a:gd name="connsiteX1425" fmla="*/ 881548 w 4560224"/>
                <a:gd name="connsiteY1425" fmla="*/ 223962 h 4884256"/>
                <a:gd name="connsiteX1426" fmla="*/ 881548 w 4560224"/>
                <a:gd name="connsiteY1426" fmla="*/ 214432 h 4884256"/>
                <a:gd name="connsiteX1427" fmla="*/ 881548 w 4560224"/>
                <a:gd name="connsiteY1427" fmla="*/ 204902 h 4884256"/>
                <a:gd name="connsiteX1428" fmla="*/ 891076 w 4560224"/>
                <a:gd name="connsiteY1428" fmla="*/ 195372 h 4884256"/>
                <a:gd name="connsiteX1429" fmla="*/ 895840 w 4560224"/>
                <a:gd name="connsiteY1429" fmla="*/ 185840 h 4884256"/>
                <a:gd name="connsiteX1430" fmla="*/ 905372 w 4560224"/>
                <a:gd name="connsiteY1430" fmla="*/ 162016 h 4884256"/>
                <a:gd name="connsiteX1431" fmla="*/ 919668 w 4560224"/>
                <a:gd name="connsiteY1431" fmla="*/ 157250 h 4884256"/>
                <a:gd name="connsiteX1432" fmla="*/ 938728 w 4560224"/>
                <a:gd name="connsiteY1432" fmla="*/ 147720 h 4884256"/>
                <a:gd name="connsiteX1433" fmla="*/ 957788 w 4560224"/>
                <a:gd name="connsiteY1433" fmla="*/ 142954 h 4884256"/>
                <a:gd name="connsiteX1434" fmla="*/ 991144 w 4560224"/>
                <a:gd name="connsiteY1434" fmla="*/ 147720 h 4884256"/>
                <a:gd name="connsiteX1435" fmla="*/ 1005440 w 4560224"/>
                <a:gd name="connsiteY1435" fmla="*/ 152486 h 4884256"/>
                <a:gd name="connsiteX1436" fmla="*/ 1034032 w 4560224"/>
                <a:gd name="connsiteY1436" fmla="*/ 157250 h 4884256"/>
                <a:gd name="connsiteX1437" fmla="*/ 1062620 w 4560224"/>
                <a:gd name="connsiteY1437" fmla="*/ 162016 h 4884256"/>
                <a:gd name="connsiteX1438" fmla="*/ 1086448 w 4560224"/>
                <a:gd name="connsiteY1438" fmla="*/ 166780 h 4884256"/>
                <a:gd name="connsiteX1439" fmla="*/ 1100744 w 4560224"/>
                <a:gd name="connsiteY1439" fmla="*/ 166780 h 4884256"/>
                <a:gd name="connsiteX1440" fmla="*/ 1110272 w 4560224"/>
                <a:gd name="connsiteY1440" fmla="*/ 171546 h 4884256"/>
                <a:gd name="connsiteX1441" fmla="*/ 1138864 w 4560224"/>
                <a:gd name="connsiteY1441" fmla="*/ 185840 h 4884256"/>
                <a:gd name="connsiteX1442" fmla="*/ 1162688 w 4560224"/>
                <a:gd name="connsiteY1442" fmla="*/ 190606 h 4884256"/>
                <a:gd name="connsiteX1443" fmla="*/ 1181748 w 4560224"/>
                <a:gd name="connsiteY1443" fmla="*/ 190606 h 4884256"/>
                <a:gd name="connsiteX1444" fmla="*/ 1205576 w 4560224"/>
                <a:gd name="connsiteY1444" fmla="*/ 181076 h 4884256"/>
                <a:gd name="connsiteX1445" fmla="*/ 1215104 w 4560224"/>
                <a:gd name="connsiteY1445" fmla="*/ 171546 h 4884256"/>
                <a:gd name="connsiteX1446" fmla="*/ 1234168 w 4560224"/>
                <a:gd name="connsiteY1446" fmla="*/ 157250 h 4884256"/>
                <a:gd name="connsiteX1447" fmla="*/ 1253228 w 4560224"/>
                <a:gd name="connsiteY1447" fmla="*/ 157250 h 4884256"/>
                <a:gd name="connsiteX1448" fmla="*/ 1296112 w 4560224"/>
                <a:gd name="connsiteY1448" fmla="*/ 142954 h 4884256"/>
                <a:gd name="connsiteX1449" fmla="*/ 1305644 w 4560224"/>
                <a:gd name="connsiteY1449" fmla="*/ 142954 h 4884256"/>
                <a:gd name="connsiteX1450" fmla="*/ 1319940 w 4560224"/>
                <a:gd name="connsiteY1450" fmla="*/ 147720 h 4884256"/>
                <a:gd name="connsiteX1451" fmla="*/ 1334232 w 4560224"/>
                <a:gd name="connsiteY1451" fmla="*/ 138190 h 4884256"/>
                <a:gd name="connsiteX1452" fmla="*/ 1343764 w 4560224"/>
                <a:gd name="connsiteY1452" fmla="*/ 123894 h 4884256"/>
                <a:gd name="connsiteX1453" fmla="*/ 1343764 w 4560224"/>
                <a:gd name="connsiteY1453" fmla="*/ 119130 h 4884256"/>
                <a:gd name="connsiteX1454" fmla="*/ 1348528 w 4560224"/>
                <a:gd name="connsiteY1454" fmla="*/ 114364 h 4884256"/>
                <a:gd name="connsiteX1455" fmla="*/ 1362824 w 4560224"/>
                <a:gd name="connsiteY1455" fmla="*/ 109598 h 4884256"/>
                <a:gd name="connsiteX1456" fmla="*/ 1381884 w 4560224"/>
                <a:gd name="connsiteY1456" fmla="*/ 95304 h 4884256"/>
                <a:gd name="connsiteX1457" fmla="*/ 1386652 w 4560224"/>
                <a:gd name="connsiteY1457" fmla="*/ 85774 h 4884256"/>
                <a:gd name="connsiteX1458" fmla="*/ 1391416 w 4560224"/>
                <a:gd name="connsiteY1458" fmla="*/ 76244 h 4884256"/>
                <a:gd name="connsiteX1459" fmla="*/ 1429536 w 4560224"/>
                <a:gd name="connsiteY1459" fmla="*/ 52418 h 4884256"/>
                <a:gd name="connsiteX1460" fmla="*/ 1448596 w 4560224"/>
                <a:gd name="connsiteY1460" fmla="*/ 38122 h 4884256"/>
                <a:gd name="connsiteX1461" fmla="*/ 1472424 w 4560224"/>
                <a:gd name="connsiteY1461" fmla="*/ 23826 h 4884256"/>
                <a:gd name="connsiteX1462" fmla="*/ 1491484 w 4560224"/>
                <a:gd name="connsiteY1462" fmla="*/ 9532 h 4884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</a:cxnLst>
              <a:rect l="l" t="t" r="r" b="b"/>
              <a:pathLst>
                <a:path w="4560224" h="4884256">
                  <a:moveTo>
                    <a:pt x="4007468" y="4803248"/>
                  </a:moveTo>
                  <a:lnTo>
                    <a:pt x="4017000" y="4808014"/>
                  </a:lnTo>
                  <a:lnTo>
                    <a:pt x="4026528" y="4846136"/>
                  </a:lnTo>
                  <a:lnTo>
                    <a:pt x="4021764" y="4869960"/>
                  </a:lnTo>
                  <a:lnTo>
                    <a:pt x="4012236" y="4884256"/>
                  </a:lnTo>
                  <a:lnTo>
                    <a:pt x="3993176" y="4841370"/>
                  </a:lnTo>
                  <a:lnTo>
                    <a:pt x="3983644" y="4841370"/>
                  </a:lnTo>
                  <a:lnTo>
                    <a:pt x="3983644" y="4822310"/>
                  </a:lnTo>
                  <a:lnTo>
                    <a:pt x="3988408" y="4812780"/>
                  </a:lnTo>
                  <a:close/>
                  <a:moveTo>
                    <a:pt x="3988408" y="4779424"/>
                  </a:moveTo>
                  <a:lnTo>
                    <a:pt x="3993176" y="4788954"/>
                  </a:lnTo>
                  <a:lnTo>
                    <a:pt x="3978880" y="4803248"/>
                  </a:lnTo>
                  <a:lnTo>
                    <a:pt x="3974112" y="4793718"/>
                  </a:lnTo>
                  <a:lnTo>
                    <a:pt x="3978880" y="4784188"/>
                  </a:lnTo>
                  <a:lnTo>
                    <a:pt x="3983644" y="4784188"/>
                  </a:lnTo>
                  <a:close/>
                  <a:moveTo>
                    <a:pt x="3931228" y="4684120"/>
                  </a:moveTo>
                  <a:lnTo>
                    <a:pt x="3940756" y="4684120"/>
                  </a:lnTo>
                  <a:lnTo>
                    <a:pt x="3950288" y="4693652"/>
                  </a:lnTo>
                  <a:lnTo>
                    <a:pt x="3950288" y="4698416"/>
                  </a:lnTo>
                  <a:lnTo>
                    <a:pt x="3950288" y="4703182"/>
                  </a:lnTo>
                  <a:lnTo>
                    <a:pt x="3935992" y="4703182"/>
                  </a:lnTo>
                  <a:lnTo>
                    <a:pt x="3935992" y="4698416"/>
                  </a:lnTo>
                  <a:lnTo>
                    <a:pt x="3931228" y="4688886"/>
                  </a:lnTo>
                  <a:close/>
                  <a:moveTo>
                    <a:pt x="3959816" y="4650764"/>
                  </a:moveTo>
                  <a:lnTo>
                    <a:pt x="3964584" y="4650764"/>
                  </a:lnTo>
                  <a:lnTo>
                    <a:pt x="3959816" y="4660296"/>
                  </a:lnTo>
                  <a:lnTo>
                    <a:pt x="3964584" y="4674590"/>
                  </a:lnTo>
                  <a:lnTo>
                    <a:pt x="3955052" y="4679356"/>
                  </a:lnTo>
                  <a:lnTo>
                    <a:pt x="3955052" y="4674590"/>
                  </a:lnTo>
                  <a:lnTo>
                    <a:pt x="3955052" y="4669826"/>
                  </a:lnTo>
                  <a:lnTo>
                    <a:pt x="3950288" y="4655530"/>
                  </a:lnTo>
                  <a:close/>
                  <a:moveTo>
                    <a:pt x="3893104" y="4631704"/>
                  </a:moveTo>
                  <a:lnTo>
                    <a:pt x="3897872" y="4631704"/>
                  </a:lnTo>
                  <a:lnTo>
                    <a:pt x="3902636" y="4646000"/>
                  </a:lnTo>
                  <a:lnTo>
                    <a:pt x="3907400" y="4650766"/>
                  </a:lnTo>
                  <a:lnTo>
                    <a:pt x="3897872" y="4650766"/>
                  </a:lnTo>
                  <a:lnTo>
                    <a:pt x="3893104" y="4641236"/>
                  </a:lnTo>
                  <a:close/>
                  <a:moveTo>
                    <a:pt x="3840688" y="4488752"/>
                  </a:moveTo>
                  <a:lnTo>
                    <a:pt x="3845456" y="4488752"/>
                  </a:lnTo>
                  <a:lnTo>
                    <a:pt x="3850220" y="4498282"/>
                  </a:lnTo>
                  <a:lnTo>
                    <a:pt x="3850220" y="4503046"/>
                  </a:lnTo>
                  <a:lnTo>
                    <a:pt x="3840688" y="4507812"/>
                  </a:lnTo>
                  <a:lnTo>
                    <a:pt x="3835924" y="4503046"/>
                  </a:lnTo>
                  <a:lnTo>
                    <a:pt x="3835924" y="4493516"/>
                  </a:lnTo>
                  <a:close/>
                  <a:moveTo>
                    <a:pt x="3802568" y="4226668"/>
                  </a:moveTo>
                  <a:lnTo>
                    <a:pt x="3812100" y="4240964"/>
                  </a:lnTo>
                  <a:lnTo>
                    <a:pt x="3812100" y="4255260"/>
                  </a:lnTo>
                  <a:lnTo>
                    <a:pt x="3802568" y="4279086"/>
                  </a:lnTo>
                  <a:lnTo>
                    <a:pt x="3797804" y="4283852"/>
                  </a:lnTo>
                  <a:lnTo>
                    <a:pt x="3783508" y="4283852"/>
                  </a:lnTo>
                  <a:lnTo>
                    <a:pt x="3783508" y="4264790"/>
                  </a:lnTo>
                  <a:lnTo>
                    <a:pt x="3778744" y="4250494"/>
                  </a:lnTo>
                  <a:lnTo>
                    <a:pt x="3783508" y="4240964"/>
                  </a:lnTo>
                  <a:lnTo>
                    <a:pt x="3793040" y="4231434"/>
                  </a:lnTo>
                  <a:close/>
                  <a:moveTo>
                    <a:pt x="3826392" y="4126600"/>
                  </a:moveTo>
                  <a:lnTo>
                    <a:pt x="3831160" y="4136132"/>
                  </a:lnTo>
                  <a:lnTo>
                    <a:pt x="3831160" y="4145662"/>
                  </a:lnTo>
                  <a:lnTo>
                    <a:pt x="3831160" y="4150428"/>
                  </a:lnTo>
                  <a:lnTo>
                    <a:pt x="3826392" y="4150428"/>
                  </a:lnTo>
                  <a:lnTo>
                    <a:pt x="3816864" y="4150428"/>
                  </a:lnTo>
                  <a:lnTo>
                    <a:pt x="3826392" y="4140896"/>
                  </a:lnTo>
                  <a:close/>
                  <a:moveTo>
                    <a:pt x="3878812" y="4045594"/>
                  </a:moveTo>
                  <a:lnTo>
                    <a:pt x="3883576" y="4045594"/>
                  </a:lnTo>
                  <a:lnTo>
                    <a:pt x="3888340" y="4064656"/>
                  </a:lnTo>
                  <a:lnTo>
                    <a:pt x="3878812" y="4055124"/>
                  </a:lnTo>
                  <a:lnTo>
                    <a:pt x="3874048" y="4050360"/>
                  </a:lnTo>
                  <a:close/>
                  <a:moveTo>
                    <a:pt x="3831160" y="3897876"/>
                  </a:moveTo>
                  <a:lnTo>
                    <a:pt x="3835924" y="3897876"/>
                  </a:lnTo>
                  <a:lnTo>
                    <a:pt x="3840688" y="3897876"/>
                  </a:lnTo>
                  <a:lnTo>
                    <a:pt x="3835924" y="3912170"/>
                  </a:lnTo>
                  <a:lnTo>
                    <a:pt x="3831160" y="3921700"/>
                  </a:lnTo>
                  <a:close/>
                  <a:moveTo>
                    <a:pt x="3883576" y="3802572"/>
                  </a:moveTo>
                  <a:lnTo>
                    <a:pt x="3888340" y="3802572"/>
                  </a:lnTo>
                  <a:lnTo>
                    <a:pt x="3893104" y="3821632"/>
                  </a:lnTo>
                  <a:lnTo>
                    <a:pt x="3893104" y="3826398"/>
                  </a:lnTo>
                  <a:lnTo>
                    <a:pt x="3883576" y="3835928"/>
                  </a:lnTo>
                  <a:lnTo>
                    <a:pt x="3893104" y="3850224"/>
                  </a:lnTo>
                  <a:lnTo>
                    <a:pt x="3893104" y="3854988"/>
                  </a:lnTo>
                  <a:lnTo>
                    <a:pt x="3888340" y="3864518"/>
                  </a:lnTo>
                  <a:lnTo>
                    <a:pt x="3883576" y="3874048"/>
                  </a:lnTo>
                  <a:lnTo>
                    <a:pt x="3874044" y="3878814"/>
                  </a:lnTo>
                  <a:lnTo>
                    <a:pt x="3869280" y="3893110"/>
                  </a:lnTo>
                  <a:lnTo>
                    <a:pt x="3864516" y="3897874"/>
                  </a:lnTo>
                  <a:lnTo>
                    <a:pt x="3874044" y="3912170"/>
                  </a:lnTo>
                  <a:lnTo>
                    <a:pt x="3878812" y="3964586"/>
                  </a:lnTo>
                  <a:lnTo>
                    <a:pt x="3869280" y="3978882"/>
                  </a:lnTo>
                  <a:lnTo>
                    <a:pt x="3859752" y="3978882"/>
                  </a:lnTo>
                  <a:lnTo>
                    <a:pt x="3864516" y="4012238"/>
                  </a:lnTo>
                  <a:lnTo>
                    <a:pt x="3859752" y="4021768"/>
                  </a:lnTo>
                  <a:lnTo>
                    <a:pt x="3850220" y="4036064"/>
                  </a:lnTo>
                  <a:lnTo>
                    <a:pt x="3845456" y="4045594"/>
                  </a:lnTo>
                  <a:lnTo>
                    <a:pt x="3840688" y="4050358"/>
                  </a:lnTo>
                  <a:lnTo>
                    <a:pt x="3845456" y="4059890"/>
                  </a:lnTo>
                  <a:lnTo>
                    <a:pt x="3850220" y="4064654"/>
                  </a:lnTo>
                  <a:lnTo>
                    <a:pt x="3850220" y="4069420"/>
                  </a:lnTo>
                  <a:lnTo>
                    <a:pt x="3845456" y="4088480"/>
                  </a:lnTo>
                  <a:lnTo>
                    <a:pt x="3845456" y="4107540"/>
                  </a:lnTo>
                  <a:lnTo>
                    <a:pt x="3835924" y="4126600"/>
                  </a:lnTo>
                  <a:lnTo>
                    <a:pt x="3831160" y="4121836"/>
                  </a:lnTo>
                  <a:lnTo>
                    <a:pt x="3816864" y="4093246"/>
                  </a:lnTo>
                  <a:lnTo>
                    <a:pt x="3812100" y="4078950"/>
                  </a:lnTo>
                  <a:lnTo>
                    <a:pt x="3807336" y="4069420"/>
                  </a:lnTo>
                  <a:lnTo>
                    <a:pt x="3812100" y="4059890"/>
                  </a:lnTo>
                  <a:lnTo>
                    <a:pt x="3821628" y="4059890"/>
                  </a:lnTo>
                  <a:lnTo>
                    <a:pt x="3821628" y="4050358"/>
                  </a:lnTo>
                  <a:lnTo>
                    <a:pt x="3826396" y="4031298"/>
                  </a:lnTo>
                  <a:lnTo>
                    <a:pt x="3831160" y="4017002"/>
                  </a:lnTo>
                  <a:lnTo>
                    <a:pt x="3845456" y="4017002"/>
                  </a:lnTo>
                  <a:lnTo>
                    <a:pt x="3850220" y="4012238"/>
                  </a:lnTo>
                  <a:lnTo>
                    <a:pt x="3845456" y="4002708"/>
                  </a:lnTo>
                  <a:lnTo>
                    <a:pt x="3840688" y="3997942"/>
                  </a:lnTo>
                  <a:lnTo>
                    <a:pt x="3835924" y="3993178"/>
                  </a:lnTo>
                  <a:lnTo>
                    <a:pt x="3835924" y="3964586"/>
                  </a:lnTo>
                  <a:lnTo>
                    <a:pt x="3840688" y="3950292"/>
                  </a:lnTo>
                  <a:lnTo>
                    <a:pt x="3840688" y="3945526"/>
                  </a:lnTo>
                  <a:lnTo>
                    <a:pt x="3840688" y="3926466"/>
                  </a:lnTo>
                  <a:lnTo>
                    <a:pt x="3840688" y="3921700"/>
                  </a:lnTo>
                  <a:lnTo>
                    <a:pt x="3850220" y="3912170"/>
                  </a:lnTo>
                  <a:lnTo>
                    <a:pt x="3854984" y="3888344"/>
                  </a:lnTo>
                  <a:lnTo>
                    <a:pt x="3850220" y="3883580"/>
                  </a:lnTo>
                  <a:lnTo>
                    <a:pt x="3859752" y="3854988"/>
                  </a:lnTo>
                  <a:lnTo>
                    <a:pt x="3859752" y="3831162"/>
                  </a:lnTo>
                  <a:lnTo>
                    <a:pt x="3869280" y="3812102"/>
                  </a:lnTo>
                  <a:close/>
                  <a:moveTo>
                    <a:pt x="1505780" y="0"/>
                  </a:moveTo>
                  <a:lnTo>
                    <a:pt x="1510544" y="4766"/>
                  </a:lnTo>
                  <a:lnTo>
                    <a:pt x="1515308" y="9532"/>
                  </a:lnTo>
                  <a:lnTo>
                    <a:pt x="1520072" y="9532"/>
                  </a:lnTo>
                  <a:lnTo>
                    <a:pt x="1529604" y="4766"/>
                  </a:lnTo>
                  <a:lnTo>
                    <a:pt x="1539136" y="0"/>
                  </a:lnTo>
                  <a:lnTo>
                    <a:pt x="1543900" y="4766"/>
                  </a:lnTo>
                  <a:lnTo>
                    <a:pt x="1543900" y="9532"/>
                  </a:lnTo>
                  <a:lnTo>
                    <a:pt x="1539136" y="38122"/>
                  </a:lnTo>
                  <a:lnTo>
                    <a:pt x="1539136" y="47652"/>
                  </a:lnTo>
                  <a:lnTo>
                    <a:pt x="1548664" y="71478"/>
                  </a:lnTo>
                  <a:lnTo>
                    <a:pt x="1562960" y="104834"/>
                  </a:lnTo>
                  <a:lnTo>
                    <a:pt x="1577256" y="138190"/>
                  </a:lnTo>
                  <a:lnTo>
                    <a:pt x="1582020" y="162016"/>
                  </a:lnTo>
                  <a:lnTo>
                    <a:pt x="1586784" y="171546"/>
                  </a:lnTo>
                  <a:lnTo>
                    <a:pt x="1620140" y="181076"/>
                  </a:lnTo>
                  <a:lnTo>
                    <a:pt x="1643968" y="185840"/>
                  </a:lnTo>
                  <a:lnTo>
                    <a:pt x="1658264" y="200136"/>
                  </a:lnTo>
                  <a:lnTo>
                    <a:pt x="1672556" y="214432"/>
                  </a:lnTo>
                  <a:lnTo>
                    <a:pt x="1682088" y="219196"/>
                  </a:lnTo>
                  <a:lnTo>
                    <a:pt x="1691620" y="228728"/>
                  </a:lnTo>
                  <a:lnTo>
                    <a:pt x="1691620" y="238258"/>
                  </a:lnTo>
                  <a:lnTo>
                    <a:pt x="1691620" y="243022"/>
                  </a:lnTo>
                  <a:lnTo>
                    <a:pt x="1682088" y="252552"/>
                  </a:lnTo>
                  <a:lnTo>
                    <a:pt x="1653496" y="271614"/>
                  </a:lnTo>
                  <a:lnTo>
                    <a:pt x="1653496" y="276378"/>
                  </a:lnTo>
                  <a:lnTo>
                    <a:pt x="1653496" y="281144"/>
                  </a:lnTo>
                  <a:lnTo>
                    <a:pt x="1658264" y="304970"/>
                  </a:lnTo>
                  <a:lnTo>
                    <a:pt x="1658264" y="324030"/>
                  </a:lnTo>
                  <a:lnTo>
                    <a:pt x="1663028" y="352620"/>
                  </a:lnTo>
                  <a:lnTo>
                    <a:pt x="1663028" y="381212"/>
                  </a:lnTo>
                  <a:lnTo>
                    <a:pt x="1672556" y="390742"/>
                  </a:lnTo>
                  <a:lnTo>
                    <a:pt x="1682088" y="400272"/>
                  </a:lnTo>
                  <a:lnTo>
                    <a:pt x="1686852" y="409802"/>
                  </a:lnTo>
                  <a:lnTo>
                    <a:pt x="1696384" y="419332"/>
                  </a:lnTo>
                  <a:lnTo>
                    <a:pt x="1705912" y="424098"/>
                  </a:lnTo>
                  <a:lnTo>
                    <a:pt x="1710680" y="428862"/>
                  </a:lnTo>
                  <a:lnTo>
                    <a:pt x="1715444" y="443158"/>
                  </a:lnTo>
                  <a:lnTo>
                    <a:pt x="1715444" y="452688"/>
                  </a:lnTo>
                  <a:lnTo>
                    <a:pt x="1710680" y="462218"/>
                  </a:lnTo>
                  <a:lnTo>
                    <a:pt x="1710680" y="466984"/>
                  </a:lnTo>
                  <a:lnTo>
                    <a:pt x="1715444" y="471748"/>
                  </a:lnTo>
                  <a:lnTo>
                    <a:pt x="1724976" y="481278"/>
                  </a:lnTo>
                  <a:lnTo>
                    <a:pt x="1729740" y="495574"/>
                  </a:lnTo>
                  <a:lnTo>
                    <a:pt x="1724976" y="509870"/>
                  </a:lnTo>
                  <a:lnTo>
                    <a:pt x="1729740" y="519400"/>
                  </a:lnTo>
                  <a:lnTo>
                    <a:pt x="1729740" y="528930"/>
                  </a:lnTo>
                  <a:lnTo>
                    <a:pt x="1729740" y="552756"/>
                  </a:lnTo>
                  <a:lnTo>
                    <a:pt x="1729740" y="567052"/>
                  </a:lnTo>
                  <a:lnTo>
                    <a:pt x="1720208" y="567052"/>
                  </a:lnTo>
                  <a:lnTo>
                    <a:pt x="1715444" y="571816"/>
                  </a:lnTo>
                  <a:lnTo>
                    <a:pt x="1705912" y="586112"/>
                  </a:lnTo>
                  <a:lnTo>
                    <a:pt x="1696384" y="590876"/>
                  </a:lnTo>
                  <a:lnTo>
                    <a:pt x="1682088" y="590876"/>
                  </a:lnTo>
                  <a:lnTo>
                    <a:pt x="1667792" y="581346"/>
                  </a:lnTo>
                  <a:lnTo>
                    <a:pt x="1658264" y="571816"/>
                  </a:lnTo>
                  <a:lnTo>
                    <a:pt x="1658264" y="567052"/>
                  </a:lnTo>
                  <a:lnTo>
                    <a:pt x="1653496" y="557520"/>
                  </a:lnTo>
                  <a:lnTo>
                    <a:pt x="1648732" y="547990"/>
                  </a:lnTo>
                  <a:lnTo>
                    <a:pt x="1639200" y="552756"/>
                  </a:lnTo>
                  <a:lnTo>
                    <a:pt x="1620140" y="552756"/>
                  </a:lnTo>
                  <a:lnTo>
                    <a:pt x="1601080" y="557520"/>
                  </a:lnTo>
                  <a:lnTo>
                    <a:pt x="1601080" y="562286"/>
                  </a:lnTo>
                  <a:lnTo>
                    <a:pt x="1601080" y="571816"/>
                  </a:lnTo>
                  <a:lnTo>
                    <a:pt x="1605848" y="586112"/>
                  </a:lnTo>
                  <a:lnTo>
                    <a:pt x="1610612" y="605172"/>
                  </a:lnTo>
                  <a:lnTo>
                    <a:pt x="1615376" y="614702"/>
                  </a:lnTo>
                  <a:lnTo>
                    <a:pt x="1615376" y="619468"/>
                  </a:lnTo>
                  <a:lnTo>
                    <a:pt x="1643968" y="652824"/>
                  </a:lnTo>
                  <a:lnTo>
                    <a:pt x="1653496" y="662354"/>
                  </a:lnTo>
                  <a:lnTo>
                    <a:pt x="1653496" y="667118"/>
                  </a:lnTo>
                  <a:lnTo>
                    <a:pt x="1648732" y="681414"/>
                  </a:lnTo>
                  <a:lnTo>
                    <a:pt x="1648732" y="676648"/>
                  </a:lnTo>
                  <a:lnTo>
                    <a:pt x="1639200" y="662354"/>
                  </a:lnTo>
                  <a:lnTo>
                    <a:pt x="1648732" y="681414"/>
                  </a:lnTo>
                  <a:lnTo>
                    <a:pt x="1643968" y="695710"/>
                  </a:lnTo>
                  <a:lnTo>
                    <a:pt x="1643968" y="705240"/>
                  </a:lnTo>
                  <a:lnTo>
                    <a:pt x="1658264" y="719536"/>
                  </a:lnTo>
                  <a:lnTo>
                    <a:pt x="1663028" y="729066"/>
                  </a:lnTo>
                  <a:lnTo>
                    <a:pt x="1658264" y="738596"/>
                  </a:lnTo>
                  <a:lnTo>
                    <a:pt x="1653496" y="757656"/>
                  </a:lnTo>
                  <a:lnTo>
                    <a:pt x="1658264" y="762422"/>
                  </a:lnTo>
                  <a:lnTo>
                    <a:pt x="1653496" y="781482"/>
                  </a:lnTo>
                  <a:lnTo>
                    <a:pt x="1658264" y="786246"/>
                  </a:lnTo>
                  <a:lnTo>
                    <a:pt x="1663028" y="786246"/>
                  </a:lnTo>
                  <a:lnTo>
                    <a:pt x="1667792" y="786246"/>
                  </a:lnTo>
                  <a:lnTo>
                    <a:pt x="1677324" y="781482"/>
                  </a:lnTo>
                  <a:lnTo>
                    <a:pt x="1686852" y="781482"/>
                  </a:lnTo>
                  <a:lnTo>
                    <a:pt x="1691620" y="781482"/>
                  </a:lnTo>
                  <a:lnTo>
                    <a:pt x="1696384" y="767186"/>
                  </a:lnTo>
                  <a:lnTo>
                    <a:pt x="1701148" y="762422"/>
                  </a:lnTo>
                  <a:lnTo>
                    <a:pt x="1710680" y="767186"/>
                  </a:lnTo>
                  <a:lnTo>
                    <a:pt x="1729740" y="795778"/>
                  </a:lnTo>
                  <a:lnTo>
                    <a:pt x="1748800" y="824368"/>
                  </a:lnTo>
                  <a:lnTo>
                    <a:pt x="1753564" y="824368"/>
                  </a:lnTo>
                  <a:lnTo>
                    <a:pt x="1753564" y="829132"/>
                  </a:lnTo>
                  <a:lnTo>
                    <a:pt x="1772624" y="843428"/>
                  </a:lnTo>
                  <a:lnTo>
                    <a:pt x="1782156" y="848194"/>
                  </a:lnTo>
                  <a:lnTo>
                    <a:pt x="1796452" y="848194"/>
                  </a:lnTo>
                  <a:lnTo>
                    <a:pt x="1820276" y="848194"/>
                  </a:lnTo>
                  <a:lnTo>
                    <a:pt x="1829808" y="852958"/>
                  </a:lnTo>
                  <a:lnTo>
                    <a:pt x="1839336" y="862488"/>
                  </a:lnTo>
                  <a:lnTo>
                    <a:pt x="1863164" y="881550"/>
                  </a:lnTo>
                  <a:lnTo>
                    <a:pt x="1872692" y="881550"/>
                  </a:lnTo>
                  <a:lnTo>
                    <a:pt x="1882224" y="886314"/>
                  </a:lnTo>
                  <a:lnTo>
                    <a:pt x="1882224" y="900610"/>
                  </a:lnTo>
                  <a:lnTo>
                    <a:pt x="1877460" y="914906"/>
                  </a:lnTo>
                  <a:lnTo>
                    <a:pt x="1882224" y="919670"/>
                  </a:lnTo>
                  <a:lnTo>
                    <a:pt x="1891752" y="919670"/>
                  </a:lnTo>
                  <a:lnTo>
                    <a:pt x="1915580" y="929200"/>
                  </a:lnTo>
                  <a:lnTo>
                    <a:pt x="1934640" y="938730"/>
                  </a:lnTo>
                  <a:lnTo>
                    <a:pt x="1944168" y="943496"/>
                  </a:lnTo>
                  <a:lnTo>
                    <a:pt x="1958464" y="948262"/>
                  </a:lnTo>
                  <a:lnTo>
                    <a:pt x="1967996" y="957792"/>
                  </a:lnTo>
                  <a:lnTo>
                    <a:pt x="1987056" y="972086"/>
                  </a:lnTo>
                  <a:lnTo>
                    <a:pt x="2006116" y="981618"/>
                  </a:lnTo>
                  <a:lnTo>
                    <a:pt x="2006116" y="991148"/>
                  </a:lnTo>
                  <a:lnTo>
                    <a:pt x="2001352" y="991148"/>
                  </a:lnTo>
                  <a:lnTo>
                    <a:pt x="1991820" y="991148"/>
                  </a:lnTo>
                  <a:lnTo>
                    <a:pt x="1982292" y="995912"/>
                  </a:lnTo>
                  <a:lnTo>
                    <a:pt x="1977524" y="1000678"/>
                  </a:lnTo>
                  <a:lnTo>
                    <a:pt x="1958464" y="1024504"/>
                  </a:lnTo>
                  <a:lnTo>
                    <a:pt x="1944168" y="1029268"/>
                  </a:lnTo>
                  <a:lnTo>
                    <a:pt x="1934640" y="1038798"/>
                  </a:lnTo>
                  <a:lnTo>
                    <a:pt x="1915580" y="1072154"/>
                  </a:lnTo>
                  <a:lnTo>
                    <a:pt x="1901284" y="1100746"/>
                  </a:lnTo>
                  <a:lnTo>
                    <a:pt x="1891752" y="1124570"/>
                  </a:lnTo>
                  <a:lnTo>
                    <a:pt x="1891752" y="1143632"/>
                  </a:lnTo>
                  <a:lnTo>
                    <a:pt x="1886988" y="1167456"/>
                  </a:lnTo>
                  <a:lnTo>
                    <a:pt x="1877460" y="1181752"/>
                  </a:lnTo>
                  <a:lnTo>
                    <a:pt x="1872692" y="1186518"/>
                  </a:lnTo>
                  <a:lnTo>
                    <a:pt x="1863164" y="1205578"/>
                  </a:lnTo>
                  <a:lnTo>
                    <a:pt x="1858396" y="1224638"/>
                  </a:lnTo>
                  <a:lnTo>
                    <a:pt x="1863164" y="1234168"/>
                  </a:lnTo>
                  <a:lnTo>
                    <a:pt x="1872692" y="1243700"/>
                  </a:lnTo>
                  <a:lnTo>
                    <a:pt x="1886988" y="1253230"/>
                  </a:lnTo>
                  <a:lnTo>
                    <a:pt x="1901284" y="1262760"/>
                  </a:lnTo>
                  <a:lnTo>
                    <a:pt x="1915580" y="1272290"/>
                  </a:lnTo>
                  <a:lnTo>
                    <a:pt x="1925108" y="1272290"/>
                  </a:lnTo>
                  <a:lnTo>
                    <a:pt x="1929876" y="1267524"/>
                  </a:lnTo>
                  <a:lnTo>
                    <a:pt x="1929876" y="1262760"/>
                  </a:lnTo>
                  <a:lnTo>
                    <a:pt x="1944168" y="1262760"/>
                  </a:lnTo>
                  <a:lnTo>
                    <a:pt x="1953700" y="1272290"/>
                  </a:lnTo>
                  <a:lnTo>
                    <a:pt x="1963232" y="1281820"/>
                  </a:lnTo>
                  <a:lnTo>
                    <a:pt x="1967996" y="1286586"/>
                  </a:lnTo>
                  <a:lnTo>
                    <a:pt x="1991820" y="1296116"/>
                  </a:lnTo>
                  <a:lnTo>
                    <a:pt x="2010880" y="1305646"/>
                  </a:lnTo>
                  <a:lnTo>
                    <a:pt x="2034708" y="1319940"/>
                  </a:lnTo>
                  <a:lnTo>
                    <a:pt x="2039472" y="1329472"/>
                  </a:lnTo>
                  <a:lnTo>
                    <a:pt x="2044236" y="1339002"/>
                  </a:lnTo>
                  <a:lnTo>
                    <a:pt x="2053768" y="1348532"/>
                  </a:lnTo>
                  <a:lnTo>
                    <a:pt x="2082360" y="1367592"/>
                  </a:lnTo>
                  <a:lnTo>
                    <a:pt x="2106184" y="1381888"/>
                  </a:lnTo>
                  <a:lnTo>
                    <a:pt x="2125244" y="1396184"/>
                  </a:lnTo>
                  <a:lnTo>
                    <a:pt x="2139540" y="1405714"/>
                  </a:lnTo>
                  <a:lnTo>
                    <a:pt x="2149072" y="1400948"/>
                  </a:lnTo>
                  <a:lnTo>
                    <a:pt x="2153836" y="1396184"/>
                  </a:lnTo>
                  <a:lnTo>
                    <a:pt x="2163368" y="1396184"/>
                  </a:lnTo>
                  <a:lnTo>
                    <a:pt x="2168132" y="1396184"/>
                  </a:lnTo>
                  <a:lnTo>
                    <a:pt x="2177660" y="1405714"/>
                  </a:lnTo>
                  <a:lnTo>
                    <a:pt x="2206252" y="1424774"/>
                  </a:lnTo>
                  <a:lnTo>
                    <a:pt x="2234844" y="1439070"/>
                  </a:lnTo>
                  <a:lnTo>
                    <a:pt x="2263432" y="1434304"/>
                  </a:lnTo>
                  <a:lnTo>
                    <a:pt x="2268200" y="1439070"/>
                  </a:lnTo>
                  <a:lnTo>
                    <a:pt x="2272964" y="1448600"/>
                  </a:lnTo>
                  <a:lnTo>
                    <a:pt x="2277728" y="1462894"/>
                  </a:lnTo>
                  <a:lnTo>
                    <a:pt x="2306320" y="1472424"/>
                  </a:lnTo>
                  <a:lnTo>
                    <a:pt x="2330144" y="1477190"/>
                  </a:lnTo>
                  <a:lnTo>
                    <a:pt x="2353972" y="1486720"/>
                  </a:lnTo>
                  <a:lnTo>
                    <a:pt x="2363500" y="1491486"/>
                  </a:lnTo>
                  <a:lnTo>
                    <a:pt x="2377796" y="1481956"/>
                  </a:lnTo>
                  <a:lnTo>
                    <a:pt x="2377796" y="1477190"/>
                  </a:lnTo>
                  <a:lnTo>
                    <a:pt x="2387328" y="1472424"/>
                  </a:lnTo>
                  <a:lnTo>
                    <a:pt x="2406388" y="1477190"/>
                  </a:lnTo>
                  <a:lnTo>
                    <a:pt x="2434980" y="1486720"/>
                  </a:lnTo>
                  <a:lnTo>
                    <a:pt x="2449272" y="1491486"/>
                  </a:lnTo>
                  <a:lnTo>
                    <a:pt x="2458804" y="1481956"/>
                  </a:lnTo>
                  <a:lnTo>
                    <a:pt x="2477864" y="1477190"/>
                  </a:lnTo>
                  <a:lnTo>
                    <a:pt x="2487396" y="1467660"/>
                  </a:lnTo>
                  <a:lnTo>
                    <a:pt x="2511220" y="1481956"/>
                  </a:lnTo>
                  <a:lnTo>
                    <a:pt x="2549340" y="1496250"/>
                  </a:lnTo>
                  <a:lnTo>
                    <a:pt x="2573168" y="1505780"/>
                  </a:lnTo>
                  <a:lnTo>
                    <a:pt x="2573168" y="1510546"/>
                  </a:lnTo>
                  <a:lnTo>
                    <a:pt x="2577932" y="1520076"/>
                  </a:lnTo>
                  <a:lnTo>
                    <a:pt x="2577932" y="1539136"/>
                  </a:lnTo>
                  <a:lnTo>
                    <a:pt x="2582696" y="1548668"/>
                  </a:lnTo>
                  <a:lnTo>
                    <a:pt x="2620816" y="1567728"/>
                  </a:lnTo>
                  <a:lnTo>
                    <a:pt x="2635112" y="1577258"/>
                  </a:lnTo>
                  <a:lnTo>
                    <a:pt x="2644644" y="1582024"/>
                  </a:lnTo>
                  <a:lnTo>
                    <a:pt x="2649408" y="1582024"/>
                  </a:lnTo>
                  <a:lnTo>
                    <a:pt x="2654176" y="1582024"/>
                  </a:lnTo>
                  <a:lnTo>
                    <a:pt x="2658940" y="1596318"/>
                  </a:lnTo>
                  <a:lnTo>
                    <a:pt x="2668468" y="1601084"/>
                  </a:lnTo>
                  <a:lnTo>
                    <a:pt x="2678000" y="1601084"/>
                  </a:lnTo>
                  <a:lnTo>
                    <a:pt x="2701824" y="1591554"/>
                  </a:lnTo>
                  <a:lnTo>
                    <a:pt x="2720884" y="1582024"/>
                  </a:lnTo>
                  <a:lnTo>
                    <a:pt x="2735180" y="1586788"/>
                  </a:lnTo>
                  <a:lnTo>
                    <a:pt x="2739948" y="1596318"/>
                  </a:lnTo>
                  <a:lnTo>
                    <a:pt x="2739948" y="1605848"/>
                  </a:lnTo>
                  <a:lnTo>
                    <a:pt x="2744712" y="1620144"/>
                  </a:lnTo>
                  <a:lnTo>
                    <a:pt x="2754240" y="1624910"/>
                  </a:lnTo>
                  <a:lnTo>
                    <a:pt x="2763772" y="1624910"/>
                  </a:lnTo>
                  <a:lnTo>
                    <a:pt x="2787596" y="1615378"/>
                  </a:lnTo>
                  <a:lnTo>
                    <a:pt x="2806656" y="1624910"/>
                  </a:lnTo>
                  <a:lnTo>
                    <a:pt x="2825720" y="1624910"/>
                  </a:lnTo>
                  <a:lnTo>
                    <a:pt x="2844780" y="1629674"/>
                  </a:lnTo>
                  <a:lnTo>
                    <a:pt x="2854308" y="1634440"/>
                  </a:lnTo>
                  <a:lnTo>
                    <a:pt x="2873368" y="1643970"/>
                  </a:lnTo>
                  <a:lnTo>
                    <a:pt x="2897196" y="1653500"/>
                  </a:lnTo>
                  <a:lnTo>
                    <a:pt x="2906724" y="1653500"/>
                  </a:lnTo>
                  <a:lnTo>
                    <a:pt x="2944848" y="1634440"/>
                  </a:lnTo>
                  <a:lnTo>
                    <a:pt x="2949612" y="1634440"/>
                  </a:lnTo>
                  <a:lnTo>
                    <a:pt x="2959144" y="1653500"/>
                  </a:lnTo>
                  <a:lnTo>
                    <a:pt x="2968672" y="1663030"/>
                  </a:lnTo>
                  <a:lnTo>
                    <a:pt x="2987732" y="1667796"/>
                  </a:lnTo>
                  <a:lnTo>
                    <a:pt x="3006792" y="1658264"/>
                  </a:lnTo>
                  <a:lnTo>
                    <a:pt x="3025856" y="1658264"/>
                  </a:lnTo>
                  <a:lnTo>
                    <a:pt x="3044916" y="1663030"/>
                  </a:lnTo>
                  <a:lnTo>
                    <a:pt x="3059208" y="1658264"/>
                  </a:lnTo>
                  <a:lnTo>
                    <a:pt x="3078272" y="1653500"/>
                  </a:lnTo>
                  <a:lnTo>
                    <a:pt x="3097332" y="1663030"/>
                  </a:lnTo>
                  <a:lnTo>
                    <a:pt x="3102096" y="1663030"/>
                  </a:lnTo>
                  <a:lnTo>
                    <a:pt x="3106860" y="1653500"/>
                  </a:lnTo>
                  <a:lnTo>
                    <a:pt x="3116392" y="1629674"/>
                  </a:lnTo>
                  <a:lnTo>
                    <a:pt x="3125920" y="1605848"/>
                  </a:lnTo>
                  <a:lnTo>
                    <a:pt x="3125920" y="1591554"/>
                  </a:lnTo>
                  <a:lnTo>
                    <a:pt x="3116392" y="1567728"/>
                  </a:lnTo>
                  <a:lnTo>
                    <a:pt x="3097332" y="1539136"/>
                  </a:lnTo>
                  <a:lnTo>
                    <a:pt x="3097332" y="1534372"/>
                  </a:lnTo>
                  <a:lnTo>
                    <a:pt x="3102096" y="1481956"/>
                  </a:lnTo>
                  <a:lnTo>
                    <a:pt x="3111628" y="1458130"/>
                  </a:lnTo>
                  <a:lnTo>
                    <a:pt x="3116392" y="1443834"/>
                  </a:lnTo>
                  <a:lnTo>
                    <a:pt x="3121156" y="1424774"/>
                  </a:lnTo>
                  <a:lnTo>
                    <a:pt x="3125920" y="1415244"/>
                  </a:lnTo>
                  <a:lnTo>
                    <a:pt x="3125920" y="1405714"/>
                  </a:lnTo>
                  <a:lnTo>
                    <a:pt x="3116392" y="1400948"/>
                  </a:lnTo>
                  <a:lnTo>
                    <a:pt x="3116392" y="1396184"/>
                  </a:lnTo>
                  <a:lnTo>
                    <a:pt x="3116392" y="1391418"/>
                  </a:lnTo>
                  <a:lnTo>
                    <a:pt x="3121156" y="1386652"/>
                  </a:lnTo>
                  <a:lnTo>
                    <a:pt x="3144984" y="1386652"/>
                  </a:lnTo>
                  <a:lnTo>
                    <a:pt x="3168808" y="1377122"/>
                  </a:lnTo>
                  <a:lnTo>
                    <a:pt x="3173572" y="1372358"/>
                  </a:lnTo>
                  <a:lnTo>
                    <a:pt x="3183104" y="1367592"/>
                  </a:lnTo>
                  <a:lnTo>
                    <a:pt x="3187868" y="1362828"/>
                  </a:lnTo>
                  <a:lnTo>
                    <a:pt x="3197400" y="1362828"/>
                  </a:lnTo>
                  <a:lnTo>
                    <a:pt x="3216460" y="1372358"/>
                  </a:lnTo>
                  <a:lnTo>
                    <a:pt x="3225988" y="1377122"/>
                  </a:lnTo>
                  <a:lnTo>
                    <a:pt x="3230756" y="1396184"/>
                  </a:lnTo>
                  <a:lnTo>
                    <a:pt x="3230756" y="1400948"/>
                  </a:lnTo>
                  <a:lnTo>
                    <a:pt x="3230756" y="1420008"/>
                  </a:lnTo>
                  <a:lnTo>
                    <a:pt x="3216460" y="1462894"/>
                  </a:lnTo>
                  <a:lnTo>
                    <a:pt x="3221224" y="1481956"/>
                  </a:lnTo>
                  <a:lnTo>
                    <a:pt x="3230756" y="1491486"/>
                  </a:lnTo>
                  <a:lnTo>
                    <a:pt x="3240284" y="1501016"/>
                  </a:lnTo>
                  <a:lnTo>
                    <a:pt x="3240284" y="1505780"/>
                  </a:lnTo>
                  <a:lnTo>
                    <a:pt x="3221224" y="1520076"/>
                  </a:lnTo>
                  <a:lnTo>
                    <a:pt x="3216460" y="1524842"/>
                  </a:lnTo>
                  <a:lnTo>
                    <a:pt x="3221224" y="1534372"/>
                  </a:lnTo>
                  <a:lnTo>
                    <a:pt x="3225988" y="1539136"/>
                  </a:lnTo>
                  <a:lnTo>
                    <a:pt x="3230756" y="1543902"/>
                  </a:lnTo>
                  <a:lnTo>
                    <a:pt x="3235520" y="1562962"/>
                  </a:lnTo>
                  <a:lnTo>
                    <a:pt x="3245048" y="1567728"/>
                  </a:lnTo>
                  <a:lnTo>
                    <a:pt x="3264112" y="1582024"/>
                  </a:lnTo>
                  <a:lnTo>
                    <a:pt x="3278404" y="1586788"/>
                  </a:lnTo>
                  <a:lnTo>
                    <a:pt x="3306996" y="1582024"/>
                  </a:lnTo>
                  <a:lnTo>
                    <a:pt x="3316528" y="1586788"/>
                  </a:lnTo>
                  <a:lnTo>
                    <a:pt x="3330824" y="1591554"/>
                  </a:lnTo>
                  <a:lnTo>
                    <a:pt x="3340352" y="1591554"/>
                  </a:lnTo>
                  <a:lnTo>
                    <a:pt x="3349884" y="1596318"/>
                  </a:lnTo>
                  <a:lnTo>
                    <a:pt x="3349884" y="1601084"/>
                  </a:lnTo>
                  <a:lnTo>
                    <a:pt x="3349884" y="1605848"/>
                  </a:lnTo>
                  <a:lnTo>
                    <a:pt x="3368944" y="1605848"/>
                  </a:lnTo>
                  <a:lnTo>
                    <a:pt x="3373708" y="1605848"/>
                  </a:lnTo>
                  <a:lnTo>
                    <a:pt x="3402300" y="1605848"/>
                  </a:lnTo>
                  <a:lnTo>
                    <a:pt x="3430888" y="1601084"/>
                  </a:lnTo>
                  <a:lnTo>
                    <a:pt x="3445184" y="1582024"/>
                  </a:lnTo>
                  <a:lnTo>
                    <a:pt x="3449952" y="1582024"/>
                  </a:lnTo>
                  <a:lnTo>
                    <a:pt x="3464244" y="1577258"/>
                  </a:lnTo>
                  <a:lnTo>
                    <a:pt x="3483308" y="1582024"/>
                  </a:lnTo>
                  <a:lnTo>
                    <a:pt x="3497600" y="1591554"/>
                  </a:lnTo>
                  <a:lnTo>
                    <a:pt x="3511896" y="1596318"/>
                  </a:lnTo>
                  <a:lnTo>
                    <a:pt x="3526192" y="1596318"/>
                  </a:lnTo>
                  <a:lnTo>
                    <a:pt x="3545252" y="1596318"/>
                  </a:lnTo>
                  <a:lnTo>
                    <a:pt x="3588140" y="1591554"/>
                  </a:lnTo>
                  <a:lnTo>
                    <a:pt x="3611964" y="1591554"/>
                  </a:lnTo>
                  <a:lnTo>
                    <a:pt x="3635792" y="1577258"/>
                  </a:lnTo>
                  <a:lnTo>
                    <a:pt x="3640556" y="1577258"/>
                  </a:lnTo>
                  <a:lnTo>
                    <a:pt x="3650084" y="1591554"/>
                  </a:lnTo>
                  <a:lnTo>
                    <a:pt x="3673912" y="1591554"/>
                  </a:lnTo>
                  <a:lnTo>
                    <a:pt x="3688208" y="1586788"/>
                  </a:lnTo>
                  <a:lnTo>
                    <a:pt x="3697736" y="1582024"/>
                  </a:lnTo>
                  <a:lnTo>
                    <a:pt x="3707268" y="1582024"/>
                  </a:lnTo>
                  <a:lnTo>
                    <a:pt x="3716796" y="1582024"/>
                  </a:lnTo>
                  <a:lnTo>
                    <a:pt x="3726328" y="1582024"/>
                  </a:lnTo>
                  <a:lnTo>
                    <a:pt x="3731092" y="1577258"/>
                  </a:lnTo>
                  <a:lnTo>
                    <a:pt x="3735856" y="1572492"/>
                  </a:lnTo>
                  <a:lnTo>
                    <a:pt x="3735856" y="1558198"/>
                  </a:lnTo>
                  <a:lnTo>
                    <a:pt x="3731092" y="1548668"/>
                  </a:lnTo>
                  <a:lnTo>
                    <a:pt x="3726328" y="1543902"/>
                  </a:lnTo>
                  <a:lnTo>
                    <a:pt x="3721564" y="1539136"/>
                  </a:lnTo>
                  <a:lnTo>
                    <a:pt x="3726328" y="1529606"/>
                  </a:lnTo>
                  <a:lnTo>
                    <a:pt x="3731092" y="1520076"/>
                  </a:lnTo>
                  <a:lnTo>
                    <a:pt x="3735856" y="1505780"/>
                  </a:lnTo>
                  <a:lnTo>
                    <a:pt x="3731092" y="1491486"/>
                  </a:lnTo>
                  <a:lnTo>
                    <a:pt x="3721564" y="1477190"/>
                  </a:lnTo>
                  <a:lnTo>
                    <a:pt x="3716796" y="1477190"/>
                  </a:lnTo>
                  <a:lnTo>
                    <a:pt x="3702504" y="1477190"/>
                  </a:lnTo>
                  <a:lnTo>
                    <a:pt x="3683440" y="1477190"/>
                  </a:lnTo>
                  <a:lnTo>
                    <a:pt x="3669148" y="1467660"/>
                  </a:lnTo>
                  <a:lnTo>
                    <a:pt x="3659616" y="1458130"/>
                  </a:lnTo>
                  <a:lnTo>
                    <a:pt x="3659616" y="1448600"/>
                  </a:lnTo>
                  <a:lnTo>
                    <a:pt x="3659616" y="1439070"/>
                  </a:lnTo>
                  <a:lnTo>
                    <a:pt x="3669148" y="1424774"/>
                  </a:lnTo>
                  <a:lnTo>
                    <a:pt x="3678676" y="1424774"/>
                  </a:lnTo>
                  <a:lnTo>
                    <a:pt x="3697736" y="1424774"/>
                  </a:lnTo>
                  <a:lnTo>
                    <a:pt x="3712032" y="1429538"/>
                  </a:lnTo>
                  <a:lnTo>
                    <a:pt x="3721564" y="1429538"/>
                  </a:lnTo>
                  <a:lnTo>
                    <a:pt x="3740624" y="1415244"/>
                  </a:lnTo>
                  <a:lnTo>
                    <a:pt x="3750152" y="1415244"/>
                  </a:lnTo>
                  <a:lnTo>
                    <a:pt x="3759684" y="1410478"/>
                  </a:lnTo>
                  <a:lnTo>
                    <a:pt x="3764448" y="1405714"/>
                  </a:lnTo>
                  <a:lnTo>
                    <a:pt x="3769212" y="1410478"/>
                  </a:lnTo>
                  <a:lnTo>
                    <a:pt x="3778744" y="1410478"/>
                  </a:lnTo>
                  <a:lnTo>
                    <a:pt x="3788276" y="1410478"/>
                  </a:lnTo>
                  <a:lnTo>
                    <a:pt x="3797804" y="1405714"/>
                  </a:lnTo>
                  <a:lnTo>
                    <a:pt x="3812100" y="1400948"/>
                  </a:lnTo>
                  <a:lnTo>
                    <a:pt x="3826396" y="1386652"/>
                  </a:lnTo>
                  <a:lnTo>
                    <a:pt x="3831160" y="1381888"/>
                  </a:lnTo>
                  <a:lnTo>
                    <a:pt x="3831160" y="1377122"/>
                  </a:lnTo>
                  <a:lnTo>
                    <a:pt x="3831160" y="1372358"/>
                  </a:lnTo>
                  <a:lnTo>
                    <a:pt x="3826396" y="1367592"/>
                  </a:lnTo>
                  <a:lnTo>
                    <a:pt x="3826396" y="1362828"/>
                  </a:lnTo>
                  <a:lnTo>
                    <a:pt x="3835924" y="1353296"/>
                  </a:lnTo>
                  <a:lnTo>
                    <a:pt x="3864516" y="1339002"/>
                  </a:lnTo>
                  <a:lnTo>
                    <a:pt x="3888344" y="1319940"/>
                  </a:lnTo>
                  <a:lnTo>
                    <a:pt x="3897872" y="1310410"/>
                  </a:lnTo>
                  <a:lnTo>
                    <a:pt x="3907404" y="1291350"/>
                  </a:lnTo>
                  <a:lnTo>
                    <a:pt x="3912168" y="1277054"/>
                  </a:lnTo>
                  <a:lnTo>
                    <a:pt x="3921696" y="1267524"/>
                  </a:lnTo>
                  <a:lnTo>
                    <a:pt x="3935992" y="1262760"/>
                  </a:lnTo>
                  <a:lnTo>
                    <a:pt x="3983644" y="1257994"/>
                  </a:lnTo>
                  <a:lnTo>
                    <a:pt x="3997940" y="1248464"/>
                  </a:lnTo>
                  <a:lnTo>
                    <a:pt x="4021764" y="1238934"/>
                  </a:lnTo>
                  <a:lnTo>
                    <a:pt x="4031296" y="1229404"/>
                  </a:lnTo>
                  <a:lnTo>
                    <a:pt x="4040824" y="1219874"/>
                  </a:lnTo>
                  <a:lnTo>
                    <a:pt x="4040824" y="1210344"/>
                  </a:lnTo>
                  <a:lnTo>
                    <a:pt x="4055120" y="1205578"/>
                  </a:lnTo>
                  <a:lnTo>
                    <a:pt x="4069416" y="1191282"/>
                  </a:lnTo>
                  <a:lnTo>
                    <a:pt x="4083712" y="1176988"/>
                  </a:lnTo>
                  <a:lnTo>
                    <a:pt x="4112304" y="1162692"/>
                  </a:lnTo>
                  <a:lnTo>
                    <a:pt x="4136128" y="1148396"/>
                  </a:lnTo>
                  <a:lnTo>
                    <a:pt x="4140892" y="1148396"/>
                  </a:lnTo>
                  <a:lnTo>
                    <a:pt x="4150424" y="1157926"/>
                  </a:lnTo>
                  <a:lnTo>
                    <a:pt x="4155188" y="1167456"/>
                  </a:lnTo>
                  <a:lnTo>
                    <a:pt x="4159956" y="1172222"/>
                  </a:lnTo>
                  <a:lnTo>
                    <a:pt x="4188544" y="1176988"/>
                  </a:lnTo>
                  <a:lnTo>
                    <a:pt x="4193312" y="1176988"/>
                  </a:lnTo>
                  <a:lnTo>
                    <a:pt x="4217136" y="1181752"/>
                  </a:lnTo>
                  <a:lnTo>
                    <a:pt x="4236196" y="1191282"/>
                  </a:lnTo>
                  <a:lnTo>
                    <a:pt x="4250492" y="1196048"/>
                  </a:lnTo>
                  <a:lnTo>
                    <a:pt x="4255256" y="1196048"/>
                  </a:lnTo>
                  <a:lnTo>
                    <a:pt x="4260024" y="1191282"/>
                  </a:lnTo>
                  <a:lnTo>
                    <a:pt x="4264788" y="1186518"/>
                  </a:lnTo>
                  <a:lnTo>
                    <a:pt x="4269552" y="1176988"/>
                  </a:lnTo>
                  <a:lnTo>
                    <a:pt x="4274316" y="1176988"/>
                  </a:lnTo>
                  <a:lnTo>
                    <a:pt x="4274316" y="1167456"/>
                  </a:lnTo>
                  <a:lnTo>
                    <a:pt x="4302908" y="1148396"/>
                  </a:lnTo>
                  <a:lnTo>
                    <a:pt x="4331500" y="1134102"/>
                  </a:lnTo>
                  <a:lnTo>
                    <a:pt x="4355324" y="1119806"/>
                  </a:lnTo>
                  <a:lnTo>
                    <a:pt x="4360088" y="1124570"/>
                  </a:lnTo>
                  <a:lnTo>
                    <a:pt x="4369620" y="1134102"/>
                  </a:lnTo>
                  <a:lnTo>
                    <a:pt x="4379152" y="1153162"/>
                  </a:lnTo>
                  <a:lnTo>
                    <a:pt x="4383916" y="1157926"/>
                  </a:lnTo>
                  <a:lnTo>
                    <a:pt x="4402976" y="1153162"/>
                  </a:lnTo>
                  <a:lnTo>
                    <a:pt x="4402976" y="1157926"/>
                  </a:lnTo>
                  <a:lnTo>
                    <a:pt x="4402976" y="1162692"/>
                  </a:lnTo>
                  <a:lnTo>
                    <a:pt x="4393444" y="1172222"/>
                  </a:lnTo>
                  <a:lnTo>
                    <a:pt x="4379152" y="1181752"/>
                  </a:lnTo>
                  <a:lnTo>
                    <a:pt x="4369620" y="1186518"/>
                  </a:lnTo>
                  <a:lnTo>
                    <a:pt x="4369620" y="1210344"/>
                  </a:lnTo>
                  <a:lnTo>
                    <a:pt x="4369620" y="1215108"/>
                  </a:lnTo>
                  <a:lnTo>
                    <a:pt x="4374384" y="1219874"/>
                  </a:lnTo>
                  <a:lnTo>
                    <a:pt x="4402976" y="1196048"/>
                  </a:lnTo>
                  <a:lnTo>
                    <a:pt x="4417272" y="1191282"/>
                  </a:lnTo>
                  <a:lnTo>
                    <a:pt x="4422036" y="1196048"/>
                  </a:lnTo>
                  <a:lnTo>
                    <a:pt x="4422036" y="1210344"/>
                  </a:lnTo>
                  <a:lnTo>
                    <a:pt x="4436332" y="1234168"/>
                  </a:lnTo>
                  <a:lnTo>
                    <a:pt x="4441096" y="1243700"/>
                  </a:lnTo>
                  <a:lnTo>
                    <a:pt x="4412504" y="1272290"/>
                  </a:lnTo>
                  <a:lnTo>
                    <a:pt x="4402976" y="1286586"/>
                  </a:lnTo>
                  <a:lnTo>
                    <a:pt x="4402976" y="1291350"/>
                  </a:lnTo>
                  <a:lnTo>
                    <a:pt x="4398212" y="1296116"/>
                  </a:lnTo>
                  <a:lnTo>
                    <a:pt x="4393444" y="1305646"/>
                  </a:lnTo>
                  <a:lnTo>
                    <a:pt x="4398212" y="1310410"/>
                  </a:lnTo>
                  <a:lnTo>
                    <a:pt x="4407740" y="1315176"/>
                  </a:lnTo>
                  <a:lnTo>
                    <a:pt x="4412504" y="1315176"/>
                  </a:lnTo>
                  <a:lnTo>
                    <a:pt x="4417272" y="1305646"/>
                  </a:lnTo>
                  <a:lnTo>
                    <a:pt x="4445864" y="1296116"/>
                  </a:lnTo>
                  <a:lnTo>
                    <a:pt x="4450628" y="1300880"/>
                  </a:lnTo>
                  <a:lnTo>
                    <a:pt x="4469688" y="1315176"/>
                  </a:lnTo>
                  <a:lnTo>
                    <a:pt x="4479216" y="1315176"/>
                  </a:lnTo>
                  <a:lnTo>
                    <a:pt x="4503044" y="1319940"/>
                  </a:lnTo>
                  <a:lnTo>
                    <a:pt x="4517340" y="1315176"/>
                  </a:lnTo>
                  <a:lnTo>
                    <a:pt x="4526868" y="1319940"/>
                  </a:lnTo>
                  <a:lnTo>
                    <a:pt x="4550696" y="1339002"/>
                  </a:lnTo>
                  <a:lnTo>
                    <a:pt x="4555460" y="1343766"/>
                  </a:lnTo>
                  <a:lnTo>
                    <a:pt x="4555460" y="1353296"/>
                  </a:lnTo>
                  <a:lnTo>
                    <a:pt x="4555460" y="1362828"/>
                  </a:lnTo>
                  <a:lnTo>
                    <a:pt x="4560224" y="1372358"/>
                  </a:lnTo>
                  <a:lnTo>
                    <a:pt x="4560224" y="1381888"/>
                  </a:lnTo>
                  <a:lnTo>
                    <a:pt x="4560224" y="1391418"/>
                  </a:lnTo>
                  <a:lnTo>
                    <a:pt x="4555460" y="1396184"/>
                  </a:lnTo>
                  <a:lnTo>
                    <a:pt x="4541164" y="1400948"/>
                  </a:lnTo>
                  <a:lnTo>
                    <a:pt x="4531632" y="1410478"/>
                  </a:lnTo>
                  <a:lnTo>
                    <a:pt x="4512572" y="1424774"/>
                  </a:lnTo>
                  <a:lnTo>
                    <a:pt x="4498280" y="1434304"/>
                  </a:lnTo>
                  <a:lnTo>
                    <a:pt x="4488748" y="1443834"/>
                  </a:lnTo>
                  <a:lnTo>
                    <a:pt x="4483984" y="1453364"/>
                  </a:lnTo>
                  <a:lnTo>
                    <a:pt x="4488748" y="1467660"/>
                  </a:lnTo>
                  <a:lnTo>
                    <a:pt x="4488748" y="1477190"/>
                  </a:lnTo>
                  <a:lnTo>
                    <a:pt x="4522104" y="1529606"/>
                  </a:lnTo>
                  <a:lnTo>
                    <a:pt x="4522104" y="1534372"/>
                  </a:lnTo>
                  <a:lnTo>
                    <a:pt x="4512572" y="1539136"/>
                  </a:lnTo>
                  <a:lnTo>
                    <a:pt x="4498280" y="1534372"/>
                  </a:lnTo>
                  <a:lnTo>
                    <a:pt x="4488748" y="1524842"/>
                  </a:lnTo>
                  <a:lnTo>
                    <a:pt x="4474452" y="1505780"/>
                  </a:lnTo>
                  <a:lnTo>
                    <a:pt x="4464924" y="1496250"/>
                  </a:lnTo>
                  <a:lnTo>
                    <a:pt x="4455392" y="1496250"/>
                  </a:lnTo>
                  <a:lnTo>
                    <a:pt x="4393444" y="1505780"/>
                  </a:lnTo>
                  <a:lnTo>
                    <a:pt x="4379152" y="1510546"/>
                  </a:lnTo>
                  <a:lnTo>
                    <a:pt x="4360088" y="1520076"/>
                  </a:lnTo>
                  <a:lnTo>
                    <a:pt x="4345796" y="1534372"/>
                  </a:lnTo>
                  <a:lnTo>
                    <a:pt x="4336264" y="1548668"/>
                  </a:lnTo>
                  <a:lnTo>
                    <a:pt x="4321968" y="1553432"/>
                  </a:lnTo>
                  <a:lnTo>
                    <a:pt x="4307672" y="1562962"/>
                  </a:lnTo>
                  <a:lnTo>
                    <a:pt x="4264788" y="1601084"/>
                  </a:lnTo>
                  <a:lnTo>
                    <a:pt x="4240960" y="1615378"/>
                  </a:lnTo>
                  <a:lnTo>
                    <a:pt x="4226664" y="1620144"/>
                  </a:lnTo>
                  <a:lnTo>
                    <a:pt x="4212372" y="1624910"/>
                  </a:lnTo>
                  <a:lnTo>
                    <a:pt x="4207604" y="1639204"/>
                  </a:lnTo>
                  <a:lnTo>
                    <a:pt x="4202840" y="1648734"/>
                  </a:lnTo>
                  <a:lnTo>
                    <a:pt x="4202840" y="1672560"/>
                  </a:lnTo>
                  <a:lnTo>
                    <a:pt x="4202840" y="1696386"/>
                  </a:lnTo>
                  <a:lnTo>
                    <a:pt x="4212372" y="1715446"/>
                  </a:lnTo>
                  <a:lnTo>
                    <a:pt x="4212372" y="1720212"/>
                  </a:lnTo>
                  <a:lnTo>
                    <a:pt x="4212372" y="1724976"/>
                  </a:lnTo>
                  <a:lnTo>
                    <a:pt x="4207604" y="1734508"/>
                  </a:lnTo>
                  <a:lnTo>
                    <a:pt x="4198076" y="1739272"/>
                  </a:lnTo>
                  <a:lnTo>
                    <a:pt x="4198076" y="1744038"/>
                  </a:lnTo>
                  <a:lnTo>
                    <a:pt x="4193312" y="1772628"/>
                  </a:lnTo>
                  <a:lnTo>
                    <a:pt x="4183780" y="1782158"/>
                  </a:lnTo>
                  <a:lnTo>
                    <a:pt x="4169484" y="1801218"/>
                  </a:lnTo>
                  <a:lnTo>
                    <a:pt x="4159956" y="1815514"/>
                  </a:lnTo>
                  <a:lnTo>
                    <a:pt x="4140892" y="1825044"/>
                  </a:lnTo>
                  <a:lnTo>
                    <a:pt x="4136128" y="1834574"/>
                  </a:lnTo>
                  <a:lnTo>
                    <a:pt x="4126600" y="1848870"/>
                  </a:lnTo>
                  <a:lnTo>
                    <a:pt x="4121832" y="1863166"/>
                  </a:lnTo>
                  <a:lnTo>
                    <a:pt x="4121832" y="1867930"/>
                  </a:lnTo>
                  <a:lnTo>
                    <a:pt x="4126600" y="1872696"/>
                  </a:lnTo>
                  <a:lnTo>
                    <a:pt x="4131364" y="1877460"/>
                  </a:lnTo>
                  <a:lnTo>
                    <a:pt x="4140892" y="1877460"/>
                  </a:lnTo>
                  <a:lnTo>
                    <a:pt x="4145660" y="1886992"/>
                  </a:lnTo>
                  <a:lnTo>
                    <a:pt x="4145660" y="1896522"/>
                  </a:lnTo>
                  <a:lnTo>
                    <a:pt x="4140892" y="1915582"/>
                  </a:lnTo>
                  <a:lnTo>
                    <a:pt x="4126600" y="1944172"/>
                  </a:lnTo>
                  <a:lnTo>
                    <a:pt x="4098008" y="1987058"/>
                  </a:lnTo>
                  <a:lnTo>
                    <a:pt x="4098008" y="1991824"/>
                  </a:lnTo>
                  <a:lnTo>
                    <a:pt x="4083712" y="2020414"/>
                  </a:lnTo>
                  <a:lnTo>
                    <a:pt x="4069416" y="2053770"/>
                  </a:lnTo>
                  <a:lnTo>
                    <a:pt x="4064652" y="2077596"/>
                  </a:lnTo>
                  <a:lnTo>
                    <a:pt x="4055120" y="2096656"/>
                  </a:lnTo>
                  <a:lnTo>
                    <a:pt x="4050356" y="2096656"/>
                  </a:lnTo>
                  <a:lnTo>
                    <a:pt x="4040824" y="2091892"/>
                  </a:lnTo>
                  <a:lnTo>
                    <a:pt x="4012236" y="2087126"/>
                  </a:lnTo>
                  <a:lnTo>
                    <a:pt x="3997940" y="2077596"/>
                  </a:lnTo>
                  <a:lnTo>
                    <a:pt x="3988408" y="2072832"/>
                  </a:lnTo>
                  <a:lnTo>
                    <a:pt x="3978880" y="2072832"/>
                  </a:lnTo>
                  <a:lnTo>
                    <a:pt x="3969348" y="2077596"/>
                  </a:lnTo>
                  <a:lnTo>
                    <a:pt x="3959820" y="2077596"/>
                  </a:lnTo>
                  <a:lnTo>
                    <a:pt x="3950288" y="2077596"/>
                  </a:lnTo>
                  <a:lnTo>
                    <a:pt x="3935992" y="2063300"/>
                  </a:lnTo>
                  <a:lnTo>
                    <a:pt x="3931228" y="2063300"/>
                  </a:lnTo>
                  <a:lnTo>
                    <a:pt x="3931228" y="2072832"/>
                  </a:lnTo>
                  <a:lnTo>
                    <a:pt x="3940760" y="2115716"/>
                  </a:lnTo>
                  <a:lnTo>
                    <a:pt x="3945524" y="2130012"/>
                  </a:lnTo>
                  <a:lnTo>
                    <a:pt x="3945524" y="2153838"/>
                  </a:lnTo>
                  <a:lnTo>
                    <a:pt x="3940760" y="2187194"/>
                  </a:lnTo>
                  <a:lnTo>
                    <a:pt x="3940760" y="2225316"/>
                  </a:lnTo>
                  <a:lnTo>
                    <a:pt x="3935992" y="2230080"/>
                  </a:lnTo>
                  <a:lnTo>
                    <a:pt x="3931228" y="2239610"/>
                  </a:lnTo>
                  <a:lnTo>
                    <a:pt x="3921696" y="2244376"/>
                  </a:lnTo>
                  <a:lnTo>
                    <a:pt x="3912168" y="2239610"/>
                  </a:lnTo>
                  <a:lnTo>
                    <a:pt x="3907404" y="2239610"/>
                  </a:lnTo>
                  <a:lnTo>
                    <a:pt x="3902636" y="2244376"/>
                  </a:lnTo>
                  <a:lnTo>
                    <a:pt x="3907404" y="2263436"/>
                  </a:lnTo>
                  <a:lnTo>
                    <a:pt x="3897872" y="2277732"/>
                  </a:lnTo>
                  <a:lnTo>
                    <a:pt x="3893108" y="2292026"/>
                  </a:lnTo>
                  <a:lnTo>
                    <a:pt x="3893108" y="2306322"/>
                  </a:lnTo>
                  <a:lnTo>
                    <a:pt x="3897872" y="2320618"/>
                  </a:lnTo>
                  <a:lnTo>
                    <a:pt x="3907404" y="2353974"/>
                  </a:lnTo>
                  <a:lnTo>
                    <a:pt x="3907404" y="2363504"/>
                  </a:lnTo>
                  <a:lnTo>
                    <a:pt x="3902636" y="2377800"/>
                  </a:lnTo>
                  <a:lnTo>
                    <a:pt x="3902636" y="2382564"/>
                  </a:lnTo>
                  <a:lnTo>
                    <a:pt x="3893108" y="2377800"/>
                  </a:lnTo>
                  <a:lnTo>
                    <a:pt x="3888344" y="2382564"/>
                  </a:lnTo>
                  <a:lnTo>
                    <a:pt x="3883576" y="2392094"/>
                  </a:lnTo>
                  <a:lnTo>
                    <a:pt x="3874048" y="2415920"/>
                  </a:lnTo>
                  <a:lnTo>
                    <a:pt x="3869280" y="2415920"/>
                  </a:lnTo>
                  <a:lnTo>
                    <a:pt x="3859752" y="2411156"/>
                  </a:lnTo>
                  <a:lnTo>
                    <a:pt x="3845456" y="2396860"/>
                  </a:lnTo>
                  <a:lnTo>
                    <a:pt x="3835924" y="2392094"/>
                  </a:lnTo>
                  <a:lnTo>
                    <a:pt x="3831160" y="2392094"/>
                  </a:lnTo>
                  <a:lnTo>
                    <a:pt x="3831160" y="2396860"/>
                  </a:lnTo>
                  <a:lnTo>
                    <a:pt x="3826396" y="2406390"/>
                  </a:lnTo>
                  <a:lnTo>
                    <a:pt x="3821632" y="2411156"/>
                  </a:lnTo>
                  <a:lnTo>
                    <a:pt x="3816864" y="2420686"/>
                  </a:lnTo>
                  <a:lnTo>
                    <a:pt x="3812100" y="2406390"/>
                  </a:lnTo>
                  <a:lnTo>
                    <a:pt x="3807336" y="2344444"/>
                  </a:lnTo>
                  <a:lnTo>
                    <a:pt x="3802568" y="2325382"/>
                  </a:lnTo>
                  <a:lnTo>
                    <a:pt x="3802568" y="2301556"/>
                  </a:lnTo>
                  <a:lnTo>
                    <a:pt x="3797804" y="2292026"/>
                  </a:lnTo>
                  <a:lnTo>
                    <a:pt x="3793040" y="2277732"/>
                  </a:lnTo>
                  <a:lnTo>
                    <a:pt x="3788276" y="2263436"/>
                  </a:lnTo>
                  <a:lnTo>
                    <a:pt x="3783508" y="2258672"/>
                  </a:lnTo>
                  <a:lnTo>
                    <a:pt x="3778744" y="2234846"/>
                  </a:lnTo>
                  <a:lnTo>
                    <a:pt x="3778744" y="2206254"/>
                  </a:lnTo>
                  <a:lnTo>
                    <a:pt x="3778744" y="2191960"/>
                  </a:lnTo>
                  <a:lnTo>
                    <a:pt x="3769212" y="2163368"/>
                  </a:lnTo>
                  <a:lnTo>
                    <a:pt x="3764448" y="2130012"/>
                  </a:lnTo>
                  <a:lnTo>
                    <a:pt x="3754920" y="2130012"/>
                  </a:lnTo>
                  <a:lnTo>
                    <a:pt x="3750152" y="2125248"/>
                  </a:lnTo>
                  <a:lnTo>
                    <a:pt x="3745388" y="2125248"/>
                  </a:lnTo>
                  <a:lnTo>
                    <a:pt x="3731092" y="2130012"/>
                  </a:lnTo>
                  <a:lnTo>
                    <a:pt x="3721564" y="2130012"/>
                  </a:lnTo>
                  <a:lnTo>
                    <a:pt x="3712032" y="2130012"/>
                  </a:lnTo>
                  <a:lnTo>
                    <a:pt x="3712032" y="2144308"/>
                  </a:lnTo>
                  <a:lnTo>
                    <a:pt x="3716796" y="2158604"/>
                  </a:lnTo>
                  <a:lnTo>
                    <a:pt x="3712032" y="2163368"/>
                  </a:lnTo>
                  <a:lnTo>
                    <a:pt x="3692972" y="2182428"/>
                  </a:lnTo>
                  <a:lnTo>
                    <a:pt x="3688208" y="2196724"/>
                  </a:lnTo>
                  <a:lnTo>
                    <a:pt x="3688208" y="2211020"/>
                  </a:lnTo>
                  <a:lnTo>
                    <a:pt x="3688208" y="2225316"/>
                  </a:lnTo>
                  <a:lnTo>
                    <a:pt x="3683440" y="2234846"/>
                  </a:lnTo>
                  <a:lnTo>
                    <a:pt x="3678676" y="2244376"/>
                  </a:lnTo>
                  <a:lnTo>
                    <a:pt x="3664380" y="2249140"/>
                  </a:lnTo>
                  <a:lnTo>
                    <a:pt x="3654852" y="2249140"/>
                  </a:lnTo>
                  <a:lnTo>
                    <a:pt x="3650084" y="2239610"/>
                  </a:lnTo>
                  <a:lnTo>
                    <a:pt x="3640556" y="2220550"/>
                  </a:lnTo>
                  <a:lnTo>
                    <a:pt x="3635792" y="2211020"/>
                  </a:lnTo>
                  <a:lnTo>
                    <a:pt x="3631024" y="2211020"/>
                  </a:lnTo>
                  <a:lnTo>
                    <a:pt x="3626260" y="2211020"/>
                  </a:lnTo>
                  <a:lnTo>
                    <a:pt x="3626260" y="2225316"/>
                  </a:lnTo>
                  <a:lnTo>
                    <a:pt x="3626260" y="2234846"/>
                  </a:lnTo>
                  <a:lnTo>
                    <a:pt x="3621496" y="2230080"/>
                  </a:lnTo>
                  <a:lnTo>
                    <a:pt x="3616728" y="2230080"/>
                  </a:lnTo>
                  <a:lnTo>
                    <a:pt x="3607200" y="2182428"/>
                  </a:lnTo>
                  <a:lnTo>
                    <a:pt x="3592904" y="2149072"/>
                  </a:lnTo>
                  <a:lnTo>
                    <a:pt x="3592904" y="2134778"/>
                  </a:lnTo>
                  <a:lnTo>
                    <a:pt x="3597668" y="2115716"/>
                  </a:lnTo>
                  <a:lnTo>
                    <a:pt x="3602436" y="2087126"/>
                  </a:lnTo>
                  <a:lnTo>
                    <a:pt x="3621496" y="2072832"/>
                  </a:lnTo>
                  <a:lnTo>
                    <a:pt x="3621496" y="2063300"/>
                  </a:lnTo>
                  <a:lnTo>
                    <a:pt x="3626260" y="2058536"/>
                  </a:lnTo>
                  <a:lnTo>
                    <a:pt x="3631024" y="2058536"/>
                  </a:lnTo>
                  <a:lnTo>
                    <a:pt x="3650084" y="2058536"/>
                  </a:lnTo>
                  <a:lnTo>
                    <a:pt x="3659616" y="2058536"/>
                  </a:lnTo>
                  <a:lnTo>
                    <a:pt x="3664380" y="2049006"/>
                  </a:lnTo>
                  <a:lnTo>
                    <a:pt x="3673912" y="2044240"/>
                  </a:lnTo>
                  <a:lnTo>
                    <a:pt x="3683440" y="2039476"/>
                  </a:lnTo>
                  <a:lnTo>
                    <a:pt x="3688208" y="2039476"/>
                  </a:lnTo>
                  <a:lnTo>
                    <a:pt x="3702504" y="2044240"/>
                  </a:lnTo>
                  <a:lnTo>
                    <a:pt x="3707268" y="2039476"/>
                  </a:lnTo>
                  <a:lnTo>
                    <a:pt x="3707268" y="2029944"/>
                  </a:lnTo>
                  <a:lnTo>
                    <a:pt x="3712032" y="2020414"/>
                  </a:lnTo>
                  <a:lnTo>
                    <a:pt x="3716796" y="2015650"/>
                  </a:lnTo>
                  <a:lnTo>
                    <a:pt x="3726328" y="2010884"/>
                  </a:lnTo>
                  <a:lnTo>
                    <a:pt x="3735856" y="2010884"/>
                  </a:lnTo>
                  <a:lnTo>
                    <a:pt x="3740624" y="2006120"/>
                  </a:lnTo>
                  <a:lnTo>
                    <a:pt x="3745388" y="1991824"/>
                  </a:lnTo>
                  <a:lnTo>
                    <a:pt x="3754920" y="1958468"/>
                  </a:lnTo>
                  <a:lnTo>
                    <a:pt x="3759684" y="1944172"/>
                  </a:lnTo>
                  <a:lnTo>
                    <a:pt x="3759684" y="1939408"/>
                  </a:lnTo>
                  <a:lnTo>
                    <a:pt x="3759684" y="1925112"/>
                  </a:lnTo>
                  <a:lnTo>
                    <a:pt x="3764448" y="1920348"/>
                  </a:lnTo>
                  <a:lnTo>
                    <a:pt x="3783508" y="1929878"/>
                  </a:lnTo>
                  <a:lnTo>
                    <a:pt x="3793040" y="1929878"/>
                  </a:lnTo>
                  <a:lnTo>
                    <a:pt x="3797804" y="1925112"/>
                  </a:lnTo>
                  <a:lnTo>
                    <a:pt x="3802568" y="1920348"/>
                  </a:lnTo>
                  <a:lnTo>
                    <a:pt x="3797804" y="1915582"/>
                  </a:lnTo>
                  <a:lnTo>
                    <a:pt x="3783508" y="1901286"/>
                  </a:lnTo>
                  <a:lnTo>
                    <a:pt x="3754920" y="1882226"/>
                  </a:lnTo>
                  <a:lnTo>
                    <a:pt x="3731092" y="1872696"/>
                  </a:lnTo>
                  <a:lnTo>
                    <a:pt x="3688208" y="1877460"/>
                  </a:lnTo>
                  <a:lnTo>
                    <a:pt x="3645320" y="1877460"/>
                  </a:lnTo>
                  <a:lnTo>
                    <a:pt x="3631024" y="1877460"/>
                  </a:lnTo>
                  <a:lnTo>
                    <a:pt x="3616728" y="1872696"/>
                  </a:lnTo>
                  <a:lnTo>
                    <a:pt x="3573844" y="1872696"/>
                  </a:lnTo>
                  <a:lnTo>
                    <a:pt x="3526192" y="1877460"/>
                  </a:lnTo>
                  <a:lnTo>
                    <a:pt x="3507132" y="1872696"/>
                  </a:lnTo>
                  <a:lnTo>
                    <a:pt x="3497600" y="1872696"/>
                  </a:lnTo>
                  <a:lnTo>
                    <a:pt x="3483308" y="1877460"/>
                  </a:lnTo>
                  <a:lnTo>
                    <a:pt x="3449952" y="1872696"/>
                  </a:lnTo>
                  <a:lnTo>
                    <a:pt x="3430888" y="1867930"/>
                  </a:lnTo>
                  <a:lnTo>
                    <a:pt x="3411828" y="1858400"/>
                  </a:lnTo>
                  <a:lnTo>
                    <a:pt x="3392768" y="1853636"/>
                  </a:lnTo>
                  <a:lnTo>
                    <a:pt x="3388004" y="1853636"/>
                  </a:lnTo>
                  <a:lnTo>
                    <a:pt x="3383240" y="1848870"/>
                  </a:lnTo>
                  <a:lnTo>
                    <a:pt x="3383240" y="1844104"/>
                  </a:lnTo>
                  <a:lnTo>
                    <a:pt x="3378472" y="1839340"/>
                  </a:lnTo>
                  <a:lnTo>
                    <a:pt x="3383240" y="1805984"/>
                  </a:lnTo>
                  <a:lnTo>
                    <a:pt x="3383240" y="1758332"/>
                  </a:lnTo>
                  <a:lnTo>
                    <a:pt x="3383240" y="1739272"/>
                  </a:lnTo>
                  <a:lnTo>
                    <a:pt x="3368944" y="1701152"/>
                  </a:lnTo>
                  <a:lnTo>
                    <a:pt x="3359412" y="1691620"/>
                  </a:lnTo>
                  <a:lnTo>
                    <a:pt x="3354648" y="1691620"/>
                  </a:lnTo>
                  <a:lnTo>
                    <a:pt x="3349884" y="1696386"/>
                  </a:lnTo>
                  <a:lnTo>
                    <a:pt x="3345116" y="1705916"/>
                  </a:lnTo>
                  <a:lnTo>
                    <a:pt x="3349884" y="1720212"/>
                  </a:lnTo>
                  <a:lnTo>
                    <a:pt x="3340352" y="1729742"/>
                  </a:lnTo>
                  <a:lnTo>
                    <a:pt x="3330824" y="1734508"/>
                  </a:lnTo>
                  <a:lnTo>
                    <a:pt x="3316528" y="1729742"/>
                  </a:lnTo>
                  <a:lnTo>
                    <a:pt x="3302232" y="1724976"/>
                  </a:lnTo>
                  <a:lnTo>
                    <a:pt x="3283172" y="1710682"/>
                  </a:lnTo>
                  <a:lnTo>
                    <a:pt x="3273640" y="1696386"/>
                  </a:lnTo>
                  <a:lnTo>
                    <a:pt x="3273640" y="1677326"/>
                  </a:lnTo>
                  <a:lnTo>
                    <a:pt x="3268876" y="1663030"/>
                  </a:lnTo>
                  <a:lnTo>
                    <a:pt x="3259344" y="1658264"/>
                  </a:lnTo>
                  <a:lnTo>
                    <a:pt x="3254580" y="1658264"/>
                  </a:lnTo>
                  <a:lnTo>
                    <a:pt x="3249816" y="1658264"/>
                  </a:lnTo>
                  <a:lnTo>
                    <a:pt x="3245048" y="1663030"/>
                  </a:lnTo>
                  <a:lnTo>
                    <a:pt x="3249816" y="1672560"/>
                  </a:lnTo>
                  <a:lnTo>
                    <a:pt x="3254580" y="1682090"/>
                  </a:lnTo>
                  <a:lnTo>
                    <a:pt x="3249816" y="1686856"/>
                  </a:lnTo>
                  <a:lnTo>
                    <a:pt x="3245048" y="1686856"/>
                  </a:lnTo>
                  <a:lnTo>
                    <a:pt x="3240284" y="1686856"/>
                  </a:lnTo>
                  <a:lnTo>
                    <a:pt x="3230756" y="1686856"/>
                  </a:lnTo>
                  <a:lnTo>
                    <a:pt x="3221224" y="1682090"/>
                  </a:lnTo>
                  <a:lnTo>
                    <a:pt x="3211696" y="1682090"/>
                  </a:lnTo>
                  <a:lnTo>
                    <a:pt x="3206928" y="1682090"/>
                  </a:lnTo>
                  <a:lnTo>
                    <a:pt x="3206928" y="1667796"/>
                  </a:lnTo>
                  <a:lnTo>
                    <a:pt x="3197400" y="1653500"/>
                  </a:lnTo>
                  <a:lnTo>
                    <a:pt x="3183104" y="1639204"/>
                  </a:lnTo>
                  <a:lnTo>
                    <a:pt x="3164044" y="1629674"/>
                  </a:lnTo>
                  <a:lnTo>
                    <a:pt x="3159276" y="1634440"/>
                  </a:lnTo>
                  <a:lnTo>
                    <a:pt x="3154512" y="1643970"/>
                  </a:lnTo>
                  <a:lnTo>
                    <a:pt x="3159276" y="1648734"/>
                  </a:lnTo>
                  <a:lnTo>
                    <a:pt x="3168808" y="1653500"/>
                  </a:lnTo>
                  <a:lnTo>
                    <a:pt x="3168808" y="1663030"/>
                  </a:lnTo>
                  <a:lnTo>
                    <a:pt x="3168808" y="1667796"/>
                  </a:lnTo>
                  <a:lnTo>
                    <a:pt x="3159276" y="1677326"/>
                  </a:lnTo>
                  <a:lnTo>
                    <a:pt x="3149748" y="1686856"/>
                  </a:lnTo>
                  <a:lnTo>
                    <a:pt x="3135452" y="1701152"/>
                  </a:lnTo>
                  <a:lnTo>
                    <a:pt x="3125920" y="1715446"/>
                  </a:lnTo>
                  <a:lnTo>
                    <a:pt x="3121156" y="1724976"/>
                  </a:lnTo>
                  <a:lnTo>
                    <a:pt x="3116392" y="1739272"/>
                  </a:lnTo>
                  <a:lnTo>
                    <a:pt x="3111628" y="1748802"/>
                  </a:lnTo>
                  <a:lnTo>
                    <a:pt x="3116392" y="1758332"/>
                  </a:lnTo>
                  <a:lnTo>
                    <a:pt x="3121156" y="1763098"/>
                  </a:lnTo>
                  <a:lnTo>
                    <a:pt x="3140216" y="1767862"/>
                  </a:lnTo>
                  <a:lnTo>
                    <a:pt x="3159276" y="1782158"/>
                  </a:lnTo>
                  <a:lnTo>
                    <a:pt x="3168808" y="1805984"/>
                  </a:lnTo>
                  <a:lnTo>
                    <a:pt x="3178336" y="1810748"/>
                  </a:lnTo>
                  <a:lnTo>
                    <a:pt x="3192632" y="1820280"/>
                  </a:lnTo>
                  <a:lnTo>
                    <a:pt x="3221224" y="1820280"/>
                  </a:lnTo>
                  <a:lnTo>
                    <a:pt x="3225988" y="1825044"/>
                  </a:lnTo>
                  <a:lnTo>
                    <a:pt x="3225988" y="1839340"/>
                  </a:lnTo>
                  <a:lnTo>
                    <a:pt x="3235520" y="1844104"/>
                  </a:lnTo>
                  <a:lnTo>
                    <a:pt x="3245048" y="1853636"/>
                  </a:lnTo>
                  <a:lnTo>
                    <a:pt x="3249816" y="1858400"/>
                  </a:lnTo>
                  <a:lnTo>
                    <a:pt x="3245048" y="1863166"/>
                  </a:lnTo>
                  <a:lnTo>
                    <a:pt x="3240284" y="1867930"/>
                  </a:lnTo>
                  <a:lnTo>
                    <a:pt x="3225988" y="1872696"/>
                  </a:lnTo>
                  <a:lnTo>
                    <a:pt x="3216460" y="1872696"/>
                  </a:lnTo>
                  <a:lnTo>
                    <a:pt x="3206928" y="1872696"/>
                  </a:lnTo>
                  <a:lnTo>
                    <a:pt x="3187868" y="1872696"/>
                  </a:lnTo>
                  <a:lnTo>
                    <a:pt x="3168808" y="1872696"/>
                  </a:lnTo>
                  <a:lnTo>
                    <a:pt x="3159276" y="1910816"/>
                  </a:lnTo>
                  <a:lnTo>
                    <a:pt x="3149748" y="1925112"/>
                  </a:lnTo>
                  <a:lnTo>
                    <a:pt x="3144984" y="1925112"/>
                  </a:lnTo>
                  <a:lnTo>
                    <a:pt x="3130688" y="1915582"/>
                  </a:lnTo>
                  <a:lnTo>
                    <a:pt x="3121156" y="1920348"/>
                  </a:lnTo>
                  <a:lnTo>
                    <a:pt x="3106860" y="1953702"/>
                  </a:lnTo>
                  <a:lnTo>
                    <a:pt x="3106860" y="1963234"/>
                  </a:lnTo>
                  <a:lnTo>
                    <a:pt x="3102096" y="1967998"/>
                  </a:lnTo>
                  <a:lnTo>
                    <a:pt x="3111628" y="1982294"/>
                  </a:lnTo>
                  <a:lnTo>
                    <a:pt x="3121156" y="1991824"/>
                  </a:lnTo>
                  <a:lnTo>
                    <a:pt x="3135452" y="1996588"/>
                  </a:lnTo>
                  <a:lnTo>
                    <a:pt x="3144984" y="1991824"/>
                  </a:lnTo>
                  <a:lnTo>
                    <a:pt x="3154512" y="1996588"/>
                  </a:lnTo>
                  <a:lnTo>
                    <a:pt x="3164044" y="2010884"/>
                  </a:lnTo>
                  <a:lnTo>
                    <a:pt x="3178336" y="2015650"/>
                  </a:lnTo>
                  <a:lnTo>
                    <a:pt x="3202164" y="2020414"/>
                  </a:lnTo>
                  <a:lnTo>
                    <a:pt x="3211696" y="2029944"/>
                  </a:lnTo>
                  <a:lnTo>
                    <a:pt x="3216460" y="2034710"/>
                  </a:lnTo>
                  <a:lnTo>
                    <a:pt x="3211696" y="2044240"/>
                  </a:lnTo>
                  <a:lnTo>
                    <a:pt x="3211696" y="2063300"/>
                  </a:lnTo>
                  <a:lnTo>
                    <a:pt x="3206928" y="2072832"/>
                  </a:lnTo>
                  <a:lnTo>
                    <a:pt x="3197400" y="2106186"/>
                  </a:lnTo>
                  <a:lnTo>
                    <a:pt x="3187868" y="2130012"/>
                  </a:lnTo>
                  <a:lnTo>
                    <a:pt x="3192632" y="2144308"/>
                  </a:lnTo>
                  <a:lnTo>
                    <a:pt x="3197400" y="2149072"/>
                  </a:lnTo>
                  <a:lnTo>
                    <a:pt x="3197400" y="2153838"/>
                  </a:lnTo>
                  <a:lnTo>
                    <a:pt x="3206928" y="2163368"/>
                  </a:lnTo>
                  <a:lnTo>
                    <a:pt x="3216460" y="2172898"/>
                  </a:lnTo>
                  <a:lnTo>
                    <a:pt x="3211696" y="2196724"/>
                  </a:lnTo>
                  <a:lnTo>
                    <a:pt x="3211696" y="2201490"/>
                  </a:lnTo>
                  <a:lnTo>
                    <a:pt x="3225988" y="2206254"/>
                  </a:lnTo>
                  <a:lnTo>
                    <a:pt x="3240284" y="2211020"/>
                  </a:lnTo>
                  <a:lnTo>
                    <a:pt x="3245048" y="2215784"/>
                  </a:lnTo>
                  <a:lnTo>
                    <a:pt x="3230756" y="2239610"/>
                  </a:lnTo>
                  <a:lnTo>
                    <a:pt x="3235520" y="2258672"/>
                  </a:lnTo>
                  <a:lnTo>
                    <a:pt x="3240284" y="2272966"/>
                  </a:lnTo>
                  <a:lnTo>
                    <a:pt x="3245048" y="2296792"/>
                  </a:lnTo>
                  <a:lnTo>
                    <a:pt x="3245048" y="2301556"/>
                  </a:lnTo>
                  <a:lnTo>
                    <a:pt x="3245048" y="2306322"/>
                  </a:lnTo>
                  <a:lnTo>
                    <a:pt x="3249816" y="2330148"/>
                  </a:lnTo>
                  <a:lnTo>
                    <a:pt x="3264112" y="2368268"/>
                  </a:lnTo>
                  <a:lnTo>
                    <a:pt x="3264112" y="2382564"/>
                  </a:lnTo>
                  <a:lnTo>
                    <a:pt x="3264112" y="2396860"/>
                  </a:lnTo>
                  <a:lnTo>
                    <a:pt x="3259344" y="2425450"/>
                  </a:lnTo>
                  <a:lnTo>
                    <a:pt x="3249816" y="2425450"/>
                  </a:lnTo>
                  <a:lnTo>
                    <a:pt x="3259344" y="2444510"/>
                  </a:lnTo>
                  <a:lnTo>
                    <a:pt x="3264112" y="2454040"/>
                  </a:lnTo>
                  <a:lnTo>
                    <a:pt x="3264112" y="2473102"/>
                  </a:lnTo>
                  <a:lnTo>
                    <a:pt x="3249816" y="2473102"/>
                  </a:lnTo>
                  <a:lnTo>
                    <a:pt x="3240284" y="2473102"/>
                  </a:lnTo>
                  <a:lnTo>
                    <a:pt x="3235520" y="2458806"/>
                  </a:lnTo>
                  <a:lnTo>
                    <a:pt x="3230756" y="2473102"/>
                  </a:lnTo>
                  <a:lnTo>
                    <a:pt x="3216460" y="2482632"/>
                  </a:lnTo>
                  <a:lnTo>
                    <a:pt x="3211696" y="2477866"/>
                  </a:lnTo>
                  <a:lnTo>
                    <a:pt x="3206928" y="2473102"/>
                  </a:lnTo>
                  <a:lnTo>
                    <a:pt x="3206928" y="2458806"/>
                  </a:lnTo>
                  <a:lnTo>
                    <a:pt x="3216460" y="2415920"/>
                  </a:lnTo>
                  <a:lnTo>
                    <a:pt x="3211696" y="2406390"/>
                  </a:lnTo>
                  <a:lnTo>
                    <a:pt x="3202164" y="2401624"/>
                  </a:lnTo>
                  <a:lnTo>
                    <a:pt x="3202164" y="2392094"/>
                  </a:lnTo>
                  <a:lnTo>
                    <a:pt x="3187868" y="2444510"/>
                  </a:lnTo>
                  <a:lnTo>
                    <a:pt x="3192632" y="2463572"/>
                  </a:lnTo>
                  <a:lnTo>
                    <a:pt x="3192632" y="2473102"/>
                  </a:lnTo>
                  <a:lnTo>
                    <a:pt x="3168808" y="2477866"/>
                  </a:lnTo>
                  <a:lnTo>
                    <a:pt x="3149748" y="2463572"/>
                  </a:lnTo>
                  <a:lnTo>
                    <a:pt x="3144984" y="2454040"/>
                  </a:lnTo>
                  <a:lnTo>
                    <a:pt x="3144984" y="2463572"/>
                  </a:lnTo>
                  <a:lnTo>
                    <a:pt x="3140216" y="2477866"/>
                  </a:lnTo>
                  <a:lnTo>
                    <a:pt x="3121156" y="2477866"/>
                  </a:lnTo>
                  <a:lnTo>
                    <a:pt x="3106860" y="2468336"/>
                  </a:lnTo>
                  <a:lnTo>
                    <a:pt x="3116392" y="2449276"/>
                  </a:lnTo>
                  <a:lnTo>
                    <a:pt x="3125920" y="2411156"/>
                  </a:lnTo>
                  <a:lnTo>
                    <a:pt x="3130688" y="2392094"/>
                  </a:lnTo>
                  <a:lnTo>
                    <a:pt x="3111628" y="2377800"/>
                  </a:lnTo>
                  <a:lnTo>
                    <a:pt x="3097332" y="2368268"/>
                  </a:lnTo>
                  <a:lnTo>
                    <a:pt x="3092564" y="2349208"/>
                  </a:lnTo>
                  <a:lnTo>
                    <a:pt x="3092564" y="2373034"/>
                  </a:lnTo>
                  <a:lnTo>
                    <a:pt x="3102096" y="2377800"/>
                  </a:lnTo>
                  <a:lnTo>
                    <a:pt x="3111628" y="2382564"/>
                  </a:lnTo>
                  <a:lnTo>
                    <a:pt x="3125920" y="2392094"/>
                  </a:lnTo>
                  <a:lnTo>
                    <a:pt x="3116392" y="2406390"/>
                  </a:lnTo>
                  <a:lnTo>
                    <a:pt x="3106860" y="2415920"/>
                  </a:lnTo>
                  <a:lnTo>
                    <a:pt x="3092564" y="2444510"/>
                  </a:lnTo>
                  <a:lnTo>
                    <a:pt x="3073504" y="2458806"/>
                  </a:lnTo>
                  <a:lnTo>
                    <a:pt x="3049680" y="2473102"/>
                  </a:lnTo>
                  <a:lnTo>
                    <a:pt x="2973436" y="2492162"/>
                  </a:lnTo>
                  <a:lnTo>
                    <a:pt x="2959144" y="2496928"/>
                  </a:lnTo>
                  <a:lnTo>
                    <a:pt x="2935316" y="2520752"/>
                  </a:lnTo>
                  <a:lnTo>
                    <a:pt x="2921020" y="2544578"/>
                  </a:lnTo>
                  <a:lnTo>
                    <a:pt x="2921020" y="2563640"/>
                  </a:lnTo>
                  <a:lnTo>
                    <a:pt x="2925788" y="2587464"/>
                  </a:lnTo>
                  <a:lnTo>
                    <a:pt x="2935316" y="2625586"/>
                  </a:lnTo>
                  <a:lnTo>
                    <a:pt x="2940080" y="2635116"/>
                  </a:lnTo>
                  <a:lnTo>
                    <a:pt x="2930552" y="2644646"/>
                  </a:lnTo>
                  <a:lnTo>
                    <a:pt x="2916256" y="2658942"/>
                  </a:lnTo>
                  <a:lnTo>
                    <a:pt x="2906724" y="2678002"/>
                  </a:lnTo>
                  <a:lnTo>
                    <a:pt x="2906724" y="2692298"/>
                  </a:lnTo>
                  <a:lnTo>
                    <a:pt x="2906724" y="2697062"/>
                  </a:lnTo>
                  <a:lnTo>
                    <a:pt x="2863840" y="2720888"/>
                  </a:lnTo>
                  <a:lnTo>
                    <a:pt x="2859076" y="2735184"/>
                  </a:lnTo>
                  <a:lnTo>
                    <a:pt x="2844780" y="2749480"/>
                  </a:lnTo>
                  <a:lnTo>
                    <a:pt x="2835248" y="2739948"/>
                  </a:lnTo>
                  <a:lnTo>
                    <a:pt x="2825720" y="2739948"/>
                  </a:lnTo>
                  <a:lnTo>
                    <a:pt x="2835248" y="2749480"/>
                  </a:lnTo>
                  <a:lnTo>
                    <a:pt x="2835248" y="2759010"/>
                  </a:lnTo>
                  <a:lnTo>
                    <a:pt x="2830484" y="2763774"/>
                  </a:lnTo>
                  <a:lnTo>
                    <a:pt x="2820952" y="2768540"/>
                  </a:lnTo>
                  <a:lnTo>
                    <a:pt x="2763772" y="2782834"/>
                  </a:lnTo>
                  <a:lnTo>
                    <a:pt x="2720884" y="2801896"/>
                  </a:lnTo>
                  <a:lnTo>
                    <a:pt x="2711356" y="2797130"/>
                  </a:lnTo>
                  <a:lnTo>
                    <a:pt x="2711356" y="2792364"/>
                  </a:lnTo>
                  <a:lnTo>
                    <a:pt x="2720884" y="2792364"/>
                  </a:lnTo>
                  <a:lnTo>
                    <a:pt x="2716120" y="2773304"/>
                  </a:lnTo>
                  <a:lnTo>
                    <a:pt x="2711356" y="2768540"/>
                  </a:lnTo>
                  <a:lnTo>
                    <a:pt x="2701824" y="2768540"/>
                  </a:lnTo>
                  <a:lnTo>
                    <a:pt x="2668468" y="2787600"/>
                  </a:lnTo>
                  <a:lnTo>
                    <a:pt x="2658940" y="2811426"/>
                  </a:lnTo>
                  <a:lnTo>
                    <a:pt x="2658940" y="2816190"/>
                  </a:lnTo>
                  <a:lnTo>
                    <a:pt x="2668468" y="2816190"/>
                  </a:lnTo>
                  <a:lnTo>
                    <a:pt x="2687528" y="2801896"/>
                  </a:lnTo>
                  <a:lnTo>
                    <a:pt x="2701824" y="2806660"/>
                  </a:lnTo>
                  <a:lnTo>
                    <a:pt x="2701824" y="2811426"/>
                  </a:lnTo>
                  <a:lnTo>
                    <a:pt x="2668468" y="2830486"/>
                  </a:lnTo>
                  <a:lnTo>
                    <a:pt x="2596992" y="2892432"/>
                  </a:lnTo>
                  <a:lnTo>
                    <a:pt x="2592228" y="2906728"/>
                  </a:lnTo>
                  <a:lnTo>
                    <a:pt x="2582696" y="2921024"/>
                  </a:lnTo>
                  <a:lnTo>
                    <a:pt x="2568400" y="2935318"/>
                  </a:lnTo>
                  <a:lnTo>
                    <a:pt x="2549340" y="2968674"/>
                  </a:lnTo>
                  <a:lnTo>
                    <a:pt x="2501688" y="3011560"/>
                  </a:lnTo>
                  <a:lnTo>
                    <a:pt x="2492160" y="3030622"/>
                  </a:lnTo>
                  <a:lnTo>
                    <a:pt x="2420684" y="3068742"/>
                  </a:lnTo>
                  <a:lnTo>
                    <a:pt x="2406388" y="3078272"/>
                  </a:lnTo>
                  <a:lnTo>
                    <a:pt x="2377796" y="3116394"/>
                  </a:lnTo>
                  <a:lnTo>
                    <a:pt x="2349204" y="3144984"/>
                  </a:lnTo>
                  <a:lnTo>
                    <a:pt x="2315848" y="3168810"/>
                  </a:lnTo>
                  <a:lnTo>
                    <a:pt x="2253904" y="3197400"/>
                  </a:lnTo>
                  <a:lnTo>
                    <a:pt x="2220548" y="3225992"/>
                  </a:lnTo>
                  <a:lnTo>
                    <a:pt x="2206252" y="3245052"/>
                  </a:lnTo>
                  <a:lnTo>
                    <a:pt x="2206252" y="3254582"/>
                  </a:lnTo>
                  <a:lnTo>
                    <a:pt x="2211016" y="3264112"/>
                  </a:lnTo>
                  <a:lnTo>
                    <a:pt x="2215784" y="3273642"/>
                  </a:lnTo>
                  <a:lnTo>
                    <a:pt x="2220548" y="3278408"/>
                  </a:lnTo>
                  <a:lnTo>
                    <a:pt x="2215784" y="3292704"/>
                  </a:lnTo>
                  <a:lnTo>
                    <a:pt x="2215784" y="3297468"/>
                  </a:lnTo>
                  <a:lnTo>
                    <a:pt x="2201488" y="3316528"/>
                  </a:lnTo>
                  <a:lnTo>
                    <a:pt x="2187192" y="3326060"/>
                  </a:lnTo>
                  <a:lnTo>
                    <a:pt x="2125244" y="3354650"/>
                  </a:lnTo>
                  <a:lnTo>
                    <a:pt x="2115716" y="3349884"/>
                  </a:lnTo>
                  <a:lnTo>
                    <a:pt x="2068064" y="3345120"/>
                  </a:lnTo>
                  <a:lnTo>
                    <a:pt x="2049004" y="3349884"/>
                  </a:lnTo>
                  <a:lnTo>
                    <a:pt x="2044236" y="3364180"/>
                  </a:lnTo>
                  <a:lnTo>
                    <a:pt x="2025176" y="3411832"/>
                  </a:lnTo>
                  <a:lnTo>
                    <a:pt x="2010880" y="3426128"/>
                  </a:lnTo>
                  <a:lnTo>
                    <a:pt x="2006116" y="3435658"/>
                  </a:lnTo>
                  <a:lnTo>
                    <a:pt x="2001352" y="3445188"/>
                  </a:lnTo>
                  <a:lnTo>
                    <a:pt x="1991820" y="3445188"/>
                  </a:lnTo>
                  <a:lnTo>
                    <a:pt x="1987056" y="3440422"/>
                  </a:lnTo>
                  <a:lnTo>
                    <a:pt x="1977524" y="3445188"/>
                  </a:lnTo>
                  <a:lnTo>
                    <a:pt x="1972760" y="3426128"/>
                  </a:lnTo>
                  <a:lnTo>
                    <a:pt x="1958464" y="3426128"/>
                  </a:lnTo>
                  <a:lnTo>
                    <a:pt x="1953700" y="3421362"/>
                  </a:lnTo>
                  <a:lnTo>
                    <a:pt x="1910816" y="3440422"/>
                  </a:lnTo>
                  <a:lnTo>
                    <a:pt x="1896520" y="3454718"/>
                  </a:lnTo>
                  <a:lnTo>
                    <a:pt x="1867928" y="3516664"/>
                  </a:lnTo>
                  <a:lnTo>
                    <a:pt x="1858396" y="3554786"/>
                  </a:lnTo>
                  <a:lnTo>
                    <a:pt x="1863164" y="3602436"/>
                  </a:lnTo>
                  <a:lnTo>
                    <a:pt x="1877460" y="3635792"/>
                  </a:lnTo>
                  <a:lnTo>
                    <a:pt x="1877460" y="3654852"/>
                  </a:lnTo>
                  <a:lnTo>
                    <a:pt x="1877460" y="3673914"/>
                  </a:lnTo>
                  <a:lnTo>
                    <a:pt x="1872692" y="3683444"/>
                  </a:lnTo>
                  <a:lnTo>
                    <a:pt x="1867928" y="3697740"/>
                  </a:lnTo>
                  <a:lnTo>
                    <a:pt x="1872692" y="3721564"/>
                  </a:lnTo>
                  <a:lnTo>
                    <a:pt x="1886988" y="3754920"/>
                  </a:lnTo>
                  <a:lnTo>
                    <a:pt x="1886988" y="3764450"/>
                  </a:lnTo>
                  <a:lnTo>
                    <a:pt x="1886988" y="3778746"/>
                  </a:lnTo>
                  <a:lnTo>
                    <a:pt x="1896520" y="3812102"/>
                  </a:lnTo>
                  <a:lnTo>
                    <a:pt x="1891752" y="3807336"/>
                  </a:lnTo>
                  <a:lnTo>
                    <a:pt x="1886988" y="3793042"/>
                  </a:lnTo>
                  <a:lnTo>
                    <a:pt x="1872692" y="3773980"/>
                  </a:lnTo>
                  <a:lnTo>
                    <a:pt x="1858396" y="3793042"/>
                  </a:lnTo>
                  <a:lnTo>
                    <a:pt x="1867928" y="3807336"/>
                  </a:lnTo>
                  <a:lnTo>
                    <a:pt x="1896520" y="3821632"/>
                  </a:lnTo>
                  <a:lnTo>
                    <a:pt x="1901284" y="3831162"/>
                  </a:lnTo>
                  <a:lnTo>
                    <a:pt x="1886988" y="3940760"/>
                  </a:lnTo>
                  <a:lnTo>
                    <a:pt x="1872692" y="3978882"/>
                  </a:lnTo>
                  <a:lnTo>
                    <a:pt x="1858396" y="4002708"/>
                  </a:lnTo>
                  <a:lnTo>
                    <a:pt x="1848868" y="4012238"/>
                  </a:lnTo>
                  <a:lnTo>
                    <a:pt x="1829808" y="4050358"/>
                  </a:lnTo>
                  <a:lnTo>
                    <a:pt x="1815512" y="4098010"/>
                  </a:lnTo>
                  <a:lnTo>
                    <a:pt x="1810748" y="4117070"/>
                  </a:lnTo>
                  <a:lnTo>
                    <a:pt x="1820276" y="4140896"/>
                  </a:lnTo>
                  <a:lnTo>
                    <a:pt x="1810748" y="4150426"/>
                  </a:lnTo>
                  <a:lnTo>
                    <a:pt x="1801216" y="4159956"/>
                  </a:lnTo>
                  <a:lnTo>
                    <a:pt x="1820276" y="4155192"/>
                  </a:lnTo>
                  <a:lnTo>
                    <a:pt x="1825040" y="4164722"/>
                  </a:lnTo>
                  <a:lnTo>
                    <a:pt x="1825040" y="4179016"/>
                  </a:lnTo>
                  <a:lnTo>
                    <a:pt x="1825040" y="4245728"/>
                  </a:lnTo>
                  <a:lnTo>
                    <a:pt x="1825040" y="4317206"/>
                  </a:lnTo>
                  <a:lnTo>
                    <a:pt x="1810748" y="4321970"/>
                  </a:lnTo>
                  <a:lnTo>
                    <a:pt x="1796452" y="4321970"/>
                  </a:lnTo>
                  <a:lnTo>
                    <a:pt x="1786920" y="4317206"/>
                  </a:lnTo>
                  <a:lnTo>
                    <a:pt x="1777392" y="4317206"/>
                  </a:lnTo>
                  <a:lnTo>
                    <a:pt x="1753564" y="4321970"/>
                  </a:lnTo>
                  <a:lnTo>
                    <a:pt x="1744036" y="4326736"/>
                  </a:lnTo>
                  <a:lnTo>
                    <a:pt x="1734504" y="4341032"/>
                  </a:lnTo>
                  <a:lnTo>
                    <a:pt x="1734504" y="4364856"/>
                  </a:lnTo>
                  <a:lnTo>
                    <a:pt x="1691620" y="4417272"/>
                  </a:lnTo>
                  <a:lnTo>
                    <a:pt x="1686852" y="4436334"/>
                  </a:lnTo>
                  <a:lnTo>
                    <a:pt x="1682088" y="4455394"/>
                  </a:lnTo>
                  <a:lnTo>
                    <a:pt x="1686852" y="4464924"/>
                  </a:lnTo>
                  <a:lnTo>
                    <a:pt x="1696384" y="4474454"/>
                  </a:lnTo>
                  <a:lnTo>
                    <a:pt x="1710680" y="4479220"/>
                  </a:lnTo>
                  <a:lnTo>
                    <a:pt x="1739268" y="4483984"/>
                  </a:lnTo>
                  <a:lnTo>
                    <a:pt x="1748800" y="4488750"/>
                  </a:lnTo>
                  <a:lnTo>
                    <a:pt x="1758328" y="4498280"/>
                  </a:lnTo>
                  <a:lnTo>
                    <a:pt x="1729740" y="4483984"/>
                  </a:lnTo>
                  <a:lnTo>
                    <a:pt x="1691620" y="4483984"/>
                  </a:lnTo>
                  <a:lnTo>
                    <a:pt x="1605848" y="4512576"/>
                  </a:lnTo>
                  <a:lnTo>
                    <a:pt x="1582020" y="4526872"/>
                  </a:lnTo>
                  <a:lnTo>
                    <a:pt x="1567724" y="4545932"/>
                  </a:lnTo>
                  <a:lnTo>
                    <a:pt x="1558196" y="4579288"/>
                  </a:lnTo>
                  <a:lnTo>
                    <a:pt x="1558196" y="4603112"/>
                  </a:lnTo>
                  <a:lnTo>
                    <a:pt x="1548664" y="4626938"/>
                  </a:lnTo>
                  <a:lnTo>
                    <a:pt x="1501012" y="4655530"/>
                  </a:lnTo>
                  <a:lnTo>
                    <a:pt x="1472424" y="4665060"/>
                  </a:lnTo>
                  <a:lnTo>
                    <a:pt x="1462892" y="4674590"/>
                  </a:lnTo>
                  <a:lnTo>
                    <a:pt x="1429536" y="4660294"/>
                  </a:lnTo>
                  <a:lnTo>
                    <a:pt x="1391416" y="4636468"/>
                  </a:lnTo>
                  <a:lnTo>
                    <a:pt x="1377120" y="4622174"/>
                  </a:lnTo>
                  <a:lnTo>
                    <a:pt x="1319940" y="4550696"/>
                  </a:lnTo>
                  <a:lnTo>
                    <a:pt x="1310408" y="4541166"/>
                  </a:lnTo>
                  <a:lnTo>
                    <a:pt x="1300876" y="4512576"/>
                  </a:lnTo>
                  <a:lnTo>
                    <a:pt x="1300876" y="4503046"/>
                  </a:lnTo>
                  <a:lnTo>
                    <a:pt x="1296112" y="4498280"/>
                  </a:lnTo>
                  <a:lnTo>
                    <a:pt x="1291348" y="4493516"/>
                  </a:lnTo>
                  <a:lnTo>
                    <a:pt x="1286584" y="4488750"/>
                  </a:lnTo>
                  <a:lnTo>
                    <a:pt x="1277052" y="4455394"/>
                  </a:lnTo>
                  <a:lnTo>
                    <a:pt x="1272288" y="4422038"/>
                  </a:lnTo>
                  <a:lnTo>
                    <a:pt x="1262756" y="4379152"/>
                  </a:lnTo>
                  <a:lnTo>
                    <a:pt x="1272288" y="4383918"/>
                  </a:lnTo>
                  <a:lnTo>
                    <a:pt x="1281816" y="4398212"/>
                  </a:lnTo>
                  <a:lnTo>
                    <a:pt x="1281816" y="4417272"/>
                  </a:lnTo>
                  <a:lnTo>
                    <a:pt x="1286584" y="4441100"/>
                  </a:lnTo>
                  <a:lnTo>
                    <a:pt x="1291348" y="4445864"/>
                  </a:lnTo>
                  <a:lnTo>
                    <a:pt x="1296112" y="4441100"/>
                  </a:lnTo>
                  <a:lnTo>
                    <a:pt x="1281816" y="4379152"/>
                  </a:lnTo>
                  <a:lnTo>
                    <a:pt x="1262756" y="4364856"/>
                  </a:lnTo>
                  <a:lnTo>
                    <a:pt x="1257992" y="4355326"/>
                  </a:lnTo>
                  <a:lnTo>
                    <a:pt x="1253228" y="4341032"/>
                  </a:lnTo>
                  <a:lnTo>
                    <a:pt x="1257992" y="4336266"/>
                  </a:lnTo>
                  <a:lnTo>
                    <a:pt x="1243696" y="4317206"/>
                  </a:lnTo>
                  <a:lnTo>
                    <a:pt x="1238932" y="4302910"/>
                  </a:lnTo>
                  <a:lnTo>
                    <a:pt x="1215104" y="4245728"/>
                  </a:lnTo>
                  <a:lnTo>
                    <a:pt x="1200812" y="4202842"/>
                  </a:lnTo>
                  <a:lnTo>
                    <a:pt x="1181748" y="4150426"/>
                  </a:lnTo>
                  <a:lnTo>
                    <a:pt x="1172220" y="4136130"/>
                  </a:lnTo>
                  <a:lnTo>
                    <a:pt x="1153160" y="4098010"/>
                  </a:lnTo>
                  <a:lnTo>
                    <a:pt x="1134100" y="4078950"/>
                  </a:lnTo>
                  <a:lnTo>
                    <a:pt x="1119804" y="4055124"/>
                  </a:lnTo>
                  <a:lnTo>
                    <a:pt x="1105508" y="4045594"/>
                  </a:lnTo>
                  <a:lnTo>
                    <a:pt x="1100744" y="4040828"/>
                  </a:lnTo>
                  <a:lnTo>
                    <a:pt x="1062620" y="3959820"/>
                  </a:lnTo>
                  <a:lnTo>
                    <a:pt x="1048328" y="3916936"/>
                  </a:lnTo>
                  <a:lnTo>
                    <a:pt x="1038796" y="3893110"/>
                  </a:lnTo>
                  <a:lnTo>
                    <a:pt x="1034032" y="3878814"/>
                  </a:lnTo>
                  <a:lnTo>
                    <a:pt x="1019736" y="3807336"/>
                  </a:lnTo>
                  <a:lnTo>
                    <a:pt x="1019736" y="3797806"/>
                  </a:lnTo>
                  <a:lnTo>
                    <a:pt x="1019736" y="3783512"/>
                  </a:lnTo>
                  <a:lnTo>
                    <a:pt x="1010204" y="3754920"/>
                  </a:lnTo>
                  <a:lnTo>
                    <a:pt x="991144" y="3721564"/>
                  </a:lnTo>
                  <a:lnTo>
                    <a:pt x="986380" y="3702504"/>
                  </a:lnTo>
                  <a:lnTo>
                    <a:pt x="986380" y="3692974"/>
                  </a:lnTo>
                  <a:lnTo>
                    <a:pt x="976848" y="3664384"/>
                  </a:lnTo>
                  <a:lnTo>
                    <a:pt x="972084" y="3650088"/>
                  </a:lnTo>
                  <a:lnTo>
                    <a:pt x="967320" y="3635792"/>
                  </a:lnTo>
                  <a:lnTo>
                    <a:pt x="957788" y="3626262"/>
                  </a:lnTo>
                  <a:lnTo>
                    <a:pt x="948260" y="3616732"/>
                  </a:lnTo>
                  <a:lnTo>
                    <a:pt x="929196" y="3583376"/>
                  </a:lnTo>
                  <a:lnTo>
                    <a:pt x="919668" y="3578612"/>
                  </a:lnTo>
                  <a:lnTo>
                    <a:pt x="905372" y="3554786"/>
                  </a:lnTo>
                  <a:lnTo>
                    <a:pt x="895840" y="3516664"/>
                  </a:lnTo>
                  <a:lnTo>
                    <a:pt x="881548" y="3502368"/>
                  </a:lnTo>
                  <a:lnTo>
                    <a:pt x="900608" y="3502368"/>
                  </a:lnTo>
                  <a:lnTo>
                    <a:pt x="891076" y="3492838"/>
                  </a:lnTo>
                  <a:lnTo>
                    <a:pt x="886312" y="3483308"/>
                  </a:lnTo>
                  <a:lnTo>
                    <a:pt x="876780" y="3473778"/>
                  </a:lnTo>
                  <a:lnTo>
                    <a:pt x="886312" y="3459482"/>
                  </a:lnTo>
                  <a:lnTo>
                    <a:pt x="872016" y="3464248"/>
                  </a:lnTo>
                  <a:lnTo>
                    <a:pt x="862488" y="3454718"/>
                  </a:lnTo>
                  <a:lnTo>
                    <a:pt x="852956" y="3426128"/>
                  </a:lnTo>
                  <a:lnTo>
                    <a:pt x="833896" y="3397536"/>
                  </a:lnTo>
                  <a:lnTo>
                    <a:pt x="829132" y="3383240"/>
                  </a:lnTo>
                  <a:lnTo>
                    <a:pt x="810068" y="3330824"/>
                  </a:lnTo>
                  <a:lnTo>
                    <a:pt x="795776" y="3211696"/>
                  </a:lnTo>
                  <a:lnTo>
                    <a:pt x="781480" y="3154514"/>
                  </a:lnTo>
                  <a:lnTo>
                    <a:pt x="781480" y="3140220"/>
                  </a:lnTo>
                  <a:lnTo>
                    <a:pt x="762420" y="3092568"/>
                  </a:lnTo>
                  <a:lnTo>
                    <a:pt x="757652" y="3063978"/>
                  </a:lnTo>
                  <a:lnTo>
                    <a:pt x="752888" y="3035386"/>
                  </a:lnTo>
                  <a:lnTo>
                    <a:pt x="748124" y="3021092"/>
                  </a:lnTo>
                  <a:lnTo>
                    <a:pt x="743356" y="2982970"/>
                  </a:lnTo>
                  <a:lnTo>
                    <a:pt x="738592" y="2973440"/>
                  </a:lnTo>
                  <a:lnTo>
                    <a:pt x="738592" y="2968674"/>
                  </a:lnTo>
                  <a:lnTo>
                    <a:pt x="743356" y="2949614"/>
                  </a:lnTo>
                  <a:lnTo>
                    <a:pt x="752888" y="2925788"/>
                  </a:lnTo>
                  <a:lnTo>
                    <a:pt x="757652" y="2911494"/>
                  </a:lnTo>
                  <a:lnTo>
                    <a:pt x="752888" y="2887668"/>
                  </a:lnTo>
                  <a:lnTo>
                    <a:pt x="743356" y="2911494"/>
                  </a:lnTo>
                  <a:lnTo>
                    <a:pt x="733828" y="2921024"/>
                  </a:lnTo>
                  <a:lnTo>
                    <a:pt x="724296" y="2901964"/>
                  </a:lnTo>
                  <a:lnTo>
                    <a:pt x="724296" y="2878138"/>
                  </a:lnTo>
                  <a:lnTo>
                    <a:pt x="724296" y="2873372"/>
                  </a:lnTo>
                  <a:lnTo>
                    <a:pt x="729064" y="2863842"/>
                  </a:lnTo>
                  <a:lnTo>
                    <a:pt x="752888" y="2868608"/>
                  </a:lnTo>
                  <a:lnTo>
                    <a:pt x="724296" y="2854312"/>
                  </a:lnTo>
                  <a:lnTo>
                    <a:pt x="719532" y="2844782"/>
                  </a:lnTo>
                  <a:lnTo>
                    <a:pt x="719532" y="2840016"/>
                  </a:lnTo>
                  <a:lnTo>
                    <a:pt x="724296" y="2830486"/>
                  </a:lnTo>
                  <a:lnTo>
                    <a:pt x="714768" y="2820956"/>
                  </a:lnTo>
                  <a:lnTo>
                    <a:pt x="710000" y="2787600"/>
                  </a:lnTo>
                  <a:lnTo>
                    <a:pt x="705236" y="2782834"/>
                  </a:lnTo>
                  <a:lnTo>
                    <a:pt x="705236" y="2778070"/>
                  </a:lnTo>
                  <a:lnTo>
                    <a:pt x="710000" y="2735184"/>
                  </a:lnTo>
                  <a:lnTo>
                    <a:pt x="738592" y="2654176"/>
                  </a:lnTo>
                  <a:lnTo>
                    <a:pt x="738592" y="2635116"/>
                  </a:lnTo>
                  <a:lnTo>
                    <a:pt x="738592" y="2611290"/>
                  </a:lnTo>
                  <a:lnTo>
                    <a:pt x="733828" y="2592230"/>
                  </a:lnTo>
                  <a:lnTo>
                    <a:pt x="729064" y="2568404"/>
                  </a:lnTo>
                  <a:lnTo>
                    <a:pt x="729064" y="2563640"/>
                  </a:lnTo>
                  <a:lnTo>
                    <a:pt x="719532" y="2558874"/>
                  </a:lnTo>
                  <a:lnTo>
                    <a:pt x="710000" y="2554108"/>
                  </a:lnTo>
                  <a:lnTo>
                    <a:pt x="700472" y="2520752"/>
                  </a:lnTo>
                  <a:lnTo>
                    <a:pt x="710000" y="2511222"/>
                  </a:lnTo>
                  <a:lnTo>
                    <a:pt x="714768" y="2501692"/>
                  </a:lnTo>
                  <a:lnTo>
                    <a:pt x="705236" y="2506458"/>
                  </a:lnTo>
                  <a:lnTo>
                    <a:pt x="695708" y="2506458"/>
                  </a:lnTo>
                  <a:lnTo>
                    <a:pt x="714768" y="2492162"/>
                  </a:lnTo>
                  <a:lnTo>
                    <a:pt x="729064" y="2477866"/>
                  </a:lnTo>
                  <a:lnTo>
                    <a:pt x="762420" y="2463572"/>
                  </a:lnTo>
                  <a:lnTo>
                    <a:pt x="776712" y="2458806"/>
                  </a:lnTo>
                  <a:lnTo>
                    <a:pt x="752888" y="2463572"/>
                  </a:lnTo>
                  <a:lnTo>
                    <a:pt x="733828" y="2468336"/>
                  </a:lnTo>
                  <a:lnTo>
                    <a:pt x="686176" y="2463572"/>
                  </a:lnTo>
                  <a:lnTo>
                    <a:pt x="695708" y="2434980"/>
                  </a:lnTo>
                  <a:lnTo>
                    <a:pt x="700472" y="2425450"/>
                  </a:lnTo>
                  <a:lnTo>
                    <a:pt x="710000" y="2420686"/>
                  </a:lnTo>
                  <a:lnTo>
                    <a:pt x="695708" y="2420686"/>
                  </a:lnTo>
                  <a:lnTo>
                    <a:pt x="681412" y="2420686"/>
                  </a:lnTo>
                  <a:lnTo>
                    <a:pt x="686176" y="2387330"/>
                  </a:lnTo>
                  <a:lnTo>
                    <a:pt x="700472" y="2382564"/>
                  </a:lnTo>
                  <a:lnTo>
                    <a:pt x="710000" y="2377800"/>
                  </a:lnTo>
                  <a:lnTo>
                    <a:pt x="729064" y="2377800"/>
                  </a:lnTo>
                  <a:lnTo>
                    <a:pt x="710000" y="2368268"/>
                  </a:lnTo>
                  <a:lnTo>
                    <a:pt x="695708" y="2368268"/>
                  </a:lnTo>
                  <a:lnTo>
                    <a:pt x="671880" y="2373034"/>
                  </a:lnTo>
                  <a:lnTo>
                    <a:pt x="652820" y="2368268"/>
                  </a:lnTo>
                  <a:lnTo>
                    <a:pt x="628996" y="2368268"/>
                  </a:lnTo>
                  <a:lnTo>
                    <a:pt x="638524" y="2373034"/>
                  </a:lnTo>
                  <a:lnTo>
                    <a:pt x="648056" y="2382564"/>
                  </a:lnTo>
                  <a:lnTo>
                    <a:pt x="643292" y="2401624"/>
                  </a:lnTo>
                  <a:lnTo>
                    <a:pt x="638524" y="2411156"/>
                  </a:lnTo>
                  <a:lnTo>
                    <a:pt x="624228" y="2415920"/>
                  </a:lnTo>
                  <a:lnTo>
                    <a:pt x="614700" y="2430216"/>
                  </a:lnTo>
                  <a:lnTo>
                    <a:pt x="614700" y="2439746"/>
                  </a:lnTo>
                  <a:lnTo>
                    <a:pt x="605168" y="2444510"/>
                  </a:lnTo>
                  <a:lnTo>
                    <a:pt x="619464" y="2449276"/>
                  </a:lnTo>
                  <a:lnTo>
                    <a:pt x="628996" y="2454040"/>
                  </a:lnTo>
                  <a:lnTo>
                    <a:pt x="633760" y="2458806"/>
                  </a:lnTo>
                  <a:lnTo>
                    <a:pt x="643292" y="2473102"/>
                  </a:lnTo>
                  <a:lnTo>
                    <a:pt x="638524" y="2492162"/>
                  </a:lnTo>
                  <a:lnTo>
                    <a:pt x="614700" y="2544578"/>
                  </a:lnTo>
                  <a:lnTo>
                    <a:pt x="605168" y="2558874"/>
                  </a:lnTo>
                  <a:lnTo>
                    <a:pt x="533692" y="2587464"/>
                  </a:lnTo>
                  <a:lnTo>
                    <a:pt x="505100" y="2606526"/>
                  </a:lnTo>
                  <a:lnTo>
                    <a:pt x="447920" y="2625586"/>
                  </a:lnTo>
                  <a:lnTo>
                    <a:pt x="424096" y="2630350"/>
                  </a:lnTo>
                  <a:lnTo>
                    <a:pt x="400268" y="2625586"/>
                  </a:lnTo>
                  <a:lnTo>
                    <a:pt x="362148" y="2611290"/>
                  </a:lnTo>
                  <a:lnTo>
                    <a:pt x="309732" y="2568404"/>
                  </a:lnTo>
                  <a:lnTo>
                    <a:pt x="295436" y="2554108"/>
                  </a:lnTo>
                  <a:lnTo>
                    <a:pt x="247784" y="2496928"/>
                  </a:lnTo>
                  <a:lnTo>
                    <a:pt x="214428" y="2468336"/>
                  </a:lnTo>
                  <a:lnTo>
                    <a:pt x="190604" y="2439746"/>
                  </a:lnTo>
                  <a:lnTo>
                    <a:pt x="162012" y="2415920"/>
                  </a:lnTo>
                  <a:lnTo>
                    <a:pt x="133420" y="2382564"/>
                  </a:lnTo>
                  <a:lnTo>
                    <a:pt x="128656" y="2363504"/>
                  </a:lnTo>
                  <a:lnTo>
                    <a:pt x="128656" y="2349208"/>
                  </a:lnTo>
                  <a:lnTo>
                    <a:pt x="138188" y="2339678"/>
                  </a:lnTo>
                  <a:lnTo>
                    <a:pt x="152484" y="2344444"/>
                  </a:lnTo>
                  <a:lnTo>
                    <a:pt x="162012" y="2358738"/>
                  </a:lnTo>
                  <a:lnTo>
                    <a:pt x="171544" y="2363504"/>
                  </a:lnTo>
                  <a:lnTo>
                    <a:pt x="176308" y="2368268"/>
                  </a:lnTo>
                  <a:lnTo>
                    <a:pt x="219192" y="2344444"/>
                  </a:lnTo>
                  <a:lnTo>
                    <a:pt x="233488" y="2344444"/>
                  </a:lnTo>
                  <a:lnTo>
                    <a:pt x="247784" y="2334912"/>
                  </a:lnTo>
                  <a:lnTo>
                    <a:pt x="262080" y="2339678"/>
                  </a:lnTo>
                  <a:lnTo>
                    <a:pt x="290672" y="2320618"/>
                  </a:lnTo>
                  <a:lnTo>
                    <a:pt x="300200" y="2320618"/>
                  </a:lnTo>
                  <a:lnTo>
                    <a:pt x="314496" y="2315852"/>
                  </a:lnTo>
                  <a:lnTo>
                    <a:pt x="338324" y="2277732"/>
                  </a:lnTo>
                  <a:lnTo>
                    <a:pt x="357384" y="2249140"/>
                  </a:lnTo>
                  <a:lnTo>
                    <a:pt x="366912" y="2244376"/>
                  </a:lnTo>
                  <a:lnTo>
                    <a:pt x="366912" y="2239610"/>
                  </a:lnTo>
                  <a:lnTo>
                    <a:pt x="366912" y="2230080"/>
                  </a:lnTo>
                  <a:lnTo>
                    <a:pt x="357384" y="2230080"/>
                  </a:lnTo>
                  <a:lnTo>
                    <a:pt x="352616" y="2239610"/>
                  </a:lnTo>
                  <a:lnTo>
                    <a:pt x="347852" y="2249140"/>
                  </a:lnTo>
                  <a:lnTo>
                    <a:pt x="343088" y="2253906"/>
                  </a:lnTo>
                  <a:lnTo>
                    <a:pt x="328792" y="2249140"/>
                  </a:lnTo>
                  <a:lnTo>
                    <a:pt x="319260" y="2249140"/>
                  </a:lnTo>
                  <a:lnTo>
                    <a:pt x="304968" y="2253906"/>
                  </a:lnTo>
                  <a:lnTo>
                    <a:pt x="266844" y="2268202"/>
                  </a:lnTo>
                  <a:lnTo>
                    <a:pt x="247784" y="2282496"/>
                  </a:lnTo>
                  <a:lnTo>
                    <a:pt x="238256" y="2287262"/>
                  </a:lnTo>
                  <a:lnTo>
                    <a:pt x="171544" y="2272966"/>
                  </a:lnTo>
                  <a:lnTo>
                    <a:pt x="104832" y="2234846"/>
                  </a:lnTo>
                  <a:lnTo>
                    <a:pt x="76240" y="2211020"/>
                  </a:lnTo>
                  <a:lnTo>
                    <a:pt x="57180" y="2182428"/>
                  </a:lnTo>
                  <a:lnTo>
                    <a:pt x="42884" y="2149072"/>
                  </a:lnTo>
                  <a:lnTo>
                    <a:pt x="47648" y="2139542"/>
                  </a:lnTo>
                  <a:lnTo>
                    <a:pt x="76240" y="2115716"/>
                  </a:lnTo>
                  <a:lnTo>
                    <a:pt x="95300" y="2101422"/>
                  </a:lnTo>
                  <a:lnTo>
                    <a:pt x="76240" y="2106186"/>
                  </a:lnTo>
                  <a:lnTo>
                    <a:pt x="52416" y="2115716"/>
                  </a:lnTo>
                  <a:lnTo>
                    <a:pt x="42884" y="2125248"/>
                  </a:lnTo>
                  <a:lnTo>
                    <a:pt x="28588" y="2139542"/>
                  </a:lnTo>
                  <a:lnTo>
                    <a:pt x="14292" y="2144308"/>
                  </a:lnTo>
                  <a:lnTo>
                    <a:pt x="4764" y="2120482"/>
                  </a:lnTo>
                  <a:lnTo>
                    <a:pt x="0" y="2101422"/>
                  </a:lnTo>
                  <a:lnTo>
                    <a:pt x="14292" y="2091892"/>
                  </a:lnTo>
                  <a:lnTo>
                    <a:pt x="19060" y="2087126"/>
                  </a:lnTo>
                  <a:lnTo>
                    <a:pt x="33352" y="2082362"/>
                  </a:lnTo>
                  <a:lnTo>
                    <a:pt x="52416" y="2082362"/>
                  </a:lnTo>
                  <a:lnTo>
                    <a:pt x="66708" y="2082362"/>
                  </a:lnTo>
                  <a:lnTo>
                    <a:pt x="90536" y="2082362"/>
                  </a:lnTo>
                  <a:lnTo>
                    <a:pt x="90536" y="2029944"/>
                  </a:lnTo>
                  <a:lnTo>
                    <a:pt x="90536" y="2025180"/>
                  </a:lnTo>
                  <a:lnTo>
                    <a:pt x="95300" y="2025180"/>
                  </a:lnTo>
                  <a:lnTo>
                    <a:pt x="100064" y="2020414"/>
                  </a:lnTo>
                  <a:lnTo>
                    <a:pt x="104832" y="2029944"/>
                  </a:lnTo>
                  <a:lnTo>
                    <a:pt x="109596" y="2029944"/>
                  </a:lnTo>
                  <a:lnTo>
                    <a:pt x="114360" y="2025180"/>
                  </a:lnTo>
                  <a:lnTo>
                    <a:pt x="128656" y="2029944"/>
                  </a:lnTo>
                  <a:lnTo>
                    <a:pt x="138188" y="2025180"/>
                  </a:lnTo>
                  <a:lnTo>
                    <a:pt x="152484" y="2029944"/>
                  </a:lnTo>
                  <a:lnTo>
                    <a:pt x="171544" y="2029944"/>
                  </a:lnTo>
                  <a:lnTo>
                    <a:pt x="200132" y="2029944"/>
                  </a:lnTo>
                  <a:lnTo>
                    <a:pt x="219192" y="2029944"/>
                  </a:lnTo>
                  <a:lnTo>
                    <a:pt x="233488" y="2034710"/>
                  </a:lnTo>
                  <a:lnTo>
                    <a:pt x="243020" y="2044240"/>
                  </a:lnTo>
                  <a:lnTo>
                    <a:pt x="257316" y="2049006"/>
                  </a:lnTo>
                  <a:lnTo>
                    <a:pt x="276376" y="2044240"/>
                  </a:lnTo>
                  <a:lnTo>
                    <a:pt x="290672" y="2044240"/>
                  </a:lnTo>
                  <a:lnTo>
                    <a:pt x="300200" y="2034710"/>
                  </a:lnTo>
                  <a:lnTo>
                    <a:pt x="304968" y="2025180"/>
                  </a:lnTo>
                  <a:lnTo>
                    <a:pt x="333556" y="2015650"/>
                  </a:lnTo>
                  <a:lnTo>
                    <a:pt x="366912" y="2006120"/>
                  </a:lnTo>
                  <a:lnTo>
                    <a:pt x="371676" y="2001354"/>
                  </a:lnTo>
                  <a:lnTo>
                    <a:pt x="376444" y="2010884"/>
                  </a:lnTo>
                  <a:lnTo>
                    <a:pt x="376444" y="2020414"/>
                  </a:lnTo>
                  <a:lnTo>
                    <a:pt x="381208" y="2029944"/>
                  </a:lnTo>
                  <a:lnTo>
                    <a:pt x="390740" y="2034710"/>
                  </a:lnTo>
                  <a:lnTo>
                    <a:pt x="400268" y="2034710"/>
                  </a:lnTo>
                  <a:lnTo>
                    <a:pt x="409800" y="2034710"/>
                  </a:lnTo>
                  <a:lnTo>
                    <a:pt x="414564" y="2029944"/>
                  </a:lnTo>
                  <a:lnTo>
                    <a:pt x="428860" y="2015650"/>
                  </a:lnTo>
                  <a:lnTo>
                    <a:pt x="433624" y="2010884"/>
                  </a:lnTo>
                  <a:lnTo>
                    <a:pt x="443156" y="2015650"/>
                  </a:lnTo>
                  <a:lnTo>
                    <a:pt x="452684" y="2006120"/>
                  </a:lnTo>
                  <a:lnTo>
                    <a:pt x="452684" y="2001354"/>
                  </a:lnTo>
                  <a:lnTo>
                    <a:pt x="447920" y="1996588"/>
                  </a:lnTo>
                  <a:lnTo>
                    <a:pt x="438388" y="1991824"/>
                  </a:lnTo>
                  <a:lnTo>
                    <a:pt x="443156" y="1987058"/>
                  </a:lnTo>
                  <a:lnTo>
                    <a:pt x="438388" y="1977528"/>
                  </a:lnTo>
                  <a:lnTo>
                    <a:pt x="443156" y="1967998"/>
                  </a:lnTo>
                  <a:lnTo>
                    <a:pt x="443156" y="1963234"/>
                  </a:lnTo>
                  <a:lnTo>
                    <a:pt x="452684" y="1958468"/>
                  </a:lnTo>
                  <a:lnTo>
                    <a:pt x="447920" y="1944172"/>
                  </a:lnTo>
                  <a:lnTo>
                    <a:pt x="438388" y="1920348"/>
                  </a:lnTo>
                  <a:lnTo>
                    <a:pt x="424096" y="1891756"/>
                  </a:lnTo>
                  <a:lnTo>
                    <a:pt x="414564" y="1867930"/>
                  </a:lnTo>
                  <a:lnTo>
                    <a:pt x="400268" y="1844104"/>
                  </a:lnTo>
                  <a:lnTo>
                    <a:pt x="390740" y="1829810"/>
                  </a:lnTo>
                  <a:lnTo>
                    <a:pt x="390740" y="1796454"/>
                  </a:lnTo>
                  <a:lnTo>
                    <a:pt x="390740" y="1786924"/>
                  </a:lnTo>
                  <a:lnTo>
                    <a:pt x="385972" y="1782158"/>
                  </a:lnTo>
                  <a:lnTo>
                    <a:pt x="376444" y="1782158"/>
                  </a:lnTo>
                  <a:lnTo>
                    <a:pt x="366912" y="1786924"/>
                  </a:lnTo>
                  <a:lnTo>
                    <a:pt x="357384" y="1786924"/>
                  </a:lnTo>
                  <a:lnTo>
                    <a:pt x="338324" y="1786924"/>
                  </a:lnTo>
                  <a:lnTo>
                    <a:pt x="328792" y="1782158"/>
                  </a:lnTo>
                  <a:lnTo>
                    <a:pt x="304968" y="1744038"/>
                  </a:lnTo>
                  <a:lnTo>
                    <a:pt x="300200" y="1734508"/>
                  </a:lnTo>
                  <a:lnTo>
                    <a:pt x="300200" y="1720212"/>
                  </a:lnTo>
                  <a:lnTo>
                    <a:pt x="309732" y="1691620"/>
                  </a:lnTo>
                  <a:lnTo>
                    <a:pt x="309732" y="1672560"/>
                  </a:lnTo>
                  <a:lnTo>
                    <a:pt x="314496" y="1648734"/>
                  </a:lnTo>
                  <a:lnTo>
                    <a:pt x="309732" y="1643970"/>
                  </a:lnTo>
                  <a:lnTo>
                    <a:pt x="304968" y="1634440"/>
                  </a:lnTo>
                  <a:lnTo>
                    <a:pt x="295436" y="1629674"/>
                  </a:lnTo>
                  <a:lnTo>
                    <a:pt x="276376" y="1629674"/>
                  </a:lnTo>
                  <a:lnTo>
                    <a:pt x="247784" y="1620144"/>
                  </a:lnTo>
                  <a:lnTo>
                    <a:pt x="223960" y="1610614"/>
                  </a:lnTo>
                  <a:lnTo>
                    <a:pt x="209664" y="1601084"/>
                  </a:lnTo>
                  <a:lnTo>
                    <a:pt x="209664" y="1596318"/>
                  </a:lnTo>
                  <a:lnTo>
                    <a:pt x="204900" y="1591554"/>
                  </a:lnTo>
                  <a:lnTo>
                    <a:pt x="209664" y="1562962"/>
                  </a:lnTo>
                  <a:lnTo>
                    <a:pt x="214428" y="1534372"/>
                  </a:lnTo>
                  <a:lnTo>
                    <a:pt x="219192" y="1524842"/>
                  </a:lnTo>
                  <a:lnTo>
                    <a:pt x="228724" y="1515312"/>
                  </a:lnTo>
                  <a:lnTo>
                    <a:pt x="233488" y="1510546"/>
                  </a:lnTo>
                  <a:lnTo>
                    <a:pt x="247784" y="1501016"/>
                  </a:lnTo>
                  <a:lnTo>
                    <a:pt x="271612" y="1472424"/>
                  </a:lnTo>
                  <a:lnTo>
                    <a:pt x="295436" y="1434304"/>
                  </a:lnTo>
                  <a:lnTo>
                    <a:pt x="309732" y="1405714"/>
                  </a:lnTo>
                  <a:lnTo>
                    <a:pt x="319260" y="1400948"/>
                  </a:lnTo>
                  <a:lnTo>
                    <a:pt x="328792" y="1391418"/>
                  </a:lnTo>
                  <a:lnTo>
                    <a:pt x="338324" y="1381888"/>
                  </a:lnTo>
                  <a:lnTo>
                    <a:pt x="352616" y="1377122"/>
                  </a:lnTo>
                  <a:lnTo>
                    <a:pt x="366912" y="1377122"/>
                  </a:lnTo>
                  <a:lnTo>
                    <a:pt x="376444" y="1381888"/>
                  </a:lnTo>
                  <a:lnTo>
                    <a:pt x="385972" y="1391418"/>
                  </a:lnTo>
                  <a:lnTo>
                    <a:pt x="390740" y="1410478"/>
                  </a:lnTo>
                  <a:lnTo>
                    <a:pt x="395504" y="1420008"/>
                  </a:lnTo>
                  <a:lnTo>
                    <a:pt x="405032" y="1429538"/>
                  </a:lnTo>
                  <a:lnTo>
                    <a:pt x="414564" y="1429538"/>
                  </a:lnTo>
                  <a:lnTo>
                    <a:pt x="424096" y="1429538"/>
                  </a:lnTo>
                  <a:lnTo>
                    <a:pt x="471744" y="1410478"/>
                  </a:lnTo>
                  <a:lnTo>
                    <a:pt x="490808" y="1405714"/>
                  </a:lnTo>
                  <a:lnTo>
                    <a:pt x="528928" y="1400948"/>
                  </a:lnTo>
                  <a:lnTo>
                    <a:pt x="557516" y="1396184"/>
                  </a:lnTo>
                  <a:lnTo>
                    <a:pt x="581344" y="1386652"/>
                  </a:lnTo>
                  <a:lnTo>
                    <a:pt x="581344" y="1372358"/>
                  </a:lnTo>
                  <a:lnTo>
                    <a:pt x="590872" y="1348532"/>
                  </a:lnTo>
                  <a:lnTo>
                    <a:pt x="619464" y="1319940"/>
                  </a:lnTo>
                  <a:lnTo>
                    <a:pt x="628996" y="1305646"/>
                  </a:lnTo>
                  <a:lnTo>
                    <a:pt x="638524" y="1277054"/>
                  </a:lnTo>
                  <a:lnTo>
                    <a:pt x="648056" y="1257994"/>
                  </a:lnTo>
                  <a:lnTo>
                    <a:pt x="652820" y="1248464"/>
                  </a:lnTo>
                  <a:lnTo>
                    <a:pt x="700472" y="1219874"/>
                  </a:lnTo>
                  <a:lnTo>
                    <a:pt x="743356" y="1196048"/>
                  </a:lnTo>
                  <a:lnTo>
                    <a:pt x="748124" y="1186518"/>
                  </a:lnTo>
                  <a:lnTo>
                    <a:pt x="776712" y="1138866"/>
                  </a:lnTo>
                  <a:lnTo>
                    <a:pt x="795776" y="1105510"/>
                  </a:lnTo>
                  <a:lnTo>
                    <a:pt x="795776" y="1091216"/>
                  </a:lnTo>
                  <a:lnTo>
                    <a:pt x="814836" y="1034034"/>
                  </a:lnTo>
                  <a:lnTo>
                    <a:pt x="829132" y="1029268"/>
                  </a:lnTo>
                  <a:lnTo>
                    <a:pt x="857720" y="1014972"/>
                  </a:lnTo>
                  <a:lnTo>
                    <a:pt x="881548" y="1005442"/>
                  </a:lnTo>
                  <a:lnTo>
                    <a:pt x="895840" y="995912"/>
                  </a:lnTo>
                  <a:lnTo>
                    <a:pt x="900608" y="981618"/>
                  </a:lnTo>
                  <a:lnTo>
                    <a:pt x="900608" y="972086"/>
                  </a:lnTo>
                  <a:lnTo>
                    <a:pt x="895840" y="957792"/>
                  </a:lnTo>
                  <a:lnTo>
                    <a:pt x="895840" y="953026"/>
                  </a:lnTo>
                  <a:lnTo>
                    <a:pt x="895840" y="943496"/>
                  </a:lnTo>
                  <a:lnTo>
                    <a:pt x="914904" y="929200"/>
                  </a:lnTo>
                  <a:lnTo>
                    <a:pt x="948260" y="881550"/>
                  </a:lnTo>
                  <a:lnTo>
                    <a:pt x="967320" y="862488"/>
                  </a:lnTo>
                  <a:lnTo>
                    <a:pt x="972084" y="862488"/>
                  </a:lnTo>
                  <a:lnTo>
                    <a:pt x="991144" y="848194"/>
                  </a:lnTo>
                  <a:lnTo>
                    <a:pt x="1010204" y="833898"/>
                  </a:lnTo>
                  <a:lnTo>
                    <a:pt x="1010204" y="829132"/>
                  </a:lnTo>
                  <a:lnTo>
                    <a:pt x="1010204" y="819602"/>
                  </a:lnTo>
                  <a:lnTo>
                    <a:pt x="995908" y="819602"/>
                  </a:lnTo>
                  <a:lnTo>
                    <a:pt x="995908" y="805308"/>
                  </a:lnTo>
                  <a:lnTo>
                    <a:pt x="995908" y="795778"/>
                  </a:lnTo>
                  <a:lnTo>
                    <a:pt x="1005440" y="757656"/>
                  </a:lnTo>
                  <a:lnTo>
                    <a:pt x="1005440" y="743360"/>
                  </a:lnTo>
                  <a:lnTo>
                    <a:pt x="991144" y="710004"/>
                  </a:lnTo>
                  <a:lnTo>
                    <a:pt x="995908" y="700474"/>
                  </a:lnTo>
                  <a:lnTo>
                    <a:pt x="1000676" y="690944"/>
                  </a:lnTo>
                  <a:lnTo>
                    <a:pt x="1014972" y="676648"/>
                  </a:lnTo>
                  <a:lnTo>
                    <a:pt x="1029264" y="667118"/>
                  </a:lnTo>
                  <a:lnTo>
                    <a:pt x="1081680" y="643294"/>
                  </a:lnTo>
                  <a:lnTo>
                    <a:pt x="1091212" y="638528"/>
                  </a:lnTo>
                  <a:lnTo>
                    <a:pt x="1110272" y="633762"/>
                  </a:lnTo>
                  <a:lnTo>
                    <a:pt x="1119804" y="619468"/>
                  </a:lnTo>
                  <a:lnTo>
                    <a:pt x="1119804" y="605172"/>
                  </a:lnTo>
                  <a:lnTo>
                    <a:pt x="1115036" y="600406"/>
                  </a:lnTo>
                  <a:lnTo>
                    <a:pt x="1105508" y="590876"/>
                  </a:lnTo>
                  <a:lnTo>
                    <a:pt x="1086448" y="581346"/>
                  </a:lnTo>
                  <a:lnTo>
                    <a:pt x="1067388" y="571816"/>
                  </a:lnTo>
                  <a:lnTo>
                    <a:pt x="1034032" y="571816"/>
                  </a:lnTo>
                  <a:lnTo>
                    <a:pt x="1019736" y="567052"/>
                  </a:lnTo>
                  <a:lnTo>
                    <a:pt x="1014972" y="562286"/>
                  </a:lnTo>
                  <a:lnTo>
                    <a:pt x="1014972" y="547990"/>
                  </a:lnTo>
                  <a:lnTo>
                    <a:pt x="1014972" y="519400"/>
                  </a:lnTo>
                  <a:lnTo>
                    <a:pt x="1010204" y="514634"/>
                  </a:lnTo>
                  <a:lnTo>
                    <a:pt x="1005440" y="519400"/>
                  </a:lnTo>
                  <a:lnTo>
                    <a:pt x="991144" y="514634"/>
                  </a:lnTo>
                  <a:lnTo>
                    <a:pt x="967320" y="514634"/>
                  </a:lnTo>
                  <a:lnTo>
                    <a:pt x="962552" y="509870"/>
                  </a:lnTo>
                  <a:lnTo>
                    <a:pt x="962552" y="500340"/>
                  </a:lnTo>
                  <a:lnTo>
                    <a:pt x="962552" y="486044"/>
                  </a:lnTo>
                  <a:lnTo>
                    <a:pt x="962552" y="476514"/>
                  </a:lnTo>
                  <a:lnTo>
                    <a:pt x="957788" y="471748"/>
                  </a:lnTo>
                  <a:lnTo>
                    <a:pt x="948260" y="466984"/>
                  </a:lnTo>
                  <a:lnTo>
                    <a:pt x="933964" y="457454"/>
                  </a:lnTo>
                  <a:lnTo>
                    <a:pt x="919668" y="447922"/>
                  </a:lnTo>
                  <a:lnTo>
                    <a:pt x="914904" y="438392"/>
                  </a:lnTo>
                  <a:lnTo>
                    <a:pt x="910136" y="433628"/>
                  </a:lnTo>
                  <a:lnTo>
                    <a:pt x="914904" y="428862"/>
                  </a:lnTo>
                  <a:lnTo>
                    <a:pt x="919668" y="414568"/>
                  </a:lnTo>
                  <a:lnTo>
                    <a:pt x="933964" y="400272"/>
                  </a:lnTo>
                  <a:lnTo>
                    <a:pt x="933964" y="385976"/>
                  </a:lnTo>
                  <a:lnTo>
                    <a:pt x="938728" y="376446"/>
                  </a:lnTo>
                  <a:lnTo>
                    <a:pt x="933964" y="371680"/>
                  </a:lnTo>
                  <a:lnTo>
                    <a:pt x="924432" y="362150"/>
                  </a:lnTo>
                  <a:lnTo>
                    <a:pt x="914904" y="352620"/>
                  </a:lnTo>
                  <a:lnTo>
                    <a:pt x="910136" y="347856"/>
                  </a:lnTo>
                  <a:lnTo>
                    <a:pt x="910136" y="338324"/>
                  </a:lnTo>
                  <a:lnTo>
                    <a:pt x="914904" y="324030"/>
                  </a:lnTo>
                  <a:lnTo>
                    <a:pt x="924432" y="314500"/>
                  </a:lnTo>
                  <a:lnTo>
                    <a:pt x="948260" y="304970"/>
                  </a:lnTo>
                  <a:lnTo>
                    <a:pt x="953024" y="295438"/>
                  </a:lnTo>
                  <a:lnTo>
                    <a:pt x="953024" y="285908"/>
                  </a:lnTo>
                  <a:lnTo>
                    <a:pt x="948260" y="285908"/>
                  </a:lnTo>
                  <a:lnTo>
                    <a:pt x="929196" y="285908"/>
                  </a:lnTo>
                  <a:lnTo>
                    <a:pt x="905372" y="281144"/>
                  </a:lnTo>
                  <a:lnTo>
                    <a:pt x="900608" y="276378"/>
                  </a:lnTo>
                  <a:lnTo>
                    <a:pt x="900608" y="271614"/>
                  </a:lnTo>
                  <a:lnTo>
                    <a:pt x="900608" y="266848"/>
                  </a:lnTo>
                  <a:lnTo>
                    <a:pt x="905372" y="257318"/>
                  </a:lnTo>
                  <a:lnTo>
                    <a:pt x="910136" y="247788"/>
                  </a:lnTo>
                  <a:lnTo>
                    <a:pt x="910136" y="243022"/>
                  </a:lnTo>
                  <a:lnTo>
                    <a:pt x="900608" y="233492"/>
                  </a:lnTo>
                  <a:lnTo>
                    <a:pt x="881548" y="223962"/>
                  </a:lnTo>
                  <a:lnTo>
                    <a:pt x="881548" y="214432"/>
                  </a:lnTo>
                  <a:lnTo>
                    <a:pt x="881548" y="204902"/>
                  </a:lnTo>
                  <a:lnTo>
                    <a:pt x="891076" y="195372"/>
                  </a:lnTo>
                  <a:lnTo>
                    <a:pt x="895840" y="185840"/>
                  </a:lnTo>
                  <a:lnTo>
                    <a:pt x="905372" y="162016"/>
                  </a:lnTo>
                  <a:lnTo>
                    <a:pt x="919668" y="157250"/>
                  </a:lnTo>
                  <a:lnTo>
                    <a:pt x="938728" y="147720"/>
                  </a:lnTo>
                  <a:lnTo>
                    <a:pt x="957788" y="142954"/>
                  </a:lnTo>
                  <a:lnTo>
                    <a:pt x="991144" y="147720"/>
                  </a:lnTo>
                  <a:lnTo>
                    <a:pt x="1005440" y="152486"/>
                  </a:lnTo>
                  <a:lnTo>
                    <a:pt x="1034032" y="157250"/>
                  </a:lnTo>
                  <a:lnTo>
                    <a:pt x="1062620" y="162016"/>
                  </a:lnTo>
                  <a:lnTo>
                    <a:pt x="1086448" y="166780"/>
                  </a:lnTo>
                  <a:lnTo>
                    <a:pt x="1100744" y="166780"/>
                  </a:lnTo>
                  <a:lnTo>
                    <a:pt x="1110272" y="171546"/>
                  </a:lnTo>
                  <a:lnTo>
                    <a:pt x="1138864" y="185840"/>
                  </a:lnTo>
                  <a:lnTo>
                    <a:pt x="1162688" y="190606"/>
                  </a:lnTo>
                  <a:lnTo>
                    <a:pt x="1181748" y="190606"/>
                  </a:lnTo>
                  <a:lnTo>
                    <a:pt x="1205576" y="181076"/>
                  </a:lnTo>
                  <a:lnTo>
                    <a:pt x="1215104" y="171546"/>
                  </a:lnTo>
                  <a:lnTo>
                    <a:pt x="1234168" y="157250"/>
                  </a:lnTo>
                  <a:lnTo>
                    <a:pt x="1253228" y="157250"/>
                  </a:lnTo>
                  <a:lnTo>
                    <a:pt x="1296112" y="142954"/>
                  </a:lnTo>
                  <a:lnTo>
                    <a:pt x="1305644" y="142954"/>
                  </a:lnTo>
                  <a:lnTo>
                    <a:pt x="1319940" y="147720"/>
                  </a:lnTo>
                  <a:lnTo>
                    <a:pt x="1334232" y="138190"/>
                  </a:lnTo>
                  <a:lnTo>
                    <a:pt x="1343764" y="123894"/>
                  </a:lnTo>
                  <a:lnTo>
                    <a:pt x="1343764" y="119130"/>
                  </a:lnTo>
                  <a:lnTo>
                    <a:pt x="1348528" y="114364"/>
                  </a:lnTo>
                  <a:lnTo>
                    <a:pt x="1362824" y="109598"/>
                  </a:lnTo>
                  <a:lnTo>
                    <a:pt x="1381884" y="95304"/>
                  </a:lnTo>
                  <a:lnTo>
                    <a:pt x="1386652" y="85774"/>
                  </a:lnTo>
                  <a:lnTo>
                    <a:pt x="1391416" y="76244"/>
                  </a:lnTo>
                  <a:lnTo>
                    <a:pt x="1429536" y="52418"/>
                  </a:lnTo>
                  <a:lnTo>
                    <a:pt x="1448596" y="38122"/>
                  </a:lnTo>
                  <a:lnTo>
                    <a:pt x="1472424" y="23826"/>
                  </a:lnTo>
                  <a:lnTo>
                    <a:pt x="1491484" y="9532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1" name="Line 5337">
              <a:extLst>
                <a:ext uri="{FF2B5EF4-FFF2-40B4-BE49-F238E27FC236}">
                  <a16:creationId xmlns:a16="http://schemas.microsoft.com/office/drawing/2014/main" id="{CDAC7D82-94C7-495B-ACE0-9497DE01213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287315" y="4559134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2" name="Line 5352">
              <a:extLst>
                <a:ext uri="{FF2B5EF4-FFF2-40B4-BE49-F238E27FC236}">
                  <a16:creationId xmlns:a16="http://schemas.microsoft.com/office/drawing/2014/main" id="{16D51EF8-7BC7-4343-87DE-5B4E4C6A671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287315" y="4559134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03" name="Group 168">
              <a:extLst>
                <a:ext uri="{FF2B5EF4-FFF2-40B4-BE49-F238E27FC236}">
                  <a16:creationId xmlns:a16="http://schemas.microsoft.com/office/drawing/2014/main" id="{146711CB-4CFA-4240-BF43-83C1D78BBC30}"/>
                </a:ext>
              </a:extLst>
            </p:cNvPr>
            <p:cNvGrpSpPr/>
            <p:nvPr/>
          </p:nvGrpSpPr>
          <p:grpSpPr>
            <a:xfrm>
              <a:off x="7126973" y="5592880"/>
              <a:ext cx="3084" cy="5396"/>
              <a:chOff x="39929752" y="28174373"/>
              <a:chExt cx="19061" cy="33356"/>
            </a:xfrm>
            <a:grpFill/>
          </p:grpSpPr>
          <p:sp>
            <p:nvSpPr>
              <p:cNvPr id="598" name="Freeform 5361">
                <a:extLst>
                  <a:ext uri="{FF2B5EF4-FFF2-40B4-BE49-F238E27FC236}">
                    <a16:creationId xmlns:a16="http://schemas.microsoft.com/office/drawing/2014/main" id="{8152AD13-DDD2-4DAA-8874-F83C276C73B5}"/>
                  </a:ext>
                </a:extLst>
              </p:cNvPr>
              <p:cNvSpPr/>
              <p:nvPr/>
            </p:nvSpPr>
            <p:spPr bwMode="auto">
              <a:xfrm>
                <a:off x="39929752" y="28174373"/>
                <a:ext cx="19061" cy="33356"/>
              </a:xfrm>
              <a:custGeom>
                <a:avLst/>
                <a:gdLst>
                  <a:gd name="T0" fmla="*/ 8 w 8"/>
                  <a:gd name="T1" fmla="*/ 10 h 14"/>
                  <a:gd name="T2" fmla="*/ 8 w 8"/>
                  <a:gd name="T3" fmla="*/ 4 h 14"/>
                  <a:gd name="T4" fmla="*/ 8 w 8"/>
                  <a:gd name="T5" fmla="*/ 2 h 14"/>
                  <a:gd name="T6" fmla="*/ 6 w 8"/>
                  <a:gd name="T7" fmla="*/ 0 h 14"/>
                  <a:gd name="T8" fmla="*/ 4 w 8"/>
                  <a:gd name="T9" fmla="*/ 0 h 14"/>
                  <a:gd name="T10" fmla="*/ 6 w 8"/>
                  <a:gd name="T11" fmla="*/ 2 h 14"/>
                  <a:gd name="T12" fmla="*/ 8 w 8"/>
                  <a:gd name="T13" fmla="*/ 4 h 14"/>
                  <a:gd name="T14" fmla="*/ 6 w 8"/>
                  <a:gd name="T15" fmla="*/ 6 h 14"/>
                  <a:gd name="T16" fmla="*/ 6 w 8"/>
                  <a:gd name="T17" fmla="*/ 8 h 14"/>
                  <a:gd name="T18" fmla="*/ 6 w 8"/>
                  <a:gd name="T19" fmla="*/ 10 h 14"/>
                  <a:gd name="T20" fmla="*/ 4 w 8"/>
                  <a:gd name="T21" fmla="*/ 4 h 14"/>
                  <a:gd name="T22" fmla="*/ 0 w 8"/>
                  <a:gd name="T23" fmla="*/ 2 h 14"/>
                  <a:gd name="T24" fmla="*/ 0 w 8"/>
                  <a:gd name="T25" fmla="*/ 2 h 14"/>
                  <a:gd name="T26" fmla="*/ 2 w 8"/>
                  <a:gd name="T27" fmla="*/ 6 h 14"/>
                  <a:gd name="T28" fmla="*/ 4 w 8"/>
                  <a:gd name="T29" fmla="*/ 14 h 14"/>
                  <a:gd name="T30" fmla="*/ 8 w 8"/>
                  <a:gd name="T31" fmla="*/ 12 h 14"/>
                  <a:gd name="T32" fmla="*/ 8 w 8"/>
                  <a:gd name="T33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" h="14">
                    <a:moveTo>
                      <a:pt x="8" y="10"/>
                    </a:moveTo>
                    <a:lnTo>
                      <a:pt x="8" y="4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6" y="8"/>
                    </a:lnTo>
                    <a:lnTo>
                      <a:pt x="6" y="10"/>
                    </a:lnTo>
                    <a:lnTo>
                      <a:pt x="4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6"/>
                    </a:lnTo>
                    <a:lnTo>
                      <a:pt x="4" y="14"/>
                    </a:lnTo>
                    <a:lnTo>
                      <a:pt x="8" y="12"/>
                    </a:lnTo>
                    <a:lnTo>
                      <a:pt x="8" y="1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9" name="Line 5362">
                <a:extLst>
                  <a:ext uri="{FF2B5EF4-FFF2-40B4-BE49-F238E27FC236}">
                    <a16:creationId xmlns:a16="http://schemas.microsoft.com/office/drawing/2014/main" id="{BA8D438F-94E0-4471-A61D-58DDA385DF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9948814" y="28198198"/>
                <a:ext cx="0" cy="0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0" name="Line 5364">
                <a:extLst>
                  <a:ext uri="{FF2B5EF4-FFF2-40B4-BE49-F238E27FC236}">
                    <a16:creationId xmlns:a16="http://schemas.microsoft.com/office/drawing/2014/main" id="{5E1E7162-097D-4CEB-8DEB-1A9B3A13B7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9948814" y="28198198"/>
                <a:ext cx="0" cy="0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04" name="Freeform 152">
              <a:extLst>
                <a:ext uri="{FF2B5EF4-FFF2-40B4-BE49-F238E27FC236}">
                  <a16:creationId xmlns:a16="http://schemas.microsoft.com/office/drawing/2014/main" id="{647AEDD4-C045-4AC0-8BED-A8278E6FBC26}"/>
                </a:ext>
              </a:extLst>
            </p:cNvPr>
            <p:cNvSpPr/>
            <p:nvPr/>
          </p:nvSpPr>
          <p:spPr bwMode="auto">
            <a:xfrm>
              <a:off x="5035584" y="3722733"/>
              <a:ext cx="110235" cy="164968"/>
            </a:xfrm>
            <a:custGeom>
              <a:avLst/>
              <a:gdLst>
                <a:gd name="connsiteX0" fmla="*/ 22224 w 454024"/>
                <a:gd name="connsiteY0" fmla="*/ 241300 h 679450"/>
                <a:gd name="connsiteX1" fmla="*/ 28576 w 454024"/>
                <a:gd name="connsiteY1" fmla="*/ 244475 h 679450"/>
                <a:gd name="connsiteX2" fmla="*/ 41276 w 454024"/>
                <a:gd name="connsiteY2" fmla="*/ 244475 h 679450"/>
                <a:gd name="connsiteX3" fmla="*/ 47624 w 454024"/>
                <a:gd name="connsiteY3" fmla="*/ 247650 h 679450"/>
                <a:gd name="connsiteX4" fmla="*/ 47624 w 454024"/>
                <a:gd name="connsiteY4" fmla="*/ 260350 h 679450"/>
                <a:gd name="connsiteX5" fmla="*/ 47624 w 454024"/>
                <a:gd name="connsiteY5" fmla="*/ 263525 h 679450"/>
                <a:gd name="connsiteX6" fmla="*/ 38100 w 454024"/>
                <a:gd name="connsiteY6" fmla="*/ 257175 h 679450"/>
                <a:gd name="connsiteX7" fmla="*/ 34924 w 454024"/>
                <a:gd name="connsiteY7" fmla="*/ 250825 h 679450"/>
                <a:gd name="connsiteX8" fmla="*/ 15876 w 454024"/>
                <a:gd name="connsiteY8" fmla="*/ 247650 h 679450"/>
                <a:gd name="connsiteX9" fmla="*/ 317500 w 454024"/>
                <a:gd name="connsiteY9" fmla="*/ 0 h 679450"/>
                <a:gd name="connsiteX10" fmla="*/ 323850 w 454024"/>
                <a:gd name="connsiteY10" fmla="*/ 0 h 679450"/>
                <a:gd name="connsiteX11" fmla="*/ 327024 w 454024"/>
                <a:gd name="connsiteY11" fmla="*/ 0 h 679450"/>
                <a:gd name="connsiteX12" fmla="*/ 339724 w 454024"/>
                <a:gd name="connsiteY12" fmla="*/ 9525 h 679450"/>
                <a:gd name="connsiteX13" fmla="*/ 349250 w 454024"/>
                <a:gd name="connsiteY13" fmla="*/ 15875 h 679450"/>
                <a:gd name="connsiteX14" fmla="*/ 358776 w 454024"/>
                <a:gd name="connsiteY14" fmla="*/ 22225 h 679450"/>
                <a:gd name="connsiteX15" fmla="*/ 349250 w 454024"/>
                <a:gd name="connsiteY15" fmla="*/ 31750 h 679450"/>
                <a:gd name="connsiteX16" fmla="*/ 336550 w 454024"/>
                <a:gd name="connsiteY16" fmla="*/ 41275 h 679450"/>
                <a:gd name="connsiteX17" fmla="*/ 330200 w 454024"/>
                <a:gd name="connsiteY17" fmla="*/ 47625 h 679450"/>
                <a:gd name="connsiteX18" fmla="*/ 314324 w 454024"/>
                <a:gd name="connsiteY18" fmla="*/ 60325 h 679450"/>
                <a:gd name="connsiteX19" fmla="*/ 311150 w 454024"/>
                <a:gd name="connsiteY19" fmla="*/ 63500 h 679450"/>
                <a:gd name="connsiteX20" fmla="*/ 307976 w 454024"/>
                <a:gd name="connsiteY20" fmla="*/ 82550 h 679450"/>
                <a:gd name="connsiteX21" fmla="*/ 307976 w 454024"/>
                <a:gd name="connsiteY21" fmla="*/ 85725 h 679450"/>
                <a:gd name="connsiteX22" fmla="*/ 301624 w 454024"/>
                <a:gd name="connsiteY22" fmla="*/ 95250 h 679450"/>
                <a:gd name="connsiteX23" fmla="*/ 298450 w 454024"/>
                <a:gd name="connsiteY23" fmla="*/ 107950 h 679450"/>
                <a:gd name="connsiteX24" fmla="*/ 292100 w 454024"/>
                <a:gd name="connsiteY24" fmla="*/ 111125 h 679450"/>
                <a:gd name="connsiteX25" fmla="*/ 282576 w 454024"/>
                <a:gd name="connsiteY25" fmla="*/ 114300 h 679450"/>
                <a:gd name="connsiteX26" fmla="*/ 276224 w 454024"/>
                <a:gd name="connsiteY26" fmla="*/ 117475 h 679450"/>
                <a:gd name="connsiteX27" fmla="*/ 269876 w 454024"/>
                <a:gd name="connsiteY27" fmla="*/ 117475 h 679450"/>
                <a:gd name="connsiteX28" fmla="*/ 263524 w 454024"/>
                <a:gd name="connsiteY28" fmla="*/ 117475 h 679450"/>
                <a:gd name="connsiteX29" fmla="*/ 260350 w 454024"/>
                <a:gd name="connsiteY29" fmla="*/ 120650 h 679450"/>
                <a:gd name="connsiteX30" fmla="*/ 260350 w 454024"/>
                <a:gd name="connsiteY30" fmla="*/ 123825 h 679450"/>
                <a:gd name="connsiteX31" fmla="*/ 263524 w 454024"/>
                <a:gd name="connsiteY31" fmla="*/ 123825 h 679450"/>
                <a:gd name="connsiteX32" fmla="*/ 269876 w 454024"/>
                <a:gd name="connsiteY32" fmla="*/ 130175 h 679450"/>
                <a:gd name="connsiteX33" fmla="*/ 276224 w 454024"/>
                <a:gd name="connsiteY33" fmla="*/ 133350 h 679450"/>
                <a:gd name="connsiteX34" fmla="*/ 276224 w 454024"/>
                <a:gd name="connsiteY34" fmla="*/ 139700 h 679450"/>
                <a:gd name="connsiteX35" fmla="*/ 273050 w 454024"/>
                <a:gd name="connsiteY35" fmla="*/ 142875 h 679450"/>
                <a:gd name="connsiteX36" fmla="*/ 244476 w 454024"/>
                <a:gd name="connsiteY36" fmla="*/ 152400 h 679450"/>
                <a:gd name="connsiteX37" fmla="*/ 238124 w 454024"/>
                <a:gd name="connsiteY37" fmla="*/ 158750 h 679450"/>
                <a:gd name="connsiteX38" fmla="*/ 234950 w 454024"/>
                <a:gd name="connsiteY38" fmla="*/ 165100 h 679450"/>
                <a:gd name="connsiteX39" fmla="*/ 238124 w 454024"/>
                <a:gd name="connsiteY39" fmla="*/ 171450 h 679450"/>
                <a:gd name="connsiteX40" fmla="*/ 260350 w 454024"/>
                <a:gd name="connsiteY40" fmla="*/ 190500 h 679450"/>
                <a:gd name="connsiteX41" fmla="*/ 263524 w 454024"/>
                <a:gd name="connsiteY41" fmla="*/ 193675 h 679450"/>
                <a:gd name="connsiteX42" fmla="*/ 266700 w 454024"/>
                <a:gd name="connsiteY42" fmla="*/ 206375 h 679450"/>
                <a:gd name="connsiteX43" fmla="*/ 282576 w 454024"/>
                <a:gd name="connsiteY43" fmla="*/ 212725 h 679450"/>
                <a:gd name="connsiteX44" fmla="*/ 292100 w 454024"/>
                <a:gd name="connsiteY44" fmla="*/ 219075 h 679450"/>
                <a:gd name="connsiteX45" fmla="*/ 298450 w 454024"/>
                <a:gd name="connsiteY45" fmla="*/ 222250 h 679450"/>
                <a:gd name="connsiteX46" fmla="*/ 311150 w 454024"/>
                <a:gd name="connsiteY46" fmla="*/ 219075 h 679450"/>
                <a:gd name="connsiteX47" fmla="*/ 317500 w 454024"/>
                <a:gd name="connsiteY47" fmla="*/ 222250 h 679450"/>
                <a:gd name="connsiteX48" fmla="*/ 320676 w 454024"/>
                <a:gd name="connsiteY48" fmla="*/ 222250 h 679450"/>
                <a:gd name="connsiteX49" fmla="*/ 323850 w 454024"/>
                <a:gd name="connsiteY49" fmla="*/ 215900 h 679450"/>
                <a:gd name="connsiteX50" fmla="*/ 333376 w 454024"/>
                <a:gd name="connsiteY50" fmla="*/ 206375 h 679450"/>
                <a:gd name="connsiteX51" fmla="*/ 339724 w 454024"/>
                <a:gd name="connsiteY51" fmla="*/ 203200 h 679450"/>
                <a:gd name="connsiteX52" fmla="*/ 336550 w 454024"/>
                <a:gd name="connsiteY52" fmla="*/ 196850 h 679450"/>
                <a:gd name="connsiteX53" fmla="*/ 333376 w 454024"/>
                <a:gd name="connsiteY53" fmla="*/ 190500 h 679450"/>
                <a:gd name="connsiteX54" fmla="*/ 339724 w 454024"/>
                <a:gd name="connsiteY54" fmla="*/ 180975 h 679450"/>
                <a:gd name="connsiteX55" fmla="*/ 349250 w 454024"/>
                <a:gd name="connsiteY55" fmla="*/ 171450 h 679450"/>
                <a:gd name="connsiteX56" fmla="*/ 352424 w 454024"/>
                <a:gd name="connsiteY56" fmla="*/ 171450 h 679450"/>
                <a:gd name="connsiteX57" fmla="*/ 361950 w 454024"/>
                <a:gd name="connsiteY57" fmla="*/ 177800 h 679450"/>
                <a:gd name="connsiteX58" fmla="*/ 368300 w 454024"/>
                <a:gd name="connsiteY58" fmla="*/ 187325 h 679450"/>
                <a:gd name="connsiteX59" fmla="*/ 368300 w 454024"/>
                <a:gd name="connsiteY59" fmla="*/ 190500 h 679450"/>
                <a:gd name="connsiteX60" fmla="*/ 368300 w 454024"/>
                <a:gd name="connsiteY60" fmla="*/ 196850 h 679450"/>
                <a:gd name="connsiteX61" fmla="*/ 374650 w 454024"/>
                <a:gd name="connsiteY61" fmla="*/ 206375 h 679450"/>
                <a:gd name="connsiteX62" fmla="*/ 377824 w 454024"/>
                <a:gd name="connsiteY62" fmla="*/ 209550 h 679450"/>
                <a:gd name="connsiteX63" fmla="*/ 387350 w 454024"/>
                <a:gd name="connsiteY63" fmla="*/ 212725 h 679450"/>
                <a:gd name="connsiteX64" fmla="*/ 390524 w 454024"/>
                <a:gd name="connsiteY64" fmla="*/ 215900 h 679450"/>
                <a:gd name="connsiteX65" fmla="*/ 390524 w 454024"/>
                <a:gd name="connsiteY65" fmla="*/ 228600 h 679450"/>
                <a:gd name="connsiteX66" fmla="*/ 390524 w 454024"/>
                <a:gd name="connsiteY66" fmla="*/ 234950 h 679450"/>
                <a:gd name="connsiteX67" fmla="*/ 400050 w 454024"/>
                <a:gd name="connsiteY67" fmla="*/ 234950 h 679450"/>
                <a:gd name="connsiteX68" fmla="*/ 412750 w 454024"/>
                <a:gd name="connsiteY68" fmla="*/ 231775 h 679450"/>
                <a:gd name="connsiteX69" fmla="*/ 415924 w 454024"/>
                <a:gd name="connsiteY69" fmla="*/ 234950 h 679450"/>
                <a:gd name="connsiteX70" fmla="*/ 419100 w 454024"/>
                <a:gd name="connsiteY70" fmla="*/ 231775 h 679450"/>
                <a:gd name="connsiteX71" fmla="*/ 425450 w 454024"/>
                <a:gd name="connsiteY71" fmla="*/ 228600 h 679450"/>
                <a:gd name="connsiteX72" fmla="*/ 434976 w 454024"/>
                <a:gd name="connsiteY72" fmla="*/ 228600 h 679450"/>
                <a:gd name="connsiteX73" fmla="*/ 441324 w 454024"/>
                <a:gd name="connsiteY73" fmla="*/ 234950 h 679450"/>
                <a:gd name="connsiteX74" fmla="*/ 441324 w 454024"/>
                <a:gd name="connsiteY74" fmla="*/ 241300 h 679450"/>
                <a:gd name="connsiteX75" fmla="*/ 434976 w 454024"/>
                <a:gd name="connsiteY75" fmla="*/ 244475 h 679450"/>
                <a:gd name="connsiteX76" fmla="*/ 425450 w 454024"/>
                <a:gd name="connsiteY76" fmla="*/ 241300 h 679450"/>
                <a:gd name="connsiteX77" fmla="*/ 422276 w 454024"/>
                <a:gd name="connsiteY77" fmla="*/ 247650 h 679450"/>
                <a:gd name="connsiteX78" fmla="*/ 422276 w 454024"/>
                <a:gd name="connsiteY78" fmla="*/ 254000 h 679450"/>
                <a:gd name="connsiteX79" fmla="*/ 425450 w 454024"/>
                <a:gd name="connsiteY79" fmla="*/ 266700 h 679450"/>
                <a:gd name="connsiteX80" fmla="*/ 431800 w 454024"/>
                <a:gd name="connsiteY80" fmla="*/ 273050 h 679450"/>
                <a:gd name="connsiteX81" fmla="*/ 434976 w 454024"/>
                <a:gd name="connsiteY81" fmla="*/ 288925 h 679450"/>
                <a:gd name="connsiteX82" fmla="*/ 438150 w 454024"/>
                <a:gd name="connsiteY82" fmla="*/ 307975 h 679450"/>
                <a:gd name="connsiteX83" fmla="*/ 444500 w 454024"/>
                <a:gd name="connsiteY83" fmla="*/ 317500 h 679450"/>
                <a:gd name="connsiteX84" fmla="*/ 444500 w 454024"/>
                <a:gd name="connsiteY84" fmla="*/ 333375 h 679450"/>
                <a:gd name="connsiteX85" fmla="*/ 444500 w 454024"/>
                <a:gd name="connsiteY85" fmla="*/ 339725 h 679450"/>
                <a:gd name="connsiteX86" fmla="*/ 444500 w 454024"/>
                <a:gd name="connsiteY86" fmla="*/ 352425 h 679450"/>
                <a:gd name="connsiteX87" fmla="*/ 441324 w 454024"/>
                <a:gd name="connsiteY87" fmla="*/ 355600 h 679450"/>
                <a:gd name="connsiteX88" fmla="*/ 444500 w 454024"/>
                <a:gd name="connsiteY88" fmla="*/ 368300 h 679450"/>
                <a:gd name="connsiteX89" fmla="*/ 450850 w 454024"/>
                <a:gd name="connsiteY89" fmla="*/ 390525 h 679450"/>
                <a:gd name="connsiteX90" fmla="*/ 454024 w 454024"/>
                <a:gd name="connsiteY90" fmla="*/ 403225 h 679450"/>
                <a:gd name="connsiteX91" fmla="*/ 454024 w 454024"/>
                <a:gd name="connsiteY91" fmla="*/ 431800 h 679450"/>
                <a:gd name="connsiteX92" fmla="*/ 450850 w 454024"/>
                <a:gd name="connsiteY92" fmla="*/ 441325 h 679450"/>
                <a:gd name="connsiteX93" fmla="*/ 444500 w 454024"/>
                <a:gd name="connsiteY93" fmla="*/ 454025 h 679450"/>
                <a:gd name="connsiteX94" fmla="*/ 441324 w 454024"/>
                <a:gd name="connsiteY94" fmla="*/ 463550 h 679450"/>
                <a:gd name="connsiteX95" fmla="*/ 438150 w 454024"/>
                <a:gd name="connsiteY95" fmla="*/ 476250 h 679450"/>
                <a:gd name="connsiteX96" fmla="*/ 434976 w 454024"/>
                <a:gd name="connsiteY96" fmla="*/ 498475 h 679450"/>
                <a:gd name="connsiteX97" fmla="*/ 422276 w 454024"/>
                <a:gd name="connsiteY97" fmla="*/ 520700 h 679450"/>
                <a:gd name="connsiteX98" fmla="*/ 415924 w 454024"/>
                <a:gd name="connsiteY98" fmla="*/ 527050 h 679450"/>
                <a:gd name="connsiteX99" fmla="*/ 409576 w 454024"/>
                <a:gd name="connsiteY99" fmla="*/ 530225 h 679450"/>
                <a:gd name="connsiteX100" fmla="*/ 425450 w 454024"/>
                <a:gd name="connsiteY100" fmla="*/ 549275 h 679450"/>
                <a:gd name="connsiteX101" fmla="*/ 412750 w 454024"/>
                <a:gd name="connsiteY101" fmla="*/ 555625 h 679450"/>
                <a:gd name="connsiteX102" fmla="*/ 400050 w 454024"/>
                <a:gd name="connsiteY102" fmla="*/ 558800 h 679450"/>
                <a:gd name="connsiteX103" fmla="*/ 384176 w 454024"/>
                <a:gd name="connsiteY103" fmla="*/ 555625 h 679450"/>
                <a:gd name="connsiteX104" fmla="*/ 377824 w 454024"/>
                <a:gd name="connsiteY104" fmla="*/ 555625 h 679450"/>
                <a:gd name="connsiteX105" fmla="*/ 368300 w 454024"/>
                <a:gd name="connsiteY105" fmla="*/ 558800 h 679450"/>
                <a:gd name="connsiteX106" fmla="*/ 365124 w 454024"/>
                <a:gd name="connsiteY106" fmla="*/ 561975 h 679450"/>
                <a:gd name="connsiteX107" fmla="*/ 361950 w 454024"/>
                <a:gd name="connsiteY107" fmla="*/ 561975 h 679450"/>
                <a:gd name="connsiteX108" fmla="*/ 358776 w 454024"/>
                <a:gd name="connsiteY108" fmla="*/ 549275 h 679450"/>
                <a:gd name="connsiteX109" fmla="*/ 352424 w 454024"/>
                <a:gd name="connsiteY109" fmla="*/ 561975 h 679450"/>
                <a:gd name="connsiteX110" fmla="*/ 346076 w 454024"/>
                <a:gd name="connsiteY110" fmla="*/ 565150 h 679450"/>
                <a:gd name="connsiteX111" fmla="*/ 330200 w 454024"/>
                <a:gd name="connsiteY111" fmla="*/ 565150 h 679450"/>
                <a:gd name="connsiteX112" fmla="*/ 307976 w 454024"/>
                <a:gd name="connsiteY112" fmla="*/ 568325 h 679450"/>
                <a:gd name="connsiteX113" fmla="*/ 298450 w 454024"/>
                <a:gd name="connsiteY113" fmla="*/ 574675 h 679450"/>
                <a:gd name="connsiteX114" fmla="*/ 295276 w 454024"/>
                <a:gd name="connsiteY114" fmla="*/ 581025 h 679450"/>
                <a:gd name="connsiteX115" fmla="*/ 292100 w 454024"/>
                <a:gd name="connsiteY115" fmla="*/ 587375 h 679450"/>
                <a:gd name="connsiteX116" fmla="*/ 288924 w 454024"/>
                <a:gd name="connsiteY116" fmla="*/ 590550 h 679450"/>
                <a:gd name="connsiteX117" fmla="*/ 285750 w 454024"/>
                <a:gd name="connsiteY117" fmla="*/ 593725 h 679450"/>
                <a:gd name="connsiteX118" fmla="*/ 266700 w 454024"/>
                <a:gd name="connsiteY118" fmla="*/ 600075 h 679450"/>
                <a:gd name="connsiteX119" fmla="*/ 263524 w 454024"/>
                <a:gd name="connsiteY119" fmla="*/ 600075 h 679450"/>
                <a:gd name="connsiteX120" fmla="*/ 254000 w 454024"/>
                <a:gd name="connsiteY120" fmla="*/ 612775 h 679450"/>
                <a:gd name="connsiteX121" fmla="*/ 244476 w 454024"/>
                <a:gd name="connsiteY121" fmla="*/ 619125 h 679450"/>
                <a:gd name="connsiteX122" fmla="*/ 234950 w 454024"/>
                <a:gd name="connsiteY122" fmla="*/ 622300 h 679450"/>
                <a:gd name="connsiteX123" fmla="*/ 225424 w 454024"/>
                <a:gd name="connsiteY123" fmla="*/ 615950 h 679450"/>
                <a:gd name="connsiteX124" fmla="*/ 222250 w 454024"/>
                <a:gd name="connsiteY124" fmla="*/ 609600 h 679450"/>
                <a:gd name="connsiteX125" fmla="*/ 219076 w 454024"/>
                <a:gd name="connsiteY125" fmla="*/ 609600 h 679450"/>
                <a:gd name="connsiteX126" fmla="*/ 212724 w 454024"/>
                <a:gd name="connsiteY126" fmla="*/ 609600 h 679450"/>
                <a:gd name="connsiteX127" fmla="*/ 215900 w 454024"/>
                <a:gd name="connsiteY127" fmla="*/ 615950 h 679450"/>
                <a:gd name="connsiteX128" fmla="*/ 215900 w 454024"/>
                <a:gd name="connsiteY128" fmla="*/ 625475 h 679450"/>
                <a:gd name="connsiteX129" fmla="*/ 212724 w 454024"/>
                <a:gd name="connsiteY129" fmla="*/ 635000 h 679450"/>
                <a:gd name="connsiteX130" fmla="*/ 206376 w 454024"/>
                <a:gd name="connsiteY130" fmla="*/ 638175 h 679450"/>
                <a:gd name="connsiteX131" fmla="*/ 200024 w 454024"/>
                <a:gd name="connsiteY131" fmla="*/ 641350 h 679450"/>
                <a:gd name="connsiteX132" fmla="*/ 190500 w 454024"/>
                <a:gd name="connsiteY132" fmla="*/ 650875 h 679450"/>
                <a:gd name="connsiteX133" fmla="*/ 174624 w 454024"/>
                <a:gd name="connsiteY133" fmla="*/ 650875 h 679450"/>
                <a:gd name="connsiteX134" fmla="*/ 165100 w 454024"/>
                <a:gd name="connsiteY134" fmla="*/ 660400 h 679450"/>
                <a:gd name="connsiteX135" fmla="*/ 114300 w 454024"/>
                <a:gd name="connsiteY135" fmla="*/ 673100 h 679450"/>
                <a:gd name="connsiteX136" fmla="*/ 111124 w 454024"/>
                <a:gd name="connsiteY136" fmla="*/ 673100 h 679450"/>
                <a:gd name="connsiteX137" fmla="*/ 104776 w 454024"/>
                <a:gd name="connsiteY137" fmla="*/ 669925 h 679450"/>
                <a:gd name="connsiteX138" fmla="*/ 98424 w 454024"/>
                <a:gd name="connsiteY138" fmla="*/ 669925 h 679450"/>
                <a:gd name="connsiteX139" fmla="*/ 92076 w 454024"/>
                <a:gd name="connsiteY139" fmla="*/ 669925 h 679450"/>
                <a:gd name="connsiteX140" fmla="*/ 69850 w 454024"/>
                <a:gd name="connsiteY140" fmla="*/ 679450 h 679450"/>
                <a:gd name="connsiteX141" fmla="*/ 60324 w 454024"/>
                <a:gd name="connsiteY141" fmla="*/ 676275 h 679450"/>
                <a:gd name="connsiteX142" fmla="*/ 73024 w 454024"/>
                <a:gd name="connsiteY142" fmla="*/ 657225 h 679450"/>
                <a:gd name="connsiteX143" fmla="*/ 88900 w 454024"/>
                <a:gd name="connsiteY143" fmla="*/ 647700 h 679450"/>
                <a:gd name="connsiteX144" fmla="*/ 92076 w 454024"/>
                <a:gd name="connsiteY144" fmla="*/ 644525 h 679450"/>
                <a:gd name="connsiteX145" fmla="*/ 85724 w 454024"/>
                <a:gd name="connsiteY145" fmla="*/ 641350 h 679450"/>
                <a:gd name="connsiteX146" fmla="*/ 53976 w 454024"/>
                <a:gd name="connsiteY146" fmla="*/ 650875 h 679450"/>
                <a:gd name="connsiteX147" fmla="*/ 41276 w 454024"/>
                <a:gd name="connsiteY147" fmla="*/ 657225 h 679450"/>
                <a:gd name="connsiteX148" fmla="*/ 28576 w 454024"/>
                <a:gd name="connsiteY148" fmla="*/ 657225 h 679450"/>
                <a:gd name="connsiteX149" fmla="*/ 34924 w 454024"/>
                <a:gd name="connsiteY149" fmla="*/ 647700 h 679450"/>
                <a:gd name="connsiteX150" fmla="*/ 50800 w 454024"/>
                <a:gd name="connsiteY150" fmla="*/ 635000 h 679450"/>
                <a:gd name="connsiteX151" fmla="*/ 57150 w 454024"/>
                <a:gd name="connsiteY151" fmla="*/ 628650 h 679450"/>
                <a:gd name="connsiteX152" fmla="*/ 63500 w 454024"/>
                <a:gd name="connsiteY152" fmla="*/ 628650 h 679450"/>
                <a:gd name="connsiteX153" fmla="*/ 66676 w 454024"/>
                <a:gd name="connsiteY153" fmla="*/ 619125 h 679450"/>
                <a:gd name="connsiteX154" fmla="*/ 82550 w 454024"/>
                <a:gd name="connsiteY154" fmla="*/ 612775 h 679450"/>
                <a:gd name="connsiteX155" fmla="*/ 34924 w 454024"/>
                <a:gd name="connsiteY155" fmla="*/ 628650 h 679450"/>
                <a:gd name="connsiteX156" fmla="*/ 19050 w 454024"/>
                <a:gd name="connsiteY156" fmla="*/ 625475 h 679450"/>
                <a:gd name="connsiteX157" fmla="*/ 15876 w 454024"/>
                <a:gd name="connsiteY157" fmla="*/ 622300 h 679450"/>
                <a:gd name="connsiteX158" fmla="*/ 6350 w 454024"/>
                <a:gd name="connsiteY158" fmla="*/ 625475 h 679450"/>
                <a:gd name="connsiteX159" fmla="*/ 3176 w 454024"/>
                <a:gd name="connsiteY159" fmla="*/ 612775 h 679450"/>
                <a:gd name="connsiteX160" fmla="*/ 19050 w 454024"/>
                <a:gd name="connsiteY160" fmla="*/ 593725 h 679450"/>
                <a:gd name="connsiteX161" fmla="*/ 25400 w 454024"/>
                <a:gd name="connsiteY161" fmla="*/ 587375 h 679450"/>
                <a:gd name="connsiteX162" fmla="*/ 38100 w 454024"/>
                <a:gd name="connsiteY162" fmla="*/ 584200 h 679450"/>
                <a:gd name="connsiteX163" fmla="*/ 47624 w 454024"/>
                <a:gd name="connsiteY163" fmla="*/ 577850 h 679450"/>
                <a:gd name="connsiteX164" fmla="*/ 50800 w 454024"/>
                <a:gd name="connsiteY164" fmla="*/ 568325 h 679450"/>
                <a:gd name="connsiteX165" fmla="*/ 47624 w 454024"/>
                <a:gd name="connsiteY165" fmla="*/ 568325 h 679450"/>
                <a:gd name="connsiteX166" fmla="*/ 15876 w 454024"/>
                <a:gd name="connsiteY166" fmla="*/ 568325 h 679450"/>
                <a:gd name="connsiteX167" fmla="*/ 0 w 454024"/>
                <a:gd name="connsiteY167" fmla="*/ 568325 h 679450"/>
                <a:gd name="connsiteX168" fmla="*/ 3176 w 454024"/>
                <a:gd name="connsiteY168" fmla="*/ 561975 h 679450"/>
                <a:gd name="connsiteX169" fmla="*/ 6350 w 454024"/>
                <a:gd name="connsiteY169" fmla="*/ 555625 h 679450"/>
                <a:gd name="connsiteX170" fmla="*/ 19050 w 454024"/>
                <a:gd name="connsiteY170" fmla="*/ 546100 h 679450"/>
                <a:gd name="connsiteX171" fmla="*/ 28576 w 454024"/>
                <a:gd name="connsiteY171" fmla="*/ 542925 h 679450"/>
                <a:gd name="connsiteX172" fmla="*/ 34924 w 454024"/>
                <a:gd name="connsiteY172" fmla="*/ 542925 h 679450"/>
                <a:gd name="connsiteX173" fmla="*/ 41276 w 454024"/>
                <a:gd name="connsiteY173" fmla="*/ 546100 h 679450"/>
                <a:gd name="connsiteX174" fmla="*/ 47624 w 454024"/>
                <a:gd name="connsiteY174" fmla="*/ 549275 h 679450"/>
                <a:gd name="connsiteX175" fmla="*/ 66676 w 454024"/>
                <a:gd name="connsiteY175" fmla="*/ 549275 h 679450"/>
                <a:gd name="connsiteX176" fmla="*/ 60324 w 454024"/>
                <a:gd name="connsiteY176" fmla="*/ 539750 h 679450"/>
                <a:gd name="connsiteX177" fmla="*/ 57150 w 454024"/>
                <a:gd name="connsiteY177" fmla="*/ 527050 h 679450"/>
                <a:gd name="connsiteX178" fmla="*/ 50800 w 454024"/>
                <a:gd name="connsiteY178" fmla="*/ 520700 h 679450"/>
                <a:gd name="connsiteX179" fmla="*/ 60324 w 454024"/>
                <a:gd name="connsiteY179" fmla="*/ 514350 h 679450"/>
                <a:gd name="connsiteX180" fmla="*/ 66676 w 454024"/>
                <a:gd name="connsiteY180" fmla="*/ 511175 h 679450"/>
                <a:gd name="connsiteX181" fmla="*/ 79376 w 454024"/>
                <a:gd name="connsiteY181" fmla="*/ 498475 h 679450"/>
                <a:gd name="connsiteX182" fmla="*/ 85724 w 454024"/>
                <a:gd name="connsiteY182" fmla="*/ 495300 h 679450"/>
                <a:gd name="connsiteX183" fmla="*/ 111124 w 454024"/>
                <a:gd name="connsiteY183" fmla="*/ 492125 h 679450"/>
                <a:gd name="connsiteX184" fmla="*/ 139700 w 454024"/>
                <a:gd name="connsiteY184" fmla="*/ 485775 h 679450"/>
                <a:gd name="connsiteX185" fmla="*/ 168276 w 454024"/>
                <a:gd name="connsiteY185" fmla="*/ 473075 h 679450"/>
                <a:gd name="connsiteX186" fmla="*/ 155576 w 454024"/>
                <a:gd name="connsiteY186" fmla="*/ 469900 h 679450"/>
                <a:gd name="connsiteX187" fmla="*/ 146050 w 454024"/>
                <a:gd name="connsiteY187" fmla="*/ 460375 h 679450"/>
                <a:gd name="connsiteX188" fmla="*/ 136524 w 454024"/>
                <a:gd name="connsiteY188" fmla="*/ 476250 h 679450"/>
                <a:gd name="connsiteX189" fmla="*/ 127000 w 454024"/>
                <a:gd name="connsiteY189" fmla="*/ 482600 h 679450"/>
                <a:gd name="connsiteX190" fmla="*/ 104776 w 454024"/>
                <a:gd name="connsiteY190" fmla="*/ 485775 h 679450"/>
                <a:gd name="connsiteX191" fmla="*/ 98424 w 454024"/>
                <a:gd name="connsiteY191" fmla="*/ 482600 h 679450"/>
                <a:gd name="connsiteX192" fmla="*/ 88900 w 454024"/>
                <a:gd name="connsiteY192" fmla="*/ 479425 h 679450"/>
                <a:gd name="connsiteX193" fmla="*/ 85724 w 454024"/>
                <a:gd name="connsiteY193" fmla="*/ 479425 h 679450"/>
                <a:gd name="connsiteX194" fmla="*/ 82550 w 454024"/>
                <a:gd name="connsiteY194" fmla="*/ 485775 h 679450"/>
                <a:gd name="connsiteX195" fmla="*/ 66676 w 454024"/>
                <a:gd name="connsiteY195" fmla="*/ 492125 h 679450"/>
                <a:gd name="connsiteX196" fmla="*/ 50800 w 454024"/>
                <a:gd name="connsiteY196" fmla="*/ 492125 h 679450"/>
                <a:gd name="connsiteX197" fmla="*/ 69850 w 454024"/>
                <a:gd name="connsiteY197" fmla="*/ 479425 h 679450"/>
                <a:gd name="connsiteX198" fmla="*/ 92076 w 454024"/>
                <a:gd name="connsiteY198" fmla="*/ 457200 h 679450"/>
                <a:gd name="connsiteX199" fmla="*/ 98424 w 454024"/>
                <a:gd name="connsiteY199" fmla="*/ 450850 h 679450"/>
                <a:gd name="connsiteX200" fmla="*/ 104776 w 454024"/>
                <a:gd name="connsiteY200" fmla="*/ 438150 h 679450"/>
                <a:gd name="connsiteX201" fmla="*/ 101600 w 454024"/>
                <a:gd name="connsiteY201" fmla="*/ 431800 h 679450"/>
                <a:gd name="connsiteX202" fmla="*/ 98424 w 454024"/>
                <a:gd name="connsiteY202" fmla="*/ 428625 h 679450"/>
                <a:gd name="connsiteX203" fmla="*/ 114300 w 454024"/>
                <a:gd name="connsiteY203" fmla="*/ 403225 h 679450"/>
                <a:gd name="connsiteX204" fmla="*/ 120650 w 454024"/>
                <a:gd name="connsiteY204" fmla="*/ 396875 h 679450"/>
                <a:gd name="connsiteX205" fmla="*/ 133350 w 454024"/>
                <a:gd name="connsiteY205" fmla="*/ 396875 h 679450"/>
                <a:gd name="connsiteX206" fmla="*/ 139700 w 454024"/>
                <a:gd name="connsiteY206" fmla="*/ 393700 h 679450"/>
                <a:gd name="connsiteX207" fmla="*/ 142876 w 454024"/>
                <a:gd name="connsiteY207" fmla="*/ 393700 h 679450"/>
                <a:gd name="connsiteX208" fmla="*/ 146050 w 454024"/>
                <a:gd name="connsiteY208" fmla="*/ 390525 h 679450"/>
                <a:gd name="connsiteX209" fmla="*/ 152400 w 454024"/>
                <a:gd name="connsiteY209" fmla="*/ 384175 h 679450"/>
                <a:gd name="connsiteX210" fmla="*/ 142876 w 454024"/>
                <a:gd name="connsiteY210" fmla="*/ 377825 h 679450"/>
                <a:gd name="connsiteX211" fmla="*/ 130176 w 454024"/>
                <a:gd name="connsiteY211" fmla="*/ 374650 h 679450"/>
                <a:gd name="connsiteX212" fmla="*/ 98424 w 454024"/>
                <a:gd name="connsiteY212" fmla="*/ 377825 h 679450"/>
                <a:gd name="connsiteX213" fmla="*/ 92076 w 454024"/>
                <a:gd name="connsiteY213" fmla="*/ 377825 h 679450"/>
                <a:gd name="connsiteX214" fmla="*/ 88900 w 454024"/>
                <a:gd name="connsiteY214" fmla="*/ 374650 h 679450"/>
                <a:gd name="connsiteX215" fmla="*/ 85724 w 454024"/>
                <a:gd name="connsiteY215" fmla="*/ 371475 h 679450"/>
                <a:gd name="connsiteX216" fmla="*/ 82550 w 454024"/>
                <a:gd name="connsiteY216" fmla="*/ 361950 h 679450"/>
                <a:gd name="connsiteX217" fmla="*/ 79376 w 454024"/>
                <a:gd name="connsiteY217" fmla="*/ 361950 h 679450"/>
                <a:gd name="connsiteX218" fmla="*/ 73024 w 454024"/>
                <a:gd name="connsiteY218" fmla="*/ 361950 h 679450"/>
                <a:gd name="connsiteX219" fmla="*/ 66676 w 454024"/>
                <a:gd name="connsiteY219" fmla="*/ 365125 h 679450"/>
                <a:gd name="connsiteX220" fmla="*/ 60324 w 454024"/>
                <a:gd name="connsiteY220" fmla="*/ 365125 h 679450"/>
                <a:gd name="connsiteX221" fmla="*/ 53976 w 454024"/>
                <a:gd name="connsiteY221" fmla="*/ 358775 h 679450"/>
                <a:gd name="connsiteX222" fmla="*/ 63500 w 454024"/>
                <a:gd name="connsiteY222" fmla="*/ 352425 h 679450"/>
                <a:gd name="connsiteX223" fmla="*/ 53976 w 454024"/>
                <a:gd name="connsiteY223" fmla="*/ 349250 h 679450"/>
                <a:gd name="connsiteX224" fmla="*/ 41276 w 454024"/>
                <a:gd name="connsiteY224" fmla="*/ 349250 h 679450"/>
                <a:gd name="connsiteX225" fmla="*/ 31750 w 454024"/>
                <a:gd name="connsiteY225" fmla="*/ 346075 h 679450"/>
                <a:gd name="connsiteX226" fmla="*/ 31750 w 454024"/>
                <a:gd name="connsiteY226" fmla="*/ 342900 h 679450"/>
                <a:gd name="connsiteX227" fmla="*/ 38100 w 454024"/>
                <a:gd name="connsiteY227" fmla="*/ 336550 h 679450"/>
                <a:gd name="connsiteX228" fmla="*/ 31750 w 454024"/>
                <a:gd name="connsiteY228" fmla="*/ 330200 h 679450"/>
                <a:gd name="connsiteX229" fmla="*/ 28576 w 454024"/>
                <a:gd name="connsiteY229" fmla="*/ 323850 h 679450"/>
                <a:gd name="connsiteX230" fmla="*/ 34924 w 454024"/>
                <a:gd name="connsiteY230" fmla="*/ 320675 h 679450"/>
                <a:gd name="connsiteX231" fmla="*/ 41276 w 454024"/>
                <a:gd name="connsiteY231" fmla="*/ 320675 h 679450"/>
                <a:gd name="connsiteX232" fmla="*/ 53976 w 454024"/>
                <a:gd name="connsiteY232" fmla="*/ 317500 h 679450"/>
                <a:gd name="connsiteX233" fmla="*/ 69850 w 454024"/>
                <a:gd name="connsiteY233" fmla="*/ 314325 h 679450"/>
                <a:gd name="connsiteX234" fmla="*/ 57150 w 454024"/>
                <a:gd name="connsiteY234" fmla="*/ 307975 h 679450"/>
                <a:gd name="connsiteX235" fmla="*/ 50800 w 454024"/>
                <a:gd name="connsiteY235" fmla="*/ 304800 h 679450"/>
                <a:gd name="connsiteX236" fmla="*/ 50800 w 454024"/>
                <a:gd name="connsiteY236" fmla="*/ 298450 h 679450"/>
                <a:gd name="connsiteX237" fmla="*/ 50800 w 454024"/>
                <a:gd name="connsiteY237" fmla="*/ 292100 h 679450"/>
                <a:gd name="connsiteX238" fmla="*/ 69850 w 454024"/>
                <a:gd name="connsiteY238" fmla="*/ 282575 h 679450"/>
                <a:gd name="connsiteX239" fmla="*/ 85724 w 454024"/>
                <a:gd name="connsiteY239" fmla="*/ 279400 h 679450"/>
                <a:gd name="connsiteX240" fmla="*/ 85724 w 454024"/>
                <a:gd name="connsiteY240" fmla="*/ 273050 h 679450"/>
                <a:gd name="connsiteX241" fmla="*/ 85724 w 454024"/>
                <a:gd name="connsiteY241" fmla="*/ 266700 h 679450"/>
                <a:gd name="connsiteX242" fmla="*/ 69850 w 454024"/>
                <a:gd name="connsiteY242" fmla="*/ 263525 h 679450"/>
                <a:gd name="connsiteX243" fmla="*/ 50800 w 454024"/>
                <a:gd name="connsiteY243" fmla="*/ 269875 h 679450"/>
                <a:gd name="connsiteX244" fmla="*/ 53976 w 454024"/>
                <a:gd name="connsiteY244" fmla="*/ 254000 h 679450"/>
                <a:gd name="connsiteX245" fmla="*/ 57150 w 454024"/>
                <a:gd name="connsiteY245" fmla="*/ 244475 h 679450"/>
                <a:gd name="connsiteX246" fmla="*/ 57150 w 454024"/>
                <a:gd name="connsiteY246" fmla="*/ 234950 h 679450"/>
                <a:gd name="connsiteX247" fmla="*/ 57150 w 454024"/>
                <a:gd name="connsiteY247" fmla="*/ 228600 h 679450"/>
                <a:gd name="connsiteX248" fmla="*/ 47624 w 454024"/>
                <a:gd name="connsiteY248" fmla="*/ 231775 h 679450"/>
                <a:gd name="connsiteX249" fmla="*/ 47624 w 454024"/>
                <a:gd name="connsiteY249" fmla="*/ 219075 h 679450"/>
                <a:gd name="connsiteX250" fmla="*/ 44450 w 454024"/>
                <a:gd name="connsiteY250" fmla="*/ 212725 h 679450"/>
                <a:gd name="connsiteX251" fmla="*/ 31750 w 454024"/>
                <a:gd name="connsiteY251" fmla="*/ 215900 h 679450"/>
                <a:gd name="connsiteX252" fmla="*/ 31750 w 454024"/>
                <a:gd name="connsiteY252" fmla="*/ 206375 h 679450"/>
                <a:gd name="connsiteX253" fmla="*/ 34924 w 454024"/>
                <a:gd name="connsiteY253" fmla="*/ 200025 h 679450"/>
                <a:gd name="connsiteX254" fmla="*/ 41276 w 454024"/>
                <a:gd name="connsiteY254" fmla="*/ 196850 h 679450"/>
                <a:gd name="connsiteX255" fmla="*/ 47624 w 454024"/>
                <a:gd name="connsiteY255" fmla="*/ 196850 h 679450"/>
                <a:gd name="connsiteX256" fmla="*/ 60324 w 454024"/>
                <a:gd name="connsiteY256" fmla="*/ 196850 h 679450"/>
                <a:gd name="connsiteX257" fmla="*/ 69850 w 454024"/>
                <a:gd name="connsiteY257" fmla="*/ 190500 h 679450"/>
                <a:gd name="connsiteX258" fmla="*/ 88900 w 454024"/>
                <a:gd name="connsiteY258" fmla="*/ 190500 h 679450"/>
                <a:gd name="connsiteX259" fmla="*/ 114300 w 454024"/>
                <a:gd name="connsiteY259" fmla="*/ 190500 h 679450"/>
                <a:gd name="connsiteX260" fmla="*/ 130176 w 454024"/>
                <a:gd name="connsiteY260" fmla="*/ 206375 h 679450"/>
                <a:gd name="connsiteX261" fmla="*/ 136524 w 454024"/>
                <a:gd name="connsiteY261" fmla="*/ 203200 h 679450"/>
                <a:gd name="connsiteX262" fmla="*/ 142876 w 454024"/>
                <a:gd name="connsiteY262" fmla="*/ 193675 h 679450"/>
                <a:gd name="connsiteX263" fmla="*/ 146050 w 454024"/>
                <a:gd name="connsiteY263" fmla="*/ 193675 h 679450"/>
                <a:gd name="connsiteX264" fmla="*/ 171450 w 454024"/>
                <a:gd name="connsiteY264" fmla="*/ 196850 h 679450"/>
                <a:gd name="connsiteX265" fmla="*/ 190500 w 454024"/>
                <a:gd name="connsiteY265" fmla="*/ 203200 h 679450"/>
                <a:gd name="connsiteX266" fmla="*/ 193676 w 454024"/>
                <a:gd name="connsiteY266" fmla="*/ 200025 h 679450"/>
                <a:gd name="connsiteX267" fmla="*/ 190500 w 454024"/>
                <a:gd name="connsiteY267" fmla="*/ 190500 h 679450"/>
                <a:gd name="connsiteX268" fmla="*/ 184150 w 454024"/>
                <a:gd name="connsiteY268" fmla="*/ 184150 h 679450"/>
                <a:gd name="connsiteX269" fmla="*/ 193676 w 454024"/>
                <a:gd name="connsiteY269" fmla="*/ 171450 h 679450"/>
                <a:gd name="connsiteX270" fmla="*/ 200024 w 454024"/>
                <a:gd name="connsiteY270" fmla="*/ 165100 h 679450"/>
                <a:gd name="connsiteX271" fmla="*/ 206376 w 454024"/>
                <a:gd name="connsiteY271" fmla="*/ 161925 h 679450"/>
                <a:gd name="connsiteX272" fmla="*/ 219076 w 454024"/>
                <a:gd name="connsiteY272" fmla="*/ 158750 h 679450"/>
                <a:gd name="connsiteX273" fmla="*/ 225424 w 454024"/>
                <a:gd name="connsiteY273" fmla="*/ 155575 h 679450"/>
                <a:gd name="connsiteX274" fmla="*/ 231776 w 454024"/>
                <a:gd name="connsiteY274" fmla="*/ 139700 h 679450"/>
                <a:gd name="connsiteX275" fmla="*/ 234950 w 454024"/>
                <a:gd name="connsiteY275" fmla="*/ 130175 h 679450"/>
                <a:gd name="connsiteX276" fmla="*/ 203200 w 454024"/>
                <a:gd name="connsiteY276" fmla="*/ 136525 h 679450"/>
                <a:gd name="connsiteX277" fmla="*/ 171450 w 454024"/>
                <a:gd name="connsiteY277" fmla="*/ 123825 h 679450"/>
                <a:gd name="connsiteX278" fmla="*/ 174624 w 454024"/>
                <a:gd name="connsiteY278" fmla="*/ 114300 h 679450"/>
                <a:gd name="connsiteX279" fmla="*/ 184150 w 454024"/>
                <a:gd name="connsiteY279" fmla="*/ 107950 h 679450"/>
                <a:gd name="connsiteX280" fmla="*/ 193676 w 454024"/>
                <a:gd name="connsiteY280" fmla="*/ 104775 h 679450"/>
                <a:gd name="connsiteX281" fmla="*/ 196850 w 454024"/>
                <a:gd name="connsiteY281" fmla="*/ 98425 h 679450"/>
                <a:gd name="connsiteX282" fmla="*/ 200024 w 454024"/>
                <a:gd name="connsiteY282" fmla="*/ 95250 h 679450"/>
                <a:gd name="connsiteX283" fmla="*/ 209550 w 454024"/>
                <a:gd name="connsiteY283" fmla="*/ 85725 h 679450"/>
                <a:gd name="connsiteX284" fmla="*/ 206376 w 454024"/>
                <a:gd name="connsiteY284" fmla="*/ 73025 h 679450"/>
                <a:gd name="connsiteX285" fmla="*/ 209550 w 454024"/>
                <a:gd name="connsiteY285" fmla="*/ 60325 h 679450"/>
                <a:gd name="connsiteX286" fmla="*/ 215900 w 454024"/>
                <a:gd name="connsiteY286" fmla="*/ 53975 h 679450"/>
                <a:gd name="connsiteX287" fmla="*/ 219076 w 454024"/>
                <a:gd name="connsiteY287" fmla="*/ 44450 h 679450"/>
                <a:gd name="connsiteX288" fmla="*/ 222250 w 454024"/>
                <a:gd name="connsiteY288" fmla="*/ 38100 h 679450"/>
                <a:gd name="connsiteX289" fmla="*/ 234950 w 454024"/>
                <a:gd name="connsiteY289" fmla="*/ 34925 h 679450"/>
                <a:gd name="connsiteX290" fmla="*/ 250824 w 454024"/>
                <a:gd name="connsiteY290" fmla="*/ 28575 h 679450"/>
                <a:gd name="connsiteX291" fmla="*/ 254000 w 454024"/>
                <a:gd name="connsiteY291" fmla="*/ 31750 h 679450"/>
                <a:gd name="connsiteX292" fmla="*/ 269876 w 454024"/>
                <a:gd name="connsiteY292" fmla="*/ 28575 h 679450"/>
                <a:gd name="connsiteX293" fmla="*/ 276224 w 454024"/>
                <a:gd name="connsiteY293" fmla="*/ 31750 h 679450"/>
                <a:gd name="connsiteX294" fmla="*/ 276224 w 454024"/>
                <a:gd name="connsiteY294" fmla="*/ 19050 h 679450"/>
                <a:gd name="connsiteX295" fmla="*/ 285750 w 454024"/>
                <a:gd name="connsiteY295" fmla="*/ 19050 h 679450"/>
                <a:gd name="connsiteX296" fmla="*/ 288924 w 454024"/>
                <a:gd name="connsiteY296" fmla="*/ 22225 h 679450"/>
                <a:gd name="connsiteX297" fmla="*/ 288924 w 454024"/>
                <a:gd name="connsiteY297" fmla="*/ 28575 h 679450"/>
                <a:gd name="connsiteX298" fmla="*/ 295276 w 454024"/>
                <a:gd name="connsiteY298" fmla="*/ 34925 h 679450"/>
                <a:gd name="connsiteX299" fmla="*/ 295276 w 454024"/>
                <a:gd name="connsiteY299" fmla="*/ 44450 h 679450"/>
                <a:gd name="connsiteX300" fmla="*/ 292100 w 454024"/>
                <a:gd name="connsiteY300" fmla="*/ 50800 h 679450"/>
                <a:gd name="connsiteX301" fmla="*/ 288924 w 454024"/>
                <a:gd name="connsiteY301" fmla="*/ 53975 h 679450"/>
                <a:gd name="connsiteX302" fmla="*/ 292100 w 454024"/>
                <a:gd name="connsiteY302" fmla="*/ 60325 h 679450"/>
                <a:gd name="connsiteX303" fmla="*/ 285750 w 454024"/>
                <a:gd name="connsiteY303" fmla="*/ 69850 h 679450"/>
                <a:gd name="connsiteX304" fmla="*/ 295276 w 454024"/>
                <a:gd name="connsiteY304" fmla="*/ 66675 h 679450"/>
                <a:gd name="connsiteX305" fmla="*/ 304800 w 454024"/>
                <a:gd name="connsiteY305" fmla="*/ 57150 h 679450"/>
                <a:gd name="connsiteX306" fmla="*/ 304800 w 454024"/>
                <a:gd name="connsiteY306" fmla="*/ 47625 h 679450"/>
                <a:gd name="connsiteX307" fmla="*/ 301624 w 454024"/>
                <a:gd name="connsiteY307" fmla="*/ 38100 h 679450"/>
                <a:gd name="connsiteX308" fmla="*/ 298450 w 454024"/>
                <a:gd name="connsiteY308" fmla="*/ 28575 h 679450"/>
                <a:gd name="connsiteX309" fmla="*/ 301624 w 454024"/>
                <a:gd name="connsiteY309" fmla="*/ 19050 h 679450"/>
                <a:gd name="connsiteX310" fmla="*/ 307976 w 454024"/>
                <a:gd name="connsiteY310" fmla="*/ 12700 h 679450"/>
                <a:gd name="connsiteX311" fmla="*/ 323850 w 454024"/>
                <a:gd name="connsiteY311" fmla="*/ 9525 h 679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</a:cxnLst>
              <a:rect l="l" t="t" r="r" b="b"/>
              <a:pathLst>
                <a:path w="454024" h="679450">
                  <a:moveTo>
                    <a:pt x="22224" y="241300"/>
                  </a:moveTo>
                  <a:lnTo>
                    <a:pt x="28576" y="244475"/>
                  </a:lnTo>
                  <a:lnTo>
                    <a:pt x="41276" y="244475"/>
                  </a:lnTo>
                  <a:lnTo>
                    <a:pt x="47624" y="247650"/>
                  </a:lnTo>
                  <a:lnTo>
                    <a:pt x="47624" y="260350"/>
                  </a:lnTo>
                  <a:lnTo>
                    <a:pt x="47624" y="263525"/>
                  </a:lnTo>
                  <a:lnTo>
                    <a:pt x="38100" y="257175"/>
                  </a:lnTo>
                  <a:lnTo>
                    <a:pt x="34924" y="250825"/>
                  </a:lnTo>
                  <a:lnTo>
                    <a:pt x="15876" y="247650"/>
                  </a:lnTo>
                  <a:close/>
                  <a:moveTo>
                    <a:pt x="317500" y="0"/>
                  </a:moveTo>
                  <a:lnTo>
                    <a:pt x="323850" y="0"/>
                  </a:lnTo>
                  <a:lnTo>
                    <a:pt x="327024" y="0"/>
                  </a:lnTo>
                  <a:lnTo>
                    <a:pt x="339724" y="9525"/>
                  </a:lnTo>
                  <a:lnTo>
                    <a:pt x="349250" y="15875"/>
                  </a:lnTo>
                  <a:lnTo>
                    <a:pt x="358776" y="22225"/>
                  </a:lnTo>
                  <a:lnTo>
                    <a:pt x="349250" y="31750"/>
                  </a:lnTo>
                  <a:lnTo>
                    <a:pt x="336550" y="41275"/>
                  </a:lnTo>
                  <a:lnTo>
                    <a:pt x="330200" y="47625"/>
                  </a:lnTo>
                  <a:lnTo>
                    <a:pt x="314324" y="60325"/>
                  </a:lnTo>
                  <a:lnTo>
                    <a:pt x="311150" y="63500"/>
                  </a:lnTo>
                  <a:lnTo>
                    <a:pt x="307976" y="82550"/>
                  </a:lnTo>
                  <a:lnTo>
                    <a:pt x="307976" y="85725"/>
                  </a:lnTo>
                  <a:lnTo>
                    <a:pt x="301624" y="95250"/>
                  </a:lnTo>
                  <a:lnTo>
                    <a:pt x="298450" y="107950"/>
                  </a:lnTo>
                  <a:lnTo>
                    <a:pt x="292100" y="111125"/>
                  </a:lnTo>
                  <a:lnTo>
                    <a:pt x="282576" y="114300"/>
                  </a:lnTo>
                  <a:lnTo>
                    <a:pt x="276224" y="117475"/>
                  </a:lnTo>
                  <a:lnTo>
                    <a:pt x="269876" y="117475"/>
                  </a:lnTo>
                  <a:lnTo>
                    <a:pt x="263524" y="117475"/>
                  </a:lnTo>
                  <a:lnTo>
                    <a:pt x="260350" y="120650"/>
                  </a:lnTo>
                  <a:lnTo>
                    <a:pt x="260350" y="123825"/>
                  </a:lnTo>
                  <a:lnTo>
                    <a:pt x="263524" y="123825"/>
                  </a:lnTo>
                  <a:lnTo>
                    <a:pt x="269876" y="130175"/>
                  </a:lnTo>
                  <a:lnTo>
                    <a:pt x="276224" y="133350"/>
                  </a:lnTo>
                  <a:lnTo>
                    <a:pt x="276224" y="139700"/>
                  </a:lnTo>
                  <a:lnTo>
                    <a:pt x="273050" y="142875"/>
                  </a:lnTo>
                  <a:lnTo>
                    <a:pt x="244476" y="152400"/>
                  </a:lnTo>
                  <a:lnTo>
                    <a:pt x="238124" y="158750"/>
                  </a:lnTo>
                  <a:lnTo>
                    <a:pt x="234950" y="165100"/>
                  </a:lnTo>
                  <a:lnTo>
                    <a:pt x="238124" y="171450"/>
                  </a:lnTo>
                  <a:lnTo>
                    <a:pt x="260350" y="190500"/>
                  </a:lnTo>
                  <a:lnTo>
                    <a:pt x="263524" y="193675"/>
                  </a:lnTo>
                  <a:lnTo>
                    <a:pt x="266700" y="206375"/>
                  </a:lnTo>
                  <a:lnTo>
                    <a:pt x="282576" y="212725"/>
                  </a:lnTo>
                  <a:lnTo>
                    <a:pt x="292100" y="219075"/>
                  </a:lnTo>
                  <a:lnTo>
                    <a:pt x="298450" y="222250"/>
                  </a:lnTo>
                  <a:lnTo>
                    <a:pt x="311150" y="219075"/>
                  </a:lnTo>
                  <a:lnTo>
                    <a:pt x="317500" y="222250"/>
                  </a:lnTo>
                  <a:lnTo>
                    <a:pt x="320676" y="222250"/>
                  </a:lnTo>
                  <a:lnTo>
                    <a:pt x="323850" y="215900"/>
                  </a:lnTo>
                  <a:lnTo>
                    <a:pt x="333376" y="206375"/>
                  </a:lnTo>
                  <a:lnTo>
                    <a:pt x="339724" y="203200"/>
                  </a:lnTo>
                  <a:lnTo>
                    <a:pt x="336550" y="196850"/>
                  </a:lnTo>
                  <a:lnTo>
                    <a:pt x="333376" y="190500"/>
                  </a:lnTo>
                  <a:lnTo>
                    <a:pt x="339724" y="180975"/>
                  </a:lnTo>
                  <a:lnTo>
                    <a:pt x="349250" y="171450"/>
                  </a:lnTo>
                  <a:lnTo>
                    <a:pt x="352424" y="171450"/>
                  </a:lnTo>
                  <a:lnTo>
                    <a:pt x="361950" y="177800"/>
                  </a:lnTo>
                  <a:lnTo>
                    <a:pt x="368300" y="187325"/>
                  </a:lnTo>
                  <a:lnTo>
                    <a:pt x="368300" y="190500"/>
                  </a:lnTo>
                  <a:lnTo>
                    <a:pt x="368300" y="196850"/>
                  </a:lnTo>
                  <a:lnTo>
                    <a:pt x="374650" y="206375"/>
                  </a:lnTo>
                  <a:lnTo>
                    <a:pt x="377824" y="209550"/>
                  </a:lnTo>
                  <a:lnTo>
                    <a:pt x="387350" y="212725"/>
                  </a:lnTo>
                  <a:lnTo>
                    <a:pt x="390524" y="215900"/>
                  </a:lnTo>
                  <a:lnTo>
                    <a:pt x="390524" y="228600"/>
                  </a:lnTo>
                  <a:lnTo>
                    <a:pt x="390524" y="234950"/>
                  </a:lnTo>
                  <a:lnTo>
                    <a:pt x="400050" y="234950"/>
                  </a:lnTo>
                  <a:lnTo>
                    <a:pt x="412750" y="231775"/>
                  </a:lnTo>
                  <a:lnTo>
                    <a:pt x="415924" y="234950"/>
                  </a:lnTo>
                  <a:lnTo>
                    <a:pt x="419100" y="231775"/>
                  </a:lnTo>
                  <a:lnTo>
                    <a:pt x="425450" y="228600"/>
                  </a:lnTo>
                  <a:lnTo>
                    <a:pt x="434976" y="228600"/>
                  </a:lnTo>
                  <a:lnTo>
                    <a:pt x="441324" y="234950"/>
                  </a:lnTo>
                  <a:lnTo>
                    <a:pt x="441324" y="241300"/>
                  </a:lnTo>
                  <a:lnTo>
                    <a:pt x="434976" y="244475"/>
                  </a:lnTo>
                  <a:lnTo>
                    <a:pt x="425450" y="241300"/>
                  </a:lnTo>
                  <a:lnTo>
                    <a:pt x="422276" y="247650"/>
                  </a:lnTo>
                  <a:lnTo>
                    <a:pt x="422276" y="254000"/>
                  </a:lnTo>
                  <a:lnTo>
                    <a:pt x="425450" y="266700"/>
                  </a:lnTo>
                  <a:lnTo>
                    <a:pt x="431800" y="273050"/>
                  </a:lnTo>
                  <a:lnTo>
                    <a:pt x="434976" y="288925"/>
                  </a:lnTo>
                  <a:lnTo>
                    <a:pt x="438150" y="307975"/>
                  </a:lnTo>
                  <a:lnTo>
                    <a:pt x="444500" y="317500"/>
                  </a:lnTo>
                  <a:lnTo>
                    <a:pt x="444500" y="333375"/>
                  </a:lnTo>
                  <a:lnTo>
                    <a:pt x="444500" y="339725"/>
                  </a:lnTo>
                  <a:lnTo>
                    <a:pt x="444500" y="352425"/>
                  </a:lnTo>
                  <a:lnTo>
                    <a:pt x="441324" y="355600"/>
                  </a:lnTo>
                  <a:lnTo>
                    <a:pt x="444500" y="368300"/>
                  </a:lnTo>
                  <a:lnTo>
                    <a:pt x="450850" y="390525"/>
                  </a:lnTo>
                  <a:lnTo>
                    <a:pt x="454024" y="403225"/>
                  </a:lnTo>
                  <a:lnTo>
                    <a:pt x="454024" y="431800"/>
                  </a:lnTo>
                  <a:lnTo>
                    <a:pt x="450850" y="441325"/>
                  </a:lnTo>
                  <a:lnTo>
                    <a:pt x="444500" y="454025"/>
                  </a:lnTo>
                  <a:lnTo>
                    <a:pt x="441324" y="463550"/>
                  </a:lnTo>
                  <a:lnTo>
                    <a:pt x="438150" y="476250"/>
                  </a:lnTo>
                  <a:lnTo>
                    <a:pt x="434976" y="498475"/>
                  </a:lnTo>
                  <a:lnTo>
                    <a:pt x="422276" y="520700"/>
                  </a:lnTo>
                  <a:lnTo>
                    <a:pt x="415924" y="527050"/>
                  </a:lnTo>
                  <a:lnTo>
                    <a:pt x="409576" y="530225"/>
                  </a:lnTo>
                  <a:lnTo>
                    <a:pt x="425450" y="549275"/>
                  </a:lnTo>
                  <a:lnTo>
                    <a:pt x="412750" y="555625"/>
                  </a:lnTo>
                  <a:lnTo>
                    <a:pt x="400050" y="558800"/>
                  </a:lnTo>
                  <a:lnTo>
                    <a:pt x="384176" y="555625"/>
                  </a:lnTo>
                  <a:lnTo>
                    <a:pt x="377824" y="555625"/>
                  </a:lnTo>
                  <a:lnTo>
                    <a:pt x="368300" y="558800"/>
                  </a:lnTo>
                  <a:lnTo>
                    <a:pt x="365124" y="561975"/>
                  </a:lnTo>
                  <a:lnTo>
                    <a:pt x="361950" y="561975"/>
                  </a:lnTo>
                  <a:lnTo>
                    <a:pt x="358776" y="549275"/>
                  </a:lnTo>
                  <a:lnTo>
                    <a:pt x="352424" y="561975"/>
                  </a:lnTo>
                  <a:lnTo>
                    <a:pt x="346076" y="565150"/>
                  </a:lnTo>
                  <a:lnTo>
                    <a:pt x="330200" y="565150"/>
                  </a:lnTo>
                  <a:lnTo>
                    <a:pt x="307976" y="568325"/>
                  </a:lnTo>
                  <a:lnTo>
                    <a:pt x="298450" y="574675"/>
                  </a:lnTo>
                  <a:lnTo>
                    <a:pt x="295276" y="581025"/>
                  </a:lnTo>
                  <a:lnTo>
                    <a:pt x="292100" y="587375"/>
                  </a:lnTo>
                  <a:lnTo>
                    <a:pt x="288924" y="590550"/>
                  </a:lnTo>
                  <a:lnTo>
                    <a:pt x="285750" y="593725"/>
                  </a:lnTo>
                  <a:lnTo>
                    <a:pt x="266700" y="600075"/>
                  </a:lnTo>
                  <a:lnTo>
                    <a:pt x="263524" y="600075"/>
                  </a:lnTo>
                  <a:lnTo>
                    <a:pt x="254000" y="612775"/>
                  </a:lnTo>
                  <a:lnTo>
                    <a:pt x="244476" y="619125"/>
                  </a:lnTo>
                  <a:lnTo>
                    <a:pt x="234950" y="622300"/>
                  </a:lnTo>
                  <a:lnTo>
                    <a:pt x="225424" y="615950"/>
                  </a:lnTo>
                  <a:lnTo>
                    <a:pt x="222250" y="609600"/>
                  </a:lnTo>
                  <a:lnTo>
                    <a:pt x="219076" y="609600"/>
                  </a:lnTo>
                  <a:lnTo>
                    <a:pt x="212724" y="609600"/>
                  </a:lnTo>
                  <a:lnTo>
                    <a:pt x="215900" y="615950"/>
                  </a:lnTo>
                  <a:lnTo>
                    <a:pt x="215900" y="625475"/>
                  </a:lnTo>
                  <a:lnTo>
                    <a:pt x="212724" y="635000"/>
                  </a:lnTo>
                  <a:lnTo>
                    <a:pt x="206376" y="638175"/>
                  </a:lnTo>
                  <a:lnTo>
                    <a:pt x="200024" y="641350"/>
                  </a:lnTo>
                  <a:lnTo>
                    <a:pt x="190500" y="650875"/>
                  </a:lnTo>
                  <a:lnTo>
                    <a:pt x="174624" y="650875"/>
                  </a:lnTo>
                  <a:lnTo>
                    <a:pt x="165100" y="660400"/>
                  </a:lnTo>
                  <a:lnTo>
                    <a:pt x="114300" y="673100"/>
                  </a:lnTo>
                  <a:lnTo>
                    <a:pt x="111124" y="673100"/>
                  </a:lnTo>
                  <a:lnTo>
                    <a:pt x="104776" y="669925"/>
                  </a:lnTo>
                  <a:lnTo>
                    <a:pt x="98424" y="669925"/>
                  </a:lnTo>
                  <a:lnTo>
                    <a:pt x="92076" y="669925"/>
                  </a:lnTo>
                  <a:lnTo>
                    <a:pt x="69850" y="679450"/>
                  </a:lnTo>
                  <a:lnTo>
                    <a:pt x="60324" y="676275"/>
                  </a:lnTo>
                  <a:lnTo>
                    <a:pt x="73024" y="657225"/>
                  </a:lnTo>
                  <a:lnTo>
                    <a:pt x="88900" y="647700"/>
                  </a:lnTo>
                  <a:lnTo>
                    <a:pt x="92076" y="644525"/>
                  </a:lnTo>
                  <a:lnTo>
                    <a:pt x="85724" y="641350"/>
                  </a:lnTo>
                  <a:lnTo>
                    <a:pt x="53976" y="650875"/>
                  </a:lnTo>
                  <a:lnTo>
                    <a:pt x="41276" y="657225"/>
                  </a:lnTo>
                  <a:lnTo>
                    <a:pt x="28576" y="657225"/>
                  </a:lnTo>
                  <a:lnTo>
                    <a:pt x="34924" y="647700"/>
                  </a:lnTo>
                  <a:lnTo>
                    <a:pt x="50800" y="635000"/>
                  </a:lnTo>
                  <a:lnTo>
                    <a:pt x="57150" y="628650"/>
                  </a:lnTo>
                  <a:lnTo>
                    <a:pt x="63500" y="628650"/>
                  </a:lnTo>
                  <a:lnTo>
                    <a:pt x="66676" y="619125"/>
                  </a:lnTo>
                  <a:lnTo>
                    <a:pt x="82550" y="612775"/>
                  </a:lnTo>
                  <a:lnTo>
                    <a:pt x="34924" y="628650"/>
                  </a:lnTo>
                  <a:lnTo>
                    <a:pt x="19050" y="625475"/>
                  </a:lnTo>
                  <a:lnTo>
                    <a:pt x="15876" y="622300"/>
                  </a:lnTo>
                  <a:lnTo>
                    <a:pt x="6350" y="625475"/>
                  </a:lnTo>
                  <a:lnTo>
                    <a:pt x="3176" y="612775"/>
                  </a:lnTo>
                  <a:lnTo>
                    <a:pt x="19050" y="593725"/>
                  </a:lnTo>
                  <a:lnTo>
                    <a:pt x="25400" y="587375"/>
                  </a:lnTo>
                  <a:lnTo>
                    <a:pt x="38100" y="584200"/>
                  </a:lnTo>
                  <a:lnTo>
                    <a:pt x="47624" y="577850"/>
                  </a:lnTo>
                  <a:lnTo>
                    <a:pt x="50800" y="568325"/>
                  </a:lnTo>
                  <a:lnTo>
                    <a:pt x="47624" y="568325"/>
                  </a:lnTo>
                  <a:lnTo>
                    <a:pt x="15876" y="568325"/>
                  </a:lnTo>
                  <a:lnTo>
                    <a:pt x="0" y="568325"/>
                  </a:lnTo>
                  <a:lnTo>
                    <a:pt x="3176" y="561975"/>
                  </a:lnTo>
                  <a:lnTo>
                    <a:pt x="6350" y="555625"/>
                  </a:lnTo>
                  <a:lnTo>
                    <a:pt x="19050" y="546100"/>
                  </a:lnTo>
                  <a:lnTo>
                    <a:pt x="28576" y="542925"/>
                  </a:lnTo>
                  <a:lnTo>
                    <a:pt x="34924" y="542925"/>
                  </a:lnTo>
                  <a:lnTo>
                    <a:pt x="41276" y="546100"/>
                  </a:lnTo>
                  <a:lnTo>
                    <a:pt x="47624" y="549275"/>
                  </a:lnTo>
                  <a:lnTo>
                    <a:pt x="66676" y="549275"/>
                  </a:lnTo>
                  <a:lnTo>
                    <a:pt x="60324" y="539750"/>
                  </a:lnTo>
                  <a:lnTo>
                    <a:pt x="57150" y="527050"/>
                  </a:lnTo>
                  <a:lnTo>
                    <a:pt x="50800" y="520700"/>
                  </a:lnTo>
                  <a:lnTo>
                    <a:pt x="60324" y="514350"/>
                  </a:lnTo>
                  <a:lnTo>
                    <a:pt x="66676" y="511175"/>
                  </a:lnTo>
                  <a:lnTo>
                    <a:pt x="79376" y="498475"/>
                  </a:lnTo>
                  <a:lnTo>
                    <a:pt x="85724" y="495300"/>
                  </a:lnTo>
                  <a:lnTo>
                    <a:pt x="111124" y="492125"/>
                  </a:lnTo>
                  <a:lnTo>
                    <a:pt x="139700" y="485775"/>
                  </a:lnTo>
                  <a:lnTo>
                    <a:pt x="168276" y="473075"/>
                  </a:lnTo>
                  <a:lnTo>
                    <a:pt x="155576" y="469900"/>
                  </a:lnTo>
                  <a:lnTo>
                    <a:pt x="146050" y="460375"/>
                  </a:lnTo>
                  <a:lnTo>
                    <a:pt x="136524" y="476250"/>
                  </a:lnTo>
                  <a:lnTo>
                    <a:pt x="127000" y="482600"/>
                  </a:lnTo>
                  <a:lnTo>
                    <a:pt x="104776" y="485775"/>
                  </a:lnTo>
                  <a:lnTo>
                    <a:pt x="98424" y="482600"/>
                  </a:lnTo>
                  <a:lnTo>
                    <a:pt x="88900" y="479425"/>
                  </a:lnTo>
                  <a:lnTo>
                    <a:pt x="85724" y="479425"/>
                  </a:lnTo>
                  <a:lnTo>
                    <a:pt x="82550" y="485775"/>
                  </a:lnTo>
                  <a:lnTo>
                    <a:pt x="66676" y="492125"/>
                  </a:lnTo>
                  <a:lnTo>
                    <a:pt x="50800" y="492125"/>
                  </a:lnTo>
                  <a:lnTo>
                    <a:pt x="69850" y="479425"/>
                  </a:lnTo>
                  <a:lnTo>
                    <a:pt x="92076" y="457200"/>
                  </a:lnTo>
                  <a:lnTo>
                    <a:pt x="98424" y="450850"/>
                  </a:lnTo>
                  <a:lnTo>
                    <a:pt x="104776" y="438150"/>
                  </a:lnTo>
                  <a:lnTo>
                    <a:pt x="101600" y="431800"/>
                  </a:lnTo>
                  <a:lnTo>
                    <a:pt x="98424" y="428625"/>
                  </a:lnTo>
                  <a:lnTo>
                    <a:pt x="114300" y="403225"/>
                  </a:lnTo>
                  <a:lnTo>
                    <a:pt x="120650" y="396875"/>
                  </a:lnTo>
                  <a:lnTo>
                    <a:pt x="133350" y="396875"/>
                  </a:lnTo>
                  <a:lnTo>
                    <a:pt x="139700" y="393700"/>
                  </a:lnTo>
                  <a:lnTo>
                    <a:pt x="142876" y="393700"/>
                  </a:lnTo>
                  <a:lnTo>
                    <a:pt x="146050" y="390525"/>
                  </a:lnTo>
                  <a:lnTo>
                    <a:pt x="152400" y="384175"/>
                  </a:lnTo>
                  <a:lnTo>
                    <a:pt x="142876" y="377825"/>
                  </a:lnTo>
                  <a:lnTo>
                    <a:pt x="130176" y="374650"/>
                  </a:lnTo>
                  <a:lnTo>
                    <a:pt x="98424" y="377825"/>
                  </a:lnTo>
                  <a:lnTo>
                    <a:pt x="92076" y="377825"/>
                  </a:lnTo>
                  <a:lnTo>
                    <a:pt x="88900" y="374650"/>
                  </a:lnTo>
                  <a:lnTo>
                    <a:pt x="85724" y="371475"/>
                  </a:lnTo>
                  <a:lnTo>
                    <a:pt x="82550" y="361950"/>
                  </a:lnTo>
                  <a:lnTo>
                    <a:pt x="79376" y="361950"/>
                  </a:lnTo>
                  <a:lnTo>
                    <a:pt x="73024" y="361950"/>
                  </a:lnTo>
                  <a:lnTo>
                    <a:pt x="66676" y="365125"/>
                  </a:lnTo>
                  <a:lnTo>
                    <a:pt x="60324" y="365125"/>
                  </a:lnTo>
                  <a:lnTo>
                    <a:pt x="53976" y="358775"/>
                  </a:lnTo>
                  <a:lnTo>
                    <a:pt x="63500" y="352425"/>
                  </a:lnTo>
                  <a:lnTo>
                    <a:pt x="53976" y="349250"/>
                  </a:lnTo>
                  <a:lnTo>
                    <a:pt x="41276" y="349250"/>
                  </a:lnTo>
                  <a:lnTo>
                    <a:pt x="31750" y="346075"/>
                  </a:lnTo>
                  <a:lnTo>
                    <a:pt x="31750" y="342900"/>
                  </a:lnTo>
                  <a:lnTo>
                    <a:pt x="38100" y="336550"/>
                  </a:lnTo>
                  <a:lnTo>
                    <a:pt x="31750" y="330200"/>
                  </a:lnTo>
                  <a:lnTo>
                    <a:pt x="28576" y="323850"/>
                  </a:lnTo>
                  <a:lnTo>
                    <a:pt x="34924" y="320675"/>
                  </a:lnTo>
                  <a:lnTo>
                    <a:pt x="41276" y="320675"/>
                  </a:lnTo>
                  <a:lnTo>
                    <a:pt x="53976" y="317500"/>
                  </a:lnTo>
                  <a:lnTo>
                    <a:pt x="69850" y="314325"/>
                  </a:lnTo>
                  <a:lnTo>
                    <a:pt x="57150" y="307975"/>
                  </a:lnTo>
                  <a:lnTo>
                    <a:pt x="50800" y="304800"/>
                  </a:lnTo>
                  <a:lnTo>
                    <a:pt x="50800" y="298450"/>
                  </a:lnTo>
                  <a:lnTo>
                    <a:pt x="50800" y="292100"/>
                  </a:lnTo>
                  <a:lnTo>
                    <a:pt x="69850" y="282575"/>
                  </a:lnTo>
                  <a:lnTo>
                    <a:pt x="85724" y="279400"/>
                  </a:lnTo>
                  <a:lnTo>
                    <a:pt x="85724" y="273050"/>
                  </a:lnTo>
                  <a:lnTo>
                    <a:pt x="85724" y="266700"/>
                  </a:lnTo>
                  <a:lnTo>
                    <a:pt x="69850" y="263525"/>
                  </a:lnTo>
                  <a:lnTo>
                    <a:pt x="50800" y="269875"/>
                  </a:lnTo>
                  <a:lnTo>
                    <a:pt x="53976" y="254000"/>
                  </a:lnTo>
                  <a:lnTo>
                    <a:pt x="57150" y="244475"/>
                  </a:lnTo>
                  <a:lnTo>
                    <a:pt x="57150" y="234950"/>
                  </a:lnTo>
                  <a:lnTo>
                    <a:pt x="57150" y="228600"/>
                  </a:lnTo>
                  <a:lnTo>
                    <a:pt x="47624" y="231775"/>
                  </a:lnTo>
                  <a:lnTo>
                    <a:pt x="47624" y="219075"/>
                  </a:lnTo>
                  <a:lnTo>
                    <a:pt x="44450" y="212725"/>
                  </a:lnTo>
                  <a:lnTo>
                    <a:pt x="31750" y="215900"/>
                  </a:lnTo>
                  <a:lnTo>
                    <a:pt x="31750" y="206375"/>
                  </a:lnTo>
                  <a:lnTo>
                    <a:pt x="34924" y="200025"/>
                  </a:lnTo>
                  <a:lnTo>
                    <a:pt x="41276" y="196850"/>
                  </a:lnTo>
                  <a:lnTo>
                    <a:pt x="47624" y="196850"/>
                  </a:lnTo>
                  <a:lnTo>
                    <a:pt x="60324" y="196850"/>
                  </a:lnTo>
                  <a:lnTo>
                    <a:pt x="69850" y="190500"/>
                  </a:lnTo>
                  <a:lnTo>
                    <a:pt x="88900" y="190500"/>
                  </a:lnTo>
                  <a:lnTo>
                    <a:pt x="114300" y="190500"/>
                  </a:lnTo>
                  <a:lnTo>
                    <a:pt x="130176" y="206375"/>
                  </a:lnTo>
                  <a:lnTo>
                    <a:pt x="136524" y="203200"/>
                  </a:lnTo>
                  <a:lnTo>
                    <a:pt x="142876" y="193675"/>
                  </a:lnTo>
                  <a:lnTo>
                    <a:pt x="146050" y="193675"/>
                  </a:lnTo>
                  <a:lnTo>
                    <a:pt x="171450" y="196850"/>
                  </a:lnTo>
                  <a:lnTo>
                    <a:pt x="190500" y="203200"/>
                  </a:lnTo>
                  <a:lnTo>
                    <a:pt x="193676" y="200025"/>
                  </a:lnTo>
                  <a:lnTo>
                    <a:pt x="190500" y="190500"/>
                  </a:lnTo>
                  <a:lnTo>
                    <a:pt x="184150" y="184150"/>
                  </a:lnTo>
                  <a:lnTo>
                    <a:pt x="193676" y="171450"/>
                  </a:lnTo>
                  <a:lnTo>
                    <a:pt x="200024" y="165100"/>
                  </a:lnTo>
                  <a:lnTo>
                    <a:pt x="206376" y="161925"/>
                  </a:lnTo>
                  <a:lnTo>
                    <a:pt x="219076" y="158750"/>
                  </a:lnTo>
                  <a:lnTo>
                    <a:pt x="225424" y="155575"/>
                  </a:lnTo>
                  <a:lnTo>
                    <a:pt x="231776" y="139700"/>
                  </a:lnTo>
                  <a:lnTo>
                    <a:pt x="234950" y="130175"/>
                  </a:lnTo>
                  <a:lnTo>
                    <a:pt x="203200" y="136525"/>
                  </a:lnTo>
                  <a:lnTo>
                    <a:pt x="171450" y="123825"/>
                  </a:lnTo>
                  <a:lnTo>
                    <a:pt x="174624" y="114300"/>
                  </a:lnTo>
                  <a:lnTo>
                    <a:pt x="184150" y="107950"/>
                  </a:lnTo>
                  <a:lnTo>
                    <a:pt x="193676" y="104775"/>
                  </a:lnTo>
                  <a:lnTo>
                    <a:pt x="196850" y="98425"/>
                  </a:lnTo>
                  <a:lnTo>
                    <a:pt x="200024" y="95250"/>
                  </a:lnTo>
                  <a:lnTo>
                    <a:pt x="209550" y="85725"/>
                  </a:lnTo>
                  <a:lnTo>
                    <a:pt x="206376" y="73025"/>
                  </a:lnTo>
                  <a:lnTo>
                    <a:pt x="209550" y="60325"/>
                  </a:lnTo>
                  <a:lnTo>
                    <a:pt x="215900" y="53975"/>
                  </a:lnTo>
                  <a:lnTo>
                    <a:pt x="219076" y="44450"/>
                  </a:lnTo>
                  <a:lnTo>
                    <a:pt x="222250" y="38100"/>
                  </a:lnTo>
                  <a:lnTo>
                    <a:pt x="234950" y="34925"/>
                  </a:lnTo>
                  <a:lnTo>
                    <a:pt x="250824" y="28575"/>
                  </a:lnTo>
                  <a:lnTo>
                    <a:pt x="254000" y="31750"/>
                  </a:lnTo>
                  <a:lnTo>
                    <a:pt x="269876" y="28575"/>
                  </a:lnTo>
                  <a:lnTo>
                    <a:pt x="276224" y="31750"/>
                  </a:lnTo>
                  <a:lnTo>
                    <a:pt x="276224" y="19050"/>
                  </a:lnTo>
                  <a:lnTo>
                    <a:pt x="285750" y="19050"/>
                  </a:lnTo>
                  <a:lnTo>
                    <a:pt x="288924" y="22225"/>
                  </a:lnTo>
                  <a:lnTo>
                    <a:pt x="288924" y="28575"/>
                  </a:lnTo>
                  <a:lnTo>
                    <a:pt x="295276" y="34925"/>
                  </a:lnTo>
                  <a:lnTo>
                    <a:pt x="295276" y="44450"/>
                  </a:lnTo>
                  <a:lnTo>
                    <a:pt x="292100" y="50800"/>
                  </a:lnTo>
                  <a:lnTo>
                    <a:pt x="288924" y="53975"/>
                  </a:lnTo>
                  <a:lnTo>
                    <a:pt x="292100" y="60325"/>
                  </a:lnTo>
                  <a:lnTo>
                    <a:pt x="285750" y="69850"/>
                  </a:lnTo>
                  <a:lnTo>
                    <a:pt x="295276" y="66675"/>
                  </a:lnTo>
                  <a:lnTo>
                    <a:pt x="304800" y="57150"/>
                  </a:lnTo>
                  <a:lnTo>
                    <a:pt x="304800" y="47625"/>
                  </a:lnTo>
                  <a:lnTo>
                    <a:pt x="301624" y="38100"/>
                  </a:lnTo>
                  <a:lnTo>
                    <a:pt x="298450" y="28575"/>
                  </a:lnTo>
                  <a:lnTo>
                    <a:pt x="301624" y="19050"/>
                  </a:lnTo>
                  <a:lnTo>
                    <a:pt x="307976" y="12700"/>
                  </a:lnTo>
                  <a:lnTo>
                    <a:pt x="323850" y="952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5" name="Freeform 153">
              <a:extLst>
                <a:ext uri="{FF2B5EF4-FFF2-40B4-BE49-F238E27FC236}">
                  <a16:creationId xmlns:a16="http://schemas.microsoft.com/office/drawing/2014/main" id="{69D98484-D97C-4AEB-BBBC-02F2BF70B5EB}"/>
                </a:ext>
              </a:extLst>
            </p:cNvPr>
            <p:cNvSpPr/>
            <p:nvPr/>
          </p:nvSpPr>
          <p:spPr bwMode="auto">
            <a:xfrm>
              <a:off x="6410828" y="4312455"/>
              <a:ext cx="487194" cy="441712"/>
            </a:xfrm>
            <a:custGeom>
              <a:avLst/>
              <a:gdLst>
                <a:gd name="connsiteX0" fmla="*/ 1906048 w 3011560"/>
                <a:gd name="connsiteY0" fmla="*/ 2396858 h 2730418"/>
                <a:gd name="connsiteX1" fmla="*/ 1915580 w 3011560"/>
                <a:gd name="connsiteY1" fmla="*/ 2406390 h 2730418"/>
                <a:gd name="connsiteX2" fmla="*/ 1901284 w 3011560"/>
                <a:gd name="connsiteY2" fmla="*/ 2411154 h 2730418"/>
                <a:gd name="connsiteX3" fmla="*/ 1886988 w 3011560"/>
                <a:gd name="connsiteY3" fmla="*/ 2434980 h 2730418"/>
                <a:gd name="connsiteX4" fmla="*/ 1863164 w 3011560"/>
                <a:gd name="connsiteY4" fmla="*/ 2449276 h 2730418"/>
                <a:gd name="connsiteX5" fmla="*/ 1853632 w 3011560"/>
                <a:gd name="connsiteY5" fmla="*/ 2444510 h 2730418"/>
                <a:gd name="connsiteX6" fmla="*/ 1848868 w 3011560"/>
                <a:gd name="connsiteY6" fmla="*/ 2444510 h 2730418"/>
                <a:gd name="connsiteX7" fmla="*/ 1829808 w 3011560"/>
                <a:gd name="connsiteY7" fmla="*/ 2454040 h 2730418"/>
                <a:gd name="connsiteX8" fmla="*/ 1820276 w 3011560"/>
                <a:gd name="connsiteY8" fmla="*/ 2454040 h 2730418"/>
                <a:gd name="connsiteX9" fmla="*/ 1801216 w 3011560"/>
                <a:gd name="connsiteY9" fmla="*/ 2468336 h 2730418"/>
                <a:gd name="connsiteX10" fmla="*/ 1782156 w 3011560"/>
                <a:gd name="connsiteY10" fmla="*/ 2473102 h 2730418"/>
                <a:gd name="connsiteX11" fmla="*/ 1767860 w 3011560"/>
                <a:gd name="connsiteY11" fmla="*/ 2473102 h 2730418"/>
                <a:gd name="connsiteX12" fmla="*/ 1763096 w 3011560"/>
                <a:gd name="connsiteY12" fmla="*/ 2468336 h 2730418"/>
                <a:gd name="connsiteX13" fmla="*/ 1758328 w 3011560"/>
                <a:gd name="connsiteY13" fmla="*/ 2463570 h 2730418"/>
                <a:gd name="connsiteX14" fmla="*/ 1763096 w 3011560"/>
                <a:gd name="connsiteY14" fmla="*/ 2458806 h 2730418"/>
                <a:gd name="connsiteX15" fmla="*/ 1767860 w 3011560"/>
                <a:gd name="connsiteY15" fmla="*/ 2463570 h 2730418"/>
                <a:gd name="connsiteX16" fmla="*/ 1796452 w 3011560"/>
                <a:gd name="connsiteY16" fmla="*/ 2449276 h 2730418"/>
                <a:gd name="connsiteX17" fmla="*/ 1834572 w 3011560"/>
                <a:gd name="connsiteY17" fmla="*/ 2430214 h 2730418"/>
                <a:gd name="connsiteX18" fmla="*/ 1839336 w 3011560"/>
                <a:gd name="connsiteY18" fmla="*/ 2425450 h 2730418"/>
                <a:gd name="connsiteX19" fmla="*/ 1829808 w 3011560"/>
                <a:gd name="connsiteY19" fmla="*/ 2411154 h 2730418"/>
                <a:gd name="connsiteX20" fmla="*/ 1834572 w 3011560"/>
                <a:gd name="connsiteY20" fmla="*/ 2406390 h 2730418"/>
                <a:gd name="connsiteX21" fmla="*/ 1858396 w 3011560"/>
                <a:gd name="connsiteY21" fmla="*/ 2415920 h 2730418"/>
                <a:gd name="connsiteX22" fmla="*/ 1882224 w 3011560"/>
                <a:gd name="connsiteY22" fmla="*/ 2401624 h 2730418"/>
                <a:gd name="connsiteX23" fmla="*/ 90536 w 3011560"/>
                <a:gd name="connsiteY23" fmla="*/ 0 h 2730418"/>
                <a:gd name="connsiteX24" fmla="*/ 109596 w 3011560"/>
                <a:gd name="connsiteY24" fmla="*/ 19060 h 2730418"/>
                <a:gd name="connsiteX25" fmla="*/ 119128 w 3011560"/>
                <a:gd name="connsiteY25" fmla="*/ 23826 h 2730418"/>
                <a:gd name="connsiteX26" fmla="*/ 123892 w 3011560"/>
                <a:gd name="connsiteY26" fmla="*/ 23826 h 2730418"/>
                <a:gd name="connsiteX27" fmla="*/ 128656 w 3011560"/>
                <a:gd name="connsiteY27" fmla="*/ 28590 h 2730418"/>
                <a:gd name="connsiteX28" fmla="*/ 152484 w 3011560"/>
                <a:gd name="connsiteY28" fmla="*/ 71476 h 2730418"/>
                <a:gd name="connsiteX29" fmla="*/ 162012 w 3011560"/>
                <a:gd name="connsiteY29" fmla="*/ 85772 h 2730418"/>
                <a:gd name="connsiteX30" fmla="*/ 171544 w 3011560"/>
                <a:gd name="connsiteY30" fmla="*/ 95302 h 2730418"/>
                <a:gd name="connsiteX31" fmla="*/ 176308 w 3011560"/>
                <a:gd name="connsiteY31" fmla="*/ 104832 h 2730418"/>
                <a:gd name="connsiteX32" fmla="*/ 181072 w 3011560"/>
                <a:gd name="connsiteY32" fmla="*/ 114364 h 2730418"/>
                <a:gd name="connsiteX33" fmla="*/ 190604 w 3011560"/>
                <a:gd name="connsiteY33" fmla="*/ 119128 h 2730418"/>
                <a:gd name="connsiteX34" fmla="*/ 204900 w 3011560"/>
                <a:gd name="connsiteY34" fmla="*/ 128658 h 2730418"/>
                <a:gd name="connsiteX35" fmla="*/ 214428 w 3011560"/>
                <a:gd name="connsiteY35" fmla="*/ 138188 h 2730418"/>
                <a:gd name="connsiteX36" fmla="*/ 228724 w 3011560"/>
                <a:gd name="connsiteY36" fmla="*/ 157250 h 2730418"/>
                <a:gd name="connsiteX37" fmla="*/ 243020 w 3011560"/>
                <a:gd name="connsiteY37" fmla="*/ 162014 h 2730418"/>
                <a:gd name="connsiteX38" fmla="*/ 295436 w 3011560"/>
                <a:gd name="connsiteY38" fmla="*/ 176310 h 2730418"/>
                <a:gd name="connsiteX39" fmla="*/ 328792 w 3011560"/>
                <a:gd name="connsiteY39" fmla="*/ 181074 h 2730418"/>
                <a:gd name="connsiteX40" fmla="*/ 333556 w 3011560"/>
                <a:gd name="connsiteY40" fmla="*/ 181074 h 2730418"/>
                <a:gd name="connsiteX41" fmla="*/ 357384 w 3011560"/>
                <a:gd name="connsiteY41" fmla="*/ 176310 h 2730418"/>
                <a:gd name="connsiteX42" fmla="*/ 385972 w 3011560"/>
                <a:gd name="connsiteY42" fmla="*/ 176310 h 2730418"/>
                <a:gd name="connsiteX43" fmla="*/ 395504 w 3011560"/>
                <a:gd name="connsiteY43" fmla="*/ 176310 h 2730418"/>
                <a:gd name="connsiteX44" fmla="*/ 433624 w 3011560"/>
                <a:gd name="connsiteY44" fmla="*/ 138188 h 2730418"/>
                <a:gd name="connsiteX45" fmla="*/ 443156 w 3011560"/>
                <a:gd name="connsiteY45" fmla="*/ 128658 h 2730418"/>
                <a:gd name="connsiteX46" fmla="*/ 462216 w 3011560"/>
                <a:gd name="connsiteY46" fmla="*/ 119128 h 2730418"/>
                <a:gd name="connsiteX47" fmla="*/ 476512 w 3011560"/>
                <a:gd name="connsiteY47" fmla="*/ 104832 h 2730418"/>
                <a:gd name="connsiteX48" fmla="*/ 495572 w 3011560"/>
                <a:gd name="connsiteY48" fmla="*/ 85772 h 2730418"/>
                <a:gd name="connsiteX49" fmla="*/ 519396 w 3011560"/>
                <a:gd name="connsiteY49" fmla="*/ 71476 h 2730418"/>
                <a:gd name="connsiteX50" fmla="*/ 538456 w 3011560"/>
                <a:gd name="connsiteY50" fmla="*/ 57182 h 2730418"/>
                <a:gd name="connsiteX51" fmla="*/ 557516 w 3011560"/>
                <a:gd name="connsiteY51" fmla="*/ 47652 h 2730418"/>
                <a:gd name="connsiteX52" fmla="*/ 586108 w 3011560"/>
                <a:gd name="connsiteY52" fmla="*/ 23826 h 2730418"/>
                <a:gd name="connsiteX53" fmla="*/ 605168 w 3011560"/>
                <a:gd name="connsiteY53" fmla="*/ 19060 h 2730418"/>
                <a:gd name="connsiteX54" fmla="*/ 619464 w 3011560"/>
                <a:gd name="connsiteY54" fmla="*/ 19060 h 2730418"/>
                <a:gd name="connsiteX55" fmla="*/ 643292 w 3011560"/>
                <a:gd name="connsiteY55" fmla="*/ 42886 h 2730418"/>
                <a:gd name="connsiteX56" fmla="*/ 667116 w 3011560"/>
                <a:gd name="connsiteY56" fmla="*/ 66712 h 2730418"/>
                <a:gd name="connsiteX57" fmla="*/ 671880 w 3011560"/>
                <a:gd name="connsiteY57" fmla="*/ 76242 h 2730418"/>
                <a:gd name="connsiteX58" fmla="*/ 662352 w 3011560"/>
                <a:gd name="connsiteY58" fmla="*/ 85772 h 2730418"/>
                <a:gd name="connsiteX59" fmla="*/ 643292 w 3011560"/>
                <a:gd name="connsiteY59" fmla="*/ 95302 h 2730418"/>
                <a:gd name="connsiteX60" fmla="*/ 638524 w 3011560"/>
                <a:gd name="connsiteY60" fmla="*/ 100068 h 2730418"/>
                <a:gd name="connsiteX61" fmla="*/ 638524 w 3011560"/>
                <a:gd name="connsiteY61" fmla="*/ 109598 h 2730418"/>
                <a:gd name="connsiteX62" fmla="*/ 638524 w 3011560"/>
                <a:gd name="connsiteY62" fmla="*/ 114364 h 2730418"/>
                <a:gd name="connsiteX63" fmla="*/ 638524 w 3011560"/>
                <a:gd name="connsiteY63" fmla="*/ 123894 h 2730418"/>
                <a:gd name="connsiteX64" fmla="*/ 662352 w 3011560"/>
                <a:gd name="connsiteY64" fmla="*/ 138188 h 2730418"/>
                <a:gd name="connsiteX65" fmla="*/ 667116 w 3011560"/>
                <a:gd name="connsiteY65" fmla="*/ 142954 h 2730418"/>
                <a:gd name="connsiteX66" fmla="*/ 667116 w 3011560"/>
                <a:gd name="connsiteY66" fmla="*/ 152484 h 2730418"/>
                <a:gd name="connsiteX67" fmla="*/ 662352 w 3011560"/>
                <a:gd name="connsiteY67" fmla="*/ 157250 h 2730418"/>
                <a:gd name="connsiteX68" fmla="*/ 657584 w 3011560"/>
                <a:gd name="connsiteY68" fmla="*/ 162014 h 2730418"/>
                <a:gd name="connsiteX69" fmla="*/ 643292 w 3011560"/>
                <a:gd name="connsiteY69" fmla="*/ 166780 h 2730418"/>
                <a:gd name="connsiteX70" fmla="*/ 628996 w 3011560"/>
                <a:gd name="connsiteY70" fmla="*/ 171544 h 2730418"/>
                <a:gd name="connsiteX71" fmla="*/ 624228 w 3011560"/>
                <a:gd name="connsiteY71" fmla="*/ 176310 h 2730418"/>
                <a:gd name="connsiteX72" fmla="*/ 619464 w 3011560"/>
                <a:gd name="connsiteY72" fmla="*/ 181074 h 2730418"/>
                <a:gd name="connsiteX73" fmla="*/ 619464 w 3011560"/>
                <a:gd name="connsiteY73" fmla="*/ 185840 h 2730418"/>
                <a:gd name="connsiteX74" fmla="*/ 624228 w 3011560"/>
                <a:gd name="connsiteY74" fmla="*/ 195370 h 2730418"/>
                <a:gd name="connsiteX75" fmla="*/ 652820 w 3011560"/>
                <a:gd name="connsiteY75" fmla="*/ 214430 h 2730418"/>
                <a:gd name="connsiteX76" fmla="*/ 657584 w 3011560"/>
                <a:gd name="connsiteY76" fmla="*/ 219196 h 2730418"/>
                <a:gd name="connsiteX77" fmla="*/ 662352 w 3011560"/>
                <a:gd name="connsiteY77" fmla="*/ 228726 h 2730418"/>
                <a:gd name="connsiteX78" fmla="*/ 667116 w 3011560"/>
                <a:gd name="connsiteY78" fmla="*/ 233492 h 2730418"/>
                <a:gd name="connsiteX79" fmla="*/ 681412 w 3011560"/>
                <a:gd name="connsiteY79" fmla="*/ 238256 h 2730418"/>
                <a:gd name="connsiteX80" fmla="*/ 686176 w 3011560"/>
                <a:gd name="connsiteY80" fmla="*/ 238256 h 2730418"/>
                <a:gd name="connsiteX81" fmla="*/ 714768 w 3011560"/>
                <a:gd name="connsiteY81" fmla="*/ 276378 h 2730418"/>
                <a:gd name="connsiteX82" fmla="*/ 719532 w 3011560"/>
                <a:gd name="connsiteY82" fmla="*/ 276378 h 2730418"/>
                <a:gd name="connsiteX83" fmla="*/ 752888 w 3011560"/>
                <a:gd name="connsiteY83" fmla="*/ 271612 h 2730418"/>
                <a:gd name="connsiteX84" fmla="*/ 757652 w 3011560"/>
                <a:gd name="connsiteY84" fmla="*/ 271612 h 2730418"/>
                <a:gd name="connsiteX85" fmla="*/ 757652 w 3011560"/>
                <a:gd name="connsiteY85" fmla="*/ 276378 h 2730418"/>
                <a:gd name="connsiteX86" fmla="*/ 762420 w 3011560"/>
                <a:gd name="connsiteY86" fmla="*/ 328794 h 2730418"/>
                <a:gd name="connsiteX87" fmla="*/ 767184 w 3011560"/>
                <a:gd name="connsiteY87" fmla="*/ 352620 h 2730418"/>
                <a:gd name="connsiteX88" fmla="*/ 771948 w 3011560"/>
                <a:gd name="connsiteY88" fmla="*/ 376446 h 2730418"/>
                <a:gd name="connsiteX89" fmla="*/ 781480 w 3011560"/>
                <a:gd name="connsiteY89" fmla="*/ 400270 h 2730418"/>
                <a:gd name="connsiteX90" fmla="*/ 791008 w 3011560"/>
                <a:gd name="connsiteY90" fmla="*/ 424096 h 2730418"/>
                <a:gd name="connsiteX91" fmla="*/ 805304 w 3011560"/>
                <a:gd name="connsiteY91" fmla="*/ 433626 h 2730418"/>
                <a:gd name="connsiteX92" fmla="*/ 833896 w 3011560"/>
                <a:gd name="connsiteY92" fmla="*/ 452688 h 2730418"/>
                <a:gd name="connsiteX93" fmla="*/ 852956 w 3011560"/>
                <a:gd name="connsiteY93" fmla="*/ 457452 h 2730418"/>
                <a:gd name="connsiteX94" fmla="*/ 891076 w 3011560"/>
                <a:gd name="connsiteY94" fmla="*/ 457452 h 2730418"/>
                <a:gd name="connsiteX95" fmla="*/ 929196 w 3011560"/>
                <a:gd name="connsiteY95" fmla="*/ 466982 h 2730418"/>
                <a:gd name="connsiteX96" fmla="*/ 953024 w 3011560"/>
                <a:gd name="connsiteY96" fmla="*/ 471748 h 2730418"/>
                <a:gd name="connsiteX97" fmla="*/ 962552 w 3011560"/>
                <a:gd name="connsiteY97" fmla="*/ 476512 h 2730418"/>
                <a:gd name="connsiteX98" fmla="*/ 967320 w 3011560"/>
                <a:gd name="connsiteY98" fmla="*/ 486042 h 2730418"/>
                <a:gd name="connsiteX99" fmla="*/ 986380 w 3011560"/>
                <a:gd name="connsiteY99" fmla="*/ 524164 h 2730418"/>
                <a:gd name="connsiteX100" fmla="*/ 1014968 w 3011560"/>
                <a:gd name="connsiteY100" fmla="*/ 552754 h 2730418"/>
                <a:gd name="connsiteX101" fmla="*/ 1076916 w 3011560"/>
                <a:gd name="connsiteY101" fmla="*/ 590876 h 2730418"/>
                <a:gd name="connsiteX102" fmla="*/ 1110272 w 3011560"/>
                <a:gd name="connsiteY102" fmla="*/ 605172 h 2730418"/>
                <a:gd name="connsiteX103" fmla="*/ 1210340 w 3011560"/>
                <a:gd name="connsiteY103" fmla="*/ 628996 h 2730418"/>
                <a:gd name="connsiteX104" fmla="*/ 1277052 w 3011560"/>
                <a:gd name="connsiteY104" fmla="*/ 628996 h 2730418"/>
                <a:gd name="connsiteX105" fmla="*/ 1462892 w 3011560"/>
                <a:gd name="connsiteY105" fmla="*/ 581346 h 2730418"/>
                <a:gd name="connsiteX106" fmla="*/ 1520072 w 3011560"/>
                <a:gd name="connsiteY106" fmla="*/ 567050 h 2730418"/>
                <a:gd name="connsiteX107" fmla="*/ 1543900 w 3011560"/>
                <a:gd name="connsiteY107" fmla="*/ 567050 h 2730418"/>
                <a:gd name="connsiteX108" fmla="*/ 1529604 w 3011560"/>
                <a:gd name="connsiteY108" fmla="*/ 576580 h 2730418"/>
                <a:gd name="connsiteX109" fmla="*/ 1510544 w 3011560"/>
                <a:gd name="connsiteY109" fmla="*/ 581346 h 2730418"/>
                <a:gd name="connsiteX110" fmla="*/ 1520072 w 3011560"/>
                <a:gd name="connsiteY110" fmla="*/ 590876 h 2730418"/>
                <a:gd name="connsiteX111" fmla="*/ 1543900 w 3011560"/>
                <a:gd name="connsiteY111" fmla="*/ 590876 h 2730418"/>
                <a:gd name="connsiteX112" fmla="*/ 1553428 w 3011560"/>
                <a:gd name="connsiteY112" fmla="*/ 590876 h 2730418"/>
                <a:gd name="connsiteX113" fmla="*/ 1562960 w 3011560"/>
                <a:gd name="connsiteY113" fmla="*/ 581346 h 2730418"/>
                <a:gd name="connsiteX114" fmla="*/ 1562960 w 3011560"/>
                <a:gd name="connsiteY114" fmla="*/ 571816 h 2730418"/>
                <a:gd name="connsiteX115" fmla="*/ 1562960 w 3011560"/>
                <a:gd name="connsiteY115" fmla="*/ 562286 h 2730418"/>
                <a:gd name="connsiteX116" fmla="*/ 1553428 w 3011560"/>
                <a:gd name="connsiteY116" fmla="*/ 519398 h 2730418"/>
                <a:gd name="connsiteX117" fmla="*/ 1543900 w 3011560"/>
                <a:gd name="connsiteY117" fmla="*/ 486042 h 2730418"/>
                <a:gd name="connsiteX118" fmla="*/ 1586784 w 3011560"/>
                <a:gd name="connsiteY118" fmla="*/ 486042 h 2730418"/>
                <a:gd name="connsiteX119" fmla="*/ 1605844 w 3011560"/>
                <a:gd name="connsiteY119" fmla="*/ 486042 h 2730418"/>
                <a:gd name="connsiteX120" fmla="*/ 1629672 w 3011560"/>
                <a:gd name="connsiteY120" fmla="*/ 471748 h 2730418"/>
                <a:gd name="connsiteX121" fmla="*/ 1648732 w 3011560"/>
                <a:gd name="connsiteY121" fmla="*/ 466982 h 2730418"/>
                <a:gd name="connsiteX122" fmla="*/ 1658264 w 3011560"/>
                <a:gd name="connsiteY122" fmla="*/ 466982 h 2730418"/>
                <a:gd name="connsiteX123" fmla="*/ 1667792 w 3011560"/>
                <a:gd name="connsiteY123" fmla="*/ 462218 h 2730418"/>
                <a:gd name="connsiteX124" fmla="*/ 1677324 w 3011560"/>
                <a:gd name="connsiteY124" fmla="*/ 452688 h 2730418"/>
                <a:gd name="connsiteX125" fmla="*/ 1691616 w 3011560"/>
                <a:gd name="connsiteY125" fmla="*/ 409800 h 2730418"/>
                <a:gd name="connsiteX126" fmla="*/ 1701148 w 3011560"/>
                <a:gd name="connsiteY126" fmla="*/ 400270 h 2730418"/>
                <a:gd name="connsiteX127" fmla="*/ 1724972 w 3011560"/>
                <a:gd name="connsiteY127" fmla="*/ 376446 h 2730418"/>
                <a:gd name="connsiteX128" fmla="*/ 1748800 w 3011560"/>
                <a:gd name="connsiteY128" fmla="*/ 362150 h 2730418"/>
                <a:gd name="connsiteX129" fmla="*/ 1772624 w 3011560"/>
                <a:gd name="connsiteY129" fmla="*/ 347854 h 2730418"/>
                <a:gd name="connsiteX130" fmla="*/ 1805980 w 3011560"/>
                <a:gd name="connsiteY130" fmla="*/ 338324 h 2730418"/>
                <a:gd name="connsiteX131" fmla="*/ 1844104 w 3011560"/>
                <a:gd name="connsiteY131" fmla="*/ 338324 h 2730418"/>
                <a:gd name="connsiteX132" fmla="*/ 1877456 w 3011560"/>
                <a:gd name="connsiteY132" fmla="*/ 343090 h 2730418"/>
                <a:gd name="connsiteX133" fmla="*/ 1896520 w 3011560"/>
                <a:gd name="connsiteY133" fmla="*/ 343090 h 2730418"/>
                <a:gd name="connsiteX134" fmla="*/ 1906048 w 3011560"/>
                <a:gd name="connsiteY134" fmla="*/ 343090 h 2730418"/>
                <a:gd name="connsiteX135" fmla="*/ 1915580 w 3011560"/>
                <a:gd name="connsiteY135" fmla="*/ 338324 h 2730418"/>
                <a:gd name="connsiteX136" fmla="*/ 1920344 w 3011560"/>
                <a:gd name="connsiteY136" fmla="*/ 319264 h 2730418"/>
                <a:gd name="connsiteX137" fmla="*/ 1929876 w 3011560"/>
                <a:gd name="connsiteY137" fmla="*/ 314498 h 2730418"/>
                <a:gd name="connsiteX138" fmla="*/ 1939404 w 3011560"/>
                <a:gd name="connsiteY138" fmla="*/ 304968 h 2730418"/>
                <a:gd name="connsiteX139" fmla="*/ 1953700 w 3011560"/>
                <a:gd name="connsiteY139" fmla="*/ 304968 h 2730418"/>
                <a:gd name="connsiteX140" fmla="*/ 1977524 w 3011560"/>
                <a:gd name="connsiteY140" fmla="*/ 304968 h 2730418"/>
                <a:gd name="connsiteX141" fmla="*/ 1991820 w 3011560"/>
                <a:gd name="connsiteY141" fmla="*/ 304968 h 2730418"/>
                <a:gd name="connsiteX142" fmla="*/ 2010880 w 3011560"/>
                <a:gd name="connsiteY142" fmla="*/ 314498 h 2730418"/>
                <a:gd name="connsiteX143" fmla="*/ 2039472 w 3011560"/>
                <a:gd name="connsiteY143" fmla="*/ 314498 h 2730418"/>
                <a:gd name="connsiteX144" fmla="*/ 2058532 w 3011560"/>
                <a:gd name="connsiteY144" fmla="*/ 314498 h 2730418"/>
                <a:gd name="connsiteX145" fmla="*/ 2068064 w 3011560"/>
                <a:gd name="connsiteY145" fmla="*/ 319264 h 2730418"/>
                <a:gd name="connsiteX146" fmla="*/ 2072828 w 3011560"/>
                <a:gd name="connsiteY146" fmla="*/ 328794 h 2730418"/>
                <a:gd name="connsiteX147" fmla="*/ 2077592 w 3011560"/>
                <a:gd name="connsiteY147" fmla="*/ 338324 h 2730418"/>
                <a:gd name="connsiteX148" fmla="*/ 2077592 w 3011560"/>
                <a:gd name="connsiteY148" fmla="*/ 347854 h 2730418"/>
                <a:gd name="connsiteX149" fmla="*/ 2077592 w 3011560"/>
                <a:gd name="connsiteY149" fmla="*/ 357384 h 2730418"/>
                <a:gd name="connsiteX150" fmla="*/ 2082360 w 3011560"/>
                <a:gd name="connsiteY150" fmla="*/ 362150 h 2730418"/>
                <a:gd name="connsiteX151" fmla="*/ 2091888 w 3011560"/>
                <a:gd name="connsiteY151" fmla="*/ 366914 h 2730418"/>
                <a:gd name="connsiteX152" fmla="*/ 2106184 w 3011560"/>
                <a:gd name="connsiteY152" fmla="*/ 371680 h 2730418"/>
                <a:gd name="connsiteX153" fmla="*/ 2139540 w 3011560"/>
                <a:gd name="connsiteY153" fmla="*/ 376446 h 2730418"/>
                <a:gd name="connsiteX154" fmla="*/ 2168132 w 3011560"/>
                <a:gd name="connsiteY154" fmla="*/ 385976 h 2730418"/>
                <a:gd name="connsiteX155" fmla="*/ 2182424 w 3011560"/>
                <a:gd name="connsiteY155" fmla="*/ 390740 h 2730418"/>
                <a:gd name="connsiteX156" fmla="*/ 2201488 w 3011560"/>
                <a:gd name="connsiteY156" fmla="*/ 400270 h 2730418"/>
                <a:gd name="connsiteX157" fmla="*/ 2225312 w 3011560"/>
                <a:gd name="connsiteY157" fmla="*/ 424096 h 2730418"/>
                <a:gd name="connsiteX158" fmla="*/ 2234844 w 3011560"/>
                <a:gd name="connsiteY158" fmla="*/ 428862 h 2730418"/>
                <a:gd name="connsiteX159" fmla="*/ 2244372 w 3011560"/>
                <a:gd name="connsiteY159" fmla="*/ 428862 h 2730418"/>
                <a:gd name="connsiteX160" fmla="*/ 2253904 w 3011560"/>
                <a:gd name="connsiteY160" fmla="*/ 428862 h 2730418"/>
                <a:gd name="connsiteX161" fmla="*/ 2268200 w 3011560"/>
                <a:gd name="connsiteY161" fmla="*/ 419332 h 2730418"/>
                <a:gd name="connsiteX162" fmla="*/ 2282492 w 3011560"/>
                <a:gd name="connsiteY162" fmla="*/ 424096 h 2730418"/>
                <a:gd name="connsiteX163" fmla="*/ 2292024 w 3011560"/>
                <a:gd name="connsiteY163" fmla="*/ 424096 h 2730418"/>
                <a:gd name="connsiteX164" fmla="*/ 2311084 w 3011560"/>
                <a:gd name="connsiteY164" fmla="*/ 419332 h 2730418"/>
                <a:gd name="connsiteX165" fmla="*/ 2330144 w 3011560"/>
                <a:gd name="connsiteY165" fmla="*/ 424096 h 2730418"/>
                <a:gd name="connsiteX166" fmla="*/ 2377796 w 3011560"/>
                <a:gd name="connsiteY166" fmla="*/ 452688 h 2730418"/>
                <a:gd name="connsiteX167" fmla="*/ 2382560 w 3011560"/>
                <a:gd name="connsiteY167" fmla="*/ 452688 h 2730418"/>
                <a:gd name="connsiteX168" fmla="*/ 2387328 w 3011560"/>
                <a:gd name="connsiteY168" fmla="*/ 452688 h 2730418"/>
                <a:gd name="connsiteX169" fmla="*/ 2392092 w 3011560"/>
                <a:gd name="connsiteY169" fmla="*/ 457452 h 2730418"/>
                <a:gd name="connsiteX170" fmla="*/ 2392092 w 3011560"/>
                <a:gd name="connsiteY170" fmla="*/ 466982 h 2730418"/>
                <a:gd name="connsiteX171" fmla="*/ 2396856 w 3011560"/>
                <a:gd name="connsiteY171" fmla="*/ 486042 h 2730418"/>
                <a:gd name="connsiteX172" fmla="*/ 2411152 w 3011560"/>
                <a:gd name="connsiteY172" fmla="*/ 505104 h 2730418"/>
                <a:gd name="connsiteX173" fmla="*/ 2425448 w 3011560"/>
                <a:gd name="connsiteY173" fmla="*/ 519398 h 2730418"/>
                <a:gd name="connsiteX174" fmla="*/ 2449272 w 3011560"/>
                <a:gd name="connsiteY174" fmla="*/ 524164 h 2730418"/>
                <a:gd name="connsiteX175" fmla="*/ 2487392 w 3011560"/>
                <a:gd name="connsiteY175" fmla="*/ 543224 h 2730418"/>
                <a:gd name="connsiteX176" fmla="*/ 2506456 w 3011560"/>
                <a:gd name="connsiteY176" fmla="*/ 562286 h 2730418"/>
                <a:gd name="connsiteX177" fmla="*/ 2525516 w 3011560"/>
                <a:gd name="connsiteY177" fmla="*/ 586110 h 2730418"/>
                <a:gd name="connsiteX178" fmla="*/ 2544576 w 3011560"/>
                <a:gd name="connsiteY178" fmla="*/ 619466 h 2730418"/>
                <a:gd name="connsiteX179" fmla="*/ 2549340 w 3011560"/>
                <a:gd name="connsiteY179" fmla="*/ 624232 h 2730418"/>
                <a:gd name="connsiteX180" fmla="*/ 2606524 w 3011560"/>
                <a:gd name="connsiteY180" fmla="*/ 624232 h 2730418"/>
                <a:gd name="connsiteX181" fmla="*/ 2668468 w 3011560"/>
                <a:gd name="connsiteY181" fmla="*/ 624232 h 2730418"/>
                <a:gd name="connsiteX182" fmla="*/ 2678000 w 3011560"/>
                <a:gd name="connsiteY182" fmla="*/ 638528 h 2730418"/>
                <a:gd name="connsiteX183" fmla="*/ 2678000 w 3011560"/>
                <a:gd name="connsiteY183" fmla="*/ 662352 h 2730418"/>
                <a:gd name="connsiteX184" fmla="*/ 2678000 w 3011560"/>
                <a:gd name="connsiteY184" fmla="*/ 690944 h 2730418"/>
                <a:gd name="connsiteX185" fmla="*/ 2687528 w 3011560"/>
                <a:gd name="connsiteY185" fmla="*/ 710004 h 2730418"/>
                <a:gd name="connsiteX186" fmla="*/ 2687528 w 3011560"/>
                <a:gd name="connsiteY186" fmla="*/ 729064 h 2730418"/>
                <a:gd name="connsiteX187" fmla="*/ 2678000 w 3011560"/>
                <a:gd name="connsiteY187" fmla="*/ 738594 h 2730418"/>
                <a:gd name="connsiteX188" fmla="*/ 2678000 w 3011560"/>
                <a:gd name="connsiteY188" fmla="*/ 748126 h 2730418"/>
                <a:gd name="connsiteX189" fmla="*/ 2678000 w 3011560"/>
                <a:gd name="connsiteY189" fmla="*/ 752890 h 2730418"/>
                <a:gd name="connsiteX190" fmla="*/ 2682764 w 3011560"/>
                <a:gd name="connsiteY190" fmla="*/ 757656 h 2730418"/>
                <a:gd name="connsiteX191" fmla="*/ 2692296 w 3011560"/>
                <a:gd name="connsiteY191" fmla="*/ 771950 h 2730418"/>
                <a:gd name="connsiteX192" fmla="*/ 2692296 w 3011560"/>
                <a:gd name="connsiteY192" fmla="*/ 791012 h 2730418"/>
                <a:gd name="connsiteX193" fmla="*/ 2687528 w 3011560"/>
                <a:gd name="connsiteY193" fmla="*/ 805306 h 2730418"/>
                <a:gd name="connsiteX194" fmla="*/ 2687528 w 3011560"/>
                <a:gd name="connsiteY194" fmla="*/ 814836 h 2730418"/>
                <a:gd name="connsiteX195" fmla="*/ 2692296 w 3011560"/>
                <a:gd name="connsiteY195" fmla="*/ 819602 h 2730418"/>
                <a:gd name="connsiteX196" fmla="*/ 2697060 w 3011560"/>
                <a:gd name="connsiteY196" fmla="*/ 833898 h 2730418"/>
                <a:gd name="connsiteX197" fmla="*/ 2697060 w 3011560"/>
                <a:gd name="connsiteY197" fmla="*/ 843428 h 2730418"/>
                <a:gd name="connsiteX198" fmla="*/ 2692296 w 3011560"/>
                <a:gd name="connsiteY198" fmla="*/ 848192 h 2730418"/>
                <a:gd name="connsiteX199" fmla="*/ 2687528 w 3011560"/>
                <a:gd name="connsiteY199" fmla="*/ 857722 h 2730418"/>
                <a:gd name="connsiteX200" fmla="*/ 2682764 w 3011560"/>
                <a:gd name="connsiteY200" fmla="*/ 872018 h 2730418"/>
                <a:gd name="connsiteX201" fmla="*/ 2682764 w 3011560"/>
                <a:gd name="connsiteY201" fmla="*/ 881548 h 2730418"/>
                <a:gd name="connsiteX202" fmla="*/ 2673232 w 3011560"/>
                <a:gd name="connsiteY202" fmla="*/ 886314 h 2730418"/>
                <a:gd name="connsiteX203" fmla="*/ 2668468 w 3011560"/>
                <a:gd name="connsiteY203" fmla="*/ 886314 h 2730418"/>
                <a:gd name="connsiteX204" fmla="*/ 2668468 w 3011560"/>
                <a:gd name="connsiteY204" fmla="*/ 900610 h 2730418"/>
                <a:gd name="connsiteX205" fmla="*/ 2673232 w 3011560"/>
                <a:gd name="connsiteY205" fmla="*/ 910140 h 2730418"/>
                <a:gd name="connsiteX206" fmla="*/ 2673232 w 3011560"/>
                <a:gd name="connsiteY206" fmla="*/ 919670 h 2730418"/>
                <a:gd name="connsiteX207" fmla="*/ 2673232 w 3011560"/>
                <a:gd name="connsiteY207" fmla="*/ 929200 h 2730418"/>
                <a:gd name="connsiteX208" fmla="*/ 2668468 w 3011560"/>
                <a:gd name="connsiteY208" fmla="*/ 938730 h 2730418"/>
                <a:gd name="connsiteX209" fmla="*/ 2663704 w 3011560"/>
                <a:gd name="connsiteY209" fmla="*/ 953026 h 2730418"/>
                <a:gd name="connsiteX210" fmla="*/ 2663704 w 3011560"/>
                <a:gd name="connsiteY210" fmla="*/ 967320 h 2730418"/>
                <a:gd name="connsiteX211" fmla="*/ 2658940 w 3011560"/>
                <a:gd name="connsiteY211" fmla="*/ 976852 h 2730418"/>
                <a:gd name="connsiteX212" fmla="*/ 2649408 w 3011560"/>
                <a:gd name="connsiteY212" fmla="*/ 986382 h 2730418"/>
                <a:gd name="connsiteX213" fmla="*/ 2644644 w 3011560"/>
                <a:gd name="connsiteY213" fmla="*/ 995912 h 2730418"/>
                <a:gd name="connsiteX214" fmla="*/ 2644644 w 3011560"/>
                <a:gd name="connsiteY214" fmla="*/ 1005442 h 2730418"/>
                <a:gd name="connsiteX215" fmla="*/ 2639880 w 3011560"/>
                <a:gd name="connsiteY215" fmla="*/ 1010206 h 2730418"/>
                <a:gd name="connsiteX216" fmla="*/ 2625584 w 3011560"/>
                <a:gd name="connsiteY216" fmla="*/ 1019738 h 2730418"/>
                <a:gd name="connsiteX217" fmla="*/ 2620816 w 3011560"/>
                <a:gd name="connsiteY217" fmla="*/ 1024502 h 2730418"/>
                <a:gd name="connsiteX218" fmla="*/ 2611288 w 3011560"/>
                <a:gd name="connsiteY218" fmla="*/ 1024502 h 2730418"/>
                <a:gd name="connsiteX219" fmla="*/ 2611288 w 3011560"/>
                <a:gd name="connsiteY219" fmla="*/ 1029268 h 2730418"/>
                <a:gd name="connsiteX220" fmla="*/ 2611288 w 3011560"/>
                <a:gd name="connsiteY220" fmla="*/ 1034032 h 2730418"/>
                <a:gd name="connsiteX221" fmla="*/ 2616052 w 3011560"/>
                <a:gd name="connsiteY221" fmla="*/ 1038798 h 2730418"/>
                <a:gd name="connsiteX222" fmla="*/ 2620816 w 3011560"/>
                <a:gd name="connsiteY222" fmla="*/ 1048328 h 2730418"/>
                <a:gd name="connsiteX223" fmla="*/ 2635112 w 3011560"/>
                <a:gd name="connsiteY223" fmla="*/ 1067388 h 2730418"/>
                <a:gd name="connsiteX224" fmla="*/ 2596992 w 3011560"/>
                <a:gd name="connsiteY224" fmla="*/ 1072154 h 2730418"/>
                <a:gd name="connsiteX225" fmla="*/ 2587460 w 3011560"/>
                <a:gd name="connsiteY225" fmla="*/ 1086450 h 2730418"/>
                <a:gd name="connsiteX226" fmla="*/ 2573168 w 3011560"/>
                <a:gd name="connsiteY226" fmla="*/ 1110274 h 2730418"/>
                <a:gd name="connsiteX227" fmla="*/ 2577932 w 3011560"/>
                <a:gd name="connsiteY227" fmla="*/ 1157926 h 2730418"/>
                <a:gd name="connsiteX228" fmla="*/ 2573168 w 3011560"/>
                <a:gd name="connsiteY228" fmla="*/ 1181752 h 2730418"/>
                <a:gd name="connsiteX229" fmla="*/ 2573168 w 3011560"/>
                <a:gd name="connsiteY229" fmla="*/ 1196046 h 2730418"/>
                <a:gd name="connsiteX230" fmla="*/ 2587460 w 3011560"/>
                <a:gd name="connsiteY230" fmla="*/ 1205578 h 2730418"/>
                <a:gd name="connsiteX231" fmla="*/ 2596992 w 3011560"/>
                <a:gd name="connsiteY231" fmla="*/ 1210342 h 2730418"/>
                <a:gd name="connsiteX232" fmla="*/ 2620816 w 3011560"/>
                <a:gd name="connsiteY232" fmla="*/ 1210342 h 2730418"/>
                <a:gd name="connsiteX233" fmla="*/ 2635112 w 3011560"/>
                <a:gd name="connsiteY233" fmla="*/ 1215108 h 2730418"/>
                <a:gd name="connsiteX234" fmla="*/ 2639880 w 3011560"/>
                <a:gd name="connsiteY234" fmla="*/ 1219872 h 2730418"/>
                <a:gd name="connsiteX235" fmla="*/ 2630348 w 3011560"/>
                <a:gd name="connsiteY235" fmla="*/ 1229402 h 2730418"/>
                <a:gd name="connsiteX236" fmla="*/ 2616052 w 3011560"/>
                <a:gd name="connsiteY236" fmla="*/ 1248464 h 2730418"/>
                <a:gd name="connsiteX237" fmla="*/ 2606524 w 3011560"/>
                <a:gd name="connsiteY237" fmla="*/ 1257994 h 2730418"/>
                <a:gd name="connsiteX238" fmla="*/ 2582696 w 3011560"/>
                <a:gd name="connsiteY238" fmla="*/ 1291350 h 2730418"/>
                <a:gd name="connsiteX239" fmla="*/ 2582696 w 3011560"/>
                <a:gd name="connsiteY239" fmla="*/ 1305644 h 2730418"/>
                <a:gd name="connsiteX240" fmla="*/ 2587460 w 3011560"/>
                <a:gd name="connsiteY240" fmla="*/ 1315176 h 2730418"/>
                <a:gd name="connsiteX241" fmla="*/ 2596992 w 3011560"/>
                <a:gd name="connsiteY241" fmla="*/ 1353296 h 2730418"/>
                <a:gd name="connsiteX242" fmla="*/ 2606524 w 3011560"/>
                <a:gd name="connsiteY242" fmla="*/ 1391418 h 2730418"/>
                <a:gd name="connsiteX243" fmla="*/ 2625584 w 3011560"/>
                <a:gd name="connsiteY243" fmla="*/ 1453364 h 2730418"/>
                <a:gd name="connsiteX244" fmla="*/ 2625584 w 3011560"/>
                <a:gd name="connsiteY244" fmla="*/ 1472424 h 2730418"/>
                <a:gd name="connsiteX245" fmla="*/ 2620816 w 3011560"/>
                <a:gd name="connsiteY245" fmla="*/ 1505780 h 2730418"/>
                <a:gd name="connsiteX246" fmla="*/ 2620816 w 3011560"/>
                <a:gd name="connsiteY246" fmla="*/ 1524840 h 2730418"/>
                <a:gd name="connsiteX247" fmla="*/ 2620816 w 3011560"/>
                <a:gd name="connsiteY247" fmla="*/ 1548666 h 2730418"/>
                <a:gd name="connsiteX248" fmla="*/ 2620816 w 3011560"/>
                <a:gd name="connsiteY248" fmla="*/ 1562962 h 2730418"/>
                <a:gd name="connsiteX249" fmla="*/ 2625584 w 3011560"/>
                <a:gd name="connsiteY249" fmla="*/ 1596318 h 2730418"/>
                <a:gd name="connsiteX250" fmla="*/ 2630348 w 3011560"/>
                <a:gd name="connsiteY250" fmla="*/ 1596318 h 2730418"/>
                <a:gd name="connsiteX251" fmla="*/ 2668468 w 3011560"/>
                <a:gd name="connsiteY251" fmla="*/ 1601082 h 2730418"/>
                <a:gd name="connsiteX252" fmla="*/ 2706592 w 3011560"/>
                <a:gd name="connsiteY252" fmla="*/ 1605848 h 2730418"/>
                <a:gd name="connsiteX253" fmla="*/ 2754240 w 3011560"/>
                <a:gd name="connsiteY253" fmla="*/ 1615378 h 2730418"/>
                <a:gd name="connsiteX254" fmla="*/ 2768536 w 3011560"/>
                <a:gd name="connsiteY254" fmla="*/ 1634438 h 2730418"/>
                <a:gd name="connsiteX255" fmla="*/ 2778068 w 3011560"/>
                <a:gd name="connsiteY255" fmla="*/ 1672560 h 2730418"/>
                <a:gd name="connsiteX256" fmla="*/ 2778068 w 3011560"/>
                <a:gd name="connsiteY256" fmla="*/ 1701150 h 2730418"/>
                <a:gd name="connsiteX257" fmla="*/ 2773300 w 3011560"/>
                <a:gd name="connsiteY257" fmla="*/ 1715446 h 2730418"/>
                <a:gd name="connsiteX258" fmla="*/ 2739944 w 3011560"/>
                <a:gd name="connsiteY258" fmla="*/ 1758332 h 2730418"/>
                <a:gd name="connsiteX259" fmla="*/ 2701824 w 3011560"/>
                <a:gd name="connsiteY259" fmla="*/ 1801218 h 2730418"/>
                <a:gd name="connsiteX260" fmla="*/ 2668468 w 3011560"/>
                <a:gd name="connsiteY260" fmla="*/ 1844104 h 2730418"/>
                <a:gd name="connsiteX261" fmla="*/ 2630348 w 3011560"/>
                <a:gd name="connsiteY261" fmla="*/ 1886990 h 2730418"/>
                <a:gd name="connsiteX262" fmla="*/ 2625584 w 3011560"/>
                <a:gd name="connsiteY262" fmla="*/ 1891756 h 2730418"/>
                <a:gd name="connsiteX263" fmla="*/ 2658940 w 3011560"/>
                <a:gd name="connsiteY263" fmla="*/ 1925112 h 2730418"/>
                <a:gd name="connsiteX264" fmla="*/ 2673232 w 3011560"/>
                <a:gd name="connsiteY264" fmla="*/ 1948938 h 2730418"/>
                <a:gd name="connsiteX265" fmla="*/ 2701824 w 3011560"/>
                <a:gd name="connsiteY265" fmla="*/ 1977528 h 2730418"/>
                <a:gd name="connsiteX266" fmla="*/ 2706592 w 3011560"/>
                <a:gd name="connsiteY266" fmla="*/ 1987058 h 2730418"/>
                <a:gd name="connsiteX267" fmla="*/ 2706592 w 3011560"/>
                <a:gd name="connsiteY267" fmla="*/ 1996588 h 2730418"/>
                <a:gd name="connsiteX268" fmla="*/ 2730416 w 3011560"/>
                <a:gd name="connsiteY268" fmla="*/ 2044240 h 2730418"/>
                <a:gd name="connsiteX269" fmla="*/ 2739944 w 3011560"/>
                <a:gd name="connsiteY269" fmla="*/ 2068066 h 2730418"/>
                <a:gd name="connsiteX270" fmla="*/ 2749476 w 3011560"/>
                <a:gd name="connsiteY270" fmla="*/ 2082360 h 2730418"/>
                <a:gd name="connsiteX271" fmla="*/ 2768536 w 3011560"/>
                <a:gd name="connsiteY271" fmla="*/ 2106186 h 2730418"/>
                <a:gd name="connsiteX272" fmla="*/ 2792364 w 3011560"/>
                <a:gd name="connsiteY272" fmla="*/ 2125246 h 2730418"/>
                <a:gd name="connsiteX273" fmla="*/ 2811424 w 3011560"/>
                <a:gd name="connsiteY273" fmla="*/ 2134778 h 2730418"/>
                <a:gd name="connsiteX274" fmla="*/ 2830484 w 3011560"/>
                <a:gd name="connsiteY274" fmla="*/ 2139542 h 2730418"/>
                <a:gd name="connsiteX275" fmla="*/ 2863840 w 3011560"/>
                <a:gd name="connsiteY275" fmla="*/ 2149072 h 2730418"/>
                <a:gd name="connsiteX276" fmla="*/ 2873368 w 3011560"/>
                <a:gd name="connsiteY276" fmla="*/ 2158602 h 2730418"/>
                <a:gd name="connsiteX277" fmla="*/ 2897196 w 3011560"/>
                <a:gd name="connsiteY277" fmla="*/ 2182428 h 2730418"/>
                <a:gd name="connsiteX278" fmla="*/ 2921020 w 3011560"/>
                <a:gd name="connsiteY278" fmla="*/ 2177664 h 2730418"/>
                <a:gd name="connsiteX279" fmla="*/ 2925784 w 3011560"/>
                <a:gd name="connsiteY279" fmla="*/ 2177664 h 2730418"/>
                <a:gd name="connsiteX280" fmla="*/ 2925784 w 3011560"/>
                <a:gd name="connsiteY280" fmla="*/ 2187194 h 2730418"/>
                <a:gd name="connsiteX281" fmla="*/ 2925784 w 3011560"/>
                <a:gd name="connsiteY281" fmla="*/ 2225314 h 2730418"/>
                <a:gd name="connsiteX282" fmla="*/ 2930552 w 3011560"/>
                <a:gd name="connsiteY282" fmla="*/ 2258670 h 2730418"/>
                <a:gd name="connsiteX283" fmla="*/ 2935316 w 3011560"/>
                <a:gd name="connsiteY283" fmla="*/ 2311086 h 2730418"/>
                <a:gd name="connsiteX284" fmla="*/ 2935316 w 3011560"/>
                <a:gd name="connsiteY284" fmla="*/ 2320618 h 2730418"/>
                <a:gd name="connsiteX285" fmla="*/ 2925784 w 3011560"/>
                <a:gd name="connsiteY285" fmla="*/ 2334912 h 2730418"/>
                <a:gd name="connsiteX286" fmla="*/ 2925784 w 3011560"/>
                <a:gd name="connsiteY286" fmla="*/ 2344442 h 2730418"/>
                <a:gd name="connsiteX287" fmla="*/ 2925784 w 3011560"/>
                <a:gd name="connsiteY287" fmla="*/ 2353974 h 2730418"/>
                <a:gd name="connsiteX288" fmla="*/ 2935316 w 3011560"/>
                <a:gd name="connsiteY288" fmla="*/ 2358738 h 2730418"/>
                <a:gd name="connsiteX289" fmla="*/ 2949612 w 3011560"/>
                <a:gd name="connsiteY289" fmla="*/ 2363504 h 2730418"/>
                <a:gd name="connsiteX290" fmla="*/ 2992496 w 3011560"/>
                <a:gd name="connsiteY290" fmla="*/ 2353974 h 2730418"/>
                <a:gd name="connsiteX291" fmla="*/ 2997264 w 3011560"/>
                <a:gd name="connsiteY291" fmla="*/ 2353974 h 2730418"/>
                <a:gd name="connsiteX292" fmla="*/ 3002028 w 3011560"/>
                <a:gd name="connsiteY292" fmla="*/ 2363504 h 2730418"/>
                <a:gd name="connsiteX293" fmla="*/ 3011560 w 3011560"/>
                <a:gd name="connsiteY293" fmla="*/ 2373034 h 2730418"/>
                <a:gd name="connsiteX294" fmla="*/ 3011560 w 3011560"/>
                <a:gd name="connsiteY294" fmla="*/ 2377798 h 2730418"/>
                <a:gd name="connsiteX295" fmla="*/ 3002028 w 3011560"/>
                <a:gd name="connsiteY295" fmla="*/ 2387328 h 2730418"/>
                <a:gd name="connsiteX296" fmla="*/ 3002028 w 3011560"/>
                <a:gd name="connsiteY296" fmla="*/ 2401624 h 2730418"/>
                <a:gd name="connsiteX297" fmla="*/ 3002028 w 3011560"/>
                <a:gd name="connsiteY297" fmla="*/ 2420684 h 2730418"/>
                <a:gd name="connsiteX298" fmla="*/ 3002028 w 3011560"/>
                <a:gd name="connsiteY298" fmla="*/ 2425450 h 2730418"/>
                <a:gd name="connsiteX299" fmla="*/ 2992496 w 3011560"/>
                <a:gd name="connsiteY299" fmla="*/ 2430214 h 2730418"/>
                <a:gd name="connsiteX300" fmla="*/ 2992496 w 3011560"/>
                <a:gd name="connsiteY300" fmla="*/ 2458806 h 2730418"/>
                <a:gd name="connsiteX301" fmla="*/ 2987732 w 3011560"/>
                <a:gd name="connsiteY301" fmla="*/ 2458806 h 2730418"/>
                <a:gd name="connsiteX302" fmla="*/ 2978200 w 3011560"/>
                <a:gd name="connsiteY302" fmla="*/ 2463570 h 2730418"/>
                <a:gd name="connsiteX303" fmla="*/ 2930552 w 3011560"/>
                <a:gd name="connsiteY303" fmla="*/ 2463570 h 2730418"/>
                <a:gd name="connsiteX304" fmla="*/ 2925784 w 3011560"/>
                <a:gd name="connsiteY304" fmla="*/ 2463570 h 2730418"/>
                <a:gd name="connsiteX305" fmla="*/ 2906724 w 3011560"/>
                <a:gd name="connsiteY305" fmla="*/ 2468336 h 2730418"/>
                <a:gd name="connsiteX306" fmla="*/ 2878136 w 3011560"/>
                <a:gd name="connsiteY306" fmla="*/ 2477866 h 2730418"/>
                <a:gd name="connsiteX307" fmla="*/ 2868604 w 3011560"/>
                <a:gd name="connsiteY307" fmla="*/ 2477866 h 2730418"/>
                <a:gd name="connsiteX308" fmla="*/ 2859072 w 3011560"/>
                <a:gd name="connsiteY308" fmla="*/ 2487396 h 2730418"/>
                <a:gd name="connsiteX309" fmla="*/ 2849544 w 3011560"/>
                <a:gd name="connsiteY309" fmla="*/ 2501692 h 2730418"/>
                <a:gd name="connsiteX310" fmla="*/ 2844780 w 3011560"/>
                <a:gd name="connsiteY310" fmla="*/ 2511222 h 2730418"/>
                <a:gd name="connsiteX311" fmla="*/ 2825720 w 3011560"/>
                <a:gd name="connsiteY311" fmla="*/ 2511222 h 2730418"/>
                <a:gd name="connsiteX312" fmla="*/ 2820952 w 3011560"/>
                <a:gd name="connsiteY312" fmla="*/ 2520752 h 2730418"/>
                <a:gd name="connsiteX313" fmla="*/ 2787596 w 3011560"/>
                <a:gd name="connsiteY313" fmla="*/ 2530282 h 2730418"/>
                <a:gd name="connsiteX314" fmla="*/ 2782832 w 3011560"/>
                <a:gd name="connsiteY314" fmla="*/ 2535048 h 2730418"/>
                <a:gd name="connsiteX315" fmla="*/ 2778068 w 3011560"/>
                <a:gd name="connsiteY315" fmla="*/ 2544578 h 2730418"/>
                <a:gd name="connsiteX316" fmla="*/ 2773300 w 3011560"/>
                <a:gd name="connsiteY316" fmla="*/ 2573168 h 2730418"/>
                <a:gd name="connsiteX317" fmla="*/ 2768536 w 3011560"/>
                <a:gd name="connsiteY317" fmla="*/ 2601760 h 2730418"/>
                <a:gd name="connsiteX318" fmla="*/ 2768536 w 3011560"/>
                <a:gd name="connsiteY318" fmla="*/ 2606524 h 2730418"/>
                <a:gd name="connsiteX319" fmla="*/ 2754240 w 3011560"/>
                <a:gd name="connsiteY319" fmla="*/ 2616054 h 2730418"/>
                <a:gd name="connsiteX320" fmla="*/ 2754240 w 3011560"/>
                <a:gd name="connsiteY320" fmla="*/ 2625586 h 2730418"/>
                <a:gd name="connsiteX321" fmla="*/ 2749476 w 3011560"/>
                <a:gd name="connsiteY321" fmla="*/ 2644646 h 2730418"/>
                <a:gd name="connsiteX322" fmla="*/ 2749476 w 3011560"/>
                <a:gd name="connsiteY322" fmla="*/ 2697062 h 2730418"/>
                <a:gd name="connsiteX323" fmla="*/ 2744712 w 3011560"/>
                <a:gd name="connsiteY323" fmla="*/ 2711358 h 2730418"/>
                <a:gd name="connsiteX324" fmla="*/ 2735180 w 3011560"/>
                <a:gd name="connsiteY324" fmla="*/ 2711358 h 2730418"/>
                <a:gd name="connsiteX325" fmla="*/ 2730416 w 3011560"/>
                <a:gd name="connsiteY325" fmla="*/ 2720888 h 2730418"/>
                <a:gd name="connsiteX326" fmla="*/ 2716120 w 3011560"/>
                <a:gd name="connsiteY326" fmla="*/ 2730418 h 2730418"/>
                <a:gd name="connsiteX327" fmla="*/ 2692296 w 3011560"/>
                <a:gd name="connsiteY327" fmla="*/ 2720888 h 2730418"/>
                <a:gd name="connsiteX328" fmla="*/ 2668468 w 3011560"/>
                <a:gd name="connsiteY328" fmla="*/ 2716122 h 2730418"/>
                <a:gd name="connsiteX329" fmla="*/ 2596992 w 3011560"/>
                <a:gd name="connsiteY329" fmla="*/ 2697062 h 2730418"/>
                <a:gd name="connsiteX330" fmla="*/ 2592228 w 3011560"/>
                <a:gd name="connsiteY330" fmla="*/ 2687532 h 2730418"/>
                <a:gd name="connsiteX331" fmla="*/ 2587460 w 3011560"/>
                <a:gd name="connsiteY331" fmla="*/ 2678002 h 2730418"/>
                <a:gd name="connsiteX332" fmla="*/ 2573168 w 3011560"/>
                <a:gd name="connsiteY332" fmla="*/ 2673236 h 2730418"/>
                <a:gd name="connsiteX333" fmla="*/ 2558872 w 3011560"/>
                <a:gd name="connsiteY333" fmla="*/ 2692298 h 2730418"/>
                <a:gd name="connsiteX334" fmla="*/ 2501688 w 3011560"/>
                <a:gd name="connsiteY334" fmla="*/ 2682766 h 2730418"/>
                <a:gd name="connsiteX335" fmla="*/ 2477864 w 3011560"/>
                <a:gd name="connsiteY335" fmla="*/ 2682766 h 2730418"/>
                <a:gd name="connsiteX336" fmla="*/ 2468332 w 3011560"/>
                <a:gd name="connsiteY336" fmla="*/ 2678002 h 2730418"/>
                <a:gd name="connsiteX337" fmla="*/ 2434976 w 3011560"/>
                <a:gd name="connsiteY337" fmla="*/ 2678002 h 2730418"/>
                <a:gd name="connsiteX338" fmla="*/ 2411152 w 3011560"/>
                <a:gd name="connsiteY338" fmla="*/ 2663706 h 2730418"/>
                <a:gd name="connsiteX339" fmla="*/ 2373032 w 3011560"/>
                <a:gd name="connsiteY339" fmla="*/ 2673236 h 2730418"/>
                <a:gd name="connsiteX340" fmla="*/ 2344440 w 3011560"/>
                <a:gd name="connsiteY340" fmla="*/ 2673236 h 2730418"/>
                <a:gd name="connsiteX341" fmla="*/ 2306320 w 3011560"/>
                <a:gd name="connsiteY341" fmla="*/ 2649410 h 2730418"/>
                <a:gd name="connsiteX342" fmla="*/ 2268200 w 3011560"/>
                <a:gd name="connsiteY342" fmla="*/ 2644646 h 2730418"/>
                <a:gd name="connsiteX343" fmla="*/ 2234844 w 3011560"/>
                <a:gd name="connsiteY343" fmla="*/ 2644646 h 2730418"/>
                <a:gd name="connsiteX344" fmla="*/ 2215780 w 3011560"/>
                <a:gd name="connsiteY344" fmla="*/ 2644646 h 2730418"/>
                <a:gd name="connsiteX345" fmla="*/ 2187192 w 3011560"/>
                <a:gd name="connsiteY345" fmla="*/ 2635116 h 2730418"/>
                <a:gd name="connsiteX346" fmla="*/ 2172896 w 3011560"/>
                <a:gd name="connsiteY346" fmla="*/ 2625586 h 2730418"/>
                <a:gd name="connsiteX347" fmla="*/ 2149072 w 3011560"/>
                <a:gd name="connsiteY347" fmla="*/ 2635116 h 2730418"/>
                <a:gd name="connsiteX348" fmla="*/ 2139540 w 3011560"/>
                <a:gd name="connsiteY348" fmla="*/ 2620820 h 2730418"/>
                <a:gd name="connsiteX349" fmla="*/ 2077592 w 3011560"/>
                <a:gd name="connsiteY349" fmla="*/ 2611290 h 2730418"/>
                <a:gd name="connsiteX350" fmla="*/ 2068064 w 3011560"/>
                <a:gd name="connsiteY350" fmla="*/ 2587464 h 2730418"/>
                <a:gd name="connsiteX351" fmla="*/ 2058532 w 3011560"/>
                <a:gd name="connsiteY351" fmla="*/ 2568404 h 2730418"/>
                <a:gd name="connsiteX352" fmla="*/ 2058532 w 3011560"/>
                <a:gd name="connsiteY352" fmla="*/ 2544578 h 2730418"/>
                <a:gd name="connsiteX353" fmla="*/ 2044236 w 3011560"/>
                <a:gd name="connsiteY353" fmla="*/ 2511222 h 2730418"/>
                <a:gd name="connsiteX354" fmla="*/ 2039472 w 3011560"/>
                <a:gd name="connsiteY354" fmla="*/ 2454040 h 2730418"/>
                <a:gd name="connsiteX355" fmla="*/ 2034708 w 3011560"/>
                <a:gd name="connsiteY355" fmla="*/ 2434980 h 2730418"/>
                <a:gd name="connsiteX356" fmla="*/ 2025176 w 3011560"/>
                <a:gd name="connsiteY356" fmla="*/ 2415920 h 2730418"/>
                <a:gd name="connsiteX357" fmla="*/ 2010880 w 3011560"/>
                <a:gd name="connsiteY357" fmla="*/ 2401624 h 2730418"/>
                <a:gd name="connsiteX358" fmla="*/ 1996584 w 3011560"/>
                <a:gd name="connsiteY358" fmla="*/ 2382564 h 2730418"/>
                <a:gd name="connsiteX359" fmla="*/ 1987056 w 3011560"/>
                <a:gd name="connsiteY359" fmla="*/ 2377798 h 2730418"/>
                <a:gd name="connsiteX360" fmla="*/ 1925108 w 3011560"/>
                <a:gd name="connsiteY360" fmla="*/ 2363504 h 2730418"/>
                <a:gd name="connsiteX361" fmla="*/ 1915580 w 3011560"/>
                <a:gd name="connsiteY361" fmla="*/ 2368268 h 2730418"/>
                <a:gd name="connsiteX362" fmla="*/ 1891752 w 3011560"/>
                <a:gd name="connsiteY362" fmla="*/ 2373034 h 2730418"/>
                <a:gd name="connsiteX363" fmla="*/ 1863164 w 3011560"/>
                <a:gd name="connsiteY363" fmla="*/ 2392094 h 2730418"/>
                <a:gd name="connsiteX364" fmla="*/ 1815512 w 3011560"/>
                <a:gd name="connsiteY364" fmla="*/ 2401624 h 2730418"/>
                <a:gd name="connsiteX365" fmla="*/ 1805980 w 3011560"/>
                <a:gd name="connsiteY365" fmla="*/ 2411154 h 2730418"/>
                <a:gd name="connsiteX366" fmla="*/ 1796452 w 3011560"/>
                <a:gd name="connsiteY366" fmla="*/ 2430214 h 2730418"/>
                <a:gd name="connsiteX367" fmla="*/ 1782156 w 3011560"/>
                <a:gd name="connsiteY367" fmla="*/ 2439746 h 2730418"/>
                <a:gd name="connsiteX368" fmla="*/ 1758328 w 3011560"/>
                <a:gd name="connsiteY368" fmla="*/ 2434980 h 2730418"/>
                <a:gd name="connsiteX369" fmla="*/ 1739268 w 3011560"/>
                <a:gd name="connsiteY369" fmla="*/ 2449276 h 2730418"/>
                <a:gd name="connsiteX370" fmla="*/ 1696384 w 3011560"/>
                <a:gd name="connsiteY370" fmla="*/ 2477866 h 2730418"/>
                <a:gd name="connsiteX371" fmla="*/ 1677324 w 3011560"/>
                <a:gd name="connsiteY371" fmla="*/ 2487396 h 2730418"/>
                <a:gd name="connsiteX372" fmla="*/ 1658264 w 3011560"/>
                <a:gd name="connsiteY372" fmla="*/ 2487396 h 2730418"/>
                <a:gd name="connsiteX373" fmla="*/ 1639200 w 3011560"/>
                <a:gd name="connsiteY373" fmla="*/ 2473102 h 2730418"/>
                <a:gd name="connsiteX374" fmla="*/ 1596316 w 3011560"/>
                <a:gd name="connsiteY374" fmla="*/ 2454040 h 2730418"/>
                <a:gd name="connsiteX375" fmla="*/ 1567724 w 3011560"/>
                <a:gd name="connsiteY375" fmla="*/ 2444510 h 2730418"/>
                <a:gd name="connsiteX376" fmla="*/ 1529604 w 3011560"/>
                <a:gd name="connsiteY376" fmla="*/ 2449276 h 2730418"/>
                <a:gd name="connsiteX377" fmla="*/ 1510544 w 3011560"/>
                <a:gd name="connsiteY377" fmla="*/ 2449276 h 2730418"/>
                <a:gd name="connsiteX378" fmla="*/ 1481952 w 3011560"/>
                <a:gd name="connsiteY378" fmla="*/ 2425450 h 2730418"/>
                <a:gd name="connsiteX379" fmla="*/ 1472424 w 3011560"/>
                <a:gd name="connsiteY379" fmla="*/ 2411154 h 2730418"/>
                <a:gd name="connsiteX380" fmla="*/ 1458128 w 3011560"/>
                <a:gd name="connsiteY380" fmla="*/ 2396858 h 2730418"/>
                <a:gd name="connsiteX381" fmla="*/ 1400944 w 3011560"/>
                <a:gd name="connsiteY381" fmla="*/ 2373034 h 2730418"/>
                <a:gd name="connsiteX382" fmla="*/ 1353296 w 3011560"/>
                <a:gd name="connsiteY382" fmla="*/ 2344442 h 2730418"/>
                <a:gd name="connsiteX383" fmla="*/ 1343764 w 3011560"/>
                <a:gd name="connsiteY383" fmla="*/ 2330148 h 2730418"/>
                <a:gd name="connsiteX384" fmla="*/ 1339000 w 3011560"/>
                <a:gd name="connsiteY384" fmla="*/ 2311086 h 2730418"/>
                <a:gd name="connsiteX385" fmla="*/ 1319940 w 3011560"/>
                <a:gd name="connsiteY385" fmla="*/ 2292026 h 2730418"/>
                <a:gd name="connsiteX386" fmla="*/ 1277052 w 3011560"/>
                <a:gd name="connsiteY386" fmla="*/ 2272966 h 2730418"/>
                <a:gd name="connsiteX387" fmla="*/ 1248460 w 3011560"/>
                <a:gd name="connsiteY387" fmla="*/ 2253906 h 2730418"/>
                <a:gd name="connsiteX388" fmla="*/ 1219872 w 3011560"/>
                <a:gd name="connsiteY388" fmla="*/ 2249140 h 2730418"/>
                <a:gd name="connsiteX389" fmla="*/ 1196044 w 3011560"/>
                <a:gd name="connsiteY389" fmla="*/ 2249140 h 2730418"/>
                <a:gd name="connsiteX390" fmla="*/ 1181748 w 3011560"/>
                <a:gd name="connsiteY390" fmla="*/ 2249140 h 2730418"/>
                <a:gd name="connsiteX391" fmla="*/ 1172220 w 3011560"/>
                <a:gd name="connsiteY391" fmla="*/ 2239610 h 2730418"/>
                <a:gd name="connsiteX392" fmla="*/ 1134100 w 3011560"/>
                <a:gd name="connsiteY392" fmla="*/ 2201488 h 2730418"/>
                <a:gd name="connsiteX393" fmla="*/ 1134100 w 3011560"/>
                <a:gd name="connsiteY393" fmla="*/ 2187194 h 2730418"/>
                <a:gd name="connsiteX394" fmla="*/ 1110272 w 3011560"/>
                <a:gd name="connsiteY394" fmla="*/ 2144308 h 2730418"/>
                <a:gd name="connsiteX395" fmla="*/ 1105508 w 3011560"/>
                <a:gd name="connsiteY395" fmla="*/ 2134778 h 2730418"/>
                <a:gd name="connsiteX396" fmla="*/ 1100744 w 3011560"/>
                <a:gd name="connsiteY396" fmla="*/ 2096656 h 2730418"/>
                <a:gd name="connsiteX397" fmla="*/ 1091212 w 3011560"/>
                <a:gd name="connsiteY397" fmla="*/ 2087126 h 2730418"/>
                <a:gd name="connsiteX398" fmla="*/ 1067388 w 3011560"/>
                <a:gd name="connsiteY398" fmla="*/ 2068066 h 2730418"/>
                <a:gd name="connsiteX399" fmla="*/ 1067388 w 3011560"/>
                <a:gd name="connsiteY399" fmla="*/ 2058534 h 2730418"/>
                <a:gd name="connsiteX400" fmla="*/ 1072152 w 3011560"/>
                <a:gd name="connsiteY400" fmla="*/ 2044240 h 2730418"/>
                <a:gd name="connsiteX401" fmla="*/ 1072152 w 3011560"/>
                <a:gd name="connsiteY401" fmla="*/ 2034710 h 2730418"/>
                <a:gd name="connsiteX402" fmla="*/ 1057856 w 3011560"/>
                <a:gd name="connsiteY402" fmla="*/ 2025180 h 2730418"/>
                <a:gd name="connsiteX403" fmla="*/ 1038796 w 3011560"/>
                <a:gd name="connsiteY403" fmla="*/ 2020414 h 2730418"/>
                <a:gd name="connsiteX404" fmla="*/ 1034032 w 3011560"/>
                <a:gd name="connsiteY404" fmla="*/ 2006118 h 2730418"/>
                <a:gd name="connsiteX405" fmla="*/ 1038796 w 3011560"/>
                <a:gd name="connsiteY405" fmla="*/ 1982294 h 2730418"/>
                <a:gd name="connsiteX406" fmla="*/ 1034032 w 3011560"/>
                <a:gd name="connsiteY406" fmla="*/ 1972762 h 2730418"/>
                <a:gd name="connsiteX407" fmla="*/ 1019736 w 3011560"/>
                <a:gd name="connsiteY407" fmla="*/ 1948938 h 2730418"/>
                <a:gd name="connsiteX408" fmla="*/ 995908 w 3011560"/>
                <a:gd name="connsiteY408" fmla="*/ 1925112 h 2730418"/>
                <a:gd name="connsiteX409" fmla="*/ 972084 w 3011560"/>
                <a:gd name="connsiteY409" fmla="*/ 1891756 h 2730418"/>
                <a:gd name="connsiteX410" fmla="*/ 962552 w 3011560"/>
                <a:gd name="connsiteY410" fmla="*/ 1882226 h 2730418"/>
                <a:gd name="connsiteX411" fmla="*/ 953024 w 3011560"/>
                <a:gd name="connsiteY411" fmla="*/ 1858400 h 2730418"/>
                <a:gd name="connsiteX412" fmla="*/ 943492 w 3011560"/>
                <a:gd name="connsiteY412" fmla="*/ 1829808 h 2730418"/>
                <a:gd name="connsiteX413" fmla="*/ 929196 w 3011560"/>
                <a:gd name="connsiteY413" fmla="*/ 1829808 h 2730418"/>
                <a:gd name="connsiteX414" fmla="*/ 862484 w 3011560"/>
                <a:gd name="connsiteY414" fmla="*/ 1863164 h 2730418"/>
                <a:gd name="connsiteX415" fmla="*/ 843424 w 3011560"/>
                <a:gd name="connsiteY415" fmla="*/ 1844104 h 2730418"/>
                <a:gd name="connsiteX416" fmla="*/ 786244 w 3011560"/>
                <a:gd name="connsiteY416" fmla="*/ 1810748 h 2730418"/>
                <a:gd name="connsiteX417" fmla="*/ 781480 w 3011560"/>
                <a:gd name="connsiteY417" fmla="*/ 1805984 h 2730418"/>
                <a:gd name="connsiteX418" fmla="*/ 776712 w 3011560"/>
                <a:gd name="connsiteY418" fmla="*/ 1796454 h 2730418"/>
                <a:gd name="connsiteX419" fmla="*/ 786244 w 3011560"/>
                <a:gd name="connsiteY419" fmla="*/ 1796454 h 2730418"/>
                <a:gd name="connsiteX420" fmla="*/ 791008 w 3011560"/>
                <a:gd name="connsiteY420" fmla="*/ 1791688 h 2730418"/>
                <a:gd name="connsiteX421" fmla="*/ 805304 w 3011560"/>
                <a:gd name="connsiteY421" fmla="*/ 1796454 h 2730418"/>
                <a:gd name="connsiteX422" fmla="*/ 814836 w 3011560"/>
                <a:gd name="connsiteY422" fmla="*/ 1791688 h 2730418"/>
                <a:gd name="connsiteX423" fmla="*/ 814836 w 3011560"/>
                <a:gd name="connsiteY423" fmla="*/ 1782158 h 2730418"/>
                <a:gd name="connsiteX424" fmla="*/ 795776 w 3011560"/>
                <a:gd name="connsiteY424" fmla="*/ 1772628 h 2730418"/>
                <a:gd name="connsiteX425" fmla="*/ 776712 w 3011560"/>
                <a:gd name="connsiteY425" fmla="*/ 1772628 h 2730418"/>
                <a:gd name="connsiteX426" fmla="*/ 781480 w 3011560"/>
                <a:gd name="connsiteY426" fmla="*/ 1786922 h 2730418"/>
                <a:gd name="connsiteX427" fmla="*/ 767184 w 3011560"/>
                <a:gd name="connsiteY427" fmla="*/ 1796454 h 2730418"/>
                <a:gd name="connsiteX428" fmla="*/ 762420 w 3011560"/>
                <a:gd name="connsiteY428" fmla="*/ 1805984 h 2730418"/>
                <a:gd name="connsiteX429" fmla="*/ 762420 w 3011560"/>
                <a:gd name="connsiteY429" fmla="*/ 1820278 h 2730418"/>
                <a:gd name="connsiteX430" fmla="*/ 767184 w 3011560"/>
                <a:gd name="connsiteY430" fmla="*/ 1844104 h 2730418"/>
                <a:gd name="connsiteX431" fmla="*/ 757652 w 3011560"/>
                <a:gd name="connsiteY431" fmla="*/ 1853634 h 2730418"/>
                <a:gd name="connsiteX432" fmla="*/ 752888 w 3011560"/>
                <a:gd name="connsiteY432" fmla="*/ 1858400 h 2730418"/>
                <a:gd name="connsiteX433" fmla="*/ 724296 w 3011560"/>
                <a:gd name="connsiteY433" fmla="*/ 1863164 h 2730418"/>
                <a:gd name="connsiteX434" fmla="*/ 714768 w 3011560"/>
                <a:gd name="connsiteY434" fmla="*/ 1872696 h 2730418"/>
                <a:gd name="connsiteX435" fmla="*/ 705236 w 3011560"/>
                <a:gd name="connsiteY435" fmla="*/ 1872696 h 2730418"/>
                <a:gd name="connsiteX436" fmla="*/ 695708 w 3011560"/>
                <a:gd name="connsiteY436" fmla="*/ 1863164 h 2730418"/>
                <a:gd name="connsiteX437" fmla="*/ 690940 w 3011560"/>
                <a:gd name="connsiteY437" fmla="*/ 1858400 h 2730418"/>
                <a:gd name="connsiteX438" fmla="*/ 681412 w 3011560"/>
                <a:gd name="connsiteY438" fmla="*/ 1844104 h 2730418"/>
                <a:gd name="connsiteX439" fmla="*/ 681412 w 3011560"/>
                <a:gd name="connsiteY439" fmla="*/ 1839340 h 2730418"/>
                <a:gd name="connsiteX440" fmla="*/ 686176 w 3011560"/>
                <a:gd name="connsiteY440" fmla="*/ 1834574 h 2730418"/>
                <a:gd name="connsiteX441" fmla="*/ 681412 w 3011560"/>
                <a:gd name="connsiteY441" fmla="*/ 1825044 h 2730418"/>
                <a:gd name="connsiteX442" fmla="*/ 671880 w 3011560"/>
                <a:gd name="connsiteY442" fmla="*/ 1815514 h 2730418"/>
                <a:gd name="connsiteX443" fmla="*/ 662352 w 3011560"/>
                <a:gd name="connsiteY443" fmla="*/ 1810748 h 2730418"/>
                <a:gd name="connsiteX444" fmla="*/ 657584 w 3011560"/>
                <a:gd name="connsiteY444" fmla="*/ 1805984 h 2730418"/>
                <a:gd name="connsiteX445" fmla="*/ 648056 w 3011560"/>
                <a:gd name="connsiteY445" fmla="*/ 1801218 h 2730418"/>
                <a:gd name="connsiteX446" fmla="*/ 643292 w 3011560"/>
                <a:gd name="connsiteY446" fmla="*/ 1791688 h 2730418"/>
                <a:gd name="connsiteX447" fmla="*/ 633760 w 3011560"/>
                <a:gd name="connsiteY447" fmla="*/ 1782158 h 2730418"/>
                <a:gd name="connsiteX448" fmla="*/ 624228 w 3011560"/>
                <a:gd name="connsiteY448" fmla="*/ 1782158 h 2730418"/>
                <a:gd name="connsiteX449" fmla="*/ 624228 w 3011560"/>
                <a:gd name="connsiteY449" fmla="*/ 1748802 h 2730418"/>
                <a:gd name="connsiteX450" fmla="*/ 624228 w 3011560"/>
                <a:gd name="connsiteY450" fmla="*/ 1715446 h 2730418"/>
                <a:gd name="connsiteX451" fmla="*/ 624228 w 3011560"/>
                <a:gd name="connsiteY451" fmla="*/ 1686856 h 2730418"/>
                <a:gd name="connsiteX452" fmla="*/ 595640 w 3011560"/>
                <a:gd name="connsiteY452" fmla="*/ 1686856 h 2730418"/>
                <a:gd name="connsiteX453" fmla="*/ 571812 w 3011560"/>
                <a:gd name="connsiteY453" fmla="*/ 1682090 h 2730418"/>
                <a:gd name="connsiteX454" fmla="*/ 571812 w 3011560"/>
                <a:gd name="connsiteY454" fmla="*/ 1610614 h 2730418"/>
                <a:gd name="connsiteX455" fmla="*/ 581344 w 3011560"/>
                <a:gd name="connsiteY455" fmla="*/ 1572492 h 2730418"/>
                <a:gd name="connsiteX456" fmla="*/ 595640 w 3011560"/>
                <a:gd name="connsiteY456" fmla="*/ 1539136 h 2730418"/>
                <a:gd name="connsiteX457" fmla="*/ 576580 w 3011560"/>
                <a:gd name="connsiteY457" fmla="*/ 1515310 h 2730418"/>
                <a:gd name="connsiteX458" fmla="*/ 557516 w 3011560"/>
                <a:gd name="connsiteY458" fmla="*/ 1486720 h 2730418"/>
                <a:gd name="connsiteX459" fmla="*/ 543224 w 3011560"/>
                <a:gd name="connsiteY459" fmla="*/ 1472424 h 2730418"/>
                <a:gd name="connsiteX460" fmla="*/ 528928 w 3011560"/>
                <a:gd name="connsiteY460" fmla="*/ 1439068 h 2730418"/>
                <a:gd name="connsiteX461" fmla="*/ 524160 w 3011560"/>
                <a:gd name="connsiteY461" fmla="*/ 1424774 h 2730418"/>
                <a:gd name="connsiteX462" fmla="*/ 514632 w 3011560"/>
                <a:gd name="connsiteY462" fmla="*/ 1415242 h 2730418"/>
                <a:gd name="connsiteX463" fmla="*/ 509868 w 3011560"/>
                <a:gd name="connsiteY463" fmla="*/ 1415242 h 2730418"/>
                <a:gd name="connsiteX464" fmla="*/ 486040 w 3011560"/>
                <a:gd name="connsiteY464" fmla="*/ 1415242 h 2730418"/>
                <a:gd name="connsiteX465" fmla="*/ 462216 w 3011560"/>
                <a:gd name="connsiteY465" fmla="*/ 1396182 h 2730418"/>
                <a:gd name="connsiteX466" fmla="*/ 433624 w 3011560"/>
                <a:gd name="connsiteY466" fmla="*/ 1372356 h 2730418"/>
                <a:gd name="connsiteX467" fmla="*/ 400268 w 3011560"/>
                <a:gd name="connsiteY467" fmla="*/ 1348530 h 2730418"/>
                <a:gd name="connsiteX468" fmla="*/ 366912 w 3011560"/>
                <a:gd name="connsiteY468" fmla="*/ 1329470 h 2730418"/>
                <a:gd name="connsiteX469" fmla="*/ 357384 w 3011560"/>
                <a:gd name="connsiteY469" fmla="*/ 1324706 h 2730418"/>
                <a:gd name="connsiteX470" fmla="*/ 328792 w 3011560"/>
                <a:gd name="connsiteY470" fmla="*/ 1324706 h 2730418"/>
                <a:gd name="connsiteX471" fmla="*/ 324028 w 3011560"/>
                <a:gd name="connsiteY471" fmla="*/ 1319940 h 2730418"/>
                <a:gd name="connsiteX472" fmla="*/ 324028 w 3011560"/>
                <a:gd name="connsiteY472" fmla="*/ 1310410 h 2730418"/>
                <a:gd name="connsiteX473" fmla="*/ 324028 w 3011560"/>
                <a:gd name="connsiteY473" fmla="*/ 1300880 h 2730418"/>
                <a:gd name="connsiteX474" fmla="*/ 328792 w 3011560"/>
                <a:gd name="connsiteY474" fmla="*/ 1286584 h 2730418"/>
                <a:gd name="connsiteX475" fmla="*/ 333556 w 3011560"/>
                <a:gd name="connsiteY475" fmla="*/ 1272290 h 2730418"/>
                <a:gd name="connsiteX476" fmla="*/ 309732 w 3011560"/>
                <a:gd name="connsiteY476" fmla="*/ 1238934 h 2730418"/>
                <a:gd name="connsiteX477" fmla="*/ 304968 w 3011560"/>
                <a:gd name="connsiteY477" fmla="*/ 1229402 h 2730418"/>
                <a:gd name="connsiteX478" fmla="*/ 290672 w 3011560"/>
                <a:gd name="connsiteY478" fmla="*/ 1224638 h 2730418"/>
                <a:gd name="connsiteX479" fmla="*/ 290672 w 3011560"/>
                <a:gd name="connsiteY479" fmla="*/ 1215108 h 2730418"/>
                <a:gd name="connsiteX480" fmla="*/ 290672 w 3011560"/>
                <a:gd name="connsiteY480" fmla="*/ 1210342 h 2730418"/>
                <a:gd name="connsiteX481" fmla="*/ 290672 w 3011560"/>
                <a:gd name="connsiteY481" fmla="*/ 1200812 h 2730418"/>
                <a:gd name="connsiteX482" fmla="*/ 285904 w 3011560"/>
                <a:gd name="connsiteY482" fmla="*/ 1200812 h 2730418"/>
                <a:gd name="connsiteX483" fmla="*/ 281140 w 3011560"/>
                <a:gd name="connsiteY483" fmla="*/ 1200812 h 2730418"/>
                <a:gd name="connsiteX484" fmla="*/ 266844 w 3011560"/>
                <a:gd name="connsiteY484" fmla="*/ 1205578 h 2730418"/>
                <a:gd name="connsiteX485" fmla="*/ 257316 w 3011560"/>
                <a:gd name="connsiteY485" fmla="*/ 1186516 h 2730418"/>
                <a:gd name="connsiteX486" fmla="*/ 228724 w 3011560"/>
                <a:gd name="connsiteY486" fmla="*/ 1143630 h 2730418"/>
                <a:gd name="connsiteX487" fmla="*/ 214428 w 3011560"/>
                <a:gd name="connsiteY487" fmla="*/ 1138866 h 2730418"/>
                <a:gd name="connsiteX488" fmla="*/ 214428 w 3011560"/>
                <a:gd name="connsiteY488" fmla="*/ 1134100 h 2730418"/>
                <a:gd name="connsiteX489" fmla="*/ 223960 w 3011560"/>
                <a:gd name="connsiteY489" fmla="*/ 1119806 h 2730418"/>
                <a:gd name="connsiteX490" fmla="*/ 233488 w 3011560"/>
                <a:gd name="connsiteY490" fmla="*/ 1100744 h 2730418"/>
                <a:gd name="connsiteX491" fmla="*/ 238256 w 3011560"/>
                <a:gd name="connsiteY491" fmla="*/ 1086450 h 2730418"/>
                <a:gd name="connsiteX492" fmla="*/ 233488 w 3011560"/>
                <a:gd name="connsiteY492" fmla="*/ 1076918 h 2730418"/>
                <a:gd name="connsiteX493" fmla="*/ 219192 w 3011560"/>
                <a:gd name="connsiteY493" fmla="*/ 1053094 h 2730418"/>
                <a:gd name="connsiteX494" fmla="*/ 223960 w 3011560"/>
                <a:gd name="connsiteY494" fmla="*/ 1038798 h 2730418"/>
                <a:gd name="connsiteX495" fmla="*/ 228724 w 3011560"/>
                <a:gd name="connsiteY495" fmla="*/ 1029268 h 2730418"/>
                <a:gd name="connsiteX496" fmla="*/ 228724 w 3011560"/>
                <a:gd name="connsiteY496" fmla="*/ 1019738 h 2730418"/>
                <a:gd name="connsiteX497" fmla="*/ 238256 w 3011560"/>
                <a:gd name="connsiteY497" fmla="*/ 1019738 h 2730418"/>
                <a:gd name="connsiteX498" fmla="*/ 252548 w 3011560"/>
                <a:gd name="connsiteY498" fmla="*/ 1019738 h 2730418"/>
                <a:gd name="connsiteX499" fmla="*/ 257316 w 3011560"/>
                <a:gd name="connsiteY499" fmla="*/ 1014972 h 2730418"/>
                <a:gd name="connsiteX500" fmla="*/ 257316 w 3011560"/>
                <a:gd name="connsiteY500" fmla="*/ 986382 h 2730418"/>
                <a:gd name="connsiteX501" fmla="*/ 257316 w 3011560"/>
                <a:gd name="connsiteY501" fmla="*/ 976852 h 2730418"/>
                <a:gd name="connsiteX502" fmla="*/ 295436 w 3011560"/>
                <a:gd name="connsiteY502" fmla="*/ 933966 h 2730418"/>
                <a:gd name="connsiteX503" fmla="*/ 314496 w 3011560"/>
                <a:gd name="connsiteY503" fmla="*/ 924434 h 2730418"/>
                <a:gd name="connsiteX504" fmla="*/ 328792 w 3011560"/>
                <a:gd name="connsiteY504" fmla="*/ 914904 h 2730418"/>
                <a:gd name="connsiteX505" fmla="*/ 333556 w 3011560"/>
                <a:gd name="connsiteY505" fmla="*/ 900610 h 2730418"/>
                <a:gd name="connsiteX506" fmla="*/ 328792 w 3011560"/>
                <a:gd name="connsiteY506" fmla="*/ 895844 h 2730418"/>
                <a:gd name="connsiteX507" fmla="*/ 328792 w 3011560"/>
                <a:gd name="connsiteY507" fmla="*/ 886314 h 2730418"/>
                <a:gd name="connsiteX508" fmla="*/ 328792 w 3011560"/>
                <a:gd name="connsiteY508" fmla="*/ 876784 h 2730418"/>
                <a:gd name="connsiteX509" fmla="*/ 309732 w 3011560"/>
                <a:gd name="connsiteY509" fmla="*/ 857722 h 2730418"/>
                <a:gd name="connsiteX510" fmla="*/ 304968 w 3011560"/>
                <a:gd name="connsiteY510" fmla="*/ 848192 h 2730418"/>
                <a:gd name="connsiteX511" fmla="*/ 304968 w 3011560"/>
                <a:gd name="connsiteY511" fmla="*/ 838662 h 2730418"/>
                <a:gd name="connsiteX512" fmla="*/ 309732 w 3011560"/>
                <a:gd name="connsiteY512" fmla="*/ 824368 h 2730418"/>
                <a:gd name="connsiteX513" fmla="*/ 314496 w 3011560"/>
                <a:gd name="connsiteY513" fmla="*/ 810072 h 2730418"/>
                <a:gd name="connsiteX514" fmla="*/ 338320 w 3011560"/>
                <a:gd name="connsiteY514" fmla="*/ 805306 h 2730418"/>
                <a:gd name="connsiteX515" fmla="*/ 347852 w 3011560"/>
                <a:gd name="connsiteY515" fmla="*/ 795776 h 2730418"/>
                <a:gd name="connsiteX516" fmla="*/ 352616 w 3011560"/>
                <a:gd name="connsiteY516" fmla="*/ 791012 h 2730418"/>
                <a:gd name="connsiteX517" fmla="*/ 333556 w 3011560"/>
                <a:gd name="connsiteY517" fmla="*/ 781480 h 2730418"/>
                <a:gd name="connsiteX518" fmla="*/ 300200 w 3011560"/>
                <a:gd name="connsiteY518" fmla="*/ 781480 h 2730418"/>
                <a:gd name="connsiteX519" fmla="*/ 276376 w 3011560"/>
                <a:gd name="connsiteY519" fmla="*/ 781480 h 2730418"/>
                <a:gd name="connsiteX520" fmla="*/ 266844 w 3011560"/>
                <a:gd name="connsiteY520" fmla="*/ 781480 h 2730418"/>
                <a:gd name="connsiteX521" fmla="*/ 252548 w 3011560"/>
                <a:gd name="connsiteY521" fmla="*/ 762420 h 2730418"/>
                <a:gd name="connsiteX522" fmla="*/ 243020 w 3011560"/>
                <a:gd name="connsiteY522" fmla="*/ 752890 h 2730418"/>
                <a:gd name="connsiteX523" fmla="*/ 228724 w 3011560"/>
                <a:gd name="connsiteY523" fmla="*/ 748126 h 2730418"/>
                <a:gd name="connsiteX524" fmla="*/ 214428 w 3011560"/>
                <a:gd name="connsiteY524" fmla="*/ 748126 h 2730418"/>
                <a:gd name="connsiteX525" fmla="*/ 209664 w 3011560"/>
                <a:gd name="connsiteY525" fmla="*/ 743360 h 2730418"/>
                <a:gd name="connsiteX526" fmla="*/ 209664 w 3011560"/>
                <a:gd name="connsiteY526" fmla="*/ 738594 h 2730418"/>
                <a:gd name="connsiteX527" fmla="*/ 190604 w 3011560"/>
                <a:gd name="connsiteY527" fmla="*/ 681414 h 2730418"/>
                <a:gd name="connsiteX528" fmla="*/ 185836 w 3011560"/>
                <a:gd name="connsiteY528" fmla="*/ 671882 h 2730418"/>
                <a:gd name="connsiteX529" fmla="*/ 176308 w 3011560"/>
                <a:gd name="connsiteY529" fmla="*/ 667118 h 2730418"/>
                <a:gd name="connsiteX530" fmla="*/ 171544 w 3011560"/>
                <a:gd name="connsiteY530" fmla="*/ 667118 h 2730418"/>
                <a:gd name="connsiteX531" fmla="*/ 166776 w 3011560"/>
                <a:gd name="connsiteY531" fmla="*/ 662352 h 2730418"/>
                <a:gd name="connsiteX532" fmla="*/ 162012 w 3011560"/>
                <a:gd name="connsiteY532" fmla="*/ 657588 h 2730418"/>
                <a:gd name="connsiteX533" fmla="*/ 157248 w 3011560"/>
                <a:gd name="connsiteY533" fmla="*/ 648058 h 2730418"/>
                <a:gd name="connsiteX534" fmla="*/ 157248 w 3011560"/>
                <a:gd name="connsiteY534" fmla="*/ 633762 h 2730418"/>
                <a:gd name="connsiteX535" fmla="*/ 157248 w 3011560"/>
                <a:gd name="connsiteY535" fmla="*/ 619466 h 2730418"/>
                <a:gd name="connsiteX536" fmla="*/ 157248 w 3011560"/>
                <a:gd name="connsiteY536" fmla="*/ 609936 h 2730418"/>
                <a:gd name="connsiteX537" fmla="*/ 147716 w 3011560"/>
                <a:gd name="connsiteY537" fmla="*/ 605172 h 2730418"/>
                <a:gd name="connsiteX538" fmla="*/ 142952 w 3011560"/>
                <a:gd name="connsiteY538" fmla="*/ 600406 h 2730418"/>
                <a:gd name="connsiteX539" fmla="*/ 133420 w 3011560"/>
                <a:gd name="connsiteY539" fmla="*/ 590876 h 2730418"/>
                <a:gd name="connsiteX540" fmla="*/ 123892 w 3011560"/>
                <a:gd name="connsiteY540" fmla="*/ 543224 h 2730418"/>
                <a:gd name="connsiteX541" fmla="*/ 114360 w 3011560"/>
                <a:gd name="connsiteY541" fmla="*/ 528930 h 2730418"/>
                <a:gd name="connsiteX542" fmla="*/ 114360 w 3011560"/>
                <a:gd name="connsiteY542" fmla="*/ 524164 h 2730418"/>
                <a:gd name="connsiteX543" fmla="*/ 119128 w 3011560"/>
                <a:gd name="connsiteY543" fmla="*/ 524164 h 2730418"/>
                <a:gd name="connsiteX544" fmla="*/ 114360 w 3011560"/>
                <a:gd name="connsiteY544" fmla="*/ 509868 h 2730418"/>
                <a:gd name="connsiteX545" fmla="*/ 119128 w 3011560"/>
                <a:gd name="connsiteY545" fmla="*/ 500338 h 2730418"/>
                <a:gd name="connsiteX546" fmla="*/ 119128 w 3011560"/>
                <a:gd name="connsiteY546" fmla="*/ 495574 h 2730418"/>
                <a:gd name="connsiteX547" fmla="*/ 109596 w 3011560"/>
                <a:gd name="connsiteY547" fmla="*/ 481278 h 2730418"/>
                <a:gd name="connsiteX548" fmla="*/ 90536 w 3011560"/>
                <a:gd name="connsiteY548" fmla="*/ 471748 h 2730418"/>
                <a:gd name="connsiteX549" fmla="*/ 85772 w 3011560"/>
                <a:gd name="connsiteY549" fmla="*/ 466982 h 2730418"/>
                <a:gd name="connsiteX550" fmla="*/ 85772 w 3011560"/>
                <a:gd name="connsiteY550" fmla="*/ 452688 h 2730418"/>
                <a:gd name="connsiteX551" fmla="*/ 85772 w 3011560"/>
                <a:gd name="connsiteY551" fmla="*/ 443156 h 2730418"/>
                <a:gd name="connsiteX552" fmla="*/ 85772 w 3011560"/>
                <a:gd name="connsiteY552" fmla="*/ 433626 h 2730418"/>
                <a:gd name="connsiteX553" fmla="*/ 81004 w 3011560"/>
                <a:gd name="connsiteY553" fmla="*/ 428862 h 2730418"/>
                <a:gd name="connsiteX554" fmla="*/ 81004 w 3011560"/>
                <a:gd name="connsiteY554" fmla="*/ 424096 h 2730418"/>
                <a:gd name="connsiteX555" fmla="*/ 90536 w 3011560"/>
                <a:gd name="connsiteY555" fmla="*/ 414566 h 2730418"/>
                <a:gd name="connsiteX556" fmla="*/ 85772 w 3011560"/>
                <a:gd name="connsiteY556" fmla="*/ 405036 h 2730418"/>
                <a:gd name="connsiteX557" fmla="*/ 57180 w 3011560"/>
                <a:gd name="connsiteY557" fmla="*/ 390740 h 2730418"/>
                <a:gd name="connsiteX558" fmla="*/ 47648 w 3011560"/>
                <a:gd name="connsiteY558" fmla="*/ 381210 h 2730418"/>
                <a:gd name="connsiteX559" fmla="*/ 33352 w 3011560"/>
                <a:gd name="connsiteY559" fmla="*/ 381210 h 2730418"/>
                <a:gd name="connsiteX560" fmla="*/ 28588 w 3011560"/>
                <a:gd name="connsiteY560" fmla="*/ 376446 h 2730418"/>
                <a:gd name="connsiteX561" fmla="*/ 33352 w 3011560"/>
                <a:gd name="connsiteY561" fmla="*/ 362150 h 2730418"/>
                <a:gd name="connsiteX562" fmla="*/ 38120 w 3011560"/>
                <a:gd name="connsiteY562" fmla="*/ 347854 h 2730418"/>
                <a:gd name="connsiteX563" fmla="*/ 47648 w 3011560"/>
                <a:gd name="connsiteY563" fmla="*/ 333558 h 2730418"/>
                <a:gd name="connsiteX564" fmla="*/ 52416 w 3011560"/>
                <a:gd name="connsiteY564" fmla="*/ 328794 h 2730418"/>
                <a:gd name="connsiteX565" fmla="*/ 52416 w 3011560"/>
                <a:gd name="connsiteY565" fmla="*/ 314498 h 2730418"/>
                <a:gd name="connsiteX566" fmla="*/ 57180 w 3011560"/>
                <a:gd name="connsiteY566" fmla="*/ 304968 h 2730418"/>
                <a:gd name="connsiteX567" fmla="*/ 66708 w 3011560"/>
                <a:gd name="connsiteY567" fmla="*/ 295438 h 2730418"/>
                <a:gd name="connsiteX568" fmla="*/ 66708 w 3011560"/>
                <a:gd name="connsiteY568" fmla="*/ 290672 h 2730418"/>
                <a:gd name="connsiteX569" fmla="*/ 61944 w 3011560"/>
                <a:gd name="connsiteY569" fmla="*/ 285908 h 2730418"/>
                <a:gd name="connsiteX570" fmla="*/ 57180 w 3011560"/>
                <a:gd name="connsiteY570" fmla="*/ 281142 h 2730418"/>
                <a:gd name="connsiteX571" fmla="*/ 47648 w 3011560"/>
                <a:gd name="connsiteY571" fmla="*/ 281142 h 2730418"/>
                <a:gd name="connsiteX572" fmla="*/ 42884 w 3011560"/>
                <a:gd name="connsiteY572" fmla="*/ 281142 h 2730418"/>
                <a:gd name="connsiteX573" fmla="*/ 42884 w 3011560"/>
                <a:gd name="connsiteY573" fmla="*/ 271612 h 2730418"/>
                <a:gd name="connsiteX574" fmla="*/ 42884 w 3011560"/>
                <a:gd name="connsiteY574" fmla="*/ 243022 h 2730418"/>
                <a:gd name="connsiteX575" fmla="*/ 42884 w 3011560"/>
                <a:gd name="connsiteY575" fmla="*/ 228726 h 2730418"/>
                <a:gd name="connsiteX576" fmla="*/ 38120 w 3011560"/>
                <a:gd name="connsiteY576" fmla="*/ 219196 h 2730418"/>
                <a:gd name="connsiteX577" fmla="*/ 38120 w 3011560"/>
                <a:gd name="connsiteY577" fmla="*/ 190606 h 2730418"/>
                <a:gd name="connsiteX578" fmla="*/ 33352 w 3011560"/>
                <a:gd name="connsiteY578" fmla="*/ 185840 h 2730418"/>
                <a:gd name="connsiteX579" fmla="*/ 23824 w 3011560"/>
                <a:gd name="connsiteY579" fmla="*/ 171544 h 2730418"/>
                <a:gd name="connsiteX580" fmla="*/ 19060 w 3011560"/>
                <a:gd name="connsiteY580" fmla="*/ 157250 h 2730418"/>
                <a:gd name="connsiteX581" fmla="*/ 19060 w 3011560"/>
                <a:gd name="connsiteY581" fmla="*/ 152484 h 2730418"/>
                <a:gd name="connsiteX582" fmla="*/ 23824 w 3011560"/>
                <a:gd name="connsiteY582" fmla="*/ 147718 h 2730418"/>
                <a:gd name="connsiteX583" fmla="*/ 23824 w 3011560"/>
                <a:gd name="connsiteY583" fmla="*/ 133424 h 2730418"/>
                <a:gd name="connsiteX584" fmla="*/ 23824 w 3011560"/>
                <a:gd name="connsiteY584" fmla="*/ 128658 h 2730418"/>
                <a:gd name="connsiteX585" fmla="*/ 14292 w 3011560"/>
                <a:gd name="connsiteY585" fmla="*/ 119128 h 2730418"/>
                <a:gd name="connsiteX586" fmla="*/ 9528 w 3011560"/>
                <a:gd name="connsiteY586" fmla="*/ 114364 h 2730418"/>
                <a:gd name="connsiteX587" fmla="*/ 9528 w 3011560"/>
                <a:gd name="connsiteY587" fmla="*/ 104832 h 2730418"/>
                <a:gd name="connsiteX588" fmla="*/ 4764 w 3011560"/>
                <a:gd name="connsiteY588" fmla="*/ 95302 h 2730418"/>
                <a:gd name="connsiteX589" fmla="*/ 0 w 3011560"/>
                <a:gd name="connsiteY589" fmla="*/ 85772 h 2730418"/>
                <a:gd name="connsiteX590" fmla="*/ 0 w 3011560"/>
                <a:gd name="connsiteY590" fmla="*/ 81008 h 2730418"/>
                <a:gd name="connsiteX591" fmla="*/ 4764 w 3011560"/>
                <a:gd name="connsiteY591" fmla="*/ 76242 h 2730418"/>
                <a:gd name="connsiteX592" fmla="*/ 14292 w 3011560"/>
                <a:gd name="connsiteY592" fmla="*/ 76242 h 2730418"/>
                <a:gd name="connsiteX593" fmla="*/ 33352 w 3011560"/>
                <a:gd name="connsiteY593" fmla="*/ 76242 h 2730418"/>
                <a:gd name="connsiteX594" fmla="*/ 47648 w 3011560"/>
                <a:gd name="connsiteY594" fmla="*/ 76242 h 2730418"/>
                <a:gd name="connsiteX595" fmla="*/ 57180 w 3011560"/>
                <a:gd name="connsiteY595" fmla="*/ 71476 h 2730418"/>
                <a:gd name="connsiteX596" fmla="*/ 66708 w 3011560"/>
                <a:gd name="connsiteY596" fmla="*/ 23826 h 2730418"/>
                <a:gd name="connsiteX597" fmla="*/ 76240 w 3011560"/>
                <a:gd name="connsiteY597" fmla="*/ 9530 h 273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</a:cxnLst>
              <a:rect l="l" t="t" r="r" b="b"/>
              <a:pathLst>
                <a:path w="3011560" h="2730418">
                  <a:moveTo>
                    <a:pt x="1906048" y="2396858"/>
                  </a:moveTo>
                  <a:lnTo>
                    <a:pt x="1915580" y="2406390"/>
                  </a:lnTo>
                  <a:lnTo>
                    <a:pt x="1901284" y="2411154"/>
                  </a:lnTo>
                  <a:lnTo>
                    <a:pt x="1886988" y="2434980"/>
                  </a:lnTo>
                  <a:lnTo>
                    <a:pt x="1863164" y="2449276"/>
                  </a:lnTo>
                  <a:lnTo>
                    <a:pt x="1853632" y="2444510"/>
                  </a:lnTo>
                  <a:lnTo>
                    <a:pt x="1848868" y="2444510"/>
                  </a:lnTo>
                  <a:lnTo>
                    <a:pt x="1829808" y="2454040"/>
                  </a:lnTo>
                  <a:lnTo>
                    <a:pt x="1820276" y="2454040"/>
                  </a:lnTo>
                  <a:lnTo>
                    <a:pt x="1801216" y="2468336"/>
                  </a:lnTo>
                  <a:lnTo>
                    <a:pt x="1782156" y="2473102"/>
                  </a:lnTo>
                  <a:lnTo>
                    <a:pt x="1767860" y="2473102"/>
                  </a:lnTo>
                  <a:lnTo>
                    <a:pt x="1763096" y="2468336"/>
                  </a:lnTo>
                  <a:lnTo>
                    <a:pt x="1758328" y="2463570"/>
                  </a:lnTo>
                  <a:lnTo>
                    <a:pt x="1763096" y="2458806"/>
                  </a:lnTo>
                  <a:lnTo>
                    <a:pt x="1767860" y="2463570"/>
                  </a:lnTo>
                  <a:lnTo>
                    <a:pt x="1796452" y="2449276"/>
                  </a:lnTo>
                  <a:lnTo>
                    <a:pt x="1834572" y="2430214"/>
                  </a:lnTo>
                  <a:lnTo>
                    <a:pt x="1839336" y="2425450"/>
                  </a:lnTo>
                  <a:lnTo>
                    <a:pt x="1829808" y="2411154"/>
                  </a:lnTo>
                  <a:lnTo>
                    <a:pt x="1834572" y="2406390"/>
                  </a:lnTo>
                  <a:lnTo>
                    <a:pt x="1858396" y="2415920"/>
                  </a:lnTo>
                  <a:lnTo>
                    <a:pt x="1882224" y="2401624"/>
                  </a:lnTo>
                  <a:close/>
                  <a:moveTo>
                    <a:pt x="90536" y="0"/>
                  </a:moveTo>
                  <a:lnTo>
                    <a:pt x="109596" y="19060"/>
                  </a:lnTo>
                  <a:lnTo>
                    <a:pt x="119128" y="23826"/>
                  </a:lnTo>
                  <a:lnTo>
                    <a:pt x="123892" y="23826"/>
                  </a:lnTo>
                  <a:lnTo>
                    <a:pt x="128656" y="28590"/>
                  </a:lnTo>
                  <a:lnTo>
                    <a:pt x="152484" y="71476"/>
                  </a:lnTo>
                  <a:lnTo>
                    <a:pt x="162012" y="85772"/>
                  </a:lnTo>
                  <a:lnTo>
                    <a:pt x="171544" y="95302"/>
                  </a:lnTo>
                  <a:lnTo>
                    <a:pt x="176308" y="104832"/>
                  </a:lnTo>
                  <a:lnTo>
                    <a:pt x="181072" y="114364"/>
                  </a:lnTo>
                  <a:lnTo>
                    <a:pt x="190604" y="119128"/>
                  </a:lnTo>
                  <a:lnTo>
                    <a:pt x="204900" y="128658"/>
                  </a:lnTo>
                  <a:lnTo>
                    <a:pt x="214428" y="138188"/>
                  </a:lnTo>
                  <a:lnTo>
                    <a:pt x="228724" y="157250"/>
                  </a:lnTo>
                  <a:lnTo>
                    <a:pt x="243020" y="162014"/>
                  </a:lnTo>
                  <a:lnTo>
                    <a:pt x="295436" y="176310"/>
                  </a:lnTo>
                  <a:lnTo>
                    <a:pt x="328792" y="181074"/>
                  </a:lnTo>
                  <a:lnTo>
                    <a:pt x="333556" y="181074"/>
                  </a:lnTo>
                  <a:lnTo>
                    <a:pt x="357384" y="176310"/>
                  </a:lnTo>
                  <a:lnTo>
                    <a:pt x="385972" y="176310"/>
                  </a:lnTo>
                  <a:lnTo>
                    <a:pt x="395504" y="176310"/>
                  </a:lnTo>
                  <a:lnTo>
                    <a:pt x="433624" y="138188"/>
                  </a:lnTo>
                  <a:lnTo>
                    <a:pt x="443156" y="128658"/>
                  </a:lnTo>
                  <a:lnTo>
                    <a:pt x="462216" y="119128"/>
                  </a:lnTo>
                  <a:lnTo>
                    <a:pt x="476512" y="104832"/>
                  </a:lnTo>
                  <a:lnTo>
                    <a:pt x="495572" y="85772"/>
                  </a:lnTo>
                  <a:lnTo>
                    <a:pt x="519396" y="71476"/>
                  </a:lnTo>
                  <a:lnTo>
                    <a:pt x="538456" y="57182"/>
                  </a:lnTo>
                  <a:lnTo>
                    <a:pt x="557516" y="47652"/>
                  </a:lnTo>
                  <a:lnTo>
                    <a:pt x="586108" y="23826"/>
                  </a:lnTo>
                  <a:lnTo>
                    <a:pt x="605168" y="19060"/>
                  </a:lnTo>
                  <a:lnTo>
                    <a:pt x="619464" y="19060"/>
                  </a:lnTo>
                  <a:lnTo>
                    <a:pt x="643292" y="42886"/>
                  </a:lnTo>
                  <a:lnTo>
                    <a:pt x="667116" y="66712"/>
                  </a:lnTo>
                  <a:lnTo>
                    <a:pt x="671880" y="76242"/>
                  </a:lnTo>
                  <a:lnTo>
                    <a:pt x="662352" y="85772"/>
                  </a:lnTo>
                  <a:lnTo>
                    <a:pt x="643292" y="95302"/>
                  </a:lnTo>
                  <a:lnTo>
                    <a:pt x="638524" y="100068"/>
                  </a:lnTo>
                  <a:lnTo>
                    <a:pt x="638524" y="109598"/>
                  </a:lnTo>
                  <a:lnTo>
                    <a:pt x="638524" y="114364"/>
                  </a:lnTo>
                  <a:lnTo>
                    <a:pt x="638524" y="123894"/>
                  </a:lnTo>
                  <a:lnTo>
                    <a:pt x="662352" y="138188"/>
                  </a:lnTo>
                  <a:lnTo>
                    <a:pt x="667116" y="142954"/>
                  </a:lnTo>
                  <a:lnTo>
                    <a:pt x="667116" y="152484"/>
                  </a:lnTo>
                  <a:lnTo>
                    <a:pt x="662352" y="157250"/>
                  </a:lnTo>
                  <a:lnTo>
                    <a:pt x="657584" y="162014"/>
                  </a:lnTo>
                  <a:lnTo>
                    <a:pt x="643292" y="166780"/>
                  </a:lnTo>
                  <a:lnTo>
                    <a:pt x="628996" y="171544"/>
                  </a:lnTo>
                  <a:lnTo>
                    <a:pt x="624228" y="176310"/>
                  </a:lnTo>
                  <a:lnTo>
                    <a:pt x="619464" y="181074"/>
                  </a:lnTo>
                  <a:lnTo>
                    <a:pt x="619464" y="185840"/>
                  </a:lnTo>
                  <a:lnTo>
                    <a:pt x="624228" y="195370"/>
                  </a:lnTo>
                  <a:lnTo>
                    <a:pt x="652820" y="214430"/>
                  </a:lnTo>
                  <a:lnTo>
                    <a:pt x="657584" y="219196"/>
                  </a:lnTo>
                  <a:lnTo>
                    <a:pt x="662352" y="228726"/>
                  </a:lnTo>
                  <a:lnTo>
                    <a:pt x="667116" y="233492"/>
                  </a:lnTo>
                  <a:lnTo>
                    <a:pt x="681412" y="238256"/>
                  </a:lnTo>
                  <a:lnTo>
                    <a:pt x="686176" y="238256"/>
                  </a:lnTo>
                  <a:lnTo>
                    <a:pt x="714768" y="276378"/>
                  </a:lnTo>
                  <a:lnTo>
                    <a:pt x="719532" y="276378"/>
                  </a:lnTo>
                  <a:lnTo>
                    <a:pt x="752888" y="271612"/>
                  </a:lnTo>
                  <a:lnTo>
                    <a:pt x="757652" y="271612"/>
                  </a:lnTo>
                  <a:lnTo>
                    <a:pt x="757652" y="276378"/>
                  </a:lnTo>
                  <a:lnTo>
                    <a:pt x="762420" y="328794"/>
                  </a:lnTo>
                  <a:lnTo>
                    <a:pt x="767184" y="352620"/>
                  </a:lnTo>
                  <a:lnTo>
                    <a:pt x="771948" y="376446"/>
                  </a:lnTo>
                  <a:lnTo>
                    <a:pt x="781480" y="400270"/>
                  </a:lnTo>
                  <a:lnTo>
                    <a:pt x="791008" y="424096"/>
                  </a:lnTo>
                  <a:lnTo>
                    <a:pt x="805304" y="433626"/>
                  </a:lnTo>
                  <a:lnTo>
                    <a:pt x="833896" y="452688"/>
                  </a:lnTo>
                  <a:lnTo>
                    <a:pt x="852956" y="457452"/>
                  </a:lnTo>
                  <a:lnTo>
                    <a:pt x="891076" y="457452"/>
                  </a:lnTo>
                  <a:lnTo>
                    <a:pt x="929196" y="466982"/>
                  </a:lnTo>
                  <a:lnTo>
                    <a:pt x="953024" y="471748"/>
                  </a:lnTo>
                  <a:lnTo>
                    <a:pt x="962552" y="476512"/>
                  </a:lnTo>
                  <a:lnTo>
                    <a:pt x="967320" y="486042"/>
                  </a:lnTo>
                  <a:lnTo>
                    <a:pt x="986380" y="524164"/>
                  </a:lnTo>
                  <a:lnTo>
                    <a:pt x="1014968" y="552754"/>
                  </a:lnTo>
                  <a:lnTo>
                    <a:pt x="1076916" y="590876"/>
                  </a:lnTo>
                  <a:lnTo>
                    <a:pt x="1110272" y="605172"/>
                  </a:lnTo>
                  <a:lnTo>
                    <a:pt x="1210340" y="628996"/>
                  </a:lnTo>
                  <a:lnTo>
                    <a:pt x="1277052" y="628996"/>
                  </a:lnTo>
                  <a:lnTo>
                    <a:pt x="1462892" y="581346"/>
                  </a:lnTo>
                  <a:lnTo>
                    <a:pt x="1520072" y="567050"/>
                  </a:lnTo>
                  <a:lnTo>
                    <a:pt x="1543900" y="567050"/>
                  </a:lnTo>
                  <a:lnTo>
                    <a:pt x="1529604" y="576580"/>
                  </a:lnTo>
                  <a:lnTo>
                    <a:pt x="1510544" y="581346"/>
                  </a:lnTo>
                  <a:lnTo>
                    <a:pt x="1520072" y="590876"/>
                  </a:lnTo>
                  <a:lnTo>
                    <a:pt x="1543900" y="590876"/>
                  </a:lnTo>
                  <a:lnTo>
                    <a:pt x="1553428" y="590876"/>
                  </a:lnTo>
                  <a:lnTo>
                    <a:pt x="1562960" y="581346"/>
                  </a:lnTo>
                  <a:lnTo>
                    <a:pt x="1562960" y="571816"/>
                  </a:lnTo>
                  <a:lnTo>
                    <a:pt x="1562960" y="562286"/>
                  </a:lnTo>
                  <a:lnTo>
                    <a:pt x="1553428" y="519398"/>
                  </a:lnTo>
                  <a:lnTo>
                    <a:pt x="1543900" y="486042"/>
                  </a:lnTo>
                  <a:lnTo>
                    <a:pt x="1586784" y="486042"/>
                  </a:lnTo>
                  <a:lnTo>
                    <a:pt x="1605844" y="486042"/>
                  </a:lnTo>
                  <a:lnTo>
                    <a:pt x="1629672" y="471748"/>
                  </a:lnTo>
                  <a:lnTo>
                    <a:pt x="1648732" y="466982"/>
                  </a:lnTo>
                  <a:lnTo>
                    <a:pt x="1658264" y="466982"/>
                  </a:lnTo>
                  <a:lnTo>
                    <a:pt x="1667792" y="462218"/>
                  </a:lnTo>
                  <a:lnTo>
                    <a:pt x="1677324" y="452688"/>
                  </a:lnTo>
                  <a:lnTo>
                    <a:pt x="1691616" y="409800"/>
                  </a:lnTo>
                  <a:lnTo>
                    <a:pt x="1701148" y="400270"/>
                  </a:lnTo>
                  <a:lnTo>
                    <a:pt x="1724972" y="376446"/>
                  </a:lnTo>
                  <a:lnTo>
                    <a:pt x="1748800" y="362150"/>
                  </a:lnTo>
                  <a:lnTo>
                    <a:pt x="1772624" y="347854"/>
                  </a:lnTo>
                  <a:lnTo>
                    <a:pt x="1805980" y="338324"/>
                  </a:lnTo>
                  <a:lnTo>
                    <a:pt x="1844104" y="338324"/>
                  </a:lnTo>
                  <a:lnTo>
                    <a:pt x="1877456" y="343090"/>
                  </a:lnTo>
                  <a:lnTo>
                    <a:pt x="1896520" y="343090"/>
                  </a:lnTo>
                  <a:lnTo>
                    <a:pt x="1906048" y="343090"/>
                  </a:lnTo>
                  <a:lnTo>
                    <a:pt x="1915580" y="338324"/>
                  </a:lnTo>
                  <a:lnTo>
                    <a:pt x="1920344" y="319264"/>
                  </a:lnTo>
                  <a:lnTo>
                    <a:pt x="1929876" y="314498"/>
                  </a:lnTo>
                  <a:lnTo>
                    <a:pt x="1939404" y="304968"/>
                  </a:lnTo>
                  <a:lnTo>
                    <a:pt x="1953700" y="304968"/>
                  </a:lnTo>
                  <a:lnTo>
                    <a:pt x="1977524" y="304968"/>
                  </a:lnTo>
                  <a:lnTo>
                    <a:pt x="1991820" y="304968"/>
                  </a:lnTo>
                  <a:lnTo>
                    <a:pt x="2010880" y="314498"/>
                  </a:lnTo>
                  <a:lnTo>
                    <a:pt x="2039472" y="314498"/>
                  </a:lnTo>
                  <a:lnTo>
                    <a:pt x="2058532" y="314498"/>
                  </a:lnTo>
                  <a:lnTo>
                    <a:pt x="2068064" y="319264"/>
                  </a:lnTo>
                  <a:lnTo>
                    <a:pt x="2072828" y="328794"/>
                  </a:lnTo>
                  <a:lnTo>
                    <a:pt x="2077592" y="338324"/>
                  </a:lnTo>
                  <a:lnTo>
                    <a:pt x="2077592" y="347854"/>
                  </a:lnTo>
                  <a:lnTo>
                    <a:pt x="2077592" y="357384"/>
                  </a:lnTo>
                  <a:lnTo>
                    <a:pt x="2082360" y="362150"/>
                  </a:lnTo>
                  <a:lnTo>
                    <a:pt x="2091888" y="366914"/>
                  </a:lnTo>
                  <a:lnTo>
                    <a:pt x="2106184" y="371680"/>
                  </a:lnTo>
                  <a:lnTo>
                    <a:pt x="2139540" y="376446"/>
                  </a:lnTo>
                  <a:lnTo>
                    <a:pt x="2168132" y="385976"/>
                  </a:lnTo>
                  <a:lnTo>
                    <a:pt x="2182424" y="390740"/>
                  </a:lnTo>
                  <a:lnTo>
                    <a:pt x="2201488" y="400270"/>
                  </a:lnTo>
                  <a:lnTo>
                    <a:pt x="2225312" y="424096"/>
                  </a:lnTo>
                  <a:lnTo>
                    <a:pt x="2234844" y="428862"/>
                  </a:lnTo>
                  <a:lnTo>
                    <a:pt x="2244372" y="428862"/>
                  </a:lnTo>
                  <a:lnTo>
                    <a:pt x="2253904" y="428862"/>
                  </a:lnTo>
                  <a:lnTo>
                    <a:pt x="2268200" y="419332"/>
                  </a:lnTo>
                  <a:lnTo>
                    <a:pt x="2282492" y="424096"/>
                  </a:lnTo>
                  <a:lnTo>
                    <a:pt x="2292024" y="424096"/>
                  </a:lnTo>
                  <a:lnTo>
                    <a:pt x="2311084" y="419332"/>
                  </a:lnTo>
                  <a:lnTo>
                    <a:pt x="2330144" y="424096"/>
                  </a:lnTo>
                  <a:lnTo>
                    <a:pt x="2377796" y="452688"/>
                  </a:lnTo>
                  <a:lnTo>
                    <a:pt x="2382560" y="452688"/>
                  </a:lnTo>
                  <a:lnTo>
                    <a:pt x="2387328" y="452688"/>
                  </a:lnTo>
                  <a:lnTo>
                    <a:pt x="2392092" y="457452"/>
                  </a:lnTo>
                  <a:lnTo>
                    <a:pt x="2392092" y="466982"/>
                  </a:lnTo>
                  <a:lnTo>
                    <a:pt x="2396856" y="486042"/>
                  </a:lnTo>
                  <a:lnTo>
                    <a:pt x="2411152" y="505104"/>
                  </a:lnTo>
                  <a:lnTo>
                    <a:pt x="2425448" y="519398"/>
                  </a:lnTo>
                  <a:lnTo>
                    <a:pt x="2449272" y="524164"/>
                  </a:lnTo>
                  <a:lnTo>
                    <a:pt x="2487392" y="543224"/>
                  </a:lnTo>
                  <a:lnTo>
                    <a:pt x="2506456" y="562286"/>
                  </a:lnTo>
                  <a:lnTo>
                    <a:pt x="2525516" y="586110"/>
                  </a:lnTo>
                  <a:lnTo>
                    <a:pt x="2544576" y="619466"/>
                  </a:lnTo>
                  <a:lnTo>
                    <a:pt x="2549340" y="624232"/>
                  </a:lnTo>
                  <a:lnTo>
                    <a:pt x="2606524" y="624232"/>
                  </a:lnTo>
                  <a:lnTo>
                    <a:pt x="2668468" y="624232"/>
                  </a:lnTo>
                  <a:lnTo>
                    <a:pt x="2678000" y="638528"/>
                  </a:lnTo>
                  <a:lnTo>
                    <a:pt x="2678000" y="662352"/>
                  </a:lnTo>
                  <a:lnTo>
                    <a:pt x="2678000" y="690944"/>
                  </a:lnTo>
                  <a:lnTo>
                    <a:pt x="2687528" y="710004"/>
                  </a:lnTo>
                  <a:lnTo>
                    <a:pt x="2687528" y="729064"/>
                  </a:lnTo>
                  <a:lnTo>
                    <a:pt x="2678000" y="738594"/>
                  </a:lnTo>
                  <a:lnTo>
                    <a:pt x="2678000" y="748126"/>
                  </a:lnTo>
                  <a:lnTo>
                    <a:pt x="2678000" y="752890"/>
                  </a:lnTo>
                  <a:lnTo>
                    <a:pt x="2682764" y="757656"/>
                  </a:lnTo>
                  <a:lnTo>
                    <a:pt x="2692296" y="771950"/>
                  </a:lnTo>
                  <a:lnTo>
                    <a:pt x="2692296" y="791012"/>
                  </a:lnTo>
                  <a:lnTo>
                    <a:pt x="2687528" y="805306"/>
                  </a:lnTo>
                  <a:lnTo>
                    <a:pt x="2687528" y="814836"/>
                  </a:lnTo>
                  <a:lnTo>
                    <a:pt x="2692296" y="819602"/>
                  </a:lnTo>
                  <a:lnTo>
                    <a:pt x="2697060" y="833898"/>
                  </a:lnTo>
                  <a:lnTo>
                    <a:pt x="2697060" y="843428"/>
                  </a:lnTo>
                  <a:lnTo>
                    <a:pt x="2692296" y="848192"/>
                  </a:lnTo>
                  <a:lnTo>
                    <a:pt x="2687528" y="857722"/>
                  </a:lnTo>
                  <a:lnTo>
                    <a:pt x="2682764" y="872018"/>
                  </a:lnTo>
                  <a:lnTo>
                    <a:pt x="2682764" y="881548"/>
                  </a:lnTo>
                  <a:lnTo>
                    <a:pt x="2673232" y="886314"/>
                  </a:lnTo>
                  <a:lnTo>
                    <a:pt x="2668468" y="886314"/>
                  </a:lnTo>
                  <a:lnTo>
                    <a:pt x="2668468" y="900610"/>
                  </a:lnTo>
                  <a:lnTo>
                    <a:pt x="2673232" y="910140"/>
                  </a:lnTo>
                  <a:lnTo>
                    <a:pt x="2673232" y="919670"/>
                  </a:lnTo>
                  <a:lnTo>
                    <a:pt x="2673232" y="929200"/>
                  </a:lnTo>
                  <a:lnTo>
                    <a:pt x="2668468" y="938730"/>
                  </a:lnTo>
                  <a:lnTo>
                    <a:pt x="2663704" y="953026"/>
                  </a:lnTo>
                  <a:lnTo>
                    <a:pt x="2663704" y="967320"/>
                  </a:lnTo>
                  <a:lnTo>
                    <a:pt x="2658940" y="976852"/>
                  </a:lnTo>
                  <a:lnTo>
                    <a:pt x="2649408" y="986382"/>
                  </a:lnTo>
                  <a:lnTo>
                    <a:pt x="2644644" y="995912"/>
                  </a:lnTo>
                  <a:lnTo>
                    <a:pt x="2644644" y="1005442"/>
                  </a:lnTo>
                  <a:lnTo>
                    <a:pt x="2639880" y="1010206"/>
                  </a:lnTo>
                  <a:lnTo>
                    <a:pt x="2625584" y="1019738"/>
                  </a:lnTo>
                  <a:lnTo>
                    <a:pt x="2620816" y="1024502"/>
                  </a:lnTo>
                  <a:lnTo>
                    <a:pt x="2611288" y="1024502"/>
                  </a:lnTo>
                  <a:lnTo>
                    <a:pt x="2611288" y="1029268"/>
                  </a:lnTo>
                  <a:lnTo>
                    <a:pt x="2611288" y="1034032"/>
                  </a:lnTo>
                  <a:lnTo>
                    <a:pt x="2616052" y="1038798"/>
                  </a:lnTo>
                  <a:lnTo>
                    <a:pt x="2620816" y="1048328"/>
                  </a:lnTo>
                  <a:lnTo>
                    <a:pt x="2635112" y="1067388"/>
                  </a:lnTo>
                  <a:lnTo>
                    <a:pt x="2596992" y="1072154"/>
                  </a:lnTo>
                  <a:lnTo>
                    <a:pt x="2587460" y="1086450"/>
                  </a:lnTo>
                  <a:lnTo>
                    <a:pt x="2573168" y="1110274"/>
                  </a:lnTo>
                  <a:lnTo>
                    <a:pt x="2577932" y="1157926"/>
                  </a:lnTo>
                  <a:lnTo>
                    <a:pt x="2573168" y="1181752"/>
                  </a:lnTo>
                  <a:lnTo>
                    <a:pt x="2573168" y="1196046"/>
                  </a:lnTo>
                  <a:lnTo>
                    <a:pt x="2587460" y="1205578"/>
                  </a:lnTo>
                  <a:lnTo>
                    <a:pt x="2596992" y="1210342"/>
                  </a:lnTo>
                  <a:lnTo>
                    <a:pt x="2620816" y="1210342"/>
                  </a:lnTo>
                  <a:lnTo>
                    <a:pt x="2635112" y="1215108"/>
                  </a:lnTo>
                  <a:lnTo>
                    <a:pt x="2639880" y="1219872"/>
                  </a:lnTo>
                  <a:lnTo>
                    <a:pt x="2630348" y="1229402"/>
                  </a:lnTo>
                  <a:lnTo>
                    <a:pt x="2616052" y="1248464"/>
                  </a:lnTo>
                  <a:lnTo>
                    <a:pt x="2606524" y="1257994"/>
                  </a:lnTo>
                  <a:lnTo>
                    <a:pt x="2582696" y="1291350"/>
                  </a:lnTo>
                  <a:lnTo>
                    <a:pt x="2582696" y="1305644"/>
                  </a:lnTo>
                  <a:lnTo>
                    <a:pt x="2587460" y="1315176"/>
                  </a:lnTo>
                  <a:lnTo>
                    <a:pt x="2596992" y="1353296"/>
                  </a:lnTo>
                  <a:lnTo>
                    <a:pt x="2606524" y="1391418"/>
                  </a:lnTo>
                  <a:lnTo>
                    <a:pt x="2625584" y="1453364"/>
                  </a:lnTo>
                  <a:lnTo>
                    <a:pt x="2625584" y="1472424"/>
                  </a:lnTo>
                  <a:lnTo>
                    <a:pt x="2620816" y="1505780"/>
                  </a:lnTo>
                  <a:lnTo>
                    <a:pt x="2620816" y="1524840"/>
                  </a:lnTo>
                  <a:lnTo>
                    <a:pt x="2620816" y="1548666"/>
                  </a:lnTo>
                  <a:lnTo>
                    <a:pt x="2620816" y="1562962"/>
                  </a:lnTo>
                  <a:lnTo>
                    <a:pt x="2625584" y="1596318"/>
                  </a:lnTo>
                  <a:lnTo>
                    <a:pt x="2630348" y="1596318"/>
                  </a:lnTo>
                  <a:lnTo>
                    <a:pt x="2668468" y="1601082"/>
                  </a:lnTo>
                  <a:lnTo>
                    <a:pt x="2706592" y="1605848"/>
                  </a:lnTo>
                  <a:lnTo>
                    <a:pt x="2754240" y="1615378"/>
                  </a:lnTo>
                  <a:lnTo>
                    <a:pt x="2768536" y="1634438"/>
                  </a:lnTo>
                  <a:lnTo>
                    <a:pt x="2778068" y="1672560"/>
                  </a:lnTo>
                  <a:lnTo>
                    <a:pt x="2778068" y="1701150"/>
                  </a:lnTo>
                  <a:lnTo>
                    <a:pt x="2773300" y="1715446"/>
                  </a:lnTo>
                  <a:lnTo>
                    <a:pt x="2739944" y="1758332"/>
                  </a:lnTo>
                  <a:lnTo>
                    <a:pt x="2701824" y="1801218"/>
                  </a:lnTo>
                  <a:lnTo>
                    <a:pt x="2668468" y="1844104"/>
                  </a:lnTo>
                  <a:lnTo>
                    <a:pt x="2630348" y="1886990"/>
                  </a:lnTo>
                  <a:lnTo>
                    <a:pt x="2625584" y="1891756"/>
                  </a:lnTo>
                  <a:lnTo>
                    <a:pt x="2658940" y="1925112"/>
                  </a:lnTo>
                  <a:lnTo>
                    <a:pt x="2673232" y="1948938"/>
                  </a:lnTo>
                  <a:lnTo>
                    <a:pt x="2701824" y="1977528"/>
                  </a:lnTo>
                  <a:lnTo>
                    <a:pt x="2706592" y="1987058"/>
                  </a:lnTo>
                  <a:lnTo>
                    <a:pt x="2706592" y="1996588"/>
                  </a:lnTo>
                  <a:lnTo>
                    <a:pt x="2730416" y="2044240"/>
                  </a:lnTo>
                  <a:lnTo>
                    <a:pt x="2739944" y="2068066"/>
                  </a:lnTo>
                  <a:lnTo>
                    <a:pt x="2749476" y="2082360"/>
                  </a:lnTo>
                  <a:lnTo>
                    <a:pt x="2768536" y="2106186"/>
                  </a:lnTo>
                  <a:lnTo>
                    <a:pt x="2792364" y="2125246"/>
                  </a:lnTo>
                  <a:lnTo>
                    <a:pt x="2811424" y="2134778"/>
                  </a:lnTo>
                  <a:lnTo>
                    <a:pt x="2830484" y="2139542"/>
                  </a:lnTo>
                  <a:lnTo>
                    <a:pt x="2863840" y="2149072"/>
                  </a:lnTo>
                  <a:lnTo>
                    <a:pt x="2873368" y="2158602"/>
                  </a:lnTo>
                  <a:lnTo>
                    <a:pt x="2897196" y="2182428"/>
                  </a:lnTo>
                  <a:lnTo>
                    <a:pt x="2921020" y="2177664"/>
                  </a:lnTo>
                  <a:lnTo>
                    <a:pt x="2925784" y="2177664"/>
                  </a:lnTo>
                  <a:lnTo>
                    <a:pt x="2925784" y="2187194"/>
                  </a:lnTo>
                  <a:lnTo>
                    <a:pt x="2925784" y="2225314"/>
                  </a:lnTo>
                  <a:lnTo>
                    <a:pt x="2930552" y="2258670"/>
                  </a:lnTo>
                  <a:lnTo>
                    <a:pt x="2935316" y="2311086"/>
                  </a:lnTo>
                  <a:lnTo>
                    <a:pt x="2935316" y="2320618"/>
                  </a:lnTo>
                  <a:lnTo>
                    <a:pt x="2925784" y="2334912"/>
                  </a:lnTo>
                  <a:lnTo>
                    <a:pt x="2925784" y="2344442"/>
                  </a:lnTo>
                  <a:lnTo>
                    <a:pt x="2925784" y="2353974"/>
                  </a:lnTo>
                  <a:lnTo>
                    <a:pt x="2935316" y="2358738"/>
                  </a:lnTo>
                  <a:lnTo>
                    <a:pt x="2949612" y="2363504"/>
                  </a:lnTo>
                  <a:lnTo>
                    <a:pt x="2992496" y="2353974"/>
                  </a:lnTo>
                  <a:lnTo>
                    <a:pt x="2997264" y="2353974"/>
                  </a:lnTo>
                  <a:lnTo>
                    <a:pt x="3002028" y="2363504"/>
                  </a:lnTo>
                  <a:lnTo>
                    <a:pt x="3011560" y="2373034"/>
                  </a:lnTo>
                  <a:lnTo>
                    <a:pt x="3011560" y="2377798"/>
                  </a:lnTo>
                  <a:lnTo>
                    <a:pt x="3002028" y="2387328"/>
                  </a:lnTo>
                  <a:lnTo>
                    <a:pt x="3002028" y="2401624"/>
                  </a:lnTo>
                  <a:lnTo>
                    <a:pt x="3002028" y="2420684"/>
                  </a:lnTo>
                  <a:lnTo>
                    <a:pt x="3002028" y="2425450"/>
                  </a:lnTo>
                  <a:lnTo>
                    <a:pt x="2992496" y="2430214"/>
                  </a:lnTo>
                  <a:lnTo>
                    <a:pt x="2992496" y="2458806"/>
                  </a:lnTo>
                  <a:lnTo>
                    <a:pt x="2987732" y="2458806"/>
                  </a:lnTo>
                  <a:lnTo>
                    <a:pt x="2978200" y="2463570"/>
                  </a:lnTo>
                  <a:lnTo>
                    <a:pt x="2930552" y="2463570"/>
                  </a:lnTo>
                  <a:lnTo>
                    <a:pt x="2925784" y="2463570"/>
                  </a:lnTo>
                  <a:lnTo>
                    <a:pt x="2906724" y="2468336"/>
                  </a:lnTo>
                  <a:lnTo>
                    <a:pt x="2878136" y="2477866"/>
                  </a:lnTo>
                  <a:lnTo>
                    <a:pt x="2868604" y="2477866"/>
                  </a:lnTo>
                  <a:lnTo>
                    <a:pt x="2859072" y="2487396"/>
                  </a:lnTo>
                  <a:lnTo>
                    <a:pt x="2849544" y="2501692"/>
                  </a:lnTo>
                  <a:lnTo>
                    <a:pt x="2844780" y="2511222"/>
                  </a:lnTo>
                  <a:lnTo>
                    <a:pt x="2825720" y="2511222"/>
                  </a:lnTo>
                  <a:lnTo>
                    <a:pt x="2820952" y="2520752"/>
                  </a:lnTo>
                  <a:lnTo>
                    <a:pt x="2787596" y="2530282"/>
                  </a:lnTo>
                  <a:lnTo>
                    <a:pt x="2782832" y="2535048"/>
                  </a:lnTo>
                  <a:lnTo>
                    <a:pt x="2778068" y="2544578"/>
                  </a:lnTo>
                  <a:lnTo>
                    <a:pt x="2773300" y="2573168"/>
                  </a:lnTo>
                  <a:lnTo>
                    <a:pt x="2768536" y="2601760"/>
                  </a:lnTo>
                  <a:lnTo>
                    <a:pt x="2768536" y="2606524"/>
                  </a:lnTo>
                  <a:lnTo>
                    <a:pt x="2754240" y="2616054"/>
                  </a:lnTo>
                  <a:lnTo>
                    <a:pt x="2754240" y="2625586"/>
                  </a:lnTo>
                  <a:lnTo>
                    <a:pt x="2749476" y="2644646"/>
                  </a:lnTo>
                  <a:lnTo>
                    <a:pt x="2749476" y="2697062"/>
                  </a:lnTo>
                  <a:lnTo>
                    <a:pt x="2744712" y="2711358"/>
                  </a:lnTo>
                  <a:lnTo>
                    <a:pt x="2735180" y="2711358"/>
                  </a:lnTo>
                  <a:lnTo>
                    <a:pt x="2730416" y="2720888"/>
                  </a:lnTo>
                  <a:lnTo>
                    <a:pt x="2716120" y="2730418"/>
                  </a:lnTo>
                  <a:lnTo>
                    <a:pt x="2692296" y="2720888"/>
                  </a:lnTo>
                  <a:lnTo>
                    <a:pt x="2668468" y="2716122"/>
                  </a:lnTo>
                  <a:lnTo>
                    <a:pt x="2596992" y="2697062"/>
                  </a:lnTo>
                  <a:lnTo>
                    <a:pt x="2592228" y="2687532"/>
                  </a:lnTo>
                  <a:lnTo>
                    <a:pt x="2587460" y="2678002"/>
                  </a:lnTo>
                  <a:lnTo>
                    <a:pt x="2573168" y="2673236"/>
                  </a:lnTo>
                  <a:lnTo>
                    <a:pt x="2558872" y="2692298"/>
                  </a:lnTo>
                  <a:lnTo>
                    <a:pt x="2501688" y="2682766"/>
                  </a:lnTo>
                  <a:lnTo>
                    <a:pt x="2477864" y="2682766"/>
                  </a:lnTo>
                  <a:lnTo>
                    <a:pt x="2468332" y="2678002"/>
                  </a:lnTo>
                  <a:lnTo>
                    <a:pt x="2434976" y="2678002"/>
                  </a:lnTo>
                  <a:lnTo>
                    <a:pt x="2411152" y="2663706"/>
                  </a:lnTo>
                  <a:lnTo>
                    <a:pt x="2373032" y="2673236"/>
                  </a:lnTo>
                  <a:lnTo>
                    <a:pt x="2344440" y="2673236"/>
                  </a:lnTo>
                  <a:lnTo>
                    <a:pt x="2306320" y="2649410"/>
                  </a:lnTo>
                  <a:lnTo>
                    <a:pt x="2268200" y="2644646"/>
                  </a:lnTo>
                  <a:lnTo>
                    <a:pt x="2234844" y="2644646"/>
                  </a:lnTo>
                  <a:lnTo>
                    <a:pt x="2215780" y="2644646"/>
                  </a:lnTo>
                  <a:lnTo>
                    <a:pt x="2187192" y="2635116"/>
                  </a:lnTo>
                  <a:lnTo>
                    <a:pt x="2172896" y="2625586"/>
                  </a:lnTo>
                  <a:lnTo>
                    <a:pt x="2149072" y="2635116"/>
                  </a:lnTo>
                  <a:lnTo>
                    <a:pt x="2139540" y="2620820"/>
                  </a:lnTo>
                  <a:lnTo>
                    <a:pt x="2077592" y="2611290"/>
                  </a:lnTo>
                  <a:lnTo>
                    <a:pt x="2068064" y="2587464"/>
                  </a:lnTo>
                  <a:lnTo>
                    <a:pt x="2058532" y="2568404"/>
                  </a:lnTo>
                  <a:lnTo>
                    <a:pt x="2058532" y="2544578"/>
                  </a:lnTo>
                  <a:lnTo>
                    <a:pt x="2044236" y="2511222"/>
                  </a:lnTo>
                  <a:lnTo>
                    <a:pt x="2039472" y="2454040"/>
                  </a:lnTo>
                  <a:lnTo>
                    <a:pt x="2034708" y="2434980"/>
                  </a:lnTo>
                  <a:lnTo>
                    <a:pt x="2025176" y="2415920"/>
                  </a:lnTo>
                  <a:lnTo>
                    <a:pt x="2010880" y="2401624"/>
                  </a:lnTo>
                  <a:lnTo>
                    <a:pt x="1996584" y="2382564"/>
                  </a:lnTo>
                  <a:lnTo>
                    <a:pt x="1987056" y="2377798"/>
                  </a:lnTo>
                  <a:lnTo>
                    <a:pt x="1925108" y="2363504"/>
                  </a:lnTo>
                  <a:lnTo>
                    <a:pt x="1915580" y="2368268"/>
                  </a:lnTo>
                  <a:lnTo>
                    <a:pt x="1891752" y="2373034"/>
                  </a:lnTo>
                  <a:lnTo>
                    <a:pt x="1863164" y="2392094"/>
                  </a:lnTo>
                  <a:lnTo>
                    <a:pt x="1815512" y="2401624"/>
                  </a:lnTo>
                  <a:lnTo>
                    <a:pt x="1805980" y="2411154"/>
                  </a:lnTo>
                  <a:lnTo>
                    <a:pt x="1796452" y="2430214"/>
                  </a:lnTo>
                  <a:lnTo>
                    <a:pt x="1782156" y="2439746"/>
                  </a:lnTo>
                  <a:lnTo>
                    <a:pt x="1758328" y="2434980"/>
                  </a:lnTo>
                  <a:lnTo>
                    <a:pt x="1739268" y="2449276"/>
                  </a:lnTo>
                  <a:lnTo>
                    <a:pt x="1696384" y="2477866"/>
                  </a:lnTo>
                  <a:lnTo>
                    <a:pt x="1677324" y="2487396"/>
                  </a:lnTo>
                  <a:lnTo>
                    <a:pt x="1658264" y="2487396"/>
                  </a:lnTo>
                  <a:lnTo>
                    <a:pt x="1639200" y="2473102"/>
                  </a:lnTo>
                  <a:lnTo>
                    <a:pt x="1596316" y="2454040"/>
                  </a:lnTo>
                  <a:lnTo>
                    <a:pt x="1567724" y="2444510"/>
                  </a:lnTo>
                  <a:lnTo>
                    <a:pt x="1529604" y="2449276"/>
                  </a:lnTo>
                  <a:lnTo>
                    <a:pt x="1510544" y="2449276"/>
                  </a:lnTo>
                  <a:lnTo>
                    <a:pt x="1481952" y="2425450"/>
                  </a:lnTo>
                  <a:lnTo>
                    <a:pt x="1472424" y="2411154"/>
                  </a:lnTo>
                  <a:lnTo>
                    <a:pt x="1458128" y="2396858"/>
                  </a:lnTo>
                  <a:lnTo>
                    <a:pt x="1400944" y="2373034"/>
                  </a:lnTo>
                  <a:lnTo>
                    <a:pt x="1353296" y="2344442"/>
                  </a:lnTo>
                  <a:lnTo>
                    <a:pt x="1343764" y="2330148"/>
                  </a:lnTo>
                  <a:lnTo>
                    <a:pt x="1339000" y="2311086"/>
                  </a:lnTo>
                  <a:lnTo>
                    <a:pt x="1319940" y="2292026"/>
                  </a:lnTo>
                  <a:lnTo>
                    <a:pt x="1277052" y="2272966"/>
                  </a:lnTo>
                  <a:lnTo>
                    <a:pt x="1248460" y="2253906"/>
                  </a:lnTo>
                  <a:lnTo>
                    <a:pt x="1219872" y="2249140"/>
                  </a:lnTo>
                  <a:lnTo>
                    <a:pt x="1196044" y="2249140"/>
                  </a:lnTo>
                  <a:lnTo>
                    <a:pt x="1181748" y="2249140"/>
                  </a:lnTo>
                  <a:lnTo>
                    <a:pt x="1172220" y="2239610"/>
                  </a:lnTo>
                  <a:lnTo>
                    <a:pt x="1134100" y="2201488"/>
                  </a:lnTo>
                  <a:lnTo>
                    <a:pt x="1134100" y="2187194"/>
                  </a:lnTo>
                  <a:lnTo>
                    <a:pt x="1110272" y="2144308"/>
                  </a:lnTo>
                  <a:lnTo>
                    <a:pt x="1105508" y="2134778"/>
                  </a:lnTo>
                  <a:lnTo>
                    <a:pt x="1100744" y="2096656"/>
                  </a:lnTo>
                  <a:lnTo>
                    <a:pt x="1091212" y="2087126"/>
                  </a:lnTo>
                  <a:lnTo>
                    <a:pt x="1067388" y="2068066"/>
                  </a:lnTo>
                  <a:lnTo>
                    <a:pt x="1067388" y="2058534"/>
                  </a:lnTo>
                  <a:lnTo>
                    <a:pt x="1072152" y="2044240"/>
                  </a:lnTo>
                  <a:lnTo>
                    <a:pt x="1072152" y="2034710"/>
                  </a:lnTo>
                  <a:lnTo>
                    <a:pt x="1057856" y="2025180"/>
                  </a:lnTo>
                  <a:lnTo>
                    <a:pt x="1038796" y="2020414"/>
                  </a:lnTo>
                  <a:lnTo>
                    <a:pt x="1034032" y="2006118"/>
                  </a:lnTo>
                  <a:lnTo>
                    <a:pt x="1038796" y="1982294"/>
                  </a:lnTo>
                  <a:lnTo>
                    <a:pt x="1034032" y="1972762"/>
                  </a:lnTo>
                  <a:lnTo>
                    <a:pt x="1019736" y="1948938"/>
                  </a:lnTo>
                  <a:lnTo>
                    <a:pt x="995908" y="1925112"/>
                  </a:lnTo>
                  <a:lnTo>
                    <a:pt x="972084" y="1891756"/>
                  </a:lnTo>
                  <a:lnTo>
                    <a:pt x="962552" y="1882226"/>
                  </a:lnTo>
                  <a:lnTo>
                    <a:pt x="953024" y="1858400"/>
                  </a:lnTo>
                  <a:lnTo>
                    <a:pt x="943492" y="1829808"/>
                  </a:lnTo>
                  <a:lnTo>
                    <a:pt x="929196" y="1829808"/>
                  </a:lnTo>
                  <a:lnTo>
                    <a:pt x="862484" y="1863164"/>
                  </a:lnTo>
                  <a:lnTo>
                    <a:pt x="843424" y="1844104"/>
                  </a:lnTo>
                  <a:lnTo>
                    <a:pt x="786244" y="1810748"/>
                  </a:lnTo>
                  <a:lnTo>
                    <a:pt x="781480" y="1805984"/>
                  </a:lnTo>
                  <a:lnTo>
                    <a:pt x="776712" y="1796454"/>
                  </a:lnTo>
                  <a:lnTo>
                    <a:pt x="786244" y="1796454"/>
                  </a:lnTo>
                  <a:lnTo>
                    <a:pt x="791008" y="1791688"/>
                  </a:lnTo>
                  <a:lnTo>
                    <a:pt x="805304" y="1796454"/>
                  </a:lnTo>
                  <a:lnTo>
                    <a:pt x="814836" y="1791688"/>
                  </a:lnTo>
                  <a:lnTo>
                    <a:pt x="814836" y="1782158"/>
                  </a:lnTo>
                  <a:lnTo>
                    <a:pt x="795776" y="1772628"/>
                  </a:lnTo>
                  <a:lnTo>
                    <a:pt x="776712" y="1772628"/>
                  </a:lnTo>
                  <a:lnTo>
                    <a:pt x="781480" y="1786922"/>
                  </a:lnTo>
                  <a:lnTo>
                    <a:pt x="767184" y="1796454"/>
                  </a:lnTo>
                  <a:lnTo>
                    <a:pt x="762420" y="1805984"/>
                  </a:lnTo>
                  <a:lnTo>
                    <a:pt x="762420" y="1820278"/>
                  </a:lnTo>
                  <a:lnTo>
                    <a:pt x="767184" y="1844104"/>
                  </a:lnTo>
                  <a:lnTo>
                    <a:pt x="757652" y="1853634"/>
                  </a:lnTo>
                  <a:lnTo>
                    <a:pt x="752888" y="1858400"/>
                  </a:lnTo>
                  <a:lnTo>
                    <a:pt x="724296" y="1863164"/>
                  </a:lnTo>
                  <a:lnTo>
                    <a:pt x="714768" y="1872696"/>
                  </a:lnTo>
                  <a:lnTo>
                    <a:pt x="705236" y="1872696"/>
                  </a:lnTo>
                  <a:lnTo>
                    <a:pt x="695708" y="1863164"/>
                  </a:lnTo>
                  <a:lnTo>
                    <a:pt x="690940" y="1858400"/>
                  </a:lnTo>
                  <a:lnTo>
                    <a:pt x="681412" y="1844104"/>
                  </a:lnTo>
                  <a:lnTo>
                    <a:pt x="681412" y="1839340"/>
                  </a:lnTo>
                  <a:lnTo>
                    <a:pt x="686176" y="1834574"/>
                  </a:lnTo>
                  <a:lnTo>
                    <a:pt x="681412" y="1825044"/>
                  </a:lnTo>
                  <a:lnTo>
                    <a:pt x="671880" y="1815514"/>
                  </a:lnTo>
                  <a:lnTo>
                    <a:pt x="662352" y="1810748"/>
                  </a:lnTo>
                  <a:lnTo>
                    <a:pt x="657584" y="1805984"/>
                  </a:lnTo>
                  <a:lnTo>
                    <a:pt x="648056" y="1801218"/>
                  </a:lnTo>
                  <a:lnTo>
                    <a:pt x="643292" y="1791688"/>
                  </a:lnTo>
                  <a:lnTo>
                    <a:pt x="633760" y="1782158"/>
                  </a:lnTo>
                  <a:lnTo>
                    <a:pt x="624228" y="1782158"/>
                  </a:lnTo>
                  <a:lnTo>
                    <a:pt x="624228" y="1748802"/>
                  </a:lnTo>
                  <a:lnTo>
                    <a:pt x="624228" y="1715446"/>
                  </a:lnTo>
                  <a:lnTo>
                    <a:pt x="624228" y="1686856"/>
                  </a:lnTo>
                  <a:lnTo>
                    <a:pt x="595640" y="1686856"/>
                  </a:lnTo>
                  <a:lnTo>
                    <a:pt x="571812" y="1682090"/>
                  </a:lnTo>
                  <a:lnTo>
                    <a:pt x="571812" y="1610614"/>
                  </a:lnTo>
                  <a:lnTo>
                    <a:pt x="581344" y="1572492"/>
                  </a:lnTo>
                  <a:lnTo>
                    <a:pt x="595640" y="1539136"/>
                  </a:lnTo>
                  <a:lnTo>
                    <a:pt x="576580" y="1515310"/>
                  </a:lnTo>
                  <a:lnTo>
                    <a:pt x="557516" y="1486720"/>
                  </a:lnTo>
                  <a:lnTo>
                    <a:pt x="543224" y="1472424"/>
                  </a:lnTo>
                  <a:lnTo>
                    <a:pt x="528928" y="1439068"/>
                  </a:lnTo>
                  <a:lnTo>
                    <a:pt x="524160" y="1424774"/>
                  </a:lnTo>
                  <a:lnTo>
                    <a:pt x="514632" y="1415242"/>
                  </a:lnTo>
                  <a:lnTo>
                    <a:pt x="509868" y="1415242"/>
                  </a:lnTo>
                  <a:lnTo>
                    <a:pt x="486040" y="1415242"/>
                  </a:lnTo>
                  <a:lnTo>
                    <a:pt x="462216" y="1396182"/>
                  </a:lnTo>
                  <a:lnTo>
                    <a:pt x="433624" y="1372356"/>
                  </a:lnTo>
                  <a:lnTo>
                    <a:pt x="400268" y="1348530"/>
                  </a:lnTo>
                  <a:lnTo>
                    <a:pt x="366912" y="1329470"/>
                  </a:lnTo>
                  <a:lnTo>
                    <a:pt x="357384" y="1324706"/>
                  </a:lnTo>
                  <a:lnTo>
                    <a:pt x="328792" y="1324706"/>
                  </a:lnTo>
                  <a:lnTo>
                    <a:pt x="324028" y="1319940"/>
                  </a:lnTo>
                  <a:lnTo>
                    <a:pt x="324028" y="1310410"/>
                  </a:lnTo>
                  <a:lnTo>
                    <a:pt x="324028" y="1300880"/>
                  </a:lnTo>
                  <a:lnTo>
                    <a:pt x="328792" y="1286584"/>
                  </a:lnTo>
                  <a:lnTo>
                    <a:pt x="333556" y="1272290"/>
                  </a:lnTo>
                  <a:lnTo>
                    <a:pt x="309732" y="1238934"/>
                  </a:lnTo>
                  <a:lnTo>
                    <a:pt x="304968" y="1229402"/>
                  </a:lnTo>
                  <a:lnTo>
                    <a:pt x="290672" y="1224638"/>
                  </a:lnTo>
                  <a:lnTo>
                    <a:pt x="290672" y="1215108"/>
                  </a:lnTo>
                  <a:lnTo>
                    <a:pt x="290672" y="1210342"/>
                  </a:lnTo>
                  <a:lnTo>
                    <a:pt x="290672" y="1200812"/>
                  </a:lnTo>
                  <a:lnTo>
                    <a:pt x="285904" y="1200812"/>
                  </a:lnTo>
                  <a:lnTo>
                    <a:pt x="281140" y="1200812"/>
                  </a:lnTo>
                  <a:lnTo>
                    <a:pt x="266844" y="1205578"/>
                  </a:lnTo>
                  <a:lnTo>
                    <a:pt x="257316" y="1186516"/>
                  </a:lnTo>
                  <a:lnTo>
                    <a:pt x="228724" y="1143630"/>
                  </a:lnTo>
                  <a:lnTo>
                    <a:pt x="214428" y="1138866"/>
                  </a:lnTo>
                  <a:lnTo>
                    <a:pt x="214428" y="1134100"/>
                  </a:lnTo>
                  <a:lnTo>
                    <a:pt x="223960" y="1119806"/>
                  </a:lnTo>
                  <a:lnTo>
                    <a:pt x="233488" y="1100744"/>
                  </a:lnTo>
                  <a:lnTo>
                    <a:pt x="238256" y="1086450"/>
                  </a:lnTo>
                  <a:lnTo>
                    <a:pt x="233488" y="1076918"/>
                  </a:lnTo>
                  <a:lnTo>
                    <a:pt x="219192" y="1053094"/>
                  </a:lnTo>
                  <a:lnTo>
                    <a:pt x="223960" y="1038798"/>
                  </a:lnTo>
                  <a:lnTo>
                    <a:pt x="228724" y="1029268"/>
                  </a:lnTo>
                  <a:lnTo>
                    <a:pt x="228724" y="1019738"/>
                  </a:lnTo>
                  <a:lnTo>
                    <a:pt x="238256" y="1019738"/>
                  </a:lnTo>
                  <a:lnTo>
                    <a:pt x="252548" y="1019738"/>
                  </a:lnTo>
                  <a:lnTo>
                    <a:pt x="257316" y="1014972"/>
                  </a:lnTo>
                  <a:lnTo>
                    <a:pt x="257316" y="986382"/>
                  </a:lnTo>
                  <a:lnTo>
                    <a:pt x="257316" y="976852"/>
                  </a:lnTo>
                  <a:lnTo>
                    <a:pt x="295436" y="933966"/>
                  </a:lnTo>
                  <a:lnTo>
                    <a:pt x="314496" y="924434"/>
                  </a:lnTo>
                  <a:lnTo>
                    <a:pt x="328792" y="914904"/>
                  </a:lnTo>
                  <a:lnTo>
                    <a:pt x="333556" y="900610"/>
                  </a:lnTo>
                  <a:lnTo>
                    <a:pt x="328792" y="895844"/>
                  </a:lnTo>
                  <a:lnTo>
                    <a:pt x="328792" y="886314"/>
                  </a:lnTo>
                  <a:lnTo>
                    <a:pt x="328792" y="876784"/>
                  </a:lnTo>
                  <a:lnTo>
                    <a:pt x="309732" y="857722"/>
                  </a:lnTo>
                  <a:lnTo>
                    <a:pt x="304968" y="848192"/>
                  </a:lnTo>
                  <a:lnTo>
                    <a:pt x="304968" y="838662"/>
                  </a:lnTo>
                  <a:lnTo>
                    <a:pt x="309732" y="824368"/>
                  </a:lnTo>
                  <a:lnTo>
                    <a:pt x="314496" y="810072"/>
                  </a:lnTo>
                  <a:lnTo>
                    <a:pt x="338320" y="805306"/>
                  </a:lnTo>
                  <a:lnTo>
                    <a:pt x="347852" y="795776"/>
                  </a:lnTo>
                  <a:lnTo>
                    <a:pt x="352616" y="791012"/>
                  </a:lnTo>
                  <a:lnTo>
                    <a:pt x="333556" y="781480"/>
                  </a:lnTo>
                  <a:lnTo>
                    <a:pt x="300200" y="781480"/>
                  </a:lnTo>
                  <a:lnTo>
                    <a:pt x="276376" y="781480"/>
                  </a:lnTo>
                  <a:lnTo>
                    <a:pt x="266844" y="781480"/>
                  </a:lnTo>
                  <a:lnTo>
                    <a:pt x="252548" y="762420"/>
                  </a:lnTo>
                  <a:lnTo>
                    <a:pt x="243020" y="752890"/>
                  </a:lnTo>
                  <a:lnTo>
                    <a:pt x="228724" y="748126"/>
                  </a:lnTo>
                  <a:lnTo>
                    <a:pt x="214428" y="748126"/>
                  </a:lnTo>
                  <a:lnTo>
                    <a:pt x="209664" y="743360"/>
                  </a:lnTo>
                  <a:lnTo>
                    <a:pt x="209664" y="738594"/>
                  </a:lnTo>
                  <a:lnTo>
                    <a:pt x="190604" y="681414"/>
                  </a:lnTo>
                  <a:lnTo>
                    <a:pt x="185836" y="671882"/>
                  </a:lnTo>
                  <a:lnTo>
                    <a:pt x="176308" y="667118"/>
                  </a:lnTo>
                  <a:lnTo>
                    <a:pt x="171544" y="667118"/>
                  </a:lnTo>
                  <a:lnTo>
                    <a:pt x="166776" y="662352"/>
                  </a:lnTo>
                  <a:lnTo>
                    <a:pt x="162012" y="657588"/>
                  </a:lnTo>
                  <a:lnTo>
                    <a:pt x="157248" y="648058"/>
                  </a:lnTo>
                  <a:lnTo>
                    <a:pt x="157248" y="633762"/>
                  </a:lnTo>
                  <a:lnTo>
                    <a:pt x="157248" y="619466"/>
                  </a:lnTo>
                  <a:lnTo>
                    <a:pt x="157248" y="609936"/>
                  </a:lnTo>
                  <a:lnTo>
                    <a:pt x="147716" y="605172"/>
                  </a:lnTo>
                  <a:lnTo>
                    <a:pt x="142952" y="600406"/>
                  </a:lnTo>
                  <a:lnTo>
                    <a:pt x="133420" y="590876"/>
                  </a:lnTo>
                  <a:lnTo>
                    <a:pt x="123892" y="543224"/>
                  </a:lnTo>
                  <a:lnTo>
                    <a:pt x="114360" y="528930"/>
                  </a:lnTo>
                  <a:lnTo>
                    <a:pt x="114360" y="524164"/>
                  </a:lnTo>
                  <a:lnTo>
                    <a:pt x="119128" y="524164"/>
                  </a:lnTo>
                  <a:lnTo>
                    <a:pt x="114360" y="509868"/>
                  </a:lnTo>
                  <a:lnTo>
                    <a:pt x="119128" y="500338"/>
                  </a:lnTo>
                  <a:lnTo>
                    <a:pt x="119128" y="495574"/>
                  </a:lnTo>
                  <a:lnTo>
                    <a:pt x="109596" y="481278"/>
                  </a:lnTo>
                  <a:lnTo>
                    <a:pt x="90536" y="471748"/>
                  </a:lnTo>
                  <a:lnTo>
                    <a:pt x="85772" y="466982"/>
                  </a:lnTo>
                  <a:lnTo>
                    <a:pt x="85772" y="452688"/>
                  </a:lnTo>
                  <a:lnTo>
                    <a:pt x="85772" y="443156"/>
                  </a:lnTo>
                  <a:lnTo>
                    <a:pt x="85772" y="433626"/>
                  </a:lnTo>
                  <a:lnTo>
                    <a:pt x="81004" y="428862"/>
                  </a:lnTo>
                  <a:lnTo>
                    <a:pt x="81004" y="424096"/>
                  </a:lnTo>
                  <a:lnTo>
                    <a:pt x="90536" y="414566"/>
                  </a:lnTo>
                  <a:lnTo>
                    <a:pt x="85772" y="405036"/>
                  </a:lnTo>
                  <a:lnTo>
                    <a:pt x="57180" y="390740"/>
                  </a:lnTo>
                  <a:lnTo>
                    <a:pt x="47648" y="381210"/>
                  </a:lnTo>
                  <a:lnTo>
                    <a:pt x="33352" y="381210"/>
                  </a:lnTo>
                  <a:lnTo>
                    <a:pt x="28588" y="376446"/>
                  </a:lnTo>
                  <a:lnTo>
                    <a:pt x="33352" y="362150"/>
                  </a:lnTo>
                  <a:lnTo>
                    <a:pt x="38120" y="347854"/>
                  </a:lnTo>
                  <a:lnTo>
                    <a:pt x="47648" y="333558"/>
                  </a:lnTo>
                  <a:lnTo>
                    <a:pt x="52416" y="328794"/>
                  </a:lnTo>
                  <a:lnTo>
                    <a:pt x="52416" y="314498"/>
                  </a:lnTo>
                  <a:lnTo>
                    <a:pt x="57180" y="304968"/>
                  </a:lnTo>
                  <a:lnTo>
                    <a:pt x="66708" y="295438"/>
                  </a:lnTo>
                  <a:lnTo>
                    <a:pt x="66708" y="290672"/>
                  </a:lnTo>
                  <a:lnTo>
                    <a:pt x="61944" y="285908"/>
                  </a:lnTo>
                  <a:lnTo>
                    <a:pt x="57180" y="281142"/>
                  </a:lnTo>
                  <a:lnTo>
                    <a:pt x="47648" y="281142"/>
                  </a:lnTo>
                  <a:lnTo>
                    <a:pt x="42884" y="281142"/>
                  </a:lnTo>
                  <a:lnTo>
                    <a:pt x="42884" y="271612"/>
                  </a:lnTo>
                  <a:lnTo>
                    <a:pt x="42884" y="243022"/>
                  </a:lnTo>
                  <a:lnTo>
                    <a:pt x="42884" y="228726"/>
                  </a:lnTo>
                  <a:lnTo>
                    <a:pt x="38120" y="219196"/>
                  </a:lnTo>
                  <a:lnTo>
                    <a:pt x="38120" y="190606"/>
                  </a:lnTo>
                  <a:lnTo>
                    <a:pt x="33352" y="185840"/>
                  </a:lnTo>
                  <a:lnTo>
                    <a:pt x="23824" y="171544"/>
                  </a:lnTo>
                  <a:lnTo>
                    <a:pt x="19060" y="157250"/>
                  </a:lnTo>
                  <a:lnTo>
                    <a:pt x="19060" y="152484"/>
                  </a:lnTo>
                  <a:lnTo>
                    <a:pt x="23824" y="147718"/>
                  </a:lnTo>
                  <a:lnTo>
                    <a:pt x="23824" y="133424"/>
                  </a:lnTo>
                  <a:lnTo>
                    <a:pt x="23824" y="128658"/>
                  </a:lnTo>
                  <a:lnTo>
                    <a:pt x="14292" y="119128"/>
                  </a:lnTo>
                  <a:lnTo>
                    <a:pt x="9528" y="114364"/>
                  </a:lnTo>
                  <a:lnTo>
                    <a:pt x="9528" y="104832"/>
                  </a:lnTo>
                  <a:lnTo>
                    <a:pt x="4764" y="95302"/>
                  </a:lnTo>
                  <a:lnTo>
                    <a:pt x="0" y="85772"/>
                  </a:lnTo>
                  <a:lnTo>
                    <a:pt x="0" y="81008"/>
                  </a:lnTo>
                  <a:lnTo>
                    <a:pt x="4764" y="76242"/>
                  </a:lnTo>
                  <a:lnTo>
                    <a:pt x="14292" y="76242"/>
                  </a:lnTo>
                  <a:lnTo>
                    <a:pt x="33352" y="76242"/>
                  </a:lnTo>
                  <a:lnTo>
                    <a:pt x="47648" y="76242"/>
                  </a:lnTo>
                  <a:lnTo>
                    <a:pt x="57180" y="71476"/>
                  </a:lnTo>
                  <a:lnTo>
                    <a:pt x="66708" y="23826"/>
                  </a:lnTo>
                  <a:lnTo>
                    <a:pt x="76240" y="953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6" name="Freeform 5377">
              <a:extLst>
                <a:ext uri="{FF2B5EF4-FFF2-40B4-BE49-F238E27FC236}">
                  <a16:creationId xmlns:a16="http://schemas.microsoft.com/office/drawing/2014/main" id="{9C23029F-D578-46AC-A238-CFE674BFFB8E}"/>
                </a:ext>
              </a:extLst>
            </p:cNvPr>
            <p:cNvSpPr/>
            <p:nvPr/>
          </p:nvSpPr>
          <p:spPr bwMode="auto">
            <a:xfrm>
              <a:off x="6278238" y="4390313"/>
              <a:ext cx="246681" cy="251306"/>
            </a:xfrm>
            <a:custGeom>
              <a:avLst/>
              <a:gdLst>
                <a:gd name="T0" fmla="*/ 382 w 640"/>
                <a:gd name="T1" fmla="*/ 16 h 652"/>
                <a:gd name="T2" fmla="*/ 364 w 640"/>
                <a:gd name="T3" fmla="*/ 30 h 652"/>
                <a:gd name="T4" fmla="*/ 356 w 640"/>
                <a:gd name="T5" fmla="*/ 26 h 652"/>
                <a:gd name="T6" fmla="*/ 350 w 640"/>
                <a:gd name="T7" fmla="*/ 6 h 652"/>
                <a:gd name="T8" fmla="*/ 332 w 640"/>
                <a:gd name="T9" fmla="*/ 12 h 652"/>
                <a:gd name="T10" fmla="*/ 298 w 640"/>
                <a:gd name="T11" fmla="*/ 4 h 652"/>
                <a:gd name="T12" fmla="*/ 272 w 640"/>
                <a:gd name="T13" fmla="*/ 4 h 652"/>
                <a:gd name="T14" fmla="*/ 254 w 640"/>
                <a:gd name="T15" fmla="*/ 10 h 652"/>
                <a:gd name="T16" fmla="*/ 234 w 640"/>
                <a:gd name="T17" fmla="*/ 26 h 652"/>
                <a:gd name="T18" fmla="*/ 198 w 640"/>
                <a:gd name="T19" fmla="*/ 64 h 652"/>
                <a:gd name="T20" fmla="*/ 166 w 640"/>
                <a:gd name="T21" fmla="*/ 80 h 652"/>
                <a:gd name="T22" fmla="*/ 166 w 640"/>
                <a:gd name="T23" fmla="*/ 116 h 652"/>
                <a:gd name="T24" fmla="*/ 166 w 640"/>
                <a:gd name="T25" fmla="*/ 148 h 652"/>
                <a:gd name="T26" fmla="*/ 160 w 640"/>
                <a:gd name="T27" fmla="*/ 208 h 652"/>
                <a:gd name="T28" fmla="*/ 142 w 640"/>
                <a:gd name="T29" fmla="*/ 242 h 652"/>
                <a:gd name="T30" fmla="*/ 70 w 640"/>
                <a:gd name="T31" fmla="*/ 278 h 652"/>
                <a:gd name="T32" fmla="*/ 0 w 640"/>
                <a:gd name="T33" fmla="*/ 322 h 652"/>
                <a:gd name="T34" fmla="*/ 18 w 640"/>
                <a:gd name="T35" fmla="*/ 390 h 652"/>
                <a:gd name="T36" fmla="*/ 30 w 640"/>
                <a:gd name="T37" fmla="*/ 400 h 652"/>
                <a:gd name="T38" fmla="*/ 60 w 640"/>
                <a:gd name="T39" fmla="*/ 424 h 652"/>
                <a:gd name="T40" fmla="*/ 134 w 640"/>
                <a:gd name="T41" fmla="*/ 450 h 652"/>
                <a:gd name="T42" fmla="*/ 198 w 640"/>
                <a:gd name="T43" fmla="*/ 488 h 652"/>
                <a:gd name="T44" fmla="*/ 268 w 640"/>
                <a:gd name="T45" fmla="*/ 544 h 652"/>
                <a:gd name="T46" fmla="*/ 350 w 640"/>
                <a:gd name="T47" fmla="*/ 610 h 652"/>
                <a:gd name="T48" fmla="*/ 412 w 640"/>
                <a:gd name="T49" fmla="*/ 644 h 652"/>
                <a:gd name="T50" fmla="*/ 520 w 640"/>
                <a:gd name="T51" fmla="*/ 638 h 652"/>
                <a:gd name="T52" fmla="*/ 542 w 640"/>
                <a:gd name="T53" fmla="*/ 594 h 652"/>
                <a:gd name="T54" fmla="*/ 554 w 640"/>
                <a:gd name="T55" fmla="*/ 578 h 652"/>
                <a:gd name="T56" fmla="*/ 584 w 640"/>
                <a:gd name="T57" fmla="*/ 574 h 652"/>
                <a:gd name="T58" fmla="*/ 610 w 640"/>
                <a:gd name="T59" fmla="*/ 578 h 652"/>
                <a:gd name="T60" fmla="*/ 640 w 640"/>
                <a:gd name="T61" fmla="*/ 584 h 652"/>
                <a:gd name="T62" fmla="*/ 630 w 640"/>
                <a:gd name="T63" fmla="*/ 570 h 652"/>
                <a:gd name="T64" fmla="*/ 622 w 640"/>
                <a:gd name="T65" fmla="*/ 558 h 652"/>
                <a:gd name="T66" fmla="*/ 610 w 640"/>
                <a:gd name="T67" fmla="*/ 546 h 652"/>
                <a:gd name="T68" fmla="*/ 606 w 640"/>
                <a:gd name="T69" fmla="*/ 506 h 652"/>
                <a:gd name="T70" fmla="*/ 588 w 640"/>
                <a:gd name="T71" fmla="*/ 458 h 652"/>
                <a:gd name="T72" fmla="*/ 572 w 640"/>
                <a:gd name="T73" fmla="*/ 416 h 652"/>
                <a:gd name="T74" fmla="*/ 558 w 640"/>
                <a:gd name="T75" fmla="*/ 392 h 652"/>
                <a:gd name="T76" fmla="*/ 512 w 640"/>
                <a:gd name="T77" fmla="*/ 364 h 652"/>
                <a:gd name="T78" fmla="*/ 480 w 640"/>
                <a:gd name="T79" fmla="*/ 352 h 652"/>
                <a:gd name="T80" fmla="*/ 484 w 640"/>
                <a:gd name="T81" fmla="*/ 332 h 652"/>
                <a:gd name="T82" fmla="*/ 466 w 640"/>
                <a:gd name="T83" fmla="*/ 308 h 652"/>
                <a:gd name="T84" fmla="*/ 462 w 640"/>
                <a:gd name="T85" fmla="*/ 302 h 652"/>
                <a:gd name="T86" fmla="*/ 434 w 640"/>
                <a:gd name="T87" fmla="*/ 276 h 652"/>
                <a:gd name="T88" fmla="*/ 444 w 640"/>
                <a:gd name="T89" fmla="*/ 254 h 652"/>
                <a:gd name="T90" fmla="*/ 440 w 640"/>
                <a:gd name="T91" fmla="*/ 230 h 652"/>
                <a:gd name="T92" fmla="*/ 452 w 640"/>
                <a:gd name="T93" fmla="*/ 224 h 652"/>
                <a:gd name="T94" fmla="*/ 476 w 640"/>
                <a:gd name="T95" fmla="*/ 186 h 652"/>
                <a:gd name="T96" fmla="*/ 482 w 640"/>
                <a:gd name="T97" fmla="*/ 170 h 652"/>
                <a:gd name="T98" fmla="*/ 472 w 640"/>
                <a:gd name="T99" fmla="*/ 150 h 652"/>
                <a:gd name="T100" fmla="*/ 490 w 640"/>
                <a:gd name="T101" fmla="*/ 132 h 652"/>
                <a:gd name="T102" fmla="*/ 460 w 640"/>
                <a:gd name="T103" fmla="*/ 126 h 652"/>
                <a:gd name="T104" fmla="*/ 440 w 640"/>
                <a:gd name="T105" fmla="*/ 112 h 652"/>
                <a:gd name="T106" fmla="*/ 424 w 640"/>
                <a:gd name="T107" fmla="*/ 84 h 652"/>
                <a:gd name="T108" fmla="*/ 414 w 640"/>
                <a:gd name="T109" fmla="*/ 76 h 652"/>
                <a:gd name="T110" fmla="*/ 410 w 640"/>
                <a:gd name="T111" fmla="*/ 58 h 652"/>
                <a:gd name="T112" fmla="*/ 400 w 640"/>
                <a:gd name="T113" fmla="*/ 46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40" h="652">
                  <a:moveTo>
                    <a:pt x="392" y="18"/>
                  </a:moveTo>
                  <a:lnTo>
                    <a:pt x="390" y="16"/>
                  </a:lnTo>
                  <a:lnTo>
                    <a:pt x="386" y="16"/>
                  </a:lnTo>
                  <a:lnTo>
                    <a:pt x="382" y="16"/>
                  </a:lnTo>
                  <a:lnTo>
                    <a:pt x="380" y="18"/>
                  </a:lnTo>
                  <a:lnTo>
                    <a:pt x="376" y="22"/>
                  </a:lnTo>
                  <a:lnTo>
                    <a:pt x="368" y="26"/>
                  </a:lnTo>
                  <a:lnTo>
                    <a:pt x="364" y="30"/>
                  </a:lnTo>
                  <a:lnTo>
                    <a:pt x="362" y="32"/>
                  </a:lnTo>
                  <a:lnTo>
                    <a:pt x="358" y="32"/>
                  </a:lnTo>
                  <a:lnTo>
                    <a:pt x="356" y="30"/>
                  </a:lnTo>
                  <a:lnTo>
                    <a:pt x="356" y="26"/>
                  </a:lnTo>
                  <a:lnTo>
                    <a:pt x="356" y="14"/>
                  </a:lnTo>
                  <a:lnTo>
                    <a:pt x="356" y="10"/>
                  </a:lnTo>
                  <a:lnTo>
                    <a:pt x="352" y="6"/>
                  </a:lnTo>
                  <a:lnTo>
                    <a:pt x="350" y="6"/>
                  </a:lnTo>
                  <a:lnTo>
                    <a:pt x="346" y="4"/>
                  </a:lnTo>
                  <a:lnTo>
                    <a:pt x="344" y="4"/>
                  </a:lnTo>
                  <a:lnTo>
                    <a:pt x="338" y="8"/>
                  </a:lnTo>
                  <a:lnTo>
                    <a:pt x="332" y="12"/>
                  </a:lnTo>
                  <a:lnTo>
                    <a:pt x="322" y="12"/>
                  </a:lnTo>
                  <a:lnTo>
                    <a:pt x="314" y="10"/>
                  </a:lnTo>
                  <a:lnTo>
                    <a:pt x="312" y="10"/>
                  </a:lnTo>
                  <a:lnTo>
                    <a:pt x="298" y="4"/>
                  </a:lnTo>
                  <a:lnTo>
                    <a:pt x="294" y="4"/>
                  </a:lnTo>
                  <a:lnTo>
                    <a:pt x="290" y="2"/>
                  </a:lnTo>
                  <a:lnTo>
                    <a:pt x="284" y="0"/>
                  </a:lnTo>
                  <a:lnTo>
                    <a:pt x="272" y="4"/>
                  </a:lnTo>
                  <a:lnTo>
                    <a:pt x="268" y="2"/>
                  </a:lnTo>
                  <a:lnTo>
                    <a:pt x="262" y="0"/>
                  </a:lnTo>
                  <a:lnTo>
                    <a:pt x="260" y="0"/>
                  </a:lnTo>
                  <a:lnTo>
                    <a:pt x="254" y="10"/>
                  </a:lnTo>
                  <a:lnTo>
                    <a:pt x="242" y="20"/>
                  </a:lnTo>
                  <a:lnTo>
                    <a:pt x="234" y="22"/>
                  </a:lnTo>
                  <a:lnTo>
                    <a:pt x="234" y="22"/>
                  </a:lnTo>
                  <a:lnTo>
                    <a:pt x="234" y="26"/>
                  </a:lnTo>
                  <a:lnTo>
                    <a:pt x="226" y="34"/>
                  </a:lnTo>
                  <a:lnTo>
                    <a:pt x="216" y="44"/>
                  </a:lnTo>
                  <a:lnTo>
                    <a:pt x="210" y="52"/>
                  </a:lnTo>
                  <a:lnTo>
                    <a:pt x="198" y="64"/>
                  </a:lnTo>
                  <a:lnTo>
                    <a:pt x="188" y="66"/>
                  </a:lnTo>
                  <a:lnTo>
                    <a:pt x="174" y="70"/>
                  </a:lnTo>
                  <a:lnTo>
                    <a:pt x="170" y="74"/>
                  </a:lnTo>
                  <a:lnTo>
                    <a:pt x="166" y="80"/>
                  </a:lnTo>
                  <a:lnTo>
                    <a:pt x="164" y="90"/>
                  </a:lnTo>
                  <a:lnTo>
                    <a:pt x="162" y="96"/>
                  </a:lnTo>
                  <a:lnTo>
                    <a:pt x="162" y="106"/>
                  </a:lnTo>
                  <a:lnTo>
                    <a:pt x="166" y="116"/>
                  </a:lnTo>
                  <a:lnTo>
                    <a:pt x="170" y="128"/>
                  </a:lnTo>
                  <a:lnTo>
                    <a:pt x="170" y="134"/>
                  </a:lnTo>
                  <a:lnTo>
                    <a:pt x="170" y="140"/>
                  </a:lnTo>
                  <a:lnTo>
                    <a:pt x="166" y="148"/>
                  </a:lnTo>
                  <a:lnTo>
                    <a:pt x="162" y="158"/>
                  </a:lnTo>
                  <a:lnTo>
                    <a:pt x="160" y="170"/>
                  </a:lnTo>
                  <a:lnTo>
                    <a:pt x="160" y="190"/>
                  </a:lnTo>
                  <a:lnTo>
                    <a:pt x="160" y="208"/>
                  </a:lnTo>
                  <a:lnTo>
                    <a:pt x="158" y="210"/>
                  </a:lnTo>
                  <a:lnTo>
                    <a:pt x="152" y="224"/>
                  </a:lnTo>
                  <a:lnTo>
                    <a:pt x="146" y="238"/>
                  </a:lnTo>
                  <a:lnTo>
                    <a:pt x="142" y="242"/>
                  </a:lnTo>
                  <a:lnTo>
                    <a:pt x="126" y="246"/>
                  </a:lnTo>
                  <a:lnTo>
                    <a:pt x="108" y="256"/>
                  </a:lnTo>
                  <a:lnTo>
                    <a:pt x="88" y="268"/>
                  </a:lnTo>
                  <a:lnTo>
                    <a:pt x="70" y="278"/>
                  </a:lnTo>
                  <a:lnTo>
                    <a:pt x="52" y="290"/>
                  </a:lnTo>
                  <a:lnTo>
                    <a:pt x="32" y="302"/>
                  </a:lnTo>
                  <a:lnTo>
                    <a:pt x="18" y="310"/>
                  </a:lnTo>
                  <a:lnTo>
                    <a:pt x="0" y="322"/>
                  </a:lnTo>
                  <a:lnTo>
                    <a:pt x="4" y="338"/>
                  </a:lnTo>
                  <a:lnTo>
                    <a:pt x="10" y="356"/>
                  </a:lnTo>
                  <a:lnTo>
                    <a:pt x="14" y="374"/>
                  </a:lnTo>
                  <a:lnTo>
                    <a:pt x="18" y="390"/>
                  </a:lnTo>
                  <a:lnTo>
                    <a:pt x="14" y="392"/>
                  </a:lnTo>
                  <a:lnTo>
                    <a:pt x="18" y="404"/>
                  </a:lnTo>
                  <a:lnTo>
                    <a:pt x="24" y="402"/>
                  </a:lnTo>
                  <a:lnTo>
                    <a:pt x="30" y="400"/>
                  </a:lnTo>
                  <a:lnTo>
                    <a:pt x="34" y="410"/>
                  </a:lnTo>
                  <a:lnTo>
                    <a:pt x="24" y="418"/>
                  </a:lnTo>
                  <a:lnTo>
                    <a:pt x="38" y="422"/>
                  </a:lnTo>
                  <a:lnTo>
                    <a:pt x="60" y="424"/>
                  </a:lnTo>
                  <a:lnTo>
                    <a:pt x="82" y="428"/>
                  </a:lnTo>
                  <a:lnTo>
                    <a:pt x="104" y="432"/>
                  </a:lnTo>
                  <a:lnTo>
                    <a:pt x="112" y="436"/>
                  </a:lnTo>
                  <a:lnTo>
                    <a:pt x="134" y="450"/>
                  </a:lnTo>
                  <a:lnTo>
                    <a:pt x="148" y="458"/>
                  </a:lnTo>
                  <a:lnTo>
                    <a:pt x="164" y="468"/>
                  </a:lnTo>
                  <a:lnTo>
                    <a:pt x="184" y="480"/>
                  </a:lnTo>
                  <a:lnTo>
                    <a:pt x="198" y="488"/>
                  </a:lnTo>
                  <a:lnTo>
                    <a:pt x="216" y="498"/>
                  </a:lnTo>
                  <a:lnTo>
                    <a:pt x="230" y="512"/>
                  </a:lnTo>
                  <a:lnTo>
                    <a:pt x="248" y="526"/>
                  </a:lnTo>
                  <a:lnTo>
                    <a:pt x="268" y="544"/>
                  </a:lnTo>
                  <a:lnTo>
                    <a:pt x="284" y="556"/>
                  </a:lnTo>
                  <a:lnTo>
                    <a:pt x="306" y="576"/>
                  </a:lnTo>
                  <a:lnTo>
                    <a:pt x="328" y="592"/>
                  </a:lnTo>
                  <a:lnTo>
                    <a:pt x="350" y="610"/>
                  </a:lnTo>
                  <a:lnTo>
                    <a:pt x="366" y="624"/>
                  </a:lnTo>
                  <a:lnTo>
                    <a:pt x="388" y="642"/>
                  </a:lnTo>
                  <a:lnTo>
                    <a:pt x="390" y="642"/>
                  </a:lnTo>
                  <a:lnTo>
                    <a:pt x="412" y="644"/>
                  </a:lnTo>
                  <a:lnTo>
                    <a:pt x="470" y="650"/>
                  </a:lnTo>
                  <a:lnTo>
                    <a:pt x="498" y="652"/>
                  </a:lnTo>
                  <a:lnTo>
                    <a:pt x="508" y="650"/>
                  </a:lnTo>
                  <a:lnTo>
                    <a:pt x="520" y="638"/>
                  </a:lnTo>
                  <a:lnTo>
                    <a:pt x="524" y="630"/>
                  </a:lnTo>
                  <a:lnTo>
                    <a:pt x="532" y="616"/>
                  </a:lnTo>
                  <a:lnTo>
                    <a:pt x="538" y="606"/>
                  </a:lnTo>
                  <a:lnTo>
                    <a:pt x="542" y="594"/>
                  </a:lnTo>
                  <a:lnTo>
                    <a:pt x="546" y="586"/>
                  </a:lnTo>
                  <a:lnTo>
                    <a:pt x="546" y="584"/>
                  </a:lnTo>
                  <a:lnTo>
                    <a:pt x="548" y="582"/>
                  </a:lnTo>
                  <a:lnTo>
                    <a:pt x="554" y="578"/>
                  </a:lnTo>
                  <a:lnTo>
                    <a:pt x="562" y="576"/>
                  </a:lnTo>
                  <a:lnTo>
                    <a:pt x="572" y="574"/>
                  </a:lnTo>
                  <a:lnTo>
                    <a:pt x="582" y="574"/>
                  </a:lnTo>
                  <a:lnTo>
                    <a:pt x="584" y="574"/>
                  </a:lnTo>
                  <a:lnTo>
                    <a:pt x="588" y="576"/>
                  </a:lnTo>
                  <a:lnTo>
                    <a:pt x="604" y="582"/>
                  </a:lnTo>
                  <a:lnTo>
                    <a:pt x="604" y="580"/>
                  </a:lnTo>
                  <a:lnTo>
                    <a:pt x="610" y="578"/>
                  </a:lnTo>
                  <a:lnTo>
                    <a:pt x="614" y="578"/>
                  </a:lnTo>
                  <a:lnTo>
                    <a:pt x="628" y="584"/>
                  </a:lnTo>
                  <a:lnTo>
                    <a:pt x="634" y="586"/>
                  </a:lnTo>
                  <a:lnTo>
                    <a:pt x="640" y="584"/>
                  </a:lnTo>
                  <a:lnTo>
                    <a:pt x="636" y="580"/>
                  </a:lnTo>
                  <a:lnTo>
                    <a:pt x="634" y="578"/>
                  </a:lnTo>
                  <a:lnTo>
                    <a:pt x="630" y="572"/>
                  </a:lnTo>
                  <a:lnTo>
                    <a:pt x="630" y="570"/>
                  </a:lnTo>
                  <a:lnTo>
                    <a:pt x="632" y="568"/>
                  </a:lnTo>
                  <a:lnTo>
                    <a:pt x="630" y="564"/>
                  </a:lnTo>
                  <a:lnTo>
                    <a:pt x="626" y="560"/>
                  </a:lnTo>
                  <a:lnTo>
                    <a:pt x="622" y="558"/>
                  </a:lnTo>
                  <a:lnTo>
                    <a:pt x="620" y="556"/>
                  </a:lnTo>
                  <a:lnTo>
                    <a:pt x="616" y="554"/>
                  </a:lnTo>
                  <a:lnTo>
                    <a:pt x="614" y="550"/>
                  </a:lnTo>
                  <a:lnTo>
                    <a:pt x="610" y="546"/>
                  </a:lnTo>
                  <a:lnTo>
                    <a:pt x="606" y="546"/>
                  </a:lnTo>
                  <a:lnTo>
                    <a:pt x="606" y="532"/>
                  </a:lnTo>
                  <a:lnTo>
                    <a:pt x="606" y="518"/>
                  </a:lnTo>
                  <a:lnTo>
                    <a:pt x="606" y="506"/>
                  </a:lnTo>
                  <a:lnTo>
                    <a:pt x="594" y="506"/>
                  </a:lnTo>
                  <a:lnTo>
                    <a:pt x="584" y="504"/>
                  </a:lnTo>
                  <a:lnTo>
                    <a:pt x="584" y="474"/>
                  </a:lnTo>
                  <a:lnTo>
                    <a:pt x="588" y="458"/>
                  </a:lnTo>
                  <a:lnTo>
                    <a:pt x="594" y="444"/>
                  </a:lnTo>
                  <a:lnTo>
                    <a:pt x="586" y="434"/>
                  </a:lnTo>
                  <a:lnTo>
                    <a:pt x="578" y="422"/>
                  </a:lnTo>
                  <a:lnTo>
                    <a:pt x="572" y="416"/>
                  </a:lnTo>
                  <a:lnTo>
                    <a:pt x="566" y="402"/>
                  </a:lnTo>
                  <a:lnTo>
                    <a:pt x="564" y="396"/>
                  </a:lnTo>
                  <a:lnTo>
                    <a:pt x="560" y="392"/>
                  </a:lnTo>
                  <a:lnTo>
                    <a:pt x="558" y="392"/>
                  </a:lnTo>
                  <a:lnTo>
                    <a:pt x="548" y="392"/>
                  </a:lnTo>
                  <a:lnTo>
                    <a:pt x="538" y="384"/>
                  </a:lnTo>
                  <a:lnTo>
                    <a:pt x="526" y="374"/>
                  </a:lnTo>
                  <a:lnTo>
                    <a:pt x="512" y="364"/>
                  </a:lnTo>
                  <a:lnTo>
                    <a:pt x="498" y="356"/>
                  </a:lnTo>
                  <a:lnTo>
                    <a:pt x="494" y="354"/>
                  </a:lnTo>
                  <a:lnTo>
                    <a:pt x="482" y="354"/>
                  </a:lnTo>
                  <a:lnTo>
                    <a:pt x="480" y="352"/>
                  </a:lnTo>
                  <a:lnTo>
                    <a:pt x="480" y="348"/>
                  </a:lnTo>
                  <a:lnTo>
                    <a:pt x="480" y="344"/>
                  </a:lnTo>
                  <a:lnTo>
                    <a:pt x="482" y="338"/>
                  </a:lnTo>
                  <a:lnTo>
                    <a:pt x="484" y="332"/>
                  </a:lnTo>
                  <a:lnTo>
                    <a:pt x="474" y="318"/>
                  </a:lnTo>
                  <a:lnTo>
                    <a:pt x="472" y="314"/>
                  </a:lnTo>
                  <a:lnTo>
                    <a:pt x="466" y="312"/>
                  </a:lnTo>
                  <a:lnTo>
                    <a:pt x="466" y="308"/>
                  </a:lnTo>
                  <a:lnTo>
                    <a:pt x="466" y="306"/>
                  </a:lnTo>
                  <a:lnTo>
                    <a:pt x="466" y="302"/>
                  </a:lnTo>
                  <a:lnTo>
                    <a:pt x="464" y="302"/>
                  </a:lnTo>
                  <a:lnTo>
                    <a:pt x="462" y="302"/>
                  </a:lnTo>
                  <a:lnTo>
                    <a:pt x="456" y="304"/>
                  </a:lnTo>
                  <a:lnTo>
                    <a:pt x="452" y="296"/>
                  </a:lnTo>
                  <a:lnTo>
                    <a:pt x="440" y="278"/>
                  </a:lnTo>
                  <a:lnTo>
                    <a:pt x="434" y="276"/>
                  </a:lnTo>
                  <a:lnTo>
                    <a:pt x="434" y="274"/>
                  </a:lnTo>
                  <a:lnTo>
                    <a:pt x="438" y="268"/>
                  </a:lnTo>
                  <a:lnTo>
                    <a:pt x="442" y="260"/>
                  </a:lnTo>
                  <a:lnTo>
                    <a:pt x="444" y="254"/>
                  </a:lnTo>
                  <a:lnTo>
                    <a:pt x="442" y="250"/>
                  </a:lnTo>
                  <a:lnTo>
                    <a:pt x="436" y="240"/>
                  </a:lnTo>
                  <a:lnTo>
                    <a:pt x="438" y="234"/>
                  </a:lnTo>
                  <a:lnTo>
                    <a:pt x="440" y="230"/>
                  </a:lnTo>
                  <a:lnTo>
                    <a:pt x="440" y="226"/>
                  </a:lnTo>
                  <a:lnTo>
                    <a:pt x="444" y="226"/>
                  </a:lnTo>
                  <a:lnTo>
                    <a:pt x="450" y="226"/>
                  </a:lnTo>
                  <a:lnTo>
                    <a:pt x="452" y="224"/>
                  </a:lnTo>
                  <a:lnTo>
                    <a:pt x="452" y="212"/>
                  </a:lnTo>
                  <a:lnTo>
                    <a:pt x="452" y="208"/>
                  </a:lnTo>
                  <a:lnTo>
                    <a:pt x="468" y="190"/>
                  </a:lnTo>
                  <a:lnTo>
                    <a:pt x="476" y="186"/>
                  </a:lnTo>
                  <a:lnTo>
                    <a:pt x="482" y="182"/>
                  </a:lnTo>
                  <a:lnTo>
                    <a:pt x="484" y="176"/>
                  </a:lnTo>
                  <a:lnTo>
                    <a:pt x="482" y="174"/>
                  </a:lnTo>
                  <a:lnTo>
                    <a:pt x="482" y="170"/>
                  </a:lnTo>
                  <a:lnTo>
                    <a:pt x="482" y="166"/>
                  </a:lnTo>
                  <a:lnTo>
                    <a:pt x="474" y="158"/>
                  </a:lnTo>
                  <a:lnTo>
                    <a:pt x="472" y="154"/>
                  </a:lnTo>
                  <a:lnTo>
                    <a:pt x="472" y="150"/>
                  </a:lnTo>
                  <a:lnTo>
                    <a:pt x="474" y="144"/>
                  </a:lnTo>
                  <a:lnTo>
                    <a:pt x="476" y="138"/>
                  </a:lnTo>
                  <a:lnTo>
                    <a:pt x="486" y="136"/>
                  </a:lnTo>
                  <a:lnTo>
                    <a:pt x="490" y="132"/>
                  </a:lnTo>
                  <a:lnTo>
                    <a:pt x="492" y="130"/>
                  </a:lnTo>
                  <a:lnTo>
                    <a:pt x="484" y="126"/>
                  </a:lnTo>
                  <a:lnTo>
                    <a:pt x="470" y="126"/>
                  </a:lnTo>
                  <a:lnTo>
                    <a:pt x="460" y="126"/>
                  </a:lnTo>
                  <a:lnTo>
                    <a:pt x="456" y="126"/>
                  </a:lnTo>
                  <a:lnTo>
                    <a:pt x="450" y="118"/>
                  </a:lnTo>
                  <a:lnTo>
                    <a:pt x="446" y="114"/>
                  </a:lnTo>
                  <a:lnTo>
                    <a:pt x="440" y="112"/>
                  </a:lnTo>
                  <a:lnTo>
                    <a:pt x="434" y="112"/>
                  </a:lnTo>
                  <a:lnTo>
                    <a:pt x="432" y="110"/>
                  </a:lnTo>
                  <a:lnTo>
                    <a:pt x="432" y="108"/>
                  </a:lnTo>
                  <a:lnTo>
                    <a:pt x="424" y="84"/>
                  </a:lnTo>
                  <a:lnTo>
                    <a:pt x="422" y="80"/>
                  </a:lnTo>
                  <a:lnTo>
                    <a:pt x="418" y="78"/>
                  </a:lnTo>
                  <a:lnTo>
                    <a:pt x="416" y="78"/>
                  </a:lnTo>
                  <a:lnTo>
                    <a:pt x="414" y="76"/>
                  </a:lnTo>
                  <a:lnTo>
                    <a:pt x="412" y="74"/>
                  </a:lnTo>
                  <a:lnTo>
                    <a:pt x="410" y="70"/>
                  </a:lnTo>
                  <a:lnTo>
                    <a:pt x="410" y="64"/>
                  </a:lnTo>
                  <a:lnTo>
                    <a:pt x="410" y="58"/>
                  </a:lnTo>
                  <a:lnTo>
                    <a:pt x="410" y="54"/>
                  </a:lnTo>
                  <a:lnTo>
                    <a:pt x="406" y="52"/>
                  </a:lnTo>
                  <a:lnTo>
                    <a:pt x="404" y="50"/>
                  </a:lnTo>
                  <a:lnTo>
                    <a:pt x="400" y="46"/>
                  </a:lnTo>
                  <a:lnTo>
                    <a:pt x="396" y="26"/>
                  </a:lnTo>
                  <a:lnTo>
                    <a:pt x="392" y="20"/>
                  </a:lnTo>
                  <a:lnTo>
                    <a:pt x="392" y="1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7" name="Freeform 5381">
              <a:extLst>
                <a:ext uri="{FF2B5EF4-FFF2-40B4-BE49-F238E27FC236}">
                  <a16:creationId xmlns:a16="http://schemas.microsoft.com/office/drawing/2014/main" id="{890298A9-21DB-4168-BB56-57E0C71F98CA}"/>
                </a:ext>
              </a:extLst>
            </p:cNvPr>
            <p:cNvSpPr/>
            <p:nvPr/>
          </p:nvSpPr>
          <p:spPr bwMode="auto">
            <a:xfrm>
              <a:off x="4680210" y="3134554"/>
              <a:ext cx="275974" cy="186552"/>
            </a:xfrm>
            <a:custGeom>
              <a:avLst/>
              <a:gdLst>
                <a:gd name="T0" fmla="*/ 552 w 716"/>
                <a:gd name="T1" fmla="*/ 0 h 484"/>
                <a:gd name="T2" fmla="*/ 506 w 716"/>
                <a:gd name="T3" fmla="*/ 64 h 484"/>
                <a:gd name="T4" fmla="*/ 462 w 716"/>
                <a:gd name="T5" fmla="*/ 82 h 484"/>
                <a:gd name="T6" fmla="*/ 412 w 716"/>
                <a:gd name="T7" fmla="*/ 60 h 484"/>
                <a:gd name="T8" fmla="*/ 414 w 716"/>
                <a:gd name="T9" fmla="*/ 128 h 484"/>
                <a:gd name="T10" fmla="*/ 368 w 716"/>
                <a:gd name="T11" fmla="*/ 56 h 484"/>
                <a:gd name="T12" fmla="*/ 330 w 716"/>
                <a:gd name="T13" fmla="*/ 116 h 484"/>
                <a:gd name="T14" fmla="*/ 292 w 716"/>
                <a:gd name="T15" fmla="*/ 78 h 484"/>
                <a:gd name="T16" fmla="*/ 266 w 716"/>
                <a:gd name="T17" fmla="*/ 146 h 484"/>
                <a:gd name="T18" fmla="*/ 232 w 716"/>
                <a:gd name="T19" fmla="*/ 156 h 484"/>
                <a:gd name="T20" fmla="*/ 216 w 716"/>
                <a:gd name="T21" fmla="*/ 196 h 484"/>
                <a:gd name="T22" fmla="*/ 204 w 716"/>
                <a:gd name="T23" fmla="*/ 154 h 484"/>
                <a:gd name="T24" fmla="*/ 198 w 716"/>
                <a:gd name="T25" fmla="*/ 134 h 484"/>
                <a:gd name="T26" fmla="*/ 200 w 716"/>
                <a:gd name="T27" fmla="*/ 88 h 484"/>
                <a:gd name="T28" fmla="*/ 140 w 716"/>
                <a:gd name="T29" fmla="*/ 24 h 484"/>
                <a:gd name="T30" fmla="*/ 88 w 716"/>
                <a:gd name="T31" fmla="*/ 32 h 484"/>
                <a:gd name="T32" fmla="*/ 128 w 716"/>
                <a:gd name="T33" fmla="*/ 44 h 484"/>
                <a:gd name="T34" fmla="*/ 134 w 716"/>
                <a:gd name="T35" fmla="*/ 76 h 484"/>
                <a:gd name="T36" fmla="*/ 122 w 716"/>
                <a:gd name="T37" fmla="*/ 90 h 484"/>
                <a:gd name="T38" fmla="*/ 94 w 716"/>
                <a:gd name="T39" fmla="*/ 86 h 484"/>
                <a:gd name="T40" fmla="*/ 62 w 716"/>
                <a:gd name="T41" fmla="*/ 62 h 484"/>
                <a:gd name="T42" fmla="*/ 46 w 716"/>
                <a:gd name="T43" fmla="*/ 76 h 484"/>
                <a:gd name="T44" fmla="*/ 42 w 716"/>
                <a:gd name="T45" fmla="*/ 110 h 484"/>
                <a:gd name="T46" fmla="*/ 56 w 716"/>
                <a:gd name="T47" fmla="*/ 138 h 484"/>
                <a:gd name="T48" fmla="*/ 30 w 716"/>
                <a:gd name="T49" fmla="*/ 148 h 484"/>
                <a:gd name="T50" fmla="*/ 16 w 716"/>
                <a:gd name="T51" fmla="*/ 168 h 484"/>
                <a:gd name="T52" fmla="*/ 120 w 716"/>
                <a:gd name="T53" fmla="*/ 156 h 484"/>
                <a:gd name="T54" fmla="*/ 142 w 716"/>
                <a:gd name="T55" fmla="*/ 198 h 484"/>
                <a:gd name="T56" fmla="*/ 174 w 716"/>
                <a:gd name="T57" fmla="*/ 228 h 484"/>
                <a:gd name="T58" fmla="*/ 108 w 716"/>
                <a:gd name="T59" fmla="*/ 238 h 484"/>
                <a:gd name="T60" fmla="*/ 74 w 716"/>
                <a:gd name="T61" fmla="*/ 252 h 484"/>
                <a:gd name="T62" fmla="*/ 36 w 716"/>
                <a:gd name="T63" fmla="*/ 278 h 484"/>
                <a:gd name="T64" fmla="*/ 142 w 716"/>
                <a:gd name="T65" fmla="*/ 286 h 484"/>
                <a:gd name="T66" fmla="*/ 156 w 716"/>
                <a:gd name="T67" fmla="*/ 316 h 484"/>
                <a:gd name="T68" fmla="*/ 162 w 716"/>
                <a:gd name="T69" fmla="*/ 328 h 484"/>
                <a:gd name="T70" fmla="*/ 184 w 716"/>
                <a:gd name="T71" fmla="*/ 336 h 484"/>
                <a:gd name="T72" fmla="*/ 170 w 716"/>
                <a:gd name="T73" fmla="*/ 370 h 484"/>
                <a:gd name="T74" fmla="*/ 120 w 716"/>
                <a:gd name="T75" fmla="*/ 384 h 484"/>
                <a:gd name="T76" fmla="*/ 138 w 716"/>
                <a:gd name="T77" fmla="*/ 420 h 484"/>
                <a:gd name="T78" fmla="*/ 218 w 716"/>
                <a:gd name="T79" fmla="*/ 414 h 484"/>
                <a:gd name="T80" fmla="*/ 266 w 716"/>
                <a:gd name="T81" fmla="*/ 426 h 484"/>
                <a:gd name="T82" fmla="*/ 266 w 716"/>
                <a:gd name="T83" fmla="*/ 450 h 484"/>
                <a:gd name="T84" fmla="*/ 410 w 716"/>
                <a:gd name="T85" fmla="*/ 474 h 484"/>
                <a:gd name="T86" fmla="*/ 432 w 716"/>
                <a:gd name="T87" fmla="*/ 458 h 484"/>
                <a:gd name="T88" fmla="*/ 494 w 716"/>
                <a:gd name="T89" fmla="*/ 420 h 484"/>
                <a:gd name="T90" fmla="*/ 604 w 716"/>
                <a:gd name="T91" fmla="*/ 352 h 484"/>
                <a:gd name="T92" fmla="*/ 658 w 716"/>
                <a:gd name="T93" fmla="*/ 308 h 484"/>
                <a:gd name="T94" fmla="*/ 690 w 716"/>
                <a:gd name="T95" fmla="*/ 278 h 484"/>
                <a:gd name="T96" fmla="*/ 714 w 716"/>
                <a:gd name="T97" fmla="*/ 234 h 484"/>
                <a:gd name="T98" fmla="*/ 710 w 716"/>
                <a:gd name="T99" fmla="*/ 204 h 484"/>
                <a:gd name="T100" fmla="*/ 708 w 716"/>
                <a:gd name="T101" fmla="*/ 182 h 484"/>
                <a:gd name="T102" fmla="*/ 690 w 716"/>
                <a:gd name="T103" fmla="*/ 148 h 484"/>
                <a:gd name="T104" fmla="*/ 662 w 716"/>
                <a:gd name="T105" fmla="*/ 122 h 484"/>
                <a:gd name="T106" fmla="*/ 642 w 716"/>
                <a:gd name="T107" fmla="*/ 92 h 484"/>
                <a:gd name="T108" fmla="*/ 612 w 716"/>
                <a:gd name="T109" fmla="*/ 66 h 484"/>
                <a:gd name="T110" fmla="*/ 630 w 716"/>
                <a:gd name="T111" fmla="*/ 24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16" h="483">
                  <a:moveTo>
                    <a:pt x="586" y="50"/>
                  </a:moveTo>
                  <a:lnTo>
                    <a:pt x="578" y="44"/>
                  </a:lnTo>
                  <a:lnTo>
                    <a:pt x="574" y="40"/>
                  </a:lnTo>
                  <a:lnTo>
                    <a:pt x="574" y="28"/>
                  </a:lnTo>
                  <a:lnTo>
                    <a:pt x="570" y="22"/>
                  </a:lnTo>
                  <a:lnTo>
                    <a:pt x="564" y="16"/>
                  </a:lnTo>
                  <a:lnTo>
                    <a:pt x="556" y="2"/>
                  </a:lnTo>
                  <a:lnTo>
                    <a:pt x="552" y="0"/>
                  </a:lnTo>
                  <a:lnTo>
                    <a:pt x="538" y="0"/>
                  </a:lnTo>
                  <a:lnTo>
                    <a:pt x="522" y="8"/>
                  </a:lnTo>
                  <a:lnTo>
                    <a:pt x="520" y="14"/>
                  </a:lnTo>
                  <a:lnTo>
                    <a:pt x="528" y="40"/>
                  </a:lnTo>
                  <a:lnTo>
                    <a:pt x="526" y="44"/>
                  </a:lnTo>
                  <a:lnTo>
                    <a:pt x="524" y="54"/>
                  </a:lnTo>
                  <a:lnTo>
                    <a:pt x="514" y="58"/>
                  </a:lnTo>
                  <a:lnTo>
                    <a:pt x="506" y="64"/>
                  </a:lnTo>
                  <a:lnTo>
                    <a:pt x="500" y="66"/>
                  </a:lnTo>
                  <a:lnTo>
                    <a:pt x="494" y="62"/>
                  </a:lnTo>
                  <a:lnTo>
                    <a:pt x="492" y="58"/>
                  </a:lnTo>
                  <a:lnTo>
                    <a:pt x="486" y="54"/>
                  </a:lnTo>
                  <a:lnTo>
                    <a:pt x="482" y="52"/>
                  </a:lnTo>
                  <a:lnTo>
                    <a:pt x="480" y="54"/>
                  </a:lnTo>
                  <a:lnTo>
                    <a:pt x="468" y="72"/>
                  </a:lnTo>
                  <a:lnTo>
                    <a:pt x="462" y="82"/>
                  </a:lnTo>
                  <a:lnTo>
                    <a:pt x="460" y="86"/>
                  </a:lnTo>
                  <a:lnTo>
                    <a:pt x="454" y="90"/>
                  </a:lnTo>
                  <a:lnTo>
                    <a:pt x="454" y="92"/>
                  </a:lnTo>
                  <a:lnTo>
                    <a:pt x="452" y="90"/>
                  </a:lnTo>
                  <a:lnTo>
                    <a:pt x="448" y="86"/>
                  </a:lnTo>
                  <a:lnTo>
                    <a:pt x="436" y="68"/>
                  </a:lnTo>
                  <a:lnTo>
                    <a:pt x="430" y="62"/>
                  </a:lnTo>
                  <a:lnTo>
                    <a:pt x="412" y="60"/>
                  </a:lnTo>
                  <a:lnTo>
                    <a:pt x="404" y="60"/>
                  </a:lnTo>
                  <a:lnTo>
                    <a:pt x="404" y="66"/>
                  </a:lnTo>
                  <a:lnTo>
                    <a:pt x="404" y="70"/>
                  </a:lnTo>
                  <a:lnTo>
                    <a:pt x="414" y="102"/>
                  </a:lnTo>
                  <a:lnTo>
                    <a:pt x="418" y="114"/>
                  </a:lnTo>
                  <a:lnTo>
                    <a:pt x="418" y="122"/>
                  </a:lnTo>
                  <a:lnTo>
                    <a:pt x="416" y="126"/>
                  </a:lnTo>
                  <a:lnTo>
                    <a:pt x="414" y="128"/>
                  </a:lnTo>
                  <a:lnTo>
                    <a:pt x="414" y="128"/>
                  </a:lnTo>
                  <a:lnTo>
                    <a:pt x="412" y="124"/>
                  </a:lnTo>
                  <a:lnTo>
                    <a:pt x="406" y="104"/>
                  </a:lnTo>
                  <a:lnTo>
                    <a:pt x="394" y="92"/>
                  </a:lnTo>
                  <a:lnTo>
                    <a:pt x="384" y="74"/>
                  </a:lnTo>
                  <a:lnTo>
                    <a:pt x="378" y="64"/>
                  </a:lnTo>
                  <a:lnTo>
                    <a:pt x="374" y="58"/>
                  </a:lnTo>
                  <a:lnTo>
                    <a:pt x="368" y="56"/>
                  </a:lnTo>
                  <a:lnTo>
                    <a:pt x="364" y="56"/>
                  </a:lnTo>
                  <a:lnTo>
                    <a:pt x="360" y="60"/>
                  </a:lnTo>
                  <a:lnTo>
                    <a:pt x="352" y="66"/>
                  </a:lnTo>
                  <a:lnTo>
                    <a:pt x="346" y="70"/>
                  </a:lnTo>
                  <a:lnTo>
                    <a:pt x="334" y="74"/>
                  </a:lnTo>
                  <a:lnTo>
                    <a:pt x="330" y="80"/>
                  </a:lnTo>
                  <a:lnTo>
                    <a:pt x="328" y="88"/>
                  </a:lnTo>
                  <a:lnTo>
                    <a:pt x="330" y="116"/>
                  </a:lnTo>
                  <a:lnTo>
                    <a:pt x="330" y="120"/>
                  </a:lnTo>
                  <a:lnTo>
                    <a:pt x="328" y="122"/>
                  </a:lnTo>
                  <a:lnTo>
                    <a:pt x="326" y="124"/>
                  </a:lnTo>
                  <a:lnTo>
                    <a:pt x="320" y="122"/>
                  </a:lnTo>
                  <a:lnTo>
                    <a:pt x="316" y="118"/>
                  </a:lnTo>
                  <a:lnTo>
                    <a:pt x="310" y="108"/>
                  </a:lnTo>
                  <a:lnTo>
                    <a:pt x="302" y="98"/>
                  </a:lnTo>
                  <a:lnTo>
                    <a:pt x="292" y="78"/>
                  </a:lnTo>
                  <a:lnTo>
                    <a:pt x="286" y="74"/>
                  </a:lnTo>
                  <a:lnTo>
                    <a:pt x="280" y="70"/>
                  </a:lnTo>
                  <a:lnTo>
                    <a:pt x="274" y="72"/>
                  </a:lnTo>
                  <a:lnTo>
                    <a:pt x="270" y="80"/>
                  </a:lnTo>
                  <a:lnTo>
                    <a:pt x="268" y="94"/>
                  </a:lnTo>
                  <a:lnTo>
                    <a:pt x="270" y="114"/>
                  </a:lnTo>
                  <a:lnTo>
                    <a:pt x="270" y="132"/>
                  </a:lnTo>
                  <a:lnTo>
                    <a:pt x="266" y="146"/>
                  </a:lnTo>
                  <a:lnTo>
                    <a:pt x="264" y="154"/>
                  </a:lnTo>
                  <a:lnTo>
                    <a:pt x="262" y="156"/>
                  </a:lnTo>
                  <a:lnTo>
                    <a:pt x="258" y="154"/>
                  </a:lnTo>
                  <a:lnTo>
                    <a:pt x="250" y="142"/>
                  </a:lnTo>
                  <a:lnTo>
                    <a:pt x="248" y="140"/>
                  </a:lnTo>
                  <a:lnTo>
                    <a:pt x="244" y="140"/>
                  </a:lnTo>
                  <a:lnTo>
                    <a:pt x="240" y="144"/>
                  </a:lnTo>
                  <a:lnTo>
                    <a:pt x="232" y="156"/>
                  </a:lnTo>
                  <a:lnTo>
                    <a:pt x="228" y="170"/>
                  </a:lnTo>
                  <a:lnTo>
                    <a:pt x="228" y="174"/>
                  </a:lnTo>
                  <a:lnTo>
                    <a:pt x="226" y="176"/>
                  </a:lnTo>
                  <a:lnTo>
                    <a:pt x="224" y="176"/>
                  </a:lnTo>
                  <a:lnTo>
                    <a:pt x="222" y="184"/>
                  </a:lnTo>
                  <a:lnTo>
                    <a:pt x="220" y="198"/>
                  </a:lnTo>
                  <a:lnTo>
                    <a:pt x="218" y="202"/>
                  </a:lnTo>
                  <a:lnTo>
                    <a:pt x="216" y="196"/>
                  </a:lnTo>
                  <a:lnTo>
                    <a:pt x="212" y="178"/>
                  </a:lnTo>
                  <a:lnTo>
                    <a:pt x="206" y="172"/>
                  </a:lnTo>
                  <a:lnTo>
                    <a:pt x="204" y="172"/>
                  </a:lnTo>
                  <a:lnTo>
                    <a:pt x="200" y="172"/>
                  </a:lnTo>
                  <a:lnTo>
                    <a:pt x="200" y="170"/>
                  </a:lnTo>
                  <a:lnTo>
                    <a:pt x="202" y="166"/>
                  </a:lnTo>
                  <a:lnTo>
                    <a:pt x="202" y="160"/>
                  </a:lnTo>
                  <a:lnTo>
                    <a:pt x="204" y="154"/>
                  </a:lnTo>
                  <a:lnTo>
                    <a:pt x="202" y="152"/>
                  </a:lnTo>
                  <a:lnTo>
                    <a:pt x="198" y="154"/>
                  </a:lnTo>
                  <a:lnTo>
                    <a:pt x="198" y="152"/>
                  </a:lnTo>
                  <a:lnTo>
                    <a:pt x="198" y="148"/>
                  </a:lnTo>
                  <a:lnTo>
                    <a:pt x="196" y="144"/>
                  </a:lnTo>
                  <a:lnTo>
                    <a:pt x="188" y="136"/>
                  </a:lnTo>
                  <a:lnTo>
                    <a:pt x="184" y="130"/>
                  </a:lnTo>
                  <a:lnTo>
                    <a:pt x="198" y="134"/>
                  </a:lnTo>
                  <a:lnTo>
                    <a:pt x="200" y="132"/>
                  </a:lnTo>
                  <a:lnTo>
                    <a:pt x="202" y="128"/>
                  </a:lnTo>
                  <a:lnTo>
                    <a:pt x="208" y="106"/>
                  </a:lnTo>
                  <a:lnTo>
                    <a:pt x="208" y="102"/>
                  </a:lnTo>
                  <a:lnTo>
                    <a:pt x="202" y="96"/>
                  </a:lnTo>
                  <a:lnTo>
                    <a:pt x="194" y="94"/>
                  </a:lnTo>
                  <a:lnTo>
                    <a:pt x="194" y="92"/>
                  </a:lnTo>
                  <a:lnTo>
                    <a:pt x="200" y="88"/>
                  </a:lnTo>
                  <a:lnTo>
                    <a:pt x="202" y="84"/>
                  </a:lnTo>
                  <a:lnTo>
                    <a:pt x="200" y="82"/>
                  </a:lnTo>
                  <a:lnTo>
                    <a:pt x="186" y="72"/>
                  </a:lnTo>
                  <a:lnTo>
                    <a:pt x="172" y="54"/>
                  </a:lnTo>
                  <a:lnTo>
                    <a:pt x="166" y="48"/>
                  </a:lnTo>
                  <a:lnTo>
                    <a:pt x="164" y="44"/>
                  </a:lnTo>
                  <a:lnTo>
                    <a:pt x="150" y="36"/>
                  </a:lnTo>
                  <a:lnTo>
                    <a:pt x="140" y="24"/>
                  </a:lnTo>
                  <a:lnTo>
                    <a:pt x="134" y="16"/>
                  </a:lnTo>
                  <a:lnTo>
                    <a:pt x="126" y="14"/>
                  </a:lnTo>
                  <a:lnTo>
                    <a:pt x="114" y="16"/>
                  </a:lnTo>
                  <a:lnTo>
                    <a:pt x="104" y="14"/>
                  </a:lnTo>
                  <a:lnTo>
                    <a:pt x="100" y="16"/>
                  </a:lnTo>
                  <a:lnTo>
                    <a:pt x="92" y="24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98" y="34"/>
                  </a:lnTo>
                  <a:lnTo>
                    <a:pt x="108" y="34"/>
                  </a:lnTo>
                  <a:lnTo>
                    <a:pt x="116" y="32"/>
                  </a:lnTo>
                  <a:lnTo>
                    <a:pt x="118" y="36"/>
                  </a:lnTo>
                  <a:lnTo>
                    <a:pt x="120" y="36"/>
                  </a:lnTo>
                  <a:lnTo>
                    <a:pt x="126" y="40"/>
                  </a:lnTo>
                  <a:lnTo>
                    <a:pt x="130" y="42"/>
                  </a:lnTo>
                  <a:lnTo>
                    <a:pt x="128" y="44"/>
                  </a:lnTo>
                  <a:lnTo>
                    <a:pt x="112" y="44"/>
                  </a:lnTo>
                  <a:lnTo>
                    <a:pt x="106" y="46"/>
                  </a:lnTo>
                  <a:lnTo>
                    <a:pt x="100" y="48"/>
                  </a:lnTo>
                  <a:lnTo>
                    <a:pt x="100" y="52"/>
                  </a:lnTo>
                  <a:lnTo>
                    <a:pt x="104" y="58"/>
                  </a:lnTo>
                  <a:lnTo>
                    <a:pt x="108" y="62"/>
                  </a:lnTo>
                  <a:lnTo>
                    <a:pt x="132" y="74"/>
                  </a:lnTo>
                  <a:lnTo>
                    <a:pt x="134" y="76"/>
                  </a:lnTo>
                  <a:lnTo>
                    <a:pt x="134" y="86"/>
                  </a:lnTo>
                  <a:lnTo>
                    <a:pt x="134" y="98"/>
                  </a:lnTo>
                  <a:lnTo>
                    <a:pt x="132" y="100"/>
                  </a:lnTo>
                  <a:lnTo>
                    <a:pt x="126" y="102"/>
                  </a:lnTo>
                  <a:lnTo>
                    <a:pt x="122" y="108"/>
                  </a:lnTo>
                  <a:lnTo>
                    <a:pt x="122" y="106"/>
                  </a:lnTo>
                  <a:lnTo>
                    <a:pt x="122" y="94"/>
                  </a:lnTo>
                  <a:lnTo>
                    <a:pt x="122" y="90"/>
                  </a:lnTo>
                  <a:lnTo>
                    <a:pt x="120" y="86"/>
                  </a:lnTo>
                  <a:lnTo>
                    <a:pt x="118" y="82"/>
                  </a:lnTo>
                  <a:lnTo>
                    <a:pt x="114" y="80"/>
                  </a:lnTo>
                  <a:lnTo>
                    <a:pt x="108" y="88"/>
                  </a:lnTo>
                  <a:lnTo>
                    <a:pt x="106" y="90"/>
                  </a:lnTo>
                  <a:lnTo>
                    <a:pt x="102" y="86"/>
                  </a:lnTo>
                  <a:lnTo>
                    <a:pt x="94" y="88"/>
                  </a:lnTo>
                  <a:lnTo>
                    <a:pt x="94" y="86"/>
                  </a:lnTo>
                  <a:lnTo>
                    <a:pt x="96" y="80"/>
                  </a:lnTo>
                  <a:lnTo>
                    <a:pt x="94" y="76"/>
                  </a:lnTo>
                  <a:lnTo>
                    <a:pt x="92" y="72"/>
                  </a:lnTo>
                  <a:lnTo>
                    <a:pt x="76" y="60"/>
                  </a:lnTo>
                  <a:lnTo>
                    <a:pt x="72" y="56"/>
                  </a:lnTo>
                  <a:lnTo>
                    <a:pt x="66" y="56"/>
                  </a:lnTo>
                  <a:lnTo>
                    <a:pt x="62" y="60"/>
                  </a:lnTo>
                  <a:lnTo>
                    <a:pt x="62" y="62"/>
                  </a:lnTo>
                  <a:lnTo>
                    <a:pt x="60" y="66"/>
                  </a:lnTo>
                  <a:lnTo>
                    <a:pt x="58" y="68"/>
                  </a:lnTo>
                  <a:lnTo>
                    <a:pt x="58" y="70"/>
                  </a:lnTo>
                  <a:lnTo>
                    <a:pt x="64" y="78"/>
                  </a:lnTo>
                  <a:lnTo>
                    <a:pt x="68" y="82"/>
                  </a:lnTo>
                  <a:lnTo>
                    <a:pt x="64" y="82"/>
                  </a:lnTo>
                  <a:lnTo>
                    <a:pt x="48" y="74"/>
                  </a:lnTo>
                  <a:lnTo>
                    <a:pt x="46" y="76"/>
                  </a:lnTo>
                  <a:lnTo>
                    <a:pt x="46" y="80"/>
                  </a:lnTo>
                  <a:lnTo>
                    <a:pt x="46" y="84"/>
                  </a:lnTo>
                  <a:lnTo>
                    <a:pt x="46" y="86"/>
                  </a:lnTo>
                  <a:lnTo>
                    <a:pt x="52" y="94"/>
                  </a:lnTo>
                  <a:lnTo>
                    <a:pt x="62" y="106"/>
                  </a:lnTo>
                  <a:lnTo>
                    <a:pt x="48" y="104"/>
                  </a:lnTo>
                  <a:lnTo>
                    <a:pt x="44" y="108"/>
                  </a:lnTo>
                  <a:lnTo>
                    <a:pt x="42" y="110"/>
                  </a:lnTo>
                  <a:lnTo>
                    <a:pt x="46" y="118"/>
                  </a:lnTo>
                  <a:lnTo>
                    <a:pt x="50" y="120"/>
                  </a:lnTo>
                  <a:lnTo>
                    <a:pt x="58" y="124"/>
                  </a:lnTo>
                  <a:lnTo>
                    <a:pt x="76" y="124"/>
                  </a:lnTo>
                  <a:lnTo>
                    <a:pt x="78" y="126"/>
                  </a:lnTo>
                  <a:lnTo>
                    <a:pt x="70" y="130"/>
                  </a:lnTo>
                  <a:lnTo>
                    <a:pt x="66" y="134"/>
                  </a:lnTo>
                  <a:lnTo>
                    <a:pt x="56" y="138"/>
                  </a:lnTo>
                  <a:lnTo>
                    <a:pt x="36" y="124"/>
                  </a:lnTo>
                  <a:lnTo>
                    <a:pt x="28" y="120"/>
                  </a:lnTo>
                  <a:lnTo>
                    <a:pt x="24" y="122"/>
                  </a:lnTo>
                  <a:lnTo>
                    <a:pt x="24" y="124"/>
                  </a:lnTo>
                  <a:lnTo>
                    <a:pt x="26" y="132"/>
                  </a:lnTo>
                  <a:lnTo>
                    <a:pt x="30" y="136"/>
                  </a:lnTo>
                  <a:lnTo>
                    <a:pt x="30" y="142"/>
                  </a:lnTo>
                  <a:lnTo>
                    <a:pt x="30" y="148"/>
                  </a:lnTo>
                  <a:lnTo>
                    <a:pt x="40" y="160"/>
                  </a:lnTo>
                  <a:lnTo>
                    <a:pt x="32" y="158"/>
                  </a:lnTo>
                  <a:lnTo>
                    <a:pt x="20" y="148"/>
                  </a:lnTo>
                  <a:lnTo>
                    <a:pt x="14" y="148"/>
                  </a:lnTo>
                  <a:lnTo>
                    <a:pt x="8" y="150"/>
                  </a:lnTo>
                  <a:lnTo>
                    <a:pt x="0" y="162"/>
                  </a:lnTo>
                  <a:lnTo>
                    <a:pt x="0" y="166"/>
                  </a:lnTo>
                  <a:lnTo>
                    <a:pt x="16" y="168"/>
                  </a:lnTo>
                  <a:lnTo>
                    <a:pt x="30" y="174"/>
                  </a:lnTo>
                  <a:lnTo>
                    <a:pt x="38" y="180"/>
                  </a:lnTo>
                  <a:lnTo>
                    <a:pt x="44" y="178"/>
                  </a:lnTo>
                  <a:lnTo>
                    <a:pt x="56" y="170"/>
                  </a:lnTo>
                  <a:lnTo>
                    <a:pt x="88" y="160"/>
                  </a:lnTo>
                  <a:lnTo>
                    <a:pt x="102" y="152"/>
                  </a:lnTo>
                  <a:lnTo>
                    <a:pt x="108" y="158"/>
                  </a:lnTo>
                  <a:lnTo>
                    <a:pt x="120" y="156"/>
                  </a:lnTo>
                  <a:lnTo>
                    <a:pt x="136" y="160"/>
                  </a:lnTo>
                  <a:lnTo>
                    <a:pt x="142" y="168"/>
                  </a:lnTo>
                  <a:lnTo>
                    <a:pt x="162" y="166"/>
                  </a:lnTo>
                  <a:lnTo>
                    <a:pt x="172" y="174"/>
                  </a:lnTo>
                  <a:lnTo>
                    <a:pt x="172" y="178"/>
                  </a:lnTo>
                  <a:lnTo>
                    <a:pt x="168" y="182"/>
                  </a:lnTo>
                  <a:lnTo>
                    <a:pt x="152" y="190"/>
                  </a:lnTo>
                  <a:lnTo>
                    <a:pt x="142" y="198"/>
                  </a:lnTo>
                  <a:lnTo>
                    <a:pt x="130" y="208"/>
                  </a:lnTo>
                  <a:lnTo>
                    <a:pt x="128" y="214"/>
                  </a:lnTo>
                  <a:lnTo>
                    <a:pt x="136" y="220"/>
                  </a:lnTo>
                  <a:lnTo>
                    <a:pt x="156" y="224"/>
                  </a:lnTo>
                  <a:lnTo>
                    <a:pt x="160" y="224"/>
                  </a:lnTo>
                  <a:lnTo>
                    <a:pt x="176" y="214"/>
                  </a:lnTo>
                  <a:lnTo>
                    <a:pt x="178" y="216"/>
                  </a:lnTo>
                  <a:lnTo>
                    <a:pt x="174" y="228"/>
                  </a:lnTo>
                  <a:lnTo>
                    <a:pt x="174" y="232"/>
                  </a:lnTo>
                  <a:lnTo>
                    <a:pt x="168" y="236"/>
                  </a:lnTo>
                  <a:lnTo>
                    <a:pt x="142" y="238"/>
                  </a:lnTo>
                  <a:lnTo>
                    <a:pt x="130" y="238"/>
                  </a:lnTo>
                  <a:lnTo>
                    <a:pt x="122" y="240"/>
                  </a:lnTo>
                  <a:lnTo>
                    <a:pt x="118" y="240"/>
                  </a:lnTo>
                  <a:lnTo>
                    <a:pt x="110" y="236"/>
                  </a:lnTo>
                  <a:lnTo>
                    <a:pt x="108" y="238"/>
                  </a:lnTo>
                  <a:lnTo>
                    <a:pt x="108" y="240"/>
                  </a:lnTo>
                  <a:lnTo>
                    <a:pt x="102" y="244"/>
                  </a:lnTo>
                  <a:lnTo>
                    <a:pt x="88" y="250"/>
                  </a:lnTo>
                  <a:lnTo>
                    <a:pt x="88" y="246"/>
                  </a:lnTo>
                  <a:lnTo>
                    <a:pt x="84" y="244"/>
                  </a:lnTo>
                  <a:lnTo>
                    <a:pt x="80" y="246"/>
                  </a:lnTo>
                  <a:lnTo>
                    <a:pt x="76" y="250"/>
                  </a:lnTo>
                  <a:lnTo>
                    <a:pt x="74" y="252"/>
                  </a:lnTo>
                  <a:lnTo>
                    <a:pt x="64" y="252"/>
                  </a:lnTo>
                  <a:lnTo>
                    <a:pt x="50" y="258"/>
                  </a:lnTo>
                  <a:lnTo>
                    <a:pt x="40" y="256"/>
                  </a:lnTo>
                  <a:lnTo>
                    <a:pt x="36" y="258"/>
                  </a:lnTo>
                  <a:lnTo>
                    <a:pt x="30" y="260"/>
                  </a:lnTo>
                  <a:lnTo>
                    <a:pt x="28" y="266"/>
                  </a:lnTo>
                  <a:lnTo>
                    <a:pt x="32" y="272"/>
                  </a:lnTo>
                  <a:lnTo>
                    <a:pt x="36" y="278"/>
                  </a:lnTo>
                  <a:lnTo>
                    <a:pt x="38" y="282"/>
                  </a:lnTo>
                  <a:lnTo>
                    <a:pt x="42" y="284"/>
                  </a:lnTo>
                  <a:lnTo>
                    <a:pt x="52" y="282"/>
                  </a:lnTo>
                  <a:lnTo>
                    <a:pt x="66" y="274"/>
                  </a:lnTo>
                  <a:lnTo>
                    <a:pt x="74" y="272"/>
                  </a:lnTo>
                  <a:lnTo>
                    <a:pt x="114" y="276"/>
                  </a:lnTo>
                  <a:lnTo>
                    <a:pt x="132" y="276"/>
                  </a:lnTo>
                  <a:lnTo>
                    <a:pt x="142" y="286"/>
                  </a:lnTo>
                  <a:lnTo>
                    <a:pt x="146" y="286"/>
                  </a:lnTo>
                  <a:lnTo>
                    <a:pt x="146" y="288"/>
                  </a:lnTo>
                  <a:lnTo>
                    <a:pt x="140" y="298"/>
                  </a:lnTo>
                  <a:lnTo>
                    <a:pt x="140" y="302"/>
                  </a:lnTo>
                  <a:lnTo>
                    <a:pt x="144" y="308"/>
                  </a:lnTo>
                  <a:lnTo>
                    <a:pt x="146" y="310"/>
                  </a:lnTo>
                  <a:lnTo>
                    <a:pt x="152" y="314"/>
                  </a:lnTo>
                  <a:lnTo>
                    <a:pt x="156" y="316"/>
                  </a:lnTo>
                  <a:lnTo>
                    <a:pt x="166" y="312"/>
                  </a:lnTo>
                  <a:lnTo>
                    <a:pt x="184" y="298"/>
                  </a:lnTo>
                  <a:lnTo>
                    <a:pt x="186" y="300"/>
                  </a:lnTo>
                  <a:lnTo>
                    <a:pt x="188" y="302"/>
                  </a:lnTo>
                  <a:lnTo>
                    <a:pt x="186" y="304"/>
                  </a:lnTo>
                  <a:lnTo>
                    <a:pt x="182" y="306"/>
                  </a:lnTo>
                  <a:lnTo>
                    <a:pt x="166" y="318"/>
                  </a:lnTo>
                  <a:lnTo>
                    <a:pt x="162" y="328"/>
                  </a:lnTo>
                  <a:lnTo>
                    <a:pt x="162" y="334"/>
                  </a:lnTo>
                  <a:lnTo>
                    <a:pt x="164" y="336"/>
                  </a:lnTo>
                  <a:lnTo>
                    <a:pt x="168" y="338"/>
                  </a:lnTo>
                  <a:lnTo>
                    <a:pt x="162" y="344"/>
                  </a:lnTo>
                  <a:lnTo>
                    <a:pt x="158" y="348"/>
                  </a:lnTo>
                  <a:lnTo>
                    <a:pt x="158" y="350"/>
                  </a:lnTo>
                  <a:lnTo>
                    <a:pt x="166" y="350"/>
                  </a:lnTo>
                  <a:lnTo>
                    <a:pt x="184" y="336"/>
                  </a:lnTo>
                  <a:lnTo>
                    <a:pt x="190" y="336"/>
                  </a:lnTo>
                  <a:lnTo>
                    <a:pt x="198" y="340"/>
                  </a:lnTo>
                  <a:lnTo>
                    <a:pt x="188" y="342"/>
                  </a:lnTo>
                  <a:lnTo>
                    <a:pt x="184" y="344"/>
                  </a:lnTo>
                  <a:lnTo>
                    <a:pt x="180" y="348"/>
                  </a:lnTo>
                  <a:lnTo>
                    <a:pt x="178" y="354"/>
                  </a:lnTo>
                  <a:lnTo>
                    <a:pt x="172" y="366"/>
                  </a:lnTo>
                  <a:lnTo>
                    <a:pt x="170" y="370"/>
                  </a:lnTo>
                  <a:lnTo>
                    <a:pt x="166" y="374"/>
                  </a:lnTo>
                  <a:lnTo>
                    <a:pt x="162" y="382"/>
                  </a:lnTo>
                  <a:lnTo>
                    <a:pt x="158" y="386"/>
                  </a:lnTo>
                  <a:lnTo>
                    <a:pt x="150" y="390"/>
                  </a:lnTo>
                  <a:lnTo>
                    <a:pt x="128" y="398"/>
                  </a:lnTo>
                  <a:lnTo>
                    <a:pt x="126" y="394"/>
                  </a:lnTo>
                  <a:lnTo>
                    <a:pt x="122" y="388"/>
                  </a:lnTo>
                  <a:lnTo>
                    <a:pt x="120" y="384"/>
                  </a:lnTo>
                  <a:lnTo>
                    <a:pt x="116" y="384"/>
                  </a:lnTo>
                  <a:lnTo>
                    <a:pt x="114" y="390"/>
                  </a:lnTo>
                  <a:lnTo>
                    <a:pt x="114" y="394"/>
                  </a:lnTo>
                  <a:lnTo>
                    <a:pt x="114" y="402"/>
                  </a:lnTo>
                  <a:lnTo>
                    <a:pt x="116" y="416"/>
                  </a:lnTo>
                  <a:lnTo>
                    <a:pt x="120" y="422"/>
                  </a:lnTo>
                  <a:lnTo>
                    <a:pt x="122" y="420"/>
                  </a:lnTo>
                  <a:lnTo>
                    <a:pt x="138" y="420"/>
                  </a:lnTo>
                  <a:lnTo>
                    <a:pt x="198" y="418"/>
                  </a:lnTo>
                  <a:lnTo>
                    <a:pt x="202" y="416"/>
                  </a:lnTo>
                  <a:lnTo>
                    <a:pt x="212" y="406"/>
                  </a:lnTo>
                  <a:lnTo>
                    <a:pt x="218" y="404"/>
                  </a:lnTo>
                  <a:lnTo>
                    <a:pt x="220" y="406"/>
                  </a:lnTo>
                  <a:lnTo>
                    <a:pt x="222" y="406"/>
                  </a:lnTo>
                  <a:lnTo>
                    <a:pt x="218" y="410"/>
                  </a:lnTo>
                  <a:lnTo>
                    <a:pt x="218" y="414"/>
                  </a:lnTo>
                  <a:lnTo>
                    <a:pt x="226" y="420"/>
                  </a:lnTo>
                  <a:lnTo>
                    <a:pt x="236" y="426"/>
                  </a:lnTo>
                  <a:lnTo>
                    <a:pt x="246" y="428"/>
                  </a:lnTo>
                  <a:lnTo>
                    <a:pt x="246" y="432"/>
                  </a:lnTo>
                  <a:lnTo>
                    <a:pt x="250" y="436"/>
                  </a:lnTo>
                  <a:lnTo>
                    <a:pt x="254" y="436"/>
                  </a:lnTo>
                  <a:lnTo>
                    <a:pt x="262" y="428"/>
                  </a:lnTo>
                  <a:lnTo>
                    <a:pt x="266" y="426"/>
                  </a:lnTo>
                  <a:lnTo>
                    <a:pt x="270" y="432"/>
                  </a:lnTo>
                  <a:lnTo>
                    <a:pt x="268" y="432"/>
                  </a:lnTo>
                  <a:lnTo>
                    <a:pt x="264" y="432"/>
                  </a:lnTo>
                  <a:lnTo>
                    <a:pt x="262" y="434"/>
                  </a:lnTo>
                  <a:lnTo>
                    <a:pt x="260" y="436"/>
                  </a:lnTo>
                  <a:lnTo>
                    <a:pt x="260" y="440"/>
                  </a:lnTo>
                  <a:lnTo>
                    <a:pt x="260" y="442"/>
                  </a:lnTo>
                  <a:lnTo>
                    <a:pt x="266" y="450"/>
                  </a:lnTo>
                  <a:lnTo>
                    <a:pt x="280" y="462"/>
                  </a:lnTo>
                  <a:lnTo>
                    <a:pt x="296" y="462"/>
                  </a:lnTo>
                  <a:lnTo>
                    <a:pt x="308" y="464"/>
                  </a:lnTo>
                  <a:lnTo>
                    <a:pt x="326" y="474"/>
                  </a:lnTo>
                  <a:lnTo>
                    <a:pt x="342" y="478"/>
                  </a:lnTo>
                  <a:lnTo>
                    <a:pt x="382" y="484"/>
                  </a:lnTo>
                  <a:lnTo>
                    <a:pt x="404" y="478"/>
                  </a:lnTo>
                  <a:lnTo>
                    <a:pt x="410" y="474"/>
                  </a:lnTo>
                  <a:lnTo>
                    <a:pt x="406" y="468"/>
                  </a:lnTo>
                  <a:lnTo>
                    <a:pt x="406" y="466"/>
                  </a:lnTo>
                  <a:lnTo>
                    <a:pt x="408" y="466"/>
                  </a:lnTo>
                  <a:lnTo>
                    <a:pt x="410" y="466"/>
                  </a:lnTo>
                  <a:lnTo>
                    <a:pt x="414" y="470"/>
                  </a:lnTo>
                  <a:lnTo>
                    <a:pt x="418" y="470"/>
                  </a:lnTo>
                  <a:lnTo>
                    <a:pt x="428" y="466"/>
                  </a:lnTo>
                  <a:lnTo>
                    <a:pt x="432" y="458"/>
                  </a:lnTo>
                  <a:lnTo>
                    <a:pt x="432" y="454"/>
                  </a:lnTo>
                  <a:lnTo>
                    <a:pt x="430" y="452"/>
                  </a:lnTo>
                  <a:lnTo>
                    <a:pt x="430" y="450"/>
                  </a:lnTo>
                  <a:lnTo>
                    <a:pt x="434" y="444"/>
                  </a:lnTo>
                  <a:lnTo>
                    <a:pt x="436" y="438"/>
                  </a:lnTo>
                  <a:lnTo>
                    <a:pt x="448" y="434"/>
                  </a:lnTo>
                  <a:lnTo>
                    <a:pt x="484" y="426"/>
                  </a:lnTo>
                  <a:lnTo>
                    <a:pt x="494" y="420"/>
                  </a:lnTo>
                  <a:lnTo>
                    <a:pt x="506" y="418"/>
                  </a:lnTo>
                  <a:lnTo>
                    <a:pt x="514" y="416"/>
                  </a:lnTo>
                  <a:lnTo>
                    <a:pt x="524" y="408"/>
                  </a:lnTo>
                  <a:lnTo>
                    <a:pt x="540" y="390"/>
                  </a:lnTo>
                  <a:lnTo>
                    <a:pt x="552" y="380"/>
                  </a:lnTo>
                  <a:lnTo>
                    <a:pt x="566" y="370"/>
                  </a:lnTo>
                  <a:lnTo>
                    <a:pt x="588" y="358"/>
                  </a:lnTo>
                  <a:lnTo>
                    <a:pt x="604" y="352"/>
                  </a:lnTo>
                  <a:lnTo>
                    <a:pt x="620" y="352"/>
                  </a:lnTo>
                  <a:lnTo>
                    <a:pt x="626" y="348"/>
                  </a:lnTo>
                  <a:lnTo>
                    <a:pt x="634" y="340"/>
                  </a:lnTo>
                  <a:lnTo>
                    <a:pt x="646" y="334"/>
                  </a:lnTo>
                  <a:lnTo>
                    <a:pt x="650" y="330"/>
                  </a:lnTo>
                  <a:lnTo>
                    <a:pt x="654" y="322"/>
                  </a:lnTo>
                  <a:lnTo>
                    <a:pt x="658" y="316"/>
                  </a:lnTo>
                  <a:lnTo>
                    <a:pt x="658" y="308"/>
                  </a:lnTo>
                  <a:lnTo>
                    <a:pt x="656" y="306"/>
                  </a:lnTo>
                  <a:lnTo>
                    <a:pt x="656" y="300"/>
                  </a:lnTo>
                  <a:lnTo>
                    <a:pt x="662" y="294"/>
                  </a:lnTo>
                  <a:lnTo>
                    <a:pt x="660" y="284"/>
                  </a:lnTo>
                  <a:lnTo>
                    <a:pt x="666" y="286"/>
                  </a:lnTo>
                  <a:lnTo>
                    <a:pt x="678" y="288"/>
                  </a:lnTo>
                  <a:lnTo>
                    <a:pt x="684" y="284"/>
                  </a:lnTo>
                  <a:lnTo>
                    <a:pt x="690" y="278"/>
                  </a:lnTo>
                  <a:lnTo>
                    <a:pt x="696" y="266"/>
                  </a:lnTo>
                  <a:lnTo>
                    <a:pt x="698" y="258"/>
                  </a:lnTo>
                  <a:lnTo>
                    <a:pt x="698" y="250"/>
                  </a:lnTo>
                  <a:lnTo>
                    <a:pt x="696" y="246"/>
                  </a:lnTo>
                  <a:lnTo>
                    <a:pt x="700" y="242"/>
                  </a:lnTo>
                  <a:lnTo>
                    <a:pt x="710" y="242"/>
                  </a:lnTo>
                  <a:lnTo>
                    <a:pt x="712" y="238"/>
                  </a:lnTo>
                  <a:lnTo>
                    <a:pt x="714" y="234"/>
                  </a:lnTo>
                  <a:lnTo>
                    <a:pt x="716" y="228"/>
                  </a:lnTo>
                  <a:lnTo>
                    <a:pt x="716" y="224"/>
                  </a:lnTo>
                  <a:lnTo>
                    <a:pt x="714" y="222"/>
                  </a:lnTo>
                  <a:lnTo>
                    <a:pt x="702" y="214"/>
                  </a:lnTo>
                  <a:lnTo>
                    <a:pt x="706" y="210"/>
                  </a:lnTo>
                  <a:lnTo>
                    <a:pt x="708" y="210"/>
                  </a:lnTo>
                  <a:lnTo>
                    <a:pt x="710" y="208"/>
                  </a:lnTo>
                  <a:lnTo>
                    <a:pt x="710" y="204"/>
                  </a:lnTo>
                  <a:lnTo>
                    <a:pt x="710" y="202"/>
                  </a:lnTo>
                  <a:lnTo>
                    <a:pt x="710" y="198"/>
                  </a:lnTo>
                  <a:lnTo>
                    <a:pt x="704" y="198"/>
                  </a:lnTo>
                  <a:lnTo>
                    <a:pt x="702" y="194"/>
                  </a:lnTo>
                  <a:lnTo>
                    <a:pt x="700" y="188"/>
                  </a:lnTo>
                  <a:lnTo>
                    <a:pt x="700" y="186"/>
                  </a:lnTo>
                  <a:lnTo>
                    <a:pt x="706" y="184"/>
                  </a:lnTo>
                  <a:lnTo>
                    <a:pt x="708" y="182"/>
                  </a:lnTo>
                  <a:lnTo>
                    <a:pt x="708" y="176"/>
                  </a:lnTo>
                  <a:lnTo>
                    <a:pt x="712" y="168"/>
                  </a:lnTo>
                  <a:lnTo>
                    <a:pt x="712" y="162"/>
                  </a:lnTo>
                  <a:lnTo>
                    <a:pt x="708" y="158"/>
                  </a:lnTo>
                  <a:lnTo>
                    <a:pt x="706" y="158"/>
                  </a:lnTo>
                  <a:lnTo>
                    <a:pt x="700" y="160"/>
                  </a:lnTo>
                  <a:lnTo>
                    <a:pt x="696" y="152"/>
                  </a:lnTo>
                  <a:lnTo>
                    <a:pt x="690" y="148"/>
                  </a:lnTo>
                  <a:lnTo>
                    <a:pt x="676" y="144"/>
                  </a:lnTo>
                  <a:lnTo>
                    <a:pt x="666" y="146"/>
                  </a:lnTo>
                  <a:lnTo>
                    <a:pt x="656" y="154"/>
                  </a:lnTo>
                  <a:lnTo>
                    <a:pt x="664" y="140"/>
                  </a:lnTo>
                  <a:lnTo>
                    <a:pt x="666" y="136"/>
                  </a:lnTo>
                  <a:lnTo>
                    <a:pt x="664" y="132"/>
                  </a:lnTo>
                  <a:lnTo>
                    <a:pt x="662" y="128"/>
                  </a:lnTo>
                  <a:lnTo>
                    <a:pt x="662" y="122"/>
                  </a:lnTo>
                  <a:lnTo>
                    <a:pt x="660" y="120"/>
                  </a:lnTo>
                  <a:lnTo>
                    <a:pt x="658" y="120"/>
                  </a:lnTo>
                  <a:lnTo>
                    <a:pt x="636" y="126"/>
                  </a:lnTo>
                  <a:lnTo>
                    <a:pt x="632" y="124"/>
                  </a:lnTo>
                  <a:lnTo>
                    <a:pt x="632" y="120"/>
                  </a:lnTo>
                  <a:lnTo>
                    <a:pt x="636" y="112"/>
                  </a:lnTo>
                  <a:lnTo>
                    <a:pt x="642" y="102"/>
                  </a:lnTo>
                  <a:lnTo>
                    <a:pt x="642" y="92"/>
                  </a:lnTo>
                  <a:lnTo>
                    <a:pt x="642" y="88"/>
                  </a:lnTo>
                  <a:lnTo>
                    <a:pt x="640" y="82"/>
                  </a:lnTo>
                  <a:lnTo>
                    <a:pt x="638" y="78"/>
                  </a:lnTo>
                  <a:lnTo>
                    <a:pt x="634" y="76"/>
                  </a:lnTo>
                  <a:lnTo>
                    <a:pt x="628" y="80"/>
                  </a:lnTo>
                  <a:lnTo>
                    <a:pt x="620" y="76"/>
                  </a:lnTo>
                  <a:lnTo>
                    <a:pt x="614" y="70"/>
                  </a:lnTo>
                  <a:lnTo>
                    <a:pt x="612" y="66"/>
                  </a:lnTo>
                  <a:lnTo>
                    <a:pt x="618" y="58"/>
                  </a:lnTo>
                  <a:lnTo>
                    <a:pt x="626" y="40"/>
                  </a:lnTo>
                  <a:lnTo>
                    <a:pt x="634" y="32"/>
                  </a:lnTo>
                  <a:lnTo>
                    <a:pt x="640" y="30"/>
                  </a:lnTo>
                  <a:lnTo>
                    <a:pt x="648" y="26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0" y="24"/>
                  </a:lnTo>
                  <a:lnTo>
                    <a:pt x="622" y="28"/>
                  </a:lnTo>
                  <a:lnTo>
                    <a:pt x="610" y="40"/>
                  </a:lnTo>
                  <a:lnTo>
                    <a:pt x="604" y="44"/>
                  </a:lnTo>
                  <a:lnTo>
                    <a:pt x="592" y="50"/>
                  </a:lnTo>
                  <a:lnTo>
                    <a:pt x="586" y="5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8" name="Freeform 5385">
              <a:extLst>
                <a:ext uri="{FF2B5EF4-FFF2-40B4-BE49-F238E27FC236}">
                  <a16:creationId xmlns:a16="http://schemas.microsoft.com/office/drawing/2014/main" id="{C49DE0D6-437E-40BB-B636-9415D5362A0F}"/>
                </a:ext>
              </a:extLst>
            </p:cNvPr>
            <p:cNvSpPr/>
            <p:nvPr/>
          </p:nvSpPr>
          <p:spPr bwMode="auto">
            <a:xfrm>
              <a:off x="6163377" y="4512111"/>
              <a:ext cx="42398" cy="117173"/>
            </a:xfrm>
            <a:custGeom>
              <a:avLst/>
              <a:gdLst>
                <a:gd name="T0" fmla="*/ 104 w 110"/>
                <a:gd name="T1" fmla="*/ 52 h 304"/>
                <a:gd name="T2" fmla="*/ 110 w 110"/>
                <a:gd name="T3" fmla="*/ 38 h 304"/>
                <a:gd name="T4" fmla="*/ 108 w 110"/>
                <a:gd name="T5" fmla="*/ 32 h 304"/>
                <a:gd name="T6" fmla="*/ 110 w 110"/>
                <a:gd name="T7" fmla="*/ 24 h 304"/>
                <a:gd name="T8" fmla="*/ 106 w 110"/>
                <a:gd name="T9" fmla="*/ 16 h 304"/>
                <a:gd name="T10" fmla="*/ 106 w 110"/>
                <a:gd name="T11" fmla="*/ 8 h 304"/>
                <a:gd name="T12" fmla="*/ 108 w 110"/>
                <a:gd name="T13" fmla="*/ 0 h 304"/>
                <a:gd name="T14" fmla="*/ 102 w 110"/>
                <a:gd name="T15" fmla="*/ 6 h 304"/>
                <a:gd name="T16" fmla="*/ 92 w 110"/>
                <a:gd name="T17" fmla="*/ 14 h 304"/>
                <a:gd name="T18" fmla="*/ 88 w 110"/>
                <a:gd name="T19" fmla="*/ 14 h 304"/>
                <a:gd name="T20" fmla="*/ 82 w 110"/>
                <a:gd name="T21" fmla="*/ 26 h 304"/>
                <a:gd name="T22" fmla="*/ 70 w 110"/>
                <a:gd name="T23" fmla="*/ 28 h 304"/>
                <a:gd name="T24" fmla="*/ 58 w 110"/>
                <a:gd name="T25" fmla="*/ 28 h 304"/>
                <a:gd name="T26" fmla="*/ 50 w 110"/>
                <a:gd name="T27" fmla="*/ 48 h 304"/>
                <a:gd name="T28" fmla="*/ 38 w 110"/>
                <a:gd name="T29" fmla="*/ 98 h 304"/>
                <a:gd name="T30" fmla="*/ 16 w 110"/>
                <a:gd name="T31" fmla="*/ 144 h 304"/>
                <a:gd name="T32" fmla="*/ 20 w 110"/>
                <a:gd name="T33" fmla="*/ 148 h 304"/>
                <a:gd name="T34" fmla="*/ 8 w 110"/>
                <a:gd name="T35" fmla="*/ 162 h 304"/>
                <a:gd name="T36" fmla="*/ 0 w 110"/>
                <a:gd name="T37" fmla="*/ 174 h 304"/>
                <a:gd name="T38" fmla="*/ 12 w 110"/>
                <a:gd name="T39" fmla="*/ 202 h 304"/>
                <a:gd name="T40" fmla="*/ 20 w 110"/>
                <a:gd name="T41" fmla="*/ 226 h 304"/>
                <a:gd name="T42" fmla="*/ 28 w 110"/>
                <a:gd name="T43" fmla="*/ 250 h 304"/>
                <a:gd name="T44" fmla="*/ 36 w 110"/>
                <a:gd name="T45" fmla="*/ 280 h 304"/>
                <a:gd name="T46" fmla="*/ 44 w 110"/>
                <a:gd name="T47" fmla="*/ 304 h 304"/>
                <a:gd name="T48" fmla="*/ 52 w 110"/>
                <a:gd name="T49" fmla="*/ 282 h 304"/>
                <a:gd name="T50" fmla="*/ 56 w 110"/>
                <a:gd name="T51" fmla="*/ 268 h 304"/>
                <a:gd name="T52" fmla="*/ 60 w 110"/>
                <a:gd name="T53" fmla="*/ 250 h 304"/>
                <a:gd name="T54" fmla="*/ 60 w 110"/>
                <a:gd name="T55" fmla="*/ 234 h 304"/>
                <a:gd name="T56" fmla="*/ 66 w 110"/>
                <a:gd name="T57" fmla="*/ 214 h 304"/>
                <a:gd name="T58" fmla="*/ 72 w 110"/>
                <a:gd name="T59" fmla="*/ 200 h 304"/>
                <a:gd name="T60" fmla="*/ 80 w 110"/>
                <a:gd name="T61" fmla="*/ 180 h 304"/>
                <a:gd name="T62" fmla="*/ 76 w 110"/>
                <a:gd name="T63" fmla="*/ 172 h 304"/>
                <a:gd name="T64" fmla="*/ 80 w 110"/>
                <a:gd name="T65" fmla="*/ 152 h 304"/>
                <a:gd name="T66" fmla="*/ 68 w 110"/>
                <a:gd name="T67" fmla="*/ 156 h 304"/>
                <a:gd name="T68" fmla="*/ 44 w 110"/>
                <a:gd name="T69" fmla="*/ 162 h 304"/>
                <a:gd name="T70" fmla="*/ 42 w 110"/>
                <a:gd name="T71" fmla="*/ 158 h 304"/>
                <a:gd name="T72" fmla="*/ 48 w 110"/>
                <a:gd name="T73" fmla="*/ 142 h 304"/>
                <a:gd name="T74" fmla="*/ 60 w 110"/>
                <a:gd name="T75" fmla="*/ 132 h 304"/>
                <a:gd name="T76" fmla="*/ 64 w 110"/>
                <a:gd name="T77" fmla="*/ 130 h 304"/>
                <a:gd name="T78" fmla="*/ 54 w 110"/>
                <a:gd name="T79" fmla="*/ 124 h 304"/>
                <a:gd name="T80" fmla="*/ 48 w 110"/>
                <a:gd name="T81" fmla="*/ 126 h 304"/>
                <a:gd name="T82" fmla="*/ 50 w 110"/>
                <a:gd name="T83" fmla="*/ 122 h 304"/>
                <a:gd name="T84" fmla="*/ 50 w 110"/>
                <a:gd name="T85" fmla="*/ 112 h 304"/>
                <a:gd name="T86" fmla="*/ 48 w 110"/>
                <a:gd name="T87" fmla="*/ 100 h 304"/>
                <a:gd name="T88" fmla="*/ 52 w 110"/>
                <a:gd name="T89" fmla="*/ 86 h 304"/>
                <a:gd name="T90" fmla="*/ 64 w 110"/>
                <a:gd name="T91" fmla="*/ 70 h 304"/>
                <a:gd name="T92" fmla="*/ 74 w 110"/>
                <a:gd name="T93" fmla="*/ 72 h 304"/>
                <a:gd name="T94" fmla="*/ 78 w 110"/>
                <a:gd name="T95" fmla="*/ 78 h 304"/>
                <a:gd name="T96" fmla="*/ 86 w 110"/>
                <a:gd name="T97" fmla="*/ 82 h 304"/>
                <a:gd name="T98" fmla="*/ 88 w 110"/>
                <a:gd name="T99" fmla="*/ 62 h 304"/>
                <a:gd name="T100" fmla="*/ 90 w 110"/>
                <a:gd name="T101" fmla="*/ 60 h 304"/>
                <a:gd name="T102" fmla="*/ 102 w 110"/>
                <a:gd name="T103" fmla="*/ 56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10" h="304">
                  <a:moveTo>
                    <a:pt x="102" y="56"/>
                  </a:moveTo>
                  <a:lnTo>
                    <a:pt x="104" y="52"/>
                  </a:lnTo>
                  <a:lnTo>
                    <a:pt x="106" y="46"/>
                  </a:lnTo>
                  <a:lnTo>
                    <a:pt x="110" y="38"/>
                  </a:lnTo>
                  <a:lnTo>
                    <a:pt x="108" y="34"/>
                  </a:lnTo>
                  <a:lnTo>
                    <a:pt x="108" y="32"/>
                  </a:lnTo>
                  <a:lnTo>
                    <a:pt x="108" y="28"/>
                  </a:lnTo>
                  <a:lnTo>
                    <a:pt x="110" y="24"/>
                  </a:lnTo>
                  <a:lnTo>
                    <a:pt x="108" y="20"/>
                  </a:lnTo>
                  <a:lnTo>
                    <a:pt x="106" y="16"/>
                  </a:lnTo>
                  <a:lnTo>
                    <a:pt x="106" y="12"/>
                  </a:lnTo>
                  <a:lnTo>
                    <a:pt x="106" y="8"/>
                  </a:lnTo>
                  <a:lnTo>
                    <a:pt x="106" y="6"/>
                  </a:lnTo>
                  <a:lnTo>
                    <a:pt x="108" y="0"/>
                  </a:lnTo>
                  <a:lnTo>
                    <a:pt x="106" y="2"/>
                  </a:lnTo>
                  <a:lnTo>
                    <a:pt x="102" y="6"/>
                  </a:lnTo>
                  <a:lnTo>
                    <a:pt x="98" y="8"/>
                  </a:lnTo>
                  <a:lnTo>
                    <a:pt x="92" y="14"/>
                  </a:lnTo>
                  <a:lnTo>
                    <a:pt x="90" y="16"/>
                  </a:lnTo>
                  <a:lnTo>
                    <a:pt x="88" y="14"/>
                  </a:lnTo>
                  <a:lnTo>
                    <a:pt x="86" y="14"/>
                  </a:lnTo>
                  <a:lnTo>
                    <a:pt x="82" y="26"/>
                  </a:lnTo>
                  <a:lnTo>
                    <a:pt x="78" y="28"/>
                  </a:lnTo>
                  <a:lnTo>
                    <a:pt x="70" y="28"/>
                  </a:lnTo>
                  <a:lnTo>
                    <a:pt x="66" y="28"/>
                  </a:lnTo>
                  <a:lnTo>
                    <a:pt x="58" y="28"/>
                  </a:lnTo>
                  <a:lnTo>
                    <a:pt x="56" y="38"/>
                  </a:lnTo>
                  <a:lnTo>
                    <a:pt x="50" y="48"/>
                  </a:lnTo>
                  <a:lnTo>
                    <a:pt x="46" y="64"/>
                  </a:lnTo>
                  <a:lnTo>
                    <a:pt x="38" y="98"/>
                  </a:lnTo>
                  <a:lnTo>
                    <a:pt x="30" y="120"/>
                  </a:lnTo>
                  <a:lnTo>
                    <a:pt x="16" y="144"/>
                  </a:lnTo>
                  <a:lnTo>
                    <a:pt x="16" y="144"/>
                  </a:lnTo>
                  <a:lnTo>
                    <a:pt x="20" y="148"/>
                  </a:lnTo>
                  <a:lnTo>
                    <a:pt x="20" y="148"/>
                  </a:lnTo>
                  <a:lnTo>
                    <a:pt x="8" y="162"/>
                  </a:lnTo>
                  <a:lnTo>
                    <a:pt x="8" y="166"/>
                  </a:lnTo>
                  <a:lnTo>
                    <a:pt x="0" y="174"/>
                  </a:lnTo>
                  <a:lnTo>
                    <a:pt x="6" y="190"/>
                  </a:lnTo>
                  <a:lnTo>
                    <a:pt x="12" y="202"/>
                  </a:lnTo>
                  <a:lnTo>
                    <a:pt x="18" y="220"/>
                  </a:lnTo>
                  <a:lnTo>
                    <a:pt x="20" y="226"/>
                  </a:lnTo>
                  <a:lnTo>
                    <a:pt x="20" y="232"/>
                  </a:lnTo>
                  <a:lnTo>
                    <a:pt x="28" y="250"/>
                  </a:lnTo>
                  <a:lnTo>
                    <a:pt x="34" y="266"/>
                  </a:lnTo>
                  <a:lnTo>
                    <a:pt x="36" y="280"/>
                  </a:lnTo>
                  <a:lnTo>
                    <a:pt x="42" y="298"/>
                  </a:lnTo>
                  <a:lnTo>
                    <a:pt x="44" y="304"/>
                  </a:lnTo>
                  <a:lnTo>
                    <a:pt x="48" y="298"/>
                  </a:lnTo>
                  <a:lnTo>
                    <a:pt x="52" y="282"/>
                  </a:lnTo>
                  <a:lnTo>
                    <a:pt x="54" y="272"/>
                  </a:lnTo>
                  <a:lnTo>
                    <a:pt x="56" y="268"/>
                  </a:lnTo>
                  <a:lnTo>
                    <a:pt x="60" y="254"/>
                  </a:lnTo>
                  <a:lnTo>
                    <a:pt x="60" y="250"/>
                  </a:lnTo>
                  <a:lnTo>
                    <a:pt x="60" y="236"/>
                  </a:lnTo>
                  <a:lnTo>
                    <a:pt x="60" y="234"/>
                  </a:lnTo>
                  <a:lnTo>
                    <a:pt x="62" y="226"/>
                  </a:lnTo>
                  <a:lnTo>
                    <a:pt x="66" y="214"/>
                  </a:lnTo>
                  <a:lnTo>
                    <a:pt x="70" y="204"/>
                  </a:lnTo>
                  <a:lnTo>
                    <a:pt x="72" y="200"/>
                  </a:lnTo>
                  <a:lnTo>
                    <a:pt x="76" y="190"/>
                  </a:lnTo>
                  <a:lnTo>
                    <a:pt x="80" y="180"/>
                  </a:lnTo>
                  <a:lnTo>
                    <a:pt x="78" y="172"/>
                  </a:lnTo>
                  <a:lnTo>
                    <a:pt x="76" y="172"/>
                  </a:lnTo>
                  <a:lnTo>
                    <a:pt x="78" y="164"/>
                  </a:lnTo>
                  <a:lnTo>
                    <a:pt x="80" y="152"/>
                  </a:lnTo>
                  <a:lnTo>
                    <a:pt x="78" y="152"/>
                  </a:lnTo>
                  <a:lnTo>
                    <a:pt x="68" y="156"/>
                  </a:lnTo>
                  <a:lnTo>
                    <a:pt x="58" y="162"/>
                  </a:lnTo>
                  <a:lnTo>
                    <a:pt x="44" y="162"/>
                  </a:lnTo>
                  <a:lnTo>
                    <a:pt x="42" y="162"/>
                  </a:lnTo>
                  <a:lnTo>
                    <a:pt x="42" y="158"/>
                  </a:lnTo>
                  <a:lnTo>
                    <a:pt x="46" y="148"/>
                  </a:lnTo>
                  <a:lnTo>
                    <a:pt x="48" y="142"/>
                  </a:lnTo>
                  <a:lnTo>
                    <a:pt x="52" y="138"/>
                  </a:lnTo>
                  <a:lnTo>
                    <a:pt x="60" y="132"/>
                  </a:lnTo>
                  <a:lnTo>
                    <a:pt x="64" y="132"/>
                  </a:lnTo>
                  <a:lnTo>
                    <a:pt x="64" y="130"/>
                  </a:lnTo>
                  <a:lnTo>
                    <a:pt x="60" y="126"/>
                  </a:lnTo>
                  <a:lnTo>
                    <a:pt x="54" y="124"/>
                  </a:lnTo>
                  <a:lnTo>
                    <a:pt x="50" y="126"/>
                  </a:lnTo>
                  <a:lnTo>
                    <a:pt x="48" y="126"/>
                  </a:lnTo>
                  <a:lnTo>
                    <a:pt x="48" y="124"/>
                  </a:lnTo>
                  <a:lnTo>
                    <a:pt x="50" y="122"/>
                  </a:lnTo>
                  <a:lnTo>
                    <a:pt x="50" y="120"/>
                  </a:lnTo>
                  <a:lnTo>
                    <a:pt x="50" y="112"/>
                  </a:lnTo>
                  <a:lnTo>
                    <a:pt x="48" y="106"/>
                  </a:lnTo>
                  <a:lnTo>
                    <a:pt x="48" y="100"/>
                  </a:lnTo>
                  <a:lnTo>
                    <a:pt x="50" y="90"/>
                  </a:lnTo>
                  <a:lnTo>
                    <a:pt x="52" y="86"/>
                  </a:lnTo>
                  <a:lnTo>
                    <a:pt x="54" y="76"/>
                  </a:lnTo>
                  <a:lnTo>
                    <a:pt x="64" y="70"/>
                  </a:lnTo>
                  <a:lnTo>
                    <a:pt x="70" y="72"/>
                  </a:lnTo>
                  <a:lnTo>
                    <a:pt x="74" y="72"/>
                  </a:lnTo>
                  <a:lnTo>
                    <a:pt x="76" y="74"/>
                  </a:lnTo>
                  <a:lnTo>
                    <a:pt x="78" y="78"/>
                  </a:lnTo>
                  <a:lnTo>
                    <a:pt x="82" y="82"/>
                  </a:lnTo>
                  <a:lnTo>
                    <a:pt x="86" y="82"/>
                  </a:lnTo>
                  <a:lnTo>
                    <a:pt x="88" y="64"/>
                  </a:lnTo>
                  <a:lnTo>
                    <a:pt x="88" y="62"/>
                  </a:lnTo>
                  <a:lnTo>
                    <a:pt x="90" y="60"/>
                  </a:lnTo>
                  <a:lnTo>
                    <a:pt x="90" y="60"/>
                  </a:lnTo>
                  <a:lnTo>
                    <a:pt x="98" y="56"/>
                  </a:lnTo>
                  <a:lnTo>
                    <a:pt x="102" y="5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9" name="Freeform 157">
              <a:extLst>
                <a:ext uri="{FF2B5EF4-FFF2-40B4-BE49-F238E27FC236}">
                  <a16:creationId xmlns:a16="http://schemas.microsoft.com/office/drawing/2014/main" id="{A0877E4F-31DB-4458-A13C-61B74C214EC0}"/>
                </a:ext>
              </a:extLst>
            </p:cNvPr>
            <p:cNvSpPr/>
            <p:nvPr/>
          </p:nvSpPr>
          <p:spPr bwMode="auto">
            <a:xfrm>
              <a:off x="5465734" y="4058064"/>
              <a:ext cx="299871" cy="353833"/>
            </a:xfrm>
            <a:custGeom>
              <a:avLst/>
              <a:gdLst>
                <a:gd name="connsiteX0" fmla="*/ 829132 w 1853634"/>
                <a:gd name="connsiteY0" fmla="*/ 2158604 h 2187196"/>
                <a:gd name="connsiteX1" fmla="*/ 833898 w 1853634"/>
                <a:gd name="connsiteY1" fmla="*/ 2158604 h 2187196"/>
                <a:gd name="connsiteX2" fmla="*/ 843428 w 1853634"/>
                <a:gd name="connsiteY2" fmla="*/ 2158604 h 2187196"/>
                <a:gd name="connsiteX3" fmla="*/ 848192 w 1853634"/>
                <a:gd name="connsiteY3" fmla="*/ 2168132 h 2187196"/>
                <a:gd name="connsiteX4" fmla="*/ 848192 w 1853634"/>
                <a:gd name="connsiteY4" fmla="*/ 2172900 h 2187196"/>
                <a:gd name="connsiteX5" fmla="*/ 843428 w 1853634"/>
                <a:gd name="connsiteY5" fmla="*/ 2177664 h 2187196"/>
                <a:gd name="connsiteX6" fmla="*/ 829132 w 1853634"/>
                <a:gd name="connsiteY6" fmla="*/ 2168132 h 2187196"/>
                <a:gd name="connsiteX7" fmla="*/ 1396182 w 1853634"/>
                <a:gd name="connsiteY7" fmla="*/ 1867932 h 2187196"/>
                <a:gd name="connsiteX8" fmla="*/ 1410476 w 1853634"/>
                <a:gd name="connsiteY8" fmla="*/ 1877460 h 2187196"/>
                <a:gd name="connsiteX9" fmla="*/ 1400946 w 1853634"/>
                <a:gd name="connsiteY9" fmla="*/ 1886992 h 2187196"/>
                <a:gd name="connsiteX10" fmla="*/ 1386652 w 1853634"/>
                <a:gd name="connsiteY10" fmla="*/ 1906052 h 2187196"/>
                <a:gd name="connsiteX11" fmla="*/ 1381886 w 1853634"/>
                <a:gd name="connsiteY11" fmla="*/ 1915584 h 2187196"/>
                <a:gd name="connsiteX12" fmla="*/ 1343766 w 1853634"/>
                <a:gd name="connsiteY12" fmla="*/ 1972764 h 2187196"/>
                <a:gd name="connsiteX13" fmla="*/ 1343766 w 1853634"/>
                <a:gd name="connsiteY13" fmla="*/ 1982292 h 2187196"/>
                <a:gd name="connsiteX14" fmla="*/ 1339000 w 1853634"/>
                <a:gd name="connsiteY14" fmla="*/ 1996588 h 2187196"/>
                <a:gd name="connsiteX15" fmla="*/ 1334236 w 1853634"/>
                <a:gd name="connsiteY15" fmla="*/ 2010884 h 2187196"/>
                <a:gd name="connsiteX16" fmla="*/ 1329470 w 1853634"/>
                <a:gd name="connsiteY16" fmla="*/ 2020416 h 2187196"/>
                <a:gd name="connsiteX17" fmla="*/ 1324704 w 1853634"/>
                <a:gd name="connsiteY17" fmla="*/ 2034712 h 2187196"/>
                <a:gd name="connsiteX18" fmla="*/ 1324704 w 1853634"/>
                <a:gd name="connsiteY18" fmla="*/ 2053772 h 2187196"/>
                <a:gd name="connsiteX19" fmla="*/ 1329470 w 1853634"/>
                <a:gd name="connsiteY19" fmla="*/ 2058536 h 2187196"/>
                <a:gd name="connsiteX20" fmla="*/ 1334236 w 1853634"/>
                <a:gd name="connsiteY20" fmla="*/ 2063300 h 2187196"/>
                <a:gd name="connsiteX21" fmla="*/ 1339000 w 1853634"/>
                <a:gd name="connsiteY21" fmla="*/ 2068068 h 2187196"/>
                <a:gd name="connsiteX22" fmla="*/ 1343766 w 1853634"/>
                <a:gd name="connsiteY22" fmla="*/ 2077596 h 2187196"/>
                <a:gd name="connsiteX23" fmla="*/ 1334236 w 1853634"/>
                <a:gd name="connsiteY23" fmla="*/ 2087128 h 2187196"/>
                <a:gd name="connsiteX24" fmla="*/ 1348530 w 1853634"/>
                <a:gd name="connsiteY24" fmla="*/ 2096656 h 2187196"/>
                <a:gd name="connsiteX25" fmla="*/ 1353296 w 1853634"/>
                <a:gd name="connsiteY25" fmla="*/ 2106188 h 2187196"/>
                <a:gd name="connsiteX26" fmla="*/ 1353296 w 1853634"/>
                <a:gd name="connsiteY26" fmla="*/ 2115716 h 2187196"/>
                <a:gd name="connsiteX27" fmla="*/ 1353296 w 1853634"/>
                <a:gd name="connsiteY27" fmla="*/ 2125248 h 2187196"/>
                <a:gd name="connsiteX28" fmla="*/ 1339000 w 1853634"/>
                <a:gd name="connsiteY28" fmla="*/ 2139544 h 2187196"/>
                <a:gd name="connsiteX29" fmla="*/ 1329470 w 1853634"/>
                <a:gd name="connsiteY29" fmla="*/ 2149072 h 2187196"/>
                <a:gd name="connsiteX30" fmla="*/ 1329470 w 1853634"/>
                <a:gd name="connsiteY30" fmla="*/ 2158604 h 2187196"/>
                <a:gd name="connsiteX31" fmla="*/ 1324704 w 1853634"/>
                <a:gd name="connsiteY31" fmla="*/ 2168132 h 2187196"/>
                <a:gd name="connsiteX32" fmla="*/ 1329470 w 1853634"/>
                <a:gd name="connsiteY32" fmla="*/ 2177664 h 2187196"/>
                <a:gd name="connsiteX33" fmla="*/ 1324704 w 1853634"/>
                <a:gd name="connsiteY33" fmla="*/ 2187196 h 2187196"/>
                <a:gd name="connsiteX34" fmla="*/ 1310410 w 1853634"/>
                <a:gd name="connsiteY34" fmla="*/ 2187196 h 2187196"/>
                <a:gd name="connsiteX35" fmla="*/ 1291348 w 1853634"/>
                <a:gd name="connsiteY35" fmla="*/ 2177664 h 2187196"/>
                <a:gd name="connsiteX36" fmla="*/ 1272288 w 1853634"/>
                <a:gd name="connsiteY36" fmla="*/ 2182428 h 2187196"/>
                <a:gd name="connsiteX37" fmla="*/ 1248462 w 1853634"/>
                <a:gd name="connsiteY37" fmla="*/ 2172900 h 2187196"/>
                <a:gd name="connsiteX38" fmla="*/ 1238932 w 1853634"/>
                <a:gd name="connsiteY38" fmla="*/ 2168132 h 2187196"/>
                <a:gd name="connsiteX39" fmla="*/ 1229402 w 1853634"/>
                <a:gd name="connsiteY39" fmla="*/ 2163368 h 2187196"/>
                <a:gd name="connsiteX40" fmla="*/ 1210342 w 1853634"/>
                <a:gd name="connsiteY40" fmla="*/ 2130012 h 2187196"/>
                <a:gd name="connsiteX41" fmla="*/ 1191282 w 1853634"/>
                <a:gd name="connsiteY41" fmla="*/ 2115716 h 2187196"/>
                <a:gd name="connsiteX42" fmla="*/ 1176986 w 1853634"/>
                <a:gd name="connsiteY42" fmla="*/ 2106188 h 2187196"/>
                <a:gd name="connsiteX43" fmla="*/ 1157926 w 1853634"/>
                <a:gd name="connsiteY43" fmla="*/ 2106188 h 2187196"/>
                <a:gd name="connsiteX44" fmla="*/ 1138864 w 1853634"/>
                <a:gd name="connsiteY44" fmla="*/ 2106188 h 2187196"/>
                <a:gd name="connsiteX45" fmla="*/ 1119804 w 1853634"/>
                <a:gd name="connsiteY45" fmla="*/ 2101420 h 2187196"/>
                <a:gd name="connsiteX46" fmla="*/ 1086448 w 1853634"/>
                <a:gd name="connsiteY46" fmla="*/ 2077596 h 2187196"/>
                <a:gd name="connsiteX47" fmla="*/ 1053092 w 1853634"/>
                <a:gd name="connsiteY47" fmla="*/ 2058536 h 2187196"/>
                <a:gd name="connsiteX48" fmla="*/ 1038798 w 1853634"/>
                <a:gd name="connsiteY48" fmla="*/ 2044240 h 2187196"/>
                <a:gd name="connsiteX49" fmla="*/ 1029268 w 1853634"/>
                <a:gd name="connsiteY49" fmla="*/ 2039476 h 2187196"/>
                <a:gd name="connsiteX50" fmla="*/ 1024502 w 1853634"/>
                <a:gd name="connsiteY50" fmla="*/ 2029944 h 2187196"/>
                <a:gd name="connsiteX51" fmla="*/ 1000676 w 1853634"/>
                <a:gd name="connsiteY51" fmla="*/ 2025180 h 2187196"/>
                <a:gd name="connsiteX52" fmla="*/ 986380 w 1853634"/>
                <a:gd name="connsiteY52" fmla="*/ 2015648 h 2187196"/>
                <a:gd name="connsiteX53" fmla="*/ 976850 w 1853634"/>
                <a:gd name="connsiteY53" fmla="*/ 2010884 h 2187196"/>
                <a:gd name="connsiteX54" fmla="*/ 957790 w 1853634"/>
                <a:gd name="connsiteY54" fmla="*/ 2015648 h 2187196"/>
                <a:gd name="connsiteX55" fmla="*/ 948260 w 1853634"/>
                <a:gd name="connsiteY55" fmla="*/ 2015648 h 2187196"/>
                <a:gd name="connsiteX56" fmla="*/ 938730 w 1853634"/>
                <a:gd name="connsiteY56" fmla="*/ 2010884 h 2187196"/>
                <a:gd name="connsiteX57" fmla="*/ 924434 w 1853634"/>
                <a:gd name="connsiteY57" fmla="*/ 1996588 h 2187196"/>
                <a:gd name="connsiteX58" fmla="*/ 910140 w 1853634"/>
                <a:gd name="connsiteY58" fmla="*/ 1972764 h 2187196"/>
                <a:gd name="connsiteX59" fmla="*/ 910140 w 1853634"/>
                <a:gd name="connsiteY59" fmla="*/ 1963232 h 2187196"/>
                <a:gd name="connsiteX60" fmla="*/ 914904 w 1853634"/>
                <a:gd name="connsiteY60" fmla="*/ 1939408 h 2187196"/>
                <a:gd name="connsiteX61" fmla="*/ 924434 w 1853634"/>
                <a:gd name="connsiteY61" fmla="*/ 1920348 h 2187196"/>
                <a:gd name="connsiteX62" fmla="*/ 933964 w 1853634"/>
                <a:gd name="connsiteY62" fmla="*/ 1910816 h 2187196"/>
                <a:gd name="connsiteX63" fmla="*/ 943494 w 1853634"/>
                <a:gd name="connsiteY63" fmla="*/ 1906052 h 2187196"/>
                <a:gd name="connsiteX64" fmla="*/ 948260 w 1853634"/>
                <a:gd name="connsiteY64" fmla="*/ 1901288 h 2187196"/>
                <a:gd name="connsiteX65" fmla="*/ 957790 w 1853634"/>
                <a:gd name="connsiteY65" fmla="*/ 1891756 h 2187196"/>
                <a:gd name="connsiteX66" fmla="*/ 972086 w 1853634"/>
                <a:gd name="connsiteY66" fmla="*/ 1915584 h 2187196"/>
                <a:gd name="connsiteX67" fmla="*/ 981616 w 1853634"/>
                <a:gd name="connsiteY67" fmla="*/ 1920348 h 2187196"/>
                <a:gd name="connsiteX68" fmla="*/ 991146 w 1853634"/>
                <a:gd name="connsiteY68" fmla="*/ 1920348 h 2187196"/>
                <a:gd name="connsiteX69" fmla="*/ 1005442 w 1853634"/>
                <a:gd name="connsiteY69" fmla="*/ 1910816 h 2187196"/>
                <a:gd name="connsiteX70" fmla="*/ 1005442 w 1853634"/>
                <a:gd name="connsiteY70" fmla="*/ 1901288 h 2187196"/>
                <a:gd name="connsiteX71" fmla="*/ 1019736 w 1853634"/>
                <a:gd name="connsiteY71" fmla="*/ 1891756 h 2187196"/>
                <a:gd name="connsiteX72" fmla="*/ 1043562 w 1853634"/>
                <a:gd name="connsiteY72" fmla="*/ 1891756 h 2187196"/>
                <a:gd name="connsiteX73" fmla="*/ 1053092 w 1853634"/>
                <a:gd name="connsiteY73" fmla="*/ 1891756 h 2187196"/>
                <a:gd name="connsiteX74" fmla="*/ 1057858 w 1853634"/>
                <a:gd name="connsiteY74" fmla="*/ 1906052 h 2187196"/>
                <a:gd name="connsiteX75" fmla="*/ 1062622 w 1853634"/>
                <a:gd name="connsiteY75" fmla="*/ 1906052 h 2187196"/>
                <a:gd name="connsiteX76" fmla="*/ 1072154 w 1853634"/>
                <a:gd name="connsiteY76" fmla="*/ 1910816 h 2187196"/>
                <a:gd name="connsiteX77" fmla="*/ 1100744 w 1853634"/>
                <a:gd name="connsiteY77" fmla="*/ 1929876 h 2187196"/>
                <a:gd name="connsiteX78" fmla="*/ 1110274 w 1853634"/>
                <a:gd name="connsiteY78" fmla="*/ 1929876 h 2187196"/>
                <a:gd name="connsiteX79" fmla="*/ 1119804 w 1853634"/>
                <a:gd name="connsiteY79" fmla="*/ 1934644 h 2187196"/>
                <a:gd name="connsiteX80" fmla="*/ 1143630 w 1853634"/>
                <a:gd name="connsiteY80" fmla="*/ 1925112 h 2187196"/>
                <a:gd name="connsiteX81" fmla="*/ 1162690 w 1853634"/>
                <a:gd name="connsiteY81" fmla="*/ 1920348 h 2187196"/>
                <a:gd name="connsiteX82" fmla="*/ 1196046 w 1853634"/>
                <a:gd name="connsiteY82" fmla="*/ 1925112 h 2187196"/>
                <a:gd name="connsiteX83" fmla="*/ 1219872 w 1853634"/>
                <a:gd name="connsiteY83" fmla="*/ 1920348 h 2187196"/>
                <a:gd name="connsiteX84" fmla="*/ 1234168 w 1853634"/>
                <a:gd name="connsiteY84" fmla="*/ 1920348 h 2187196"/>
                <a:gd name="connsiteX85" fmla="*/ 1253228 w 1853634"/>
                <a:gd name="connsiteY85" fmla="*/ 1910816 h 2187196"/>
                <a:gd name="connsiteX86" fmla="*/ 1267524 w 1853634"/>
                <a:gd name="connsiteY86" fmla="*/ 1901288 h 2187196"/>
                <a:gd name="connsiteX87" fmla="*/ 1277054 w 1853634"/>
                <a:gd name="connsiteY87" fmla="*/ 1896520 h 2187196"/>
                <a:gd name="connsiteX88" fmla="*/ 1286584 w 1853634"/>
                <a:gd name="connsiteY88" fmla="*/ 1896520 h 2187196"/>
                <a:gd name="connsiteX89" fmla="*/ 1305644 w 1853634"/>
                <a:gd name="connsiteY89" fmla="*/ 1896520 h 2187196"/>
                <a:gd name="connsiteX90" fmla="*/ 1329470 w 1853634"/>
                <a:gd name="connsiteY90" fmla="*/ 1901288 h 2187196"/>
                <a:gd name="connsiteX91" fmla="*/ 1334236 w 1853634"/>
                <a:gd name="connsiteY91" fmla="*/ 1896520 h 2187196"/>
                <a:gd name="connsiteX92" fmla="*/ 1343766 w 1853634"/>
                <a:gd name="connsiteY92" fmla="*/ 1886992 h 2187196"/>
                <a:gd name="connsiteX93" fmla="*/ 1353296 w 1853634"/>
                <a:gd name="connsiteY93" fmla="*/ 1882228 h 2187196"/>
                <a:gd name="connsiteX94" fmla="*/ 1362826 w 1853634"/>
                <a:gd name="connsiteY94" fmla="*/ 1886992 h 2187196"/>
                <a:gd name="connsiteX95" fmla="*/ 1386652 w 1853634"/>
                <a:gd name="connsiteY95" fmla="*/ 1872696 h 2187196"/>
                <a:gd name="connsiteX96" fmla="*/ 271612 w 1853634"/>
                <a:gd name="connsiteY96" fmla="*/ 1705916 h 2187196"/>
                <a:gd name="connsiteX97" fmla="*/ 285908 w 1853634"/>
                <a:gd name="connsiteY97" fmla="*/ 1710680 h 2187196"/>
                <a:gd name="connsiteX98" fmla="*/ 290672 w 1853634"/>
                <a:gd name="connsiteY98" fmla="*/ 1715448 h 2187196"/>
                <a:gd name="connsiteX99" fmla="*/ 281142 w 1853634"/>
                <a:gd name="connsiteY99" fmla="*/ 1734508 h 2187196"/>
                <a:gd name="connsiteX100" fmla="*/ 271612 w 1853634"/>
                <a:gd name="connsiteY100" fmla="*/ 1720212 h 2187196"/>
                <a:gd name="connsiteX101" fmla="*/ 271612 w 1853634"/>
                <a:gd name="connsiteY101" fmla="*/ 1710680 h 2187196"/>
                <a:gd name="connsiteX102" fmla="*/ 1134100 w 1853634"/>
                <a:gd name="connsiteY102" fmla="*/ 1372356 h 2187196"/>
                <a:gd name="connsiteX103" fmla="*/ 1148396 w 1853634"/>
                <a:gd name="connsiteY103" fmla="*/ 1377124 h 2187196"/>
                <a:gd name="connsiteX104" fmla="*/ 1148396 w 1853634"/>
                <a:gd name="connsiteY104" fmla="*/ 1381888 h 2187196"/>
                <a:gd name="connsiteX105" fmla="*/ 1143630 w 1853634"/>
                <a:gd name="connsiteY105" fmla="*/ 1381888 h 2187196"/>
                <a:gd name="connsiteX106" fmla="*/ 1134100 w 1853634"/>
                <a:gd name="connsiteY106" fmla="*/ 1381888 h 2187196"/>
                <a:gd name="connsiteX107" fmla="*/ 1129336 w 1853634"/>
                <a:gd name="connsiteY107" fmla="*/ 1377124 h 2187196"/>
                <a:gd name="connsiteX108" fmla="*/ 266848 w 1853634"/>
                <a:gd name="connsiteY108" fmla="*/ 1296116 h 2187196"/>
                <a:gd name="connsiteX109" fmla="*/ 271612 w 1853634"/>
                <a:gd name="connsiteY109" fmla="*/ 1300882 h 2187196"/>
                <a:gd name="connsiteX110" fmla="*/ 266848 w 1853634"/>
                <a:gd name="connsiteY110" fmla="*/ 1310412 h 2187196"/>
                <a:gd name="connsiteX111" fmla="*/ 262082 w 1853634"/>
                <a:gd name="connsiteY111" fmla="*/ 1315176 h 2187196"/>
                <a:gd name="connsiteX112" fmla="*/ 257318 w 1853634"/>
                <a:gd name="connsiteY112" fmla="*/ 1324708 h 2187196"/>
                <a:gd name="connsiteX113" fmla="*/ 247788 w 1853634"/>
                <a:gd name="connsiteY113" fmla="*/ 1319942 h 2187196"/>
                <a:gd name="connsiteX114" fmla="*/ 252552 w 1853634"/>
                <a:gd name="connsiteY114" fmla="*/ 1315176 h 2187196"/>
                <a:gd name="connsiteX115" fmla="*/ 257318 w 1853634"/>
                <a:gd name="connsiteY115" fmla="*/ 1300882 h 2187196"/>
                <a:gd name="connsiteX116" fmla="*/ 409800 w 1853634"/>
                <a:gd name="connsiteY116" fmla="*/ 1267524 h 2187196"/>
                <a:gd name="connsiteX117" fmla="*/ 414566 w 1853634"/>
                <a:gd name="connsiteY117" fmla="*/ 1281820 h 2187196"/>
                <a:gd name="connsiteX118" fmla="*/ 428862 w 1853634"/>
                <a:gd name="connsiteY118" fmla="*/ 1281820 h 2187196"/>
                <a:gd name="connsiteX119" fmla="*/ 443156 w 1853634"/>
                <a:gd name="connsiteY119" fmla="*/ 1291352 h 2187196"/>
                <a:gd name="connsiteX120" fmla="*/ 447922 w 1853634"/>
                <a:gd name="connsiteY120" fmla="*/ 1300880 h 2187196"/>
                <a:gd name="connsiteX121" fmla="*/ 457452 w 1853634"/>
                <a:gd name="connsiteY121" fmla="*/ 1310412 h 2187196"/>
                <a:gd name="connsiteX122" fmla="*/ 462218 w 1853634"/>
                <a:gd name="connsiteY122" fmla="*/ 1315176 h 2187196"/>
                <a:gd name="connsiteX123" fmla="*/ 466982 w 1853634"/>
                <a:gd name="connsiteY123" fmla="*/ 1319940 h 2187196"/>
                <a:gd name="connsiteX124" fmla="*/ 462218 w 1853634"/>
                <a:gd name="connsiteY124" fmla="*/ 1324708 h 2187196"/>
                <a:gd name="connsiteX125" fmla="*/ 457452 w 1853634"/>
                <a:gd name="connsiteY125" fmla="*/ 1334236 h 2187196"/>
                <a:gd name="connsiteX126" fmla="*/ 462218 w 1853634"/>
                <a:gd name="connsiteY126" fmla="*/ 1339000 h 2187196"/>
                <a:gd name="connsiteX127" fmla="*/ 471748 w 1853634"/>
                <a:gd name="connsiteY127" fmla="*/ 1343768 h 2187196"/>
                <a:gd name="connsiteX128" fmla="*/ 476512 w 1853634"/>
                <a:gd name="connsiteY128" fmla="*/ 1358064 h 2187196"/>
                <a:gd name="connsiteX129" fmla="*/ 495572 w 1853634"/>
                <a:gd name="connsiteY129" fmla="*/ 1415244 h 2187196"/>
                <a:gd name="connsiteX130" fmla="*/ 495572 w 1853634"/>
                <a:gd name="connsiteY130" fmla="*/ 1424776 h 2187196"/>
                <a:gd name="connsiteX131" fmla="*/ 495572 w 1853634"/>
                <a:gd name="connsiteY131" fmla="*/ 1439068 h 2187196"/>
                <a:gd name="connsiteX132" fmla="*/ 490808 w 1853634"/>
                <a:gd name="connsiteY132" fmla="*/ 1443836 h 2187196"/>
                <a:gd name="connsiteX133" fmla="*/ 471748 w 1853634"/>
                <a:gd name="connsiteY133" fmla="*/ 1472424 h 2187196"/>
                <a:gd name="connsiteX134" fmla="*/ 476512 w 1853634"/>
                <a:gd name="connsiteY134" fmla="*/ 1496252 h 2187196"/>
                <a:gd name="connsiteX135" fmla="*/ 481278 w 1853634"/>
                <a:gd name="connsiteY135" fmla="*/ 1510548 h 2187196"/>
                <a:gd name="connsiteX136" fmla="*/ 481278 w 1853634"/>
                <a:gd name="connsiteY136" fmla="*/ 1524840 h 2187196"/>
                <a:gd name="connsiteX137" fmla="*/ 476512 w 1853634"/>
                <a:gd name="connsiteY137" fmla="*/ 1543904 h 2187196"/>
                <a:gd name="connsiteX138" fmla="*/ 466982 w 1853634"/>
                <a:gd name="connsiteY138" fmla="*/ 1658264 h 2187196"/>
                <a:gd name="connsiteX139" fmla="*/ 462218 w 1853634"/>
                <a:gd name="connsiteY139" fmla="*/ 1677328 h 2187196"/>
                <a:gd name="connsiteX140" fmla="*/ 457452 w 1853634"/>
                <a:gd name="connsiteY140" fmla="*/ 1696388 h 2187196"/>
                <a:gd name="connsiteX141" fmla="*/ 447922 w 1853634"/>
                <a:gd name="connsiteY141" fmla="*/ 1701152 h 2187196"/>
                <a:gd name="connsiteX142" fmla="*/ 433626 w 1853634"/>
                <a:gd name="connsiteY142" fmla="*/ 1696388 h 2187196"/>
                <a:gd name="connsiteX143" fmla="*/ 414566 w 1853634"/>
                <a:gd name="connsiteY143" fmla="*/ 1686856 h 2187196"/>
                <a:gd name="connsiteX144" fmla="*/ 405036 w 1853634"/>
                <a:gd name="connsiteY144" fmla="*/ 1686856 h 2187196"/>
                <a:gd name="connsiteX145" fmla="*/ 395506 w 1853634"/>
                <a:gd name="connsiteY145" fmla="*/ 1691620 h 2187196"/>
                <a:gd name="connsiteX146" fmla="*/ 385974 w 1853634"/>
                <a:gd name="connsiteY146" fmla="*/ 1686856 h 2187196"/>
                <a:gd name="connsiteX147" fmla="*/ 381210 w 1853634"/>
                <a:gd name="connsiteY147" fmla="*/ 1682092 h 2187196"/>
                <a:gd name="connsiteX148" fmla="*/ 376444 w 1853634"/>
                <a:gd name="connsiteY148" fmla="*/ 1720212 h 2187196"/>
                <a:gd name="connsiteX149" fmla="*/ 366914 w 1853634"/>
                <a:gd name="connsiteY149" fmla="*/ 1734508 h 2187196"/>
                <a:gd name="connsiteX150" fmla="*/ 352620 w 1853634"/>
                <a:gd name="connsiteY150" fmla="*/ 1748804 h 2187196"/>
                <a:gd name="connsiteX151" fmla="*/ 338324 w 1853634"/>
                <a:gd name="connsiteY151" fmla="*/ 1748804 h 2187196"/>
                <a:gd name="connsiteX152" fmla="*/ 328794 w 1853634"/>
                <a:gd name="connsiteY152" fmla="*/ 1744036 h 2187196"/>
                <a:gd name="connsiteX153" fmla="*/ 319264 w 1853634"/>
                <a:gd name="connsiteY153" fmla="*/ 1744036 h 2187196"/>
                <a:gd name="connsiteX154" fmla="*/ 309732 w 1853634"/>
                <a:gd name="connsiteY154" fmla="*/ 1734508 h 2187196"/>
                <a:gd name="connsiteX155" fmla="*/ 300202 w 1853634"/>
                <a:gd name="connsiteY155" fmla="*/ 1724976 h 2187196"/>
                <a:gd name="connsiteX156" fmla="*/ 290672 w 1853634"/>
                <a:gd name="connsiteY156" fmla="*/ 1705916 h 2187196"/>
                <a:gd name="connsiteX157" fmla="*/ 281142 w 1853634"/>
                <a:gd name="connsiteY157" fmla="*/ 1686856 h 2187196"/>
                <a:gd name="connsiteX158" fmla="*/ 281142 w 1853634"/>
                <a:gd name="connsiteY158" fmla="*/ 1672560 h 2187196"/>
                <a:gd name="connsiteX159" fmla="*/ 276376 w 1853634"/>
                <a:gd name="connsiteY159" fmla="*/ 1634440 h 2187196"/>
                <a:gd name="connsiteX160" fmla="*/ 281142 w 1853634"/>
                <a:gd name="connsiteY160" fmla="*/ 1624908 h 2187196"/>
                <a:gd name="connsiteX161" fmla="*/ 285908 w 1853634"/>
                <a:gd name="connsiteY161" fmla="*/ 1615380 h 2187196"/>
                <a:gd name="connsiteX162" fmla="*/ 285908 w 1853634"/>
                <a:gd name="connsiteY162" fmla="*/ 1596320 h 2187196"/>
                <a:gd name="connsiteX163" fmla="*/ 285908 w 1853634"/>
                <a:gd name="connsiteY163" fmla="*/ 1582024 h 2187196"/>
                <a:gd name="connsiteX164" fmla="*/ 290672 w 1853634"/>
                <a:gd name="connsiteY164" fmla="*/ 1577260 h 2187196"/>
                <a:gd name="connsiteX165" fmla="*/ 295438 w 1853634"/>
                <a:gd name="connsiteY165" fmla="*/ 1582024 h 2187196"/>
                <a:gd name="connsiteX166" fmla="*/ 300202 w 1853634"/>
                <a:gd name="connsiteY166" fmla="*/ 1582024 h 2187196"/>
                <a:gd name="connsiteX167" fmla="*/ 300202 w 1853634"/>
                <a:gd name="connsiteY167" fmla="*/ 1572492 h 2187196"/>
                <a:gd name="connsiteX168" fmla="*/ 300202 w 1853634"/>
                <a:gd name="connsiteY168" fmla="*/ 1558196 h 2187196"/>
                <a:gd name="connsiteX169" fmla="*/ 295438 w 1853634"/>
                <a:gd name="connsiteY169" fmla="*/ 1548668 h 2187196"/>
                <a:gd name="connsiteX170" fmla="*/ 281142 w 1853634"/>
                <a:gd name="connsiteY170" fmla="*/ 1543904 h 2187196"/>
                <a:gd name="connsiteX171" fmla="*/ 276376 w 1853634"/>
                <a:gd name="connsiteY171" fmla="*/ 1529608 h 2187196"/>
                <a:gd name="connsiteX172" fmla="*/ 281142 w 1853634"/>
                <a:gd name="connsiteY172" fmla="*/ 1520076 h 2187196"/>
                <a:gd name="connsiteX173" fmla="*/ 285908 w 1853634"/>
                <a:gd name="connsiteY173" fmla="*/ 1510548 h 2187196"/>
                <a:gd name="connsiteX174" fmla="*/ 290672 w 1853634"/>
                <a:gd name="connsiteY174" fmla="*/ 1501016 h 2187196"/>
                <a:gd name="connsiteX175" fmla="*/ 290672 w 1853634"/>
                <a:gd name="connsiteY175" fmla="*/ 1467660 h 2187196"/>
                <a:gd name="connsiteX176" fmla="*/ 281142 w 1853634"/>
                <a:gd name="connsiteY176" fmla="*/ 1453364 h 2187196"/>
                <a:gd name="connsiteX177" fmla="*/ 276376 w 1853634"/>
                <a:gd name="connsiteY177" fmla="*/ 1434304 h 2187196"/>
                <a:gd name="connsiteX178" fmla="*/ 271612 w 1853634"/>
                <a:gd name="connsiteY178" fmla="*/ 1424776 h 2187196"/>
                <a:gd name="connsiteX179" fmla="*/ 262082 w 1853634"/>
                <a:gd name="connsiteY179" fmla="*/ 1410480 h 2187196"/>
                <a:gd name="connsiteX180" fmla="*/ 252552 w 1853634"/>
                <a:gd name="connsiteY180" fmla="*/ 1400948 h 2187196"/>
                <a:gd name="connsiteX181" fmla="*/ 243020 w 1853634"/>
                <a:gd name="connsiteY181" fmla="*/ 1391420 h 2187196"/>
                <a:gd name="connsiteX182" fmla="*/ 243020 w 1853634"/>
                <a:gd name="connsiteY182" fmla="*/ 1367592 h 2187196"/>
                <a:gd name="connsiteX183" fmla="*/ 247786 w 1853634"/>
                <a:gd name="connsiteY183" fmla="*/ 1348532 h 2187196"/>
                <a:gd name="connsiteX184" fmla="*/ 252552 w 1853634"/>
                <a:gd name="connsiteY184" fmla="*/ 1339000 h 2187196"/>
                <a:gd name="connsiteX185" fmla="*/ 262082 w 1853634"/>
                <a:gd name="connsiteY185" fmla="*/ 1353296 h 2187196"/>
                <a:gd name="connsiteX186" fmla="*/ 271612 w 1853634"/>
                <a:gd name="connsiteY186" fmla="*/ 1353296 h 2187196"/>
                <a:gd name="connsiteX187" fmla="*/ 290672 w 1853634"/>
                <a:gd name="connsiteY187" fmla="*/ 1358064 h 2187196"/>
                <a:gd name="connsiteX188" fmla="*/ 304968 w 1853634"/>
                <a:gd name="connsiteY188" fmla="*/ 1353296 h 2187196"/>
                <a:gd name="connsiteX189" fmla="*/ 324028 w 1853634"/>
                <a:gd name="connsiteY189" fmla="*/ 1343768 h 2187196"/>
                <a:gd name="connsiteX190" fmla="*/ 343088 w 1853634"/>
                <a:gd name="connsiteY190" fmla="*/ 1334236 h 2187196"/>
                <a:gd name="connsiteX191" fmla="*/ 371680 w 1853634"/>
                <a:gd name="connsiteY191" fmla="*/ 1300880 h 2187196"/>
                <a:gd name="connsiteX192" fmla="*/ 390740 w 1853634"/>
                <a:gd name="connsiteY192" fmla="*/ 1291352 h 2187196"/>
                <a:gd name="connsiteX193" fmla="*/ 395506 w 1853634"/>
                <a:gd name="connsiteY193" fmla="*/ 1281820 h 2187196"/>
                <a:gd name="connsiteX194" fmla="*/ 400270 w 1853634"/>
                <a:gd name="connsiteY194" fmla="*/ 1272292 h 2187196"/>
                <a:gd name="connsiteX195" fmla="*/ 590874 w 1853634"/>
                <a:gd name="connsiteY195" fmla="*/ 929200 h 2187196"/>
                <a:gd name="connsiteX196" fmla="*/ 595640 w 1853634"/>
                <a:gd name="connsiteY196" fmla="*/ 938732 h 2187196"/>
                <a:gd name="connsiteX197" fmla="*/ 595640 w 1853634"/>
                <a:gd name="connsiteY197" fmla="*/ 943496 h 2187196"/>
                <a:gd name="connsiteX198" fmla="*/ 590874 w 1853634"/>
                <a:gd name="connsiteY198" fmla="*/ 948260 h 2187196"/>
                <a:gd name="connsiteX199" fmla="*/ 595640 w 1853634"/>
                <a:gd name="connsiteY199" fmla="*/ 962556 h 2187196"/>
                <a:gd name="connsiteX200" fmla="*/ 581344 w 1853634"/>
                <a:gd name="connsiteY200" fmla="*/ 953028 h 2187196"/>
                <a:gd name="connsiteX201" fmla="*/ 562284 w 1853634"/>
                <a:gd name="connsiteY201" fmla="*/ 957792 h 2187196"/>
                <a:gd name="connsiteX202" fmla="*/ 547990 w 1853634"/>
                <a:gd name="connsiteY202" fmla="*/ 957792 h 2187196"/>
                <a:gd name="connsiteX203" fmla="*/ 543224 w 1853634"/>
                <a:gd name="connsiteY203" fmla="*/ 948260 h 2187196"/>
                <a:gd name="connsiteX204" fmla="*/ 547990 w 1853634"/>
                <a:gd name="connsiteY204" fmla="*/ 943496 h 2187196"/>
                <a:gd name="connsiteX205" fmla="*/ 567050 w 1853634"/>
                <a:gd name="connsiteY205" fmla="*/ 938732 h 2187196"/>
                <a:gd name="connsiteX206" fmla="*/ 571814 w 1853634"/>
                <a:gd name="connsiteY206" fmla="*/ 938732 h 2187196"/>
                <a:gd name="connsiteX207" fmla="*/ 586110 w 1853634"/>
                <a:gd name="connsiteY207" fmla="*/ 938732 h 2187196"/>
                <a:gd name="connsiteX208" fmla="*/ 867252 w 1853634"/>
                <a:gd name="connsiteY208" fmla="*/ 0 h 2187196"/>
                <a:gd name="connsiteX209" fmla="*/ 872018 w 1853634"/>
                <a:gd name="connsiteY209" fmla="*/ 0 h 2187196"/>
                <a:gd name="connsiteX210" fmla="*/ 872018 w 1853634"/>
                <a:gd name="connsiteY210" fmla="*/ 4768 h 2187196"/>
                <a:gd name="connsiteX211" fmla="*/ 867252 w 1853634"/>
                <a:gd name="connsiteY211" fmla="*/ 9532 h 2187196"/>
                <a:gd name="connsiteX212" fmla="*/ 862488 w 1853634"/>
                <a:gd name="connsiteY212" fmla="*/ 19060 h 2187196"/>
                <a:gd name="connsiteX213" fmla="*/ 862488 w 1853634"/>
                <a:gd name="connsiteY213" fmla="*/ 33356 h 2187196"/>
                <a:gd name="connsiteX214" fmla="*/ 881548 w 1853634"/>
                <a:gd name="connsiteY214" fmla="*/ 52416 h 2187196"/>
                <a:gd name="connsiteX215" fmla="*/ 891078 w 1853634"/>
                <a:gd name="connsiteY215" fmla="*/ 71476 h 2187196"/>
                <a:gd name="connsiteX216" fmla="*/ 900608 w 1853634"/>
                <a:gd name="connsiteY216" fmla="*/ 85772 h 2187196"/>
                <a:gd name="connsiteX217" fmla="*/ 914904 w 1853634"/>
                <a:gd name="connsiteY217" fmla="*/ 90540 h 2187196"/>
                <a:gd name="connsiteX218" fmla="*/ 933964 w 1853634"/>
                <a:gd name="connsiteY218" fmla="*/ 95304 h 2187196"/>
                <a:gd name="connsiteX219" fmla="*/ 948260 w 1853634"/>
                <a:gd name="connsiteY219" fmla="*/ 100068 h 2187196"/>
                <a:gd name="connsiteX220" fmla="*/ 967320 w 1853634"/>
                <a:gd name="connsiteY220" fmla="*/ 104832 h 2187196"/>
                <a:gd name="connsiteX221" fmla="*/ 1024502 w 1853634"/>
                <a:gd name="connsiteY221" fmla="*/ 114364 h 2187196"/>
                <a:gd name="connsiteX222" fmla="*/ 1053092 w 1853634"/>
                <a:gd name="connsiteY222" fmla="*/ 119128 h 2187196"/>
                <a:gd name="connsiteX223" fmla="*/ 1072154 w 1853634"/>
                <a:gd name="connsiteY223" fmla="*/ 119128 h 2187196"/>
                <a:gd name="connsiteX224" fmla="*/ 1105510 w 1853634"/>
                <a:gd name="connsiteY224" fmla="*/ 128660 h 2187196"/>
                <a:gd name="connsiteX225" fmla="*/ 1100744 w 1853634"/>
                <a:gd name="connsiteY225" fmla="*/ 138188 h 2187196"/>
                <a:gd name="connsiteX226" fmla="*/ 1095980 w 1853634"/>
                <a:gd name="connsiteY226" fmla="*/ 142956 h 2187196"/>
                <a:gd name="connsiteX227" fmla="*/ 1086448 w 1853634"/>
                <a:gd name="connsiteY227" fmla="*/ 152484 h 2187196"/>
                <a:gd name="connsiteX228" fmla="*/ 1072154 w 1853634"/>
                <a:gd name="connsiteY228" fmla="*/ 162016 h 2187196"/>
                <a:gd name="connsiteX229" fmla="*/ 1057858 w 1853634"/>
                <a:gd name="connsiteY229" fmla="*/ 171544 h 2187196"/>
                <a:gd name="connsiteX230" fmla="*/ 1057858 w 1853634"/>
                <a:gd name="connsiteY230" fmla="*/ 185840 h 2187196"/>
                <a:gd name="connsiteX231" fmla="*/ 1057858 w 1853634"/>
                <a:gd name="connsiteY231" fmla="*/ 195372 h 2187196"/>
                <a:gd name="connsiteX232" fmla="*/ 1062624 w 1853634"/>
                <a:gd name="connsiteY232" fmla="*/ 195372 h 2187196"/>
                <a:gd name="connsiteX233" fmla="*/ 1067388 w 1853634"/>
                <a:gd name="connsiteY233" fmla="*/ 195372 h 2187196"/>
                <a:gd name="connsiteX234" fmla="*/ 1072154 w 1853634"/>
                <a:gd name="connsiteY234" fmla="*/ 195372 h 2187196"/>
                <a:gd name="connsiteX235" fmla="*/ 1081684 w 1853634"/>
                <a:gd name="connsiteY235" fmla="*/ 200136 h 2187196"/>
                <a:gd name="connsiteX236" fmla="*/ 1095980 w 1853634"/>
                <a:gd name="connsiteY236" fmla="*/ 204900 h 2187196"/>
                <a:gd name="connsiteX237" fmla="*/ 1095980 w 1853634"/>
                <a:gd name="connsiteY237" fmla="*/ 209668 h 2187196"/>
                <a:gd name="connsiteX238" fmla="*/ 1091214 w 1853634"/>
                <a:gd name="connsiteY238" fmla="*/ 214432 h 2187196"/>
                <a:gd name="connsiteX239" fmla="*/ 1081684 w 1853634"/>
                <a:gd name="connsiteY239" fmla="*/ 223964 h 2187196"/>
                <a:gd name="connsiteX240" fmla="*/ 1072154 w 1853634"/>
                <a:gd name="connsiteY240" fmla="*/ 233492 h 2187196"/>
                <a:gd name="connsiteX241" fmla="*/ 1072154 w 1853634"/>
                <a:gd name="connsiteY241" fmla="*/ 243024 h 2187196"/>
                <a:gd name="connsiteX242" fmla="*/ 1072154 w 1853634"/>
                <a:gd name="connsiteY242" fmla="*/ 247788 h 2187196"/>
                <a:gd name="connsiteX243" fmla="*/ 1076918 w 1853634"/>
                <a:gd name="connsiteY243" fmla="*/ 247788 h 2187196"/>
                <a:gd name="connsiteX244" fmla="*/ 1091214 w 1853634"/>
                <a:gd name="connsiteY244" fmla="*/ 247788 h 2187196"/>
                <a:gd name="connsiteX245" fmla="*/ 1091214 w 1853634"/>
                <a:gd name="connsiteY245" fmla="*/ 252552 h 2187196"/>
                <a:gd name="connsiteX246" fmla="*/ 1086448 w 1853634"/>
                <a:gd name="connsiteY246" fmla="*/ 281144 h 2187196"/>
                <a:gd name="connsiteX247" fmla="*/ 1086448 w 1853634"/>
                <a:gd name="connsiteY247" fmla="*/ 285908 h 2187196"/>
                <a:gd name="connsiteX248" fmla="*/ 1100744 w 1853634"/>
                <a:gd name="connsiteY248" fmla="*/ 290672 h 2187196"/>
                <a:gd name="connsiteX249" fmla="*/ 1110274 w 1853634"/>
                <a:gd name="connsiteY249" fmla="*/ 295440 h 2187196"/>
                <a:gd name="connsiteX250" fmla="*/ 1124570 w 1853634"/>
                <a:gd name="connsiteY250" fmla="*/ 314500 h 2187196"/>
                <a:gd name="connsiteX251" fmla="*/ 1134100 w 1853634"/>
                <a:gd name="connsiteY251" fmla="*/ 328796 h 2187196"/>
                <a:gd name="connsiteX252" fmla="*/ 1129334 w 1853634"/>
                <a:gd name="connsiteY252" fmla="*/ 333560 h 2187196"/>
                <a:gd name="connsiteX253" fmla="*/ 1119804 w 1853634"/>
                <a:gd name="connsiteY253" fmla="*/ 338324 h 2187196"/>
                <a:gd name="connsiteX254" fmla="*/ 1110274 w 1853634"/>
                <a:gd name="connsiteY254" fmla="*/ 338324 h 2187196"/>
                <a:gd name="connsiteX255" fmla="*/ 1119804 w 1853634"/>
                <a:gd name="connsiteY255" fmla="*/ 328796 h 2187196"/>
                <a:gd name="connsiteX256" fmla="*/ 1095980 w 1853634"/>
                <a:gd name="connsiteY256" fmla="*/ 295440 h 2187196"/>
                <a:gd name="connsiteX257" fmla="*/ 1081684 w 1853634"/>
                <a:gd name="connsiteY257" fmla="*/ 295440 h 2187196"/>
                <a:gd name="connsiteX258" fmla="*/ 1067388 w 1853634"/>
                <a:gd name="connsiteY258" fmla="*/ 309736 h 2187196"/>
                <a:gd name="connsiteX259" fmla="*/ 1029268 w 1853634"/>
                <a:gd name="connsiteY259" fmla="*/ 295440 h 2187196"/>
                <a:gd name="connsiteX260" fmla="*/ 1019736 w 1853634"/>
                <a:gd name="connsiteY260" fmla="*/ 300204 h 2187196"/>
                <a:gd name="connsiteX261" fmla="*/ 1014972 w 1853634"/>
                <a:gd name="connsiteY261" fmla="*/ 309736 h 2187196"/>
                <a:gd name="connsiteX262" fmla="*/ 1000676 w 1853634"/>
                <a:gd name="connsiteY262" fmla="*/ 324028 h 2187196"/>
                <a:gd name="connsiteX263" fmla="*/ 981616 w 1853634"/>
                <a:gd name="connsiteY263" fmla="*/ 333560 h 2187196"/>
                <a:gd name="connsiteX264" fmla="*/ 957790 w 1853634"/>
                <a:gd name="connsiteY264" fmla="*/ 347856 h 2187196"/>
                <a:gd name="connsiteX265" fmla="*/ 933964 w 1853634"/>
                <a:gd name="connsiteY265" fmla="*/ 357384 h 2187196"/>
                <a:gd name="connsiteX266" fmla="*/ 919670 w 1853634"/>
                <a:gd name="connsiteY266" fmla="*/ 362152 h 2187196"/>
                <a:gd name="connsiteX267" fmla="*/ 910140 w 1853634"/>
                <a:gd name="connsiteY267" fmla="*/ 362152 h 2187196"/>
                <a:gd name="connsiteX268" fmla="*/ 924434 w 1853634"/>
                <a:gd name="connsiteY268" fmla="*/ 347856 h 2187196"/>
                <a:gd name="connsiteX269" fmla="*/ 919670 w 1853634"/>
                <a:gd name="connsiteY269" fmla="*/ 343092 h 2187196"/>
                <a:gd name="connsiteX270" fmla="*/ 895844 w 1853634"/>
                <a:gd name="connsiteY270" fmla="*/ 357384 h 2187196"/>
                <a:gd name="connsiteX271" fmla="*/ 881548 w 1853634"/>
                <a:gd name="connsiteY271" fmla="*/ 366916 h 2187196"/>
                <a:gd name="connsiteX272" fmla="*/ 881548 w 1853634"/>
                <a:gd name="connsiteY272" fmla="*/ 385976 h 2187196"/>
                <a:gd name="connsiteX273" fmla="*/ 876784 w 1853634"/>
                <a:gd name="connsiteY273" fmla="*/ 414568 h 2187196"/>
                <a:gd name="connsiteX274" fmla="*/ 886314 w 1853634"/>
                <a:gd name="connsiteY274" fmla="*/ 419332 h 2187196"/>
                <a:gd name="connsiteX275" fmla="*/ 900608 w 1853634"/>
                <a:gd name="connsiteY275" fmla="*/ 457452 h 2187196"/>
                <a:gd name="connsiteX276" fmla="*/ 924434 w 1853634"/>
                <a:gd name="connsiteY276" fmla="*/ 471748 h 2187196"/>
                <a:gd name="connsiteX277" fmla="*/ 919670 w 1853634"/>
                <a:gd name="connsiteY277" fmla="*/ 490808 h 2187196"/>
                <a:gd name="connsiteX278" fmla="*/ 914904 w 1853634"/>
                <a:gd name="connsiteY278" fmla="*/ 500340 h 2187196"/>
                <a:gd name="connsiteX279" fmla="*/ 900608 w 1853634"/>
                <a:gd name="connsiteY279" fmla="*/ 509868 h 2187196"/>
                <a:gd name="connsiteX280" fmla="*/ 891078 w 1853634"/>
                <a:gd name="connsiteY280" fmla="*/ 505104 h 2187196"/>
                <a:gd name="connsiteX281" fmla="*/ 886314 w 1853634"/>
                <a:gd name="connsiteY281" fmla="*/ 505104 h 2187196"/>
                <a:gd name="connsiteX282" fmla="*/ 881548 w 1853634"/>
                <a:gd name="connsiteY282" fmla="*/ 528932 h 2187196"/>
                <a:gd name="connsiteX283" fmla="*/ 886314 w 1853634"/>
                <a:gd name="connsiteY283" fmla="*/ 590876 h 2187196"/>
                <a:gd name="connsiteX284" fmla="*/ 900608 w 1853634"/>
                <a:gd name="connsiteY284" fmla="*/ 638528 h 2187196"/>
                <a:gd name="connsiteX285" fmla="*/ 914904 w 1853634"/>
                <a:gd name="connsiteY285" fmla="*/ 657588 h 2187196"/>
                <a:gd name="connsiteX286" fmla="*/ 948260 w 1853634"/>
                <a:gd name="connsiteY286" fmla="*/ 686180 h 2187196"/>
                <a:gd name="connsiteX287" fmla="*/ 981616 w 1853634"/>
                <a:gd name="connsiteY287" fmla="*/ 700476 h 2187196"/>
                <a:gd name="connsiteX288" fmla="*/ 1043562 w 1853634"/>
                <a:gd name="connsiteY288" fmla="*/ 752892 h 2187196"/>
                <a:gd name="connsiteX289" fmla="*/ 1076918 w 1853634"/>
                <a:gd name="connsiteY289" fmla="*/ 771952 h 2187196"/>
                <a:gd name="connsiteX290" fmla="*/ 1086448 w 1853634"/>
                <a:gd name="connsiteY290" fmla="*/ 776716 h 2187196"/>
                <a:gd name="connsiteX291" fmla="*/ 1105510 w 1853634"/>
                <a:gd name="connsiteY291" fmla="*/ 819604 h 2187196"/>
                <a:gd name="connsiteX292" fmla="*/ 1124570 w 1853634"/>
                <a:gd name="connsiteY292" fmla="*/ 862488 h 2187196"/>
                <a:gd name="connsiteX293" fmla="*/ 1138866 w 1853634"/>
                <a:gd name="connsiteY293" fmla="*/ 933968 h 2187196"/>
                <a:gd name="connsiteX294" fmla="*/ 1153160 w 1853634"/>
                <a:gd name="connsiteY294" fmla="*/ 967320 h 2187196"/>
                <a:gd name="connsiteX295" fmla="*/ 1181752 w 1853634"/>
                <a:gd name="connsiteY295" fmla="*/ 1005444 h 2187196"/>
                <a:gd name="connsiteX296" fmla="*/ 1238932 w 1853634"/>
                <a:gd name="connsiteY296" fmla="*/ 1062624 h 2187196"/>
                <a:gd name="connsiteX297" fmla="*/ 1286584 w 1853634"/>
                <a:gd name="connsiteY297" fmla="*/ 1100744 h 2187196"/>
                <a:gd name="connsiteX298" fmla="*/ 1334236 w 1853634"/>
                <a:gd name="connsiteY298" fmla="*/ 1124572 h 2187196"/>
                <a:gd name="connsiteX299" fmla="*/ 1372356 w 1853634"/>
                <a:gd name="connsiteY299" fmla="*/ 1129336 h 2187196"/>
                <a:gd name="connsiteX300" fmla="*/ 1458128 w 1853634"/>
                <a:gd name="connsiteY300" fmla="*/ 1124572 h 2187196"/>
                <a:gd name="connsiteX301" fmla="*/ 1472424 w 1853634"/>
                <a:gd name="connsiteY301" fmla="*/ 1129336 h 2187196"/>
                <a:gd name="connsiteX302" fmla="*/ 1491484 w 1853634"/>
                <a:gd name="connsiteY302" fmla="*/ 1134100 h 2187196"/>
                <a:gd name="connsiteX303" fmla="*/ 1496250 w 1853634"/>
                <a:gd name="connsiteY303" fmla="*/ 1153160 h 2187196"/>
                <a:gd name="connsiteX304" fmla="*/ 1486720 w 1853634"/>
                <a:gd name="connsiteY304" fmla="*/ 1162692 h 2187196"/>
                <a:gd name="connsiteX305" fmla="*/ 1472424 w 1853634"/>
                <a:gd name="connsiteY305" fmla="*/ 1176988 h 2187196"/>
                <a:gd name="connsiteX306" fmla="*/ 1453364 w 1853634"/>
                <a:gd name="connsiteY306" fmla="*/ 1191284 h 2187196"/>
                <a:gd name="connsiteX307" fmla="*/ 1448598 w 1853634"/>
                <a:gd name="connsiteY307" fmla="*/ 1215108 h 2187196"/>
                <a:gd name="connsiteX308" fmla="*/ 1467658 w 1853634"/>
                <a:gd name="connsiteY308" fmla="*/ 1229404 h 2187196"/>
                <a:gd name="connsiteX309" fmla="*/ 1553432 w 1853634"/>
                <a:gd name="connsiteY309" fmla="*/ 1272292 h 2187196"/>
                <a:gd name="connsiteX310" fmla="*/ 1639204 w 1853634"/>
                <a:gd name="connsiteY310" fmla="*/ 1310412 h 2187196"/>
                <a:gd name="connsiteX311" fmla="*/ 1663028 w 1853634"/>
                <a:gd name="connsiteY311" fmla="*/ 1324708 h 2187196"/>
                <a:gd name="connsiteX312" fmla="*/ 1696384 w 1853634"/>
                <a:gd name="connsiteY312" fmla="*/ 1353296 h 2187196"/>
                <a:gd name="connsiteX313" fmla="*/ 1772626 w 1853634"/>
                <a:gd name="connsiteY313" fmla="*/ 1391420 h 2187196"/>
                <a:gd name="connsiteX314" fmla="*/ 1782158 w 1853634"/>
                <a:gd name="connsiteY314" fmla="*/ 1410480 h 2187196"/>
                <a:gd name="connsiteX315" fmla="*/ 1829808 w 1853634"/>
                <a:gd name="connsiteY315" fmla="*/ 1453364 h 2187196"/>
                <a:gd name="connsiteX316" fmla="*/ 1848868 w 1853634"/>
                <a:gd name="connsiteY316" fmla="*/ 1481956 h 2187196"/>
                <a:gd name="connsiteX317" fmla="*/ 1853634 w 1853634"/>
                <a:gd name="connsiteY317" fmla="*/ 1505780 h 2187196"/>
                <a:gd name="connsiteX318" fmla="*/ 1844104 w 1853634"/>
                <a:gd name="connsiteY318" fmla="*/ 1529608 h 2187196"/>
                <a:gd name="connsiteX319" fmla="*/ 1839338 w 1853634"/>
                <a:gd name="connsiteY319" fmla="*/ 1548668 h 2187196"/>
                <a:gd name="connsiteX320" fmla="*/ 1829808 w 1853634"/>
                <a:gd name="connsiteY320" fmla="*/ 1562964 h 2187196"/>
                <a:gd name="connsiteX321" fmla="*/ 1810748 w 1853634"/>
                <a:gd name="connsiteY321" fmla="*/ 1558196 h 2187196"/>
                <a:gd name="connsiteX322" fmla="*/ 1791688 w 1853634"/>
                <a:gd name="connsiteY322" fmla="*/ 1539136 h 2187196"/>
                <a:gd name="connsiteX323" fmla="*/ 1758332 w 1853634"/>
                <a:gd name="connsiteY323" fmla="*/ 1467660 h 2187196"/>
                <a:gd name="connsiteX324" fmla="*/ 1696384 w 1853634"/>
                <a:gd name="connsiteY324" fmla="*/ 1462896 h 2187196"/>
                <a:gd name="connsiteX325" fmla="*/ 1682090 w 1853634"/>
                <a:gd name="connsiteY325" fmla="*/ 1458132 h 2187196"/>
                <a:gd name="connsiteX326" fmla="*/ 1663028 w 1853634"/>
                <a:gd name="connsiteY326" fmla="*/ 1443836 h 2187196"/>
                <a:gd name="connsiteX327" fmla="*/ 1658264 w 1853634"/>
                <a:gd name="connsiteY327" fmla="*/ 1439068 h 2187196"/>
                <a:gd name="connsiteX328" fmla="*/ 1653498 w 1853634"/>
                <a:gd name="connsiteY328" fmla="*/ 1429540 h 2187196"/>
                <a:gd name="connsiteX329" fmla="*/ 1648734 w 1853634"/>
                <a:gd name="connsiteY329" fmla="*/ 1424776 h 2187196"/>
                <a:gd name="connsiteX330" fmla="*/ 1624908 w 1853634"/>
                <a:gd name="connsiteY330" fmla="*/ 1420008 h 2187196"/>
                <a:gd name="connsiteX331" fmla="*/ 1610612 w 1853634"/>
                <a:gd name="connsiteY331" fmla="*/ 1434304 h 2187196"/>
                <a:gd name="connsiteX332" fmla="*/ 1591552 w 1853634"/>
                <a:gd name="connsiteY332" fmla="*/ 1458132 h 2187196"/>
                <a:gd name="connsiteX333" fmla="*/ 1567726 w 1853634"/>
                <a:gd name="connsiteY333" fmla="*/ 1501016 h 2187196"/>
                <a:gd name="connsiteX334" fmla="*/ 1548666 w 1853634"/>
                <a:gd name="connsiteY334" fmla="*/ 1553432 h 2187196"/>
                <a:gd name="connsiteX335" fmla="*/ 1548666 w 1853634"/>
                <a:gd name="connsiteY335" fmla="*/ 1577260 h 2187196"/>
                <a:gd name="connsiteX336" fmla="*/ 1558196 w 1853634"/>
                <a:gd name="connsiteY336" fmla="*/ 1601084 h 2187196"/>
                <a:gd name="connsiteX337" fmla="*/ 1591552 w 1853634"/>
                <a:gd name="connsiteY337" fmla="*/ 1610616 h 2187196"/>
                <a:gd name="connsiteX338" fmla="*/ 1620142 w 1853634"/>
                <a:gd name="connsiteY338" fmla="*/ 1634440 h 2187196"/>
                <a:gd name="connsiteX339" fmla="*/ 1639204 w 1853634"/>
                <a:gd name="connsiteY339" fmla="*/ 1653500 h 2187196"/>
                <a:gd name="connsiteX340" fmla="*/ 1639204 w 1853634"/>
                <a:gd name="connsiteY340" fmla="*/ 1701152 h 2187196"/>
                <a:gd name="connsiteX341" fmla="*/ 1648734 w 1853634"/>
                <a:gd name="connsiteY341" fmla="*/ 1729744 h 2187196"/>
                <a:gd name="connsiteX342" fmla="*/ 1634438 w 1853634"/>
                <a:gd name="connsiteY342" fmla="*/ 1744036 h 2187196"/>
                <a:gd name="connsiteX343" fmla="*/ 1615378 w 1853634"/>
                <a:gd name="connsiteY343" fmla="*/ 1744036 h 2187196"/>
                <a:gd name="connsiteX344" fmla="*/ 1582022 w 1853634"/>
                <a:gd name="connsiteY344" fmla="*/ 1753568 h 2187196"/>
                <a:gd name="connsiteX345" fmla="*/ 1562962 w 1853634"/>
                <a:gd name="connsiteY345" fmla="*/ 1767864 h 2187196"/>
                <a:gd name="connsiteX346" fmla="*/ 1553432 w 1853634"/>
                <a:gd name="connsiteY346" fmla="*/ 1786924 h 2187196"/>
                <a:gd name="connsiteX347" fmla="*/ 1553432 w 1853634"/>
                <a:gd name="connsiteY347" fmla="*/ 1829812 h 2187196"/>
                <a:gd name="connsiteX348" fmla="*/ 1548666 w 1853634"/>
                <a:gd name="connsiteY348" fmla="*/ 1848872 h 2187196"/>
                <a:gd name="connsiteX349" fmla="*/ 1510544 w 1853634"/>
                <a:gd name="connsiteY349" fmla="*/ 1877460 h 2187196"/>
                <a:gd name="connsiteX350" fmla="*/ 1486720 w 1853634"/>
                <a:gd name="connsiteY350" fmla="*/ 1910816 h 2187196"/>
                <a:gd name="connsiteX351" fmla="*/ 1481954 w 1853634"/>
                <a:gd name="connsiteY351" fmla="*/ 1925112 h 2187196"/>
                <a:gd name="connsiteX352" fmla="*/ 1472424 w 1853634"/>
                <a:gd name="connsiteY352" fmla="*/ 1939408 h 2187196"/>
                <a:gd name="connsiteX353" fmla="*/ 1424772 w 1853634"/>
                <a:gd name="connsiteY353" fmla="*/ 1939408 h 2187196"/>
                <a:gd name="connsiteX354" fmla="*/ 1410478 w 1853634"/>
                <a:gd name="connsiteY354" fmla="*/ 1920348 h 2187196"/>
                <a:gd name="connsiteX355" fmla="*/ 1410478 w 1853634"/>
                <a:gd name="connsiteY355" fmla="*/ 1891756 h 2187196"/>
                <a:gd name="connsiteX356" fmla="*/ 1420008 w 1853634"/>
                <a:gd name="connsiteY356" fmla="*/ 1877460 h 2187196"/>
                <a:gd name="connsiteX357" fmla="*/ 1439068 w 1853634"/>
                <a:gd name="connsiteY357" fmla="*/ 1867932 h 2187196"/>
                <a:gd name="connsiteX358" fmla="*/ 1448598 w 1853634"/>
                <a:gd name="connsiteY358" fmla="*/ 1834576 h 2187196"/>
                <a:gd name="connsiteX359" fmla="*/ 1448598 w 1853634"/>
                <a:gd name="connsiteY359" fmla="*/ 1805984 h 2187196"/>
                <a:gd name="connsiteX360" fmla="*/ 1453364 w 1853634"/>
                <a:gd name="connsiteY360" fmla="*/ 1796456 h 2187196"/>
                <a:gd name="connsiteX361" fmla="*/ 1462894 w 1853634"/>
                <a:gd name="connsiteY361" fmla="*/ 1786924 h 2187196"/>
                <a:gd name="connsiteX362" fmla="*/ 1477188 w 1853634"/>
                <a:gd name="connsiteY362" fmla="*/ 1782160 h 2187196"/>
                <a:gd name="connsiteX363" fmla="*/ 1496250 w 1853634"/>
                <a:gd name="connsiteY363" fmla="*/ 1777392 h 2187196"/>
                <a:gd name="connsiteX364" fmla="*/ 1496250 w 1853634"/>
                <a:gd name="connsiteY364" fmla="*/ 1739272 h 2187196"/>
                <a:gd name="connsiteX365" fmla="*/ 1481954 w 1853634"/>
                <a:gd name="connsiteY365" fmla="*/ 1724976 h 2187196"/>
                <a:gd name="connsiteX366" fmla="*/ 1477188 w 1853634"/>
                <a:gd name="connsiteY366" fmla="*/ 1701152 h 2187196"/>
                <a:gd name="connsiteX367" fmla="*/ 1467658 w 1853634"/>
                <a:gd name="connsiteY367" fmla="*/ 1658264 h 2187196"/>
                <a:gd name="connsiteX368" fmla="*/ 1443834 w 1853634"/>
                <a:gd name="connsiteY368" fmla="*/ 1601084 h 2187196"/>
                <a:gd name="connsiteX369" fmla="*/ 1429538 w 1853634"/>
                <a:gd name="connsiteY369" fmla="*/ 1553432 h 2187196"/>
                <a:gd name="connsiteX370" fmla="*/ 1415242 w 1853634"/>
                <a:gd name="connsiteY370" fmla="*/ 1529608 h 2187196"/>
                <a:gd name="connsiteX371" fmla="*/ 1400948 w 1853634"/>
                <a:gd name="connsiteY371" fmla="*/ 1515312 h 2187196"/>
                <a:gd name="connsiteX372" fmla="*/ 1372356 w 1853634"/>
                <a:gd name="connsiteY372" fmla="*/ 1515312 h 2187196"/>
                <a:gd name="connsiteX373" fmla="*/ 1353296 w 1853634"/>
                <a:gd name="connsiteY373" fmla="*/ 1510548 h 2187196"/>
                <a:gd name="connsiteX374" fmla="*/ 1300880 w 1853634"/>
                <a:gd name="connsiteY374" fmla="*/ 1477192 h 2187196"/>
                <a:gd name="connsiteX375" fmla="*/ 1296114 w 1853634"/>
                <a:gd name="connsiteY375" fmla="*/ 1472424 h 2187196"/>
                <a:gd name="connsiteX376" fmla="*/ 1296114 w 1853634"/>
                <a:gd name="connsiteY376" fmla="*/ 1462896 h 2187196"/>
                <a:gd name="connsiteX377" fmla="*/ 1305644 w 1853634"/>
                <a:gd name="connsiteY377" fmla="*/ 1448600 h 2187196"/>
                <a:gd name="connsiteX378" fmla="*/ 1300880 w 1853634"/>
                <a:gd name="connsiteY378" fmla="*/ 1429540 h 2187196"/>
                <a:gd name="connsiteX379" fmla="*/ 1296114 w 1853634"/>
                <a:gd name="connsiteY379" fmla="*/ 1415244 h 2187196"/>
                <a:gd name="connsiteX380" fmla="*/ 1281818 w 1853634"/>
                <a:gd name="connsiteY380" fmla="*/ 1396184 h 2187196"/>
                <a:gd name="connsiteX381" fmla="*/ 1272288 w 1853634"/>
                <a:gd name="connsiteY381" fmla="*/ 1391420 h 2187196"/>
                <a:gd name="connsiteX382" fmla="*/ 1248464 w 1853634"/>
                <a:gd name="connsiteY382" fmla="*/ 1396184 h 2187196"/>
                <a:gd name="connsiteX383" fmla="*/ 1238932 w 1853634"/>
                <a:gd name="connsiteY383" fmla="*/ 1400948 h 2187196"/>
                <a:gd name="connsiteX384" fmla="*/ 1224638 w 1853634"/>
                <a:gd name="connsiteY384" fmla="*/ 1396184 h 2187196"/>
                <a:gd name="connsiteX385" fmla="*/ 1215108 w 1853634"/>
                <a:gd name="connsiteY385" fmla="*/ 1405712 h 2187196"/>
                <a:gd name="connsiteX386" fmla="*/ 1205576 w 1853634"/>
                <a:gd name="connsiteY386" fmla="*/ 1405712 h 2187196"/>
                <a:gd name="connsiteX387" fmla="*/ 1224638 w 1853634"/>
                <a:gd name="connsiteY387" fmla="*/ 1377124 h 2187196"/>
                <a:gd name="connsiteX388" fmla="*/ 1219872 w 1853634"/>
                <a:gd name="connsiteY388" fmla="*/ 1372356 h 2187196"/>
                <a:gd name="connsiteX389" fmla="*/ 1200812 w 1853634"/>
                <a:gd name="connsiteY389" fmla="*/ 1358064 h 2187196"/>
                <a:gd name="connsiteX390" fmla="*/ 1176986 w 1853634"/>
                <a:gd name="connsiteY390" fmla="*/ 1358064 h 2187196"/>
                <a:gd name="connsiteX391" fmla="*/ 1167456 w 1853634"/>
                <a:gd name="connsiteY391" fmla="*/ 1358064 h 2187196"/>
                <a:gd name="connsiteX392" fmla="*/ 1162690 w 1853634"/>
                <a:gd name="connsiteY392" fmla="*/ 1362828 h 2187196"/>
                <a:gd name="connsiteX393" fmla="*/ 1157926 w 1853634"/>
                <a:gd name="connsiteY393" fmla="*/ 1358064 h 2187196"/>
                <a:gd name="connsiteX394" fmla="*/ 1157926 w 1853634"/>
                <a:gd name="connsiteY394" fmla="*/ 1348532 h 2187196"/>
                <a:gd name="connsiteX395" fmla="*/ 1129334 w 1853634"/>
                <a:gd name="connsiteY395" fmla="*/ 1296116 h 2187196"/>
                <a:gd name="connsiteX396" fmla="*/ 1110274 w 1853634"/>
                <a:gd name="connsiteY396" fmla="*/ 1272292 h 2187196"/>
                <a:gd name="connsiteX397" fmla="*/ 1100744 w 1853634"/>
                <a:gd name="connsiteY397" fmla="*/ 1267524 h 2187196"/>
                <a:gd name="connsiteX398" fmla="*/ 1081684 w 1853634"/>
                <a:gd name="connsiteY398" fmla="*/ 1272292 h 2187196"/>
                <a:gd name="connsiteX399" fmla="*/ 1053092 w 1853634"/>
                <a:gd name="connsiteY399" fmla="*/ 1262760 h 2187196"/>
                <a:gd name="connsiteX400" fmla="*/ 1034032 w 1853634"/>
                <a:gd name="connsiteY400" fmla="*/ 1262760 h 2187196"/>
                <a:gd name="connsiteX401" fmla="*/ 1024502 w 1853634"/>
                <a:gd name="connsiteY401" fmla="*/ 1262760 h 2187196"/>
                <a:gd name="connsiteX402" fmla="*/ 1010206 w 1853634"/>
                <a:gd name="connsiteY402" fmla="*/ 1272292 h 2187196"/>
                <a:gd name="connsiteX403" fmla="*/ 1000676 w 1853634"/>
                <a:gd name="connsiteY403" fmla="*/ 1267524 h 2187196"/>
                <a:gd name="connsiteX404" fmla="*/ 1000676 w 1853634"/>
                <a:gd name="connsiteY404" fmla="*/ 1257996 h 2187196"/>
                <a:gd name="connsiteX405" fmla="*/ 972086 w 1853634"/>
                <a:gd name="connsiteY405" fmla="*/ 1238936 h 2187196"/>
                <a:gd name="connsiteX406" fmla="*/ 938730 w 1853634"/>
                <a:gd name="connsiteY406" fmla="*/ 1224640 h 2187196"/>
                <a:gd name="connsiteX407" fmla="*/ 872018 w 1853634"/>
                <a:gd name="connsiteY407" fmla="*/ 1153160 h 2187196"/>
                <a:gd name="connsiteX408" fmla="*/ 852958 w 1853634"/>
                <a:gd name="connsiteY408" fmla="*/ 1124572 h 2187196"/>
                <a:gd name="connsiteX409" fmla="*/ 810072 w 1853634"/>
                <a:gd name="connsiteY409" fmla="*/ 1095980 h 2187196"/>
                <a:gd name="connsiteX410" fmla="*/ 786246 w 1853634"/>
                <a:gd name="connsiteY410" fmla="*/ 1053096 h 2187196"/>
                <a:gd name="connsiteX411" fmla="*/ 762420 w 1853634"/>
                <a:gd name="connsiteY411" fmla="*/ 1038800 h 2187196"/>
                <a:gd name="connsiteX412" fmla="*/ 729064 w 1853634"/>
                <a:gd name="connsiteY412" fmla="*/ 1024504 h 2187196"/>
                <a:gd name="connsiteX413" fmla="*/ 724300 w 1853634"/>
                <a:gd name="connsiteY413" fmla="*/ 1024504 h 2187196"/>
                <a:gd name="connsiteX414" fmla="*/ 714768 w 1853634"/>
                <a:gd name="connsiteY414" fmla="*/ 1029268 h 2187196"/>
                <a:gd name="connsiteX415" fmla="*/ 705238 w 1853634"/>
                <a:gd name="connsiteY415" fmla="*/ 1029268 h 2187196"/>
                <a:gd name="connsiteX416" fmla="*/ 700474 w 1853634"/>
                <a:gd name="connsiteY416" fmla="*/ 1024504 h 2187196"/>
                <a:gd name="connsiteX417" fmla="*/ 705238 w 1853634"/>
                <a:gd name="connsiteY417" fmla="*/ 1019740 h 2187196"/>
                <a:gd name="connsiteX418" fmla="*/ 714768 w 1853634"/>
                <a:gd name="connsiteY418" fmla="*/ 1014972 h 2187196"/>
                <a:gd name="connsiteX419" fmla="*/ 710004 w 1853634"/>
                <a:gd name="connsiteY419" fmla="*/ 1000676 h 2187196"/>
                <a:gd name="connsiteX420" fmla="*/ 676648 w 1853634"/>
                <a:gd name="connsiteY420" fmla="*/ 957792 h 2187196"/>
                <a:gd name="connsiteX421" fmla="*/ 652822 w 1853634"/>
                <a:gd name="connsiteY421" fmla="*/ 943496 h 2187196"/>
                <a:gd name="connsiteX422" fmla="*/ 648058 w 1853634"/>
                <a:gd name="connsiteY422" fmla="*/ 933968 h 2187196"/>
                <a:gd name="connsiteX423" fmla="*/ 643292 w 1853634"/>
                <a:gd name="connsiteY423" fmla="*/ 924436 h 2187196"/>
                <a:gd name="connsiteX424" fmla="*/ 638526 w 1853634"/>
                <a:gd name="connsiteY424" fmla="*/ 914904 h 2187196"/>
                <a:gd name="connsiteX425" fmla="*/ 628996 w 1853634"/>
                <a:gd name="connsiteY425" fmla="*/ 910140 h 2187196"/>
                <a:gd name="connsiteX426" fmla="*/ 619466 w 1853634"/>
                <a:gd name="connsiteY426" fmla="*/ 910140 h 2187196"/>
                <a:gd name="connsiteX427" fmla="*/ 609936 w 1853634"/>
                <a:gd name="connsiteY427" fmla="*/ 910140 h 2187196"/>
                <a:gd name="connsiteX428" fmla="*/ 609936 w 1853634"/>
                <a:gd name="connsiteY428" fmla="*/ 886316 h 2187196"/>
                <a:gd name="connsiteX429" fmla="*/ 609936 w 1853634"/>
                <a:gd name="connsiteY429" fmla="*/ 872020 h 2187196"/>
                <a:gd name="connsiteX430" fmla="*/ 609936 w 1853634"/>
                <a:gd name="connsiteY430" fmla="*/ 857724 h 2187196"/>
                <a:gd name="connsiteX431" fmla="*/ 595640 w 1853634"/>
                <a:gd name="connsiteY431" fmla="*/ 819604 h 2187196"/>
                <a:gd name="connsiteX432" fmla="*/ 576580 w 1853634"/>
                <a:gd name="connsiteY432" fmla="*/ 791012 h 2187196"/>
                <a:gd name="connsiteX433" fmla="*/ 567050 w 1853634"/>
                <a:gd name="connsiteY433" fmla="*/ 719536 h 2187196"/>
                <a:gd name="connsiteX434" fmla="*/ 557520 w 1853634"/>
                <a:gd name="connsiteY434" fmla="*/ 695708 h 2187196"/>
                <a:gd name="connsiteX435" fmla="*/ 533694 w 1853634"/>
                <a:gd name="connsiteY435" fmla="*/ 681416 h 2187196"/>
                <a:gd name="connsiteX436" fmla="*/ 486042 w 1853634"/>
                <a:gd name="connsiteY436" fmla="*/ 662352 h 2187196"/>
                <a:gd name="connsiteX437" fmla="*/ 419332 w 1853634"/>
                <a:gd name="connsiteY437" fmla="*/ 614704 h 2187196"/>
                <a:gd name="connsiteX438" fmla="*/ 400270 w 1853634"/>
                <a:gd name="connsiteY438" fmla="*/ 614704 h 2187196"/>
                <a:gd name="connsiteX439" fmla="*/ 362150 w 1853634"/>
                <a:gd name="connsiteY439" fmla="*/ 595644 h 2187196"/>
                <a:gd name="connsiteX440" fmla="*/ 333558 w 1853634"/>
                <a:gd name="connsiteY440" fmla="*/ 595644 h 2187196"/>
                <a:gd name="connsiteX441" fmla="*/ 300202 w 1853634"/>
                <a:gd name="connsiteY441" fmla="*/ 609936 h 2187196"/>
                <a:gd name="connsiteX442" fmla="*/ 262082 w 1853634"/>
                <a:gd name="connsiteY442" fmla="*/ 657588 h 2187196"/>
                <a:gd name="connsiteX443" fmla="*/ 228726 w 1853634"/>
                <a:gd name="connsiteY443" fmla="*/ 705240 h 2187196"/>
                <a:gd name="connsiteX444" fmla="*/ 214430 w 1853634"/>
                <a:gd name="connsiteY444" fmla="*/ 714772 h 2187196"/>
                <a:gd name="connsiteX445" fmla="*/ 176310 w 1853634"/>
                <a:gd name="connsiteY445" fmla="*/ 729064 h 2187196"/>
                <a:gd name="connsiteX446" fmla="*/ 138188 w 1853634"/>
                <a:gd name="connsiteY446" fmla="*/ 733832 h 2187196"/>
                <a:gd name="connsiteX447" fmla="*/ 138188 w 1853634"/>
                <a:gd name="connsiteY447" fmla="*/ 724300 h 2187196"/>
                <a:gd name="connsiteX448" fmla="*/ 133424 w 1853634"/>
                <a:gd name="connsiteY448" fmla="*/ 714772 h 2187196"/>
                <a:gd name="connsiteX449" fmla="*/ 142954 w 1853634"/>
                <a:gd name="connsiteY449" fmla="*/ 705240 h 2187196"/>
                <a:gd name="connsiteX450" fmla="*/ 152484 w 1853634"/>
                <a:gd name="connsiteY450" fmla="*/ 695708 h 2187196"/>
                <a:gd name="connsiteX451" fmla="*/ 162014 w 1853634"/>
                <a:gd name="connsiteY451" fmla="*/ 676648 h 2187196"/>
                <a:gd name="connsiteX452" fmla="*/ 166780 w 1853634"/>
                <a:gd name="connsiteY452" fmla="*/ 667120 h 2187196"/>
                <a:gd name="connsiteX453" fmla="*/ 162014 w 1853634"/>
                <a:gd name="connsiteY453" fmla="*/ 662352 h 2187196"/>
                <a:gd name="connsiteX454" fmla="*/ 157250 w 1853634"/>
                <a:gd name="connsiteY454" fmla="*/ 648060 h 2187196"/>
                <a:gd name="connsiteX455" fmla="*/ 152484 w 1853634"/>
                <a:gd name="connsiteY455" fmla="*/ 648060 h 2187196"/>
                <a:gd name="connsiteX456" fmla="*/ 119128 w 1853634"/>
                <a:gd name="connsiteY456" fmla="*/ 657588 h 2187196"/>
                <a:gd name="connsiteX457" fmla="*/ 109598 w 1853634"/>
                <a:gd name="connsiteY457" fmla="*/ 657588 h 2187196"/>
                <a:gd name="connsiteX458" fmla="*/ 81008 w 1853634"/>
                <a:gd name="connsiteY458" fmla="*/ 643292 h 2187196"/>
                <a:gd name="connsiteX459" fmla="*/ 52416 w 1853634"/>
                <a:gd name="connsiteY459" fmla="*/ 624232 h 2187196"/>
                <a:gd name="connsiteX460" fmla="*/ 42886 w 1853634"/>
                <a:gd name="connsiteY460" fmla="*/ 614704 h 2187196"/>
                <a:gd name="connsiteX461" fmla="*/ 38122 w 1853634"/>
                <a:gd name="connsiteY461" fmla="*/ 600408 h 2187196"/>
                <a:gd name="connsiteX462" fmla="*/ 42886 w 1853634"/>
                <a:gd name="connsiteY462" fmla="*/ 590876 h 2187196"/>
                <a:gd name="connsiteX463" fmla="*/ 42886 w 1853634"/>
                <a:gd name="connsiteY463" fmla="*/ 586112 h 2187196"/>
                <a:gd name="connsiteX464" fmla="*/ 33356 w 1853634"/>
                <a:gd name="connsiteY464" fmla="*/ 576580 h 2187196"/>
                <a:gd name="connsiteX465" fmla="*/ 38122 w 1853634"/>
                <a:gd name="connsiteY465" fmla="*/ 562288 h 2187196"/>
                <a:gd name="connsiteX466" fmla="*/ 47652 w 1853634"/>
                <a:gd name="connsiteY466" fmla="*/ 547992 h 2187196"/>
                <a:gd name="connsiteX467" fmla="*/ 52416 w 1853634"/>
                <a:gd name="connsiteY467" fmla="*/ 538460 h 2187196"/>
                <a:gd name="connsiteX468" fmla="*/ 61946 w 1853634"/>
                <a:gd name="connsiteY468" fmla="*/ 533696 h 2187196"/>
                <a:gd name="connsiteX469" fmla="*/ 61946 w 1853634"/>
                <a:gd name="connsiteY469" fmla="*/ 528932 h 2187196"/>
                <a:gd name="connsiteX470" fmla="*/ 57182 w 1853634"/>
                <a:gd name="connsiteY470" fmla="*/ 505104 h 2187196"/>
                <a:gd name="connsiteX471" fmla="*/ 57182 w 1853634"/>
                <a:gd name="connsiteY471" fmla="*/ 500340 h 2187196"/>
                <a:gd name="connsiteX472" fmla="*/ 47652 w 1853634"/>
                <a:gd name="connsiteY472" fmla="*/ 500340 h 2187196"/>
                <a:gd name="connsiteX473" fmla="*/ 42886 w 1853634"/>
                <a:gd name="connsiteY473" fmla="*/ 495576 h 2187196"/>
                <a:gd name="connsiteX474" fmla="*/ 28590 w 1853634"/>
                <a:gd name="connsiteY474" fmla="*/ 490808 h 2187196"/>
                <a:gd name="connsiteX475" fmla="*/ 19060 w 1853634"/>
                <a:gd name="connsiteY475" fmla="*/ 486044 h 2187196"/>
                <a:gd name="connsiteX476" fmla="*/ 19060 w 1853634"/>
                <a:gd name="connsiteY476" fmla="*/ 471748 h 2187196"/>
                <a:gd name="connsiteX477" fmla="*/ 9530 w 1853634"/>
                <a:gd name="connsiteY477" fmla="*/ 462220 h 2187196"/>
                <a:gd name="connsiteX478" fmla="*/ 4766 w 1853634"/>
                <a:gd name="connsiteY478" fmla="*/ 452688 h 2187196"/>
                <a:gd name="connsiteX479" fmla="*/ 0 w 1853634"/>
                <a:gd name="connsiteY479" fmla="*/ 438392 h 2187196"/>
                <a:gd name="connsiteX480" fmla="*/ 9530 w 1853634"/>
                <a:gd name="connsiteY480" fmla="*/ 433628 h 2187196"/>
                <a:gd name="connsiteX481" fmla="*/ 23826 w 1853634"/>
                <a:gd name="connsiteY481" fmla="*/ 433628 h 2187196"/>
                <a:gd name="connsiteX482" fmla="*/ 33356 w 1853634"/>
                <a:gd name="connsiteY482" fmla="*/ 438392 h 2187196"/>
                <a:gd name="connsiteX483" fmla="*/ 57182 w 1853634"/>
                <a:gd name="connsiteY483" fmla="*/ 419332 h 2187196"/>
                <a:gd name="connsiteX484" fmla="*/ 66712 w 1853634"/>
                <a:gd name="connsiteY484" fmla="*/ 419332 h 2187196"/>
                <a:gd name="connsiteX485" fmla="*/ 71476 w 1853634"/>
                <a:gd name="connsiteY485" fmla="*/ 414568 h 2187196"/>
                <a:gd name="connsiteX486" fmla="*/ 76242 w 1853634"/>
                <a:gd name="connsiteY486" fmla="*/ 390740 h 2187196"/>
                <a:gd name="connsiteX487" fmla="*/ 81008 w 1853634"/>
                <a:gd name="connsiteY487" fmla="*/ 381212 h 2187196"/>
                <a:gd name="connsiteX488" fmla="*/ 85772 w 1853634"/>
                <a:gd name="connsiteY488" fmla="*/ 376448 h 2187196"/>
                <a:gd name="connsiteX489" fmla="*/ 61946 w 1853634"/>
                <a:gd name="connsiteY489" fmla="*/ 357384 h 2187196"/>
                <a:gd name="connsiteX490" fmla="*/ 52416 w 1853634"/>
                <a:gd name="connsiteY490" fmla="*/ 338324 h 2187196"/>
                <a:gd name="connsiteX491" fmla="*/ 42886 w 1853634"/>
                <a:gd name="connsiteY491" fmla="*/ 319264 h 2187196"/>
                <a:gd name="connsiteX492" fmla="*/ 28590 w 1853634"/>
                <a:gd name="connsiteY492" fmla="*/ 309736 h 2187196"/>
                <a:gd name="connsiteX493" fmla="*/ 28590 w 1853634"/>
                <a:gd name="connsiteY493" fmla="*/ 300204 h 2187196"/>
                <a:gd name="connsiteX494" fmla="*/ 28590 w 1853634"/>
                <a:gd name="connsiteY494" fmla="*/ 295440 h 2187196"/>
                <a:gd name="connsiteX495" fmla="*/ 28590 w 1853634"/>
                <a:gd name="connsiteY495" fmla="*/ 285908 h 2187196"/>
                <a:gd name="connsiteX496" fmla="*/ 47652 w 1853634"/>
                <a:gd name="connsiteY496" fmla="*/ 271612 h 2187196"/>
                <a:gd name="connsiteX497" fmla="*/ 61946 w 1853634"/>
                <a:gd name="connsiteY497" fmla="*/ 262084 h 2187196"/>
                <a:gd name="connsiteX498" fmla="*/ 66712 w 1853634"/>
                <a:gd name="connsiteY498" fmla="*/ 266848 h 2187196"/>
                <a:gd name="connsiteX499" fmla="*/ 81008 w 1853634"/>
                <a:gd name="connsiteY499" fmla="*/ 271612 h 2187196"/>
                <a:gd name="connsiteX500" fmla="*/ 109598 w 1853634"/>
                <a:gd name="connsiteY500" fmla="*/ 262084 h 2187196"/>
                <a:gd name="connsiteX501" fmla="*/ 128658 w 1853634"/>
                <a:gd name="connsiteY501" fmla="*/ 257316 h 2187196"/>
                <a:gd name="connsiteX502" fmla="*/ 142954 w 1853634"/>
                <a:gd name="connsiteY502" fmla="*/ 247788 h 2187196"/>
                <a:gd name="connsiteX503" fmla="*/ 152484 w 1853634"/>
                <a:gd name="connsiteY503" fmla="*/ 247788 h 2187196"/>
                <a:gd name="connsiteX504" fmla="*/ 181074 w 1853634"/>
                <a:gd name="connsiteY504" fmla="*/ 262084 h 2187196"/>
                <a:gd name="connsiteX505" fmla="*/ 190606 w 1853634"/>
                <a:gd name="connsiteY505" fmla="*/ 257316 h 2187196"/>
                <a:gd name="connsiteX506" fmla="*/ 214430 w 1853634"/>
                <a:gd name="connsiteY506" fmla="*/ 238256 h 2187196"/>
                <a:gd name="connsiteX507" fmla="*/ 219196 w 1853634"/>
                <a:gd name="connsiteY507" fmla="*/ 233492 h 2187196"/>
                <a:gd name="connsiteX508" fmla="*/ 233492 w 1853634"/>
                <a:gd name="connsiteY508" fmla="*/ 209668 h 2187196"/>
                <a:gd name="connsiteX509" fmla="*/ 233492 w 1853634"/>
                <a:gd name="connsiteY509" fmla="*/ 200136 h 2187196"/>
                <a:gd name="connsiteX510" fmla="*/ 228726 w 1853634"/>
                <a:gd name="connsiteY510" fmla="*/ 185840 h 2187196"/>
                <a:gd name="connsiteX511" fmla="*/ 228726 w 1853634"/>
                <a:gd name="connsiteY511" fmla="*/ 181076 h 2187196"/>
                <a:gd name="connsiteX512" fmla="*/ 252552 w 1853634"/>
                <a:gd name="connsiteY512" fmla="*/ 166780 h 2187196"/>
                <a:gd name="connsiteX513" fmla="*/ 262082 w 1853634"/>
                <a:gd name="connsiteY513" fmla="*/ 152484 h 2187196"/>
                <a:gd name="connsiteX514" fmla="*/ 271612 w 1853634"/>
                <a:gd name="connsiteY514" fmla="*/ 142956 h 2187196"/>
                <a:gd name="connsiteX515" fmla="*/ 281142 w 1853634"/>
                <a:gd name="connsiteY515" fmla="*/ 142956 h 2187196"/>
                <a:gd name="connsiteX516" fmla="*/ 285908 w 1853634"/>
                <a:gd name="connsiteY516" fmla="*/ 147720 h 2187196"/>
                <a:gd name="connsiteX517" fmla="*/ 285908 w 1853634"/>
                <a:gd name="connsiteY517" fmla="*/ 152484 h 2187196"/>
                <a:gd name="connsiteX518" fmla="*/ 285908 w 1853634"/>
                <a:gd name="connsiteY518" fmla="*/ 181076 h 2187196"/>
                <a:gd name="connsiteX519" fmla="*/ 285908 w 1853634"/>
                <a:gd name="connsiteY519" fmla="*/ 190608 h 2187196"/>
                <a:gd name="connsiteX520" fmla="*/ 304968 w 1853634"/>
                <a:gd name="connsiteY520" fmla="*/ 209668 h 2187196"/>
                <a:gd name="connsiteX521" fmla="*/ 314498 w 1853634"/>
                <a:gd name="connsiteY521" fmla="*/ 219196 h 2187196"/>
                <a:gd name="connsiteX522" fmla="*/ 343090 w 1853634"/>
                <a:gd name="connsiteY522" fmla="*/ 228728 h 2187196"/>
                <a:gd name="connsiteX523" fmla="*/ 338324 w 1853634"/>
                <a:gd name="connsiteY523" fmla="*/ 243024 h 2187196"/>
                <a:gd name="connsiteX524" fmla="*/ 352620 w 1853634"/>
                <a:gd name="connsiteY524" fmla="*/ 262084 h 2187196"/>
                <a:gd name="connsiteX525" fmla="*/ 357384 w 1853634"/>
                <a:gd name="connsiteY525" fmla="*/ 276380 h 2187196"/>
                <a:gd name="connsiteX526" fmla="*/ 362150 w 1853634"/>
                <a:gd name="connsiteY526" fmla="*/ 281144 h 2187196"/>
                <a:gd name="connsiteX527" fmla="*/ 376444 w 1853634"/>
                <a:gd name="connsiteY527" fmla="*/ 281144 h 2187196"/>
                <a:gd name="connsiteX528" fmla="*/ 381210 w 1853634"/>
                <a:gd name="connsiteY528" fmla="*/ 271612 h 2187196"/>
                <a:gd name="connsiteX529" fmla="*/ 376444 w 1853634"/>
                <a:gd name="connsiteY529" fmla="*/ 262084 h 2187196"/>
                <a:gd name="connsiteX530" fmla="*/ 371680 w 1853634"/>
                <a:gd name="connsiteY530" fmla="*/ 247788 h 2187196"/>
                <a:gd name="connsiteX531" fmla="*/ 371680 w 1853634"/>
                <a:gd name="connsiteY531" fmla="*/ 243024 h 2187196"/>
                <a:gd name="connsiteX532" fmla="*/ 376444 w 1853634"/>
                <a:gd name="connsiteY532" fmla="*/ 233492 h 2187196"/>
                <a:gd name="connsiteX533" fmla="*/ 381210 w 1853634"/>
                <a:gd name="connsiteY533" fmla="*/ 219196 h 2187196"/>
                <a:gd name="connsiteX534" fmla="*/ 405036 w 1853634"/>
                <a:gd name="connsiteY534" fmla="*/ 195372 h 2187196"/>
                <a:gd name="connsiteX535" fmla="*/ 409800 w 1853634"/>
                <a:gd name="connsiteY535" fmla="*/ 181076 h 2187196"/>
                <a:gd name="connsiteX536" fmla="*/ 414566 w 1853634"/>
                <a:gd name="connsiteY536" fmla="*/ 157252 h 2187196"/>
                <a:gd name="connsiteX537" fmla="*/ 414566 w 1853634"/>
                <a:gd name="connsiteY537" fmla="*/ 138188 h 2187196"/>
                <a:gd name="connsiteX538" fmla="*/ 419332 w 1853634"/>
                <a:gd name="connsiteY538" fmla="*/ 133424 h 2187196"/>
                <a:gd name="connsiteX539" fmla="*/ 433626 w 1853634"/>
                <a:gd name="connsiteY539" fmla="*/ 133424 h 2187196"/>
                <a:gd name="connsiteX540" fmla="*/ 438392 w 1853634"/>
                <a:gd name="connsiteY540" fmla="*/ 133424 h 2187196"/>
                <a:gd name="connsiteX541" fmla="*/ 438392 w 1853634"/>
                <a:gd name="connsiteY541" fmla="*/ 147720 h 2187196"/>
                <a:gd name="connsiteX542" fmla="*/ 447922 w 1853634"/>
                <a:gd name="connsiteY542" fmla="*/ 166780 h 2187196"/>
                <a:gd name="connsiteX543" fmla="*/ 452686 w 1853634"/>
                <a:gd name="connsiteY543" fmla="*/ 176312 h 2187196"/>
                <a:gd name="connsiteX544" fmla="*/ 462218 w 1853634"/>
                <a:gd name="connsiteY544" fmla="*/ 176312 h 2187196"/>
                <a:gd name="connsiteX545" fmla="*/ 471748 w 1853634"/>
                <a:gd name="connsiteY545" fmla="*/ 176312 h 2187196"/>
                <a:gd name="connsiteX546" fmla="*/ 495574 w 1853634"/>
                <a:gd name="connsiteY546" fmla="*/ 166780 h 2187196"/>
                <a:gd name="connsiteX547" fmla="*/ 509868 w 1853634"/>
                <a:gd name="connsiteY547" fmla="*/ 162016 h 2187196"/>
                <a:gd name="connsiteX548" fmla="*/ 519398 w 1853634"/>
                <a:gd name="connsiteY548" fmla="*/ 162016 h 2187196"/>
                <a:gd name="connsiteX549" fmla="*/ 524164 w 1853634"/>
                <a:gd name="connsiteY549" fmla="*/ 171544 h 2187196"/>
                <a:gd name="connsiteX550" fmla="*/ 533694 w 1853634"/>
                <a:gd name="connsiteY550" fmla="*/ 190608 h 2187196"/>
                <a:gd name="connsiteX551" fmla="*/ 543224 w 1853634"/>
                <a:gd name="connsiteY551" fmla="*/ 190608 h 2187196"/>
                <a:gd name="connsiteX552" fmla="*/ 547990 w 1853634"/>
                <a:gd name="connsiteY552" fmla="*/ 190608 h 2187196"/>
                <a:gd name="connsiteX553" fmla="*/ 552754 w 1853634"/>
                <a:gd name="connsiteY553" fmla="*/ 185840 h 2187196"/>
                <a:gd name="connsiteX554" fmla="*/ 547990 w 1853634"/>
                <a:gd name="connsiteY554" fmla="*/ 181076 h 2187196"/>
                <a:gd name="connsiteX555" fmla="*/ 543224 w 1853634"/>
                <a:gd name="connsiteY555" fmla="*/ 162016 h 2187196"/>
                <a:gd name="connsiteX556" fmla="*/ 543224 w 1853634"/>
                <a:gd name="connsiteY556" fmla="*/ 147720 h 2187196"/>
                <a:gd name="connsiteX557" fmla="*/ 533694 w 1853634"/>
                <a:gd name="connsiteY557" fmla="*/ 142956 h 2187196"/>
                <a:gd name="connsiteX558" fmla="*/ 533694 w 1853634"/>
                <a:gd name="connsiteY558" fmla="*/ 133424 h 2187196"/>
                <a:gd name="connsiteX559" fmla="*/ 538460 w 1853634"/>
                <a:gd name="connsiteY559" fmla="*/ 119128 h 2187196"/>
                <a:gd name="connsiteX560" fmla="*/ 543224 w 1853634"/>
                <a:gd name="connsiteY560" fmla="*/ 109600 h 2187196"/>
                <a:gd name="connsiteX561" fmla="*/ 547990 w 1853634"/>
                <a:gd name="connsiteY561" fmla="*/ 104832 h 2187196"/>
                <a:gd name="connsiteX562" fmla="*/ 557520 w 1853634"/>
                <a:gd name="connsiteY562" fmla="*/ 104832 h 2187196"/>
                <a:gd name="connsiteX563" fmla="*/ 571816 w 1853634"/>
                <a:gd name="connsiteY563" fmla="*/ 114364 h 2187196"/>
                <a:gd name="connsiteX564" fmla="*/ 586110 w 1853634"/>
                <a:gd name="connsiteY564" fmla="*/ 119128 h 2187196"/>
                <a:gd name="connsiteX565" fmla="*/ 595640 w 1853634"/>
                <a:gd name="connsiteY565" fmla="*/ 119128 h 2187196"/>
                <a:gd name="connsiteX566" fmla="*/ 595640 w 1853634"/>
                <a:gd name="connsiteY566" fmla="*/ 114364 h 2187196"/>
                <a:gd name="connsiteX567" fmla="*/ 595640 w 1853634"/>
                <a:gd name="connsiteY567" fmla="*/ 104832 h 2187196"/>
                <a:gd name="connsiteX568" fmla="*/ 590876 w 1853634"/>
                <a:gd name="connsiteY568" fmla="*/ 95304 h 2187196"/>
                <a:gd name="connsiteX569" fmla="*/ 590876 w 1853634"/>
                <a:gd name="connsiteY569" fmla="*/ 76244 h 2187196"/>
                <a:gd name="connsiteX570" fmla="*/ 600406 w 1853634"/>
                <a:gd name="connsiteY570" fmla="*/ 47652 h 2187196"/>
                <a:gd name="connsiteX571" fmla="*/ 605172 w 1853634"/>
                <a:gd name="connsiteY571" fmla="*/ 52416 h 2187196"/>
                <a:gd name="connsiteX572" fmla="*/ 619466 w 1853634"/>
                <a:gd name="connsiteY572" fmla="*/ 52416 h 2187196"/>
                <a:gd name="connsiteX573" fmla="*/ 633762 w 1853634"/>
                <a:gd name="connsiteY573" fmla="*/ 52416 h 2187196"/>
                <a:gd name="connsiteX574" fmla="*/ 648058 w 1853634"/>
                <a:gd name="connsiteY574" fmla="*/ 66712 h 2187196"/>
                <a:gd name="connsiteX575" fmla="*/ 657588 w 1853634"/>
                <a:gd name="connsiteY575" fmla="*/ 66712 h 2187196"/>
                <a:gd name="connsiteX576" fmla="*/ 671882 w 1853634"/>
                <a:gd name="connsiteY576" fmla="*/ 71476 h 2187196"/>
                <a:gd name="connsiteX577" fmla="*/ 681412 w 1853634"/>
                <a:gd name="connsiteY577" fmla="*/ 66712 h 2187196"/>
                <a:gd name="connsiteX578" fmla="*/ 686178 w 1853634"/>
                <a:gd name="connsiteY578" fmla="*/ 61948 h 2187196"/>
                <a:gd name="connsiteX579" fmla="*/ 695708 w 1853634"/>
                <a:gd name="connsiteY579" fmla="*/ 47652 h 2187196"/>
                <a:gd name="connsiteX580" fmla="*/ 705238 w 1853634"/>
                <a:gd name="connsiteY580" fmla="*/ 33356 h 2187196"/>
                <a:gd name="connsiteX581" fmla="*/ 724300 w 1853634"/>
                <a:gd name="connsiteY581" fmla="*/ 23828 h 2187196"/>
                <a:gd name="connsiteX582" fmla="*/ 752890 w 1853634"/>
                <a:gd name="connsiteY582" fmla="*/ 19060 h 2187196"/>
                <a:gd name="connsiteX583" fmla="*/ 767186 w 1853634"/>
                <a:gd name="connsiteY583" fmla="*/ 19060 h 2187196"/>
                <a:gd name="connsiteX584" fmla="*/ 781480 w 1853634"/>
                <a:gd name="connsiteY584" fmla="*/ 19060 h 2187196"/>
                <a:gd name="connsiteX585" fmla="*/ 791010 w 1853634"/>
                <a:gd name="connsiteY585" fmla="*/ 19060 h 2187196"/>
                <a:gd name="connsiteX586" fmla="*/ 805306 w 1853634"/>
                <a:gd name="connsiteY586" fmla="*/ 19060 h 2187196"/>
                <a:gd name="connsiteX587" fmla="*/ 833898 w 1853634"/>
                <a:gd name="connsiteY587" fmla="*/ 9532 h 2187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</a:cxnLst>
              <a:rect l="l" t="t" r="r" b="b"/>
              <a:pathLst>
                <a:path w="1853634" h="2187196">
                  <a:moveTo>
                    <a:pt x="829132" y="2158604"/>
                  </a:moveTo>
                  <a:lnTo>
                    <a:pt x="833898" y="2158604"/>
                  </a:lnTo>
                  <a:lnTo>
                    <a:pt x="843428" y="2158604"/>
                  </a:lnTo>
                  <a:lnTo>
                    <a:pt x="848192" y="2168132"/>
                  </a:lnTo>
                  <a:lnTo>
                    <a:pt x="848192" y="2172900"/>
                  </a:lnTo>
                  <a:lnTo>
                    <a:pt x="843428" y="2177664"/>
                  </a:lnTo>
                  <a:lnTo>
                    <a:pt x="829132" y="2168132"/>
                  </a:lnTo>
                  <a:close/>
                  <a:moveTo>
                    <a:pt x="1396182" y="1867932"/>
                  </a:moveTo>
                  <a:lnTo>
                    <a:pt x="1410476" y="1877460"/>
                  </a:lnTo>
                  <a:lnTo>
                    <a:pt x="1400946" y="1886992"/>
                  </a:lnTo>
                  <a:lnTo>
                    <a:pt x="1386652" y="1906052"/>
                  </a:lnTo>
                  <a:lnTo>
                    <a:pt x="1381886" y="1915584"/>
                  </a:lnTo>
                  <a:lnTo>
                    <a:pt x="1343766" y="1972764"/>
                  </a:lnTo>
                  <a:lnTo>
                    <a:pt x="1343766" y="1982292"/>
                  </a:lnTo>
                  <a:lnTo>
                    <a:pt x="1339000" y="1996588"/>
                  </a:lnTo>
                  <a:lnTo>
                    <a:pt x="1334236" y="2010884"/>
                  </a:lnTo>
                  <a:lnTo>
                    <a:pt x="1329470" y="2020416"/>
                  </a:lnTo>
                  <a:lnTo>
                    <a:pt x="1324704" y="2034712"/>
                  </a:lnTo>
                  <a:lnTo>
                    <a:pt x="1324704" y="2053772"/>
                  </a:lnTo>
                  <a:lnTo>
                    <a:pt x="1329470" y="2058536"/>
                  </a:lnTo>
                  <a:lnTo>
                    <a:pt x="1334236" y="2063300"/>
                  </a:lnTo>
                  <a:lnTo>
                    <a:pt x="1339000" y="2068068"/>
                  </a:lnTo>
                  <a:lnTo>
                    <a:pt x="1343766" y="2077596"/>
                  </a:lnTo>
                  <a:lnTo>
                    <a:pt x="1334236" y="2087128"/>
                  </a:lnTo>
                  <a:lnTo>
                    <a:pt x="1348530" y="2096656"/>
                  </a:lnTo>
                  <a:lnTo>
                    <a:pt x="1353296" y="2106188"/>
                  </a:lnTo>
                  <a:lnTo>
                    <a:pt x="1353296" y="2115716"/>
                  </a:lnTo>
                  <a:lnTo>
                    <a:pt x="1353296" y="2125248"/>
                  </a:lnTo>
                  <a:lnTo>
                    <a:pt x="1339000" y="2139544"/>
                  </a:lnTo>
                  <a:lnTo>
                    <a:pt x="1329470" y="2149072"/>
                  </a:lnTo>
                  <a:lnTo>
                    <a:pt x="1329470" y="2158604"/>
                  </a:lnTo>
                  <a:lnTo>
                    <a:pt x="1324704" y="2168132"/>
                  </a:lnTo>
                  <a:lnTo>
                    <a:pt x="1329470" y="2177664"/>
                  </a:lnTo>
                  <a:lnTo>
                    <a:pt x="1324704" y="2187196"/>
                  </a:lnTo>
                  <a:lnTo>
                    <a:pt x="1310410" y="2187196"/>
                  </a:lnTo>
                  <a:lnTo>
                    <a:pt x="1291348" y="2177664"/>
                  </a:lnTo>
                  <a:lnTo>
                    <a:pt x="1272288" y="2182428"/>
                  </a:lnTo>
                  <a:lnTo>
                    <a:pt x="1248462" y="2172900"/>
                  </a:lnTo>
                  <a:lnTo>
                    <a:pt x="1238932" y="2168132"/>
                  </a:lnTo>
                  <a:lnTo>
                    <a:pt x="1229402" y="2163368"/>
                  </a:lnTo>
                  <a:lnTo>
                    <a:pt x="1210342" y="2130012"/>
                  </a:lnTo>
                  <a:lnTo>
                    <a:pt x="1191282" y="2115716"/>
                  </a:lnTo>
                  <a:lnTo>
                    <a:pt x="1176986" y="2106188"/>
                  </a:lnTo>
                  <a:lnTo>
                    <a:pt x="1157926" y="2106188"/>
                  </a:lnTo>
                  <a:lnTo>
                    <a:pt x="1138864" y="2106188"/>
                  </a:lnTo>
                  <a:lnTo>
                    <a:pt x="1119804" y="2101420"/>
                  </a:lnTo>
                  <a:lnTo>
                    <a:pt x="1086448" y="2077596"/>
                  </a:lnTo>
                  <a:lnTo>
                    <a:pt x="1053092" y="2058536"/>
                  </a:lnTo>
                  <a:lnTo>
                    <a:pt x="1038798" y="2044240"/>
                  </a:lnTo>
                  <a:lnTo>
                    <a:pt x="1029268" y="2039476"/>
                  </a:lnTo>
                  <a:lnTo>
                    <a:pt x="1024502" y="2029944"/>
                  </a:lnTo>
                  <a:lnTo>
                    <a:pt x="1000676" y="2025180"/>
                  </a:lnTo>
                  <a:lnTo>
                    <a:pt x="986380" y="2015648"/>
                  </a:lnTo>
                  <a:lnTo>
                    <a:pt x="976850" y="2010884"/>
                  </a:lnTo>
                  <a:lnTo>
                    <a:pt x="957790" y="2015648"/>
                  </a:lnTo>
                  <a:lnTo>
                    <a:pt x="948260" y="2015648"/>
                  </a:lnTo>
                  <a:lnTo>
                    <a:pt x="938730" y="2010884"/>
                  </a:lnTo>
                  <a:lnTo>
                    <a:pt x="924434" y="1996588"/>
                  </a:lnTo>
                  <a:lnTo>
                    <a:pt x="910140" y="1972764"/>
                  </a:lnTo>
                  <a:lnTo>
                    <a:pt x="910140" y="1963232"/>
                  </a:lnTo>
                  <a:lnTo>
                    <a:pt x="914904" y="1939408"/>
                  </a:lnTo>
                  <a:lnTo>
                    <a:pt x="924434" y="1920348"/>
                  </a:lnTo>
                  <a:lnTo>
                    <a:pt x="933964" y="1910816"/>
                  </a:lnTo>
                  <a:lnTo>
                    <a:pt x="943494" y="1906052"/>
                  </a:lnTo>
                  <a:lnTo>
                    <a:pt x="948260" y="1901288"/>
                  </a:lnTo>
                  <a:lnTo>
                    <a:pt x="957790" y="1891756"/>
                  </a:lnTo>
                  <a:lnTo>
                    <a:pt x="972086" y="1915584"/>
                  </a:lnTo>
                  <a:lnTo>
                    <a:pt x="981616" y="1920348"/>
                  </a:lnTo>
                  <a:lnTo>
                    <a:pt x="991146" y="1920348"/>
                  </a:lnTo>
                  <a:lnTo>
                    <a:pt x="1005442" y="1910816"/>
                  </a:lnTo>
                  <a:lnTo>
                    <a:pt x="1005442" y="1901288"/>
                  </a:lnTo>
                  <a:lnTo>
                    <a:pt x="1019736" y="1891756"/>
                  </a:lnTo>
                  <a:lnTo>
                    <a:pt x="1043562" y="1891756"/>
                  </a:lnTo>
                  <a:lnTo>
                    <a:pt x="1053092" y="1891756"/>
                  </a:lnTo>
                  <a:lnTo>
                    <a:pt x="1057858" y="1906052"/>
                  </a:lnTo>
                  <a:lnTo>
                    <a:pt x="1062622" y="1906052"/>
                  </a:lnTo>
                  <a:lnTo>
                    <a:pt x="1072154" y="1910816"/>
                  </a:lnTo>
                  <a:lnTo>
                    <a:pt x="1100744" y="1929876"/>
                  </a:lnTo>
                  <a:lnTo>
                    <a:pt x="1110274" y="1929876"/>
                  </a:lnTo>
                  <a:lnTo>
                    <a:pt x="1119804" y="1934644"/>
                  </a:lnTo>
                  <a:lnTo>
                    <a:pt x="1143630" y="1925112"/>
                  </a:lnTo>
                  <a:lnTo>
                    <a:pt x="1162690" y="1920348"/>
                  </a:lnTo>
                  <a:lnTo>
                    <a:pt x="1196046" y="1925112"/>
                  </a:lnTo>
                  <a:lnTo>
                    <a:pt x="1219872" y="1920348"/>
                  </a:lnTo>
                  <a:lnTo>
                    <a:pt x="1234168" y="1920348"/>
                  </a:lnTo>
                  <a:lnTo>
                    <a:pt x="1253228" y="1910816"/>
                  </a:lnTo>
                  <a:lnTo>
                    <a:pt x="1267524" y="1901288"/>
                  </a:lnTo>
                  <a:lnTo>
                    <a:pt x="1277054" y="1896520"/>
                  </a:lnTo>
                  <a:lnTo>
                    <a:pt x="1286584" y="1896520"/>
                  </a:lnTo>
                  <a:lnTo>
                    <a:pt x="1305644" y="1896520"/>
                  </a:lnTo>
                  <a:lnTo>
                    <a:pt x="1329470" y="1901288"/>
                  </a:lnTo>
                  <a:lnTo>
                    <a:pt x="1334236" y="1896520"/>
                  </a:lnTo>
                  <a:lnTo>
                    <a:pt x="1343766" y="1886992"/>
                  </a:lnTo>
                  <a:lnTo>
                    <a:pt x="1353296" y="1882228"/>
                  </a:lnTo>
                  <a:lnTo>
                    <a:pt x="1362826" y="1886992"/>
                  </a:lnTo>
                  <a:lnTo>
                    <a:pt x="1386652" y="1872696"/>
                  </a:lnTo>
                  <a:close/>
                  <a:moveTo>
                    <a:pt x="271612" y="1705916"/>
                  </a:moveTo>
                  <a:lnTo>
                    <a:pt x="285908" y="1710680"/>
                  </a:lnTo>
                  <a:lnTo>
                    <a:pt x="290672" y="1715448"/>
                  </a:lnTo>
                  <a:lnTo>
                    <a:pt x="281142" y="1734508"/>
                  </a:lnTo>
                  <a:lnTo>
                    <a:pt x="271612" y="1720212"/>
                  </a:lnTo>
                  <a:lnTo>
                    <a:pt x="271612" y="1710680"/>
                  </a:lnTo>
                  <a:close/>
                  <a:moveTo>
                    <a:pt x="1134100" y="1372356"/>
                  </a:moveTo>
                  <a:lnTo>
                    <a:pt x="1148396" y="1377124"/>
                  </a:lnTo>
                  <a:lnTo>
                    <a:pt x="1148396" y="1381888"/>
                  </a:lnTo>
                  <a:lnTo>
                    <a:pt x="1143630" y="1381888"/>
                  </a:lnTo>
                  <a:lnTo>
                    <a:pt x="1134100" y="1381888"/>
                  </a:lnTo>
                  <a:lnTo>
                    <a:pt x="1129336" y="1377124"/>
                  </a:lnTo>
                  <a:close/>
                  <a:moveTo>
                    <a:pt x="266848" y="1296116"/>
                  </a:moveTo>
                  <a:lnTo>
                    <a:pt x="271612" y="1300882"/>
                  </a:lnTo>
                  <a:lnTo>
                    <a:pt x="266848" y="1310412"/>
                  </a:lnTo>
                  <a:lnTo>
                    <a:pt x="262082" y="1315176"/>
                  </a:lnTo>
                  <a:lnTo>
                    <a:pt x="257318" y="1324708"/>
                  </a:lnTo>
                  <a:lnTo>
                    <a:pt x="247788" y="1319942"/>
                  </a:lnTo>
                  <a:lnTo>
                    <a:pt x="252552" y="1315176"/>
                  </a:lnTo>
                  <a:lnTo>
                    <a:pt x="257318" y="1300882"/>
                  </a:lnTo>
                  <a:close/>
                  <a:moveTo>
                    <a:pt x="409800" y="1267524"/>
                  </a:moveTo>
                  <a:lnTo>
                    <a:pt x="414566" y="1281820"/>
                  </a:lnTo>
                  <a:lnTo>
                    <a:pt x="428862" y="1281820"/>
                  </a:lnTo>
                  <a:lnTo>
                    <a:pt x="443156" y="1291352"/>
                  </a:lnTo>
                  <a:lnTo>
                    <a:pt x="447922" y="1300880"/>
                  </a:lnTo>
                  <a:lnTo>
                    <a:pt x="457452" y="1310412"/>
                  </a:lnTo>
                  <a:lnTo>
                    <a:pt x="462218" y="1315176"/>
                  </a:lnTo>
                  <a:lnTo>
                    <a:pt x="466982" y="1319940"/>
                  </a:lnTo>
                  <a:lnTo>
                    <a:pt x="462218" y="1324708"/>
                  </a:lnTo>
                  <a:lnTo>
                    <a:pt x="457452" y="1334236"/>
                  </a:lnTo>
                  <a:lnTo>
                    <a:pt x="462218" y="1339000"/>
                  </a:lnTo>
                  <a:lnTo>
                    <a:pt x="471748" y="1343768"/>
                  </a:lnTo>
                  <a:lnTo>
                    <a:pt x="476512" y="1358064"/>
                  </a:lnTo>
                  <a:lnTo>
                    <a:pt x="495572" y="1415244"/>
                  </a:lnTo>
                  <a:lnTo>
                    <a:pt x="495572" y="1424776"/>
                  </a:lnTo>
                  <a:lnTo>
                    <a:pt x="495572" y="1439068"/>
                  </a:lnTo>
                  <a:lnTo>
                    <a:pt x="490808" y="1443836"/>
                  </a:lnTo>
                  <a:lnTo>
                    <a:pt x="471748" y="1472424"/>
                  </a:lnTo>
                  <a:lnTo>
                    <a:pt x="476512" y="1496252"/>
                  </a:lnTo>
                  <a:lnTo>
                    <a:pt x="481278" y="1510548"/>
                  </a:lnTo>
                  <a:lnTo>
                    <a:pt x="481278" y="1524840"/>
                  </a:lnTo>
                  <a:lnTo>
                    <a:pt x="476512" y="1543904"/>
                  </a:lnTo>
                  <a:lnTo>
                    <a:pt x="466982" y="1658264"/>
                  </a:lnTo>
                  <a:lnTo>
                    <a:pt x="462218" y="1677328"/>
                  </a:lnTo>
                  <a:lnTo>
                    <a:pt x="457452" y="1696388"/>
                  </a:lnTo>
                  <a:lnTo>
                    <a:pt x="447922" y="1701152"/>
                  </a:lnTo>
                  <a:lnTo>
                    <a:pt x="433626" y="1696388"/>
                  </a:lnTo>
                  <a:lnTo>
                    <a:pt x="414566" y="1686856"/>
                  </a:lnTo>
                  <a:lnTo>
                    <a:pt x="405036" y="1686856"/>
                  </a:lnTo>
                  <a:lnTo>
                    <a:pt x="395506" y="1691620"/>
                  </a:lnTo>
                  <a:lnTo>
                    <a:pt x="385974" y="1686856"/>
                  </a:lnTo>
                  <a:lnTo>
                    <a:pt x="381210" y="1682092"/>
                  </a:lnTo>
                  <a:lnTo>
                    <a:pt x="376444" y="1720212"/>
                  </a:lnTo>
                  <a:lnTo>
                    <a:pt x="366914" y="1734508"/>
                  </a:lnTo>
                  <a:lnTo>
                    <a:pt x="352620" y="1748804"/>
                  </a:lnTo>
                  <a:lnTo>
                    <a:pt x="338324" y="1748804"/>
                  </a:lnTo>
                  <a:lnTo>
                    <a:pt x="328794" y="1744036"/>
                  </a:lnTo>
                  <a:lnTo>
                    <a:pt x="319264" y="1744036"/>
                  </a:lnTo>
                  <a:lnTo>
                    <a:pt x="309732" y="1734508"/>
                  </a:lnTo>
                  <a:lnTo>
                    <a:pt x="300202" y="1724976"/>
                  </a:lnTo>
                  <a:lnTo>
                    <a:pt x="290672" y="1705916"/>
                  </a:lnTo>
                  <a:lnTo>
                    <a:pt x="281142" y="1686856"/>
                  </a:lnTo>
                  <a:lnTo>
                    <a:pt x="281142" y="1672560"/>
                  </a:lnTo>
                  <a:lnTo>
                    <a:pt x="276376" y="1634440"/>
                  </a:lnTo>
                  <a:lnTo>
                    <a:pt x="281142" y="1624908"/>
                  </a:lnTo>
                  <a:lnTo>
                    <a:pt x="285908" y="1615380"/>
                  </a:lnTo>
                  <a:lnTo>
                    <a:pt x="285908" y="1596320"/>
                  </a:lnTo>
                  <a:lnTo>
                    <a:pt x="285908" y="1582024"/>
                  </a:lnTo>
                  <a:lnTo>
                    <a:pt x="290672" y="1577260"/>
                  </a:lnTo>
                  <a:lnTo>
                    <a:pt x="295438" y="1582024"/>
                  </a:lnTo>
                  <a:lnTo>
                    <a:pt x="300202" y="1582024"/>
                  </a:lnTo>
                  <a:lnTo>
                    <a:pt x="300202" y="1572492"/>
                  </a:lnTo>
                  <a:lnTo>
                    <a:pt x="300202" y="1558196"/>
                  </a:lnTo>
                  <a:lnTo>
                    <a:pt x="295438" y="1548668"/>
                  </a:lnTo>
                  <a:lnTo>
                    <a:pt x="281142" y="1543904"/>
                  </a:lnTo>
                  <a:lnTo>
                    <a:pt x="276376" y="1529608"/>
                  </a:lnTo>
                  <a:lnTo>
                    <a:pt x="281142" y="1520076"/>
                  </a:lnTo>
                  <a:lnTo>
                    <a:pt x="285908" y="1510548"/>
                  </a:lnTo>
                  <a:lnTo>
                    <a:pt x="290672" y="1501016"/>
                  </a:lnTo>
                  <a:lnTo>
                    <a:pt x="290672" y="1467660"/>
                  </a:lnTo>
                  <a:lnTo>
                    <a:pt x="281142" y="1453364"/>
                  </a:lnTo>
                  <a:lnTo>
                    <a:pt x="276376" y="1434304"/>
                  </a:lnTo>
                  <a:lnTo>
                    <a:pt x="271612" y="1424776"/>
                  </a:lnTo>
                  <a:lnTo>
                    <a:pt x="262082" y="1410480"/>
                  </a:lnTo>
                  <a:lnTo>
                    <a:pt x="252552" y="1400948"/>
                  </a:lnTo>
                  <a:lnTo>
                    <a:pt x="243020" y="1391420"/>
                  </a:lnTo>
                  <a:lnTo>
                    <a:pt x="243020" y="1367592"/>
                  </a:lnTo>
                  <a:lnTo>
                    <a:pt x="247786" y="1348532"/>
                  </a:lnTo>
                  <a:lnTo>
                    <a:pt x="252552" y="1339000"/>
                  </a:lnTo>
                  <a:lnTo>
                    <a:pt x="262082" y="1353296"/>
                  </a:lnTo>
                  <a:lnTo>
                    <a:pt x="271612" y="1353296"/>
                  </a:lnTo>
                  <a:lnTo>
                    <a:pt x="290672" y="1358064"/>
                  </a:lnTo>
                  <a:lnTo>
                    <a:pt x="304968" y="1353296"/>
                  </a:lnTo>
                  <a:lnTo>
                    <a:pt x="324028" y="1343768"/>
                  </a:lnTo>
                  <a:lnTo>
                    <a:pt x="343088" y="1334236"/>
                  </a:lnTo>
                  <a:lnTo>
                    <a:pt x="371680" y="1300880"/>
                  </a:lnTo>
                  <a:lnTo>
                    <a:pt x="390740" y="1291352"/>
                  </a:lnTo>
                  <a:lnTo>
                    <a:pt x="395506" y="1281820"/>
                  </a:lnTo>
                  <a:lnTo>
                    <a:pt x="400270" y="1272292"/>
                  </a:lnTo>
                  <a:close/>
                  <a:moveTo>
                    <a:pt x="590874" y="929200"/>
                  </a:moveTo>
                  <a:lnTo>
                    <a:pt x="595640" y="938732"/>
                  </a:lnTo>
                  <a:lnTo>
                    <a:pt x="595640" y="943496"/>
                  </a:lnTo>
                  <a:lnTo>
                    <a:pt x="590874" y="948260"/>
                  </a:lnTo>
                  <a:lnTo>
                    <a:pt x="595640" y="962556"/>
                  </a:lnTo>
                  <a:lnTo>
                    <a:pt x="581344" y="953028"/>
                  </a:lnTo>
                  <a:lnTo>
                    <a:pt x="562284" y="957792"/>
                  </a:lnTo>
                  <a:lnTo>
                    <a:pt x="547990" y="957792"/>
                  </a:lnTo>
                  <a:lnTo>
                    <a:pt x="543224" y="948260"/>
                  </a:lnTo>
                  <a:lnTo>
                    <a:pt x="547990" y="943496"/>
                  </a:lnTo>
                  <a:lnTo>
                    <a:pt x="567050" y="938732"/>
                  </a:lnTo>
                  <a:lnTo>
                    <a:pt x="571814" y="938732"/>
                  </a:lnTo>
                  <a:lnTo>
                    <a:pt x="586110" y="938732"/>
                  </a:lnTo>
                  <a:close/>
                  <a:moveTo>
                    <a:pt x="867252" y="0"/>
                  </a:moveTo>
                  <a:lnTo>
                    <a:pt x="872018" y="0"/>
                  </a:lnTo>
                  <a:lnTo>
                    <a:pt x="872018" y="4768"/>
                  </a:lnTo>
                  <a:lnTo>
                    <a:pt x="867252" y="9532"/>
                  </a:lnTo>
                  <a:lnTo>
                    <a:pt x="862488" y="19060"/>
                  </a:lnTo>
                  <a:lnTo>
                    <a:pt x="862488" y="33356"/>
                  </a:lnTo>
                  <a:lnTo>
                    <a:pt x="881548" y="52416"/>
                  </a:lnTo>
                  <a:lnTo>
                    <a:pt x="891078" y="71476"/>
                  </a:lnTo>
                  <a:lnTo>
                    <a:pt x="900608" y="85772"/>
                  </a:lnTo>
                  <a:lnTo>
                    <a:pt x="914904" y="90540"/>
                  </a:lnTo>
                  <a:lnTo>
                    <a:pt x="933964" y="95304"/>
                  </a:lnTo>
                  <a:lnTo>
                    <a:pt x="948260" y="100068"/>
                  </a:lnTo>
                  <a:lnTo>
                    <a:pt x="967320" y="104832"/>
                  </a:lnTo>
                  <a:lnTo>
                    <a:pt x="1024502" y="114364"/>
                  </a:lnTo>
                  <a:lnTo>
                    <a:pt x="1053092" y="119128"/>
                  </a:lnTo>
                  <a:lnTo>
                    <a:pt x="1072154" y="119128"/>
                  </a:lnTo>
                  <a:lnTo>
                    <a:pt x="1105510" y="128660"/>
                  </a:lnTo>
                  <a:lnTo>
                    <a:pt x="1100744" y="138188"/>
                  </a:lnTo>
                  <a:lnTo>
                    <a:pt x="1095980" y="142956"/>
                  </a:lnTo>
                  <a:lnTo>
                    <a:pt x="1086448" y="152484"/>
                  </a:lnTo>
                  <a:lnTo>
                    <a:pt x="1072154" y="162016"/>
                  </a:lnTo>
                  <a:lnTo>
                    <a:pt x="1057858" y="171544"/>
                  </a:lnTo>
                  <a:lnTo>
                    <a:pt x="1057858" y="185840"/>
                  </a:lnTo>
                  <a:lnTo>
                    <a:pt x="1057858" y="195372"/>
                  </a:lnTo>
                  <a:lnTo>
                    <a:pt x="1062624" y="195372"/>
                  </a:lnTo>
                  <a:lnTo>
                    <a:pt x="1067388" y="195372"/>
                  </a:lnTo>
                  <a:lnTo>
                    <a:pt x="1072154" y="195372"/>
                  </a:lnTo>
                  <a:lnTo>
                    <a:pt x="1081684" y="200136"/>
                  </a:lnTo>
                  <a:lnTo>
                    <a:pt x="1095980" y="204900"/>
                  </a:lnTo>
                  <a:lnTo>
                    <a:pt x="1095980" y="209668"/>
                  </a:lnTo>
                  <a:lnTo>
                    <a:pt x="1091214" y="214432"/>
                  </a:lnTo>
                  <a:lnTo>
                    <a:pt x="1081684" y="223964"/>
                  </a:lnTo>
                  <a:lnTo>
                    <a:pt x="1072154" y="233492"/>
                  </a:lnTo>
                  <a:lnTo>
                    <a:pt x="1072154" y="243024"/>
                  </a:lnTo>
                  <a:lnTo>
                    <a:pt x="1072154" y="247788"/>
                  </a:lnTo>
                  <a:lnTo>
                    <a:pt x="1076918" y="247788"/>
                  </a:lnTo>
                  <a:lnTo>
                    <a:pt x="1091214" y="247788"/>
                  </a:lnTo>
                  <a:lnTo>
                    <a:pt x="1091214" y="252552"/>
                  </a:lnTo>
                  <a:lnTo>
                    <a:pt x="1086448" y="281144"/>
                  </a:lnTo>
                  <a:lnTo>
                    <a:pt x="1086448" y="285908"/>
                  </a:lnTo>
                  <a:lnTo>
                    <a:pt x="1100744" y="290672"/>
                  </a:lnTo>
                  <a:lnTo>
                    <a:pt x="1110274" y="295440"/>
                  </a:lnTo>
                  <a:lnTo>
                    <a:pt x="1124570" y="314500"/>
                  </a:lnTo>
                  <a:lnTo>
                    <a:pt x="1134100" y="328796"/>
                  </a:lnTo>
                  <a:lnTo>
                    <a:pt x="1129334" y="333560"/>
                  </a:lnTo>
                  <a:lnTo>
                    <a:pt x="1119804" y="338324"/>
                  </a:lnTo>
                  <a:lnTo>
                    <a:pt x="1110274" y="338324"/>
                  </a:lnTo>
                  <a:lnTo>
                    <a:pt x="1119804" y="328796"/>
                  </a:lnTo>
                  <a:lnTo>
                    <a:pt x="1095980" y="295440"/>
                  </a:lnTo>
                  <a:lnTo>
                    <a:pt x="1081684" y="295440"/>
                  </a:lnTo>
                  <a:lnTo>
                    <a:pt x="1067388" y="309736"/>
                  </a:lnTo>
                  <a:lnTo>
                    <a:pt x="1029268" y="295440"/>
                  </a:lnTo>
                  <a:lnTo>
                    <a:pt x="1019736" y="300204"/>
                  </a:lnTo>
                  <a:lnTo>
                    <a:pt x="1014972" y="309736"/>
                  </a:lnTo>
                  <a:lnTo>
                    <a:pt x="1000676" y="324028"/>
                  </a:lnTo>
                  <a:lnTo>
                    <a:pt x="981616" y="333560"/>
                  </a:lnTo>
                  <a:lnTo>
                    <a:pt x="957790" y="347856"/>
                  </a:lnTo>
                  <a:lnTo>
                    <a:pt x="933964" y="357384"/>
                  </a:lnTo>
                  <a:lnTo>
                    <a:pt x="919670" y="362152"/>
                  </a:lnTo>
                  <a:lnTo>
                    <a:pt x="910140" y="362152"/>
                  </a:lnTo>
                  <a:lnTo>
                    <a:pt x="924434" y="347856"/>
                  </a:lnTo>
                  <a:lnTo>
                    <a:pt x="919670" y="343092"/>
                  </a:lnTo>
                  <a:lnTo>
                    <a:pt x="895844" y="357384"/>
                  </a:lnTo>
                  <a:lnTo>
                    <a:pt x="881548" y="366916"/>
                  </a:lnTo>
                  <a:lnTo>
                    <a:pt x="881548" y="385976"/>
                  </a:lnTo>
                  <a:lnTo>
                    <a:pt x="876784" y="414568"/>
                  </a:lnTo>
                  <a:lnTo>
                    <a:pt x="886314" y="419332"/>
                  </a:lnTo>
                  <a:lnTo>
                    <a:pt x="900608" y="457452"/>
                  </a:lnTo>
                  <a:lnTo>
                    <a:pt x="924434" y="471748"/>
                  </a:lnTo>
                  <a:lnTo>
                    <a:pt x="919670" y="490808"/>
                  </a:lnTo>
                  <a:lnTo>
                    <a:pt x="914904" y="500340"/>
                  </a:lnTo>
                  <a:lnTo>
                    <a:pt x="900608" y="509868"/>
                  </a:lnTo>
                  <a:lnTo>
                    <a:pt x="891078" y="505104"/>
                  </a:lnTo>
                  <a:lnTo>
                    <a:pt x="886314" y="505104"/>
                  </a:lnTo>
                  <a:lnTo>
                    <a:pt x="881548" y="528932"/>
                  </a:lnTo>
                  <a:lnTo>
                    <a:pt x="886314" y="590876"/>
                  </a:lnTo>
                  <a:lnTo>
                    <a:pt x="900608" y="638528"/>
                  </a:lnTo>
                  <a:lnTo>
                    <a:pt x="914904" y="657588"/>
                  </a:lnTo>
                  <a:lnTo>
                    <a:pt x="948260" y="686180"/>
                  </a:lnTo>
                  <a:lnTo>
                    <a:pt x="981616" y="700476"/>
                  </a:lnTo>
                  <a:lnTo>
                    <a:pt x="1043562" y="752892"/>
                  </a:lnTo>
                  <a:lnTo>
                    <a:pt x="1076918" y="771952"/>
                  </a:lnTo>
                  <a:lnTo>
                    <a:pt x="1086448" y="776716"/>
                  </a:lnTo>
                  <a:lnTo>
                    <a:pt x="1105510" y="819604"/>
                  </a:lnTo>
                  <a:lnTo>
                    <a:pt x="1124570" y="862488"/>
                  </a:lnTo>
                  <a:lnTo>
                    <a:pt x="1138866" y="933968"/>
                  </a:lnTo>
                  <a:lnTo>
                    <a:pt x="1153160" y="967320"/>
                  </a:lnTo>
                  <a:lnTo>
                    <a:pt x="1181752" y="1005444"/>
                  </a:lnTo>
                  <a:lnTo>
                    <a:pt x="1238932" y="1062624"/>
                  </a:lnTo>
                  <a:lnTo>
                    <a:pt x="1286584" y="1100744"/>
                  </a:lnTo>
                  <a:lnTo>
                    <a:pt x="1334236" y="1124572"/>
                  </a:lnTo>
                  <a:lnTo>
                    <a:pt x="1372356" y="1129336"/>
                  </a:lnTo>
                  <a:lnTo>
                    <a:pt x="1458128" y="1124572"/>
                  </a:lnTo>
                  <a:lnTo>
                    <a:pt x="1472424" y="1129336"/>
                  </a:lnTo>
                  <a:lnTo>
                    <a:pt x="1491484" y="1134100"/>
                  </a:lnTo>
                  <a:lnTo>
                    <a:pt x="1496250" y="1153160"/>
                  </a:lnTo>
                  <a:lnTo>
                    <a:pt x="1486720" y="1162692"/>
                  </a:lnTo>
                  <a:lnTo>
                    <a:pt x="1472424" y="1176988"/>
                  </a:lnTo>
                  <a:lnTo>
                    <a:pt x="1453364" y="1191284"/>
                  </a:lnTo>
                  <a:lnTo>
                    <a:pt x="1448598" y="1215108"/>
                  </a:lnTo>
                  <a:lnTo>
                    <a:pt x="1467658" y="1229404"/>
                  </a:lnTo>
                  <a:lnTo>
                    <a:pt x="1553432" y="1272292"/>
                  </a:lnTo>
                  <a:lnTo>
                    <a:pt x="1639204" y="1310412"/>
                  </a:lnTo>
                  <a:lnTo>
                    <a:pt x="1663028" y="1324708"/>
                  </a:lnTo>
                  <a:lnTo>
                    <a:pt x="1696384" y="1353296"/>
                  </a:lnTo>
                  <a:lnTo>
                    <a:pt x="1772626" y="1391420"/>
                  </a:lnTo>
                  <a:lnTo>
                    <a:pt x="1782158" y="1410480"/>
                  </a:lnTo>
                  <a:lnTo>
                    <a:pt x="1829808" y="1453364"/>
                  </a:lnTo>
                  <a:lnTo>
                    <a:pt x="1848868" y="1481956"/>
                  </a:lnTo>
                  <a:lnTo>
                    <a:pt x="1853634" y="1505780"/>
                  </a:lnTo>
                  <a:lnTo>
                    <a:pt x="1844104" y="1529608"/>
                  </a:lnTo>
                  <a:lnTo>
                    <a:pt x="1839338" y="1548668"/>
                  </a:lnTo>
                  <a:lnTo>
                    <a:pt x="1829808" y="1562964"/>
                  </a:lnTo>
                  <a:lnTo>
                    <a:pt x="1810748" y="1558196"/>
                  </a:lnTo>
                  <a:lnTo>
                    <a:pt x="1791688" y="1539136"/>
                  </a:lnTo>
                  <a:lnTo>
                    <a:pt x="1758332" y="1467660"/>
                  </a:lnTo>
                  <a:lnTo>
                    <a:pt x="1696384" y="1462896"/>
                  </a:lnTo>
                  <a:lnTo>
                    <a:pt x="1682090" y="1458132"/>
                  </a:lnTo>
                  <a:lnTo>
                    <a:pt x="1663028" y="1443836"/>
                  </a:lnTo>
                  <a:lnTo>
                    <a:pt x="1658264" y="1439068"/>
                  </a:lnTo>
                  <a:lnTo>
                    <a:pt x="1653498" y="1429540"/>
                  </a:lnTo>
                  <a:lnTo>
                    <a:pt x="1648734" y="1424776"/>
                  </a:lnTo>
                  <a:lnTo>
                    <a:pt x="1624908" y="1420008"/>
                  </a:lnTo>
                  <a:lnTo>
                    <a:pt x="1610612" y="1434304"/>
                  </a:lnTo>
                  <a:lnTo>
                    <a:pt x="1591552" y="1458132"/>
                  </a:lnTo>
                  <a:lnTo>
                    <a:pt x="1567726" y="1501016"/>
                  </a:lnTo>
                  <a:lnTo>
                    <a:pt x="1548666" y="1553432"/>
                  </a:lnTo>
                  <a:lnTo>
                    <a:pt x="1548666" y="1577260"/>
                  </a:lnTo>
                  <a:lnTo>
                    <a:pt x="1558196" y="1601084"/>
                  </a:lnTo>
                  <a:lnTo>
                    <a:pt x="1591552" y="1610616"/>
                  </a:lnTo>
                  <a:lnTo>
                    <a:pt x="1620142" y="1634440"/>
                  </a:lnTo>
                  <a:lnTo>
                    <a:pt x="1639204" y="1653500"/>
                  </a:lnTo>
                  <a:lnTo>
                    <a:pt x="1639204" y="1701152"/>
                  </a:lnTo>
                  <a:lnTo>
                    <a:pt x="1648734" y="1729744"/>
                  </a:lnTo>
                  <a:lnTo>
                    <a:pt x="1634438" y="1744036"/>
                  </a:lnTo>
                  <a:lnTo>
                    <a:pt x="1615378" y="1744036"/>
                  </a:lnTo>
                  <a:lnTo>
                    <a:pt x="1582022" y="1753568"/>
                  </a:lnTo>
                  <a:lnTo>
                    <a:pt x="1562962" y="1767864"/>
                  </a:lnTo>
                  <a:lnTo>
                    <a:pt x="1553432" y="1786924"/>
                  </a:lnTo>
                  <a:lnTo>
                    <a:pt x="1553432" y="1829812"/>
                  </a:lnTo>
                  <a:lnTo>
                    <a:pt x="1548666" y="1848872"/>
                  </a:lnTo>
                  <a:lnTo>
                    <a:pt x="1510544" y="1877460"/>
                  </a:lnTo>
                  <a:lnTo>
                    <a:pt x="1486720" y="1910816"/>
                  </a:lnTo>
                  <a:lnTo>
                    <a:pt x="1481954" y="1925112"/>
                  </a:lnTo>
                  <a:lnTo>
                    <a:pt x="1472424" y="1939408"/>
                  </a:lnTo>
                  <a:lnTo>
                    <a:pt x="1424772" y="1939408"/>
                  </a:lnTo>
                  <a:lnTo>
                    <a:pt x="1410478" y="1920348"/>
                  </a:lnTo>
                  <a:lnTo>
                    <a:pt x="1410478" y="1891756"/>
                  </a:lnTo>
                  <a:lnTo>
                    <a:pt x="1420008" y="1877460"/>
                  </a:lnTo>
                  <a:lnTo>
                    <a:pt x="1439068" y="1867932"/>
                  </a:lnTo>
                  <a:lnTo>
                    <a:pt x="1448598" y="1834576"/>
                  </a:lnTo>
                  <a:lnTo>
                    <a:pt x="1448598" y="1805984"/>
                  </a:lnTo>
                  <a:lnTo>
                    <a:pt x="1453364" y="1796456"/>
                  </a:lnTo>
                  <a:lnTo>
                    <a:pt x="1462894" y="1786924"/>
                  </a:lnTo>
                  <a:lnTo>
                    <a:pt x="1477188" y="1782160"/>
                  </a:lnTo>
                  <a:lnTo>
                    <a:pt x="1496250" y="1777392"/>
                  </a:lnTo>
                  <a:lnTo>
                    <a:pt x="1496250" y="1739272"/>
                  </a:lnTo>
                  <a:lnTo>
                    <a:pt x="1481954" y="1724976"/>
                  </a:lnTo>
                  <a:lnTo>
                    <a:pt x="1477188" y="1701152"/>
                  </a:lnTo>
                  <a:lnTo>
                    <a:pt x="1467658" y="1658264"/>
                  </a:lnTo>
                  <a:lnTo>
                    <a:pt x="1443834" y="1601084"/>
                  </a:lnTo>
                  <a:lnTo>
                    <a:pt x="1429538" y="1553432"/>
                  </a:lnTo>
                  <a:lnTo>
                    <a:pt x="1415242" y="1529608"/>
                  </a:lnTo>
                  <a:lnTo>
                    <a:pt x="1400948" y="1515312"/>
                  </a:lnTo>
                  <a:lnTo>
                    <a:pt x="1372356" y="1515312"/>
                  </a:lnTo>
                  <a:lnTo>
                    <a:pt x="1353296" y="1510548"/>
                  </a:lnTo>
                  <a:lnTo>
                    <a:pt x="1300880" y="1477192"/>
                  </a:lnTo>
                  <a:lnTo>
                    <a:pt x="1296114" y="1472424"/>
                  </a:lnTo>
                  <a:lnTo>
                    <a:pt x="1296114" y="1462896"/>
                  </a:lnTo>
                  <a:lnTo>
                    <a:pt x="1305644" y="1448600"/>
                  </a:lnTo>
                  <a:lnTo>
                    <a:pt x="1300880" y="1429540"/>
                  </a:lnTo>
                  <a:lnTo>
                    <a:pt x="1296114" y="1415244"/>
                  </a:lnTo>
                  <a:lnTo>
                    <a:pt x="1281818" y="1396184"/>
                  </a:lnTo>
                  <a:lnTo>
                    <a:pt x="1272288" y="1391420"/>
                  </a:lnTo>
                  <a:lnTo>
                    <a:pt x="1248464" y="1396184"/>
                  </a:lnTo>
                  <a:lnTo>
                    <a:pt x="1238932" y="1400948"/>
                  </a:lnTo>
                  <a:lnTo>
                    <a:pt x="1224638" y="1396184"/>
                  </a:lnTo>
                  <a:lnTo>
                    <a:pt x="1215108" y="1405712"/>
                  </a:lnTo>
                  <a:lnTo>
                    <a:pt x="1205576" y="1405712"/>
                  </a:lnTo>
                  <a:lnTo>
                    <a:pt x="1224638" y="1377124"/>
                  </a:lnTo>
                  <a:lnTo>
                    <a:pt x="1219872" y="1372356"/>
                  </a:lnTo>
                  <a:lnTo>
                    <a:pt x="1200812" y="1358064"/>
                  </a:lnTo>
                  <a:lnTo>
                    <a:pt x="1176986" y="1358064"/>
                  </a:lnTo>
                  <a:lnTo>
                    <a:pt x="1167456" y="1358064"/>
                  </a:lnTo>
                  <a:lnTo>
                    <a:pt x="1162690" y="1362828"/>
                  </a:lnTo>
                  <a:lnTo>
                    <a:pt x="1157926" y="1358064"/>
                  </a:lnTo>
                  <a:lnTo>
                    <a:pt x="1157926" y="1348532"/>
                  </a:lnTo>
                  <a:lnTo>
                    <a:pt x="1129334" y="1296116"/>
                  </a:lnTo>
                  <a:lnTo>
                    <a:pt x="1110274" y="1272292"/>
                  </a:lnTo>
                  <a:lnTo>
                    <a:pt x="1100744" y="1267524"/>
                  </a:lnTo>
                  <a:lnTo>
                    <a:pt x="1081684" y="1272292"/>
                  </a:lnTo>
                  <a:lnTo>
                    <a:pt x="1053092" y="1262760"/>
                  </a:lnTo>
                  <a:lnTo>
                    <a:pt x="1034032" y="1262760"/>
                  </a:lnTo>
                  <a:lnTo>
                    <a:pt x="1024502" y="1262760"/>
                  </a:lnTo>
                  <a:lnTo>
                    <a:pt x="1010206" y="1272292"/>
                  </a:lnTo>
                  <a:lnTo>
                    <a:pt x="1000676" y="1267524"/>
                  </a:lnTo>
                  <a:lnTo>
                    <a:pt x="1000676" y="1257996"/>
                  </a:lnTo>
                  <a:lnTo>
                    <a:pt x="972086" y="1238936"/>
                  </a:lnTo>
                  <a:lnTo>
                    <a:pt x="938730" y="1224640"/>
                  </a:lnTo>
                  <a:lnTo>
                    <a:pt x="872018" y="1153160"/>
                  </a:lnTo>
                  <a:lnTo>
                    <a:pt x="852958" y="1124572"/>
                  </a:lnTo>
                  <a:lnTo>
                    <a:pt x="810072" y="1095980"/>
                  </a:lnTo>
                  <a:lnTo>
                    <a:pt x="786246" y="1053096"/>
                  </a:lnTo>
                  <a:lnTo>
                    <a:pt x="762420" y="1038800"/>
                  </a:lnTo>
                  <a:lnTo>
                    <a:pt x="729064" y="1024504"/>
                  </a:lnTo>
                  <a:lnTo>
                    <a:pt x="724300" y="1024504"/>
                  </a:lnTo>
                  <a:lnTo>
                    <a:pt x="714768" y="1029268"/>
                  </a:lnTo>
                  <a:lnTo>
                    <a:pt x="705238" y="1029268"/>
                  </a:lnTo>
                  <a:lnTo>
                    <a:pt x="700474" y="1024504"/>
                  </a:lnTo>
                  <a:lnTo>
                    <a:pt x="705238" y="1019740"/>
                  </a:lnTo>
                  <a:lnTo>
                    <a:pt x="714768" y="1014972"/>
                  </a:lnTo>
                  <a:lnTo>
                    <a:pt x="710004" y="1000676"/>
                  </a:lnTo>
                  <a:lnTo>
                    <a:pt x="676648" y="957792"/>
                  </a:lnTo>
                  <a:lnTo>
                    <a:pt x="652822" y="943496"/>
                  </a:lnTo>
                  <a:lnTo>
                    <a:pt x="648058" y="933968"/>
                  </a:lnTo>
                  <a:lnTo>
                    <a:pt x="643292" y="924436"/>
                  </a:lnTo>
                  <a:lnTo>
                    <a:pt x="638526" y="914904"/>
                  </a:lnTo>
                  <a:lnTo>
                    <a:pt x="628996" y="910140"/>
                  </a:lnTo>
                  <a:lnTo>
                    <a:pt x="619466" y="910140"/>
                  </a:lnTo>
                  <a:lnTo>
                    <a:pt x="609936" y="910140"/>
                  </a:lnTo>
                  <a:lnTo>
                    <a:pt x="609936" y="886316"/>
                  </a:lnTo>
                  <a:lnTo>
                    <a:pt x="609936" y="872020"/>
                  </a:lnTo>
                  <a:lnTo>
                    <a:pt x="609936" y="857724"/>
                  </a:lnTo>
                  <a:lnTo>
                    <a:pt x="595640" y="819604"/>
                  </a:lnTo>
                  <a:lnTo>
                    <a:pt x="576580" y="791012"/>
                  </a:lnTo>
                  <a:lnTo>
                    <a:pt x="567050" y="719536"/>
                  </a:lnTo>
                  <a:lnTo>
                    <a:pt x="557520" y="695708"/>
                  </a:lnTo>
                  <a:lnTo>
                    <a:pt x="533694" y="681416"/>
                  </a:lnTo>
                  <a:lnTo>
                    <a:pt x="486042" y="662352"/>
                  </a:lnTo>
                  <a:lnTo>
                    <a:pt x="419332" y="614704"/>
                  </a:lnTo>
                  <a:lnTo>
                    <a:pt x="400270" y="614704"/>
                  </a:lnTo>
                  <a:lnTo>
                    <a:pt x="362150" y="595644"/>
                  </a:lnTo>
                  <a:lnTo>
                    <a:pt x="333558" y="595644"/>
                  </a:lnTo>
                  <a:lnTo>
                    <a:pt x="300202" y="609936"/>
                  </a:lnTo>
                  <a:lnTo>
                    <a:pt x="262082" y="657588"/>
                  </a:lnTo>
                  <a:lnTo>
                    <a:pt x="228726" y="705240"/>
                  </a:lnTo>
                  <a:lnTo>
                    <a:pt x="214430" y="714772"/>
                  </a:lnTo>
                  <a:lnTo>
                    <a:pt x="176310" y="729064"/>
                  </a:lnTo>
                  <a:lnTo>
                    <a:pt x="138188" y="733832"/>
                  </a:lnTo>
                  <a:lnTo>
                    <a:pt x="138188" y="724300"/>
                  </a:lnTo>
                  <a:lnTo>
                    <a:pt x="133424" y="714772"/>
                  </a:lnTo>
                  <a:lnTo>
                    <a:pt x="142954" y="705240"/>
                  </a:lnTo>
                  <a:lnTo>
                    <a:pt x="152484" y="695708"/>
                  </a:lnTo>
                  <a:lnTo>
                    <a:pt x="162014" y="676648"/>
                  </a:lnTo>
                  <a:lnTo>
                    <a:pt x="166780" y="667120"/>
                  </a:lnTo>
                  <a:lnTo>
                    <a:pt x="162014" y="662352"/>
                  </a:lnTo>
                  <a:lnTo>
                    <a:pt x="157250" y="648060"/>
                  </a:lnTo>
                  <a:lnTo>
                    <a:pt x="152484" y="648060"/>
                  </a:lnTo>
                  <a:lnTo>
                    <a:pt x="119128" y="657588"/>
                  </a:lnTo>
                  <a:lnTo>
                    <a:pt x="109598" y="657588"/>
                  </a:lnTo>
                  <a:lnTo>
                    <a:pt x="81008" y="643292"/>
                  </a:lnTo>
                  <a:lnTo>
                    <a:pt x="52416" y="624232"/>
                  </a:lnTo>
                  <a:lnTo>
                    <a:pt x="42886" y="614704"/>
                  </a:lnTo>
                  <a:lnTo>
                    <a:pt x="38122" y="600408"/>
                  </a:lnTo>
                  <a:lnTo>
                    <a:pt x="42886" y="590876"/>
                  </a:lnTo>
                  <a:lnTo>
                    <a:pt x="42886" y="586112"/>
                  </a:lnTo>
                  <a:lnTo>
                    <a:pt x="33356" y="576580"/>
                  </a:lnTo>
                  <a:lnTo>
                    <a:pt x="38122" y="562288"/>
                  </a:lnTo>
                  <a:lnTo>
                    <a:pt x="47652" y="547992"/>
                  </a:lnTo>
                  <a:lnTo>
                    <a:pt x="52416" y="538460"/>
                  </a:lnTo>
                  <a:lnTo>
                    <a:pt x="61946" y="533696"/>
                  </a:lnTo>
                  <a:lnTo>
                    <a:pt x="61946" y="528932"/>
                  </a:lnTo>
                  <a:lnTo>
                    <a:pt x="57182" y="505104"/>
                  </a:lnTo>
                  <a:lnTo>
                    <a:pt x="57182" y="500340"/>
                  </a:lnTo>
                  <a:lnTo>
                    <a:pt x="47652" y="500340"/>
                  </a:lnTo>
                  <a:lnTo>
                    <a:pt x="42886" y="495576"/>
                  </a:lnTo>
                  <a:lnTo>
                    <a:pt x="28590" y="490808"/>
                  </a:lnTo>
                  <a:lnTo>
                    <a:pt x="19060" y="486044"/>
                  </a:lnTo>
                  <a:lnTo>
                    <a:pt x="19060" y="471748"/>
                  </a:lnTo>
                  <a:lnTo>
                    <a:pt x="9530" y="462220"/>
                  </a:lnTo>
                  <a:lnTo>
                    <a:pt x="4766" y="452688"/>
                  </a:lnTo>
                  <a:lnTo>
                    <a:pt x="0" y="438392"/>
                  </a:lnTo>
                  <a:lnTo>
                    <a:pt x="9530" y="433628"/>
                  </a:lnTo>
                  <a:lnTo>
                    <a:pt x="23826" y="433628"/>
                  </a:lnTo>
                  <a:lnTo>
                    <a:pt x="33356" y="438392"/>
                  </a:lnTo>
                  <a:lnTo>
                    <a:pt x="57182" y="419332"/>
                  </a:lnTo>
                  <a:lnTo>
                    <a:pt x="66712" y="419332"/>
                  </a:lnTo>
                  <a:lnTo>
                    <a:pt x="71476" y="414568"/>
                  </a:lnTo>
                  <a:lnTo>
                    <a:pt x="76242" y="390740"/>
                  </a:lnTo>
                  <a:lnTo>
                    <a:pt x="81008" y="381212"/>
                  </a:lnTo>
                  <a:lnTo>
                    <a:pt x="85772" y="376448"/>
                  </a:lnTo>
                  <a:lnTo>
                    <a:pt x="61946" y="357384"/>
                  </a:lnTo>
                  <a:lnTo>
                    <a:pt x="52416" y="338324"/>
                  </a:lnTo>
                  <a:lnTo>
                    <a:pt x="42886" y="319264"/>
                  </a:lnTo>
                  <a:lnTo>
                    <a:pt x="28590" y="309736"/>
                  </a:lnTo>
                  <a:lnTo>
                    <a:pt x="28590" y="300204"/>
                  </a:lnTo>
                  <a:lnTo>
                    <a:pt x="28590" y="295440"/>
                  </a:lnTo>
                  <a:lnTo>
                    <a:pt x="28590" y="285908"/>
                  </a:lnTo>
                  <a:lnTo>
                    <a:pt x="47652" y="271612"/>
                  </a:lnTo>
                  <a:lnTo>
                    <a:pt x="61946" y="262084"/>
                  </a:lnTo>
                  <a:lnTo>
                    <a:pt x="66712" y="266848"/>
                  </a:lnTo>
                  <a:lnTo>
                    <a:pt x="81008" y="271612"/>
                  </a:lnTo>
                  <a:lnTo>
                    <a:pt x="109598" y="262084"/>
                  </a:lnTo>
                  <a:lnTo>
                    <a:pt x="128658" y="257316"/>
                  </a:lnTo>
                  <a:lnTo>
                    <a:pt x="142954" y="247788"/>
                  </a:lnTo>
                  <a:lnTo>
                    <a:pt x="152484" y="247788"/>
                  </a:lnTo>
                  <a:lnTo>
                    <a:pt x="181074" y="262084"/>
                  </a:lnTo>
                  <a:lnTo>
                    <a:pt x="190606" y="257316"/>
                  </a:lnTo>
                  <a:lnTo>
                    <a:pt x="214430" y="238256"/>
                  </a:lnTo>
                  <a:lnTo>
                    <a:pt x="219196" y="233492"/>
                  </a:lnTo>
                  <a:lnTo>
                    <a:pt x="233492" y="209668"/>
                  </a:lnTo>
                  <a:lnTo>
                    <a:pt x="233492" y="200136"/>
                  </a:lnTo>
                  <a:lnTo>
                    <a:pt x="228726" y="185840"/>
                  </a:lnTo>
                  <a:lnTo>
                    <a:pt x="228726" y="181076"/>
                  </a:lnTo>
                  <a:lnTo>
                    <a:pt x="252552" y="166780"/>
                  </a:lnTo>
                  <a:lnTo>
                    <a:pt x="262082" y="152484"/>
                  </a:lnTo>
                  <a:lnTo>
                    <a:pt x="271612" y="142956"/>
                  </a:lnTo>
                  <a:lnTo>
                    <a:pt x="281142" y="142956"/>
                  </a:lnTo>
                  <a:lnTo>
                    <a:pt x="285908" y="147720"/>
                  </a:lnTo>
                  <a:lnTo>
                    <a:pt x="285908" y="152484"/>
                  </a:lnTo>
                  <a:lnTo>
                    <a:pt x="285908" y="181076"/>
                  </a:lnTo>
                  <a:lnTo>
                    <a:pt x="285908" y="190608"/>
                  </a:lnTo>
                  <a:lnTo>
                    <a:pt x="304968" y="209668"/>
                  </a:lnTo>
                  <a:lnTo>
                    <a:pt x="314498" y="219196"/>
                  </a:lnTo>
                  <a:lnTo>
                    <a:pt x="343090" y="228728"/>
                  </a:lnTo>
                  <a:lnTo>
                    <a:pt x="338324" y="243024"/>
                  </a:lnTo>
                  <a:lnTo>
                    <a:pt x="352620" y="262084"/>
                  </a:lnTo>
                  <a:lnTo>
                    <a:pt x="357384" y="276380"/>
                  </a:lnTo>
                  <a:lnTo>
                    <a:pt x="362150" y="281144"/>
                  </a:lnTo>
                  <a:lnTo>
                    <a:pt x="376444" y="281144"/>
                  </a:lnTo>
                  <a:lnTo>
                    <a:pt x="381210" y="271612"/>
                  </a:lnTo>
                  <a:lnTo>
                    <a:pt x="376444" y="262084"/>
                  </a:lnTo>
                  <a:lnTo>
                    <a:pt x="371680" y="247788"/>
                  </a:lnTo>
                  <a:lnTo>
                    <a:pt x="371680" y="243024"/>
                  </a:lnTo>
                  <a:lnTo>
                    <a:pt x="376444" y="233492"/>
                  </a:lnTo>
                  <a:lnTo>
                    <a:pt x="381210" y="219196"/>
                  </a:lnTo>
                  <a:lnTo>
                    <a:pt x="405036" y="195372"/>
                  </a:lnTo>
                  <a:lnTo>
                    <a:pt x="409800" y="181076"/>
                  </a:lnTo>
                  <a:lnTo>
                    <a:pt x="414566" y="157252"/>
                  </a:lnTo>
                  <a:lnTo>
                    <a:pt x="414566" y="138188"/>
                  </a:lnTo>
                  <a:lnTo>
                    <a:pt x="419332" y="133424"/>
                  </a:lnTo>
                  <a:lnTo>
                    <a:pt x="433626" y="133424"/>
                  </a:lnTo>
                  <a:lnTo>
                    <a:pt x="438392" y="133424"/>
                  </a:lnTo>
                  <a:lnTo>
                    <a:pt x="438392" y="147720"/>
                  </a:lnTo>
                  <a:lnTo>
                    <a:pt x="447922" y="166780"/>
                  </a:lnTo>
                  <a:lnTo>
                    <a:pt x="452686" y="176312"/>
                  </a:lnTo>
                  <a:lnTo>
                    <a:pt x="462218" y="176312"/>
                  </a:lnTo>
                  <a:lnTo>
                    <a:pt x="471748" y="176312"/>
                  </a:lnTo>
                  <a:lnTo>
                    <a:pt x="495574" y="166780"/>
                  </a:lnTo>
                  <a:lnTo>
                    <a:pt x="509868" y="162016"/>
                  </a:lnTo>
                  <a:lnTo>
                    <a:pt x="519398" y="162016"/>
                  </a:lnTo>
                  <a:lnTo>
                    <a:pt x="524164" y="171544"/>
                  </a:lnTo>
                  <a:lnTo>
                    <a:pt x="533694" y="190608"/>
                  </a:lnTo>
                  <a:lnTo>
                    <a:pt x="543224" y="190608"/>
                  </a:lnTo>
                  <a:lnTo>
                    <a:pt x="547990" y="190608"/>
                  </a:lnTo>
                  <a:lnTo>
                    <a:pt x="552754" y="185840"/>
                  </a:lnTo>
                  <a:lnTo>
                    <a:pt x="547990" y="181076"/>
                  </a:lnTo>
                  <a:lnTo>
                    <a:pt x="543224" y="162016"/>
                  </a:lnTo>
                  <a:lnTo>
                    <a:pt x="543224" y="147720"/>
                  </a:lnTo>
                  <a:lnTo>
                    <a:pt x="533694" y="142956"/>
                  </a:lnTo>
                  <a:lnTo>
                    <a:pt x="533694" y="133424"/>
                  </a:lnTo>
                  <a:lnTo>
                    <a:pt x="538460" y="119128"/>
                  </a:lnTo>
                  <a:lnTo>
                    <a:pt x="543224" y="109600"/>
                  </a:lnTo>
                  <a:lnTo>
                    <a:pt x="547990" y="104832"/>
                  </a:lnTo>
                  <a:lnTo>
                    <a:pt x="557520" y="104832"/>
                  </a:lnTo>
                  <a:lnTo>
                    <a:pt x="571816" y="114364"/>
                  </a:lnTo>
                  <a:lnTo>
                    <a:pt x="586110" y="119128"/>
                  </a:lnTo>
                  <a:lnTo>
                    <a:pt x="595640" y="119128"/>
                  </a:lnTo>
                  <a:lnTo>
                    <a:pt x="595640" y="114364"/>
                  </a:lnTo>
                  <a:lnTo>
                    <a:pt x="595640" y="104832"/>
                  </a:lnTo>
                  <a:lnTo>
                    <a:pt x="590876" y="95304"/>
                  </a:lnTo>
                  <a:lnTo>
                    <a:pt x="590876" y="76244"/>
                  </a:lnTo>
                  <a:lnTo>
                    <a:pt x="600406" y="47652"/>
                  </a:lnTo>
                  <a:lnTo>
                    <a:pt x="605172" y="52416"/>
                  </a:lnTo>
                  <a:lnTo>
                    <a:pt x="619466" y="52416"/>
                  </a:lnTo>
                  <a:lnTo>
                    <a:pt x="633762" y="52416"/>
                  </a:lnTo>
                  <a:lnTo>
                    <a:pt x="648058" y="66712"/>
                  </a:lnTo>
                  <a:lnTo>
                    <a:pt x="657588" y="66712"/>
                  </a:lnTo>
                  <a:lnTo>
                    <a:pt x="671882" y="71476"/>
                  </a:lnTo>
                  <a:lnTo>
                    <a:pt x="681412" y="66712"/>
                  </a:lnTo>
                  <a:lnTo>
                    <a:pt x="686178" y="61948"/>
                  </a:lnTo>
                  <a:lnTo>
                    <a:pt x="695708" y="47652"/>
                  </a:lnTo>
                  <a:lnTo>
                    <a:pt x="705238" y="33356"/>
                  </a:lnTo>
                  <a:lnTo>
                    <a:pt x="724300" y="23828"/>
                  </a:lnTo>
                  <a:lnTo>
                    <a:pt x="752890" y="19060"/>
                  </a:lnTo>
                  <a:lnTo>
                    <a:pt x="767186" y="19060"/>
                  </a:lnTo>
                  <a:lnTo>
                    <a:pt x="781480" y="19060"/>
                  </a:lnTo>
                  <a:lnTo>
                    <a:pt x="791010" y="19060"/>
                  </a:lnTo>
                  <a:lnTo>
                    <a:pt x="805306" y="19060"/>
                  </a:lnTo>
                  <a:lnTo>
                    <a:pt x="833898" y="953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0" name="Freeform 158">
              <a:extLst>
                <a:ext uri="{FF2B5EF4-FFF2-40B4-BE49-F238E27FC236}">
                  <a16:creationId xmlns:a16="http://schemas.microsoft.com/office/drawing/2014/main" id="{5D8D91DB-BEA9-4CA3-9E58-83C23BF9151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18842" y="4933010"/>
              <a:ext cx="53961" cy="21585"/>
            </a:xfrm>
            <a:custGeom>
              <a:avLst/>
              <a:gdLst>
                <a:gd name="connsiteX0" fmla="*/ 71477 w 333559"/>
                <a:gd name="connsiteY0" fmla="*/ 0 h 133424"/>
                <a:gd name="connsiteX1" fmla="*/ 138189 w 333559"/>
                <a:gd name="connsiteY1" fmla="*/ 9532 h 133424"/>
                <a:gd name="connsiteX2" fmla="*/ 152484 w 333559"/>
                <a:gd name="connsiteY2" fmla="*/ 9532 h 133424"/>
                <a:gd name="connsiteX3" fmla="*/ 166779 w 333559"/>
                <a:gd name="connsiteY3" fmla="*/ 14296 h 133424"/>
                <a:gd name="connsiteX4" fmla="*/ 185840 w 333559"/>
                <a:gd name="connsiteY4" fmla="*/ 19062 h 133424"/>
                <a:gd name="connsiteX5" fmla="*/ 209666 w 333559"/>
                <a:gd name="connsiteY5" fmla="*/ 19062 h 133424"/>
                <a:gd name="connsiteX6" fmla="*/ 214431 w 333559"/>
                <a:gd name="connsiteY6" fmla="*/ 19062 h 133424"/>
                <a:gd name="connsiteX7" fmla="*/ 223961 w 333559"/>
                <a:gd name="connsiteY7" fmla="*/ 23826 h 133424"/>
                <a:gd name="connsiteX8" fmla="*/ 243022 w 333559"/>
                <a:gd name="connsiteY8" fmla="*/ 38122 h 133424"/>
                <a:gd name="connsiteX9" fmla="*/ 257317 w 333559"/>
                <a:gd name="connsiteY9" fmla="*/ 42888 h 133424"/>
                <a:gd name="connsiteX10" fmla="*/ 309733 w 333559"/>
                <a:gd name="connsiteY10" fmla="*/ 61948 h 133424"/>
                <a:gd name="connsiteX11" fmla="*/ 328794 w 333559"/>
                <a:gd name="connsiteY11" fmla="*/ 90538 h 133424"/>
                <a:gd name="connsiteX12" fmla="*/ 333559 w 333559"/>
                <a:gd name="connsiteY12" fmla="*/ 100068 h 133424"/>
                <a:gd name="connsiteX13" fmla="*/ 319264 w 333559"/>
                <a:gd name="connsiteY13" fmla="*/ 109600 h 133424"/>
                <a:gd name="connsiteX14" fmla="*/ 300203 w 333559"/>
                <a:gd name="connsiteY14" fmla="*/ 109600 h 133424"/>
                <a:gd name="connsiteX15" fmla="*/ 285908 w 333559"/>
                <a:gd name="connsiteY15" fmla="*/ 109600 h 133424"/>
                <a:gd name="connsiteX16" fmla="*/ 266847 w 333559"/>
                <a:gd name="connsiteY16" fmla="*/ 104834 h 133424"/>
                <a:gd name="connsiteX17" fmla="*/ 262082 w 333559"/>
                <a:gd name="connsiteY17" fmla="*/ 100068 h 133424"/>
                <a:gd name="connsiteX18" fmla="*/ 243022 w 333559"/>
                <a:gd name="connsiteY18" fmla="*/ 95304 h 133424"/>
                <a:gd name="connsiteX19" fmla="*/ 247787 w 333559"/>
                <a:gd name="connsiteY19" fmla="*/ 95304 h 133424"/>
                <a:gd name="connsiteX20" fmla="*/ 243022 w 333559"/>
                <a:gd name="connsiteY20" fmla="*/ 90538 h 133424"/>
                <a:gd name="connsiteX21" fmla="*/ 233491 w 333559"/>
                <a:gd name="connsiteY21" fmla="*/ 90538 h 133424"/>
                <a:gd name="connsiteX22" fmla="*/ 223961 w 333559"/>
                <a:gd name="connsiteY22" fmla="*/ 104834 h 133424"/>
                <a:gd name="connsiteX23" fmla="*/ 219196 w 333559"/>
                <a:gd name="connsiteY23" fmla="*/ 114364 h 133424"/>
                <a:gd name="connsiteX24" fmla="*/ 204901 w 333559"/>
                <a:gd name="connsiteY24" fmla="*/ 109600 h 133424"/>
                <a:gd name="connsiteX25" fmla="*/ 200135 w 333559"/>
                <a:gd name="connsiteY25" fmla="*/ 104834 h 133424"/>
                <a:gd name="connsiteX26" fmla="*/ 190605 w 333559"/>
                <a:gd name="connsiteY26" fmla="*/ 104834 h 133424"/>
                <a:gd name="connsiteX27" fmla="*/ 185840 w 333559"/>
                <a:gd name="connsiteY27" fmla="*/ 114364 h 133424"/>
                <a:gd name="connsiteX28" fmla="*/ 176310 w 333559"/>
                <a:gd name="connsiteY28" fmla="*/ 133424 h 133424"/>
                <a:gd name="connsiteX29" fmla="*/ 166779 w 333559"/>
                <a:gd name="connsiteY29" fmla="*/ 123894 h 133424"/>
                <a:gd name="connsiteX30" fmla="*/ 152484 w 333559"/>
                <a:gd name="connsiteY30" fmla="*/ 114364 h 133424"/>
                <a:gd name="connsiteX31" fmla="*/ 138189 w 333559"/>
                <a:gd name="connsiteY31" fmla="*/ 109600 h 133424"/>
                <a:gd name="connsiteX32" fmla="*/ 104833 w 333559"/>
                <a:gd name="connsiteY32" fmla="*/ 109600 h 133424"/>
                <a:gd name="connsiteX33" fmla="*/ 90537 w 333559"/>
                <a:gd name="connsiteY33" fmla="*/ 109600 h 133424"/>
                <a:gd name="connsiteX34" fmla="*/ 76242 w 333559"/>
                <a:gd name="connsiteY34" fmla="*/ 90538 h 133424"/>
                <a:gd name="connsiteX35" fmla="*/ 71477 w 333559"/>
                <a:gd name="connsiteY35" fmla="*/ 85774 h 133424"/>
                <a:gd name="connsiteX36" fmla="*/ 61947 w 333559"/>
                <a:gd name="connsiteY36" fmla="*/ 81008 h 133424"/>
                <a:gd name="connsiteX37" fmla="*/ 47651 w 333559"/>
                <a:gd name="connsiteY37" fmla="*/ 57182 h 133424"/>
                <a:gd name="connsiteX38" fmla="*/ 42886 w 333559"/>
                <a:gd name="connsiteY38" fmla="*/ 57182 h 133424"/>
                <a:gd name="connsiteX39" fmla="*/ 9530 w 333559"/>
                <a:gd name="connsiteY39" fmla="*/ 52418 h 133424"/>
                <a:gd name="connsiteX40" fmla="*/ 0 w 333559"/>
                <a:gd name="connsiteY40" fmla="*/ 38122 h 133424"/>
                <a:gd name="connsiteX41" fmla="*/ 4765 w 333559"/>
                <a:gd name="connsiteY41" fmla="*/ 28592 h 133424"/>
                <a:gd name="connsiteX42" fmla="*/ 14295 w 333559"/>
                <a:gd name="connsiteY42" fmla="*/ 19062 h 133424"/>
                <a:gd name="connsiteX43" fmla="*/ 19061 w 333559"/>
                <a:gd name="connsiteY43" fmla="*/ 14296 h 133424"/>
                <a:gd name="connsiteX44" fmla="*/ 38121 w 333559"/>
                <a:gd name="connsiteY44" fmla="*/ 14296 h 133424"/>
                <a:gd name="connsiteX45" fmla="*/ 57182 w 333559"/>
                <a:gd name="connsiteY45" fmla="*/ 9532 h 133424"/>
                <a:gd name="connsiteX46" fmla="*/ 66712 w 333559"/>
                <a:gd name="connsiteY46" fmla="*/ 4766 h 133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333559" h="133424">
                  <a:moveTo>
                    <a:pt x="71477" y="0"/>
                  </a:moveTo>
                  <a:lnTo>
                    <a:pt x="138189" y="9532"/>
                  </a:lnTo>
                  <a:lnTo>
                    <a:pt x="152484" y="9532"/>
                  </a:lnTo>
                  <a:lnTo>
                    <a:pt x="166779" y="14296"/>
                  </a:lnTo>
                  <a:lnTo>
                    <a:pt x="185840" y="19062"/>
                  </a:lnTo>
                  <a:lnTo>
                    <a:pt x="209666" y="19062"/>
                  </a:lnTo>
                  <a:lnTo>
                    <a:pt x="214431" y="19062"/>
                  </a:lnTo>
                  <a:lnTo>
                    <a:pt x="223961" y="23826"/>
                  </a:lnTo>
                  <a:lnTo>
                    <a:pt x="243022" y="38122"/>
                  </a:lnTo>
                  <a:lnTo>
                    <a:pt x="257317" y="42888"/>
                  </a:lnTo>
                  <a:lnTo>
                    <a:pt x="309733" y="61948"/>
                  </a:lnTo>
                  <a:lnTo>
                    <a:pt x="328794" y="90538"/>
                  </a:lnTo>
                  <a:lnTo>
                    <a:pt x="333559" y="100068"/>
                  </a:lnTo>
                  <a:lnTo>
                    <a:pt x="319264" y="109600"/>
                  </a:lnTo>
                  <a:lnTo>
                    <a:pt x="300203" y="109600"/>
                  </a:lnTo>
                  <a:lnTo>
                    <a:pt x="285908" y="109600"/>
                  </a:lnTo>
                  <a:lnTo>
                    <a:pt x="266847" y="104834"/>
                  </a:lnTo>
                  <a:lnTo>
                    <a:pt x="262082" y="100068"/>
                  </a:lnTo>
                  <a:lnTo>
                    <a:pt x="243022" y="95304"/>
                  </a:lnTo>
                  <a:lnTo>
                    <a:pt x="247787" y="95304"/>
                  </a:lnTo>
                  <a:lnTo>
                    <a:pt x="243022" y="90538"/>
                  </a:lnTo>
                  <a:lnTo>
                    <a:pt x="233491" y="90538"/>
                  </a:lnTo>
                  <a:lnTo>
                    <a:pt x="223961" y="104834"/>
                  </a:lnTo>
                  <a:lnTo>
                    <a:pt x="219196" y="114364"/>
                  </a:lnTo>
                  <a:lnTo>
                    <a:pt x="204901" y="109600"/>
                  </a:lnTo>
                  <a:lnTo>
                    <a:pt x="200135" y="104834"/>
                  </a:lnTo>
                  <a:lnTo>
                    <a:pt x="190605" y="104834"/>
                  </a:lnTo>
                  <a:lnTo>
                    <a:pt x="185840" y="114364"/>
                  </a:lnTo>
                  <a:lnTo>
                    <a:pt x="176310" y="133424"/>
                  </a:lnTo>
                  <a:lnTo>
                    <a:pt x="166779" y="123894"/>
                  </a:lnTo>
                  <a:lnTo>
                    <a:pt x="152484" y="114364"/>
                  </a:lnTo>
                  <a:lnTo>
                    <a:pt x="138189" y="109600"/>
                  </a:lnTo>
                  <a:lnTo>
                    <a:pt x="104833" y="109600"/>
                  </a:lnTo>
                  <a:lnTo>
                    <a:pt x="90537" y="109600"/>
                  </a:lnTo>
                  <a:lnTo>
                    <a:pt x="76242" y="90538"/>
                  </a:lnTo>
                  <a:lnTo>
                    <a:pt x="71477" y="85774"/>
                  </a:lnTo>
                  <a:lnTo>
                    <a:pt x="61947" y="81008"/>
                  </a:lnTo>
                  <a:lnTo>
                    <a:pt x="47651" y="57182"/>
                  </a:lnTo>
                  <a:lnTo>
                    <a:pt x="42886" y="57182"/>
                  </a:lnTo>
                  <a:lnTo>
                    <a:pt x="9530" y="52418"/>
                  </a:lnTo>
                  <a:lnTo>
                    <a:pt x="0" y="38122"/>
                  </a:lnTo>
                  <a:lnTo>
                    <a:pt x="4765" y="28592"/>
                  </a:lnTo>
                  <a:lnTo>
                    <a:pt x="14295" y="19062"/>
                  </a:lnTo>
                  <a:lnTo>
                    <a:pt x="19061" y="14296"/>
                  </a:lnTo>
                  <a:lnTo>
                    <a:pt x="38121" y="14296"/>
                  </a:lnTo>
                  <a:lnTo>
                    <a:pt x="57182" y="9532"/>
                  </a:lnTo>
                  <a:lnTo>
                    <a:pt x="66712" y="476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1" name="Freeform 159">
              <a:extLst>
                <a:ext uri="{FF2B5EF4-FFF2-40B4-BE49-F238E27FC236}">
                  <a16:creationId xmlns:a16="http://schemas.microsoft.com/office/drawing/2014/main" id="{EE5FCB03-2FCF-4275-B213-AA5FAA0154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77426" y="3764361"/>
              <a:ext cx="11563" cy="15418"/>
            </a:xfrm>
            <a:custGeom>
              <a:avLst/>
              <a:gdLst>
                <a:gd name="connsiteX0" fmla="*/ 57182 w 71478"/>
                <a:gd name="connsiteY0" fmla="*/ 0 h 95304"/>
                <a:gd name="connsiteX1" fmla="*/ 61946 w 71478"/>
                <a:gd name="connsiteY1" fmla="*/ 0 h 95304"/>
                <a:gd name="connsiteX2" fmla="*/ 66712 w 71478"/>
                <a:gd name="connsiteY2" fmla="*/ 4766 h 95304"/>
                <a:gd name="connsiteX3" fmla="*/ 71478 w 71478"/>
                <a:gd name="connsiteY3" fmla="*/ 38122 h 95304"/>
                <a:gd name="connsiteX4" fmla="*/ 61946 w 71478"/>
                <a:gd name="connsiteY4" fmla="*/ 47652 h 95304"/>
                <a:gd name="connsiteX5" fmla="*/ 57182 w 71478"/>
                <a:gd name="connsiteY5" fmla="*/ 61948 h 95304"/>
                <a:gd name="connsiteX6" fmla="*/ 28590 w 71478"/>
                <a:gd name="connsiteY6" fmla="*/ 95304 h 95304"/>
                <a:gd name="connsiteX7" fmla="*/ 14296 w 71478"/>
                <a:gd name="connsiteY7" fmla="*/ 85774 h 95304"/>
                <a:gd name="connsiteX8" fmla="*/ 4766 w 71478"/>
                <a:gd name="connsiteY8" fmla="*/ 90538 h 95304"/>
                <a:gd name="connsiteX9" fmla="*/ 0 w 71478"/>
                <a:gd name="connsiteY9" fmla="*/ 90538 h 95304"/>
                <a:gd name="connsiteX10" fmla="*/ 4766 w 71478"/>
                <a:gd name="connsiteY10" fmla="*/ 76244 h 95304"/>
                <a:gd name="connsiteX11" fmla="*/ 14296 w 71478"/>
                <a:gd name="connsiteY11" fmla="*/ 47652 h 95304"/>
                <a:gd name="connsiteX12" fmla="*/ 28590 w 71478"/>
                <a:gd name="connsiteY12" fmla="*/ 38122 h 95304"/>
                <a:gd name="connsiteX13" fmla="*/ 42886 w 71478"/>
                <a:gd name="connsiteY13" fmla="*/ 9532 h 9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1478" h="95304">
                  <a:moveTo>
                    <a:pt x="57182" y="0"/>
                  </a:moveTo>
                  <a:lnTo>
                    <a:pt x="61946" y="0"/>
                  </a:lnTo>
                  <a:lnTo>
                    <a:pt x="66712" y="4766"/>
                  </a:lnTo>
                  <a:lnTo>
                    <a:pt x="71478" y="38122"/>
                  </a:lnTo>
                  <a:lnTo>
                    <a:pt x="61946" y="47652"/>
                  </a:lnTo>
                  <a:lnTo>
                    <a:pt x="57182" y="61948"/>
                  </a:lnTo>
                  <a:lnTo>
                    <a:pt x="28590" y="95304"/>
                  </a:lnTo>
                  <a:lnTo>
                    <a:pt x="14296" y="85774"/>
                  </a:lnTo>
                  <a:lnTo>
                    <a:pt x="4766" y="90538"/>
                  </a:lnTo>
                  <a:lnTo>
                    <a:pt x="0" y="90538"/>
                  </a:lnTo>
                  <a:lnTo>
                    <a:pt x="4766" y="76244"/>
                  </a:lnTo>
                  <a:lnTo>
                    <a:pt x="14296" y="47652"/>
                  </a:lnTo>
                  <a:lnTo>
                    <a:pt x="28590" y="38122"/>
                  </a:lnTo>
                  <a:lnTo>
                    <a:pt x="42886" y="953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12" name="Group 177">
              <a:extLst>
                <a:ext uri="{FF2B5EF4-FFF2-40B4-BE49-F238E27FC236}">
                  <a16:creationId xmlns:a16="http://schemas.microsoft.com/office/drawing/2014/main" id="{157D72C1-24E4-4516-BB78-2B077117C14A}"/>
                </a:ext>
              </a:extLst>
            </p:cNvPr>
            <p:cNvGrpSpPr/>
            <p:nvPr/>
          </p:nvGrpSpPr>
          <p:grpSpPr>
            <a:xfrm>
              <a:off x="5092629" y="3460635"/>
              <a:ext cx="249764" cy="515717"/>
              <a:chOff x="27354581" y="14994034"/>
              <a:chExt cx="1543901" cy="3187870"/>
            </a:xfrm>
            <a:grpFill/>
          </p:grpSpPr>
          <p:sp>
            <p:nvSpPr>
              <p:cNvPr id="567" name="Freeform 4764">
                <a:extLst>
                  <a:ext uri="{FF2B5EF4-FFF2-40B4-BE49-F238E27FC236}">
                    <a16:creationId xmlns:a16="http://schemas.microsoft.com/office/drawing/2014/main" id="{1A0EE15B-5605-4A8C-9DD1-A393F82C8E5C}"/>
                  </a:ext>
                </a:extLst>
              </p:cNvPr>
              <p:cNvSpPr/>
              <p:nvPr/>
            </p:nvSpPr>
            <p:spPr bwMode="auto">
              <a:xfrm>
                <a:off x="28383849" y="17805457"/>
                <a:ext cx="76242" cy="47651"/>
              </a:xfrm>
              <a:custGeom>
                <a:avLst/>
                <a:gdLst>
                  <a:gd name="T0" fmla="*/ 32 w 32"/>
                  <a:gd name="T1" fmla="*/ 10 h 20"/>
                  <a:gd name="T2" fmla="*/ 28 w 32"/>
                  <a:gd name="T3" fmla="*/ 4 h 20"/>
                  <a:gd name="T4" fmla="*/ 16 w 32"/>
                  <a:gd name="T5" fmla="*/ 0 h 20"/>
                  <a:gd name="T6" fmla="*/ 12 w 32"/>
                  <a:gd name="T7" fmla="*/ 4 h 20"/>
                  <a:gd name="T8" fmla="*/ 2 w 32"/>
                  <a:gd name="T9" fmla="*/ 8 h 20"/>
                  <a:gd name="T10" fmla="*/ 0 w 32"/>
                  <a:gd name="T11" fmla="*/ 12 h 20"/>
                  <a:gd name="T12" fmla="*/ 2 w 32"/>
                  <a:gd name="T13" fmla="*/ 12 h 20"/>
                  <a:gd name="T14" fmla="*/ 16 w 32"/>
                  <a:gd name="T15" fmla="*/ 20 h 20"/>
                  <a:gd name="T16" fmla="*/ 20 w 32"/>
                  <a:gd name="T17" fmla="*/ 20 h 20"/>
                  <a:gd name="T18" fmla="*/ 24 w 32"/>
                  <a:gd name="T19" fmla="*/ 18 h 20"/>
                  <a:gd name="T20" fmla="*/ 26 w 32"/>
                  <a:gd name="T21" fmla="*/ 16 h 20"/>
                  <a:gd name="T22" fmla="*/ 26 w 32"/>
                  <a:gd name="T23" fmla="*/ 12 h 20"/>
                  <a:gd name="T24" fmla="*/ 32 w 32"/>
                  <a:gd name="T25" fmla="*/ 1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20">
                    <a:moveTo>
                      <a:pt x="32" y="10"/>
                    </a:moveTo>
                    <a:lnTo>
                      <a:pt x="28" y="4"/>
                    </a:lnTo>
                    <a:lnTo>
                      <a:pt x="16" y="0"/>
                    </a:lnTo>
                    <a:lnTo>
                      <a:pt x="12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16" y="20"/>
                    </a:lnTo>
                    <a:lnTo>
                      <a:pt x="20" y="20"/>
                    </a:lnTo>
                    <a:lnTo>
                      <a:pt x="24" y="18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32" y="1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8" name="Freeform 4765">
                <a:extLst>
                  <a:ext uri="{FF2B5EF4-FFF2-40B4-BE49-F238E27FC236}">
                    <a16:creationId xmlns:a16="http://schemas.microsoft.com/office/drawing/2014/main" id="{2A3BD964-680D-4470-A9A2-57FC26CAEF94}"/>
                  </a:ext>
                </a:extLst>
              </p:cNvPr>
              <p:cNvSpPr/>
              <p:nvPr/>
            </p:nvSpPr>
            <p:spPr bwMode="auto">
              <a:xfrm>
                <a:off x="27912101" y="17133574"/>
                <a:ext cx="81007" cy="76242"/>
              </a:xfrm>
              <a:custGeom>
                <a:avLst/>
                <a:gdLst>
                  <a:gd name="T0" fmla="*/ 24 w 34"/>
                  <a:gd name="T1" fmla="*/ 12 h 32"/>
                  <a:gd name="T2" fmla="*/ 18 w 34"/>
                  <a:gd name="T3" fmla="*/ 0 h 32"/>
                  <a:gd name="T4" fmla="*/ 8 w 34"/>
                  <a:gd name="T5" fmla="*/ 0 h 32"/>
                  <a:gd name="T6" fmla="*/ 0 w 34"/>
                  <a:gd name="T7" fmla="*/ 4 h 32"/>
                  <a:gd name="T8" fmla="*/ 2 w 34"/>
                  <a:gd name="T9" fmla="*/ 18 h 32"/>
                  <a:gd name="T10" fmla="*/ 6 w 34"/>
                  <a:gd name="T11" fmla="*/ 28 h 32"/>
                  <a:gd name="T12" fmla="*/ 10 w 34"/>
                  <a:gd name="T13" fmla="*/ 26 h 32"/>
                  <a:gd name="T14" fmla="*/ 14 w 34"/>
                  <a:gd name="T15" fmla="*/ 32 h 32"/>
                  <a:gd name="T16" fmla="*/ 20 w 34"/>
                  <a:gd name="T17" fmla="*/ 28 h 32"/>
                  <a:gd name="T18" fmla="*/ 24 w 34"/>
                  <a:gd name="T19" fmla="*/ 22 h 32"/>
                  <a:gd name="T20" fmla="*/ 32 w 34"/>
                  <a:gd name="T21" fmla="*/ 18 h 32"/>
                  <a:gd name="T22" fmla="*/ 34 w 34"/>
                  <a:gd name="T23" fmla="*/ 12 h 32"/>
                  <a:gd name="T24" fmla="*/ 28 w 34"/>
                  <a:gd name="T25" fmla="*/ 14 h 32"/>
                  <a:gd name="T26" fmla="*/ 24 w 34"/>
                  <a:gd name="T27" fmla="*/ 1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4" h="32">
                    <a:moveTo>
                      <a:pt x="24" y="12"/>
                    </a:moveTo>
                    <a:lnTo>
                      <a:pt x="18" y="0"/>
                    </a:lnTo>
                    <a:lnTo>
                      <a:pt x="8" y="0"/>
                    </a:lnTo>
                    <a:lnTo>
                      <a:pt x="0" y="4"/>
                    </a:lnTo>
                    <a:lnTo>
                      <a:pt x="2" y="18"/>
                    </a:lnTo>
                    <a:lnTo>
                      <a:pt x="6" y="28"/>
                    </a:lnTo>
                    <a:lnTo>
                      <a:pt x="10" y="26"/>
                    </a:lnTo>
                    <a:lnTo>
                      <a:pt x="14" y="32"/>
                    </a:lnTo>
                    <a:lnTo>
                      <a:pt x="20" y="28"/>
                    </a:lnTo>
                    <a:lnTo>
                      <a:pt x="24" y="22"/>
                    </a:lnTo>
                    <a:lnTo>
                      <a:pt x="32" y="18"/>
                    </a:lnTo>
                    <a:lnTo>
                      <a:pt x="34" y="12"/>
                    </a:lnTo>
                    <a:lnTo>
                      <a:pt x="28" y="14"/>
                    </a:lnTo>
                    <a:lnTo>
                      <a:pt x="24" y="1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9" name="Freeform 4766">
                <a:extLst>
                  <a:ext uri="{FF2B5EF4-FFF2-40B4-BE49-F238E27FC236}">
                    <a16:creationId xmlns:a16="http://schemas.microsoft.com/office/drawing/2014/main" id="{815BE9EE-4A76-40FD-B6CF-483AFE08D6B7}"/>
                  </a:ext>
                </a:extLst>
              </p:cNvPr>
              <p:cNvSpPr/>
              <p:nvPr/>
            </p:nvSpPr>
            <p:spPr bwMode="auto">
              <a:xfrm>
                <a:off x="27354581" y="16647533"/>
                <a:ext cx="419331" cy="319263"/>
              </a:xfrm>
              <a:custGeom>
                <a:avLst/>
                <a:gdLst>
                  <a:gd name="T0" fmla="*/ 110 w 176"/>
                  <a:gd name="T1" fmla="*/ 0 h 134"/>
                  <a:gd name="T2" fmla="*/ 86 w 176"/>
                  <a:gd name="T3" fmla="*/ 6 h 134"/>
                  <a:gd name="T4" fmla="*/ 78 w 176"/>
                  <a:gd name="T5" fmla="*/ 6 h 134"/>
                  <a:gd name="T6" fmla="*/ 68 w 176"/>
                  <a:gd name="T7" fmla="*/ 22 h 134"/>
                  <a:gd name="T8" fmla="*/ 60 w 176"/>
                  <a:gd name="T9" fmla="*/ 16 h 134"/>
                  <a:gd name="T10" fmla="*/ 48 w 176"/>
                  <a:gd name="T11" fmla="*/ 26 h 134"/>
                  <a:gd name="T12" fmla="*/ 46 w 176"/>
                  <a:gd name="T13" fmla="*/ 40 h 134"/>
                  <a:gd name="T14" fmla="*/ 40 w 176"/>
                  <a:gd name="T15" fmla="*/ 54 h 134"/>
                  <a:gd name="T16" fmla="*/ 30 w 176"/>
                  <a:gd name="T17" fmla="*/ 58 h 134"/>
                  <a:gd name="T18" fmla="*/ 22 w 176"/>
                  <a:gd name="T19" fmla="*/ 60 h 134"/>
                  <a:gd name="T20" fmla="*/ 16 w 176"/>
                  <a:gd name="T21" fmla="*/ 62 h 134"/>
                  <a:gd name="T22" fmla="*/ 18 w 176"/>
                  <a:gd name="T23" fmla="*/ 64 h 134"/>
                  <a:gd name="T24" fmla="*/ 26 w 176"/>
                  <a:gd name="T25" fmla="*/ 70 h 134"/>
                  <a:gd name="T26" fmla="*/ 24 w 176"/>
                  <a:gd name="T27" fmla="*/ 76 h 134"/>
                  <a:gd name="T28" fmla="*/ 2 w 176"/>
                  <a:gd name="T29" fmla="*/ 86 h 134"/>
                  <a:gd name="T30" fmla="*/ 2 w 176"/>
                  <a:gd name="T31" fmla="*/ 94 h 134"/>
                  <a:gd name="T32" fmla="*/ 18 w 176"/>
                  <a:gd name="T33" fmla="*/ 108 h 134"/>
                  <a:gd name="T34" fmla="*/ 30 w 176"/>
                  <a:gd name="T35" fmla="*/ 120 h 134"/>
                  <a:gd name="T36" fmla="*/ 40 w 176"/>
                  <a:gd name="T37" fmla="*/ 126 h 134"/>
                  <a:gd name="T38" fmla="*/ 52 w 176"/>
                  <a:gd name="T39" fmla="*/ 126 h 134"/>
                  <a:gd name="T40" fmla="*/ 56 w 176"/>
                  <a:gd name="T41" fmla="*/ 122 h 134"/>
                  <a:gd name="T42" fmla="*/ 66 w 176"/>
                  <a:gd name="T43" fmla="*/ 114 h 134"/>
                  <a:gd name="T44" fmla="*/ 62 w 176"/>
                  <a:gd name="T45" fmla="*/ 106 h 134"/>
                  <a:gd name="T46" fmla="*/ 72 w 176"/>
                  <a:gd name="T47" fmla="*/ 94 h 134"/>
                  <a:gd name="T48" fmla="*/ 80 w 176"/>
                  <a:gd name="T49" fmla="*/ 98 h 134"/>
                  <a:gd name="T50" fmla="*/ 84 w 176"/>
                  <a:gd name="T51" fmla="*/ 106 h 134"/>
                  <a:gd name="T52" fmla="*/ 88 w 176"/>
                  <a:gd name="T53" fmla="*/ 116 h 134"/>
                  <a:gd name="T54" fmla="*/ 96 w 176"/>
                  <a:gd name="T55" fmla="*/ 120 h 134"/>
                  <a:gd name="T56" fmla="*/ 98 w 176"/>
                  <a:gd name="T57" fmla="*/ 130 h 134"/>
                  <a:gd name="T58" fmla="*/ 104 w 176"/>
                  <a:gd name="T59" fmla="*/ 134 h 134"/>
                  <a:gd name="T60" fmla="*/ 114 w 176"/>
                  <a:gd name="T61" fmla="*/ 134 h 134"/>
                  <a:gd name="T62" fmla="*/ 120 w 176"/>
                  <a:gd name="T63" fmla="*/ 130 h 134"/>
                  <a:gd name="T64" fmla="*/ 132 w 176"/>
                  <a:gd name="T65" fmla="*/ 134 h 134"/>
                  <a:gd name="T66" fmla="*/ 144 w 176"/>
                  <a:gd name="T67" fmla="*/ 130 h 134"/>
                  <a:gd name="T68" fmla="*/ 150 w 176"/>
                  <a:gd name="T69" fmla="*/ 118 h 134"/>
                  <a:gd name="T70" fmla="*/ 160 w 176"/>
                  <a:gd name="T71" fmla="*/ 112 h 134"/>
                  <a:gd name="T72" fmla="*/ 170 w 176"/>
                  <a:gd name="T73" fmla="*/ 98 h 134"/>
                  <a:gd name="T74" fmla="*/ 164 w 176"/>
                  <a:gd name="T75" fmla="*/ 98 h 134"/>
                  <a:gd name="T76" fmla="*/ 162 w 176"/>
                  <a:gd name="T77" fmla="*/ 78 h 134"/>
                  <a:gd name="T78" fmla="*/ 170 w 176"/>
                  <a:gd name="T79" fmla="*/ 82 h 134"/>
                  <a:gd name="T80" fmla="*/ 174 w 176"/>
                  <a:gd name="T81" fmla="*/ 90 h 134"/>
                  <a:gd name="T82" fmla="*/ 174 w 176"/>
                  <a:gd name="T83" fmla="*/ 78 h 134"/>
                  <a:gd name="T84" fmla="*/ 168 w 176"/>
                  <a:gd name="T85" fmla="*/ 66 h 134"/>
                  <a:gd name="T86" fmla="*/ 154 w 176"/>
                  <a:gd name="T87" fmla="*/ 66 h 134"/>
                  <a:gd name="T88" fmla="*/ 148 w 176"/>
                  <a:gd name="T89" fmla="*/ 62 h 134"/>
                  <a:gd name="T90" fmla="*/ 160 w 176"/>
                  <a:gd name="T91" fmla="*/ 54 h 134"/>
                  <a:gd name="T92" fmla="*/ 150 w 176"/>
                  <a:gd name="T93" fmla="*/ 36 h 134"/>
                  <a:gd name="T94" fmla="*/ 138 w 176"/>
                  <a:gd name="T95" fmla="*/ 10 h 134"/>
                  <a:gd name="T96" fmla="*/ 126 w 176"/>
                  <a:gd name="T97" fmla="*/ 2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76" h="134">
                    <a:moveTo>
                      <a:pt x="116" y="0"/>
                    </a:moveTo>
                    <a:lnTo>
                      <a:pt x="110" y="0"/>
                    </a:lnTo>
                    <a:lnTo>
                      <a:pt x="94" y="4"/>
                    </a:lnTo>
                    <a:lnTo>
                      <a:pt x="86" y="6"/>
                    </a:lnTo>
                    <a:lnTo>
                      <a:pt x="82" y="6"/>
                    </a:lnTo>
                    <a:lnTo>
                      <a:pt x="78" y="6"/>
                    </a:lnTo>
                    <a:lnTo>
                      <a:pt x="74" y="18"/>
                    </a:lnTo>
                    <a:lnTo>
                      <a:pt x="68" y="22"/>
                    </a:lnTo>
                    <a:lnTo>
                      <a:pt x="64" y="20"/>
                    </a:lnTo>
                    <a:lnTo>
                      <a:pt x="60" y="16"/>
                    </a:lnTo>
                    <a:lnTo>
                      <a:pt x="50" y="24"/>
                    </a:lnTo>
                    <a:lnTo>
                      <a:pt x="48" y="26"/>
                    </a:lnTo>
                    <a:lnTo>
                      <a:pt x="46" y="38"/>
                    </a:lnTo>
                    <a:lnTo>
                      <a:pt x="46" y="40"/>
                    </a:lnTo>
                    <a:lnTo>
                      <a:pt x="42" y="46"/>
                    </a:lnTo>
                    <a:lnTo>
                      <a:pt x="40" y="54"/>
                    </a:lnTo>
                    <a:lnTo>
                      <a:pt x="36" y="56"/>
                    </a:lnTo>
                    <a:lnTo>
                      <a:pt x="30" y="58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18" y="60"/>
                    </a:lnTo>
                    <a:lnTo>
                      <a:pt x="16" y="62"/>
                    </a:lnTo>
                    <a:lnTo>
                      <a:pt x="16" y="64"/>
                    </a:lnTo>
                    <a:lnTo>
                      <a:pt x="18" y="64"/>
                    </a:lnTo>
                    <a:lnTo>
                      <a:pt x="22" y="68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4" y="76"/>
                    </a:lnTo>
                    <a:lnTo>
                      <a:pt x="6" y="82"/>
                    </a:lnTo>
                    <a:lnTo>
                      <a:pt x="2" y="86"/>
                    </a:lnTo>
                    <a:lnTo>
                      <a:pt x="0" y="90"/>
                    </a:lnTo>
                    <a:lnTo>
                      <a:pt x="2" y="94"/>
                    </a:lnTo>
                    <a:lnTo>
                      <a:pt x="16" y="106"/>
                    </a:lnTo>
                    <a:lnTo>
                      <a:pt x="18" y="108"/>
                    </a:lnTo>
                    <a:lnTo>
                      <a:pt x="20" y="116"/>
                    </a:lnTo>
                    <a:lnTo>
                      <a:pt x="30" y="120"/>
                    </a:lnTo>
                    <a:lnTo>
                      <a:pt x="36" y="124"/>
                    </a:lnTo>
                    <a:lnTo>
                      <a:pt x="40" y="126"/>
                    </a:lnTo>
                    <a:lnTo>
                      <a:pt x="48" y="124"/>
                    </a:lnTo>
                    <a:lnTo>
                      <a:pt x="52" y="126"/>
                    </a:lnTo>
                    <a:lnTo>
                      <a:pt x="54" y="126"/>
                    </a:lnTo>
                    <a:lnTo>
                      <a:pt x="56" y="122"/>
                    </a:lnTo>
                    <a:lnTo>
                      <a:pt x="62" y="116"/>
                    </a:lnTo>
                    <a:lnTo>
                      <a:pt x="66" y="114"/>
                    </a:lnTo>
                    <a:lnTo>
                      <a:pt x="64" y="110"/>
                    </a:lnTo>
                    <a:lnTo>
                      <a:pt x="62" y="106"/>
                    </a:lnTo>
                    <a:lnTo>
                      <a:pt x="66" y="100"/>
                    </a:lnTo>
                    <a:lnTo>
                      <a:pt x="72" y="94"/>
                    </a:lnTo>
                    <a:lnTo>
                      <a:pt x="74" y="94"/>
                    </a:lnTo>
                    <a:lnTo>
                      <a:pt x="80" y="98"/>
                    </a:lnTo>
                    <a:lnTo>
                      <a:pt x="84" y="104"/>
                    </a:lnTo>
                    <a:lnTo>
                      <a:pt x="84" y="106"/>
                    </a:lnTo>
                    <a:lnTo>
                      <a:pt x="84" y="110"/>
                    </a:lnTo>
                    <a:lnTo>
                      <a:pt x="88" y="116"/>
                    </a:lnTo>
                    <a:lnTo>
                      <a:pt x="90" y="118"/>
                    </a:lnTo>
                    <a:lnTo>
                      <a:pt x="96" y="120"/>
                    </a:lnTo>
                    <a:lnTo>
                      <a:pt x="98" y="122"/>
                    </a:lnTo>
                    <a:lnTo>
                      <a:pt x="98" y="130"/>
                    </a:lnTo>
                    <a:lnTo>
                      <a:pt x="98" y="134"/>
                    </a:lnTo>
                    <a:lnTo>
                      <a:pt x="104" y="134"/>
                    </a:lnTo>
                    <a:lnTo>
                      <a:pt x="112" y="132"/>
                    </a:lnTo>
                    <a:lnTo>
                      <a:pt x="114" y="134"/>
                    </a:lnTo>
                    <a:lnTo>
                      <a:pt x="116" y="132"/>
                    </a:lnTo>
                    <a:lnTo>
                      <a:pt x="120" y="130"/>
                    </a:lnTo>
                    <a:lnTo>
                      <a:pt x="126" y="130"/>
                    </a:lnTo>
                    <a:lnTo>
                      <a:pt x="132" y="134"/>
                    </a:lnTo>
                    <a:lnTo>
                      <a:pt x="140" y="134"/>
                    </a:lnTo>
                    <a:lnTo>
                      <a:pt x="144" y="130"/>
                    </a:lnTo>
                    <a:lnTo>
                      <a:pt x="148" y="122"/>
                    </a:lnTo>
                    <a:lnTo>
                      <a:pt x="150" y="118"/>
                    </a:lnTo>
                    <a:lnTo>
                      <a:pt x="152" y="114"/>
                    </a:lnTo>
                    <a:lnTo>
                      <a:pt x="160" y="112"/>
                    </a:lnTo>
                    <a:lnTo>
                      <a:pt x="166" y="110"/>
                    </a:lnTo>
                    <a:lnTo>
                      <a:pt x="170" y="98"/>
                    </a:lnTo>
                    <a:lnTo>
                      <a:pt x="164" y="98"/>
                    </a:lnTo>
                    <a:lnTo>
                      <a:pt x="164" y="98"/>
                    </a:lnTo>
                    <a:lnTo>
                      <a:pt x="164" y="86"/>
                    </a:lnTo>
                    <a:lnTo>
                      <a:pt x="162" y="78"/>
                    </a:lnTo>
                    <a:lnTo>
                      <a:pt x="166" y="80"/>
                    </a:lnTo>
                    <a:lnTo>
                      <a:pt x="170" y="82"/>
                    </a:lnTo>
                    <a:lnTo>
                      <a:pt x="172" y="88"/>
                    </a:lnTo>
                    <a:lnTo>
                      <a:pt x="174" y="90"/>
                    </a:lnTo>
                    <a:lnTo>
                      <a:pt x="176" y="84"/>
                    </a:lnTo>
                    <a:lnTo>
                      <a:pt x="174" y="78"/>
                    </a:lnTo>
                    <a:lnTo>
                      <a:pt x="172" y="70"/>
                    </a:lnTo>
                    <a:lnTo>
                      <a:pt x="168" y="66"/>
                    </a:lnTo>
                    <a:lnTo>
                      <a:pt x="158" y="64"/>
                    </a:lnTo>
                    <a:lnTo>
                      <a:pt x="154" y="66"/>
                    </a:lnTo>
                    <a:lnTo>
                      <a:pt x="148" y="68"/>
                    </a:lnTo>
                    <a:lnTo>
                      <a:pt x="148" y="62"/>
                    </a:lnTo>
                    <a:lnTo>
                      <a:pt x="156" y="58"/>
                    </a:lnTo>
                    <a:lnTo>
                      <a:pt x="160" y="54"/>
                    </a:lnTo>
                    <a:lnTo>
                      <a:pt x="160" y="48"/>
                    </a:lnTo>
                    <a:lnTo>
                      <a:pt x="150" y="36"/>
                    </a:lnTo>
                    <a:lnTo>
                      <a:pt x="142" y="24"/>
                    </a:lnTo>
                    <a:lnTo>
                      <a:pt x="138" y="10"/>
                    </a:lnTo>
                    <a:lnTo>
                      <a:pt x="132" y="2"/>
                    </a:lnTo>
                    <a:lnTo>
                      <a:pt x="126" y="2"/>
                    </a:lnTo>
                    <a:lnTo>
                      <a:pt x="116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0" name="Freeform 4767">
                <a:extLst>
                  <a:ext uri="{FF2B5EF4-FFF2-40B4-BE49-F238E27FC236}">
                    <a16:creationId xmlns:a16="http://schemas.microsoft.com/office/drawing/2014/main" id="{2F31EAF4-3D32-48CA-8AD2-07A5CE9977AC}"/>
                  </a:ext>
                </a:extLst>
              </p:cNvPr>
              <p:cNvSpPr/>
              <p:nvPr/>
            </p:nvSpPr>
            <p:spPr bwMode="auto">
              <a:xfrm>
                <a:off x="27783442" y="16514108"/>
                <a:ext cx="47651" cy="76242"/>
              </a:xfrm>
              <a:custGeom>
                <a:avLst/>
                <a:gdLst>
                  <a:gd name="T0" fmla="*/ 20 w 20"/>
                  <a:gd name="T1" fmla="*/ 32 h 32"/>
                  <a:gd name="T2" fmla="*/ 20 w 20"/>
                  <a:gd name="T3" fmla="*/ 26 h 32"/>
                  <a:gd name="T4" fmla="*/ 20 w 20"/>
                  <a:gd name="T5" fmla="*/ 18 h 32"/>
                  <a:gd name="T6" fmla="*/ 16 w 20"/>
                  <a:gd name="T7" fmla="*/ 6 h 32"/>
                  <a:gd name="T8" fmla="*/ 14 w 20"/>
                  <a:gd name="T9" fmla="*/ 4 h 32"/>
                  <a:gd name="T10" fmla="*/ 10 w 20"/>
                  <a:gd name="T11" fmla="*/ 0 h 32"/>
                  <a:gd name="T12" fmla="*/ 6 w 20"/>
                  <a:gd name="T13" fmla="*/ 2 h 32"/>
                  <a:gd name="T14" fmla="*/ 4 w 20"/>
                  <a:gd name="T15" fmla="*/ 4 h 32"/>
                  <a:gd name="T16" fmla="*/ 2 w 20"/>
                  <a:gd name="T17" fmla="*/ 6 h 32"/>
                  <a:gd name="T18" fmla="*/ 0 w 20"/>
                  <a:gd name="T19" fmla="*/ 12 h 32"/>
                  <a:gd name="T20" fmla="*/ 4 w 20"/>
                  <a:gd name="T21" fmla="*/ 28 h 32"/>
                  <a:gd name="T22" fmla="*/ 8 w 20"/>
                  <a:gd name="T23" fmla="*/ 30 h 32"/>
                  <a:gd name="T24" fmla="*/ 12 w 20"/>
                  <a:gd name="T25" fmla="*/ 32 h 32"/>
                  <a:gd name="T26" fmla="*/ 20 w 20"/>
                  <a:gd name="T27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" h="32">
                    <a:moveTo>
                      <a:pt x="20" y="32"/>
                    </a:moveTo>
                    <a:lnTo>
                      <a:pt x="20" y="26"/>
                    </a:lnTo>
                    <a:lnTo>
                      <a:pt x="20" y="18"/>
                    </a:lnTo>
                    <a:lnTo>
                      <a:pt x="16" y="6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4" y="28"/>
                    </a:lnTo>
                    <a:lnTo>
                      <a:pt x="8" y="30"/>
                    </a:lnTo>
                    <a:lnTo>
                      <a:pt x="12" y="32"/>
                    </a:lnTo>
                    <a:lnTo>
                      <a:pt x="20" y="3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1" name="Freeform 4768">
                <a:extLst>
                  <a:ext uri="{FF2B5EF4-FFF2-40B4-BE49-F238E27FC236}">
                    <a16:creationId xmlns:a16="http://schemas.microsoft.com/office/drawing/2014/main" id="{B4290556-9CAE-4582-B907-75AC2D0D1895}"/>
                  </a:ext>
                </a:extLst>
              </p:cNvPr>
              <p:cNvSpPr/>
              <p:nvPr/>
            </p:nvSpPr>
            <p:spPr bwMode="auto">
              <a:xfrm>
                <a:off x="27611899" y="16456927"/>
                <a:ext cx="71477" cy="90537"/>
              </a:xfrm>
              <a:custGeom>
                <a:avLst/>
                <a:gdLst>
                  <a:gd name="T0" fmla="*/ 24 w 30"/>
                  <a:gd name="T1" fmla="*/ 0 h 38"/>
                  <a:gd name="T2" fmla="*/ 18 w 30"/>
                  <a:gd name="T3" fmla="*/ 2 h 38"/>
                  <a:gd name="T4" fmla="*/ 12 w 30"/>
                  <a:gd name="T5" fmla="*/ 8 h 38"/>
                  <a:gd name="T6" fmla="*/ 10 w 30"/>
                  <a:gd name="T7" fmla="*/ 6 h 38"/>
                  <a:gd name="T8" fmla="*/ 8 w 30"/>
                  <a:gd name="T9" fmla="*/ 6 h 38"/>
                  <a:gd name="T10" fmla="*/ 6 w 30"/>
                  <a:gd name="T11" fmla="*/ 8 h 38"/>
                  <a:gd name="T12" fmla="*/ 4 w 30"/>
                  <a:gd name="T13" fmla="*/ 10 h 38"/>
                  <a:gd name="T14" fmla="*/ 2 w 30"/>
                  <a:gd name="T15" fmla="*/ 14 h 38"/>
                  <a:gd name="T16" fmla="*/ 2 w 30"/>
                  <a:gd name="T17" fmla="*/ 18 h 38"/>
                  <a:gd name="T18" fmla="*/ 0 w 30"/>
                  <a:gd name="T19" fmla="*/ 26 h 38"/>
                  <a:gd name="T20" fmla="*/ 0 w 30"/>
                  <a:gd name="T21" fmla="*/ 26 h 38"/>
                  <a:gd name="T22" fmla="*/ 2 w 30"/>
                  <a:gd name="T23" fmla="*/ 26 h 38"/>
                  <a:gd name="T24" fmla="*/ 12 w 30"/>
                  <a:gd name="T25" fmla="*/ 18 h 38"/>
                  <a:gd name="T26" fmla="*/ 14 w 30"/>
                  <a:gd name="T27" fmla="*/ 18 h 38"/>
                  <a:gd name="T28" fmla="*/ 14 w 30"/>
                  <a:gd name="T29" fmla="*/ 18 h 38"/>
                  <a:gd name="T30" fmla="*/ 14 w 30"/>
                  <a:gd name="T31" fmla="*/ 22 h 38"/>
                  <a:gd name="T32" fmla="*/ 16 w 30"/>
                  <a:gd name="T33" fmla="*/ 30 h 38"/>
                  <a:gd name="T34" fmla="*/ 12 w 30"/>
                  <a:gd name="T35" fmla="*/ 36 h 38"/>
                  <a:gd name="T36" fmla="*/ 12 w 30"/>
                  <a:gd name="T37" fmla="*/ 38 h 38"/>
                  <a:gd name="T38" fmla="*/ 16 w 30"/>
                  <a:gd name="T39" fmla="*/ 38 h 38"/>
                  <a:gd name="T40" fmla="*/ 28 w 30"/>
                  <a:gd name="T41" fmla="*/ 32 h 38"/>
                  <a:gd name="T42" fmla="*/ 30 w 30"/>
                  <a:gd name="T43" fmla="*/ 26 h 38"/>
                  <a:gd name="T44" fmla="*/ 30 w 30"/>
                  <a:gd name="T45" fmla="*/ 24 h 38"/>
                  <a:gd name="T46" fmla="*/ 26 w 30"/>
                  <a:gd name="T47" fmla="*/ 14 h 38"/>
                  <a:gd name="T48" fmla="*/ 24 w 30"/>
                  <a:gd name="T4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0" h="38">
                    <a:moveTo>
                      <a:pt x="24" y="0"/>
                    </a:moveTo>
                    <a:lnTo>
                      <a:pt x="18" y="2"/>
                    </a:lnTo>
                    <a:lnTo>
                      <a:pt x="12" y="8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6" y="8"/>
                    </a:lnTo>
                    <a:lnTo>
                      <a:pt x="4" y="10"/>
                    </a:lnTo>
                    <a:lnTo>
                      <a:pt x="2" y="14"/>
                    </a:lnTo>
                    <a:lnTo>
                      <a:pt x="2" y="1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2"/>
                    </a:lnTo>
                    <a:lnTo>
                      <a:pt x="16" y="30"/>
                    </a:lnTo>
                    <a:lnTo>
                      <a:pt x="12" y="36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28" y="32"/>
                    </a:lnTo>
                    <a:lnTo>
                      <a:pt x="30" y="26"/>
                    </a:lnTo>
                    <a:lnTo>
                      <a:pt x="30" y="24"/>
                    </a:lnTo>
                    <a:lnTo>
                      <a:pt x="26" y="14"/>
                    </a:lnTo>
                    <a:lnTo>
                      <a:pt x="24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2" name="Freeform 4769">
                <a:extLst>
                  <a:ext uri="{FF2B5EF4-FFF2-40B4-BE49-F238E27FC236}">
                    <a16:creationId xmlns:a16="http://schemas.microsoft.com/office/drawing/2014/main" id="{8D0815FF-9F6A-4D38-A039-2451BFDBDCB6}"/>
                  </a:ext>
                </a:extLst>
              </p:cNvPr>
              <p:cNvSpPr/>
              <p:nvPr/>
            </p:nvSpPr>
            <p:spPr bwMode="auto">
              <a:xfrm>
                <a:off x="27678611" y="16404510"/>
                <a:ext cx="52416" cy="85772"/>
              </a:xfrm>
              <a:custGeom>
                <a:avLst/>
                <a:gdLst>
                  <a:gd name="T0" fmla="*/ 6 w 22"/>
                  <a:gd name="T1" fmla="*/ 34 h 36"/>
                  <a:gd name="T2" fmla="*/ 18 w 22"/>
                  <a:gd name="T3" fmla="*/ 12 h 36"/>
                  <a:gd name="T4" fmla="*/ 22 w 22"/>
                  <a:gd name="T5" fmla="*/ 0 h 36"/>
                  <a:gd name="T6" fmla="*/ 20 w 22"/>
                  <a:gd name="T7" fmla="*/ 0 h 36"/>
                  <a:gd name="T8" fmla="*/ 18 w 22"/>
                  <a:gd name="T9" fmla="*/ 0 h 36"/>
                  <a:gd name="T10" fmla="*/ 8 w 22"/>
                  <a:gd name="T11" fmla="*/ 8 h 36"/>
                  <a:gd name="T12" fmla="*/ 6 w 22"/>
                  <a:gd name="T13" fmla="*/ 12 h 36"/>
                  <a:gd name="T14" fmla="*/ 6 w 22"/>
                  <a:gd name="T15" fmla="*/ 14 h 36"/>
                  <a:gd name="T16" fmla="*/ 10 w 22"/>
                  <a:gd name="T17" fmla="*/ 16 h 36"/>
                  <a:gd name="T18" fmla="*/ 2 w 22"/>
                  <a:gd name="T19" fmla="*/ 22 h 36"/>
                  <a:gd name="T20" fmla="*/ 0 w 22"/>
                  <a:gd name="T21" fmla="*/ 26 h 36"/>
                  <a:gd name="T22" fmla="*/ 0 w 22"/>
                  <a:gd name="T23" fmla="*/ 32 h 36"/>
                  <a:gd name="T24" fmla="*/ 0 w 22"/>
                  <a:gd name="T25" fmla="*/ 34 h 36"/>
                  <a:gd name="T26" fmla="*/ 2 w 22"/>
                  <a:gd name="T27" fmla="*/ 36 h 36"/>
                  <a:gd name="T28" fmla="*/ 6 w 22"/>
                  <a:gd name="T29" fmla="*/ 36 h 36"/>
                  <a:gd name="T30" fmla="*/ 6 w 22"/>
                  <a:gd name="T31" fmla="*/ 34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" h="36">
                    <a:moveTo>
                      <a:pt x="6" y="34"/>
                    </a:moveTo>
                    <a:lnTo>
                      <a:pt x="18" y="12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8" y="8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10" y="16"/>
                    </a:lnTo>
                    <a:lnTo>
                      <a:pt x="2" y="22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34"/>
                    </a:lnTo>
                    <a:lnTo>
                      <a:pt x="2" y="36"/>
                    </a:lnTo>
                    <a:lnTo>
                      <a:pt x="6" y="36"/>
                    </a:lnTo>
                    <a:lnTo>
                      <a:pt x="6" y="34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3" name="Freeform 4770">
                <a:extLst>
                  <a:ext uri="{FF2B5EF4-FFF2-40B4-BE49-F238E27FC236}">
                    <a16:creationId xmlns:a16="http://schemas.microsoft.com/office/drawing/2014/main" id="{B4C5CE8A-D5B7-4D6C-AEB0-59E379CAF6E0}"/>
                  </a:ext>
                </a:extLst>
              </p:cNvPr>
              <p:cNvSpPr/>
              <p:nvPr/>
            </p:nvSpPr>
            <p:spPr bwMode="auto">
              <a:xfrm>
                <a:off x="27640490" y="16252027"/>
                <a:ext cx="85772" cy="104833"/>
              </a:xfrm>
              <a:custGeom>
                <a:avLst/>
                <a:gdLst>
                  <a:gd name="T0" fmla="*/ 36 w 36"/>
                  <a:gd name="T1" fmla="*/ 36 h 44"/>
                  <a:gd name="T2" fmla="*/ 36 w 36"/>
                  <a:gd name="T3" fmla="*/ 20 h 44"/>
                  <a:gd name="T4" fmla="*/ 32 w 36"/>
                  <a:gd name="T5" fmla="*/ 16 h 44"/>
                  <a:gd name="T6" fmla="*/ 24 w 36"/>
                  <a:gd name="T7" fmla="*/ 14 h 44"/>
                  <a:gd name="T8" fmla="*/ 18 w 36"/>
                  <a:gd name="T9" fmla="*/ 6 h 44"/>
                  <a:gd name="T10" fmla="*/ 14 w 36"/>
                  <a:gd name="T11" fmla="*/ 0 h 44"/>
                  <a:gd name="T12" fmla="*/ 12 w 36"/>
                  <a:gd name="T13" fmla="*/ 0 h 44"/>
                  <a:gd name="T14" fmla="*/ 8 w 36"/>
                  <a:gd name="T15" fmla="*/ 2 h 44"/>
                  <a:gd name="T16" fmla="*/ 2 w 36"/>
                  <a:gd name="T17" fmla="*/ 6 h 44"/>
                  <a:gd name="T18" fmla="*/ 0 w 36"/>
                  <a:gd name="T19" fmla="*/ 6 h 44"/>
                  <a:gd name="T20" fmla="*/ 0 w 36"/>
                  <a:gd name="T21" fmla="*/ 10 h 44"/>
                  <a:gd name="T22" fmla="*/ 0 w 36"/>
                  <a:gd name="T23" fmla="*/ 12 h 44"/>
                  <a:gd name="T24" fmla="*/ 12 w 36"/>
                  <a:gd name="T25" fmla="*/ 20 h 44"/>
                  <a:gd name="T26" fmla="*/ 8 w 36"/>
                  <a:gd name="T27" fmla="*/ 36 h 44"/>
                  <a:gd name="T28" fmla="*/ 2 w 36"/>
                  <a:gd name="T29" fmla="*/ 38 h 44"/>
                  <a:gd name="T30" fmla="*/ 0 w 36"/>
                  <a:gd name="T31" fmla="*/ 40 h 44"/>
                  <a:gd name="T32" fmla="*/ 0 w 36"/>
                  <a:gd name="T33" fmla="*/ 42 h 44"/>
                  <a:gd name="T34" fmla="*/ 10 w 36"/>
                  <a:gd name="T35" fmla="*/ 44 h 44"/>
                  <a:gd name="T36" fmla="*/ 36 w 36"/>
                  <a:gd name="T37" fmla="*/ 3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6" h="44">
                    <a:moveTo>
                      <a:pt x="36" y="36"/>
                    </a:moveTo>
                    <a:lnTo>
                      <a:pt x="36" y="20"/>
                    </a:lnTo>
                    <a:lnTo>
                      <a:pt x="32" y="16"/>
                    </a:lnTo>
                    <a:lnTo>
                      <a:pt x="24" y="14"/>
                    </a:lnTo>
                    <a:lnTo>
                      <a:pt x="18" y="6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12" y="20"/>
                    </a:lnTo>
                    <a:lnTo>
                      <a:pt x="8" y="36"/>
                    </a:lnTo>
                    <a:lnTo>
                      <a:pt x="2" y="38"/>
                    </a:lnTo>
                    <a:lnTo>
                      <a:pt x="0" y="40"/>
                    </a:lnTo>
                    <a:lnTo>
                      <a:pt x="0" y="42"/>
                    </a:lnTo>
                    <a:lnTo>
                      <a:pt x="10" y="44"/>
                    </a:lnTo>
                    <a:lnTo>
                      <a:pt x="36" y="3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4" name="Freeform 4771">
                <a:extLst>
                  <a:ext uri="{FF2B5EF4-FFF2-40B4-BE49-F238E27FC236}">
                    <a16:creationId xmlns:a16="http://schemas.microsoft.com/office/drawing/2014/main" id="{B2EDC598-A5AD-4B80-8704-E84E822D3058}"/>
                  </a:ext>
                </a:extLst>
              </p:cNvPr>
              <p:cNvSpPr/>
              <p:nvPr/>
            </p:nvSpPr>
            <p:spPr bwMode="auto">
              <a:xfrm>
                <a:off x="27583309" y="16247261"/>
                <a:ext cx="28591" cy="23826"/>
              </a:xfrm>
              <a:custGeom>
                <a:avLst/>
                <a:gdLst>
                  <a:gd name="T0" fmla="*/ 4 w 12"/>
                  <a:gd name="T1" fmla="*/ 10 h 10"/>
                  <a:gd name="T2" fmla="*/ 10 w 12"/>
                  <a:gd name="T3" fmla="*/ 6 h 10"/>
                  <a:gd name="T4" fmla="*/ 12 w 12"/>
                  <a:gd name="T5" fmla="*/ 0 h 10"/>
                  <a:gd name="T6" fmla="*/ 12 w 12"/>
                  <a:gd name="T7" fmla="*/ 0 h 10"/>
                  <a:gd name="T8" fmla="*/ 8 w 12"/>
                  <a:gd name="T9" fmla="*/ 2 h 10"/>
                  <a:gd name="T10" fmla="*/ 0 w 12"/>
                  <a:gd name="T11" fmla="*/ 10 h 10"/>
                  <a:gd name="T12" fmla="*/ 2 w 12"/>
                  <a:gd name="T13" fmla="*/ 10 h 10"/>
                  <a:gd name="T14" fmla="*/ 4 w 12"/>
                  <a:gd name="T1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0">
                    <a:moveTo>
                      <a:pt x="4" y="10"/>
                    </a:moveTo>
                    <a:lnTo>
                      <a:pt x="10" y="6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4" y="1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5" name="Freeform 4772">
                <a:extLst>
                  <a:ext uri="{FF2B5EF4-FFF2-40B4-BE49-F238E27FC236}">
                    <a16:creationId xmlns:a16="http://schemas.microsoft.com/office/drawing/2014/main" id="{7629E219-3459-4A6B-8F3E-3B04D4A172B8}"/>
                  </a:ext>
                </a:extLst>
              </p:cNvPr>
              <p:cNvSpPr/>
              <p:nvPr/>
            </p:nvSpPr>
            <p:spPr bwMode="auto">
              <a:xfrm>
                <a:off x="27449884" y="16147194"/>
                <a:ext cx="23826" cy="19061"/>
              </a:xfrm>
              <a:custGeom>
                <a:avLst/>
                <a:gdLst>
                  <a:gd name="T0" fmla="*/ 8 w 10"/>
                  <a:gd name="T1" fmla="*/ 6 h 8"/>
                  <a:gd name="T2" fmla="*/ 10 w 10"/>
                  <a:gd name="T3" fmla="*/ 4 h 8"/>
                  <a:gd name="T4" fmla="*/ 8 w 10"/>
                  <a:gd name="T5" fmla="*/ 2 h 8"/>
                  <a:gd name="T6" fmla="*/ 6 w 10"/>
                  <a:gd name="T7" fmla="*/ 0 h 8"/>
                  <a:gd name="T8" fmla="*/ 0 w 10"/>
                  <a:gd name="T9" fmla="*/ 2 h 8"/>
                  <a:gd name="T10" fmla="*/ 0 w 10"/>
                  <a:gd name="T11" fmla="*/ 6 h 8"/>
                  <a:gd name="T12" fmla="*/ 0 w 10"/>
                  <a:gd name="T13" fmla="*/ 8 h 8"/>
                  <a:gd name="T14" fmla="*/ 2 w 10"/>
                  <a:gd name="T15" fmla="*/ 8 h 8"/>
                  <a:gd name="T16" fmla="*/ 8 w 10"/>
                  <a:gd name="T17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8">
                    <a:moveTo>
                      <a:pt x="8" y="6"/>
                    </a:moveTo>
                    <a:lnTo>
                      <a:pt x="10" y="4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8" y="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6" name="Freeform 4773">
                <a:extLst>
                  <a:ext uri="{FF2B5EF4-FFF2-40B4-BE49-F238E27FC236}">
                    <a16:creationId xmlns:a16="http://schemas.microsoft.com/office/drawing/2014/main" id="{0732FB5C-5837-4087-8695-D02129E08BB9}"/>
                  </a:ext>
                </a:extLst>
              </p:cNvPr>
              <p:cNvSpPr/>
              <p:nvPr/>
            </p:nvSpPr>
            <p:spPr bwMode="auto">
              <a:xfrm>
                <a:off x="27621430" y="16137663"/>
                <a:ext cx="28591" cy="28591"/>
              </a:xfrm>
              <a:custGeom>
                <a:avLst/>
                <a:gdLst>
                  <a:gd name="T0" fmla="*/ 10 w 12"/>
                  <a:gd name="T1" fmla="*/ 10 h 12"/>
                  <a:gd name="T2" fmla="*/ 12 w 12"/>
                  <a:gd name="T3" fmla="*/ 8 h 12"/>
                  <a:gd name="T4" fmla="*/ 12 w 12"/>
                  <a:gd name="T5" fmla="*/ 6 h 12"/>
                  <a:gd name="T6" fmla="*/ 10 w 12"/>
                  <a:gd name="T7" fmla="*/ 2 h 12"/>
                  <a:gd name="T8" fmla="*/ 8 w 12"/>
                  <a:gd name="T9" fmla="*/ 0 h 12"/>
                  <a:gd name="T10" fmla="*/ 0 w 12"/>
                  <a:gd name="T11" fmla="*/ 4 h 12"/>
                  <a:gd name="T12" fmla="*/ 4 w 12"/>
                  <a:gd name="T13" fmla="*/ 10 h 12"/>
                  <a:gd name="T14" fmla="*/ 6 w 12"/>
                  <a:gd name="T15" fmla="*/ 12 h 12"/>
                  <a:gd name="T16" fmla="*/ 8 w 12"/>
                  <a:gd name="T17" fmla="*/ 12 h 12"/>
                  <a:gd name="T18" fmla="*/ 10 w 12"/>
                  <a:gd name="T19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12">
                    <a:moveTo>
                      <a:pt x="10" y="10"/>
                    </a:moveTo>
                    <a:lnTo>
                      <a:pt x="12" y="8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0" y="4"/>
                    </a:lnTo>
                    <a:lnTo>
                      <a:pt x="4" y="10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0" y="1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7" name="Freeform 4774">
                <a:extLst>
                  <a:ext uri="{FF2B5EF4-FFF2-40B4-BE49-F238E27FC236}">
                    <a16:creationId xmlns:a16="http://schemas.microsoft.com/office/drawing/2014/main" id="{6FA917D4-D61F-4C59-8353-C28CB9250C5F}"/>
                  </a:ext>
                </a:extLst>
              </p:cNvPr>
              <p:cNvSpPr/>
              <p:nvPr/>
            </p:nvSpPr>
            <p:spPr bwMode="auto">
              <a:xfrm>
                <a:off x="27468943" y="16042360"/>
                <a:ext cx="23826" cy="81007"/>
              </a:xfrm>
              <a:custGeom>
                <a:avLst/>
                <a:gdLst>
                  <a:gd name="T0" fmla="*/ 10 w 10"/>
                  <a:gd name="T1" fmla="*/ 32 h 34"/>
                  <a:gd name="T2" fmla="*/ 10 w 10"/>
                  <a:gd name="T3" fmla="*/ 32 h 34"/>
                  <a:gd name="T4" fmla="*/ 10 w 10"/>
                  <a:gd name="T5" fmla="*/ 2 h 34"/>
                  <a:gd name="T6" fmla="*/ 8 w 10"/>
                  <a:gd name="T7" fmla="*/ 0 h 34"/>
                  <a:gd name="T8" fmla="*/ 0 w 10"/>
                  <a:gd name="T9" fmla="*/ 0 h 34"/>
                  <a:gd name="T10" fmla="*/ 0 w 10"/>
                  <a:gd name="T11" fmla="*/ 10 h 34"/>
                  <a:gd name="T12" fmla="*/ 0 w 10"/>
                  <a:gd name="T13" fmla="*/ 18 h 34"/>
                  <a:gd name="T14" fmla="*/ 0 w 10"/>
                  <a:gd name="T15" fmla="*/ 24 h 34"/>
                  <a:gd name="T16" fmla="*/ 2 w 10"/>
                  <a:gd name="T17" fmla="*/ 30 h 34"/>
                  <a:gd name="T18" fmla="*/ 4 w 10"/>
                  <a:gd name="T19" fmla="*/ 32 h 34"/>
                  <a:gd name="T20" fmla="*/ 8 w 10"/>
                  <a:gd name="T21" fmla="*/ 34 h 34"/>
                  <a:gd name="T22" fmla="*/ 10 w 10"/>
                  <a:gd name="T23" fmla="*/ 3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34">
                    <a:moveTo>
                      <a:pt x="10" y="32"/>
                    </a:moveTo>
                    <a:lnTo>
                      <a:pt x="10" y="3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4" y="32"/>
                    </a:lnTo>
                    <a:lnTo>
                      <a:pt x="8" y="34"/>
                    </a:lnTo>
                    <a:lnTo>
                      <a:pt x="10" y="3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8" name="Freeform 4775">
                <a:extLst>
                  <a:ext uri="{FF2B5EF4-FFF2-40B4-BE49-F238E27FC236}">
                    <a16:creationId xmlns:a16="http://schemas.microsoft.com/office/drawing/2014/main" id="{AA22B666-3ACC-4F5A-82FD-90CFB471101E}"/>
                  </a:ext>
                </a:extLst>
              </p:cNvPr>
              <p:cNvSpPr/>
              <p:nvPr/>
            </p:nvSpPr>
            <p:spPr bwMode="auto">
              <a:xfrm>
                <a:off x="27569012" y="15956589"/>
                <a:ext cx="171545" cy="185840"/>
              </a:xfrm>
              <a:custGeom>
                <a:avLst/>
                <a:gdLst>
                  <a:gd name="T0" fmla="*/ 42 w 72"/>
                  <a:gd name="T1" fmla="*/ 22 h 78"/>
                  <a:gd name="T2" fmla="*/ 40 w 72"/>
                  <a:gd name="T3" fmla="*/ 12 h 78"/>
                  <a:gd name="T4" fmla="*/ 34 w 72"/>
                  <a:gd name="T5" fmla="*/ 4 h 78"/>
                  <a:gd name="T6" fmla="*/ 30 w 72"/>
                  <a:gd name="T7" fmla="*/ 0 h 78"/>
                  <a:gd name="T8" fmla="*/ 28 w 72"/>
                  <a:gd name="T9" fmla="*/ 2 h 78"/>
                  <a:gd name="T10" fmla="*/ 26 w 72"/>
                  <a:gd name="T11" fmla="*/ 10 h 78"/>
                  <a:gd name="T12" fmla="*/ 10 w 72"/>
                  <a:gd name="T13" fmla="*/ 14 h 78"/>
                  <a:gd name="T14" fmla="*/ 10 w 72"/>
                  <a:gd name="T15" fmla="*/ 16 h 78"/>
                  <a:gd name="T16" fmla="*/ 12 w 72"/>
                  <a:gd name="T17" fmla="*/ 20 h 78"/>
                  <a:gd name="T18" fmla="*/ 12 w 72"/>
                  <a:gd name="T19" fmla="*/ 22 h 78"/>
                  <a:gd name="T20" fmla="*/ 10 w 72"/>
                  <a:gd name="T21" fmla="*/ 24 h 78"/>
                  <a:gd name="T22" fmla="*/ 8 w 72"/>
                  <a:gd name="T23" fmla="*/ 24 h 78"/>
                  <a:gd name="T24" fmla="*/ 4 w 72"/>
                  <a:gd name="T25" fmla="*/ 22 h 78"/>
                  <a:gd name="T26" fmla="*/ 2 w 72"/>
                  <a:gd name="T27" fmla="*/ 26 h 78"/>
                  <a:gd name="T28" fmla="*/ 0 w 72"/>
                  <a:gd name="T29" fmla="*/ 28 h 78"/>
                  <a:gd name="T30" fmla="*/ 2 w 72"/>
                  <a:gd name="T31" fmla="*/ 32 h 78"/>
                  <a:gd name="T32" fmla="*/ 6 w 72"/>
                  <a:gd name="T33" fmla="*/ 38 h 78"/>
                  <a:gd name="T34" fmla="*/ 22 w 72"/>
                  <a:gd name="T35" fmla="*/ 42 h 78"/>
                  <a:gd name="T36" fmla="*/ 26 w 72"/>
                  <a:gd name="T37" fmla="*/ 54 h 78"/>
                  <a:gd name="T38" fmla="*/ 30 w 72"/>
                  <a:gd name="T39" fmla="*/ 58 h 78"/>
                  <a:gd name="T40" fmla="*/ 34 w 72"/>
                  <a:gd name="T41" fmla="*/ 60 h 78"/>
                  <a:gd name="T42" fmla="*/ 40 w 72"/>
                  <a:gd name="T43" fmla="*/ 60 h 78"/>
                  <a:gd name="T44" fmla="*/ 48 w 72"/>
                  <a:gd name="T45" fmla="*/ 58 h 78"/>
                  <a:gd name="T46" fmla="*/ 50 w 72"/>
                  <a:gd name="T47" fmla="*/ 76 h 78"/>
                  <a:gd name="T48" fmla="*/ 52 w 72"/>
                  <a:gd name="T49" fmla="*/ 78 h 78"/>
                  <a:gd name="T50" fmla="*/ 54 w 72"/>
                  <a:gd name="T51" fmla="*/ 76 h 78"/>
                  <a:gd name="T52" fmla="*/ 56 w 72"/>
                  <a:gd name="T53" fmla="*/ 74 h 78"/>
                  <a:gd name="T54" fmla="*/ 64 w 72"/>
                  <a:gd name="T55" fmla="*/ 64 h 78"/>
                  <a:gd name="T56" fmla="*/ 70 w 72"/>
                  <a:gd name="T57" fmla="*/ 58 h 78"/>
                  <a:gd name="T58" fmla="*/ 72 w 72"/>
                  <a:gd name="T59" fmla="*/ 56 h 78"/>
                  <a:gd name="T60" fmla="*/ 72 w 72"/>
                  <a:gd name="T61" fmla="*/ 52 h 78"/>
                  <a:gd name="T62" fmla="*/ 70 w 72"/>
                  <a:gd name="T63" fmla="*/ 50 h 78"/>
                  <a:gd name="T64" fmla="*/ 58 w 72"/>
                  <a:gd name="T65" fmla="*/ 50 h 78"/>
                  <a:gd name="T66" fmla="*/ 46 w 72"/>
                  <a:gd name="T67" fmla="*/ 48 h 78"/>
                  <a:gd name="T68" fmla="*/ 44 w 72"/>
                  <a:gd name="T69" fmla="*/ 46 h 78"/>
                  <a:gd name="T70" fmla="*/ 42 w 72"/>
                  <a:gd name="T71" fmla="*/ 44 h 78"/>
                  <a:gd name="T72" fmla="*/ 42 w 72"/>
                  <a:gd name="T73" fmla="*/ 40 h 78"/>
                  <a:gd name="T74" fmla="*/ 40 w 72"/>
                  <a:gd name="T75" fmla="*/ 34 h 78"/>
                  <a:gd name="T76" fmla="*/ 42 w 72"/>
                  <a:gd name="T77" fmla="*/ 26 h 78"/>
                  <a:gd name="T78" fmla="*/ 42 w 72"/>
                  <a:gd name="T79" fmla="*/ 2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2" h="78">
                    <a:moveTo>
                      <a:pt x="42" y="22"/>
                    </a:moveTo>
                    <a:lnTo>
                      <a:pt x="40" y="12"/>
                    </a:lnTo>
                    <a:lnTo>
                      <a:pt x="34" y="4"/>
                    </a:lnTo>
                    <a:lnTo>
                      <a:pt x="30" y="0"/>
                    </a:lnTo>
                    <a:lnTo>
                      <a:pt x="28" y="2"/>
                    </a:lnTo>
                    <a:lnTo>
                      <a:pt x="26" y="10"/>
                    </a:lnTo>
                    <a:lnTo>
                      <a:pt x="10" y="14"/>
                    </a:lnTo>
                    <a:lnTo>
                      <a:pt x="10" y="16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0" y="24"/>
                    </a:lnTo>
                    <a:lnTo>
                      <a:pt x="8" y="24"/>
                    </a:lnTo>
                    <a:lnTo>
                      <a:pt x="4" y="22"/>
                    </a:lnTo>
                    <a:lnTo>
                      <a:pt x="2" y="26"/>
                    </a:lnTo>
                    <a:lnTo>
                      <a:pt x="0" y="28"/>
                    </a:lnTo>
                    <a:lnTo>
                      <a:pt x="2" y="32"/>
                    </a:lnTo>
                    <a:lnTo>
                      <a:pt x="6" y="38"/>
                    </a:lnTo>
                    <a:lnTo>
                      <a:pt x="22" y="42"/>
                    </a:lnTo>
                    <a:lnTo>
                      <a:pt x="26" y="54"/>
                    </a:lnTo>
                    <a:lnTo>
                      <a:pt x="30" y="58"/>
                    </a:lnTo>
                    <a:lnTo>
                      <a:pt x="34" y="60"/>
                    </a:lnTo>
                    <a:lnTo>
                      <a:pt x="40" y="60"/>
                    </a:lnTo>
                    <a:lnTo>
                      <a:pt x="48" y="58"/>
                    </a:lnTo>
                    <a:lnTo>
                      <a:pt x="50" y="76"/>
                    </a:lnTo>
                    <a:lnTo>
                      <a:pt x="52" y="78"/>
                    </a:lnTo>
                    <a:lnTo>
                      <a:pt x="54" y="76"/>
                    </a:lnTo>
                    <a:lnTo>
                      <a:pt x="56" y="74"/>
                    </a:lnTo>
                    <a:lnTo>
                      <a:pt x="64" y="64"/>
                    </a:lnTo>
                    <a:lnTo>
                      <a:pt x="70" y="58"/>
                    </a:lnTo>
                    <a:lnTo>
                      <a:pt x="72" y="56"/>
                    </a:lnTo>
                    <a:lnTo>
                      <a:pt x="72" y="52"/>
                    </a:lnTo>
                    <a:lnTo>
                      <a:pt x="70" y="50"/>
                    </a:lnTo>
                    <a:lnTo>
                      <a:pt x="58" y="50"/>
                    </a:lnTo>
                    <a:lnTo>
                      <a:pt x="46" y="48"/>
                    </a:lnTo>
                    <a:lnTo>
                      <a:pt x="44" y="46"/>
                    </a:lnTo>
                    <a:lnTo>
                      <a:pt x="42" y="44"/>
                    </a:lnTo>
                    <a:lnTo>
                      <a:pt x="42" y="40"/>
                    </a:lnTo>
                    <a:lnTo>
                      <a:pt x="40" y="34"/>
                    </a:lnTo>
                    <a:lnTo>
                      <a:pt x="42" y="26"/>
                    </a:lnTo>
                    <a:lnTo>
                      <a:pt x="42" y="2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9" name="Freeform 4776">
                <a:extLst>
                  <a:ext uri="{FF2B5EF4-FFF2-40B4-BE49-F238E27FC236}">
                    <a16:creationId xmlns:a16="http://schemas.microsoft.com/office/drawing/2014/main" id="{CC719640-3735-43EA-A1E2-0EDD33759496}"/>
                  </a:ext>
                </a:extLst>
              </p:cNvPr>
              <p:cNvSpPr/>
              <p:nvPr/>
            </p:nvSpPr>
            <p:spPr bwMode="auto">
              <a:xfrm>
                <a:off x="27454650" y="15956589"/>
                <a:ext cx="61947" cy="42886"/>
              </a:xfrm>
              <a:custGeom>
                <a:avLst/>
                <a:gdLst>
                  <a:gd name="T0" fmla="*/ 20 w 26"/>
                  <a:gd name="T1" fmla="*/ 0 h 18"/>
                  <a:gd name="T2" fmla="*/ 16 w 26"/>
                  <a:gd name="T3" fmla="*/ 2 h 18"/>
                  <a:gd name="T4" fmla="*/ 12 w 26"/>
                  <a:gd name="T5" fmla="*/ 2 h 18"/>
                  <a:gd name="T6" fmla="*/ 8 w 26"/>
                  <a:gd name="T7" fmla="*/ 4 h 18"/>
                  <a:gd name="T8" fmla="*/ 4 w 26"/>
                  <a:gd name="T9" fmla="*/ 2 h 18"/>
                  <a:gd name="T10" fmla="*/ 2 w 26"/>
                  <a:gd name="T11" fmla="*/ 4 h 18"/>
                  <a:gd name="T12" fmla="*/ 0 w 26"/>
                  <a:gd name="T13" fmla="*/ 6 h 18"/>
                  <a:gd name="T14" fmla="*/ 0 w 26"/>
                  <a:gd name="T15" fmla="*/ 8 h 18"/>
                  <a:gd name="T16" fmla="*/ 0 w 26"/>
                  <a:gd name="T17" fmla="*/ 10 h 18"/>
                  <a:gd name="T18" fmla="*/ 12 w 26"/>
                  <a:gd name="T19" fmla="*/ 18 h 18"/>
                  <a:gd name="T20" fmla="*/ 22 w 26"/>
                  <a:gd name="T21" fmla="*/ 18 h 18"/>
                  <a:gd name="T22" fmla="*/ 26 w 26"/>
                  <a:gd name="T23" fmla="*/ 6 h 18"/>
                  <a:gd name="T24" fmla="*/ 20 w 26"/>
                  <a:gd name="T2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" h="18">
                    <a:moveTo>
                      <a:pt x="20" y="0"/>
                    </a:moveTo>
                    <a:lnTo>
                      <a:pt x="16" y="2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12" y="18"/>
                    </a:lnTo>
                    <a:lnTo>
                      <a:pt x="22" y="18"/>
                    </a:lnTo>
                    <a:lnTo>
                      <a:pt x="26" y="6"/>
                    </a:lnTo>
                    <a:lnTo>
                      <a:pt x="2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0" name="Freeform 4777">
                <a:extLst>
                  <a:ext uri="{FF2B5EF4-FFF2-40B4-BE49-F238E27FC236}">
                    <a16:creationId xmlns:a16="http://schemas.microsoft.com/office/drawing/2014/main" id="{B0DB45A7-5055-4866-B66F-DC993E6285BD}"/>
                  </a:ext>
                </a:extLst>
              </p:cNvPr>
              <p:cNvSpPr/>
              <p:nvPr/>
            </p:nvSpPr>
            <p:spPr bwMode="auto">
              <a:xfrm>
                <a:off x="27516596" y="15713566"/>
                <a:ext cx="142954" cy="223961"/>
              </a:xfrm>
              <a:custGeom>
                <a:avLst/>
                <a:gdLst>
                  <a:gd name="T0" fmla="*/ 60 w 60"/>
                  <a:gd name="T1" fmla="*/ 18 h 94"/>
                  <a:gd name="T2" fmla="*/ 60 w 60"/>
                  <a:gd name="T3" fmla="*/ 8 h 94"/>
                  <a:gd name="T4" fmla="*/ 58 w 60"/>
                  <a:gd name="T5" fmla="*/ 2 h 94"/>
                  <a:gd name="T6" fmla="*/ 58 w 60"/>
                  <a:gd name="T7" fmla="*/ 0 h 94"/>
                  <a:gd name="T8" fmla="*/ 54 w 60"/>
                  <a:gd name="T9" fmla="*/ 2 h 94"/>
                  <a:gd name="T10" fmla="*/ 38 w 60"/>
                  <a:gd name="T11" fmla="*/ 14 h 94"/>
                  <a:gd name="T12" fmla="*/ 24 w 60"/>
                  <a:gd name="T13" fmla="*/ 22 h 94"/>
                  <a:gd name="T14" fmla="*/ 22 w 60"/>
                  <a:gd name="T15" fmla="*/ 26 h 94"/>
                  <a:gd name="T16" fmla="*/ 22 w 60"/>
                  <a:gd name="T17" fmla="*/ 28 h 94"/>
                  <a:gd name="T18" fmla="*/ 26 w 60"/>
                  <a:gd name="T19" fmla="*/ 38 h 94"/>
                  <a:gd name="T20" fmla="*/ 26 w 60"/>
                  <a:gd name="T21" fmla="*/ 38 h 94"/>
                  <a:gd name="T22" fmla="*/ 20 w 60"/>
                  <a:gd name="T23" fmla="*/ 38 h 94"/>
                  <a:gd name="T24" fmla="*/ 14 w 60"/>
                  <a:gd name="T25" fmla="*/ 40 h 94"/>
                  <a:gd name="T26" fmla="*/ 10 w 60"/>
                  <a:gd name="T27" fmla="*/ 36 h 94"/>
                  <a:gd name="T28" fmla="*/ 6 w 60"/>
                  <a:gd name="T29" fmla="*/ 34 h 94"/>
                  <a:gd name="T30" fmla="*/ 6 w 60"/>
                  <a:gd name="T31" fmla="*/ 34 h 94"/>
                  <a:gd name="T32" fmla="*/ 4 w 60"/>
                  <a:gd name="T33" fmla="*/ 38 h 94"/>
                  <a:gd name="T34" fmla="*/ 2 w 60"/>
                  <a:gd name="T35" fmla="*/ 40 h 94"/>
                  <a:gd name="T36" fmla="*/ 0 w 60"/>
                  <a:gd name="T37" fmla="*/ 46 h 94"/>
                  <a:gd name="T38" fmla="*/ 2 w 60"/>
                  <a:gd name="T39" fmla="*/ 50 h 94"/>
                  <a:gd name="T40" fmla="*/ 2 w 60"/>
                  <a:gd name="T41" fmla="*/ 52 h 94"/>
                  <a:gd name="T42" fmla="*/ 4 w 60"/>
                  <a:gd name="T43" fmla="*/ 54 h 94"/>
                  <a:gd name="T44" fmla="*/ 6 w 60"/>
                  <a:gd name="T45" fmla="*/ 56 h 94"/>
                  <a:gd name="T46" fmla="*/ 8 w 60"/>
                  <a:gd name="T47" fmla="*/ 56 h 94"/>
                  <a:gd name="T48" fmla="*/ 4 w 60"/>
                  <a:gd name="T49" fmla="*/ 60 h 94"/>
                  <a:gd name="T50" fmla="*/ 4 w 60"/>
                  <a:gd name="T51" fmla="*/ 62 h 94"/>
                  <a:gd name="T52" fmla="*/ 6 w 60"/>
                  <a:gd name="T53" fmla="*/ 66 h 94"/>
                  <a:gd name="T54" fmla="*/ 16 w 60"/>
                  <a:gd name="T55" fmla="*/ 70 h 94"/>
                  <a:gd name="T56" fmla="*/ 16 w 60"/>
                  <a:gd name="T57" fmla="*/ 72 h 94"/>
                  <a:gd name="T58" fmla="*/ 10 w 60"/>
                  <a:gd name="T59" fmla="*/ 76 h 94"/>
                  <a:gd name="T60" fmla="*/ 10 w 60"/>
                  <a:gd name="T61" fmla="*/ 80 h 94"/>
                  <a:gd name="T62" fmla="*/ 2 w 60"/>
                  <a:gd name="T63" fmla="*/ 86 h 94"/>
                  <a:gd name="T64" fmla="*/ 6 w 60"/>
                  <a:gd name="T65" fmla="*/ 92 h 94"/>
                  <a:gd name="T66" fmla="*/ 8 w 60"/>
                  <a:gd name="T67" fmla="*/ 94 h 94"/>
                  <a:gd name="T68" fmla="*/ 10 w 60"/>
                  <a:gd name="T69" fmla="*/ 94 h 94"/>
                  <a:gd name="T70" fmla="*/ 14 w 60"/>
                  <a:gd name="T71" fmla="*/ 90 h 94"/>
                  <a:gd name="T72" fmla="*/ 16 w 60"/>
                  <a:gd name="T73" fmla="*/ 84 h 94"/>
                  <a:gd name="T74" fmla="*/ 20 w 60"/>
                  <a:gd name="T75" fmla="*/ 84 h 94"/>
                  <a:gd name="T76" fmla="*/ 28 w 60"/>
                  <a:gd name="T77" fmla="*/ 74 h 94"/>
                  <a:gd name="T78" fmla="*/ 34 w 60"/>
                  <a:gd name="T79" fmla="*/ 70 h 94"/>
                  <a:gd name="T80" fmla="*/ 44 w 60"/>
                  <a:gd name="T81" fmla="*/ 60 h 94"/>
                  <a:gd name="T82" fmla="*/ 46 w 60"/>
                  <a:gd name="T83" fmla="*/ 58 h 94"/>
                  <a:gd name="T84" fmla="*/ 46 w 60"/>
                  <a:gd name="T85" fmla="*/ 54 h 94"/>
                  <a:gd name="T86" fmla="*/ 44 w 60"/>
                  <a:gd name="T87" fmla="*/ 52 h 94"/>
                  <a:gd name="T88" fmla="*/ 36 w 60"/>
                  <a:gd name="T89" fmla="*/ 52 h 94"/>
                  <a:gd name="T90" fmla="*/ 46 w 60"/>
                  <a:gd name="T91" fmla="*/ 44 h 94"/>
                  <a:gd name="T92" fmla="*/ 48 w 60"/>
                  <a:gd name="T93" fmla="*/ 40 h 94"/>
                  <a:gd name="T94" fmla="*/ 52 w 60"/>
                  <a:gd name="T95" fmla="*/ 38 h 94"/>
                  <a:gd name="T96" fmla="*/ 60 w 60"/>
                  <a:gd name="T97" fmla="*/ 18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0" h="94">
                    <a:moveTo>
                      <a:pt x="60" y="18"/>
                    </a:moveTo>
                    <a:lnTo>
                      <a:pt x="60" y="8"/>
                    </a:lnTo>
                    <a:lnTo>
                      <a:pt x="58" y="2"/>
                    </a:lnTo>
                    <a:lnTo>
                      <a:pt x="58" y="0"/>
                    </a:lnTo>
                    <a:lnTo>
                      <a:pt x="54" y="2"/>
                    </a:lnTo>
                    <a:lnTo>
                      <a:pt x="38" y="14"/>
                    </a:lnTo>
                    <a:lnTo>
                      <a:pt x="24" y="22"/>
                    </a:lnTo>
                    <a:lnTo>
                      <a:pt x="22" y="26"/>
                    </a:lnTo>
                    <a:lnTo>
                      <a:pt x="22" y="2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0" y="38"/>
                    </a:lnTo>
                    <a:lnTo>
                      <a:pt x="14" y="40"/>
                    </a:lnTo>
                    <a:lnTo>
                      <a:pt x="10" y="36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4" y="38"/>
                    </a:lnTo>
                    <a:lnTo>
                      <a:pt x="2" y="40"/>
                    </a:lnTo>
                    <a:lnTo>
                      <a:pt x="0" y="46"/>
                    </a:lnTo>
                    <a:lnTo>
                      <a:pt x="2" y="50"/>
                    </a:lnTo>
                    <a:lnTo>
                      <a:pt x="2" y="52"/>
                    </a:lnTo>
                    <a:lnTo>
                      <a:pt x="4" y="54"/>
                    </a:lnTo>
                    <a:lnTo>
                      <a:pt x="6" y="56"/>
                    </a:lnTo>
                    <a:lnTo>
                      <a:pt x="8" y="56"/>
                    </a:lnTo>
                    <a:lnTo>
                      <a:pt x="4" y="60"/>
                    </a:lnTo>
                    <a:lnTo>
                      <a:pt x="4" y="62"/>
                    </a:lnTo>
                    <a:lnTo>
                      <a:pt x="6" y="66"/>
                    </a:lnTo>
                    <a:lnTo>
                      <a:pt x="16" y="70"/>
                    </a:lnTo>
                    <a:lnTo>
                      <a:pt x="16" y="72"/>
                    </a:lnTo>
                    <a:lnTo>
                      <a:pt x="10" y="76"/>
                    </a:lnTo>
                    <a:lnTo>
                      <a:pt x="10" y="80"/>
                    </a:lnTo>
                    <a:lnTo>
                      <a:pt x="2" y="86"/>
                    </a:lnTo>
                    <a:lnTo>
                      <a:pt x="6" y="92"/>
                    </a:lnTo>
                    <a:lnTo>
                      <a:pt x="8" y="94"/>
                    </a:lnTo>
                    <a:lnTo>
                      <a:pt x="10" y="94"/>
                    </a:lnTo>
                    <a:lnTo>
                      <a:pt x="14" y="90"/>
                    </a:lnTo>
                    <a:lnTo>
                      <a:pt x="16" y="84"/>
                    </a:lnTo>
                    <a:lnTo>
                      <a:pt x="20" y="84"/>
                    </a:lnTo>
                    <a:lnTo>
                      <a:pt x="28" y="74"/>
                    </a:lnTo>
                    <a:lnTo>
                      <a:pt x="34" y="70"/>
                    </a:lnTo>
                    <a:lnTo>
                      <a:pt x="44" y="60"/>
                    </a:lnTo>
                    <a:lnTo>
                      <a:pt x="46" y="58"/>
                    </a:lnTo>
                    <a:lnTo>
                      <a:pt x="46" y="54"/>
                    </a:lnTo>
                    <a:lnTo>
                      <a:pt x="44" y="52"/>
                    </a:lnTo>
                    <a:lnTo>
                      <a:pt x="36" y="52"/>
                    </a:lnTo>
                    <a:lnTo>
                      <a:pt x="46" y="44"/>
                    </a:lnTo>
                    <a:lnTo>
                      <a:pt x="48" y="40"/>
                    </a:lnTo>
                    <a:lnTo>
                      <a:pt x="52" y="38"/>
                    </a:lnTo>
                    <a:lnTo>
                      <a:pt x="60" y="18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1" name="Freeform 4778">
                <a:extLst>
                  <a:ext uri="{FF2B5EF4-FFF2-40B4-BE49-F238E27FC236}">
                    <a16:creationId xmlns:a16="http://schemas.microsoft.com/office/drawing/2014/main" id="{882DEC2E-3D69-49DB-A881-D277F115E3AC}"/>
                  </a:ext>
                </a:extLst>
              </p:cNvPr>
              <p:cNvSpPr/>
              <p:nvPr/>
            </p:nvSpPr>
            <p:spPr bwMode="auto">
              <a:xfrm>
                <a:off x="27669080" y="15670681"/>
                <a:ext cx="1229403" cy="2320617"/>
              </a:xfrm>
              <a:custGeom>
                <a:avLst/>
                <a:gdLst>
                  <a:gd name="T0" fmla="*/ 150 w 516"/>
                  <a:gd name="T1" fmla="*/ 8 h 974"/>
                  <a:gd name="T2" fmla="*/ 86 w 516"/>
                  <a:gd name="T3" fmla="*/ 10 h 974"/>
                  <a:gd name="T4" fmla="*/ 70 w 516"/>
                  <a:gd name="T5" fmla="*/ 38 h 974"/>
                  <a:gd name="T6" fmla="*/ 52 w 516"/>
                  <a:gd name="T7" fmla="*/ 62 h 974"/>
                  <a:gd name="T8" fmla="*/ 34 w 516"/>
                  <a:gd name="T9" fmla="*/ 96 h 974"/>
                  <a:gd name="T10" fmla="*/ 28 w 516"/>
                  <a:gd name="T11" fmla="*/ 138 h 974"/>
                  <a:gd name="T12" fmla="*/ 36 w 516"/>
                  <a:gd name="T13" fmla="*/ 190 h 974"/>
                  <a:gd name="T14" fmla="*/ 0 w 516"/>
                  <a:gd name="T15" fmla="*/ 238 h 974"/>
                  <a:gd name="T16" fmla="*/ 60 w 516"/>
                  <a:gd name="T17" fmla="*/ 232 h 974"/>
                  <a:gd name="T18" fmla="*/ 40 w 516"/>
                  <a:gd name="T19" fmla="*/ 292 h 974"/>
                  <a:gd name="T20" fmla="*/ 34 w 516"/>
                  <a:gd name="T21" fmla="*/ 354 h 974"/>
                  <a:gd name="T22" fmla="*/ 34 w 516"/>
                  <a:gd name="T23" fmla="*/ 400 h 974"/>
                  <a:gd name="T24" fmla="*/ 50 w 516"/>
                  <a:gd name="T25" fmla="*/ 318 h 974"/>
                  <a:gd name="T26" fmla="*/ 60 w 516"/>
                  <a:gd name="T27" fmla="*/ 334 h 974"/>
                  <a:gd name="T28" fmla="*/ 84 w 516"/>
                  <a:gd name="T29" fmla="*/ 308 h 974"/>
                  <a:gd name="T30" fmla="*/ 86 w 516"/>
                  <a:gd name="T31" fmla="*/ 330 h 974"/>
                  <a:gd name="T32" fmla="*/ 88 w 516"/>
                  <a:gd name="T33" fmla="*/ 396 h 974"/>
                  <a:gd name="T34" fmla="*/ 80 w 516"/>
                  <a:gd name="T35" fmla="*/ 472 h 974"/>
                  <a:gd name="T36" fmla="*/ 124 w 516"/>
                  <a:gd name="T37" fmla="*/ 454 h 974"/>
                  <a:gd name="T38" fmla="*/ 154 w 516"/>
                  <a:gd name="T39" fmla="*/ 452 h 974"/>
                  <a:gd name="T40" fmla="*/ 174 w 516"/>
                  <a:gd name="T41" fmla="*/ 462 h 974"/>
                  <a:gd name="T42" fmla="*/ 206 w 516"/>
                  <a:gd name="T43" fmla="*/ 530 h 974"/>
                  <a:gd name="T44" fmla="*/ 206 w 516"/>
                  <a:gd name="T45" fmla="*/ 578 h 974"/>
                  <a:gd name="T46" fmla="*/ 220 w 516"/>
                  <a:gd name="T47" fmla="*/ 624 h 974"/>
                  <a:gd name="T48" fmla="*/ 178 w 516"/>
                  <a:gd name="T49" fmla="*/ 622 h 974"/>
                  <a:gd name="T50" fmla="*/ 116 w 516"/>
                  <a:gd name="T51" fmla="*/ 654 h 974"/>
                  <a:gd name="T52" fmla="*/ 116 w 516"/>
                  <a:gd name="T53" fmla="*/ 672 h 974"/>
                  <a:gd name="T54" fmla="*/ 134 w 516"/>
                  <a:gd name="T55" fmla="*/ 702 h 974"/>
                  <a:gd name="T56" fmla="*/ 104 w 516"/>
                  <a:gd name="T57" fmla="*/ 752 h 974"/>
                  <a:gd name="T58" fmla="*/ 66 w 516"/>
                  <a:gd name="T59" fmla="*/ 800 h 974"/>
                  <a:gd name="T60" fmla="*/ 134 w 516"/>
                  <a:gd name="T61" fmla="*/ 804 h 974"/>
                  <a:gd name="T62" fmla="*/ 168 w 516"/>
                  <a:gd name="T63" fmla="*/ 830 h 974"/>
                  <a:gd name="T64" fmla="*/ 242 w 516"/>
                  <a:gd name="T65" fmla="*/ 796 h 974"/>
                  <a:gd name="T66" fmla="*/ 180 w 516"/>
                  <a:gd name="T67" fmla="*/ 852 h 974"/>
                  <a:gd name="T68" fmla="*/ 104 w 516"/>
                  <a:gd name="T69" fmla="*/ 892 h 974"/>
                  <a:gd name="T70" fmla="*/ 52 w 516"/>
                  <a:gd name="T71" fmla="*/ 952 h 974"/>
                  <a:gd name="T72" fmla="*/ 60 w 516"/>
                  <a:gd name="T73" fmla="*/ 974 h 974"/>
                  <a:gd name="T74" fmla="*/ 120 w 516"/>
                  <a:gd name="T75" fmla="*/ 940 h 974"/>
                  <a:gd name="T76" fmla="*/ 166 w 516"/>
                  <a:gd name="T77" fmla="*/ 944 h 974"/>
                  <a:gd name="T78" fmla="*/ 236 w 516"/>
                  <a:gd name="T79" fmla="*/ 912 h 974"/>
                  <a:gd name="T80" fmla="*/ 268 w 516"/>
                  <a:gd name="T81" fmla="*/ 902 h 974"/>
                  <a:gd name="T82" fmla="*/ 328 w 516"/>
                  <a:gd name="T83" fmla="*/ 890 h 974"/>
                  <a:gd name="T84" fmla="*/ 430 w 516"/>
                  <a:gd name="T85" fmla="*/ 892 h 974"/>
                  <a:gd name="T86" fmla="*/ 494 w 516"/>
                  <a:gd name="T87" fmla="*/ 854 h 974"/>
                  <a:gd name="T88" fmla="*/ 444 w 516"/>
                  <a:gd name="T89" fmla="*/ 830 h 974"/>
                  <a:gd name="T90" fmla="*/ 460 w 516"/>
                  <a:gd name="T91" fmla="*/ 814 h 974"/>
                  <a:gd name="T92" fmla="*/ 486 w 516"/>
                  <a:gd name="T93" fmla="*/ 778 h 974"/>
                  <a:gd name="T94" fmla="*/ 508 w 516"/>
                  <a:gd name="T95" fmla="*/ 750 h 974"/>
                  <a:gd name="T96" fmla="*/ 486 w 516"/>
                  <a:gd name="T97" fmla="*/ 668 h 974"/>
                  <a:gd name="T98" fmla="*/ 428 w 516"/>
                  <a:gd name="T99" fmla="*/ 680 h 974"/>
                  <a:gd name="T100" fmla="*/ 420 w 516"/>
                  <a:gd name="T101" fmla="*/ 624 h 974"/>
                  <a:gd name="T102" fmla="*/ 390 w 516"/>
                  <a:gd name="T103" fmla="*/ 586 h 974"/>
                  <a:gd name="T104" fmla="*/ 392 w 516"/>
                  <a:gd name="T105" fmla="*/ 556 h 974"/>
                  <a:gd name="T106" fmla="*/ 352 w 516"/>
                  <a:gd name="T107" fmla="*/ 490 h 974"/>
                  <a:gd name="T108" fmla="*/ 288 w 516"/>
                  <a:gd name="T109" fmla="*/ 366 h 974"/>
                  <a:gd name="T110" fmla="*/ 166 w 516"/>
                  <a:gd name="T111" fmla="*/ 320 h 974"/>
                  <a:gd name="T112" fmla="*/ 206 w 516"/>
                  <a:gd name="T113" fmla="*/ 298 h 974"/>
                  <a:gd name="T114" fmla="*/ 192 w 516"/>
                  <a:gd name="T115" fmla="*/ 276 h 974"/>
                  <a:gd name="T116" fmla="*/ 254 w 516"/>
                  <a:gd name="T117" fmla="*/ 218 h 974"/>
                  <a:gd name="T118" fmla="*/ 286 w 516"/>
                  <a:gd name="T119" fmla="*/ 142 h 974"/>
                  <a:gd name="T120" fmla="*/ 200 w 516"/>
                  <a:gd name="T121" fmla="*/ 120 h 974"/>
                  <a:gd name="T122" fmla="*/ 148 w 516"/>
                  <a:gd name="T123" fmla="*/ 106 h 974"/>
                  <a:gd name="T124" fmla="*/ 192 w 516"/>
                  <a:gd name="T125" fmla="*/ 40 h 9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16" h="974">
                    <a:moveTo>
                      <a:pt x="198" y="16"/>
                    </a:moveTo>
                    <a:lnTo>
                      <a:pt x="202" y="6"/>
                    </a:lnTo>
                    <a:lnTo>
                      <a:pt x="202" y="4"/>
                    </a:lnTo>
                    <a:lnTo>
                      <a:pt x="202" y="2"/>
                    </a:lnTo>
                    <a:lnTo>
                      <a:pt x="188" y="0"/>
                    </a:lnTo>
                    <a:lnTo>
                      <a:pt x="176" y="4"/>
                    </a:lnTo>
                    <a:lnTo>
                      <a:pt x="162" y="4"/>
                    </a:lnTo>
                    <a:lnTo>
                      <a:pt x="150" y="8"/>
                    </a:lnTo>
                    <a:lnTo>
                      <a:pt x="128" y="12"/>
                    </a:lnTo>
                    <a:lnTo>
                      <a:pt x="112" y="16"/>
                    </a:lnTo>
                    <a:lnTo>
                      <a:pt x="108" y="10"/>
                    </a:lnTo>
                    <a:lnTo>
                      <a:pt x="104" y="10"/>
                    </a:lnTo>
                    <a:lnTo>
                      <a:pt x="96" y="16"/>
                    </a:lnTo>
                    <a:lnTo>
                      <a:pt x="92" y="16"/>
                    </a:lnTo>
                    <a:lnTo>
                      <a:pt x="90" y="12"/>
                    </a:lnTo>
                    <a:lnTo>
                      <a:pt x="86" y="10"/>
                    </a:lnTo>
                    <a:lnTo>
                      <a:pt x="80" y="8"/>
                    </a:lnTo>
                    <a:lnTo>
                      <a:pt x="76" y="8"/>
                    </a:lnTo>
                    <a:lnTo>
                      <a:pt x="74" y="10"/>
                    </a:lnTo>
                    <a:lnTo>
                      <a:pt x="70" y="16"/>
                    </a:lnTo>
                    <a:lnTo>
                      <a:pt x="70" y="20"/>
                    </a:lnTo>
                    <a:lnTo>
                      <a:pt x="70" y="28"/>
                    </a:lnTo>
                    <a:lnTo>
                      <a:pt x="68" y="32"/>
                    </a:lnTo>
                    <a:lnTo>
                      <a:pt x="70" y="38"/>
                    </a:lnTo>
                    <a:lnTo>
                      <a:pt x="72" y="44"/>
                    </a:lnTo>
                    <a:lnTo>
                      <a:pt x="74" y="48"/>
                    </a:lnTo>
                    <a:lnTo>
                      <a:pt x="70" y="50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0" y="54"/>
                    </a:lnTo>
                    <a:lnTo>
                      <a:pt x="52" y="58"/>
                    </a:lnTo>
                    <a:lnTo>
                      <a:pt x="52" y="62"/>
                    </a:lnTo>
                    <a:lnTo>
                      <a:pt x="48" y="72"/>
                    </a:lnTo>
                    <a:lnTo>
                      <a:pt x="48" y="76"/>
                    </a:lnTo>
                    <a:lnTo>
                      <a:pt x="62" y="92"/>
                    </a:lnTo>
                    <a:lnTo>
                      <a:pt x="64" y="96"/>
                    </a:lnTo>
                    <a:lnTo>
                      <a:pt x="56" y="92"/>
                    </a:lnTo>
                    <a:lnTo>
                      <a:pt x="54" y="92"/>
                    </a:lnTo>
                    <a:lnTo>
                      <a:pt x="52" y="96"/>
                    </a:lnTo>
                    <a:lnTo>
                      <a:pt x="34" y="96"/>
                    </a:lnTo>
                    <a:lnTo>
                      <a:pt x="30" y="102"/>
                    </a:lnTo>
                    <a:lnTo>
                      <a:pt x="28" y="108"/>
                    </a:lnTo>
                    <a:lnTo>
                      <a:pt x="26" y="122"/>
                    </a:lnTo>
                    <a:lnTo>
                      <a:pt x="26" y="124"/>
                    </a:lnTo>
                    <a:lnTo>
                      <a:pt x="28" y="130"/>
                    </a:lnTo>
                    <a:lnTo>
                      <a:pt x="30" y="134"/>
                    </a:lnTo>
                    <a:lnTo>
                      <a:pt x="36" y="136"/>
                    </a:lnTo>
                    <a:lnTo>
                      <a:pt x="28" y="138"/>
                    </a:lnTo>
                    <a:lnTo>
                      <a:pt x="24" y="142"/>
                    </a:lnTo>
                    <a:lnTo>
                      <a:pt x="22" y="146"/>
                    </a:lnTo>
                    <a:lnTo>
                      <a:pt x="20" y="150"/>
                    </a:lnTo>
                    <a:lnTo>
                      <a:pt x="22" y="156"/>
                    </a:lnTo>
                    <a:lnTo>
                      <a:pt x="32" y="162"/>
                    </a:lnTo>
                    <a:lnTo>
                      <a:pt x="32" y="168"/>
                    </a:lnTo>
                    <a:lnTo>
                      <a:pt x="38" y="174"/>
                    </a:lnTo>
                    <a:lnTo>
                      <a:pt x="36" y="190"/>
                    </a:lnTo>
                    <a:lnTo>
                      <a:pt x="26" y="208"/>
                    </a:lnTo>
                    <a:lnTo>
                      <a:pt x="18" y="212"/>
                    </a:lnTo>
                    <a:lnTo>
                      <a:pt x="18" y="214"/>
                    </a:lnTo>
                    <a:lnTo>
                      <a:pt x="26" y="220"/>
                    </a:lnTo>
                    <a:lnTo>
                      <a:pt x="16" y="228"/>
                    </a:lnTo>
                    <a:lnTo>
                      <a:pt x="6" y="230"/>
                    </a:lnTo>
                    <a:lnTo>
                      <a:pt x="0" y="236"/>
                    </a:lnTo>
                    <a:lnTo>
                      <a:pt x="0" y="238"/>
                    </a:lnTo>
                    <a:lnTo>
                      <a:pt x="6" y="240"/>
                    </a:lnTo>
                    <a:lnTo>
                      <a:pt x="10" y="240"/>
                    </a:lnTo>
                    <a:lnTo>
                      <a:pt x="14" y="250"/>
                    </a:lnTo>
                    <a:lnTo>
                      <a:pt x="18" y="256"/>
                    </a:lnTo>
                    <a:lnTo>
                      <a:pt x="24" y="258"/>
                    </a:lnTo>
                    <a:lnTo>
                      <a:pt x="32" y="258"/>
                    </a:lnTo>
                    <a:lnTo>
                      <a:pt x="38" y="254"/>
                    </a:lnTo>
                    <a:lnTo>
                      <a:pt x="60" y="232"/>
                    </a:lnTo>
                    <a:lnTo>
                      <a:pt x="62" y="232"/>
                    </a:lnTo>
                    <a:lnTo>
                      <a:pt x="58" y="240"/>
                    </a:lnTo>
                    <a:lnTo>
                      <a:pt x="54" y="248"/>
                    </a:lnTo>
                    <a:lnTo>
                      <a:pt x="52" y="256"/>
                    </a:lnTo>
                    <a:lnTo>
                      <a:pt x="48" y="260"/>
                    </a:lnTo>
                    <a:lnTo>
                      <a:pt x="46" y="272"/>
                    </a:lnTo>
                    <a:lnTo>
                      <a:pt x="42" y="280"/>
                    </a:lnTo>
                    <a:lnTo>
                      <a:pt x="40" y="292"/>
                    </a:lnTo>
                    <a:lnTo>
                      <a:pt x="38" y="306"/>
                    </a:lnTo>
                    <a:lnTo>
                      <a:pt x="34" y="314"/>
                    </a:lnTo>
                    <a:lnTo>
                      <a:pt x="34" y="344"/>
                    </a:lnTo>
                    <a:lnTo>
                      <a:pt x="34" y="344"/>
                    </a:lnTo>
                    <a:lnTo>
                      <a:pt x="36" y="346"/>
                    </a:lnTo>
                    <a:lnTo>
                      <a:pt x="42" y="344"/>
                    </a:lnTo>
                    <a:lnTo>
                      <a:pt x="42" y="344"/>
                    </a:lnTo>
                    <a:lnTo>
                      <a:pt x="34" y="354"/>
                    </a:lnTo>
                    <a:lnTo>
                      <a:pt x="32" y="360"/>
                    </a:lnTo>
                    <a:lnTo>
                      <a:pt x="30" y="366"/>
                    </a:lnTo>
                    <a:lnTo>
                      <a:pt x="24" y="386"/>
                    </a:lnTo>
                    <a:lnTo>
                      <a:pt x="24" y="392"/>
                    </a:lnTo>
                    <a:lnTo>
                      <a:pt x="24" y="396"/>
                    </a:lnTo>
                    <a:lnTo>
                      <a:pt x="26" y="398"/>
                    </a:lnTo>
                    <a:lnTo>
                      <a:pt x="32" y="400"/>
                    </a:lnTo>
                    <a:lnTo>
                      <a:pt x="34" y="400"/>
                    </a:lnTo>
                    <a:lnTo>
                      <a:pt x="36" y="396"/>
                    </a:lnTo>
                    <a:lnTo>
                      <a:pt x="38" y="392"/>
                    </a:lnTo>
                    <a:lnTo>
                      <a:pt x="50" y="348"/>
                    </a:lnTo>
                    <a:lnTo>
                      <a:pt x="50" y="342"/>
                    </a:lnTo>
                    <a:lnTo>
                      <a:pt x="46" y="326"/>
                    </a:lnTo>
                    <a:lnTo>
                      <a:pt x="46" y="324"/>
                    </a:lnTo>
                    <a:lnTo>
                      <a:pt x="48" y="322"/>
                    </a:lnTo>
                    <a:lnTo>
                      <a:pt x="50" y="318"/>
                    </a:lnTo>
                    <a:lnTo>
                      <a:pt x="56" y="310"/>
                    </a:lnTo>
                    <a:lnTo>
                      <a:pt x="68" y="298"/>
                    </a:lnTo>
                    <a:lnTo>
                      <a:pt x="74" y="294"/>
                    </a:lnTo>
                    <a:lnTo>
                      <a:pt x="62" y="308"/>
                    </a:lnTo>
                    <a:lnTo>
                      <a:pt x="60" y="314"/>
                    </a:lnTo>
                    <a:lnTo>
                      <a:pt x="58" y="322"/>
                    </a:lnTo>
                    <a:lnTo>
                      <a:pt x="58" y="330"/>
                    </a:lnTo>
                    <a:lnTo>
                      <a:pt x="60" y="334"/>
                    </a:lnTo>
                    <a:lnTo>
                      <a:pt x="60" y="334"/>
                    </a:lnTo>
                    <a:lnTo>
                      <a:pt x="62" y="330"/>
                    </a:lnTo>
                    <a:lnTo>
                      <a:pt x="66" y="328"/>
                    </a:lnTo>
                    <a:lnTo>
                      <a:pt x="66" y="328"/>
                    </a:lnTo>
                    <a:lnTo>
                      <a:pt x="68" y="322"/>
                    </a:lnTo>
                    <a:lnTo>
                      <a:pt x="76" y="320"/>
                    </a:lnTo>
                    <a:lnTo>
                      <a:pt x="80" y="318"/>
                    </a:lnTo>
                    <a:lnTo>
                      <a:pt x="84" y="308"/>
                    </a:lnTo>
                    <a:lnTo>
                      <a:pt x="86" y="304"/>
                    </a:lnTo>
                    <a:lnTo>
                      <a:pt x="88" y="302"/>
                    </a:lnTo>
                    <a:lnTo>
                      <a:pt x="84" y="312"/>
                    </a:lnTo>
                    <a:lnTo>
                      <a:pt x="84" y="316"/>
                    </a:lnTo>
                    <a:lnTo>
                      <a:pt x="96" y="326"/>
                    </a:lnTo>
                    <a:lnTo>
                      <a:pt x="102" y="328"/>
                    </a:lnTo>
                    <a:lnTo>
                      <a:pt x="88" y="328"/>
                    </a:lnTo>
                    <a:lnTo>
                      <a:pt x="86" y="330"/>
                    </a:lnTo>
                    <a:lnTo>
                      <a:pt x="82" y="336"/>
                    </a:lnTo>
                    <a:lnTo>
                      <a:pt x="82" y="346"/>
                    </a:lnTo>
                    <a:lnTo>
                      <a:pt x="82" y="356"/>
                    </a:lnTo>
                    <a:lnTo>
                      <a:pt x="92" y="368"/>
                    </a:lnTo>
                    <a:lnTo>
                      <a:pt x="96" y="374"/>
                    </a:lnTo>
                    <a:lnTo>
                      <a:pt x="96" y="380"/>
                    </a:lnTo>
                    <a:lnTo>
                      <a:pt x="92" y="388"/>
                    </a:lnTo>
                    <a:lnTo>
                      <a:pt x="88" y="396"/>
                    </a:lnTo>
                    <a:lnTo>
                      <a:pt x="76" y="420"/>
                    </a:lnTo>
                    <a:lnTo>
                      <a:pt x="70" y="438"/>
                    </a:lnTo>
                    <a:lnTo>
                      <a:pt x="66" y="436"/>
                    </a:lnTo>
                    <a:lnTo>
                      <a:pt x="64" y="438"/>
                    </a:lnTo>
                    <a:lnTo>
                      <a:pt x="64" y="446"/>
                    </a:lnTo>
                    <a:lnTo>
                      <a:pt x="66" y="454"/>
                    </a:lnTo>
                    <a:lnTo>
                      <a:pt x="72" y="464"/>
                    </a:lnTo>
                    <a:lnTo>
                      <a:pt x="80" y="472"/>
                    </a:lnTo>
                    <a:lnTo>
                      <a:pt x="82" y="464"/>
                    </a:lnTo>
                    <a:lnTo>
                      <a:pt x="84" y="456"/>
                    </a:lnTo>
                    <a:lnTo>
                      <a:pt x="86" y="454"/>
                    </a:lnTo>
                    <a:lnTo>
                      <a:pt x="98" y="462"/>
                    </a:lnTo>
                    <a:lnTo>
                      <a:pt x="106" y="464"/>
                    </a:lnTo>
                    <a:lnTo>
                      <a:pt x="114" y="462"/>
                    </a:lnTo>
                    <a:lnTo>
                      <a:pt x="120" y="456"/>
                    </a:lnTo>
                    <a:lnTo>
                      <a:pt x="124" y="454"/>
                    </a:lnTo>
                    <a:lnTo>
                      <a:pt x="126" y="456"/>
                    </a:lnTo>
                    <a:lnTo>
                      <a:pt x="128" y="460"/>
                    </a:lnTo>
                    <a:lnTo>
                      <a:pt x="132" y="462"/>
                    </a:lnTo>
                    <a:lnTo>
                      <a:pt x="136" y="462"/>
                    </a:lnTo>
                    <a:lnTo>
                      <a:pt x="142" y="462"/>
                    </a:lnTo>
                    <a:lnTo>
                      <a:pt x="146" y="460"/>
                    </a:lnTo>
                    <a:lnTo>
                      <a:pt x="150" y="456"/>
                    </a:lnTo>
                    <a:lnTo>
                      <a:pt x="154" y="452"/>
                    </a:lnTo>
                    <a:lnTo>
                      <a:pt x="158" y="452"/>
                    </a:lnTo>
                    <a:lnTo>
                      <a:pt x="162" y="450"/>
                    </a:lnTo>
                    <a:lnTo>
                      <a:pt x="170" y="442"/>
                    </a:lnTo>
                    <a:lnTo>
                      <a:pt x="178" y="442"/>
                    </a:lnTo>
                    <a:lnTo>
                      <a:pt x="200" y="442"/>
                    </a:lnTo>
                    <a:lnTo>
                      <a:pt x="204" y="442"/>
                    </a:lnTo>
                    <a:lnTo>
                      <a:pt x="188" y="448"/>
                    </a:lnTo>
                    <a:lnTo>
                      <a:pt x="174" y="462"/>
                    </a:lnTo>
                    <a:lnTo>
                      <a:pt x="166" y="486"/>
                    </a:lnTo>
                    <a:lnTo>
                      <a:pt x="168" y="498"/>
                    </a:lnTo>
                    <a:lnTo>
                      <a:pt x="178" y="516"/>
                    </a:lnTo>
                    <a:lnTo>
                      <a:pt x="184" y="524"/>
                    </a:lnTo>
                    <a:lnTo>
                      <a:pt x="194" y="536"/>
                    </a:lnTo>
                    <a:lnTo>
                      <a:pt x="198" y="536"/>
                    </a:lnTo>
                    <a:lnTo>
                      <a:pt x="202" y="532"/>
                    </a:lnTo>
                    <a:lnTo>
                      <a:pt x="206" y="530"/>
                    </a:lnTo>
                    <a:lnTo>
                      <a:pt x="214" y="530"/>
                    </a:lnTo>
                    <a:lnTo>
                      <a:pt x="216" y="534"/>
                    </a:lnTo>
                    <a:lnTo>
                      <a:pt x="214" y="546"/>
                    </a:lnTo>
                    <a:lnTo>
                      <a:pt x="212" y="554"/>
                    </a:lnTo>
                    <a:lnTo>
                      <a:pt x="204" y="560"/>
                    </a:lnTo>
                    <a:lnTo>
                      <a:pt x="202" y="568"/>
                    </a:lnTo>
                    <a:lnTo>
                      <a:pt x="204" y="576"/>
                    </a:lnTo>
                    <a:lnTo>
                      <a:pt x="206" y="578"/>
                    </a:lnTo>
                    <a:lnTo>
                      <a:pt x="210" y="580"/>
                    </a:lnTo>
                    <a:lnTo>
                      <a:pt x="206" y="588"/>
                    </a:lnTo>
                    <a:lnTo>
                      <a:pt x="202" y="596"/>
                    </a:lnTo>
                    <a:lnTo>
                      <a:pt x="202" y="604"/>
                    </a:lnTo>
                    <a:lnTo>
                      <a:pt x="208" y="618"/>
                    </a:lnTo>
                    <a:lnTo>
                      <a:pt x="212" y="622"/>
                    </a:lnTo>
                    <a:lnTo>
                      <a:pt x="216" y="624"/>
                    </a:lnTo>
                    <a:lnTo>
                      <a:pt x="220" y="624"/>
                    </a:lnTo>
                    <a:lnTo>
                      <a:pt x="222" y="626"/>
                    </a:lnTo>
                    <a:lnTo>
                      <a:pt x="214" y="628"/>
                    </a:lnTo>
                    <a:lnTo>
                      <a:pt x="210" y="626"/>
                    </a:lnTo>
                    <a:lnTo>
                      <a:pt x="202" y="614"/>
                    </a:lnTo>
                    <a:lnTo>
                      <a:pt x="194" y="618"/>
                    </a:lnTo>
                    <a:lnTo>
                      <a:pt x="198" y="632"/>
                    </a:lnTo>
                    <a:lnTo>
                      <a:pt x="184" y="622"/>
                    </a:lnTo>
                    <a:lnTo>
                      <a:pt x="178" y="622"/>
                    </a:lnTo>
                    <a:lnTo>
                      <a:pt x="170" y="626"/>
                    </a:lnTo>
                    <a:lnTo>
                      <a:pt x="164" y="628"/>
                    </a:lnTo>
                    <a:lnTo>
                      <a:pt x="156" y="626"/>
                    </a:lnTo>
                    <a:lnTo>
                      <a:pt x="152" y="628"/>
                    </a:lnTo>
                    <a:lnTo>
                      <a:pt x="132" y="636"/>
                    </a:lnTo>
                    <a:lnTo>
                      <a:pt x="122" y="644"/>
                    </a:lnTo>
                    <a:lnTo>
                      <a:pt x="118" y="648"/>
                    </a:lnTo>
                    <a:lnTo>
                      <a:pt x="116" y="654"/>
                    </a:lnTo>
                    <a:lnTo>
                      <a:pt x="114" y="658"/>
                    </a:lnTo>
                    <a:lnTo>
                      <a:pt x="106" y="664"/>
                    </a:lnTo>
                    <a:lnTo>
                      <a:pt x="98" y="672"/>
                    </a:lnTo>
                    <a:lnTo>
                      <a:pt x="96" y="678"/>
                    </a:lnTo>
                    <a:lnTo>
                      <a:pt x="96" y="682"/>
                    </a:lnTo>
                    <a:lnTo>
                      <a:pt x="102" y="680"/>
                    </a:lnTo>
                    <a:lnTo>
                      <a:pt x="108" y="676"/>
                    </a:lnTo>
                    <a:lnTo>
                      <a:pt x="116" y="672"/>
                    </a:lnTo>
                    <a:lnTo>
                      <a:pt x="124" y="670"/>
                    </a:lnTo>
                    <a:lnTo>
                      <a:pt x="134" y="670"/>
                    </a:lnTo>
                    <a:lnTo>
                      <a:pt x="132" y="674"/>
                    </a:lnTo>
                    <a:lnTo>
                      <a:pt x="132" y="680"/>
                    </a:lnTo>
                    <a:lnTo>
                      <a:pt x="136" y="686"/>
                    </a:lnTo>
                    <a:lnTo>
                      <a:pt x="138" y="692"/>
                    </a:lnTo>
                    <a:lnTo>
                      <a:pt x="136" y="698"/>
                    </a:lnTo>
                    <a:lnTo>
                      <a:pt x="134" y="702"/>
                    </a:lnTo>
                    <a:lnTo>
                      <a:pt x="136" y="708"/>
                    </a:lnTo>
                    <a:lnTo>
                      <a:pt x="142" y="710"/>
                    </a:lnTo>
                    <a:lnTo>
                      <a:pt x="136" y="718"/>
                    </a:lnTo>
                    <a:lnTo>
                      <a:pt x="134" y="726"/>
                    </a:lnTo>
                    <a:lnTo>
                      <a:pt x="130" y="734"/>
                    </a:lnTo>
                    <a:lnTo>
                      <a:pt x="126" y="738"/>
                    </a:lnTo>
                    <a:lnTo>
                      <a:pt x="114" y="746"/>
                    </a:lnTo>
                    <a:lnTo>
                      <a:pt x="104" y="752"/>
                    </a:lnTo>
                    <a:lnTo>
                      <a:pt x="82" y="764"/>
                    </a:lnTo>
                    <a:lnTo>
                      <a:pt x="68" y="768"/>
                    </a:lnTo>
                    <a:lnTo>
                      <a:pt x="62" y="774"/>
                    </a:lnTo>
                    <a:lnTo>
                      <a:pt x="58" y="780"/>
                    </a:lnTo>
                    <a:lnTo>
                      <a:pt x="62" y="782"/>
                    </a:lnTo>
                    <a:lnTo>
                      <a:pt x="64" y="788"/>
                    </a:lnTo>
                    <a:lnTo>
                      <a:pt x="64" y="796"/>
                    </a:lnTo>
                    <a:lnTo>
                      <a:pt x="66" y="800"/>
                    </a:lnTo>
                    <a:lnTo>
                      <a:pt x="80" y="808"/>
                    </a:lnTo>
                    <a:lnTo>
                      <a:pt x="92" y="802"/>
                    </a:lnTo>
                    <a:lnTo>
                      <a:pt x="100" y="796"/>
                    </a:lnTo>
                    <a:lnTo>
                      <a:pt x="106" y="794"/>
                    </a:lnTo>
                    <a:lnTo>
                      <a:pt x="114" y="796"/>
                    </a:lnTo>
                    <a:lnTo>
                      <a:pt x="118" y="800"/>
                    </a:lnTo>
                    <a:lnTo>
                      <a:pt x="122" y="802"/>
                    </a:lnTo>
                    <a:lnTo>
                      <a:pt x="134" y="804"/>
                    </a:lnTo>
                    <a:lnTo>
                      <a:pt x="128" y="808"/>
                    </a:lnTo>
                    <a:lnTo>
                      <a:pt x="124" y="814"/>
                    </a:lnTo>
                    <a:lnTo>
                      <a:pt x="132" y="814"/>
                    </a:lnTo>
                    <a:lnTo>
                      <a:pt x="140" y="812"/>
                    </a:lnTo>
                    <a:lnTo>
                      <a:pt x="144" y="810"/>
                    </a:lnTo>
                    <a:lnTo>
                      <a:pt x="148" y="812"/>
                    </a:lnTo>
                    <a:lnTo>
                      <a:pt x="156" y="816"/>
                    </a:lnTo>
                    <a:lnTo>
                      <a:pt x="168" y="830"/>
                    </a:lnTo>
                    <a:lnTo>
                      <a:pt x="186" y="832"/>
                    </a:lnTo>
                    <a:lnTo>
                      <a:pt x="188" y="832"/>
                    </a:lnTo>
                    <a:lnTo>
                      <a:pt x="200" y="822"/>
                    </a:lnTo>
                    <a:lnTo>
                      <a:pt x="206" y="816"/>
                    </a:lnTo>
                    <a:lnTo>
                      <a:pt x="222" y="812"/>
                    </a:lnTo>
                    <a:lnTo>
                      <a:pt x="228" y="808"/>
                    </a:lnTo>
                    <a:lnTo>
                      <a:pt x="236" y="800"/>
                    </a:lnTo>
                    <a:lnTo>
                      <a:pt x="242" y="796"/>
                    </a:lnTo>
                    <a:lnTo>
                      <a:pt x="232" y="810"/>
                    </a:lnTo>
                    <a:lnTo>
                      <a:pt x="226" y="816"/>
                    </a:lnTo>
                    <a:lnTo>
                      <a:pt x="220" y="824"/>
                    </a:lnTo>
                    <a:lnTo>
                      <a:pt x="214" y="830"/>
                    </a:lnTo>
                    <a:lnTo>
                      <a:pt x="202" y="848"/>
                    </a:lnTo>
                    <a:lnTo>
                      <a:pt x="196" y="852"/>
                    </a:lnTo>
                    <a:lnTo>
                      <a:pt x="188" y="852"/>
                    </a:lnTo>
                    <a:lnTo>
                      <a:pt x="180" y="852"/>
                    </a:lnTo>
                    <a:lnTo>
                      <a:pt x="166" y="850"/>
                    </a:lnTo>
                    <a:lnTo>
                      <a:pt x="150" y="850"/>
                    </a:lnTo>
                    <a:lnTo>
                      <a:pt x="130" y="852"/>
                    </a:lnTo>
                    <a:lnTo>
                      <a:pt x="128" y="854"/>
                    </a:lnTo>
                    <a:lnTo>
                      <a:pt x="120" y="870"/>
                    </a:lnTo>
                    <a:lnTo>
                      <a:pt x="106" y="876"/>
                    </a:lnTo>
                    <a:lnTo>
                      <a:pt x="104" y="884"/>
                    </a:lnTo>
                    <a:lnTo>
                      <a:pt x="104" y="892"/>
                    </a:lnTo>
                    <a:lnTo>
                      <a:pt x="102" y="896"/>
                    </a:lnTo>
                    <a:lnTo>
                      <a:pt x="84" y="916"/>
                    </a:lnTo>
                    <a:lnTo>
                      <a:pt x="82" y="922"/>
                    </a:lnTo>
                    <a:lnTo>
                      <a:pt x="78" y="922"/>
                    </a:lnTo>
                    <a:lnTo>
                      <a:pt x="74" y="926"/>
                    </a:lnTo>
                    <a:lnTo>
                      <a:pt x="72" y="930"/>
                    </a:lnTo>
                    <a:lnTo>
                      <a:pt x="66" y="938"/>
                    </a:lnTo>
                    <a:lnTo>
                      <a:pt x="52" y="952"/>
                    </a:lnTo>
                    <a:lnTo>
                      <a:pt x="38" y="956"/>
                    </a:lnTo>
                    <a:lnTo>
                      <a:pt x="32" y="962"/>
                    </a:lnTo>
                    <a:lnTo>
                      <a:pt x="32" y="968"/>
                    </a:lnTo>
                    <a:lnTo>
                      <a:pt x="34" y="972"/>
                    </a:lnTo>
                    <a:lnTo>
                      <a:pt x="38" y="968"/>
                    </a:lnTo>
                    <a:lnTo>
                      <a:pt x="46" y="966"/>
                    </a:lnTo>
                    <a:lnTo>
                      <a:pt x="54" y="968"/>
                    </a:lnTo>
                    <a:lnTo>
                      <a:pt x="60" y="974"/>
                    </a:lnTo>
                    <a:lnTo>
                      <a:pt x="66" y="972"/>
                    </a:lnTo>
                    <a:lnTo>
                      <a:pt x="72" y="962"/>
                    </a:lnTo>
                    <a:lnTo>
                      <a:pt x="74" y="960"/>
                    </a:lnTo>
                    <a:lnTo>
                      <a:pt x="86" y="950"/>
                    </a:lnTo>
                    <a:lnTo>
                      <a:pt x="92" y="946"/>
                    </a:lnTo>
                    <a:lnTo>
                      <a:pt x="106" y="942"/>
                    </a:lnTo>
                    <a:lnTo>
                      <a:pt x="114" y="940"/>
                    </a:lnTo>
                    <a:lnTo>
                      <a:pt x="120" y="940"/>
                    </a:lnTo>
                    <a:lnTo>
                      <a:pt x="126" y="938"/>
                    </a:lnTo>
                    <a:lnTo>
                      <a:pt x="126" y="936"/>
                    </a:lnTo>
                    <a:lnTo>
                      <a:pt x="128" y="936"/>
                    </a:lnTo>
                    <a:lnTo>
                      <a:pt x="134" y="940"/>
                    </a:lnTo>
                    <a:lnTo>
                      <a:pt x="146" y="948"/>
                    </a:lnTo>
                    <a:lnTo>
                      <a:pt x="154" y="952"/>
                    </a:lnTo>
                    <a:lnTo>
                      <a:pt x="160" y="952"/>
                    </a:lnTo>
                    <a:lnTo>
                      <a:pt x="166" y="944"/>
                    </a:lnTo>
                    <a:lnTo>
                      <a:pt x="170" y="932"/>
                    </a:lnTo>
                    <a:lnTo>
                      <a:pt x="174" y="920"/>
                    </a:lnTo>
                    <a:lnTo>
                      <a:pt x="178" y="912"/>
                    </a:lnTo>
                    <a:lnTo>
                      <a:pt x="206" y="902"/>
                    </a:lnTo>
                    <a:lnTo>
                      <a:pt x="212" y="902"/>
                    </a:lnTo>
                    <a:lnTo>
                      <a:pt x="220" y="904"/>
                    </a:lnTo>
                    <a:lnTo>
                      <a:pt x="228" y="908"/>
                    </a:lnTo>
                    <a:lnTo>
                      <a:pt x="236" y="912"/>
                    </a:lnTo>
                    <a:lnTo>
                      <a:pt x="242" y="914"/>
                    </a:lnTo>
                    <a:lnTo>
                      <a:pt x="246" y="912"/>
                    </a:lnTo>
                    <a:lnTo>
                      <a:pt x="248" y="910"/>
                    </a:lnTo>
                    <a:lnTo>
                      <a:pt x="268" y="914"/>
                    </a:lnTo>
                    <a:lnTo>
                      <a:pt x="272" y="914"/>
                    </a:lnTo>
                    <a:lnTo>
                      <a:pt x="274" y="912"/>
                    </a:lnTo>
                    <a:lnTo>
                      <a:pt x="270" y="908"/>
                    </a:lnTo>
                    <a:lnTo>
                      <a:pt x="268" y="902"/>
                    </a:lnTo>
                    <a:lnTo>
                      <a:pt x="280" y="902"/>
                    </a:lnTo>
                    <a:lnTo>
                      <a:pt x="292" y="900"/>
                    </a:lnTo>
                    <a:lnTo>
                      <a:pt x="298" y="900"/>
                    </a:lnTo>
                    <a:lnTo>
                      <a:pt x="302" y="900"/>
                    </a:lnTo>
                    <a:lnTo>
                      <a:pt x="314" y="892"/>
                    </a:lnTo>
                    <a:lnTo>
                      <a:pt x="310" y="884"/>
                    </a:lnTo>
                    <a:lnTo>
                      <a:pt x="318" y="888"/>
                    </a:lnTo>
                    <a:lnTo>
                      <a:pt x="328" y="890"/>
                    </a:lnTo>
                    <a:lnTo>
                      <a:pt x="336" y="892"/>
                    </a:lnTo>
                    <a:lnTo>
                      <a:pt x="344" y="896"/>
                    </a:lnTo>
                    <a:lnTo>
                      <a:pt x="350" y="898"/>
                    </a:lnTo>
                    <a:lnTo>
                      <a:pt x="372" y="892"/>
                    </a:lnTo>
                    <a:lnTo>
                      <a:pt x="388" y="892"/>
                    </a:lnTo>
                    <a:lnTo>
                      <a:pt x="416" y="898"/>
                    </a:lnTo>
                    <a:lnTo>
                      <a:pt x="422" y="896"/>
                    </a:lnTo>
                    <a:lnTo>
                      <a:pt x="430" y="892"/>
                    </a:lnTo>
                    <a:lnTo>
                      <a:pt x="436" y="888"/>
                    </a:lnTo>
                    <a:lnTo>
                      <a:pt x="446" y="886"/>
                    </a:lnTo>
                    <a:lnTo>
                      <a:pt x="452" y="880"/>
                    </a:lnTo>
                    <a:lnTo>
                      <a:pt x="466" y="880"/>
                    </a:lnTo>
                    <a:lnTo>
                      <a:pt x="466" y="876"/>
                    </a:lnTo>
                    <a:lnTo>
                      <a:pt x="470" y="868"/>
                    </a:lnTo>
                    <a:lnTo>
                      <a:pt x="492" y="858"/>
                    </a:lnTo>
                    <a:lnTo>
                      <a:pt x="494" y="854"/>
                    </a:lnTo>
                    <a:lnTo>
                      <a:pt x="494" y="840"/>
                    </a:lnTo>
                    <a:lnTo>
                      <a:pt x="494" y="836"/>
                    </a:lnTo>
                    <a:lnTo>
                      <a:pt x="492" y="834"/>
                    </a:lnTo>
                    <a:lnTo>
                      <a:pt x="484" y="834"/>
                    </a:lnTo>
                    <a:lnTo>
                      <a:pt x="468" y="836"/>
                    </a:lnTo>
                    <a:lnTo>
                      <a:pt x="460" y="836"/>
                    </a:lnTo>
                    <a:lnTo>
                      <a:pt x="446" y="832"/>
                    </a:lnTo>
                    <a:lnTo>
                      <a:pt x="444" y="830"/>
                    </a:lnTo>
                    <a:lnTo>
                      <a:pt x="442" y="824"/>
                    </a:lnTo>
                    <a:lnTo>
                      <a:pt x="436" y="822"/>
                    </a:lnTo>
                    <a:lnTo>
                      <a:pt x="430" y="824"/>
                    </a:lnTo>
                    <a:lnTo>
                      <a:pt x="436" y="820"/>
                    </a:lnTo>
                    <a:lnTo>
                      <a:pt x="442" y="818"/>
                    </a:lnTo>
                    <a:lnTo>
                      <a:pt x="448" y="818"/>
                    </a:lnTo>
                    <a:lnTo>
                      <a:pt x="454" y="816"/>
                    </a:lnTo>
                    <a:lnTo>
                      <a:pt x="460" y="814"/>
                    </a:lnTo>
                    <a:lnTo>
                      <a:pt x="462" y="806"/>
                    </a:lnTo>
                    <a:lnTo>
                      <a:pt x="460" y="800"/>
                    </a:lnTo>
                    <a:lnTo>
                      <a:pt x="452" y="796"/>
                    </a:lnTo>
                    <a:lnTo>
                      <a:pt x="464" y="788"/>
                    </a:lnTo>
                    <a:lnTo>
                      <a:pt x="474" y="790"/>
                    </a:lnTo>
                    <a:lnTo>
                      <a:pt x="480" y="788"/>
                    </a:lnTo>
                    <a:lnTo>
                      <a:pt x="486" y="784"/>
                    </a:lnTo>
                    <a:lnTo>
                      <a:pt x="486" y="778"/>
                    </a:lnTo>
                    <a:lnTo>
                      <a:pt x="482" y="774"/>
                    </a:lnTo>
                    <a:lnTo>
                      <a:pt x="482" y="770"/>
                    </a:lnTo>
                    <a:lnTo>
                      <a:pt x="486" y="770"/>
                    </a:lnTo>
                    <a:lnTo>
                      <a:pt x="488" y="772"/>
                    </a:lnTo>
                    <a:lnTo>
                      <a:pt x="494" y="768"/>
                    </a:lnTo>
                    <a:lnTo>
                      <a:pt x="504" y="758"/>
                    </a:lnTo>
                    <a:lnTo>
                      <a:pt x="506" y="754"/>
                    </a:lnTo>
                    <a:lnTo>
                      <a:pt x="508" y="750"/>
                    </a:lnTo>
                    <a:lnTo>
                      <a:pt x="510" y="738"/>
                    </a:lnTo>
                    <a:lnTo>
                      <a:pt x="514" y="728"/>
                    </a:lnTo>
                    <a:lnTo>
                      <a:pt x="516" y="718"/>
                    </a:lnTo>
                    <a:lnTo>
                      <a:pt x="516" y="706"/>
                    </a:lnTo>
                    <a:lnTo>
                      <a:pt x="514" y="696"/>
                    </a:lnTo>
                    <a:lnTo>
                      <a:pt x="510" y="686"/>
                    </a:lnTo>
                    <a:lnTo>
                      <a:pt x="492" y="672"/>
                    </a:lnTo>
                    <a:lnTo>
                      <a:pt x="486" y="668"/>
                    </a:lnTo>
                    <a:lnTo>
                      <a:pt x="472" y="664"/>
                    </a:lnTo>
                    <a:lnTo>
                      <a:pt x="464" y="666"/>
                    </a:lnTo>
                    <a:lnTo>
                      <a:pt x="456" y="664"/>
                    </a:lnTo>
                    <a:lnTo>
                      <a:pt x="448" y="662"/>
                    </a:lnTo>
                    <a:lnTo>
                      <a:pt x="438" y="664"/>
                    </a:lnTo>
                    <a:lnTo>
                      <a:pt x="436" y="666"/>
                    </a:lnTo>
                    <a:lnTo>
                      <a:pt x="430" y="676"/>
                    </a:lnTo>
                    <a:lnTo>
                      <a:pt x="428" y="680"/>
                    </a:lnTo>
                    <a:lnTo>
                      <a:pt x="424" y="680"/>
                    </a:lnTo>
                    <a:lnTo>
                      <a:pt x="420" y="680"/>
                    </a:lnTo>
                    <a:lnTo>
                      <a:pt x="404" y="670"/>
                    </a:lnTo>
                    <a:lnTo>
                      <a:pt x="410" y="664"/>
                    </a:lnTo>
                    <a:lnTo>
                      <a:pt x="416" y="658"/>
                    </a:lnTo>
                    <a:lnTo>
                      <a:pt x="422" y="652"/>
                    </a:lnTo>
                    <a:lnTo>
                      <a:pt x="426" y="642"/>
                    </a:lnTo>
                    <a:lnTo>
                      <a:pt x="420" y="624"/>
                    </a:lnTo>
                    <a:lnTo>
                      <a:pt x="410" y="610"/>
                    </a:lnTo>
                    <a:lnTo>
                      <a:pt x="382" y="584"/>
                    </a:lnTo>
                    <a:lnTo>
                      <a:pt x="370" y="584"/>
                    </a:lnTo>
                    <a:lnTo>
                      <a:pt x="358" y="580"/>
                    </a:lnTo>
                    <a:lnTo>
                      <a:pt x="366" y="580"/>
                    </a:lnTo>
                    <a:lnTo>
                      <a:pt x="372" y="582"/>
                    </a:lnTo>
                    <a:lnTo>
                      <a:pt x="384" y="580"/>
                    </a:lnTo>
                    <a:lnTo>
                      <a:pt x="390" y="586"/>
                    </a:lnTo>
                    <a:lnTo>
                      <a:pt x="398" y="590"/>
                    </a:lnTo>
                    <a:lnTo>
                      <a:pt x="400" y="590"/>
                    </a:lnTo>
                    <a:lnTo>
                      <a:pt x="404" y="590"/>
                    </a:lnTo>
                    <a:lnTo>
                      <a:pt x="408" y="590"/>
                    </a:lnTo>
                    <a:lnTo>
                      <a:pt x="410" y="594"/>
                    </a:lnTo>
                    <a:lnTo>
                      <a:pt x="402" y="578"/>
                    </a:lnTo>
                    <a:lnTo>
                      <a:pt x="394" y="564"/>
                    </a:lnTo>
                    <a:lnTo>
                      <a:pt x="392" y="556"/>
                    </a:lnTo>
                    <a:lnTo>
                      <a:pt x="388" y="548"/>
                    </a:lnTo>
                    <a:lnTo>
                      <a:pt x="392" y="540"/>
                    </a:lnTo>
                    <a:lnTo>
                      <a:pt x="396" y="536"/>
                    </a:lnTo>
                    <a:lnTo>
                      <a:pt x="386" y="528"/>
                    </a:lnTo>
                    <a:lnTo>
                      <a:pt x="378" y="518"/>
                    </a:lnTo>
                    <a:lnTo>
                      <a:pt x="368" y="506"/>
                    </a:lnTo>
                    <a:lnTo>
                      <a:pt x="358" y="494"/>
                    </a:lnTo>
                    <a:lnTo>
                      <a:pt x="352" y="490"/>
                    </a:lnTo>
                    <a:lnTo>
                      <a:pt x="326" y="476"/>
                    </a:lnTo>
                    <a:lnTo>
                      <a:pt x="322" y="470"/>
                    </a:lnTo>
                    <a:lnTo>
                      <a:pt x="318" y="462"/>
                    </a:lnTo>
                    <a:lnTo>
                      <a:pt x="308" y="434"/>
                    </a:lnTo>
                    <a:lnTo>
                      <a:pt x="302" y="408"/>
                    </a:lnTo>
                    <a:lnTo>
                      <a:pt x="296" y="380"/>
                    </a:lnTo>
                    <a:lnTo>
                      <a:pt x="294" y="372"/>
                    </a:lnTo>
                    <a:lnTo>
                      <a:pt x="288" y="366"/>
                    </a:lnTo>
                    <a:lnTo>
                      <a:pt x="282" y="360"/>
                    </a:lnTo>
                    <a:lnTo>
                      <a:pt x="270" y="344"/>
                    </a:lnTo>
                    <a:lnTo>
                      <a:pt x="262" y="332"/>
                    </a:lnTo>
                    <a:lnTo>
                      <a:pt x="232" y="318"/>
                    </a:lnTo>
                    <a:lnTo>
                      <a:pt x="216" y="318"/>
                    </a:lnTo>
                    <a:lnTo>
                      <a:pt x="204" y="326"/>
                    </a:lnTo>
                    <a:lnTo>
                      <a:pt x="202" y="326"/>
                    </a:lnTo>
                    <a:lnTo>
                      <a:pt x="166" y="320"/>
                    </a:lnTo>
                    <a:lnTo>
                      <a:pt x="160" y="316"/>
                    </a:lnTo>
                    <a:lnTo>
                      <a:pt x="154" y="310"/>
                    </a:lnTo>
                    <a:lnTo>
                      <a:pt x="160" y="314"/>
                    </a:lnTo>
                    <a:lnTo>
                      <a:pt x="174" y="318"/>
                    </a:lnTo>
                    <a:lnTo>
                      <a:pt x="182" y="318"/>
                    </a:lnTo>
                    <a:lnTo>
                      <a:pt x="188" y="316"/>
                    </a:lnTo>
                    <a:lnTo>
                      <a:pt x="194" y="312"/>
                    </a:lnTo>
                    <a:lnTo>
                      <a:pt x="206" y="298"/>
                    </a:lnTo>
                    <a:lnTo>
                      <a:pt x="220" y="298"/>
                    </a:lnTo>
                    <a:lnTo>
                      <a:pt x="226" y="292"/>
                    </a:lnTo>
                    <a:lnTo>
                      <a:pt x="228" y="284"/>
                    </a:lnTo>
                    <a:lnTo>
                      <a:pt x="212" y="274"/>
                    </a:lnTo>
                    <a:lnTo>
                      <a:pt x="200" y="276"/>
                    </a:lnTo>
                    <a:lnTo>
                      <a:pt x="192" y="278"/>
                    </a:lnTo>
                    <a:lnTo>
                      <a:pt x="186" y="278"/>
                    </a:lnTo>
                    <a:lnTo>
                      <a:pt x="192" y="276"/>
                    </a:lnTo>
                    <a:lnTo>
                      <a:pt x="198" y="272"/>
                    </a:lnTo>
                    <a:lnTo>
                      <a:pt x="202" y="268"/>
                    </a:lnTo>
                    <a:lnTo>
                      <a:pt x="220" y="264"/>
                    </a:lnTo>
                    <a:lnTo>
                      <a:pt x="226" y="260"/>
                    </a:lnTo>
                    <a:lnTo>
                      <a:pt x="232" y="256"/>
                    </a:lnTo>
                    <a:lnTo>
                      <a:pt x="238" y="246"/>
                    </a:lnTo>
                    <a:lnTo>
                      <a:pt x="244" y="234"/>
                    </a:lnTo>
                    <a:lnTo>
                      <a:pt x="254" y="218"/>
                    </a:lnTo>
                    <a:lnTo>
                      <a:pt x="266" y="190"/>
                    </a:lnTo>
                    <a:lnTo>
                      <a:pt x="268" y="184"/>
                    </a:lnTo>
                    <a:lnTo>
                      <a:pt x="268" y="178"/>
                    </a:lnTo>
                    <a:lnTo>
                      <a:pt x="270" y="172"/>
                    </a:lnTo>
                    <a:lnTo>
                      <a:pt x="276" y="160"/>
                    </a:lnTo>
                    <a:lnTo>
                      <a:pt x="282" y="152"/>
                    </a:lnTo>
                    <a:lnTo>
                      <a:pt x="286" y="146"/>
                    </a:lnTo>
                    <a:lnTo>
                      <a:pt x="286" y="142"/>
                    </a:lnTo>
                    <a:lnTo>
                      <a:pt x="280" y="128"/>
                    </a:lnTo>
                    <a:lnTo>
                      <a:pt x="274" y="120"/>
                    </a:lnTo>
                    <a:lnTo>
                      <a:pt x="266" y="118"/>
                    </a:lnTo>
                    <a:lnTo>
                      <a:pt x="254" y="120"/>
                    </a:lnTo>
                    <a:lnTo>
                      <a:pt x="214" y="118"/>
                    </a:lnTo>
                    <a:lnTo>
                      <a:pt x="208" y="118"/>
                    </a:lnTo>
                    <a:lnTo>
                      <a:pt x="204" y="120"/>
                    </a:lnTo>
                    <a:lnTo>
                      <a:pt x="200" y="120"/>
                    </a:lnTo>
                    <a:lnTo>
                      <a:pt x="186" y="116"/>
                    </a:lnTo>
                    <a:lnTo>
                      <a:pt x="180" y="116"/>
                    </a:lnTo>
                    <a:lnTo>
                      <a:pt x="164" y="122"/>
                    </a:lnTo>
                    <a:lnTo>
                      <a:pt x="148" y="130"/>
                    </a:lnTo>
                    <a:lnTo>
                      <a:pt x="140" y="132"/>
                    </a:lnTo>
                    <a:lnTo>
                      <a:pt x="132" y="132"/>
                    </a:lnTo>
                    <a:lnTo>
                      <a:pt x="134" y="120"/>
                    </a:lnTo>
                    <a:lnTo>
                      <a:pt x="148" y="106"/>
                    </a:lnTo>
                    <a:lnTo>
                      <a:pt x="150" y="102"/>
                    </a:lnTo>
                    <a:lnTo>
                      <a:pt x="146" y="100"/>
                    </a:lnTo>
                    <a:lnTo>
                      <a:pt x="138" y="98"/>
                    </a:lnTo>
                    <a:lnTo>
                      <a:pt x="138" y="92"/>
                    </a:lnTo>
                    <a:lnTo>
                      <a:pt x="140" y="86"/>
                    </a:lnTo>
                    <a:lnTo>
                      <a:pt x="154" y="74"/>
                    </a:lnTo>
                    <a:lnTo>
                      <a:pt x="178" y="50"/>
                    </a:lnTo>
                    <a:lnTo>
                      <a:pt x="192" y="40"/>
                    </a:lnTo>
                    <a:lnTo>
                      <a:pt x="196" y="34"/>
                    </a:lnTo>
                    <a:lnTo>
                      <a:pt x="198" y="30"/>
                    </a:lnTo>
                    <a:lnTo>
                      <a:pt x="198" y="26"/>
                    </a:lnTo>
                    <a:lnTo>
                      <a:pt x="198" y="1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2" name="Freeform 4779">
                <a:extLst>
                  <a:ext uri="{FF2B5EF4-FFF2-40B4-BE49-F238E27FC236}">
                    <a16:creationId xmlns:a16="http://schemas.microsoft.com/office/drawing/2014/main" id="{775A37F4-CBCE-4C2A-9C4B-CD8EEE6B6BDC}"/>
                  </a:ext>
                </a:extLst>
              </p:cNvPr>
              <p:cNvSpPr/>
              <p:nvPr/>
            </p:nvSpPr>
            <p:spPr bwMode="auto">
              <a:xfrm>
                <a:off x="28155122" y="15613500"/>
                <a:ext cx="19061" cy="28591"/>
              </a:xfrm>
              <a:custGeom>
                <a:avLst/>
                <a:gdLst>
                  <a:gd name="T0" fmla="*/ 6 w 8"/>
                  <a:gd name="T1" fmla="*/ 12 h 12"/>
                  <a:gd name="T2" fmla="*/ 8 w 8"/>
                  <a:gd name="T3" fmla="*/ 4 h 12"/>
                  <a:gd name="T4" fmla="*/ 8 w 8"/>
                  <a:gd name="T5" fmla="*/ 2 h 12"/>
                  <a:gd name="T6" fmla="*/ 6 w 8"/>
                  <a:gd name="T7" fmla="*/ 0 h 12"/>
                  <a:gd name="T8" fmla="*/ 0 w 8"/>
                  <a:gd name="T9" fmla="*/ 2 h 12"/>
                  <a:gd name="T10" fmla="*/ 2 w 8"/>
                  <a:gd name="T11" fmla="*/ 10 h 12"/>
                  <a:gd name="T12" fmla="*/ 6 w 8"/>
                  <a:gd name="T13" fmla="*/ 12 h 12"/>
                  <a:gd name="T14" fmla="*/ 6 w 8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2">
                    <a:moveTo>
                      <a:pt x="6" y="12"/>
                    </a:moveTo>
                    <a:lnTo>
                      <a:pt x="8" y="4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2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6" y="1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3" name="Freeform 4780">
                <a:extLst>
                  <a:ext uri="{FF2B5EF4-FFF2-40B4-BE49-F238E27FC236}">
                    <a16:creationId xmlns:a16="http://schemas.microsoft.com/office/drawing/2014/main" id="{B0D99B36-1EA4-4984-83FF-E321FB0059BF}"/>
                  </a:ext>
                </a:extLst>
              </p:cNvPr>
              <p:cNvSpPr/>
              <p:nvPr/>
            </p:nvSpPr>
            <p:spPr bwMode="auto">
              <a:xfrm>
                <a:off x="28097941" y="15589673"/>
                <a:ext cx="38121" cy="38121"/>
              </a:xfrm>
              <a:custGeom>
                <a:avLst/>
                <a:gdLst>
                  <a:gd name="T0" fmla="*/ 14 w 16"/>
                  <a:gd name="T1" fmla="*/ 16 h 16"/>
                  <a:gd name="T2" fmla="*/ 16 w 16"/>
                  <a:gd name="T3" fmla="*/ 14 h 16"/>
                  <a:gd name="T4" fmla="*/ 12 w 16"/>
                  <a:gd name="T5" fmla="*/ 12 h 16"/>
                  <a:gd name="T6" fmla="*/ 10 w 16"/>
                  <a:gd name="T7" fmla="*/ 12 h 16"/>
                  <a:gd name="T8" fmla="*/ 10 w 16"/>
                  <a:gd name="T9" fmla="*/ 8 h 16"/>
                  <a:gd name="T10" fmla="*/ 8 w 16"/>
                  <a:gd name="T11" fmla="*/ 0 h 16"/>
                  <a:gd name="T12" fmla="*/ 2 w 16"/>
                  <a:gd name="T13" fmla="*/ 0 h 16"/>
                  <a:gd name="T14" fmla="*/ 0 w 16"/>
                  <a:gd name="T15" fmla="*/ 0 h 16"/>
                  <a:gd name="T16" fmla="*/ 0 w 16"/>
                  <a:gd name="T17" fmla="*/ 4 h 16"/>
                  <a:gd name="T18" fmla="*/ 2 w 16"/>
                  <a:gd name="T19" fmla="*/ 10 h 16"/>
                  <a:gd name="T20" fmla="*/ 8 w 16"/>
                  <a:gd name="T21" fmla="*/ 16 h 16"/>
                  <a:gd name="T22" fmla="*/ 10 w 16"/>
                  <a:gd name="T23" fmla="*/ 16 h 16"/>
                  <a:gd name="T24" fmla="*/ 14 w 16"/>
                  <a:gd name="T2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16">
                    <a:moveTo>
                      <a:pt x="14" y="16"/>
                    </a:moveTo>
                    <a:lnTo>
                      <a:pt x="16" y="14"/>
                    </a:lnTo>
                    <a:lnTo>
                      <a:pt x="12" y="12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4" y="1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4" name="Freeform 4781">
                <a:extLst>
                  <a:ext uri="{FF2B5EF4-FFF2-40B4-BE49-F238E27FC236}">
                    <a16:creationId xmlns:a16="http://schemas.microsoft.com/office/drawing/2014/main" id="{B0D527F9-12D5-43E3-AD7B-52B5163E7B95}"/>
                  </a:ext>
                </a:extLst>
              </p:cNvPr>
              <p:cNvSpPr/>
              <p:nvPr/>
            </p:nvSpPr>
            <p:spPr bwMode="auto">
              <a:xfrm>
                <a:off x="28102706" y="15518197"/>
                <a:ext cx="95303" cy="81007"/>
              </a:xfrm>
              <a:custGeom>
                <a:avLst/>
                <a:gdLst>
                  <a:gd name="T0" fmla="*/ 20 w 40"/>
                  <a:gd name="T1" fmla="*/ 16 h 34"/>
                  <a:gd name="T2" fmla="*/ 22 w 40"/>
                  <a:gd name="T3" fmla="*/ 12 h 34"/>
                  <a:gd name="T4" fmla="*/ 22 w 40"/>
                  <a:gd name="T5" fmla="*/ 10 h 34"/>
                  <a:gd name="T6" fmla="*/ 20 w 40"/>
                  <a:gd name="T7" fmla="*/ 6 h 34"/>
                  <a:gd name="T8" fmla="*/ 14 w 40"/>
                  <a:gd name="T9" fmla="*/ 2 h 34"/>
                  <a:gd name="T10" fmla="*/ 8 w 40"/>
                  <a:gd name="T11" fmla="*/ 0 h 34"/>
                  <a:gd name="T12" fmla="*/ 4 w 40"/>
                  <a:gd name="T13" fmla="*/ 2 h 34"/>
                  <a:gd name="T14" fmla="*/ 0 w 40"/>
                  <a:gd name="T15" fmla="*/ 10 h 34"/>
                  <a:gd name="T16" fmla="*/ 0 w 40"/>
                  <a:gd name="T17" fmla="*/ 16 h 34"/>
                  <a:gd name="T18" fmla="*/ 0 w 40"/>
                  <a:gd name="T19" fmla="*/ 20 h 34"/>
                  <a:gd name="T20" fmla="*/ 2 w 40"/>
                  <a:gd name="T21" fmla="*/ 22 h 34"/>
                  <a:gd name="T22" fmla="*/ 4 w 40"/>
                  <a:gd name="T23" fmla="*/ 24 h 34"/>
                  <a:gd name="T24" fmla="*/ 8 w 40"/>
                  <a:gd name="T25" fmla="*/ 20 h 34"/>
                  <a:gd name="T26" fmla="*/ 8 w 40"/>
                  <a:gd name="T27" fmla="*/ 20 h 34"/>
                  <a:gd name="T28" fmla="*/ 8 w 40"/>
                  <a:gd name="T29" fmla="*/ 24 h 34"/>
                  <a:gd name="T30" fmla="*/ 8 w 40"/>
                  <a:gd name="T31" fmla="*/ 26 h 34"/>
                  <a:gd name="T32" fmla="*/ 10 w 40"/>
                  <a:gd name="T33" fmla="*/ 28 h 34"/>
                  <a:gd name="T34" fmla="*/ 12 w 40"/>
                  <a:gd name="T35" fmla="*/ 30 h 34"/>
                  <a:gd name="T36" fmla="*/ 24 w 40"/>
                  <a:gd name="T37" fmla="*/ 26 h 34"/>
                  <a:gd name="T38" fmla="*/ 32 w 40"/>
                  <a:gd name="T39" fmla="*/ 34 h 34"/>
                  <a:gd name="T40" fmla="*/ 34 w 40"/>
                  <a:gd name="T41" fmla="*/ 32 h 34"/>
                  <a:gd name="T42" fmla="*/ 38 w 40"/>
                  <a:gd name="T43" fmla="*/ 30 h 34"/>
                  <a:gd name="T44" fmla="*/ 40 w 40"/>
                  <a:gd name="T45" fmla="*/ 24 h 34"/>
                  <a:gd name="T46" fmla="*/ 36 w 40"/>
                  <a:gd name="T47" fmla="*/ 22 h 34"/>
                  <a:gd name="T48" fmla="*/ 30 w 40"/>
                  <a:gd name="T49" fmla="*/ 20 h 34"/>
                  <a:gd name="T50" fmla="*/ 24 w 40"/>
                  <a:gd name="T51" fmla="*/ 18 h 34"/>
                  <a:gd name="T52" fmla="*/ 18 w 40"/>
                  <a:gd name="T53" fmla="*/ 18 h 34"/>
                  <a:gd name="T54" fmla="*/ 20 w 40"/>
                  <a:gd name="T55" fmla="*/ 1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0" h="34">
                    <a:moveTo>
                      <a:pt x="20" y="16"/>
                    </a:moveTo>
                    <a:lnTo>
                      <a:pt x="22" y="12"/>
                    </a:lnTo>
                    <a:lnTo>
                      <a:pt x="22" y="10"/>
                    </a:lnTo>
                    <a:lnTo>
                      <a:pt x="20" y="6"/>
                    </a:lnTo>
                    <a:lnTo>
                      <a:pt x="14" y="2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4"/>
                    </a:lnTo>
                    <a:lnTo>
                      <a:pt x="8" y="26"/>
                    </a:lnTo>
                    <a:lnTo>
                      <a:pt x="10" y="28"/>
                    </a:lnTo>
                    <a:lnTo>
                      <a:pt x="12" y="30"/>
                    </a:lnTo>
                    <a:lnTo>
                      <a:pt x="24" y="26"/>
                    </a:lnTo>
                    <a:lnTo>
                      <a:pt x="32" y="34"/>
                    </a:lnTo>
                    <a:lnTo>
                      <a:pt x="34" y="32"/>
                    </a:lnTo>
                    <a:lnTo>
                      <a:pt x="38" y="30"/>
                    </a:lnTo>
                    <a:lnTo>
                      <a:pt x="40" y="24"/>
                    </a:lnTo>
                    <a:lnTo>
                      <a:pt x="36" y="22"/>
                    </a:lnTo>
                    <a:lnTo>
                      <a:pt x="30" y="20"/>
                    </a:lnTo>
                    <a:lnTo>
                      <a:pt x="24" y="18"/>
                    </a:lnTo>
                    <a:lnTo>
                      <a:pt x="18" y="18"/>
                    </a:lnTo>
                    <a:lnTo>
                      <a:pt x="20" y="1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5" name="Freeform 4782">
                <a:extLst>
                  <a:ext uri="{FF2B5EF4-FFF2-40B4-BE49-F238E27FC236}">
                    <a16:creationId xmlns:a16="http://schemas.microsoft.com/office/drawing/2014/main" id="{23FD5C81-85A6-46FB-BBDF-C78CD3EC8FF6}"/>
                  </a:ext>
                </a:extLst>
              </p:cNvPr>
              <p:cNvSpPr/>
              <p:nvPr/>
            </p:nvSpPr>
            <p:spPr bwMode="auto">
              <a:xfrm>
                <a:off x="28212306" y="15470546"/>
                <a:ext cx="38121" cy="23826"/>
              </a:xfrm>
              <a:custGeom>
                <a:avLst/>
                <a:gdLst>
                  <a:gd name="T0" fmla="*/ 8 w 16"/>
                  <a:gd name="T1" fmla="*/ 10 h 10"/>
                  <a:gd name="T2" fmla="*/ 14 w 16"/>
                  <a:gd name="T3" fmla="*/ 4 h 10"/>
                  <a:gd name="T4" fmla="*/ 16 w 16"/>
                  <a:gd name="T5" fmla="*/ 0 h 10"/>
                  <a:gd name="T6" fmla="*/ 8 w 16"/>
                  <a:gd name="T7" fmla="*/ 0 h 10"/>
                  <a:gd name="T8" fmla="*/ 4 w 16"/>
                  <a:gd name="T9" fmla="*/ 2 h 10"/>
                  <a:gd name="T10" fmla="*/ 0 w 16"/>
                  <a:gd name="T11" fmla="*/ 10 h 10"/>
                  <a:gd name="T12" fmla="*/ 8 w 16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10">
                    <a:moveTo>
                      <a:pt x="8" y="10"/>
                    </a:moveTo>
                    <a:lnTo>
                      <a:pt x="14" y="4"/>
                    </a:lnTo>
                    <a:lnTo>
                      <a:pt x="16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10"/>
                    </a:lnTo>
                    <a:lnTo>
                      <a:pt x="8" y="1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6" name="Freeform 4783">
                <a:extLst>
                  <a:ext uri="{FF2B5EF4-FFF2-40B4-BE49-F238E27FC236}">
                    <a16:creationId xmlns:a16="http://schemas.microsoft.com/office/drawing/2014/main" id="{2B2DF01B-EBD2-4565-979A-6EAECD5D2AF1}"/>
                  </a:ext>
                </a:extLst>
              </p:cNvPr>
              <p:cNvSpPr/>
              <p:nvPr/>
            </p:nvSpPr>
            <p:spPr bwMode="auto">
              <a:xfrm>
                <a:off x="28150359" y="15456250"/>
                <a:ext cx="52416" cy="57182"/>
              </a:xfrm>
              <a:custGeom>
                <a:avLst/>
                <a:gdLst>
                  <a:gd name="T0" fmla="*/ 22 w 22"/>
                  <a:gd name="T1" fmla="*/ 22 h 24"/>
                  <a:gd name="T2" fmla="*/ 22 w 22"/>
                  <a:gd name="T3" fmla="*/ 18 h 24"/>
                  <a:gd name="T4" fmla="*/ 22 w 22"/>
                  <a:gd name="T5" fmla="*/ 16 h 24"/>
                  <a:gd name="T6" fmla="*/ 16 w 22"/>
                  <a:gd name="T7" fmla="*/ 14 h 24"/>
                  <a:gd name="T8" fmla="*/ 12 w 22"/>
                  <a:gd name="T9" fmla="*/ 8 h 24"/>
                  <a:gd name="T10" fmla="*/ 4 w 22"/>
                  <a:gd name="T11" fmla="*/ 0 h 24"/>
                  <a:gd name="T12" fmla="*/ 0 w 22"/>
                  <a:gd name="T13" fmla="*/ 2 h 24"/>
                  <a:gd name="T14" fmla="*/ 0 w 22"/>
                  <a:gd name="T15" fmla="*/ 4 h 24"/>
                  <a:gd name="T16" fmla="*/ 2 w 22"/>
                  <a:gd name="T17" fmla="*/ 8 h 24"/>
                  <a:gd name="T18" fmla="*/ 6 w 22"/>
                  <a:gd name="T19" fmla="*/ 10 h 24"/>
                  <a:gd name="T20" fmla="*/ 12 w 22"/>
                  <a:gd name="T21" fmla="*/ 14 h 24"/>
                  <a:gd name="T22" fmla="*/ 14 w 22"/>
                  <a:gd name="T23" fmla="*/ 22 h 24"/>
                  <a:gd name="T24" fmla="*/ 16 w 22"/>
                  <a:gd name="T25" fmla="*/ 24 h 24"/>
                  <a:gd name="T26" fmla="*/ 22 w 22"/>
                  <a:gd name="T27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" h="24">
                    <a:moveTo>
                      <a:pt x="22" y="22"/>
                    </a:moveTo>
                    <a:lnTo>
                      <a:pt x="22" y="18"/>
                    </a:lnTo>
                    <a:lnTo>
                      <a:pt x="22" y="16"/>
                    </a:lnTo>
                    <a:lnTo>
                      <a:pt x="16" y="14"/>
                    </a:lnTo>
                    <a:lnTo>
                      <a:pt x="12" y="8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12" y="14"/>
                    </a:lnTo>
                    <a:lnTo>
                      <a:pt x="14" y="22"/>
                    </a:lnTo>
                    <a:lnTo>
                      <a:pt x="16" y="24"/>
                    </a:lnTo>
                    <a:lnTo>
                      <a:pt x="22" y="2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7" name="Freeform 4784">
                <a:extLst>
                  <a:ext uri="{FF2B5EF4-FFF2-40B4-BE49-F238E27FC236}">
                    <a16:creationId xmlns:a16="http://schemas.microsoft.com/office/drawing/2014/main" id="{664C495E-99D4-4DFE-9EA6-936632912B52}"/>
                  </a:ext>
                </a:extLst>
              </p:cNvPr>
              <p:cNvSpPr/>
              <p:nvPr/>
            </p:nvSpPr>
            <p:spPr bwMode="auto">
              <a:xfrm>
                <a:off x="28369555" y="15065510"/>
                <a:ext cx="95303" cy="228726"/>
              </a:xfrm>
              <a:custGeom>
                <a:avLst/>
                <a:gdLst>
                  <a:gd name="T0" fmla="*/ 22 w 40"/>
                  <a:gd name="T1" fmla="*/ 8 h 96"/>
                  <a:gd name="T2" fmla="*/ 22 w 40"/>
                  <a:gd name="T3" fmla="*/ 0 h 96"/>
                  <a:gd name="T4" fmla="*/ 18 w 40"/>
                  <a:gd name="T5" fmla="*/ 0 h 96"/>
                  <a:gd name="T6" fmla="*/ 16 w 40"/>
                  <a:gd name="T7" fmla="*/ 0 h 96"/>
                  <a:gd name="T8" fmla="*/ 10 w 40"/>
                  <a:gd name="T9" fmla="*/ 10 h 96"/>
                  <a:gd name="T10" fmla="*/ 6 w 40"/>
                  <a:gd name="T11" fmla="*/ 12 h 96"/>
                  <a:gd name="T12" fmla="*/ 4 w 40"/>
                  <a:gd name="T13" fmla="*/ 14 h 96"/>
                  <a:gd name="T14" fmla="*/ 6 w 40"/>
                  <a:gd name="T15" fmla="*/ 16 h 96"/>
                  <a:gd name="T16" fmla="*/ 12 w 40"/>
                  <a:gd name="T17" fmla="*/ 18 h 96"/>
                  <a:gd name="T18" fmla="*/ 18 w 40"/>
                  <a:gd name="T19" fmla="*/ 36 h 96"/>
                  <a:gd name="T20" fmla="*/ 10 w 40"/>
                  <a:gd name="T21" fmla="*/ 42 h 96"/>
                  <a:gd name="T22" fmla="*/ 4 w 40"/>
                  <a:gd name="T23" fmla="*/ 40 h 96"/>
                  <a:gd name="T24" fmla="*/ 0 w 40"/>
                  <a:gd name="T25" fmla="*/ 42 h 96"/>
                  <a:gd name="T26" fmla="*/ 0 w 40"/>
                  <a:gd name="T27" fmla="*/ 46 h 96"/>
                  <a:gd name="T28" fmla="*/ 0 w 40"/>
                  <a:gd name="T29" fmla="*/ 48 h 96"/>
                  <a:gd name="T30" fmla="*/ 2 w 40"/>
                  <a:gd name="T31" fmla="*/ 50 h 96"/>
                  <a:gd name="T32" fmla="*/ 8 w 40"/>
                  <a:gd name="T33" fmla="*/ 50 h 96"/>
                  <a:gd name="T34" fmla="*/ 10 w 40"/>
                  <a:gd name="T35" fmla="*/ 50 h 96"/>
                  <a:gd name="T36" fmla="*/ 10 w 40"/>
                  <a:gd name="T37" fmla="*/ 54 h 96"/>
                  <a:gd name="T38" fmla="*/ 10 w 40"/>
                  <a:gd name="T39" fmla="*/ 56 h 96"/>
                  <a:gd name="T40" fmla="*/ 16 w 40"/>
                  <a:gd name="T41" fmla="*/ 54 h 96"/>
                  <a:gd name="T42" fmla="*/ 22 w 40"/>
                  <a:gd name="T43" fmla="*/ 56 h 96"/>
                  <a:gd name="T44" fmla="*/ 24 w 40"/>
                  <a:gd name="T45" fmla="*/ 60 h 96"/>
                  <a:gd name="T46" fmla="*/ 24 w 40"/>
                  <a:gd name="T47" fmla="*/ 64 h 96"/>
                  <a:gd name="T48" fmla="*/ 22 w 40"/>
                  <a:gd name="T49" fmla="*/ 74 h 96"/>
                  <a:gd name="T50" fmla="*/ 20 w 40"/>
                  <a:gd name="T51" fmla="*/ 92 h 96"/>
                  <a:gd name="T52" fmla="*/ 24 w 40"/>
                  <a:gd name="T53" fmla="*/ 96 h 96"/>
                  <a:gd name="T54" fmla="*/ 24 w 40"/>
                  <a:gd name="T55" fmla="*/ 94 h 96"/>
                  <a:gd name="T56" fmla="*/ 26 w 40"/>
                  <a:gd name="T57" fmla="*/ 84 h 96"/>
                  <a:gd name="T58" fmla="*/ 30 w 40"/>
                  <a:gd name="T59" fmla="*/ 78 h 96"/>
                  <a:gd name="T60" fmla="*/ 30 w 40"/>
                  <a:gd name="T61" fmla="*/ 66 h 96"/>
                  <a:gd name="T62" fmla="*/ 32 w 40"/>
                  <a:gd name="T63" fmla="*/ 64 h 96"/>
                  <a:gd name="T64" fmla="*/ 32 w 40"/>
                  <a:gd name="T65" fmla="*/ 56 h 96"/>
                  <a:gd name="T66" fmla="*/ 34 w 40"/>
                  <a:gd name="T67" fmla="*/ 52 h 96"/>
                  <a:gd name="T68" fmla="*/ 38 w 40"/>
                  <a:gd name="T69" fmla="*/ 30 h 96"/>
                  <a:gd name="T70" fmla="*/ 40 w 40"/>
                  <a:gd name="T71" fmla="*/ 22 h 96"/>
                  <a:gd name="T72" fmla="*/ 34 w 40"/>
                  <a:gd name="T73" fmla="*/ 24 h 96"/>
                  <a:gd name="T74" fmla="*/ 32 w 40"/>
                  <a:gd name="T75" fmla="*/ 24 h 96"/>
                  <a:gd name="T76" fmla="*/ 28 w 40"/>
                  <a:gd name="T77" fmla="*/ 16 h 96"/>
                  <a:gd name="T78" fmla="*/ 24 w 40"/>
                  <a:gd name="T79" fmla="*/ 18 h 96"/>
                  <a:gd name="T80" fmla="*/ 22 w 40"/>
                  <a:gd name="T81" fmla="*/ 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0" h="96">
                    <a:moveTo>
                      <a:pt x="22" y="8"/>
                    </a:moveTo>
                    <a:lnTo>
                      <a:pt x="22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0" y="10"/>
                    </a:lnTo>
                    <a:lnTo>
                      <a:pt x="6" y="12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2" y="18"/>
                    </a:lnTo>
                    <a:lnTo>
                      <a:pt x="18" y="36"/>
                    </a:lnTo>
                    <a:lnTo>
                      <a:pt x="10" y="42"/>
                    </a:lnTo>
                    <a:lnTo>
                      <a:pt x="4" y="40"/>
                    </a:lnTo>
                    <a:lnTo>
                      <a:pt x="0" y="42"/>
                    </a:lnTo>
                    <a:lnTo>
                      <a:pt x="0" y="46"/>
                    </a:lnTo>
                    <a:lnTo>
                      <a:pt x="0" y="48"/>
                    </a:lnTo>
                    <a:lnTo>
                      <a:pt x="2" y="50"/>
                    </a:lnTo>
                    <a:lnTo>
                      <a:pt x="8" y="50"/>
                    </a:lnTo>
                    <a:lnTo>
                      <a:pt x="10" y="50"/>
                    </a:lnTo>
                    <a:lnTo>
                      <a:pt x="10" y="54"/>
                    </a:lnTo>
                    <a:lnTo>
                      <a:pt x="10" y="56"/>
                    </a:lnTo>
                    <a:lnTo>
                      <a:pt x="16" y="54"/>
                    </a:lnTo>
                    <a:lnTo>
                      <a:pt x="22" y="56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2" y="74"/>
                    </a:lnTo>
                    <a:lnTo>
                      <a:pt x="20" y="92"/>
                    </a:lnTo>
                    <a:lnTo>
                      <a:pt x="24" y="96"/>
                    </a:lnTo>
                    <a:lnTo>
                      <a:pt x="24" y="94"/>
                    </a:lnTo>
                    <a:lnTo>
                      <a:pt x="26" y="84"/>
                    </a:lnTo>
                    <a:lnTo>
                      <a:pt x="30" y="78"/>
                    </a:lnTo>
                    <a:lnTo>
                      <a:pt x="30" y="66"/>
                    </a:lnTo>
                    <a:lnTo>
                      <a:pt x="32" y="64"/>
                    </a:lnTo>
                    <a:lnTo>
                      <a:pt x="32" y="56"/>
                    </a:lnTo>
                    <a:lnTo>
                      <a:pt x="34" y="52"/>
                    </a:lnTo>
                    <a:lnTo>
                      <a:pt x="38" y="30"/>
                    </a:lnTo>
                    <a:lnTo>
                      <a:pt x="40" y="22"/>
                    </a:lnTo>
                    <a:lnTo>
                      <a:pt x="34" y="24"/>
                    </a:lnTo>
                    <a:lnTo>
                      <a:pt x="32" y="24"/>
                    </a:lnTo>
                    <a:lnTo>
                      <a:pt x="28" y="16"/>
                    </a:lnTo>
                    <a:lnTo>
                      <a:pt x="24" y="18"/>
                    </a:lnTo>
                    <a:lnTo>
                      <a:pt x="22" y="8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8" name="Freeform 4785">
                <a:extLst>
                  <a:ext uri="{FF2B5EF4-FFF2-40B4-BE49-F238E27FC236}">
                    <a16:creationId xmlns:a16="http://schemas.microsoft.com/office/drawing/2014/main" id="{FC0BC03A-6AFB-4944-BE0A-5D984DBAB9A2}"/>
                  </a:ext>
                </a:extLst>
              </p:cNvPr>
              <p:cNvSpPr/>
              <p:nvPr/>
            </p:nvSpPr>
            <p:spPr bwMode="auto">
              <a:xfrm>
                <a:off x="28445795" y="15027390"/>
                <a:ext cx="28591" cy="71477"/>
              </a:xfrm>
              <a:custGeom>
                <a:avLst/>
                <a:gdLst>
                  <a:gd name="T0" fmla="*/ 8 w 12"/>
                  <a:gd name="T1" fmla="*/ 28 h 30"/>
                  <a:gd name="T2" fmla="*/ 8 w 12"/>
                  <a:gd name="T3" fmla="*/ 26 h 30"/>
                  <a:gd name="T4" fmla="*/ 8 w 12"/>
                  <a:gd name="T5" fmla="*/ 18 h 30"/>
                  <a:gd name="T6" fmla="*/ 8 w 12"/>
                  <a:gd name="T7" fmla="*/ 10 h 30"/>
                  <a:gd name="T8" fmla="*/ 8 w 12"/>
                  <a:gd name="T9" fmla="*/ 10 h 30"/>
                  <a:gd name="T10" fmla="*/ 10 w 12"/>
                  <a:gd name="T11" fmla="*/ 8 h 30"/>
                  <a:gd name="T12" fmla="*/ 12 w 12"/>
                  <a:gd name="T13" fmla="*/ 4 h 30"/>
                  <a:gd name="T14" fmla="*/ 10 w 12"/>
                  <a:gd name="T15" fmla="*/ 0 h 30"/>
                  <a:gd name="T16" fmla="*/ 4 w 12"/>
                  <a:gd name="T17" fmla="*/ 0 h 30"/>
                  <a:gd name="T18" fmla="*/ 0 w 12"/>
                  <a:gd name="T19" fmla="*/ 16 h 30"/>
                  <a:gd name="T20" fmla="*/ 6 w 12"/>
                  <a:gd name="T21" fmla="*/ 30 h 30"/>
                  <a:gd name="T22" fmla="*/ 8 w 12"/>
                  <a:gd name="T23" fmla="*/ 2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" h="30">
                    <a:moveTo>
                      <a:pt x="8" y="28"/>
                    </a:moveTo>
                    <a:lnTo>
                      <a:pt x="8" y="26"/>
                    </a:lnTo>
                    <a:lnTo>
                      <a:pt x="8" y="18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4" y="0"/>
                    </a:lnTo>
                    <a:lnTo>
                      <a:pt x="0" y="16"/>
                    </a:lnTo>
                    <a:lnTo>
                      <a:pt x="6" y="30"/>
                    </a:lnTo>
                    <a:lnTo>
                      <a:pt x="8" y="28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9" name="Freeform 4786">
                <a:extLst>
                  <a:ext uri="{FF2B5EF4-FFF2-40B4-BE49-F238E27FC236}">
                    <a16:creationId xmlns:a16="http://schemas.microsoft.com/office/drawing/2014/main" id="{795BD1DA-298B-44B6-991B-D289B37D8342}"/>
                  </a:ext>
                </a:extLst>
              </p:cNvPr>
              <p:cNvSpPr/>
              <p:nvPr/>
            </p:nvSpPr>
            <p:spPr bwMode="auto">
              <a:xfrm>
                <a:off x="28479152" y="14994034"/>
                <a:ext cx="28591" cy="47651"/>
              </a:xfrm>
              <a:custGeom>
                <a:avLst/>
                <a:gdLst>
                  <a:gd name="T0" fmla="*/ 12 w 12"/>
                  <a:gd name="T1" fmla="*/ 2 h 20"/>
                  <a:gd name="T2" fmla="*/ 10 w 12"/>
                  <a:gd name="T3" fmla="*/ 0 h 20"/>
                  <a:gd name="T4" fmla="*/ 8 w 12"/>
                  <a:gd name="T5" fmla="*/ 0 h 20"/>
                  <a:gd name="T6" fmla="*/ 6 w 12"/>
                  <a:gd name="T7" fmla="*/ 2 h 20"/>
                  <a:gd name="T8" fmla="*/ 4 w 12"/>
                  <a:gd name="T9" fmla="*/ 2 h 20"/>
                  <a:gd name="T10" fmla="*/ 2 w 12"/>
                  <a:gd name="T11" fmla="*/ 2 h 20"/>
                  <a:gd name="T12" fmla="*/ 2 w 12"/>
                  <a:gd name="T13" fmla="*/ 4 h 20"/>
                  <a:gd name="T14" fmla="*/ 0 w 12"/>
                  <a:gd name="T15" fmla="*/ 10 h 20"/>
                  <a:gd name="T16" fmla="*/ 2 w 12"/>
                  <a:gd name="T17" fmla="*/ 18 h 20"/>
                  <a:gd name="T18" fmla="*/ 2 w 12"/>
                  <a:gd name="T19" fmla="*/ 18 h 20"/>
                  <a:gd name="T20" fmla="*/ 8 w 12"/>
                  <a:gd name="T21" fmla="*/ 20 h 20"/>
                  <a:gd name="T22" fmla="*/ 8 w 12"/>
                  <a:gd name="T23" fmla="*/ 16 h 20"/>
                  <a:gd name="T24" fmla="*/ 12 w 12"/>
                  <a:gd name="T25" fmla="*/ 4 h 20"/>
                  <a:gd name="T26" fmla="*/ 12 w 12"/>
                  <a:gd name="T27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20">
                    <a:moveTo>
                      <a:pt x="12" y="2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0" y="10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12" y="4"/>
                    </a:lnTo>
                    <a:lnTo>
                      <a:pt x="12" y="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0" name="Line 4787">
                <a:extLst>
                  <a:ext uri="{FF2B5EF4-FFF2-40B4-BE49-F238E27FC236}">
                    <a16:creationId xmlns:a16="http://schemas.microsoft.com/office/drawing/2014/main" id="{C1F5DAE1-9045-42F1-B6AF-82C63B608F5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8507742" y="14998798"/>
                <a:ext cx="0" cy="0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1" name="Line 4811">
                <a:extLst>
                  <a:ext uri="{FF2B5EF4-FFF2-40B4-BE49-F238E27FC236}">
                    <a16:creationId xmlns:a16="http://schemas.microsoft.com/office/drawing/2014/main" id="{3217B58B-AEE2-4994-B825-4A6E9084526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8507742" y="14998798"/>
                <a:ext cx="0" cy="0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2" name="Line 4817">
                <a:extLst>
                  <a:ext uri="{FF2B5EF4-FFF2-40B4-BE49-F238E27FC236}">
                    <a16:creationId xmlns:a16="http://schemas.microsoft.com/office/drawing/2014/main" id="{277A8CB6-E16B-45FF-B49D-8426333D184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8236131" y="18119956"/>
                <a:ext cx="0" cy="0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3" name="Line 4819">
                <a:extLst>
                  <a:ext uri="{FF2B5EF4-FFF2-40B4-BE49-F238E27FC236}">
                    <a16:creationId xmlns:a16="http://schemas.microsoft.com/office/drawing/2014/main" id="{2C2BF1AC-7238-4785-A640-39359F1944F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8236131" y="18119956"/>
                <a:ext cx="0" cy="0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4" name="Line 5367">
                <a:extLst>
                  <a:ext uri="{FF2B5EF4-FFF2-40B4-BE49-F238E27FC236}">
                    <a16:creationId xmlns:a16="http://schemas.microsoft.com/office/drawing/2014/main" id="{CDA921F3-D140-409E-B896-09C0567EBF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7468943" y="16709479"/>
                <a:ext cx="0" cy="0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5" name="Line 5370">
                <a:extLst>
                  <a:ext uri="{FF2B5EF4-FFF2-40B4-BE49-F238E27FC236}">
                    <a16:creationId xmlns:a16="http://schemas.microsoft.com/office/drawing/2014/main" id="{B7EAC30F-A61E-44D6-8AC5-AC759D4CB8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7468943" y="16709479"/>
                <a:ext cx="0" cy="0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6" name="Line 5414">
                <a:extLst>
                  <a:ext uri="{FF2B5EF4-FFF2-40B4-BE49-F238E27FC236}">
                    <a16:creationId xmlns:a16="http://schemas.microsoft.com/office/drawing/2014/main" id="{FADE18B1-EF23-46C2-A813-5831A5A0BE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8312371" y="18181903"/>
                <a:ext cx="0" cy="0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7" name="Line 5416">
                <a:extLst>
                  <a:ext uri="{FF2B5EF4-FFF2-40B4-BE49-F238E27FC236}">
                    <a16:creationId xmlns:a16="http://schemas.microsoft.com/office/drawing/2014/main" id="{36D0D2F3-4AB9-47D9-8188-E18D7EB043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8312371" y="18181903"/>
                <a:ext cx="0" cy="0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13" name="Freeform 5417">
              <a:extLst>
                <a:ext uri="{FF2B5EF4-FFF2-40B4-BE49-F238E27FC236}">
                  <a16:creationId xmlns:a16="http://schemas.microsoft.com/office/drawing/2014/main" id="{B931A239-B509-4ADA-8630-4762987556F5}"/>
                </a:ext>
              </a:extLst>
            </p:cNvPr>
            <p:cNvSpPr/>
            <p:nvPr/>
          </p:nvSpPr>
          <p:spPr bwMode="auto">
            <a:xfrm>
              <a:off x="6181878" y="4514424"/>
              <a:ext cx="109464" cy="123340"/>
            </a:xfrm>
            <a:custGeom>
              <a:avLst/>
              <a:gdLst>
                <a:gd name="T0" fmla="*/ 284 w 284"/>
                <a:gd name="T1" fmla="*/ 88 h 320"/>
                <a:gd name="T2" fmla="*/ 274 w 284"/>
                <a:gd name="T3" fmla="*/ 80 h 320"/>
                <a:gd name="T4" fmla="*/ 264 w 284"/>
                <a:gd name="T5" fmla="*/ 70 h 320"/>
                <a:gd name="T6" fmla="*/ 264 w 284"/>
                <a:gd name="T7" fmla="*/ 52 h 320"/>
                <a:gd name="T8" fmla="*/ 254 w 284"/>
                <a:gd name="T9" fmla="*/ 16 h 320"/>
                <a:gd name="T10" fmla="*/ 234 w 284"/>
                <a:gd name="T11" fmla="*/ 10 h 320"/>
                <a:gd name="T12" fmla="*/ 202 w 284"/>
                <a:gd name="T13" fmla="*/ 28 h 320"/>
                <a:gd name="T14" fmla="*/ 172 w 284"/>
                <a:gd name="T15" fmla="*/ 50 h 320"/>
                <a:gd name="T16" fmla="*/ 140 w 284"/>
                <a:gd name="T17" fmla="*/ 70 h 320"/>
                <a:gd name="T18" fmla="*/ 100 w 284"/>
                <a:gd name="T19" fmla="*/ 78 h 320"/>
                <a:gd name="T20" fmla="*/ 86 w 284"/>
                <a:gd name="T21" fmla="*/ 70 h 320"/>
                <a:gd name="T22" fmla="*/ 72 w 284"/>
                <a:gd name="T23" fmla="*/ 64 h 320"/>
                <a:gd name="T24" fmla="*/ 62 w 284"/>
                <a:gd name="T25" fmla="*/ 50 h 320"/>
                <a:gd name="T26" fmla="*/ 50 w 284"/>
                <a:gd name="T27" fmla="*/ 50 h 320"/>
                <a:gd name="T28" fmla="*/ 42 w 284"/>
                <a:gd name="T29" fmla="*/ 54 h 320"/>
                <a:gd name="T30" fmla="*/ 40 w 284"/>
                <a:gd name="T31" fmla="*/ 58 h 320"/>
                <a:gd name="T32" fmla="*/ 40 w 284"/>
                <a:gd name="T33" fmla="*/ 88 h 320"/>
                <a:gd name="T34" fmla="*/ 38 w 284"/>
                <a:gd name="T35" fmla="*/ 108 h 320"/>
                <a:gd name="T36" fmla="*/ 36 w 284"/>
                <a:gd name="T37" fmla="*/ 132 h 320"/>
                <a:gd name="T38" fmla="*/ 32 w 284"/>
                <a:gd name="T39" fmla="*/ 146 h 320"/>
                <a:gd name="T40" fmla="*/ 28 w 284"/>
                <a:gd name="T41" fmla="*/ 166 h 320"/>
                <a:gd name="T42" fmla="*/ 32 w 284"/>
                <a:gd name="T43" fmla="*/ 174 h 320"/>
                <a:gd name="T44" fmla="*/ 24 w 284"/>
                <a:gd name="T45" fmla="*/ 194 h 320"/>
                <a:gd name="T46" fmla="*/ 18 w 284"/>
                <a:gd name="T47" fmla="*/ 208 h 320"/>
                <a:gd name="T48" fmla="*/ 12 w 284"/>
                <a:gd name="T49" fmla="*/ 228 h 320"/>
                <a:gd name="T50" fmla="*/ 12 w 284"/>
                <a:gd name="T51" fmla="*/ 244 h 320"/>
                <a:gd name="T52" fmla="*/ 8 w 284"/>
                <a:gd name="T53" fmla="*/ 262 h 320"/>
                <a:gd name="T54" fmla="*/ 4 w 284"/>
                <a:gd name="T55" fmla="*/ 276 h 320"/>
                <a:gd name="T56" fmla="*/ 2 w 284"/>
                <a:gd name="T57" fmla="*/ 298 h 320"/>
                <a:gd name="T58" fmla="*/ 14 w 284"/>
                <a:gd name="T59" fmla="*/ 310 h 320"/>
                <a:gd name="T60" fmla="*/ 42 w 284"/>
                <a:gd name="T61" fmla="*/ 316 h 320"/>
                <a:gd name="T62" fmla="*/ 70 w 284"/>
                <a:gd name="T63" fmla="*/ 320 h 320"/>
                <a:gd name="T64" fmla="*/ 86 w 284"/>
                <a:gd name="T65" fmla="*/ 308 h 320"/>
                <a:gd name="T66" fmla="*/ 106 w 284"/>
                <a:gd name="T67" fmla="*/ 284 h 320"/>
                <a:gd name="T68" fmla="*/ 118 w 284"/>
                <a:gd name="T69" fmla="*/ 270 h 320"/>
                <a:gd name="T70" fmla="*/ 146 w 284"/>
                <a:gd name="T71" fmla="*/ 264 h 320"/>
                <a:gd name="T72" fmla="*/ 166 w 284"/>
                <a:gd name="T73" fmla="*/ 258 h 320"/>
                <a:gd name="T74" fmla="*/ 176 w 284"/>
                <a:gd name="T75" fmla="*/ 236 h 320"/>
                <a:gd name="T76" fmla="*/ 178 w 284"/>
                <a:gd name="T77" fmla="*/ 232 h 320"/>
                <a:gd name="T78" fmla="*/ 198 w 284"/>
                <a:gd name="T79" fmla="*/ 222 h 320"/>
                <a:gd name="T80" fmla="*/ 176 w 284"/>
                <a:gd name="T81" fmla="*/ 196 h 320"/>
                <a:gd name="T82" fmla="*/ 156 w 284"/>
                <a:gd name="T83" fmla="*/ 172 h 320"/>
                <a:gd name="T84" fmla="*/ 130 w 284"/>
                <a:gd name="T85" fmla="*/ 146 h 320"/>
                <a:gd name="T86" fmla="*/ 166 w 284"/>
                <a:gd name="T87" fmla="*/ 136 h 320"/>
                <a:gd name="T88" fmla="*/ 206 w 284"/>
                <a:gd name="T89" fmla="*/ 124 h 320"/>
                <a:gd name="T90" fmla="*/ 250 w 284"/>
                <a:gd name="T91" fmla="*/ 110 h 320"/>
                <a:gd name="T92" fmla="*/ 264 w 284"/>
                <a:gd name="T93" fmla="*/ 10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4" h="320">
                  <a:moveTo>
                    <a:pt x="274" y="96"/>
                  </a:moveTo>
                  <a:lnTo>
                    <a:pt x="284" y="88"/>
                  </a:lnTo>
                  <a:lnTo>
                    <a:pt x="280" y="78"/>
                  </a:lnTo>
                  <a:lnTo>
                    <a:pt x="274" y="80"/>
                  </a:lnTo>
                  <a:lnTo>
                    <a:pt x="268" y="82"/>
                  </a:lnTo>
                  <a:lnTo>
                    <a:pt x="264" y="70"/>
                  </a:lnTo>
                  <a:lnTo>
                    <a:pt x="268" y="68"/>
                  </a:lnTo>
                  <a:lnTo>
                    <a:pt x="264" y="52"/>
                  </a:lnTo>
                  <a:lnTo>
                    <a:pt x="260" y="34"/>
                  </a:lnTo>
                  <a:lnTo>
                    <a:pt x="254" y="16"/>
                  </a:lnTo>
                  <a:lnTo>
                    <a:pt x="250" y="0"/>
                  </a:lnTo>
                  <a:lnTo>
                    <a:pt x="234" y="10"/>
                  </a:lnTo>
                  <a:lnTo>
                    <a:pt x="216" y="20"/>
                  </a:lnTo>
                  <a:lnTo>
                    <a:pt x="202" y="28"/>
                  </a:lnTo>
                  <a:lnTo>
                    <a:pt x="184" y="42"/>
                  </a:lnTo>
                  <a:lnTo>
                    <a:pt x="172" y="50"/>
                  </a:lnTo>
                  <a:lnTo>
                    <a:pt x="154" y="60"/>
                  </a:lnTo>
                  <a:lnTo>
                    <a:pt x="140" y="70"/>
                  </a:lnTo>
                  <a:lnTo>
                    <a:pt x="122" y="82"/>
                  </a:lnTo>
                  <a:lnTo>
                    <a:pt x="100" y="78"/>
                  </a:lnTo>
                  <a:lnTo>
                    <a:pt x="92" y="76"/>
                  </a:lnTo>
                  <a:lnTo>
                    <a:pt x="86" y="70"/>
                  </a:lnTo>
                  <a:lnTo>
                    <a:pt x="82" y="68"/>
                  </a:lnTo>
                  <a:lnTo>
                    <a:pt x="72" y="64"/>
                  </a:lnTo>
                  <a:lnTo>
                    <a:pt x="66" y="54"/>
                  </a:lnTo>
                  <a:lnTo>
                    <a:pt x="62" y="50"/>
                  </a:lnTo>
                  <a:lnTo>
                    <a:pt x="54" y="50"/>
                  </a:lnTo>
                  <a:lnTo>
                    <a:pt x="50" y="50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0" y="56"/>
                  </a:lnTo>
                  <a:lnTo>
                    <a:pt x="40" y="58"/>
                  </a:lnTo>
                  <a:lnTo>
                    <a:pt x="38" y="76"/>
                  </a:lnTo>
                  <a:lnTo>
                    <a:pt x="40" y="88"/>
                  </a:lnTo>
                  <a:lnTo>
                    <a:pt x="38" y="98"/>
                  </a:lnTo>
                  <a:lnTo>
                    <a:pt x="38" y="108"/>
                  </a:lnTo>
                  <a:lnTo>
                    <a:pt x="40" y="124"/>
                  </a:lnTo>
                  <a:lnTo>
                    <a:pt x="36" y="132"/>
                  </a:lnTo>
                  <a:lnTo>
                    <a:pt x="34" y="140"/>
                  </a:lnTo>
                  <a:lnTo>
                    <a:pt x="32" y="146"/>
                  </a:lnTo>
                  <a:lnTo>
                    <a:pt x="30" y="158"/>
                  </a:lnTo>
                  <a:lnTo>
                    <a:pt x="28" y="166"/>
                  </a:lnTo>
                  <a:lnTo>
                    <a:pt x="30" y="166"/>
                  </a:lnTo>
                  <a:lnTo>
                    <a:pt x="32" y="174"/>
                  </a:lnTo>
                  <a:lnTo>
                    <a:pt x="28" y="184"/>
                  </a:lnTo>
                  <a:lnTo>
                    <a:pt x="24" y="194"/>
                  </a:lnTo>
                  <a:lnTo>
                    <a:pt x="22" y="198"/>
                  </a:lnTo>
                  <a:lnTo>
                    <a:pt x="18" y="208"/>
                  </a:lnTo>
                  <a:lnTo>
                    <a:pt x="14" y="220"/>
                  </a:lnTo>
                  <a:lnTo>
                    <a:pt x="12" y="228"/>
                  </a:lnTo>
                  <a:lnTo>
                    <a:pt x="12" y="230"/>
                  </a:lnTo>
                  <a:lnTo>
                    <a:pt x="12" y="244"/>
                  </a:lnTo>
                  <a:lnTo>
                    <a:pt x="12" y="248"/>
                  </a:lnTo>
                  <a:lnTo>
                    <a:pt x="8" y="262"/>
                  </a:lnTo>
                  <a:lnTo>
                    <a:pt x="6" y="266"/>
                  </a:lnTo>
                  <a:lnTo>
                    <a:pt x="4" y="276"/>
                  </a:lnTo>
                  <a:lnTo>
                    <a:pt x="0" y="292"/>
                  </a:lnTo>
                  <a:lnTo>
                    <a:pt x="2" y="298"/>
                  </a:lnTo>
                  <a:lnTo>
                    <a:pt x="0" y="308"/>
                  </a:lnTo>
                  <a:lnTo>
                    <a:pt x="14" y="310"/>
                  </a:lnTo>
                  <a:lnTo>
                    <a:pt x="24" y="312"/>
                  </a:lnTo>
                  <a:lnTo>
                    <a:pt x="42" y="316"/>
                  </a:lnTo>
                  <a:lnTo>
                    <a:pt x="58" y="318"/>
                  </a:lnTo>
                  <a:lnTo>
                    <a:pt x="70" y="320"/>
                  </a:lnTo>
                  <a:lnTo>
                    <a:pt x="72" y="320"/>
                  </a:lnTo>
                  <a:lnTo>
                    <a:pt x="86" y="308"/>
                  </a:lnTo>
                  <a:lnTo>
                    <a:pt x="100" y="298"/>
                  </a:lnTo>
                  <a:lnTo>
                    <a:pt x="106" y="284"/>
                  </a:lnTo>
                  <a:lnTo>
                    <a:pt x="114" y="272"/>
                  </a:lnTo>
                  <a:lnTo>
                    <a:pt x="118" y="270"/>
                  </a:lnTo>
                  <a:lnTo>
                    <a:pt x="128" y="266"/>
                  </a:lnTo>
                  <a:lnTo>
                    <a:pt x="146" y="264"/>
                  </a:lnTo>
                  <a:lnTo>
                    <a:pt x="164" y="260"/>
                  </a:lnTo>
                  <a:lnTo>
                    <a:pt x="166" y="258"/>
                  </a:lnTo>
                  <a:lnTo>
                    <a:pt x="170" y="248"/>
                  </a:lnTo>
                  <a:lnTo>
                    <a:pt x="176" y="236"/>
                  </a:lnTo>
                  <a:lnTo>
                    <a:pt x="176" y="234"/>
                  </a:lnTo>
                  <a:lnTo>
                    <a:pt x="178" y="232"/>
                  </a:lnTo>
                  <a:lnTo>
                    <a:pt x="190" y="226"/>
                  </a:lnTo>
                  <a:lnTo>
                    <a:pt x="198" y="222"/>
                  </a:lnTo>
                  <a:lnTo>
                    <a:pt x="188" y="208"/>
                  </a:lnTo>
                  <a:lnTo>
                    <a:pt x="176" y="196"/>
                  </a:lnTo>
                  <a:lnTo>
                    <a:pt x="166" y="182"/>
                  </a:lnTo>
                  <a:lnTo>
                    <a:pt x="156" y="172"/>
                  </a:lnTo>
                  <a:lnTo>
                    <a:pt x="140" y="156"/>
                  </a:lnTo>
                  <a:lnTo>
                    <a:pt x="130" y="146"/>
                  </a:lnTo>
                  <a:lnTo>
                    <a:pt x="148" y="140"/>
                  </a:lnTo>
                  <a:lnTo>
                    <a:pt x="166" y="136"/>
                  </a:lnTo>
                  <a:lnTo>
                    <a:pt x="184" y="130"/>
                  </a:lnTo>
                  <a:lnTo>
                    <a:pt x="206" y="124"/>
                  </a:lnTo>
                  <a:lnTo>
                    <a:pt x="224" y="118"/>
                  </a:lnTo>
                  <a:lnTo>
                    <a:pt x="250" y="110"/>
                  </a:lnTo>
                  <a:lnTo>
                    <a:pt x="262" y="106"/>
                  </a:lnTo>
                  <a:lnTo>
                    <a:pt x="264" y="106"/>
                  </a:lnTo>
                  <a:lnTo>
                    <a:pt x="274" y="9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4" name="Freeform 5424">
              <a:extLst>
                <a:ext uri="{FF2B5EF4-FFF2-40B4-BE49-F238E27FC236}">
                  <a16:creationId xmlns:a16="http://schemas.microsoft.com/office/drawing/2014/main" id="{405B50A7-D4A9-4215-88AA-C1451D86E9DF}"/>
                </a:ext>
              </a:extLst>
            </p:cNvPr>
            <p:cNvSpPr/>
            <p:nvPr/>
          </p:nvSpPr>
          <p:spPr bwMode="auto">
            <a:xfrm>
              <a:off x="8888812" y="4708685"/>
              <a:ext cx="2313" cy="3084"/>
            </a:xfrm>
            <a:custGeom>
              <a:avLst/>
              <a:gdLst>
                <a:gd name="T0" fmla="*/ 6 w 6"/>
                <a:gd name="T1" fmla="*/ 8 h 8"/>
                <a:gd name="T2" fmla="*/ 6 w 6"/>
                <a:gd name="T3" fmla="*/ 4 h 8"/>
                <a:gd name="T4" fmla="*/ 4 w 6"/>
                <a:gd name="T5" fmla="*/ 0 h 8"/>
                <a:gd name="T6" fmla="*/ 2 w 6"/>
                <a:gd name="T7" fmla="*/ 0 h 8"/>
                <a:gd name="T8" fmla="*/ 0 w 6"/>
                <a:gd name="T9" fmla="*/ 0 h 8"/>
                <a:gd name="T10" fmla="*/ 4 w 6"/>
                <a:gd name="T11" fmla="*/ 8 h 8"/>
                <a:gd name="T12" fmla="*/ 6 w 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">
                  <a:moveTo>
                    <a:pt x="6" y="8"/>
                  </a:moveTo>
                  <a:lnTo>
                    <a:pt x="6" y="4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4" y="8"/>
                  </a:lnTo>
                  <a:lnTo>
                    <a:pt x="6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5" name="Freeform 5441">
              <a:extLst>
                <a:ext uri="{FF2B5EF4-FFF2-40B4-BE49-F238E27FC236}">
                  <a16:creationId xmlns:a16="http://schemas.microsoft.com/office/drawing/2014/main" id="{CEE70520-B240-4245-AE31-FAFC9AFB66C2}"/>
                </a:ext>
              </a:extLst>
            </p:cNvPr>
            <p:cNvSpPr/>
            <p:nvPr/>
          </p:nvSpPr>
          <p:spPr bwMode="auto">
            <a:xfrm>
              <a:off x="8645215" y="4489756"/>
              <a:ext cx="3084" cy="3084"/>
            </a:xfrm>
            <a:custGeom>
              <a:avLst/>
              <a:gdLst>
                <a:gd name="T0" fmla="*/ 8 w 8"/>
                <a:gd name="T1" fmla="*/ 4 h 8"/>
                <a:gd name="T2" fmla="*/ 6 w 8"/>
                <a:gd name="T3" fmla="*/ 4 h 8"/>
                <a:gd name="T4" fmla="*/ 6 w 8"/>
                <a:gd name="T5" fmla="*/ 0 h 8"/>
                <a:gd name="T6" fmla="*/ 4 w 8"/>
                <a:gd name="T7" fmla="*/ 0 h 8"/>
                <a:gd name="T8" fmla="*/ 2 w 8"/>
                <a:gd name="T9" fmla="*/ 4 h 8"/>
                <a:gd name="T10" fmla="*/ 0 w 8"/>
                <a:gd name="T11" fmla="*/ 8 h 8"/>
                <a:gd name="T12" fmla="*/ 6 w 8"/>
                <a:gd name="T13" fmla="*/ 8 h 8"/>
                <a:gd name="T14" fmla="*/ 8 w 8"/>
                <a:gd name="T15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8">
                  <a:moveTo>
                    <a:pt x="8" y="4"/>
                  </a:moveTo>
                  <a:lnTo>
                    <a:pt x="6" y="4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4"/>
                  </a:lnTo>
                  <a:lnTo>
                    <a:pt x="0" y="8"/>
                  </a:lnTo>
                  <a:lnTo>
                    <a:pt x="6" y="8"/>
                  </a:lnTo>
                  <a:lnTo>
                    <a:pt x="8" y="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6" name="Freeform 5491">
              <a:extLst>
                <a:ext uri="{FF2B5EF4-FFF2-40B4-BE49-F238E27FC236}">
                  <a16:creationId xmlns:a16="http://schemas.microsoft.com/office/drawing/2014/main" id="{905829E7-D871-4C8B-8466-AEA829F1B49D}"/>
                </a:ext>
              </a:extLst>
            </p:cNvPr>
            <p:cNvSpPr/>
            <p:nvPr/>
          </p:nvSpPr>
          <p:spPr bwMode="auto">
            <a:xfrm>
              <a:off x="7237979" y="4444274"/>
              <a:ext cx="26210" cy="16959"/>
            </a:xfrm>
            <a:custGeom>
              <a:avLst/>
              <a:gdLst>
                <a:gd name="T0" fmla="*/ 68 w 68"/>
                <a:gd name="T1" fmla="*/ 12 h 44"/>
                <a:gd name="T2" fmla="*/ 64 w 68"/>
                <a:gd name="T3" fmla="*/ 14 h 44"/>
                <a:gd name="T4" fmla="*/ 54 w 68"/>
                <a:gd name="T5" fmla="*/ 14 h 44"/>
                <a:gd name="T6" fmla="*/ 50 w 68"/>
                <a:gd name="T7" fmla="*/ 14 h 44"/>
                <a:gd name="T8" fmla="*/ 46 w 68"/>
                <a:gd name="T9" fmla="*/ 14 h 44"/>
                <a:gd name="T10" fmla="*/ 36 w 68"/>
                <a:gd name="T11" fmla="*/ 12 h 44"/>
                <a:gd name="T12" fmla="*/ 22 w 68"/>
                <a:gd name="T13" fmla="*/ 8 h 44"/>
                <a:gd name="T14" fmla="*/ 8 w 68"/>
                <a:gd name="T15" fmla="*/ 4 h 44"/>
                <a:gd name="T16" fmla="*/ 0 w 68"/>
                <a:gd name="T17" fmla="*/ 0 h 44"/>
                <a:gd name="T18" fmla="*/ 4 w 68"/>
                <a:gd name="T19" fmla="*/ 6 h 44"/>
                <a:gd name="T20" fmla="*/ 8 w 68"/>
                <a:gd name="T21" fmla="*/ 18 h 44"/>
                <a:gd name="T22" fmla="*/ 12 w 68"/>
                <a:gd name="T23" fmla="*/ 24 h 44"/>
                <a:gd name="T24" fmla="*/ 14 w 68"/>
                <a:gd name="T25" fmla="*/ 32 h 44"/>
                <a:gd name="T26" fmla="*/ 16 w 68"/>
                <a:gd name="T27" fmla="*/ 36 h 44"/>
                <a:gd name="T28" fmla="*/ 20 w 68"/>
                <a:gd name="T29" fmla="*/ 44 h 44"/>
                <a:gd name="T30" fmla="*/ 36 w 68"/>
                <a:gd name="T31" fmla="*/ 34 h 44"/>
                <a:gd name="T32" fmla="*/ 44 w 68"/>
                <a:gd name="T33" fmla="*/ 28 h 44"/>
                <a:gd name="T34" fmla="*/ 54 w 68"/>
                <a:gd name="T35" fmla="*/ 22 h 44"/>
                <a:gd name="T36" fmla="*/ 62 w 68"/>
                <a:gd name="T37" fmla="*/ 16 h 44"/>
                <a:gd name="T38" fmla="*/ 68 w 68"/>
                <a:gd name="T39" fmla="*/ 1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8" h="44">
                  <a:moveTo>
                    <a:pt x="68" y="12"/>
                  </a:moveTo>
                  <a:lnTo>
                    <a:pt x="64" y="14"/>
                  </a:lnTo>
                  <a:lnTo>
                    <a:pt x="54" y="14"/>
                  </a:lnTo>
                  <a:lnTo>
                    <a:pt x="50" y="14"/>
                  </a:lnTo>
                  <a:lnTo>
                    <a:pt x="46" y="14"/>
                  </a:lnTo>
                  <a:lnTo>
                    <a:pt x="36" y="12"/>
                  </a:lnTo>
                  <a:lnTo>
                    <a:pt x="22" y="8"/>
                  </a:lnTo>
                  <a:lnTo>
                    <a:pt x="8" y="4"/>
                  </a:lnTo>
                  <a:lnTo>
                    <a:pt x="0" y="0"/>
                  </a:lnTo>
                  <a:lnTo>
                    <a:pt x="4" y="6"/>
                  </a:lnTo>
                  <a:lnTo>
                    <a:pt x="8" y="18"/>
                  </a:lnTo>
                  <a:lnTo>
                    <a:pt x="12" y="24"/>
                  </a:lnTo>
                  <a:lnTo>
                    <a:pt x="14" y="32"/>
                  </a:lnTo>
                  <a:lnTo>
                    <a:pt x="16" y="36"/>
                  </a:lnTo>
                  <a:lnTo>
                    <a:pt x="20" y="44"/>
                  </a:lnTo>
                  <a:lnTo>
                    <a:pt x="36" y="34"/>
                  </a:lnTo>
                  <a:lnTo>
                    <a:pt x="44" y="28"/>
                  </a:lnTo>
                  <a:lnTo>
                    <a:pt x="54" y="22"/>
                  </a:lnTo>
                  <a:lnTo>
                    <a:pt x="62" y="16"/>
                  </a:lnTo>
                  <a:lnTo>
                    <a:pt x="68" y="1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7" name="Line 5492">
              <a:extLst>
                <a:ext uri="{FF2B5EF4-FFF2-40B4-BE49-F238E27FC236}">
                  <a16:creationId xmlns:a16="http://schemas.microsoft.com/office/drawing/2014/main" id="{B2224DCD-162E-479E-B1C8-F97DD3559C5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264189" y="4448899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8" name="Line 5494">
              <a:extLst>
                <a:ext uri="{FF2B5EF4-FFF2-40B4-BE49-F238E27FC236}">
                  <a16:creationId xmlns:a16="http://schemas.microsoft.com/office/drawing/2014/main" id="{8103E7B1-8D1E-46A1-8731-4376B48E97F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264189" y="4448899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9" name="Freeform 167">
              <a:extLst>
                <a:ext uri="{FF2B5EF4-FFF2-40B4-BE49-F238E27FC236}">
                  <a16:creationId xmlns:a16="http://schemas.microsoft.com/office/drawing/2014/main" id="{3776BBFB-6EAD-460B-9F77-D945A68BE804}"/>
                </a:ext>
              </a:extLst>
            </p:cNvPr>
            <p:cNvSpPr/>
            <p:nvPr/>
          </p:nvSpPr>
          <p:spPr bwMode="auto">
            <a:xfrm>
              <a:off x="6476353" y="3721192"/>
              <a:ext cx="1028350" cy="563511"/>
            </a:xfrm>
            <a:custGeom>
              <a:avLst/>
              <a:gdLst>
                <a:gd name="connsiteX0" fmla="*/ 581348 w 6356680"/>
                <a:gd name="connsiteY0" fmla="*/ 2530283 h 3483307"/>
                <a:gd name="connsiteX1" fmla="*/ 581348 w 6356680"/>
                <a:gd name="connsiteY1" fmla="*/ 2549343 h 3483307"/>
                <a:gd name="connsiteX2" fmla="*/ 576584 w 6356680"/>
                <a:gd name="connsiteY2" fmla="*/ 2554109 h 3483307"/>
                <a:gd name="connsiteX3" fmla="*/ 571816 w 6356680"/>
                <a:gd name="connsiteY3" fmla="*/ 2558875 h 3483307"/>
                <a:gd name="connsiteX4" fmla="*/ 567052 w 6356680"/>
                <a:gd name="connsiteY4" fmla="*/ 2544579 h 3483307"/>
                <a:gd name="connsiteX5" fmla="*/ 576584 w 6356680"/>
                <a:gd name="connsiteY5" fmla="*/ 2535049 h 3483307"/>
                <a:gd name="connsiteX6" fmla="*/ 547992 w 6356680"/>
                <a:gd name="connsiteY6" fmla="*/ 2530283 h 3483307"/>
                <a:gd name="connsiteX7" fmla="*/ 547992 w 6356680"/>
                <a:gd name="connsiteY7" fmla="*/ 2535049 h 3483307"/>
                <a:gd name="connsiteX8" fmla="*/ 538460 w 6356680"/>
                <a:gd name="connsiteY8" fmla="*/ 2544579 h 3483307"/>
                <a:gd name="connsiteX9" fmla="*/ 533696 w 6356680"/>
                <a:gd name="connsiteY9" fmla="*/ 2558875 h 3483307"/>
                <a:gd name="connsiteX10" fmla="*/ 543228 w 6356680"/>
                <a:gd name="connsiteY10" fmla="*/ 2573169 h 3483307"/>
                <a:gd name="connsiteX11" fmla="*/ 557520 w 6356680"/>
                <a:gd name="connsiteY11" fmla="*/ 2582699 h 3483307"/>
                <a:gd name="connsiteX12" fmla="*/ 552756 w 6356680"/>
                <a:gd name="connsiteY12" fmla="*/ 2587465 h 3483307"/>
                <a:gd name="connsiteX13" fmla="*/ 543228 w 6356680"/>
                <a:gd name="connsiteY13" fmla="*/ 2587465 h 3483307"/>
                <a:gd name="connsiteX14" fmla="*/ 528932 w 6356680"/>
                <a:gd name="connsiteY14" fmla="*/ 2563639 h 3483307"/>
                <a:gd name="connsiteX15" fmla="*/ 533696 w 6356680"/>
                <a:gd name="connsiteY15" fmla="*/ 2539813 h 3483307"/>
                <a:gd name="connsiteX16" fmla="*/ 538460 w 6356680"/>
                <a:gd name="connsiteY16" fmla="*/ 2535049 h 3483307"/>
                <a:gd name="connsiteX17" fmla="*/ 933968 w 6356680"/>
                <a:gd name="connsiteY17" fmla="*/ 2430215 h 3483307"/>
                <a:gd name="connsiteX18" fmla="*/ 943496 w 6356680"/>
                <a:gd name="connsiteY18" fmla="*/ 2434981 h 3483307"/>
                <a:gd name="connsiteX19" fmla="*/ 948264 w 6356680"/>
                <a:gd name="connsiteY19" fmla="*/ 2449275 h 3483307"/>
                <a:gd name="connsiteX20" fmla="*/ 948264 w 6356680"/>
                <a:gd name="connsiteY20" fmla="*/ 2458807 h 3483307"/>
                <a:gd name="connsiteX21" fmla="*/ 943496 w 6356680"/>
                <a:gd name="connsiteY21" fmla="*/ 2458807 h 3483307"/>
                <a:gd name="connsiteX22" fmla="*/ 933968 w 6356680"/>
                <a:gd name="connsiteY22" fmla="*/ 2454041 h 3483307"/>
                <a:gd name="connsiteX23" fmla="*/ 929200 w 6356680"/>
                <a:gd name="connsiteY23" fmla="*/ 2444511 h 3483307"/>
                <a:gd name="connsiteX24" fmla="*/ 1953704 w 6356680"/>
                <a:gd name="connsiteY24" fmla="*/ 2368267 h 3483307"/>
                <a:gd name="connsiteX25" fmla="*/ 1958468 w 6356680"/>
                <a:gd name="connsiteY25" fmla="*/ 2373033 h 3483307"/>
                <a:gd name="connsiteX26" fmla="*/ 1968000 w 6356680"/>
                <a:gd name="connsiteY26" fmla="*/ 2392093 h 3483307"/>
                <a:gd name="connsiteX27" fmla="*/ 1972764 w 6356680"/>
                <a:gd name="connsiteY27" fmla="*/ 2401623 h 3483307"/>
                <a:gd name="connsiteX28" fmla="*/ 1982296 w 6356680"/>
                <a:gd name="connsiteY28" fmla="*/ 2401623 h 3483307"/>
                <a:gd name="connsiteX29" fmla="*/ 1987060 w 6356680"/>
                <a:gd name="connsiteY29" fmla="*/ 2411155 h 3483307"/>
                <a:gd name="connsiteX30" fmla="*/ 1987060 w 6356680"/>
                <a:gd name="connsiteY30" fmla="*/ 2420685 h 3483307"/>
                <a:gd name="connsiteX31" fmla="*/ 1991824 w 6356680"/>
                <a:gd name="connsiteY31" fmla="*/ 2420685 h 3483307"/>
                <a:gd name="connsiteX32" fmla="*/ 1996588 w 6356680"/>
                <a:gd name="connsiteY32" fmla="*/ 2430215 h 3483307"/>
                <a:gd name="connsiteX33" fmla="*/ 1996588 w 6356680"/>
                <a:gd name="connsiteY33" fmla="*/ 2444511 h 3483307"/>
                <a:gd name="connsiteX34" fmla="*/ 1996588 w 6356680"/>
                <a:gd name="connsiteY34" fmla="*/ 2463571 h 3483307"/>
                <a:gd name="connsiteX35" fmla="*/ 2001356 w 6356680"/>
                <a:gd name="connsiteY35" fmla="*/ 2482631 h 3483307"/>
                <a:gd name="connsiteX36" fmla="*/ 2006120 w 6356680"/>
                <a:gd name="connsiteY36" fmla="*/ 2496927 h 3483307"/>
                <a:gd name="connsiteX37" fmla="*/ 2006120 w 6356680"/>
                <a:gd name="connsiteY37" fmla="*/ 2511221 h 3483307"/>
                <a:gd name="connsiteX38" fmla="*/ 2001356 w 6356680"/>
                <a:gd name="connsiteY38" fmla="*/ 2515987 h 3483307"/>
                <a:gd name="connsiteX39" fmla="*/ 1991824 w 6356680"/>
                <a:gd name="connsiteY39" fmla="*/ 2511221 h 3483307"/>
                <a:gd name="connsiteX40" fmla="*/ 1968000 w 6356680"/>
                <a:gd name="connsiteY40" fmla="*/ 2496927 h 3483307"/>
                <a:gd name="connsiteX41" fmla="*/ 1948940 w 6356680"/>
                <a:gd name="connsiteY41" fmla="*/ 2482631 h 3483307"/>
                <a:gd name="connsiteX42" fmla="*/ 1925112 w 6356680"/>
                <a:gd name="connsiteY42" fmla="*/ 2463571 h 3483307"/>
                <a:gd name="connsiteX43" fmla="*/ 1906052 w 6356680"/>
                <a:gd name="connsiteY43" fmla="*/ 2449275 h 3483307"/>
                <a:gd name="connsiteX44" fmla="*/ 1896520 w 6356680"/>
                <a:gd name="connsiteY44" fmla="*/ 2444511 h 3483307"/>
                <a:gd name="connsiteX45" fmla="*/ 1896520 w 6356680"/>
                <a:gd name="connsiteY45" fmla="*/ 2439745 h 3483307"/>
                <a:gd name="connsiteX46" fmla="*/ 1906052 w 6356680"/>
                <a:gd name="connsiteY46" fmla="*/ 2425449 h 3483307"/>
                <a:gd name="connsiteX47" fmla="*/ 1920348 w 6356680"/>
                <a:gd name="connsiteY47" fmla="*/ 2415919 h 3483307"/>
                <a:gd name="connsiteX48" fmla="*/ 1929876 w 6356680"/>
                <a:gd name="connsiteY48" fmla="*/ 2401623 h 3483307"/>
                <a:gd name="connsiteX49" fmla="*/ 1929876 w 6356680"/>
                <a:gd name="connsiteY49" fmla="*/ 2382563 h 3483307"/>
                <a:gd name="connsiteX50" fmla="*/ 1934644 w 6356680"/>
                <a:gd name="connsiteY50" fmla="*/ 2377799 h 3483307"/>
                <a:gd name="connsiteX51" fmla="*/ 1939408 w 6356680"/>
                <a:gd name="connsiteY51" fmla="*/ 2377799 h 3483307"/>
                <a:gd name="connsiteX52" fmla="*/ 1939408 w 6356680"/>
                <a:gd name="connsiteY52" fmla="*/ 2387329 h 3483307"/>
                <a:gd name="connsiteX53" fmla="*/ 1939408 w 6356680"/>
                <a:gd name="connsiteY53" fmla="*/ 2392093 h 3483307"/>
                <a:gd name="connsiteX54" fmla="*/ 1944172 w 6356680"/>
                <a:gd name="connsiteY54" fmla="*/ 2396859 h 3483307"/>
                <a:gd name="connsiteX55" fmla="*/ 1944172 w 6356680"/>
                <a:gd name="connsiteY55" fmla="*/ 2387329 h 3483307"/>
                <a:gd name="connsiteX56" fmla="*/ 1948940 w 6356680"/>
                <a:gd name="connsiteY56" fmla="*/ 2373033 h 3483307"/>
                <a:gd name="connsiteX57" fmla="*/ 3492840 w 6356680"/>
                <a:gd name="connsiteY57" fmla="*/ 0 h 3483307"/>
                <a:gd name="connsiteX58" fmla="*/ 3535728 w 6356680"/>
                <a:gd name="connsiteY58" fmla="*/ 4765 h 3483307"/>
                <a:gd name="connsiteX59" fmla="*/ 3573848 w 6356680"/>
                <a:gd name="connsiteY59" fmla="*/ 9530 h 3483307"/>
                <a:gd name="connsiteX60" fmla="*/ 3611968 w 6356680"/>
                <a:gd name="connsiteY60" fmla="*/ 23826 h 3483307"/>
                <a:gd name="connsiteX61" fmla="*/ 3631028 w 6356680"/>
                <a:gd name="connsiteY61" fmla="*/ 38121 h 3483307"/>
                <a:gd name="connsiteX62" fmla="*/ 3650088 w 6356680"/>
                <a:gd name="connsiteY62" fmla="*/ 52416 h 3483307"/>
                <a:gd name="connsiteX63" fmla="*/ 3664384 w 6356680"/>
                <a:gd name="connsiteY63" fmla="*/ 57182 h 3483307"/>
                <a:gd name="connsiteX64" fmla="*/ 3678680 w 6356680"/>
                <a:gd name="connsiteY64" fmla="*/ 61947 h 3483307"/>
                <a:gd name="connsiteX65" fmla="*/ 3697740 w 6356680"/>
                <a:gd name="connsiteY65" fmla="*/ 57182 h 3483307"/>
                <a:gd name="connsiteX66" fmla="*/ 3712036 w 6356680"/>
                <a:gd name="connsiteY66" fmla="*/ 47651 h 3483307"/>
                <a:gd name="connsiteX67" fmla="*/ 3716800 w 6356680"/>
                <a:gd name="connsiteY67" fmla="*/ 38121 h 3483307"/>
                <a:gd name="connsiteX68" fmla="*/ 3731096 w 6356680"/>
                <a:gd name="connsiteY68" fmla="*/ 28591 h 3483307"/>
                <a:gd name="connsiteX69" fmla="*/ 3769216 w 6356680"/>
                <a:gd name="connsiteY69" fmla="*/ 23826 h 3483307"/>
                <a:gd name="connsiteX70" fmla="*/ 3773984 w 6356680"/>
                <a:gd name="connsiteY70" fmla="*/ 38121 h 3483307"/>
                <a:gd name="connsiteX71" fmla="*/ 3793044 w 6356680"/>
                <a:gd name="connsiteY71" fmla="*/ 71477 h 3483307"/>
                <a:gd name="connsiteX72" fmla="*/ 3807340 w 6356680"/>
                <a:gd name="connsiteY72" fmla="*/ 119128 h 3483307"/>
                <a:gd name="connsiteX73" fmla="*/ 3826400 w 6356680"/>
                <a:gd name="connsiteY73" fmla="*/ 185839 h 3483307"/>
                <a:gd name="connsiteX74" fmla="*/ 3835928 w 6356680"/>
                <a:gd name="connsiteY74" fmla="*/ 214431 h 3483307"/>
                <a:gd name="connsiteX75" fmla="*/ 3835928 w 6356680"/>
                <a:gd name="connsiteY75" fmla="*/ 233491 h 3483307"/>
                <a:gd name="connsiteX76" fmla="*/ 3835928 w 6356680"/>
                <a:gd name="connsiteY76" fmla="*/ 252551 h 3483307"/>
                <a:gd name="connsiteX77" fmla="*/ 3831164 w 6356680"/>
                <a:gd name="connsiteY77" fmla="*/ 281143 h 3483307"/>
                <a:gd name="connsiteX78" fmla="*/ 3816868 w 6356680"/>
                <a:gd name="connsiteY78" fmla="*/ 304969 h 3483307"/>
                <a:gd name="connsiteX79" fmla="*/ 3821636 w 6356680"/>
                <a:gd name="connsiteY79" fmla="*/ 319263 h 3483307"/>
                <a:gd name="connsiteX80" fmla="*/ 3859756 w 6356680"/>
                <a:gd name="connsiteY80" fmla="*/ 333559 h 3483307"/>
                <a:gd name="connsiteX81" fmla="*/ 3912172 w 6356680"/>
                <a:gd name="connsiteY81" fmla="*/ 328793 h 3483307"/>
                <a:gd name="connsiteX82" fmla="*/ 3945528 w 6356680"/>
                <a:gd name="connsiteY82" fmla="*/ 319263 h 3483307"/>
                <a:gd name="connsiteX83" fmla="*/ 3964588 w 6356680"/>
                <a:gd name="connsiteY83" fmla="*/ 324029 h 3483307"/>
                <a:gd name="connsiteX84" fmla="*/ 3974120 w 6356680"/>
                <a:gd name="connsiteY84" fmla="*/ 314499 h 3483307"/>
                <a:gd name="connsiteX85" fmla="*/ 3983648 w 6356680"/>
                <a:gd name="connsiteY85" fmla="*/ 295437 h 3483307"/>
                <a:gd name="connsiteX86" fmla="*/ 3993180 w 6356680"/>
                <a:gd name="connsiteY86" fmla="*/ 290673 h 3483307"/>
                <a:gd name="connsiteX87" fmla="*/ 4007476 w 6356680"/>
                <a:gd name="connsiteY87" fmla="*/ 304969 h 3483307"/>
                <a:gd name="connsiteX88" fmla="*/ 4017004 w 6356680"/>
                <a:gd name="connsiteY88" fmla="*/ 328793 h 3483307"/>
                <a:gd name="connsiteX89" fmla="*/ 4026536 w 6356680"/>
                <a:gd name="connsiteY89" fmla="*/ 343089 h 3483307"/>
                <a:gd name="connsiteX90" fmla="*/ 4026536 w 6356680"/>
                <a:gd name="connsiteY90" fmla="*/ 362149 h 3483307"/>
                <a:gd name="connsiteX91" fmla="*/ 4026536 w 6356680"/>
                <a:gd name="connsiteY91" fmla="*/ 385975 h 3483307"/>
                <a:gd name="connsiteX92" fmla="*/ 4036064 w 6356680"/>
                <a:gd name="connsiteY92" fmla="*/ 390741 h 3483307"/>
                <a:gd name="connsiteX93" fmla="*/ 4045596 w 6356680"/>
                <a:gd name="connsiteY93" fmla="*/ 381211 h 3483307"/>
                <a:gd name="connsiteX94" fmla="*/ 4055124 w 6356680"/>
                <a:gd name="connsiteY94" fmla="*/ 376445 h 3483307"/>
                <a:gd name="connsiteX95" fmla="*/ 4059892 w 6356680"/>
                <a:gd name="connsiteY95" fmla="*/ 371679 h 3483307"/>
                <a:gd name="connsiteX96" fmla="*/ 4055124 w 6356680"/>
                <a:gd name="connsiteY96" fmla="*/ 362149 h 3483307"/>
                <a:gd name="connsiteX97" fmla="*/ 4055124 w 6356680"/>
                <a:gd name="connsiteY97" fmla="*/ 352619 h 3483307"/>
                <a:gd name="connsiteX98" fmla="*/ 4055124 w 6356680"/>
                <a:gd name="connsiteY98" fmla="*/ 343089 h 3483307"/>
                <a:gd name="connsiteX99" fmla="*/ 4064656 w 6356680"/>
                <a:gd name="connsiteY99" fmla="*/ 343089 h 3483307"/>
                <a:gd name="connsiteX100" fmla="*/ 4078952 w 6356680"/>
                <a:gd name="connsiteY100" fmla="*/ 343089 h 3483307"/>
                <a:gd name="connsiteX101" fmla="*/ 4107540 w 6356680"/>
                <a:gd name="connsiteY101" fmla="*/ 347855 h 3483307"/>
                <a:gd name="connsiteX102" fmla="*/ 4140896 w 6356680"/>
                <a:gd name="connsiteY102" fmla="*/ 381211 h 3483307"/>
                <a:gd name="connsiteX103" fmla="*/ 4155192 w 6356680"/>
                <a:gd name="connsiteY103" fmla="*/ 385975 h 3483307"/>
                <a:gd name="connsiteX104" fmla="*/ 4164724 w 6356680"/>
                <a:gd name="connsiteY104" fmla="*/ 385975 h 3483307"/>
                <a:gd name="connsiteX105" fmla="*/ 4179020 w 6356680"/>
                <a:gd name="connsiteY105" fmla="*/ 385975 h 3483307"/>
                <a:gd name="connsiteX106" fmla="*/ 4198080 w 6356680"/>
                <a:gd name="connsiteY106" fmla="*/ 376445 h 3483307"/>
                <a:gd name="connsiteX107" fmla="*/ 4212376 w 6356680"/>
                <a:gd name="connsiteY107" fmla="*/ 362149 h 3483307"/>
                <a:gd name="connsiteX108" fmla="*/ 4217140 w 6356680"/>
                <a:gd name="connsiteY108" fmla="*/ 357385 h 3483307"/>
                <a:gd name="connsiteX109" fmla="*/ 4226672 w 6356680"/>
                <a:gd name="connsiteY109" fmla="*/ 362149 h 3483307"/>
                <a:gd name="connsiteX110" fmla="*/ 4231436 w 6356680"/>
                <a:gd name="connsiteY110" fmla="*/ 366915 h 3483307"/>
                <a:gd name="connsiteX111" fmla="*/ 4231436 w 6356680"/>
                <a:gd name="connsiteY111" fmla="*/ 376445 h 3483307"/>
                <a:gd name="connsiteX112" fmla="*/ 4226672 w 6356680"/>
                <a:gd name="connsiteY112" fmla="*/ 395505 h 3483307"/>
                <a:gd name="connsiteX113" fmla="*/ 4207608 w 6356680"/>
                <a:gd name="connsiteY113" fmla="*/ 409801 h 3483307"/>
                <a:gd name="connsiteX114" fmla="*/ 4183784 w 6356680"/>
                <a:gd name="connsiteY114" fmla="*/ 424097 h 3483307"/>
                <a:gd name="connsiteX115" fmla="*/ 4169488 w 6356680"/>
                <a:gd name="connsiteY115" fmla="*/ 452687 h 3483307"/>
                <a:gd name="connsiteX116" fmla="*/ 4164724 w 6356680"/>
                <a:gd name="connsiteY116" fmla="*/ 481277 h 3483307"/>
                <a:gd name="connsiteX117" fmla="*/ 4174252 w 6356680"/>
                <a:gd name="connsiteY117" fmla="*/ 495573 h 3483307"/>
                <a:gd name="connsiteX118" fmla="*/ 4179020 w 6356680"/>
                <a:gd name="connsiteY118" fmla="*/ 505103 h 3483307"/>
                <a:gd name="connsiteX119" fmla="*/ 4179020 w 6356680"/>
                <a:gd name="connsiteY119" fmla="*/ 519399 h 3483307"/>
                <a:gd name="connsiteX120" fmla="*/ 4183784 w 6356680"/>
                <a:gd name="connsiteY120" fmla="*/ 524163 h 3483307"/>
                <a:gd name="connsiteX121" fmla="*/ 4193316 w 6356680"/>
                <a:gd name="connsiteY121" fmla="*/ 514633 h 3483307"/>
                <a:gd name="connsiteX122" fmla="*/ 4221904 w 6356680"/>
                <a:gd name="connsiteY122" fmla="*/ 486043 h 3483307"/>
                <a:gd name="connsiteX123" fmla="*/ 4236200 w 6356680"/>
                <a:gd name="connsiteY123" fmla="*/ 481277 h 3483307"/>
                <a:gd name="connsiteX124" fmla="*/ 4255260 w 6356680"/>
                <a:gd name="connsiteY124" fmla="*/ 476513 h 3483307"/>
                <a:gd name="connsiteX125" fmla="*/ 4288616 w 6356680"/>
                <a:gd name="connsiteY125" fmla="*/ 481277 h 3483307"/>
                <a:gd name="connsiteX126" fmla="*/ 4312444 w 6356680"/>
                <a:gd name="connsiteY126" fmla="*/ 486043 h 3483307"/>
                <a:gd name="connsiteX127" fmla="*/ 4321972 w 6356680"/>
                <a:gd name="connsiteY127" fmla="*/ 500339 h 3483307"/>
                <a:gd name="connsiteX128" fmla="*/ 4331504 w 6356680"/>
                <a:gd name="connsiteY128" fmla="*/ 509869 h 3483307"/>
                <a:gd name="connsiteX129" fmla="*/ 4341032 w 6356680"/>
                <a:gd name="connsiteY129" fmla="*/ 505103 h 3483307"/>
                <a:gd name="connsiteX130" fmla="*/ 4345800 w 6356680"/>
                <a:gd name="connsiteY130" fmla="*/ 495573 h 3483307"/>
                <a:gd name="connsiteX131" fmla="*/ 4345800 w 6356680"/>
                <a:gd name="connsiteY131" fmla="*/ 481277 h 3483307"/>
                <a:gd name="connsiteX132" fmla="*/ 4345800 w 6356680"/>
                <a:gd name="connsiteY132" fmla="*/ 471747 h 3483307"/>
                <a:gd name="connsiteX133" fmla="*/ 4383920 w 6356680"/>
                <a:gd name="connsiteY133" fmla="*/ 443157 h 3483307"/>
                <a:gd name="connsiteX134" fmla="*/ 4407744 w 6356680"/>
                <a:gd name="connsiteY134" fmla="*/ 424097 h 3483307"/>
                <a:gd name="connsiteX135" fmla="*/ 4417276 w 6356680"/>
                <a:gd name="connsiteY135" fmla="*/ 419331 h 3483307"/>
                <a:gd name="connsiteX136" fmla="*/ 4431572 w 6356680"/>
                <a:gd name="connsiteY136" fmla="*/ 424097 h 3483307"/>
                <a:gd name="connsiteX137" fmla="*/ 4441100 w 6356680"/>
                <a:gd name="connsiteY137" fmla="*/ 424097 h 3483307"/>
                <a:gd name="connsiteX138" fmla="*/ 4469692 w 6356680"/>
                <a:gd name="connsiteY138" fmla="*/ 405035 h 3483307"/>
                <a:gd name="connsiteX139" fmla="*/ 4493516 w 6356680"/>
                <a:gd name="connsiteY139" fmla="*/ 385975 h 3483307"/>
                <a:gd name="connsiteX140" fmla="*/ 4493516 w 6356680"/>
                <a:gd name="connsiteY140" fmla="*/ 371679 h 3483307"/>
                <a:gd name="connsiteX141" fmla="*/ 4493516 w 6356680"/>
                <a:gd name="connsiteY141" fmla="*/ 357385 h 3483307"/>
                <a:gd name="connsiteX142" fmla="*/ 4503048 w 6356680"/>
                <a:gd name="connsiteY142" fmla="*/ 352619 h 3483307"/>
                <a:gd name="connsiteX143" fmla="*/ 4536404 w 6356680"/>
                <a:gd name="connsiteY143" fmla="*/ 347855 h 3483307"/>
                <a:gd name="connsiteX144" fmla="*/ 4541168 w 6356680"/>
                <a:gd name="connsiteY144" fmla="*/ 347855 h 3483307"/>
                <a:gd name="connsiteX145" fmla="*/ 4569760 w 6356680"/>
                <a:gd name="connsiteY145" fmla="*/ 333559 h 3483307"/>
                <a:gd name="connsiteX146" fmla="*/ 4612644 w 6356680"/>
                <a:gd name="connsiteY146" fmla="*/ 309733 h 3483307"/>
                <a:gd name="connsiteX147" fmla="*/ 4631704 w 6356680"/>
                <a:gd name="connsiteY147" fmla="*/ 290673 h 3483307"/>
                <a:gd name="connsiteX148" fmla="*/ 4669828 w 6356680"/>
                <a:gd name="connsiteY148" fmla="*/ 285907 h 3483307"/>
                <a:gd name="connsiteX149" fmla="*/ 4674592 w 6356680"/>
                <a:gd name="connsiteY149" fmla="*/ 281143 h 3483307"/>
                <a:gd name="connsiteX150" fmla="*/ 4684124 w 6356680"/>
                <a:gd name="connsiteY150" fmla="*/ 271613 h 3483307"/>
                <a:gd name="connsiteX151" fmla="*/ 4707948 w 6356680"/>
                <a:gd name="connsiteY151" fmla="*/ 257317 h 3483307"/>
                <a:gd name="connsiteX152" fmla="*/ 4722244 w 6356680"/>
                <a:gd name="connsiteY152" fmla="*/ 257317 h 3483307"/>
                <a:gd name="connsiteX153" fmla="*/ 4712712 w 6356680"/>
                <a:gd name="connsiteY153" fmla="*/ 290673 h 3483307"/>
                <a:gd name="connsiteX154" fmla="*/ 4698416 w 6356680"/>
                <a:gd name="connsiteY154" fmla="*/ 328793 h 3483307"/>
                <a:gd name="connsiteX155" fmla="*/ 4693652 w 6356680"/>
                <a:gd name="connsiteY155" fmla="*/ 338325 h 3483307"/>
                <a:gd name="connsiteX156" fmla="*/ 4655532 w 6356680"/>
                <a:gd name="connsiteY156" fmla="*/ 333559 h 3483307"/>
                <a:gd name="connsiteX157" fmla="*/ 4655532 w 6356680"/>
                <a:gd name="connsiteY157" fmla="*/ 347855 h 3483307"/>
                <a:gd name="connsiteX158" fmla="*/ 4660296 w 6356680"/>
                <a:gd name="connsiteY158" fmla="*/ 362149 h 3483307"/>
                <a:gd name="connsiteX159" fmla="*/ 4665064 w 6356680"/>
                <a:gd name="connsiteY159" fmla="*/ 371679 h 3483307"/>
                <a:gd name="connsiteX160" fmla="*/ 4669828 w 6356680"/>
                <a:gd name="connsiteY160" fmla="*/ 376445 h 3483307"/>
                <a:gd name="connsiteX161" fmla="*/ 4679356 w 6356680"/>
                <a:gd name="connsiteY161" fmla="*/ 390741 h 3483307"/>
                <a:gd name="connsiteX162" fmla="*/ 4717480 w 6356680"/>
                <a:gd name="connsiteY162" fmla="*/ 424097 h 3483307"/>
                <a:gd name="connsiteX163" fmla="*/ 4765128 w 6356680"/>
                <a:gd name="connsiteY163" fmla="*/ 462217 h 3483307"/>
                <a:gd name="connsiteX164" fmla="*/ 4817544 w 6356680"/>
                <a:gd name="connsiteY164" fmla="*/ 509869 h 3483307"/>
                <a:gd name="connsiteX165" fmla="*/ 4855668 w 6356680"/>
                <a:gd name="connsiteY165" fmla="*/ 538459 h 3483307"/>
                <a:gd name="connsiteX166" fmla="*/ 4869960 w 6356680"/>
                <a:gd name="connsiteY166" fmla="*/ 557519 h 3483307"/>
                <a:gd name="connsiteX167" fmla="*/ 4879492 w 6356680"/>
                <a:gd name="connsiteY167" fmla="*/ 567051 h 3483307"/>
                <a:gd name="connsiteX168" fmla="*/ 4908084 w 6356680"/>
                <a:gd name="connsiteY168" fmla="*/ 614701 h 3483307"/>
                <a:gd name="connsiteX169" fmla="*/ 4931908 w 6356680"/>
                <a:gd name="connsiteY169" fmla="*/ 657587 h 3483307"/>
                <a:gd name="connsiteX170" fmla="*/ 4974796 w 6356680"/>
                <a:gd name="connsiteY170" fmla="*/ 733829 h 3483307"/>
                <a:gd name="connsiteX171" fmla="*/ 5012916 w 6356680"/>
                <a:gd name="connsiteY171" fmla="*/ 805307 h 3483307"/>
                <a:gd name="connsiteX172" fmla="*/ 5055800 w 6356680"/>
                <a:gd name="connsiteY172" fmla="*/ 881549 h 3483307"/>
                <a:gd name="connsiteX173" fmla="*/ 5079628 w 6356680"/>
                <a:gd name="connsiteY173" fmla="*/ 929199 h 3483307"/>
                <a:gd name="connsiteX174" fmla="*/ 5132044 w 6356680"/>
                <a:gd name="connsiteY174" fmla="*/ 1024503 h 3483307"/>
                <a:gd name="connsiteX175" fmla="*/ 5146340 w 6356680"/>
                <a:gd name="connsiteY175" fmla="*/ 1053093 h 3483307"/>
                <a:gd name="connsiteX176" fmla="*/ 5170164 w 6356680"/>
                <a:gd name="connsiteY176" fmla="*/ 1105509 h 3483307"/>
                <a:gd name="connsiteX177" fmla="*/ 5193992 w 6356680"/>
                <a:gd name="connsiteY177" fmla="*/ 1157925 h 3483307"/>
                <a:gd name="connsiteX178" fmla="*/ 5213052 w 6356680"/>
                <a:gd name="connsiteY178" fmla="*/ 1200811 h 3483307"/>
                <a:gd name="connsiteX179" fmla="*/ 5222580 w 6356680"/>
                <a:gd name="connsiteY179" fmla="*/ 1205577 h 3483307"/>
                <a:gd name="connsiteX180" fmla="*/ 5227348 w 6356680"/>
                <a:gd name="connsiteY180" fmla="*/ 1196047 h 3483307"/>
                <a:gd name="connsiteX181" fmla="*/ 5227348 w 6356680"/>
                <a:gd name="connsiteY181" fmla="*/ 1186517 h 3483307"/>
                <a:gd name="connsiteX182" fmla="*/ 5236876 w 6356680"/>
                <a:gd name="connsiteY182" fmla="*/ 1181751 h 3483307"/>
                <a:gd name="connsiteX183" fmla="*/ 5251172 w 6356680"/>
                <a:gd name="connsiteY183" fmla="*/ 1167457 h 3483307"/>
                <a:gd name="connsiteX184" fmla="*/ 5255936 w 6356680"/>
                <a:gd name="connsiteY184" fmla="*/ 1167457 h 3483307"/>
                <a:gd name="connsiteX185" fmla="*/ 5270232 w 6356680"/>
                <a:gd name="connsiteY185" fmla="*/ 1167457 h 3483307"/>
                <a:gd name="connsiteX186" fmla="*/ 5279764 w 6356680"/>
                <a:gd name="connsiteY186" fmla="*/ 1157925 h 3483307"/>
                <a:gd name="connsiteX187" fmla="*/ 5284528 w 6356680"/>
                <a:gd name="connsiteY187" fmla="*/ 1148395 h 3483307"/>
                <a:gd name="connsiteX188" fmla="*/ 5284528 w 6356680"/>
                <a:gd name="connsiteY188" fmla="*/ 1124571 h 3483307"/>
                <a:gd name="connsiteX189" fmla="*/ 5279764 w 6356680"/>
                <a:gd name="connsiteY189" fmla="*/ 1110275 h 3483307"/>
                <a:gd name="connsiteX190" fmla="*/ 5284528 w 6356680"/>
                <a:gd name="connsiteY190" fmla="*/ 1100745 h 3483307"/>
                <a:gd name="connsiteX191" fmla="*/ 5289292 w 6356680"/>
                <a:gd name="connsiteY191" fmla="*/ 1095979 h 3483307"/>
                <a:gd name="connsiteX192" fmla="*/ 5298824 w 6356680"/>
                <a:gd name="connsiteY192" fmla="*/ 1091215 h 3483307"/>
                <a:gd name="connsiteX193" fmla="*/ 5308352 w 6356680"/>
                <a:gd name="connsiteY193" fmla="*/ 1091215 h 3483307"/>
                <a:gd name="connsiteX194" fmla="*/ 5317884 w 6356680"/>
                <a:gd name="connsiteY194" fmla="*/ 1076919 h 3483307"/>
                <a:gd name="connsiteX195" fmla="*/ 5327416 w 6356680"/>
                <a:gd name="connsiteY195" fmla="*/ 1072153 h 3483307"/>
                <a:gd name="connsiteX196" fmla="*/ 5341712 w 6356680"/>
                <a:gd name="connsiteY196" fmla="*/ 1076919 h 3483307"/>
                <a:gd name="connsiteX197" fmla="*/ 5351240 w 6356680"/>
                <a:gd name="connsiteY197" fmla="*/ 1076919 h 3483307"/>
                <a:gd name="connsiteX198" fmla="*/ 5360772 w 6356680"/>
                <a:gd name="connsiteY198" fmla="*/ 1086449 h 3483307"/>
                <a:gd name="connsiteX199" fmla="*/ 5365536 w 6356680"/>
                <a:gd name="connsiteY199" fmla="*/ 1100745 h 3483307"/>
                <a:gd name="connsiteX200" fmla="*/ 5375064 w 6356680"/>
                <a:gd name="connsiteY200" fmla="*/ 1100745 h 3483307"/>
                <a:gd name="connsiteX201" fmla="*/ 5389360 w 6356680"/>
                <a:gd name="connsiteY201" fmla="*/ 1100745 h 3483307"/>
                <a:gd name="connsiteX202" fmla="*/ 5394128 w 6356680"/>
                <a:gd name="connsiteY202" fmla="*/ 1110275 h 3483307"/>
                <a:gd name="connsiteX203" fmla="*/ 5389360 w 6356680"/>
                <a:gd name="connsiteY203" fmla="*/ 1129335 h 3483307"/>
                <a:gd name="connsiteX204" fmla="*/ 5384596 w 6356680"/>
                <a:gd name="connsiteY204" fmla="*/ 1143631 h 3483307"/>
                <a:gd name="connsiteX205" fmla="*/ 5379832 w 6356680"/>
                <a:gd name="connsiteY205" fmla="*/ 1153161 h 3483307"/>
                <a:gd name="connsiteX206" fmla="*/ 5389360 w 6356680"/>
                <a:gd name="connsiteY206" fmla="*/ 1157925 h 3483307"/>
                <a:gd name="connsiteX207" fmla="*/ 5422716 w 6356680"/>
                <a:gd name="connsiteY207" fmla="*/ 1153161 h 3483307"/>
                <a:gd name="connsiteX208" fmla="*/ 5432248 w 6356680"/>
                <a:gd name="connsiteY208" fmla="*/ 1157925 h 3483307"/>
                <a:gd name="connsiteX209" fmla="*/ 5437012 w 6356680"/>
                <a:gd name="connsiteY209" fmla="*/ 1167457 h 3483307"/>
                <a:gd name="connsiteX210" fmla="*/ 5437012 w 6356680"/>
                <a:gd name="connsiteY210" fmla="*/ 1176987 h 3483307"/>
                <a:gd name="connsiteX211" fmla="*/ 5441776 w 6356680"/>
                <a:gd name="connsiteY211" fmla="*/ 1191281 h 3483307"/>
                <a:gd name="connsiteX212" fmla="*/ 5437012 w 6356680"/>
                <a:gd name="connsiteY212" fmla="*/ 1205577 h 3483307"/>
                <a:gd name="connsiteX213" fmla="*/ 5441776 w 6356680"/>
                <a:gd name="connsiteY213" fmla="*/ 1210343 h 3483307"/>
                <a:gd name="connsiteX214" fmla="*/ 5470368 w 6356680"/>
                <a:gd name="connsiteY214" fmla="*/ 1210343 h 3483307"/>
                <a:gd name="connsiteX215" fmla="*/ 5489428 w 6356680"/>
                <a:gd name="connsiteY215" fmla="*/ 1205577 h 3483307"/>
                <a:gd name="connsiteX216" fmla="*/ 5518020 w 6356680"/>
                <a:gd name="connsiteY216" fmla="*/ 1205577 h 3483307"/>
                <a:gd name="connsiteX217" fmla="*/ 5541844 w 6356680"/>
                <a:gd name="connsiteY217" fmla="*/ 1219873 h 3483307"/>
                <a:gd name="connsiteX218" fmla="*/ 5560904 w 6356680"/>
                <a:gd name="connsiteY218" fmla="*/ 1215107 h 3483307"/>
                <a:gd name="connsiteX219" fmla="*/ 5579968 w 6356680"/>
                <a:gd name="connsiteY219" fmla="*/ 1210343 h 3483307"/>
                <a:gd name="connsiteX220" fmla="*/ 5603792 w 6356680"/>
                <a:gd name="connsiteY220" fmla="*/ 1215107 h 3483307"/>
                <a:gd name="connsiteX221" fmla="*/ 5622852 w 6356680"/>
                <a:gd name="connsiteY221" fmla="*/ 1205577 h 3483307"/>
                <a:gd name="connsiteX222" fmla="*/ 5637148 w 6356680"/>
                <a:gd name="connsiteY222" fmla="*/ 1191281 h 3483307"/>
                <a:gd name="connsiteX223" fmla="*/ 5637148 w 6356680"/>
                <a:gd name="connsiteY223" fmla="*/ 1176987 h 3483307"/>
                <a:gd name="connsiteX224" fmla="*/ 5646680 w 6356680"/>
                <a:gd name="connsiteY224" fmla="*/ 1172221 h 3483307"/>
                <a:gd name="connsiteX225" fmla="*/ 5670504 w 6356680"/>
                <a:gd name="connsiteY225" fmla="*/ 1172221 h 3483307"/>
                <a:gd name="connsiteX226" fmla="*/ 5684800 w 6356680"/>
                <a:gd name="connsiteY226" fmla="*/ 1172221 h 3483307"/>
                <a:gd name="connsiteX227" fmla="*/ 5699096 w 6356680"/>
                <a:gd name="connsiteY227" fmla="*/ 1157925 h 3483307"/>
                <a:gd name="connsiteX228" fmla="*/ 5708624 w 6356680"/>
                <a:gd name="connsiteY228" fmla="*/ 1148395 h 3483307"/>
                <a:gd name="connsiteX229" fmla="*/ 5727684 w 6356680"/>
                <a:gd name="connsiteY229" fmla="*/ 1148395 h 3483307"/>
                <a:gd name="connsiteX230" fmla="*/ 5737216 w 6356680"/>
                <a:gd name="connsiteY230" fmla="*/ 1148395 h 3483307"/>
                <a:gd name="connsiteX231" fmla="*/ 5775336 w 6356680"/>
                <a:gd name="connsiteY231" fmla="*/ 1162691 h 3483307"/>
                <a:gd name="connsiteX232" fmla="*/ 5794396 w 6356680"/>
                <a:gd name="connsiteY232" fmla="*/ 1172221 h 3483307"/>
                <a:gd name="connsiteX233" fmla="*/ 5818224 w 6356680"/>
                <a:gd name="connsiteY233" fmla="*/ 1191281 h 3483307"/>
                <a:gd name="connsiteX234" fmla="*/ 5832520 w 6356680"/>
                <a:gd name="connsiteY234" fmla="*/ 1200811 h 3483307"/>
                <a:gd name="connsiteX235" fmla="*/ 5842048 w 6356680"/>
                <a:gd name="connsiteY235" fmla="*/ 1224637 h 3483307"/>
                <a:gd name="connsiteX236" fmla="*/ 5856344 w 6356680"/>
                <a:gd name="connsiteY236" fmla="*/ 1243699 h 3483307"/>
                <a:gd name="connsiteX237" fmla="*/ 5865872 w 6356680"/>
                <a:gd name="connsiteY237" fmla="*/ 1262759 h 3483307"/>
                <a:gd name="connsiteX238" fmla="*/ 5870640 w 6356680"/>
                <a:gd name="connsiteY238" fmla="*/ 1286585 h 3483307"/>
                <a:gd name="connsiteX239" fmla="*/ 5880168 w 6356680"/>
                <a:gd name="connsiteY239" fmla="*/ 1319941 h 3483307"/>
                <a:gd name="connsiteX240" fmla="*/ 5889700 w 6356680"/>
                <a:gd name="connsiteY240" fmla="*/ 1334235 h 3483307"/>
                <a:gd name="connsiteX241" fmla="*/ 5903996 w 6356680"/>
                <a:gd name="connsiteY241" fmla="*/ 1334235 h 3483307"/>
                <a:gd name="connsiteX242" fmla="*/ 5918292 w 6356680"/>
                <a:gd name="connsiteY242" fmla="*/ 1339001 h 3483307"/>
                <a:gd name="connsiteX243" fmla="*/ 5932584 w 6356680"/>
                <a:gd name="connsiteY243" fmla="*/ 1343765 h 3483307"/>
                <a:gd name="connsiteX244" fmla="*/ 5970708 w 6356680"/>
                <a:gd name="connsiteY244" fmla="*/ 1367591 h 3483307"/>
                <a:gd name="connsiteX245" fmla="*/ 5985000 w 6356680"/>
                <a:gd name="connsiteY245" fmla="*/ 1372357 h 3483307"/>
                <a:gd name="connsiteX246" fmla="*/ 5994532 w 6356680"/>
                <a:gd name="connsiteY246" fmla="*/ 1377121 h 3483307"/>
                <a:gd name="connsiteX247" fmla="*/ 5994532 w 6356680"/>
                <a:gd name="connsiteY247" fmla="*/ 1391417 h 3483307"/>
                <a:gd name="connsiteX248" fmla="*/ 5989768 w 6356680"/>
                <a:gd name="connsiteY248" fmla="*/ 1405713 h 3483307"/>
                <a:gd name="connsiteX249" fmla="*/ 5994532 w 6356680"/>
                <a:gd name="connsiteY249" fmla="*/ 1420007 h 3483307"/>
                <a:gd name="connsiteX250" fmla="*/ 6008828 w 6356680"/>
                <a:gd name="connsiteY250" fmla="*/ 1434303 h 3483307"/>
                <a:gd name="connsiteX251" fmla="*/ 6018360 w 6356680"/>
                <a:gd name="connsiteY251" fmla="*/ 1453363 h 3483307"/>
                <a:gd name="connsiteX252" fmla="*/ 6027888 w 6356680"/>
                <a:gd name="connsiteY252" fmla="*/ 1472425 h 3483307"/>
                <a:gd name="connsiteX253" fmla="*/ 6032652 w 6356680"/>
                <a:gd name="connsiteY253" fmla="*/ 1486719 h 3483307"/>
                <a:gd name="connsiteX254" fmla="*/ 6042184 w 6356680"/>
                <a:gd name="connsiteY254" fmla="*/ 1486719 h 3483307"/>
                <a:gd name="connsiteX255" fmla="*/ 6051712 w 6356680"/>
                <a:gd name="connsiteY255" fmla="*/ 1481955 h 3483307"/>
                <a:gd name="connsiteX256" fmla="*/ 6075540 w 6356680"/>
                <a:gd name="connsiteY256" fmla="*/ 1486719 h 3483307"/>
                <a:gd name="connsiteX257" fmla="*/ 6132720 w 6356680"/>
                <a:gd name="connsiteY257" fmla="*/ 1501015 h 3483307"/>
                <a:gd name="connsiteX258" fmla="*/ 6142252 w 6356680"/>
                <a:gd name="connsiteY258" fmla="*/ 1501015 h 3483307"/>
                <a:gd name="connsiteX259" fmla="*/ 6147016 w 6356680"/>
                <a:gd name="connsiteY259" fmla="*/ 1510545 h 3483307"/>
                <a:gd name="connsiteX260" fmla="*/ 6156548 w 6356680"/>
                <a:gd name="connsiteY260" fmla="*/ 1510545 h 3483307"/>
                <a:gd name="connsiteX261" fmla="*/ 6166076 w 6356680"/>
                <a:gd name="connsiteY261" fmla="*/ 1510545 h 3483307"/>
                <a:gd name="connsiteX262" fmla="*/ 6180372 w 6356680"/>
                <a:gd name="connsiteY262" fmla="*/ 1510545 h 3483307"/>
                <a:gd name="connsiteX263" fmla="*/ 6189904 w 6356680"/>
                <a:gd name="connsiteY263" fmla="*/ 1501015 h 3483307"/>
                <a:gd name="connsiteX264" fmla="*/ 6199432 w 6356680"/>
                <a:gd name="connsiteY264" fmla="*/ 1491485 h 3483307"/>
                <a:gd name="connsiteX265" fmla="*/ 6218492 w 6356680"/>
                <a:gd name="connsiteY265" fmla="*/ 1481955 h 3483307"/>
                <a:gd name="connsiteX266" fmla="*/ 6232788 w 6356680"/>
                <a:gd name="connsiteY266" fmla="*/ 1462895 h 3483307"/>
                <a:gd name="connsiteX267" fmla="*/ 6247084 w 6356680"/>
                <a:gd name="connsiteY267" fmla="*/ 1448599 h 3483307"/>
                <a:gd name="connsiteX268" fmla="*/ 6256616 w 6356680"/>
                <a:gd name="connsiteY268" fmla="*/ 1443833 h 3483307"/>
                <a:gd name="connsiteX269" fmla="*/ 6266144 w 6356680"/>
                <a:gd name="connsiteY269" fmla="*/ 1453363 h 3483307"/>
                <a:gd name="connsiteX270" fmla="*/ 6266144 w 6356680"/>
                <a:gd name="connsiteY270" fmla="*/ 1467659 h 3483307"/>
                <a:gd name="connsiteX271" fmla="*/ 6256616 w 6356680"/>
                <a:gd name="connsiteY271" fmla="*/ 1472425 h 3483307"/>
                <a:gd name="connsiteX272" fmla="*/ 6247084 w 6356680"/>
                <a:gd name="connsiteY272" fmla="*/ 1486719 h 3483307"/>
                <a:gd name="connsiteX273" fmla="*/ 6251848 w 6356680"/>
                <a:gd name="connsiteY273" fmla="*/ 1496251 h 3483307"/>
                <a:gd name="connsiteX274" fmla="*/ 6261380 w 6356680"/>
                <a:gd name="connsiteY274" fmla="*/ 1501015 h 3483307"/>
                <a:gd name="connsiteX275" fmla="*/ 6280440 w 6356680"/>
                <a:gd name="connsiteY275" fmla="*/ 1515311 h 3483307"/>
                <a:gd name="connsiteX276" fmla="*/ 6299500 w 6356680"/>
                <a:gd name="connsiteY276" fmla="*/ 1558197 h 3483307"/>
                <a:gd name="connsiteX277" fmla="*/ 6309032 w 6356680"/>
                <a:gd name="connsiteY277" fmla="*/ 1562961 h 3483307"/>
                <a:gd name="connsiteX278" fmla="*/ 6318560 w 6356680"/>
                <a:gd name="connsiteY278" fmla="*/ 1572491 h 3483307"/>
                <a:gd name="connsiteX279" fmla="*/ 6332856 w 6356680"/>
                <a:gd name="connsiteY279" fmla="*/ 1577257 h 3483307"/>
                <a:gd name="connsiteX280" fmla="*/ 6342388 w 6356680"/>
                <a:gd name="connsiteY280" fmla="*/ 1582023 h 3483307"/>
                <a:gd name="connsiteX281" fmla="*/ 6356680 w 6356680"/>
                <a:gd name="connsiteY281" fmla="*/ 1596317 h 3483307"/>
                <a:gd name="connsiteX282" fmla="*/ 6356680 w 6356680"/>
                <a:gd name="connsiteY282" fmla="*/ 1610613 h 3483307"/>
                <a:gd name="connsiteX283" fmla="*/ 6342388 w 6356680"/>
                <a:gd name="connsiteY283" fmla="*/ 1605847 h 3483307"/>
                <a:gd name="connsiteX284" fmla="*/ 6313796 w 6356680"/>
                <a:gd name="connsiteY284" fmla="*/ 1605847 h 3483307"/>
                <a:gd name="connsiteX285" fmla="*/ 6299500 w 6356680"/>
                <a:gd name="connsiteY285" fmla="*/ 1610613 h 3483307"/>
                <a:gd name="connsiteX286" fmla="*/ 6289968 w 6356680"/>
                <a:gd name="connsiteY286" fmla="*/ 1610613 h 3483307"/>
                <a:gd name="connsiteX287" fmla="*/ 6275676 w 6356680"/>
                <a:gd name="connsiteY287" fmla="*/ 1620143 h 3483307"/>
                <a:gd name="connsiteX288" fmla="*/ 6270908 w 6356680"/>
                <a:gd name="connsiteY288" fmla="*/ 1629673 h 3483307"/>
                <a:gd name="connsiteX289" fmla="*/ 6266144 w 6356680"/>
                <a:gd name="connsiteY289" fmla="*/ 1648735 h 3483307"/>
                <a:gd name="connsiteX290" fmla="*/ 6270908 w 6356680"/>
                <a:gd name="connsiteY290" fmla="*/ 1667795 h 3483307"/>
                <a:gd name="connsiteX291" fmla="*/ 6261380 w 6356680"/>
                <a:gd name="connsiteY291" fmla="*/ 1705915 h 3483307"/>
                <a:gd name="connsiteX292" fmla="*/ 6256616 w 6356680"/>
                <a:gd name="connsiteY292" fmla="*/ 1720211 h 3483307"/>
                <a:gd name="connsiteX293" fmla="*/ 6237552 w 6356680"/>
                <a:gd name="connsiteY293" fmla="*/ 1744037 h 3483307"/>
                <a:gd name="connsiteX294" fmla="*/ 6228024 w 6356680"/>
                <a:gd name="connsiteY294" fmla="*/ 1748801 h 3483307"/>
                <a:gd name="connsiteX295" fmla="*/ 6208964 w 6356680"/>
                <a:gd name="connsiteY295" fmla="*/ 1753567 h 3483307"/>
                <a:gd name="connsiteX296" fmla="*/ 6194668 w 6356680"/>
                <a:gd name="connsiteY296" fmla="*/ 1763097 h 3483307"/>
                <a:gd name="connsiteX297" fmla="*/ 6161312 w 6356680"/>
                <a:gd name="connsiteY297" fmla="*/ 1767863 h 3483307"/>
                <a:gd name="connsiteX298" fmla="*/ 6123192 w 6356680"/>
                <a:gd name="connsiteY298" fmla="*/ 1772627 h 3483307"/>
                <a:gd name="connsiteX299" fmla="*/ 6113660 w 6356680"/>
                <a:gd name="connsiteY299" fmla="*/ 1777393 h 3483307"/>
                <a:gd name="connsiteX300" fmla="*/ 6104128 w 6356680"/>
                <a:gd name="connsiteY300" fmla="*/ 1796453 h 3483307"/>
                <a:gd name="connsiteX301" fmla="*/ 6099364 w 6356680"/>
                <a:gd name="connsiteY301" fmla="*/ 1810749 h 3483307"/>
                <a:gd name="connsiteX302" fmla="*/ 6094600 w 6356680"/>
                <a:gd name="connsiteY302" fmla="*/ 1820279 h 3483307"/>
                <a:gd name="connsiteX303" fmla="*/ 6085068 w 6356680"/>
                <a:gd name="connsiteY303" fmla="*/ 1858399 h 3483307"/>
                <a:gd name="connsiteX304" fmla="*/ 6075540 w 6356680"/>
                <a:gd name="connsiteY304" fmla="*/ 1886991 h 3483307"/>
                <a:gd name="connsiteX305" fmla="*/ 6085068 w 6356680"/>
                <a:gd name="connsiteY305" fmla="*/ 1929877 h 3483307"/>
                <a:gd name="connsiteX306" fmla="*/ 6085068 w 6356680"/>
                <a:gd name="connsiteY306" fmla="*/ 1972763 h 3483307"/>
                <a:gd name="connsiteX307" fmla="*/ 6085068 w 6356680"/>
                <a:gd name="connsiteY307" fmla="*/ 1987059 h 3483307"/>
                <a:gd name="connsiteX308" fmla="*/ 6094600 w 6356680"/>
                <a:gd name="connsiteY308" fmla="*/ 2006119 h 3483307"/>
                <a:gd name="connsiteX309" fmla="*/ 6099364 w 6356680"/>
                <a:gd name="connsiteY309" fmla="*/ 2020415 h 3483307"/>
                <a:gd name="connsiteX310" fmla="*/ 6099364 w 6356680"/>
                <a:gd name="connsiteY310" fmla="*/ 2039475 h 3483307"/>
                <a:gd name="connsiteX311" fmla="*/ 6085068 w 6356680"/>
                <a:gd name="connsiteY311" fmla="*/ 2053769 h 3483307"/>
                <a:gd name="connsiteX312" fmla="*/ 6080304 w 6356680"/>
                <a:gd name="connsiteY312" fmla="*/ 2077595 h 3483307"/>
                <a:gd name="connsiteX313" fmla="*/ 6070776 w 6356680"/>
                <a:gd name="connsiteY313" fmla="*/ 2087125 h 3483307"/>
                <a:gd name="connsiteX314" fmla="*/ 6051712 w 6356680"/>
                <a:gd name="connsiteY314" fmla="*/ 2087125 h 3483307"/>
                <a:gd name="connsiteX315" fmla="*/ 6032652 w 6356680"/>
                <a:gd name="connsiteY315" fmla="*/ 2091891 h 3483307"/>
                <a:gd name="connsiteX316" fmla="*/ 6013592 w 6356680"/>
                <a:gd name="connsiteY316" fmla="*/ 2106187 h 3483307"/>
                <a:gd name="connsiteX317" fmla="*/ 5999296 w 6356680"/>
                <a:gd name="connsiteY317" fmla="*/ 2120481 h 3483307"/>
                <a:gd name="connsiteX318" fmla="*/ 5975472 w 6356680"/>
                <a:gd name="connsiteY318" fmla="*/ 2134777 h 3483307"/>
                <a:gd name="connsiteX319" fmla="*/ 5961176 w 6356680"/>
                <a:gd name="connsiteY319" fmla="*/ 2139543 h 3483307"/>
                <a:gd name="connsiteX320" fmla="*/ 5956412 w 6356680"/>
                <a:gd name="connsiteY320" fmla="*/ 2130011 h 3483307"/>
                <a:gd name="connsiteX321" fmla="*/ 5951648 w 6356680"/>
                <a:gd name="connsiteY321" fmla="*/ 2110951 h 3483307"/>
                <a:gd name="connsiteX322" fmla="*/ 5942116 w 6356680"/>
                <a:gd name="connsiteY322" fmla="*/ 2106187 h 3483307"/>
                <a:gd name="connsiteX323" fmla="*/ 5932584 w 6356680"/>
                <a:gd name="connsiteY323" fmla="*/ 2106187 h 3483307"/>
                <a:gd name="connsiteX324" fmla="*/ 5923056 w 6356680"/>
                <a:gd name="connsiteY324" fmla="*/ 2106187 h 3483307"/>
                <a:gd name="connsiteX325" fmla="*/ 5889700 w 6356680"/>
                <a:gd name="connsiteY325" fmla="*/ 2101421 h 3483307"/>
                <a:gd name="connsiteX326" fmla="*/ 5870640 w 6356680"/>
                <a:gd name="connsiteY326" fmla="*/ 2101421 h 3483307"/>
                <a:gd name="connsiteX327" fmla="*/ 5856344 w 6356680"/>
                <a:gd name="connsiteY327" fmla="*/ 2106187 h 3483307"/>
                <a:gd name="connsiteX328" fmla="*/ 5842048 w 6356680"/>
                <a:gd name="connsiteY328" fmla="*/ 2106187 h 3483307"/>
                <a:gd name="connsiteX329" fmla="*/ 5813456 w 6356680"/>
                <a:gd name="connsiteY329" fmla="*/ 2101421 h 3483307"/>
                <a:gd name="connsiteX330" fmla="*/ 5794396 w 6356680"/>
                <a:gd name="connsiteY330" fmla="*/ 2096655 h 3483307"/>
                <a:gd name="connsiteX331" fmla="*/ 5780100 w 6356680"/>
                <a:gd name="connsiteY331" fmla="*/ 2091891 h 3483307"/>
                <a:gd name="connsiteX332" fmla="*/ 5751512 w 6356680"/>
                <a:gd name="connsiteY332" fmla="*/ 2072831 h 3483307"/>
                <a:gd name="connsiteX333" fmla="*/ 5713392 w 6356680"/>
                <a:gd name="connsiteY333" fmla="*/ 2058535 h 3483307"/>
                <a:gd name="connsiteX334" fmla="*/ 5699096 w 6356680"/>
                <a:gd name="connsiteY334" fmla="*/ 2053769 h 3483307"/>
                <a:gd name="connsiteX335" fmla="*/ 5689564 w 6356680"/>
                <a:gd name="connsiteY335" fmla="*/ 2058535 h 3483307"/>
                <a:gd name="connsiteX336" fmla="*/ 5684800 w 6356680"/>
                <a:gd name="connsiteY336" fmla="*/ 2068065 h 3483307"/>
                <a:gd name="connsiteX337" fmla="*/ 5684800 w 6356680"/>
                <a:gd name="connsiteY337" fmla="*/ 2091891 h 3483307"/>
                <a:gd name="connsiteX338" fmla="*/ 5680032 w 6356680"/>
                <a:gd name="connsiteY338" fmla="*/ 2106187 h 3483307"/>
                <a:gd name="connsiteX339" fmla="*/ 5651444 w 6356680"/>
                <a:gd name="connsiteY339" fmla="*/ 2187193 h 3483307"/>
                <a:gd name="connsiteX340" fmla="*/ 5637148 w 6356680"/>
                <a:gd name="connsiteY340" fmla="*/ 2239609 h 3483307"/>
                <a:gd name="connsiteX341" fmla="*/ 5613320 w 6356680"/>
                <a:gd name="connsiteY341" fmla="*/ 2292027 h 3483307"/>
                <a:gd name="connsiteX342" fmla="*/ 5608556 w 6356680"/>
                <a:gd name="connsiteY342" fmla="*/ 2325383 h 3483307"/>
                <a:gd name="connsiteX343" fmla="*/ 5594260 w 6356680"/>
                <a:gd name="connsiteY343" fmla="*/ 2368269 h 3483307"/>
                <a:gd name="connsiteX344" fmla="*/ 5579968 w 6356680"/>
                <a:gd name="connsiteY344" fmla="*/ 2401623 h 3483307"/>
                <a:gd name="connsiteX345" fmla="*/ 5575200 w 6356680"/>
                <a:gd name="connsiteY345" fmla="*/ 2415919 h 3483307"/>
                <a:gd name="connsiteX346" fmla="*/ 5575200 w 6356680"/>
                <a:gd name="connsiteY346" fmla="*/ 2425449 h 3483307"/>
                <a:gd name="connsiteX347" fmla="*/ 5579968 w 6356680"/>
                <a:gd name="connsiteY347" fmla="*/ 2434979 h 3483307"/>
                <a:gd name="connsiteX348" fmla="*/ 5599028 w 6356680"/>
                <a:gd name="connsiteY348" fmla="*/ 2444511 h 3483307"/>
                <a:gd name="connsiteX349" fmla="*/ 5618088 w 6356680"/>
                <a:gd name="connsiteY349" fmla="*/ 2449275 h 3483307"/>
                <a:gd name="connsiteX350" fmla="*/ 5622852 w 6356680"/>
                <a:gd name="connsiteY350" fmla="*/ 2454041 h 3483307"/>
                <a:gd name="connsiteX351" fmla="*/ 5622852 w 6356680"/>
                <a:gd name="connsiteY351" fmla="*/ 2468335 h 3483307"/>
                <a:gd name="connsiteX352" fmla="*/ 5622852 w 6356680"/>
                <a:gd name="connsiteY352" fmla="*/ 2482631 h 3483307"/>
                <a:gd name="connsiteX353" fmla="*/ 5618088 w 6356680"/>
                <a:gd name="connsiteY353" fmla="*/ 2501691 h 3483307"/>
                <a:gd name="connsiteX354" fmla="*/ 5613320 w 6356680"/>
                <a:gd name="connsiteY354" fmla="*/ 2515987 h 3483307"/>
                <a:gd name="connsiteX355" fmla="*/ 5608556 w 6356680"/>
                <a:gd name="connsiteY355" fmla="*/ 2520753 h 3483307"/>
                <a:gd name="connsiteX356" fmla="*/ 5603792 w 6356680"/>
                <a:gd name="connsiteY356" fmla="*/ 2520753 h 3483307"/>
                <a:gd name="connsiteX357" fmla="*/ 5589496 w 6356680"/>
                <a:gd name="connsiteY357" fmla="*/ 2511223 h 3483307"/>
                <a:gd name="connsiteX358" fmla="*/ 5575200 w 6356680"/>
                <a:gd name="connsiteY358" fmla="*/ 2501691 h 3483307"/>
                <a:gd name="connsiteX359" fmla="*/ 5570436 w 6356680"/>
                <a:gd name="connsiteY359" fmla="*/ 2501691 h 3483307"/>
                <a:gd name="connsiteX360" fmla="*/ 5546612 w 6356680"/>
                <a:gd name="connsiteY360" fmla="*/ 2506457 h 3483307"/>
                <a:gd name="connsiteX361" fmla="*/ 5527552 w 6356680"/>
                <a:gd name="connsiteY361" fmla="*/ 2515987 h 3483307"/>
                <a:gd name="connsiteX362" fmla="*/ 5518020 w 6356680"/>
                <a:gd name="connsiteY362" fmla="*/ 2515987 h 3483307"/>
                <a:gd name="connsiteX363" fmla="*/ 5508488 w 6356680"/>
                <a:gd name="connsiteY363" fmla="*/ 2506457 h 3483307"/>
                <a:gd name="connsiteX364" fmla="*/ 5494192 w 6356680"/>
                <a:gd name="connsiteY364" fmla="*/ 2496927 h 3483307"/>
                <a:gd name="connsiteX365" fmla="*/ 5489428 w 6356680"/>
                <a:gd name="connsiteY365" fmla="*/ 2482631 h 3483307"/>
                <a:gd name="connsiteX366" fmla="*/ 5479900 w 6356680"/>
                <a:gd name="connsiteY366" fmla="*/ 2473101 h 3483307"/>
                <a:gd name="connsiteX367" fmla="*/ 5465604 w 6356680"/>
                <a:gd name="connsiteY367" fmla="*/ 2482631 h 3483307"/>
                <a:gd name="connsiteX368" fmla="*/ 5422716 w 6356680"/>
                <a:gd name="connsiteY368" fmla="*/ 2496927 h 3483307"/>
                <a:gd name="connsiteX369" fmla="*/ 5375064 w 6356680"/>
                <a:gd name="connsiteY369" fmla="*/ 2511223 h 3483307"/>
                <a:gd name="connsiteX370" fmla="*/ 5346476 w 6356680"/>
                <a:gd name="connsiteY370" fmla="*/ 2520753 h 3483307"/>
                <a:gd name="connsiteX371" fmla="*/ 5336944 w 6356680"/>
                <a:gd name="connsiteY371" fmla="*/ 2520753 h 3483307"/>
                <a:gd name="connsiteX372" fmla="*/ 5313120 w 6356680"/>
                <a:gd name="connsiteY372" fmla="*/ 2520753 h 3483307"/>
                <a:gd name="connsiteX373" fmla="*/ 5294060 w 6356680"/>
                <a:gd name="connsiteY373" fmla="*/ 2525517 h 3483307"/>
                <a:gd name="connsiteX374" fmla="*/ 5279764 w 6356680"/>
                <a:gd name="connsiteY374" fmla="*/ 2535047 h 3483307"/>
                <a:gd name="connsiteX375" fmla="*/ 5251172 w 6356680"/>
                <a:gd name="connsiteY375" fmla="*/ 2539813 h 3483307"/>
                <a:gd name="connsiteX376" fmla="*/ 5222580 w 6356680"/>
                <a:gd name="connsiteY376" fmla="*/ 2549343 h 3483307"/>
                <a:gd name="connsiteX377" fmla="*/ 5208288 w 6356680"/>
                <a:gd name="connsiteY377" fmla="*/ 2563639 h 3483307"/>
                <a:gd name="connsiteX378" fmla="*/ 5193992 w 6356680"/>
                <a:gd name="connsiteY378" fmla="*/ 2573169 h 3483307"/>
                <a:gd name="connsiteX379" fmla="*/ 5193992 w 6356680"/>
                <a:gd name="connsiteY379" fmla="*/ 2577933 h 3483307"/>
                <a:gd name="connsiteX380" fmla="*/ 5203520 w 6356680"/>
                <a:gd name="connsiteY380" fmla="*/ 2587463 h 3483307"/>
                <a:gd name="connsiteX381" fmla="*/ 5213052 w 6356680"/>
                <a:gd name="connsiteY381" fmla="*/ 2592229 h 3483307"/>
                <a:gd name="connsiteX382" fmla="*/ 5236876 w 6356680"/>
                <a:gd name="connsiteY382" fmla="*/ 2592229 h 3483307"/>
                <a:gd name="connsiteX383" fmla="*/ 5255936 w 6356680"/>
                <a:gd name="connsiteY383" fmla="*/ 2592229 h 3483307"/>
                <a:gd name="connsiteX384" fmla="*/ 5270232 w 6356680"/>
                <a:gd name="connsiteY384" fmla="*/ 2601759 h 3483307"/>
                <a:gd name="connsiteX385" fmla="*/ 5284528 w 6356680"/>
                <a:gd name="connsiteY385" fmla="*/ 2606525 h 3483307"/>
                <a:gd name="connsiteX386" fmla="*/ 5289292 w 6356680"/>
                <a:gd name="connsiteY386" fmla="*/ 2611289 h 3483307"/>
                <a:gd name="connsiteX387" fmla="*/ 5284528 w 6356680"/>
                <a:gd name="connsiteY387" fmla="*/ 2620819 h 3483307"/>
                <a:gd name="connsiteX388" fmla="*/ 5275000 w 6356680"/>
                <a:gd name="connsiteY388" fmla="*/ 2620819 h 3483307"/>
                <a:gd name="connsiteX389" fmla="*/ 5275000 w 6356680"/>
                <a:gd name="connsiteY389" fmla="*/ 2625585 h 3483307"/>
                <a:gd name="connsiteX390" fmla="*/ 5275000 w 6356680"/>
                <a:gd name="connsiteY390" fmla="*/ 2630351 h 3483307"/>
                <a:gd name="connsiteX391" fmla="*/ 5270232 w 6356680"/>
                <a:gd name="connsiteY391" fmla="*/ 2649411 h 3483307"/>
                <a:gd name="connsiteX392" fmla="*/ 5265468 w 6356680"/>
                <a:gd name="connsiteY392" fmla="*/ 2673237 h 3483307"/>
                <a:gd name="connsiteX393" fmla="*/ 5270232 w 6356680"/>
                <a:gd name="connsiteY393" fmla="*/ 2697063 h 3483307"/>
                <a:gd name="connsiteX394" fmla="*/ 5270232 w 6356680"/>
                <a:gd name="connsiteY394" fmla="*/ 2720887 h 3483307"/>
                <a:gd name="connsiteX395" fmla="*/ 5270232 w 6356680"/>
                <a:gd name="connsiteY395" fmla="*/ 2730419 h 3483307"/>
                <a:gd name="connsiteX396" fmla="*/ 5270232 w 6356680"/>
                <a:gd name="connsiteY396" fmla="*/ 2744713 h 3483307"/>
                <a:gd name="connsiteX397" fmla="*/ 5275000 w 6356680"/>
                <a:gd name="connsiteY397" fmla="*/ 2759009 h 3483307"/>
                <a:gd name="connsiteX398" fmla="*/ 5279764 w 6356680"/>
                <a:gd name="connsiteY398" fmla="*/ 2778069 h 3483307"/>
                <a:gd name="connsiteX399" fmla="*/ 5294060 w 6356680"/>
                <a:gd name="connsiteY399" fmla="*/ 2792365 h 3483307"/>
                <a:gd name="connsiteX400" fmla="*/ 5308352 w 6356680"/>
                <a:gd name="connsiteY400" fmla="*/ 2835251 h 3483307"/>
                <a:gd name="connsiteX401" fmla="*/ 5317884 w 6356680"/>
                <a:gd name="connsiteY401" fmla="*/ 2863841 h 3483307"/>
                <a:gd name="connsiteX402" fmla="*/ 5322648 w 6356680"/>
                <a:gd name="connsiteY402" fmla="*/ 2892433 h 3483307"/>
                <a:gd name="connsiteX403" fmla="*/ 5317884 w 6356680"/>
                <a:gd name="connsiteY403" fmla="*/ 2906727 h 3483307"/>
                <a:gd name="connsiteX404" fmla="*/ 5317884 w 6356680"/>
                <a:gd name="connsiteY404" fmla="*/ 2916257 h 3483307"/>
                <a:gd name="connsiteX405" fmla="*/ 5327416 w 6356680"/>
                <a:gd name="connsiteY405" fmla="*/ 2925787 h 3483307"/>
                <a:gd name="connsiteX406" fmla="*/ 5332180 w 6356680"/>
                <a:gd name="connsiteY406" fmla="*/ 2940083 h 3483307"/>
                <a:gd name="connsiteX407" fmla="*/ 5336944 w 6356680"/>
                <a:gd name="connsiteY407" fmla="*/ 2949613 h 3483307"/>
                <a:gd name="connsiteX408" fmla="*/ 5336944 w 6356680"/>
                <a:gd name="connsiteY408" fmla="*/ 2959143 h 3483307"/>
                <a:gd name="connsiteX409" fmla="*/ 5332180 w 6356680"/>
                <a:gd name="connsiteY409" fmla="*/ 2963909 h 3483307"/>
                <a:gd name="connsiteX410" fmla="*/ 5313120 w 6356680"/>
                <a:gd name="connsiteY410" fmla="*/ 2954379 h 3483307"/>
                <a:gd name="connsiteX411" fmla="*/ 5294060 w 6356680"/>
                <a:gd name="connsiteY411" fmla="*/ 2963909 h 3483307"/>
                <a:gd name="connsiteX412" fmla="*/ 5275000 w 6356680"/>
                <a:gd name="connsiteY412" fmla="*/ 2973439 h 3483307"/>
                <a:gd name="connsiteX413" fmla="*/ 5275000 w 6356680"/>
                <a:gd name="connsiteY413" fmla="*/ 2978205 h 3483307"/>
                <a:gd name="connsiteX414" fmla="*/ 5275000 w 6356680"/>
                <a:gd name="connsiteY414" fmla="*/ 2982969 h 3483307"/>
                <a:gd name="connsiteX415" fmla="*/ 5275000 w 6356680"/>
                <a:gd name="connsiteY415" fmla="*/ 2987735 h 3483307"/>
                <a:gd name="connsiteX416" fmla="*/ 5284528 w 6356680"/>
                <a:gd name="connsiteY416" fmla="*/ 2997265 h 3483307"/>
                <a:gd name="connsiteX417" fmla="*/ 5298824 w 6356680"/>
                <a:gd name="connsiteY417" fmla="*/ 3002031 h 3483307"/>
                <a:gd name="connsiteX418" fmla="*/ 5298824 w 6356680"/>
                <a:gd name="connsiteY418" fmla="*/ 3011561 h 3483307"/>
                <a:gd name="connsiteX419" fmla="*/ 5279764 w 6356680"/>
                <a:gd name="connsiteY419" fmla="*/ 3016325 h 3483307"/>
                <a:gd name="connsiteX420" fmla="*/ 5255936 w 6356680"/>
                <a:gd name="connsiteY420" fmla="*/ 3025855 h 3483307"/>
                <a:gd name="connsiteX421" fmla="*/ 5246408 w 6356680"/>
                <a:gd name="connsiteY421" fmla="*/ 3040151 h 3483307"/>
                <a:gd name="connsiteX422" fmla="*/ 5241640 w 6356680"/>
                <a:gd name="connsiteY422" fmla="*/ 3054447 h 3483307"/>
                <a:gd name="connsiteX423" fmla="*/ 5241640 w 6356680"/>
                <a:gd name="connsiteY423" fmla="*/ 3063977 h 3483307"/>
                <a:gd name="connsiteX424" fmla="*/ 5241640 w 6356680"/>
                <a:gd name="connsiteY424" fmla="*/ 3087803 h 3483307"/>
                <a:gd name="connsiteX425" fmla="*/ 5246408 w 6356680"/>
                <a:gd name="connsiteY425" fmla="*/ 3111627 h 3483307"/>
                <a:gd name="connsiteX426" fmla="*/ 5255936 w 6356680"/>
                <a:gd name="connsiteY426" fmla="*/ 3135453 h 3483307"/>
                <a:gd name="connsiteX427" fmla="*/ 5255936 w 6356680"/>
                <a:gd name="connsiteY427" fmla="*/ 3144983 h 3483307"/>
                <a:gd name="connsiteX428" fmla="*/ 5251172 w 6356680"/>
                <a:gd name="connsiteY428" fmla="*/ 3149749 h 3483307"/>
                <a:gd name="connsiteX429" fmla="*/ 5246408 w 6356680"/>
                <a:gd name="connsiteY429" fmla="*/ 3154515 h 3483307"/>
                <a:gd name="connsiteX430" fmla="*/ 5227348 w 6356680"/>
                <a:gd name="connsiteY430" fmla="*/ 3130689 h 3483307"/>
                <a:gd name="connsiteX431" fmla="*/ 5203520 w 6356680"/>
                <a:gd name="connsiteY431" fmla="*/ 3106863 h 3483307"/>
                <a:gd name="connsiteX432" fmla="*/ 5184460 w 6356680"/>
                <a:gd name="connsiteY432" fmla="*/ 3102097 h 3483307"/>
                <a:gd name="connsiteX433" fmla="*/ 5151104 w 6356680"/>
                <a:gd name="connsiteY433" fmla="*/ 3097333 h 3483307"/>
                <a:gd name="connsiteX434" fmla="*/ 5136808 w 6356680"/>
                <a:gd name="connsiteY434" fmla="*/ 3097333 h 3483307"/>
                <a:gd name="connsiteX435" fmla="*/ 5127280 w 6356680"/>
                <a:gd name="connsiteY435" fmla="*/ 3092567 h 3483307"/>
                <a:gd name="connsiteX436" fmla="*/ 5117748 w 6356680"/>
                <a:gd name="connsiteY436" fmla="*/ 3078273 h 3483307"/>
                <a:gd name="connsiteX437" fmla="*/ 5103452 w 6356680"/>
                <a:gd name="connsiteY437" fmla="*/ 3068743 h 3483307"/>
                <a:gd name="connsiteX438" fmla="*/ 5089160 w 6356680"/>
                <a:gd name="connsiteY438" fmla="*/ 3054447 h 3483307"/>
                <a:gd name="connsiteX439" fmla="*/ 5084392 w 6356680"/>
                <a:gd name="connsiteY439" fmla="*/ 3035387 h 3483307"/>
                <a:gd name="connsiteX440" fmla="*/ 5079628 w 6356680"/>
                <a:gd name="connsiteY440" fmla="*/ 3030621 h 3483307"/>
                <a:gd name="connsiteX441" fmla="*/ 5065332 w 6356680"/>
                <a:gd name="connsiteY441" fmla="*/ 3035387 h 3483307"/>
                <a:gd name="connsiteX442" fmla="*/ 5051036 w 6356680"/>
                <a:gd name="connsiteY442" fmla="*/ 3035387 h 3483307"/>
                <a:gd name="connsiteX443" fmla="*/ 5041508 w 6356680"/>
                <a:gd name="connsiteY443" fmla="*/ 3030621 h 3483307"/>
                <a:gd name="connsiteX444" fmla="*/ 5027212 w 6356680"/>
                <a:gd name="connsiteY444" fmla="*/ 3025855 h 3483307"/>
                <a:gd name="connsiteX445" fmla="*/ 5003384 w 6356680"/>
                <a:gd name="connsiteY445" fmla="*/ 3021091 h 3483307"/>
                <a:gd name="connsiteX446" fmla="*/ 4984324 w 6356680"/>
                <a:gd name="connsiteY446" fmla="*/ 3011561 h 3483307"/>
                <a:gd name="connsiteX447" fmla="*/ 4960500 w 6356680"/>
                <a:gd name="connsiteY447" fmla="*/ 3011561 h 3483307"/>
                <a:gd name="connsiteX448" fmla="*/ 4946204 w 6356680"/>
                <a:gd name="connsiteY448" fmla="*/ 3011561 h 3483307"/>
                <a:gd name="connsiteX449" fmla="*/ 4908084 w 6356680"/>
                <a:gd name="connsiteY449" fmla="*/ 3011561 h 3483307"/>
                <a:gd name="connsiteX450" fmla="*/ 4869960 w 6356680"/>
                <a:gd name="connsiteY450" fmla="*/ 3006795 h 3483307"/>
                <a:gd name="connsiteX451" fmla="*/ 4841372 w 6356680"/>
                <a:gd name="connsiteY451" fmla="*/ 3006795 h 3483307"/>
                <a:gd name="connsiteX452" fmla="*/ 4827076 w 6356680"/>
                <a:gd name="connsiteY452" fmla="*/ 3006795 h 3483307"/>
                <a:gd name="connsiteX453" fmla="*/ 4817544 w 6356680"/>
                <a:gd name="connsiteY453" fmla="*/ 3002031 h 3483307"/>
                <a:gd name="connsiteX454" fmla="*/ 4803252 w 6356680"/>
                <a:gd name="connsiteY454" fmla="*/ 3002031 h 3483307"/>
                <a:gd name="connsiteX455" fmla="*/ 4784192 w 6356680"/>
                <a:gd name="connsiteY455" fmla="*/ 3002031 h 3483307"/>
                <a:gd name="connsiteX456" fmla="*/ 4755600 w 6356680"/>
                <a:gd name="connsiteY456" fmla="*/ 2987735 h 3483307"/>
                <a:gd name="connsiteX457" fmla="*/ 4746068 w 6356680"/>
                <a:gd name="connsiteY457" fmla="*/ 2987735 h 3483307"/>
                <a:gd name="connsiteX458" fmla="*/ 4736540 w 6356680"/>
                <a:gd name="connsiteY458" fmla="*/ 2987735 h 3483307"/>
                <a:gd name="connsiteX459" fmla="*/ 4688888 w 6356680"/>
                <a:gd name="connsiteY459" fmla="*/ 2997265 h 3483307"/>
                <a:gd name="connsiteX460" fmla="*/ 4669828 w 6356680"/>
                <a:gd name="connsiteY460" fmla="*/ 3002031 h 3483307"/>
                <a:gd name="connsiteX461" fmla="*/ 4622176 w 6356680"/>
                <a:gd name="connsiteY461" fmla="*/ 3002031 h 3483307"/>
                <a:gd name="connsiteX462" fmla="*/ 4579288 w 6356680"/>
                <a:gd name="connsiteY462" fmla="*/ 2997265 h 3483307"/>
                <a:gd name="connsiteX463" fmla="*/ 4564992 w 6356680"/>
                <a:gd name="connsiteY463" fmla="*/ 2997265 h 3483307"/>
                <a:gd name="connsiteX464" fmla="*/ 4555464 w 6356680"/>
                <a:gd name="connsiteY464" fmla="*/ 2997265 h 3483307"/>
                <a:gd name="connsiteX465" fmla="*/ 4541168 w 6356680"/>
                <a:gd name="connsiteY465" fmla="*/ 3021091 h 3483307"/>
                <a:gd name="connsiteX466" fmla="*/ 4531640 w 6356680"/>
                <a:gd name="connsiteY466" fmla="*/ 3021091 h 3483307"/>
                <a:gd name="connsiteX467" fmla="*/ 4488752 w 6356680"/>
                <a:gd name="connsiteY467" fmla="*/ 3016325 h 3483307"/>
                <a:gd name="connsiteX468" fmla="*/ 4441100 w 6356680"/>
                <a:gd name="connsiteY468" fmla="*/ 3002031 h 3483307"/>
                <a:gd name="connsiteX469" fmla="*/ 4402980 w 6356680"/>
                <a:gd name="connsiteY469" fmla="*/ 2987735 h 3483307"/>
                <a:gd name="connsiteX470" fmla="*/ 4374388 w 6356680"/>
                <a:gd name="connsiteY470" fmla="*/ 2973439 h 3483307"/>
                <a:gd name="connsiteX471" fmla="*/ 4336268 w 6356680"/>
                <a:gd name="connsiteY471" fmla="*/ 2944849 h 3483307"/>
                <a:gd name="connsiteX472" fmla="*/ 4312444 w 6356680"/>
                <a:gd name="connsiteY472" fmla="*/ 2930553 h 3483307"/>
                <a:gd name="connsiteX473" fmla="*/ 4307676 w 6356680"/>
                <a:gd name="connsiteY473" fmla="*/ 2940083 h 3483307"/>
                <a:gd name="connsiteX474" fmla="*/ 4298148 w 6356680"/>
                <a:gd name="connsiteY474" fmla="*/ 2940083 h 3483307"/>
                <a:gd name="connsiteX475" fmla="*/ 4293384 w 6356680"/>
                <a:gd name="connsiteY475" fmla="*/ 2944849 h 3483307"/>
                <a:gd name="connsiteX476" fmla="*/ 4269556 w 6356680"/>
                <a:gd name="connsiteY476" fmla="*/ 2940083 h 3483307"/>
                <a:gd name="connsiteX477" fmla="*/ 4260024 w 6356680"/>
                <a:gd name="connsiteY477" fmla="*/ 2954379 h 3483307"/>
                <a:gd name="connsiteX478" fmla="*/ 4231436 w 6356680"/>
                <a:gd name="connsiteY478" fmla="*/ 2963909 h 3483307"/>
                <a:gd name="connsiteX479" fmla="*/ 4217140 w 6356680"/>
                <a:gd name="connsiteY479" fmla="*/ 2973439 h 3483307"/>
                <a:gd name="connsiteX480" fmla="*/ 4207608 w 6356680"/>
                <a:gd name="connsiteY480" fmla="*/ 2982969 h 3483307"/>
                <a:gd name="connsiteX481" fmla="*/ 4193316 w 6356680"/>
                <a:gd name="connsiteY481" fmla="*/ 3044917 h 3483307"/>
                <a:gd name="connsiteX482" fmla="*/ 4188548 w 6356680"/>
                <a:gd name="connsiteY482" fmla="*/ 3068743 h 3483307"/>
                <a:gd name="connsiteX483" fmla="*/ 4198080 w 6356680"/>
                <a:gd name="connsiteY483" fmla="*/ 3106863 h 3483307"/>
                <a:gd name="connsiteX484" fmla="*/ 4183784 w 6356680"/>
                <a:gd name="connsiteY484" fmla="*/ 3106863 h 3483307"/>
                <a:gd name="connsiteX485" fmla="*/ 4169488 w 6356680"/>
                <a:gd name="connsiteY485" fmla="*/ 3097333 h 3483307"/>
                <a:gd name="connsiteX486" fmla="*/ 4164724 w 6356680"/>
                <a:gd name="connsiteY486" fmla="*/ 3087803 h 3483307"/>
                <a:gd name="connsiteX487" fmla="*/ 4150428 w 6356680"/>
                <a:gd name="connsiteY487" fmla="*/ 3083037 h 3483307"/>
                <a:gd name="connsiteX488" fmla="*/ 4098012 w 6356680"/>
                <a:gd name="connsiteY488" fmla="*/ 3078273 h 3483307"/>
                <a:gd name="connsiteX489" fmla="*/ 4088480 w 6356680"/>
                <a:gd name="connsiteY489" fmla="*/ 3068743 h 3483307"/>
                <a:gd name="connsiteX490" fmla="*/ 4083716 w 6356680"/>
                <a:gd name="connsiteY490" fmla="*/ 3059211 h 3483307"/>
                <a:gd name="connsiteX491" fmla="*/ 4069420 w 6356680"/>
                <a:gd name="connsiteY491" fmla="*/ 3054447 h 3483307"/>
                <a:gd name="connsiteX492" fmla="*/ 4050360 w 6356680"/>
                <a:gd name="connsiteY492" fmla="*/ 3054447 h 3483307"/>
                <a:gd name="connsiteX493" fmla="*/ 4007476 w 6356680"/>
                <a:gd name="connsiteY493" fmla="*/ 3035387 h 3483307"/>
                <a:gd name="connsiteX494" fmla="*/ 3988412 w 6356680"/>
                <a:gd name="connsiteY494" fmla="*/ 3035387 h 3483307"/>
                <a:gd name="connsiteX495" fmla="*/ 3935996 w 6356680"/>
                <a:gd name="connsiteY495" fmla="*/ 3021091 h 3483307"/>
                <a:gd name="connsiteX496" fmla="*/ 3926468 w 6356680"/>
                <a:gd name="connsiteY496" fmla="*/ 3021091 h 3483307"/>
                <a:gd name="connsiteX497" fmla="*/ 3921704 w 6356680"/>
                <a:gd name="connsiteY497" fmla="*/ 3021091 h 3483307"/>
                <a:gd name="connsiteX498" fmla="*/ 3902640 w 6356680"/>
                <a:gd name="connsiteY498" fmla="*/ 3030621 h 3483307"/>
                <a:gd name="connsiteX499" fmla="*/ 3888344 w 6356680"/>
                <a:gd name="connsiteY499" fmla="*/ 3035387 h 3483307"/>
                <a:gd name="connsiteX500" fmla="*/ 3874052 w 6356680"/>
                <a:gd name="connsiteY500" fmla="*/ 3030621 h 3483307"/>
                <a:gd name="connsiteX501" fmla="*/ 3850224 w 6356680"/>
                <a:gd name="connsiteY501" fmla="*/ 3040151 h 3483307"/>
                <a:gd name="connsiteX502" fmla="*/ 3835928 w 6356680"/>
                <a:gd name="connsiteY502" fmla="*/ 3054447 h 3483307"/>
                <a:gd name="connsiteX503" fmla="*/ 3821636 w 6356680"/>
                <a:gd name="connsiteY503" fmla="*/ 3073507 h 3483307"/>
                <a:gd name="connsiteX504" fmla="*/ 3812104 w 6356680"/>
                <a:gd name="connsiteY504" fmla="*/ 3083037 h 3483307"/>
                <a:gd name="connsiteX505" fmla="*/ 3807340 w 6356680"/>
                <a:gd name="connsiteY505" fmla="*/ 3097333 h 3483307"/>
                <a:gd name="connsiteX506" fmla="*/ 3802572 w 6356680"/>
                <a:gd name="connsiteY506" fmla="*/ 3106863 h 3483307"/>
                <a:gd name="connsiteX507" fmla="*/ 3793044 w 6356680"/>
                <a:gd name="connsiteY507" fmla="*/ 3125923 h 3483307"/>
                <a:gd name="connsiteX508" fmla="*/ 3793044 w 6356680"/>
                <a:gd name="connsiteY508" fmla="*/ 3135453 h 3483307"/>
                <a:gd name="connsiteX509" fmla="*/ 3802572 w 6356680"/>
                <a:gd name="connsiteY509" fmla="*/ 3144983 h 3483307"/>
                <a:gd name="connsiteX510" fmla="*/ 3788280 w 6356680"/>
                <a:gd name="connsiteY510" fmla="*/ 3149749 h 3483307"/>
                <a:gd name="connsiteX511" fmla="*/ 3773984 w 6356680"/>
                <a:gd name="connsiteY511" fmla="*/ 3154515 h 3483307"/>
                <a:gd name="connsiteX512" fmla="*/ 3764452 w 6356680"/>
                <a:gd name="connsiteY512" fmla="*/ 3159279 h 3483307"/>
                <a:gd name="connsiteX513" fmla="*/ 3754924 w 6356680"/>
                <a:gd name="connsiteY513" fmla="*/ 3173575 h 3483307"/>
                <a:gd name="connsiteX514" fmla="*/ 3750156 w 6356680"/>
                <a:gd name="connsiteY514" fmla="*/ 3183105 h 3483307"/>
                <a:gd name="connsiteX515" fmla="*/ 3745392 w 6356680"/>
                <a:gd name="connsiteY515" fmla="*/ 3187871 h 3483307"/>
                <a:gd name="connsiteX516" fmla="*/ 3735864 w 6356680"/>
                <a:gd name="connsiteY516" fmla="*/ 3187871 h 3483307"/>
                <a:gd name="connsiteX517" fmla="*/ 3731096 w 6356680"/>
                <a:gd name="connsiteY517" fmla="*/ 3178339 h 3483307"/>
                <a:gd name="connsiteX518" fmla="*/ 3716800 w 6356680"/>
                <a:gd name="connsiteY518" fmla="*/ 3178339 h 3483307"/>
                <a:gd name="connsiteX519" fmla="*/ 3702504 w 6356680"/>
                <a:gd name="connsiteY519" fmla="*/ 3187871 h 3483307"/>
                <a:gd name="connsiteX520" fmla="*/ 3688212 w 6356680"/>
                <a:gd name="connsiteY520" fmla="*/ 3206931 h 3483307"/>
                <a:gd name="connsiteX521" fmla="*/ 3669152 w 6356680"/>
                <a:gd name="connsiteY521" fmla="*/ 3230757 h 3483307"/>
                <a:gd name="connsiteX522" fmla="*/ 3645324 w 6356680"/>
                <a:gd name="connsiteY522" fmla="*/ 3245051 h 3483307"/>
                <a:gd name="connsiteX523" fmla="*/ 3621500 w 6356680"/>
                <a:gd name="connsiteY523" fmla="*/ 3259347 h 3483307"/>
                <a:gd name="connsiteX524" fmla="*/ 3597672 w 6356680"/>
                <a:gd name="connsiteY524" fmla="*/ 3264113 h 3483307"/>
                <a:gd name="connsiteX525" fmla="*/ 3583376 w 6356680"/>
                <a:gd name="connsiteY525" fmla="*/ 3273643 h 3483307"/>
                <a:gd name="connsiteX526" fmla="*/ 3559552 w 6356680"/>
                <a:gd name="connsiteY526" fmla="*/ 3292703 h 3483307"/>
                <a:gd name="connsiteX527" fmla="*/ 3554788 w 6356680"/>
                <a:gd name="connsiteY527" fmla="*/ 3302233 h 3483307"/>
                <a:gd name="connsiteX528" fmla="*/ 3535728 w 6356680"/>
                <a:gd name="connsiteY528" fmla="*/ 3306999 h 3483307"/>
                <a:gd name="connsiteX529" fmla="*/ 3521432 w 6356680"/>
                <a:gd name="connsiteY529" fmla="*/ 3316529 h 3483307"/>
                <a:gd name="connsiteX530" fmla="*/ 3507136 w 6356680"/>
                <a:gd name="connsiteY530" fmla="*/ 3326059 h 3483307"/>
                <a:gd name="connsiteX531" fmla="*/ 3502372 w 6356680"/>
                <a:gd name="connsiteY531" fmla="*/ 3349885 h 3483307"/>
                <a:gd name="connsiteX532" fmla="*/ 3492840 w 6356680"/>
                <a:gd name="connsiteY532" fmla="*/ 3359415 h 3483307"/>
                <a:gd name="connsiteX533" fmla="*/ 3473780 w 6356680"/>
                <a:gd name="connsiteY533" fmla="*/ 3378475 h 3483307"/>
                <a:gd name="connsiteX534" fmla="*/ 3454720 w 6356680"/>
                <a:gd name="connsiteY534" fmla="*/ 3397535 h 3483307"/>
                <a:gd name="connsiteX535" fmla="*/ 3445188 w 6356680"/>
                <a:gd name="connsiteY535" fmla="*/ 3411831 h 3483307"/>
                <a:gd name="connsiteX536" fmla="*/ 3430892 w 6356680"/>
                <a:gd name="connsiteY536" fmla="*/ 3430891 h 3483307"/>
                <a:gd name="connsiteX537" fmla="*/ 3426128 w 6356680"/>
                <a:gd name="connsiteY537" fmla="*/ 3440421 h 3483307"/>
                <a:gd name="connsiteX538" fmla="*/ 3426128 w 6356680"/>
                <a:gd name="connsiteY538" fmla="*/ 3454717 h 3483307"/>
                <a:gd name="connsiteX539" fmla="*/ 3430892 w 6356680"/>
                <a:gd name="connsiteY539" fmla="*/ 3464247 h 3483307"/>
                <a:gd name="connsiteX540" fmla="*/ 3435660 w 6356680"/>
                <a:gd name="connsiteY540" fmla="*/ 3473777 h 3483307"/>
                <a:gd name="connsiteX541" fmla="*/ 3430892 w 6356680"/>
                <a:gd name="connsiteY541" fmla="*/ 3483307 h 3483307"/>
                <a:gd name="connsiteX542" fmla="*/ 3416600 w 6356680"/>
                <a:gd name="connsiteY542" fmla="*/ 3483307 h 3483307"/>
                <a:gd name="connsiteX543" fmla="*/ 3407068 w 6356680"/>
                <a:gd name="connsiteY543" fmla="*/ 3483307 h 3483307"/>
                <a:gd name="connsiteX544" fmla="*/ 3388008 w 6356680"/>
                <a:gd name="connsiteY544" fmla="*/ 3473777 h 3483307"/>
                <a:gd name="connsiteX545" fmla="*/ 3364184 w 6356680"/>
                <a:gd name="connsiteY545" fmla="*/ 3459483 h 3483307"/>
                <a:gd name="connsiteX546" fmla="*/ 3359416 w 6356680"/>
                <a:gd name="connsiteY546" fmla="*/ 3454717 h 3483307"/>
                <a:gd name="connsiteX547" fmla="*/ 3349888 w 6356680"/>
                <a:gd name="connsiteY547" fmla="*/ 3445187 h 3483307"/>
                <a:gd name="connsiteX548" fmla="*/ 3349888 w 6356680"/>
                <a:gd name="connsiteY548" fmla="*/ 3430891 h 3483307"/>
                <a:gd name="connsiteX549" fmla="*/ 3354652 w 6356680"/>
                <a:gd name="connsiteY549" fmla="*/ 3411831 h 3483307"/>
                <a:gd name="connsiteX550" fmla="*/ 3359416 w 6356680"/>
                <a:gd name="connsiteY550" fmla="*/ 3397535 h 3483307"/>
                <a:gd name="connsiteX551" fmla="*/ 3349888 w 6356680"/>
                <a:gd name="connsiteY551" fmla="*/ 3392771 h 3483307"/>
                <a:gd name="connsiteX552" fmla="*/ 3345120 w 6356680"/>
                <a:gd name="connsiteY552" fmla="*/ 3383241 h 3483307"/>
                <a:gd name="connsiteX553" fmla="*/ 3340356 w 6356680"/>
                <a:gd name="connsiteY553" fmla="*/ 3378475 h 3483307"/>
                <a:gd name="connsiteX554" fmla="*/ 3330824 w 6356680"/>
                <a:gd name="connsiteY554" fmla="*/ 3364179 h 3483307"/>
                <a:gd name="connsiteX555" fmla="*/ 3321296 w 6356680"/>
                <a:gd name="connsiteY555" fmla="*/ 3364179 h 3483307"/>
                <a:gd name="connsiteX556" fmla="*/ 3311764 w 6356680"/>
                <a:gd name="connsiteY556" fmla="*/ 3368945 h 3483307"/>
                <a:gd name="connsiteX557" fmla="*/ 3297472 w 6356680"/>
                <a:gd name="connsiteY557" fmla="*/ 3364179 h 3483307"/>
                <a:gd name="connsiteX558" fmla="*/ 3264116 w 6356680"/>
                <a:gd name="connsiteY558" fmla="*/ 3368945 h 3483307"/>
                <a:gd name="connsiteX559" fmla="*/ 3240288 w 6356680"/>
                <a:gd name="connsiteY559" fmla="*/ 3368945 h 3483307"/>
                <a:gd name="connsiteX560" fmla="*/ 3221228 w 6356680"/>
                <a:gd name="connsiteY560" fmla="*/ 3368945 h 3483307"/>
                <a:gd name="connsiteX561" fmla="*/ 3187872 w 6356680"/>
                <a:gd name="connsiteY561" fmla="*/ 3373711 h 3483307"/>
                <a:gd name="connsiteX562" fmla="*/ 3154516 w 6356680"/>
                <a:gd name="connsiteY562" fmla="*/ 3373711 h 3483307"/>
                <a:gd name="connsiteX563" fmla="*/ 3144984 w 6356680"/>
                <a:gd name="connsiteY563" fmla="*/ 3368945 h 3483307"/>
                <a:gd name="connsiteX564" fmla="*/ 3140220 w 6356680"/>
                <a:gd name="connsiteY564" fmla="*/ 3368945 h 3483307"/>
                <a:gd name="connsiteX565" fmla="*/ 3130692 w 6356680"/>
                <a:gd name="connsiteY565" fmla="*/ 3349885 h 3483307"/>
                <a:gd name="connsiteX566" fmla="*/ 3130692 w 6356680"/>
                <a:gd name="connsiteY566" fmla="*/ 3330823 h 3483307"/>
                <a:gd name="connsiteX567" fmla="*/ 3121160 w 6356680"/>
                <a:gd name="connsiteY567" fmla="*/ 3302233 h 3483307"/>
                <a:gd name="connsiteX568" fmla="*/ 3116396 w 6356680"/>
                <a:gd name="connsiteY568" fmla="*/ 3278407 h 3483307"/>
                <a:gd name="connsiteX569" fmla="*/ 3111632 w 6356680"/>
                <a:gd name="connsiteY569" fmla="*/ 3249817 h 3483307"/>
                <a:gd name="connsiteX570" fmla="*/ 3106864 w 6356680"/>
                <a:gd name="connsiteY570" fmla="*/ 3221227 h 3483307"/>
                <a:gd name="connsiteX571" fmla="*/ 3106864 w 6356680"/>
                <a:gd name="connsiteY571" fmla="*/ 3197401 h 3483307"/>
                <a:gd name="connsiteX572" fmla="*/ 3078276 w 6356680"/>
                <a:gd name="connsiteY572" fmla="*/ 3197401 h 3483307"/>
                <a:gd name="connsiteX573" fmla="*/ 3059212 w 6356680"/>
                <a:gd name="connsiteY573" fmla="*/ 3197401 h 3483307"/>
                <a:gd name="connsiteX574" fmla="*/ 3030624 w 6356680"/>
                <a:gd name="connsiteY574" fmla="*/ 3192635 h 3483307"/>
                <a:gd name="connsiteX575" fmla="*/ 3030624 w 6356680"/>
                <a:gd name="connsiteY575" fmla="*/ 3178339 h 3483307"/>
                <a:gd name="connsiteX576" fmla="*/ 3030624 w 6356680"/>
                <a:gd name="connsiteY576" fmla="*/ 3130689 h 3483307"/>
                <a:gd name="connsiteX577" fmla="*/ 3035388 w 6356680"/>
                <a:gd name="connsiteY577" fmla="*/ 3097333 h 3483307"/>
                <a:gd name="connsiteX578" fmla="*/ 3040152 w 6356680"/>
                <a:gd name="connsiteY578" fmla="*/ 3068743 h 3483307"/>
                <a:gd name="connsiteX579" fmla="*/ 3040152 w 6356680"/>
                <a:gd name="connsiteY579" fmla="*/ 3035387 h 3483307"/>
                <a:gd name="connsiteX580" fmla="*/ 3040152 w 6356680"/>
                <a:gd name="connsiteY580" fmla="*/ 3011561 h 3483307"/>
                <a:gd name="connsiteX581" fmla="*/ 3044920 w 6356680"/>
                <a:gd name="connsiteY581" fmla="*/ 2987735 h 3483307"/>
                <a:gd name="connsiteX582" fmla="*/ 3030624 w 6356680"/>
                <a:gd name="connsiteY582" fmla="*/ 2992499 h 3483307"/>
                <a:gd name="connsiteX583" fmla="*/ 3011564 w 6356680"/>
                <a:gd name="connsiteY583" fmla="*/ 3002031 h 3483307"/>
                <a:gd name="connsiteX584" fmla="*/ 2997268 w 6356680"/>
                <a:gd name="connsiteY584" fmla="*/ 3011561 h 3483307"/>
                <a:gd name="connsiteX585" fmla="*/ 2987736 w 6356680"/>
                <a:gd name="connsiteY585" fmla="*/ 2987735 h 3483307"/>
                <a:gd name="connsiteX586" fmla="*/ 2978208 w 6356680"/>
                <a:gd name="connsiteY586" fmla="*/ 2968675 h 3483307"/>
                <a:gd name="connsiteX587" fmla="*/ 2959148 w 6356680"/>
                <a:gd name="connsiteY587" fmla="*/ 2940083 h 3483307"/>
                <a:gd name="connsiteX588" fmla="*/ 2949616 w 6356680"/>
                <a:gd name="connsiteY588" fmla="*/ 2916257 h 3483307"/>
                <a:gd name="connsiteX589" fmla="*/ 2930556 w 6356680"/>
                <a:gd name="connsiteY589" fmla="*/ 2901963 h 3483307"/>
                <a:gd name="connsiteX590" fmla="*/ 2916260 w 6356680"/>
                <a:gd name="connsiteY590" fmla="*/ 2892433 h 3483307"/>
                <a:gd name="connsiteX591" fmla="*/ 2897200 w 6356680"/>
                <a:gd name="connsiteY591" fmla="*/ 2878137 h 3483307"/>
                <a:gd name="connsiteX592" fmla="*/ 2882904 w 6356680"/>
                <a:gd name="connsiteY592" fmla="*/ 2859077 h 3483307"/>
                <a:gd name="connsiteX593" fmla="*/ 2873372 w 6356680"/>
                <a:gd name="connsiteY593" fmla="*/ 2844781 h 3483307"/>
                <a:gd name="connsiteX594" fmla="*/ 2859080 w 6356680"/>
                <a:gd name="connsiteY594" fmla="*/ 2830485 h 3483307"/>
                <a:gd name="connsiteX595" fmla="*/ 2844784 w 6356680"/>
                <a:gd name="connsiteY595" fmla="*/ 2835251 h 3483307"/>
                <a:gd name="connsiteX596" fmla="*/ 2825724 w 6356680"/>
                <a:gd name="connsiteY596" fmla="*/ 2844781 h 3483307"/>
                <a:gd name="connsiteX597" fmla="*/ 2811428 w 6356680"/>
                <a:gd name="connsiteY597" fmla="*/ 2854311 h 3483307"/>
                <a:gd name="connsiteX598" fmla="*/ 2792368 w 6356680"/>
                <a:gd name="connsiteY598" fmla="*/ 2859077 h 3483307"/>
                <a:gd name="connsiteX599" fmla="*/ 2782836 w 6356680"/>
                <a:gd name="connsiteY599" fmla="*/ 2863841 h 3483307"/>
                <a:gd name="connsiteX600" fmla="*/ 2763776 w 6356680"/>
                <a:gd name="connsiteY600" fmla="*/ 2863841 h 3483307"/>
                <a:gd name="connsiteX601" fmla="*/ 2749480 w 6356680"/>
                <a:gd name="connsiteY601" fmla="*/ 2863841 h 3483307"/>
                <a:gd name="connsiteX602" fmla="*/ 2716124 w 6356680"/>
                <a:gd name="connsiteY602" fmla="*/ 2859077 h 3483307"/>
                <a:gd name="connsiteX603" fmla="*/ 2663708 w 6356680"/>
                <a:gd name="connsiteY603" fmla="*/ 2854311 h 3483307"/>
                <a:gd name="connsiteX604" fmla="*/ 2630352 w 6356680"/>
                <a:gd name="connsiteY604" fmla="*/ 2854311 h 3483307"/>
                <a:gd name="connsiteX605" fmla="*/ 2592232 w 6356680"/>
                <a:gd name="connsiteY605" fmla="*/ 2849547 h 3483307"/>
                <a:gd name="connsiteX606" fmla="*/ 2568404 w 6356680"/>
                <a:gd name="connsiteY606" fmla="*/ 2854311 h 3483307"/>
                <a:gd name="connsiteX607" fmla="*/ 2535048 w 6356680"/>
                <a:gd name="connsiteY607" fmla="*/ 2859077 h 3483307"/>
                <a:gd name="connsiteX608" fmla="*/ 2501696 w 6356680"/>
                <a:gd name="connsiteY608" fmla="*/ 2863841 h 3483307"/>
                <a:gd name="connsiteX609" fmla="*/ 2473104 w 6356680"/>
                <a:gd name="connsiteY609" fmla="*/ 2868607 h 3483307"/>
                <a:gd name="connsiteX610" fmla="*/ 2439748 w 6356680"/>
                <a:gd name="connsiteY610" fmla="*/ 2873371 h 3483307"/>
                <a:gd name="connsiteX611" fmla="*/ 2415920 w 6356680"/>
                <a:gd name="connsiteY611" fmla="*/ 2878137 h 3483307"/>
                <a:gd name="connsiteX612" fmla="*/ 2401628 w 6356680"/>
                <a:gd name="connsiteY612" fmla="*/ 2878137 h 3483307"/>
                <a:gd name="connsiteX613" fmla="*/ 2387332 w 6356680"/>
                <a:gd name="connsiteY613" fmla="*/ 2859077 h 3483307"/>
                <a:gd name="connsiteX614" fmla="*/ 2358740 w 6356680"/>
                <a:gd name="connsiteY614" fmla="*/ 2830485 h 3483307"/>
                <a:gd name="connsiteX615" fmla="*/ 2330148 w 6356680"/>
                <a:gd name="connsiteY615" fmla="*/ 2797129 h 3483307"/>
                <a:gd name="connsiteX616" fmla="*/ 2306324 w 6356680"/>
                <a:gd name="connsiteY616" fmla="*/ 2768539 h 3483307"/>
                <a:gd name="connsiteX617" fmla="*/ 2272968 w 6356680"/>
                <a:gd name="connsiteY617" fmla="*/ 2730419 h 3483307"/>
                <a:gd name="connsiteX618" fmla="*/ 2263436 w 6356680"/>
                <a:gd name="connsiteY618" fmla="*/ 2716123 h 3483307"/>
                <a:gd name="connsiteX619" fmla="*/ 2258672 w 6356680"/>
                <a:gd name="connsiteY619" fmla="*/ 2692297 h 3483307"/>
                <a:gd name="connsiteX620" fmla="*/ 2249144 w 6356680"/>
                <a:gd name="connsiteY620" fmla="*/ 2682767 h 3483307"/>
                <a:gd name="connsiteX621" fmla="*/ 2230080 w 6356680"/>
                <a:gd name="connsiteY621" fmla="*/ 2668471 h 3483307"/>
                <a:gd name="connsiteX622" fmla="*/ 2206256 w 6356680"/>
                <a:gd name="connsiteY622" fmla="*/ 2654175 h 3483307"/>
                <a:gd name="connsiteX623" fmla="*/ 2187196 w 6356680"/>
                <a:gd name="connsiteY623" fmla="*/ 2639881 h 3483307"/>
                <a:gd name="connsiteX624" fmla="*/ 2163368 w 6356680"/>
                <a:gd name="connsiteY624" fmla="*/ 2625585 h 3483307"/>
                <a:gd name="connsiteX625" fmla="*/ 2144308 w 6356680"/>
                <a:gd name="connsiteY625" fmla="*/ 2611289 h 3483307"/>
                <a:gd name="connsiteX626" fmla="*/ 2120484 w 6356680"/>
                <a:gd name="connsiteY626" fmla="*/ 2596995 h 3483307"/>
                <a:gd name="connsiteX627" fmla="*/ 2101424 w 6356680"/>
                <a:gd name="connsiteY627" fmla="*/ 2582699 h 3483307"/>
                <a:gd name="connsiteX628" fmla="*/ 2101424 w 6356680"/>
                <a:gd name="connsiteY628" fmla="*/ 2506457 h 3483307"/>
                <a:gd name="connsiteX629" fmla="*/ 2101424 w 6356680"/>
                <a:gd name="connsiteY629" fmla="*/ 2482631 h 3483307"/>
                <a:gd name="connsiteX630" fmla="*/ 2101424 w 6356680"/>
                <a:gd name="connsiteY630" fmla="*/ 2458805 h 3483307"/>
                <a:gd name="connsiteX631" fmla="*/ 2096660 w 6356680"/>
                <a:gd name="connsiteY631" fmla="*/ 2434979 h 3483307"/>
                <a:gd name="connsiteX632" fmla="*/ 2091892 w 6356680"/>
                <a:gd name="connsiteY632" fmla="*/ 2420685 h 3483307"/>
                <a:gd name="connsiteX633" fmla="*/ 2087128 w 6356680"/>
                <a:gd name="connsiteY633" fmla="*/ 2420685 h 3483307"/>
                <a:gd name="connsiteX634" fmla="*/ 2053772 w 6356680"/>
                <a:gd name="connsiteY634" fmla="*/ 2420685 h 3483307"/>
                <a:gd name="connsiteX635" fmla="*/ 2049008 w 6356680"/>
                <a:gd name="connsiteY635" fmla="*/ 2415919 h 3483307"/>
                <a:gd name="connsiteX636" fmla="*/ 2049008 w 6356680"/>
                <a:gd name="connsiteY636" fmla="*/ 2411155 h 3483307"/>
                <a:gd name="connsiteX637" fmla="*/ 2049008 w 6356680"/>
                <a:gd name="connsiteY637" fmla="*/ 2401623 h 3483307"/>
                <a:gd name="connsiteX638" fmla="*/ 2049008 w 6356680"/>
                <a:gd name="connsiteY638" fmla="*/ 2392093 h 3483307"/>
                <a:gd name="connsiteX639" fmla="*/ 2053772 w 6356680"/>
                <a:gd name="connsiteY639" fmla="*/ 2387329 h 3483307"/>
                <a:gd name="connsiteX640" fmla="*/ 2058536 w 6356680"/>
                <a:gd name="connsiteY640" fmla="*/ 2377799 h 3483307"/>
                <a:gd name="connsiteX641" fmla="*/ 2058536 w 6356680"/>
                <a:gd name="connsiteY641" fmla="*/ 2373033 h 3483307"/>
                <a:gd name="connsiteX642" fmla="*/ 2063304 w 6356680"/>
                <a:gd name="connsiteY642" fmla="*/ 2373033 h 3483307"/>
                <a:gd name="connsiteX643" fmla="*/ 2063304 w 6356680"/>
                <a:gd name="connsiteY643" fmla="*/ 2363503 h 3483307"/>
                <a:gd name="connsiteX644" fmla="*/ 2068068 w 6356680"/>
                <a:gd name="connsiteY644" fmla="*/ 2358739 h 3483307"/>
                <a:gd name="connsiteX645" fmla="*/ 2068068 w 6356680"/>
                <a:gd name="connsiteY645" fmla="*/ 2353973 h 3483307"/>
                <a:gd name="connsiteX646" fmla="*/ 2063304 w 6356680"/>
                <a:gd name="connsiteY646" fmla="*/ 2353973 h 3483307"/>
                <a:gd name="connsiteX647" fmla="*/ 2063304 w 6356680"/>
                <a:gd name="connsiteY647" fmla="*/ 2349207 h 3483307"/>
                <a:gd name="connsiteX648" fmla="*/ 2068068 w 6356680"/>
                <a:gd name="connsiteY648" fmla="*/ 2344443 h 3483307"/>
                <a:gd name="connsiteX649" fmla="*/ 2072832 w 6356680"/>
                <a:gd name="connsiteY649" fmla="*/ 2344443 h 3483307"/>
                <a:gd name="connsiteX650" fmla="*/ 2082364 w 6356680"/>
                <a:gd name="connsiteY650" fmla="*/ 2344443 h 3483307"/>
                <a:gd name="connsiteX651" fmla="*/ 2139544 w 6356680"/>
                <a:gd name="connsiteY651" fmla="*/ 2358739 h 3483307"/>
                <a:gd name="connsiteX652" fmla="*/ 2153840 w 6356680"/>
                <a:gd name="connsiteY652" fmla="*/ 2358739 h 3483307"/>
                <a:gd name="connsiteX653" fmla="*/ 2163368 w 6356680"/>
                <a:gd name="connsiteY653" fmla="*/ 2353973 h 3483307"/>
                <a:gd name="connsiteX654" fmla="*/ 2168136 w 6356680"/>
                <a:gd name="connsiteY654" fmla="*/ 2344443 h 3483307"/>
                <a:gd name="connsiteX655" fmla="*/ 2182432 w 6356680"/>
                <a:gd name="connsiteY655" fmla="*/ 2330147 h 3483307"/>
                <a:gd name="connsiteX656" fmla="*/ 2191960 w 6356680"/>
                <a:gd name="connsiteY656" fmla="*/ 2325383 h 3483307"/>
                <a:gd name="connsiteX657" fmla="*/ 2206256 w 6356680"/>
                <a:gd name="connsiteY657" fmla="*/ 2315851 h 3483307"/>
                <a:gd name="connsiteX658" fmla="*/ 2211020 w 6356680"/>
                <a:gd name="connsiteY658" fmla="*/ 2301557 h 3483307"/>
                <a:gd name="connsiteX659" fmla="*/ 2220552 w 6356680"/>
                <a:gd name="connsiteY659" fmla="*/ 2296791 h 3483307"/>
                <a:gd name="connsiteX660" fmla="*/ 2230080 w 6356680"/>
                <a:gd name="connsiteY660" fmla="*/ 2296791 h 3483307"/>
                <a:gd name="connsiteX661" fmla="*/ 2268204 w 6356680"/>
                <a:gd name="connsiteY661" fmla="*/ 2272965 h 3483307"/>
                <a:gd name="connsiteX662" fmla="*/ 2272968 w 6356680"/>
                <a:gd name="connsiteY662" fmla="*/ 2272965 h 3483307"/>
                <a:gd name="connsiteX663" fmla="*/ 2282496 w 6356680"/>
                <a:gd name="connsiteY663" fmla="*/ 2263435 h 3483307"/>
                <a:gd name="connsiteX664" fmla="*/ 2287264 w 6356680"/>
                <a:gd name="connsiteY664" fmla="*/ 2249139 h 3483307"/>
                <a:gd name="connsiteX665" fmla="*/ 2292028 w 6356680"/>
                <a:gd name="connsiteY665" fmla="*/ 2234845 h 3483307"/>
                <a:gd name="connsiteX666" fmla="*/ 2287264 w 6356680"/>
                <a:gd name="connsiteY666" fmla="*/ 2225315 h 3483307"/>
                <a:gd name="connsiteX667" fmla="*/ 2282496 w 6356680"/>
                <a:gd name="connsiteY667" fmla="*/ 2220549 h 3483307"/>
                <a:gd name="connsiteX668" fmla="*/ 2272968 w 6356680"/>
                <a:gd name="connsiteY668" fmla="*/ 2225315 h 3483307"/>
                <a:gd name="connsiteX669" fmla="*/ 2258672 w 6356680"/>
                <a:gd name="connsiteY669" fmla="*/ 2220549 h 3483307"/>
                <a:gd name="connsiteX670" fmla="*/ 2239612 w 6356680"/>
                <a:gd name="connsiteY670" fmla="*/ 2215785 h 3483307"/>
                <a:gd name="connsiteX671" fmla="*/ 2225316 w 6356680"/>
                <a:gd name="connsiteY671" fmla="*/ 2206255 h 3483307"/>
                <a:gd name="connsiteX672" fmla="*/ 2215788 w 6356680"/>
                <a:gd name="connsiteY672" fmla="*/ 2196723 h 3483307"/>
                <a:gd name="connsiteX673" fmla="*/ 2211020 w 6356680"/>
                <a:gd name="connsiteY673" fmla="*/ 2182429 h 3483307"/>
                <a:gd name="connsiteX674" fmla="*/ 2215788 w 6356680"/>
                <a:gd name="connsiteY674" fmla="*/ 2163367 h 3483307"/>
                <a:gd name="connsiteX675" fmla="*/ 2206256 w 6356680"/>
                <a:gd name="connsiteY675" fmla="*/ 2153837 h 3483307"/>
                <a:gd name="connsiteX676" fmla="*/ 2187196 w 6356680"/>
                <a:gd name="connsiteY676" fmla="*/ 2149073 h 3483307"/>
                <a:gd name="connsiteX677" fmla="*/ 2182432 w 6356680"/>
                <a:gd name="connsiteY677" fmla="*/ 2149073 h 3483307"/>
                <a:gd name="connsiteX678" fmla="*/ 2182432 w 6356680"/>
                <a:gd name="connsiteY678" fmla="*/ 2153837 h 3483307"/>
                <a:gd name="connsiteX679" fmla="*/ 2191960 w 6356680"/>
                <a:gd name="connsiteY679" fmla="*/ 2163367 h 3483307"/>
                <a:gd name="connsiteX680" fmla="*/ 2206256 w 6356680"/>
                <a:gd name="connsiteY680" fmla="*/ 2172899 h 3483307"/>
                <a:gd name="connsiteX681" fmla="*/ 2206256 w 6356680"/>
                <a:gd name="connsiteY681" fmla="*/ 2187193 h 3483307"/>
                <a:gd name="connsiteX682" fmla="*/ 2191960 w 6356680"/>
                <a:gd name="connsiteY682" fmla="*/ 2191959 h 3483307"/>
                <a:gd name="connsiteX683" fmla="*/ 2187196 w 6356680"/>
                <a:gd name="connsiteY683" fmla="*/ 2196723 h 3483307"/>
                <a:gd name="connsiteX684" fmla="*/ 2177664 w 6356680"/>
                <a:gd name="connsiteY684" fmla="*/ 2191959 h 3483307"/>
                <a:gd name="connsiteX685" fmla="*/ 2168136 w 6356680"/>
                <a:gd name="connsiteY685" fmla="*/ 2187193 h 3483307"/>
                <a:gd name="connsiteX686" fmla="*/ 2163368 w 6356680"/>
                <a:gd name="connsiteY686" fmla="*/ 2191959 h 3483307"/>
                <a:gd name="connsiteX687" fmla="*/ 2158604 w 6356680"/>
                <a:gd name="connsiteY687" fmla="*/ 2206255 h 3483307"/>
                <a:gd name="connsiteX688" fmla="*/ 2153840 w 6356680"/>
                <a:gd name="connsiteY688" fmla="*/ 2201489 h 3483307"/>
                <a:gd name="connsiteX689" fmla="*/ 2149076 w 6356680"/>
                <a:gd name="connsiteY689" fmla="*/ 2182429 h 3483307"/>
                <a:gd name="connsiteX690" fmla="*/ 2139544 w 6356680"/>
                <a:gd name="connsiteY690" fmla="*/ 2172899 h 3483307"/>
                <a:gd name="connsiteX691" fmla="*/ 2134780 w 6356680"/>
                <a:gd name="connsiteY691" fmla="*/ 2168133 h 3483307"/>
                <a:gd name="connsiteX692" fmla="*/ 2120484 w 6356680"/>
                <a:gd name="connsiteY692" fmla="*/ 2172899 h 3483307"/>
                <a:gd name="connsiteX693" fmla="*/ 2101424 w 6356680"/>
                <a:gd name="connsiteY693" fmla="*/ 2187193 h 3483307"/>
                <a:gd name="connsiteX694" fmla="*/ 2091892 w 6356680"/>
                <a:gd name="connsiteY694" fmla="*/ 2201489 h 3483307"/>
                <a:gd name="connsiteX695" fmla="*/ 2091892 w 6356680"/>
                <a:gd name="connsiteY695" fmla="*/ 2211019 h 3483307"/>
                <a:gd name="connsiteX696" fmla="*/ 2091892 w 6356680"/>
                <a:gd name="connsiteY696" fmla="*/ 2225315 h 3483307"/>
                <a:gd name="connsiteX697" fmla="*/ 2101424 w 6356680"/>
                <a:gd name="connsiteY697" fmla="*/ 2234845 h 3483307"/>
                <a:gd name="connsiteX698" fmla="*/ 2115720 w 6356680"/>
                <a:gd name="connsiteY698" fmla="*/ 2239609 h 3483307"/>
                <a:gd name="connsiteX699" fmla="*/ 2139544 w 6356680"/>
                <a:gd name="connsiteY699" fmla="*/ 2234845 h 3483307"/>
                <a:gd name="connsiteX700" fmla="*/ 2153840 w 6356680"/>
                <a:gd name="connsiteY700" fmla="*/ 2234845 h 3483307"/>
                <a:gd name="connsiteX701" fmla="*/ 2163368 w 6356680"/>
                <a:gd name="connsiteY701" fmla="*/ 2244375 h 3483307"/>
                <a:gd name="connsiteX702" fmla="*/ 2177664 w 6356680"/>
                <a:gd name="connsiteY702" fmla="*/ 2253905 h 3483307"/>
                <a:gd name="connsiteX703" fmla="*/ 2182432 w 6356680"/>
                <a:gd name="connsiteY703" fmla="*/ 2253905 h 3483307"/>
                <a:gd name="connsiteX704" fmla="*/ 2187196 w 6356680"/>
                <a:gd name="connsiteY704" fmla="*/ 2249139 h 3483307"/>
                <a:gd name="connsiteX705" fmla="*/ 2196724 w 6356680"/>
                <a:gd name="connsiteY705" fmla="*/ 2239609 h 3483307"/>
                <a:gd name="connsiteX706" fmla="*/ 2201492 w 6356680"/>
                <a:gd name="connsiteY706" fmla="*/ 2234845 h 3483307"/>
                <a:gd name="connsiteX707" fmla="*/ 2206256 w 6356680"/>
                <a:gd name="connsiteY707" fmla="*/ 2234845 h 3483307"/>
                <a:gd name="connsiteX708" fmla="*/ 2206256 w 6356680"/>
                <a:gd name="connsiteY708" fmla="*/ 2244375 h 3483307"/>
                <a:gd name="connsiteX709" fmla="*/ 2220552 w 6356680"/>
                <a:gd name="connsiteY709" fmla="*/ 2272965 h 3483307"/>
                <a:gd name="connsiteX710" fmla="*/ 2220552 w 6356680"/>
                <a:gd name="connsiteY710" fmla="*/ 2277731 h 3483307"/>
                <a:gd name="connsiteX711" fmla="*/ 2215788 w 6356680"/>
                <a:gd name="connsiteY711" fmla="*/ 2287261 h 3483307"/>
                <a:gd name="connsiteX712" fmla="*/ 2206256 w 6356680"/>
                <a:gd name="connsiteY712" fmla="*/ 2301557 h 3483307"/>
                <a:gd name="connsiteX713" fmla="*/ 2196724 w 6356680"/>
                <a:gd name="connsiteY713" fmla="*/ 2306321 h 3483307"/>
                <a:gd name="connsiteX714" fmla="*/ 2191960 w 6356680"/>
                <a:gd name="connsiteY714" fmla="*/ 2311087 h 3483307"/>
                <a:gd name="connsiteX715" fmla="*/ 2139544 w 6356680"/>
                <a:gd name="connsiteY715" fmla="*/ 2301557 h 3483307"/>
                <a:gd name="connsiteX716" fmla="*/ 2130016 w 6356680"/>
                <a:gd name="connsiteY716" fmla="*/ 2306321 h 3483307"/>
                <a:gd name="connsiteX717" fmla="*/ 2115720 w 6356680"/>
                <a:gd name="connsiteY717" fmla="*/ 2301557 h 3483307"/>
                <a:gd name="connsiteX718" fmla="*/ 2106188 w 6356680"/>
                <a:gd name="connsiteY718" fmla="*/ 2296791 h 3483307"/>
                <a:gd name="connsiteX719" fmla="*/ 2096660 w 6356680"/>
                <a:gd name="connsiteY719" fmla="*/ 2296791 h 3483307"/>
                <a:gd name="connsiteX720" fmla="*/ 2068068 w 6356680"/>
                <a:gd name="connsiteY720" fmla="*/ 2311087 h 3483307"/>
                <a:gd name="connsiteX721" fmla="*/ 2058536 w 6356680"/>
                <a:gd name="connsiteY721" fmla="*/ 2311087 h 3483307"/>
                <a:gd name="connsiteX722" fmla="*/ 2058536 w 6356680"/>
                <a:gd name="connsiteY722" fmla="*/ 2306321 h 3483307"/>
                <a:gd name="connsiteX723" fmla="*/ 2063304 w 6356680"/>
                <a:gd name="connsiteY723" fmla="*/ 2296791 h 3483307"/>
                <a:gd name="connsiteX724" fmla="*/ 2063304 w 6356680"/>
                <a:gd name="connsiteY724" fmla="*/ 2287261 h 3483307"/>
                <a:gd name="connsiteX725" fmla="*/ 2058536 w 6356680"/>
                <a:gd name="connsiteY725" fmla="*/ 2268201 h 3483307"/>
                <a:gd name="connsiteX726" fmla="*/ 2053772 w 6356680"/>
                <a:gd name="connsiteY726" fmla="*/ 2258671 h 3483307"/>
                <a:gd name="connsiteX727" fmla="*/ 2053772 w 6356680"/>
                <a:gd name="connsiteY727" fmla="*/ 2253905 h 3483307"/>
                <a:gd name="connsiteX728" fmla="*/ 2044240 w 6356680"/>
                <a:gd name="connsiteY728" fmla="*/ 2249139 h 3483307"/>
                <a:gd name="connsiteX729" fmla="*/ 2025180 w 6356680"/>
                <a:gd name="connsiteY729" fmla="*/ 2249139 h 3483307"/>
                <a:gd name="connsiteX730" fmla="*/ 2020416 w 6356680"/>
                <a:gd name="connsiteY730" fmla="*/ 2249139 h 3483307"/>
                <a:gd name="connsiteX731" fmla="*/ 2015652 w 6356680"/>
                <a:gd name="connsiteY731" fmla="*/ 2249139 h 3483307"/>
                <a:gd name="connsiteX732" fmla="*/ 2015652 w 6356680"/>
                <a:gd name="connsiteY732" fmla="*/ 2253905 h 3483307"/>
                <a:gd name="connsiteX733" fmla="*/ 2025180 w 6356680"/>
                <a:gd name="connsiteY733" fmla="*/ 2268201 h 3483307"/>
                <a:gd name="connsiteX734" fmla="*/ 2039476 w 6356680"/>
                <a:gd name="connsiteY734" fmla="*/ 2296791 h 3483307"/>
                <a:gd name="connsiteX735" fmla="*/ 2044240 w 6356680"/>
                <a:gd name="connsiteY735" fmla="*/ 2320617 h 3483307"/>
                <a:gd name="connsiteX736" fmla="*/ 2034712 w 6356680"/>
                <a:gd name="connsiteY736" fmla="*/ 2344443 h 3483307"/>
                <a:gd name="connsiteX737" fmla="*/ 2034712 w 6356680"/>
                <a:gd name="connsiteY737" fmla="*/ 2363503 h 3483307"/>
                <a:gd name="connsiteX738" fmla="*/ 2029948 w 6356680"/>
                <a:gd name="connsiteY738" fmla="*/ 2373033 h 3483307"/>
                <a:gd name="connsiteX739" fmla="*/ 2029948 w 6356680"/>
                <a:gd name="connsiteY739" fmla="*/ 2377799 h 3483307"/>
                <a:gd name="connsiteX740" fmla="*/ 2020416 w 6356680"/>
                <a:gd name="connsiteY740" fmla="*/ 2377799 h 3483307"/>
                <a:gd name="connsiteX741" fmla="*/ 2010884 w 6356680"/>
                <a:gd name="connsiteY741" fmla="*/ 2382563 h 3483307"/>
                <a:gd name="connsiteX742" fmla="*/ 2006120 w 6356680"/>
                <a:gd name="connsiteY742" fmla="*/ 2392093 h 3483307"/>
                <a:gd name="connsiteX743" fmla="*/ 2001356 w 6356680"/>
                <a:gd name="connsiteY743" fmla="*/ 2392093 h 3483307"/>
                <a:gd name="connsiteX744" fmla="*/ 2001356 w 6356680"/>
                <a:gd name="connsiteY744" fmla="*/ 2387329 h 3483307"/>
                <a:gd name="connsiteX745" fmla="*/ 1996592 w 6356680"/>
                <a:gd name="connsiteY745" fmla="*/ 2382563 h 3483307"/>
                <a:gd name="connsiteX746" fmla="*/ 1991824 w 6356680"/>
                <a:gd name="connsiteY746" fmla="*/ 2382563 h 3483307"/>
                <a:gd name="connsiteX747" fmla="*/ 1991824 w 6356680"/>
                <a:gd name="connsiteY747" fmla="*/ 2387329 h 3483307"/>
                <a:gd name="connsiteX748" fmla="*/ 1991824 w 6356680"/>
                <a:gd name="connsiteY748" fmla="*/ 2392093 h 3483307"/>
                <a:gd name="connsiteX749" fmla="*/ 1982296 w 6356680"/>
                <a:gd name="connsiteY749" fmla="*/ 2396859 h 3483307"/>
                <a:gd name="connsiteX750" fmla="*/ 1972764 w 6356680"/>
                <a:gd name="connsiteY750" fmla="*/ 2387329 h 3483307"/>
                <a:gd name="connsiteX751" fmla="*/ 1972764 w 6356680"/>
                <a:gd name="connsiteY751" fmla="*/ 2377799 h 3483307"/>
                <a:gd name="connsiteX752" fmla="*/ 1972764 w 6356680"/>
                <a:gd name="connsiteY752" fmla="*/ 2363503 h 3483307"/>
                <a:gd name="connsiteX753" fmla="*/ 1977528 w 6356680"/>
                <a:gd name="connsiteY753" fmla="*/ 2353973 h 3483307"/>
                <a:gd name="connsiteX754" fmla="*/ 1987060 w 6356680"/>
                <a:gd name="connsiteY754" fmla="*/ 2339677 h 3483307"/>
                <a:gd name="connsiteX755" fmla="*/ 1987060 w 6356680"/>
                <a:gd name="connsiteY755" fmla="*/ 2330147 h 3483307"/>
                <a:gd name="connsiteX756" fmla="*/ 1982296 w 6356680"/>
                <a:gd name="connsiteY756" fmla="*/ 2325383 h 3483307"/>
                <a:gd name="connsiteX757" fmla="*/ 1972764 w 6356680"/>
                <a:gd name="connsiteY757" fmla="*/ 2325383 h 3483307"/>
                <a:gd name="connsiteX758" fmla="*/ 1968000 w 6356680"/>
                <a:gd name="connsiteY758" fmla="*/ 2330147 h 3483307"/>
                <a:gd name="connsiteX759" fmla="*/ 1958468 w 6356680"/>
                <a:gd name="connsiteY759" fmla="*/ 2334913 h 3483307"/>
                <a:gd name="connsiteX760" fmla="*/ 1948940 w 6356680"/>
                <a:gd name="connsiteY760" fmla="*/ 2334913 h 3483307"/>
                <a:gd name="connsiteX761" fmla="*/ 1929880 w 6356680"/>
                <a:gd name="connsiteY761" fmla="*/ 2330147 h 3483307"/>
                <a:gd name="connsiteX762" fmla="*/ 1929880 w 6356680"/>
                <a:gd name="connsiteY762" fmla="*/ 2334913 h 3483307"/>
                <a:gd name="connsiteX763" fmla="*/ 1925112 w 6356680"/>
                <a:gd name="connsiteY763" fmla="*/ 2339677 h 3483307"/>
                <a:gd name="connsiteX764" fmla="*/ 1915584 w 6356680"/>
                <a:gd name="connsiteY764" fmla="*/ 2339677 h 3483307"/>
                <a:gd name="connsiteX765" fmla="*/ 1910820 w 6356680"/>
                <a:gd name="connsiteY765" fmla="*/ 2344443 h 3483307"/>
                <a:gd name="connsiteX766" fmla="*/ 1896524 w 6356680"/>
                <a:gd name="connsiteY766" fmla="*/ 2349207 h 3483307"/>
                <a:gd name="connsiteX767" fmla="*/ 1891756 w 6356680"/>
                <a:gd name="connsiteY767" fmla="*/ 2358739 h 3483307"/>
                <a:gd name="connsiteX768" fmla="*/ 1886992 w 6356680"/>
                <a:gd name="connsiteY768" fmla="*/ 2373033 h 3483307"/>
                <a:gd name="connsiteX769" fmla="*/ 1882228 w 6356680"/>
                <a:gd name="connsiteY769" fmla="*/ 2392093 h 3483307"/>
                <a:gd name="connsiteX770" fmla="*/ 1877464 w 6356680"/>
                <a:gd name="connsiteY770" fmla="*/ 2415919 h 3483307"/>
                <a:gd name="connsiteX771" fmla="*/ 1872696 w 6356680"/>
                <a:gd name="connsiteY771" fmla="*/ 2420685 h 3483307"/>
                <a:gd name="connsiteX772" fmla="*/ 1872696 w 6356680"/>
                <a:gd name="connsiteY772" fmla="*/ 2430215 h 3483307"/>
                <a:gd name="connsiteX773" fmla="*/ 1863168 w 6356680"/>
                <a:gd name="connsiteY773" fmla="*/ 2425449 h 3483307"/>
                <a:gd name="connsiteX774" fmla="*/ 1848872 w 6356680"/>
                <a:gd name="connsiteY774" fmla="*/ 2430215 h 3483307"/>
                <a:gd name="connsiteX775" fmla="*/ 1825044 w 6356680"/>
                <a:gd name="connsiteY775" fmla="*/ 2434979 h 3483307"/>
                <a:gd name="connsiteX776" fmla="*/ 1796456 w 6356680"/>
                <a:gd name="connsiteY776" fmla="*/ 2444511 h 3483307"/>
                <a:gd name="connsiteX777" fmla="*/ 1772628 w 6356680"/>
                <a:gd name="connsiteY777" fmla="*/ 2454041 h 3483307"/>
                <a:gd name="connsiteX778" fmla="*/ 1724980 w 6356680"/>
                <a:gd name="connsiteY778" fmla="*/ 2463571 h 3483307"/>
                <a:gd name="connsiteX779" fmla="*/ 1696388 w 6356680"/>
                <a:gd name="connsiteY779" fmla="*/ 2473101 h 3483307"/>
                <a:gd name="connsiteX780" fmla="*/ 1672560 w 6356680"/>
                <a:gd name="connsiteY780" fmla="*/ 2482631 h 3483307"/>
                <a:gd name="connsiteX781" fmla="*/ 1648736 w 6356680"/>
                <a:gd name="connsiteY781" fmla="*/ 2492161 h 3483307"/>
                <a:gd name="connsiteX782" fmla="*/ 1615380 w 6356680"/>
                <a:gd name="connsiteY782" fmla="*/ 2501691 h 3483307"/>
                <a:gd name="connsiteX783" fmla="*/ 1591556 w 6356680"/>
                <a:gd name="connsiteY783" fmla="*/ 2511223 h 3483307"/>
                <a:gd name="connsiteX784" fmla="*/ 1558200 w 6356680"/>
                <a:gd name="connsiteY784" fmla="*/ 2520753 h 3483307"/>
                <a:gd name="connsiteX785" fmla="*/ 1529608 w 6356680"/>
                <a:gd name="connsiteY785" fmla="*/ 2530283 h 3483307"/>
                <a:gd name="connsiteX786" fmla="*/ 1505784 w 6356680"/>
                <a:gd name="connsiteY786" fmla="*/ 2535047 h 3483307"/>
                <a:gd name="connsiteX787" fmla="*/ 1481956 w 6356680"/>
                <a:gd name="connsiteY787" fmla="*/ 2544579 h 3483307"/>
                <a:gd name="connsiteX788" fmla="*/ 1462896 w 6356680"/>
                <a:gd name="connsiteY788" fmla="*/ 2549343 h 3483307"/>
                <a:gd name="connsiteX789" fmla="*/ 1462896 w 6356680"/>
                <a:gd name="connsiteY789" fmla="*/ 3335589 h 3483307"/>
                <a:gd name="connsiteX790" fmla="*/ 1458132 w 6356680"/>
                <a:gd name="connsiteY790" fmla="*/ 3335589 h 3483307"/>
                <a:gd name="connsiteX791" fmla="*/ 1439072 w 6356680"/>
                <a:gd name="connsiteY791" fmla="*/ 3340355 h 3483307"/>
                <a:gd name="connsiteX792" fmla="*/ 1415244 w 6356680"/>
                <a:gd name="connsiteY792" fmla="*/ 3345119 h 3483307"/>
                <a:gd name="connsiteX793" fmla="*/ 1396184 w 6356680"/>
                <a:gd name="connsiteY793" fmla="*/ 3349885 h 3483307"/>
                <a:gd name="connsiteX794" fmla="*/ 1386656 w 6356680"/>
                <a:gd name="connsiteY794" fmla="*/ 3345119 h 3483307"/>
                <a:gd name="connsiteX795" fmla="*/ 1377124 w 6356680"/>
                <a:gd name="connsiteY795" fmla="*/ 3340355 h 3483307"/>
                <a:gd name="connsiteX796" fmla="*/ 1372360 w 6356680"/>
                <a:gd name="connsiteY796" fmla="*/ 3330823 h 3483307"/>
                <a:gd name="connsiteX797" fmla="*/ 1358064 w 6356680"/>
                <a:gd name="connsiteY797" fmla="*/ 3321293 h 3483307"/>
                <a:gd name="connsiteX798" fmla="*/ 1348532 w 6356680"/>
                <a:gd name="connsiteY798" fmla="*/ 3306999 h 3483307"/>
                <a:gd name="connsiteX799" fmla="*/ 1334236 w 6356680"/>
                <a:gd name="connsiteY799" fmla="*/ 3287937 h 3483307"/>
                <a:gd name="connsiteX800" fmla="*/ 1324708 w 6356680"/>
                <a:gd name="connsiteY800" fmla="*/ 3268877 h 3483307"/>
                <a:gd name="connsiteX801" fmla="*/ 1300880 w 6356680"/>
                <a:gd name="connsiteY801" fmla="*/ 3235521 h 3483307"/>
                <a:gd name="connsiteX802" fmla="*/ 1300880 w 6356680"/>
                <a:gd name="connsiteY802" fmla="*/ 3225991 h 3483307"/>
                <a:gd name="connsiteX803" fmla="*/ 1296116 w 6356680"/>
                <a:gd name="connsiteY803" fmla="*/ 3211695 h 3483307"/>
                <a:gd name="connsiteX804" fmla="*/ 1286588 w 6356680"/>
                <a:gd name="connsiteY804" fmla="*/ 3202165 h 3483307"/>
                <a:gd name="connsiteX805" fmla="*/ 1257996 w 6356680"/>
                <a:gd name="connsiteY805" fmla="*/ 3178339 h 3483307"/>
                <a:gd name="connsiteX806" fmla="*/ 1229404 w 6356680"/>
                <a:gd name="connsiteY806" fmla="*/ 3159279 h 3483307"/>
                <a:gd name="connsiteX807" fmla="*/ 1196048 w 6356680"/>
                <a:gd name="connsiteY807" fmla="*/ 3135453 h 3483307"/>
                <a:gd name="connsiteX808" fmla="*/ 1186520 w 6356680"/>
                <a:gd name="connsiteY808" fmla="*/ 3130689 h 3483307"/>
                <a:gd name="connsiteX809" fmla="*/ 1172224 w 6356680"/>
                <a:gd name="connsiteY809" fmla="*/ 3125923 h 3483307"/>
                <a:gd name="connsiteX810" fmla="*/ 1153164 w 6356680"/>
                <a:gd name="connsiteY810" fmla="*/ 3125923 h 3483307"/>
                <a:gd name="connsiteX811" fmla="*/ 1143632 w 6356680"/>
                <a:gd name="connsiteY811" fmla="*/ 3125923 h 3483307"/>
                <a:gd name="connsiteX812" fmla="*/ 1105512 w 6356680"/>
                <a:gd name="connsiteY812" fmla="*/ 3130689 h 3483307"/>
                <a:gd name="connsiteX813" fmla="*/ 1076920 w 6356680"/>
                <a:gd name="connsiteY813" fmla="*/ 3140219 h 3483307"/>
                <a:gd name="connsiteX814" fmla="*/ 1034036 w 6356680"/>
                <a:gd name="connsiteY814" fmla="*/ 3149749 h 3483307"/>
                <a:gd name="connsiteX815" fmla="*/ 1005444 w 6356680"/>
                <a:gd name="connsiteY815" fmla="*/ 3164045 h 3483307"/>
                <a:gd name="connsiteX816" fmla="*/ 1000680 w 6356680"/>
                <a:gd name="connsiteY816" fmla="*/ 3168809 h 3483307"/>
                <a:gd name="connsiteX817" fmla="*/ 976852 w 6356680"/>
                <a:gd name="connsiteY817" fmla="*/ 3183105 h 3483307"/>
                <a:gd name="connsiteX818" fmla="*/ 948264 w 6356680"/>
                <a:gd name="connsiteY818" fmla="*/ 3206931 h 3483307"/>
                <a:gd name="connsiteX819" fmla="*/ 919672 w 6356680"/>
                <a:gd name="connsiteY819" fmla="*/ 3240287 h 3483307"/>
                <a:gd name="connsiteX820" fmla="*/ 914908 w 6356680"/>
                <a:gd name="connsiteY820" fmla="*/ 3221227 h 3483307"/>
                <a:gd name="connsiteX821" fmla="*/ 914908 w 6356680"/>
                <a:gd name="connsiteY821" fmla="*/ 3183105 h 3483307"/>
                <a:gd name="connsiteX822" fmla="*/ 914908 w 6356680"/>
                <a:gd name="connsiteY822" fmla="*/ 3173575 h 3483307"/>
                <a:gd name="connsiteX823" fmla="*/ 919672 w 6356680"/>
                <a:gd name="connsiteY823" fmla="*/ 3144983 h 3483307"/>
                <a:gd name="connsiteX824" fmla="*/ 929200 w 6356680"/>
                <a:gd name="connsiteY824" fmla="*/ 3125923 h 3483307"/>
                <a:gd name="connsiteX825" fmla="*/ 938732 w 6356680"/>
                <a:gd name="connsiteY825" fmla="*/ 3106863 h 3483307"/>
                <a:gd name="connsiteX826" fmla="*/ 938732 w 6356680"/>
                <a:gd name="connsiteY826" fmla="*/ 3078273 h 3483307"/>
                <a:gd name="connsiteX827" fmla="*/ 933968 w 6356680"/>
                <a:gd name="connsiteY827" fmla="*/ 3035387 h 3483307"/>
                <a:gd name="connsiteX828" fmla="*/ 924436 w 6356680"/>
                <a:gd name="connsiteY828" fmla="*/ 3025855 h 3483307"/>
                <a:gd name="connsiteX829" fmla="*/ 919672 w 6356680"/>
                <a:gd name="connsiteY829" fmla="*/ 3021091 h 3483307"/>
                <a:gd name="connsiteX830" fmla="*/ 910140 w 6356680"/>
                <a:gd name="connsiteY830" fmla="*/ 3021091 h 3483307"/>
                <a:gd name="connsiteX831" fmla="*/ 891080 w 6356680"/>
                <a:gd name="connsiteY831" fmla="*/ 3021091 h 3483307"/>
                <a:gd name="connsiteX832" fmla="*/ 881552 w 6356680"/>
                <a:gd name="connsiteY832" fmla="*/ 3025855 h 3483307"/>
                <a:gd name="connsiteX833" fmla="*/ 872020 w 6356680"/>
                <a:gd name="connsiteY833" fmla="*/ 3011561 h 3483307"/>
                <a:gd name="connsiteX834" fmla="*/ 852960 w 6356680"/>
                <a:gd name="connsiteY834" fmla="*/ 3011561 h 3483307"/>
                <a:gd name="connsiteX835" fmla="*/ 843428 w 6356680"/>
                <a:gd name="connsiteY835" fmla="*/ 3011561 h 3483307"/>
                <a:gd name="connsiteX836" fmla="*/ 833900 w 6356680"/>
                <a:gd name="connsiteY836" fmla="*/ 3016325 h 3483307"/>
                <a:gd name="connsiteX837" fmla="*/ 824368 w 6356680"/>
                <a:gd name="connsiteY837" fmla="*/ 3011561 h 3483307"/>
                <a:gd name="connsiteX838" fmla="*/ 814840 w 6356680"/>
                <a:gd name="connsiteY838" fmla="*/ 3002031 h 3483307"/>
                <a:gd name="connsiteX839" fmla="*/ 810072 w 6356680"/>
                <a:gd name="connsiteY839" fmla="*/ 2992499 h 3483307"/>
                <a:gd name="connsiteX840" fmla="*/ 805308 w 6356680"/>
                <a:gd name="connsiteY840" fmla="*/ 2982969 h 3483307"/>
                <a:gd name="connsiteX841" fmla="*/ 795780 w 6356680"/>
                <a:gd name="connsiteY841" fmla="*/ 2963909 h 3483307"/>
                <a:gd name="connsiteX842" fmla="*/ 781484 w 6356680"/>
                <a:gd name="connsiteY842" fmla="*/ 2949613 h 3483307"/>
                <a:gd name="connsiteX843" fmla="*/ 767188 w 6356680"/>
                <a:gd name="connsiteY843" fmla="*/ 2949613 h 3483307"/>
                <a:gd name="connsiteX844" fmla="*/ 738596 w 6356680"/>
                <a:gd name="connsiteY844" fmla="*/ 2949613 h 3483307"/>
                <a:gd name="connsiteX845" fmla="*/ 729068 w 6356680"/>
                <a:gd name="connsiteY845" fmla="*/ 2944849 h 3483307"/>
                <a:gd name="connsiteX846" fmla="*/ 729068 w 6356680"/>
                <a:gd name="connsiteY846" fmla="*/ 2935319 h 3483307"/>
                <a:gd name="connsiteX847" fmla="*/ 733832 w 6356680"/>
                <a:gd name="connsiteY847" fmla="*/ 2906727 h 3483307"/>
                <a:gd name="connsiteX848" fmla="*/ 733832 w 6356680"/>
                <a:gd name="connsiteY848" fmla="*/ 2892433 h 3483307"/>
                <a:gd name="connsiteX849" fmla="*/ 733832 w 6356680"/>
                <a:gd name="connsiteY849" fmla="*/ 2878137 h 3483307"/>
                <a:gd name="connsiteX850" fmla="*/ 729068 w 6356680"/>
                <a:gd name="connsiteY850" fmla="*/ 2868607 h 3483307"/>
                <a:gd name="connsiteX851" fmla="*/ 724300 w 6356680"/>
                <a:gd name="connsiteY851" fmla="*/ 2859077 h 3483307"/>
                <a:gd name="connsiteX852" fmla="*/ 705240 w 6356680"/>
                <a:gd name="connsiteY852" fmla="*/ 2844781 h 3483307"/>
                <a:gd name="connsiteX853" fmla="*/ 695712 w 6356680"/>
                <a:gd name="connsiteY853" fmla="*/ 2820955 h 3483307"/>
                <a:gd name="connsiteX854" fmla="*/ 676652 w 6356680"/>
                <a:gd name="connsiteY854" fmla="*/ 2778069 h 3483307"/>
                <a:gd name="connsiteX855" fmla="*/ 657588 w 6356680"/>
                <a:gd name="connsiteY855" fmla="*/ 2725653 h 3483307"/>
                <a:gd name="connsiteX856" fmla="*/ 652824 w 6356680"/>
                <a:gd name="connsiteY856" fmla="*/ 2720887 h 3483307"/>
                <a:gd name="connsiteX857" fmla="*/ 633764 w 6356680"/>
                <a:gd name="connsiteY857" fmla="*/ 2711357 h 3483307"/>
                <a:gd name="connsiteX858" fmla="*/ 600408 w 6356680"/>
                <a:gd name="connsiteY858" fmla="*/ 2701827 h 3483307"/>
                <a:gd name="connsiteX859" fmla="*/ 581348 w 6356680"/>
                <a:gd name="connsiteY859" fmla="*/ 2697063 h 3483307"/>
                <a:gd name="connsiteX860" fmla="*/ 571816 w 6356680"/>
                <a:gd name="connsiteY860" fmla="*/ 2692297 h 3483307"/>
                <a:gd name="connsiteX861" fmla="*/ 567052 w 6356680"/>
                <a:gd name="connsiteY861" fmla="*/ 2678001 h 3483307"/>
                <a:gd name="connsiteX862" fmla="*/ 567052 w 6356680"/>
                <a:gd name="connsiteY862" fmla="*/ 2668471 h 3483307"/>
                <a:gd name="connsiteX863" fmla="*/ 571816 w 6356680"/>
                <a:gd name="connsiteY863" fmla="*/ 2654175 h 3483307"/>
                <a:gd name="connsiteX864" fmla="*/ 576584 w 6356680"/>
                <a:gd name="connsiteY864" fmla="*/ 2639881 h 3483307"/>
                <a:gd name="connsiteX865" fmla="*/ 590876 w 6356680"/>
                <a:gd name="connsiteY865" fmla="*/ 2630351 h 3483307"/>
                <a:gd name="connsiteX866" fmla="*/ 629000 w 6356680"/>
                <a:gd name="connsiteY866" fmla="*/ 2630351 h 3483307"/>
                <a:gd name="connsiteX867" fmla="*/ 662356 w 6356680"/>
                <a:gd name="connsiteY867" fmla="*/ 2630351 h 3483307"/>
                <a:gd name="connsiteX868" fmla="*/ 690944 w 6356680"/>
                <a:gd name="connsiteY868" fmla="*/ 2654175 h 3483307"/>
                <a:gd name="connsiteX869" fmla="*/ 700476 w 6356680"/>
                <a:gd name="connsiteY869" fmla="*/ 2658941 h 3483307"/>
                <a:gd name="connsiteX870" fmla="*/ 714772 w 6356680"/>
                <a:gd name="connsiteY870" fmla="*/ 2658941 h 3483307"/>
                <a:gd name="connsiteX871" fmla="*/ 733832 w 6356680"/>
                <a:gd name="connsiteY871" fmla="*/ 2654175 h 3483307"/>
                <a:gd name="connsiteX872" fmla="*/ 743360 w 6356680"/>
                <a:gd name="connsiteY872" fmla="*/ 2649411 h 3483307"/>
                <a:gd name="connsiteX873" fmla="*/ 767188 w 6356680"/>
                <a:gd name="connsiteY873" fmla="*/ 2654175 h 3483307"/>
                <a:gd name="connsiteX874" fmla="*/ 762424 w 6356680"/>
                <a:gd name="connsiteY874" fmla="*/ 2639881 h 3483307"/>
                <a:gd name="connsiteX875" fmla="*/ 752892 w 6356680"/>
                <a:gd name="connsiteY875" fmla="*/ 2635115 h 3483307"/>
                <a:gd name="connsiteX876" fmla="*/ 743360 w 6356680"/>
                <a:gd name="connsiteY876" fmla="*/ 2635115 h 3483307"/>
                <a:gd name="connsiteX877" fmla="*/ 733832 w 6356680"/>
                <a:gd name="connsiteY877" fmla="*/ 2635115 h 3483307"/>
                <a:gd name="connsiteX878" fmla="*/ 719536 w 6356680"/>
                <a:gd name="connsiteY878" fmla="*/ 2611289 h 3483307"/>
                <a:gd name="connsiteX879" fmla="*/ 695712 w 6356680"/>
                <a:gd name="connsiteY879" fmla="*/ 2592229 h 3483307"/>
                <a:gd name="connsiteX880" fmla="*/ 686180 w 6356680"/>
                <a:gd name="connsiteY880" fmla="*/ 2582699 h 3483307"/>
                <a:gd name="connsiteX881" fmla="*/ 686180 w 6356680"/>
                <a:gd name="connsiteY881" fmla="*/ 2568403 h 3483307"/>
                <a:gd name="connsiteX882" fmla="*/ 690944 w 6356680"/>
                <a:gd name="connsiteY882" fmla="*/ 2554109 h 3483307"/>
                <a:gd name="connsiteX883" fmla="*/ 710008 w 6356680"/>
                <a:gd name="connsiteY883" fmla="*/ 2539813 h 3483307"/>
                <a:gd name="connsiteX884" fmla="*/ 724300 w 6356680"/>
                <a:gd name="connsiteY884" fmla="*/ 2520753 h 3483307"/>
                <a:gd name="connsiteX885" fmla="*/ 729068 w 6356680"/>
                <a:gd name="connsiteY885" fmla="*/ 2496927 h 3483307"/>
                <a:gd name="connsiteX886" fmla="*/ 738596 w 6356680"/>
                <a:gd name="connsiteY886" fmla="*/ 2487397 h 3483307"/>
                <a:gd name="connsiteX887" fmla="*/ 748128 w 6356680"/>
                <a:gd name="connsiteY887" fmla="*/ 2468335 h 3483307"/>
                <a:gd name="connsiteX888" fmla="*/ 767188 w 6356680"/>
                <a:gd name="connsiteY888" fmla="*/ 2473101 h 3483307"/>
                <a:gd name="connsiteX889" fmla="*/ 800544 w 6356680"/>
                <a:gd name="connsiteY889" fmla="*/ 2458805 h 3483307"/>
                <a:gd name="connsiteX890" fmla="*/ 848196 w 6356680"/>
                <a:gd name="connsiteY890" fmla="*/ 2463571 h 3483307"/>
                <a:gd name="connsiteX891" fmla="*/ 910140 w 6356680"/>
                <a:gd name="connsiteY891" fmla="*/ 2458805 h 3483307"/>
                <a:gd name="connsiteX892" fmla="*/ 924436 w 6356680"/>
                <a:gd name="connsiteY892" fmla="*/ 2458805 h 3483307"/>
                <a:gd name="connsiteX893" fmla="*/ 962556 w 6356680"/>
                <a:gd name="connsiteY893" fmla="*/ 2473101 h 3483307"/>
                <a:gd name="connsiteX894" fmla="*/ 981620 w 6356680"/>
                <a:gd name="connsiteY894" fmla="*/ 2477867 h 3483307"/>
                <a:gd name="connsiteX895" fmla="*/ 1010208 w 6356680"/>
                <a:gd name="connsiteY895" fmla="*/ 2482631 h 3483307"/>
                <a:gd name="connsiteX896" fmla="*/ 1029268 w 6356680"/>
                <a:gd name="connsiteY896" fmla="*/ 2477867 h 3483307"/>
                <a:gd name="connsiteX897" fmla="*/ 1010208 w 6356680"/>
                <a:gd name="connsiteY897" fmla="*/ 2458805 h 3483307"/>
                <a:gd name="connsiteX898" fmla="*/ 972088 w 6356680"/>
                <a:gd name="connsiteY898" fmla="*/ 2439745 h 3483307"/>
                <a:gd name="connsiteX899" fmla="*/ 962556 w 6356680"/>
                <a:gd name="connsiteY899" fmla="*/ 2420685 h 3483307"/>
                <a:gd name="connsiteX900" fmla="*/ 981620 w 6356680"/>
                <a:gd name="connsiteY900" fmla="*/ 2377799 h 3483307"/>
                <a:gd name="connsiteX901" fmla="*/ 1005444 w 6356680"/>
                <a:gd name="connsiteY901" fmla="*/ 2334913 h 3483307"/>
                <a:gd name="connsiteX902" fmla="*/ 1019740 w 6356680"/>
                <a:gd name="connsiteY902" fmla="*/ 2282495 h 3483307"/>
                <a:gd name="connsiteX903" fmla="*/ 1014976 w 6356680"/>
                <a:gd name="connsiteY903" fmla="*/ 2234845 h 3483307"/>
                <a:gd name="connsiteX904" fmla="*/ 1005444 w 6356680"/>
                <a:gd name="connsiteY904" fmla="*/ 2220549 h 3483307"/>
                <a:gd name="connsiteX905" fmla="*/ 1010208 w 6356680"/>
                <a:gd name="connsiteY905" fmla="*/ 2201489 h 3483307"/>
                <a:gd name="connsiteX906" fmla="*/ 1019740 w 6356680"/>
                <a:gd name="connsiteY906" fmla="*/ 2187193 h 3483307"/>
                <a:gd name="connsiteX907" fmla="*/ 1024504 w 6356680"/>
                <a:gd name="connsiteY907" fmla="*/ 2172899 h 3483307"/>
                <a:gd name="connsiteX908" fmla="*/ 1019740 w 6356680"/>
                <a:gd name="connsiteY908" fmla="*/ 2158603 h 3483307"/>
                <a:gd name="connsiteX909" fmla="*/ 1010208 w 6356680"/>
                <a:gd name="connsiteY909" fmla="*/ 2130011 h 3483307"/>
                <a:gd name="connsiteX910" fmla="*/ 1000680 w 6356680"/>
                <a:gd name="connsiteY910" fmla="*/ 2125247 h 3483307"/>
                <a:gd name="connsiteX911" fmla="*/ 986384 w 6356680"/>
                <a:gd name="connsiteY911" fmla="*/ 2110951 h 3483307"/>
                <a:gd name="connsiteX912" fmla="*/ 948264 w 6356680"/>
                <a:gd name="connsiteY912" fmla="*/ 2110951 h 3483307"/>
                <a:gd name="connsiteX913" fmla="*/ 914908 w 6356680"/>
                <a:gd name="connsiteY913" fmla="*/ 2101421 h 3483307"/>
                <a:gd name="connsiteX914" fmla="*/ 905376 w 6356680"/>
                <a:gd name="connsiteY914" fmla="*/ 2106187 h 3483307"/>
                <a:gd name="connsiteX915" fmla="*/ 900612 w 6356680"/>
                <a:gd name="connsiteY915" fmla="*/ 2115717 h 3483307"/>
                <a:gd name="connsiteX916" fmla="*/ 895844 w 6356680"/>
                <a:gd name="connsiteY916" fmla="*/ 2125247 h 3483307"/>
                <a:gd name="connsiteX917" fmla="*/ 872020 w 6356680"/>
                <a:gd name="connsiteY917" fmla="*/ 2134777 h 3483307"/>
                <a:gd name="connsiteX918" fmla="*/ 862492 w 6356680"/>
                <a:gd name="connsiteY918" fmla="*/ 2139543 h 3483307"/>
                <a:gd name="connsiteX919" fmla="*/ 852960 w 6356680"/>
                <a:gd name="connsiteY919" fmla="*/ 2134777 h 3483307"/>
                <a:gd name="connsiteX920" fmla="*/ 843428 w 6356680"/>
                <a:gd name="connsiteY920" fmla="*/ 2120481 h 3483307"/>
                <a:gd name="connsiteX921" fmla="*/ 833900 w 6356680"/>
                <a:gd name="connsiteY921" fmla="*/ 2125247 h 3483307"/>
                <a:gd name="connsiteX922" fmla="*/ 800544 w 6356680"/>
                <a:gd name="connsiteY922" fmla="*/ 2115717 h 3483307"/>
                <a:gd name="connsiteX923" fmla="*/ 786248 w 6356680"/>
                <a:gd name="connsiteY923" fmla="*/ 2096655 h 3483307"/>
                <a:gd name="connsiteX924" fmla="*/ 781484 w 6356680"/>
                <a:gd name="connsiteY924" fmla="*/ 2091891 h 3483307"/>
                <a:gd name="connsiteX925" fmla="*/ 729068 w 6356680"/>
                <a:gd name="connsiteY925" fmla="*/ 2077595 h 3483307"/>
                <a:gd name="connsiteX926" fmla="*/ 714772 w 6356680"/>
                <a:gd name="connsiteY926" fmla="*/ 2072831 h 3483307"/>
                <a:gd name="connsiteX927" fmla="*/ 671884 w 6356680"/>
                <a:gd name="connsiteY927" fmla="*/ 2091891 h 3483307"/>
                <a:gd name="connsiteX928" fmla="*/ 643296 w 6356680"/>
                <a:gd name="connsiteY928" fmla="*/ 2110951 h 3483307"/>
                <a:gd name="connsiteX929" fmla="*/ 633764 w 6356680"/>
                <a:gd name="connsiteY929" fmla="*/ 2115717 h 3483307"/>
                <a:gd name="connsiteX930" fmla="*/ 619468 w 6356680"/>
                <a:gd name="connsiteY930" fmla="*/ 2125247 h 3483307"/>
                <a:gd name="connsiteX931" fmla="*/ 609940 w 6356680"/>
                <a:gd name="connsiteY931" fmla="*/ 2130011 h 3483307"/>
                <a:gd name="connsiteX932" fmla="*/ 600408 w 6356680"/>
                <a:gd name="connsiteY932" fmla="*/ 2125247 h 3483307"/>
                <a:gd name="connsiteX933" fmla="*/ 595644 w 6356680"/>
                <a:gd name="connsiteY933" fmla="*/ 2125247 h 3483307"/>
                <a:gd name="connsiteX934" fmla="*/ 576584 w 6356680"/>
                <a:gd name="connsiteY934" fmla="*/ 2144307 h 3483307"/>
                <a:gd name="connsiteX935" fmla="*/ 543228 w 6356680"/>
                <a:gd name="connsiteY935" fmla="*/ 2168133 h 3483307"/>
                <a:gd name="connsiteX936" fmla="*/ 528932 w 6356680"/>
                <a:gd name="connsiteY936" fmla="*/ 2182429 h 3483307"/>
                <a:gd name="connsiteX937" fmla="*/ 509872 w 6356680"/>
                <a:gd name="connsiteY937" fmla="*/ 2191959 h 3483307"/>
                <a:gd name="connsiteX938" fmla="*/ 490812 w 6356680"/>
                <a:gd name="connsiteY938" fmla="*/ 2196723 h 3483307"/>
                <a:gd name="connsiteX939" fmla="*/ 471748 w 6356680"/>
                <a:gd name="connsiteY939" fmla="*/ 2196723 h 3483307"/>
                <a:gd name="connsiteX940" fmla="*/ 462220 w 6356680"/>
                <a:gd name="connsiteY940" fmla="*/ 2201489 h 3483307"/>
                <a:gd name="connsiteX941" fmla="*/ 443160 w 6356680"/>
                <a:gd name="connsiteY941" fmla="*/ 2206255 h 3483307"/>
                <a:gd name="connsiteX942" fmla="*/ 428864 w 6356680"/>
                <a:gd name="connsiteY942" fmla="*/ 2211019 h 3483307"/>
                <a:gd name="connsiteX943" fmla="*/ 424100 w 6356680"/>
                <a:gd name="connsiteY943" fmla="*/ 2215785 h 3483307"/>
                <a:gd name="connsiteX944" fmla="*/ 428864 w 6356680"/>
                <a:gd name="connsiteY944" fmla="*/ 2234845 h 3483307"/>
                <a:gd name="connsiteX945" fmla="*/ 414568 w 6356680"/>
                <a:gd name="connsiteY945" fmla="*/ 2230079 h 3483307"/>
                <a:gd name="connsiteX946" fmla="*/ 405036 w 6356680"/>
                <a:gd name="connsiteY946" fmla="*/ 2239609 h 3483307"/>
                <a:gd name="connsiteX947" fmla="*/ 409804 w 6356680"/>
                <a:gd name="connsiteY947" fmla="*/ 2249139 h 3483307"/>
                <a:gd name="connsiteX948" fmla="*/ 400272 w 6356680"/>
                <a:gd name="connsiteY948" fmla="*/ 2249139 h 3483307"/>
                <a:gd name="connsiteX949" fmla="*/ 366916 w 6356680"/>
                <a:gd name="connsiteY949" fmla="*/ 2225315 h 3483307"/>
                <a:gd name="connsiteX950" fmla="*/ 338328 w 6356680"/>
                <a:gd name="connsiteY950" fmla="*/ 2211019 h 3483307"/>
                <a:gd name="connsiteX951" fmla="*/ 309736 w 6356680"/>
                <a:gd name="connsiteY951" fmla="*/ 2196723 h 3483307"/>
                <a:gd name="connsiteX952" fmla="*/ 300204 w 6356680"/>
                <a:gd name="connsiteY952" fmla="*/ 2187193 h 3483307"/>
                <a:gd name="connsiteX953" fmla="*/ 295440 w 6356680"/>
                <a:gd name="connsiteY953" fmla="*/ 2177663 h 3483307"/>
                <a:gd name="connsiteX954" fmla="*/ 295440 w 6356680"/>
                <a:gd name="connsiteY954" fmla="*/ 2168133 h 3483307"/>
                <a:gd name="connsiteX955" fmla="*/ 295440 w 6356680"/>
                <a:gd name="connsiteY955" fmla="*/ 2158603 h 3483307"/>
                <a:gd name="connsiteX956" fmla="*/ 304972 w 6356680"/>
                <a:gd name="connsiteY956" fmla="*/ 2153837 h 3483307"/>
                <a:gd name="connsiteX957" fmla="*/ 309736 w 6356680"/>
                <a:gd name="connsiteY957" fmla="*/ 2153837 h 3483307"/>
                <a:gd name="connsiteX958" fmla="*/ 319264 w 6356680"/>
                <a:gd name="connsiteY958" fmla="*/ 2153837 h 3483307"/>
                <a:gd name="connsiteX959" fmla="*/ 324032 w 6356680"/>
                <a:gd name="connsiteY959" fmla="*/ 2158603 h 3483307"/>
                <a:gd name="connsiteX960" fmla="*/ 338328 w 6356680"/>
                <a:gd name="connsiteY960" fmla="*/ 2163367 h 3483307"/>
                <a:gd name="connsiteX961" fmla="*/ 352620 w 6356680"/>
                <a:gd name="connsiteY961" fmla="*/ 2168133 h 3483307"/>
                <a:gd name="connsiteX962" fmla="*/ 366916 w 6356680"/>
                <a:gd name="connsiteY962" fmla="*/ 2163367 h 3483307"/>
                <a:gd name="connsiteX963" fmla="*/ 366916 w 6356680"/>
                <a:gd name="connsiteY963" fmla="*/ 2149073 h 3483307"/>
                <a:gd name="connsiteX964" fmla="*/ 347856 w 6356680"/>
                <a:gd name="connsiteY964" fmla="*/ 2110951 h 3483307"/>
                <a:gd name="connsiteX965" fmla="*/ 328796 w 6356680"/>
                <a:gd name="connsiteY965" fmla="*/ 2077595 h 3483307"/>
                <a:gd name="connsiteX966" fmla="*/ 309736 w 6356680"/>
                <a:gd name="connsiteY966" fmla="*/ 2039475 h 3483307"/>
                <a:gd name="connsiteX967" fmla="*/ 304972 w 6356680"/>
                <a:gd name="connsiteY967" fmla="*/ 2025179 h 3483307"/>
                <a:gd name="connsiteX968" fmla="*/ 281144 w 6356680"/>
                <a:gd name="connsiteY968" fmla="*/ 1996589 h 3483307"/>
                <a:gd name="connsiteX969" fmla="*/ 257320 w 6356680"/>
                <a:gd name="connsiteY969" fmla="*/ 1963233 h 3483307"/>
                <a:gd name="connsiteX970" fmla="*/ 243024 w 6356680"/>
                <a:gd name="connsiteY970" fmla="*/ 1934641 h 3483307"/>
                <a:gd name="connsiteX971" fmla="*/ 233492 w 6356680"/>
                <a:gd name="connsiteY971" fmla="*/ 1929877 h 3483307"/>
                <a:gd name="connsiteX972" fmla="*/ 204904 w 6356680"/>
                <a:gd name="connsiteY972" fmla="*/ 1925111 h 3483307"/>
                <a:gd name="connsiteX973" fmla="*/ 152488 w 6356680"/>
                <a:gd name="connsiteY973" fmla="*/ 1915581 h 3483307"/>
                <a:gd name="connsiteX974" fmla="*/ 133424 w 6356680"/>
                <a:gd name="connsiteY974" fmla="*/ 1915581 h 3483307"/>
                <a:gd name="connsiteX975" fmla="*/ 119132 w 6356680"/>
                <a:gd name="connsiteY975" fmla="*/ 1920347 h 3483307"/>
                <a:gd name="connsiteX976" fmla="*/ 104836 w 6356680"/>
                <a:gd name="connsiteY976" fmla="*/ 1929877 h 3483307"/>
                <a:gd name="connsiteX977" fmla="*/ 90540 w 6356680"/>
                <a:gd name="connsiteY977" fmla="*/ 1915581 h 3483307"/>
                <a:gd name="connsiteX978" fmla="*/ 81008 w 6356680"/>
                <a:gd name="connsiteY978" fmla="*/ 1896521 h 3483307"/>
                <a:gd name="connsiteX979" fmla="*/ 76244 w 6356680"/>
                <a:gd name="connsiteY979" fmla="*/ 1882225 h 3483307"/>
                <a:gd name="connsiteX980" fmla="*/ 76244 w 6356680"/>
                <a:gd name="connsiteY980" fmla="*/ 1863165 h 3483307"/>
                <a:gd name="connsiteX981" fmla="*/ 81008 w 6356680"/>
                <a:gd name="connsiteY981" fmla="*/ 1839339 h 3483307"/>
                <a:gd name="connsiteX982" fmla="*/ 71480 w 6356680"/>
                <a:gd name="connsiteY982" fmla="*/ 1815513 h 3483307"/>
                <a:gd name="connsiteX983" fmla="*/ 61948 w 6356680"/>
                <a:gd name="connsiteY983" fmla="*/ 1801219 h 3483307"/>
                <a:gd name="connsiteX984" fmla="*/ 38124 w 6356680"/>
                <a:gd name="connsiteY984" fmla="*/ 1791687 h 3483307"/>
                <a:gd name="connsiteX985" fmla="*/ 4768 w 6356680"/>
                <a:gd name="connsiteY985" fmla="*/ 1772627 h 3483307"/>
                <a:gd name="connsiteX986" fmla="*/ 0 w 6356680"/>
                <a:gd name="connsiteY986" fmla="*/ 1734507 h 3483307"/>
                <a:gd name="connsiteX987" fmla="*/ 14296 w 6356680"/>
                <a:gd name="connsiteY987" fmla="*/ 1677325 h 3483307"/>
                <a:gd name="connsiteX988" fmla="*/ 38124 w 6356680"/>
                <a:gd name="connsiteY988" fmla="*/ 1639203 h 3483307"/>
                <a:gd name="connsiteX989" fmla="*/ 52420 w 6356680"/>
                <a:gd name="connsiteY989" fmla="*/ 1624909 h 3483307"/>
                <a:gd name="connsiteX990" fmla="*/ 61948 w 6356680"/>
                <a:gd name="connsiteY990" fmla="*/ 1610613 h 3483307"/>
                <a:gd name="connsiteX991" fmla="*/ 66712 w 6356680"/>
                <a:gd name="connsiteY991" fmla="*/ 1596317 h 3483307"/>
                <a:gd name="connsiteX992" fmla="*/ 61948 w 6356680"/>
                <a:gd name="connsiteY992" fmla="*/ 1586787 h 3483307"/>
                <a:gd name="connsiteX993" fmla="*/ 52420 w 6356680"/>
                <a:gd name="connsiteY993" fmla="*/ 1572491 h 3483307"/>
                <a:gd name="connsiteX994" fmla="*/ 38124 w 6356680"/>
                <a:gd name="connsiteY994" fmla="*/ 1558197 h 3483307"/>
                <a:gd name="connsiteX995" fmla="*/ 28592 w 6356680"/>
                <a:gd name="connsiteY995" fmla="*/ 1543901 h 3483307"/>
                <a:gd name="connsiteX996" fmla="*/ 33356 w 6356680"/>
                <a:gd name="connsiteY996" fmla="*/ 1510545 h 3483307"/>
                <a:gd name="connsiteX997" fmla="*/ 42888 w 6356680"/>
                <a:gd name="connsiteY997" fmla="*/ 1467659 h 3483307"/>
                <a:gd name="connsiteX998" fmla="*/ 57184 w 6356680"/>
                <a:gd name="connsiteY998" fmla="*/ 1429539 h 3483307"/>
                <a:gd name="connsiteX999" fmla="*/ 81008 w 6356680"/>
                <a:gd name="connsiteY999" fmla="*/ 1405713 h 3483307"/>
                <a:gd name="connsiteX1000" fmla="*/ 100068 w 6356680"/>
                <a:gd name="connsiteY1000" fmla="*/ 1391417 h 3483307"/>
                <a:gd name="connsiteX1001" fmla="*/ 104836 w 6356680"/>
                <a:gd name="connsiteY1001" fmla="*/ 1377121 h 3483307"/>
                <a:gd name="connsiteX1002" fmla="*/ 104836 w 6356680"/>
                <a:gd name="connsiteY1002" fmla="*/ 1358061 h 3483307"/>
                <a:gd name="connsiteX1003" fmla="*/ 104836 w 6356680"/>
                <a:gd name="connsiteY1003" fmla="*/ 1339001 h 3483307"/>
                <a:gd name="connsiteX1004" fmla="*/ 109600 w 6356680"/>
                <a:gd name="connsiteY1004" fmla="*/ 1324705 h 3483307"/>
                <a:gd name="connsiteX1005" fmla="*/ 119132 w 6356680"/>
                <a:gd name="connsiteY1005" fmla="*/ 1315175 h 3483307"/>
                <a:gd name="connsiteX1006" fmla="*/ 128660 w 6356680"/>
                <a:gd name="connsiteY1006" fmla="*/ 1305645 h 3483307"/>
                <a:gd name="connsiteX1007" fmla="*/ 138192 w 6356680"/>
                <a:gd name="connsiteY1007" fmla="*/ 1291349 h 3483307"/>
                <a:gd name="connsiteX1008" fmla="*/ 152488 w 6356680"/>
                <a:gd name="connsiteY1008" fmla="*/ 1291349 h 3483307"/>
                <a:gd name="connsiteX1009" fmla="*/ 171548 w 6356680"/>
                <a:gd name="connsiteY1009" fmla="*/ 1300879 h 3483307"/>
                <a:gd name="connsiteX1010" fmla="*/ 190608 w 6356680"/>
                <a:gd name="connsiteY1010" fmla="*/ 1324705 h 3483307"/>
                <a:gd name="connsiteX1011" fmla="*/ 223964 w 6356680"/>
                <a:gd name="connsiteY1011" fmla="*/ 1367591 h 3483307"/>
                <a:gd name="connsiteX1012" fmla="*/ 243024 w 6356680"/>
                <a:gd name="connsiteY1012" fmla="*/ 1400947 h 3483307"/>
                <a:gd name="connsiteX1013" fmla="*/ 252552 w 6356680"/>
                <a:gd name="connsiteY1013" fmla="*/ 1410477 h 3483307"/>
                <a:gd name="connsiteX1014" fmla="*/ 266848 w 6356680"/>
                <a:gd name="connsiteY1014" fmla="*/ 1424773 h 3483307"/>
                <a:gd name="connsiteX1015" fmla="*/ 285908 w 6356680"/>
                <a:gd name="connsiteY1015" fmla="*/ 1434303 h 3483307"/>
                <a:gd name="connsiteX1016" fmla="*/ 309736 w 6356680"/>
                <a:gd name="connsiteY1016" fmla="*/ 1424773 h 3483307"/>
                <a:gd name="connsiteX1017" fmla="*/ 333560 w 6356680"/>
                <a:gd name="connsiteY1017" fmla="*/ 1410477 h 3483307"/>
                <a:gd name="connsiteX1018" fmla="*/ 343092 w 6356680"/>
                <a:gd name="connsiteY1018" fmla="*/ 1400947 h 3483307"/>
                <a:gd name="connsiteX1019" fmla="*/ 347856 w 6356680"/>
                <a:gd name="connsiteY1019" fmla="*/ 1386651 h 3483307"/>
                <a:gd name="connsiteX1020" fmla="*/ 343092 w 6356680"/>
                <a:gd name="connsiteY1020" fmla="*/ 1367591 h 3483307"/>
                <a:gd name="connsiteX1021" fmla="*/ 338328 w 6356680"/>
                <a:gd name="connsiteY1021" fmla="*/ 1353297 h 3483307"/>
                <a:gd name="connsiteX1022" fmla="*/ 333560 w 6356680"/>
                <a:gd name="connsiteY1022" fmla="*/ 1339001 h 3483307"/>
                <a:gd name="connsiteX1023" fmla="*/ 324032 w 6356680"/>
                <a:gd name="connsiteY1023" fmla="*/ 1305645 h 3483307"/>
                <a:gd name="connsiteX1024" fmla="*/ 319264 w 6356680"/>
                <a:gd name="connsiteY1024" fmla="*/ 1257993 h 3483307"/>
                <a:gd name="connsiteX1025" fmla="*/ 314500 w 6356680"/>
                <a:gd name="connsiteY1025" fmla="*/ 1243699 h 3483307"/>
                <a:gd name="connsiteX1026" fmla="*/ 319264 w 6356680"/>
                <a:gd name="connsiteY1026" fmla="*/ 1238933 h 3483307"/>
                <a:gd name="connsiteX1027" fmla="*/ 328796 w 6356680"/>
                <a:gd name="connsiteY1027" fmla="*/ 1243699 h 3483307"/>
                <a:gd name="connsiteX1028" fmla="*/ 343092 w 6356680"/>
                <a:gd name="connsiteY1028" fmla="*/ 1243699 h 3483307"/>
                <a:gd name="connsiteX1029" fmla="*/ 357388 w 6356680"/>
                <a:gd name="connsiteY1029" fmla="*/ 1234167 h 3483307"/>
                <a:gd name="connsiteX1030" fmla="*/ 381212 w 6356680"/>
                <a:gd name="connsiteY1030" fmla="*/ 1215107 h 3483307"/>
                <a:gd name="connsiteX1031" fmla="*/ 424100 w 6356680"/>
                <a:gd name="connsiteY1031" fmla="*/ 1181751 h 3483307"/>
                <a:gd name="connsiteX1032" fmla="*/ 433628 w 6356680"/>
                <a:gd name="connsiteY1032" fmla="*/ 1162691 h 3483307"/>
                <a:gd name="connsiteX1033" fmla="*/ 438392 w 6356680"/>
                <a:gd name="connsiteY1033" fmla="*/ 1138865 h 3483307"/>
                <a:gd name="connsiteX1034" fmla="*/ 447924 w 6356680"/>
                <a:gd name="connsiteY1034" fmla="*/ 1124571 h 3483307"/>
                <a:gd name="connsiteX1035" fmla="*/ 476516 w 6356680"/>
                <a:gd name="connsiteY1035" fmla="*/ 1119805 h 3483307"/>
                <a:gd name="connsiteX1036" fmla="*/ 500340 w 6356680"/>
                <a:gd name="connsiteY1036" fmla="*/ 1115039 h 3483307"/>
                <a:gd name="connsiteX1037" fmla="*/ 519400 w 6356680"/>
                <a:gd name="connsiteY1037" fmla="*/ 1095979 h 3483307"/>
                <a:gd name="connsiteX1038" fmla="*/ 543228 w 6356680"/>
                <a:gd name="connsiteY1038" fmla="*/ 1081683 h 3483307"/>
                <a:gd name="connsiteX1039" fmla="*/ 567052 w 6356680"/>
                <a:gd name="connsiteY1039" fmla="*/ 1072153 h 3483307"/>
                <a:gd name="connsiteX1040" fmla="*/ 576584 w 6356680"/>
                <a:gd name="connsiteY1040" fmla="*/ 1067389 h 3483307"/>
                <a:gd name="connsiteX1041" fmla="*/ 586112 w 6356680"/>
                <a:gd name="connsiteY1041" fmla="*/ 1053093 h 3483307"/>
                <a:gd name="connsiteX1042" fmla="*/ 609940 w 6356680"/>
                <a:gd name="connsiteY1042" fmla="*/ 1019737 h 3483307"/>
                <a:gd name="connsiteX1043" fmla="*/ 629000 w 6356680"/>
                <a:gd name="connsiteY1043" fmla="*/ 1000677 h 3483307"/>
                <a:gd name="connsiteX1044" fmla="*/ 648060 w 6356680"/>
                <a:gd name="connsiteY1044" fmla="*/ 976851 h 3483307"/>
                <a:gd name="connsiteX1045" fmla="*/ 652824 w 6356680"/>
                <a:gd name="connsiteY1045" fmla="*/ 962555 h 3483307"/>
                <a:gd name="connsiteX1046" fmla="*/ 667120 w 6356680"/>
                <a:gd name="connsiteY1046" fmla="*/ 967321 h 3483307"/>
                <a:gd name="connsiteX1047" fmla="*/ 686180 w 6356680"/>
                <a:gd name="connsiteY1047" fmla="*/ 976851 h 3483307"/>
                <a:gd name="connsiteX1048" fmla="*/ 710008 w 6356680"/>
                <a:gd name="connsiteY1048" fmla="*/ 986381 h 3483307"/>
                <a:gd name="connsiteX1049" fmla="*/ 729068 w 6356680"/>
                <a:gd name="connsiteY1049" fmla="*/ 995911 h 3483307"/>
                <a:gd name="connsiteX1050" fmla="*/ 729068 w 6356680"/>
                <a:gd name="connsiteY1050" fmla="*/ 1010207 h 3483307"/>
                <a:gd name="connsiteX1051" fmla="*/ 733832 w 6356680"/>
                <a:gd name="connsiteY1051" fmla="*/ 1019737 h 3483307"/>
                <a:gd name="connsiteX1052" fmla="*/ 738596 w 6356680"/>
                <a:gd name="connsiteY1052" fmla="*/ 1029267 h 3483307"/>
                <a:gd name="connsiteX1053" fmla="*/ 748128 w 6356680"/>
                <a:gd name="connsiteY1053" fmla="*/ 1029267 h 3483307"/>
                <a:gd name="connsiteX1054" fmla="*/ 757656 w 6356680"/>
                <a:gd name="connsiteY1054" fmla="*/ 1024503 h 3483307"/>
                <a:gd name="connsiteX1055" fmla="*/ 781484 w 6356680"/>
                <a:gd name="connsiteY1055" fmla="*/ 1024503 h 3483307"/>
                <a:gd name="connsiteX1056" fmla="*/ 805308 w 6356680"/>
                <a:gd name="connsiteY1056" fmla="*/ 1010207 h 3483307"/>
                <a:gd name="connsiteX1057" fmla="*/ 843428 w 6356680"/>
                <a:gd name="connsiteY1057" fmla="*/ 976851 h 3483307"/>
                <a:gd name="connsiteX1058" fmla="*/ 876784 w 6356680"/>
                <a:gd name="connsiteY1058" fmla="*/ 967321 h 3483307"/>
                <a:gd name="connsiteX1059" fmla="*/ 891080 w 6356680"/>
                <a:gd name="connsiteY1059" fmla="*/ 976851 h 3483307"/>
                <a:gd name="connsiteX1060" fmla="*/ 905376 w 6356680"/>
                <a:gd name="connsiteY1060" fmla="*/ 995911 h 3483307"/>
                <a:gd name="connsiteX1061" fmla="*/ 919672 w 6356680"/>
                <a:gd name="connsiteY1061" fmla="*/ 1019737 h 3483307"/>
                <a:gd name="connsiteX1062" fmla="*/ 929200 w 6356680"/>
                <a:gd name="connsiteY1062" fmla="*/ 1024503 h 3483307"/>
                <a:gd name="connsiteX1063" fmla="*/ 938732 w 6356680"/>
                <a:gd name="connsiteY1063" fmla="*/ 1024503 h 3483307"/>
                <a:gd name="connsiteX1064" fmla="*/ 938732 w 6356680"/>
                <a:gd name="connsiteY1064" fmla="*/ 1029267 h 3483307"/>
                <a:gd name="connsiteX1065" fmla="*/ 953028 w 6356680"/>
                <a:gd name="connsiteY1065" fmla="*/ 1019737 h 3483307"/>
                <a:gd name="connsiteX1066" fmla="*/ 957792 w 6356680"/>
                <a:gd name="connsiteY1066" fmla="*/ 1019737 h 3483307"/>
                <a:gd name="connsiteX1067" fmla="*/ 967324 w 6356680"/>
                <a:gd name="connsiteY1067" fmla="*/ 1024503 h 3483307"/>
                <a:gd name="connsiteX1068" fmla="*/ 981620 w 6356680"/>
                <a:gd name="connsiteY1068" fmla="*/ 1029267 h 3483307"/>
                <a:gd name="connsiteX1069" fmla="*/ 1005444 w 6356680"/>
                <a:gd name="connsiteY1069" fmla="*/ 1029267 h 3483307"/>
                <a:gd name="connsiteX1070" fmla="*/ 1034036 w 6356680"/>
                <a:gd name="connsiteY1070" fmla="*/ 1024503 h 3483307"/>
                <a:gd name="connsiteX1071" fmla="*/ 1048332 w 6356680"/>
                <a:gd name="connsiteY1071" fmla="*/ 1024503 h 3483307"/>
                <a:gd name="connsiteX1072" fmla="*/ 1067392 w 6356680"/>
                <a:gd name="connsiteY1072" fmla="*/ 1034033 h 3483307"/>
                <a:gd name="connsiteX1073" fmla="*/ 1081684 w 6356680"/>
                <a:gd name="connsiteY1073" fmla="*/ 1048327 h 3483307"/>
                <a:gd name="connsiteX1074" fmla="*/ 1105512 w 6356680"/>
                <a:gd name="connsiteY1074" fmla="*/ 1081683 h 3483307"/>
                <a:gd name="connsiteX1075" fmla="*/ 1119808 w 6356680"/>
                <a:gd name="connsiteY1075" fmla="*/ 1091215 h 3483307"/>
                <a:gd name="connsiteX1076" fmla="*/ 1148396 w 6356680"/>
                <a:gd name="connsiteY1076" fmla="*/ 1105509 h 3483307"/>
                <a:gd name="connsiteX1077" fmla="*/ 1157928 w 6356680"/>
                <a:gd name="connsiteY1077" fmla="*/ 1119805 h 3483307"/>
                <a:gd name="connsiteX1078" fmla="*/ 1176988 w 6356680"/>
                <a:gd name="connsiteY1078" fmla="*/ 1134101 h 3483307"/>
                <a:gd name="connsiteX1079" fmla="*/ 1181752 w 6356680"/>
                <a:gd name="connsiteY1079" fmla="*/ 1148395 h 3483307"/>
                <a:gd name="connsiteX1080" fmla="*/ 1200816 w 6356680"/>
                <a:gd name="connsiteY1080" fmla="*/ 1167457 h 3483307"/>
                <a:gd name="connsiteX1081" fmla="*/ 1219876 w 6356680"/>
                <a:gd name="connsiteY1081" fmla="*/ 1200811 h 3483307"/>
                <a:gd name="connsiteX1082" fmla="*/ 1224640 w 6356680"/>
                <a:gd name="connsiteY1082" fmla="*/ 1229403 h 3483307"/>
                <a:gd name="connsiteX1083" fmla="*/ 1229404 w 6356680"/>
                <a:gd name="connsiteY1083" fmla="*/ 1248463 h 3483307"/>
                <a:gd name="connsiteX1084" fmla="*/ 1234168 w 6356680"/>
                <a:gd name="connsiteY1084" fmla="*/ 1257993 h 3483307"/>
                <a:gd name="connsiteX1085" fmla="*/ 1238936 w 6356680"/>
                <a:gd name="connsiteY1085" fmla="*/ 1262759 h 3483307"/>
                <a:gd name="connsiteX1086" fmla="*/ 1248464 w 6356680"/>
                <a:gd name="connsiteY1086" fmla="*/ 1257993 h 3483307"/>
                <a:gd name="connsiteX1087" fmla="*/ 1253232 w 6356680"/>
                <a:gd name="connsiteY1087" fmla="*/ 1248463 h 3483307"/>
                <a:gd name="connsiteX1088" fmla="*/ 1253232 w 6356680"/>
                <a:gd name="connsiteY1088" fmla="*/ 1229403 h 3483307"/>
                <a:gd name="connsiteX1089" fmla="*/ 1253232 w 6356680"/>
                <a:gd name="connsiteY1089" fmla="*/ 1200811 h 3483307"/>
                <a:gd name="connsiteX1090" fmla="*/ 1248464 w 6356680"/>
                <a:gd name="connsiteY1090" fmla="*/ 1176987 h 3483307"/>
                <a:gd name="connsiteX1091" fmla="*/ 1243700 w 6356680"/>
                <a:gd name="connsiteY1091" fmla="*/ 1167457 h 3483307"/>
                <a:gd name="connsiteX1092" fmla="*/ 1238936 w 6356680"/>
                <a:gd name="connsiteY1092" fmla="*/ 1157925 h 3483307"/>
                <a:gd name="connsiteX1093" fmla="*/ 1243700 w 6356680"/>
                <a:gd name="connsiteY1093" fmla="*/ 1148395 h 3483307"/>
                <a:gd name="connsiteX1094" fmla="*/ 1253232 w 6356680"/>
                <a:gd name="connsiteY1094" fmla="*/ 1143631 h 3483307"/>
                <a:gd name="connsiteX1095" fmla="*/ 1267524 w 6356680"/>
                <a:gd name="connsiteY1095" fmla="*/ 1148395 h 3483307"/>
                <a:gd name="connsiteX1096" fmla="*/ 1291352 w 6356680"/>
                <a:gd name="connsiteY1096" fmla="*/ 1162691 h 3483307"/>
                <a:gd name="connsiteX1097" fmla="*/ 1310412 w 6356680"/>
                <a:gd name="connsiteY1097" fmla="*/ 1176987 h 3483307"/>
                <a:gd name="connsiteX1098" fmla="*/ 1339004 w 6356680"/>
                <a:gd name="connsiteY1098" fmla="*/ 1210343 h 3483307"/>
                <a:gd name="connsiteX1099" fmla="*/ 1367592 w 6356680"/>
                <a:gd name="connsiteY1099" fmla="*/ 1229403 h 3483307"/>
                <a:gd name="connsiteX1100" fmla="*/ 1396184 w 6356680"/>
                <a:gd name="connsiteY1100" fmla="*/ 1243699 h 3483307"/>
                <a:gd name="connsiteX1101" fmla="*/ 1415244 w 6356680"/>
                <a:gd name="connsiteY1101" fmla="*/ 1248463 h 3483307"/>
                <a:gd name="connsiteX1102" fmla="*/ 1434304 w 6356680"/>
                <a:gd name="connsiteY1102" fmla="*/ 1243699 h 3483307"/>
                <a:gd name="connsiteX1103" fmla="*/ 1453364 w 6356680"/>
                <a:gd name="connsiteY1103" fmla="*/ 1234167 h 3483307"/>
                <a:gd name="connsiteX1104" fmla="*/ 1472428 w 6356680"/>
                <a:gd name="connsiteY1104" fmla="*/ 1215107 h 3483307"/>
                <a:gd name="connsiteX1105" fmla="*/ 1481956 w 6356680"/>
                <a:gd name="connsiteY1105" fmla="*/ 1200811 h 3483307"/>
                <a:gd name="connsiteX1106" fmla="*/ 1486720 w 6356680"/>
                <a:gd name="connsiteY1106" fmla="*/ 1186517 h 3483307"/>
                <a:gd name="connsiteX1107" fmla="*/ 1515312 w 6356680"/>
                <a:gd name="connsiteY1107" fmla="*/ 1162691 h 3483307"/>
                <a:gd name="connsiteX1108" fmla="*/ 1543904 w 6356680"/>
                <a:gd name="connsiteY1108" fmla="*/ 1143631 h 3483307"/>
                <a:gd name="connsiteX1109" fmla="*/ 1553432 w 6356680"/>
                <a:gd name="connsiteY1109" fmla="*/ 1143631 h 3483307"/>
                <a:gd name="connsiteX1110" fmla="*/ 1562964 w 6356680"/>
                <a:gd name="connsiteY1110" fmla="*/ 1153161 h 3483307"/>
                <a:gd name="connsiteX1111" fmla="*/ 1586788 w 6356680"/>
                <a:gd name="connsiteY1111" fmla="*/ 1138865 h 3483307"/>
                <a:gd name="connsiteX1112" fmla="*/ 1601084 w 6356680"/>
                <a:gd name="connsiteY1112" fmla="*/ 1134101 h 3483307"/>
                <a:gd name="connsiteX1113" fmla="*/ 1624912 w 6356680"/>
                <a:gd name="connsiteY1113" fmla="*/ 1129335 h 3483307"/>
                <a:gd name="connsiteX1114" fmla="*/ 1648736 w 6356680"/>
                <a:gd name="connsiteY1114" fmla="*/ 1138865 h 3483307"/>
                <a:gd name="connsiteX1115" fmla="*/ 1672560 w 6356680"/>
                <a:gd name="connsiteY1115" fmla="*/ 1157925 h 3483307"/>
                <a:gd name="connsiteX1116" fmla="*/ 1691624 w 6356680"/>
                <a:gd name="connsiteY1116" fmla="*/ 1172221 h 3483307"/>
                <a:gd name="connsiteX1117" fmla="*/ 1710684 w 6356680"/>
                <a:gd name="connsiteY1117" fmla="*/ 1172221 h 3483307"/>
                <a:gd name="connsiteX1118" fmla="*/ 1724980 w 6356680"/>
                <a:gd name="connsiteY1118" fmla="*/ 1167457 h 3483307"/>
                <a:gd name="connsiteX1119" fmla="*/ 1734508 w 6356680"/>
                <a:gd name="connsiteY1119" fmla="*/ 1153161 h 3483307"/>
                <a:gd name="connsiteX1120" fmla="*/ 1739272 w 6356680"/>
                <a:gd name="connsiteY1120" fmla="*/ 1134101 h 3483307"/>
                <a:gd name="connsiteX1121" fmla="*/ 1753568 w 6356680"/>
                <a:gd name="connsiteY1121" fmla="*/ 1124571 h 3483307"/>
                <a:gd name="connsiteX1122" fmla="*/ 1786924 w 6356680"/>
                <a:gd name="connsiteY1122" fmla="*/ 1129335 h 3483307"/>
                <a:gd name="connsiteX1123" fmla="*/ 1805984 w 6356680"/>
                <a:gd name="connsiteY1123" fmla="*/ 1129335 h 3483307"/>
                <a:gd name="connsiteX1124" fmla="*/ 1805984 w 6356680"/>
                <a:gd name="connsiteY1124" fmla="*/ 1124571 h 3483307"/>
                <a:gd name="connsiteX1125" fmla="*/ 1834576 w 6356680"/>
                <a:gd name="connsiteY1125" fmla="*/ 1129335 h 3483307"/>
                <a:gd name="connsiteX1126" fmla="*/ 1863168 w 6356680"/>
                <a:gd name="connsiteY1126" fmla="*/ 1153161 h 3483307"/>
                <a:gd name="connsiteX1127" fmla="*/ 1882228 w 6356680"/>
                <a:gd name="connsiteY1127" fmla="*/ 1181751 h 3483307"/>
                <a:gd name="connsiteX1128" fmla="*/ 1906052 w 6356680"/>
                <a:gd name="connsiteY1128" fmla="*/ 1210343 h 3483307"/>
                <a:gd name="connsiteX1129" fmla="*/ 1915584 w 6356680"/>
                <a:gd name="connsiteY1129" fmla="*/ 1224637 h 3483307"/>
                <a:gd name="connsiteX1130" fmla="*/ 1929880 w 6356680"/>
                <a:gd name="connsiteY1130" fmla="*/ 1224637 h 3483307"/>
                <a:gd name="connsiteX1131" fmla="*/ 1944176 w 6356680"/>
                <a:gd name="connsiteY1131" fmla="*/ 1229403 h 3483307"/>
                <a:gd name="connsiteX1132" fmla="*/ 1963236 w 6356680"/>
                <a:gd name="connsiteY1132" fmla="*/ 1234167 h 3483307"/>
                <a:gd name="connsiteX1133" fmla="*/ 2006120 w 6356680"/>
                <a:gd name="connsiteY1133" fmla="*/ 1238933 h 3483307"/>
                <a:gd name="connsiteX1134" fmla="*/ 2010884 w 6356680"/>
                <a:gd name="connsiteY1134" fmla="*/ 1243699 h 3483307"/>
                <a:gd name="connsiteX1135" fmla="*/ 2015652 w 6356680"/>
                <a:gd name="connsiteY1135" fmla="*/ 1248463 h 3483307"/>
                <a:gd name="connsiteX1136" fmla="*/ 2010884 w 6356680"/>
                <a:gd name="connsiteY1136" fmla="*/ 1267523 h 3483307"/>
                <a:gd name="connsiteX1137" fmla="*/ 2015652 w 6356680"/>
                <a:gd name="connsiteY1137" fmla="*/ 1272289 h 3483307"/>
                <a:gd name="connsiteX1138" fmla="*/ 2053772 w 6356680"/>
                <a:gd name="connsiteY1138" fmla="*/ 1257993 h 3483307"/>
                <a:gd name="connsiteX1139" fmla="*/ 2063304 w 6356680"/>
                <a:gd name="connsiteY1139" fmla="*/ 1248463 h 3483307"/>
                <a:gd name="connsiteX1140" fmla="*/ 2072832 w 6356680"/>
                <a:gd name="connsiteY1140" fmla="*/ 1224637 h 3483307"/>
                <a:gd name="connsiteX1141" fmla="*/ 2082364 w 6356680"/>
                <a:gd name="connsiteY1141" fmla="*/ 1196047 h 3483307"/>
                <a:gd name="connsiteX1142" fmla="*/ 2091892 w 6356680"/>
                <a:gd name="connsiteY1142" fmla="*/ 1186517 h 3483307"/>
                <a:gd name="connsiteX1143" fmla="*/ 2101424 w 6356680"/>
                <a:gd name="connsiteY1143" fmla="*/ 1181751 h 3483307"/>
                <a:gd name="connsiteX1144" fmla="*/ 2106188 w 6356680"/>
                <a:gd name="connsiteY1144" fmla="*/ 1186517 h 3483307"/>
                <a:gd name="connsiteX1145" fmla="*/ 2120484 w 6356680"/>
                <a:gd name="connsiteY1145" fmla="*/ 1205577 h 3483307"/>
                <a:gd name="connsiteX1146" fmla="*/ 2134780 w 6356680"/>
                <a:gd name="connsiteY1146" fmla="*/ 1219873 h 3483307"/>
                <a:gd name="connsiteX1147" fmla="*/ 2158604 w 6356680"/>
                <a:gd name="connsiteY1147" fmla="*/ 1224637 h 3483307"/>
                <a:gd name="connsiteX1148" fmla="*/ 2168136 w 6356680"/>
                <a:gd name="connsiteY1148" fmla="*/ 1229403 h 3483307"/>
                <a:gd name="connsiteX1149" fmla="*/ 2191960 w 6356680"/>
                <a:gd name="connsiteY1149" fmla="*/ 1229403 h 3483307"/>
                <a:gd name="connsiteX1150" fmla="*/ 2239612 w 6356680"/>
                <a:gd name="connsiteY1150" fmla="*/ 1219873 h 3483307"/>
                <a:gd name="connsiteX1151" fmla="*/ 2282496 w 6356680"/>
                <a:gd name="connsiteY1151" fmla="*/ 1200811 h 3483307"/>
                <a:gd name="connsiteX1152" fmla="*/ 2306324 w 6356680"/>
                <a:gd name="connsiteY1152" fmla="*/ 1181751 h 3483307"/>
                <a:gd name="connsiteX1153" fmla="*/ 2320620 w 6356680"/>
                <a:gd name="connsiteY1153" fmla="*/ 1148395 h 3483307"/>
                <a:gd name="connsiteX1154" fmla="*/ 2325384 w 6356680"/>
                <a:gd name="connsiteY1154" fmla="*/ 1110275 h 3483307"/>
                <a:gd name="connsiteX1155" fmla="*/ 2339680 w 6356680"/>
                <a:gd name="connsiteY1155" fmla="*/ 1091215 h 3483307"/>
                <a:gd name="connsiteX1156" fmla="*/ 2334916 w 6356680"/>
                <a:gd name="connsiteY1156" fmla="*/ 1067389 h 3483307"/>
                <a:gd name="connsiteX1157" fmla="*/ 2311088 w 6356680"/>
                <a:gd name="connsiteY1157" fmla="*/ 1043563 h 3483307"/>
                <a:gd name="connsiteX1158" fmla="*/ 2301560 w 6356680"/>
                <a:gd name="connsiteY1158" fmla="*/ 1034033 h 3483307"/>
                <a:gd name="connsiteX1159" fmla="*/ 2249144 w 6356680"/>
                <a:gd name="connsiteY1159" fmla="*/ 1024503 h 3483307"/>
                <a:gd name="connsiteX1160" fmla="*/ 2244376 w 6356680"/>
                <a:gd name="connsiteY1160" fmla="*/ 1014973 h 3483307"/>
                <a:gd name="connsiteX1161" fmla="*/ 2244376 w 6356680"/>
                <a:gd name="connsiteY1161" fmla="*/ 1010207 h 3483307"/>
                <a:gd name="connsiteX1162" fmla="*/ 2187196 w 6356680"/>
                <a:gd name="connsiteY1162" fmla="*/ 991147 h 3483307"/>
                <a:gd name="connsiteX1163" fmla="*/ 2163368 w 6356680"/>
                <a:gd name="connsiteY1163" fmla="*/ 986381 h 3483307"/>
                <a:gd name="connsiteX1164" fmla="*/ 2153840 w 6356680"/>
                <a:gd name="connsiteY1164" fmla="*/ 972085 h 3483307"/>
                <a:gd name="connsiteX1165" fmla="*/ 2149076 w 6356680"/>
                <a:gd name="connsiteY1165" fmla="*/ 953025 h 3483307"/>
                <a:gd name="connsiteX1166" fmla="*/ 2134780 w 6356680"/>
                <a:gd name="connsiteY1166" fmla="*/ 938731 h 3483307"/>
                <a:gd name="connsiteX1167" fmla="*/ 2101424 w 6356680"/>
                <a:gd name="connsiteY1167" fmla="*/ 924435 h 3483307"/>
                <a:gd name="connsiteX1168" fmla="*/ 2096660 w 6356680"/>
                <a:gd name="connsiteY1168" fmla="*/ 914905 h 3483307"/>
                <a:gd name="connsiteX1169" fmla="*/ 2101424 w 6356680"/>
                <a:gd name="connsiteY1169" fmla="*/ 900609 h 3483307"/>
                <a:gd name="connsiteX1170" fmla="*/ 2125248 w 6356680"/>
                <a:gd name="connsiteY1170" fmla="*/ 891079 h 3483307"/>
                <a:gd name="connsiteX1171" fmla="*/ 2158604 w 6356680"/>
                <a:gd name="connsiteY1171" fmla="*/ 862487 h 3483307"/>
                <a:gd name="connsiteX1172" fmla="*/ 2168136 w 6356680"/>
                <a:gd name="connsiteY1172" fmla="*/ 857723 h 3483307"/>
                <a:gd name="connsiteX1173" fmla="*/ 2196724 w 6356680"/>
                <a:gd name="connsiteY1173" fmla="*/ 857723 h 3483307"/>
                <a:gd name="connsiteX1174" fmla="*/ 2220552 w 6356680"/>
                <a:gd name="connsiteY1174" fmla="*/ 833897 h 3483307"/>
                <a:gd name="connsiteX1175" fmla="*/ 2239612 w 6356680"/>
                <a:gd name="connsiteY1175" fmla="*/ 824367 h 3483307"/>
                <a:gd name="connsiteX1176" fmla="*/ 2244376 w 6356680"/>
                <a:gd name="connsiteY1176" fmla="*/ 810071 h 3483307"/>
                <a:gd name="connsiteX1177" fmla="*/ 2244376 w 6356680"/>
                <a:gd name="connsiteY1177" fmla="*/ 795777 h 3483307"/>
                <a:gd name="connsiteX1178" fmla="*/ 2220552 w 6356680"/>
                <a:gd name="connsiteY1178" fmla="*/ 748125 h 3483307"/>
                <a:gd name="connsiteX1179" fmla="*/ 2211020 w 6356680"/>
                <a:gd name="connsiteY1179" fmla="*/ 724299 h 3483307"/>
                <a:gd name="connsiteX1180" fmla="*/ 2215788 w 6356680"/>
                <a:gd name="connsiteY1180" fmla="*/ 705239 h 3483307"/>
                <a:gd name="connsiteX1181" fmla="*/ 2230080 w 6356680"/>
                <a:gd name="connsiteY1181" fmla="*/ 686179 h 3483307"/>
                <a:gd name="connsiteX1182" fmla="*/ 2239612 w 6356680"/>
                <a:gd name="connsiteY1182" fmla="*/ 676649 h 3483307"/>
                <a:gd name="connsiteX1183" fmla="*/ 2249144 w 6356680"/>
                <a:gd name="connsiteY1183" fmla="*/ 657587 h 3483307"/>
                <a:gd name="connsiteX1184" fmla="*/ 2253908 w 6356680"/>
                <a:gd name="connsiteY1184" fmla="*/ 648057 h 3483307"/>
                <a:gd name="connsiteX1185" fmla="*/ 2277732 w 6356680"/>
                <a:gd name="connsiteY1185" fmla="*/ 643293 h 3483307"/>
                <a:gd name="connsiteX1186" fmla="*/ 2311088 w 6356680"/>
                <a:gd name="connsiteY1186" fmla="*/ 638527 h 3483307"/>
                <a:gd name="connsiteX1187" fmla="*/ 2330148 w 6356680"/>
                <a:gd name="connsiteY1187" fmla="*/ 643293 h 3483307"/>
                <a:gd name="connsiteX1188" fmla="*/ 2358740 w 6356680"/>
                <a:gd name="connsiteY1188" fmla="*/ 648057 h 3483307"/>
                <a:gd name="connsiteX1189" fmla="*/ 2387332 w 6356680"/>
                <a:gd name="connsiteY1189" fmla="*/ 648057 h 3483307"/>
                <a:gd name="connsiteX1190" fmla="*/ 2396860 w 6356680"/>
                <a:gd name="connsiteY1190" fmla="*/ 652823 h 3483307"/>
                <a:gd name="connsiteX1191" fmla="*/ 2406392 w 6356680"/>
                <a:gd name="connsiteY1191" fmla="*/ 648057 h 3483307"/>
                <a:gd name="connsiteX1192" fmla="*/ 2415920 w 6356680"/>
                <a:gd name="connsiteY1192" fmla="*/ 638527 h 3483307"/>
                <a:gd name="connsiteX1193" fmla="*/ 2415920 w 6356680"/>
                <a:gd name="connsiteY1193" fmla="*/ 624231 h 3483307"/>
                <a:gd name="connsiteX1194" fmla="*/ 2406392 w 6356680"/>
                <a:gd name="connsiteY1194" fmla="*/ 609937 h 3483307"/>
                <a:gd name="connsiteX1195" fmla="*/ 2368272 w 6356680"/>
                <a:gd name="connsiteY1195" fmla="*/ 595641 h 3483307"/>
                <a:gd name="connsiteX1196" fmla="*/ 2349208 w 6356680"/>
                <a:gd name="connsiteY1196" fmla="*/ 581345 h 3483307"/>
                <a:gd name="connsiteX1197" fmla="*/ 2334916 w 6356680"/>
                <a:gd name="connsiteY1197" fmla="*/ 581345 h 3483307"/>
                <a:gd name="connsiteX1198" fmla="*/ 2315856 w 6356680"/>
                <a:gd name="connsiteY1198" fmla="*/ 576581 h 3483307"/>
                <a:gd name="connsiteX1199" fmla="*/ 2296792 w 6356680"/>
                <a:gd name="connsiteY1199" fmla="*/ 567051 h 3483307"/>
                <a:gd name="connsiteX1200" fmla="*/ 2277732 w 6356680"/>
                <a:gd name="connsiteY1200" fmla="*/ 562285 h 3483307"/>
                <a:gd name="connsiteX1201" fmla="*/ 2272968 w 6356680"/>
                <a:gd name="connsiteY1201" fmla="*/ 552755 h 3483307"/>
                <a:gd name="connsiteX1202" fmla="*/ 2277732 w 6356680"/>
                <a:gd name="connsiteY1202" fmla="*/ 533695 h 3483307"/>
                <a:gd name="connsiteX1203" fmla="*/ 2282496 w 6356680"/>
                <a:gd name="connsiteY1203" fmla="*/ 524163 h 3483307"/>
                <a:gd name="connsiteX1204" fmla="*/ 2296792 w 6356680"/>
                <a:gd name="connsiteY1204" fmla="*/ 519399 h 3483307"/>
                <a:gd name="connsiteX1205" fmla="*/ 2311088 w 6356680"/>
                <a:gd name="connsiteY1205" fmla="*/ 519399 h 3483307"/>
                <a:gd name="connsiteX1206" fmla="*/ 2325384 w 6356680"/>
                <a:gd name="connsiteY1206" fmla="*/ 509869 h 3483307"/>
                <a:gd name="connsiteX1207" fmla="*/ 2330148 w 6356680"/>
                <a:gd name="connsiteY1207" fmla="*/ 509869 h 3483307"/>
                <a:gd name="connsiteX1208" fmla="*/ 2330148 w 6356680"/>
                <a:gd name="connsiteY1208" fmla="*/ 500339 h 3483307"/>
                <a:gd name="connsiteX1209" fmla="*/ 2330148 w 6356680"/>
                <a:gd name="connsiteY1209" fmla="*/ 495573 h 3483307"/>
                <a:gd name="connsiteX1210" fmla="*/ 2320620 w 6356680"/>
                <a:gd name="connsiteY1210" fmla="*/ 486043 h 3483307"/>
                <a:gd name="connsiteX1211" fmla="*/ 2311088 w 6356680"/>
                <a:gd name="connsiteY1211" fmla="*/ 486043 h 3483307"/>
                <a:gd name="connsiteX1212" fmla="*/ 2301560 w 6356680"/>
                <a:gd name="connsiteY1212" fmla="*/ 490809 h 3483307"/>
                <a:gd name="connsiteX1213" fmla="*/ 2287264 w 6356680"/>
                <a:gd name="connsiteY1213" fmla="*/ 495573 h 3483307"/>
                <a:gd name="connsiteX1214" fmla="*/ 2263436 w 6356680"/>
                <a:gd name="connsiteY1214" fmla="*/ 486043 h 3483307"/>
                <a:gd name="connsiteX1215" fmla="*/ 2244376 w 6356680"/>
                <a:gd name="connsiteY1215" fmla="*/ 476513 h 3483307"/>
                <a:gd name="connsiteX1216" fmla="*/ 2244376 w 6356680"/>
                <a:gd name="connsiteY1216" fmla="*/ 466983 h 3483307"/>
                <a:gd name="connsiteX1217" fmla="*/ 2258672 w 6356680"/>
                <a:gd name="connsiteY1217" fmla="*/ 452687 h 3483307"/>
                <a:gd name="connsiteX1218" fmla="*/ 2263436 w 6356680"/>
                <a:gd name="connsiteY1218" fmla="*/ 443157 h 3483307"/>
                <a:gd name="connsiteX1219" fmla="*/ 2263436 w 6356680"/>
                <a:gd name="connsiteY1219" fmla="*/ 409801 h 3483307"/>
                <a:gd name="connsiteX1220" fmla="*/ 2268204 w 6356680"/>
                <a:gd name="connsiteY1220" fmla="*/ 385975 h 3483307"/>
                <a:gd name="connsiteX1221" fmla="*/ 2282496 w 6356680"/>
                <a:gd name="connsiteY1221" fmla="*/ 371679 h 3483307"/>
                <a:gd name="connsiteX1222" fmla="*/ 2301560 w 6356680"/>
                <a:gd name="connsiteY1222" fmla="*/ 362149 h 3483307"/>
                <a:gd name="connsiteX1223" fmla="*/ 2339680 w 6356680"/>
                <a:gd name="connsiteY1223" fmla="*/ 376445 h 3483307"/>
                <a:gd name="connsiteX1224" fmla="*/ 2392096 w 6356680"/>
                <a:gd name="connsiteY1224" fmla="*/ 390741 h 3483307"/>
                <a:gd name="connsiteX1225" fmla="*/ 2401628 w 6356680"/>
                <a:gd name="connsiteY1225" fmla="*/ 390741 h 3483307"/>
                <a:gd name="connsiteX1226" fmla="*/ 2401628 w 6356680"/>
                <a:gd name="connsiteY1226" fmla="*/ 381211 h 3483307"/>
                <a:gd name="connsiteX1227" fmla="*/ 2411156 w 6356680"/>
                <a:gd name="connsiteY1227" fmla="*/ 376445 h 3483307"/>
                <a:gd name="connsiteX1228" fmla="*/ 2482632 w 6356680"/>
                <a:gd name="connsiteY1228" fmla="*/ 371679 h 3483307"/>
                <a:gd name="connsiteX1229" fmla="*/ 2496928 w 6356680"/>
                <a:gd name="connsiteY1229" fmla="*/ 366915 h 3483307"/>
                <a:gd name="connsiteX1230" fmla="*/ 2501696 w 6356680"/>
                <a:gd name="connsiteY1230" fmla="*/ 357385 h 3483307"/>
                <a:gd name="connsiteX1231" fmla="*/ 2573172 w 6356680"/>
                <a:gd name="connsiteY1231" fmla="*/ 347855 h 3483307"/>
                <a:gd name="connsiteX1232" fmla="*/ 2577936 w 6356680"/>
                <a:gd name="connsiteY1232" fmla="*/ 338325 h 3483307"/>
                <a:gd name="connsiteX1233" fmla="*/ 2587468 w 6356680"/>
                <a:gd name="connsiteY1233" fmla="*/ 328793 h 3483307"/>
                <a:gd name="connsiteX1234" fmla="*/ 2606528 w 6356680"/>
                <a:gd name="connsiteY1234" fmla="*/ 328793 h 3483307"/>
                <a:gd name="connsiteX1235" fmla="*/ 2625588 w 6356680"/>
                <a:gd name="connsiteY1235" fmla="*/ 328793 h 3483307"/>
                <a:gd name="connsiteX1236" fmla="*/ 2649412 w 6356680"/>
                <a:gd name="connsiteY1236" fmla="*/ 319263 h 3483307"/>
                <a:gd name="connsiteX1237" fmla="*/ 2668472 w 6356680"/>
                <a:gd name="connsiteY1237" fmla="*/ 309733 h 3483307"/>
                <a:gd name="connsiteX1238" fmla="*/ 2673240 w 6356680"/>
                <a:gd name="connsiteY1238" fmla="*/ 309733 h 3483307"/>
                <a:gd name="connsiteX1239" fmla="*/ 2692300 w 6356680"/>
                <a:gd name="connsiteY1239" fmla="*/ 314499 h 3483307"/>
                <a:gd name="connsiteX1240" fmla="*/ 2716124 w 6356680"/>
                <a:gd name="connsiteY1240" fmla="*/ 304969 h 3483307"/>
                <a:gd name="connsiteX1241" fmla="*/ 2720888 w 6356680"/>
                <a:gd name="connsiteY1241" fmla="*/ 300203 h 3483307"/>
                <a:gd name="connsiteX1242" fmla="*/ 2725656 w 6356680"/>
                <a:gd name="connsiteY1242" fmla="*/ 295437 h 3483307"/>
                <a:gd name="connsiteX1243" fmla="*/ 2744716 w 6356680"/>
                <a:gd name="connsiteY1243" fmla="*/ 285907 h 3483307"/>
                <a:gd name="connsiteX1244" fmla="*/ 2787600 w 6356680"/>
                <a:gd name="connsiteY1244" fmla="*/ 271613 h 3483307"/>
                <a:gd name="connsiteX1245" fmla="*/ 2797132 w 6356680"/>
                <a:gd name="connsiteY1245" fmla="*/ 281143 h 3483307"/>
                <a:gd name="connsiteX1246" fmla="*/ 2816192 w 6356680"/>
                <a:gd name="connsiteY1246" fmla="*/ 281143 h 3483307"/>
                <a:gd name="connsiteX1247" fmla="*/ 2840016 w 6356680"/>
                <a:gd name="connsiteY1247" fmla="*/ 276377 h 3483307"/>
                <a:gd name="connsiteX1248" fmla="*/ 2859080 w 6356680"/>
                <a:gd name="connsiteY1248" fmla="*/ 271613 h 3483307"/>
                <a:gd name="connsiteX1249" fmla="*/ 2873372 w 6356680"/>
                <a:gd name="connsiteY1249" fmla="*/ 276377 h 3483307"/>
                <a:gd name="connsiteX1250" fmla="*/ 2887668 w 6356680"/>
                <a:gd name="connsiteY1250" fmla="*/ 285907 h 3483307"/>
                <a:gd name="connsiteX1251" fmla="*/ 2897200 w 6356680"/>
                <a:gd name="connsiteY1251" fmla="*/ 281143 h 3483307"/>
                <a:gd name="connsiteX1252" fmla="*/ 2901964 w 6356680"/>
                <a:gd name="connsiteY1252" fmla="*/ 257317 h 3483307"/>
                <a:gd name="connsiteX1253" fmla="*/ 2906728 w 6356680"/>
                <a:gd name="connsiteY1253" fmla="*/ 238257 h 3483307"/>
                <a:gd name="connsiteX1254" fmla="*/ 2921024 w 6356680"/>
                <a:gd name="connsiteY1254" fmla="*/ 228727 h 3483307"/>
                <a:gd name="connsiteX1255" fmla="*/ 2930556 w 6356680"/>
                <a:gd name="connsiteY1255" fmla="*/ 223961 h 3483307"/>
                <a:gd name="connsiteX1256" fmla="*/ 2940084 w 6356680"/>
                <a:gd name="connsiteY1256" fmla="*/ 219195 h 3483307"/>
                <a:gd name="connsiteX1257" fmla="*/ 2944852 w 6356680"/>
                <a:gd name="connsiteY1257" fmla="*/ 209665 h 3483307"/>
                <a:gd name="connsiteX1258" fmla="*/ 2982972 w 6356680"/>
                <a:gd name="connsiteY1258" fmla="*/ 209665 h 3483307"/>
                <a:gd name="connsiteX1259" fmla="*/ 3016328 w 6356680"/>
                <a:gd name="connsiteY1259" fmla="*/ 190605 h 3483307"/>
                <a:gd name="connsiteX1260" fmla="*/ 3021092 w 6356680"/>
                <a:gd name="connsiteY1260" fmla="*/ 200135 h 3483307"/>
                <a:gd name="connsiteX1261" fmla="*/ 3063980 w 6356680"/>
                <a:gd name="connsiteY1261" fmla="*/ 195371 h 3483307"/>
                <a:gd name="connsiteX1262" fmla="*/ 3116396 w 6356680"/>
                <a:gd name="connsiteY1262" fmla="*/ 185839 h 3483307"/>
                <a:gd name="connsiteX1263" fmla="*/ 3144984 w 6356680"/>
                <a:gd name="connsiteY1263" fmla="*/ 176309 h 3483307"/>
                <a:gd name="connsiteX1264" fmla="*/ 3197404 w 6356680"/>
                <a:gd name="connsiteY1264" fmla="*/ 166779 h 3483307"/>
                <a:gd name="connsiteX1265" fmla="*/ 3225992 w 6356680"/>
                <a:gd name="connsiteY1265" fmla="*/ 152484 h 3483307"/>
                <a:gd name="connsiteX1266" fmla="*/ 3259348 w 6356680"/>
                <a:gd name="connsiteY1266" fmla="*/ 147719 h 3483307"/>
                <a:gd name="connsiteX1267" fmla="*/ 3292704 w 6356680"/>
                <a:gd name="connsiteY1267" fmla="*/ 142954 h 3483307"/>
                <a:gd name="connsiteX1268" fmla="*/ 3311764 w 6356680"/>
                <a:gd name="connsiteY1268" fmla="*/ 123893 h 3483307"/>
                <a:gd name="connsiteX1269" fmla="*/ 3330824 w 6356680"/>
                <a:gd name="connsiteY1269" fmla="*/ 119128 h 3483307"/>
                <a:gd name="connsiteX1270" fmla="*/ 3349888 w 6356680"/>
                <a:gd name="connsiteY1270" fmla="*/ 119128 h 3483307"/>
                <a:gd name="connsiteX1271" fmla="*/ 3364184 w 6356680"/>
                <a:gd name="connsiteY1271" fmla="*/ 114363 h 3483307"/>
                <a:gd name="connsiteX1272" fmla="*/ 3373712 w 6356680"/>
                <a:gd name="connsiteY1272" fmla="*/ 104833 h 3483307"/>
                <a:gd name="connsiteX1273" fmla="*/ 3378476 w 6356680"/>
                <a:gd name="connsiteY1273" fmla="*/ 95303 h 3483307"/>
                <a:gd name="connsiteX1274" fmla="*/ 3373712 w 6356680"/>
                <a:gd name="connsiteY1274" fmla="*/ 76242 h 3483307"/>
                <a:gd name="connsiteX1275" fmla="*/ 3373712 w 6356680"/>
                <a:gd name="connsiteY1275" fmla="*/ 61947 h 3483307"/>
                <a:gd name="connsiteX1276" fmla="*/ 3388008 w 6356680"/>
                <a:gd name="connsiteY1276" fmla="*/ 57182 h 3483307"/>
                <a:gd name="connsiteX1277" fmla="*/ 3407068 w 6356680"/>
                <a:gd name="connsiteY1277" fmla="*/ 52416 h 3483307"/>
                <a:gd name="connsiteX1278" fmla="*/ 3421364 w 6356680"/>
                <a:gd name="connsiteY1278" fmla="*/ 52416 h 3483307"/>
                <a:gd name="connsiteX1279" fmla="*/ 3449956 w 6356680"/>
                <a:gd name="connsiteY1279" fmla="*/ 23826 h 3483307"/>
                <a:gd name="connsiteX1280" fmla="*/ 3473780 w 6356680"/>
                <a:gd name="connsiteY1280" fmla="*/ 9530 h 3483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</a:cxnLst>
              <a:rect l="l" t="t" r="r" b="b"/>
              <a:pathLst>
                <a:path w="6356680" h="3483307">
                  <a:moveTo>
                    <a:pt x="581348" y="2530283"/>
                  </a:moveTo>
                  <a:lnTo>
                    <a:pt x="581348" y="2549343"/>
                  </a:lnTo>
                  <a:lnTo>
                    <a:pt x="576584" y="2554109"/>
                  </a:lnTo>
                  <a:lnTo>
                    <a:pt x="571816" y="2558875"/>
                  </a:lnTo>
                  <a:lnTo>
                    <a:pt x="567052" y="2544579"/>
                  </a:lnTo>
                  <a:lnTo>
                    <a:pt x="576584" y="2535049"/>
                  </a:lnTo>
                  <a:close/>
                  <a:moveTo>
                    <a:pt x="547992" y="2530283"/>
                  </a:moveTo>
                  <a:lnTo>
                    <a:pt x="547992" y="2535049"/>
                  </a:lnTo>
                  <a:lnTo>
                    <a:pt x="538460" y="2544579"/>
                  </a:lnTo>
                  <a:lnTo>
                    <a:pt x="533696" y="2558875"/>
                  </a:lnTo>
                  <a:lnTo>
                    <a:pt x="543228" y="2573169"/>
                  </a:lnTo>
                  <a:lnTo>
                    <a:pt x="557520" y="2582699"/>
                  </a:lnTo>
                  <a:lnTo>
                    <a:pt x="552756" y="2587465"/>
                  </a:lnTo>
                  <a:lnTo>
                    <a:pt x="543228" y="2587465"/>
                  </a:lnTo>
                  <a:lnTo>
                    <a:pt x="528932" y="2563639"/>
                  </a:lnTo>
                  <a:lnTo>
                    <a:pt x="533696" y="2539813"/>
                  </a:lnTo>
                  <a:lnTo>
                    <a:pt x="538460" y="2535049"/>
                  </a:lnTo>
                  <a:close/>
                  <a:moveTo>
                    <a:pt x="933968" y="2430215"/>
                  </a:moveTo>
                  <a:lnTo>
                    <a:pt x="943496" y="2434981"/>
                  </a:lnTo>
                  <a:lnTo>
                    <a:pt x="948264" y="2449275"/>
                  </a:lnTo>
                  <a:lnTo>
                    <a:pt x="948264" y="2458807"/>
                  </a:lnTo>
                  <a:lnTo>
                    <a:pt x="943496" y="2458807"/>
                  </a:lnTo>
                  <a:lnTo>
                    <a:pt x="933968" y="2454041"/>
                  </a:lnTo>
                  <a:lnTo>
                    <a:pt x="929200" y="2444511"/>
                  </a:lnTo>
                  <a:close/>
                  <a:moveTo>
                    <a:pt x="1953704" y="2368267"/>
                  </a:moveTo>
                  <a:lnTo>
                    <a:pt x="1958468" y="2373033"/>
                  </a:lnTo>
                  <a:lnTo>
                    <a:pt x="1968000" y="2392093"/>
                  </a:lnTo>
                  <a:lnTo>
                    <a:pt x="1972764" y="2401623"/>
                  </a:lnTo>
                  <a:lnTo>
                    <a:pt x="1982296" y="2401623"/>
                  </a:lnTo>
                  <a:lnTo>
                    <a:pt x="1987060" y="2411155"/>
                  </a:lnTo>
                  <a:lnTo>
                    <a:pt x="1987060" y="2420685"/>
                  </a:lnTo>
                  <a:lnTo>
                    <a:pt x="1991824" y="2420685"/>
                  </a:lnTo>
                  <a:lnTo>
                    <a:pt x="1996588" y="2430215"/>
                  </a:lnTo>
                  <a:lnTo>
                    <a:pt x="1996588" y="2444511"/>
                  </a:lnTo>
                  <a:lnTo>
                    <a:pt x="1996588" y="2463571"/>
                  </a:lnTo>
                  <a:lnTo>
                    <a:pt x="2001356" y="2482631"/>
                  </a:lnTo>
                  <a:lnTo>
                    <a:pt x="2006120" y="2496927"/>
                  </a:lnTo>
                  <a:lnTo>
                    <a:pt x="2006120" y="2511221"/>
                  </a:lnTo>
                  <a:lnTo>
                    <a:pt x="2001356" y="2515987"/>
                  </a:lnTo>
                  <a:lnTo>
                    <a:pt x="1991824" y="2511221"/>
                  </a:lnTo>
                  <a:lnTo>
                    <a:pt x="1968000" y="2496927"/>
                  </a:lnTo>
                  <a:lnTo>
                    <a:pt x="1948940" y="2482631"/>
                  </a:lnTo>
                  <a:lnTo>
                    <a:pt x="1925112" y="2463571"/>
                  </a:lnTo>
                  <a:lnTo>
                    <a:pt x="1906052" y="2449275"/>
                  </a:lnTo>
                  <a:lnTo>
                    <a:pt x="1896520" y="2444511"/>
                  </a:lnTo>
                  <a:lnTo>
                    <a:pt x="1896520" y="2439745"/>
                  </a:lnTo>
                  <a:lnTo>
                    <a:pt x="1906052" y="2425449"/>
                  </a:lnTo>
                  <a:lnTo>
                    <a:pt x="1920348" y="2415919"/>
                  </a:lnTo>
                  <a:lnTo>
                    <a:pt x="1929876" y="2401623"/>
                  </a:lnTo>
                  <a:lnTo>
                    <a:pt x="1929876" y="2382563"/>
                  </a:lnTo>
                  <a:lnTo>
                    <a:pt x="1934644" y="2377799"/>
                  </a:lnTo>
                  <a:lnTo>
                    <a:pt x="1939408" y="2377799"/>
                  </a:lnTo>
                  <a:lnTo>
                    <a:pt x="1939408" y="2387329"/>
                  </a:lnTo>
                  <a:lnTo>
                    <a:pt x="1939408" y="2392093"/>
                  </a:lnTo>
                  <a:lnTo>
                    <a:pt x="1944172" y="2396859"/>
                  </a:lnTo>
                  <a:lnTo>
                    <a:pt x="1944172" y="2387329"/>
                  </a:lnTo>
                  <a:lnTo>
                    <a:pt x="1948940" y="2373033"/>
                  </a:lnTo>
                  <a:close/>
                  <a:moveTo>
                    <a:pt x="3492840" y="0"/>
                  </a:moveTo>
                  <a:lnTo>
                    <a:pt x="3535728" y="4765"/>
                  </a:lnTo>
                  <a:lnTo>
                    <a:pt x="3573848" y="9530"/>
                  </a:lnTo>
                  <a:lnTo>
                    <a:pt x="3611968" y="23826"/>
                  </a:lnTo>
                  <a:lnTo>
                    <a:pt x="3631028" y="38121"/>
                  </a:lnTo>
                  <a:lnTo>
                    <a:pt x="3650088" y="52416"/>
                  </a:lnTo>
                  <a:lnTo>
                    <a:pt x="3664384" y="57182"/>
                  </a:lnTo>
                  <a:lnTo>
                    <a:pt x="3678680" y="61947"/>
                  </a:lnTo>
                  <a:lnTo>
                    <a:pt x="3697740" y="57182"/>
                  </a:lnTo>
                  <a:lnTo>
                    <a:pt x="3712036" y="47651"/>
                  </a:lnTo>
                  <a:lnTo>
                    <a:pt x="3716800" y="38121"/>
                  </a:lnTo>
                  <a:lnTo>
                    <a:pt x="3731096" y="28591"/>
                  </a:lnTo>
                  <a:lnTo>
                    <a:pt x="3769216" y="23826"/>
                  </a:lnTo>
                  <a:lnTo>
                    <a:pt x="3773984" y="38121"/>
                  </a:lnTo>
                  <a:lnTo>
                    <a:pt x="3793044" y="71477"/>
                  </a:lnTo>
                  <a:lnTo>
                    <a:pt x="3807340" y="119128"/>
                  </a:lnTo>
                  <a:lnTo>
                    <a:pt x="3826400" y="185839"/>
                  </a:lnTo>
                  <a:lnTo>
                    <a:pt x="3835928" y="214431"/>
                  </a:lnTo>
                  <a:lnTo>
                    <a:pt x="3835928" y="233491"/>
                  </a:lnTo>
                  <a:lnTo>
                    <a:pt x="3835928" y="252551"/>
                  </a:lnTo>
                  <a:lnTo>
                    <a:pt x="3831164" y="281143"/>
                  </a:lnTo>
                  <a:lnTo>
                    <a:pt x="3816868" y="304969"/>
                  </a:lnTo>
                  <a:lnTo>
                    <a:pt x="3821636" y="319263"/>
                  </a:lnTo>
                  <a:lnTo>
                    <a:pt x="3859756" y="333559"/>
                  </a:lnTo>
                  <a:lnTo>
                    <a:pt x="3912172" y="328793"/>
                  </a:lnTo>
                  <a:lnTo>
                    <a:pt x="3945528" y="319263"/>
                  </a:lnTo>
                  <a:lnTo>
                    <a:pt x="3964588" y="324029"/>
                  </a:lnTo>
                  <a:lnTo>
                    <a:pt x="3974120" y="314499"/>
                  </a:lnTo>
                  <a:lnTo>
                    <a:pt x="3983648" y="295437"/>
                  </a:lnTo>
                  <a:lnTo>
                    <a:pt x="3993180" y="290673"/>
                  </a:lnTo>
                  <a:lnTo>
                    <a:pt x="4007476" y="304969"/>
                  </a:lnTo>
                  <a:lnTo>
                    <a:pt x="4017004" y="328793"/>
                  </a:lnTo>
                  <a:lnTo>
                    <a:pt x="4026536" y="343089"/>
                  </a:lnTo>
                  <a:lnTo>
                    <a:pt x="4026536" y="362149"/>
                  </a:lnTo>
                  <a:lnTo>
                    <a:pt x="4026536" y="385975"/>
                  </a:lnTo>
                  <a:lnTo>
                    <a:pt x="4036064" y="390741"/>
                  </a:lnTo>
                  <a:lnTo>
                    <a:pt x="4045596" y="381211"/>
                  </a:lnTo>
                  <a:lnTo>
                    <a:pt x="4055124" y="376445"/>
                  </a:lnTo>
                  <a:lnTo>
                    <a:pt x="4059892" y="371679"/>
                  </a:lnTo>
                  <a:lnTo>
                    <a:pt x="4055124" y="362149"/>
                  </a:lnTo>
                  <a:lnTo>
                    <a:pt x="4055124" y="352619"/>
                  </a:lnTo>
                  <a:lnTo>
                    <a:pt x="4055124" y="343089"/>
                  </a:lnTo>
                  <a:lnTo>
                    <a:pt x="4064656" y="343089"/>
                  </a:lnTo>
                  <a:lnTo>
                    <a:pt x="4078952" y="343089"/>
                  </a:lnTo>
                  <a:lnTo>
                    <a:pt x="4107540" y="347855"/>
                  </a:lnTo>
                  <a:lnTo>
                    <a:pt x="4140896" y="381211"/>
                  </a:lnTo>
                  <a:lnTo>
                    <a:pt x="4155192" y="385975"/>
                  </a:lnTo>
                  <a:lnTo>
                    <a:pt x="4164724" y="385975"/>
                  </a:lnTo>
                  <a:lnTo>
                    <a:pt x="4179020" y="385975"/>
                  </a:lnTo>
                  <a:lnTo>
                    <a:pt x="4198080" y="376445"/>
                  </a:lnTo>
                  <a:lnTo>
                    <a:pt x="4212376" y="362149"/>
                  </a:lnTo>
                  <a:lnTo>
                    <a:pt x="4217140" y="357385"/>
                  </a:lnTo>
                  <a:lnTo>
                    <a:pt x="4226672" y="362149"/>
                  </a:lnTo>
                  <a:lnTo>
                    <a:pt x="4231436" y="366915"/>
                  </a:lnTo>
                  <a:lnTo>
                    <a:pt x="4231436" y="376445"/>
                  </a:lnTo>
                  <a:lnTo>
                    <a:pt x="4226672" y="395505"/>
                  </a:lnTo>
                  <a:lnTo>
                    <a:pt x="4207608" y="409801"/>
                  </a:lnTo>
                  <a:lnTo>
                    <a:pt x="4183784" y="424097"/>
                  </a:lnTo>
                  <a:lnTo>
                    <a:pt x="4169488" y="452687"/>
                  </a:lnTo>
                  <a:lnTo>
                    <a:pt x="4164724" y="481277"/>
                  </a:lnTo>
                  <a:lnTo>
                    <a:pt x="4174252" y="495573"/>
                  </a:lnTo>
                  <a:lnTo>
                    <a:pt x="4179020" y="505103"/>
                  </a:lnTo>
                  <a:lnTo>
                    <a:pt x="4179020" y="519399"/>
                  </a:lnTo>
                  <a:lnTo>
                    <a:pt x="4183784" y="524163"/>
                  </a:lnTo>
                  <a:lnTo>
                    <a:pt x="4193316" y="514633"/>
                  </a:lnTo>
                  <a:lnTo>
                    <a:pt x="4221904" y="486043"/>
                  </a:lnTo>
                  <a:lnTo>
                    <a:pt x="4236200" y="481277"/>
                  </a:lnTo>
                  <a:lnTo>
                    <a:pt x="4255260" y="476513"/>
                  </a:lnTo>
                  <a:lnTo>
                    <a:pt x="4288616" y="481277"/>
                  </a:lnTo>
                  <a:lnTo>
                    <a:pt x="4312444" y="486043"/>
                  </a:lnTo>
                  <a:lnTo>
                    <a:pt x="4321972" y="500339"/>
                  </a:lnTo>
                  <a:lnTo>
                    <a:pt x="4331504" y="509869"/>
                  </a:lnTo>
                  <a:lnTo>
                    <a:pt x="4341032" y="505103"/>
                  </a:lnTo>
                  <a:lnTo>
                    <a:pt x="4345800" y="495573"/>
                  </a:lnTo>
                  <a:lnTo>
                    <a:pt x="4345800" y="481277"/>
                  </a:lnTo>
                  <a:lnTo>
                    <a:pt x="4345800" y="471747"/>
                  </a:lnTo>
                  <a:lnTo>
                    <a:pt x="4383920" y="443157"/>
                  </a:lnTo>
                  <a:lnTo>
                    <a:pt x="4407744" y="424097"/>
                  </a:lnTo>
                  <a:lnTo>
                    <a:pt x="4417276" y="419331"/>
                  </a:lnTo>
                  <a:lnTo>
                    <a:pt x="4431572" y="424097"/>
                  </a:lnTo>
                  <a:lnTo>
                    <a:pt x="4441100" y="424097"/>
                  </a:lnTo>
                  <a:lnTo>
                    <a:pt x="4469692" y="405035"/>
                  </a:lnTo>
                  <a:lnTo>
                    <a:pt x="4493516" y="385975"/>
                  </a:lnTo>
                  <a:lnTo>
                    <a:pt x="4493516" y="371679"/>
                  </a:lnTo>
                  <a:lnTo>
                    <a:pt x="4493516" y="357385"/>
                  </a:lnTo>
                  <a:lnTo>
                    <a:pt x="4503048" y="352619"/>
                  </a:lnTo>
                  <a:lnTo>
                    <a:pt x="4536404" y="347855"/>
                  </a:lnTo>
                  <a:lnTo>
                    <a:pt x="4541168" y="347855"/>
                  </a:lnTo>
                  <a:lnTo>
                    <a:pt x="4569760" y="333559"/>
                  </a:lnTo>
                  <a:lnTo>
                    <a:pt x="4612644" y="309733"/>
                  </a:lnTo>
                  <a:lnTo>
                    <a:pt x="4631704" y="290673"/>
                  </a:lnTo>
                  <a:lnTo>
                    <a:pt x="4669828" y="285907"/>
                  </a:lnTo>
                  <a:lnTo>
                    <a:pt x="4674592" y="281143"/>
                  </a:lnTo>
                  <a:lnTo>
                    <a:pt x="4684124" y="271613"/>
                  </a:lnTo>
                  <a:lnTo>
                    <a:pt x="4707948" y="257317"/>
                  </a:lnTo>
                  <a:lnTo>
                    <a:pt x="4722244" y="257317"/>
                  </a:lnTo>
                  <a:lnTo>
                    <a:pt x="4712712" y="290673"/>
                  </a:lnTo>
                  <a:lnTo>
                    <a:pt x="4698416" y="328793"/>
                  </a:lnTo>
                  <a:lnTo>
                    <a:pt x="4693652" y="338325"/>
                  </a:lnTo>
                  <a:lnTo>
                    <a:pt x="4655532" y="333559"/>
                  </a:lnTo>
                  <a:lnTo>
                    <a:pt x="4655532" y="347855"/>
                  </a:lnTo>
                  <a:lnTo>
                    <a:pt x="4660296" y="362149"/>
                  </a:lnTo>
                  <a:lnTo>
                    <a:pt x="4665064" y="371679"/>
                  </a:lnTo>
                  <a:lnTo>
                    <a:pt x="4669828" y="376445"/>
                  </a:lnTo>
                  <a:lnTo>
                    <a:pt x="4679356" y="390741"/>
                  </a:lnTo>
                  <a:lnTo>
                    <a:pt x="4717480" y="424097"/>
                  </a:lnTo>
                  <a:lnTo>
                    <a:pt x="4765128" y="462217"/>
                  </a:lnTo>
                  <a:lnTo>
                    <a:pt x="4817544" y="509869"/>
                  </a:lnTo>
                  <a:lnTo>
                    <a:pt x="4855668" y="538459"/>
                  </a:lnTo>
                  <a:lnTo>
                    <a:pt x="4869960" y="557519"/>
                  </a:lnTo>
                  <a:lnTo>
                    <a:pt x="4879492" y="567051"/>
                  </a:lnTo>
                  <a:lnTo>
                    <a:pt x="4908084" y="614701"/>
                  </a:lnTo>
                  <a:lnTo>
                    <a:pt x="4931908" y="657587"/>
                  </a:lnTo>
                  <a:lnTo>
                    <a:pt x="4974796" y="733829"/>
                  </a:lnTo>
                  <a:lnTo>
                    <a:pt x="5012916" y="805307"/>
                  </a:lnTo>
                  <a:lnTo>
                    <a:pt x="5055800" y="881549"/>
                  </a:lnTo>
                  <a:lnTo>
                    <a:pt x="5079628" y="929199"/>
                  </a:lnTo>
                  <a:lnTo>
                    <a:pt x="5132044" y="1024503"/>
                  </a:lnTo>
                  <a:lnTo>
                    <a:pt x="5146340" y="1053093"/>
                  </a:lnTo>
                  <a:lnTo>
                    <a:pt x="5170164" y="1105509"/>
                  </a:lnTo>
                  <a:lnTo>
                    <a:pt x="5193992" y="1157925"/>
                  </a:lnTo>
                  <a:lnTo>
                    <a:pt x="5213052" y="1200811"/>
                  </a:lnTo>
                  <a:lnTo>
                    <a:pt x="5222580" y="1205577"/>
                  </a:lnTo>
                  <a:lnTo>
                    <a:pt x="5227348" y="1196047"/>
                  </a:lnTo>
                  <a:lnTo>
                    <a:pt x="5227348" y="1186517"/>
                  </a:lnTo>
                  <a:lnTo>
                    <a:pt x="5236876" y="1181751"/>
                  </a:lnTo>
                  <a:lnTo>
                    <a:pt x="5251172" y="1167457"/>
                  </a:lnTo>
                  <a:lnTo>
                    <a:pt x="5255936" y="1167457"/>
                  </a:lnTo>
                  <a:lnTo>
                    <a:pt x="5270232" y="1167457"/>
                  </a:lnTo>
                  <a:lnTo>
                    <a:pt x="5279764" y="1157925"/>
                  </a:lnTo>
                  <a:lnTo>
                    <a:pt x="5284528" y="1148395"/>
                  </a:lnTo>
                  <a:lnTo>
                    <a:pt x="5284528" y="1124571"/>
                  </a:lnTo>
                  <a:lnTo>
                    <a:pt x="5279764" y="1110275"/>
                  </a:lnTo>
                  <a:lnTo>
                    <a:pt x="5284528" y="1100745"/>
                  </a:lnTo>
                  <a:lnTo>
                    <a:pt x="5289292" y="1095979"/>
                  </a:lnTo>
                  <a:lnTo>
                    <a:pt x="5298824" y="1091215"/>
                  </a:lnTo>
                  <a:lnTo>
                    <a:pt x="5308352" y="1091215"/>
                  </a:lnTo>
                  <a:lnTo>
                    <a:pt x="5317884" y="1076919"/>
                  </a:lnTo>
                  <a:lnTo>
                    <a:pt x="5327416" y="1072153"/>
                  </a:lnTo>
                  <a:lnTo>
                    <a:pt x="5341712" y="1076919"/>
                  </a:lnTo>
                  <a:lnTo>
                    <a:pt x="5351240" y="1076919"/>
                  </a:lnTo>
                  <a:lnTo>
                    <a:pt x="5360772" y="1086449"/>
                  </a:lnTo>
                  <a:lnTo>
                    <a:pt x="5365536" y="1100745"/>
                  </a:lnTo>
                  <a:lnTo>
                    <a:pt x="5375064" y="1100745"/>
                  </a:lnTo>
                  <a:lnTo>
                    <a:pt x="5389360" y="1100745"/>
                  </a:lnTo>
                  <a:lnTo>
                    <a:pt x="5394128" y="1110275"/>
                  </a:lnTo>
                  <a:lnTo>
                    <a:pt x="5389360" y="1129335"/>
                  </a:lnTo>
                  <a:lnTo>
                    <a:pt x="5384596" y="1143631"/>
                  </a:lnTo>
                  <a:lnTo>
                    <a:pt x="5379832" y="1153161"/>
                  </a:lnTo>
                  <a:lnTo>
                    <a:pt x="5389360" y="1157925"/>
                  </a:lnTo>
                  <a:lnTo>
                    <a:pt x="5422716" y="1153161"/>
                  </a:lnTo>
                  <a:lnTo>
                    <a:pt x="5432248" y="1157925"/>
                  </a:lnTo>
                  <a:lnTo>
                    <a:pt x="5437012" y="1167457"/>
                  </a:lnTo>
                  <a:lnTo>
                    <a:pt x="5437012" y="1176987"/>
                  </a:lnTo>
                  <a:lnTo>
                    <a:pt x="5441776" y="1191281"/>
                  </a:lnTo>
                  <a:lnTo>
                    <a:pt x="5437012" y="1205577"/>
                  </a:lnTo>
                  <a:lnTo>
                    <a:pt x="5441776" y="1210343"/>
                  </a:lnTo>
                  <a:lnTo>
                    <a:pt x="5470368" y="1210343"/>
                  </a:lnTo>
                  <a:lnTo>
                    <a:pt x="5489428" y="1205577"/>
                  </a:lnTo>
                  <a:lnTo>
                    <a:pt x="5518020" y="1205577"/>
                  </a:lnTo>
                  <a:lnTo>
                    <a:pt x="5541844" y="1219873"/>
                  </a:lnTo>
                  <a:lnTo>
                    <a:pt x="5560904" y="1215107"/>
                  </a:lnTo>
                  <a:lnTo>
                    <a:pt x="5579968" y="1210343"/>
                  </a:lnTo>
                  <a:lnTo>
                    <a:pt x="5603792" y="1215107"/>
                  </a:lnTo>
                  <a:lnTo>
                    <a:pt x="5622852" y="1205577"/>
                  </a:lnTo>
                  <a:lnTo>
                    <a:pt x="5637148" y="1191281"/>
                  </a:lnTo>
                  <a:lnTo>
                    <a:pt x="5637148" y="1176987"/>
                  </a:lnTo>
                  <a:lnTo>
                    <a:pt x="5646680" y="1172221"/>
                  </a:lnTo>
                  <a:lnTo>
                    <a:pt x="5670504" y="1172221"/>
                  </a:lnTo>
                  <a:lnTo>
                    <a:pt x="5684800" y="1172221"/>
                  </a:lnTo>
                  <a:lnTo>
                    <a:pt x="5699096" y="1157925"/>
                  </a:lnTo>
                  <a:lnTo>
                    <a:pt x="5708624" y="1148395"/>
                  </a:lnTo>
                  <a:lnTo>
                    <a:pt x="5727684" y="1148395"/>
                  </a:lnTo>
                  <a:lnTo>
                    <a:pt x="5737216" y="1148395"/>
                  </a:lnTo>
                  <a:lnTo>
                    <a:pt x="5775336" y="1162691"/>
                  </a:lnTo>
                  <a:lnTo>
                    <a:pt x="5794396" y="1172221"/>
                  </a:lnTo>
                  <a:lnTo>
                    <a:pt x="5818224" y="1191281"/>
                  </a:lnTo>
                  <a:lnTo>
                    <a:pt x="5832520" y="1200811"/>
                  </a:lnTo>
                  <a:lnTo>
                    <a:pt x="5842048" y="1224637"/>
                  </a:lnTo>
                  <a:lnTo>
                    <a:pt x="5856344" y="1243699"/>
                  </a:lnTo>
                  <a:lnTo>
                    <a:pt x="5865872" y="1262759"/>
                  </a:lnTo>
                  <a:lnTo>
                    <a:pt x="5870640" y="1286585"/>
                  </a:lnTo>
                  <a:lnTo>
                    <a:pt x="5880168" y="1319941"/>
                  </a:lnTo>
                  <a:lnTo>
                    <a:pt x="5889700" y="1334235"/>
                  </a:lnTo>
                  <a:lnTo>
                    <a:pt x="5903996" y="1334235"/>
                  </a:lnTo>
                  <a:lnTo>
                    <a:pt x="5918292" y="1339001"/>
                  </a:lnTo>
                  <a:lnTo>
                    <a:pt x="5932584" y="1343765"/>
                  </a:lnTo>
                  <a:lnTo>
                    <a:pt x="5970708" y="1367591"/>
                  </a:lnTo>
                  <a:lnTo>
                    <a:pt x="5985000" y="1372357"/>
                  </a:lnTo>
                  <a:lnTo>
                    <a:pt x="5994532" y="1377121"/>
                  </a:lnTo>
                  <a:lnTo>
                    <a:pt x="5994532" y="1391417"/>
                  </a:lnTo>
                  <a:lnTo>
                    <a:pt x="5989768" y="1405713"/>
                  </a:lnTo>
                  <a:lnTo>
                    <a:pt x="5994532" y="1420007"/>
                  </a:lnTo>
                  <a:lnTo>
                    <a:pt x="6008828" y="1434303"/>
                  </a:lnTo>
                  <a:lnTo>
                    <a:pt x="6018360" y="1453363"/>
                  </a:lnTo>
                  <a:lnTo>
                    <a:pt x="6027888" y="1472425"/>
                  </a:lnTo>
                  <a:lnTo>
                    <a:pt x="6032652" y="1486719"/>
                  </a:lnTo>
                  <a:lnTo>
                    <a:pt x="6042184" y="1486719"/>
                  </a:lnTo>
                  <a:lnTo>
                    <a:pt x="6051712" y="1481955"/>
                  </a:lnTo>
                  <a:lnTo>
                    <a:pt x="6075540" y="1486719"/>
                  </a:lnTo>
                  <a:lnTo>
                    <a:pt x="6132720" y="1501015"/>
                  </a:lnTo>
                  <a:lnTo>
                    <a:pt x="6142252" y="1501015"/>
                  </a:lnTo>
                  <a:lnTo>
                    <a:pt x="6147016" y="1510545"/>
                  </a:lnTo>
                  <a:lnTo>
                    <a:pt x="6156548" y="1510545"/>
                  </a:lnTo>
                  <a:lnTo>
                    <a:pt x="6166076" y="1510545"/>
                  </a:lnTo>
                  <a:lnTo>
                    <a:pt x="6180372" y="1510545"/>
                  </a:lnTo>
                  <a:lnTo>
                    <a:pt x="6189904" y="1501015"/>
                  </a:lnTo>
                  <a:lnTo>
                    <a:pt x="6199432" y="1491485"/>
                  </a:lnTo>
                  <a:lnTo>
                    <a:pt x="6218492" y="1481955"/>
                  </a:lnTo>
                  <a:lnTo>
                    <a:pt x="6232788" y="1462895"/>
                  </a:lnTo>
                  <a:lnTo>
                    <a:pt x="6247084" y="1448599"/>
                  </a:lnTo>
                  <a:lnTo>
                    <a:pt x="6256616" y="1443833"/>
                  </a:lnTo>
                  <a:lnTo>
                    <a:pt x="6266144" y="1453363"/>
                  </a:lnTo>
                  <a:lnTo>
                    <a:pt x="6266144" y="1467659"/>
                  </a:lnTo>
                  <a:lnTo>
                    <a:pt x="6256616" y="1472425"/>
                  </a:lnTo>
                  <a:lnTo>
                    <a:pt x="6247084" y="1486719"/>
                  </a:lnTo>
                  <a:lnTo>
                    <a:pt x="6251848" y="1496251"/>
                  </a:lnTo>
                  <a:lnTo>
                    <a:pt x="6261380" y="1501015"/>
                  </a:lnTo>
                  <a:lnTo>
                    <a:pt x="6280440" y="1515311"/>
                  </a:lnTo>
                  <a:lnTo>
                    <a:pt x="6299500" y="1558197"/>
                  </a:lnTo>
                  <a:lnTo>
                    <a:pt x="6309032" y="1562961"/>
                  </a:lnTo>
                  <a:lnTo>
                    <a:pt x="6318560" y="1572491"/>
                  </a:lnTo>
                  <a:lnTo>
                    <a:pt x="6332856" y="1577257"/>
                  </a:lnTo>
                  <a:lnTo>
                    <a:pt x="6342388" y="1582023"/>
                  </a:lnTo>
                  <a:lnTo>
                    <a:pt x="6356680" y="1596317"/>
                  </a:lnTo>
                  <a:lnTo>
                    <a:pt x="6356680" y="1610613"/>
                  </a:lnTo>
                  <a:lnTo>
                    <a:pt x="6342388" y="1605847"/>
                  </a:lnTo>
                  <a:lnTo>
                    <a:pt x="6313796" y="1605847"/>
                  </a:lnTo>
                  <a:lnTo>
                    <a:pt x="6299500" y="1610613"/>
                  </a:lnTo>
                  <a:lnTo>
                    <a:pt x="6289968" y="1610613"/>
                  </a:lnTo>
                  <a:lnTo>
                    <a:pt x="6275676" y="1620143"/>
                  </a:lnTo>
                  <a:lnTo>
                    <a:pt x="6270908" y="1629673"/>
                  </a:lnTo>
                  <a:lnTo>
                    <a:pt x="6266144" y="1648735"/>
                  </a:lnTo>
                  <a:lnTo>
                    <a:pt x="6270908" y="1667795"/>
                  </a:lnTo>
                  <a:lnTo>
                    <a:pt x="6261380" y="1705915"/>
                  </a:lnTo>
                  <a:lnTo>
                    <a:pt x="6256616" y="1720211"/>
                  </a:lnTo>
                  <a:lnTo>
                    <a:pt x="6237552" y="1744037"/>
                  </a:lnTo>
                  <a:lnTo>
                    <a:pt x="6228024" y="1748801"/>
                  </a:lnTo>
                  <a:lnTo>
                    <a:pt x="6208964" y="1753567"/>
                  </a:lnTo>
                  <a:lnTo>
                    <a:pt x="6194668" y="1763097"/>
                  </a:lnTo>
                  <a:lnTo>
                    <a:pt x="6161312" y="1767863"/>
                  </a:lnTo>
                  <a:lnTo>
                    <a:pt x="6123192" y="1772627"/>
                  </a:lnTo>
                  <a:lnTo>
                    <a:pt x="6113660" y="1777393"/>
                  </a:lnTo>
                  <a:lnTo>
                    <a:pt x="6104128" y="1796453"/>
                  </a:lnTo>
                  <a:lnTo>
                    <a:pt x="6099364" y="1810749"/>
                  </a:lnTo>
                  <a:lnTo>
                    <a:pt x="6094600" y="1820279"/>
                  </a:lnTo>
                  <a:lnTo>
                    <a:pt x="6085068" y="1858399"/>
                  </a:lnTo>
                  <a:lnTo>
                    <a:pt x="6075540" y="1886991"/>
                  </a:lnTo>
                  <a:lnTo>
                    <a:pt x="6085068" y="1929877"/>
                  </a:lnTo>
                  <a:lnTo>
                    <a:pt x="6085068" y="1972763"/>
                  </a:lnTo>
                  <a:lnTo>
                    <a:pt x="6085068" y="1987059"/>
                  </a:lnTo>
                  <a:lnTo>
                    <a:pt x="6094600" y="2006119"/>
                  </a:lnTo>
                  <a:lnTo>
                    <a:pt x="6099364" y="2020415"/>
                  </a:lnTo>
                  <a:lnTo>
                    <a:pt x="6099364" y="2039475"/>
                  </a:lnTo>
                  <a:lnTo>
                    <a:pt x="6085068" y="2053769"/>
                  </a:lnTo>
                  <a:lnTo>
                    <a:pt x="6080304" y="2077595"/>
                  </a:lnTo>
                  <a:lnTo>
                    <a:pt x="6070776" y="2087125"/>
                  </a:lnTo>
                  <a:lnTo>
                    <a:pt x="6051712" y="2087125"/>
                  </a:lnTo>
                  <a:lnTo>
                    <a:pt x="6032652" y="2091891"/>
                  </a:lnTo>
                  <a:lnTo>
                    <a:pt x="6013592" y="2106187"/>
                  </a:lnTo>
                  <a:lnTo>
                    <a:pt x="5999296" y="2120481"/>
                  </a:lnTo>
                  <a:lnTo>
                    <a:pt x="5975472" y="2134777"/>
                  </a:lnTo>
                  <a:lnTo>
                    <a:pt x="5961176" y="2139543"/>
                  </a:lnTo>
                  <a:lnTo>
                    <a:pt x="5956412" y="2130011"/>
                  </a:lnTo>
                  <a:lnTo>
                    <a:pt x="5951648" y="2110951"/>
                  </a:lnTo>
                  <a:lnTo>
                    <a:pt x="5942116" y="2106187"/>
                  </a:lnTo>
                  <a:lnTo>
                    <a:pt x="5932584" y="2106187"/>
                  </a:lnTo>
                  <a:lnTo>
                    <a:pt x="5923056" y="2106187"/>
                  </a:lnTo>
                  <a:lnTo>
                    <a:pt x="5889700" y="2101421"/>
                  </a:lnTo>
                  <a:lnTo>
                    <a:pt x="5870640" y="2101421"/>
                  </a:lnTo>
                  <a:lnTo>
                    <a:pt x="5856344" y="2106187"/>
                  </a:lnTo>
                  <a:lnTo>
                    <a:pt x="5842048" y="2106187"/>
                  </a:lnTo>
                  <a:lnTo>
                    <a:pt x="5813456" y="2101421"/>
                  </a:lnTo>
                  <a:lnTo>
                    <a:pt x="5794396" y="2096655"/>
                  </a:lnTo>
                  <a:lnTo>
                    <a:pt x="5780100" y="2091891"/>
                  </a:lnTo>
                  <a:lnTo>
                    <a:pt x="5751512" y="2072831"/>
                  </a:lnTo>
                  <a:lnTo>
                    <a:pt x="5713392" y="2058535"/>
                  </a:lnTo>
                  <a:lnTo>
                    <a:pt x="5699096" y="2053769"/>
                  </a:lnTo>
                  <a:lnTo>
                    <a:pt x="5689564" y="2058535"/>
                  </a:lnTo>
                  <a:lnTo>
                    <a:pt x="5684800" y="2068065"/>
                  </a:lnTo>
                  <a:lnTo>
                    <a:pt x="5684800" y="2091891"/>
                  </a:lnTo>
                  <a:lnTo>
                    <a:pt x="5680032" y="2106187"/>
                  </a:lnTo>
                  <a:lnTo>
                    <a:pt x="5651444" y="2187193"/>
                  </a:lnTo>
                  <a:lnTo>
                    <a:pt x="5637148" y="2239609"/>
                  </a:lnTo>
                  <a:lnTo>
                    <a:pt x="5613320" y="2292027"/>
                  </a:lnTo>
                  <a:lnTo>
                    <a:pt x="5608556" y="2325383"/>
                  </a:lnTo>
                  <a:lnTo>
                    <a:pt x="5594260" y="2368269"/>
                  </a:lnTo>
                  <a:lnTo>
                    <a:pt x="5579968" y="2401623"/>
                  </a:lnTo>
                  <a:lnTo>
                    <a:pt x="5575200" y="2415919"/>
                  </a:lnTo>
                  <a:lnTo>
                    <a:pt x="5575200" y="2425449"/>
                  </a:lnTo>
                  <a:lnTo>
                    <a:pt x="5579968" y="2434979"/>
                  </a:lnTo>
                  <a:lnTo>
                    <a:pt x="5599028" y="2444511"/>
                  </a:lnTo>
                  <a:lnTo>
                    <a:pt x="5618088" y="2449275"/>
                  </a:lnTo>
                  <a:lnTo>
                    <a:pt x="5622852" y="2454041"/>
                  </a:lnTo>
                  <a:lnTo>
                    <a:pt x="5622852" y="2468335"/>
                  </a:lnTo>
                  <a:lnTo>
                    <a:pt x="5622852" y="2482631"/>
                  </a:lnTo>
                  <a:lnTo>
                    <a:pt x="5618088" y="2501691"/>
                  </a:lnTo>
                  <a:lnTo>
                    <a:pt x="5613320" y="2515987"/>
                  </a:lnTo>
                  <a:lnTo>
                    <a:pt x="5608556" y="2520753"/>
                  </a:lnTo>
                  <a:lnTo>
                    <a:pt x="5603792" y="2520753"/>
                  </a:lnTo>
                  <a:lnTo>
                    <a:pt x="5589496" y="2511223"/>
                  </a:lnTo>
                  <a:lnTo>
                    <a:pt x="5575200" y="2501691"/>
                  </a:lnTo>
                  <a:lnTo>
                    <a:pt x="5570436" y="2501691"/>
                  </a:lnTo>
                  <a:lnTo>
                    <a:pt x="5546612" y="2506457"/>
                  </a:lnTo>
                  <a:lnTo>
                    <a:pt x="5527552" y="2515987"/>
                  </a:lnTo>
                  <a:lnTo>
                    <a:pt x="5518020" y="2515987"/>
                  </a:lnTo>
                  <a:lnTo>
                    <a:pt x="5508488" y="2506457"/>
                  </a:lnTo>
                  <a:lnTo>
                    <a:pt x="5494192" y="2496927"/>
                  </a:lnTo>
                  <a:lnTo>
                    <a:pt x="5489428" y="2482631"/>
                  </a:lnTo>
                  <a:lnTo>
                    <a:pt x="5479900" y="2473101"/>
                  </a:lnTo>
                  <a:lnTo>
                    <a:pt x="5465604" y="2482631"/>
                  </a:lnTo>
                  <a:lnTo>
                    <a:pt x="5422716" y="2496927"/>
                  </a:lnTo>
                  <a:lnTo>
                    <a:pt x="5375064" y="2511223"/>
                  </a:lnTo>
                  <a:lnTo>
                    <a:pt x="5346476" y="2520753"/>
                  </a:lnTo>
                  <a:lnTo>
                    <a:pt x="5336944" y="2520753"/>
                  </a:lnTo>
                  <a:lnTo>
                    <a:pt x="5313120" y="2520753"/>
                  </a:lnTo>
                  <a:lnTo>
                    <a:pt x="5294060" y="2525517"/>
                  </a:lnTo>
                  <a:lnTo>
                    <a:pt x="5279764" y="2535047"/>
                  </a:lnTo>
                  <a:lnTo>
                    <a:pt x="5251172" y="2539813"/>
                  </a:lnTo>
                  <a:lnTo>
                    <a:pt x="5222580" y="2549343"/>
                  </a:lnTo>
                  <a:lnTo>
                    <a:pt x="5208288" y="2563639"/>
                  </a:lnTo>
                  <a:lnTo>
                    <a:pt x="5193992" y="2573169"/>
                  </a:lnTo>
                  <a:lnTo>
                    <a:pt x="5193992" y="2577933"/>
                  </a:lnTo>
                  <a:lnTo>
                    <a:pt x="5203520" y="2587463"/>
                  </a:lnTo>
                  <a:lnTo>
                    <a:pt x="5213052" y="2592229"/>
                  </a:lnTo>
                  <a:lnTo>
                    <a:pt x="5236876" y="2592229"/>
                  </a:lnTo>
                  <a:lnTo>
                    <a:pt x="5255936" y="2592229"/>
                  </a:lnTo>
                  <a:lnTo>
                    <a:pt x="5270232" y="2601759"/>
                  </a:lnTo>
                  <a:lnTo>
                    <a:pt x="5284528" y="2606525"/>
                  </a:lnTo>
                  <a:lnTo>
                    <a:pt x="5289292" y="2611289"/>
                  </a:lnTo>
                  <a:lnTo>
                    <a:pt x="5284528" y="2620819"/>
                  </a:lnTo>
                  <a:lnTo>
                    <a:pt x="5275000" y="2620819"/>
                  </a:lnTo>
                  <a:lnTo>
                    <a:pt x="5275000" y="2625585"/>
                  </a:lnTo>
                  <a:lnTo>
                    <a:pt x="5275000" y="2630351"/>
                  </a:lnTo>
                  <a:lnTo>
                    <a:pt x="5270232" y="2649411"/>
                  </a:lnTo>
                  <a:lnTo>
                    <a:pt x="5265468" y="2673237"/>
                  </a:lnTo>
                  <a:lnTo>
                    <a:pt x="5270232" y="2697063"/>
                  </a:lnTo>
                  <a:lnTo>
                    <a:pt x="5270232" y="2720887"/>
                  </a:lnTo>
                  <a:lnTo>
                    <a:pt x="5270232" y="2730419"/>
                  </a:lnTo>
                  <a:lnTo>
                    <a:pt x="5270232" y="2744713"/>
                  </a:lnTo>
                  <a:lnTo>
                    <a:pt x="5275000" y="2759009"/>
                  </a:lnTo>
                  <a:lnTo>
                    <a:pt x="5279764" y="2778069"/>
                  </a:lnTo>
                  <a:lnTo>
                    <a:pt x="5294060" y="2792365"/>
                  </a:lnTo>
                  <a:lnTo>
                    <a:pt x="5308352" y="2835251"/>
                  </a:lnTo>
                  <a:lnTo>
                    <a:pt x="5317884" y="2863841"/>
                  </a:lnTo>
                  <a:lnTo>
                    <a:pt x="5322648" y="2892433"/>
                  </a:lnTo>
                  <a:lnTo>
                    <a:pt x="5317884" y="2906727"/>
                  </a:lnTo>
                  <a:lnTo>
                    <a:pt x="5317884" y="2916257"/>
                  </a:lnTo>
                  <a:lnTo>
                    <a:pt x="5327416" y="2925787"/>
                  </a:lnTo>
                  <a:lnTo>
                    <a:pt x="5332180" y="2940083"/>
                  </a:lnTo>
                  <a:lnTo>
                    <a:pt x="5336944" y="2949613"/>
                  </a:lnTo>
                  <a:lnTo>
                    <a:pt x="5336944" y="2959143"/>
                  </a:lnTo>
                  <a:lnTo>
                    <a:pt x="5332180" y="2963909"/>
                  </a:lnTo>
                  <a:lnTo>
                    <a:pt x="5313120" y="2954379"/>
                  </a:lnTo>
                  <a:lnTo>
                    <a:pt x="5294060" y="2963909"/>
                  </a:lnTo>
                  <a:lnTo>
                    <a:pt x="5275000" y="2973439"/>
                  </a:lnTo>
                  <a:lnTo>
                    <a:pt x="5275000" y="2978205"/>
                  </a:lnTo>
                  <a:lnTo>
                    <a:pt x="5275000" y="2982969"/>
                  </a:lnTo>
                  <a:lnTo>
                    <a:pt x="5275000" y="2987735"/>
                  </a:lnTo>
                  <a:lnTo>
                    <a:pt x="5284528" y="2997265"/>
                  </a:lnTo>
                  <a:lnTo>
                    <a:pt x="5298824" y="3002031"/>
                  </a:lnTo>
                  <a:lnTo>
                    <a:pt x="5298824" y="3011561"/>
                  </a:lnTo>
                  <a:lnTo>
                    <a:pt x="5279764" y="3016325"/>
                  </a:lnTo>
                  <a:lnTo>
                    <a:pt x="5255936" y="3025855"/>
                  </a:lnTo>
                  <a:lnTo>
                    <a:pt x="5246408" y="3040151"/>
                  </a:lnTo>
                  <a:lnTo>
                    <a:pt x="5241640" y="3054447"/>
                  </a:lnTo>
                  <a:lnTo>
                    <a:pt x="5241640" y="3063977"/>
                  </a:lnTo>
                  <a:lnTo>
                    <a:pt x="5241640" y="3087803"/>
                  </a:lnTo>
                  <a:lnTo>
                    <a:pt x="5246408" y="3111627"/>
                  </a:lnTo>
                  <a:lnTo>
                    <a:pt x="5255936" y="3135453"/>
                  </a:lnTo>
                  <a:lnTo>
                    <a:pt x="5255936" y="3144983"/>
                  </a:lnTo>
                  <a:lnTo>
                    <a:pt x="5251172" y="3149749"/>
                  </a:lnTo>
                  <a:lnTo>
                    <a:pt x="5246408" y="3154515"/>
                  </a:lnTo>
                  <a:lnTo>
                    <a:pt x="5227348" y="3130689"/>
                  </a:lnTo>
                  <a:lnTo>
                    <a:pt x="5203520" y="3106863"/>
                  </a:lnTo>
                  <a:lnTo>
                    <a:pt x="5184460" y="3102097"/>
                  </a:lnTo>
                  <a:lnTo>
                    <a:pt x="5151104" y="3097333"/>
                  </a:lnTo>
                  <a:lnTo>
                    <a:pt x="5136808" y="3097333"/>
                  </a:lnTo>
                  <a:lnTo>
                    <a:pt x="5127280" y="3092567"/>
                  </a:lnTo>
                  <a:lnTo>
                    <a:pt x="5117748" y="3078273"/>
                  </a:lnTo>
                  <a:lnTo>
                    <a:pt x="5103452" y="3068743"/>
                  </a:lnTo>
                  <a:lnTo>
                    <a:pt x="5089160" y="3054447"/>
                  </a:lnTo>
                  <a:lnTo>
                    <a:pt x="5084392" y="3035387"/>
                  </a:lnTo>
                  <a:lnTo>
                    <a:pt x="5079628" y="3030621"/>
                  </a:lnTo>
                  <a:lnTo>
                    <a:pt x="5065332" y="3035387"/>
                  </a:lnTo>
                  <a:lnTo>
                    <a:pt x="5051036" y="3035387"/>
                  </a:lnTo>
                  <a:lnTo>
                    <a:pt x="5041508" y="3030621"/>
                  </a:lnTo>
                  <a:lnTo>
                    <a:pt x="5027212" y="3025855"/>
                  </a:lnTo>
                  <a:lnTo>
                    <a:pt x="5003384" y="3021091"/>
                  </a:lnTo>
                  <a:lnTo>
                    <a:pt x="4984324" y="3011561"/>
                  </a:lnTo>
                  <a:lnTo>
                    <a:pt x="4960500" y="3011561"/>
                  </a:lnTo>
                  <a:lnTo>
                    <a:pt x="4946204" y="3011561"/>
                  </a:lnTo>
                  <a:lnTo>
                    <a:pt x="4908084" y="3011561"/>
                  </a:lnTo>
                  <a:lnTo>
                    <a:pt x="4869960" y="3006795"/>
                  </a:lnTo>
                  <a:lnTo>
                    <a:pt x="4841372" y="3006795"/>
                  </a:lnTo>
                  <a:lnTo>
                    <a:pt x="4827076" y="3006795"/>
                  </a:lnTo>
                  <a:lnTo>
                    <a:pt x="4817544" y="3002031"/>
                  </a:lnTo>
                  <a:lnTo>
                    <a:pt x="4803252" y="3002031"/>
                  </a:lnTo>
                  <a:lnTo>
                    <a:pt x="4784192" y="3002031"/>
                  </a:lnTo>
                  <a:lnTo>
                    <a:pt x="4755600" y="2987735"/>
                  </a:lnTo>
                  <a:lnTo>
                    <a:pt x="4746068" y="2987735"/>
                  </a:lnTo>
                  <a:lnTo>
                    <a:pt x="4736540" y="2987735"/>
                  </a:lnTo>
                  <a:lnTo>
                    <a:pt x="4688888" y="2997265"/>
                  </a:lnTo>
                  <a:lnTo>
                    <a:pt x="4669828" y="3002031"/>
                  </a:lnTo>
                  <a:lnTo>
                    <a:pt x="4622176" y="3002031"/>
                  </a:lnTo>
                  <a:lnTo>
                    <a:pt x="4579288" y="2997265"/>
                  </a:lnTo>
                  <a:lnTo>
                    <a:pt x="4564992" y="2997265"/>
                  </a:lnTo>
                  <a:lnTo>
                    <a:pt x="4555464" y="2997265"/>
                  </a:lnTo>
                  <a:lnTo>
                    <a:pt x="4541168" y="3021091"/>
                  </a:lnTo>
                  <a:lnTo>
                    <a:pt x="4531640" y="3021091"/>
                  </a:lnTo>
                  <a:lnTo>
                    <a:pt x="4488752" y="3016325"/>
                  </a:lnTo>
                  <a:lnTo>
                    <a:pt x="4441100" y="3002031"/>
                  </a:lnTo>
                  <a:lnTo>
                    <a:pt x="4402980" y="2987735"/>
                  </a:lnTo>
                  <a:lnTo>
                    <a:pt x="4374388" y="2973439"/>
                  </a:lnTo>
                  <a:lnTo>
                    <a:pt x="4336268" y="2944849"/>
                  </a:lnTo>
                  <a:lnTo>
                    <a:pt x="4312444" y="2930553"/>
                  </a:lnTo>
                  <a:lnTo>
                    <a:pt x="4307676" y="2940083"/>
                  </a:lnTo>
                  <a:lnTo>
                    <a:pt x="4298148" y="2940083"/>
                  </a:lnTo>
                  <a:lnTo>
                    <a:pt x="4293384" y="2944849"/>
                  </a:lnTo>
                  <a:lnTo>
                    <a:pt x="4269556" y="2940083"/>
                  </a:lnTo>
                  <a:lnTo>
                    <a:pt x="4260024" y="2954379"/>
                  </a:lnTo>
                  <a:lnTo>
                    <a:pt x="4231436" y="2963909"/>
                  </a:lnTo>
                  <a:lnTo>
                    <a:pt x="4217140" y="2973439"/>
                  </a:lnTo>
                  <a:lnTo>
                    <a:pt x="4207608" y="2982969"/>
                  </a:lnTo>
                  <a:lnTo>
                    <a:pt x="4193316" y="3044917"/>
                  </a:lnTo>
                  <a:lnTo>
                    <a:pt x="4188548" y="3068743"/>
                  </a:lnTo>
                  <a:lnTo>
                    <a:pt x="4198080" y="3106863"/>
                  </a:lnTo>
                  <a:lnTo>
                    <a:pt x="4183784" y="3106863"/>
                  </a:lnTo>
                  <a:lnTo>
                    <a:pt x="4169488" y="3097333"/>
                  </a:lnTo>
                  <a:lnTo>
                    <a:pt x="4164724" y="3087803"/>
                  </a:lnTo>
                  <a:lnTo>
                    <a:pt x="4150428" y="3083037"/>
                  </a:lnTo>
                  <a:lnTo>
                    <a:pt x="4098012" y="3078273"/>
                  </a:lnTo>
                  <a:lnTo>
                    <a:pt x="4088480" y="3068743"/>
                  </a:lnTo>
                  <a:lnTo>
                    <a:pt x="4083716" y="3059211"/>
                  </a:lnTo>
                  <a:lnTo>
                    <a:pt x="4069420" y="3054447"/>
                  </a:lnTo>
                  <a:lnTo>
                    <a:pt x="4050360" y="3054447"/>
                  </a:lnTo>
                  <a:lnTo>
                    <a:pt x="4007476" y="3035387"/>
                  </a:lnTo>
                  <a:lnTo>
                    <a:pt x="3988412" y="3035387"/>
                  </a:lnTo>
                  <a:lnTo>
                    <a:pt x="3935996" y="3021091"/>
                  </a:lnTo>
                  <a:lnTo>
                    <a:pt x="3926468" y="3021091"/>
                  </a:lnTo>
                  <a:lnTo>
                    <a:pt x="3921704" y="3021091"/>
                  </a:lnTo>
                  <a:lnTo>
                    <a:pt x="3902640" y="3030621"/>
                  </a:lnTo>
                  <a:lnTo>
                    <a:pt x="3888344" y="3035387"/>
                  </a:lnTo>
                  <a:lnTo>
                    <a:pt x="3874052" y="3030621"/>
                  </a:lnTo>
                  <a:lnTo>
                    <a:pt x="3850224" y="3040151"/>
                  </a:lnTo>
                  <a:lnTo>
                    <a:pt x="3835928" y="3054447"/>
                  </a:lnTo>
                  <a:lnTo>
                    <a:pt x="3821636" y="3073507"/>
                  </a:lnTo>
                  <a:lnTo>
                    <a:pt x="3812104" y="3083037"/>
                  </a:lnTo>
                  <a:lnTo>
                    <a:pt x="3807340" y="3097333"/>
                  </a:lnTo>
                  <a:lnTo>
                    <a:pt x="3802572" y="3106863"/>
                  </a:lnTo>
                  <a:lnTo>
                    <a:pt x="3793044" y="3125923"/>
                  </a:lnTo>
                  <a:lnTo>
                    <a:pt x="3793044" y="3135453"/>
                  </a:lnTo>
                  <a:lnTo>
                    <a:pt x="3802572" y="3144983"/>
                  </a:lnTo>
                  <a:lnTo>
                    <a:pt x="3788280" y="3149749"/>
                  </a:lnTo>
                  <a:lnTo>
                    <a:pt x="3773984" y="3154515"/>
                  </a:lnTo>
                  <a:lnTo>
                    <a:pt x="3764452" y="3159279"/>
                  </a:lnTo>
                  <a:lnTo>
                    <a:pt x="3754924" y="3173575"/>
                  </a:lnTo>
                  <a:lnTo>
                    <a:pt x="3750156" y="3183105"/>
                  </a:lnTo>
                  <a:lnTo>
                    <a:pt x="3745392" y="3187871"/>
                  </a:lnTo>
                  <a:lnTo>
                    <a:pt x="3735864" y="3187871"/>
                  </a:lnTo>
                  <a:lnTo>
                    <a:pt x="3731096" y="3178339"/>
                  </a:lnTo>
                  <a:lnTo>
                    <a:pt x="3716800" y="3178339"/>
                  </a:lnTo>
                  <a:lnTo>
                    <a:pt x="3702504" y="3187871"/>
                  </a:lnTo>
                  <a:lnTo>
                    <a:pt x="3688212" y="3206931"/>
                  </a:lnTo>
                  <a:lnTo>
                    <a:pt x="3669152" y="3230757"/>
                  </a:lnTo>
                  <a:lnTo>
                    <a:pt x="3645324" y="3245051"/>
                  </a:lnTo>
                  <a:lnTo>
                    <a:pt x="3621500" y="3259347"/>
                  </a:lnTo>
                  <a:lnTo>
                    <a:pt x="3597672" y="3264113"/>
                  </a:lnTo>
                  <a:lnTo>
                    <a:pt x="3583376" y="3273643"/>
                  </a:lnTo>
                  <a:lnTo>
                    <a:pt x="3559552" y="3292703"/>
                  </a:lnTo>
                  <a:lnTo>
                    <a:pt x="3554788" y="3302233"/>
                  </a:lnTo>
                  <a:lnTo>
                    <a:pt x="3535728" y="3306999"/>
                  </a:lnTo>
                  <a:lnTo>
                    <a:pt x="3521432" y="3316529"/>
                  </a:lnTo>
                  <a:lnTo>
                    <a:pt x="3507136" y="3326059"/>
                  </a:lnTo>
                  <a:lnTo>
                    <a:pt x="3502372" y="3349885"/>
                  </a:lnTo>
                  <a:lnTo>
                    <a:pt x="3492840" y="3359415"/>
                  </a:lnTo>
                  <a:lnTo>
                    <a:pt x="3473780" y="3378475"/>
                  </a:lnTo>
                  <a:lnTo>
                    <a:pt x="3454720" y="3397535"/>
                  </a:lnTo>
                  <a:lnTo>
                    <a:pt x="3445188" y="3411831"/>
                  </a:lnTo>
                  <a:lnTo>
                    <a:pt x="3430892" y="3430891"/>
                  </a:lnTo>
                  <a:lnTo>
                    <a:pt x="3426128" y="3440421"/>
                  </a:lnTo>
                  <a:lnTo>
                    <a:pt x="3426128" y="3454717"/>
                  </a:lnTo>
                  <a:lnTo>
                    <a:pt x="3430892" y="3464247"/>
                  </a:lnTo>
                  <a:lnTo>
                    <a:pt x="3435660" y="3473777"/>
                  </a:lnTo>
                  <a:lnTo>
                    <a:pt x="3430892" y="3483307"/>
                  </a:lnTo>
                  <a:lnTo>
                    <a:pt x="3416600" y="3483307"/>
                  </a:lnTo>
                  <a:lnTo>
                    <a:pt x="3407068" y="3483307"/>
                  </a:lnTo>
                  <a:lnTo>
                    <a:pt x="3388008" y="3473777"/>
                  </a:lnTo>
                  <a:lnTo>
                    <a:pt x="3364184" y="3459483"/>
                  </a:lnTo>
                  <a:lnTo>
                    <a:pt x="3359416" y="3454717"/>
                  </a:lnTo>
                  <a:lnTo>
                    <a:pt x="3349888" y="3445187"/>
                  </a:lnTo>
                  <a:lnTo>
                    <a:pt x="3349888" y="3430891"/>
                  </a:lnTo>
                  <a:lnTo>
                    <a:pt x="3354652" y="3411831"/>
                  </a:lnTo>
                  <a:lnTo>
                    <a:pt x="3359416" y="3397535"/>
                  </a:lnTo>
                  <a:lnTo>
                    <a:pt x="3349888" y="3392771"/>
                  </a:lnTo>
                  <a:lnTo>
                    <a:pt x="3345120" y="3383241"/>
                  </a:lnTo>
                  <a:lnTo>
                    <a:pt x="3340356" y="3378475"/>
                  </a:lnTo>
                  <a:lnTo>
                    <a:pt x="3330824" y="3364179"/>
                  </a:lnTo>
                  <a:lnTo>
                    <a:pt x="3321296" y="3364179"/>
                  </a:lnTo>
                  <a:lnTo>
                    <a:pt x="3311764" y="3368945"/>
                  </a:lnTo>
                  <a:lnTo>
                    <a:pt x="3297472" y="3364179"/>
                  </a:lnTo>
                  <a:lnTo>
                    <a:pt x="3264116" y="3368945"/>
                  </a:lnTo>
                  <a:lnTo>
                    <a:pt x="3240288" y="3368945"/>
                  </a:lnTo>
                  <a:lnTo>
                    <a:pt x="3221228" y="3368945"/>
                  </a:lnTo>
                  <a:lnTo>
                    <a:pt x="3187872" y="3373711"/>
                  </a:lnTo>
                  <a:lnTo>
                    <a:pt x="3154516" y="3373711"/>
                  </a:lnTo>
                  <a:lnTo>
                    <a:pt x="3144984" y="3368945"/>
                  </a:lnTo>
                  <a:lnTo>
                    <a:pt x="3140220" y="3368945"/>
                  </a:lnTo>
                  <a:lnTo>
                    <a:pt x="3130692" y="3349885"/>
                  </a:lnTo>
                  <a:lnTo>
                    <a:pt x="3130692" y="3330823"/>
                  </a:lnTo>
                  <a:lnTo>
                    <a:pt x="3121160" y="3302233"/>
                  </a:lnTo>
                  <a:lnTo>
                    <a:pt x="3116396" y="3278407"/>
                  </a:lnTo>
                  <a:lnTo>
                    <a:pt x="3111632" y="3249817"/>
                  </a:lnTo>
                  <a:lnTo>
                    <a:pt x="3106864" y="3221227"/>
                  </a:lnTo>
                  <a:lnTo>
                    <a:pt x="3106864" y="3197401"/>
                  </a:lnTo>
                  <a:lnTo>
                    <a:pt x="3078276" y="3197401"/>
                  </a:lnTo>
                  <a:lnTo>
                    <a:pt x="3059212" y="3197401"/>
                  </a:lnTo>
                  <a:lnTo>
                    <a:pt x="3030624" y="3192635"/>
                  </a:lnTo>
                  <a:lnTo>
                    <a:pt x="3030624" y="3178339"/>
                  </a:lnTo>
                  <a:lnTo>
                    <a:pt x="3030624" y="3130689"/>
                  </a:lnTo>
                  <a:lnTo>
                    <a:pt x="3035388" y="3097333"/>
                  </a:lnTo>
                  <a:lnTo>
                    <a:pt x="3040152" y="3068743"/>
                  </a:lnTo>
                  <a:lnTo>
                    <a:pt x="3040152" y="3035387"/>
                  </a:lnTo>
                  <a:lnTo>
                    <a:pt x="3040152" y="3011561"/>
                  </a:lnTo>
                  <a:lnTo>
                    <a:pt x="3044920" y="2987735"/>
                  </a:lnTo>
                  <a:lnTo>
                    <a:pt x="3030624" y="2992499"/>
                  </a:lnTo>
                  <a:lnTo>
                    <a:pt x="3011564" y="3002031"/>
                  </a:lnTo>
                  <a:lnTo>
                    <a:pt x="2997268" y="3011561"/>
                  </a:lnTo>
                  <a:lnTo>
                    <a:pt x="2987736" y="2987735"/>
                  </a:lnTo>
                  <a:lnTo>
                    <a:pt x="2978208" y="2968675"/>
                  </a:lnTo>
                  <a:lnTo>
                    <a:pt x="2959148" y="2940083"/>
                  </a:lnTo>
                  <a:lnTo>
                    <a:pt x="2949616" y="2916257"/>
                  </a:lnTo>
                  <a:lnTo>
                    <a:pt x="2930556" y="2901963"/>
                  </a:lnTo>
                  <a:lnTo>
                    <a:pt x="2916260" y="2892433"/>
                  </a:lnTo>
                  <a:lnTo>
                    <a:pt x="2897200" y="2878137"/>
                  </a:lnTo>
                  <a:lnTo>
                    <a:pt x="2882904" y="2859077"/>
                  </a:lnTo>
                  <a:lnTo>
                    <a:pt x="2873372" y="2844781"/>
                  </a:lnTo>
                  <a:lnTo>
                    <a:pt x="2859080" y="2830485"/>
                  </a:lnTo>
                  <a:lnTo>
                    <a:pt x="2844784" y="2835251"/>
                  </a:lnTo>
                  <a:lnTo>
                    <a:pt x="2825724" y="2844781"/>
                  </a:lnTo>
                  <a:lnTo>
                    <a:pt x="2811428" y="2854311"/>
                  </a:lnTo>
                  <a:lnTo>
                    <a:pt x="2792368" y="2859077"/>
                  </a:lnTo>
                  <a:lnTo>
                    <a:pt x="2782836" y="2863841"/>
                  </a:lnTo>
                  <a:lnTo>
                    <a:pt x="2763776" y="2863841"/>
                  </a:lnTo>
                  <a:lnTo>
                    <a:pt x="2749480" y="2863841"/>
                  </a:lnTo>
                  <a:lnTo>
                    <a:pt x="2716124" y="2859077"/>
                  </a:lnTo>
                  <a:lnTo>
                    <a:pt x="2663708" y="2854311"/>
                  </a:lnTo>
                  <a:lnTo>
                    <a:pt x="2630352" y="2854311"/>
                  </a:lnTo>
                  <a:lnTo>
                    <a:pt x="2592232" y="2849547"/>
                  </a:lnTo>
                  <a:lnTo>
                    <a:pt x="2568404" y="2854311"/>
                  </a:lnTo>
                  <a:lnTo>
                    <a:pt x="2535048" y="2859077"/>
                  </a:lnTo>
                  <a:lnTo>
                    <a:pt x="2501696" y="2863841"/>
                  </a:lnTo>
                  <a:lnTo>
                    <a:pt x="2473104" y="2868607"/>
                  </a:lnTo>
                  <a:lnTo>
                    <a:pt x="2439748" y="2873371"/>
                  </a:lnTo>
                  <a:lnTo>
                    <a:pt x="2415920" y="2878137"/>
                  </a:lnTo>
                  <a:lnTo>
                    <a:pt x="2401628" y="2878137"/>
                  </a:lnTo>
                  <a:lnTo>
                    <a:pt x="2387332" y="2859077"/>
                  </a:lnTo>
                  <a:lnTo>
                    <a:pt x="2358740" y="2830485"/>
                  </a:lnTo>
                  <a:lnTo>
                    <a:pt x="2330148" y="2797129"/>
                  </a:lnTo>
                  <a:lnTo>
                    <a:pt x="2306324" y="2768539"/>
                  </a:lnTo>
                  <a:lnTo>
                    <a:pt x="2272968" y="2730419"/>
                  </a:lnTo>
                  <a:lnTo>
                    <a:pt x="2263436" y="2716123"/>
                  </a:lnTo>
                  <a:lnTo>
                    <a:pt x="2258672" y="2692297"/>
                  </a:lnTo>
                  <a:lnTo>
                    <a:pt x="2249144" y="2682767"/>
                  </a:lnTo>
                  <a:lnTo>
                    <a:pt x="2230080" y="2668471"/>
                  </a:lnTo>
                  <a:lnTo>
                    <a:pt x="2206256" y="2654175"/>
                  </a:lnTo>
                  <a:lnTo>
                    <a:pt x="2187196" y="2639881"/>
                  </a:lnTo>
                  <a:lnTo>
                    <a:pt x="2163368" y="2625585"/>
                  </a:lnTo>
                  <a:lnTo>
                    <a:pt x="2144308" y="2611289"/>
                  </a:lnTo>
                  <a:lnTo>
                    <a:pt x="2120484" y="2596995"/>
                  </a:lnTo>
                  <a:lnTo>
                    <a:pt x="2101424" y="2582699"/>
                  </a:lnTo>
                  <a:lnTo>
                    <a:pt x="2101424" y="2506457"/>
                  </a:lnTo>
                  <a:lnTo>
                    <a:pt x="2101424" y="2482631"/>
                  </a:lnTo>
                  <a:lnTo>
                    <a:pt x="2101424" y="2458805"/>
                  </a:lnTo>
                  <a:lnTo>
                    <a:pt x="2096660" y="2434979"/>
                  </a:lnTo>
                  <a:lnTo>
                    <a:pt x="2091892" y="2420685"/>
                  </a:lnTo>
                  <a:lnTo>
                    <a:pt x="2087128" y="2420685"/>
                  </a:lnTo>
                  <a:lnTo>
                    <a:pt x="2053772" y="2420685"/>
                  </a:lnTo>
                  <a:lnTo>
                    <a:pt x="2049008" y="2415919"/>
                  </a:lnTo>
                  <a:lnTo>
                    <a:pt x="2049008" y="2411155"/>
                  </a:lnTo>
                  <a:lnTo>
                    <a:pt x="2049008" y="2401623"/>
                  </a:lnTo>
                  <a:lnTo>
                    <a:pt x="2049008" y="2392093"/>
                  </a:lnTo>
                  <a:lnTo>
                    <a:pt x="2053772" y="2387329"/>
                  </a:lnTo>
                  <a:lnTo>
                    <a:pt x="2058536" y="2377799"/>
                  </a:lnTo>
                  <a:lnTo>
                    <a:pt x="2058536" y="2373033"/>
                  </a:lnTo>
                  <a:lnTo>
                    <a:pt x="2063304" y="2373033"/>
                  </a:lnTo>
                  <a:lnTo>
                    <a:pt x="2063304" y="2363503"/>
                  </a:lnTo>
                  <a:lnTo>
                    <a:pt x="2068068" y="2358739"/>
                  </a:lnTo>
                  <a:lnTo>
                    <a:pt x="2068068" y="2353973"/>
                  </a:lnTo>
                  <a:lnTo>
                    <a:pt x="2063304" y="2353973"/>
                  </a:lnTo>
                  <a:lnTo>
                    <a:pt x="2063304" y="2349207"/>
                  </a:lnTo>
                  <a:lnTo>
                    <a:pt x="2068068" y="2344443"/>
                  </a:lnTo>
                  <a:lnTo>
                    <a:pt x="2072832" y="2344443"/>
                  </a:lnTo>
                  <a:lnTo>
                    <a:pt x="2082364" y="2344443"/>
                  </a:lnTo>
                  <a:lnTo>
                    <a:pt x="2139544" y="2358739"/>
                  </a:lnTo>
                  <a:lnTo>
                    <a:pt x="2153840" y="2358739"/>
                  </a:lnTo>
                  <a:lnTo>
                    <a:pt x="2163368" y="2353973"/>
                  </a:lnTo>
                  <a:lnTo>
                    <a:pt x="2168136" y="2344443"/>
                  </a:lnTo>
                  <a:lnTo>
                    <a:pt x="2182432" y="2330147"/>
                  </a:lnTo>
                  <a:lnTo>
                    <a:pt x="2191960" y="2325383"/>
                  </a:lnTo>
                  <a:lnTo>
                    <a:pt x="2206256" y="2315851"/>
                  </a:lnTo>
                  <a:lnTo>
                    <a:pt x="2211020" y="2301557"/>
                  </a:lnTo>
                  <a:lnTo>
                    <a:pt x="2220552" y="2296791"/>
                  </a:lnTo>
                  <a:lnTo>
                    <a:pt x="2230080" y="2296791"/>
                  </a:lnTo>
                  <a:lnTo>
                    <a:pt x="2268204" y="2272965"/>
                  </a:lnTo>
                  <a:lnTo>
                    <a:pt x="2272968" y="2272965"/>
                  </a:lnTo>
                  <a:lnTo>
                    <a:pt x="2282496" y="2263435"/>
                  </a:lnTo>
                  <a:lnTo>
                    <a:pt x="2287264" y="2249139"/>
                  </a:lnTo>
                  <a:lnTo>
                    <a:pt x="2292028" y="2234845"/>
                  </a:lnTo>
                  <a:lnTo>
                    <a:pt x="2287264" y="2225315"/>
                  </a:lnTo>
                  <a:lnTo>
                    <a:pt x="2282496" y="2220549"/>
                  </a:lnTo>
                  <a:lnTo>
                    <a:pt x="2272968" y="2225315"/>
                  </a:lnTo>
                  <a:lnTo>
                    <a:pt x="2258672" y="2220549"/>
                  </a:lnTo>
                  <a:lnTo>
                    <a:pt x="2239612" y="2215785"/>
                  </a:lnTo>
                  <a:lnTo>
                    <a:pt x="2225316" y="2206255"/>
                  </a:lnTo>
                  <a:lnTo>
                    <a:pt x="2215788" y="2196723"/>
                  </a:lnTo>
                  <a:lnTo>
                    <a:pt x="2211020" y="2182429"/>
                  </a:lnTo>
                  <a:lnTo>
                    <a:pt x="2215788" y="2163367"/>
                  </a:lnTo>
                  <a:lnTo>
                    <a:pt x="2206256" y="2153837"/>
                  </a:lnTo>
                  <a:lnTo>
                    <a:pt x="2187196" y="2149073"/>
                  </a:lnTo>
                  <a:lnTo>
                    <a:pt x="2182432" y="2149073"/>
                  </a:lnTo>
                  <a:lnTo>
                    <a:pt x="2182432" y="2153837"/>
                  </a:lnTo>
                  <a:lnTo>
                    <a:pt x="2191960" y="2163367"/>
                  </a:lnTo>
                  <a:lnTo>
                    <a:pt x="2206256" y="2172899"/>
                  </a:lnTo>
                  <a:lnTo>
                    <a:pt x="2206256" y="2187193"/>
                  </a:lnTo>
                  <a:lnTo>
                    <a:pt x="2191960" y="2191959"/>
                  </a:lnTo>
                  <a:lnTo>
                    <a:pt x="2187196" y="2196723"/>
                  </a:lnTo>
                  <a:lnTo>
                    <a:pt x="2177664" y="2191959"/>
                  </a:lnTo>
                  <a:lnTo>
                    <a:pt x="2168136" y="2187193"/>
                  </a:lnTo>
                  <a:lnTo>
                    <a:pt x="2163368" y="2191959"/>
                  </a:lnTo>
                  <a:lnTo>
                    <a:pt x="2158604" y="2206255"/>
                  </a:lnTo>
                  <a:lnTo>
                    <a:pt x="2153840" y="2201489"/>
                  </a:lnTo>
                  <a:lnTo>
                    <a:pt x="2149076" y="2182429"/>
                  </a:lnTo>
                  <a:lnTo>
                    <a:pt x="2139544" y="2172899"/>
                  </a:lnTo>
                  <a:lnTo>
                    <a:pt x="2134780" y="2168133"/>
                  </a:lnTo>
                  <a:lnTo>
                    <a:pt x="2120484" y="2172899"/>
                  </a:lnTo>
                  <a:lnTo>
                    <a:pt x="2101424" y="2187193"/>
                  </a:lnTo>
                  <a:lnTo>
                    <a:pt x="2091892" y="2201489"/>
                  </a:lnTo>
                  <a:lnTo>
                    <a:pt x="2091892" y="2211019"/>
                  </a:lnTo>
                  <a:lnTo>
                    <a:pt x="2091892" y="2225315"/>
                  </a:lnTo>
                  <a:lnTo>
                    <a:pt x="2101424" y="2234845"/>
                  </a:lnTo>
                  <a:lnTo>
                    <a:pt x="2115720" y="2239609"/>
                  </a:lnTo>
                  <a:lnTo>
                    <a:pt x="2139544" y="2234845"/>
                  </a:lnTo>
                  <a:lnTo>
                    <a:pt x="2153840" y="2234845"/>
                  </a:lnTo>
                  <a:lnTo>
                    <a:pt x="2163368" y="2244375"/>
                  </a:lnTo>
                  <a:lnTo>
                    <a:pt x="2177664" y="2253905"/>
                  </a:lnTo>
                  <a:lnTo>
                    <a:pt x="2182432" y="2253905"/>
                  </a:lnTo>
                  <a:lnTo>
                    <a:pt x="2187196" y="2249139"/>
                  </a:lnTo>
                  <a:lnTo>
                    <a:pt x="2196724" y="2239609"/>
                  </a:lnTo>
                  <a:lnTo>
                    <a:pt x="2201492" y="2234845"/>
                  </a:lnTo>
                  <a:lnTo>
                    <a:pt x="2206256" y="2234845"/>
                  </a:lnTo>
                  <a:lnTo>
                    <a:pt x="2206256" y="2244375"/>
                  </a:lnTo>
                  <a:lnTo>
                    <a:pt x="2220552" y="2272965"/>
                  </a:lnTo>
                  <a:lnTo>
                    <a:pt x="2220552" y="2277731"/>
                  </a:lnTo>
                  <a:lnTo>
                    <a:pt x="2215788" y="2287261"/>
                  </a:lnTo>
                  <a:lnTo>
                    <a:pt x="2206256" y="2301557"/>
                  </a:lnTo>
                  <a:lnTo>
                    <a:pt x="2196724" y="2306321"/>
                  </a:lnTo>
                  <a:lnTo>
                    <a:pt x="2191960" y="2311087"/>
                  </a:lnTo>
                  <a:lnTo>
                    <a:pt x="2139544" y="2301557"/>
                  </a:lnTo>
                  <a:lnTo>
                    <a:pt x="2130016" y="2306321"/>
                  </a:lnTo>
                  <a:lnTo>
                    <a:pt x="2115720" y="2301557"/>
                  </a:lnTo>
                  <a:lnTo>
                    <a:pt x="2106188" y="2296791"/>
                  </a:lnTo>
                  <a:lnTo>
                    <a:pt x="2096660" y="2296791"/>
                  </a:lnTo>
                  <a:lnTo>
                    <a:pt x="2068068" y="2311087"/>
                  </a:lnTo>
                  <a:lnTo>
                    <a:pt x="2058536" y="2311087"/>
                  </a:lnTo>
                  <a:lnTo>
                    <a:pt x="2058536" y="2306321"/>
                  </a:lnTo>
                  <a:lnTo>
                    <a:pt x="2063304" y="2296791"/>
                  </a:lnTo>
                  <a:lnTo>
                    <a:pt x="2063304" y="2287261"/>
                  </a:lnTo>
                  <a:lnTo>
                    <a:pt x="2058536" y="2268201"/>
                  </a:lnTo>
                  <a:lnTo>
                    <a:pt x="2053772" y="2258671"/>
                  </a:lnTo>
                  <a:lnTo>
                    <a:pt x="2053772" y="2253905"/>
                  </a:lnTo>
                  <a:lnTo>
                    <a:pt x="2044240" y="2249139"/>
                  </a:lnTo>
                  <a:lnTo>
                    <a:pt x="2025180" y="2249139"/>
                  </a:lnTo>
                  <a:lnTo>
                    <a:pt x="2020416" y="2249139"/>
                  </a:lnTo>
                  <a:lnTo>
                    <a:pt x="2015652" y="2249139"/>
                  </a:lnTo>
                  <a:lnTo>
                    <a:pt x="2015652" y="2253905"/>
                  </a:lnTo>
                  <a:lnTo>
                    <a:pt x="2025180" y="2268201"/>
                  </a:lnTo>
                  <a:lnTo>
                    <a:pt x="2039476" y="2296791"/>
                  </a:lnTo>
                  <a:lnTo>
                    <a:pt x="2044240" y="2320617"/>
                  </a:lnTo>
                  <a:lnTo>
                    <a:pt x="2034712" y="2344443"/>
                  </a:lnTo>
                  <a:lnTo>
                    <a:pt x="2034712" y="2363503"/>
                  </a:lnTo>
                  <a:lnTo>
                    <a:pt x="2029948" y="2373033"/>
                  </a:lnTo>
                  <a:lnTo>
                    <a:pt x="2029948" y="2377799"/>
                  </a:lnTo>
                  <a:lnTo>
                    <a:pt x="2020416" y="2377799"/>
                  </a:lnTo>
                  <a:lnTo>
                    <a:pt x="2010884" y="2382563"/>
                  </a:lnTo>
                  <a:lnTo>
                    <a:pt x="2006120" y="2392093"/>
                  </a:lnTo>
                  <a:lnTo>
                    <a:pt x="2001356" y="2392093"/>
                  </a:lnTo>
                  <a:lnTo>
                    <a:pt x="2001356" y="2387329"/>
                  </a:lnTo>
                  <a:lnTo>
                    <a:pt x="1996592" y="2382563"/>
                  </a:lnTo>
                  <a:lnTo>
                    <a:pt x="1991824" y="2382563"/>
                  </a:lnTo>
                  <a:lnTo>
                    <a:pt x="1991824" y="2387329"/>
                  </a:lnTo>
                  <a:lnTo>
                    <a:pt x="1991824" y="2392093"/>
                  </a:lnTo>
                  <a:lnTo>
                    <a:pt x="1982296" y="2396859"/>
                  </a:lnTo>
                  <a:lnTo>
                    <a:pt x="1972764" y="2387329"/>
                  </a:lnTo>
                  <a:lnTo>
                    <a:pt x="1972764" y="2377799"/>
                  </a:lnTo>
                  <a:lnTo>
                    <a:pt x="1972764" y="2363503"/>
                  </a:lnTo>
                  <a:lnTo>
                    <a:pt x="1977528" y="2353973"/>
                  </a:lnTo>
                  <a:lnTo>
                    <a:pt x="1987060" y="2339677"/>
                  </a:lnTo>
                  <a:lnTo>
                    <a:pt x="1987060" y="2330147"/>
                  </a:lnTo>
                  <a:lnTo>
                    <a:pt x="1982296" y="2325383"/>
                  </a:lnTo>
                  <a:lnTo>
                    <a:pt x="1972764" y="2325383"/>
                  </a:lnTo>
                  <a:lnTo>
                    <a:pt x="1968000" y="2330147"/>
                  </a:lnTo>
                  <a:lnTo>
                    <a:pt x="1958468" y="2334913"/>
                  </a:lnTo>
                  <a:lnTo>
                    <a:pt x="1948940" y="2334913"/>
                  </a:lnTo>
                  <a:lnTo>
                    <a:pt x="1929880" y="2330147"/>
                  </a:lnTo>
                  <a:lnTo>
                    <a:pt x="1929880" y="2334913"/>
                  </a:lnTo>
                  <a:lnTo>
                    <a:pt x="1925112" y="2339677"/>
                  </a:lnTo>
                  <a:lnTo>
                    <a:pt x="1915584" y="2339677"/>
                  </a:lnTo>
                  <a:lnTo>
                    <a:pt x="1910820" y="2344443"/>
                  </a:lnTo>
                  <a:lnTo>
                    <a:pt x="1896524" y="2349207"/>
                  </a:lnTo>
                  <a:lnTo>
                    <a:pt x="1891756" y="2358739"/>
                  </a:lnTo>
                  <a:lnTo>
                    <a:pt x="1886992" y="2373033"/>
                  </a:lnTo>
                  <a:lnTo>
                    <a:pt x="1882228" y="2392093"/>
                  </a:lnTo>
                  <a:lnTo>
                    <a:pt x="1877464" y="2415919"/>
                  </a:lnTo>
                  <a:lnTo>
                    <a:pt x="1872696" y="2420685"/>
                  </a:lnTo>
                  <a:lnTo>
                    <a:pt x="1872696" y="2430215"/>
                  </a:lnTo>
                  <a:lnTo>
                    <a:pt x="1863168" y="2425449"/>
                  </a:lnTo>
                  <a:lnTo>
                    <a:pt x="1848872" y="2430215"/>
                  </a:lnTo>
                  <a:lnTo>
                    <a:pt x="1825044" y="2434979"/>
                  </a:lnTo>
                  <a:lnTo>
                    <a:pt x="1796456" y="2444511"/>
                  </a:lnTo>
                  <a:lnTo>
                    <a:pt x="1772628" y="2454041"/>
                  </a:lnTo>
                  <a:lnTo>
                    <a:pt x="1724980" y="2463571"/>
                  </a:lnTo>
                  <a:lnTo>
                    <a:pt x="1696388" y="2473101"/>
                  </a:lnTo>
                  <a:lnTo>
                    <a:pt x="1672560" y="2482631"/>
                  </a:lnTo>
                  <a:lnTo>
                    <a:pt x="1648736" y="2492161"/>
                  </a:lnTo>
                  <a:lnTo>
                    <a:pt x="1615380" y="2501691"/>
                  </a:lnTo>
                  <a:lnTo>
                    <a:pt x="1591556" y="2511223"/>
                  </a:lnTo>
                  <a:lnTo>
                    <a:pt x="1558200" y="2520753"/>
                  </a:lnTo>
                  <a:lnTo>
                    <a:pt x="1529608" y="2530283"/>
                  </a:lnTo>
                  <a:lnTo>
                    <a:pt x="1505784" y="2535047"/>
                  </a:lnTo>
                  <a:lnTo>
                    <a:pt x="1481956" y="2544579"/>
                  </a:lnTo>
                  <a:lnTo>
                    <a:pt x="1462896" y="2549343"/>
                  </a:lnTo>
                  <a:lnTo>
                    <a:pt x="1462896" y="3335589"/>
                  </a:lnTo>
                  <a:lnTo>
                    <a:pt x="1458132" y="3335589"/>
                  </a:lnTo>
                  <a:lnTo>
                    <a:pt x="1439072" y="3340355"/>
                  </a:lnTo>
                  <a:lnTo>
                    <a:pt x="1415244" y="3345119"/>
                  </a:lnTo>
                  <a:lnTo>
                    <a:pt x="1396184" y="3349885"/>
                  </a:lnTo>
                  <a:lnTo>
                    <a:pt x="1386656" y="3345119"/>
                  </a:lnTo>
                  <a:lnTo>
                    <a:pt x="1377124" y="3340355"/>
                  </a:lnTo>
                  <a:lnTo>
                    <a:pt x="1372360" y="3330823"/>
                  </a:lnTo>
                  <a:lnTo>
                    <a:pt x="1358064" y="3321293"/>
                  </a:lnTo>
                  <a:lnTo>
                    <a:pt x="1348532" y="3306999"/>
                  </a:lnTo>
                  <a:lnTo>
                    <a:pt x="1334236" y="3287937"/>
                  </a:lnTo>
                  <a:lnTo>
                    <a:pt x="1324708" y="3268877"/>
                  </a:lnTo>
                  <a:lnTo>
                    <a:pt x="1300880" y="3235521"/>
                  </a:lnTo>
                  <a:lnTo>
                    <a:pt x="1300880" y="3225991"/>
                  </a:lnTo>
                  <a:lnTo>
                    <a:pt x="1296116" y="3211695"/>
                  </a:lnTo>
                  <a:lnTo>
                    <a:pt x="1286588" y="3202165"/>
                  </a:lnTo>
                  <a:lnTo>
                    <a:pt x="1257996" y="3178339"/>
                  </a:lnTo>
                  <a:lnTo>
                    <a:pt x="1229404" y="3159279"/>
                  </a:lnTo>
                  <a:lnTo>
                    <a:pt x="1196048" y="3135453"/>
                  </a:lnTo>
                  <a:lnTo>
                    <a:pt x="1186520" y="3130689"/>
                  </a:lnTo>
                  <a:lnTo>
                    <a:pt x="1172224" y="3125923"/>
                  </a:lnTo>
                  <a:lnTo>
                    <a:pt x="1153164" y="3125923"/>
                  </a:lnTo>
                  <a:lnTo>
                    <a:pt x="1143632" y="3125923"/>
                  </a:lnTo>
                  <a:lnTo>
                    <a:pt x="1105512" y="3130689"/>
                  </a:lnTo>
                  <a:lnTo>
                    <a:pt x="1076920" y="3140219"/>
                  </a:lnTo>
                  <a:lnTo>
                    <a:pt x="1034036" y="3149749"/>
                  </a:lnTo>
                  <a:lnTo>
                    <a:pt x="1005444" y="3164045"/>
                  </a:lnTo>
                  <a:lnTo>
                    <a:pt x="1000680" y="3168809"/>
                  </a:lnTo>
                  <a:lnTo>
                    <a:pt x="976852" y="3183105"/>
                  </a:lnTo>
                  <a:lnTo>
                    <a:pt x="948264" y="3206931"/>
                  </a:lnTo>
                  <a:lnTo>
                    <a:pt x="919672" y="3240287"/>
                  </a:lnTo>
                  <a:lnTo>
                    <a:pt x="914908" y="3221227"/>
                  </a:lnTo>
                  <a:lnTo>
                    <a:pt x="914908" y="3183105"/>
                  </a:lnTo>
                  <a:lnTo>
                    <a:pt x="914908" y="3173575"/>
                  </a:lnTo>
                  <a:lnTo>
                    <a:pt x="919672" y="3144983"/>
                  </a:lnTo>
                  <a:lnTo>
                    <a:pt x="929200" y="3125923"/>
                  </a:lnTo>
                  <a:lnTo>
                    <a:pt x="938732" y="3106863"/>
                  </a:lnTo>
                  <a:lnTo>
                    <a:pt x="938732" y="3078273"/>
                  </a:lnTo>
                  <a:lnTo>
                    <a:pt x="933968" y="3035387"/>
                  </a:lnTo>
                  <a:lnTo>
                    <a:pt x="924436" y="3025855"/>
                  </a:lnTo>
                  <a:lnTo>
                    <a:pt x="919672" y="3021091"/>
                  </a:lnTo>
                  <a:lnTo>
                    <a:pt x="910140" y="3021091"/>
                  </a:lnTo>
                  <a:lnTo>
                    <a:pt x="891080" y="3021091"/>
                  </a:lnTo>
                  <a:lnTo>
                    <a:pt x="881552" y="3025855"/>
                  </a:lnTo>
                  <a:lnTo>
                    <a:pt x="872020" y="3011561"/>
                  </a:lnTo>
                  <a:lnTo>
                    <a:pt x="852960" y="3011561"/>
                  </a:lnTo>
                  <a:lnTo>
                    <a:pt x="843428" y="3011561"/>
                  </a:lnTo>
                  <a:lnTo>
                    <a:pt x="833900" y="3016325"/>
                  </a:lnTo>
                  <a:lnTo>
                    <a:pt x="824368" y="3011561"/>
                  </a:lnTo>
                  <a:lnTo>
                    <a:pt x="814840" y="3002031"/>
                  </a:lnTo>
                  <a:lnTo>
                    <a:pt x="810072" y="2992499"/>
                  </a:lnTo>
                  <a:lnTo>
                    <a:pt x="805308" y="2982969"/>
                  </a:lnTo>
                  <a:lnTo>
                    <a:pt x="795780" y="2963909"/>
                  </a:lnTo>
                  <a:lnTo>
                    <a:pt x="781484" y="2949613"/>
                  </a:lnTo>
                  <a:lnTo>
                    <a:pt x="767188" y="2949613"/>
                  </a:lnTo>
                  <a:lnTo>
                    <a:pt x="738596" y="2949613"/>
                  </a:lnTo>
                  <a:lnTo>
                    <a:pt x="729068" y="2944849"/>
                  </a:lnTo>
                  <a:lnTo>
                    <a:pt x="729068" y="2935319"/>
                  </a:lnTo>
                  <a:lnTo>
                    <a:pt x="733832" y="2906727"/>
                  </a:lnTo>
                  <a:lnTo>
                    <a:pt x="733832" y="2892433"/>
                  </a:lnTo>
                  <a:lnTo>
                    <a:pt x="733832" y="2878137"/>
                  </a:lnTo>
                  <a:lnTo>
                    <a:pt x="729068" y="2868607"/>
                  </a:lnTo>
                  <a:lnTo>
                    <a:pt x="724300" y="2859077"/>
                  </a:lnTo>
                  <a:lnTo>
                    <a:pt x="705240" y="2844781"/>
                  </a:lnTo>
                  <a:lnTo>
                    <a:pt x="695712" y="2820955"/>
                  </a:lnTo>
                  <a:lnTo>
                    <a:pt x="676652" y="2778069"/>
                  </a:lnTo>
                  <a:lnTo>
                    <a:pt x="657588" y="2725653"/>
                  </a:lnTo>
                  <a:lnTo>
                    <a:pt x="652824" y="2720887"/>
                  </a:lnTo>
                  <a:lnTo>
                    <a:pt x="633764" y="2711357"/>
                  </a:lnTo>
                  <a:lnTo>
                    <a:pt x="600408" y="2701827"/>
                  </a:lnTo>
                  <a:lnTo>
                    <a:pt x="581348" y="2697063"/>
                  </a:lnTo>
                  <a:lnTo>
                    <a:pt x="571816" y="2692297"/>
                  </a:lnTo>
                  <a:lnTo>
                    <a:pt x="567052" y="2678001"/>
                  </a:lnTo>
                  <a:lnTo>
                    <a:pt x="567052" y="2668471"/>
                  </a:lnTo>
                  <a:lnTo>
                    <a:pt x="571816" y="2654175"/>
                  </a:lnTo>
                  <a:lnTo>
                    <a:pt x="576584" y="2639881"/>
                  </a:lnTo>
                  <a:lnTo>
                    <a:pt x="590876" y="2630351"/>
                  </a:lnTo>
                  <a:lnTo>
                    <a:pt x="629000" y="2630351"/>
                  </a:lnTo>
                  <a:lnTo>
                    <a:pt x="662356" y="2630351"/>
                  </a:lnTo>
                  <a:lnTo>
                    <a:pt x="690944" y="2654175"/>
                  </a:lnTo>
                  <a:lnTo>
                    <a:pt x="700476" y="2658941"/>
                  </a:lnTo>
                  <a:lnTo>
                    <a:pt x="714772" y="2658941"/>
                  </a:lnTo>
                  <a:lnTo>
                    <a:pt x="733832" y="2654175"/>
                  </a:lnTo>
                  <a:lnTo>
                    <a:pt x="743360" y="2649411"/>
                  </a:lnTo>
                  <a:lnTo>
                    <a:pt x="767188" y="2654175"/>
                  </a:lnTo>
                  <a:lnTo>
                    <a:pt x="762424" y="2639881"/>
                  </a:lnTo>
                  <a:lnTo>
                    <a:pt x="752892" y="2635115"/>
                  </a:lnTo>
                  <a:lnTo>
                    <a:pt x="743360" y="2635115"/>
                  </a:lnTo>
                  <a:lnTo>
                    <a:pt x="733832" y="2635115"/>
                  </a:lnTo>
                  <a:lnTo>
                    <a:pt x="719536" y="2611289"/>
                  </a:lnTo>
                  <a:lnTo>
                    <a:pt x="695712" y="2592229"/>
                  </a:lnTo>
                  <a:lnTo>
                    <a:pt x="686180" y="2582699"/>
                  </a:lnTo>
                  <a:lnTo>
                    <a:pt x="686180" y="2568403"/>
                  </a:lnTo>
                  <a:lnTo>
                    <a:pt x="690944" y="2554109"/>
                  </a:lnTo>
                  <a:lnTo>
                    <a:pt x="710008" y="2539813"/>
                  </a:lnTo>
                  <a:lnTo>
                    <a:pt x="724300" y="2520753"/>
                  </a:lnTo>
                  <a:lnTo>
                    <a:pt x="729068" y="2496927"/>
                  </a:lnTo>
                  <a:lnTo>
                    <a:pt x="738596" y="2487397"/>
                  </a:lnTo>
                  <a:lnTo>
                    <a:pt x="748128" y="2468335"/>
                  </a:lnTo>
                  <a:lnTo>
                    <a:pt x="767188" y="2473101"/>
                  </a:lnTo>
                  <a:lnTo>
                    <a:pt x="800544" y="2458805"/>
                  </a:lnTo>
                  <a:lnTo>
                    <a:pt x="848196" y="2463571"/>
                  </a:lnTo>
                  <a:lnTo>
                    <a:pt x="910140" y="2458805"/>
                  </a:lnTo>
                  <a:lnTo>
                    <a:pt x="924436" y="2458805"/>
                  </a:lnTo>
                  <a:lnTo>
                    <a:pt x="962556" y="2473101"/>
                  </a:lnTo>
                  <a:lnTo>
                    <a:pt x="981620" y="2477867"/>
                  </a:lnTo>
                  <a:lnTo>
                    <a:pt x="1010208" y="2482631"/>
                  </a:lnTo>
                  <a:lnTo>
                    <a:pt x="1029268" y="2477867"/>
                  </a:lnTo>
                  <a:lnTo>
                    <a:pt x="1010208" y="2458805"/>
                  </a:lnTo>
                  <a:lnTo>
                    <a:pt x="972088" y="2439745"/>
                  </a:lnTo>
                  <a:lnTo>
                    <a:pt x="962556" y="2420685"/>
                  </a:lnTo>
                  <a:lnTo>
                    <a:pt x="981620" y="2377799"/>
                  </a:lnTo>
                  <a:lnTo>
                    <a:pt x="1005444" y="2334913"/>
                  </a:lnTo>
                  <a:lnTo>
                    <a:pt x="1019740" y="2282495"/>
                  </a:lnTo>
                  <a:lnTo>
                    <a:pt x="1014976" y="2234845"/>
                  </a:lnTo>
                  <a:lnTo>
                    <a:pt x="1005444" y="2220549"/>
                  </a:lnTo>
                  <a:lnTo>
                    <a:pt x="1010208" y="2201489"/>
                  </a:lnTo>
                  <a:lnTo>
                    <a:pt x="1019740" y="2187193"/>
                  </a:lnTo>
                  <a:lnTo>
                    <a:pt x="1024504" y="2172899"/>
                  </a:lnTo>
                  <a:lnTo>
                    <a:pt x="1019740" y="2158603"/>
                  </a:lnTo>
                  <a:lnTo>
                    <a:pt x="1010208" y="2130011"/>
                  </a:lnTo>
                  <a:lnTo>
                    <a:pt x="1000680" y="2125247"/>
                  </a:lnTo>
                  <a:lnTo>
                    <a:pt x="986384" y="2110951"/>
                  </a:lnTo>
                  <a:lnTo>
                    <a:pt x="948264" y="2110951"/>
                  </a:lnTo>
                  <a:lnTo>
                    <a:pt x="914908" y="2101421"/>
                  </a:lnTo>
                  <a:lnTo>
                    <a:pt x="905376" y="2106187"/>
                  </a:lnTo>
                  <a:lnTo>
                    <a:pt x="900612" y="2115717"/>
                  </a:lnTo>
                  <a:lnTo>
                    <a:pt x="895844" y="2125247"/>
                  </a:lnTo>
                  <a:lnTo>
                    <a:pt x="872020" y="2134777"/>
                  </a:lnTo>
                  <a:lnTo>
                    <a:pt x="862492" y="2139543"/>
                  </a:lnTo>
                  <a:lnTo>
                    <a:pt x="852960" y="2134777"/>
                  </a:lnTo>
                  <a:lnTo>
                    <a:pt x="843428" y="2120481"/>
                  </a:lnTo>
                  <a:lnTo>
                    <a:pt x="833900" y="2125247"/>
                  </a:lnTo>
                  <a:lnTo>
                    <a:pt x="800544" y="2115717"/>
                  </a:lnTo>
                  <a:lnTo>
                    <a:pt x="786248" y="2096655"/>
                  </a:lnTo>
                  <a:lnTo>
                    <a:pt x="781484" y="2091891"/>
                  </a:lnTo>
                  <a:lnTo>
                    <a:pt x="729068" y="2077595"/>
                  </a:lnTo>
                  <a:lnTo>
                    <a:pt x="714772" y="2072831"/>
                  </a:lnTo>
                  <a:lnTo>
                    <a:pt x="671884" y="2091891"/>
                  </a:lnTo>
                  <a:lnTo>
                    <a:pt x="643296" y="2110951"/>
                  </a:lnTo>
                  <a:lnTo>
                    <a:pt x="633764" y="2115717"/>
                  </a:lnTo>
                  <a:lnTo>
                    <a:pt x="619468" y="2125247"/>
                  </a:lnTo>
                  <a:lnTo>
                    <a:pt x="609940" y="2130011"/>
                  </a:lnTo>
                  <a:lnTo>
                    <a:pt x="600408" y="2125247"/>
                  </a:lnTo>
                  <a:lnTo>
                    <a:pt x="595644" y="2125247"/>
                  </a:lnTo>
                  <a:lnTo>
                    <a:pt x="576584" y="2144307"/>
                  </a:lnTo>
                  <a:lnTo>
                    <a:pt x="543228" y="2168133"/>
                  </a:lnTo>
                  <a:lnTo>
                    <a:pt x="528932" y="2182429"/>
                  </a:lnTo>
                  <a:lnTo>
                    <a:pt x="509872" y="2191959"/>
                  </a:lnTo>
                  <a:lnTo>
                    <a:pt x="490812" y="2196723"/>
                  </a:lnTo>
                  <a:lnTo>
                    <a:pt x="471748" y="2196723"/>
                  </a:lnTo>
                  <a:lnTo>
                    <a:pt x="462220" y="2201489"/>
                  </a:lnTo>
                  <a:lnTo>
                    <a:pt x="443160" y="2206255"/>
                  </a:lnTo>
                  <a:lnTo>
                    <a:pt x="428864" y="2211019"/>
                  </a:lnTo>
                  <a:lnTo>
                    <a:pt x="424100" y="2215785"/>
                  </a:lnTo>
                  <a:lnTo>
                    <a:pt x="428864" y="2234845"/>
                  </a:lnTo>
                  <a:lnTo>
                    <a:pt x="414568" y="2230079"/>
                  </a:lnTo>
                  <a:lnTo>
                    <a:pt x="405036" y="2239609"/>
                  </a:lnTo>
                  <a:lnTo>
                    <a:pt x="409804" y="2249139"/>
                  </a:lnTo>
                  <a:lnTo>
                    <a:pt x="400272" y="2249139"/>
                  </a:lnTo>
                  <a:lnTo>
                    <a:pt x="366916" y="2225315"/>
                  </a:lnTo>
                  <a:lnTo>
                    <a:pt x="338328" y="2211019"/>
                  </a:lnTo>
                  <a:lnTo>
                    <a:pt x="309736" y="2196723"/>
                  </a:lnTo>
                  <a:lnTo>
                    <a:pt x="300204" y="2187193"/>
                  </a:lnTo>
                  <a:lnTo>
                    <a:pt x="295440" y="2177663"/>
                  </a:lnTo>
                  <a:lnTo>
                    <a:pt x="295440" y="2168133"/>
                  </a:lnTo>
                  <a:lnTo>
                    <a:pt x="295440" y="2158603"/>
                  </a:lnTo>
                  <a:lnTo>
                    <a:pt x="304972" y="2153837"/>
                  </a:lnTo>
                  <a:lnTo>
                    <a:pt x="309736" y="2153837"/>
                  </a:lnTo>
                  <a:lnTo>
                    <a:pt x="319264" y="2153837"/>
                  </a:lnTo>
                  <a:lnTo>
                    <a:pt x="324032" y="2158603"/>
                  </a:lnTo>
                  <a:lnTo>
                    <a:pt x="338328" y="2163367"/>
                  </a:lnTo>
                  <a:lnTo>
                    <a:pt x="352620" y="2168133"/>
                  </a:lnTo>
                  <a:lnTo>
                    <a:pt x="366916" y="2163367"/>
                  </a:lnTo>
                  <a:lnTo>
                    <a:pt x="366916" y="2149073"/>
                  </a:lnTo>
                  <a:lnTo>
                    <a:pt x="347856" y="2110951"/>
                  </a:lnTo>
                  <a:lnTo>
                    <a:pt x="328796" y="2077595"/>
                  </a:lnTo>
                  <a:lnTo>
                    <a:pt x="309736" y="2039475"/>
                  </a:lnTo>
                  <a:lnTo>
                    <a:pt x="304972" y="2025179"/>
                  </a:lnTo>
                  <a:lnTo>
                    <a:pt x="281144" y="1996589"/>
                  </a:lnTo>
                  <a:lnTo>
                    <a:pt x="257320" y="1963233"/>
                  </a:lnTo>
                  <a:lnTo>
                    <a:pt x="243024" y="1934641"/>
                  </a:lnTo>
                  <a:lnTo>
                    <a:pt x="233492" y="1929877"/>
                  </a:lnTo>
                  <a:lnTo>
                    <a:pt x="204904" y="1925111"/>
                  </a:lnTo>
                  <a:lnTo>
                    <a:pt x="152488" y="1915581"/>
                  </a:lnTo>
                  <a:lnTo>
                    <a:pt x="133424" y="1915581"/>
                  </a:lnTo>
                  <a:lnTo>
                    <a:pt x="119132" y="1920347"/>
                  </a:lnTo>
                  <a:lnTo>
                    <a:pt x="104836" y="1929877"/>
                  </a:lnTo>
                  <a:lnTo>
                    <a:pt x="90540" y="1915581"/>
                  </a:lnTo>
                  <a:lnTo>
                    <a:pt x="81008" y="1896521"/>
                  </a:lnTo>
                  <a:lnTo>
                    <a:pt x="76244" y="1882225"/>
                  </a:lnTo>
                  <a:lnTo>
                    <a:pt x="76244" y="1863165"/>
                  </a:lnTo>
                  <a:lnTo>
                    <a:pt x="81008" y="1839339"/>
                  </a:lnTo>
                  <a:lnTo>
                    <a:pt x="71480" y="1815513"/>
                  </a:lnTo>
                  <a:lnTo>
                    <a:pt x="61948" y="1801219"/>
                  </a:lnTo>
                  <a:lnTo>
                    <a:pt x="38124" y="1791687"/>
                  </a:lnTo>
                  <a:lnTo>
                    <a:pt x="4768" y="1772627"/>
                  </a:lnTo>
                  <a:lnTo>
                    <a:pt x="0" y="1734507"/>
                  </a:lnTo>
                  <a:lnTo>
                    <a:pt x="14296" y="1677325"/>
                  </a:lnTo>
                  <a:lnTo>
                    <a:pt x="38124" y="1639203"/>
                  </a:lnTo>
                  <a:lnTo>
                    <a:pt x="52420" y="1624909"/>
                  </a:lnTo>
                  <a:lnTo>
                    <a:pt x="61948" y="1610613"/>
                  </a:lnTo>
                  <a:lnTo>
                    <a:pt x="66712" y="1596317"/>
                  </a:lnTo>
                  <a:lnTo>
                    <a:pt x="61948" y="1586787"/>
                  </a:lnTo>
                  <a:lnTo>
                    <a:pt x="52420" y="1572491"/>
                  </a:lnTo>
                  <a:lnTo>
                    <a:pt x="38124" y="1558197"/>
                  </a:lnTo>
                  <a:lnTo>
                    <a:pt x="28592" y="1543901"/>
                  </a:lnTo>
                  <a:lnTo>
                    <a:pt x="33356" y="1510545"/>
                  </a:lnTo>
                  <a:lnTo>
                    <a:pt x="42888" y="1467659"/>
                  </a:lnTo>
                  <a:lnTo>
                    <a:pt x="57184" y="1429539"/>
                  </a:lnTo>
                  <a:lnTo>
                    <a:pt x="81008" y="1405713"/>
                  </a:lnTo>
                  <a:lnTo>
                    <a:pt x="100068" y="1391417"/>
                  </a:lnTo>
                  <a:lnTo>
                    <a:pt x="104836" y="1377121"/>
                  </a:lnTo>
                  <a:lnTo>
                    <a:pt x="104836" y="1358061"/>
                  </a:lnTo>
                  <a:lnTo>
                    <a:pt x="104836" y="1339001"/>
                  </a:lnTo>
                  <a:lnTo>
                    <a:pt x="109600" y="1324705"/>
                  </a:lnTo>
                  <a:lnTo>
                    <a:pt x="119132" y="1315175"/>
                  </a:lnTo>
                  <a:lnTo>
                    <a:pt x="128660" y="1305645"/>
                  </a:lnTo>
                  <a:lnTo>
                    <a:pt x="138192" y="1291349"/>
                  </a:lnTo>
                  <a:lnTo>
                    <a:pt x="152488" y="1291349"/>
                  </a:lnTo>
                  <a:lnTo>
                    <a:pt x="171548" y="1300879"/>
                  </a:lnTo>
                  <a:lnTo>
                    <a:pt x="190608" y="1324705"/>
                  </a:lnTo>
                  <a:lnTo>
                    <a:pt x="223964" y="1367591"/>
                  </a:lnTo>
                  <a:lnTo>
                    <a:pt x="243024" y="1400947"/>
                  </a:lnTo>
                  <a:lnTo>
                    <a:pt x="252552" y="1410477"/>
                  </a:lnTo>
                  <a:lnTo>
                    <a:pt x="266848" y="1424773"/>
                  </a:lnTo>
                  <a:lnTo>
                    <a:pt x="285908" y="1434303"/>
                  </a:lnTo>
                  <a:lnTo>
                    <a:pt x="309736" y="1424773"/>
                  </a:lnTo>
                  <a:lnTo>
                    <a:pt x="333560" y="1410477"/>
                  </a:lnTo>
                  <a:lnTo>
                    <a:pt x="343092" y="1400947"/>
                  </a:lnTo>
                  <a:lnTo>
                    <a:pt x="347856" y="1386651"/>
                  </a:lnTo>
                  <a:lnTo>
                    <a:pt x="343092" y="1367591"/>
                  </a:lnTo>
                  <a:lnTo>
                    <a:pt x="338328" y="1353297"/>
                  </a:lnTo>
                  <a:lnTo>
                    <a:pt x="333560" y="1339001"/>
                  </a:lnTo>
                  <a:lnTo>
                    <a:pt x="324032" y="1305645"/>
                  </a:lnTo>
                  <a:lnTo>
                    <a:pt x="319264" y="1257993"/>
                  </a:lnTo>
                  <a:lnTo>
                    <a:pt x="314500" y="1243699"/>
                  </a:lnTo>
                  <a:lnTo>
                    <a:pt x="319264" y="1238933"/>
                  </a:lnTo>
                  <a:lnTo>
                    <a:pt x="328796" y="1243699"/>
                  </a:lnTo>
                  <a:lnTo>
                    <a:pt x="343092" y="1243699"/>
                  </a:lnTo>
                  <a:lnTo>
                    <a:pt x="357388" y="1234167"/>
                  </a:lnTo>
                  <a:lnTo>
                    <a:pt x="381212" y="1215107"/>
                  </a:lnTo>
                  <a:lnTo>
                    <a:pt x="424100" y="1181751"/>
                  </a:lnTo>
                  <a:lnTo>
                    <a:pt x="433628" y="1162691"/>
                  </a:lnTo>
                  <a:lnTo>
                    <a:pt x="438392" y="1138865"/>
                  </a:lnTo>
                  <a:lnTo>
                    <a:pt x="447924" y="1124571"/>
                  </a:lnTo>
                  <a:lnTo>
                    <a:pt x="476516" y="1119805"/>
                  </a:lnTo>
                  <a:lnTo>
                    <a:pt x="500340" y="1115039"/>
                  </a:lnTo>
                  <a:lnTo>
                    <a:pt x="519400" y="1095979"/>
                  </a:lnTo>
                  <a:lnTo>
                    <a:pt x="543228" y="1081683"/>
                  </a:lnTo>
                  <a:lnTo>
                    <a:pt x="567052" y="1072153"/>
                  </a:lnTo>
                  <a:lnTo>
                    <a:pt x="576584" y="1067389"/>
                  </a:lnTo>
                  <a:lnTo>
                    <a:pt x="586112" y="1053093"/>
                  </a:lnTo>
                  <a:lnTo>
                    <a:pt x="609940" y="1019737"/>
                  </a:lnTo>
                  <a:lnTo>
                    <a:pt x="629000" y="1000677"/>
                  </a:lnTo>
                  <a:lnTo>
                    <a:pt x="648060" y="976851"/>
                  </a:lnTo>
                  <a:lnTo>
                    <a:pt x="652824" y="962555"/>
                  </a:lnTo>
                  <a:lnTo>
                    <a:pt x="667120" y="967321"/>
                  </a:lnTo>
                  <a:lnTo>
                    <a:pt x="686180" y="976851"/>
                  </a:lnTo>
                  <a:lnTo>
                    <a:pt x="710008" y="986381"/>
                  </a:lnTo>
                  <a:lnTo>
                    <a:pt x="729068" y="995911"/>
                  </a:lnTo>
                  <a:lnTo>
                    <a:pt x="729068" y="1010207"/>
                  </a:lnTo>
                  <a:lnTo>
                    <a:pt x="733832" y="1019737"/>
                  </a:lnTo>
                  <a:lnTo>
                    <a:pt x="738596" y="1029267"/>
                  </a:lnTo>
                  <a:lnTo>
                    <a:pt x="748128" y="1029267"/>
                  </a:lnTo>
                  <a:lnTo>
                    <a:pt x="757656" y="1024503"/>
                  </a:lnTo>
                  <a:lnTo>
                    <a:pt x="781484" y="1024503"/>
                  </a:lnTo>
                  <a:lnTo>
                    <a:pt x="805308" y="1010207"/>
                  </a:lnTo>
                  <a:lnTo>
                    <a:pt x="843428" y="976851"/>
                  </a:lnTo>
                  <a:lnTo>
                    <a:pt x="876784" y="967321"/>
                  </a:lnTo>
                  <a:lnTo>
                    <a:pt x="891080" y="976851"/>
                  </a:lnTo>
                  <a:lnTo>
                    <a:pt x="905376" y="995911"/>
                  </a:lnTo>
                  <a:lnTo>
                    <a:pt x="919672" y="1019737"/>
                  </a:lnTo>
                  <a:lnTo>
                    <a:pt x="929200" y="1024503"/>
                  </a:lnTo>
                  <a:lnTo>
                    <a:pt x="938732" y="1024503"/>
                  </a:lnTo>
                  <a:lnTo>
                    <a:pt x="938732" y="1029267"/>
                  </a:lnTo>
                  <a:lnTo>
                    <a:pt x="953028" y="1019737"/>
                  </a:lnTo>
                  <a:lnTo>
                    <a:pt x="957792" y="1019737"/>
                  </a:lnTo>
                  <a:lnTo>
                    <a:pt x="967324" y="1024503"/>
                  </a:lnTo>
                  <a:lnTo>
                    <a:pt x="981620" y="1029267"/>
                  </a:lnTo>
                  <a:lnTo>
                    <a:pt x="1005444" y="1029267"/>
                  </a:lnTo>
                  <a:lnTo>
                    <a:pt x="1034036" y="1024503"/>
                  </a:lnTo>
                  <a:lnTo>
                    <a:pt x="1048332" y="1024503"/>
                  </a:lnTo>
                  <a:lnTo>
                    <a:pt x="1067392" y="1034033"/>
                  </a:lnTo>
                  <a:lnTo>
                    <a:pt x="1081684" y="1048327"/>
                  </a:lnTo>
                  <a:lnTo>
                    <a:pt x="1105512" y="1081683"/>
                  </a:lnTo>
                  <a:lnTo>
                    <a:pt x="1119808" y="1091215"/>
                  </a:lnTo>
                  <a:lnTo>
                    <a:pt x="1148396" y="1105509"/>
                  </a:lnTo>
                  <a:lnTo>
                    <a:pt x="1157928" y="1119805"/>
                  </a:lnTo>
                  <a:lnTo>
                    <a:pt x="1176988" y="1134101"/>
                  </a:lnTo>
                  <a:lnTo>
                    <a:pt x="1181752" y="1148395"/>
                  </a:lnTo>
                  <a:lnTo>
                    <a:pt x="1200816" y="1167457"/>
                  </a:lnTo>
                  <a:lnTo>
                    <a:pt x="1219876" y="1200811"/>
                  </a:lnTo>
                  <a:lnTo>
                    <a:pt x="1224640" y="1229403"/>
                  </a:lnTo>
                  <a:lnTo>
                    <a:pt x="1229404" y="1248463"/>
                  </a:lnTo>
                  <a:lnTo>
                    <a:pt x="1234168" y="1257993"/>
                  </a:lnTo>
                  <a:lnTo>
                    <a:pt x="1238936" y="1262759"/>
                  </a:lnTo>
                  <a:lnTo>
                    <a:pt x="1248464" y="1257993"/>
                  </a:lnTo>
                  <a:lnTo>
                    <a:pt x="1253232" y="1248463"/>
                  </a:lnTo>
                  <a:lnTo>
                    <a:pt x="1253232" y="1229403"/>
                  </a:lnTo>
                  <a:lnTo>
                    <a:pt x="1253232" y="1200811"/>
                  </a:lnTo>
                  <a:lnTo>
                    <a:pt x="1248464" y="1176987"/>
                  </a:lnTo>
                  <a:lnTo>
                    <a:pt x="1243700" y="1167457"/>
                  </a:lnTo>
                  <a:lnTo>
                    <a:pt x="1238936" y="1157925"/>
                  </a:lnTo>
                  <a:lnTo>
                    <a:pt x="1243700" y="1148395"/>
                  </a:lnTo>
                  <a:lnTo>
                    <a:pt x="1253232" y="1143631"/>
                  </a:lnTo>
                  <a:lnTo>
                    <a:pt x="1267524" y="1148395"/>
                  </a:lnTo>
                  <a:lnTo>
                    <a:pt x="1291352" y="1162691"/>
                  </a:lnTo>
                  <a:lnTo>
                    <a:pt x="1310412" y="1176987"/>
                  </a:lnTo>
                  <a:lnTo>
                    <a:pt x="1339004" y="1210343"/>
                  </a:lnTo>
                  <a:lnTo>
                    <a:pt x="1367592" y="1229403"/>
                  </a:lnTo>
                  <a:lnTo>
                    <a:pt x="1396184" y="1243699"/>
                  </a:lnTo>
                  <a:lnTo>
                    <a:pt x="1415244" y="1248463"/>
                  </a:lnTo>
                  <a:lnTo>
                    <a:pt x="1434304" y="1243699"/>
                  </a:lnTo>
                  <a:lnTo>
                    <a:pt x="1453364" y="1234167"/>
                  </a:lnTo>
                  <a:lnTo>
                    <a:pt x="1472428" y="1215107"/>
                  </a:lnTo>
                  <a:lnTo>
                    <a:pt x="1481956" y="1200811"/>
                  </a:lnTo>
                  <a:lnTo>
                    <a:pt x="1486720" y="1186517"/>
                  </a:lnTo>
                  <a:lnTo>
                    <a:pt x="1515312" y="1162691"/>
                  </a:lnTo>
                  <a:lnTo>
                    <a:pt x="1543904" y="1143631"/>
                  </a:lnTo>
                  <a:lnTo>
                    <a:pt x="1553432" y="1143631"/>
                  </a:lnTo>
                  <a:lnTo>
                    <a:pt x="1562964" y="1153161"/>
                  </a:lnTo>
                  <a:lnTo>
                    <a:pt x="1586788" y="1138865"/>
                  </a:lnTo>
                  <a:lnTo>
                    <a:pt x="1601084" y="1134101"/>
                  </a:lnTo>
                  <a:lnTo>
                    <a:pt x="1624912" y="1129335"/>
                  </a:lnTo>
                  <a:lnTo>
                    <a:pt x="1648736" y="1138865"/>
                  </a:lnTo>
                  <a:lnTo>
                    <a:pt x="1672560" y="1157925"/>
                  </a:lnTo>
                  <a:lnTo>
                    <a:pt x="1691624" y="1172221"/>
                  </a:lnTo>
                  <a:lnTo>
                    <a:pt x="1710684" y="1172221"/>
                  </a:lnTo>
                  <a:lnTo>
                    <a:pt x="1724980" y="1167457"/>
                  </a:lnTo>
                  <a:lnTo>
                    <a:pt x="1734508" y="1153161"/>
                  </a:lnTo>
                  <a:lnTo>
                    <a:pt x="1739272" y="1134101"/>
                  </a:lnTo>
                  <a:lnTo>
                    <a:pt x="1753568" y="1124571"/>
                  </a:lnTo>
                  <a:lnTo>
                    <a:pt x="1786924" y="1129335"/>
                  </a:lnTo>
                  <a:lnTo>
                    <a:pt x="1805984" y="1129335"/>
                  </a:lnTo>
                  <a:lnTo>
                    <a:pt x="1805984" y="1124571"/>
                  </a:lnTo>
                  <a:lnTo>
                    <a:pt x="1834576" y="1129335"/>
                  </a:lnTo>
                  <a:lnTo>
                    <a:pt x="1863168" y="1153161"/>
                  </a:lnTo>
                  <a:lnTo>
                    <a:pt x="1882228" y="1181751"/>
                  </a:lnTo>
                  <a:lnTo>
                    <a:pt x="1906052" y="1210343"/>
                  </a:lnTo>
                  <a:lnTo>
                    <a:pt x="1915584" y="1224637"/>
                  </a:lnTo>
                  <a:lnTo>
                    <a:pt x="1929880" y="1224637"/>
                  </a:lnTo>
                  <a:lnTo>
                    <a:pt x="1944176" y="1229403"/>
                  </a:lnTo>
                  <a:lnTo>
                    <a:pt x="1963236" y="1234167"/>
                  </a:lnTo>
                  <a:lnTo>
                    <a:pt x="2006120" y="1238933"/>
                  </a:lnTo>
                  <a:lnTo>
                    <a:pt x="2010884" y="1243699"/>
                  </a:lnTo>
                  <a:lnTo>
                    <a:pt x="2015652" y="1248463"/>
                  </a:lnTo>
                  <a:lnTo>
                    <a:pt x="2010884" y="1267523"/>
                  </a:lnTo>
                  <a:lnTo>
                    <a:pt x="2015652" y="1272289"/>
                  </a:lnTo>
                  <a:lnTo>
                    <a:pt x="2053772" y="1257993"/>
                  </a:lnTo>
                  <a:lnTo>
                    <a:pt x="2063304" y="1248463"/>
                  </a:lnTo>
                  <a:lnTo>
                    <a:pt x="2072832" y="1224637"/>
                  </a:lnTo>
                  <a:lnTo>
                    <a:pt x="2082364" y="1196047"/>
                  </a:lnTo>
                  <a:lnTo>
                    <a:pt x="2091892" y="1186517"/>
                  </a:lnTo>
                  <a:lnTo>
                    <a:pt x="2101424" y="1181751"/>
                  </a:lnTo>
                  <a:lnTo>
                    <a:pt x="2106188" y="1186517"/>
                  </a:lnTo>
                  <a:lnTo>
                    <a:pt x="2120484" y="1205577"/>
                  </a:lnTo>
                  <a:lnTo>
                    <a:pt x="2134780" y="1219873"/>
                  </a:lnTo>
                  <a:lnTo>
                    <a:pt x="2158604" y="1224637"/>
                  </a:lnTo>
                  <a:lnTo>
                    <a:pt x="2168136" y="1229403"/>
                  </a:lnTo>
                  <a:lnTo>
                    <a:pt x="2191960" y="1229403"/>
                  </a:lnTo>
                  <a:lnTo>
                    <a:pt x="2239612" y="1219873"/>
                  </a:lnTo>
                  <a:lnTo>
                    <a:pt x="2282496" y="1200811"/>
                  </a:lnTo>
                  <a:lnTo>
                    <a:pt x="2306324" y="1181751"/>
                  </a:lnTo>
                  <a:lnTo>
                    <a:pt x="2320620" y="1148395"/>
                  </a:lnTo>
                  <a:lnTo>
                    <a:pt x="2325384" y="1110275"/>
                  </a:lnTo>
                  <a:lnTo>
                    <a:pt x="2339680" y="1091215"/>
                  </a:lnTo>
                  <a:lnTo>
                    <a:pt x="2334916" y="1067389"/>
                  </a:lnTo>
                  <a:lnTo>
                    <a:pt x="2311088" y="1043563"/>
                  </a:lnTo>
                  <a:lnTo>
                    <a:pt x="2301560" y="1034033"/>
                  </a:lnTo>
                  <a:lnTo>
                    <a:pt x="2249144" y="1024503"/>
                  </a:lnTo>
                  <a:lnTo>
                    <a:pt x="2244376" y="1014973"/>
                  </a:lnTo>
                  <a:lnTo>
                    <a:pt x="2244376" y="1010207"/>
                  </a:lnTo>
                  <a:lnTo>
                    <a:pt x="2187196" y="991147"/>
                  </a:lnTo>
                  <a:lnTo>
                    <a:pt x="2163368" y="986381"/>
                  </a:lnTo>
                  <a:lnTo>
                    <a:pt x="2153840" y="972085"/>
                  </a:lnTo>
                  <a:lnTo>
                    <a:pt x="2149076" y="953025"/>
                  </a:lnTo>
                  <a:lnTo>
                    <a:pt x="2134780" y="938731"/>
                  </a:lnTo>
                  <a:lnTo>
                    <a:pt x="2101424" y="924435"/>
                  </a:lnTo>
                  <a:lnTo>
                    <a:pt x="2096660" y="914905"/>
                  </a:lnTo>
                  <a:lnTo>
                    <a:pt x="2101424" y="900609"/>
                  </a:lnTo>
                  <a:lnTo>
                    <a:pt x="2125248" y="891079"/>
                  </a:lnTo>
                  <a:lnTo>
                    <a:pt x="2158604" y="862487"/>
                  </a:lnTo>
                  <a:lnTo>
                    <a:pt x="2168136" y="857723"/>
                  </a:lnTo>
                  <a:lnTo>
                    <a:pt x="2196724" y="857723"/>
                  </a:lnTo>
                  <a:lnTo>
                    <a:pt x="2220552" y="833897"/>
                  </a:lnTo>
                  <a:lnTo>
                    <a:pt x="2239612" y="824367"/>
                  </a:lnTo>
                  <a:lnTo>
                    <a:pt x="2244376" y="810071"/>
                  </a:lnTo>
                  <a:lnTo>
                    <a:pt x="2244376" y="795777"/>
                  </a:lnTo>
                  <a:lnTo>
                    <a:pt x="2220552" y="748125"/>
                  </a:lnTo>
                  <a:lnTo>
                    <a:pt x="2211020" y="724299"/>
                  </a:lnTo>
                  <a:lnTo>
                    <a:pt x="2215788" y="705239"/>
                  </a:lnTo>
                  <a:lnTo>
                    <a:pt x="2230080" y="686179"/>
                  </a:lnTo>
                  <a:lnTo>
                    <a:pt x="2239612" y="676649"/>
                  </a:lnTo>
                  <a:lnTo>
                    <a:pt x="2249144" y="657587"/>
                  </a:lnTo>
                  <a:lnTo>
                    <a:pt x="2253908" y="648057"/>
                  </a:lnTo>
                  <a:lnTo>
                    <a:pt x="2277732" y="643293"/>
                  </a:lnTo>
                  <a:lnTo>
                    <a:pt x="2311088" y="638527"/>
                  </a:lnTo>
                  <a:lnTo>
                    <a:pt x="2330148" y="643293"/>
                  </a:lnTo>
                  <a:lnTo>
                    <a:pt x="2358740" y="648057"/>
                  </a:lnTo>
                  <a:lnTo>
                    <a:pt x="2387332" y="648057"/>
                  </a:lnTo>
                  <a:lnTo>
                    <a:pt x="2396860" y="652823"/>
                  </a:lnTo>
                  <a:lnTo>
                    <a:pt x="2406392" y="648057"/>
                  </a:lnTo>
                  <a:lnTo>
                    <a:pt x="2415920" y="638527"/>
                  </a:lnTo>
                  <a:lnTo>
                    <a:pt x="2415920" y="624231"/>
                  </a:lnTo>
                  <a:lnTo>
                    <a:pt x="2406392" y="609937"/>
                  </a:lnTo>
                  <a:lnTo>
                    <a:pt x="2368272" y="595641"/>
                  </a:lnTo>
                  <a:lnTo>
                    <a:pt x="2349208" y="581345"/>
                  </a:lnTo>
                  <a:lnTo>
                    <a:pt x="2334916" y="581345"/>
                  </a:lnTo>
                  <a:lnTo>
                    <a:pt x="2315856" y="576581"/>
                  </a:lnTo>
                  <a:lnTo>
                    <a:pt x="2296792" y="567051"/>
                  </a:lnTo>
                  <a:lnTo>
                    <a:pt x="2277732" y="562285"/>
                  </a:lnTo>
                  <a:lnTo>
                    <a:pt x="2272968" y="552755"/>
                  </a:lnTo>
                  <a:lnTo>
                    <a:pt x="2277732" y="533695"/>
                  </a:lnTo>
                  <a:lnTo>
                    <a:pt x="2282496" y="524163"/>
                  </a:lnTo>
                  <a:lnTo>
                    <a:pt x="2296792" y="519399"/>
                  </a:lnTo>
                  <a:lnTo>
                    <a:pt x="2311088" y="519399"/>
                  </a:lnTo>
                  <a:lnTo>
                    <a:pt x="2325384" y="509869"/>
                  </a:lnTo>
                  <a:lnTo>
                    <a:pt x="2330148" y="509869"/>
                  </a:lnTo>
                  <a:lnTo>
                    <a:pt x="2330148" y="500339"/>
                  </a:lnTo>
                  <a:lnTo>
                    <a:pt x="2330148" y="495573"/>
                  </a:lnTo>
                  <a:lnTo>
                    <a:pt x="2320620" y="486043"/>
                  </a:lnTo>
                  <a:lnTo>
                    <a:pt x="2311088" y="486043"/>
                  </a:lnTo>
                  <a:lnTo>
                    <a:pt x="2301560" y="490809"/>
                  </a:lnTo>
                  <a:lnTo>
                    <a:pt x="2287264" y="495573"/>
                  </a:lnTo>
                  <a:lnTo>
                    <a:pt x="2263436" y="486043"/>
                  </a:lnTo>
                  <a:lnTo>
                    <a:pt x="2244376" y="476513"/>
                  </a:lnTo>
                  <a:lnTo>
                    <a:pt x="2244376" y="466983"/>
                  </a:lnTo>
                  <a:lnTo>
                    <a:pt x="2258672" y="452687"/>
                  </a:lnTo>
                  <a:lnTo>
                    <a:pt x="2263436" y="443157"/>
                  </a:lnTo>
                  <a:lnTo>
                    <a:pt x="2263436" y="409801"/>
                  </a:lnTo>
                  <a:lnTo>
                    <a:pt x="2268204" y="385975"/>
                  </a:lnTo>
                  <a:lnTo>
                    <a:pt x="2282496" y="371679"/>
                  </a:lnTo>
                  <a:lnTo>
                    <a:pt x="2301560" y="362149"/>
                  </a:lnTo>
                  <a:lnTo>
                    <a:pt x="2339680" y="376445"/>
                  </a:lnTo>
                  <a:lnTo>
                    <a:pt x="2392096" y="390741"/>
                  </a:lnTo>
                  <a:lnTo>
                    <a:pt x="2401628" y="390741"/>
                  </a:lnTo>
                  <a:lnTo>
                    <a:pt x="2401628" y="381211"/>
                  </a:lnTo>
                  <a:lnTo>
                    <a:pt x="2411156" y="376445"/>
                  </a:lnTo>
                  <a:lnTo>
                    <a:pt x="2482632" y="371679"/>
                  </a:lnTo>
                  <a:lnTo>
                    <a:pt x="2496928" y="366915"/>
                  </a:lnTo>
                  <a:lnTo>
                    <a:pt x="2501696" y="357385"/>
                  </a:lnTo>
                  <a:lnTo>
                    <a:pt x="2573172" y="347855"/>
                  </a:lnTo>
                  <a:lnTo>
                    <a:pt x="2577936" y="338325"/>
                  </a:lnTo>
                  <a:lnTo>
                    <a:pt x="2587468" y="328793"/>
                  </a:lnTo>
                  <a:lnTo>
                    <a:pt x="2606528" y="328793"/>
                  </a:lnTo>
                  <a:lnTo>
                    <a:pt x="2625588" y="328793"/>
                  </a:lnTo>
                  <a:lnTo>
                    <a:pt x="2649412" y="319263"/>
                  </a:lnTo>
                  <a:lnTo>
                    <a:pt x="2668472" y="309733"/>
                  </a:lnTo>
                  <a:lnTo>
                    <a:pt x="2673240" y="309733"/>
                  </a:lnTo>
                  <a:lnTo>
                    <a:pt x="2692300" y="314499"/>
                  </a:lnTo>
                  <a:lnTo>
                    <a:pt x="2716124" y="304969"/>
                  </a:lnTo>
                  <a:lnTo>
                    <a:pt x="2720888" y="300203"/>
                  </a:lnTo>
                  <a:lnTo>
                    <a:pt x="2725656" y="295437"/>
                  </a:lnTo>
                  <a:lnTo>
                    <a:pt x="2744716" y="285907"/>
                  </a:lnTo>
                  <a:lnTo>
                    <a:pt x="2787600" y="271613"/>
                  </a:lnTo>
                  <a:lnTo>
                    <a:pt x="2797132" y="281143"/>
                  </a:lnTo>
                  <a:lnTo>
                    <a:pt x="2816192" y="281143"/>
                  </a:lnTo>
                  <a:lnTo>
                    <a:pt x="2840016" y="276377"/>
                  </a:lnTo>
                  <a:lnTo>
                    <a:pt x="2859080" y="271613"/>
                  </a:lnTo>
                  <a:lnTo>
                    <a:pt x="2873372" y="276377"/>
                  </a:lnTo>
                  <a:lnTo>
                    <a:pt x="2887668" y="285907"/>
                  </a:lnTo>
                  <a:lnTo>
                    <a:pt x="2897200" y="281143"/>
                  </a:lnTo>
                  <a:lnTo>
                    <a:pt x="2901964" y="257317"/>
                  </a:lnTo>
                  <a:lnTo>
                    <a:pt x="2906728" y="238257"/>
                  </a:lnTo>
                  <a:lnTo>
                    <a:pt x="2921024" y="228727"/>
                  </a:lnTo>
                  <a:lnTo>
                    <a:pt x="2930556" y="223961"/>
                  </a:lnTo>
                  <a:lnTo>
                    <a:pt x="2940084" y="219195"/>
                  </a:lnTo>
                  <a:lnTo>
                    <a:pt x="2944852" y="209665"/>
                  </a:lnTo>
                  <a:lnTo>
                    <a:pt x="2982972" y="209665"/>
                  </a:lnTo>
                  <a:lnTo>
                    <a:pt x="3016328" y="190605"/>
                  </a:lnTo>
                  <a:lnTo>
                    <a:pt x="3021092" y="200135"/>
                  </a:lnTo>
                  <a:lnTo>
                    <a:pt x="3063980" y="195371"/>
                  </a:lnTo>
                  <a:lnTo>
                    <a:pt x="3116396" y="185839"/>
                  </a:lnTo>
                  <a:lnTo>
                    <a:pt x="3144984" y="176309"/>
                  </a:lnTo>
                  <a:lnTo>
                    <a:pt x="3197404" y="166779"/>
                  </a:lnTo>
                  <a:lnTo>
                    <a:pt x="3225992" y="152484"/>
                  </a:lnTo>
                  <a:lnTo>
                    <a:pt x="3259348" y="147719"/>
                  </a:lnTo>
                  <a:lnTo>
                    <a:pt x="3292704" y="142954"/>
                  </a:lnTo>
                  <a:lnTo>
                    <a:pt x="3311764" y="123893"/>
                  </a:lnTo>
                  <a:lnTo>
                    <a:pt x="3330824" y="119128"/>
                  </a:lnTo>
                  <a:lnTo>
                    <a:pt x="3349888" y="119128"/>
                  </a:lnTo>
                  <a:lnTo>
                    <a:pt x="3364184" y="114363"/>
                  </a:lnTo>
                  <a:lnTo>
                    <a:pt x="3373712" y="104833"/>
                  </a:lnTo>
                  <a:lnTo>
                    <a:pt x="3378476" y="95303"/>
                  </a:lnTo>
                  <a:lnTo>
                    <a:pt x="3373712" y="76242"/>
                  </a:lnTo>
                  <a:lnTo>
                    <a:pt x="3373712" y="61947"/>
                  </a:lnTo>
                  <a:lnTo>
                    <a:pt x="3388008" y="57182"/>
                  </a:lnTo>
                  <a:lnTo>
                    <a:pt x="3407068" y="52416"/>
                  </a:lnTo>
                  <a:lnTo>
                    <a:pt x="3421364" y="52416"/>
                  </a:lnTo>
                  <a:lnTo>
                    <a:pt x="3449956" y="23826"/>
                  </a:lnTo>
                  <a:lnTo>
                    <a:pt x="3473780" y="9530"/>
                  </a:lnTo>
                  <a:close/>
                </a:path>
              </a:pathLst>
            </a:custGeom>
            <a:solidFill>
              <a:srgbClr val="0F3966"/>
            </a:solidFill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0" name="Line 5500">
              <a:extLst>
                <a:ext uri="{FF2B5EF4-FFF2-40B4-BE49-F238E27FC236}">
                  <a16:creationId xmlns:a16="http://schemas.microsoft.com/office/drawing/2014/main" id="{3C5C8A88-CFFD-40B5-8359-3B1310E6833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069157" y="3730442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1" name="Line 5506">
              <a:extLst>
                <a:ext uri="{FF2B5EF4-FFF2-40B4-BE49-F238E27FC236}">
                  <a16:creationId xmlns:a16="http://schemas.microsoft.com/office/drawing/2014/main" id="{9E874C29-E899-496B-B058-E94148545EE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069157" y="3730442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2" name="Freeform 5513">
              <a:extLst>
                <a:ext uri="{FF2B5EF4-FFF2-40B4-BE49-F238E27FC236}">
                  <a16:creationId xmlns:a16="http://schemas.microsoft.com/office/drawing/2014/main" id="{00AF2E24-F9B9-4CAA-8ADD-61633B57AE31}"/>
                </a:ext>
              </a:extLst>
            </p:cNvPr>
            <p:cNvSpPr/>
            <p:nvPr/>
          </p:nvSpPr>
          <p:spPr bwMode="auto">
            <a:xfrm>
              <a:off x="7047573" y="4195281"/>
              <a:ext cx="278287" cy="135674"/>
            </a:xfrm>
            <a:custGeom>
              <a:avLst/>
              <a:gdLst>
                <a:gd name="T0" fmla="*/ 674 w 722"/>
                <a:gd name="T1" fmla="*/ 70 h 352"/>
                <a:gd name="T2" fmla="*/ 650 w 722"/>
                <a:gd name="T3" fmla="*/ 42 h 352"/>
                <a:gd name="T4" fmla="*/ 610 w 722"/>
                <a:gd name="T5" fmla="*/ 34 h 352"/>
                <a:gd name="T6" fmla="*/ 544 w 722"/>
                <a:gd name="T7" fmla="*/ 32 h 352"/>
                <a:gd name="T8" fmla="*/ 506 w 722"/>
                <a:gd name="T9" fmla="*/ 24 h 352"/>
                <a:gd name="T10" fmla="*/ 430 w 722"/>
                <a:gd name="T11" fmla="*/ 28 h 352"/>
                <a:gd name="T12" fmla="*/ 354 w 722"/>
                <a:gd name="T13" fmla="*/ 18 h 352"/>
                <a:gd name="T14" fmla="*/ 310 w 722"/>
                <a:gd name="T15" fmla="*/ 4 h 352"/>
                <a:gd name="T16" fmla="*/ 276 w 722"/>
                <a:gd name="T17" fmla="*/ 58 h 352"/>
                <a:gd name="T18" fmla="*/ 238 w 722"/>
                <a:gd name="T19" fmla="*/ 62 h 352"/>
                <a:gd name="T20" fmla="*/ 192 w 722"/>
                <a:gd name="T21" fmla="*/ 44 h 352"/>
                <a:gd name="T22" fmla="*/ 144 w 722"/>
                <a:gd name="T23" fmla="*/ 42 h 352"/>
                <a:gd name="T24" fmla="*/ 114 w 722"/>
                <a:gd name="T25" fmla="*/ 74 h 352"/>
                <a:gd name="T26" fmla="*/ 126 w 722"/>
                <a:gd name="T27" fmla="*/ 90 h 352"/>
                <a:gd name="T28" fmla="*/ 108 w 722"/>
                <a:gd name="T29" fmla="*/ 108 h 352"/>
                <a:gd name="T30" fmla="*/ 80 w 722"/>
                <a:gd name="T31" fmla="*/ 136 h 352"/>
                <a:gd name="T32" fmla="*/ 82 w 722"/>
                <a:gd name="T33" fmla="*/ 162 h 352"/>
                <a:gd name="T34" fmla="*/ 114 w 722"/>
                <a:gd name="T35" fmla="*/ 182 h 352"/>
                <a:gd name="T36" fmla="*/ 144 w 722"/>
                <a:gd name="T37" fmla="*/ 186 h 352"/>
                <a:gd name="T38" fmla="*/ 158 w 722"/>
                <a:gd name="T39" fmla="*/ 160 h 352"/>
                <a:gd name="T40" fmla="*/ 162 w 722"/>
                <a:gd name="T41" fmla="*/ 160 h 352"/>
                <a:gd name="T42" fmla="*/ 186 w 722"/>
                <a:gd name="T43" fmla="*/ 184 h 352"/>
                <a:gd name="T44" fmla="*/ 196 w 722"/>
                <a:gd name="T45" fmla="*/ 198 h 352"/>
                <a:gd name="T46" fmla="*/ 226 w 722"/>
                <a:gd name="T47" fmla="*/ 210 h 352"/>
                <a:gd name="T48" fmla="*/ 256 w 722"/>
                <a:gd name="T49" fmla="*/ 216 h 352"/>
                <a:gd name="T50" fmla="*/ 220 w 722"/>
                <a:gd name="T51" fmla="*/ 240 h 352"/>
                <a:gd name="T52" fmla="*/ 208 w 722"/>
                <a:gd name="T53" fmla="*/ 248 h 352"/>
                <a:gd name="T54" fmla="*/ 190 w 722"/>
                <a:gd name="T55" fmla="*/ 248 h 352"/>
                <a:gd name="T56" fmla="*/ 168 w 722"/>
                <a:gd name="T57" fmla="*/ 268 h 352"/>
                <a:gd name="T58" fmla="*/ 150 w 722"/>
                <a:gd name="T59" fmla="*/ 266 h 352"/>
                <a:gd name="T60" fmla="*/ 114 w 722"/>
                <a:gd name="T61" fmla="*/ 264 h 352"/>
                <a:gd name="T62" fmla="*/ 90 w 722"/>
                <a:gd name="T63" fmla="*/ 288 h 352"/>
                <a:gd name="T64" fmla="*/ 56 w 722"/>
                <a:gd name="T65" fmla="*/ 270 h 352"/>
                <a:gd name="T66" fmla="*/ 16 w 722"/>
                <a:gd name="T67" fmla="*/ 286 h 352"/>
                <a:gd name="T68" fmla="*/ 4 w 722"/>
                <a:gd name="T69" fmla="*/ 292 h 352"/>
                <a:gd name="T70" fmla="*/ 16 w 722"/>
                <a:gd name="T71" fmla="*/ 324 h 352"/>
                <a:gd name="T72" fmla="*/ 60 w 722"/>
                <a:gd name="T73" fmla="*/ 322 h 352"/>
                <a:gd name="T74" fmla="*/ 88 w 722"/>
                <a:gd name="T75" fmla="*/ 322 h 352"/>
                <a:gd name="T76" fmla="*/ 120 w 722"/>
                <a:gd name="T77" fmla="*/ 328 h 352"/>
                <a:gd name="T78" fmla="*/ 148 w 722"/>
                <a:gd name="T79" fmla="*/ 318 h 352"/>
                <a:gd name="T80" fmla="*/ 160 w 722"/>
                <a:gd name="T81" fmla="*/ 332 h 352"/>
                <a:gd name="T82" fmla="*/ 182 w 722"/>
                <a:gd name="T83" fmla="*/ 340 h 352"/>
                <a:gd name="T84" fmla="*/ 200 w 722"/>
                <a:gd name="T85" fmla="*/ 346 h 352"/>
                <a:gd name="T86" fmla="*/ 244 w 722"/>
                <a:gd name="T87" fmla="*/ 340 h 352"/>
                <a:gd name="T88" fmla="*/ 286 w 722"/>
                <a:gd name="T89" fmla="*/ 332 h 352"/>
                <a:gd name="T90" fmla="*/ 308 w 722"/>
                <a:gd name="T91" fmla="*/ 318 h 352"/>
                <a:gd name="T92" fmla="*/ 310 w 722"/>
                <a:gd name="T93" fmla="*/ 286 h 352"/>
                <a:gd name="T94" fmla="*/ 354 w 722"/>
                <a:gd name="T95" fmla="*/ 262 h 352"/>
                <a:gd name="T96" fmla="*/ 366 w 722"/>
                <a:gd name="T97" fmla="*/ 246 h 352"/>
                <a:gd name="T98" fmla="*/ 414 w 722"/>
                <a:gd name="T99" fmla="*/ 230 h 352"/>
                <a:gd name="T100" fmla="*/ 436 w 722"/>
                <a:gd name="T101" fmla="*/ 260 h 352"/>
                <a:gd name="T102" fmla="*/ 466 w 722"/>
                <a:gd name="T103" fmla="*/ 254 h 352"/>
                <a:gd name="T104" fmla="*/ 486 w 722"/>
                <a:gd name="T105" fmla="*/ 222 h 352"/>
                <a:gd name="T106" fmla="*/ 522 w 722"/>
                <a:gd name="T107" fmla="*/ 198 h 352"/>
                <a:gd name="T108" fmla="*/ 584 w 722"/>
                <a:gd name="T109" fmla="*/ 192 h 352"/>
                <a:gd name="T110" fmla="*/ 624 w 722"/>
                <a:gd name="T111" fmla="*/ 150 h 352"/>
                <a:gd name="T112" fmla="*/ 696 w 722"/>
                <a:gd name="T113" fmla="*/ 112 h 352"/>
                <a:gd name="T114" fmla="*/ 720 w 722"/>
                <a:gd name="T115" fmla="*/ 94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22" h="352">
                  <a:moveTo>
                    <a:pt x="720" y="94"/>
                  </a:moveTo>
                  <a:lnTo>
                    <a:pt x="712" y="84"/>
                  </a:lnTo>
                  <a:lnTo>
                    <a:pt x="702" y="74"/>
                  </a:lnTo>
                  <a:lnTo>
                    <a:pt x="694" y="72"/>
                  </a:lnTo>
                  <a:lnTo>
                    <a:pt x="680" y="70"/>
                  </a:lnTo>
                  <a:lnTo>
                    <a:pt x="674" y="70"/>
                  </a:lnTo>
                  <a:lnTo>
                    <a:pt x="670" y="68"/>
                  </a:lnTo>
                  <a:lnTo>
                    <a:pt x="666" y="62"/>
                  </a:lnTo>
                  <a:lnTo>
                    <a:pt x="660" y="58"/>
                  </a:lnTo>
                  <a:lnTo>
                    <a:pt x="654" y="52"/>
                  </a:lnTo>
                  <a:lnTo>
                    <a:pt x="652" y="44"/>
                  </a:lnTo>
                  <a:lnTo>
                    <a:pt x="650" y="42"/>
                  </a:lnTo>
                  <a:lnTo>
                    <a:pt x="644" y="44"/>
                  </a:lnTo>
                  <a:lnTo>
                    <a:pt x="638" y="44"/>
                  </a:lnTo>
                  <a:lnTo>
                    <a:pt x="634" y="42"/>
                  </a:lnTo>
                  <a:lnTo>
                    <a:pt x="628" y="40"/>
                  </a:lnTo>
                  <a:lnTo>
                    <a:pt x="618" y="38"/>
                  </a:lnTo>
                  <a:lnTo>
                    <a:pt x="610" y="34"/>
                  </a:lnTo>
                  <a:lnTo>
                    <a:pt x="600" y="34"/>
                  </a:lnTo>
                  <a:lnTo>
                    <a:pt x="594" y="34"/>
                  </a:lnTo>
                  <a:lnTo>
                    <a:pt x="578" y="34"/>
                  </a:lnTo>
                  <a:lnTo>
                    <a:pt x="562" y="32"/>
                  </a:lnTo>
                  <a:lnTo>
                    <a:pt x="550" y="32"/>
                  </a:lnTo>
                  <a:lnTo>
                    <a:pt x="544" y="3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6" y="30"/>
                  </a:lnTo>
                  <a:lnTo>
                    <a:pt x="514" y="24"/>
                  </a:lnTo>
                  <a:lnTo>
                    <a:pt x="510" y="24"/>
                  </a:lnTo>
                  <a:lnTo>
                    <a:pt x="506" y="24"/>
                  </a:lnTo>
                  <a:lnTo>
                    <a:pt x="486" y="28"/>
                  </a:lnTo>
                  <a:lnTo>
                    <a:pt x="478" y="30"/>
                  </a:lnTo>
                  <a:lnTo>
                    <a:pt x="458" y="30"/>
                  </a:lnTo>
                  <a:lnTo>
                    <a:pt x="440" y="28"/>
                  </a:lnTo>
                  <a:lnTo>
                    <a:pt x="434" y="28"/>
                  </a:lnTo>
                  <a:lnTo>
                    <a:pt x="430" y="28"/>
                  </a:lnTo>
                  <a:lnTo>
                    <a:pt x="424" y="38"/>
                  </a:lnTo>
                  <a:lnTo>
                    <a:pt x="420" y="38"/>
                  </a:lnTo>
                  <a:lnTo>
                    <a:pt x="402" y="36"/>
                  </a:lnTo>
                  <a:lnTo>
                    <a:pt x="382" y="30"/>
                  </a:lnTo>
                  <a:lnTo>
                    <a:pt x="366" y="24"/>
                  </a:lnTo>
                  <a:lnTo>
                    <a:pt x="354" y="18"/>
                  </a:lnTo>
                  <a:lnTo>
                    <a:pt x="338" y="6"/>
                  </a:lnTo>
                  <a:lnTo>
                    <a:pt x="328" y="0"/>
                  </a:lnTo>
                  <a:lnTo>
                    <a:pt x="326" y="4"/>
                  </a:lnTo>
                  <a:lnTo>
                    <a:pt x="322" y="4"/>
                  </a:lnTo>
                  <a:lnTo>
                    <a:pt x="320" y="6"/>
                  </a:lnTo>
                  <a:lnTo>
                    <a:pt x="310" y="4"/>
                  </a:lnTo>
                  <a:lnTo>
                    <a:pt x="306" y="10"/>
                  </a:lnTo>
                  <a:lnTo>
                    <a:pt x="294" y="14"/>
                  </a:lnTo>
                  <a:lnTo>
                    <a:pt x="288" y="18"/>
                  </a:lnTo>
                  <a:lnTo>
                    <a:pt x="284" y="22"/>
                  </a:lnTo>
                  <a:lnTo>
                    <a:pt x="278" y="48"/>
                  </a:lnTo>
                  <a:lnTo>
                    <a:pt x="276" y="58"/>
                  </a:lnTo>
                  <a:lnTo>
                    <a:pt x="280" y="74"/>
                  </a:lnTo>
                  <a:lnTo>
                    <a:pt x="274" y="74"/>
                  </a:lnTo>
                  <a:lnTo>
                    <a:pt x="268" y="70"/>
                  </a:lnTo>
                  <a:lnTo>
                    <a:pt x="266" y="66"/>
                  </a:lnTo>
                  <a:lnTo>
                    <a:pt x="260" y="64"/>
                  </a:lnTo>
                  <a:lnTo>
                    <a:pt x="238" y="62"/>
                  </a:lnTo>
                  <a:lnTo>
                    <a:pt x="234" y="58"/>
                  </a:lnTo>
                  <a:lnTo>
                    <a:pt x="232" y="54"/>
                  </a:lnTo>
                  <a:lnTo>
                    <a:pt x="226" y="52"/>
                  </a:lnTo>
                  <a:lnTo>
                    <a:pt x="218" y="52"/>
                  </a:lnTo>
                  <a:lnTo>
                    <a:pt x="200" y="44"/>
                  </a:lnTo>
                  <a:lnTo>
                    <a:pt x="192" y="44"/>
                  </a:lnTo>
                  <a:lnTo>
                    <a:pt x="170" y="38"/>
                  </a:lnTo>
                  <a:lnTo>
                    <a:pt x="166" y="38"/>
                  </a:lnTo>
                  <a:lnTo>
                    <a:pt x="164" y="38"/>
                  </a:lnTo>
                  <a:lnTo>
                    <a:pt x="156" y="42"/>
                  </a:lnTo>
                  <a:lnTo>
                    <a:pt x="150" y="44"/>
                  </a:lnTo>
                  <a:lnTo>
                    <a:pt x="144" y="42"/>
                  </a:lnTo>
                  <a:lnTo>
                    <a:pt x="134" y="46"/>
                  </a:lnTo>
                  <a:lnTo>
                    <a:pt x="128" y="52"/>
                  </a:lnTo>
                  <a:lnTo>
                    <a:pt x="122" y="60"/>
                  </a:lnTo>
                  <a:lnTo>
                    <a:pt x="118" y="64"/>
                  </a:lnTo>
                  <a:lnTo>
                    <a:pt x="116" y="70"/>
                  </a:lnTo>
                  <a:lnTo>
                    <a:pt x="114" y="74"/>
                  </a:lnTo>
                  <a:lnTo>
                    <a:pt x="110" y="82"/>
                  </a:lnTo>
                  <a:lnTo>
                    <a:pt x="110" y="86"/>
                  </a:lnTo>
                  <a:lnTo>
                    <a:pt x="114" y="90"/>
                  </a:lnTo>
                  <a:lnTo>
                    <a:pt x="116" y="88"/>
                  </a:lnTo>
                  <a:lnTo>
                    <a:pt x="118" y="86"/>
                  </a:lnTo>
                  <a:lnTo>
                    <a:pt x="126" y="90"/>
                  </a:lnTo>
                  <a:lnTo>
                    <a:pt x="130" y="92"/>
                  </a:lnTo>
                  <a:lnTo>
                    <a:pt x="132" y="94"/>
                  </a:lnTo>
                  <a:lnTo>
                    <a:pt x="132" y="96"/>
                  </a:lnTo>
                  <a:lnTo>
                    <a:pt x="118" y="104"/>
                  </a:lnTo>
                  <a:lnTo>
                    <a:pt x="110" y="108"/>
                  </a:lnTo>
                  <a:lnTo>
                    <a:pt x="108" y="108"/>
                  </a:lnTo>
                  <a:lnTo>
                    <a:pt x="106" y="110"/>
                  </a:lnTo>
                  <a:lnTo>
                    <a:pt x="104" y="118"/>
                  </a:lnTo>
                  <a:lnTo>
                    <a:pt x="98" y="120"/>
                  </a:lnTo>
                  <a:lnTo>
                    <a:pt x="92" y="122"/>
                  </a:lnTo>
                  <a:lnTo>
                    <a:pt x="88" y="126"/>
                  </a:lnTo>
                  <a:lnTo>
                    <a:pt x="80" y="136"/>
                  </a:lnTo>
                  <a:lnTo>
                    <a:pt x="62" y="148"/>
                  </a:lnTo>
                  <a:lnTo>
                    <a:pt x="62" y="152"/>
                  </a:lnTo>
                  <a:lnTo>
                    <a:pt x="64" y="154"/>
                  </a:lnTo>
                  <a:lnTo>
                    <a:pt x="70" y="156"/>
                  </a:lnTo>
                  <a:lnTo>
                    <a:pt x="78" y="160"/>
                  </a:lnTo>
                  <a:lnTo>
                    <a:pt x="82" y="162"/>
                  </a:lnTo>
                  <a:lnTo>
                    <a:pt x="94" y="158"/>
                  </a:lnTo>
                  <a:lnTo>
                    <a:pt x="96" y="160"/>
                  </a:lnTo>
                  <a:lnTo>
                    <a:pt x="100" y="164"/>
                  </a:lnTo>
                  <a:lnTo>
                    <a:pt x="102" y="176"/>
                  </a:lnTo>
                  <a:lnTo>
                    <a:pt x="108" y="180"/>
                  </a:lnTo>
                  <a:lnTo>
                    <a:pt x="114" y="182"/>
                  </a:lnTo>
                  <a:lnTo>
                    <a:pt x="118" y="182"/>
                  </a:lnTo>
                  <a:lnTo>
                    <a:pt x="124" y="186"/>
                  </a:lnTo>
                  <a:lnTo>
                    <a:pt x="132" y="186"/>
                  </a:lnTo>
                  <a:lnTo>
                    <a:pt x="136" y="186"/>
                  </a:lnTo>
                  <a:lnTo>
                    <a:pt x="142" y="188"/>
                  </a:lnTo>
                  <a:lnTo>
                    <a:pt x="144" y="186"/>
                  </a:lnTo>
                  <a:lnTo>
                    <a:pt x="144" y="168"/>
                  </a:lnTo>
                  <a:lnTo>
                    <a:pt x="150" y="172"/>
                  </a:lnTo>
                  <a:lnTo>
                    <a:pt x="152" y="172"/>
                  </a:lnTo>
                  <a:lnTo>
                    <a:pt x="156" y="170"/>
                  </a:lnTo>
                  <a:lnTo>
                    <a:pt x="156" y="166"/>
                  </a:lnTo>
                  <a:lnTo>
                    <a:pt x="158" y="160"/>
                  </a:lnTo>
                  <a:lnTo>
                    <a:pt x="156" y="154"/>
                  </a:lnTo>
                  <a:lnTo>
                    <a:pt x="158" y="152"/>
                  </a:lnTo>
                  <a:lnTo>
                    <a:pt x="160" y="152"/>
                  </a:lnTo>
                  <a:lnTo>
                    <a:pt x="162" y="152"/>
                  </a:lnTo>
                  <a:lnTo>
                    <a:pt x="162" y="154"/>
                  </a:lnTo>
                  <a:lnTo>
                    <a:pt x="162" y="160"/>
                  </a:lnTo>
                  <a:lnTo>
                    <a:pt x="166" y="162"/>
                  </a:lnTo>
                  <a:lnTo>
                    <a:pt x="168" y="162"/>
                  </a:lnTo>
                  <a:lnTo>
                    <a:pt x="172" y="172"/>
                  </a:lnTo>
                  <a:lnTo>
                    <a:pt x="174" y="182"/>
                  </a:lnTo>
                  <a:lnTo>
                    <a:pt x="180" y="182"/>
                  </a:lnTo>
                  <a:lnTo>
                    <a:pt x="186" y="184"/>
                  </a:lnTo>
                  <a:lnTo>
                    <a:pt x="190" y="182"/>
                  </a:lnTo>
                  <a:lnTo>
                    <a:pt x="192" y="184"/>
                  </a:lnTo>
                  <a:lnTo>
                    <a:pt x="194" y="188"/>
                  </a:lnTo>
                  <a:lnTo>
                    <a:pt x="194" y="192"/>
                  </a:lnTo>
                  <a:lnTo>
                    <a:pt x="194" y="196"/>
                  </a:lnTo>
                  <a:lnTo>
                    <a:pt x="196" y="198"/>
                  </a:lnTo>
                  <a:lnTo>
                    <a:pt x="202" y="196"/>
                  </a:lnTo>
                  <a:lnTo>
                    <a:pt x="206" y="196"/>
                  </a:lnTo>
                  <a:lnTo>
                    <a:pt x="210" y="198"/>
                  </a:lnTo>
                  <a:lnTo>
                    <a:pt x="216" y="200"/>
                  </a:lnTo>
                  <a:lnTo>
                    <a:pt x="222" y="208"/>
                  </a:lnTo>
                  <a:lnTo>
                    <a:pt x="226" y="210"/>
                  </a:lnTo>
                  <a:lnTo>
                    <a:pt x="236" y="210"/>
                  </a:lnTo>
                  <a:lnTo>
                    <a:pt x="240" y="212"/>
                  </a:lnTo>
                  <a:lnTo>
                    <a:pt x="242" y="212"/>
                  </a:lnTo>
                  <a:lnTo>
                    <a:pt x="248" y="210"/>
                  </a:lnTo>
                  <a:lnTo>
                    <a:pt x="256" y="214"/>
                  </a:lnTo>
                  <a:lnTo>
                    <a:pt x="256" y="216"/>
                  </a:lnTo>
                  <a:lnTo>
                    <a:pt x="256" y="218"/>
                  </a:lnTo>
                  <a:lnTo>
                    <a:pt x="232" y="230"/>
                  </a:lnTo>
                  <a:lnTo>
                    <a:pt x="232" y="232"/>
                  </a:lnTo>
                  <a:lnTo>
                    <a:pt x="226" y="238"/>
                  </a:lnTo>
                  <a:lnTo>
                    <a:pt x="222" y="240"/>
                  </a:lnTo>
                  <a:lnTo>
                    <a:pt x="220" y="240"/>
                  </a:lnTo>
                  <a:lnTo>
                    <a:pt x="208" y="236"/>
                  </a:lnTo>
                  <a:lnTo>
                    <a:pt x="208" y="236"/>
                  </a:lnTo>
                  <a:lnTo>
                    <a:pt x="206" y="238"/>
                  </a:lnTo>
                  <a:lnTo>
                    <a:pt x="206" y="240"/>
                  </a:lnTo>
                  <a:lnTo>
                    <a:pt x="208" y="246"/>
                  </a:lnTo>
                  <a:lnTo>
                    <a:pt x="208" y="248"/>
                  </a:lnTo>
                  <a:lnTo>
                    <a:pt x="206" y="250"/>
                  </a:lnTo>
                  <a:lnTo>
                    <a:pt x="198" y="248"/>
                  </a:lnTo>
                  <a:lnTo>
                    <a:pt x="198" y="248"/>
                  </a:lnTo>
                  <a:lnTo>
                    <a:pt x="198" y="246"/>
                  </a:lnTo>
                  <a:lnTo>
                    <a:pt x="194" y="246"/>
                  </a:lnTo>
                  <a:lnTo>
                    <a:pt x="190" y="248"/>
                  </a:lnTo>
                  <a:lnTo>
                    <a:pt x="184" y="256"/>
                  </a:lnTo>
                  <a:lnTo>
                    <a:pt x="180" y="260"/>
                  </a:lnTo>
                  <a:lnTo>
                    <a:pt x="180" y="262"/>
                  </a:lnTo>
                  <a:lnTo>
                    <a:pt x="176" y="264"/>
                  </a:lnTo>
                  <a:lnTo>
                    <a:pt x="172" y="264"/>
                  </a:lnTo>
                  <a:lnTo>
                    <a:pt x="168" y="268"/>
                  </a:lnTo>
                  <a:lnTo>
                    <a:pt x="162" y="272"/>
                  </a:lnTo>
                  <a:lnTo>
                    <a:pt x="160" y="270"/>
                  </a:lnTo>
                  <a:lnTo>
                    <a:pt x="160" y="266"/>
                  </a:lnTo>
                  <a:lnTo>
                    <a:pt x="158" y="266"/>
                  </a:lnTo>
                  <a:lnTo>
                    <a:pt x="154" y="266"/>
                  </a:lnTo>
                  <a:lnTo>
                    <a:pt x="150" y="266"/>
                  </a:lnTo>
                  <a:lnTo>
                    <a:pt x="146" y="264"/>
                  </a:lnTo>
                  <a:lnTo>
                    <a:pt x="142" y="262"/>
                  </a:lnTo>
                  <a:lnTo>
                    <a:pt x="136" y="260"/>
                  </a:lnTo>
                  <a:lnTo>
                    <a:pt x="122" y="262"/>
                  </a:lnTo>
                  <a:lnTo>
                    <a:pt x="116" y="264"/>
                  </a:lnTo>
                  <a:lnTo>
                    <a:pt x="114" y="264"/>
                  </a:lnTo>
                  <a:lnTo>
                    <a:pt x="114" y="266"/>
                  </a:lnTo>
                  <a:lnTo>
                    <a:pt x="114" y="268"/>
                  </a:lnTo>
                  <a:lnTo>
                    <a:pt x="100" y="274"/>
                  </a:lnTo>
                  <a:lnTo>
                    <a:pt x="94" y="278"/>
                  </a:lnTo>
                  <a:lnTo>
                    <a:pt x="92" y="286"/>
                  </a:lnTo>
                  <a:lnTo>
                    <a:pt x="90" y="288"/>
                  </a:lnTo>
                  <a:lnTo>
                    <a:pt x="88" y="288"/>
                  </a:lnTo>
                  <a:lnTo>
                    <a:pt x="84" y="290"/>
                  </a:lnTo>
                  <a:lnTo>
                    <a:pt x="80" y="280"/>
                  </a:lnTo>
                  <a:lnTo>
                    <a:pt x="76" y="278"/>
                  </a:lnTo>
                  <a:lnTo>
                    <a:pt x="70" y="276"/>
                  </a:lnTo>
                  <a:lnTo>
                    <a:pt x="56" y="270"/>
                  </a:lnTo>
                  <a:lnTo>
                    <a:pt x="50" y="268"/>
                  </a:lnTo>
                  <a:lnTo>
                    <a:pt x="36" y="272"/>
                  </a:lnTo>
                  <a:lnTo>
                    <a:pt x="20" y="276"/>
                  </a:lnTo>
                  <a:lnTo>
                    <a:pt x="18" y="280"/>
                  </a:lnTo>
                  <a:lnTo>
                    <a:pt x="16" y="284"/>
                  </a:lnTo>
                  <a:lnTo>
                    <a:pt x="16" y="286"/>
                  </a:lnTo>
                  <a:lnTo>
                    <a:pt x="18" y="290"/>
                  </a:lnTo>
                  <a:lnTo>
                    <a:pt x="16" y="292"/>
                  </a:lnTo>
                  <a:lnTo>
                    <a:pt x="14" y="292"/>
                  </a:lnTo>
                  <a:lnTo>
                    <a:pt x="10" y="290"/>
                  </a:lnTo>
                  <a:lnTo>
                    <a:pt x="6" y="288"/>
                  </a:lnTo>
                  <a:lnTo>
                    <a:pt x="4" y="292"/>
                  </a:lnTo>
                  <a:lnTo>
                    <a:pt x="2" y="300"/>
                  </a:lnTo>
                  <a:lnTo>
                    <a:pt x="0" y="306"/>
                  </a:lnTo>
                  <a:lnTo>
                    <a:pt x="4" y="314"/>
                  </a:lnTo>
                  <a:lnTo>
                    <a:pt x="4" y="326"/>
                  </a:lnTo>
                  <a:lnTo>
                    <a:pt x="12" y="324"/>
                  </a:lnTo>
                  <a:lnTo>
                    <a:pt x="16" y="324"/>
                  </a:lnTo>
                  <a:lnTo>
                    <a:pt x="24" y="322"/>
                  </a:lnTo>
                  <a:lnTo>
                    <a:pt x="30" y="322"/>
                  </a:lnTo>
                  <a:lnTo>
                    <a:pt x="36" y="322"/>
                  </a:lnTo>
                  <a:lnTo>
                    <a:pt x="48" y="322"/>
                  </a:lnTo>
                  <a:lnTo>
                    <a:pt x="58" y="322"/>
                  </a:lnTo>
                  <a:lnTo>
                    <a:pt x="60" y="322"/>
                  </a:lnTo>
                  <a:lnTo>
                    <a:pt x="62" y="320"/>
                  </a:lnTo>
                  <a:lnTo>
                    <a:pt x="64" y="322"/>
                  </a:lnTo>
                  <a:lnTo>
                    <a:pt x="68" y="324"/>
                  </a:lnTo>
                  <a:lnTo>
                    <a:pt x="76" y="320"/>
                  </a:lnTo>
                  <a:lnTo>
                    <a:pt x="84" y="320"/>
                  </a:lnTo>
                  <a:lnTo>
                    <a:pt x="88" y="322"/>
                  </a:lnTo>
                  <a:lnTo>
                    <a:pt x="92" y="322"/>
                  </a:lnTo>
                  <a:lnTo>
                    <a:pt x="96" y="330"/>
                  </a:lnTo>
                  <a:lnTo>
                    <a:pt x="100" y="334"/>
                  </a:lnTo>
                  <a:lnTo>
                    <a:pt x="104" y="336"/>
                  </a:lnTo>
                  <a:lnTo>
                    <a:pt x="116" y="336"/>
                  </a:lnTo>
                  <a:lnTo>
                    <a:pt x="120" y="328"/>
                  </a:lnTo>
                  <a:lnTo>
                    <a:pt x="124" y="326"/>
                  </a:lnTo>
                  <a:lnTo>
                    <a:pt x="130" y="326"/>
                  </a:lnTo>
                  <a:lnTo>
                    <a:pt x="134" y="324"/>
                  </a:lnTo>
                  <a:lnTo>
                    <a:pt x="138" y="322"/>
                  </a:lnTo>
                  <a:lnTo>
                    <a:pt x="144" y="320"/>
                  </a:lnTo>
                  <a:lnTo>
                    <a:pt x="148" y="318"/>
                  </a:lnTo>
                  <a:lnTo>
                    <a:pt x="150" y="320"/>
                  </a:lnTo>
                  <a:lnTo>
                    <a:pt x="150" y="322"/>
                  </a:lnTo>
                  <a:lnTo>
                    <a:pt x="150" y="326"/>
                  </a:lnTo>
                  <a:lnTo>
                    <a:pt x="150" y="330"/>
                  </a:lnTo>
                  <a:lnTo>
                    <a:pt x="152" y="332"/>
                  </a:lnTo>
                  <a:lnTo>
                    <a:pt x="160" y="332"/>
                  </a:lnTo>
                  <a:lnTo>
                    <a:pt x="164" y="334"/>
                  </a:lnTo>
                  <a:lnTo>
                    <a:pt x="164" y="338"/>
                  </a:lnTo>
                  <a:lnTo>
                    <a:pt x="164" y="344"/>
                  </a:lnTo>
                  <a:lnTo>
                    <a:pt x="168" y="346"/>
                  </a:lnTo>
                  <a:lnTo>
                    <a:pt x="170" y="346"/>
                  </a:lnTo>
                  <a:lnTo>
                    <a:pt x="182" y="340"/>
                  </a:lnTo>
                  <a:lnTo>
                    <a:pt x="184" y="340"/>
                  </a:lnTo>
                  <a:lnTo>
                    <a:pt x="188" y="344"/>
                  </a:lnTo>
                  <a:lnTo>
                    <a:pt x="192" y="348"/>
                  </a:lnTo>
                  <a:lnTo>
                    <a:pt x="198" y="352"/>
                  </a:lnTo>
                  <a:lnTo>
                    <a:pt x="198" y="352"/>
                  </a:lnTo>
                  <a:lnTo>
                    <a:pt x="200" y="346"/>
                  </a:lnTo>
                  <a:lnTo>
                    <a:pt x="206" y="342"/>
                  </a:lnTo>
                  <a:lnTo>
                    <a:pt x="214" y="340"/>
                  </a:lnTo>
                  <a:lnTo>
                    <a:pt x="220" y="338"/>
                  </a:lnTo>
                  <a:lnTo>
                    <a:pt x="224" y="338"/>
                  </a:lnTo>
                  <a:lnTo>
                    <a:pt x="240" y="340"/>
                  </a:lnTo>
                  <a:lnTo>
                    <a:pt x="244" y="340"/>
                  </a:lnTo>
                  <a:lnTo>
                    <a:pt x="256" y="340"/>
                  </a:lnTo>
                  <a:lnTo>
                    <a:pt x="264" y="338"/>
                  </a:lnTo>
                  <a:lnTo>
                    <a:pt x="270" y="336"/>
                  </a:lnTo>
                  <a:lnTo>
                    <a:pt x="274" y="332"/>
                  </a:lnTo>
                  <a:lnTo>
                    <a:pt x="278" y="330"/>
                  </a:lnTo>
                  <a:lnTo>
                    <a:pt x="286" y="332"/>
                  </a:lnTo>
                  <a:lnTo>
                    <a:pt x="290" y="332"/>
                  </a:lnTo>
                  <a:lnTo>
                    <a:pt x="294" y="330"/>
                  </a:lnTo>
                  <a:lnTo>
                    <a:pt x="302" y="328"/>
                  </a:lnTo>
                  <a:lnTo>
                    <a:pt x="306" y="324"/>
                  </a:lnTo>
                  <a:lnTo>
                    <a:pt x="308" y="320"/>
                  </a:lnTo>
                  <a:lnTo>
                    <a:pt x="308" y="318"/>
                  </a:lnTo>
                  <a:lnTo>
                    <a:pt x="306" y="310"/>
                  </a:lnTo>
                  <a:lnTo>
                    <a:pt x="302" y="306"/>
                  </a:lnTo>
                  <a:lnTo>
                    <a:pt x="302" y="302"/>
                  </a:lnTo>
                  <a:lnTo>
                    <a:pt x="304" y="300"/>
                  </a:lnTo>
                  <a:lnTo>
                    <a:pt x="306" y="296"/>
                  </a:lnTo>
                  <a:lnTo>
                    <a:pt x="310" y="286"/>
                  </a:lnTo>
                  <a:lnTo>
                    <a:pt x="312" y="282"/>
                  </a:lnTo>
                  <a:lnTo>
                    <a:pt x="314" y="280"/>
                  </a:lnTo>
                  <a:lnTo>
                    <a:pt x="320" y="278"/>
                  </a:lnTo>
                  <a:lnTo>
                    <a:pt x="330" y="278"/>
                  </a:lnTo>
                  <a:lnTo>
                    <a:pt x="340" y="274"/>
                  </a:lnTo>
                  <a:lnTo>
                    <a:pt x="354" y="262"/>
                  </a:lnTo>
                  <a:lnTo>
                    <a:pt x="358" y="258"/>
                  </a:lnTo>
                  <a:lnTo>
                    <a:pt x="364" y="256"/>
                  </a:lnTo>
                  <a:lnTo>
                    <a:pt x="368" y="256"/>
                  </a:lnTo>
                  <a:lnTo>
                    <a:pt x="368" y="256"/>
                  </a:lnTo>
                  <a:lnTo>
                    <a:pt x="366" y="248"/>
                  </a:lnTo>
                  <a:lnTo>
                    <a:pt x="366" y="246"/>
                  </a:lnTo>
                  <a:lnTo>
                    <a:pt x="368" y="244"/>
                  </a:lnTo>
                  <a:lnTo>
                    <a:pt x="370" y="242"/>
                  </a:lnTo>
                  <a:lnTo>
                    <a:pt x="380" y="246"/>
                  </a:lnTo>
                  <a:lnTo>
                    <a:pt x="386" y="246"/>
                  </a:lnTo>
                  <a:lnTo>
                    <a:pt x="394" y="244"/>
                  </a:lnTo>
                  <a:lnTo>
                    <a:pt x="414" y="230"/>
                  </a:lnTo>
                  <a:lnTo>
                    <a:pt x="416" y="232"/>
                  </a:lnTo>
                  <a:lnTo>
                    <a:pt x="416" y="232"/>
                  </a:lnTo>
                  <a:lnTo>
                    <a:pt x="420" y="240"/>
                  </a:lnTo>
                  <a:lnTo>
                    <a:pt x="422" y="256"/>
                  </a:lnTo>
                  <a:lnTo>
                    <a:pt x="424" y="258"/>
                  </a:lnTo>
                  <a:lnTo>
                    <a:pt x="436" y="260"/>
                  </a:lnTo>
                  <a:lnTo>
                    <a:pt x="444" y="254"/>
                  </a:lnTo>
                  <a:lnTo>
                    <a:pt x="448" y="252"/>
                  </a:lnTo>
                  <a:lnTo>
                    <a:pt x="454" y="252"/>
                  </a:lnTo>
                  <a:lnTo>
                    <a:pt x="458" y="250"/>
                  </a:lnTo>
                  <a:lnTo>
                    <a:pt x="462" y="248"/>
                  </a:lnTo>
                  <a:lnTo>
                    <a:pt x="466" y="254"/>
                  </a:lnTo>
                  <a:lnTo>
                    <a:pt x="470" y="252"/>
                  </a:lnTo>
                  <a:lnTo>
                    <a:pt x="476" y="246"/>
                  </a:lnTo>
                  <a:lnTo>
                    <a:pt x="478" y="240"/>
                  </a:lnTo>
                  <a:lnTo>
                    <a:pt x="482" y="236"/>
                  </a:lnTo>
                  <a:lnTo>
                    <a:pt x="486" y="228"/>
                  </a:lnTo>
                  <a:lnTo>
                    <a:pt x="486" y="222"/>
                  </a:lnTo>
                  <a:lnTo>
                    <a:pt x="488" y="218"/>
                  </a:lnTo>
                  <a:lnTo>
                    <a:pt x="492" y="214"/>
                  </a:lnTo>
                  <a:lnTo>
                    <a:pt x="498" y="200"/>
                  </a:lnTo>
                  <a:lnTo>
                    <a:pt x="504" y="196"/>
                  </a:lnTo>
                  <a:lnTo>
                    <a:pt x="510" y="196"/>
                  </a:lnTo>
                  <a:lnTo>
                    <a:pt x="522" y="198"/>
                  </a:lnTo>
                  <a:lnTo>
                    <a:pt x="528" y="198"/>
                  </a:lnTo>
                  <a:lnTo>
                    <a:pt x="548" y="200"/>
                  </a:lnTo>
                  <a:lnTo>
                    <a:pt x="558" y="196"/>
                  </a:lnTo>
                  <a:lnTo>
                    <a:pt x="564" y="194"/>
                  </a:lnTo>
                  <a:lnTo>
                    <a:pt x="572" y="194"/>
                  </a:lnTo>
                  <a:lnTo>
                    <a:pt x="584" y="192"/>
                  </a:lnTo>
                  <a:lnTo>
                    <a:pt x="598" y="174"/>
                  </a:lnTo>
                  <a:lnTo>
                    <a:pt x="598" y="170"/>
                  </a:lnTo>
                  <a:lnTo>
                    <a:pt x="600" y="166"/>
                  </a:lnTo>
                  <a:lnTo>
                    <a:pt x="604" y="162"/>
                  </a:lnTo>
                  <a:lnTo>
                    <a:pt x="612" y="158"/>
                  </a:lnTo>
                  <a:lnTo>
                    <a:pt x="624" y="150"/>
                  </a:lnTo>
                  <a:lnTo>
                    <a:pt x="650" y="136"/>
                  </a:lnTo>
                  <a:lnTo>
                    <a:pt x="660" y="130"/>
                  </a:lnTo>
                  <a:lnTo>
                    <a:pt x="664" y="130"/>
                  </a:lnTo>
                  <a:lnTo>
                    <a:pt x="674" y="126"/>
                  </a:lnTo>
                  <a:lnTo>
                    <a:pt x="692" y="120"/>
                  </a:lnTo>
                  <a:lnTo>
                    <a:pt x="696" y="112"/>
                  </a:lnTo>
                  <a:lnTo>
                    <a:pt x="700" y="110"/>
                  </a:lnTo>
                  <a:lnTo>
                    <a:pt x="720" y="108"/>
                  </a:lnTo>
                  <a:lnTo>
                    <a:pt x="722" y="108"/>
                  </a:lnTo>
                  <a:lnTo>
                    <a:pt x="722" y="106"/>
                  </a:lnTo>
                  <a:lnTo>
                    <a:pt x="722" y="100"/>
                  </a:lnTo>
                  <a:lnTo>
                    <a:pt x="720" y="94"/>
                  </a:lnTo>
                </a:path>
              </a:pathLst>
            </a:custGeom>
            <a:solidFill>
              <a:schemeClr val="bg1"/>
            </a:solidFill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3" name="Freeform 5514">
              <a:extLst>
                <a:ext uri="{FF2B5EF4-FFF2-40B4-BE49-F238E27FC236}">
                  <a16:creationId xmlns:a16="http://schemas.microsoft.com/office/drawing/2014/main" id="{AB8916DE-908B-47E5-B349-43FAD1E1D5E5}"/>
                </a:ext>
              </a:extLst>
            </p:cNvPr>
            <p:cNvSpPr/>
            <p:nvPr/>
          </p:nvSpPr>
          <p:spPr bwMode="auto">
            <a:xfrm>
              <a:off x="7091512" y="4300120"/>
              <a:ext cx="6938" cy="8480"/>
            </a:xfrm>
            <a:custGeom>
              <a:avLst/>
              <a:gdLst>
                <a:gd name="T0" fmla="*/ 16 w 18"/>
                <a:gd name="T1" fmla="*/ 22 h 22"/>
                <a:gd name="T2" fmla="*/ 12 w 18"/>
                <a:gd name="T3" fmla="*/ 22 h 22"/>
                <a:gd name="T4" fmla="*/ 6 w 18"/>
                <a:gd name="T5" fmla="*/ 22 h 22"/>
                <a:gd name="T6" fmla="*/ 4 w 18"/>
                <a:gd name="T7" fmla="*/ 22 h 22"/>
                <a:gd name="T8" fmla="*/ 6 w 18"/>
                <a:gd name="T9" fmla="*/ 14 h 22"/>
                <a:gd name="T10" fmla="*/ 6 w 18"/>
                <a:gd name="T11" fmla="*/ 14 h 22"/>
                <a:gd name="T12" fmla="*/ 6 w 18"/>
                <a:gd name="T13" fmla="*/ 14 h 22"/>
                <a:gd name="T14" fmla="*/ 4 w 18"/>
                <a:gd name="T15" fmla="*/ 12 h 22"/>
                <a:gd name="T16" fmla="*/ 2 w 18"/>
                <a:gd name="T17" fmla="*/ 10 h 22"/>
                <a:gd name="T18" fmla="*/ 0 w 18"/>
                <a:gd name="T19" fmla="*/ 6 h 22"/>
                <a:gd name="T20" fmla="*/ 2 w 18"/>
                <a:gd name="T21" fmla="*/ 2 h 22"/>
                <a:gd name="T22" fmla="*/ 4 w 18"/>
                <a:gd name="T23" fmla="*/ 0 h 22"/>
                <a:gd name="T24" fmla="*/ 4 w 18"/>
                <a:gd name="T25" fmla="*/ 0 h 22"/>
                <a:gd name="T26" fmla="*/ 8 w 18"/>
                <a:gd name="T27" fmla="*/ 6 h 22"/>
                <a:gd name="T28" fmla="*/ 12 w 18"/>
                <a:gd name="T29" fmla="*/ 8 h 22"/>
                <a:gd name="T30" fmla="*/ 18 w 18"/>
                <a:gd name="T31" fmla="*/ 8 h 22"/>
                <a:gd name="T32" fmla="*/ 14 w 18"/>
                <a:gd name="T33" fmla="*/ 14 h 22"/>
                <a:gd name="T34" fmla="*/ 16 w 18"/>
                <a:gd name="T35" fmla="*/ 22 h 22"/>
                <a:gd name="T36" fmla="*/ 16 w 18"/>
                <a:gd name="T3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" h="22">
                  <a:moveTo>
                    <a:pt x="16" y="22"/>
                  </a:moveTo>
                  <a:lnTo>
                    <a:pt x="12" y="22"/>
                  </a:lnTo>
                  <a:lnTo>
                    <a:pt x="6" y="22"/>
                  </a:lnTo>
                  <a:lnTo>
                    <a:pt x="4" y="22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4" y="12"/>
                  </a:lnTo>
                  <a:lnTo>
                    <a:pt x="2" y="10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6"/>
                  </a:lnTo>
                  <a:lnTo>
                    <a:pt x="12" y="8"/>
                  </a:lnTo>
                  <a:lnTo>
                    <a:pt x="18" y="8"/>
                  </a:lnTo>
                  <a:lnTo>
                    <a:pt x="14" y="14"/>
                  </a:lnTo>
                  <a:lnTo>
                    <a:pt x="16" y="22"/>
                  </a:lnTo>
                  <a:lnTo>
                    <a:pt x="16" y="2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4" name="Freeform 5515">
              <a:extLst>
                <a:ext uri="{FF2B5EF4-FFF2-40B4-BE49-F238E27FC236}">
                  <a16:creationId xmlns:a16="http://schemas.microsoft.com/office/drawing/2014/main" id="{CD9FBF85-D708-472E-B651-AE4DE4897D55}"/>
                </a:ext>
              </a:extLst>
            </p:cNvPr>
            <p:cNvSpPr/>
            <p:nvPr/>
          </p:nvSpPr>
          <p:spPr bwMode="auto">
            <a:xfrm>
              <a:off x="7109243" y="4305516"/>
              <a:ext cx="3084" cy="2313"/>
            </a:xfrm>
            <a:custGeom>
              <a:avLst/>
              <a:gdLst>
                <a:gd name="T0" fmla="*/ 8 w 8"/>
                <a:gd name="T1" fmla="*/ 4 h 6"/>
                <a:gd name="T2" fmla="*/ 6 w 8"/>
                <a:gd name="T3" fmla="*/ 6 h 6"/>
                <a:gd name="T4" fmla="*/ 2 w 8"/>
                <a:gd name="T5" fmla="*/ 6 h 6"/>
                <a:gd name="T6" fmla="*/ 0 w 8"/>
                <a:gd name="T7" fmla="*/ 4 h 6"/>
                <a:gd name="T8" fmla="*/ 2 w 8"/>
                <a:gd name="T9" fmla="*/ 2 h 6"/>
                <a:gd name="T10" fmla="*/ 6 w 8"/>
                <a:gd name="T11" fmla="*/ 0 h 6"/>
                <a:gd name="T12" fmla="*/ 6 w 8"/>
                <a:gd name="T13" fmla="*/ 0 h 6"/>
                <a:gd name="T14" fmla="*/ 8 w 8"/>
                <a:gd name="T15" fmla="*/ 0 h 6"/>
                <a:gd name="T16" fmla="*/ 8 w 8"/>
                <a:gd name="T1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6">
                  <a:moveTo>
                    <a:pt x="8" y="4"/>
                  </a:moveTo>
                  <a:lnTo>
                    <a:pt x="6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5" name="Freeform 5516">
              <a:extLst>
                <a:ext uri="{FF2B5EF4-FFF2-40B4-BE49-F238E27FC236}">
                  <a16:creationId xmlns:a16="http://schemas.microsoft.com/office/drawing/2014/main" id="{803A7B7A-B767-4C08-9186-6A8AA33A2AF9}"/>
                </a:ext>
              </a:extLst>
            </p:cNvPr>
            <p:cNvSpPr/>
            <p:nvPr/>
          </p:nvSpPr>
          <p:spPr bwMode="auto">
            <a:xfrm>
              <a:off x="7079178" y="4308600"/>
              <a:ext cx="5396" cy="3854"/>
            </a:xfrm>
            <a:custGeom>
              <a:avLst/>
              <a:gdLst>
                <a:gd name="T0" fmla="*/ 14 w 14"/>
                <a:gd name="T1" fmla="*/ 6 h 10"/>
                <a:gd name="T2" fmla="*/ 10 w 14"/>
                <a:gd name="T3" fmla="*/ 10 h 10"/>
                <a:gd name="T4" fmla="*/ 6 w 14"/>
                <a:gd name="T5" fmla="*/ 8 h 10"/>
                <a:gd name="T6" fmla="*/ 4 w 14"/>
                <a:gd name="T7" fmla="*/ 6 h 10"/>
                <a:gd name="T8" fmla="*/ 2 w 14"/>
                <a:gd name="T9" fmla="*/ 2 h 10"/>
                <a:gd name="T10" fmla="*/ 0 w 14"/>
                <a:gd name="T11" fmla="*/ 0 h 10"/>
                <a:gd name="T12" fmla="*/ 2 w 14"/>
                <a:gd name="T13" fmla="*/ 2 h 10"/>
                <a:gd name="T14" fmla="*/ 6 w 14"/>
                <a:gd name="T15" fmla="*/ 2 h 10"/>
                <a:gd name="T16" fmla="*/ 12 w 14"/>
                <a:gd name="T17" fmla="*/ 4 h 10"/>
                <a:gd name="T18" fmla="*/ 14 w 14"/>
                <a:gd name="T19" fmla="*/ 4 h 10"/>
                <a:gd name="T20" fmla="*/ 14 w 14"/>
                <a:gd name="T21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0">
                  <a:moveTo>
                    <a:pt x="14" y="6"/>
                  </a:moveTo>
                  <a:lnTo>
                    <a:pt x="10" y="10"/>
                  </a:lnTo>
                  <a:lnTo>
                    <a:pt x="6" y="8"/>
                  </a:lnTo>
                  <a:lnTo>
                    <a:pt x="4" y="6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6" y="2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4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6" name="Line 5517">
              <a:extLst>
                <a:ext uri="{FF2B5EF4-FFF2-40B4-BE49-F238E27FC236}">
                  <a16:creationId xmlns:a16="http://schemas.microsoft.com/office/drawing/2014/main" id="{519FD806-E3C2-4B28-97BF-A2609B0E87F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084575" y="4310912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7" name="Freeform 5519">
              <a:extLst>
                <a:ext uri="{FF2B5EF4-FFF2-40B4-BE49-F238E27FC236}">
                  <a16:creationId xmlns:a16="http://schemas.microsoft.com/office/drawing/2014/main" id="{6F980A82-6AD6-4036-8D0C-935C4E9E4B35}"/>
                </a:ext>
              </a:extLst>
            </p:cNvPr>
            <p:cNvSpPr/>
            <p:nvPr/>
          </p:nvSpPr>
          <p:spPr bwMode="auto">
            <a:xfrm>
              <a:off x="7091512" y="4300120"/>
              <a:ext cx="6938" cy="8480"/>
            </a:xfrm>
            <a:custGeom>
              <a:avLst/>
              <a:gdLst>
                <a:gd name="T0" fmla="*/ 16 w 18"/>
                <a:gd name="T1" fmla="*/ 22 h 22"/>
                <a:gd name="T2" fmla="*/ 12 w 18"/>
                <a:gd name="T3" fmla="*/ 22 h 22"/>
                <a:gd name="T4" fmla="*/ 6 w 18"/>
                <a:gd name="T5" fmla="*/ 22 h 22"/>
                <a:gd name="T6" fmla="*/ 4 w 18"/>
                <a:gd name="T7" fmla="*/ 22 h 22"/>
                <a:gd name="T8" fmla="*/ 6 w 18"/>
                <a:gd name="T9" fmla="*/ 14 h 22"/>
                <a:gd name="T10" fmla="*/ 6 w 18"/>
                <a:gd name="T11" fmla="*/ 14 h 22"/>
                <a:gd name="T12" fmla="*/ 6 w 18"/>
                <a:gd name="T13" fmla="*/ 14 h 22"/>
                <a:gd name="T14" fmla="*/ 4 w 18"/>
                <a:gd name="T15" fmla="*/ 12 h 22"/>
                <a:gd name="T16" fmla="*/ 2 w 18"/>
                <a:gd name="T17" fmla="*/ 10 h 22"/>
                <a:gd name="T18" fmla="*/ 0 w 18"/>
                <a:gd name="T19" fmla="*/ 6 h 22"/>
                <a:gd name="T20" fmla="*/ 2 w 18"/>
                <a:gd name="T21" fmla="*/ 2 h 22"/>
                <a:gd name="T22" fmla="*/ 4 w 18"/>
                <a:gd name="T23" fmla="*/ 0 h 22"/>
                <a:gd name="T24" fmla="*/ 4 w 18"/>
                <a:gd name="T25" fmla="*/ 0 h 22"/>
                <a:gd name="T26" fmla="*/ 8 w 18"/>
                <a:gd name="T27" fmla="*/ 6 h 22"/>
                <a:gd name="T28" fmla="*/ 12 w 18"/>
                <a:gd name="T29" fmla="*/ 8 h 22"/>
                <a:gd name="T30" fmla="*/ 18 w 18"/>
                <a:gd name="T31" fmla="*/ 8 h 22"/>
                <a:gd name="T32" fmla="*/ 14 w 18"/>
                <a:gd name="T33" fmla="*/ 14 h 22"/>
                <a:gd name="T34" fmla="*/ 16 w 18"/>
                <a:gd name="T35" fmla="*/ 22 h 22"/>
                <a:gd name="T36" fmla="*/ 16 w 18"/>
                <a:gd name="T3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" h="22">
                  <a:moveTo>
                    <a:pt x="16" y="22"/>
                  </a:moveTo>
                  <a:lnTo>
                    <a:pt x="12" y="22"/>
                  </a:lnTo>
                  <a:lnTo>
                    <a:pt x="6" y="22"/>
                  </a:lnTo>
                  <a:lnTo>
                    <a:pt x="4" y="22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4" y="12"/>
                  </a:lnTo>
                  <a:lnTo>
                    <a:pt x="2" y="10"/>
                  </a:lnTo>
                  <a:lnTo>
                    <a:pt x="0" y="6"/>
                  </a:lnTo>
                  <a:lnTo>
                    <a:pt x="2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6"/>
                  </a:lnTo>
                  <a:lnTo>
                    <a:pt x="12" y="8"/>
                  </a:lnTo>
                  <a:lnTo>
                    <a:pt x="18" y="8"/>
                  </a:lnTo>
                  <a:lnTo>
                    <a:pt x="14" y="14"/>
                  </a:lnTo>
                  <a:lnTo>
                    <a:pt x="16" y="22"/>
                  </a:lnTo>
                  <a:lnTo>
                    <a:pt x="16" y="2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8" name="Freeform 5520">
              <a:extLst>
                <a:ext uri="{FF2B5EF4-FFF2-40B4-BE49-F238E27FC236}">
                  <a16:creationId xmlns:a16="http://schemas.microsoft.com/office/drawing/2014/main" id="{9EB55B44-6237-4A85-A294-A940925A4B03}"/>
                </a:ext>
              </a:extLst>
            </p:cNvPr>
            <p:cNvSpPr/>
            <p:nvPr/>
          </p:nvSpPr>
          <p:spPr bwMode="auto">
            <a:xfrm>
              <a:off x="7109243" y="4305516"/>
              <a:ext cx="3084" cy="2313"/>
            </a:xfrm>
            <a:custGeom>
              <a:avLst/>
              <a:gdLst>
                <a:gd name="T0" fmla="*/ 8 w 8"/>
                <a:gd name="T1" fmla="*/ 4 h 6"/>
                <a:gd name="T2" fmla="*/ 6 w 8"/>
                <a:gd name="T3" fmla="*/ 6 h 6"/>
                <a:gd name="T4" fmla="*/ 2 w 8"/>
                <a:gd name="T5" fmla="*/ 6 h 6"/>
                <a:gd name="T6" fmla="*/ 0 w 8"/>
                <a:gd name="T7" fmla="*/ 4 h 6"/>
                <a:gd name="T8" fmla="*/ 2 w 8"/>
                <a:gd name="T9" fmla="*/ 2 h 6"/>
                <a:gd name="T10" fmla="*/ 6 w 8"/>
                <a:gd name="T11" fmla="*/ 0 h 6"/>
                <a:gd name="T12" fmla="*/ 6 w 8"/>
                <a:gd name="T13" fmla="*/ 0 h 6"/>
                <a:gd name="T14" fmla="*/ 8 w 8"/>
                <a:gd name="T15" fmla="*/ 0 h 6"/>
                <a:gd name="T16" fmla="*/ 8 w 8"/>
                <a:gd name="T1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6">
                  <a:moveTo>
                    <a:pt x="8" y="4"/>
                  </a:moveTo>
                  <a:lnTo>
                    <a:pt x="6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9" name="Freeform 5521">
              <a:extLst>
                <a:ext uri="{FF2B5EF4-FFF2-40B4-BE49-F238E27FC236}">
                  <a16:creationId xmlns:a16="http://schemas.microsoft.com/office/drawing/2014/main" id="{158F5DB7-C994-4FB7-AAAD-5ED96D9C0647}"/>
                </a:ext>
              </a:extLst>
            </p:cNvPr>
            <p:cNvSpPr/>
            <p:nvPr/>
          </p:nvSpPr>
          <p:spPr bwMode="auto">
            <a:xfrm>
              <a:off x="7079178" y="4308600"/>
              <a:ext cx="5396" cy="3854"/>
            </a:xfrm>
            <a:custGeom>
              <a:avLst/>
              <a:gdLst>
                <a:gd name="T0" fmla="*/ 14 w 14"/>
                <a:gd name="T1" fmla="*/ 6 h 10"/>
                <a:gd name="T2" fmla="*/ 10 w 14"/>
                <a:gd name="T3" fmla="*/ 10 h 10"/>
                <a:gd name="T4" fmla="*/ 6 w 14"/>
                <a:gd name="T5" fmla="*/ 8 h 10"/>
                <a:gd name="T6" fmla="*/ 4 w 14"/>
                <a:gd name="T7" fmla="*/ 6 h 10"/>
                <a:gd name="T8" fmla="*/ 2 w 14"/>
                <a:gd name="T9" fmla="*/ 2 h 10"/>
                <a:gd name="T10" fmla="*/ 0 w 14"/>
                <a:gd name="T11" fmla="*/ 0 h 10"/>
                <a:gd name="T12" fmla="*/ 2 w 14"/>
                <a:gd name="T13" fmla="*/ 2 h 10"/>
                <a:gd name="T14" fmla="*/ 6 w 14"/>
                <a:gd name="T15" fmla="*/ 2 h 10"/>
                <a:gd name="T16" fmla="*/ 12 w 14"/>
                <a:gd name="T17" fmla="*/ 4 h 10"/>
                <a:gd name="T18" fmla="*/ 14 w 14"/>
                <a:gd name="T19" fmla="*/ 4 h 10"/>
                <a:gd name="T20" fmla="*/ 14 w 14"/>
                <a:gd name="T21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0">
                  <a:moveTo>
                    <a:pt x="14" y="6"/>
                  </a:moveTo>
                  <a:lnTo>
                    <a:pt x="10" y="10"/>
                  </a:lnTo>
                  <a:lnTo>
                    <a:pt x="6" y="8"/>
                  </a:lnTo>
                  <a:lnTo>
                    <a:pt x="4" y="6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6" y="2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4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0" name="Line 5522">
              <a:extLst>
                <a:ext uri="{FF2B5EF4-FFF2-40B4-BE49-F238E27FC236}">
                  <a16:creationId xmlns:a16="http://schemas.microsoft.com/office/drawing/2014/main" id="{3B189BF5-9974-4D70-8A77-D938E38140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084575" y="4310912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1" name="Freeform 179">
              <a:extLst>
                <a:ext uri="{FF2B5EF4-FFF2-40B4-BE49-F238E27FC236}">
                  <a16:creationId xmlns:a16="http://schemas.microsoft.com/office/drawing/2014/main" id="{5BB089A1-3D72-4D28-BC8C-9D6ED0337619}"/>
                </a:ext>
              </a:extLst>
            </p:cNvPr>
            <p:cNvSpPr/>
            <p:nvPr/>
          </p:nvSpPr>
          <p:spPr bwMode="auto">
            <a:xfrm>
              <a:off x="7883589" y="5033994"/>
              <a:ext cx="133361" cy="111006"/>
            </a:xfrm>
            <a:custGeom>
              <a:avLst/>
              <a:gdLst>
                <a:gd name="connsiteX0" fmla="*/ 142952 w 824364"/>
                <a:gd name="connsiteY0" fmla="*/ 628996 h 686178"/>
                <a:gd name="connsiteX1" fmla="*/ 157248 w 824364"/>
                <a:gd name="connsiteY1" fmla="*/ 638528 h 686178"/>
                <a:gd name="connsiteX2" fmla="*/ 152480 w 824364"/>
                <a:gd name="connsiteY2" fmla="*/ 643292 h 686178"/>
                <a:gd name="connsiteX3" fmla="*/ 109596 w 824364"/>
                <a:gd name="connsiteY3" fmla="*/ 528930 h 686178"/>
                <a:gd name="connsiteX4" fmla="*/ 114360 w 824364"/>
                <a:gd name="connsiteY4" fmla="*/ 547992 h 686178"/>
                <a:gd name="connsiteX5" fmla="*/ 109596 w 824364"/>
                <a:gd name="connsiteY5" fmla="*/ 547992 h 686178"/>
                <a:gd name="connsiteX6" fmla="*/ 104832 w 824364"/>
                <a:gd name="connsiteY6" fmla="*/ 547992 h 686178"/>
                <a:gd name="connsiteX7" fmla="*/ 104832 w 824364"/>
                <a:gd name="connsiteY7" fmla="*/ 538460 h 686178"/>
                <a:gd name="connsiteX8" fmla="*/ 109596 w 824364"/>
                <a:gd name="connsiteY8" fmla="*/ 533696 h 686178"/>
                <a:gd name="connsiteX9" fmla="*/ 810068 w 824364"/>
                <a:gd name="connsiteY9" fmla="*/ 0 h 686178"/>
                <a:gd name="connsiteX10" fmla="*/ 814836 w 824364"/>
                <a:gd name="connsiteY10" fmla="*/ 9530 h 686178"/>
                <a:gd name="connsiteX11" fmla="*/ 805304 w 824364"/>
                <a:gd name="connsiteY11" fmla="*/ 23826 h 686178"/>
                <a:gd name="connsiteX12" fmla="*/ 800540 w 824364"/>
                <a:gd name="connsiteY12" fmla="*/ 38120 h 686178"/>
                <a:gd name="connsiteX13" fmla="*/ 786244 w 824364"/>
                <a:gd name="connsiteY13" fmla="*/ 52416 h 686178"/>
                <a:gd name="connsiteX14" fmla="*/ 786244 w 824364"/>
                <a:gd name="connsiteY14" fmla="*/ 61946 h 686178"/>
                <a:gd name="connsiteX15" fmla="*/ 781480 w 824364"/>
                <a:gd name="connsiteY15" fmla="*/ 90538 h 686178"/>
                <a:gd name="connsiteX16" fmla="*/ 786244 w 824364"/>
                <a:gd name="connsiteY16" fmla="*/ 100068 h 686178"/>
                <a:gd name="connsiteX17" fmla="*/ 786244 w 824364"/>
                <a:gd name="connsiteY17" fmla="*/ 109598 h 686178"/>
                <a:gd name="connsiteX18" fmla="*/ 791008 w 824364"/>
                <a:gd name="connsiteY18" fmla="*/ 114364 h 686178"/>
                <a:gd name="connsiteX19" fmla="*/ 805304 w 824364"/>
                <a:gd name="connsiteY19" fmla="*/ 142954 h 686178"/>
                <a:gd name="connsiteX20" fmla="*/ 814836 w 824364"/>
                <a:gd name="connsiteY20" fmla="*/ 166780 h 686178"/>
                <a:gd name="connsiteX21" fmla="*/ 824364 w 824364"/>
                <a:gd name="connsiteY21" fmla="*/ 190604 h 686178"/>
                <a:gd name="connsiteX22" fmla="*/ 824364 w 824364"/>
                <a:gd name="connsiteY22" fmla="*/ 204900 h 686178"/>
                <a:gd name="connsiteX23" fmla="*/ 814836 w 824364"/>
                <a:gd name="connsiteY23" fmla="*/ 238256 h 686178"/>
                <a:gd name="connsiteX24" fmla="*/ 805304 w 824364"/>
                <a:gd name="connsiteY24" fmla="*/ 266848 h 686178"/>
                <a:gd name="connsiteX25" fmla="*/ 805304 w 824364"/>
                <a:gd name="connsiteY25" fmla="*/ 285908 h 686178"/>
                <a:gd name="connsiteX26" fmla="*/ 810068 w 824364"/>
                <a:gd name="connsiteY26" fmla="*/ 300202 h 686178"/>
                <a:gd name="connsiteX27" fmla="*/ 814836 w 824364"/>
                <a:gd name="connsiteY27" fmla="*/ 319264 h 686178"/>
                <a:gd name="connsiteX28" fmla="*/ 819600 w 824364"/>
                <a:gd name="connsiteY28" fmla="*/ 347854 h 686178"/>
                <a:gd name="connsiteX29" fmla="*/ 814836 w 824364"/>
                <a:gd name="connsiteY29" fmla="*/ 362150 h 686178"/>
                <a:gd name="connsiteX30" fmla="*/ 810068 w 824364"/>
                <a:gd name="connsiteY30" fmla="*/ 376444 h 686178"/>
                <a:gd name="connsiteX31" fmla="*/ 800540 w 824364"/>
                <a:gd name="connsiteY31" fmla="*/ 385976 h 686178"/>
                <a:gd name="connsiteX32" fmla="*/ 791008 w 824364"/>
                <a:gd name="connsiteY32" fmla="*/ 390740 h 686178"/>
                <a:gd name="connsiteX33" fmla="*/ 781480 w 824364"/>
                <a:gd name="connsiteY33" fmla="*/ 381210 h 686178"/>
                <a:gd name="connsiteX34" fmla="*/ 776712 w 824364"/>
                <a:gd name="connsiteY34" fmla="*/ 381210 h 686178"/>
                <a:gd name="connsiteX35" fmla="*/ 762420 w 824364"/>
                <a:gd name="connsiteY35" fmla="*/ 385976 h 686178"/>
                <a:gd name="connsiteX36" fmla="*/ 752888 w 824364"/>
                <a:gd name="connsiteY36" fmla="*/ 390740 h 686178"/>
                <a:gd name="connsiteX37" fmla="*/ 738592 w 824364"/>
                <a:gd name="connsiteY37" fmla="*/ 405036 h 686178"/>
                <a:gd name="connsiteX38" fmla="*/ 719532 w 824364"/>
                <a:gd name="connsiteY38" fmla="*/ 419332 h 686178"/>
                <a:gd name="connsiteX39" fmla="*/ 695708 w 824364"/>
                <a:gd name="connsiteY39" fmla="*/ 424096 h 686178"/>
                <a:gd name="connsiteX40" fmla="*/ 686176 w 824364"/>
                <a:gd name="connsiteY40" fmla="*/ 438392 h 686178"/>
                <a:gd name="connsiteX41" fmla="*/ 671880 w 824364"/>
                <a:gd name="connsiteY41" fmla="*/ 438392 h 686178"/>
                <a:gd name="connsiteX42" fmla="*/ 652820 w 824364"/>
                <a:gd name="connsiteY42" fmla="*/ 438392 h 686178"/>
                <a:gd name="connsiteX43" fmla="*/ 638524 w 824364"/>
                <a:gd name="connsiteY43" fmla="*/ 443156 h 686178"/>
                <a:gd name="connsiteX44" fmla="*/ 638524 w 824364"/>
                <a:gd name="connsiteY44" fmla="*/ 447922 h 686178"/>
                <a:gd name="connsiteX45" fmla="*/ 638524 w 824364"/>
                <a:gd name="connsiteY45" fmla="*/ 476512 h 686178"/>
                <a:gd name="connsiteX46" fmla="*/ 638524 w 824364"/>
                <a:gd name="connsiteY46" fmla="*/ 481278 h 686178"/>
                <a:gd name="connsiteX47" fmla="*/ 638524 w 824364"/>
                <a:gd name="connsiteY47" fmla="*/ 486042 h 686178"/>
                <a:gd name="connsiteX48" fmla="*/ 628996 w 824364"/>
                <a:gd name="connsiteY48" fmla="*/ 486042 h 686178"/>
                <a:gd name="connsiteX49" fmla="*/ 609936 w 824364"/>
                <a:gd name="connsiteY49" fmla="*/ 481278 h 686178"/>
                <a:gd name="connsiteX50" fmla="*/ 590872 w 824364"/>
                <a:gd name="connsiteY50" fmla="*/ 471748 h 686178"/>
                <a:gd name="connsiteX51" fmla="*/ 576580 w 824364"/>
                <a:gd name="connsiteY51" fmla="*/ 471748 h 686178"/>
                <a:gd name="connsiteX52" fmla="*/ 567048 w 824364"/>
                <a:gd name="connsiteY52" fmla="*/ 486042 h 686178"/>
                <a:gd name="connsiteX53" fmla="*/ 562284 w 824364"/>
                <a:gd name="connsiteY53" fmla="*/ 490808 h 686178"/>
                <a:gd name="connsiteX54" fmla="*/ 557516 w 824364"/>
                <a:gd name="connsiteY54" fmla="*/ 490808 h 686178"/>
                <a:gd name="connsiteX55" fmla="*/ 552752 w 824364"/>
                <a:gd name="connsiteY55" fmla="*/ 490808 h 686178"/>
                <a:gd name="connsiteX56" fmla="*/ 547988 w 824364"/>
                <a:gd name="connsiteY56" fmla="*/ 495572 h 686178"/>
                <a:gd name="connsiteX57" fmla="*/ 547988 w 824364"/>
                <a:gd name="connsiteY57" fmla="*/ 505104 h 686178"/>
                <a:gd name="connsiteX58" fmla="*/ 552752 w 824364"/>
                <a:gd name="connsiteY58" fmla="*/ 514634 h 686178"/>
                <a:gd name="connsiteX59" fmla="*/ 552752 w 824364"/>
                <a:gd name="connsiteY59" fmla="*/ 533694 h 686178"/>
                <a:gd name="connsiteX60" fmla="*/ 552752 w 824364"/>
                <a:gd name="connsiteY60" fmla="*/ 547990 h 686178"/>
                <a:gd name="connsiteX61" fmla="*/ 557516 w 824364"/>
                <a:gd name="connsiteY61" fmla="*/ 552754 h 686178"/>
                <a:gd name="connsiteX62" fmla="*/ 590872 w 824364"/>
                <a:gd name="connsiteY62" fmla="*/ 581346 h 686178"/>
                <a:gd name="connsiteX63" fmla="*/ 600404 w 824364"/>
                <a:gd name="connsiteY63" fmla="*/ 586110 h 686178"/>
                <a:gd name="connsiteX64" fmla="*/ 600404 w 824364"/>
                <a:gd name="connsiteY64" fmla="*/ 590876 h 686178"/>
                <a:gd name="connsiteX65" fmla="*/ 595640 w 824364"/>
                <a:gd name="connsiteY65" fmla="*/ 605170 h 686178"/>
                <a:gd name="connsiteX66" fmla="*/ 600404 w 824364"/>
                <a:gd name="connsiteY66" fmla="*/ 624232 h 686178"/>
                <a:gd name="connsiteX67" fmla="*/ 590872 w 824364"/>
                <a:gd name="connsiteY67" fmla="*/ 624232 h 686178"/>
                <a:gd name="connsiteX68" fmla="*/ 571812 w 824364"/>
                <a:gd name="connsiteY68" fmla="*/ 614702 h 686178"/>
                <a:gd name="connsiteX69" fmla="*/ 567048 w 824364"/>
                <a:gd name="connsiteY69" fmla="*/ 609936 h 686178"/>
                <a:gd name="connsiteX70" fmla="*/ 552752 w 824364"/>
                <a:gd name="connsiteY70" fmla="*/ 614702 h 686178"/>
                <a:gd name="connsiteX71" fmla="*/ 543224 w 824364"/>
                <a:gd name="connsiteY71" fmla="*/ 605170 h 686178"/>
                <a:gd name="connsiteX72" fmla="*/ 533692 w 824364"/>
                <a:gd name="connsiteY72" fmla="*/ 595640 h 686178"/>
                <a:gd name="connsiteX73" fmla="*/ 528928 w 824364"/>
                <a:gd name="connsiteY73" fmla="*/ 595640 h 686178"/>
                <a:gd name="connsiteX74" fmla="*/ 509868 w 824364"/>
                <a:gd name="connsiteY74" fmla="*/ 595640 h 686178"/>
                <a:gd name="connsiteX75" fmla="*/ 490808 w 824364"/>
                <a:gd name="connsiteY75" fmla="*/ 600406 h 686178"/>
                <a:gd name="connsiteX76" fmla="*/ 481276 w 824364"/>
                <a:gd name="connsiteY76" fmla="*/ 600406 h 686178"/>
                <a:gd name="connsiteX77" fmla="*/ 476512 w 824364"/>
                <a:gd name="connsiteY77" fmla="*/ 600406 h 686178"/>
                <a:gd name="connsiteX78" fmla="*/ 466980 w 824364"/>
                <a:gd name="connsiteY78" fmla="*/ 619466 h 686178"/>
                <a:gd name="connsiteX79" fmla="*/ 462216 w 824364"/>
                <a:gd name="connsiteY79" fmla="*/ 614702 h 686178"/>
                <a:gd name="connsiteX80" fmla="*/ 443156 w 824364"/>
                <a:gd name="connsiteY80" fmla="*/ 609936 h 686178"/>
                <a:gd name="connsiteX81" fmla="*/ 424096 w 824364"/>
                <a:gd name="connsiteY81" fmla="*/ 605170 h 686178"/>
                <a:gd name="connsiteX82" fmla="*/ 424096 w 824364"/>
                <a:gd name="connsiteY82" fmla="*/ 609936 h 686178"/>
                <a:gd name="connsiteX83" fmla="*/ 424096 w 824364"/>
                <a:gd name="connsiteY83" fmla="*/ 624232 h 686178"/>
                <a:gd name="connsiteX84" fmla="*/ 428860 w 824364"/>
                <a:gd name="connsiteY84" fmla="*/ 633762 h 686178"/>
                <a:gd name="connsiteX85" fmla="*/ 424096 w 824364"/>
                <a:gd name="connsiteY85" fmla="*/ 638526 h 686178"/>
                <a:gd name="connsiteX86" fmla="*/ 414564 w 824364"/>
                <a:gd name="connsiteY86" fmla="*/ 648056 h 686178"/>
                <a:gd name="connsiteX87" fmla="*/ 400268 w 824364"/>
                <a:gd name="connsiteY87" fmla="*/ 657588 h 686178"/>
                <a:gd name="connsiteX88" fmla="*/ 395504 w 824364"/>
                <a:gd name="connsiteY88" fmla="*/ 667118 h 686178"/>
                <a:gd name="connsiteX89" fmla="*/ 390740 w 824364"/>
                <a:gd name="connsiteY89" fmla="*/ 667118 h 686178"/>
                <a:gd name="connsiteX90" fmla="*/ 371676 w 824364"/>
                <a:gd name="connsiteY90" fmla="*/ 667118 h 686178"/>
                <a:gd name="connsiteX91" fmla="*/ 352616 w 824364"/>
                <a:gd name="connsiteY91" fmla="*/ 671882 h 686178"/>
                <a:gd name="connsiteX92" fmla="*/ 343088 w 824364"/>
                <a:gd name="connsiteY92" fmla="*/ 676648 h 686178"/>
                <a:gd name="connsiteX93" fmla="*/ 333556 w 824364"/>
                <a:gd name="connsiteY93" fmla="*/ 686178 h 686178"/>
                <a:gd name="connsiteX94" fmla="*/ 328792 w 824364"/>
                <a:gd name="connsiteY94" fmla="*/ 686178 h 686178"/>
                <a:gd name="connsiteX95" fmla="*/ 304968 w 824364"/>
                <a:gd name="connsiteY95" fmla="*/ 667118 h 686178"/>
                <a:gd name="connsiteX96" fmla="*/ 252548 w 824364"/>
                <a:gd name="connsiteY96" fmla="*/ 657588 h 686178"/>
                <a:gd name="connsiteX97" fmla="*/ 247784 w 824364"/>
                <a:gd name="connsiteY97" fmla="*/ 648056 h 686178"/>
                <a:gd name="connsiteX98" fmla="*/ 243020 w 824364"/>
                <a:gd name="connsiteY98" fmla="*/ 648056 h 686178"/>
                <a:gd name="connsiteX99" fmla="*/ 238256 w 824364"/>
                <a:gd name="connsiteY99" fmla="*/ 662352 h 686178"/>
                <a:gd name="connsiteX100" fmla="*/ 209664 w 824364"/>
                <a:gd name="connsiteY100" fmla="*/ 671882 h 686178"/>
                <a:gd name="connsiteX101" fmla="*/ 195368 w 824364"/>
                <a:gd name="connsiteY101" fmla="*/ 662352 h 686178"/>
                <a:gd name="connsiteX102" fmla="*/ 190604 w 824364"/>
                <a:gd name="connsiteY102" fmla="*/ 657588 h 686178"/>
                <a:gd name="connsiteX103" fmla="*/ 190604 w 824364"/>
                <a:gd name="connsiteY103" fmla="*/ 648056 h 686178"/>
                <a:gd name="connsiteX104" fmla="*/ 200132 w 824364"/>
                <a:gd name="connsiteY104" fmla="*/ 638526 h 686178"/>
                <a:gd name="connsiteX105" fmla="*/ 214428 w 824364"/>
                <a:gd name="connsiteY105" fmla="*/ 628996 h 686178"/>
                <a:gd name="connsiteX106" fmla="*/ 219192 w 824364"/>
                <a:gd name="connsiteY106" fmla="*/ 609936 h 686178"/>
                <a:gd name="connsiteX107" fmla="*/ 209664 w 824364"/>
                <a:gd name="connsiteY107" fmla="*/ 586110 h 686178"/>
                <a:gd name="connsiteX108" fmla="*/ 200132 w 824364"/>
                <a:gd name="connsiteY108" fmla="*/ 576580 h 686178"/>
                <a:gd name="connsiteX109" fmla="*/ 190604 w 824364"/>
                <a:gd name="connsiteY109" fmla="*/ 571816 h 686178"/>
                <a:gd name="connsiteX110" fmla="*/ 181072 w 824364"/>
                <a:gd name="connsiteY110" fmla="*/ 581346 h 686178"/>
                <a:gd name="connsiteX111" fmla="*/ 171544 w 824364"/>
                <a:gd name="connsiteY111" fmla="*/ 595640 h 686178"/>
                <a:gd name="connsiteX112" fmla="*/ 162012 w 824364"/>
                <a:gd name="connsiteY112" fmla="*/ 605170 h 686178"/>
                <a:gd name="connsiteX113" fmla="*/ 147716 w 824364"/>
                <a:gd name="connsiteY113" fmla="*/ 605170 h 686178"/>
                <a:gd name="connsiteX114" fmla="*/ 128656 w 824364"/>
                <a:gd name="connsiteY114" fmla="*/ 605170 h 686178"/>
                <a:gd name="connsiteX115" fmla="*/ 123892 w 824364"/>
                <a:gd name="connsiteY115" fmla="*/ 581346 h 686178"/>
                <a:gd name="connsiteX116" fmla="*/ 119128 w 824364"/>
                <a:gd name="connsiteY116" fmla="*/ 557520 h 686178"/>
                <a:gd name="connsiteX117" fmla="*/ 123892 w 824364"/>
                <a:gd name="connsiteY117" fmla="*/ 533694 h 686178"/>
                <a:gd name="connsiteX118" fmla="*/ 123892 w 824364"/>
                <a:gd name="connsiteY118" fmla="*/ 519398 h 686178"/>
                <a:gd name="connsiteX119" fmla="*/ 109596 w 824364"/>
                <a:gd name="connsiteY119" fmla="*/ 500338 h 686178"/>
                <a:gd name="connsiteX120" fmla="*/ 104832 w 824364"/>
                <a:gd name="connsiteY120" fmla="*/ 481278 h 686178"/>
                <a:gd name="connsiteX121" fmla="*/ 100064 w 824364"/>
                <a:gd name="connsiteY121" fmla="*/ 471748 h 686178"/>
                <a:gd name="connsiteX122" fmla="*/ 95300 w 824364"/>
                <a:gd name="connsiteY122" fmla="*/ 476512 h 686178"/>
                <a:gd name="connsiteX123" fmla="*/ 66708 w 824364"/>
                <a:gd name="connsiteY123" fmla="*/ 419332 h 686178"/>
                <a:gd name="connsiteX124" fmla="*/ 61944 w 824364"/>
                <a:gd name="connsiteY124" fmla="*/ 390740 h 686178"/>
                <a:gd name="connsiteX125" fmla="*/ 66708 w 824364"/>
                <a:gd name="connsiteY125" fmla="*/ 371680 h 686178"/>
                <a:gd name="connsiteX126" fmla="*/ 66708 w 824364"/>
                <a:gd name="connsiteY126" fmla="*/ 366914 h 686178"/>
                <a:gd name="connsiteX127" fmla="*/ 61944 w 824364"/>
                <a:gd name="connsiteY127" fmla="*/ 352620 h 686178"/>
                <a:gd name="connsiteX128" fmla="*/ 47648 w 824364"/>
                <a:gd name="connsiteY128" fmla="*/ 343088 h 686178"/>
                <a:gd name="connsiteX129" fmla="*/ 28588 w 824364"/>
                <a:gd name="connsiteY129" fmla="*/ 328794 h 686178"/>
                <a:gd name="connsiteX130" fmla="*/ 28588 w 824364"/>
                <a:gd name="connsiteY130" fmla="*/ 300202 h 686178"/>
                <a:gd name="connsiteX131" fmla="*/ 23824 w 824364"/>
                <a:gd name="connsiteY131" fmla="*/ 271612 h 686178"/>
                <a:gd name="connsiteX132" fmla="*/ 14292 w 824364"/>
                <a:gd name="connsiteY132" fmla="*/ 262082 h 686178"/>
                <a:gd name="connsiteX133" fmla="*/ 4764 w 824364"/>
                <a:gd name="connsiteY133" fmla="*/ 243022 h 686178"/>
                <a:gd name="connsiteX134" fmla="*/ 0 w 824364"/>
                <a:gd name="connsiteY134" fmla="*/ 228726 h 686178"/>
                <a:gd name="connsiteX135" fmla="*/ 0 w 824364"/>
                <a:gd name="connsiteY135" fmla="*/ 185840 h 686178"/>
                <a:gd name="connsiteX136" fmla="*/ 19060 w 824364"/>
                <a:gd name="connsiteY136" fmla="*/ 181074 h 686178"/>
                <a:gd name="connsiteX137" fmla="*/ 33352 w 824364"/>
                <a:gd name="connsiteY137" fmla="*/ 181074 h 686178"/>
                <a:gd name="connsiteX138" fmla="*/ 38120 w 824364"/>
                <a:gd name="connsiteY138" fmla="*/ 171544 h 686178"/>
                <a:gd name="connsiteX139" fmla="*/ 33352 w 824364"/>
                <a:gd name="connsiteY139" fmla="*/ 166780 h 686178"/>
                <a:gd name="connsiteX140" fmla="*/ 47648 w 824364"/>
                <a:gd name="connsiteY140" fmla="*/ 157250 h 686178"/>
                <a:gd name="connsiteX141" fmla="*/ 61944 w 824364"/>
                <a:gd name="connsiteY141" fmla="*/ 138188 h 686178"/>
                <a:gd name="connsiteX142" fmla="*/ 76240 w 824364"/>
                <a:gd name="connsiteY142" fmla="*/ 119128 h 686178"/>
                <a:gd name="connsiteX143" fmla="*/ 85772 w 824364"/>
                <a:gd name="connsiteY143" fmla="*/ 104832 h 686178"/>
                <a:gd name="connsiteX144" fmla="*/ 90536 w 824364"/>
                <a:gd name="connsiteY144" fmla="*/ 90538 h 686178"/>
                <a:gd name="connsiteX145" fmla="*/ 109596 w 824364"/>
                <a:gd name="connsiteY145" fmla="*/ 71476 h 686178"/>
                <a:gd name="connsiteX146" fmla="*/ 138188 w 824364"/>
                <a:gd name="connsiteY146" fmla="*/ 57182 h 686178"/>
                <a:gd name="connsiteX147" fmla="*/ 157248 w 824364"/>
                <a:gd name="connsiteY147" fmla="*/ 57182 h 686178"/>
                <a:gd name="connsiteX148" fmla="*/ 171544 w 824364"/>
                <a:gd name="connsiteY148" fmla="*/ 52416 h 686178"/>
                <a:gd name="connsiteX149" fmla="*/ 190604 w 824364"/>
                <a:gd name="connsiteY149" fmla="*/ 47652 h 686178"/>
                <a:gd name="connsiteX150" fmla="*/ 200132 w 824364"/>
                <a:gd name="connsiteY150" fmla="*/ 42886 h 686178"/>
                <a:gd name="connsiteX151" fmla="*/ 223960 w 824364"/>
                <a:gd name="connsiteY151" fmla="*/ 52416 h 686178"/>
                <a:gd name="connsiteX152" fmla="*/ 233488 w 824364"/>
                <a:gd name="connsiteY152" fmla="*/ 57182 h 686178"/>
                <a:gd name="connsiteX153" fmla="*/ 247784 w 824364"/>
                <a:gd name="connsiteY153" fmla="*/ 52416 h 686178"/>
                <a:gd name="connsiteX154" fmla="*/ 257316 w 824364"/>
                <a:gd name="connsiteY154" fmla="*/ 57182 h 686178"/>
                <a:gd name="connsiteX155" fmla="*/ 271612 w 824364"/>
                <a:gd name="connsiteY155" fmla="*/ 57182 h 686178"/>
                <a:gd name="connsiteX156" fmla="*/ 295436 w 824364"/>
                <a:gd name="connsiteY156" fmla="*/ 47652 h 686178"/>
                <a:gd name="connsiteX157" fmla="*/ 328792 w 824364"/>
                <a:gd name="connsiteY157" fmla="*/ 52416 h 686178"/>
                <a:gd name="connsiteX158" fmla="*/ 352616 w 824364"/>
                <a:gd name="connsiteY158" fmla="*/ 47652 h 686178"/>
                <a:gd name="connsiteX159" fmla="*/ 385972 w 824364"/>
                <a:gd name="connsiteY159" fmla="*/ 42886 h 686178"/>
                <a:gd name="connsiteX160" fmla="*/ 400268 w 824364"/>
                <a:gd name="connsiteY160" fmla="*/ 47652 h 686178"/>
                <a:gd name="connsiteX161" fmla="*/ 414564 w 824364"/>
                <a:gd name="connsiteY161" fmla="*/ 52416 h 686178"/>
                <a:gd name="connsiteX162" fmla="*/ 414564 w 824364"/>
                <a:gd name="connsiteY162" fmla="*/ 66712 h 686178"/>
                <a:gd name="connsiteX163" fmla="*/ 419328 w 824364"/>
                <a:gd name="connsiteY163" fmla="*/ 71476 h 686178"/>
                <a:gd name="connsiteX164" fmla="*/ 424096 w 824364"/>
                <a:gd name="connsiteY164" fmla="*/ 76242 h 686178"/>
                <a:gd name="connsiteX165" fmla="*/ 428860 w 824364"/>
                <a:gd name="connsiteY165" fmla="*/ 76242 h 686178"/>
                <a:gd name="connsiteX166" fmla="*/ 438388 w 824364"/>
                <a:gd name="connsiteY166" fmla="*/ 66712 h 686178"/>
                <a:gd name="connsiteX167" fmla="*/ 443156 w 824364"/>
                <a:gd name="connsiteY167" fmla="*/ 57182 h 686178"/>
                <a:gd name="connsiteX168" fmla="*/ 447920 w 824364"/>
                <a:gd name="connsiteY168" fmla="*/ 57182 h 686178"/>
                <a:gd name="connsiteX169" fmla="*/ 447920 w 824364"/>
                <a:gd name="connsiteY169" fmla="*/ 61946 h 686178"/>
                <a:gd name="connsiteX170" fmla="*/ 452684 w 824364"/>
                <a:gd name="connsiteY170" fmla="*/ 71476 h 686178"/>
                <a:gd name="connsiteX171" fmla="*/ 457452 w 824364"/>
                <a:gd name="connsiteY171" fmla="*/ 81008 h 686178"/>
                <a:gd name="connsiteX172" fmla="*/ 462216 w 824364"/>
                <a:gd name="connsiteY172" fmla="*/ 85772 h 686178"/>
                <a:gd name="connsiteX173" fmla="*/ 471744 w 824364"/>
                <a:gd name="connsiteY173" fmla="*/ 95302 h 686178"/>
                <a:gd name="connsiteX174" fmla="*/ 481276 w 824364"/>
                <a:gd name="connsiteY174" fmla="*/ 95302 h 686178"/>
                <a:gd name="connsiteX175" fmla="*/ 500336 w 824364"/>
                <a:gd name="connsiteY175" fmla="*/ 85772 h 686178"/>
                <a:gd name="connsiteX176" fmla="*/ 533692 w 824364"/>
                <a:gd name="connsiteY176" fmla="*/ 100068 h 686178"/>
                <a:gd name="connsiteX177" fmla="*/ 538456 w 824364"/>
                <a:gd name="connsiteY177" fmla="*/ 104832 h 686178"/>
                <a:gd name="connsiteX178" fmla="*/ 547988 w 824364"/>
                <a:gd name="connsiteY178" fmla="*/ 119128 h 686178"/>
                <a:gd name="connsiteX179" fmla="*/ 557516 w 824364"/>
                <a:gd name="connsiteY179" fmla="*/ 123894 h 686178"/>
                <a:gd name="connsiteX180" fmla="*/ 586108 w 824364"/>
                <a:gd name="connsiteY180" fmla="*/ 123894 h 686178"/>
                <a:gd name="connsiteX181" fmla="*/ 595640 w 824364"/>
                <a:gd name="connsiteY181" fmla="*/ 104832 h 686178"/>
                <a:gd name="connsiteX182" fmla="*/ 590872 w 824364"/>
                <a:gd name="connsiteY182" fmla="*/ 90538 h 686178"/>
                <a:gd name="connsiteX183" fmla="*/ 576580 w 824364"/>
                <a:gd name="connsiteY183" fmla="*/ 71476 h 686178"/>
                <a:gd name="connsiteX184" fmla="*/ 571812 w 824364"/>
                <a:gd name="connsiteY184" fmla="*/ 57182 h 686178"/>
                <a:gd name="connsiteX185" fmla="*/ 576580 w 824364"/>
                <a:gd name="connsiteY185" fmla="*/ 57182 h 686178"/>
                <a:gd name="connsiteX186" fmla="*/ 600404 w 824364"/>
                <a:gd name="connsiteY186" fmla="*/ 52416 h 686178"/>
                <a:gd name="connsiteX187" fmla="*/ 605168 w 824364"/>
                <a:gd name="connsiteY187" fmla="*/ 52416 h 686178"/>
                <a:gd name="connsiteX188" fmla="*/ 609936 w 824364"/>
                <a:gd name="connsiteY188" fmla="*/ 38120 h 686178"/>
                <a:gd name="connsiteX189" fmla="*/ 614700 w 824364"/>
                <a:gd name="connsiteY189" fmla="*/ 38120 h 686178"/>
                <a:gd name="connsiteX190" fmla="*/ 628996 w 824364"/>
                <a:gd name="connsiteY190" fmla="*/ 38120 h 686178"/>
                <a:gd name="connsiteX191" fmla="*/ 643292 w 824364"/>
                <a:gd name="connsiteY191" fmla="*/ 28590 h 686178"/>
                <a:gd name="connsiteX192" fmla="*/ 652820 w 824364"/>
                <a:gd name="connsiteY192" fmla="*/ 19060 h 686178"/>
                <a:gd name="connsiteX193" fmla="*/ 657584 w 824364"/>
                <a:gd name="connsiteY193" fmla="*/ 23826 h 686178"/>
                <a:gd name="connsiteX194" fmla="*/ 662352 w 824364"/>
                <a:gd name="connsiteY194" fmla="*/ 33356 h 686178"/>
                <a:gd name="connsiteX195" fmla="*/ 667116 w 824364"/>
                <a:gd name="connsiteY195" fmla="*/ 38120 h 686178"/>
                <a:gd name="connsiteX196" fmla="*/ 676648 w 824364"/>
                <a:gd name="connsiteY196" fmla="*/ 42886 h 686178"/>
                <a:gd name="connsiteX197" fmla="*/ 690940 w 824364"/>
                <a:gd name="connsiteY197" fmla="*/ 52416 h 686178"/>
                <a:gd name="connsiteX198" fmla="*/ 695708 w 824364"/>
                <a:gd name="connsiteY198" fmla="*/ 57182 h 686178"/>
                <a:gd name="connsiteX199" fmla="*/ 700472 w 824364"/>
                <a:gd name="connsiteY199" fmla="*/ 61946 h 686178"/>
                <a:gd name="connsiteX200" fmla="*/ 719532 w 824364"/>
                <a:gd name="connsiteY200" fmla="*/ 61946 h 686178"/>
                <a:gd name="connsiteX201" fmla="*/ 729064 w 824364"/>
                <a:gd name="connsiteY201" fmla="*/ 47652 h 686178"/>
                <a:gd name="connsiteX202" fmla="*/ 733828 w 824364"/>
                <a:gd name="connsiteY202" fmla="*/ 42886 h 686178"/>
                <a:gd name="connsiteX203" fmla="*/ 738592 w 824364"/>
                <a:gd name="connsiteY203" fmla="*/ 47652 h 686178"/>
                <a:gd name="connsiteX204" fmla="*/ 748124 w 824364"/>
                <a:gd name="connsiteY204" fmla="*/ 47652 h 686178"/>
                <a:gd name="connsiteX205" fmla="*/ 762420 w 824364"/>
                <a:gd name="connsiteY205" fmla="*/ 33356 h 686178"/>
                <a:gd name="connsiteX206" fmla="*/ 771948 w 824364"/>
                <a:gd name="connsiteY206" fmla="*/ 19060 h 686178"/>
                <a:gd name="connsiteX207" fmla="*/ 776712 w 824364"/>
                <a:gd name="connsiteY207" fmla="*/ 19060 h 686178"/>
                <a:gd name="connsiteX208" fmla="*/ 791008 w 824364"/>
                <a:gd name="connsiteY208" fmla="*/ 23826 h 686178"/>
                <a:gd name="connsiteX209" fmla="*/ 795776 w 824364"/>
                <a:gd name="connsiteY209" fmla="*/ 23826 h 686178"/>
                <a:gd name="connsiteX210" fmla="*/ 805304 w 824364"/>
                <a:gd name="connsiteY210" fmla="*/ 4766 h 686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</a:cxnLst>
              <a:rect l="l" t="t" r="r" b="b"/>
              <a:pathLst>
                <a:path w="824364" h="686178">
                  <a:moveTo>
                    <a:pt x="142952" y="628996"/>
                  </a:moveTo>
                  <a:lnTo>
                    <a:pt x="157248" y="638528"/>
                  </a:lnTo>
                  <a:lnTo>
                    <a:pt x="152480" y="643292"/>
                  </a:lnTo>
                  <a:close/>
                  <a:moveTo>
                    <a:pt x="109596" y="528930"/>
                  </a:moveTo>
                  <a:lnTo>
                    <a:pt x="114360" y="547992"/>
                  </a:lnTo>
                  <a:lnTo>
                    <a:pt x="109596" y="547992"/>
                  </a:lnTo>
                  <a:lnTo>
                    <a:pt x="104832" y="547992"/>
                  </a:lnTo>
                  <a:lnTo>
                    <a:pt x="104832" y="538460"/>
                  </a:lnTo>
                  <a:lnTo>
                    <a:pt x="109596" y="533696"/>
                  </a:lnTo>
                  <a:close/>
                  <a:moveTo>
                    <a:pt x="810068" y="0"/>
                  </a:moveTo>
                  <a:lnTo>
                    <a:pt x="814836" y="9530"/>
                  </a:lnTo>
                  <a:lnTo>
                    <a:pt x="805304" y="23826"/>
                  </a:lnTo>
                  <a:lnTo>
                    <a:pt x="800540" y="38120"/>
                  </a:lnTo>
                  <a:lnTo>
                    <a:pt x="786244" y="52416"/>
                  </a:lnTo>
                  <a:lnTo>
                    <a:pt x="786244" y="61946"/>
                  </a:lnTo>
                  <a:lnTo>
                    <a:pt x="781480" y="90538"/>
                  </a:lnTo>
                  <a:lnTo>
                    <a:pt x="786244" y="100068"/>
                  </a:lnTo>
                  <a:lnTo>
                    <a:pt x="786244" y="109598"/>
                  </a:lnTo>
                  <a:lnTo>
                    <a:pt x="791008" y="114364"/>
                  </a:lnTo>
                  <a:lnTo>
                    <a:pt x="805304" y="142954"/>
                  </a:lnTo>
                  <a:lnTo>
                    <a:pt x="814836" y="166780"/>
                  </a:lnTo>
                  <a:lnTo>
                    <a:pt x="824364" y="190604"/>
                  </a:lnTo>
                  <a:lnTo>
                    <a:pt x="824364" y="204900"/>
                  </a:lnTo>
                  <a:lnTo>
                    <a:pt x="814836" y="238256"/>
                  </a:lnTo>
                  <a:lnTo>
                    <a:pt x="805304" y="266848"/>
                  </a:lnTo>
                  <a:lnTo>
                    <a:pt x="805304" y="285908"/>
                  </a:lnTo>
                  <a:lnTo>
                    <a:pt x="810068" y="300202"/>
                  </a:lnTo>
                  <a:lnTo>
                    <a:pt x="814836" y="319264"/>
                  </a:lnTo>
                  <a:lnTo>
                    <a:pt x="819600" y="347854"/>
                  </a:lnTo>
                  <a:lnTo>
                    <a:pt x="814836" y="362150"/>
                  </a:lnTo>
                  <a:lnTo>
                    <a:pt x="810068" y="376444"/>
                  </a:lnTo>
                  <a:lnTo>
                    <a:pt x="800540" y="385976"/>
                  </a:lnTo>
                  <a:lnTo>
                    <a:pt x="791008" y="390740"/>
                  </a:lnTo>
                  <a:lnTo>
                    <a:pt x="781480" y="381210"/>
                  </a:lnTo>
                  <a:lnTo>
                    <a:pt x="776712" y="381210"/>
                  </a:lnTo>
                  <a:lnTo>
                    <a:pt x="762420" y="385976"/>
                  </a:lnTo>
                  <a:lnTo>
                    <a:pt x="752888" y="390740"/>
                  </a:lnTo>
                  <a:lnTo>
                    <a:pt x="738592" y="405036"/>
                  </a:lnTo>
                  <a:lnTo>
                    <a:pt x="719532" y="419332"/>
                  </a:lnTo>
                  <a:lnTo>
                    <a:pt x="695708" y="424096"/>
                  </a:lnTo>
                  <a:lnTo>
                    <a:pt x="686176" y="438392"/>
                  </a:lnTo>
                  <a:lnTo>
                    <a:pt x="671880" y="438392"/>
                  </a:lnTo>
                  <a:lnTo>
                    <a:pt x="652820" y="438392"/>
                  </a:lnTo>
                  <a:lnTo>
                    <a:pt x="638524" y="443156"/>
                  </a:lnTo>
                  <a:lnTo>
                    <a:pt x="638524" y="447922"/>
                  </a:lnTo>
                  <a:lnTo>
                    <a:pt x="638524" y="476512"/>
                  </a:lnTo>
                  <a:lnTo>
                    <a:pt x="638524" y="481278"/>
                  </a:lnTo>
                  <a:lnTo>
                    <a:pt x="638524" y="486042"/>
                  </a:lnTo>
                  <a:lnTo>
                    <a:pt x="628996" y="486042"/>
                  </a:lnTo>
                  <a:lnTo>
                    <a:pt x="609936" y="481278"/>
                  </a:lnTo>
                  <a:lnTo>
                    <a:pt x="590872" y="471748"/>
                  </a:lnTo>
                  <a:lnTo>
                    <a:pt x="576580" y="471748"/>
                  </a:lnTo>
                  <a:lnTo>
                    <a:pt x="567048" y="486042"/>
                  </a:lnTo>
                  <a:lnTo>
                    <a:pt x="562284" y="490808"/>
                  </a:lnTo>
                  <a:lnTo>
                    <a:pt x="557516" y="490808"/>
                  </a:lnTo>
                  <a:lnTo>
                    <a:pt x="552752" y="490808"/>
                  </a:lnTo>
                  <a:lnTo>
                    <a:pt x="547988" y="495572"/>
                  </a:lnTo>
                  <a:lnTo>
                    <a:pt x="547988" y="505104"/>
                  </a:lnTo>
                  <a:lnTo>
                    <a:pt x="552752" y="514634"/>
                  </a:lnTo>
                  <a:lnTo>
                    <a:pt x="552752" y="533694"/>
                  </a:lnTo>
                  <a:lnTo>
                    <a:pt x="552752" y="547990"/>
                  </a:lnTo>
                  <a:lnTo>
                    <a:pt x="557516" y="552754"/>
                  </a:lnTo>
                  <a:lnTo>
                    <a:pt x="590872" y="581346"/>
                  </a:lnTo>
                  <a:lnTo>
                    <a:pt x="600404" y="586110"/>
                  </a:lnTo>
                  <a:lnTo>
                    <a:pt x="600404" y="590876"/>
                  </a:lnTo>
                  <a:lnTo>
                    <a:pt x="595640" y="605170"/>
                  </a:lnTo>
                  <a:lnTo>
                    <a:pt x="600404" y="624232"/>
                  </a:lnTo>
                  <a:lnTo>
                    <a:pt x="590872" y="624232"/>
                  </a:lnTo>
                  <a:lnTo>
                    <a:pt x="571812" y="614702"/>
                  </a:lnTo>
                  <a:lnTo>
                    <a:pt x="567048" y="609936"/>
                  </a:lnTo>
                  <a:lnTo>
                    <a:pt x="552752" y="614702"/>
                  </a:lnTo>
                  <a:lnTo>
                    <a:pt x="543224" y="605170"/>
                  </a:lnTo>
                  <a:lnTo>
                    <a:pt x="533692" y="595640"/>
                  </a:lnTo>
                  <a:lnTo>
                    <a:pt x="528928" y="595640"/>
                  </a:lnTo>
                  <a:lnTo>
                    <a:pt x="509868" y="595640"/>
                  </a:lnTo>
                  <a:lnTo>
                    <a:pt x="490808" y="600406"/>
                  </a:lnTo>
                  <a:lnTo>
                    <a:pt x="481276" y="600406"/>
                  </a:lnTo>
                  <a:lnTo>
                    <a:pt x="476512" y="600406"/>
                  </a:lnTo>
                  <a:lnTo>
                    <a:pt x="466980" y="619466"/>
                  </a:lnTo>
                  <a:lnTo>
                    <a:pt x="462216" y="614702"/>
                  </a:lnTo>
                  <a:lnTo>
                    <a:pt x="443156" y="609936"/>
                  </a:lnTo>
                  <a:lnTo>
                    <a:pt x="424096" y="605170"/>
                  </a:lnTo>
                  <a:lnTo>
                    <a:pt x="424096" y="609936"/>
                  </a:lnTo>
                  <a:lnTo>
                    <a:pt x="424096" y="624232"/>
                  </a:lnTo>
                  <a:lnTo>
                    <a:pt x="428860" y="633762"/>
                  </a:lnTo>
                  <a:lnTo>
                    <a:pt x="424096" y="638526"/>
                  </a:lnTo>
                  <a:lnTo>
                    <a:pt x="414564" y="648056"/>
                  </a:lnTo>
                  <a:lnTo>
                    <a:pt x="400268" y="657588"/>
                  </a:lnTo>
                  <a:lnTo>
                    <a:pt x="395504" y="667118"/>
                  </a:lnTo>
                  <a:lnTo>
                    <a:pt x="390740" y="667118"/>
                  </a:lnTo>
                  <a:lnTo>
                    <a:pt x="371676" y="667118"/>
                  </a:lnTo>
                  <a:lnTo>
                    <a:pt x="352616" y="671882"/>
                  </a:lnTo>
                  <a:lnTo>
                    <a:pt x="343088" y="676648"/>
                  </a:lnTo>
                  <a:lnTo>
                    <a:pt x="333556" y="686178"/>
                  </a:lnTo>
                  <a:lnTo>
                    <a:pt x="328792" y="686178"/>
                  </a:lnTo>
                  <a:lnTo>
                    <a:pt x="304968" y="667118"/>
                  </a:lnTo>
                  <a:lnTo>
                    <a:pt x="252548" y="657588"/>
                  </a:lnTo>
                  <a:lnTo>
                    <a:pt x="247784" y="648056"/>
                  </a:lnTo>
                  <a:lnTo>
                    <a:pt x="243020" y="648056"/>
                  </a:lnTo>
                  <a:lnTo>
                    <a:pt x="238256" y="662352"/>
                  </a:lnTo>
                  <a:lnTo>
                    <a:pt x="209664" y="671882"/>
                  </a:lnTo>
                  <a:lnTo>
                    <a:pt x="195368" y="662352"/>
                  </a:lnTo>
                  <a:lnTo>
                    <a:pt x="190604" y="657588"/>
                  </a:lnTo>
                  <a:lnTo>
                    <a:pt x="190604" y="648056"/>
                  </a:lnTo>
                  <a:lnTo>
                    <a:pt x="200132" y="638526"/>
                  </a:lnTo>
                  <a:lnTo>
                    <a:pt x="214428" y="628996"/>
                  </a:lnTo>
                  <a:lnTo>
                    <a:pt x="219192" y="609936"/>
                  </a:lnTo>
                  <a:lnTo>
                    <a:pt x="209664" y="586110"/>
                  </a:lnTo>
                  <a:lnTo>
                    <a:pt x="200132" y="576580"/>
                  </a:lnTo>
                  <a:lnTo>
                    <a:pt x="190604" y="571816"/>
                  </a:lnTo>
                  <a:lnTo>
                    <a:pt x="181072" y="581346"/>
                  </a:lnTo>
                  <a:lnTo>
                    <a:pt x="171544" y="595640"/>
                  </a:lnTo>
                  <a:lnTo>
                    <a:pt x="162012" y="605170"/>
                  </a:lnTo>
                  <a:lnTo>
                    <a:pt x="147716" y="605170"/>
                  </a:lnTo>
                  <a:lnTo>
                    <a:pt x="128656" y="605170"/>
                  </a:lnTo>
                  <a:lnTo>
                    <a:pt x="123892" y="581346"/>
                  </a:lnTo>
                  <a:lnTo>
                    <a:pt x="119128" y="557520"/>
                  </a:lnTo>
                  <a:lnTo>
                    <a:pt x="123892" y="533694"/>
                  </a:lnTo>
                  <a:lnTo>
                    <a:pt x="123892" y="519398"/>
                  </a:lnTo>
                  <a:lnTo>
                    <a:pt x="109596" y="500338"/>
                  </a:lnTo>
                  <a:lnTo>
                    <a:pt x="104832" y="481278"/>
                  </a:lnTo>
                  <a:lnTo>
                    <a:pt x="100064" y="471748"/>
                  </a:lnTo>
                  <a:lnTo>
                    <a:pt x="95300" y="476512"/>
                  </a:lnTo>
                  <a:lnTo>
                    <a:pt x="66708" y="419332"/>
                  </a:lnTo>
                  <a:lnTo>
                    <a:pt x="61944" y="390740"/>
                  </a:lnTo>
                  <a:lnTo>
                    <a:pt x="66708" y="371680"/>
                  </a:lnTo>
                  <a:lnTo>
                    <a:pt x="66708" y="366914"/>
                  </a:lnTo>
                  <a:lnTo>
                    <a:pt x="61944" y="352620"/>
                  </a:lnTo>
                  <a:lnTo>
                    <a:pt x="47648" y="343088"/>
                  </a:lnTo>
                  <a:lnTo>
                    <a:pt x="28588" y="328794"/>
                  </a:lnTo>
                  <a:lnTo>
                    <a:pt x="28588" y="300202"/>
                  </a:lnTo>
                  <a:lnTo>
                    <a:pt x="23824" y="271612"/>
                  </a:lnTo>
                  <a:lnTo>
                    <a:pt x="14292" y="262082"/>
                  </a:lnTo>
                  <a:lnTo>
                    <a:pt x="4764" y="243022"/>
                  </a:lnTo>
                  <a:lnTo>
                    <a:pt x="0" y="228726"/>
                  </a:lnTo>
                  <a:lnTo>
                    <a:pt x="0" y="185840"/>
                  </a:lnTo>
                  <a:lnTo>
                    <a:pt x="19060" y="181074"/>
                  </a:lnTo>
                  <a:lnTo>
                    <a:pt x="33352" y="181074"/>
                  </a:lnTo>
                  <a:lnTo>
                    <a:pt x="38120" y="171544"/>
                  </a:lnTo>
                  <a:lnTo>
                    <a:pt x="33352" y="166780"/>
                  </a:lnTo>
                  <a:lnTo>
                    <a:pt x="47648" y="157250"/>
                  </a:lnTo>
                  <a:lnTo>
                    <a:pt x="61944" y="138188"/>
                  </a:lnTo>
                  <a:lnTo>
                    <a:pt x="76240" y="119128"/>
                  </a:lnTo>
                  <a:lnTo>
                    <a:pt x="85772" y="104832"/>
                  </a:lnTo>
                  <a:lnTo>
                    <a:pt x="90536" y="90538"/>
                  </a:lnTo>
                  <a:lnTo>
                    <a:pt x="109596" y="71476"/>
                  </a:lnTo>
                  <a:lnTo>
                    <a:pt x="138188" y="57182"/>
                  </a:lnTo>
                  <a:lnTo>
                    <a:pt x="157248" y="57182"/>
                  </a:lnTo>
                  <a:lnTo>
                    <a:pt x="171544" y="52416"/>
                  </a:lnTo>
                  <a:lnTo>
                    <a:pt x="190604" y="47652"/>
                  </a:lnTo>
                  <a:lnTo>
                    <a:pt x="200132" y="42886"/>
                  </a:lnTo>
                  <a:lnTo>
                    <a:pt x="223960" y="52416"/>
                  </a:lnTo>
                  <a:lnTo>
                    <a:pt x="233488" y="57182"/>
                  </a:lnTo>
                  <a:lnTo>
                    <a:pt x="247784" y="52416"/>
                  </a:lnTo>
                  <a:lnTo>
                    <a:pt x="257316" y="57182"/>
                  </a:lnTo>
                  <a:lnTo>
                    <a:pt x="271612" y="57182"/>
                  </a:lnTo>
                  <a:lnTo>
                    <a:pt x="295436" y="47652"/>
                  </a:lnTo>
                  <a:lnTo>
                    <a:pt x="328792" y="52416"/>
                  </a:lnTo>
                  <a:lnTo>
                    <a:pt x="352616" y="47652"/>
                  </a:lnTo>
                  <a:lnTo>
                    <a:pt x="385972" y="42886"/>
                  </a:lnTo>
                  <a:lnTo>
                    <a:pt x="400268" y="47652"/>
                  </a:lnTo>
                  <a:lnTo>
                    <a:pt x="414564" y="52416"/>
                  </a:lnTo>
                  <a:lnTo>
                    <a:pt x="414564" y="66712"/>
                  </a:lnTo>
                  <a:lnTo>
                    <a:pt x="419328" y="71476"/>
                  </a:lnTo>
                  <a:lnTo>
                    <a:pt x="424096" y="76242"/>
                  </a:lnTo>
                  <a:lnTo>
                    <a:pt x="428860" y="76242"/>
                  </a:lnTo>
                  <a:lnTo>
                    <a:pt x="438388" y="66712"/>
                  </a:lnTo>
                  <a:lnTo>
                    <a:pt x="443156" y="57182"/>
                  </a:lnTo>
                  <a:lnTo>
                    <a:pt x="447920" y="57182"/>
                  </a:lnTo>
                  <a:lnTo>
                    <a:pt x="447920" y="61946"/>
                  </a:lnTo>
                  <a:lnTo>
                    <a:pt x="452684" y="71476"/>
                  </a:lnTo>
                  <a:lnTo>
                    <a:pt x="457452" y="81008"/>
                  </a:lnTo>
                  <a:lnTo>
                    <a:pt x="462216" y="85772"/>
                  </a:lnTo>
                  <a:lnTo>
                    <a:pt x="471744" y="95302"/>
                  </a:lnTo>
                  <a:lnTo>
                    <a:pt x="481276" y="95302"/>
                  </a:lnTo>
                  <a:lnTo>
                    <a:pt x="500336" y="85772"/>
                  </a:lnTo>
                  <a:lnTo>
                    <a:pt x="533692" y="100068"/>
                  </a:lnTo>
                  <a:lnTo>
                    <a:pt x="538456" y="104832"/>
                  </a:lnTo>
                  <a:lnTo>
                    <a:pt x="547988" y="119128"/>
                  </a:lnTo>
                  <a:lnTo>
                    <a:pt x="557516" y="123894"/>
                  </a:lnTo>
                  <a:lnTo>
                    <a:pt x="586108" y="123894"/>
                  </a:lnTo>
                  <a:lnTo>
                    <a:pt x="595640" y="104832"/>
                  </a:lnTo>
                  <a:lnTo>
                    <a:pt x="590872" y="90538"/>
                  </a:lnTo>
                  <a:lnTo>
                    <a:pt x="576580" y="71476"/>
                  </a:lnTo>
                  <a:lnTo>
                    <a:pt x="571812" y="57182"/>
                  </a:lnTo>
                  <a:lnTo>
                    <a:pt x="576580" y="57182"/>
                  </a:lnTo>
                  <a:lnTo>
                    <a:pt x="600404" y="52416"/>
                  </a:lnTo>
                  <a:lnTo>
                    <a:pt x="605168" y="52416"/>
                  </a:lnTo>
                  <a:lnTo>
                    <a:pt x="609936" y="38120"/>
                  </a:lnTo>
                  <a:lnTo>
                    <a:pt x="614700" y="38120"/>
                  </a:lnTo>
                  <a:lnTo>
                    <a:pt x="628996" y="38120"/>
                  </a:lnTo>
                  <a:lnTo>
                    <a:pt x="643292" y="28590"/>
                  </a:lnTo>
                  <a:lnTo>
                    <a:pt x="652820" y="19060"/>
                  </a:lnTo>
                  <a:lnTo>
                    <a:pt x="657584" y="23826"/>
                  </a:lnTo>
                  <a:lnTo>
                    <a:pt x="662352" y="33356"/>
                  </a:lnTo>
                  <a:lnTo>
                    <a:pt x="667116" y="38120"/>
                  </a:lnTo>
                  <a:lnTo>
                    <a:pt x="676648" y="42886"/>
                  </a:lnTo>
                  <a:lnTo>
                    <a:pt x="690940" y="52416"/>
                  </a:lnTo>
                  <a:lnTo>
                    <a:pt x="695708" y="57182"/>
                  </a:lnTo>
                  <a:lnTo>
                    <a:pt x="700472" y="61946"/>
                  </a:lnTo>
                  <a:lnTo>
                    <a:pt x="719532" y="61946"/>
                  </a:lnTo>
                  <a:lnTo>
                    <a:pt x="729064" y="47652"/>
                  </a:lnTo>
                  <a:lnTo>
                    <a:pt x="733828" y="42886"/>
                  </a:lnTo>
                  <a:lnTo>
                    <a:pt x="738592" y="47652"/>
                  </a:lnTo>
                  <a:lnTo>
                    <a:pt x="748124" y="47652"/>
                  </a:lnTo>
                  <a:lnTo>
                    <a:pt x="762420" y="33356"/>
                  </a:lnTo>
                  <a:lnTo>
                    <a:pt x="771948" y="19060"/>
                  </a:lnTo>
                  <a:lnTo>
                    <a:pt x="776712" y="19060"/>
                  </a:lnTo>
                  <a:lnTo>
                    <a:pt x="791008" y="23826"/>
                  </a:lnTo>
                  <a:lnTo>
                    <a:pt x="795776" y="23826"/>
                  </a:lnTo>
                  <a:lnTo>
                    <a:pt x="805304" y="476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2" name="Freeform 5531">
              <a:extLst>
                <a:ext uri="{FF2B5EF4-FFF2-40B4-BE49-F238E27FC236}">
                  <a16:creationId xmlns:a16="http://schemas.microsoft.com/office/drawing/2014/main" id="{FEFB3A70-9948-4E2B-85B9-1949CFCA68A8}"/>
                </a:ext>
              </a:extLst>
            </p:cNvPr>
            <p:cNvSpPr/>
            <p:nvPr/>
          </p:nvSpPr>
          <p:spPr bwMode="auto">
            <a:xfrm>
              <a:off x="3715843" y="4968470"/>
              <a:ext cx="2313" cy="2313"/>
            </a:xfrm>
            <a:custGeom>
              <a:avLst/>
              <a:gdLst>
                <a:gd name="T0" fmla="*/ 6 w 6"/>
                <a:gd name="T1" fmla="*/ 6 h 6"/>
                <a:gd name="T2" fmla="*/ 6 w 6"/>
                <a:gd name="T3" fmla="*/ 2 h 6"/>
                <a:gd name="T4" fmla="*/ 4 w 6"/>
                <a:gd name="T5" fmla="*/ 0 h 6"/>
                <a:gd name="T6" fmla="*/ 2 w 6"/>
                <a:gd name="T7" fmla="*/ 0 h 6"/>
                <a:gd name="T8" fmla="*/ 0 w 6"/>
                <a:gd name="T9" fmla="*/ 4 h 6"/>
                <a:gd name="T10" fmla="*/ 4 w 6"/>
                <a:gd name="T11" fmla="*/ 6 h 6"/>
                <a:gd name="T12" fmla="*/ 6 w 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6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4" y="6"/>
                  </a:lnTo>
                  <a:lnTo>
                    <a:pt x="6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3" name="Freeform 5532">
              <a:extLst>
                <a:ext uri="{FF2B5EF4-FFF2-40B4-BE49-F238E27FC236}">
                  <a16:creationId xmlns:a16="http://schemas.microsoft.com/office/drawing/2014/main" id="{0D1262CE-52CF-4DFD-8DD6-3EF5528496F3}"/>
                </a:ext>
              </a:extLst>
            </p:cNvPr>
            <p:cNvSpPr/>
            <p:nvPr/>
          </p:nvSpPr>
          <p:spPr bwMode="auto">
            <a:xfrm>
              <a:off x="3710447" y="4963074"/>
              <a:ext cx="5396" cy="4625"/>
            </a:xfrm>
            <a:custGeom>
              <a:avLst/>
              <a:gdLst>
                <a:gd name="T0" fmla="*/ 14 w 14"/>
                <a:gd name="T1" fmla="*/ 10 h 12"/>
                <a:gd name="T2" fmla="*/ 14 w 14"/>
                <a:gd name="T3" fmla="*/ 10 h 12"/>
                <a:gd name="T4" fmla="*/ 12 w 14"/>
                <a:gd name="T5" fmla="*/ 8 h 12"/>
                <a:gd name="T6" fmla="*/ 8 w 14"/>
                <a:gd name="T7" fmla="*/ 4 h 12"/>
                <a:gd name="T8" fmla="*/ 4 w 14"/>
                <a:gd name="T9" fmla="*/ 0 h 12"/>
                <a:gd name="T10" fmla="*/ 2 w 14"/>
                <a:gd name="T11" fmla="*/ 0 h 12"/>
                <a:gd name="T12" fmla="*/ 0 w 14"/>
                <a:gd name="T13" fmla="*/ 2 h 12"/>
                <a:gd name="T14" fmla="*/ 0 w 14"/>
                <a:gd name="T15" fmla="*/ 4 h 12"/>
                <a:gd name="T16" fmla="*/ 0 w 14"/>
                <a:gd name="T17" fmla="*/ 4 h 12"/>
                <a:gd name="T18" fmla="*/ 4 w 14"/>
                <a:gd name="T19" fmla="*/ 6 h 12"/>
                <a:gd name="T20" fmla="*/ 10 w 14"/>
                <a:gd name="T21" fmla="*/ 8 h 12"/>
                <a:gd name="T22" fmla="*/ 12 w 14"/>
                <a:gd name="T23" fmla="*/ 12 h 12"/>
                <a:gd name="T24" fmla="*/ 14 w 14"/>
                <a:gd name="T25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" h="12">
                  <a:moveTo>
                    <a:pt x="14" y="10"/>
                  </a:moveTo>
                  <a:lnTo>
                    <a:pt x="14" y="10"/>
                  </a:lnTo>
                  <a:lnTo>
                    <a:pt x="12" y="8"/>
                  </a:lnTo>
                  <a:lnTo>
                    <a:pt x="8" y="4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6"/>
                  </a:lnTo>
                  <a:lnTo>
                    <a:pt x="10" y="8"/>
                  </a:lnTo>
                  <a:lnTo>
                    <a:pt x="12" y="12"/>
                  </a:lnTo>
                  <a:lnTo>
                    <a:pt x="14" y="1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4" name="Line 5533">
              <a:extLst>
                <a:ext uri="{FF2B5EF4-FFF2-40B4-BE49-F238E27FC236}">
                  <a16:creationId xmlns:a16="http://schemas.microsoft.com/office/drawing/2014/main" id="{97EDE84C-BDAA-487F-A58A-EF973CA4A8C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15843" y="4966928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5" name="Line 5537">
              <a:extLst>
                <a:ext uri="{FF2B5EF4-FFF2-40B4-BE49-F238E27FC236}">
                  <a16:creationId xmlns:a16="http://schemas.microsoft.com/office/drawing/2014/main" id="{16AD7B75-9708-4A6B-A572-52A2464F579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15843" y="4966928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6" name="Freeform 5538">
              <a:extLst>
                <a:ext uri="{FF2B5EF4-FFF2-40B4-BE49-F238E27FC236}">
                  <a16:creationId xmlns:a16="http://schemas.microsoft.com/office/drawing/2014/main" id="{69C37B4E-9D39-4AB2-BE6F-B9C020C33D0A}"/>
                </a:ext>
              </a:extLst>
            </p:cNvPr>
            <p:cNvSpPr/>
            <p:nvPr/>
          </p:nvSpPr>
          <p:spPr bwMode="auto">
            <a:xfrm>
              <a:off x="8486414" y="4509028"/>
              <a:ext cx="19272" cy="10021"/>
            </a:xfrm>
            <a:custGeom>
              <a:avLst/>
              <a:gdLst>
                <a:gd name="T0" fmla="*/ 10 w 50"/>
                <a:gd name="T1" fmla="*/ 26 h 26"/>
                <a:gd name="T2" fmla="*/ 26 w 50"/>
                <a:gd name="T3" fmla="*/ 24 h 26"/>
                <a:gd name="T4" fmla="*/ 34 w 50"/>
                <a:gd name="T5" fmla="*/ 22 h 26"/>
                <a:gd name="T6" fmla="*/ 46 w 50"/>
                <a:gd name="T7" fmla="*/ 16 h 26"/>
                <a:gd name="T8" fmla="*/ 48 w 50"/>
                <a:gd name="T9" fmla="*/ 12 h 26"/>
                <a:gd name="T10" fmla="*/ 50 w 50"/>
                <a:gd name="T11" fmla="*/ 8 h 26"/>
                <a:gd name="T12" fmla="*/ 48 w 50"/>
                <a:gd name="T13" fmla="*/ 2 h 26"/>
                <a:gd name="T14" fmla="*/ 38 w 50"/>
                <a:gd name="T15" fmla="*/ 0 h 26"/>
                <a:gd name="T16" fmla="*/ 34 w 50"/>
                <a:gd name="T17" fmla="*/ 0 h 26"/>
                <a:gd name="T18" fmla="*/ 10 w 50"/>
                <a:gd name="T19" fmla="*/ 6 h 26"/>
                <a:gd name="T20" fmla="*/ 2 w 50"/>
                <a:gd name="T21" fmla="*/ 14 h 26"/>
                <a:gd name="T22" fmla="*/ 0 w 50"/>
                <a:gd name="T23" fmla="*/ 18 h 26"/>
                <a:gd name="T24" fmla="*/ 0 w 50"/>
                <a:gd name="T25" fmla="*/ 20 h 26"/>
                <a:gd name="T26" fmla="*/ 4 w 50"/>
                <a:gd name="T27" fmla="*/ 24 h 26"/>
                <a:gd name="T28" fmla="*/ 4 w 50"/>
                <a:gd name="T29" fmla="*/ 26 h 26"/>
                <a:gd name="T30" fmla="*/ 6 w 50"/>
                <a:gd name="T31" fmla="*/ 26 h 26"/>
                <a:gd name="T32" fmla="*/ 10 w 50"/>
                <a:gd name="T3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" h="26">
                  <a:moveTo>
                    <a:pt x="10" y="26"/>
                  </a:moveTo>
                  <a:lnTo>
                    <a:pt x="26" y="24"/>
                  </a:lnTo>
                  <a:lnTo>
                    <a:pt x="34" y="22"/>
                  </a:lnTo>
                  <a:lnTo>
                    <a:pt x="46" y="16"/>
                  </a:lnTo>
                  <a:lnTo>
                    <a:pt x="48" y="12"/>
                  </a:lnTo>
                  <a:lnTo>
                    <a:pt x="50" y="8"/>
                  </a:lnTo>
                  <a:lnTo>
                    <a:pt x="48" y="2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10" y="6"/>
                  </a:lnTo>
                  <a:lnTo>
                    <a:pt x="2" y="14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4" y="24"/>
                  </a:lnTo>
                  <a:lnTo>
                    <a:pt x="4" y="26"/>
                  </a:lnTo>
                  <a:lnTo>
                    <a:pt x="6" y="26"/>
                  </a:lnTo>
                  <a:lnTo>
                    <a:pt x="10" y="2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7" name="Freeform 185">
              <a:extLst>
                <a:ext uri="{FF2B5EF4-FFF2-40B4-BE49-F238E27FC236}">
                  <a16:creationId xmlns:a16="http://schemas.microsoft.com/office/drawing/2014/main" id="{D4A89F6F-5061-4C46-8D9C-B7C8DB83BA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481789" y="4350227"/>
              <a:ext cx="124882" cy="135675"/>
            </a:xfrm>
            <a:custGeom>
              <a:avLst/>
              <a:gdLst>
                <a:gd name="connsiteX0" fmla="*/ 109596 w 771952"/>
                <a:gd name="connsiteY0" fmla="*/ 819604 h 838664"/>
                <a:gd name="connsiteX1" fmla="*/ 119128 w 771952"/>
                <a:gd name="connsiteY1" fmla="*/ 829134 h 838664"/>
                <a:gd name="connsiteX2" fmla="*/ 119128 w 771952"/>
                <a:gd name="connsiteY2" fmla="*/ 838664 h 838664"/>
                <a:gd name="connsiteX3" fmla="*/ 109596 w 771952"/>
                <a:gd name="connsiteY3" fmla="*/ 838664 h 838664"/>
                <a:gd name="connsiteX4" fmla="*/ 100068 w 771952"/>
                <a:gd name="connsiteY4" fmla="*/ 829134 h 838664"/>
                <a:gd name="connsiteX5" fmla="*/ 100068 w 771952"/>
                <a:gd name="connsiteY5" fmla="*/ 824368 h 838664"/>
                <a:gd name="connsiteX6" fmla="*/ 38120 w 771952"/>
                <a:gd name="connsiteY6" fmla="*/ 791012 h 838664"/>
                <a:gd name="connsiteX7" fmla="*/ 52416 w 771952"/>
                <a:gd name="connsiteY7" fmla="*/ 791012 h 838664"/>
                <a:gd name="connsiteX8" fmla="*/ 61944 w 771952"/>
                <a:gd name="connsiteY8" fmla="*/ 800542 h 838664"/>
                <a:gd name="connsiteX9" fmla="*/ 52416 w 771952"/>
                <a:gd name="connsiteY9" fmla="*/ 814838 h 838664"/>
                <a:gd name="connsiteX10" fmla="*/ 38120 w 771952"/>
                <a:gd name="connsiteY10" fmla="*/ 824368 h 838664"/>
                <a:gd name="connsiteX11" fmla="*/ 28592 w 771952"/>
                <a:gd name="connsiteY11" fmla="*/ 829132 h 838664"/>
                <a:gd name="connsiteX12" fmla="*/ 23824 w 771952"/>
                <a:gd name="connsiteY12" fmla="*/ 824368 h 838664"/>
                <a:gd name="connsiteX13" fmla="*/ 19060 w 771952"/>
                <a:gd name="connsiteY13" fmla="*/ 819602 h 838664"/>
                <a:gd name="connsiteX14" fmla="*/ 19060 w 771952"/>
                <a:gd name="connsiteY14" fmla="*/ 810072 h 838664"/>
                <a:gd name="connsiteX15" fmla="*/ 38120 w 771952"/>
                <a:gd name="connsiteY15" fmla="*/ 795778 h 838664"/>
                <a:gd name="connsiteX16" fmla="*/ 281144 w 771952"/>
                <a:gd name="connsiteY16" fmla="*/ 767186 h 838664"/>
                <a:gd name="connsiteX17" fmla="*/ 281144 w 771952"/>
                <a:gd name="connsiteY17" fmla="*/ 781482 h 838664"/>
                <a:gd name="connsiteX18" fmla="*/ 281144 w 771952"/>
                <a:gd name="connsiteY18" fmla="*/ 786248 h 838664"/>
                <a:gd name="connsiteX19" fmla="*/ 271612 w 771952"/>
                <a:gd name="connsiteY19" fmla="*/ 776716 h 838664"/>
                <a:gd name="connsiteX20" fmla="*/ 14296 w 771952"/>
                <a:gd name="connsiteY20" fmla="*/ 724300 h 838664"/>
                <a:gd name="connsiteX21" fmla="*/ 28592 w 771952"/>
                <a:gd name="connsiteY21" fmla="*/ 738596 h 838664"/>
                <a:gd name="connsiteX22" fmla="*/ 28592 w 771952"/>
                <a:gd name="connsiteY22" fmla="*/ 757656 h 838664"/>
                <a:gd name="connsiteX23" fmla="*/ 23824 w 771952"/>
                <a:gd name="connsiteY23" fmla="*/ 762420 h 838664"/>
                <a:gd name="connsiteX24" fmla="*/ 19060 w 771952"/>
                <a:gd name="connsiteY24" fmla="*/ 762420 h 838664"/>
                <a:gd name="connsiteX25" fmla="*/ 14296 w 771952"/>
                <a:gd name="connsiteY25" fmla="*/ 748126 h 838664"/>
                <a:gd name="connsiteX26" fmla="*/ 9528 w 771952"/>
                <a:gd name="connsiteY26" fmla="*/ 738596 h 838664"/>
                <a:gd name="connsiteX27" fmla="*/ 0 w 771952"/>
                <a:gd name="connsiteY27" fmla="*/ 729066 h 838664"/>
                <a:gd name="connsiteX28" fmla="*/ 300204 w 771952"/>
                <a:gd name="connsiteY28" fmla="*/ 719536 h 838664"/>
                <a:gd name="connsiteX29" fmla="*/ 309732 w 771952"/>
                <a:gd name="connsiteY29" fmla="*/ 724300 h 838664"/>
                <a:gd name="connsiteX30" fmla="*/ 319264 w 771952"/>
                <a:gd name="connsiteY30" fmla="*/ 729066 h 838664"/>
                <a:gd name="connsiteX31" fmla="*/ 324028 w 771952"/>
                <a:gd name="connsiteY31" fmla="*/ 743360 h 838664"/>
                <a:gd name="connsiteX32" fmla="*/ 324028 w 771952"/>
                <a:gd name="connsiteY32" fmla="*/ 762420 h 838664"/>
                <a:gd name="connsiteX33" fmla="*/ 309732 w 771952"/>
                <a:gd name="connsiteY33" fmla="*/ 762420 h 838664"/>
                <a:gd name="connsiteX34" fmla="*/ 304968 w 771952"/>
                <a:gd name="connsiteY34" fmla="*/ 748126 h 838664"/>
                <a:gd name="connsiteX35" fmla="*/ 295436 w 771952"/>
                <a:gd name="connsiteY35" fmla="*/ 757656 h 838664"/>
                <a:gd name="connsiteX36" fmla="*/ 285908 w 771952"/>
                <a:gd name="connsiteY36" fmla="*/ 743360 h 838664"/>
                <a:gd name="connsiteX37" fmla="*/ 285908 w 771952"/>
                <a:gd name="connsiteY37" fmla="*/ 729066 h 838664"/>
                <a:gd name="connsiteX38" fmla="*/ 419332 w 771952"/>
                <a:gd name="connsiteY38" fmla="*/ 705240 h 838664"/>
                <a:gd name="connsiteX39" fmla="*/ 424096 w 771952"/>
                <a:gd name="connsiteY39" fmla="*/ 705240 h 838664"/>
                <a:gd name="connsiteX40" fmla="*/ 428860 w 771952"/>
                <a:gd name="connsiteY40" fmla="*/ 743360 h 838664"/>
                <a:gd name="connsiteX41" fmla="*/ 414564 w 771952"/>
                <a:gd name="connsiteY41" fmla="*/ 757656 h 838664"/>
                <a:gd name="connsiteX42" fmla="*/ 395504 w 771952"/>
                <a:gd name="connsiteY42" fmla="*/ 738596 h 838664"/>
                <a:gd name="connsiteX43" fmla="*/ 390740 w 771952"/>
                <a:gd name="connsiteY43" fmla="*/ 733830 h 838664"/>
                <a:gd name="connsiteX44" fmla="*/ 405036 w 771952"/>
                <a:gd name="connsiteY44" fmla="*/ 719536 h 838664"/>
                <a:gd name="connsiteX45" fmla="*/ 52416 w 771952"/>
                <a:gd name="connsiteY45" fmla="*/ 395506 h 838664"/>
                <a:gd name="connsiteX46" fmla="*/ 61944 w 771952"/>
                <a:gd name="connsiteY46" fmla="*/ 405036 h 838664"/>
                <a:gd name="connsiteX47" fmla="*/ 66712 w 771952"/>
                <a:gd name="connsiteY47" fmla="*/ 419332 h 838664"/>
                <a:gd name="connsiteX48" fmla="*/ 61944 w 771952"/>
                <a:gd name="connsiteY48" fmla="*/ 433628 h 838664"/>
                <a:gd name="connsiteX49" fmla="*/ 52416 w 771952"/>
                <a:gd name="connsiteY49" fmla="*/ 424096 h 838664"/>
                <a:gd name="connsiteX50" fmla="*/ 767184 w 771952"/>
                <a:gd name="connsiteY50" fmla="*/ 209668 h 838664"/>
                <a:gd name="connsiteX51" fmla="*/ 771952 w 771952"/>
                <a:gd name="connsiteY51" fmla="*/ 214432 h 838664"/>
                <a:gd name="connsiteX52" fmla="*/ 767184 w 771952"/>
                <a:gd name="connsiteY52" fmla="*/ 228728 h 838664"/>
                <a:gd name="connsiteX53" fmla="*/ 762420 w 771952"/>
                <a:gd name="connsiteY53" fmla="*/ 233492 h 838664"/>
                <a:gd name="connsiteX54" fmla="*/ 752888 w 771952"/>
                <a:gd name="connsiteY54" fmla="*/ 228728 h 838664"/>
                <a:gd name="connsiteX55" fmla="*/ 752888 w 771952"/>
                <a:gd name="connsiteY55" fmla="*/ 219198 h 838664"/>
                <a:gd name="connsiteX56" fmla="*/ 757656 w 771952"/>
                <a:gd name="connsiteY56" fmla="*/ 214432 h 838664"/>
                <a:gd name="connsiteX57" fmla="*/ 66712 w 771952"/>
                <a:gd name="connsiteY57" fmla="*/ 157250 h 838664"/>
                <a:gd name="connsiteX58" fmla="*/ 76240 w 771952"/>
                <a:gd name="connsiteY58" fmla="*/ 166780 h 838664"/>
                <a:gd name="connsiteX59" fmla="*/ 81008 w 771952"/>
                <a:gd name="connsiteY59" fmla="*/ 176310 h 838664"/>
                <a:gd name="connsiteX60" fmla="*/ 81008 w 771952"/>
                <a:gd name="connsiteY60" fmla="*/ 200136 h 838664"/>
                <a:gd name="connsiteX61" fmla="*/ 71476 w 771952"/>
                <a:gd name="connsiteY61" fmla="*/ 200136 h 838664"/>
                <a:gd name="connsiteX62" fmla="*/ 66712 w 771952"/>
                <a:gd name="connsiteY62" fmla="*/ 195370 h 838664"/>
                <a:gd name="connsiteX63" fmla="*/ 61948 w 771952"/>
                <a:gd name="connsiteY63" fmla="*/ 190606 h 838664"/>
                <a:gd name="connsiteX64" fmla="*/ 57180 w 771952"/>
                <a:gd name="connsiteY64" fmla="*/ 166780 h 838664"/>
                <a:gd name="connsiteX65" fmla="*/ 366912 w 771952"/>
                <a:gd name="connsiteY65" fmla="*/ 0 h 838664"/>
                <a:gd name="connsiteX66" fmla="*/ 371680 w 771952"/>
                <a:gd name="connsiteY66" fmla="*/ 0 h 838664"/>
                <a:gd name="connsiteX67" fmla="*/ 409800 w 771952"/>
                <a:gd name="connsiteY67" fmla="*/ 85774 h 838664"/>
                <a:gd name="connsiteX68" fmla="*/ 447920 w 771952"/>
                <a:gd name="connsiteY68" fmla="*/ 142954 h 838664"/>
                <a:gd name="connsiteX69" fmla="*/ 476512 w 771952"/>
                <a:gd name="connsiteY69" fmla="*/ 185840 h 838664"/>
                <a:gd name="connsiteX70" fmla="*/ 524164 w 771952"/>
                <a:gd name="connsiteY70" fmla="*/ 266848 h 838664"/>
                <a:gd name="connsiteX71" fmla="*/ 533692 w 771952"/>
                <a:gd name="connsiteY71" fmla="*/ 309734 h 838664"/>
                <a:gd name="connsiteX72" fmla="*/ 533692 w 771952"/>
                <a:gd name="connsiteY72" fmla="*/ 333560 h 838664"/>
                <a:gd name="connsiteX73" fmla="*/ 543224 w 771952"/>
                <a:gd name="connsiteY73" fmla="*/ 371680 h 838664"/>
                <a:gd name="connsiteX74" fmla="*/ 538460 w 771952"/>
                <a:gd name="connsiteY74" fmla="*/ 390742 h 838664"/>
                <a:gd name="connsiteX75" fmla="*/ 538460 w 771952"/>
                <a:gd name="connsiteY75" fmla="*/ 424098 h 838664"/>
                <a:gd name="connsiteX76" fmla="*/ 533692 w 771952"/>
                <a:gd name="connsiteY76" fmla="*/ 438392 h 838664"/>
                <a:gd name="connsiteX77" fmla="*/ 528928 w 771952"/>
                <a:gd name="connsiteY77" fmla="*/ 452688 h 838664"/>
                <a:gd name="connsiteX78" fmla="*/ 528928 w 771952"/>
                <a:gd name="connsiteY78" fmla="*/ 476514 h 838664"/>
                <a:gd name="connsiteX79" fmla="*/ 533692 w 771952"/>
                <a:gd name="connsiteY79" fmla="*/ 486044 h 838664"/>
                <a:gd name="connsiteX80" fmla="*/ 533692 w 771952"/>
                <a:gd name="connsiteY80" fmla="*/ 505104 h 838664"/>
                <a:gd name="connsiteX81" fmla="*/ 533692 w 771952"/>
                <a:gd name="connsiteY81" fmla="*/ 509870 h 838664"/>
                <a:gd name="connsiteX82" fmla="*/ 538460 w 771952"/>
                <a:gd name="connsiteY82" fmla="*/ 514634 h 838664"/>
                <a:gd name="connsiteX83" fmla="*/ 547988 w 771952"/>
                <a:gd name="connsiteY83" fmla="*/ 505104 h 838664"/>
                <a:gd name="connsiteX84" fmla="*/ 557520 w 771952"/>
                <a:gd name="connsiteY84" fmla="*/ 505104 h 838664"/>
                <a:gd name="connsiteX85" fmla="*/ 557520 w 771952"/>
                <a:gd name="connsiteY85" fmla="*/ 524164 h 838664"/>
                <a:gd name="connsiteX86" fmla="*/ 543224 w 771952"/>
                <a:gd name="connsiteY86" fmla="*/ 576582 h 838664"/>
                <a:gd name="connsiteX87" fmla="*/ 533692 w 771952"/>
                <a:gd name="connsiteY87" fmla="*/ 609936 h 838664"/>
                <a:gd name="connsiteX88" fmla="*/ 519400 w 771952"/>
                <a:gd name="connsiteY88" fmla="*/ 643292 h 838664"/>
                <a:gd name="connsiteX89" fmla="*/ 505104 w 771952"/>
                <a:gd name="connsiteY89" fmla="*/ 671884 h 838664"/>
                <a:gd name="connsiteX90" fmla="*/ 481276 w 771952"/>
                <a:gd name="connsiteY90" fmla="*/ 681414 h 838664"/>
                <a:gd name="connsiteX91" fmla="*/ 466980 w 771952"/>
                <a:gd name="connsiteY91" fmla="*/ 686180 h 838664"/>
                <a:gd name="connsiteX92" fmla="*/ 438392 w 771952"/>
                <a:gd name="connsiteY92" fmla="*/ 686180 h 838664"/>
                <a:gd name="connsiteX93" fmla="*/ 414564 w 771952"/>
                <a:gd name="connsiteY93" fmla="*/ 681414 h 838664"/>
                <a:gd name="connsiteX94" fmla="*/ 390740 w 771952"/>
                <a:gd name="connsiteY94" fmla="*/ 686180 h 838664"/>
                <a:gd name="connsiteX95" fmla="*/ 385976 w 771952"/>
                <a:gd name="connsiteY95" fmla="*/ 690944 h 838664"/>
                <a:gd name="connsiteX96" fmla="*/ 376444 w 771952"/>
                <a:gd name="connsiteY96" fmla="*/ 705240 h 838664"/>
                <a:gd name="connsiteX97" fmla="*/ 381208 w 771952"/>
                <a:gd name="connsiteY97" fmla="*/ 719534 h 838664"/>
                <a:gd name="connsiteX98" fmla="*/ 381208 w 771952"/>
                <a:gd name="connsiteY98" fmla="*/ 729066 h 838664"/>
                <a:gd name="connsiteX99" fmla="*/ 371680 w 771952"/>
                <a:gd name="connsiteY99" fmla="*/ 729066 h 838664"/>
                <a:gd name="connsiteX100" fmla="*/ 357384 w 771952"/>
                <a:gd name="connsiteY100" fmla="*/ 724300 h 838664"/>
                <a:gd name="connsiteX101" fmla="*/ 338324 w 771952"/>
                <a:gd name="connsiteY101" fmla="*/ 724300 h 838664"/>
                <a:gd name="connsiteX102" fmla="*/ 328792 w 771952"/>
                <a:gd name="connsiteY102" fmla="*/ 719534 h 838664"/>
                <a:gd name="connsiteX103" fmla="*/ 319264 w 771952"/>
                <a:gd name="connsiteY103" fmla="*/ 700474 h 838664"/>
                <a:gd name="connsiteX104" fmla="*/ 309732 w 771952"/>
                <a:gd name="connsiteY104" fmla="*/ 700474 h 838664"/>
                <a:gd name="connsiteX105" fmla="*/ 295436 w 771952"/>
                <a:gd name="connsiteY105" fmla="*/ 710004 h 838664"/>
                <a:gd name="connsiteX106" fmla="*/ 266848 w 771952"/>
                <a:gd name="connsiteY106" fmla="*/ 714770 h 838664"/>
                <a:gd name="connsiteX107" fmla="*/ 257316 w 771952"/>
                <a:gd name="connsiteY107" fmla="*/ 719534 h 838664"/>
                <a:gd name="connsiteX108" fmla="*/ 257316 w 771952"/>
                <a:gd name="connsiteY108" fmla="*/ 729066 h 838664"/>
                <a:gd name="connsiteX109" fmla="*/ 262080 w 771952"/>
                <a:gd name="connsiteY109" fmla="*/ 738596 h 838664"/>
                <a:gd name="connsiteX110" fmla="*/ 271612 w 771952"/>
                <a:gd name="connsiteY110" fmla="*/ 748126 h 838664"/>
                <a:gd name="connsiteX111" fmla="*/ 266848 w 771952"/>
                <a:gd name="connsiteY111" fmla="*/ 757656 h 838664"/>
                <a:gd name="connsiteX112" fmla="*/ 257316 w 771952"/>
                <a:gd name="connsiteY112" fmla="*/ 767186 h 838664"/>
                <a:gd name="connsiteX113" fmla="*/ 247784 w 771952"/>
                <a:gd name="connsiteY113" fmla="*/ 752890 h 838664"/>
                <a:gd name="connsiteX114" fmla="*/ 238256 w 771952"/>
                <a:gd name="connsiteY114" fmla="*/ 738596 h 838664"/>
                <a:gd name="connsiteX115" fmla="*/ 233492 w 771952"/>
                <a:gd name="connsiteY115" fmla="*/ 733830 h 838664"/>
                <a:gd name="connsiteX116" fmla="*/ 219196 w 771952"/>
                <a:gd name="connsiteY116" fmla="*/ 738596 h 838664"/>
                <a:gd name="connsiteX117" fmla="*/ 219196 w 771952"/>
                <a:gd name="connsiteY117" fmla="*/ 752890 h 838664"/>
                <a:gd name="connsiteX118" fmla="*/ 223960 w 771952"/>
                <a:gd name="connsiteY118" fmla="*/ 767186 h 838664"/>
                <a:gd name="connsiteX119" fmla="*/ 233492 w 771952"/>
                <a:gd name="connsiteY119" fmla="*/ 776716 h 838664"/>
                <a:gd name="connsiteX120" fmla="*/ 219196 w 771952"/>
                <a:gd name="connsiteY120" fmla="*/ 791012 h 838664"/>
                <a:gd name="connsiteX121" fmla="*/ 214432 w 771952"/>
                <a:gd name="connsiteY121" fmla="*/ 800542 h 838664"/>
                <a:gd name="connsiteX122" fmla="*/ 209664 w 771952"/>
                <a:gd name="connsiteY122" fmla="*/ 810072 h 838664"/>
                <a:gd name="connsiteX123" fmla="*/ 185840 w 771952"/>
                <a:gd name="connsiteY123" fmla="*/ 791012 h 838664"/>
                <a:gd name="connsiteX124" fmla="*/ 185840 w 771952"/>
                <a:gd name="connsiteY124" fmla="*/ 781482 h 838664"/>
                <a:gd name="connsiteX125" fmla="*/ 195368 w 771952"/>
                <a:gd name="connsiteY125" fmla="*/ 771952 h 838664"/>
                <a:gd name="connsiteX126" fmla="*/ 200136 w 771952"/>
                <a:gd name="connsiteY126" fmla="*/ 757656 h 838664"/>
                <a:gd name="connsiteX127" fmla="*/ 195368 w 771952"/>
                <a:gd name="connsiteY127" fmla="*/ 752890 h 838664"/>
                <a:gd name="connsiteX128" fmla="*/ 162012 w 771952"/>
                <a:gd name="connsiteY128" fmla="*/ 781482 h 838664"/>
                <a:gd name="connsiteX129" fmla="*/ 142952 w 771952"/>
                <a:gd name="connsiteY129" fmla="*/ 814838 h 838664"/>
                <a:gd name="connsiteX130" fmla="*/ 128656 w 771952"/>
                <a:gd name="connsiteY130" fmla="*/ 810072 h 838664"/>
                <a:gd name="connsiteX131" fmla="*/ 123892 w 771952"/>
                <a:gd name="connsiteY131" fmla="*/ 800542 h 838664"/>
                <a:gd name="connsiteX132" fmla="*/ 119128 w 771952"/>
                <a:gd name="connsiteY132" fmla="*/ 800542 h 838664"/>
                <a:gd name="connsiteX133" fmla="*/ 95300 w 771952"/>
                <a:gd name="connsiteY133" fmla="*/ 819602 h 838664"/>
                <a:gd name="connsiteX134" fmla="*/ 90536 w 771952"/>
                <a:gd name="connsiteY134" fmla="*/ 833898 h 838664"/>
                <a:gd name="connsiteX135" fmla="*/ 85772 w 771952"/>
                <a:gd name="connsiteY135" fmla="*/ 838664 h 838664"/>
                <a:gd name="connsiteX136" fmla="*/ 81008 w 771952"/>
                <a:gd name="connsiteY136" fmla="*/ 829132 h 838664"/>
                <a:gd name="connsiteX137" fmla="*/ 81008 w 771952"/>
                <a:gd name="connsiteY137" fmla="*/ 814838 h 838664"/>
                <a:gd name="connsiteX138" fmla="*/ 76240 w 771952"/>
                <a:gd name="connsiteY138" fmla="*/ 800542 h 838664"/>
                <a:gd name="connsiteX139" fmla="*/ 52416 w 771952"/>
                <a:gd name="connsiteY139" fmla="*/ 786246 h 838664"/>
                <a:gd name="connsiteX140" fmla="*/ 42884 w 771952"/>
                <a:gd name="connsiteY140" fmla="*/ 767186 h 838664"/>
                <a:gd name="connsiteX141" fmla="*/ 47652 w 771952"/>
                <a:gd name="connsiteY141" fmla="*/ 757656 h 838664"/>
                <a:gd name="connsiteX142" fmla="*/ 66712 w 771952"/>
                <a:gd name="connsiteY142" fmla="*/ 762420 h 838664"/>
                <a:gd name="connsiteX143" fmla="*/ 81008 w 771952"/>
                <a:gd name="connsiteY143" fmla="*/ 762420 h 838664"/>
                <a:gd name="connsiteX144" fmla="*/ 81008 w 771952"/>
                <a:gd name="connsiteY144" fmla="*/ 757656 h 838664"/>
                <a:gd name="connsiteX145" fmla="*/ 76240 w 771952"/>
                <a:gd name="connsiteY145" fmla="*/ 752890 h 838664"/>
                <a:gd name="connsiteX146" fmla="*/ 85772 w 771952"/>
                <a:gd name="connsiteY146" fmla="*/ 748126 h 838664"/>
                <a:gd name="connsiteX147" fmla="*/ 95300 w 771952"/>
                <a:gd name="connsiteY147" fmla="*/ 738596 h 838664"/>
                <a:gd name="connsiteX148" fmla="*/ 85772 w 771952"/>
                <a:gd name="connsiteY148" fmla="*/ 738596 h 838664"/>
                <a:gd name="connsiteX149" fmla="*/ 76240 w 771952"/>
                <a:gd name="connsiteY149" fmla="*/ 743360 h 838664"/>
                <a:gd name="connsiteX150" fmla="*/ 66712 w 771952"/>
                <a:gd name="connsiteY150" fmla="*/ 738596 h 838664"/>
                <a:gd name="connsiteX151" fmla="*/ 61944 w 771952"/>
                <a:gd name="connsiteY151" fmla="*/ 719534 h 838664"/>
                <a:gd name="connsiteX152" fmla="*/ 52416 w 771952"/>
                <a:gd name="connsiteY152" fmla="*/ 695710 h 838664"/>
                <a:gd name="connsiteX153" fmla="*/ 47652 w 771952"/>
                <a:gd name="connsiteY153" fmla="*/ 676648 h 838664"/>
                <a:gd name="connsiteX154" fmla="*/ 57180 w 771952"/>
                <a:gd name="connsiteY154" fmla="*/ 667118 h 838664"/>
                <a:gd name="connsiteX155" fmla="*/ 61944 w 771952"/>
                <a:gd name="connsiteY155" fmla="*/ 648058 h 838664"/>
                <a:gd name="connsiteX156" fmla="*/ 71476 w 771952"/>
                <a:gd name="connsiteY156" fmla="*/ 619468 h 838664"/>
                <a:gd name="connsiteX157" fmla="*/ 76240 w 771952"/>
                <a:gd name="connsiteY157" fmla="*/ 609936 h 838664"/>
                <a:gd name="connsiteX158" fmla="*/ 90536 w 771952"/>
                <a:gd name="connsiteY158" fmla="*/ 605172 h 838664"/>
                <a:gd name="connsiteX159" fmla="*/ 95300 w 771952"/>
                <a:gd name="connsiteY159" fmla="*/ 595642 h 838664"/>
                <a:gd name="connsiteX160" fmla="*/ 90536 w 771952"/>
                <a:gd name="connsiteY160" fmla="*/ 590876 h 838664"/>
                <a:gd name="connsiteX161" fmla="*/ 76240 w 771952"/>
                <a:gd name="connsiteY161" fmla="*/ 590876 h 838664"/>
                <a:gd name="connsiteX162" fmla="*/ 76240 w 771952"/>
                <a:gd name="connsiteY162" fmla="*/ 581346 h 838664"/>
                <a:gd name="connsiteX163" fmla="*/ 85772 w 771952"/>
                <a:gd name="connsiteY163" fmla="*/ 576582 h 838664"/>
                <a:gd name="connsiteX164" fmla="*/ 95300 w 771952"/>
                <a:gd name="connsiteY164" fmla="*/ 567050 h 838664"/>
                <a:gd name="connsiteX165" fmla="*/ 114364 w 771952"/>
                <a:gd name="connsiteY165" fmla="*/ 557520 h 838664"/>
                <a:gd name="connsiteX166" fmla="*/ 119128 w 771952"/>
                <a:gd name="connsiteY166" fmla="*/ 538460 h 838664"/>
                <a:gd name="connsiteX167" fmla="*/ 114364 w 771952"/>
                <a:gd name="connsiteY167" fmla="*/ 533696 h 838664"/>
                <a:gd name="connsiteX168" fmla="*/ 100068 w 771952"/>
                <a:gd name="connsiteY168" fmla="*/ 528930 h 838664"/>
                <a:gd name="connsiteX169" fmla="*/ 104832 w 771952"/>
                <a:gd name="connsiteY169" fmla="*/ 519400 h 838664"/>
                <a:gd name="connsiteX170" fmla="*/ 109596 w 771952"/>
                <a:gd name="connsiteY170" fmla="*/ 509870 h 838664"/>
                <a:gd name="connsiteX171" fmla="*/ 104832 w 771952"/>
                <a:gd name="connsiteY171" fmla="*/ 505104 h 838664"/>
                <a:gd name="connsiteX172" fmla="*/ 95300 w 771952"/>
                <a:gd name="connsiteY172" fmla="*/ 495574 h 838664"/>
                <a:gd name="connsiteX173" fmla="*/ 85772 w 771952"/>
                <a:gd name="connsiteY173" fmla="*/ 481278 h 838664"/>
                <a:gd name="connsiteX174" fmla="*/ 85772 w 771952"/>
                <a:gd name="connsiteY174" fmla="*/ 466984 h 838664"/>
                <a:gd name="connsiteX175" fmla="*/ 85772 w 771952"/>
                <a:gd name="connsiteY175" fmla="*/ 447922 h 838664"/>
                <a:gd name="connsiteX176" fmla="*/ 85772 w 771952"/>
                <a:gd name="connsiteY176" fmla="*/ 428862 h 838664"/>
                <a:gd name="connsiteX177" fmla="*/ 85772 w 771952"/>
                <a:gd name="connsiteY177" fmla="*/ 424098 h 838664"/>
                <a:gd name="connsiteX178" fmla="*/ 81008 w 771952"/>
                <a:gd name="connsiteY178" fmla="*/ 400272 h 838664"/>
                <a:gd name="connsiteX179" fmla="*/ 76240 w 771952"/>
                <a:gd name="connsiteY179" fmla="*/ 381212 h 838664"/>
                <a:gd name="connsiteX180" fmla="*/ 66712 w 771952"/>
                <a:gd name="connsiteY180" fmla="*/ 381212 h 838664"/>
                <a:gd name="connsiteX181" fmla="*/ 61944 w 771952"/>
                <a:gd name="connsiteY181" fmla="*/ 385976 h 838664"/>
                <a:gd name="connsiteX182" fmla="*/ 38120 w 771952"/>
                <a:gd name="connsiteY182" fmla="*/ 381212 h 838664"/>
                <a:gd name="connsiteX183" fmla="*/ 28592 w 771952"/>
                <a:gd name="connsiteY183" fmla="*/ 381212 h 838664"/>
                <a:gd name="connsiteX184" fmla="*/ 23824 w 771952"/>
                <a:gd name="connsiteY184" fmla="*/ 362150 h 838664"/>
                <a:gd name="connsiteX185" fmla="*/ 33356 w 771952"/>
                <a:gd name="connsiteY185" fmla="*/ 347856 h 838664"/>
                <a:gd name="connsiteX186" fmla="*/ 57180 w 771952"/>
                <a:gd name="connsiteY186" fmla="*/ 328794 h 838664"/>
                <a:gd name="connsiteX187" fmla="*/ 66712 w 771952"/>
                <a:gd name="connsiteY187" fmla="*/ 324030 h 838664"/>
                <a:gd name="connsiteX188" fmla="*/ 76240 w 771952"/>
                <a:gd name="connsiteY188" fmla="*/ 319264 h 838664"/>
                <a:gd name="connsiteX189" fmla="*/ 90536 w 771952"/>
                <a:gd name="connsiteY189" fmla="*/ 314500 h 838664"/>
                <a:gd name="connsiteX190" fmla="*/ 109596 w 771952"/>
                <a:gd name="connsiteY190" fmla="*/ 328794 h 838664"/>
                <a:gd name="connsiteX191" fmla="*/ 123892 w 771952"/>
                <a:gd name="connsiteY191" fmla="*/ 328794 h 838664"/>
                <a:gd name="connsiteX192" fmla="*/ 133424 w 771952"/>
                <a:gd name="connsiteY192" fmla="*/ 347856 h 838664"/>
                <a:gd name="connsiteX193" fmla="*/ 138188 w 771952"/>
                <a:gd name="connsiteY193" fmla="*/ 352620 h 838664"/>
                <a:gd name="connsiteX194" fmla="*/ 138188 w 771952"/>
                <a:gd name="connsiteY194" fmla="*/ 347856 h 838664"/>
                <a:gd name="connsiteX195" fmla="*/ 152484 w 771952"/>
                <a:gd name="connsiteY195" fmla="*/ 338324 h 838664"/>
                <a:gd name="connsiteX196" fmla="*/ 152484 w 771952"/>
                <a:gd name="connsiteY196" fmla="*/ 333560 h 838664"/>
                <a:gd name="connsiteX197" fmla="*/ 152484 w 771952"/>
                <a:gd name="connsiteY197" fmla="*/ 328794 h 838664"/>
                <a:gd name="connsiteX198" fmla="*/ 138188 w 771952"/>
                <a:gd name="connsiteY198" fmla="*/ 324030 h 838664"/>
                <a:gd name="connsiteX199" fmla="*/ 123892 w 771952"/>
                <a:gd name="connsiteY199" fmla="*/ 300204 h 838664"/>
                <a:gd name="connsiteX200" fmla="*/ 123892 w 771952"/>
                <a:gd name="connsiteY200" fmla="*/ 290674 h 838664"/>
                <a:gd name="connsiteX201" fmla="*/ 119128 w 771952"/>
                <a:gd name="connsiteY201" fmla="*/ 281144 h 838664"/>
                <a:gd name="connsiteX202" fmla="*/ 123892 w 771952"/>
                <a:gd name="connsiteY202" fmla="*/ 262082 h 838664"/>
                <a:gd name="connsiteX203" fmla="*/ 109596 w 771952"/>
                <a:gd name="connsiteY203" fmla="*/ 238258 h 838664"/>
                <a:gd name="connsiteX204" fmla="*/ 100068 w 771952"/>
                <a:gd name="connsiteY204" fmla="*/ 233492 h 838664"/>
                <a:gd name="connsiteX205" fmla="*/ 104832 w 771952"/>
                <a:gd name="connsiteY205" fmla="*/ 209666 h 838664"/>
                <a:gd name="connsiteX206" fmla="*/ 95300 w 771952"/>
                <a:gd name="connsiteY206" fmla="*/ 200136 h 838664"/>
                <a:gd name="connsiteX207" fmla="*/ 90536 w 771952"/>
                <a:gd name="connsiteY207" fmla="*/ 190606 h 838664"/>
                <a:gd name="connsiteX208" fmla="*/ 90536 w 771952"/>
                <a:gd name="connsiteY208" fmla="*/ 181076 h 838664"/>
                <a:gd name="connsiteX209" fmla="*/ 90536 w 771952"/>
                <a:gd name="connsiteY209" fmla="*/ 171546 h 838664"/>
                <a:gd name="connsiteX210" fmla="*/ 95300 w 771952"/>
                <a:gd name="connsiteY210" fmla="*/ 171546 h 838664"/>
                <a:gd name="connsiteX211" fmla="*/ 100068 w 771952"/>
                <a:gd name="connsiteY211" fmla="*/ 166780 h 838664"/>
                <a:gd name="connsiteX212" fmla="*/ 104832 w 771952"/>
                <a:gd name="connsiteY212" fmla="*/ 162016 h 838664"/>
                <a:gd name="connsiteX213" fmla="*/ 104832 w 771952"/>
                <a:gd name="connsiteY213" fmla="*/ 157250 h 838664"/>
                <a:gd name="connsiteX214" fmla="*/ 104832 w 771952"/>
                <a:gd name="connsiteY214" fmla="*/ 138190 h 838664"/>
                <a:gd name="connsiteX215" fmla="*/ 119128 w 771952"/>
                <a:gd name="connsiteY215" fmla="*/ 128660 h 838664"/>
                <a:gd name="connsiteX216" fmla="*/ 138188 w 771952"/>
                <a:gd name="connsiteY216" fmla="*/ 100068 h 838664"/>
                <a:gd name="connsiteX217" fmla="*/ 147720 w 771952"/>
                <a:gd name="connsiteY217" fmla="*/ 85774 h 838664"/>
                <a:gd name="connsiteX218" fmla="*/ 157248 w 771952"/>
                <a:gd name="connsiteY218" fmla="*/ 76244 h 838664"/>
                <a:gd name="connsiteX219" fmla="*/ 171544 w 771952"/>
                <a:gd name="connsiteY219" fmla="*/ 66712 h 838664"/>
                <a:gd name="connsiteX220" fmla="*/ 181076 w 771952"/>
                <a:gd name="connsiteY220" fmla="*/ 61948 h 838664"/>
                <a:gd name="connsiteX221" fmla="*/ 204900 w 771952"/>
                <a:gd name="connsiteY221" fmla="*/ 61948 h 838664"/>
                <a:gd name="connsiteX222" fmla="*/ 238256 w 771952"/>
                <a:gd name="connsiteY222" fmla="*/ 61948 h 838664"/>
                <a:gd name="connsiteX223" fmla="*/ 247784 w 771952"/>
                <a:gd name="connsiteY223" fmla="*/ 61948 h 838664"/>
                <a:gd name="connsiteX224" fmla="*/ 271612 w 771952"/>
                <a:gd name="connsiteY224" fmla="*/ 61948 h 838664"/>
                <a:gd name="connsiteX225" fmla="*/ 281140 w 771952"/>
                <a:gd name="connsiteY225" fmla="*/ 61948 h 838664"/>
                <a:gd name="connsiteX226" fmla="*/ 300204 w 771952"/>
                <a:gd name="connsiteY226" fmla="*/ 61948 h 838664"/>
                <a:gd name="connsiteX227" fmla="*/ 319264 w 771952"/>
                <a:gd name="connsiteY227" fmla="*/ 61948 h 838664"/>
                <a:gd name="connsiteX228" fmla="*/ 328792 w 771952"/>
                <a:gd name="connsiteY228" fmla="*/ 57182 h 838664"/>
                <a:gd name="connsiteX229" fmla="*/ 338324 w 771952"/>
                <a:gd name="connsiteY229" fmla="*/ 52418 h 838664"/>
                <a:gd name="connsiteX230" fmla="*/ 347852 w 771952"/>
                <a:gd name="connsiteY230" fmla="*/ 38122 h 838664"/>
                <a:gd name="connsiteX231" fmla="*/ 357384 w 771952"/>
                <a:gd name="connsiteY231" fmla="*/ 19062 h 838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</a:cxnLst>
              <a:rect l="l" t="t" r="r" b="b"/>
              <a:pathLst>
                <a:path w="771952" h="838664">
                  <a:moveTo>
                    <a:pt x="109596" y="819604"/>
                  </a:moveTo>
                  <a:lnTo>
                    <a:pt x="119128" y="829134"/>
                  </a:lnTo>
                  <a:lnTo>
                    <a:pt x="119128" y="838664"/>
                  </a:lnTo>
                  <a:lnTo>
                    <a:pt x="109596" y="838664"/>
                  </a:lnTo>
                  <a:lnTo>
                    <a:pt x="100068" y="829134"/>
                  </a:lnTo>
                  <a:lnTo>
                    <a:pt x="100068" y="824368"/>
                  </a:lnTo>
                  <a:close/>
                  <a:moveTo>
                    <a:pt x="38120" y="791012"/>
                  </a:moveTo>
                  <a:lnTo>
                    <a:pt x="52416" y="791012"/>
                  </a:lnTo>
                  <a:lnTo>
                    <a:pt x="61944" y="800542"/>
                  </a:lnTo>
                  <a:lnTo>
                    <a:pt x="52416" y="814838"/>
                  </a:lnTo>
                  <a:lnTo>
                    <a:pt x="38120" y="824368"/>
                  </a:lnTo>
                  <a:lnTo>
                    <a:pt x="28592" y="829132"/>
                  </a:lnTo>
                  <a:lnTo>
                    <a:pt x="23824" y="824368"/>
                  </a:lnTo>
                  <a:lnTo>
                    <a:pt x="19060" y="819602"/>
                  </a:lnTo>
                  <a:lnTo>
                    <a:pt x="19060" y="810072"/>
                  </a:lnTo>
                  <a:lnTo>
                    <a:pt x="38120" y="795778"/>
                  </a:lnTo>
                  <a:close/>
                  <a:moveTo>
                    <a:pt x="281144" y="767186"/>
                  </a:moveTo>
                  <a:lnTo>
                    <a:pt x="281144" y="781482"/>
                  </a:lnTo>
                  <a:lnTo>
                    <a:pt x="281144" y="786248"/>
                  </a:lnTo>
                  <a:lnTo>
                    <a:pt x="271612" y="776716"/>
                  </a:lnTo>
                  <a:close/>
                  <a:moveTo>
                    <a:pt x="14296" y="724300"/>
                  </a:moveTo>
                  <a:lnTo>
                    <a:pt x="28592" y="738596"/>
                  </a:lnTo>
                  <a:lnTo>
                    <a:pt x="28592" y="757656"/>
                  </a:lnTo>
                  <a:lnTo>
                    <a:pt x="23824" y="762420"/>
                  </a:lnTo>
                  <a:lnTo>
                    <a:pt x="19060" y="762420"/>
                  </a:lnTo>
                  <a:lnTo>
                    <a:pt x="14296" y="748126"/>
                  </a:lnTo>
                  <a:lnTo>
                    <a:pt x="9528" y="738596"/>
                  </a:lnTo>
                  <a:lnTo>
                    <a:pt x="0" y="729066"/>
                  </a:lnTo>
                  <a:close/>
                  <a:moveTo>
                    <a:pt x="300204" y="719536"/>
                  </a:moveTo>
                  <a:lnTo>
                    <a:pt x="309732" y="724300"/>
                  </a:lnTo>
                  <a:lnTo>
                    <a:pt x="319264" y="729066"/>
                  </a:lnTo>
                  <a:lnTo>
                    <a:pt x="324028" y="743360"/>
                  </a:lnTo>
                  <a:lnTo>
                    <a:pt x="324028" y="762420"/>
                  </a:lnTo>
                  <a:lnTo>
                    <a:pt x="309732" y="762420"/>
                  </a:lnTo>
                  <a:lnTo>
                    <a:pt x="304968" y="748126"/>
                  </a:lnTo>
                  <a:lnTo>
                    <a:pt x="295436" y="757656"/>
                  </a:lnTo>
                  <a:lnTo>
                    <a:pt x="285908" y="743360"/>
                  </a:lnTo>
                  <a:lnTo>
                    <a:pt x="285908" y="729066"/>
                  </a:lnTo>
                  <a:close/>
                  <a:moveTo>
                    <a:pt x="419332" y="705240"/>
                  </a:moveTo>
                  <a:lnTo>
                    <a:pt x="424096" y="705240"/>
                  </a:lnTo>
                  <a:lnTo>
                    <a:pt x="428860" y="743360"/>
                  </a:lnTo>
                  <a:lnTo>
                    <a:pt x="414564" y="757656"/>
                  </a:lnTo>
                  <a:lnTo>
                    <a:pt x="395504" y="738596"/>
                  </a:lnTo>
                  <a:lnTo>
                    <a:pt x="390740" y="733830"/>
                  </a:lnTo>
                  <a:lnTo>
                    <a:pt x="405036" y="719536"/>
                  </a:lnTo>
                  <a:close/>
                  <a:moveTo>
                    <a:pt x="52416" y="395506"/>
                  </a:moveTo>
                  <a:lnTo>
                    <a:pt x="61944" y="405036"/>
                  </a:lnTo>
                  <a:lnTo>
                    <a:pt x="66712" y="419332"/>
                  </a:lnTo>
                  <a:lnTo>
                    <a:pt x="61944" y="433628"/>
                  </a:lnTo>
                  <a:lnTo>
                    <a:pt x="52416" y="424096"/>
                  </a:lnTo>
                  <a:close/>
                  <a:moveTo>
                    <a:pt x="767184" y="209668"/>
                  </a:moveTo>
                  <a:lnTo>
                    <a:pt x="771952" y="214432"/>
                  </a:lnTo>
                  <a:lnTo>
                    <a:pt x="767184" y="228728"/>
                  </a:lnTo>
                  <a:lnTo>
                    <a:pt x="762420" y="233492"/>
                  </a:lnTo>
                  <a:lnTo>
                    <a:pt x="752888" y="228728"/>
                  </a:lnTo>
                  <a:lnTo>
                    <a:pt x="752888" y="219198"/>
                  </a:lnTo>
                  <a:lnTo>
                    <a:pt x="757656" y="214432"/>
                  </a:lnTo>
                  <a:close/>
                  <a:moveTo>
                    <a:pt x="66712" y="157250"/>
                  </a:moveTo>
                  <a:lnTo>
                    <a:pt x="76240" y="166780"/>
                  </a:lnTo>
                  <a:lnTo>
                    <a:pt x="81008" y="176310"/>
                  </a:lnTo>
                  <a:lnTo>
                    <a:pt x="81008" y="200136"/>
                  </a:lnTo>
                  <a:lnTo>
                    <a:pt x="71476" y="200136"/>
                  </a:lnTo>
                  <a:lnTo>
                    <a:pt x="66712" y="195370"/>
                  </a:lnTo>
                  <a:lnTo>
                    <a:pt x="61948" y="190606"/>
                  </a:lnTo>
                  <a:lnTo>
                    <a:pt x="57180" y="166780"/>
                  </a:lnTo>
                  <a:close/>
                  <a:moveTo>
                    <a:pt x="366912" y="0"/>
                  </a:moveTo>
                  <a:lnTo>
                    <a:pt x="371680" y="0"/>
                  </a:lnTo>
                  <a:lnTo>
                    <a:pt x="409800" y="85774"/>
                  </a:lnTo>
                  <a:lnTo>
                    <a:pt x="447920" y="142954"/>
                  </a:lnTo>
                  <a:lnTo>
                    <a:pt x="476512" y="185840"/>
                  </a:lnTo>
                  <a:lnTo>
                    <a:pt x="524164" y="266848"/>
                  </a:lnTo>
                  <a:lnTo>
                    <a:pt x="533692" y="309734"/>
                  </a:lnTo>
                  <a:lnTo>
                    <a:pt x="533692" y="333560"/>
                  </a:lnTo>
                  <a:lnTo>
                    <a:pt x="543224" y="371680"/>
                  </a:lnTo>
                  <a:lnTo>
                    <a:pt x="538460" y="390742"/>
                  </a:lnTo>
                  <a:lnTo>
                    <a:pt x="538460" y="424098"/>
                  </a:lnTo>
                  <a:lnTo>
                    <a:pt x="533692" y="438392"/>
                  </a:lnTo>
                  <a:lnTo>
                    <a:pt x="528928" y="452688"/>
                  </a:lnTo>
                  <a:lnTo>
                    <a:pt x="528928" y="476514"/>
                  </a:lnTo>
                  <a:lnTo>
                    <a:pt x="533692" y="486044"/>
                  </a:lnTo>
                  <a:lnTo>
                    <a:pt x="533692" y="505104"/>
                  </a:lnTo>
                  <a:lnTo>
                    <a:pt x="533692" y="509870"/>
                  </a:lnTo>
                  <a:lnTo>
                    <a:pt x="538460" y="514634"/>
                  </a:lnTo>
                  <a:lnTo>
                    <a:pt x="547988" y="505104"/>
                  </a:lnTo>
                  <a:lnTo>
                    <a:pt x="557520" y="505104"/>
                  </a:lnTo>
                  <a:lnTo>
                    <a:pt x="557520" y="524164"/>
                  </a:lnTo>
                  <a:lnTo>
                    <a:pt x="543224" y="576582"/>
                  </a:lnTo>
                  <a:lnTo>
                    <a:pt x="533692" y="609936"/>
                  </a:lnTo>
                  <a:lnTo>
                    <a:pt x="519400" y="643292"/>
                  </a:lnTo>
                  <a:lnTo>
                    <a:pt x="505104" y="671884"/>
                  </a:lnTo>
                  <a:lnTo>
                    <a:pt x="481276" y="681414"/>
                  </a:lnTo>
                  <a:lnTo>
                    <a:pt x="466980" y="686180"/>
                  </a:lnTo>
                  <a:lnTo>
                    <a:pt x="438392" y="686180"/>
                  </a:lnTo>
                  <a:lnTo>
                    <a:pt x="414564" y="681414"/>
                  </a:lnTo>
                  <a:lnTo>
                    <a:pt x="390740" y="686180"/>
                  </a:lnTo>
                  <a:lnTo>
                    <a:pt x="385976" y="690944"/>
                  </a:lnTo>
                  <a:lnTo>
                    <a:pt x="376444" y="705240"/>
                  </a:lnTo>
                  <a:lnTo>
                    <a:pt x="381208" y="719534"/>
                  </a:lnTo>
                  <a:lnTo>
                    <a:pt x="381208" y="729066"/>
                  </a:lnTo>
                  <a:lnTo>
                    <a:pt x="371680" y="729066"/>
                  </a:lnTo>
                  <a:lnTo>
                    <a:pt x="357384" y="724300"/>
                  </a:lnTo>
                  <a:lnTo>
                    <a:pt x="338324" y="724300"/>
                  </a:lnTo>
                  <a:lnTo>
                    <a:pt x="328792" y="719534"/>
                  </a:lnTo>
                  <a:lnTo>
                    <a:pt x="319264" y="700474"/>
                  </a:lnTo>
                  <a:lnTo>
                    <a:pt x="309732" y="700474"/>
                  </a:lnTo>
                  <a:lnTo>
                    <a:pt x="295436" y="710004"/>
                  </a:lnTo>
                  <a:lnTo>
                    <a:pt x="266848" y="714770"/>
                  </a:lnTo>
                  <a:lnTo>
                    <a:pt x="257316" y="719534"/>
                  </a:lnTo>
                  <a:lnTo>
                    <a:pt x="257316" y="729066"/>
                  </a:lnTo>
                  <a:lnTo>
                    <a:pt x="262080" y="738596"/>
                  </a:lnTo>
                  <a:lnTo>
                    <a:pt x="271612" y="748126"/>
                  </a:lnTo>
                  <a:lnTo>
                    <a:pt x="266848" y="757656"/>
                  </a:lnTo>
                  <a:lnTo>
                    <a:pt x="257316" y="767186"/>
                  </a:lnTo>
                  <a:lnTo>
                    <a:pt x="247784" y="752890"/>
                  </a:lnTo>
                  <a:lnTo>
                    <a:pt x="238256" y="738596"/>
                  </a:lnTo>
                  <a:lnTo>
                    <a:pt x="233492" y="733830"/>
                  </a:lnTo>
                  <a:lnTo>
                    <a:pt x="219196" y="738596"/>
                  </a:lnTo>
                  <a:lnTo>
                    <a:pt x="219196" y="752890"/>
                  </a:lnTo>
                  <a:lnTo>
                    <a:pt x="223960" y="767186"/>
                  </a:lnTo>
                  <a:lnTo>
                    <a:pt x="233492" y="776716"/>
                  </a:lnTo>
                  <a:lnTo>
                    <a:pt x="219196" y="791012"/>
                  </a:lnTo>
                  <a:lnTo>
                    <a:pt x="214432" y="800542"/>
                  </a:lnTo>
                  <a:lnTo>
                    <a:pt x="209664" y="810072"/>
                  </a:lnTo>
                  <a:lnTo>
                    <a:pt x="185840" y="791012"/>
                  </a:lnTo>
                  <a:lnTo>
                    <a:pt x="185840" y="781482"/>
                  </a:lnTo>
                  <a:lnTo>
                    <a:pt x="195368" y="771952"/>
                  </a:lnTo>
                  <a:lnTo>
                    <a:pt x="200136" y="757656"/>
                  </a:lnTo>
                  <a:lnTo>
                    <a:pt x="195368" y="752890"/>
                  </a:lnTo>
                  <a:lnTo>
                    <a:pt x="162012" y="781482"/>
                  </a:lnTo>
                  <a:lnTo>
                    <a:pt x="142952" y="814838"/>
                  </a:lnTo>
                  <a:lnTo>
                    <a:pt x="128656" y="810072"/>
                  </a:lnTo>
                  <a:lnTo>
                    <a:pt x="123892" y="800542"/>
                  </a:lnTo>
                  <a:lnTo>
                    <a:pt x="119128" y="800542"/>
                  </a:lnTo>
                  <a:lnTo>
                    <a:pt x="95300" y="819602"/>
                  </a:lnTo>
                  <a:lnTo>
                    <a:pt x="90536" y="833898"/>
                  </a:lnTo>
                  <a:lnTo>
                    <a:pt x="85772" y="838664"/>
                  </a:lnTo>
                  <a:lnTo>
                    <a:pt x="81008" y="829132"/>
                  </a:lnTo>
                  <a:lnTo>
                    <a:pt x="81008" y="814838"/>
                  </a:lnTo>
                  <a:lnTo>
                    <a:pt x="76240" y="800542"/>
                  </a:lnTo>
                  <a:lnTo>
                    <a:pt x="52416" y="786246"/>
                  </a:lnTo>
                  <a:lnTo>
                    <a:pt x="42884" y="767186"/>
                  </a:lnTo>
                  <a:lnTo>
                    <a:pt x="47652" y="757656"/>
                  </a:lnTo>
                  <a:lnTo>
                    <a:pt x="66712" y="762420"/>
                  </a:lnTo>
                  <a:lnTo>
                    <a:pt x="81008" y="762420"/>
                  </a:lnTo>
                  <a:lnTo>
                    <a:pt x="81008" y="757656"/>
                  </a:lnTo>
                  <a:lnTo>
                    <a:pt x="76240" y="752890"/>
                  </a:lnTo>
                  <a:lnTo>
                    <a:pt x="85772" y="748126"/>
                  </a:lnTo>
                  <a:lnTo>
                    <a:pt x="95300" y="738596"/>
                  </a:lnTo>
                  <a:lnTo>
                    <a:pt x="85772" y="738596"/>
                  </a:lnTo>
                  <a:lnTo>
                    <a:pt x="76240" y="743360"/>
                  </a:lnTo>
                  <a:lnTo>
                    <a:pt x="66712" y="738596"/>
                  </a:lnTo>
                  <a:lnTo>
                    <a:pt x="61944" y="719534"/>
                  </a:lnTo>
                  <a:lnTo>
                    <a:pt x="52416" y="695710"/>
                  </a:lnTo>
                  <a:lnTo>
                    <a:pt x="47652" y="676648"/>
                  </a:lnTo>
                  <a:lnTo>
                    <a:pt x="57180" y="667118"/>
                  </a:lnTo>
                  <a:lnTo>
                    <a:pt x="61944" y="648058"/>
                  </a:lnTo>
                  <a:lnTo>
                    <a:pt x="71476" y="619468"/>
                  </a:lnTo>
                  <a:lnTo>
                    <a:pt x="76240" y="609936"/>
                  </a:lnTo>
                  <a:lnTo>
                    <a:pt x="90536" y="605172"/>
                  </a:lnTo>
                  <a:lnTo>
                    <a:pt x="95300" y="595642"/>
                  </a:lnTo>
                  <a:lnTo>
                    <a:pt x="90536" y="590876"/>
                  </a:lnTo>
                  <a:lnTo>
                    <a:pt x="76240" y="590876"/>
                  </a:lnTo>
                  <a:lnTo>
                    <a:pt x="76240" y="581346"/>
                  </a:lnTo>
                  <a:lnTo>
                    <a:pt x="85772" y="576582"/>
                  </a:lnTo>
                  <a:lnTo>
                    <a:pt x="95300" y="567050"/>
                  </a:lnTo>
                  <a:lnTo>
                    <a:pt x="114364" y="557520"/>
                  </a:lnTo>
                  <a:lnTo>
                    <a:pt x="119128" y="538460"/>
                  </a:lnTo>
                  <a:lnTo>
                    <a:pt x="114364" y="533696"/>
                  </a:lnTo>
                  <a:lnTo>
                    <a:pt x="100068" y="528930"/>
                  </a:lnTo>
                  <a:lnTo>
                    <a:pt x="104832" y="519400"/>
                  </a:lnTo>
                  <a:lnTo>
                    <a:pt x="109596" y="509870"/>
                  </a:lnTo>
                  <a:lnTo>
                    <a:pt x="104832" y="505104"/>
                  </a:lnTo>
                  <a:lnTo>
                    <a:pt x="95300" y="495574"/>
                  </a:lnTo>
                  <a:lnTo>
                    <a:pt x="85772" y="481278"/>
                  </a:lnTo>
                  <a:lnTo>
                    <a:pt x="85772" y="466984"/>
                  </a:lnTo>
                  <a:lnTo>
                    <a:pt x="85772" y="447922"/>
                  </a:lnTo>
                  <a:lnTo>
                    <a:pt x="85772" y="428862"/>
                  </a:lnTo>
                  <a:lnTo>
                    <a:pt x="85772" y="424098"/>
                  </a:lnTo>
                  <a:lnTo>
                    <a:pt x="81008" y="400272"/>
                  </a:lnTo>
                  <a:lnTo>
                    <a:pt x="76240" y="381212"/>
                  </a:lnTo>
                  <a:lnTo>
                    <a:pt x="66712" y="381212"/>
                  </a:lnTo>
                  <a:lnTo>
                    <a:pt x="61944" y="385976"/>
                  </a:lnTo>
                  <a:lnTo>
                    <a:pt x="38120" y="381212"/>
                  </a:lnTo>
                  <a:lnTo>
                    <a:pt x="28592" y="381212"/>
                  </a:lnTo>
                  <a:lnTo>
                    <a:pt x="23824" y="362150"/>
                  </a:lnTo>
                  <a:lnTo>
                    <a:pt x="33356" y="347856"/>
                  </a:lnTo>
                  <a:lnTo>
                    <a:pt x="57180" y="328794"/>
                  </a:lnTo>
                  <a:lnTo>
                    <a:pt x="66712" y="324030"/>
                  </a:lnTo>
                  <a:lnTo>
                    <a:pt x="76240" y="319264"/>
                  </a:lnTo>
                  <a:lnTo>
                    <a:pt x="90536" y="314500"/>
                  </a:lnTo>
                  <a:lnTo>
                    <a:pt x="109596" y="328794"/>
                  </a:lnTo>
                  <a:lnTo>
                    <a:pt x="123892" y="328794"/>
                  </a:lnTo>
                  <a:lnTo>
                    <a:pt x="133424" y="347856"/>
                  </a:lnTo>
                  <a:lnTo>
                    <a:pt x="138188" y="352620"/>
                  </a:lnTo>
                  <a:lnTo>
                    <a:pt x="138188" y="347856"/>
                  </a:lnTo>
                  <a:lnTo>
                    <a:pt x="152484" y="338324"/>
                  </a:lnTo>
                  <a:lnTo>
                    <a:pt x="152484" y="333560"/>
                  </a:lnTo>
                  <a:lnTo>
                    <a:pt x="152484" y="328794"/>
                  </a:lnTo>
                  <a:lnTo>
                    <a:pt x="138188" y="324030"/>
                  </a:lnTo>
                  <a:lnTo>
                    <a:pt x="123892" y="300204"/>
                  </a:lnTo>
                  <a:lnTo>
                    <a:pt x="123892" y="290674"/>
                  </a:lnTo>
                  <a:lnTo>
                    <a:pt x="119128" y="281144"/>
                  </a:lnTo>
                  <a:lnTo>
                    <a:pt x="123892" y="262082"/>
                  </a:lnTo>
                  <a:lnTo>
                    <a:pt x="109596" y="238258"/>
                  </a:lnTo>
                  <a:lnTo>
                    <a:pt x="100068" y="233492"/>
                  </a:lnTo>
                  <a:lnTo>
                    <a:pt x="104832" y="209666"/>
                  </a:lnTo>
                  <a:lnTo>
                    <a:pt x="95300" y="200136"/>
                  </a:lnTo>
                  <a:lnTo>
                    <a:pt x="90536" y="190606"/>
                  </a:lnTo>
                  <a:lnTo>
                    <a:pt x="90536" y="181076"/>
                  </a:lnTo>
                  <a:lnTo>
                    <a:pt x="90536" y="171546"/>
                  </a:lnTo>
                  <a:lnTo>
                    <a:pt x="95300" y="171546"/>
                  </a:lnTo>
                  <a:lnTo>
                    <a:pt x="100068" y="166780"/>
                  </a:lnTo>
                  <a:lnTo>
                    <a:pt x="104832" y="162016"/>
                  </a:lnTo>
                  <a:lnTo>
                    <a:pt x="104832" y="157250"/>
                  </a:lnTo>
                  <a:lnTo>
                    <a:pt x="104832" y="138190"/>
                  </a:lnTo>
                  <a:lnTo>
                    <a:pt x="119128" y="128660"/>
                  </a:lnTo>
                  <a:lnTo>
                    <a:pt x="138188" y="100068"/>
                  </a:lnTo>
                  <a:lnTo>
                    <a:pt x="147720" y="85774"/>
                  </a:lnTo>
                  <a:lnTo>
                    <a:pt x="157248" y="76244"/>
                  </a:lnTo>
                  <a:lnTo>
                    <a:pt x="171544" y="66712"/>
                  </a:lnTo>
                  <a:lnTo>
                    <a:pt x="181076" y="61948"/>
                  </a:lnTo>
                  <a:lnTo>
                    <a:pt x="204900" y="61948"/>
                  </a:lnTo>
                  <a:lnTo>
                    <a:pt x="238256" y="61948"/>
                  </a:lnTo>
                  <a:lnTo>
                    <a:pt x="247784" y="61948"/>
                  </a:lnTo>
                  <a:lnTo>
                    <a:pt x="271612" y="61948"/>
                  </a:lnTo>
                  <a:lnTo>
                    <a:pt x="281140" y="61948"/>
                  </a:lnTo>
                  <a:lnTo>
                    <a:pt x="300204" y="61948"/>
                  </a:lnTo>
                  <a:lnTo>
                    <a:pt x="319264" y="61948"/>
                  </a:lnTo>
                  <a:lnTo>
                    <a:pt x="328792" y="57182"/>
                  </a:lnTo>
                  <a:lnTo>
                    <a:pt x="338324" y="52418"/>
                  </a:lnTo>
                  <a:lnTo>
                    <a:pt x="347852" y="38122"/>
                  </a:lnTo>
                  <a:lnTo>
                    <a:pt x="357384" y="1906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8" name="Freeform 5562">
              <a:extLst>
                <a:ext uri="{FF2B5EF4-FFF2-40B4-BE49-F238E27FC236}">
                  <a16:creationId xmlns:a16="http://schemas.microsoft.com/office/drawing/2014/main" id="{440D8C51-4534-47ED-8E23-835B6FB675A4}"/>
                </a:ext>
              </a:extLst>
            </p:cNvPr>
            <p:cNvSpPr/>
            <p:nvPr/>
          </p:nvSpPr>
          <p:spPr bwMode="auto">
            <a:xfrm>
              <a:off x="5804919" y="4194510"/>
              <a:ext cx="43169" cy="48565"/>
            </a:xfrm>
            <a:custGeom>
              <a:avLst/>
              <a:gdLst>
                <a:gd name="T0" fmla="*/ 98 w 112"/>
                <a:gd name="T1" fmla="*/ 88 h 126"/>
                <a:gd name="T2" fmla="*/ 98 w 112"/>
                <a:gd name="T3" fmla="*/ 82 h 126"/>
                <a:gd name="T4" fmla="*/ 104 w 112"/>
                <a:gd name="T5" fmla="*/ 76 h 126"/>
                <a:gd name="T6" fmla="*/ 112 w 112"/>
                <a:gd name="T7" fmla="*/ 56 h 126"/>
                <a:gd name="T8" fmla="*/ 110 w 112"/>
                <a:gd name="T9" fmla="*/ 52 h 126"/>
                <a:gd name="T10" fmla="*/ 88 w 112"/>
                <a:gd name="T11" fmla="*/ 46 h 126"/>
                <a:gd name="T12" fmla="*/ 84 w 112"/>
                <a:gd name="T13" fmla="*/ 36 h 126"/>
                <a:gd name="T14" fmla="*/ 78 w 112"/>
                <a:gd name="T15" fmla="*/ 28 h 126"/>
                <a:gd name="T16" fmla="*/ 66 w 112"/>
                <a:gd name="T17" fmla="*/ 16 h 126"/>
                <a:gd name="T18" fmla="*/ 56 w 112"/>
                <a:gd name="T19" fmla="*/ 10 h 126"/>
                <a:gd name="T20" fmla="*/ 52 w 112"/>
                <a:gd name="T21" fmla="*/ 4 h 126"/>
                <a:gd name="T22" fmla="*/ 50 w 112"/>
                <a:gd name="T23" fmla="*/ 0 h 126"/>
                <a:gd name="T24" fmla="*/ 44 w 112"/>
                <a:gd name="T25" fmla="*/ 4 h 126"/>
                <a:gd name="T26" fmla="*/ 38 w 112"/>
                <a:gd name="T27" fmla="*/ 8 h 126"/>
                <a:gd name="T28" fmla="*/ 40 w 112"/>
                <a:gd name="T29" fmla="*/ 16 h 126"/>
                <a:gd name="T30" fmla="*/ 38 w 112"/>
                <a:gd name="T31" fmla="*/ 22 h 126"/>
                <a:gd name="T32" fmla="*/ 28 w 112"/>
                <a:gd name="T33" fmla="*/ 32 h 126"/>
                <a:gd name="T34" fmla="*/ 28 w 112"/>
                <a:gd name="T35" fmla="*/ 36 h 126"/>
                <a:gd name="T36" fmla="*/ 12 w 112"/>
                <a:gd name="T37" fmla="*/ 42 h 126"/>
                <a:gd name="T38" fmla="*/ 6 w 112"/>
                <a:gd name="T39" fmla="*/ 46 h 126"/>
                <a:gd name="T40" fmla="*/ 0 w 112"/>
                <a:gd name="T41" fmla="*/ 48 h 126"/>
                <a:gd name="T42" fmla="*/ 2 w 112"/>
                <a:gd name="T43" fmla="*/ 58 h 126"/>
                <a:gd name="T44" fmla="*/ 2 w 112"/>
                <a:gd name="T45" fmla="*/ 64 h 126"/>
                <a:gd name="T46" fmla="*/ 10 w 112"/>
                <a:gd name="T47" fmla="*/ 76 h 126"/>
                <a:gd name="T48" fmla="*/ 20 w 112"/>
                <a:gd name="T49" fmla="*/ 86 h 126"/>
                <a:gd name="T50" fmla="*/ 30 w 112"/>
                <a:gd name="T51" fmla="*/ 94 h 126"/>
                <a:gd name="T52" fmla="*/ 34 w 112"/>
                <a:gd name="T53" fmla="*/ 112 h 126"/>
                <a:gd name="T54" fmla="*/ 34 w 112"/>
                <a:gd name="T55" fmla="*/ 124 h 126"/>
                <a:gd name="T56" fmla="*/ 42 w 112"/>
                <a:gd name="T57" fmla="*/ 126 h 126"/>
                <a:gd name="T58" fmla="*/ 46 w 112"/>
                <a:gd name="T59" fmla="*/ 122 h 126"/>
                <a:gd name="T60" fmla="*/ 48 w 112"/>
                <a:gd name="T61" fmla="*/ 106 h 126"/>
                <a:gd name="T62" fmla="*/ 72 w 112"/>
                <a:gd name="T63" fmla="*/ 98 h 126"/>
                <a:gd name="T64" fmla="*/ 80 w 112"/>
                <a:gd name="T65" fmla="*/ 104 h 126"/>
                <a:gd name="T66" fmla="*/ 82 w 112"/>
                <a:gd name="T67" fmla="*/ 102 h 126"/>
                <a:gd name="T68" fmla="*/ 88 w 112"/>
                <a:gd name="T69" fmla="*/ 94 h 126"/>
                <a:gd name="T70" fmla="*/ 100 w 112"/>
                <a:gd name="T71" fmla="*/ 9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2" h="125">
                  <a:moveTo>
                    <a:pt x="100" y="92"/>
                  </a:moveTo>
                  <a:lnTo>
                    <a:pt x="98" y="88"/>
                  </a:lnTo>
                  <a:lnTo>
                    <a:pt x="96" y="84"/>
                  </a:lnTo>
                  <a:lnTo>
                    <a:pt x="98" y="82"/>
                  </a:lnTo>
                  <a:lnTo>
                    <a:pt x="102" y="78"/>
                  </a:lnTo>
                  <a:lnTo>
                    <a:pt x="104" y="76"/>
                  </a:lnTo>
                  <a:lnTo>
                    <a:pt x="110" y="60"/>
                  </a:lnTo>
                  <a:lnTo>
                    <a:pt x="112" y="56"/>
                  </a:lnTo>
                  <a:lnTo>
                    <a:pt x="112" y="54"/>
                  </a:lnTo>
                  <a:lnTo>
                    <a:pt x="110" y="52"/>
                  </a:lnTo>
                  <a:lnTo>
                    <a:pt x="106" y="52"/>
                  </a:lnTo>
                  <a:lnTo>
                    <a:pt x="88" y="46"/>
                  </a:lnTo>
                  <a:lnTo>
                    <a:pt x="90" y="40"/>
                  </a:lnTo>
                  <a:lnTo>
                    <a:pt x="84" y="36"/>
                  </a:lnTo>
                  <a:lnTo>
                    <a:pt x="78" y="32"/>
                  </a:lnTo>
                  <a:lnTo>
                    <a:pt x="78" y="28"/>
                  </a:lnTo>
                  <a:lnTo>
                    <a:pt x="72" y="20"/>
                  </a:lnTo>
                  <a:lnTo>
                    <a:pt x="66" y="16"/>
                  </a:lnTo>
                  <a:lnTo>
                    <a:pt x="60" y="14"/>
                  </a:lnTo>
                  <a:lnTo>
                    <a:pt x="56" y="10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2"/>
                  </a:lnTo>
                  <a:lnTo>
                    <a:pt x="50" y="0"/>
                  </a:lnTo>
                  <a:lnTo>
                    <a:pt x="48" y="2"/>
                  </a:lnTo>
                  <a:lnTo>
                    <a:pt x="44" y="4"/>
                  </a:lnTo>
                  <a:lnTo>
                    <a:pt x="38" y="6"/>
                  </a:lnTo>
                  <a:lnTo>
                    <a:pt x="38" y="8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18"/>
                  </a:lnTo>
                  <a:lnTo>
                    <a:pt x="38" y="22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0" y="40"/>
                  </a:lnTo>
                  <a:lnTo>
                    <a:pt x="12" y="42"/>
                  </a:lnTo>
                  <a:lnTo>
                    <a:pt x="10" y="46"/>
                  </a:lnTo>
                  <a:lnTo>
                    <a:pt x="6" y="46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2" y="52"/>
                  </a:lnTo>
                  <a:lnTo>
                    <a:pt x="2" y="58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4" y="66"/>
                  </a:lnTo>
                  <a:lnTo>
                    <a:pt x="10" y="76"/>
                  </a:lnTo>
                  <a:lnTo>
                    <a:pt x="14" y="84"/>
                  </a:lnTo>
                  <a:lnTo>
                    <a:pt x="20" y="86"/>
                  </a:lnTo>
                  <a:lnTo>
                    <a:pt x="24" y="88"/>
                  </a:lnTo>
                  <a:lnTo>
                    <a:pt x="30" y="94"/>
                  </a:lnTo>
                  <a:lnTo>
                    <a:pt x="32" y="98"/>
                  </a:lnTo>
                  <a:lnTo>
                    <a:pt x="34" y="112"/>
                  </a:lnTo>
                  <a:lnTo>
                    <a:pt x="36" y="120"/>
                  </a:lnTo>
                  <a:lnTo>
                    <a:pt x="34" y="124"/>
                  </a:lnTo>
                  <a:lnTo>
                    <a:pt x="36" y="124"/>
                  </a:lnTo>
                  <a:lnTo>
                    <a:pt x="42" y="126"/>
                  </a:lnTo>
                  <a:lnTo>
                    <a:pt x="44" y="124"/>
                  </a:lnTo>
                  <a:lnTo>
                    <a:pt x="46" y="122"/>
                  </a:lnTo>
                  <a:lnTo>
                    <a:pt x="46" y="112"/>
                  </a:lnTo>
                  <a:lnTo>
                    <a:pt x="48" y="106"/>
                  </a:lnTo>
                  <a:lnTo>
                    <a:pt x="66" y="98"/>
                  </a:lnTo>
                  <a:lnTo>
                    <a:pt x="72" y="98"/>
                  </a:lnTo>
                  <a:lnTo>
                    <a:pt x="76" y="102"/>
                  </a:lnTo>
                  <a:lnTo>
                    <a:pt x="80" y="104"/>
                  </a:lnTo>
                  <a:lnTo>
                    <a:pt x="82" y="104"/>
                  </a:lnTo>
                  <a:lnTo>
                    <a:pt x="82" y="102"/>
                  </a:lnTo>
                  <a:lnTo>
                    <a:pt x="84" y="96"/>
                  </a:lnTo>
                  <a:lnTo>
                    <a:pt x="88" y="94"/>
                  </a:lnTo>
                  <a:lnTo>
                    <a:pt x="100" y="92"/>
                  </a:lnTo>
                  <a:lnTo>
                    <a:pt x="100" y="9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9" name="Freeform 187">
              <a:extLst>
                <a:ext uri="{FF2B5EF4-FFF2-40B4-BE49-F238E27FC236}">
                  <a16:creationId xmlns:a16="http://schemas.microsoft.com/office/drawing/2014/main" id="{8C351D0E-0735-41C8-8C7A-4E4CBCD0F5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74040" y="4611554"/>
              <a:ext cx="48565" cy="45481"/>
            </a:xfrm>
            <a:custGeom>
              <a:avLst/>
              <a:gdLst>
                <a:gd name="connsiteX0" fmla="*/ 262084 w 300204"/>
                <a:gd name="connsiteY0" fmla="*/ 19060 h 281140"/>
                <a:gd name="connsiteX1" fmla="*/ 266848 w 300204"/>
                <a:gd name="connsiteY1" fmla="*/ 28590 h 281140"/>
                <a:gd name="connsiteX2" fmla="*/ 285912 w 300204"/>
                <a:gd name="connsiteY2" fmla="*/ 57180 h 281140"/>
                <a:gd name="connsiteX3" fmla="*/ 285912 w 300204"/>
                <a:gd name="connsiteY3" fmla="*/ 66710 h 281140"/>
                <a:gd name="connsiteX4" fmla="*/ 285912 w 300204"/>
                <a:gd name="connsiteY4" fmla="*/ 71476 h 281140"/>
                <a:gd name="connsiteX5" fmla="*/ 271616 w 300204"/>
                <a:gd name="connsiteY5" fmla="*/ 85770 h 281140"/>
                <a:gd name="connsiteX6" fmla="*/ 266848 w 300204"/>
                <a:gd name="connsiteY6" fmla="*/ 90536 h 281140"/>
                <a:gd name="connsiteX7" fmla="*/ 257320 w 300204"/>
                <a:gd name="connsiteY7" fmla="*/ 85770 h 281140"/>
                <a:gd name="connsiteX8" fmla="*/ 252556 w 300204"/>
                <a:gd name="connsiteY8" fmla="*/ 76240 h 281140"/>
                <a:gd name="connsiteX9" fmla="*/ 243024 w 300204"/>
                <a:gd name="connsiteY9" fmla="*/ 52414 h 281140"/>
                <a:gd name="connsiteX10" fmla="*/ 247788 w 300204"/>
                <a:gd name="connsiteY10" fmla="*/ 42884 h 281140"/>
                <a:gd name="connsiteX11" fmla="*/ 247788 w 300204"/>
                <a:gd name="connsiteY11" fmla="*/ 38120 h 281140"/>
                <a:gd name="connsiteX12" fmla="*/ 252556 w 300204"/>
                <a:gd name="connsiteY12" fmla="*/ 33354 h 281140"/>
                <a:gd name="connsiteX13" fmla="*/ 257320 w 300204"/>
                <a:gd name="connsiteY13" fmla="*/ 23824 h 281140"/>
                <a:gd name="connsiteX14" fmla="*/ 152488 w 300204"/>
                <a:gd name="connsiteY14" fmla="*/ 0 h 281140"/>
                <a:gd name="connsiteX15" fmla="*/ 176312 w 300204"/>
                <a:gd name="connsiteY15" fmla="*/ 0 h 281140"/>
                <a:gd name="connsiteX16" fmla="*/ 181076 w 300204"/>
                <a:gd name="connsiteY16" fmla="*/ 0 h 281140"/>
                <a:gd name="connsiteX17" fmla="*/ 190608 w 300204"/>
                <a:gd name="connsiteY17" fmla="*/ 4764 h 281140"/>
                <a:gd name="connsiteX18" fmla="*/ 228728 w 300204"/>
                <a:gd name="connsiteY18" fmla="*/ 19060 h 281140"/>
                <a:gd name="connsiteX19" fmla="*/ 228728 w 300204"/>
                <a:gd name="connsiteY19" fmla="*/ 28590 h 281140"/>
                <a:gd name="connsiteX20" fmla="*/ 233492 w 300204"/>
                <a:gd name="connsiteY20" fmla="*/ 47650 h 281140"/>
                <a:gd name="connsiteX21" fmla="*/ 243024 w 300204"/>
                <a:gd name="connsiteY21" fmla="*/ 66710 h 281140"/>
                <a:gd name="connsiteX22" fmla="*/ 252552 w 300204"/>
                <a:gd name="connsiteY22" fmla="*/ 85772 h 281140"/>
                <a:gd name="connsiteX23" fmla="*/ 252552 w 300204"/>
                <a:gd name="connsiteY23" fmla="*/ 95302 h 281140"/>
                <a:gd name="connsiteX24" fmla="*/ 243024 w 300204"/>
                <a:gd name="connsiteY24" fmla="*/ 90536 h 281140"/>
                <a:gd name="connsiteX25" fmla="*/ 238260 w 300204"/>
                <a:gd name="connsiteY25" fmla="*/ 90536 h 281140"/>
                <a:gd name="connsiteX26" fmla="*/ 223964 w 300204"/>
                <a:gd name="connsiteY26" fmla="*/ 85772 h 281140"/>
                <a:gd name="connsiteX27" fmla="*/ 200136 w 300204"/>
                <a:gd name="connsiteY27" fmla="*/ 109596 h 281140"/>
                <a:gd name="connsiteX28" fmla="*/ 185840 w 300204"/>
                <a:gd name="connsiteY28" fmla="*/ 123892 h 281140"/>
                <a:gd name="connsiteX29" fmla="*/ 185840 w 300204"/>
                <a:gd name="connsiteY29" fmla="*/ 128658 h 281140"/>
                <a:gd name="connsiteX30" fmla="*/ 204904 w 300204"/>
                <a:gd name="connsiteY30" fmla="*/ 133422 h 281140"/>
                <a:gd name="connsiteX31" fmla="*/ 219196 w 300204"/>
                <a:gd name="connsiteY31" fmla="*/ 128658 h 281140"/>
                <a:gd name="connsiteX32" fmla="*/ 228728 w 300204"/>
                <a:gd name="connsiteY32" fmla="*/ 128658 h 281140"/>
                <a:gd name="connsiteX33" fmla="*/ 238260 w 300204"/>
                <a:gd name="connsiteY33" fmla="*/ 133422 h 281140"/>
                <a:gd name="connsiteX34" fmla="*/ 243024 w 300204"/>
                <a:gd name="connsiteY34" fmla="*/ 147718 h 281140"/>
                <a:gd name="connsiteX35" fmla="*/ 247788 w 300204"/>
                <a:gd name="connsiteY35" fmla="*/ 157248 h 281140"/>
                <a:gd name="connsiteX36" fmla="*/ 257320 w 300204"/>
                <a:gd name="connsiteY36" fmla="*/ 200134 h 281140"/>
                <a:gd name="connsiteX37" fmla="*/ 271616 w 300204"/>
                <a:gd name="connsiteY37" fmla="*/ 214430 h 281140"/>
                <a:gd name="connsiteX38" fmla="*/ 285908 w 300204"/>
                <a:gd name="connsiteY38" fmla="*/ 238254 h 281140"/>
                <a:gd name="connsiteX39" fmla="*/ 290676 w 300204"/>
                <a:gd name="connsiteY39" fmla="*/ 252550 h 281140"/>
                <a:gd name="connsiteX40" fmla="*/ 290676 w 300204"/>
                <a:gd name="connsiteY40" fmla="*/ 262080 h 281140"/>
                <a:gd name="connsiteX41" fmla="*/ 300204 w 300204"/>
                <a:gd name="connsiteY41" fmla="*/ 276376 h 281140"/>
                <a:gd name="connsiteX42" fmla="*/ 271616 w 300204"/>
                <a:gd name="connsiteY42" fmla="*/ 281140 h 281140"/>
                <a:gd name="connsiteX43" fmla="*/ 238260 w 300204"/>
                <a:gd name="connsiteY43" fmla="*/ 281140 h 281140"/>
                <a:gd name="connsiteX44" fmla="*/ 209668 w 300204"/>
                <a:gd name="connsiteY44" fmla="*/ 281140 h 281140"/>
                <a:gd name="connsiteX45" fmla="*/ 181076 w 300204"/>
                <a:gd name="connsiteY45" fmla="*/ 281140 h 281140"/>
                <a:gd name="connsiteX46" fmla="*/ 166780 w 300204"/>
                <a:gd name="connsiteY46" fmla="*/ 262080 h 281140"/>
                <a:gd name="connsiteX47" fmla="*/ 162016 w 300204"/>
                <a:gd name="connsiteY47" fmla="*/ 243020 h 281140"/>
                <a:gd name="connsiteX48" fmla="*/ 157252 w 300204"/>
                <a:gd name="connsiteY48" fmla="*/ 223960 h 281140"/>
                <a:gd name="connsiteX49" fmla="*/ 142956 w 300204"/>
                <a:gd name="connsiteY49" fmla="*/ 200134 h 281140"/>
                <a:gd name="connsiteX50" fmla="*/ 95304 w 300204"/>
                <a:gd name="connsiteY50" fmla="*/ 190604 h 281140"/>
                <a:gd name="connsiteX51" fmla="*/ 71480 w 300204"/>
                <a:gd name="connsiteY51" fmla="*/ 190604 h 281140"/>
                <a:gd name="connsiteX52" fmla="*/ 33356 w 300204"/>
                <a:gd name="connsiteY52" fmla="*/ 185838 h 281140"/>
                <a:gd name="connsiteX53" fmla="*/ 0 w 300204"/>
                <a:gd name="connsiteY53" fmla="*/ 181074 h 281140"/>
                <a:gd name="connsiteX54" fmla="*/ 28592 w 300204"/>
                <a:gd name="connsiteY54" fmla="*/ 152482 h 281140"/>
                <a:gd name="connsiteX55" fmla="*/ 38124 w 300204"/>
                <a:gd name="connsiteY55" fmla="*/ 133422 h 281140"/>
                <a:gd name="connsiteX56" fmla="*/ 57184 w 300204"/>
                <a:gd name="connsiteY56" fmla="*/ 100066 h 281140"/>
                <a:gd name="connsiteX57" fmla="*/ 71480 w 300204"/>
                <a:gd name="connsiteY57" fmla="*/ 76240 h 281140"/>
                <a:gd name="connsiteX58" fmla="*/ 81008 w 300204"/>
                <a:gd name="connsiteY58" fmla="*/ 47650 h 281140"/>
                <a:gd name="connsiteX59" fmla="*/ 90540 w 300204"/>
                <a:gd name="connsiteY59" fmla="*/ 28590 h 281140"/>
                <a:gd name="connsiteX60" fmla="*/ 90540 w 300204"/>
                <a:gd name="connsiteY60" fmla="*/ 23824 h 281140"/>
                <a:gd name="connsiteX61" fmla="*/ 95304 w 300204"/>
                <a:gd name="connsiteY61" fmla="*/ 19060 h 281140"/>
                <a:gd name="connsiteX62" fmla="*/ 109600 w 300204"/>
                <a:gd name="connsiteY62" fmla="*/ 9530 h 281140"/>
                <a:gd name="connsiteX63" fmla="*/ 128660 w 300204"/>
                <a:gd name="connsiteY63" fmla="*/ 4764 h 281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300204" h="281140">
                  <a:moveTo>
                    <a:pt x="262084" y="19060"/>
                  </a:moveTo>
                  <a:lnTo>
                    <a:pt x="266848" y="28590"/>
                  </a:lnTo>
                  <a:lnTo>
                    <a:pt x="285912" y="57180"/>
                  </a:lnTo>
                  <a:lnTo>
                    <a:pt x="285912" y="66710"/>
                  </a:lnTo>
                  <a:lnTo>
                    <a:pt x="285912" y="71476"/>
                  </a:lnTo>
                  <a:lnTo>
                    <a:pt x="271616" y="85770"/>
                  </a:lnTo>
                  <a:lnTo>
                    <a:pt x="266848" y="90536"/>
                  </a:lnTo>
                  <a:lnTo>
                    <a:pt x="257320" y="85770"/>
                  </a:lnTo>
                  <a:lnTo>
                    <a:pt x="252556" y="76240"/>
                  </a:lnTo>
                  <a:lnTo>
                    <a:pt x="243024" y="52414"/>
                  </a:lnTo>
                  <a:lnTo>
                    <a:pt x="247788" y="42884"/>
                  </a:lnTo>
                  <a:lnTo>
                    <a:pt x="247788" y="38120"/>
                  </a:lnTo>
                  <a:lnTo>
                    <a:pt x="252556" y="33354"/>
                  </a:lnTo>
                  <a:lnTo>
                    <a:pt x="257320" y="23824"/>
                  </a:lnTo>
                  <a:close/>
                  <a:moveTo>
                    <a:pt x="152488" y="0"/>
                  </a:moveTo>
                  <a:lnTo>
                    <a:pt x="176312" y="0"/>
                  </a:lnTo>
                  <a:lnTo>
                    <a:pt x="181076" y="0"/>
                  </a:lnTo>
                  <a:lnTo>
                    <a:pt x="190608" y="4764"/>
                  </a:lnTo>
                  <a:lnTo>
                    <a:pt x="228728" y="19060"/>
                  </a:lnTo>
                  <a:lnTo>
                    <a:pt x="228728" y="28590"/>
                  </a:lnTo>
                  <a:lnTo>
                    <a:pt x="233492" y="47650"/>
                  </a:lnTo>
                  <a:lnTo>
                    <a:pt x="243024" y="66710"/>
                  </a:lnTo>
                  <a:lnTo>
                    <a:pt x="252552" y="85772"/>
                  </a:lnTo>
                  <a:lnTo>
                    <a:pt x="252552" y="95302"/>
                  </a:lnTo>
                  <a:lnTo>
                    <a:pt x="243024" y="90536"/>
                  </a:lnTo>
                  <a:lnTo>
                    <a:pt x="238260" y="90536"/>
                  </a:lnTo>
                  <a:lnTo>
                    <a:pt x="223964" y="85772"/>
                  </a:lnTo>
                  <a:lnTo>
                    <a:pt x="200136" y="109596"/>
                  </a:lnTo>
                  <a:lnTo>
                    <a:pt x="185840" y="123892"/>
                  </a:lnTo>
                  <a:lnTo>
                    <a:pt x="185840" y="128658"/>
                  </a:lnTo>
                  <a:lnTo>
                    <a:pt x="204904" y="133422"/>
                  </a:lnTo>
                  <a:lnTo>
                    <a:pt x="219196" y="128658"/>
                  </a:lnTo>
                  <a:lnTo>
                    <a:pt x="228728" y="128658"/>
                  </a:lnTo>
                  <a:lnTo>
                    <a:pt x="238260" y="133422"/>
                  </a:lnTo>
                  <a:lnTo>
                    <a:pt x="243024" y="147718"/>
                  </a:lnTo>
                  <a:lnTo>
                    <a:pt x="247788" y="157248"/>
                  </a:lnTo>
                  <a:lnTo>
                    <a:pt x="257320" y="200134"/>
                  </a:lnTo>
                  <a:lnTo>
                    <a:pt x="271616" y="214430"/>
                  </a:lnTo>
                  <a:lnTo>
                    <a:pt x="285908" y="238254"/>
                  </a:lnTo>
                  <a:lnTo>
                    <a:pt x="290676" y="252550"/>
                  </a:lnTo>
                  <a:lnTo>
                    <a:pt x="290676" y="262080"/>
                  </a:lnTo>
                  <a:lnTo>
                    <a:pt x="300204" y="276376"/>
                  </a:lnTo>
                  <a:lnTo>
                    <a:pt x="271616" y="281140"/>
                  </a:lnTo>
                  <a:lnTo>
                    <a:pt x="238260" y="281140"/>
                  </a:lnTo>
                  <a:lnTo>
                    <a:pt x="209668" y="281140"/>
                  </a:lnTo>
                  <a:lnTo>
                    <a:pt x="181076" y="281140"/>
                  </a:lnTo>
                  <a:lnTo>
                    <a:pt x="166780" y="262080"/>
                  </a:lnTo>
                  <a:lnTo>
                    <a:pt x="162016" y="243020"/>
                  </a:lnTo>
                  <a:lnTo>
                    <a:pt x="157252" y="223960"/>
                  </a:lnTo>
                  <a:lnTo>
                    <a:pt x="142956" y="200134"/>
                  </a:lnTo>
                  <a:lnTo>
                    <a:pt x="95304" y="190604"/>
                  </a:lnTo>
                  <a:lnTo>
                    <a:pt x="71480" y="190604"/>
                  </a:lnTo>
                  <a:lnTo>
                    <a:pt x="33356" y="185838"/>
                  </a:lnTo>
                  <a:lnTo>
                    <a:pt x="0" y="181074"/>
                  </a:lnTo>
                  <a:lnTo>
                    <a:pt x="28592" y="152482"/>
                  </a:lnTo>
                  <a:lnTo>
                    <a:pt x="38124" y="133422"/>
                  </a:lnTo>
                  <a:lnTo>
                    <a:pt x="57184" y="100066"/>
                  </a:lnTo>
                  <a:lnTo>
                    <a:pt x="71480" y="76240"/>
                  </a:lnTo>
                  <a:lnTo>
                    <a:pt x="81008" y="47650"/>
                  </a:lnTo>
                  <a:lnTo>
                    <a:pt x="90540" y="28590"/>
                  </a:lnTo>
                  <a:lnTo>
                    <a:pt x="90540" y="23824"/>
                  </a:lnTo>
                  <a:lnTo>
                    <a:pt x="95304" y="19060"/>
                  </a:lnTo>
                  <a:lnTo>
                    <a:pt x="109600" y="9530"/>
                  </a:lnTo>
                  <a:lnTo>
                    <a:pt x="128660" y="476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0" name="Freeform 5572">
              <a:extLst>
                <a:ext uri="{FF2B5EF4-FFF2-40B4-BE49-F238E27FC236}">
                  <a16:creationId xmlns:a16="http://schemas.microsoft.com/office/drawing/2014/main" id="{059B063D-8748-4B94-A90E-D2D02AFCB699}"/>
                </a:ext>
              </a:extLst>
            </p:cNvPr>
            <p:cNvSpPr/>
            <p:nvPr/>
          </p:nvSpPr>
          <p:spPr bwMode="auto">
            <a:xfrm>
              <a:off x="7828085" y="4825858"/>
              <a:ext cx="190406" cy="228180"/>
            </a:xfrm>
            <a:custGeom>
              <a:avLst/>
              <a:gdLst>
                <a:gd name="T0" fmla="*/ 106 w 494"/>
                <a:gd name="T1" fmla="*/ 0 h 592"/>
                <a:gd name="T2" fmla="*/ 92 w 494"/>
                <a:gd name="T3" fmla="*/ 20 h 592"/>
                <a:gd name="T4" fmla="*/ 106 w 494"/>
                <a:gd name="T5" fmla="*/ 52 h 592"/>
                <a:gd name="T6" fmla="*/ 110 w 494"/>
                <a:gd name="T7" fmla="*/ 90 h 592"/>
                <a:gd name="T8" fmla="*/ 92 w 494"/>
                <a:gd name="T9" fmla="*/ 90 h 592"/>
                <a:gd name="T10" fmla="*/ 70 w 494"/>
                <a:gd name="T11" fmla="*/ 80 h 592"/>
                <a:gd name="T12" fmla="*/ 42 w 494"/>
                <a:gd name="T13" fmla="*/ 84 h 592"/>
                <a:gd name="T14" fmla="*/ 28 w 494"/>
                <a:gd name="T15" fmla="*/ 114 h 592"/>
                <a:gd name="T16" fmla="*/ 8 w 494"/>
                <a:gd name="T17" fmla="*/ 124 h 592"/>
                <a:gd name="T18" fmla="*/ 6 w 494"/>
                <a:gd name="T19" fmla="*/ 152 h 592"/>
                <a:gd name="T20" fmla="*/ 28 w 494"/>
                <a:gd name="T21" fmla="*/ 166 h 592"/>
                <a:gd name="T22" fmla="*/ 32 w 494"/>
                <a:gd name="T23" fmla="*/ 210 h 592"/>
                <a:gd name="T24" fmla="*/ 72 w 494"/>
                <a:gd name="T25" fmla="*/ 208 h 592"/>
                <a:gd name="T26" fmla="*/ 68 w 494"/>
                <a:gd name="T27" fmla="*/ 272 h 592"/>
                <a:gd name="T28" fmla="*/ 68 w 494"/>
                <a:gd name="T29" fmla="*/ 300 h 592"/>
                <a:gd name="T30" fmla="*/ 64 w 494"/>
                <a:gd name="T31" fmla="*/ 350 h 592"/>
                <a:gd name="T32" fmla="*/ 106 w 494"/>
                <a:gd name="T33" fmla="*/ 318 h 592"/>
                <a:gd name="T34" fmla="*/ 132 w 494"/>
                <a:gd name="T35" fmla="*/ 300 h 592"/>
                <a:gd name="T36" fmla="*/ 164 w 494"/>
                <a:gd name="T37" fmla="*/ 326 h 592"/>
                <a:gd name="T38" fmla="*/ 188 w 494"/>
                <a:gd name="T39" fmla="*/ 316 h 592"/>
                <a:gd name="T40" fmla="*/ 204 w 494"/>
                <a:gd name="T41" fmla="*/ 292 h 592"/>
                <a:gd name="T42" fmla="*/ 248 w 494"/>
                <a:gd name="T43" fmla="*/ 294 h 592"/>
                <a:gd name="T44" fmla="*/ 296 w 494"/>
                <a:gd name="T45" fmla="*/ 346 h 592"/>
                <a:gd name="T46" fmla="*/ 316 w 494"/>
                <a:gd name="T47" fmla="*/ 428 h 592"/>
                <a:gd name="T48" fmla="*/ 344 w 494"/>
                <a:gd name="T49" fmla="*/ 460 h 592"/>
                <a:gd name="T50" fmla="*/ 360 w 494"/>
                <a:gd name="T51" fmla="*/ 486 h 592"/>
                <a:gd name="T52" fmla="*/ 356 w 494"/>
                <a:gd name="T53" fmla="*/ 524 h 592"/>
                <a:gd name="T54" fmla="*/ 336 w 494"/>
                <a:gd name="T55" fmla="*/ 562 h 592"/>
                <a:gd name="T56" fmla="*/ 346 w 494"/>
                <a:gd name="T57" fmla="*/ 580 h 592"/>
                <a:gd name="T58" fmla="*/ 394 w 494"/>
                <a:gd name="T59" fmla="*/ 584 h 592"/>
                <a:gd name="T60" fmla="*/ 400 w 494"/>
                <a:gd name="T61" fmla="*/ 556 h 592"/>
                <a:gd name="T62" fmla="*/ 424 w 494"/>
                <a:gd name="T63" fmla="*/ 556 h 592"/>
                <a:gd name="T64" fmla="*/ 450 w 494"/>
                <a:gd name="T65" fmla="*/ 560 h 592"/>
                <a:gd name="T66" fmla="*/ 476 w 494"/>
                <a:gd name="T67" fmla="*/ 550 h 592"/>
                <a:gd name="T68" fmla="*/ 482 w 494"/>
                <a:gd name="T69" fmla="*/ 522 h 592"/>
                <a:gd name="T70" fmla="*/ 488 w 494"/>
                <a:gd name="T71" fmla="*/ 494 h 592"/>
                <a:gd name="T72" fmla="*/ 464 w 494"/>
                <a:gd name="T73" fmla="*/ 462 h 592"/>
                <a:gd name="T74" fmla="*/ 464 w 494"/>
                <a:gd name="T75" fmla="*/ 442 h 592"/>
                <a:gd name="T76" fmla="*/ 438 w 494"/>
                <a:gd name="T77" fmla="*/ 418 h 592"/>
                <a:gd name="T78" fmla="*/ 420 w 494"/>
                <a:gd name="T79" fmla="*/ 396 h 592"/>
                <a:gd name="T80" fmla="*/ 386 w 494"/>
                <a:gd name="T81" fmla="*/ 354 h 592"/>
                <a:gd name="T82" fmla="*/ 358 w 494"/>
                <a:gd name="T83" fmla="*/ 316 h 592"/>
                <a:gd name="T84" fmla="*/ 328 w 494"/>
                <a:gd name="T85" fmla="*/ 286 h 592"/>
                <a:gd name="T86" fmla="*/ 320 w 494"/>
                <a:gd name="T87" fmla="*/ 264 h 592"/>
                <a:gd name="T88" fmla="*/ 248 w 494"/>
                <a:gd name="T89" fmla="*/ 226 h 592"/>
                <a:gd name="T90" fmla="*/ 256 w 494"/>
                <a:gd name="T91" fmla="*/ 200 h 592"/>
                <a:gd name="T92" fmla="*/ 302 w 494"/>
                <a:gd name="T93" fmla="*/ 194 h 592"/>
                <a:gd name="T94" fmla="*/ 310 w 494"/>
                <a:gd name="T95" fmla="*/ 162 h 592"/>
                <a:gd name="T96" fmla="*/ 286 w 494"/>
                <a:gd name="T97" fmla="*/ 146 h 592"/>
                <a:gd name="T98" fmla="*/ 292 w 494"/>
                <a:gd name="T99" fmla="*/ 130 h 592"/>
                <a:gd name="T100" fmla="*/ 246 w 494"/>
                <a:gd name="T101" fmla="*/ 116 h 592"/>
                <a:gd name="T102" fmla="*/ 180 w 494"/>
                <a:gd name="T103" fmla="*/ 92 h 592"/>
                <a:gd name="T104" fmla="*/ 186 w 494"/>
                <a:gd name="T105" fmla="*/ 58 h 592"/>
                <a:gd name="T106" fmla="*/ 172 w 494"/>
                <a:gd name="T107" fmla="*/ 58 h 592"/>
                <a:gd name="T108" fmla="*/ 154 w 494"/>
                <a:gd name="T109" fmla="*/ 38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93" h="592">
                  <a:moveTo>
                    <a:pt x="132" y="8"/>
                  </a:moveTo>
                  <a:lnTo>
                    <a:pt x="128" y="6"/>
                  </a:lnTo>
                  <a:lnTo>
                    <a:pt x="124" y="4"/>
                  </a:lnTo>
                  <a:lnTo>
                    <a:pt x="120" y="4"/>
                  </a:lnTo>
                  <a:lnTo>
                    <a:pt x="112" y="8"/>
                  </a:lnTo>
                  <a:lnTo>
                    <a:pt x="108" y="0"/>
                  </a:lnTo>
                  <a:lnTo>
                    <a:pt x="106" y="0"/>
                  </a:lnTo>
                  <a:lnTo>
                    <a:pt x="104" y="0"/>
                  </a:lnTo>
                  <a:lnTo>
                    <a:pt x="102" y="2"/>
                  </a:lnTo>
                  <a:lnTo>
                    <a:pt x="100" y="6"/>
                  </a:lnTo>
                  <a:lnTo>
                    <a:pt x="98" y="12"/>
                  </a:lnTo>
                  <a:lnTo>
                    <a:pt x="94" y="16"/>
                  </a:lnTo>
                  <a:lnTo>
                    <a:pt x="92" y="18"/>
                  </a:lnTo>
                  <a:lnTo>
                    <a:pt x="92" y="20"/>
                  </a:lnTo>
                  <a:lnTo>
                    <a:pt x="94" y="24"/>
                  </a:lnTo>
                  <a:lnTo>
                    <a:pt x="94" y="26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4" y="44"/>
                  </a:lnTo>
                  <a:lnTo>
                    <a:pt x="106" y="48"/>
                  </a:lnTo>
                  <a:lnTo>
                    <a:pt x="106" y="52"/>
                  </a:lnTo>
                  <a:lnTo>
                    <a:pt x="106" y="64"/>
                  </a:lnTo>
                  <a:lnTo>
                    <a:pt x="106" y="68"/>
                  </a:lnTo>
                  <a:lnTo>
                    <a:pt x="104" y="78"/>
                  </a:lnTo>
                  <a:lnTo>
                    <a:pt x="104" y="84"/>
                  </a:lnTo>
                  <a:lnTo>
                    <a:pt x="108" y="86"/>
                  </a:lnTo>
                  <a:lnTo>
                    <a:pt x="110" y="90"/>
                  </a:lnTo>
                  <a:lnTo>
                    <a:pt x="110" y="90"/>
                  </a:lnTo>
                  <a:lnTo>
                    <a:pt x="108" y="92"/>
                  </a:lnTo>
                  <a:lnTo>
                    <a:pt x="106" y="96"/>
                  </a:lnTo>
                  <a:lnTo>
                    <a:pt x="104" y="96"/>
                  </a:lnTo>
                  <a:lnTo>
                    <a:pt x="102" y="94"/>
                  </a:lnTo>
                  <a:lnTo>
                    <a:pt x="98" y="92"/>
                  </a:lnTo>
                  <a:lnTo>
                    <a:pt x="96" y="92"/>
                  </a:lnTo>
                  <a:lnTo>
                    <a:pt x="92" y="90"/>
                  </a:lnTo>
                  <a:lnTo>
                    <a:pt x="86" y="90"/>
                  </a:lnTo>
                  <a:lnTo>
                    <a:pt x="76" y="92"/>
                  </a:lnTo>
                  <a:lnTo>
                    <a:pt x="74" y="92"/>
                  </a:lnTo>
                  <a:lnTo>
                    <a:pt x="72" y="90"/>
                  </a:lnTo>
                  <a:lnTo>
                    <a:pt x="72" y="86"/>
                  </a:lnTo>
                  <a:lnTo>
                    <a:pt x="72" y="82"/>
                  </a:lnTo>
                  <a:lnTo>
                    <a:pt x="70" y="80"/>
                  </a:lnTo>
                  <a:lnTo>
                    <a:pt x="68" y="78"/>
                  </a:lnTo>
                  <a:lnTo>
                    <a:pt x="70" y="70"/>
                  </a:lnTo>
                  <a:lnTo>
                    <a:pt x="66" y="66"/>
                  </a:lnTo>
                  <a:lnTo>
                    <a:pt x="62" y="72"/>
                  </a:lnTo>
                  <a:lnTo>
                    <a:pt x="52" y="80"/>
                  </a:lnTo>
                  <a:lnTo>
                    <a:pt x="46" y="84"/>
                  </a:lnTo>
                  <a:lnTo>
                    <a:pt x="42" y="84"/>
                  </a:lnTo>
                  <a:lnTo>
                    <a:pt x="38" y="88"/>
                  </a:lnTo>
                  <a:lnTo>
                    <a:pt x="36" y="96"/>
                  </a:lnTo>
                  <a:lnTo>
                    <a:pt x="32" y="102"/>
                  </a:lnTo>
                  <a:lnTo>
                    <a:pt x="28" y="104"/>
                  </a:lnTo>
                  <a:lnTo>
                    <a:pt x="28" y="106"/>
                  </a:lnTo>
                  <a:lnTo>
                    <a:pt x="26" y="112"/>
                  </a:lnTo>
                  <a:lnTo>
                    <a:pt x="28" y="114"/>
                  </a:lnTo>
                  <a:lnTo>
                    <a:pt x="32" y="114"/>
                  </a:lnTo>
                  <a:lnTo>
                    <a:pt x="32" y="116"/>
                  </a:lnTo>
                  <a:lnTo>
                    <a:pt x="28" y="118"/>
                  </a:lnTo>
                  <a:lnTo>
                    <a:pt x="24" y="120"/>
                  </a:lnTo>
                  <a:lnTo>
                    <a:pt x="18" y="118"/>
                  </a:lnTo>
                  <a:lnTo>
                    <a:pt x="14" y="120"/>
                  </a:lnTo>
                  <a:lnTo>
                    <a:pt x="8" y="124"/>
                  </a:lnTo>
                  <a:lnTo>
                    <a:pt x="4" y="134"/>
                  </a:lnTo>
                  <a:lnTo>
                    <a:pt x="0" y="150"/>
                  </a:lnTo>
                  <a:lnTo>
                    <a:pt x="0" y="154"/>
                  </a:lnTo>
                  <a:lnTo>
                    <a:pt x="0" y="158"/>
                  </a:lnTo>
                  <a:lnTo>
                    <a:pt x="0" y="158"/>
                  </a:lnTo>
                  <a:lnTo>
                    <a:pt x="4" y="156"/>
                  </a:lnTo>
                  <a:lnTo>
                    <a:pt x="6" y="152"/>
                  </a:lnTo>
                  <a:lnTo>
                    <a:pt x="10" y="150"/>
                  </a:lnTo>
                  <a:lnTo>
                    <a:pt x="12" y="148"/>
                  </a:lnTo>
                  <a:lnTo>
                    <a:pt x="16" y="152"/>
                  </a:lnTo>
                  <a:lnTo>
                    <a:pt x="20" y="158"/>
                  </a:lnTo>
                  <a:lnTo>
                    <a:pt x="24" y="164"/>
                  </a:lnTo>
                  <a:lnTo>
                    <a:pt x="26" y="164"/>
                  </a:lnTo>
                  <a:lnTo>
                    <a:pt x="28" y="166"/>
                  </a:lnTo>
                  <a:lnTo>
                    <a:pt x="28" y="170"/>
                  </a:lnTo>
                  <a:lnTo>
                    <a:pt x="26" y="176"/>
                  </a:lnTo>
                  <a:lnTo>
                    <a:pt x="22" y="184"/>
                  </a:lnTo>
                  <a:lnTo>
                    <a:pt x="18" y="194"/>
                  </a:lnTo>
                  <a:lnTo>
                    <a:pt x="20" y="200"/>
                  </a:lnTo>
                  <a:lnTo>
                    <a:pt x="26" y="206"/>
                  </a:lnTo>
                  <a:lnTo>
                    <a:pt x="32" y="210"/>
                  </a:lnTo>
                  <a:lnTo>
                    <a:pt x="40" y="210"/>
                  </a:lnTo>
                  <a:lnTo>
                    <a:pt x="44" y="208"/>
                  </a:lnTo>
                  <a:lnTo>
                    <a:pt x="48" y="204"/>
                  </a:lnTo>
                  <a:lnTo>
                    <a:pt x="52" y="204"/>
                  </a:lnTo>
                  <a:lnTo>
                    <a:pt x="56" y="204"/>
                  </a:lnTo>
                  <a:lnTo>
                    <a:pt x="68" y="206"/>
                  </a:lnTo>
                  <a:lnTo>
                    <a:pt x="72" y="208"/>
                  </a:lnTo>
                  <a:lnTo>
                    <a:pt x="72" y="212"/>
                  </a:lnTo>
                  <a:lnTo>
                    <a:pt x="70" y="222"/>
                  </a:lnTo>
                  <a:lnTo>
                    <a:pt x="72" y="230"/>
                  </a:lnTo>
                  <a:lnTo>
                    <a:pt x="76" y="240"/>
                  </a:lnTo>
                  <a:lnTo>
                    <a:pt x="76" y="246"/>
                  </a:lnTo>
                  <a:lnTo>
                    <a:pt x="72" y="260"/>
                  </a:lnTo>
                  <a:lnTo>
                    <a:pt x="68" y="272"/>
                  </a:lnTo>
                  <a:lnTo>
                    <a:pt x="64" y="278"/>
                  </a:lnTo>
                  <a:lnTo>
                    <a:pt x="62" y="282"/>
                  </a:lnTo>
                  <a:lnTo>
                    <a:pt x="60" y="284"/>
                  </a:lnTo>
                  <a:lnTo>
                    <a:pt x="60" y="286"/>
                  </a:lnTo>
                  <a:lnTo>
                    <a:pt x="64" y="290"/>
                  </a:lnTo>
                  <a:lnTo>
                    <a:pt x="66" y="294"/>
                  </a:lnTo>
                  <a:lnTo>
                    <a:pt x="68" y="300"/>
                  </a:lnTo>
                  <a:lnTo>
                    <a:pt x="66" y="304"/>
                  </a:lnTo>
                  <a:lnTo>
                    <a:pt x="64" y="312"/>
                  </a:lnTo>
                  <a:lnTo>
                    <a:pt x="58" y="328"/>
                  </a:lnTo>
                  <a:lnTo>
                    <a:pt x="52" y="344"/>
                  </a:lnTo>
                  <a:lnTo>
                    <a:pt x="54" y="346"/>
                  </a:lnTo>
                  <a:lnTo>
                    <a:pt x="60" y="348"/>
                  </a:lnTo>
                  <a:lnTo>
                    <a:pt x="64" y="350"/>
                  </a:lnTo>
                  <a:lnTo>
                    <a:pt x="68" y="350"/>
                  </a:lnTo>
                  <a:lnTo>
                    <a:pt x="78" y="340"/>
                  </a:lnTo>
                  <a:lnTo>
                    <a:pt x="84" y="334"/>
                  </a:lnTo>
                  <a:lnTo>
                    <a:pt x="94" y="328"/>
                  </a:lnTo>
                  <a:lnTo>
                    <a:pt x="94" y="326"/>
                  </a:lnTo>
                  <a:lnTo>
                    <a:pt x="102" y="322"/>
                  </a:lnTo>
                  <a:lnTo>
                    <a:pt x="106" y="318"/>
                  </a:lnTo>
                  <a:lnTo>
                    <a:pt x="108" y="312"/>
                  </a:lnTo>
                  <a:lnTo>
                    <a:pt x="112" y="310"/>
                  </a:lnTo>
                  <a:lnTo>
                    <a:pt x="114" y="312"/>
                  </a:lnTo>
                  <a:lnTo>
                    <a:pt x="120" y="310"/>
                  </a:lnTo>
                  <a:lnTo>
                    <a:pt x="126" y="302"/>
                  </a:lnTo>
                  <a:lnTo>
                    <a:pt x="130" y="300"/>
                  </a:lnTo>
                  <a:lnTo>
                    <a:pt x="132" y="300"/>
                  </a:lnTo>
                  <a:lnTo>
                    <a:pt x="138" y="304"/>
                  </a:lnTo>
                  <a:lnTo>
                    <a:pt x="146" y="312"/>
                  </a:lnTo>
                  <a:lnTo>
                    <a:pt x="152" y="316"/>
                  </a:lnTo>
                  <a:lnTo>
                    <a:pt x="160" y="318"/>
                  </a:lnTo>
                  <a:lnTo>
                    <a:pt x="162" y="320"/>
                  </a:lnTo>
                  <a:lnTo>
                    <a:pt x="162" y="324"/>
                  </a:lnTo>
                  <a:lnTo>
                    <a:pt x="164" y="326"/>
                  </a:lnTo>
                  <a:lnTo>
                    <a:pt x="166" y="328"/>
                  </a:lnTo>
                  <a:lnTo>
                    <a:pt x="168" y="326"/>
                  </a:lnTo>
                  <a:lnTo>
                    <a:pt x="168" y="324"/>
                  </a:lnTo>
                  <a:lnTo>
                    <a:pt x="170" y="322"/>
                  </a:lnTo>
                  <a:lnTo>
                    <a:pt x="176" y="318"/>
                  </a:lnTo>
                  <a:lnTo>
                    <a:pt x="182" y="316"/>
                  </a:lnTo>
                  <a:lnTo>
                    <a:pt x="188" y="316"/>
                  </a:lnTo>
                  <a:lnTo>
                    <a:pt x="192" y="312"/>
                  </a:lnTo>
                  <a:lnTo>
                    <a:pt x="194" y="304"/>
                  </a:lnTo>
                  <a:lnTo>
                    <a:pt x="198" y="300"/>
                  </a:lnTo>
                  <a:lnTo>
                    <a:pt x="202" y="296"/>
                  </a:lnTo>
                  <a:lnTo>
                    <a:pt x="206" y="296"/>
                  </a:lnTo>
                  <a:lnTo>
                    <a:pt x="206" y="294"/>
                  </a:lnTo>
                  <a:lnTo>
                    <a:pt x="204" y="292"/>
                  </a:lnTo>
                  <a:lnTo>
                    <a:pt x="204" y="288"/>
                  </a:lnTo>
                  <a:lnTo>
                    <a:pt x="208" y="286"/>
                  </a:lnTo>
                  <a:lnTo>
                    <a:pt x="212" y="286"/>
                  </a:lnTo>
                  <a:lnTo>
                    <a:pt x="220" y="286"/>
                  </a:lnTo>
                  <a:lnTo>
                    <a:pt x="230" y="288"/>
                  </a:lnTo>
                  <a:lnTo>
                    <a:pt x="240" y="292"/>
                  </a:lnTo>
                  <a:lnTo>
                    <a:pt x="248" y="294"/>
                  </a:lnTo>
                  <a:lnTo>
                    <a:pt x="250" y="292"/>
                  </a:lnTo>
                  <a:lnTo>
                    <a:pt x="258" y="300"/>
                  </a:lnTo>
                  <a:lnTo>
                    <a:pt x="266" y="316"/>
                  </a:lnTo>
                  <a:lnTo>
                    <a:pt x="276" y="328"/>
                  </a:lnTo>
                  <a:lnTo>
                    <a:pt x="282" y="336"/>
                  </a:lnTo>
                  <a:lnTo>
                    <a:pt x="290" y="342"/>
                  </a:lnTo>
                  <a:lnTo>
                    <a:pt x="296" y="346"/>
                  </a:lnTo>
                  <a:lnTo>
                    <a:pt x="302" y="352"/>
                  </a:lnTo>
                  <a:lnTo>
                    <a:pt x="308" y="362"/>
                  </a:lnTo>
                  <a:lnTo>
                    <a:pt x="304" y="378"/>
                  </a:lnTo>
                  <a:lnTo>
                    <a:pt x="302" y="392"/>
                  </a:lnTo>
                  <a:lnTo>
                    <a:pt x="304" y="408"/>
                  </a:lnTo>
                  <a:lnTo>
                    <a:pt x="308" y="420"/>
                  </a:lnTo>
                  <a:lnTo>
                    <a:pt x="316" y="428"/>
                  </a:lnTo>
                  <a:lnTo>
                    <a:pt x="322" y="436"/>
                  </a:lnTo>
                  <a:lnTo>
                    <a:pt x="322" y="440"/>
                  </a:lnTo>
                  <a:lnTo>
                    <a:pt x="330" y="446"/>
                  </a:lnTo>
                  <a:lnTo>
                    <a:pt x="342" y="450"/>
                  </a:lnTo>
                  <a:lnTo>
                    <a:pt x="346" y="452"/>
                  </a:lnTo>
                  <a:lnTo>
                    <a:pt x="344" y="456"/>
                  </a:lnTo>
                  <a:lnTo>
                    <a:pt x="344" y="460"/>
                  </a:lnTo>
                  <a:lnTo>
                    <a:pt x="346" y="464"/>
                  </a:lnTo>
                  <a:lnTo>
                    <a:pt x="350" y="466"/>
                  </a:lnTo>
                  <a:lnTo>
                    <a:pt x="356" y="470"/>
                  </a:lnTo>
                  <a:lnTo>
                    <a:pt x="360" y="472"/>
                  </a:lnTo>
                  <a:lnTo>
                    <a:pt x="362" y="476"/>
                  </a:lnTo>
                  <a:lnTo>
                    <a:pt x="362" y="480"/>
                  </a:lnTo>
                  <a:lnTo>
                    <a:pt x="360" y="486"/>
                  </a:lnTo>
                  <a:lnTo>
                    <a:pt x="358" y="492"/>
                  </a:lnTo>
                  <a:lnTo>
                    <a:pt x="354" y="496"/>
                  </a:lnTo>
                  <a:lnTo>
                    <a:pt x="352" y="498"/>
                  </a:lnTo>
                  <a:lnTo>
                    <a:pt x="352" y="502"/>
                  </a:lnTo>
                  <a:lnTo>
                    <a:pt x="352" y="510"/>
                  </a:lnTo>
                  <a:lnTo>
                    <a:pt x="354" y="516"/>
                  </a:lnTo>
                  <a:lnTo>
                    <a:pt x="356" y="524"/>
                  </a:lnTo>
                  <a:lnTo>
                    <a:pt x="354" y="530"/>
                  </a:lnTo>
                  <a:lnTo>
                    <a:pt x="352" y="542"/>
                  </a:lnTo>
                  <a:lnTo>
                    <a:pt x="352" y="548"/>
                  </a:lnTo>
                  <a:lnTo>
                    <a:pt x="350" y="552"/>
                  </a:lnTo>
                  <a:lnTo>
                    <a:pt x="348" y="556"/>
                  </a:lnTo>
                  <a:lnTo>
                    <a:pt x="342" y="560"/>
                  </a:lnTo>
                  <a:lnTo>
                    <a:pt x="336" y="562"/>
                  </a:lnTo>
                  <a:lnTo>
                    <a:pt x="332" y="564"/>
                  </a:lnTo>
                  <a:lnTo>
                    <a:pt x="332" y="566"/>
                  </a:lnTo>
                  <a:lnTo>
                    <a:pt x="334" y="570"/>
                  </a:lnTo>
                  <a:lnTo>
                    <a:pt x="336" y="574"/>
                  </a:lnTo>
                  <a:lnTo>
                    <a:pt x="338" y="576"/>
                  </a:lnTo>
                  <a:lnTo>
                    <a:pt x="342" y="580"/>
                  </a:lnTo>
                  <a:lnTo>
                    <a:pt x="346" y="580"/>
                  </a:lnTo>
                  <a:lnTo>
                    <a:pt x="354" y="576"/>
                  </a:lnTo>
                  <a:lnTo>
                    <a:pt x="368" y="582"/>
                  </a:lnTo>
                  <a:lnTo>
                    <a:pt x="370" y="584"/>
                  </a:lnTo>
                  <a:lnTo>
                    <a:pt x="374" y="590"/>
                  </a:lnTo>
                  <a:lnTo>
                    <a:pt x="378" y="592"/>
                  </a:lnTo>
                  <a:lnTo>
                    <a:pt x="390" y="592"/>
                  </a:lnTo>
                  <a:lnTo>
                    <a:pt x="394" y="584"/>
                  </a:lnTo>
                  <a:lnTo>
                    <a:pt x="392" y="578"/>
                  </a:lnTo>
                  <a:lnTo>
                    <a:pt x="386" y="570"/>
                  </a:lnTo>
                  <a:lnTo>
                    <a:pt x="384" y="564"/>
                  </a:lnTo>
                  <a:lnTo>
                    <a:pt x="386" y="564"/>
                  </a:lnTo>
                  <a:lnTo>
                    <a:pt x="396" y="562"/>
                  </a:lnTo>
                  <a:lnTo>
                    <a:pt x="398" y="562"/>
                  </a:lnTo>
                  <a:lnTo>
                    <a:pt x="400" y="556"/>
                  </a:lnTo>
                  <a:lnTo>
                    <a:pt x="402" y="556"/>
                  </a:lnTo>
                  <a:lnTo>
                    <a:pt x="408" y="556"/>
                  </a:lnTo>
                  <a:lnTo>
                    <a:pt x="414" y="552"/>
                  </a:lnTo>
                  <a:lnTo>
                    <a:pt x="418" y="548"/>
                  </a:lnTo>
                  <a:lnTo>
                    <a:pt x="420" y="550"/>
                  </a:lnTo>
                  <a:lnTo>
                    <a:pt x="422" y="554"/>
                  </a:lnTo>
                  <a:lnTo>
                    <a:pt x="424" y="556"/>
                  </a:lnTo>
                  <a:lnTo>
                    <a:pt x="428" y="558"/>
                  </a:lnTo>
                  <a:lnTo>
                    <a:pt x="434" y="562"/>
                  </a:lnTo>
                  <a:lnTo>
                    <a:pt x="436" y="564"/>
                  </a:lnTo>
                  <a:lnTo>
                    <a:pt x="438" y="566"/>
                  </a:lnTo>
                  <a:lnTo>
                    <a:pt x="446" y="566"/>
                  </a:lnTo>
                  <a:lnTo>
                    <a:pt x="446" y="566"/>
                  </a:lnTo>
                  <a:lnTo>
                    <a:pt x="450" y="560"/>
                  </a:lnTo>
                  <a:lnTo>
                    <a:pt x="452" y="558"/>
                  </a:lnTo>
                  <a:lnTo>
                    <a:pt x="454" y="560"/>
                  </a:lnTo>
                  <a:lnTo>
                    <a:pt x="458" y="560"/>
                  </a:lnTo>
                  <a:lnTo>
                    <a:pt x="464" y="554"/>
                  </a:lnTo>
                  <a:lnTo>
                    <a:pt x="468" y="548"/>
                  </a:lnTo>
                  <a:lnTo>
                    <a:pt x="470" y="548"/>
                  </a:lnTo>
                  <a:lnTo>
                    <a:pt x="476" y="550"/>
                  </a:lnTo>
                  <a:lnTo>
                    <a:pt x="478" y="550"/>
                  </a:lnTo>
                  <a:lnTo>
                    <a:pt x="482" y="542"/>
                  </a:lnTo>
                  <a:lnTo>
                    <a:pt x="484" y="540"/>
                  </a:lnTo>
                  <a:lnTo>
                    <a:pt x="484" y="532"/>
                  </a:lnTo>
                  <a:lnTo>
                    <a:pt x="486" y="528"/>
                  </a:lnTo>
                  <a:lnTo>
                    <a:pt x="484" y="526"/>
                  </a:lnTo>
                  <a:lnTo>
                    <a:pt x="482" y="522"/>
                  </a:lnTo>
                  <a:lnTo>
                    <a:pt x="484" y="518"/>
                  </a:lnTo>
                  <a:lnTo>
                    <a:pt x="488" y="516"/>
                  </a:lnTo>
                  <a:lnTo>
                    <a:pt x="490" y="512"/>
                  </a:lnTo>
                  <a:lnTo>
                    <a:pt x="492" y="506"/>
                  </a:lnTo>
                  <a:lnTo>
                    <a:pt x="494" y="502"/>
                  </a:lnTo>
                  <a:lnTo>
                    <a:pt x="492" y="498"/>
                  </a:lnTo>
                  <a:lnTo>
                    <a:pt x="488" y="494"/>
                  </a:lnTo>
                  <a:lnTo>
                    <a:pt x="480" y="488"/>
                  </a:lnTo>
                  <a:lnTo>
                    <a:pt x="472" y="482"/>
                  </a:lnTo>
                  <a:lnTo>
                    <a:pt x="470" y="478"/>
                  </a:lnTo>
                  <a:lnTo>
                    <a:pt x="466" y="474"/>
                  </a:lnTo>
                  <a:lnTo>
                    <a:pt x="464" y="468"/>
                  </a:lnTo>
                  <a:lnTo>
                    <a:pt x="462" y="466"/>
                  </a:lnTo>
                  <a:lnTo>
                    <a:pt x="464" y="462"/>
                  </a:lnTo>
                  <a:lnTo>
                    <a:pt x="474" y="458"/>
                  </a:lnTo>
                  <a:lnTo>
                    <a:pt x="476" y="456"/>
                  </a:lnTo>
                  <a:lnTo>
                    <a:pt x="478" y="452"/>
                  </a:lnTo>
                  <a:lnTo>
                    <a:pt x="476" y="448"/>
                  </a:lnTo>
                  <a:lnTo>
                    <a:pt x="474" y="448"/>
                  </a:lnTo>
                  <a:lnTo>
                    <a:pt x="470" y="446"/>
                  </a:lnTo>
                  <a:lnTo>
                    <a:pt x="464" y="442"/>
                  </a:lnTo>
                  <a:lnTo>
                    <a:pt x="456" y="432"/>
                  </a:lnTo>
                  <a:lnTo>
                    <a:pt x="450" y="430"/>
                  </a:lnTo>
                  <a:lnTo>
                    <a:pt x="446" y="428"/>
                  </a:lnTo>
                  <a:lnTo>
                    <a:pt x="444" y="424"/>
                  </a:lnTo>
                  <a:lnTo>
                    <a:pt x="440" y="416"/>
                  </a:lnTo>
                  <a:lnTo>
                    <a:pt x="440" y="416"/>
                  </a:lnTo>
                  <a:lnTo>
                    <a:pt x="438" y="418"/>
                  </a:lnTo>
                  <a:lnTo>
                    <a:pt x="434" y="420"/>
                  </a:lnTo>
                  <a:lnTo>
                    <a:pt x="430" y="420"/>
                  </a:lnTo>
                  <a:lnTo>
                    <a:pt x="428" y="418"/>
                  </a:lnTo>
                  <a:lnTo>
                    <a:pt x="426" y="416"/>
                  </a:lnTo>
                  <a:lnTo>
                    <a:pt x="424" y="410"/>
                  </a:lnTo>
                  <a:lnTo>
                    <a:pt x="422" y="408"/>
                  </a:lnTo>
                  <a:lnTo>
                    <a:pt x="420" y="396"/>
                  </a:lnTo>
                  <a:lnTo>
                    <a:pt x="420" y="392"/>
                  </a:lnTo>
                  <a:lnTo>
                    <a:pt x="418" y="386"/>
                  </a:lnTo>
                  <a:lnTo>
                    <a:pt x="416" y="384"/>
                  </a:lnTo>
                  <a:lnTo>
                    <a:pt x="414" y="384"/>
                  </a:lnTo>
                  <a:lnTo>
                    <a:pt x="408" y="374"/>
                  </a:lnTo>
                  <a:lnTo>
                    <a:pt x="402" y="368"/>
                  </a:lnTo>
                  <a:lnTo>
                    <a:pt x="386" y="354"/>
                  </a:lnTo>
                  <a:lnTo>
                    <a:pt x="384" y="352"/>
                  </a:lnTo>
                  <a:lnTo>
                    <a:pt x="378" y="346"/>
                  </a:lnTo>
                  <a:lnTo>
                    <a:pt x="370" y="338"/>
                  </a:lnTo>
                  <a:lnTo>
                    <a:pt x="364" y="332"/>
                  </a:lnTo>
                  <a:lnTo>
                    <a:pt x="360" y="326"/>
                  </a:lnTo>
                  <a:lnTo>
                    <a:pt x="358" y="320"/>
                  </a:lnTo>
                  <a:lnTo>
                    <a:pt x="358" y="316"/>
                  </a:lnTo>
                  <a:lnTo>
                    <a:pt x="354" y="310"/>
                  </a:lnTo>
                  <a:lnTo>
                    <a:pt x="350" y="304"/>
                  </a:lnTo>
                  <a:lnTo>
                    <a:pt x="346" y="302"/>
                  </a:lnTo>
                  <a:lnTo>
                    <a:pt x="342" y="302"/>
                  </a:lnTo>
                  <a:lnTo>
                    <a:pt x="338" y="298"/>
                  </a:lnTo>
                  <a:lnTo>
                    <a:pt x="330" y="292"/>
                  </a:lnTo>
                  <a:lnTo>
                    <a:pt x="328" y="286"/>
                  </a:lnTo>
                  <a:lnTo>
                    <a:pt x="326" y="284"/>
                  </a:lnTo>
                  <a:lnTo>
                    <a:pt x="326" y="280"/>
                  </a:lnTo>
                  <a:lnTo>
                    <a:pt x="326" y="276"/>
                  </a:lnTo>
                  <a:lnTo>
                    <a:pt x="328" y="272"/>
                  </a:lnTo>
                  <a:lnTo>
                    <a:pt x="330" y="270"/>
                  </a:lnTo>
                  <a:lnTo>
                    <a:pt x="328" y="268"/>
                  </a:lnTo>
                  <a:lnTo>
                    <a:pt x="320" y="264"/>
                  </a:lnTo>
                  <a:lnTo>
                    <a:pt x="300" y="260"/>
                  </a:lnTo>
                  <a:lnTo>
                    <a:pt x="294" y="256"/>
                  </a:lnTo>
                  <a:lnTo>
                    <a:pt x="288" y="250"/>
                  </a:lnTo>
                  <a:lnTo>
                    <a:pt x="284" y="246"/>
                  </a:lnTo>
                  <a:lnTo>
                    <a:pt x="262" y="232"/>
                  </a:lnTo>
                  <a:lnTo>
                    <a:pt x="254" y="230"/>
                  </a:lnTo>
                  <a:lnTo>
                    <a:pt x="248" y="226"/>
                  </a:lnTo>
                  <a:lnTo>
                    <a:pt x="246" y="224"/>
                  </a:lnTo>
                  <a:lnTo>
                    <a:pt x="248" y="222"/>
                  </a:lnTo>
                  <a:lnTo>
                    <a:pt x="250" y="220"/>
                  </a:lnTo>
                  <a:lnTo>
                    <a:pt x="256" y="216"/>
                  </a:lnTo>
                  <a:lnTo>
                    <a:pt x="258" y="212"/>
                  </a:lnTo>
                  <a:lnTo>
                    <a:pt x="258" y="206"/>
                  </a:lnTo>
                  <a:lnTo>
                    <a:pt x="256" y="200"/>
                  </a:lnTo>
                  <a:lnTo>
                    <a:pt x="256" y="198"/>
                  </a:lnTo>
                  <a:lnTo>
                    <a:pt x="258" y="198"/>
                  </a:lnTo>
                  <a:lnTo>
                    <a:pt x="262" y="198"/>
                  </a:lnTo>
                  <a:lnTo>
                    <a:pt x="272" y="198"/>
                  </a:lnTo>
                  <a:lnTo>
                    <a:pt x="290" y="204"/>
                  </a:lnTo>
                  <a:lnTo>
                    <a:pt x="292" y="202"/>
                  </a:lnTo>
                  <a:lnTo>
                    <a:pt x="302" y="194"/>
                  </a:lnTo>
                  <a:lnTo>
                    <a:pt x="306" y="188"/>
                  </a:lnTo>
                  <a:lnTo>
                    <a:pt x="308" y="182"/>
                  </a:lnTo>
                  <a:lnTo>
                    <a:pt x="310" y="180"/>
                  </a:lnTo>
                  <a:lnTo>
                    <a:pt x="314" y="174"/>
                  </a:lnTo>
                  <a:lnTo>
                    <a:pt x="316" y="170"/>
                  </a:lnTo>
                  <a:lnTo>
                    <a:pt x="312" y="164"/>
                  </a:lnTo>
                  <a:lnTo>
                    <a:pt x="310" y="162"/>
                  </a:lnTo>
                  <a:lnTo>
                    <a:pt x="308" y="160"/>
                  </a:lnTo>
                  <a:lnTo>
                    <a:pt x="300" y="162"/>
                  </a:lnTo>
                  <a:lnTo>
                    <a:pt x="298" y="160"/>
                  </a:lnTo>
                  <a:lnTo>
                    <a:pt x="298" y="156"/>
                  </a:lnTo>
                  <a:lnTo>
                    <a:pt x="296" y="154"/>
                  </a:lnTo>
                  <a:lnTo>
                    <a:pt x="294" y="150"/>
                  </a:lnTo>
                  <a:lnTo>
                    <a:pt x="286" y="146"/>
                  </a:lnTo>
                  <a:lnTo>
                    <a:pt x="280" y="146"/>
                  </a:lnTo>
                  <a:lnTo>
                    <a:pt x="278" y="146"/>
                  </a:lnTo>
                  <a:lnTo>
                    <a:pt x="280" y="142"/>
                  </a:lnTo>
                  <a:lnTo>
                    <a:pt x="286" y="138"/>
                  </a:lnTo>
                  <a:lnTo>
                    <a:pt x="290" y="138"/>
                  </a:lnTo>
                  <a:lnTo>
                    <a:pt x="292" y="134"/>
                  </a:lnTo>
                  <a:lnTo>
                    <a:pt x="292" y="130"/>
                  </a:lnTo>
                  <a:lnTo>
                    <a:pt x="288" y="128"/>
                  </a:lnTo>
                  <a:lnTo>
                    <a:pt x="284" y="124"/>
                  </a:lnTo>
                  <a:lnTo>
                    <a:pt x="276" y="118"/>
                  </a:lnTo>
                  <a:lnTo>
                    <a:pt x="266" y="112"/>
                  </a:lnTo>
                  <a:lnTo>
                    <a:pt x="260" y="110"/>
                  </a:lnTo>
                  <a:lnTo>
                    <a:pt x="258" y="110"/>
                  </a:lnTo>
                  <a:lnTo>
                    <a:pt x="246" y="116"/>
                  </a:lnTo>
                  <a:lnTo>
                    <a:pt x="240" y="120"/>
                  </a:lnTo>
                  <a:lnTo>
                    <a:pt x="236" y="126"/>
                  </a:lnTo>
                  <a:lnTo>
                    <a:pt x="230" y="128"/>
                  </a:lnTo>
                  <a:lnTo>
                    <a:pt x="218" y="122"/>
                  </a:lnTo>
                  <a:lnTo>
                    <a:pt x="202" y="116"/>
                  </a:lnTo>
                  <a:lnTo>
                    <a:pt x="196" y="114"/>
                  </a:lnTo>
                  <a:lnTo>
                    <a:pt x="180" y="92"/>
                  </a:lnTo>
                  <a:lnTo>
                    <a:pt x="178" y="88"/>
                  </a:lnTo>
                  <a:lnTo>
                    <a:pt x="180" y="82"/>
                  </a:lnTo>
                  <a:lnTo>
                    <a:pt x="180" y="74"/>
                  </a:lnTo>
                  <a:lnTo>
                    <a:pt x="182" y="70"/>
                  </a:lnTo>
                  <a:lnTo>
                    <a:pt x="186" y="66"/>
                  </a:lnTo>
                  <a:lnTo>
                    <a:pt x="186" y="62"/>
                  </a:lnTo>
                  <a:lnTo>
                    <a:pt x="186" y="58"/>
                  </a:lnTo>
                  <a:lnTo>
                    <a:pt x="184" y="56"/>
                  </a:lnTo>
                  <a:lnTo>
                    <a:pt x="180" y="56"/>
                  </a:lnTo>
                  <a:lnTo>
                    <a:pt x="178" y="54"/>
                  </a:lnTo>
                  <a:lnTo>
                    <a:pt x="176" y="50"/>
                  </a:lnTo>
                  <a:lnTo>
                    <a:pt x="176" y="50"/>
                  </a:lnTo>
                  <a:lnTo>
                    <a:pt x="174" y="56"/>
                  </a:lnTo>
                  <a:lnTo>
                    <a:pt x="172" y="58"/>
                  </a:lnTo>
                  <a:lnTo>
                    <a:pt x="168" y="60"/>
                  </a:lnTo>
                  <a:lnTo>
                    <a:pt x="166" y="58"/>
                  </a:lnTo>
                  <a:lnTo>
                    <a:pt x="164" y="56"/>
                  </a:lnTo>
                  <a:lnTo>
                    <a:pt x="164" y="52"/>
                  </a:lnTo>
                  <a:lnTo>
                    <a:pt x="162" y="46"/>
                  </a:lnTo>
                  <a:lnTo>
                    <a:pt x="162" y="42"/>
                  </a:lnTo>
                  <a:lnTo>
                    <a:pt x="154" y="38"/>
                  </a:lnTo>
                  <a:lnTo>
                    <a:pt x="152" y="34"/>
                  </a:lnTo>
                  <a:lnTo>
                    <a:pt x="142" y="22"/>
                  </a:lnTo>
                  <a:lnTo>
                    <a:pt x="134" y="16"/>
                  </a:lnTo>
                  <a:lnTo>
                    <a:pt x="132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1" name="Freeform 5576">
              <a:extLst>
                <a:ext uri="{FF2B5EF4-FFF2-40B4-BE49-F238E27FC236}">
                  <a16:creationId xmlns:a16="http://schemas.microsoft.com/office/drawing/2014/main" id="{59D3C9B7-0E8B-4374-8EE5-5AF107A1E633}"/>
                </a:ext>
              </a:extLst>
            </p:cNvPr>
            <p:cNvSpPr/>
            <p:nvPr/>
          </p:nvSpPr>
          <p:spPr bwMode="auto">
            <a:xfrm>
              <a:off x="6185732" y="4474338"/>
              <a:ext cx="37002" cy="48565"/>
            </a:xfrm>
            <a:custGeom>
              <a:avLst/>
              <a:gdLst>
                <a:gd name="T0" fmla="*/ 50 w 96"/>
                <a:gd name="T1" fmla="*/ 98 h 126"/>
                <a:gd name="T2" fmla="*/ 52 w 96"/>
                <a:gd name="T3" fmla="*/ 96 h 126"/>
                <a:gd name="T4" fmla="*/ 54 w 96"/>
                <a:gd name="T5" fmla="*/ 94 h 126"/>
                <a:gd name="T6" fmla="*/ 56 w 96"/>
                <a:gd name="T7" fmla="*/ 90 h 126"/>
                <a:gd name="T8" fmla="*/ 60 w 96"/>
                <a:gd name="T9" fmla="*/ 88 h 126"/>
                <a:gd name="T10" fmla="*/ 60 w 96"/>
                <a:gd name="T11" fmla="*/ 86 h 126"/>
                <a:gd name="T12" fmla="*/ 60 w 96"/>
                <a:gd name="T13" fmla="*/ 86 h 126"/>
                <a:gd name="T14" fmla="*/ 56 w 96"/>
                <a:gd name="T15" fmla="*/ 84 h 126"/>
                <a:gd name="T16" fmla="*/ 54 w 96"/>
                <a:gd name="T17" fmla="*/ 80 h 126"/>
                <a:gd name="T18" fmla="*/ 56 w 96"/>
                <a:gd name="T19" fmla="*/ 74 h 126"/>
                <a:gd name="T20" fmla="*/ 58 w 96"/>
                <a:gd name="T21" fmla="*/ 74 h 126"/>
                <a:gd name="T22" fmla="*/ 60 w 96"/>
                <a:gd name="T23" fmla="*/ 72 h 126"/>
                <a:gd name="T24" fmla="*/ 64 w 96"/>
                <a:gd name="T25" fmla="*/ 68 h 126"/>
                <a:gd name="T26" fmla="*/ 68 w 96"/>
                <a:gd name="T27" fmla="*/ 66 h 126"/>
                <a:gd name="T28" fmla="*/ 72 w 96"/>
                <a:gd name="T29" fmla="*/ 66 h 126"/>
                <a:gd name="T30" fmla="*/ 76 w 96"/>
                <a:gd name="T31" fmla="*/ 66 h 126"/>
                <a:gd name="T32" fmla="*/ 80 w 96"/>
                <a:gd name="T33" fmla="*/ 68 h 126"/>
                <a:gd name="T34" fmla="*/ 82 w 96"/>
                <a:gd name="T35" fmla="*/ 66 h 126"/>
                <a:gd name="T36" fmla="*/ 82 w 96"/>
                <a:gd name="T37" fmla="*/ 66 h 126"/>
                <a:gd name="T38" fmla="*/ 76 w 96"/>
                <a:gd name="T39" fmla="*/ 62 h 126"/>
                <a:gd name="T40" fmla="*/ 76 w 96"/>
                <a:gd name="T41" fmla="*/ 60 h 126"/>
                <a:gd name="T42" fmla="*/ 78 w 96"/>
                <a:gd name="T43" fmla="*/ 58 h 126"/>
                <a:gd name="T44" fmla="*/ 82 w 96"/>
                <a:gd name="T45" fmla="*/ 54 h 126"/>
                <a:gd name="T46" fmla="*/ 86 w 96"/>
                <a:gd name="T47" fmla="*/ 50 h 126"/>
                <a:gd name="T48" fmla="*/ 88 w 96"/>
                <a:gd name="T49" fmla="*/ 50 h 126"/>
                <a:gd name="T50" fmla="*/ 94 w 96"/>
                <a:gd name="T51" fmla="*/ 44 h 126"/>
                <a:gd name="T52" fmla="*/ 96 w 96"/>
                <a:gd name="T53" fmla="*/ 36 h 126"/>
                <a:gd name="T54" fmla="*/ 92 w 96"/>
                <a:gd name="T55" fmla="*/ 20 h 126"/>
                <a:gd name="T56" fmla="*/ 88 w 96"/>
                <a:gd name="T57" fmla="*/ 16 h 126"/>
                <a:gd name="T58" fmla="*/ 82 w 96"/>
                <a:gd name="T59" fmla="*/ 14 h 126"/>
                <a:gd name="T60" fmla="*/ 80 w 96"/>
                <a:gd name="T61" fmla="*/ 14 h 126"/>
                <a:gd name="T62" fmla="*/ 80 w 96"/>
                <a:gd name="T63" fmla="*/ 14 h 126"/>
                <a:gd name="T64" fmla="*/ 84 w 96"/>
                <a:gd name="T65" fmla="*/ 8 h 126"/>
                <a:gd name="T66" fmla="*/ 86 w 96"/>
                <a:gd name="T67" fmla="*/ 6 h 126"/>
                <a:gd name="T68" fmla="*/ 84 w 96"/>
                <a:gd name="T69" fmla="*/ 2 h 126"/>
                <a:gd name="T70" fmla="*/ 78 w 96"/>
                <a:gd name="T71" fmla="*/ 0 h 126"/>
                <a:gd name="T72" fmla="*/ 76 w 96"/>
                <a:gd name="T73" fmla="*/ 4 h 126"/>
                <a:gd name="T74" fmla="*/ 68 w 96"/>
                <a:gd name="T75" fmla="*/ 4 h 126"/>
                <a:gd name="T76" fmla="*/ 56 w 96"/>
                <a:gd name="T77" fmla="*/ 4 h 126"/>
                <a:gd name="T78" fmla="*/ 56 w 96"/>
                <a:gd name="T79" fmla="*/ 10 h 126"/>
                <a:gd name="T80" fmla="*/ 54 w 96"/>
                <a:gd name="T81" fmla="*/ 14 h 126"/>
                <a:gd name="T82" fmla="*/ 46 w 96"/>
                <a:gd name="T83" fmla="*/ 20 h 126"/>
                <a:gd name="T84" fmla="*/ 36 w 96"/>
                <a:gd name="T85" fmla="*/ 34 h 126"/>
                <a:gd name="T86" fmla="*/ 32 w 96"/>
                <a:gd name="T87" fmla="*/ 52 h 126"/>
                <a:gd name="T88" fmla="*/ 26 w 96"/>
                <a:gd name="T89" fmla="*/ 64 h 126"/>
                <a:gd name="T90" fmla="*/ 14 w 96"/>
                <a:gd name="T91" fmla="*/ 92 h 126"/>
                <a:gd name="T92" fmla="*/ 8 w 96"/>
                <a:gd name="T93" fmla="*/ 102 h 126"/>
                <a:gd name="T94" fmla="*/ 6 w 96"/>
                <a:gd name="T95" fmla="*/ 112 h 126"/>
                <a:gd name="T96" fmla="*/ 2 w 96"/>
                <a:gd name="T97" fmla="*/ 120 h 126"/>
                <a:gd name="T98" fmla="*/ 0 w 96"/>
                <a:gd name="T99" fmla="*/ 126 h 126"/>
                <a:gd name="T100" fmla="*/ 8 w 96"/>
                <a:gd name="T101" fmla="*/ 126 h 126"/>
                <a:gd name="T102" fmla="*/ 12 w 96"/>
                <a:gd name="T103" fmla="*/ 126 h 126"/>
                <a:gd name="T104" fmla="*/ 20 w 96"/>
                <a:gd name="T105" fmla="*/ 126 h 126"/>
                <a:gd name="T106" fmla="*/ 24 w 96"/>
                <a:gd name="T107" fmla="*/ 124 h 126"/>
                <a:gd name="T108" fmla="*/ 28 w 96"/>
                <a:gd name="T109" fmla="*/ 112 h 126"/>
                <a:gd name="T110" fmla="*/ 30 w 96"/>
                <a:gd name="T111" fmla="*/ 112 h 126"/>
                <a:gd name="T112" fmla="*/ 32 w 96"/>
                <a:gd name="T113" fmla="*/ 114 h 126"/>
                <a:gd name="T114" fmla="*/ 34 w 96"/>
                <a:gd name="T115" fmla="*/ 112 h 126"/>
                <a:gd name="T116" fmla="*/ 40 w 96"/>
                <a:gd name="T117" fmla="*/ 106 h 126"/>
                <a:gd name="T118" fmla="*/ 44 w 96"/>
                <a:gd name="T119" fmla="*/ 104 h 126"/>
                <a:gd name="T120" fmla="*/ 48 w 96"/>
                <a:gd name="T121" fmla="*/ 100 h 126"/>
                <a:gd name="T122" fmla="*/ 50 w 96"/>
                <a:gd name="T123" fmla="*/ 98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" h="125">
                  <a:moveTo>
                    <a:pt x="50" y="98"/>
                  </a:moveTo>
                  <a:lnTo>
                    <a:pt x="52" y="96"/>
                  </a:lnTo>
                  <a:lnTo>
                    <a:pt x="54" y="94"/>
                  </a:lnTo>
                  <a:lnTo>
                    <a:pt x="56" y="90"/>
                  </a:lnTo>
                  <a:lnTo>
                    <a:pt x="60" y="88"/>
                  </a:lnTo>
                  <a:lnTo>
                    <a:pt x="60" y="86"/>
                  </a:lnTo>
                  <a:lnTo>
                    <a:pt x="60" y="86"/>
                  </a:lnTo>
                  <a:lnTo>
                    <a:pt x="56" y="84"/>
                  </a:lnTo>
                  <a:lnTo>
                    <a:pt x="54" y="80"/>
                  </a:lnTo>
                  <a:lnTo>
                    <a:pt x="56" y="74"/>
                  </a:lnTo>
                  <a:lnTo>
                    <a:pt x="58" y="74"/>
                  </a:lnTo>
                  <a:lnTo>
                    <a:pt x="60" y="72"/>
                  </a:lnTo>
                  <a:lnTo>
                    <a:pt x="64" y="68"/>
                  </a:lnTo>
                  <a:lnTo>
                    <a:pt x="68" y="66"/>
                  </a:lnTo>
                  <a:lnTo>
                    <a:pt x="72" y="66"/>
                  </a:lnTo>
                  <a:lnTo>
                    <a:pt x="76" y="66"/>
                  </a:lnTo>
                  <a:lnTo>
                    <a:pt x="80" y="68"/>
                  </a:lnTo>
                  <a:lnTo>
                    <a:pt x="82" y="66"/>
                  </a:lnTo>
                  <a:lnTo>
                    <a:pt x="82" y="66"/>
                  </a:lnTo>
                  <a:lnTo>
                    <a:pt x="76" y="62"/>
                  </a:lnTo>
                  <a:lnTo>
                    <a:pt x="76" y="60"/>
                  </a:lnTo>
                  <a:lnTo>
                    <a:pt x="78" y="58"/>
                  </a:lnTo>
                  <a:lnTo>
                    <a:pt x="82" y="54"/>
                  </a:lnTo>
                  <a:lnTo>
                    <a:pt x="86" y="50"/>
                  </a:lnTo>
                  <a:lnTo>
                    <a:pt x="88" y="50"/>
                  </a:lnTo>
                  <a:lnTo>
                    <a:pt x="94" y="44"/>
                  </a:lnTo>
                  <a:lnTo>
                    <a:pt x="96" y="36"/>
                  </a:lnTo>
                  <a:lnTo>
                    <a:pt x="92" y="20"/>
                  </a:lnTo>
                  <a:lnTo>
                    <a:pt x="88" y="16"/>
                  </a:lnTo>
                  <a:lnTo>
                    <a:pt x="82" y="14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84" y="8"/>
                  </a:lnTo>
                  <a:lnTo>
                    <a:pt x="86" y="6"/>
                  </a:lnTo>
                  <a:lnTo>
                    <a:pt x="84" y="2"/>
                  </a:lnTo>
                  <a:lnTo>
                    <a:pt x="78" y="0"/>
                  </a:lnTo>
                  <a:lnTo>
                    <a:pt x="76" y="4"/>
                  </a:lnTo>
                  <a:lnTo>
                    <a:pt x="68" y="4"/>
                  </a:lnTo>
                  <a:lnTo>
                    <a:pt x="56" y="4"/>
                  </a:lnTo>
                  <a:lnTo>
                    <a:pt x="56" y="10"/>
                  </a:lnTo>
                  <a:lnTo>
                    <a:pt x="54" y="14"/>
                  </a:lnTo>
                  <a:lnTo>
                    <a:pt x="46" y="20"/>
                  </a:lnTo>
                  <a:lnTo>
                    <a:pt x="36" y="34"/>
                  </a:lnTo>
                  <a:lnTo>
                    <a:pt x="32" y="52"/>
                  </a:lnTo>
                  <a:lnTo>
                    <a:pt x="26" y="64"/>
                  </a:lnTo>
                  <a:lnTo>
                    <a:pt x="14" y="92"/>
                  </a:lnTo>
                  <a:lnTo>
                    <a:pt x="8" y="102"/>
                  </a:lnTo>
                  <a:lnTo>
                    <a:pt x="6" y="112"/>
                  </a:lnTo>
                  <a:lnTo>
                    <a:pt x="2" y="120"/>
                  </a:lnTo>
                  <a:lnTo>
                    <a:pt x="0" y="126"/>
                  </a:lnTo>
                  <a:lnTo>
                    <a:pt x="8" y="126"/>
                  </a:lnTo>
                  <a:lnTo>
                    <a:pt x="12" y="126"/>
                  </a:lnTo>
                  <a:lnTo>
                    <a:pt x="20" y="126"/>
                  </a:lnTo>
                  <a:lnTo>
                    <a:pt x="24" y="124"/>
                  </a:lnTo>
                  <a:lnTo>
                    <a:pt x="28" y="112"/>
                  </a:lnTo>
                  <a:lnTo>
                    <a:pt x="30" y="112"/>
                  </a:lnTo>
                  <a:lnTo>
                    <a:pt x="32" y="114"/>
                  </a:lnTo>
                  <a:lnTo>
                    <a:pt x="34" y="112"/>
                  </a:lnTo>
                  <a:lnTo>
                    <a:pt x="40" y="106"/>
                  </a:lnTo>
                  <a:lnTo>
                    <a:pt x="44" y="104"/>
                  </a:lnTo>
                  <a:lnTo>
                    <a:pt x="48" y="100"/>
                  </a:lnTo>
                  <a:lnTo>
                    <a:pt x="50" y="9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2" name="Freeform 5580">
              <a:extLst>
                <a:ext uri="{FF2B5EF4-FFF2-40B4-BE49-F238E27FC236}">
                  <a16:creationId xmlns:a16="http://schemas.microsoft.com/office/drawing/2014/main" id="{68037926-5BDA-4343-941F-3EE8084A9988}"/>
                </a:ext>
              </a:extLst>
            </p:cNvPr>
            <p:cNvSpPr/>
            <p:nvPr/>
          </p:nvSpPr>
          <p:spPr bwMode="auto">
            <a:xfrm>
              <a:off x="5007833" y="5192795"/>
              <a:ext cx="103297" cy="107152"/>
            </a:xfrm>
            <a:custGeom>
              <a:avLst/>
              <a:gdLst>
                <a:gd name="T0" fmla="*/ 192 w 268"/>
                <a:gd name="T1" fmla="*/ 62 h 278"/>
                <a:gd name="T2" fmla="*/ 186 w 268"/>
                <a:gd name="T3" fmla="*/ 56 h 278"/>
                <a:gd name="T4" fmla="*/ 182 w 268"/>
                <a:gd name="T5" fmla="*/ 66 h 278"/>
                <a:gd name="T6" fmla="*/ 176 w 268"/>
                <a:gd name="T7" fmla="*/ 76 h 278"/>
                <a:gd name="T8" fmla="*/ 168 w 268"/>
                <a:gd name="T9" fmla="*/ 84 h 278"/>
                <a:gd name="T10" fmla="*/ 160 w 268"/>
                <a:gd name="T11" fmla="*/ 88 h 278"/>
                <a:gd name="T12" fmla="*/ 152 w 268"/>
                <a:gd name="T13" fmla="*/ 84 h 278"/>
                <a:gd name="T14" fmla="*/ 140 w 268"/>
                <a:gd name="T15" fmla="*/ 76 h 278"/>
                <a:gd name="T16" fmla="*/ 134 w 268"/>
                <a:gd name="T17" fmla="*/ 74 h 278"/>
                <a:gd name="T18" fmla="*/ 138 w 268"/>
                <a:gd name="T19" fmla="*/ 64 h 278"/>
                <a:gd name="T20" fmla="*/ 138 w 268"/>
                <a:gd name="T21" fmla="*/ 50 h 278"/>
                <a:gd name="T22" fmla="*/ 136 w 268"/>
                <a:gd name="T23" fmla="*/ 38 h 278"/>
                <a:gd name="T24" fmla="*/ 134 w 268"/>
                <a:gd name="T25" fmla="*/ 30 h 278"/>
                <a:gd name="T26" fmla="*/ 130 w 268"/>
                <a:gd name="T27" fmla="*/ 20 h 278"/>
                <a:gd name="T28" fmla="*/ 124 w 268"/>
                <a:gd name="T29" fmla="*/ 10 h 278"/>
                <a:gd name="T30" fmla="*/ 120 w 268"/>
                <a:gd name="T31" fmla="*/ 4 h 278"/>
                <a:gd name="T32" fmla="*/ 116 w 268"/>
                <a:gd name="T33" fmla="*/ 6 h 278"/>
                <a:gd name="T34" fmla="*/ 112 w 268"/>
                <a:gd name="T35" fmla="*/ 2 h 278"/>
                <a:gd name="T36" fmla="*/ 92 w 268"/>
                <a:gd name="T37" fmla="*/ 2 h 278"/>
                <a:gd name="T38" fmla="*/ 80 w 268"/>
                <a:gd name="T39" fmla="*/ 4 h 278"/>
                <a:gd name="T40" fmla="*/ 74 w 268"/>
                <a:gd name="T41" fmla="*/ 24 h 278"/>
                <a:gd name="T42" fmla="*/ 62 w 268"/>
                <a:gd name="T43" fmla="*/ 32 h 278"/>
                <a:gd name="T44" fmla="*/ 54 w 268"/>
                <a:gd name="T45" fmla="*/ 54 h 278"/>
                <a:gd name="T46" fmla="*/ 28 w 268"/>
                <a:gd name="T47" fmla="*/ 76 h 278"/>
                <a:gd name="T48" fmla="*/ 8 w 268"/>
                <a:gd name="T49" fmla="*/ 96 h 278"/>
                <a:gd name="T50" fmla="*/ 14 w 268"/>
                <a:gd name="T51" fmla="*/ 124 h 278"/>
                <a:gd name="T52" fmla="*/ 48 w 268"/>
                <a:gd name="T53" fmla="*/ 148 h 278"/>
                <a:gd name="T54" fmla="*/ 72 w 268"/>
                <a:gd name="T55" fmla="*/ 158 h 278"/>
                <a:gd name="T56" fmla="*/ 140 w 268"/>
                <a:gd name="T57" fmla="*/ 218 h 278"/>
                <a:gd name="T58" fmla="*/ 230 w 268"/>
                <a:gd name="T59" fmla="*/ 266 h 278"/>
                <a:gd name="T60" fmla="*/ 258 w 268"/>
                <a:gd name="T61" fmla="*/ 274 h 278"/>
                <a:gd name="T62" fmla="*/ 256 w 268"/>
                <a:gd name="T63" fmla="*/ 240 h 278"/>
                <a:gd name="T64" fmla="*/ 262 w 268"/>
                <a:gd name="T65" fmla="*/ 228 h 278"/>
                <a:gd name="T66" fmla="*/ 268 w 268"/>
                <a:gd name="T67" fmla="*/ 212 h 278"/>
                <a:gd name="T68" fmla="*/ 268 w 268"/>
                <a:gd name="T69" fmla="*/ 198 h 278"/>
                <a:gd name="T70" fmla="*/ 264 w 268"/>
                <a:gd name="T71" fmla="*/ 178 h 278"/>
                <a:gd name="T72" fmla="*/ 254 w 268"/>
                <a:gd name="T73" fmla="*/ 174 h 278"/>
                <a:gd name="T74" fmla="*/ 242 w 268"/>
                <a:gd name="T75" fmla="*/ 166 h 278"/>
                <a:gd name="T76" fmla="*/ 236 w 268"/>
                <a:gd name="T77" fmla="*/ 154 h 278"/>
                <a:gd name="T78" fmla="*/ 222 w 268"/>
                <a:gd name="T79" fmla="*/ 150 h 278"/>
                <a:gd name="T80" fmla="*/ 208 w 268"/>
                <a:gd name="T81" fmla="*/ 146 h 278"/>
                <a:gd name="T82" fmla="*/ 198 w 268"/>
                <a:gd name="T83" fmla="*/ 138 h 278"/>
                <a:gd name="T84" fmla="*/ 190 w 268"/>
                <a:gd name="T85" fmla="*/ 136 h 278"/>
                <a:gd name="T86" fmla="*/ 208 w 268"/>
                <a:gd name="T87" fmla="*/ 112 h 278"/>
                <a:gd name="T88" fmla="*/ 210 w 268"/>
                <a:gd name="T89" fmla="*/ 98 h 278"/>
                <a:gd name="T90" fmla="*/ 198 w 268"/>
                <a:gd name="T91" fmla="*/ 66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278">
                  <a:moveTo>
                    <a:pt x="198" y="66"/>
                  </a:moveTo>
                  <a:lnTo>
                    <a:pt x="196" y="64"/>
                  </a:lnTo>
                  <a:lnTo>
                    <a:pt x="192" y="62"/>
                  </a:lnTo>
                  <a:lnTo>
                    <a:pt x="192" y="58"/>
                  </a:lnTo>
                  <a:lnTo>
                    <a:pt x="190" y="56"/>
                  </a:lnTo>
                  <a:lnTo>
                    <a:pt x="186" y="56"/>
                  </a:lnTo>
                  <a:lnTo>
                    <a:pt x="184" y="58"/>
                  </a:lnTo>
                  <a:lnTo>
                    <a:pt x="182" y="62"/>
                  </a:lnTo>
                  <a:lnTo>
                    <a:pt x="182" y="66"/>
                  </a:lnTo>
                  <a:lnTo>
                    <a:pt x="182" y="70"/>
                  </a:lnTo>
                  <a:lnTo>
                    <a:pt x="180" y="72"/>
                  </a:lnTo>
                  <a:lnTo>
                    <a:pt x="176" y="76"/>
                  </a:lnTo>
                  <a:lnTo>
                    <a:pt x="174" y="82"/>
                  </a:lnTo>
                  <a:lnTo>
                    <a:pt x="172" y="84"/>
                  </a:lnTo>
                  <a:lnTo>
                    <a:pt x="168" y="84"/>
                  </a:lnTo>
                  <a:lnTo>
                    <a:pt x="166" y="84"/>
                  </a:lnTo>
                  <a:lnTo>
                    <a:pt x="166" y="86"/>
                  </a:lnTo>
                  <a:lnTo>
                    <a:pt x="160" y="88"/>
                  </a:lnTo>
                  <a:lnTo>
                    <a:pt x="156" y="88"/>
                  </a:lnTo>
                  <a:lnTo>
                    <a:pt x="156" y="86"/>
                  </a:lnTo>
                  <a:lnTo>
                    <a:pt x="152" y="84"/>
                  </a:lnTo>
                  <a:lnTo>
                    <a:pt x="150" y="80"/>
                  </a:lnTo>
                  <a:lnTo>
                    <a:pt x="146" y="78"/>
                  </a:lnTo>
                  <a:lnTo>
                    <a:pt x="140" y="76"/>
                  </a:lnTo>
                  <a:lnTo>
                    <a:pt x="138" y="76"/>
                  </a:lnTo>
                  <a:lnTo>
                    <a:pt x="136" y="76"/>
                  </a:lnTo>
                  <a:lnTo>
                    <a:pt x="134" y="74"/>
                  </a:lnTo>
                  <a:lnTo>
                    <a:pt x="134" y="74"/>
                  </a:lnTo>
                  <a:lnTo>
                    <a:pt x="138" y="68"/>
                  </a:lnTo>
                  <a:lnTo>
                    <a:pt x="138" y="64"/>
                  </a:lnTo>
                  <a:lnTo>
                    <a:pt x="140" y="60"/>
                  </a:lnTo>
                  <a:lnTo>
                    <a:pt x="140" y="56"/>
                  </a:lnTo>
                  <a:lnTo>
                    <a:pt x="138" y="50"/>
                  </a:lnTo>
                  <a:lnTo>
                    <a:pt x="136" y="46"/>
                  </a:lnTo>
                  <a:lnTo>
                    <a:pt x="134" y="42"/>
                  </a:lnTo>
                  <a:lnTo>
                    <a:pt x="136" y="38"/>
                  </a:lnTo>
                  <a:lnTo>
                    <a:pt x="134" y="34"/>
                  </a:lnTo>
                  <a:lnTo>
                    <a:pt x="134" y="32"/>
                  </a:lnTo>
                  <a:lnTo>
                    <a:pt x="134" y="30"/>
                  </a:lnTo>
                  <a:lnTo>
                    <a:pt x="132" y="26"/>
                  </a:lnTo>
                  <a:lnTo>
                    <a:pt x="130" y="24"/>
                  </a:lnTo>
                  <a:lnTo>
                    <a:pt x="130" y="20"/>
                  </a:lnTo>
                  <a:lnTo>
                    <a:pt x="130" y="14"/>
                  </a:lnTo>
                  <a:lnTo>
                    <a:pt x="128" y="12"/>
                  </a:lnTo>
                  <a:lnTo>
                    <a:pt x="124" y="10"/>
                  </a:lnTo>
                  <a:lnTo>
                    <a:pt x="122" y="8"/>
                  </a:lnTo>
                  <a:lnTo>
                    <a:pt x="120" y="6"/>
                  </a:lnTo>
                  <a:lnTo>
                    <a:pt x="120" y="4"/>
                  </a:lnTo>
                  <a:lnTo>
                    <a:pt x="118" y="4"/>
                  </a:lnTo>
                  <a:lnTo>
                    <a:pt x="116" y="6"/>
                  </a:lnTo>
                  <a:lnTo>
                    <a:pt x="116" y="6"/>
                  </a:lnTo>
                  <a:lnTo>
                    <a:pt x="114" y="0"/>
                  </a:lnTo>
                  <a:lnTo>
                    <a:pt x="112" y="0"/>
                  </a:lnTo>
                  <a:lnTo>
                    <a:pt x="112" y="2"/>
                  </a:lnTo>
                  <a:lnTo>
                    <a:pt x="94" y="8"/>
                  </a:lnTo>
                  <a:lnTo>
                    <a:pt x="94" y="6"/>
                  </a:lnTo>
                  <a:lnTo>
                    <a:pt x="92" y="2"/>
                  </a:lnTo>
                  <a:lnTo>
                    <a:pt x="88" y="2"/>
                  </a:lnTo>
                  <a:lnTo>
                    <a:pt x="84" y="4"/>
                  </a:lnTo>
                  <a:lnTo>
                    <a:pt x="80" y="4"/>
                  </a:lnTo>
                  <a:lnTo>
                    <a:pt x="80" y="6"/>
                  </a:lnTo>
                  <a:lnTo>
                    <a:pt x="78" y="16"/>
                  </a:lnTo>
                  <a:lnTo>
                    <a:pt x="74" y="24"/>
                  </a:lnTo>
                  <a:lnTo>
                    <a:pt x="72" y="26"/>
                  </a:lnTo>
                  <a:lnTo>
                    <a:pt x="64" y="28"/>
                  </a:lnTo>
                  <a:lnTo>
                    <a:pt x="62" y="32"/>
                  </a:lnTo>
                  <a:lnTo>
                    <a:pt x="58" y="44"/>
                  </a:lnTo>
                  <a:lnTo>
                    <a:pt x="56" y="52"/>
                  </a:lnTo>
                  <a:lnTo>
                    <a:pt x="54" y="54"/>
                  </a:lnTo>
                  <a:lnTo>
                    <a:pt x="40" y="66"/>
                  </a:lnTo>
                  <a:lnTo>
                    <a:pt x="32" y="72"/>
                  </a:lnTo>
                  <a:lnTo>
                    <a:pt x="28" y="76"/>
                  </a:lnTo>
                  <a:lnTo>
                    <a:pt x="22" y="82"/>
                  </a:lnTo>
                  <a:lnTo>
                    <a:pt x="16" y="88"/>
                  </a:lnTo>
                  <a:lnTo>
                    <a:pt x="8" y="96"/>
                  </a:lnTo>
                  <a:lnTo>
                    <a:pt x="4" y="106"/>
                  </a:lnTo>
                  <a:lnTo>
                    <a:pt x="0" y="108"/>
                  </a:lnTo>
                  <a:lnTo>
                    <a:pt x="14" y="124"/>
                  </a:lnTo>
                  <a:lnTo>
                    <a:pt x="32" y="132"/>
                  </a:lnTo>
                  <a:lnTo>
                    <a:pt x="42" y="138"/>
                  </a:lnTo>
                  <a:lnTo>
                    <a:pt x="48" y="148"/>
                  </a:lnTo>
                  <a:lnTo>
                    <a:pt x="52" y="152"/>
                  </a:lnTo>
                  <a:lnTo>
                    <a:pt x="60" y="154"/>
                  </a:lnTo>
                  <a:lnTo>
                    <a:pt x="72" y="158"/>
                  </a:lnTo>
                  <a:lnTo>
                    <a:pt x="80" y="164"/>
                  </a:lnTo>
                  <a:lnTo>
                    <a:pt x="122" y="200"/>
                  </a:lnTo>
                  <a:lnTo>
                    <a:pt x="140" y="218"/>
                  </a:lnTo>
                  <a:lnTo>
                    <a:pt x="156" y="230"/>
                  </a:lnTo>
                  <a:lnTo>
                    <a:pt x="212" y="262"/>
                  </a:lnTo>
                  <a:lnTo>
                    <a:pt x="230" y="266"/>
                  </a:lnTo>
                  <a:lnTo>
                    <a:pt x="252" y="276"/>
                  </a:lnTo>
                  <a:lnTo>
                    <a:pt x="260" y="278"/>
                  </a:lnTo>
                  <a:lnTo>
                    <a:pt x="258" y="274"/>
                  </a:lnTo>
                  <a:lnTo>
                    <a:pt x="258" y="262"/>
                  </a:lnTo>
                  <a:lnTo>
                    <a:pt x="256" y="246"/>
                  </a:lnTo>
                  <a:lnTo>
                    <a:pt x="256" y="240"/>
                  </a:lnTo>
                  <a:lnTo>
                    <a:pt x="258" y="234"/>
                  </a:lnTo>
                  <a:lnTo>
                    <a:pt x="258" y="230"/>
                  </a:lnTo>
                  <a:lnTo>
                    <a:pt x="262" y="228"/>
                  </a:lnTo>
                  <a:lnTo>
                    <a:pt x="262" y="226"/>
                  </a:lnTo>
                  <a:lnTo>
                    <a:pt x="264" y="218"/>
                  </a:lnTo>
                  <a:lnTo>
                    <a:pt x="268" y="212"/>
                  </a:lnTo>
                  <a:lnTo>
                    <a:pt x="268" y="202"/>
                  </a:lnTo>
                  <a:lnTo>
                    <a:pt x="268" y="200"/>
                  </a:lnTo>
                  <a:lnTo>
                    <a:pt x="268" y="198"/>
                  </a:lnTo>
                  <a:lnTo>
                    <a:pt x="268" y="192"/>
                  </a:lnTo>
                  <a:lnTo>
                    <a:pt x="266" y="178"/>
                  </a:lnTo>
                  <a:lnTo>
                    <a:pt x="264" y="178"/>
                  </a:lnTo>
                  <a:lnTo>
                    <a:pt x="264" y="178"/>
                  </a:lnTo>
                  <a:lnTo>
                    <a:pt x="262" y="178"/>
                  </a:lnTo>
                  <a:lnTo>
                    <a:pt x="254" y="174"/>
                  </a:lnTo>
                  <a:lnTo>
                    <a:pt x="248" y="174"/>
                  </a:lnTo>
                  <a:lnTo>
                    <a:pt x="244" y="170"/>
                  </a:lnTo>
                  <a:lnTo>
                    <a:pt x="242" y="166"/>
                  </a:lnTo>
                  <a:lnTo>
                    <a:pt x="240" y="164"/>
                  </a:lnTo>
                  <a:lnTo>
                    <a:pt x="240" y="158"/>
                  </a:lnTo>
                  <a:lnTo>
                    <a:pt x="236" y="154"/>
                  </a:lnTo>
                  <a:lnTo>
                    <a:pt x="230" y="150"/>
                  </a:lnTo>
                  <a:lnTo>
                    <a:pt x="226" y="148"/>
                  </a:lnTo>
                  <a:lnTo>
                    <a:pt x="222" y="150"/>
                  </a:lnTo>
                  <a:lnTo>
                    <a:pt x="216" y="150"/>
                  </a:lnTo>
                  <a:lnTo>
                    <a:pt x="210" y="148"/>
                  </a:lnTo>
                  <a:lnTo>
                    <a:pt x="208" y="146"/>
                  </a:lnTo>
                  <a:lnTo>
                    <a:pt x="204" y="142"/>
                  </a:lnTo>
                  <a:lnTo>
                    <a:pt x="200" y="138"/>
                  </a:lnTo>
                  <a:lnTo>
                    <a:pt x="198" y="138"/>
                  </a:lnTo>
                  <a:lnTo>
                    <a:pt x="194" y="138"/>
                  </a:lnTo>
                  <a:lnTo>
                    <a:pt x="192" y="136"/>
                  </a:lnTo>
                  <a:lnTo>
                    <a:pt x="190" y="136"/>
                  </a:lnTo>
                  <a:lnTo>
                    <a:pt x="204" y="122"/>
                  </a:lnTo>
                  <a:lnTo>
                    <a:pt x="208" y="116"/>
                  </a:lnTo>
                  <a:lnTo>
                    <a:pt x="208" y="112"/>
                  </a:lnTo>
                  <a:lnTo>
                    <a:pt x="208" y="108"/>
                  </a:lnTo>
                  <a:lnTo>
                    <a:pt x="210" y="104"/>
                  </a:lnTo>
                  <a:lnTo>
                    <a:pt x="210" y="98"/>
                  </a:lnTo>
                  <a:lnTo>
                    <a:pt x="202" y="76"/>
                  </a:lnTo>
                  <a:lnTo>
                    <a:pt x="202" y="68"/>
                  </a:lnTo>
                  <a:lnTo>
                    <a:pt x="198" y="66"/>
                  </a:lnTo>
                  <a:lnTo>
                    <a:pt x="198" y="6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3" name="Freeform 5584">
              <a:extLst>
                <a:ext uri="{FF2B5EF4-FFF2-40B4-BE49-F238E27FC236}">
                  <a16:creationId xmlns:a16="http://schemas.microsoft.com/office/drawing/2014/main" id="{7DDC97C9-14DA-42DE-B502-29CCCC553F9C}"/>
                </a:ext>
              </a:extLst>
            </p:cNvPr>
            <p:cNvSpPr/>
            <p:nvPr/>
          </p:nvSpPr>
          <p:spPr bwMode="auto">
            <a:xfrm>
              <a:off x="5533571" y="4519820"/>
              <a:ext cx="400085" cy="387751"/>
            </a:xfrm>
            <a:custGeom>
              <a:avLst/>
              <a:gdLst>
                <a:gd name="T0" fmla="*/ 1026 w 1038"/>
                <a:gd name="T1" fmla="*/ 96 h 1006"/>
                <a:gd name="T2" fmla="*/ 972 w 1038"/>
                <a:gd name="T3" fmla="*/ 92 h 1006"/>
                <a:gd name="T4" fmla="*/ 916 w 1038"/>
                <a:gd name="T5" fmla="*/ 76 h 1006"/>
                <a:gd name="T6" fmla="*/ 904 w 1038"/>
                <a:gd name="T7" fmla="*/ 44 h 1006"/>
                <a:gd name="T8" fmla="*/ 854 w 1038"/>
                <a:gd name="T9" fmla="*/ 24 h 1006"/>
                <a:gd name="T10" fmla="*/ 808 w 1038"/>
                <a:gd name="T11" fmla="*/ 20 h 1006"/>
                <a:gd name="T12" fmla="*/ 742 w 1038"/>
                <a:gd name="T13" fmla="*/ 48 h 1006"/>
                <a:gd name="T14" fmla="*/ 700 w 1038"/>
                <a:gd name="T15" fmla="*/ 92 h 1006"/>
                <a:gd name="T16" fmla="*/ 708 w 1038"/>
                <a:gd name="T17" fmla="*/ 146 h 1006"/>
                <a:gd name="T18" fmla="*/ 702 w 1038"/>
                <a:gd name="T19" fmla="*/ 184 h 1006"/>
                <a:gd name="T20" fmla="*/ 644 w 1038"/>
                <a:gd name="T21" fmla="*/ 226 h 1006"/>
                <a:gd name="T22" fmla="*/ 566 w 1038"/>
                <a:gd name="T23" fmla="*/ 180 h 1006"/>
                <a:gd name="T24" fmla="*/ 468 w 1038"/>
                <a:gd name="T25" fmla="*/ 152 h 1006"/>
                <a:gd name="T26" fmla="*/ 412 w 1038"/>
                <a:gd name="T27" fmla="*/ 128 h 1006"/>
                <a:gd name="T28" fmla="*/ 398 w 1038"/>
                <a:gd name="T29" fmla="*/ 80 h 1006"/>
                <a:gd name="T30" fmla="*/ 336 w 1038"/>
                <a:gd name="T31" fmla="*/ 50 h 1006"/>
                <a:gd name="T32" fmla="*/ 284 w 1038"/>
                <a:gd name="T33" fmla="*/ 30 h 1006"/>
                <a:gd name="T34" fmla="*/ 226 w 1038"/>
                <a:gd name="T35" fmla="*/ 30 h 1006"/>
                <a:gd name="T36" fmla="*/ 154 w 1038"/>
                <a:gd name="T37" fmla="*/ 6 h 1006"/>
                <a:gd name="T38" fmla="*/ 142 w 1038"/>
                <a:gd name="T39" fmla="*/ 22 h 1006"/>
                <a:gd name="T40" fmla="*/ 146 w 1038"/>
                <a:gd name="T41" fmla="*/ 56 h 1006"/>
                <a:gd name="T42" fmla="*/ 112 w 1038"/>
                <a:gd name="T43" fmla="*/ 78 h 1006"/>
                <a:gd name="T44" fmla="*/ 86 w 1038"/>
                <a:gd name="T45" fmla="*/ 98 h 1006"/>
                <a:gd name="T46" fmla="*/ 66 w 1038"/>
                <a:gd name="T47" fmla="*/ 116 h 1006"/>
                <a:gd name="T48" fmla="*/ 54 w 1038"/>
                <a:gd name="T49" fmla="*/ 134 h 1006"/>
                <a:gd name="T50" fmla="*/ 62 w 1038"/>
                <a:gd name="T51" fmla="*/ 180 h 1006"/>
                <a:gd name="T52" fmla="*/ 42 w 1038"/>
                <a:gd name="T53" fmla="*/ 212 h 1006"/>
                <a:gd name="T54" fmla="*/ 14 w 1038"/>
                <a:gd name="T55" fmla="*/ 228 h 1006"/>
                <a:gd name="T56" fmla="*/ 16 w 1038"/>
                <a:gd name="T57" fmla="*/ 260 h 1006"/>
                <a:gd name="T58" fmla="*/ 32 w 1038"/>
                <a:gd name="T59" fmla="*/ 308 h 1006"/>
                <a:gd name="T60" fmla="*/ 36 w 1038"/>
                <a:gd name="T61" fmla="*/ 392 h 1006"/>
                <a:gd name="T62" fmla="*/ 30 w 1038"/>
                <a:gd name="T63" fmla="*/ 454 h 1006"/>
                <a:gd name="T64" fmla="*/ 38 w 1038"/>
                <a:gd name="T65" fmla="*/ 496 h 1006"/>
                <a:gd name="T66" fmla="*/ 8 w 1038"/>
                <a:gd name="T67" fmla="*/ 524 h 1006"/>
                <a:gd name="T68" fmla="*/ 32 w 1038"/>
                <a:gd name="T69" fmla="*/ 570 h 1006"/>
                <a:gd name="T70" fmla="*/ 54 w 1038"/>
                <a:gd name="T71" fmla="*/ 630 h 1006"/>
                <a:gd name="T72" fmla="*/ 72 w 1038"/>
                <a:gd name="T73" fmla="*/ 652 h 1006"/>
                <a:gd name="T74" fmla="*/ 144 w 1038"/>
                <a:gd name="T75" fmla="*/ 664 h 1006"/>
                <a:gd name="T76" fmla="*/ 168 w 1038"/>
                <a:gd name="T77" fmla="*/ 708 h 1006"/>
                <a:gd name="T78" fmla="*/ 282 w 1038"/>
                <a:gd name="T79" fmla="*/ 750 h 1006"/>
                <a:gd name="T80" fmla="*/ 324 w 1038"/>
                <a:gd name="T81" fmla="*/ 786 h 1006"/>
                <a:gd name="T82" fmla="*/ 414 w 1038"/>
                <a:gd name="T83" fmla="*/ 738 h 1006"/>
                <a:gd name="T84" fmla="*/ 586 w 1038"/>
                <a:gd name="T85" fmla="*/ 806 h 1006"/>
                <a:gd name="T86" fmla="*/ 742 w 1038"/>
                <a:gd name="T87" fmla="*/ 890 h 1006"/>
                <a:gd name="T88" fmla="*/ 962 w 1038"/>
                <a:gd name="T89" fmla="*/ 1006 h 1006"/>
                <a:gd name="T90" fmla="*/ 1028 w 1038"/>
                <a:gd name="T91" fmla="*/ 970 h 1006"/>
                <a:gd name="T92" fmla="*/ 1028 w 1038"/>
                <a:gd name="T93" fmla="*/ 304 h 1006"/>
                <a:gd name="T94" fmla="*/ 1016 w 1038"/>
                <a:gd name="T95" fmla="*/ 254 h 1006"/>
                <a:gd name="T96" fmla="*/ 1022 w 1038"/>
                <a:gd name="T97" fmla="*/ 210 h 1006"/>
                <a:gd name="T98" fmla="*/ 1024 w 1038"/>
                <a:gd name="T99" fmla="*/ 174 h 1006"/>
                <a:gd name="T100" fmla="*/ 1024 w 1038"/>
                <a:gd name="T101" fmla="*/ 136 h 1006"/>
                <a:gd name="T102" fmla="*/ 1038 w 1038"/>
                <a:gd name="T103" fmla="*/ 118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8" h="1005">
                  <a:moveTo>
                    <a:pt x="1038" y="118"/>
                  </a:moveTo>
                  <a:lnTo>
                    <a:pt x="1036" y="114"/>
                  </a:lnTo>
                  <a:lnTo>
                    <a:pt x="1030" y="102"/>
                  </a:lnTo>
                  <a:lnTo>
                    <a:pt x="1026" y="96"/>
                  </a:lnTo>
                  <a:lnTo>
                    <a:pt x="1022" y="94"/>
                  </a:lnTo>
                  <a:lnTo>
                    <a:pt x="1008" y="90"/>
                  </a:lnTo>
                  <a:lnTo>
                    <a:pt x="994" y="92"/>
                  </a:lnTo>
                  <a:lnTo>
                    <a:pt x="972" y="92"/>
                  </a:lnTo>
                  <a:lnTo>
                    <a:pt x="966" y="90"/>
                  </a:lnTo>
                  <a:lnTo>
                    <a:pt x="956" y="82"/>
                  </a:lnTo>
                  <a:lnTo>
                    <a:pt x="950" y="80"/>
                  </a:lnTo>
                  <a:lnTo>
                    <a:pt x="916" y="76"/>
                  </a:lnTo>
                  <a:lnTo>
                    <a:pt x="906" y="66"/>
                  </a:lnTo>
                  <a:lnTo>
                    <a:pt x="906" y="62"/>
                  </a:lnTo>
                  <a:lnTo>
                    <a:pt x="906" y="58"/>
                  </a:lnTo>
                  <a:lnTo>
                    <a:pt x="904" y="44"/>
                  </a:lnTo>
                  <a:lnTo>
                    <a:pt x="892" y="38"/>
                  </a:lnTo>
                  <a:lnTo>
                    <a:pt x="882" y="34"/>
                  </a:lnTo>
                  <a:lnTo>
                    <a:pt x="866" y="30"/>
                  </a:lnTo>
                  <a:lnTo>
                    <a:pt x="854" y="24"/>
                  </a:lnTo>
                  <a:lnTo>
                    <a:pt x="844" y="20"/>
                  </a:lnTo>
                  <a:lnTo>
                    <a:pt x="822" y="22"/>
                  </a:lnTo>
                  <a:lnTo>
                    <a:pt x="814" y="20"/>
                  </a:lnTo>
                  <a:lnTo>
                    <a:pt x="808" y="20"/>
                  </a:lnTo>
                  <a:lnTo>
                    <a:pt x="794" y="30"/>
                  </a:lnTo>
                  <a:lnTo>
                    <a:pt x="788" y="32"/>
                  </a:lnTo>
                  <a:lnTo>
                    <a:pt x="770" y="32"/>
                  </a:lnTo>
                  <a:lnTo>
                    <a:pt x="742" y="48"/>
                  </a:lnTo>
                  <a:lnTo>
                    <a:pt x="726" y="58"/>
                  </a:lnTo>
                  <a:lnTo>
                    <a:pt x="710" y="76"/>
                  </a:lnTo>
                  <a:lnTo>
                    <a:pt x="704" y="84"/>
                  </a:lnTo>
                  <a:lnTo>
                    <a:pt x="700" y="92"/>
                  </a:lnTo>
                  <a:lnTo>
                    <a:pt x="696" y="106"/>
                  </a:lnTo>
                  <a:lnTo>
                    <a:pt x="698" y="126"/>
                  </a:lnTo>
                  <a:lnTo>
                    <a:pt x="702" y="138"/>
                  </a:lnTo>
                  <a:lnTo>
                    <a:pt x="708" y="146"/>
                  </a:lnTo>
                  <a:lnTo>
                    <a:pt x="710" y="154"/>
                  </a:lnTo>
                  <a:lnTo>
                    <a:pt x="712" y="164"/>
                  </a:lnTo>
                  <a:lnTo>
                    <a:pt x="708" y="172"/>
                  </a:lnTo>
                  <a:lnTo>
                    <a:pt x="702" y="184"/>
                  </a:lnTo>
                  <a:lnTo>
                    <a:pt x="682" y="208"/>
                  </a:lnTo>
                  <a:lnTo>
                    <a:pt x="674" y="214"/>
                  </a:lnTo>
                  <a:lnTo>
                    <a:pt x="654" y="224"/>
                  </a:lnTo>
                  <a:lnTo>
                    <a:pt x="644" y="226"/>
                  </a:lnTo>
                  <a:lnTo>
                    <a:pt x="632" y="224"/>
                  </a:lnTo>
                  <a:lnTo>
                    <a:pt x="614" y="214"/>
                  </a:lnTo>
                  <a:lnTo>
                    <a:pt x="582" y="186"/>
                  </a:lnTo>
                  <a:lnTo>
                    <a:pt x="566" y="180"/>
                  </a:lnTo>
                  <a:lnTo>
                    <a:pt x="558" y="174"/>
                  </a:lnTo>
                  <a:lnTo>
                    <a:pt x="528" y="162"/>
                  </a:lnTo>
                  <a:lnTo>
                    <a:pt x="490" y="152"/>
                  </a:lnTo>
                  <a:lnTo>
                    <a:pt x="468" y="152"/>
                  </a:lnTo>
                  <a:lnTo>
                    <a:pt x="448" y="150"/>
                  </a:lnTo>
                  <a:lnTo>
                    <a:pt x="428" y="142"/>
                  </a:lnTo>
                  <a:lnTo>
                    <a:pt x="420" y="136"/>
                  </a:lnTo>
                  <a:lnTo>
                    <a:pt x="412" y="128"/>
                  </a:lnTo>
                  <a:lnTo>
                    <a:pt x="406" y="118"/>
                  </a:lnTo>
                  <a:lnTo>
                    <a:pt x="400" y="104"/>
                  </a:lnTo>
                  <a:lnTo>
                    <a:pt x="398" y="94"/>
                  </a:lnTo>
                  <a:lnTo>
                    <a:pt x="398" y="80"/>
                  </a:lnTo>
                  <a:lnTo>
                    <a:pt x="390" y="68"/>
                  </a:lnTo>
                  <a:lnTo>
                    <a:pt x="384" y="62"/>
                  </a:lnTo>
                  <a:lnTo>
                    <a:pt x="342" y="52"/>
                  </a:lnTo>
                  <a:lnTo>
                    <a:pt x="336" y="50"/>
                  </a:lnTo>
                  <a:lnTo>
                    <a:pt x="324" y="40"/>
                  </a:lnTo>
                  <a:lnTo>
                    <a:pt x="318" y="38"/>
                  </a:lnTo>
                  <a:lnTo>
                    <a:pt x="296" y="30"/>
                  </a:lnTo>
                  <a:lnTo>
                    <a:pt x="284" y="30"/>
                  </a:lnTo>
                  <a:lnTo>
                    <a:pt x="278" y="28"/>
                  </a:lnTo>
                  <a:lnTo>
                    <a:pt x="260" y="22"/>
                  </a:lnTo>
                  <a:lnTo>
                    <a:pt x="252" y="22"/>
                  </a:lnTo>
                  <a:lnTo>
                    <a:pt x="226" y="30"/>
                  </a:lnTo>
                  <a:lnTo>
                    <a:pt x="204" y="28"/>
                  </a:lnTo>
                  <a:lnTo>
                    <a:pt x="196" y="26"/>
                  </a:lnTo>
                  <a:lnTo>
                    <a:pt x="164" y="8"/>
                  </a:lnTo>
                  <a:lnTo>
                    <a:pt x="154" y="6"/>
                  </a:lnTo>
                  <a:lnTo>
                    <a:pt x="144" y="0"/>
                  </a:lnTo>
                  <a:lnTo>
                    <a:pt x="144" y="2"/>
                  </a:lnTo>
                  <a:lnTo>
                    <a:pt x="142" y="18"/>
                  </a:lnTo>
                  <a:lnTo>
                    <a:pt x="142" y="22"/>
                  </a:lnTo>
                  <a:lnTo>
                    <a:pt x="140" y="32"/>
                  </a:lnTo>
                  <a:lnTo>
                    <a:pt x="140" y="42"/>
                  </a:lnTo>
                  <a:lnTo>
                    <a:pt x="146" y="52"/>
                  </a:lnTo>
                  <a:lnTo>
                    <a:pt x="146" y="56"/>
                  </a:lnTo>
                  <a:lnTo>
                    <a:pt x="144" y="60"/>
                  </a:lnTo>
                  <a:lnTo>
                    <a:pt x="134" y="66"/>
                  </a:lnTo>
                  <a:lnTo>
                    <a:pt x="122" y="72"/>
                  </a:lnTo>
                  <a:lnTo>
                    <a:pt x="112" y="78"/>
                  </a:lnTo>
                  <a:lnTo>
                    <a:pt x="100" y="86"/>
                  </a:lnTo>
                  <a:lnTo>
                    <a:pt x="96" y="90"/>
                  </a:lnTo>
                  <a:lnTo>
                    <a:pt x="90" y="94"/>
                  </a:lnTo>
                  <a:lnTo>
                    <a:pt x="86" y="98"/>
                  </a:lnTo>
                  <a:lnTo>
                    <a:pt x="84" y="102"/>
                  </a:lnTo>
                  <a:lnTo>
                    <a:pt x="82" y="108"/>
                  </a:lnTo>
                  <a:lnTo>
                    <a:pt x="76" y="112"/>
                  </a:lnTo>
                  <a:lnTo>
                    <a:pt x="66" y="116"/>
                  </a:lnTo>
                  <a:lnTo>
                    <a:pt x="64" y="116"/>
                  </a:lnTo>
                  <a:lnTo>
                    <a:pt x="58" y="124"/>
                  </a:lnTo>
                  <a:lnTo>
                    <a:pt x="56" y="128"/>
                  </a:lnTo>
                  <a:lnTo>
                    <a:pt x="54" y="134"/>
                  </a:lnTo>
                  <a:lnTo>
                    <a:pt x="56" y="150"/>
                  </a:lnTo>
                  <a:lnTo>
                    <a:pt x="62" y="166"/>
                  </a:lnTo>
                  <a:lnTo>
                    <a:pt x="62" y="174"/>
                  </a:lnTo>
                  <a:lnTo>
                    <a:pt x="62" y="180"/>
                  </a:lnTo>
                  <a:lnTo>
                    <a:pt x="60" y="186"/>
                  </a:lnTo>
                  <a:lnTo>
                    <a:pt x="54" y="194"/>
                  </a:lnTo>
                  <a:lnTo>
                    <a:pt x="50" y="202"/>
                  </a:lnTo>
                  <a:lnTo>
                    <a:pt x="42" y="212"/>
                  </a:lnTo>
                  <a:lnTo>
                    <a:pt x="38" y="216"/>
                  </a:lnTo>
                  <a:lnTo>
                    <a:pt x="32" y="220"/>
                  </a:lnTo>
                  <a:lnTo>
                    <a:pt x="22" y="224"/>
                  </a:lnTo>
                  <a:lnTo>
                    <a:pt x="14" y="228"/>
                  </a:lnTo>
                  <a:lnTo>
                    <a:pt x="8" y="232"/>
                  </a:lnTo>
                  <a:lnTo>
                    <a:pt x="0" y="236"/>
                  </a:lnTo>
                  <a:lnTo>
                    <a:pt x="6" y="246"/>
                  </a:lnTo>
                  <a:lnTo>
                    <a:pt x="16" y="260"/>
                  </a:lnTo>
                  <a:lnTo>
                    <a:pt x="22" y="272"/>
                  </a:lnTo>
                  <a:lnTo>
                    <a:pt x="24" y="278"/>
                  </a:lnTo>
                  <a:lnTo>
                    <a:pt x="30" y="292"/>
                  </a:lnTo>
                  <a:lnTo>
                    <a:pt x="32" y="308"/>
                  </a:lnTo>
                  <a:lnTo>
                    <a:pt x="34" y="312"/>
                  </a:lnTo>
                  <a:lnTo>
                    <a:pt x="36" y="324"/>
                  </a:lnTo>
                  <a:lnTo>
                    <a:pt x="34" y="354"/>
                  </a:lnTo>
                  <a:lnTo>
                    <a:pt x="36" y="392"/>
                  </a:lnTo>
                  <a:lnTo>
                    <a:pt x="40" y="412"/>
                  </a:lnTo>
                  <a:lnTo>
                    <a:pt x="34" y="428"/>
                  </a:lnTo>
                  <a:lnTo>
                    <a:pt x="30" y="444"/>
                  </a:lnTo>
                  <a:lnTo>
                    <a:pt x="30" y="454"/>
                  </a:lnTo>
                  <a:lnTo>
                    <a:pt x="32" y="466"/>
                  </a:lnTo>
                  <a:lnTo>
                    <a:pt x="36" y="476"/>
                  </a:lnTo>
                  <a:lnTo>
                    <a:pt x="38" y="480"/>
                  </a:lnTo>
                  <a:lnTo>
                    <a:pt x="38" y="496"/>
                  </a:lnTo>
                  <a:lnTo>
                    <a:pt x="36" y="502"/>
                  </a:lnTo>
                  <a:lnTo>
                    <a:pt x="24" y="510"/>
                  </a:lnTo>
                  <a:lnTo>
                    <a:pt x="12" y="518"/>
                  </a:lnTo>
                  <a:lnTo>
                    <a:pt x="8" y="524"/>
                  </a:lnTo>
                  <a:lnTo>
                    <a:pt x="8" y="532"/>
                  </a:lnTo>
                  <a:lnTo>
                    <a:pt x="10" y="538"/>
                  </a:lnTo>
                  <a:lnTo>
                    <a:pt x="18" y="550"/>
                  </a:lnTo>
                  <a:lnTo>
                    <a:pt x="32" y="570"/>
                  </a:lnTo>
                  <a:lnTo>
                    <a:pt x="46" y="590"/>
                  </a:lnTo>
                  <a:lnTo>
                    <a:pt x="46" y="596"/>
                  </a:lnTo>
                  <a:lnTo>
                    <a:pt x="48" y="612"/>
                  </a:lnTo>
                  <a:lnTo>
                    <a:pt x="54" y="630"/>
                  </a:lnTo>
                  <a:lnTo>
                    <a:pt x="60" y="638"/>
                  </a:lnTo>
                  <a:lnTo>
                    <a:pt x="62" y="644"/>
                  </a:lnTo>
                  <a:lnTo>
                    <a:pt x="66" y="650"/>
                  </a:lnTo>
                  <a:lnTo>
                    <a:pt x="72" y="652"/>
                  </a:lnTo>
                  <a:lnTo>
                    <a:pt x="74" y="652"/>
                  </a:lnTo>
                  <a:lnTo>
                    <a:pt x="90" y="648"/>
                  </a:lnTo>
                  <a:lnTo>
                    <a:pt x="118" y="656"/>
                  </a:lnTo>
                  <a:lnTo>
                    <a:pt x="144" y="664"/>
                  </a:lnTo>
                  <a:lnTo>
                    <a:pt x="146" y="666"/>
                  </a:lnTo>
                  <a:lnTo>
                    <a:pt x="152" y="678"/>
                  </a:lnTo>
                  <a:lnTo>
                    <a:pt x="162" y="694"/>
                  </a:lnTo>
                  <a:lnTo>
                    <a:pt x="168" y="708"/>
                  </a:lnTo>
                  <a:lnTo>
                    <a:pt x="174" y="722"/>
                  </a:lnTo>
                  <a:lnTo>
                    <a:pt x="208" y="730"/>
                  </a:lnTo>
                  <a:lnTo>
                    <a:pt x="274" y="746"/>
                  </a:lnTo>
                  <a:lnTo>
                    <a:pt x="282" y="750"/>
                  </a:lnTo>
                  <a:lnTo>
                    <a:pt x="298" y="766"/>
                  </a:lnTo>
                  <a:lnTo>
                    <a:pt x="320" y="786"/>
                  </a:lnTo>
                  <a:lnTo>
                    <a:pt x="322" y="786"/>
                  </a:lnTo>
                  <a:lnTo>
                    <a:pt x="324" y="786"/>
                  </a:lnTo>
                  <a:lnTo>
                    <a:pt x="344" y="774"/>
                  </a:lnTo>
                  <a:lnTo>
                    <a:pt x="372" y="758"/>
                  </a:lnTo>
                  <a:lnTo>
                    <a:pt x="396" y="748"/>
                  </a:lnTo>
                  <a:lnTo>
                    <a:pt x="414" y="738"/>
                  </a:lnTo>
                  <a:lnTo>
                    <a:pt x="438" y="726"/>
                  </a:lnTo>
                  <a:lnTo>
                    <a:pt x="460" y="738"/>
                  </a:lnTo>
                  <a:lnTo>
                    <a:pt x="554" y="788"/>
                  </a:lnTo>
                  <a:lnTo>
                    <a:pt x="586" y="806"/>
                  </a:lnTo>
                  <a:lnTo>
                    <a:pt x="616" y="822"/>
                  </a:lnTo>
                  <a:lnTo>
                    <a:pt x="648" y="840"/>
                  </a:lnTo>
                  <a:lnTo>
                    <a:pt x="680" y="856"/>
                  </a:lnTo>
                  <a:lnTo>
                    <a:pt x="742" y="890"/>
                  </a:lnTo>
                  <a:lnTo>
                    <a:pt x="774" y="906"/>
                  </a:lnTo>
                  <a:lnTo>
                    <a:pt x="836" y="940"/>
                  </a:lnTo>
                  <a:lnTo>
                    <a:pt x="868" y="956"/>
                  </a:lnTo>
                  <a:lnTo>
                    <a:pt x="962" y="1006"/>
                  </a:lnTo>
                  <a:lnTo>
                    <a:pt x="962" y="970"/>
                  </a:lnTo>
                  <a:lnTo>
                    <a:pt x="1026" y="970"/>
                  </a:lnTo>
                  <a:lnTo>
                    <a:pt x="1028" y="970"/>
                  </a:lnTo>
                  <a:lnTo>
                    <a:pt x="1028" y="970"/>
                  </a:lnTo>
                  <a:lnTo>
                    <a:pt x="1028" y="900"/>
                  </a:lnTo>
                  <a:lnTo>
                    <a:pt x="1028" y="864"/>
                  </a:lnTo>
                  <a:lnTo>
                    <a:pt x="1028" y="306"/>
                  </a:lnTo>
                  <a:lnTo>
                    <a:pt x="1028" y="304"/>
                  </a:lnTo>
                  <a:lnTo>
                    <a:pt x="1024" y="292"/>
                  </a:lnTo>
                  <a:lnTo>
                    <a:pt x="1020" y="278"/>
                  </a:lnTo>
                  <a:lnTo>
                    <a:pt x="1016" y="260"/>
                  </a:lnTo>
                  <a:lnTo>
                    <a:pt x="1016" y="254"/>
                  </a:lnTo>
                  <a:lnTo>
                    <a:pt x="1010" y="236"/>
                  </a:lnTo>
                  <a:lnTo>
                    <a:pt x="1010" y="230"/>
                  </a:lnTo>
                  <a:lnTo>
                    <a:pt x="1010" y="226"/>
                  </a:lnTo>
                  <a:lnTo>
                    <a:pt x="1022" y="210"/>
                  </a:lnTo>
                  <a:lnTo>
                    <a:pt x="1024" y="202"/>
                  </a:lnTo>
                  <a:lnTo>
                    <a:pt x="1026" y="194"/>
                  </a:lnTo>
                  <a:lnTo>
                    <a:pt x="1028" y="186"/>
                  </a:lnTo>
                  <a:lnTo>
                    <a:pt x="1024" y="174"/>
                  </a:lnTo>
                  <a:lnTo>
                    <a:pt x="1022" y="164"/>
                  </a:lnTo>
                  <a:lnTo>
                    <a:pt x="1020" y="154"/>
                  </a:lnTo>
                  <a:lnTo>
                    <a:pt x="1020" y="144"/>
                  </a:lnTo>
                  <a:lnTo>
                    <a:pt x="1024" y="136"/>
                  </a:lnTo>
                  <a:lnTo>
                    <a:pt x="1030" y="130"/>
                  </a:lnTo>
                  <a:lnTo>
                    <a:pt x="1032" y="126"/>
                  </a:lnTo>
                  <a:lnTo>
                    <a:pt x="1036" y="120"/>
                  </a:lnTo>
                  <a:lnTo>
                    <a:pt x="1038" y="11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4" name="Freeform 5588">
              <a:extLst>
                <a:ext uri="{FF2B5EF4-FFF2-40B4-BE49-F238E27FC236}">
                  <a16:creationId xmlns:a16="http://schemas.microsoft.com/office/drawing/2014/main" id="{4073228D-9BD3-4B9F-B13C-CCC0BBAFAAFC}"/>
                </a:ext>
              </a:extLst>
            </p:cNvPr>
            <p:cNvSpPr/>
            <p:nvPr/>
          </p:nvSpPr>
          <p:spPr bwMode="auto">
            <a:xfrm>
              <a:off x="3755158" y="5050183"/>
              <a:ext cx="4625" cy="9251"/>
            </a:xfrm>
            <a:custGeom>
              <a:avLst/>
              <a:gdLst>
                <a:gd name="T0" fmla="*/ 12 w 12"/>
                <a:gd name="T1" fmla="*/ 18 h 24"/>
                <a:gd name="T2" fmla="*/ 12 w 12"/>
                <a:gd name="T3" fmla="*/ 4 h 24"/>
                <a:gd name="T4" fmla="*/ 12 w 12"/>
                <a:gd name="T5" fmla="*/ 0 h 24"/>
                <a:gd name="T6" fmla="*/ 8 w 12"/>
                <a:gd name="T7" fmla="*/ 0 h 24"/>
                <a:gd name="T8" fmla="*/ 6 w 12"/>
                <a:gd name="T9" fmla="*/ 4 h 24"/>
                <a:gd name="T10" fmla="*/ 0 w 12"/>
                <a:gd name="T11" fmla="*/ 12 h 24"/>
                <a:gd name="T12" fmla="*/ 0 w 12"/>
                <a:gd name="T13" fmla="*/ 14 h 24"/>
                <a:gd name="T14" fmla="*/ 0 w 12"/>
                <a:gd name="T15" fmla="*/ 20 h 24"/>
                <a:gd name="T16" fmla="*/ 8 w 12"/>
                <a:gd name="T17" fmla="*/ 24 h 24"/>
                <a:gd name="T18" fmla="*/ 12 w 12"/>
                <a:gd name="T19" fmla="*/ 1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24">
                  <a:moveTo>
                    <a:pt x="12" y="18"/>
                  </a:moveTo>
                  <a:lnTo>
                    <a:pt x="12" y="4"/>
                  </a:lnTo>
                  <a:lnTo>
                    <a:pt x="12" y="0"/>
                  </a:lnTo>
                  <a:lnTo>
                    <a:pt x="8" y="0"/>
                  </a:lnTo>
                  <a:lnTo>
                    <a:pt x="6" y="4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8" y="24"/>
                  </a:lnTo>
                  <a:lnTo>
                    <a:pt x="12" y="1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5" name="Line 5589">
              <a:extLst>
                <a:ext uri="{FF2B5EF4-FFF2-40B4-BE49-F238E27FC236}">
                  <a16:creationId xmlns:a16="http://schemas.microsoft.com/office/drawing/2014/main" id="{989CAA11-1537-497E-919A-E36D4021992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59783" y="5057121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6" name="Line 5591">
              <a:extLst>
                <a:ext uri="{FF2B5EF4-FFF2-40B4-BE49-F238E27FC236}">
                  <a16:creationId xmlns:a16="http://schemas.microsoft.com/office/drawing/2014/main" id="{B38AEC89-FD79-4F06-9462-8482B57F755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59783" y="5057121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7" name="Freeform 5592">
              <a:extLst>
                <a:ext uri="{FF2B5EF4-FFF2-40B4-BE49-F238E27FC236}">
                  <a16:creationId xmlns:a16="http://schemas.microsoft.com/office/drawing/2014/main" id="{1BAA110A-C8B1-48EA-9268-F88D45FE1165}"/>
                </a:ext>
              </a:extLst>
            </p:cNvPr>
            <p:cNvSpPr/>
            <p:nvPr/>
          </p:nvSpPr>
          <p:spPr bwMode="auto">
            <a:xfrm>
              <a:off x="5538196" y="4051127"/>
              <a:ext cx="3084" cy="7709"/>
            </a:xfrm>
            <a:custGeom>
              <a:avLst/>
              <a:gdLst>
                <a:gd name="T0" fmla="*/ 6 w 8"/>
                <a:gd name="T1" fmla="*/ 20 h 20"/>
                <a:gd name="T2" fmla="*/ 8 w 8"/>
                <a:gd name="T3" fmla="*/ 18 h 20"/>
                <a:gd name="T4" fmla="*/ 8 w 8"/>
                <a:gd name="T5" fmla="*/ 14 h 20"/>
                <a:gd name="T6" fmla="*/ 8 w 8"/>
                <a:gd name="T7" fmla="*/ 12 h 20"/>
                <a:gd name="T8" fmla="*/ 6 w 8"/>
                <a:gd name="T9" fmla="*/ 10 h 20"/>
                <a:gd name="T10" fmla="*/ 4 w 8"/>
                <a:gd name="T11" fmla="*/ 8 h 20"/>
                <a:gd name="T12" fmla="*/ 4 w 8"/>
                <a:gd name="T13" fmla="*/ 4 h 20"/>
                <a:gd name="T14" fmla="*/ 4 w 8"/>
                <a:gd name="T15" fmla="*/ 2 h 20"/>
                <a:gd name="T16" fmla="*/ 4 w 8"/>
                <a:gd name="T17" fmla="*/ 0 h 20"/>
                <a:gd name="T18" fmla="*/ 2 w 8"/>
                <a:gd name="T19" fmla="*/ 0 h 20"/>
                <a:gd name="T20" fmla="*/ 0 w 8"/>
                <a:gd name="T21" fmla="*/ 8 h 20"/>
                <a:gd name="T22" fmla="*/ 0 w 8"/>
                <a:gd name="T23" fmla="*/ 16 h 20"/>
                <a:gd name="T24" fmla="*/ 0 w 8"/>
                <a:gd name="T25" fmla="*/ 20 h 20"/>
                <a:gd name="T26" fmla="*/ 2 w 8"/>
                <a:gd name="T27" fmla="*/ 20 h 20"/>
                <a:gd name="T28" fmla="*/ 6 w 8"/>
                <a:gd name="T2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20">
                  <a:moveTo>
                    <a:pt x="6" y="20"/>
                  </a:moveTo>
                  <a:lnTo>
                    <a:pt x="8" y="18"/>
                  </a:lnTo>
                  <a:lnTo>
                    <a:pt x="8" y="14"/>
                  </a:lnTo>
                  <a:lnTo>
                    <a:pt x="8" y="12"/>
                  </a:lnTo>
                  <a:lnTo>
                    <a:pt x="6" y="10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8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6" y="2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8" name="Line 5593">
              <a:extLst>
                <a:ext uri="{FF2B5EF4-FFF2-40B4-BE49-F238E27FC236}">
                  <a16:creationId xmlns:a16="http://schemas.microsoft.com/office/drawing/2014/main" id="{11ADA865-7A63-4B9D-887E-FA3F1646069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540508" y="4058836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9" name="Line 5595">
              <a:extLst>
                <a:ext uri="{FF2B5EF4-FFF2-40B4-BE49-F238E27FC236}">
                  <a16:creationId xmlns:a16="http://schemas.microsoft.com/office/drawing/2014/main" id="{E4D99ED7-4C99-4462-A1FB-6B616C5B707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540508" y="4058836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0" name="Freeform 198">
              <a:extLst>
                <a:ext uri="{FF2B5EF4-FFF2-40B4-BE49-F238E27FC236}">
                  <a16:creationId xmlns:a16="http://schemas.microsoft.com/office/drawing/2014/main" id="{8DDD626C-7D6F-4BC7-A8F7-59D5011E8A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12754" y="5160418"/>
              <a:ext cx="54732" cy="98672"/>
            </a:xfrm>
            <a:custGeom>
              <a:avLst/>
              <a:gdLst>
                <a:gd name="connsiteX0" fmla="*/ 4764 w 338324"/>
                <a:gd name="connsiteY0" fmla="*/ 114364 h 609936"/>
                <a:gd name="connsiteX1" fmla="*/ 23828 w 338324"/>
                <a:gd name="connsiteY1" fmla="*/ 119130 h 609936"/>
                <a:gd name="connsiteX2" fmla="*/ 28592 w 338324"/>
                <a:gd name="connsiteY2" fmla="*/ 133424 h 609936"/>
                <a:gd name="connsiteX3" fmla="*/ 14296 w 338324"/>
                <a:gd name="connsiteY3" fmla="*/ 123894 h 609936"/>
                <a:gd name="connsiteX4" fmla="*/ 9532 w 338324"/>
                <a:gd name="connsiteY4" fmla="*/ 119130 h 609936"/>
                <a:gd name="connsiteX5" fmla="*/ 23828 w 338324"/>
                <a:gd name="connsiteY5" fmla="*/ 9532 h 609936"/>
                <a:gd name="connsiteX6" fmla="*/ 28592 w 338324"/>
                <a:gd name="connsiteY6" fmla="*/ 9532 h 609936"/>
                <a:gd name="connsiteX7" fmla="*/ 28592 w 338324"/>
                <a:gd name="connsiteY7" fmla="*/ 19062 h 609936"/>
                <a:gd name="connsiteX8" fmla="*/ 38124 w 338324"/>
                <a:gd name="connsiteY8" fmla="*/ 28592 h 609936"/>
                <a:gd name="connsiteX9" fmla="*/ 28592 w 338324"/>
                <a:gd name="connsiteY9" fmla="*/ 33358 h 609936"/>
                <a:gd name="connsiteX10" fmla="*/ 23828 w 338324"/>
                <a:gd name="connsiteY10" fmla="*/ 19062 h 609936"/>
                <a:gd name="connsiteX11" fmla="*/ 19060 w 338324"/>
                <a:gd name="connsiteY11" fmla="*/ 14298 h 609936"/>
                <a:gd name="connsiteX12" fmla="*/ 23828 w 338324"/>
                <a:gd name="connsiteY12" fmla="*/ 14298 h 609936"/>
                <a:gd name="connsiteX13" fmla="*/ 42888 w 338324"/>
                <a:gd name="connsiteY13" fmla="*/ 0 h 609936"/>
                <a:gd name="connsiteX14" fmla="*/ 57184 w 338324"/>
                <a:gd name="connsiteY14" fmla="*/ 0 h 609936"/>
                <a:gd name="connsiteX15" fmla="*/ 71476 w 338324"/>
                <a:gd name="connsiteY15" fmla="*/ 0 h 609936"/>
                <a:gd name="connsiteX16" fmla="*/ 85772 w 338324"/>
                <a:gd name="connsiteY16" fmla="*/ 4766 h 609936"/>
                <a:gd name="connsiteX17" fmla="*/ 104832 w 338324"/>
                <a:gd name="connsiteY17" fmla="*/ 28592 h 609936"/>
                <a:gd name="connsiteX18" fmla="*/ 157252 w 338324"/>
                <a:gd name="connsiteY18" fmla="*/ 71478 h 609936"/>
                <a:gd name="connsiteX19" fmla="*/ 185840 w 338324"/>
                <a:gd name="connsiteY19" fmla="*/ 114364 h 609936"/>
                <a:gd name="connsiteX20" fmla="*/ 185840 w 338324"/>
                <a:gd name="connsiteY20" fmla="*/ 123894 h 609936"/>
                <a:gd name="connsiteX21" fmla="*/ 190608 w 338324"/>
                <a:gd name="connsiteY21" fmla="*/ 133424 h 609936"/>
                <a:gd name="connsiteX22" fmla="*/ 195372 w 338324"/>
                <a:gd name="connsiteY22" fmla="*/ 133424 h 609936"/>
                <a:gd name="connsiteX23" fmla="*/ 204900 w 338324"/>
                <a:gd name="connsiteY23" fmla="*/ 138190 h 609936"/>
                <a:gd name="connsiteX24" fmla="*/ 233492 w 338324"/>
                <a:gd name="connsiteY24" fmla="*/ 181076 h 609936"/>
                <a:gd name="connsiteX25" fmla="*/ 233492 w 338324"/>
                <a:gd name="connsiteY25" fmla="*/ 190606 h 609936"/>
                <a:gd name="connsiteX26" fmla="*/ 233492 w 338324"/>
                <a:gd name="connsiteY26" fmla="*/ 200136 h 609936"/>
                <a:gd name="connsiteX27" fmla="*/ 238256 w 338324"/>
                <a:gd name="connsiteY27" fmla="*/ 204902 h 609936"/>
                <a:gd name="connsiteX28" fmla="*/ 243024 w 338324"/>
                <a:gd name="connsiteY28" fmla="*/ 209666 h 609936"/>
                <a:gd name="connsiteX29" fmla="*/ 252552 w 338324"/>
                <a:gd name="connsiteY29" fmla="*/ 214432 h 609936"/>
                <a:gd name="connsiteX30" fmla="*/ 257316 w 338324"/>
                <a:gd name="connsiteY30" fmla="*/ 219196 h 609936"/>
                <a:gd name="connsiteX31" fmla="*/ 266848 w 338324"/>
                <a:gd name="connsiteY31" fmla="*/ 252552 h 609936"/>
                <a:gd name="connsiteX32" fmla="*/ 266848 w 338324"/>
                <a:gd name="connsiteY32" fmla="*/ 262082 h 609936"/>
                <a:gd name="connsiteX33" fmla="*/ 266848 w 338324"/>
                <a:gd name="connsiteY33" fmla="*/ 266848 h 609936"/>
                <a:gd name="connsiteX34" fmla="*/ 304968 w 338324"/>
                <a:gd name="connsiteY34" fmla="*/ 319264 h 609936"/>
                <a:gd name="connsiteX35" fmla="*/ 304968 w 338324"/>
                <a:gd name="connsiteY35" fmla="*/ 328794 h 609936"/>
                <a:gd name="connsiteX36" fmla="*/ 304968 w 338324"/>
                <a:gd name="connsiteY36" fmla="*/ 333560 h 609936"/>
                <a:gd name="connsiteX37" fmla="*/ 304968 w 338324"/>
                <a:gd name="connsiteY37" fmla="*/ 338324 h 609936"/>
                <a:gd name="connsiteX38" fmla="*/ 314500 w 338324"/>
                <a:gd name="connsiteY38" fmla="*/ 347856 h 609936"/>
                <a:gd name="connsiteX39" fmla="*/ 324028 w 338324"/>
                <a:gd name="connsiteY39" fmla="*/ 371680 h 609936"/>
                <a:gd name="connsiteX40" fmla="*/ 328796 w 338324"/>
                <a:gd name="connsiteY40" fmla="*/ 376446 h 609936"/>
                <a:gd name="connsiteX41" fmla="*/ 338324 w 338324"/>
                <a:gd name="connsiteY41" fmla="*/ 400272 h 609936"/>
                <a:gd name="connsiteX42" fmla="*/ 338324 w 338324"/>
                <a:gd name="connsiteY42" fmla="*/ 443158 h 609936"/>
                <a:gd name="connsiteX43" fmla="*/ 333560 w 338324"/>
                <a:gd name="connsiteY43" fmla="*/ 457452 h 609936"/>
                <a:gd name="connsiteX44" fmla="*/ 328796 w 338324"/>
                <a:gd name="connsiteY44" fmla="*/ 481278 h 609936"/>
                <a:gd name="connsiteX45" fmla="*/ 319264 w 338324"/>
                <a:gd name="connsiteY45" fmla="*/ 505104 h 609936"/>
                <a:gd name="connsiteX46" fmla="*/ 309736 w 338324"/>
                <a:gd name="connsiteY46" fmla="*/ 519400 h 609936"/>
                <a:gd name="connsiteX47" fmla="*/ 300204 w 338324"/>
                <a:gd name="connsiteY47" fmla="*/ 533696 h 609936"/>
                <a:gd name="connsiteX48" fmla="*/ 262084 w 338324"/>
                <a:gd name="connsiteY48" fmla="*/ 562286 h 609936"/>
                <a:gd name="connsiteX49" fmla="*/ 247788 w 338324"/>
                <a:gd name="connsiteY49" fmla="*/ 571816 h 609936"/>
                <a:gd name="connsiteX50" fmla="*/ 195372 w 338324"/>
                <a:gd name="connsiteY50" fmla="*/ 586112 h 609936"/>
                <a:gd name="connsiteX51" fmla="*/ 157252 w 338324"/>
                <a:gd name="connsiteY51" fmla="*/ 605172 h 609936"/>
                <a:gd name="connsiteX52" fmla="*/ 123896 w 338324"/>
                <a:gd name="connsiteY52" fmla="*/ 609936 h 609936"/>
                <a:gd name="connsiteX53" fmla="*/ 85772 w 338324"/>
                <a:gd name="connsiteY53" fmla="*/ 600406 h 609936"/>
                <a:gd name="connsiteX54" fmla="*/ 57184 w 338324"/>
                <a:gd name="connsiteY54" fmla="*/ 576582 h 609936"/>
                <a:gd name="connsiteX55" fmla="*/ 47652 w 338324"/>
                <a:gd name="connsiteY55" fmla="*/ 543226 h 609936"/>
                <a:gd name="connsiteX56" fmla="*/ 38124 w 338324"/>
                <a:gd name="connsiteY56" fmla="*/ 509870 h 609936"/>
                <a:gd name="connsiteX57" fmla="*/ 23828 w 338324"/>
                <a:gd name="connsiteY57" fmla="*/ 471748 h 609936"/>
                <a:gd name="connsiteX58" fmla="*/ 14296 w 338324"/>
                <a:gd name="connsiteY58" fmla="*/ 352620 h 609936"/>
                <a:gd name="connsiteX59" fmla="*/ 4768 w 338324"/>
                <a:gd name="connsiteY59" fmla="*/ 319264 h 609936"/>
                <a:gd name="connsiteX60" fmla="*/ 0 w 338324"/>
                <a:gd name="connsiteY60" fmla="*/ 276378 h 609936"/>
                <a:gd name="connsiteX61" fmla="*/ 0 w 338324"/>
                <a:gd name="connsiteY61" fmla="*/ 257318 h 609936"/>
                <a:gd name="connsiteX62" fmla="*/ 4768 w 338324"/>
                <a:gd name="connsiteY62" fmla="*/ 238258 h 609936"/>
                <a:gd name="connsiteX63" fmla="*/ 4768 w 338324"/>
                <a:gd name="connsiteY63" fmla="*/ 281144 h 609936"/>
                <a:gd name="connsiteX64" fmla="*/ 9532 w 338324"/>
                <a:gd name="connsiteY64" fmla="*/ 285908 h 609936"/>
                <a:gd name="connsiteX65" fmla="*/ 14296 w 338324"/>
                <a:gd name="connsiteY65" fmla="*/ 281144 h 609936"/>
                <a:gd name="connsiteX66" fmla="*/ 19060 w 338324"/>
                <a:gd name="connsiteY66" fmla="*/ 238258 h 609936"/>
                <a:gd name="connsiteX67" fmla="*/ 19060 w 338324"/>
                <a:gd name="connsiteY67" fmla="*/ 223962 h 609936"/>
                <a:gd name="connsiteX68" fmla="*/ 33356 w 338324"/>
                <a:gd name="connsiteY68" fmla="*/ 176310 h 609936"/>
                <a:gd name="connsiteX69" fmla="*/ 33356 w 338324"/>
                <a:gd name="connsiteY69" fmla="*/ 171546 h 609936"/>
                <a:gd name="connsiteX70" fmla="*/ 33356 w 338324"/>
                <a:gd name="connsiteY70" fmla="*/ 152484 h 609936"/>
                <a:gd name="connsiteX71" fmla="*/ 33356 w 338324"/>
                <a:gd name="connsiteY71" fmla="*/ 142954 h 609936"/>
                <a:gd name="connsiteX72" fmla="*/ 52416 w 338324"/>
                <a:gd name="connsiteY72" fmla="*/ 114364 h 609936"/>
                <a:gd name="connsiteX73" fmla="*/ 61948 w 338324"/>
                <a:gd name="connsiteY73" fmla="*/ 95304 h 609936"/>
                <a:gd name="connsiteX74" fmla="*/ 61948 w 338324"/>
                <a:gd name="connsiteY74" fmla="*/ 76244 h 609936"/>
                <a:gd name="connsiteX75" fmla="*/ 61948 w 338324"/>
                <a:gd name="connsiteY75" fmla="*/ 57182 h 609936"/>
                <a:gd name="connsiteX76" fmla="*/ 57184 w 338324"/>
                <a:gd name="connsiteY76" fmla="*/ 38122 h 609936"/>
                <a:gd name="connsiteX77" fmla="*/ 76244 w 338324"/>
                <a:gd name="connsiteY77" fmla="*/ 42888 h 609936"/>
                <a:gd name="connsiteX78" fmla="*/ 85772 w 338324"/>
                <a:gd name="connsiteY78" fmla="*/ 52418 h 609936"/>
                <a:gd name="connsiteX79" fmla="*/ 95304 w 338324"/>
                <a:gd name="connsiteY79" fmla="*/ 57182 h 609936"/>
                <a:gd name="connsiteX80" fmla="*/ 100068 w 338324"/>
                <a:gd name="connsiteY80" fmla="*/ 52418 h 609936"/>
                <a:gd name="connsiteX81" fmla="*/ 109600 w 338324"/>
                <a:gd name="connsiteY81" fmla="*/ 52418 h 609936"/>
                <a:gd name="connsiteX82" fmla="*/ 104832 w 338324"/>
                <a:gd name="connsiteY82" fmla="*/ 42888 h 609936"/>
                <a:gd name="connsiteX83" fmla="*/ 85772 w 338324"/>
                <a:gd name="connsiteY83" fmla="*/ 33356 h 609936"/>
                <a:gd name="connsiteX84" fmla="*/ 52416 w 338324"/>
                <a:gd name="connsiteY84" fmla="*/ 23826 h 609936"/>
                <a:gd name="connsiteX85" fmla="*/ 42888 w 338324"/>
                <a:gd name="connsiteY85" fmla="*/ 19062 h 609936"/>
                <a:gd name="connsiteX86" fmla="*/ 38124 w 338324"/>
                <a:gd name="connsiteY86" fmla="*/ 9532 h 609936"/>
                <a:gd name="connsiteX87" fmla="*/ 38124 w 338324"/>
                <a:gd name="connsiteY87" fmla="*/ 4766 h 609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338324" h="609936">
                  <a:moveTo>
                    <a:pt x="4764" y="114364"/>
                  </a:moveTo>
                  <a:lnTo>
                    <a:pt x="23828" y="119130"/>
                  </a:lnTo>
                  <a:lnTo>
                    <a:pt x="28592" y="133424"/>
                  </a:lnTo>
                  <a:lnTo>
                    <a:pt x="14296" y="123894"/>
                  </a:lnTo>
                  <a:lnTo>
                    <a:pt x="9532" y="119130"/>
                  </a:lnTo>
                  <a:close/>
                  <a:moveTo>
                    <a:pt x="23828" y="9532"/>
                  </a:moveTo>
                  <a:lnTo>
                    <a:pt x="28592" y="9532"/>
                  </a:lnTo>
                  <a:lnTo>
                    <a:pt x="28592" y="19062"/>
                  </a:lnTo>
                  <a:lnTo>
                    <a:pt x="38124" y="28592"/>
                  </a:lnTo>
                  <a:lnTo>
                    <a:pt x="28592" y="33358"/>
                  </a:lnTo>
                  <a:lnTo>
                    <a:pt x="23828" y="19062"/>
                  </a:lnTo>
                  <a:lnTo>
                    <a:pt x="19060" y="14298"/>
                  </a:lnTo>
                  <a:lnTo>
                    <a:pt x="23828" y="14298"/>
                  </a:lnTo>
                  <a:close/>
                  <a:moveTo>
                    <a:pt x="42888" y="0"/>
                  </a:moveTo>
                  <a:lnTo>
                    <a:pt x="57184" y="0"/>
                  </a:lnTo>
                  <a:lnTo>
                    <a:pt x="71476" y="0"/>
                  </a:lnTo>
                  <a:lnTo>
                    <a:pt x="85772" y="4766"/>
                  </a:lnTo>
                  <a:lnTo>
                    <a:pt x="104832" y="28592"/>
                  </a:lnTo>
                  <a:lnTo>
                    <a:pt x="157252" y="71478"/>
                  </a:lnTo>
                  <a:lnTo>
                    <a:pt x="185840" y="114364"/>
                  </a:lnTo>
                  <a:lnTo>
                    <a:pt x="185840" y="123894"/>
                  </a:lnTo>
                  <a:lnTo>
                    <a:pt x="190608" y="133424"/>
                  </a:lnTo>
                  <a:lnTo>
                    <a:pt x="195372" y="133424"/>
                  </a:lnTo>
                  <a:lnTo>
                    <a:pt x="204900" y="138190"/>
                  </a:lnTo>
                  <a:lnTo>
                    <a:pt x="233492" y="181076"/>
                  </a:lnTo>
                  <a:lnTo>
                    <a:pt x="233492" y="190606"/>
                  </a:lnTo>
                  <a:lnTo>
                    <a:pt x="233492" y="200136"/>
                  </a:lnTo>
                  <a:lnTo>
                    <a:pt x="238256" y="204902"/>
                  </a:lnTo>
                  <a:lnTo>
                    <a:pt x="243024" y="209666"/>
                  </a:lnTo>
                  <a:lnTo>
                    <a:pt x="252552" y="214432"/>
                  </a:lnTo>
                  <a:lnTo>
                    <a:pt x="257316" y="219196"/>
                  </a:lnTo>
                  <a:lnTo>
                    <a:pt x="266848" y="252552"/>
                  </a:lnTo>
                  <a:lnTo>
                    <a:pt x="266848" y="262082"/>
                  </a:lnTo>
                  <a:lnTo>
                    <a:pt x="266848" y="266848"/>
                  </a:lnTo>
                  <a:lnTo>
                    <a:pt x="304968" y="319264"/>
                  </a:lnTo>
                  <a:lnTo>
                    <a:pt x="304968" y="328794"/>
                  </a:lnTo>
                  <a:lnTo>
                    <a:pt x="304968" y="333560"/>
                  </a:lnTo>
                  <a:lnTo>
                    <a:pt x="304968" y="338324"/>
                  </a:lnTo>
                  <a:lnTo>
                    <a:pt x="314500" y="347856"/>
                  </a:lnTo>
                  <a:lnTo>
                    <a:pt x="324028" y="371680"/>
                  </a:lnTo>
                  <a:lnTo>
                    <a:pt x="328796" y="376446"/>
                  </a:lnTo>
                  <a:lnTo>
                    <a:pt x="338324" y="400272"/>
                  </a:lnTo>
                  <a:lnTo>
                    <a:pt x="338324" y="443158"/>
                  </a:lnTo>
                  <a:lnTo>
                    <a:pt x="333560" y="457452"/>
                  </a:lnTo>
                  <a:lnTo>
                    <a:pt x="328796" y="481278"/>
                  </a:lnTo>
                  <a:lnTo>
                    <a:pt x="319264" y="505104"/>
                  </a:lnTo>
                  <a:lnTo>
                    <a:pt x="309736" y="519400"/>
                  </a:lnTo>
                  <a:lnTo>
                    <a:pt x="300204" y="533696"/>
                  </a:lnTo>
                  <a:lnTo>
                    <a:pt x="262084" y="562286"/>
                  </a:lnTo>
                  <a:lnTo>
                    <a:pt x="247788" y="571816"/>
                  </a:lnTo>
                  <a:lnTo>
                    <a:pt x="195372" y="586112"/>
                  </a:lnTo>
                  <a:lnTo>
                    <a:pt x="157252" y="605172"/>
                  </a:lnTo>
                  <a:lnTo>
                    <a:pt x="123896" y="609936"/>
                  </a:lnTo>
                  <a:lnTo>
                    <a:pt x="85772" y="600406"/>
                  </a:lnTo>
                  <a:lnTo>
                    <a:pt x="57184" y="576582"/>
                  </a:lnTo>
                  <a:lnTo>
                    <a:pt x="47652" y="543226"/>
                  </a:lnTo>
                  <a:lnTo>
                    <a:pt x="38124" y="509870"/>
                  </a:lnTo>
                  <a:lnTo>
                    <a:pt x="23828" y="471748"/>
                  </a:lnTo>
                  <a:lnTo>
                    <a:pt x="14296" y="352620"/>
                  </a:lnTo>
                  <a:lnTo>
                    <a:pt x="4768" y="319264"/>
                  </a:lnTo>
                  <a:lnTo>
                    <a:pt x="0" y="276378"/>
                  </a:lnTo>
                  <a:lnTo>
                    <a:pt x="0" y="257318"/>
                  </a:lnTo>
                  <a:lnTo>
                    <a:pt x="4768" y="238258"/>
                  </a:lnTo>
                  <a:lnTo>
                    <a:pt x="4768" y="281144"/>
                  </a:lnTo>
                  <a:lnTo>
                    <a:pt x="9532" y="285908"/>
                  </a:lnTo>
                  <a:lnTo>
                    <a:pt x="14296" y="281144"/>
                  </a:lnTo>
                  <a:lnTo>
                    <a:pt x="19060" y="238258"/>
                  </a:lnTo>
                  <a:lnTo>
                    <a:pt x="19060" y="223962"/>
                  </a:lnTo>
                  <a:lnTo>
                    <a:pt x="33356" y="176310"/>
                  </a:lnTo>
                  <a:lnTo>
                    <a:pt x="33356" y="171546"/>
                  </a:lnTo>
                  <a:lnTo>
                    <a:pt x="33356" y="152484"/>
                  </a:lnTo>
                  <a:lnTo>
                    <a:pt x="33356" y="142954"/>
                  </a:lnTo>
                  <a:lnTo>
                    <a:pt x="52416" y="114364"/>
                  </a:lnTo>
                  <a:lnTo>
                    <a:pt x="61948" y="95304"/>
                  </a:lnTo>
                  <a:lnTo>
                    <a:pt x="61948" y="76244"/>
                  </a:lnTo>
                  <a:lnTo>
                    <a:pt x="61948" y="57182"/>
                  </a:lnTo>
                  <a:lnTo>
                    <a:pt x="57184" y="38122"/>
                  </a:lnTo>
                  <a:lnTo>
                    <a:pt x="76244" y="42888"/>
                  </a:lnTo>
                  <a:lnTo>
                    <a:pt x="85772" y="52418"/>
                  </a:lnTo>
                  <a:lnTo>
                    <a:pt x="95304" y="57182"/>
                  </a:lnTo>
                  <a:lnTo>
                    <a:pt x="100068" y="52418"/>
                  </a:lnTo>
                  <a:lnTo>
                    <a:pt x="109600" y="52418"/>
                  </a:lnTo>
                  <a:lnTo>
                    <a:pt x="104832" y="42888"/>
                  </a:lnTo>
                  <a:lnTo>
                    <a:pt x="85772" y="33356"/>
                  </a:lnTo>
                  <a:lnTo>
                    <a:pt x="52416" y="23826"/>
                  </a:lnTo>
                  <a:lnTo>
                    <a:pt x="42888" y="19062"/>
                  </a:lnTo>
                  <a:lnTo>
                    <a:pt x="38124" y="9532"/>
                  </a:lnTo>
                  <a:lnTo>
                    <a:pt x="38124" y="476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1" name="Freeform 199">
              <a:extLst>
                <a:ext uri="{FF2B5EF4-FFF2-40B4-BE49-F238E27FC236}">
                  <a16:creationId xmlns:a16="http://schemas.microsoft.com/office/drawing/2014/main" id="{4925B988-3500-47DC-842F-B00ED0DB8B56}"/>
                </a:ext>
              </a:extLst>
            </p:cNvPr>
            <p:cNvSpPr/>
            <p:nvPr/>
          </p:nvSpPr>
          <p:spPr bwMode="auto">
            <a:xfrm>
              <a:off x="5826504" y="3674939"/>
              <a:ext cx="148779" cy="111777"/>
            </a:xfrm>
            <a:custGeom>
              <a:avLst/>
              <a:gdLst>
                <a:gd name="connsiteX0" fmla="*/ 33356 w 919668"/>
                <a:gd name="connsiteY0" fmla="*/ 223961 h 690942"/>
                <a:gd name="connsiteX1" fmla="*/ 33356 w 919668"/>
                <a:gd name="connsiteY1" fmla="*/ 238256 h 690942"/>
                <a:gd name="connsiteX2" fmla="*/ 33356 w 919668"/>
                <a:gd name="connsiteY2" fmla="*/ 262082 h 690942"/>
                <a:gd name="connsiteX3" fmla="*/ 19060 w 919668"/>
                <a:gd name="connsiteY3" fmla="*/ 295438 h 690942"/>
                <a:gd name="connsiteX4" fmla="*/ 9530 w 919668"/>
                <a:gd name="connsiteY4" fmla="*/ 319264 h 690942"/>
                <a:gd name="connsiteX5" fmla="*/ 0 w 919668"/>
                <a:gd name="connsiteY5" fmla="*/ 314499 h 690942"/>
                <a:gd name="connsiteX6" fmla="*/ 19060 w 919668"/>
                <a:gd name="connsiteY6" fmla="*/ 281143 h 690942"/>
                <a:gd name="connsiteX7" fmla="*/ 23824 w 919668"/>
                <a:gd name="connsiteY7" fmla="*/ 262082 h 690942"/>
                <a:gd name="connsiteX8" fmla="*/ 28590 w 919668"/>
                <a:gd name="connsiteY8" fmla="*/ 233491 h 690942"/>
                <a:gd name="connsiteX9" fmla="*/ 614700 w 919668"/>
                <a:gd name="connsiteY9" fmla="*/ 0 h 690942"/>
                <a:gd name="connsiteX10" fmla="*/ 624232 w 919668"/>
                <a:gd name="connsiteY10" fmla="*/ 4765 h 690942"/>
                <a:gd name="connsiteX11" fmla="*/ 633762 w 919668"/>
                <a:gd name="connsiteY11" fmla="*/ 28591 h 690942"/>
                <a:gd name="connsiteX12" fmla="*/ 652822 w 919668"/>
                <a:gd name="connsiteY12" fmla="*/ 61947 h 690942"/>
                <a:gd name="connsiteX13" fmla="*/ 671882 w 919668"/>
                <a:gd name="connsiteY13" fmla="*/ 66712 h 690942"/>
                <a:gd name="connsiteX14" fmla="*/ 733828 w 919668"/>
                <a:gd name="connsiteY14" fmla="*/ 81007 h 690942"/>
                <a:gd name="connsiteX15" fmla="*/ 743360 w 919668"/>
                <a:gd name="connsiteY15" fmla="*/ 85772 h 690942"/>
                <a:gd name="connsiteX16" fmla="*/ 776716 w 919668"/>
                <a:gd name="connsiteY16" fmla="*/ 119128 h 690942"/>
                <a:gd name="connsiteX17" fmla="*/ 795776 w 919668"/>
                <a:gd name="connsiteY17" fmla="*/ 133423 h 690942"/>
                <a:gd name="connsiteX18" fmla="*/ 810072 w 919668"/>
                <a:gd name="connsiteY18" fmla="*/ 147719 h 690942"/>
                <a:gd name="connsiteX19" fmla="*/ 829132 w 919668"/>
                <a:gd name="connsiteY19" fmla="*/ 171544 h 690942"/>
                <a:gd name="connsiteX20" fmla="*/ 843426 w 919668"/>
                <a:gd name="connsiteY20" fmla="*/ 185840 h 690942"/>
                <a:gd name="connsiteX21" fmla="*/ 857722 w 919668"/>
                <a:gd name="connsiteY21" fmla="*/ 200135 h 690942"/>
                <a:gd name="connsiteX22" fmla="*/ 881548 w 919668"/>
                <a:gd name="connsiteY22" fmla="*/ 209665 h 690942"/>
                <a:gd name="connsiteX23" fmla="*/ 891078 w 919668"/>
                <a:gd name="connsiteY23" fmla="*/ 209665 h 690942"/>
                <a:gd name="connsiteX24" fmla="*/ 891078 w 919668"/>
                <a:gd name="connsiteY24" fmla="*/ 223961 h 690942"/>
                <a:gd name="connsiteX25" fmla="*/ 886314 w 919668"/>
                <a:gd name="connsiteY25" fmla="*/ 243021 h 690942"/>
                <a:gd name="connsiteX26" fmla="*/ 876782 w 919668"/>
                <a:gd name="connsiteY26" fmla="*/ 271612 h 690942"/>
                <a:gd name="connsiteX27" fmla="*/ 872018 w 919668"/>
                <a:gd name="connsiteY27" fmla="*/ 290673 h 690942"/>
                <a:gd name="connsiteX28" fmla="*/ 867252 w 919668"/>
                <a:gd name="connsiteY28" fmla="*/ 300203 h 690942"/>
                <a:gd name="connsiteX29" fmla="*/ 876782 w 919668"/>
                <a:gd name="connsiteY29" fmla="*/ 304968 h 690942"/>
                <a:gd name="connsiteX30" fmla="*/ 905374 w 919668"/>
                <a:gd name="connsiteY30" fmla="*/ 309733 h 690942"/>
                <a:gd name="connsiteX31" fmla="*/ 914904 w 919668"/>
                <a:gd name="connsiteY31" fmla="*/ 314498 h 690942"/>
                <a:gd name="connsiteX32" fmla="*/ 919668 w 919668"/>
                <a:gd name="connsiteY32" fmla="*/ 319263 h 690942"/>
                <a:gd name="connsiteX33" fmla="*/ 910138 w 919668"/>
                <a:gd name="connsiteY33" fmla="*/ 324028 h 690942"/>
                <a:gd name="connsiteX34" fmla="*/ 900608 w 919668"/>
                <a:gd name="connsiteY34" fmla="*/ 333559 h 690942"/>
                <a:gd name="connsiteX35" fmla="*/ 900608 w 919668"/>
                <a:gd name="connsiteY35" fmla="*/ 338324 h 690942"/>
                <a:gd name="connsiteX36" fmla="*/ 891078 w 919668"/>
                <a:gd name="connsiteY36" fmla="*/ 357384 h 690942"/>
                <a:gd name="connsiteX37" fmla="*/ 843426 w 919668"/>
                <a:gd name="connsiteY37" fmla="*/ 357384 h 690942"/>
                <a:gd name="connsiteX38" fmla="*/ 838662 w 919668"/>
                <a:gd name="connsiteY38" fmla="*/ 357384 h 690942"/>
                <a:gd name="connsiteX39" fmla="*/ 833896 w 919668"/>
                <a:gd name="connsiteY39" fmla="*/ 366915 h 690942"/>
                <a:gd name="connsiteX40" fmla="*/ 829132 w 919668"/>
                <a:gd name="connsiteY40" fmla="*/ 381210 h 690942"/>
                <a:gd name="connsiteX41" fmla="*/ 824366 w 919668"/>
                <a:gd name="connsiteY41" fmla="*/ 390740 h 690942"/>
                <a:gd name="connsiteX42" fmla="*/ 810072 w 919668"/>
                <a:gd name="connsiteY42" fmla="*/ 405036 h 690942"/>
                <a:gd name="connsiteX43" fmla="*/ 791010 w 919668"/>
                <a:gd name="connsiteY43" fmla="*/ 405036 h 690942"/>
                <a:gd name="connsiteX44" fmla="*/ 776716 w 919668"/>
                <a:gd name="connsiteY44" fmla="*/ 414566 h 690942"/>
                <a:gd name="connsiteX45" fmla="*/ 762420 w 919668"/>
                <a:gd name="connsiteY45" fmla="*/ 438391 h 690942"/>
                <a:gd name="connsiteX46" fmla="*/ 752890 w 919668"/>
                <a:gd name="connsiteY46" fmla="*/ 471748 h 690942"/>
                <a:gd name="connsiteX47" fmla="*/ 752890 w 919668"/>
                <a:gd name="connsiteY47" fmla="*/ 490808 h 690942"/>
                <a:gd name="connsiteX48" fmla="*/ 752890 w 919668"/>
                <a:gd name="connsiteY48" fmla="*/ 505104 h 690942"/>
                <a:gd name="connsiteX49" fmla="*/ 752890 w 919668"/>
                <a:gd name="connsiteY49" fmla="*/ 509868 h 690942"/>
                <a:gd name="connsiteX50" fmla="*/ 748124 w 919668"/>
                <a:gd name="connsiteY50" fmla="*/ 519398 h 690942"/>
                <a:gd name="connsiteX51" fmla="*/ 738594 w 919668"/>
                <a:gd name="connsiteY51" fmla="*/ 538458 h 690942"/>
                <a:gd name="connsiteX52" fmla="*/ 729064 w 919668"/>
                <a:gd name="connsiteY52" fmla="*/ 562284 h 690942"/>
                <a:gd name="connsiteX53" fmla="*/ 724298 w 919668"/>
                <a:gd name="connsiteY53" fmla="*/ 571814 h 690942"/>
                <a:gd name="connsiteX54" fmla="*/ 729064 w 919668"/>
                <a:gd name="connsiteY54" fmla="*/ 581346 h 690942"/>
                <a:gd name="connsiteX55" fmla="*/ 738594 w 919668"/>
                <a:gd name="connsiteY55" fmla="*/ 581346 h 690942"/>
                <a:gd name="connsiteX56" fmla="*/ 752890 w 919668"/>
                <a:gd name="connsiteY56" fmla="*/ 586110 h 690942"/>
                <a:gd name="connsiteX57" fmla="*/ 757654 w 919668"/>
                <a:gd name="connsiteY57" fmla="*/ 590876 h 690942"/>
                <a:gd name="connsiteX58" fmla="*/ 762420 w 919668"/>
                <a:gd name="connsiteY58" fmla="*/ 605170 h 690942"/>
                <a:gd name="connsiteX59" fmla="*/ 762420 w 919668"/>
                <a:gd name="connsiteY59" fmla="*/ 614702 h 690942"/>
                <a:gd name="connsiteX60" fmla="*/ 757654 w 919668"/>
                <a:gd name="connsiteY60" fmla="*/ 619466 h 690942"/>
                <a:gd name="connsiteX61" fmla="*/ 748124 w 919668"/>
                <a:gd name="connsiteY61" fmla="*/ 624232 h 690942"/>
                <a:gd name="connsiteX62" fmla="*/ 729064 w 919668"/>
                <a:gd name="connsiteY62" fmla="*/ 624232 h 690942"/>
                <a:gd name="connsiteX63" fmla="*/ 719534 w 919668"/>
                <a:gd name="connsiteY63" fmla="*/ 619466 h 690942"/>
                <a:gd name="connsiteX64" fmla="*/ 719534 w 919668"/>
                <a:gd name="connsiteY64" fmla="*/ 614702 h 690942"/>
                <a:gd name="connsiteX65" fmla="*/ 724298 w 919668"/>
                <a:gd name="connsiteY65" fmla="*/ 605170 h 690942"/>
                <a:gd name="connsiteX66" fmla="*/ 719534 w 919668"/>
                <a:gd name="connsiteY66" fmla="*/ 590876 h 690942"/>
                <a:gd name="connsiteX67" fmla="*/ 714768 w 919668"/>
                <a:gd name="connsiteY67" fmla="*/ 586110 h 690942"/>
                <a:gd name="connsiteX68" fmla="*/ 700474 w 919668"/>
                <a:gd name="connsiteY68" fmla="*/ 595640 h 690942"/>
                <a:gd name="connsiteX69" fmla="*/ 686178 w 919668"/>
                <a:gd name="connsiteY69" fmla="*/ 595640 h 690942"/>
                <a:gd name="connsiteX70" fmla="*/ 667118 w 919668"/>
                <a:gd name="connsiteY70" fmla="*/ 605170 h 690942"/>
                <a:gd name="connsiteX71" fmla="*/ 657588 w 919668"/>
                <a:gd name="connsiteY71" fmla="*/ 619466 h 690942"/>
                <a:gd name="connsiteX72" fmla="*/ 648056 w 919668"/>
                <a:gd name="connsiteY72" fmla="*/ 628996 h 690942"/>
                <a:gd name="connsiteX73" fmla="*/ 619466 w 919668"/>
                <a:gd name="connsiteY73" fmla="*/ 624232 h 690942"/>
                <a:gd name="connsiteX74" fmla="*/ 614700 w 919668"/>
                <a:gd name="connsiteY74" fmla="*/ 628996 h 690942"/>
                <a:gd name="connsiteX75" fmla="*/ 609936 w 919668"/>
                <a:gd name="connsiteY75" fmla="*/ 662352 h 690942"/>
                <a:gd name="connsiteX76" fmla="*/ 605170 w 919668"/>
                <a:gd name="connsiteY76" fmla="*/ 667118 h 690942"/>
                <a:gd name="connsiteX77" fmla="*/ 581344 w 919668"/>
                <a:gd name="connsiteY77" fmla="*/ 667118 h 690942"/>
                <a:gd name="connsiteX78" fmla="*/ 557520 w 919668"/>
                <a:gd name="connsiteY78" fmla="*/ 681412 h 690942"/>
                <a:gd name="connsiteX79" fmla="*/ 533694 w 919668"/>
                <a:gd name="connsiteY79" fmla="*/ 690942 h 690942"/>
                <a:gd name="connsiteX80" fmla="*/ 524164 w 919668"/>
                <a:gd name="connsiteY80" fmla="*/ 686178 h 690942"/>
                <a:gd name="connsiteX81" fmla="*/ 514634 w 919668"/>
                <a:gd name="connsiteY81" fmla="*/ 676648 h 690942"/>
                <a:gd name="connsiteX82" fmla="*/ 500338 w 919668"/>
                <a:gd name="connsiteY82" fmla="*/ 676648 h 690942"/>
                <a:gd name="connsiteX83" fmla="*/ 486042 w 919668"/>
                <a:gd name="connsiteY83" fmla="*/ 681412 h 690942"/>
                <a:gd name="connsiteX84" fmla="*/ 476512 w 919668"/>
                <a:gd name="connsiteY84" fmla="*/ 676648 h 690942"/>
                <a:gd name="connsiteX85" fmla="*/ 466982 w 919668"/>
                <a:gd name="connsiteY85" fmla="*/ 681412 h 690942"/>
                <a:gd name="connsiteX86" fmla="*/ 443156 w 919668"/>
                <a:gd name="connsiteY86" fmla="*/ 686178 h 690942"/>
                <a:gd name="connsiteX87" fmla="*/ 414566 w 919668"/>
                <a:gd name="connsiteY87" fmla="*/ 686178 h 690942"/>
                <a:gd name="connsiteX88" fmla="*/ 405036 w 919668"/>
                <a:gd name="connsiteY88" fmla="*/ 676648 h 690942"/>
                <a:gd name="connsiteX89" fmla="*/ 405036 w 919668"/>
                <a:gd name="connsiteY89" fmla="*/ 671882 h 690942"/>
                <a:gd name="connsiteX90" fmla="*/ 405036 w 919668"/>
                <a:gd name="connsiteY90" fmla="*/ 662352 h 690942"/>
                <a:gd name="connsiteX91" fmla="*/ 405036 w 919668"/>
                <a:gd name="connsiteY91" fmla="*/ 643292 h 690942"/>
                <a:gd name="connsiteX92" fmla="*/ 400270 w 919668"/>
                <a:gd name="connsiteY92" fmla="*/ 624232 h 690942"/>
                <a:gd name="connsiteX93" fmla="*/ 385974 w 919668"/>
                <a:gd name="connsiteY93" fmla="*/ 609936 h 690942"/>
                <a:gd name="connsiteX94" fmla="*/ 371680 w 919668"/>
                <a:gd name="connsiteY94" fmla="*/ 600406 h 690942"/>
                <a:gd name="connsiteX95" fmla="*/ 357384 w 919668"/>
                <a:gd name="connsiteY95" fmla="*/ 586110 h 690942"/>
                <a:gd name="connsiteX96" fmla="*/ 343088 w 919668"/>
                <a:gd name="connsiteY96" fmla="*/ 581346 h 690942"/>
                <a:gd name="connsiteX97" fmla="*/ 333558 w 919668"/>
                <a:gd name="connsiteY97" fmla="*/ 581346 h 690942"/>
                <a:gd name="connsiteX98" fmla="*/ 333558 w 919668"/>
                <a:gd name="connsiteY98" fmla="*/ 576580 h 690942"/>
                <a:gd name="connsiteX99" fmla="*/ 328794 w 919668"/>
                <a:gd name="connsiteY99" fmla="*/ 571814 h 690942"/>
                <a:gd name="connsiteX100" fmla="*/ 324028 w 919668"/>
                <a:gd name="connsiteY100" fmla="*/ 562284 h 690942"/>
                <a:gd name="connsiteX101" fmla="*/ 314498 w 919668"/>
                <a:gd name="connsiteY101" fmla="*/ 557520 h 690942"/>
                <a:gd name="connsiteX102" fmla="*/ 300202 w 919668"/>
                <a:gd name="connsiteY102" fmla="*/ 557520 h 690942"/>
                <a:gd name="connsiteX103" fmla="*/ 290672 w 919668"/>
                <a:gd name="connsiteY103" fmla="*/ 567050 h 690942"/>
                <a:gd name="connsiteX104" fmla="*/ 285908 w 919668"/>
                <a:gd name="connsiteY104" fmla="*/ 552754 h 690942"/>
                <a:gd name="connsiteX105" fmla="*/ 276376 w 919668"/>
                <a:gd name="connsiteY105" fmla="*/ 528928 h 690942"/>
                <a:gd name="connsiteX106" fmla="*/ 281142 w 919668"/>
                <a:gd name="connsiteY106" fmla="*/ 509868 h 690942"/>
                <a:gd name="connsiteX107" fmla="*/ 281142 w 919668"/>
                <a:gd name="connsiteY107" fmla="*/ 490808 h 690942"/>
                <a:gd name="connsiteX108" fmla="*/ 300202 w 919668"/>
                <a:gd name="connsiteY108" fmla="*/ 438391 h 690942"/>
                <a:gd name="connsiteX109" fmla="*/ 300202 w 919668"/>
                <a:gd name="connsiteY109" fmla="*/ 428861 h 690942"/>
                <a:gd name="connsiteX110" fmla="*/ 285908 w 919668"/>
                <a:gd name="connsiteY110" fmla="*/ 414566 h 690942"/>
                <a:gd name="connsiteX111" fmla="*/ 271612 w 919668"/>
                <a:gd name="connsiteY111" fmla="*/ 400270 h 690942"/>
                <a:gd name="connsiteX112" fmla="*/ 262082 w 919668"/>
                <a:gd name="connsiteY112" fmla="*/ 376445 h 690942"/>
                <a:gd name="connsiteX113" fmla="*/ 223960 w 919668"/>
                <a:gd name="connsiteY113" fmla="*/ 376445 h 690942"/>
                <a:gd name="connsiteX114" fmla="*/ 195370 w 919668"/>
                <a:gd name="connsiteY114" fmla="*/ 376445 h 690942"/>
                <a:gd name="connsiteX115" fmla="*/ 185840 w 919668"/>
                <a:gd name="connsiteY115" fmla="*/ 376445 h 690942"/>
                <a:gd name="connsiteX116" fmla="*/ 152484 w 919668"/>
                <a:gd name="connsiteY116" fmla="*/ 366915 h 690942"/>
                <a:gd name="connsiteX117" fmla="*/ 123892 w 919668"/>
                <a:gd name="connsiteY117" fmla="*/ 347854 h 690942"/>
                <a:gd name="connsiteX118" fmla="*/ 104832 w 919668"/>
                <a:gd name="connsiteY118" fmla="*/ 338324 h 690942"/>
                <a:gd name="connsiteX119" fmla="*/ 85772 w 919668"/>
                <a:gd name="connsiteY119" fmla="*/ 328794 h 690942"/>
                <a:gd name="connsiteX120" fmla="*/ 76242 w 919668"/>
                <a:gd name="connsiteY120" fmla="*/ 319263 h 690942"/>
                <a:gd name="connsiteX121" fmla="*/ 61946 w 919668"/>
                <a:gd name="connsiteY121" fmla="*/ 319263 h 690942"/>
                <a:gd name="connsiteX122" fmla="*/ 52416 w 919668"/>
                <a:gd name="connsiteY122" fmla="*/ 319263 h 690942"/>
                <a:gd name="connsiteX123" fmla="*/ 47650 w 919668"/>
                <a:gd name="connsiteY123" fmla="*/ 300203 h 690942"/>
                <a:gd name="connsiteX124" fmla="*/ 52416 w 919668"/>
                <a:gd name="connsiteY124" fmla="*/ 266847 h 690942"/>
                <a:gd name="connsiteX125" fmla="*/ 42886 w 919668"/>
                <a:gd name="connsiteY125" fmla="*/ 223961 h 690942"/>
                <a:gd name="connsiteX126" fmla="*/ 23824 w 919668"/>
                <a:gd name="connsiteY126" fmla="*/ 171544 h 690942"/>
                <a:gd name="connsiteX127" fmla="*/ 23824 w 919668"/>
                <a:gd name="connsiteY127" fmla="*/ 109598 h 690942"/>
                <a:gd name="connsiteX128" fmla="*/ 23824 w 919668"/>
                <a:gd name="connsiteY128" fmla="*/ 100068 h 690942"/>
                <a:gd name="connsiteX129" fmla="*/ 66712 w 919668"/>
                <a:gd name="connsiteY129" fmla="*/ 66712 h 690942"/>
                <a:gd name="connsiteX130" fmla="*/ 119128 w 919668"/>
                <a:gd name="connsiteY130" fmla="*/ 28591 h 690942"/>
                <a:gd name="connsiteX131" fmla="*/ 128658 w 919668"/>
                <a:gd name="connsiteY131" fmla="*/ 23826 h 690942"/>
                <a:gd name="connsiteX132" fmla="*/ 181074 w 919668"/>
                <a:gd name="connsiteY132" fmla="*/ 4765 h 690942"/>
                <a:gd name="connsiteX133" fmla="*/ 185840 w 919668"/>
                <a:gd name="connsiteY133" fmla="*/ 4765 h 690942"/>
                <a:gd name="connsiteX134" fmla="*/ 228726 w 919668"/>
                <a:gd name="connsiteY134" fmla="*/ 9530 h 690942"/>
                <a:gd name="connsiteX135" fmla="*/ 262082 w 919668"/>
                <a:gd name="connsiteY135" fmla="*/ 14295 h 690942"/>
                <a:gd name="connsiteX136" fmla="*/ 295438 w 919668"/>
                <a:gd name="connsiteY136" fmla="*/ 9530 h 690942"/>
                <a:gd name="connsiteX137" fmla="*/ 309732 w 919668"/>
                <a:gd name="connsiteY137" fmla="*/ 4765 h 690942"/>
                <a:gd name="connsiteX138" fmla="*/ 324028 w 919668"/>
                <a:gd name="connsiteY138" fmla="*/ 9530 h 690942"/>
                <a:gd name="connsiteX139" fmla="*/ 333558 w 919668"/>
                <a:gd name="connsiteY139" fmla="*/ 28591 h 690942"/>
                <a:gd name="connsiteX140" fmla="*/ 347854 w 919668"/>
                <a:gd name="connsiteY140" fmla="*/ 23826 h 690942"/>
                <a:gd name="connsiteX141" fmla="*/ 357384 w 919668"/>
                <a:gd name="connsiteY141" fmla="*/ 14295 h 690942"/>
                <a:gd name="connsiteX142" fmla="*/ 424096 w 919668"/>
                <a:gd name="connsiteY142" fmla="*/ 23826 h 690942"/>
                <a:gd name="connsiteX143" fmla="*/ 438392 w 919668"/>
                <a:gd name="connsiteY143" fmla="*/ 23826 h 690942"/>
                <a:gd name="connsiteX144" fmla="*/ 457452 w 919668"/>
                <a:gd name="connsiteY144" fmla="*/ 23826 h 690942"/>
                <a:gd name="connsiteX145" fmla="*/ 486042 w 919668"/>
                <a:gd name="connsiteY145" fmla="*/ 33356 h 690942"/>
                <a:gd name="connsiteX146" fmla="*/ 505102 w 919668"/>
                <a:gd name="connsiteY146" fmla="*/ 42886 h 690942"/>
                <a:gd name="connsiteX147" fmla="*/ 543224 w 919668"/>
                <a:gd name="connsiteY147" fmla="*/ 38121 h 690942"/>
                <a:gd name="connsiteX148" fmla="*/ 557520 w 919668"/>
                <a:gd name="connsiteY148" fmla="*/ 38121 h 690942"/>
                <a:gd name="connsiteX149" fmla="*/ 567050 w 919668"/>
                <a:gd name="connsiteY149" fmla="*/ 33356 h 690942"/>
                <a:gd name="connsiteX150" fmla="*/ 595640 w 919668"/>
                <a:gd name="connsiteY150" fmla="*/ 9530 h 690942"/>
                <a:gd name="connsiteX151" fmla="*/ 605170 w 919668"/>
                <a:gd name="connsiteY151" fmla="*/ 4765 h 690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</a:cxnLst>
              <a:rect l="l" t="t" r="r" b="b"/>
              <a:pathLst>
                <a:path w="919668" h="690942">
                  <a:moveTo>
                    <a:pt x="33356" y="223961"/>
                  </a:moveTo>
                  <a:lnTo>
                    <a:pt x="33356" y="238256"/>
                  </a:lnTo>
                  <a:lnTo>
                    <a:pt x="33356" y="262082"/>
                  </a:lnTo>
                  <a:lnTo>
                    <a:pt x="19060" y="295438"/>
                  </a:lnTo>
                  <a:lnTo>
                    <a:pt x="9530" y="319264"/>
                  </a:lnTo>
                  <a:lnTo>
                    <a:pt x="0" y="314499"/>
                  </a:lnTo>
                  <a:lnTo>
                    <a:pt x="19060" y="281143"/>
                  </a:lnTo>
                  <a:lnTo>
                    <a:pt x="23824" y="262082"/>
                  </a:lnTo>
                  <a:lnTo>
                    <a:pt x="28590" y="233491"/>
                  </a:lnTo>
                  <a:close/>
                  <a:moveTo>
                    <a:pt x="614700" y="0"/>
                  </a:moveTo>
                  <a:lnTo>
                    <a:pt x="624232" y="4765"/>
                  </a:lnTo>
                  <a:lnTo>
                    <a:pt x="633762" y="28591"/>
                  </a:lnTo>
                  <a:lnTo>
                    <a:pt x="652822" y="61947"/>
                  </a:lnTo>
                  <a:lnTo>
                    <a:pt x="671882" y="66712"/>
                  </a:lnTo>
                  <a:lnTo>
                    <a:pt x="733828" y="81007"/>
                  </a:lnTo>
                  <a:lnTo>
                    <a:pt x="743360" y="85772"/>
                  </a:lnTo>
                  <a:lnTo>
                    <a:pt x="776716" y="119128"/>
                  </a:lnTo>
                  <a:lnTo>
                    <a:pt x="795776" y="133423"/>
                  </a:lnTo>
                  <a:lnTo>
                    <a:pt x="810072" y="147719"/>
                  </a:lnTo>
                  <a:lnTo>
                    <a:pt x="829132" y="171544"/>
                  </a:lnTo>
                  <a:lnTo>
                    <a:pt x="843426" y="185840"/>
                  </a:lnTo>
                  <a:lnTo>
                    <a:pt x="857722" y="200135"/>
                  </a:lnTo>
                  <a:lnTo>
                    <a:pt x="881548" y="209665"/>
                  </a:lnTo>
                  <a:lnTo>
                    <a:pt x="891078" y="209665"/>
                  </a:lnTo>
                  <a:lnTo>
                    <a:pt x="891078" y="223961"/>
                  </a:lnTo>
                  <a:lnTo>
                    <a:pt x="886314" y="243021"/>
                  </a:lnTo>
                  <a:lnTo>
                    <a:pt x="876782" y="271612"/>
                  </a:lnTo>
                  <a:lnTo>
                    <a:pt x="872018" y="290673"/>
                  </a:lnTo>
                  <a:lnTo>
                    <a:pt x="867252" y="300203"/>
                  </a:lnTo>
                  <a:lnTo>
                    <a:pt x="876782" y="304968"/>
                  </a:lnTo>
                  <a:lnTo>
                    <a:pt x="905374" y="309733"/>
                  </a:lnTo>
                  <a:lnTo>
                    <a:pt x="914904" y="314498"/>
                  </a:lnTo>
                  <a:lnTo>
                    <a:pt x="919668" y="319263"/>
                  </a:lnTo>
                  <a:lnTo>
                    <a:pt x="910138" y="324028"/>
                  </a:lnTo>
                  <a:lnTo>
                    <a:pt x="900608" y="333559"/>
                  </a:lnTo>
                  <a:lnTo>
                    <a:pt x="900608" y="338324"/>
                  </a:lnTo>
                  <a:lnTo>
                    <a:pt x="891078" y="357384"/>
                  </a:lnTo>
                  <a:lnTo>
                    <a:pt x="843426" y="357384"/>
                  </a:lnTo>
                  <a:lnTo>
                    <a:pt x="838662" y="357384"/>
                  </a:lnTo>
                  <a:lnTo>
                    <a:pt x="833896" y="366915"/>
                  </a:lnTo>
                  <a:lnTo>
                    <a:pt x="829132" y="381210"/>
                  </a:lnTo>
                  <a:lnTo>
                    <a:pt x="824366" y="390740"/>
                  </a:lnTo>
                  <a:lnTo>
                    <a:pt x="810072" y="405036"/>
                  </a:lnTo>
                  <a:lnTo>
                    <a:pt x="791010" y="405036"/>
                  </a:lnTo>
                  <a:lnTo>
                    <a:pt x="776716" y="414566"/>
                  </a:lnTo>
                  <a:lnTo>
                    <a:pt x="762420" y="438391"/>
                  </a:lnTo>
                  <a:lnTo>
                    <a:pt x="752890" y="471748"/>
                  </a:lnTo>
                  <a:lnTo>
                    <a:pt x="752890" y="490808"/>
                  </a:lnTo>
                  <a:lnTo>
                    <a:pt x="752890" y="505104"/>
                  </a:lnTo>
                  <a:lnTo>
                    <a:pt x="752890" y="509868"/>
                  </a:lnTo>
                  <a:lnTo>
                    <a:pt x="748124" y="519398"/>
                  </a:lnTo>
                  <a:lnTo>
                    <a:pt x="738594" y="538458"/>
                  </a:lnTo>
                  <a:lnTo>
                    <a:pt x="729064" y="562284"/>
                  </a:lnTo>
                  <a:lnTo>
                    <a:pt x="724298" y="571814"/>
                  </a:lnTo>
                  <a:lnTo>
                    <a:pt x="729064" y="581346"/>
                  </a:lnTo>
                  <a:lnTo>
                    <a:pt x="738594" y="581346"/>
                  </a:lnTo>
                  <a:lnTo>
                    <a:pt x="752890" y="586110"/>
                  </a:lnTo>
                  <a:lnTo>
                    <a:pt x="757654" y="590876"/>
                  </a:lnTo>
                  <a:lnTo>
                    <a:pt x="762420" y="605170"/>
                  </a:lnTo>
                  <a:lnTo>
                    <a:pt x="762420" y="614702"/>
                  </a:lnTo>
                  <a:lnTo>
                    <a:pt x="757654" y="619466"/>
                  </a:lnTo>
                  <a:lnTo>
                    <a:pt x="748124" y="624232"/>
                  </a:lnTo>
                  <a:lnTo>
                    <a:pt x="729064" y="624232"/>
                  </a:lnTo>
                  <a:lnTo>
                    <a:pt x="719534" y="619466"/>
                  </a:lnTo>
                  <a:lnTo>
                    <a:pt x="719534" y="614702"/>
                  </a:lnTo>
                  <a:lnTo>
                    <a:pt x="724298" y="605170"/>
                  </a:lnTo>
                  <a:lnTo>
                    <a:pt x="719534" y="590876"/>
                  </a:lnTo>
                  <a:lnTo>
                    <a:pt x="714768" y="586110"/>
                  </a:lnTo>
                  <a:lnTo>
                    <a:pt x="700474" y="595640"/>
                  </a:lnTo>
                  <a:lnTo>
                    <a:pt x="686178" y="595640"/>
                  </a:lnTo>
                  <a:lnTo>
                    <a:pt x="667118" y="605170"/>
                  </a:lnTo>
                  <a:lnTo>
                    <a:pt x="657588" y="619466"/>
                  </a:lnTo>
                  <a:lnTo>
                    <a:pt x="648056" y="628996"/>
                  </a:lnTo>
                  <a:lnTo>
                    <a:pt x="619466" y="624232"/>
                  </a:lnTo>
                  <a:lnTo>
                    <a:pt x="614700" y="628996"/>
                  </a:lnTo>
                  <a:lnTo>
                    <a:pt x="609936" y="662352"/>
                  </a:lnTo>
                  <a:lnTo>
                    <a:pt x="605170" y="667118"/>
                  </a:lnTo>
                  <a:lnTo>
                    <a:pt x="581344" y="667118"/>
                  </a:lnTo>
                  <a:lnTo>
                    <a:pt x="557520" y="681412"/>
                  </a:lnTo>
                  <a:lnTo>
                    <a:pt x="533694" y="690942"/>
                  </a:lnTo>
                  <a:lnTo>
                    <a:pt x="524164" y="686178"/>
                  </a:lnTo>
                  <a:lnTo>
                    <a:pt x="514634" y="676648"/>
                  </a:lnTo>
                  <a:lnTo>
                    <a:pt x="500338" y="676648"/>
                  </a:lnTo>
                  <a:lnTo>
                    <a:pt x="486042" y="681412"/>
                  </a:lnTo>
                  <a:lnTo>
                    <a:pt x="476512" y="676648"/>
                  </a:lnTo>
                  <a:lnTo>
                    <a:pt x="466982" y="681412"/>
                  </a:lnTo>
                  <a:lnTo>
                    <a:pt x="443156" y="686178"/>
                  </a:lnTo>
                  <a:lnTo>
                    <a:pt x="414566" y="686178"/>
                  </a:lnTo>
                  <a:lnTo>
                    <a:pt x="405036" y="676648"/>
                  </a:lnTo>
                  <a:lnTo>
                    <a:pt x="405036" y="671882"/>
                  </a:lnTo>
                  <a:lnTo>
                    <a:pt x="405036" y="662352"/>
                  </a:lnTo>
                  <a:lnTo>
                    <a:pt x="405036" y="643292"/>
                  </a:lnTo>
                  <a:lnTo>
                    <a:pt x="400270" y="624232"/>
                  </a:lnTo>
                  <a:lnTo>
                    <a:pt x="385974" y="609936"/>
                  </a:lnTo>
                  <a:lnTo>
                    <a:pt x="371680" y="600406"/>
                  </a:lnTo>
                  <a:lnTo>
                    <a:pt x="357384" y="586110"/>
                  </a:lnTo>
                  <a:lnTo>
                    <a:pt x="343088" y="581346"/>
                  </a:lnTo>
                  <a:lnTo>
                    <a:pt x="333558" y="581346"/>
                  </a:lnTo>
                  <a:lnTo>
                    <a:pt x="333558" y="576580"/>
                  </a:lnTo>
                  <a:lnTo>
                    <a:pt x="328794" y="571814"/>
                  </a:lnTo>
                  <a:lnTo>
                    <a:pt x="324028" y="562284"/>
                  </a:lnTo>
                  <a:lnTo>
                    <a:pt x="314498" y="557520"/>
                  </a:lnTo>
                  <a:lnTo>
                    <a:pt x="300202" y="557520"/>
                  </a:lnTo>
                  <a:lnTo>
                    <a:pt x="290672" y="567050"/>
                  </a:lnTo>
                  <a:lnTo>
                    <a:pt x="285908" y="552754"/>
                  </a:lnTo>
                  <a:lnTo>
                    <a:pt x="276376" y="528928"/>
                  </a:lnTo>
                  <a:lnTo>
                    <a:pt x="281142" y="509868"/>
                  </a:lnTo>
                  <a:lnTo>
                    <a:pt x="281142" y="490808"/>
                  </a:lnTo>
                  <a:lnTo>
                    <a:pt x="300202" y="438391"/>
                  </a:lnTo>
                  <a:lnTo>
                    <a:pt x="300202" y="428861"/>
                  </a:lnTo>
                  <a:lnTo>
                    <a:pt x="285908" y="414566"/>
                  </a:lnTo>
                  <a:lnTo>
                    <a:pt x="271612" y="400270"/>
                  </a:lnTo>
                  <a:lnTo>
                    <a:pt x="262082" y="376445"/>
                  </a:lnTo>
                  <a:lnTo>
                    <a:pt x="223960" y="376445"/>
                  </a:lnTo>
                  <a:lnTo>
                    <a:pt x="195370" y="376445"/>
                  </a:lnTo>
                  <a:lnTo>
                    <a:pt x="185840" y="376445"/>
                  </a:lnTo>
                  <a:lnTo>
                    <a:pt x="152484" y="366915"/>
                  </a:lnTo>
                  <a:lnTo>
                    <a:pt x="123892" y="347854"/>
                  </a:lnTo>
                  <a:lnTo>
                    <a:pt x="104832" y="338324"/>
                  </a:lnTo>
                  <a:lnTo>
                    <a:pt x="85772" y="328794"/>
                  </a:lnTo>
                  <a:lnTo>
                    <a:pt x="76242" y="319263"/>
                  </a:lnTo>
                  <a:lnTo>
                    <a:pt x="61946" y="319263"/>
                  </a:lnTo>
                  <a:lnTo>
                    <a:pt x="52416" y="319263"/>
                  </a:lnTo>
                  <a:lnTo>
                    <a:pt x="47650" y="300203"/>
                  </a:lnTo>
                  <a:lnTo>
                    <a:pt x="52416" y="266847"/>
                  </a:lnTo>
                  <a:lnTo>
                    <a:pt x="42886" y="223961"/>
                  </a:lnTo>
                  <a:lnTo>
                    <a:pt x="23824" y="171544"/>
                  </a:lnTo>
                  <a:lnTo>
                    <a:pt x="23824" y="109598"/>
                  </a:lnTo>
                  <a:lnTo>
                    <a:pt x="23824" y="100068"/>
                  </a:lnTo>
                  <a:lnTo>
                    <a:pt x="66712" y="66712"/>
                  </a:lnTo>
                  <a:lnTo>
                    <a:pt x="119128" y="28591"/>
                  </a:lnTo>
                  <a:lnTo>
                    <a:pt x="128658" y="23826"/>
                  </a:lnTo>
                  <a:lnTo>
                    <a:pt x="181074" y="4765"/>
                  </a:lnTo>
                  <a:lnTo>
                    <a:pt x="185840" y="4765"/>
                  </a:lnTo>
                  <a:lnTo>
                    <a:pt x="228726" y="9530"/>
                  </a:lnTo>
                  <a:lnTo>
                    <a:pt x="262082" y="14295"/>
                  </a:lnTo>
                  <a:lnTo>
                    <a:pt x="295438" y="9530"/>
                  </a:lnTo>
                  <a:lnTo>
                    <a:pt x="309732" y="4765"/>
                  </a:lnTo>
                  <a:lnTo>
                    <a:pt x="324028" y="9530"/>
                  </a:lnTo>
                  <a:lnTo>
                    <a:pt x="333558" y="28591"/>
                  </a:lnTo>
                  <a:lnTo>
                    <a:pt x="347854" y="23826"/>
                  </a:lnTo>
                  <a:lnTo>
                    <a:pt x="357384" y="14295"/>
                  </a:lnTo>
                  <a:lnTo>
                    <a:pt x="424096" y="23826"/>
                  </a:lnTo>
                  <a:lnTo>
                    <a:pt x="438392" y="23826"/>
                  </a:lnTo>
                  <a:lnTo>
                    <a:pt x="457452" y="23826"/>
                  </a:lnTo>
                  <a:lnTo>
                    <a:pt x="486042" y="33356"/>
                  </a:lnTo>
                  <a:lnTo>
                    <a:pt x="505102" y="42886"/>
                  </a:lnTo>
                  <a:lnTo>
                    <a:pt x="543224" y="38121"/>
                  </a:lnTo>
                  <a:lnTo>
                    <a:pt x="557520" y="38121"/>
                  </a:lnTo>
                  <a:lnTo>
                    <a:pt x="567050" y="33356"/>
                  </a:lnTo>
                  <a:lnTo>
                    <a:pt x="595640" y="9530"/>
                  </a:lnTo>
                  <a:lnTo>
                    <a:pt x="605170" y="476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2" name="Freeform 5614">
              <a:extLst>
                <a:ext uri="{FF2B5EF4-FFF2-40B4-BE49-F238E27FC236}">
                  <a16:creationId xmlns:a16="http://schemas.microsoft.com/office/drawing/2014/main" id="{3B231FFB-A0F3-499F-A3D2-F27DA97A1F3E}"/>
                </a:ext>
              </a:extLst>
            </p:cNvPr>
            <p:cNvSpPr/>
            <p:nvPr/>
          </p:nvSpPr>
          <p:spPr bwMode="auto">
            <a:xfrm>
              <a:off x="5443378" y="3940121"/>
              <a:ext cx="19272" cy="27752"/>
            </a:xfrm>
            <a:custGeom>
              <a:avLst/>
              <a:gdLst>
                <a:gd name="T0" fmla="*/ 26 w 50"/>
                <a:gd name="T1" fmla="*/ 4 h 72"/>
                <a:gd name="T2" fmla="*/ 24 w 50"/>
                <a:gd name="T3" fmla="*/ 4 h 72"/>
                <a:gd name="T4" fmla="*/ 24 w 50"/>
                <a:gd name="T5" fmla="*/ 0 h 72"/>
                <a:gd name="T6" fmla="*/ 20 w 50"/>
                <a:gd name="T7" fmla="*/ 0 h 72"/>
                <a:gd name="T8" fmla="*/ 16 w 50"/>
                <a:gd name="T9" fmla="*/ 0 h 72"/>
                <a:gd name="T10" fmla="*/ 8 w 50"/>
                <a:gd name="T11" fmla="*/ 8 h 72"/>
                <a:gd name="T12" fmla="*/ 6 w 50"/>
                <a:gd name="T13" fmla="*/ 14 h 72"/>
                <a:gd name="T14" fmla="*/ 4 w 50"/>
                <a:gd name="T15" fmla="*/ 20 h 72"/>
                <a:gd name="T16" fmla="*/ 0 w 50"/>
                <a:gd name="T17" fmla="*/ 24 h 72"/>
                <a:gd name="T18" fmla="*/ 0 w 50"/>
                <a:gd name="T19" fmla="*/ 28 h 72"/>
                <a:gd name="T20" fmla="*/ 0 w 50"/>
                <a:gd name="T21" fmla="*/ 30 h 72"/>
                <a:gd name="T22" fmla="*/ 0 w 50"/>
                <a:gd name="T23" fmla="*/ 34 h 72"/>
                <a:gd name="T24" fmla="*/ 0 w 50"/>
                <a:gd name="T25" fmla="*/ 36 h 72"/>
                <a:gd name="T26" fmla="*/ 4 w 50"/>
                <a:gd name="T27" fmla="*/ 40 h 72"/>
                <a:gd name="T28" fmla="*/ 4 w 50"/>
                <a:gd name="T29" fmla="*/ 44 h 72"/>
                <a:gd name="T30" fmla="*/ 10 w 50"/>
                <a:gd name="T31" fmla="*/ 52 h 72"/>
                <a:gd name="T32" fmla="*/ 8 w 50"/>
                <a:gd name="T33" fmla="*/ 56 h 72"/>
                <a:gd name="T34" fmla="*/ 6 w 50"/>
                <a:gd name="T35" fmla="*/ 60 h 72"/>
                <a:gd name="T36" fmla="*/ 6 w 50"/>
                <a:gd name="T37" fmla="*/ 62 h 72"/>
                <a:gd name="T38" fmla="*/ 4 w 50"/>
                <a:gd name="T39" fmla="*/ 64 h 72"/>
                <a:gd name="T40" fmla="*/ 6 w 50"/>
                <a:gd name="T41" fmla="*/ 66 h 72"/>
                <a:gd name="T42" fmla="*/ 10 w 50"/>
                <a:gd name="T43" fmla="*/ 68 h 72"/>
                <a:gd name="T44" fmla="*/ 12 w 50"/>
                <a:gd name="T45" fmla="*/ 70 h 72"/>
                <a:gd name="T46" fmla="*/ 14 w 50"/>
                <a:gd name="T47" fmla="*/ 72 h 72"/>
                <a:gd name="T48" fmla="*/ 18 w 50"/>
                <a:gd name="T49" fmla="*/ 72 h 72"/>
                <a:gd name="T50" fmla="*/ 22 w 50"/>
                <a:gd name="T51" fmla="*/ 72 h 72"/>
                <a:gd name="T52" fmla="*/ 26 w 50"/>
                <a:gd name="T53" fmla="*/ 68 h 72"/>
                <a:gd name="T54" fmla="*/ 30 w 50"/>
                <a:gd name="T55" fmla="*/ 66 h 72"/>
                <a:gd name="T56" fmla="*/ 34 w 50"/>
                <a:gd name="T57" fmla="*/ 68 h 72"/>
                <a:gd name="T58" fmla="*/ 36 w 50"/>
                <a:gd name="T59" fmla="*/ 70 h 72"/>
                <a:gd name="T60" fmla="*/ 40 w 50"/>
                <a:gd name="T61" fmla="*/ 72 h 72"/>
                <a:gd name="T62" fmla="*/ 40 w 50"/>
                <a:gd name="T63" fmla="*/ 66 h 72"/>
                <a:gd name="T64" fmla="*/ 42 w 50"/>
                <a:gd name="T65" fmla="*/ 56 h 72"/>
                <a:gd name="T66" fmla="*/ 44 w 50"/>
                <a:gd name="T67" fmla="*/ 52 h 72"/>
                <a:gd name="T68" fmla="*/ 46 w 50"/>
                <a:gd name="T69" fmla="*/ 48 h 72"/>
                <a:gd name="T70" fmla="*/ 50 w 50"/>
                <a:gd name="T71" fmla="*/ 46 h 72"/>
                <a:gd name="T72" fmla="*/ 50 w 50"/>
                <a:gd name="T73" fmla="*/ 42 h 72"/>
                <a:gd name="T74" fmla="*/ 50 w 50"/>
                <a:gd name="T75" fmla="*/ 36 h 72"/>
                <a:gd name="T76" fmla="*/ 46 w 50"/>
                <a:gd name="T77" fmla="*/ 36 h 72"/>
                <a:gd name="T78" fmla="*/ 38 w 50"/>
                <a:gd name="T79" fmla="*/ 32 h 72"/>
                <a:gd name="T80" fmla="*/ 34 w 50"/>
                <a:gd name="T81" fmla="*/ 30 h 72"/>
                <a:gd name="T82" fmla="*/ 30 w 50"/>
                <a:gd name="T83" fmla="*/ 24 h 72"/>
                <a:gd name="T84" fmla="*/ 26 w 50"/>
                <a:gd name="T85" fmla="*/ 18 h 72"/>
                <a:gd name="T86" fmla="*/ 24 w 50"/>
                <a:gd name="T87" fmla="*/ 12 h 72"/>
                <a:gd name="T88" fmla="*/ 24 w 50"/>
                <a:gd name="T89" fmla="*/ 6 h 72"/>
                <a:gd name="T90" fmla="*/ 26 w 50"/>
                <a:gd name="T91" fmla="*/ 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0" h="72">
                  <a:moveTo>
                    <a:pt x="26" y="4"/>
                  </a:moveTo>
                  <a:lnTo>
                    <a:pt x="24" y="4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8" y="8"/>
                  </a:lnTo>
                  <a:lnTo>
                    <a:pt x="6" y="14"/>
                  </a:lnTo>
                  <a:lnTo>
                    <a:pt x="4" y="20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4" y="40"/>
                  </a:lnTo>
                  <a:lnTo>
                    <a:pt x="4" y="44"/>
                  </a:lnTo>
                  <a:lnTo>
                    <a:pt x="10" y="52"/>
                  </a:lnTo>
                  <a:lnTo>
                    <a:pt x="8" y="56"/>
                  </a:lnTo>
                  <a:lnTo>
                    <a:pt x="6" y="60"/>
                  </a:lnTo>
                  <a:lnTo>
                    <a:pt x="6" y="62"/>
                  </a:lnTo>
                  <a:lnTo>
                    <a:pt x="4" y="64"/>
                  </a:lnTo>
                  <a:lnTo>
                    <a:pt x="6" y="66"/>
                  </a:lnTo>
                  <a:lnTo>
                    <a:pt x="10" y="68"/>
                  </a:lnTo>
                  <a:lnTo>
                    <a:pt x="12" y="70"/>
                  </a:lnTo>
                  <a:lnTo>
                    <a:pt x="14" y="72"/>
                  </a:lnTo>
                  <a:lnTo>
                    <a:pt x="18" y="72"/>
                  </a:lnTo>
                  <a:lnTo>
                    <a:pt x="22" y="72"/>
                  </a:lnTo>
                  <a:lnTo>
                    <a:pt x="26" y="68"/>
                  </a:lnTo>
                  <a:lnTo>
                    <a:pt x="30" y="66"/>
                  </a:lnTo>
                  <a:lnTo>
                    <a:pt x="34" y="68"/>
                  </a:lnTo>
                  <a:lnTo>
                    <a:pt x="36" y="70"/>
                  </a:lnTo>
                  <a:lnTo>
                    <a:pt x="40" y="72"/>
                  </a:lnTo>
                  <a:lnTo>
                    <a:pt x="40" y="66"/>
                  </a:lnTo>
                  <a:lnTo>
                    <a:pt x="42" y="56"/>
                  </a:lnTo>
                  <a:lnTo>
                    <a:pt x="44" y="52"/>
                  </a:lnTo>
                  <a:lnTo>
                    <a:pt x="46" y="48"/>
                  </a:lnTo>
                  <a:lnTo>
                    <a:pt x="50" y="46"/>
                  </a:lnTo>
                  <a:lnTo>
                    <a:pt x="50" y="42"/>
                  </a:lnTo>
                  <a:lnTo>
                    <a:pt x="50" y="36"/>
                  </a:lnTo>
                  <a:lnTo>
                    <a:pt x="46" y="36"/>
                  </a:lnTo>
                  <a:lnTo>
                    <a:pt x="38" y="32"/>
                  </a:lnTo>
                  <a:lnTo>
                    <a:pt x="34" y="30"/>
                  </a:lnTo>
                  <a:lnTo>
                    <a:pt x="30" y="24"/>
                  </a:lnTo>
                  <a:lnTo>
                    <a:pt x="26" y="18"/>
                  </a:lnTo>
                  <a:lnTo>
                    <a:pt x="24" y="12"/>
                  </a:lnTo>
                  <a:lnTo>
                    <a:pt x="24" y="6"/>
                  </a:lnTo>
                  <a:lnTo>
                    <a:pt x="26" y="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3" name="Line 5615">
              <a:extLst>
                <a:ext uri="{FF2B5EF4-FFF2-40B4-BE49-F238E27FC236}">
                  <a16:creationId xmlns:a16="http://schemas.microsoft.com/office/drawing/2014/main" id="{1AE3CFB1-EF3F-4395-9AC1-B839BA032B6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453399" y="3941662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4" name="Line 5617">
              <a:extLst>
                <a:ext uri="{FF2B5EF4-FFF2-40B4-BE49-F238E27FC236}">
                  <a16:creationId xmlns:a16="http://schemas.microsoft.com/office/drawing/2014/main" id="{6F850714-B53E-4296-835E-1CD256EDD0F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453399" y="3941662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5" name="Freeform 5618">
              <a:extLst>
                <a:ext uri="{FF2B5EF4-FFF2-40B4-BE49-F238E27FC236}">
                  <a16:creationId xmlns:a16="http://schemas.microsoft.com/office/drawing/2014/main" id="{EE179744-4285-4AE7-BC2F-D601B16ACB24}"/>
                </a:ext>
              </a:extLst>
            </p:cNvPr>
            <p:cNvSpPr/>
            <p:nvPr/>
          </p:nvSpPr>
          <p:spPr bwMode="auto">
            <a:xfrm>
              <a:off x="5829587" y="3597851"/>
              <a:ext cx="181156" cy="111006"/>
            </a:xfrm>
            <a:custGeom>
              <a:avLst/>
              <a:gdLst>
                <a:gd name="T0" fmla="*/ 404 w 470"/>
                <a:gd name="T1" fmla="*/ 66 h 288"/>
                <a:gd name="T2" fmla="*/ 386 w 470"/>
                <a:gd name="T3" fmla="*/ 56 h 288"/>
                <a:gd name="T4" fmla="*/ 356 w 470"/>
                <a:gd name="T5" fmla="*/ 64 h 288"/>
                <a:gd name="T6" fmla="*/ 328 w 470"/>
                <a:gd name="T7" fmla="*/ 36 h 288"/>
                <a:gd name="T8" fmla="*/ 314 w 470"/>
                <a:gd name="T9" fmla="*/ 24 h 288"/>
                <a:gd name="T10" fmla="*/ 298 w 470"/>
                <a:gd name="T11" fmla="*/ 16 h 288"/>
                <a:gd name="T12" fmla="*/ 278 w 470"/>
                <a:gd name="T13" fmla="*/ 4 h 288"/>
                <a:gd name="T14" fmla="*/ 276 w 470"/>
                <a:gd name="T15" fmla="*/ 8 h 288"/>
                <a:gd name="T16" fmla="*/ 256 w 470"/>
                <a:gd name="T17" fmla="*/ 8 h 288"/>
                <a:gd name="T18" fmla="*/ 226 w 470"/>
                <a:gd name="T19" fmla="*/ 20 h 288"/>
                <a:gd name="T20" fmla="*/ 216 w 470"/>
                <a:gd name="T21" fmla="*/ 36 h 288"/>
                <a:gd name="T22" fmla="*/ 220 w 470"/>
                <a:gd name="T23" fmla="*/ 100 h 288"/>
                <a:gd name="T24" fmla="*/ 190 w 470"/>
                <a:gd name="T25" fmla="*/ 130 h 288"/>
                <a:gd name="T26" fmla="*/ 138 w 470"/>
                <a:gd name="T27" fmla="*/ 92 h 288"/>
                <a:gd name="T28" fmla="*/ 104 w 470"/>
                <a:gd name="T29" fmla="*/ 52 h 288"/>
                <a:gd name="T30" fmla="*/ 60 w 470"/>
                <a:gd name="T31" fmla="*/ 58 h 288"/>
                <a:gd name="T32" fmla="*/ 26 w 470"/>
                <a:gd name="T33" fmla="*/ 102 h 288"/>
                <a:gd name="T34" fmla="*/ 16 w 470"/>
                <a:gd name="T35" fmla="*/ 138 h 288"/>
                <a:gd name="T36" fmla="*/ 0 w 470"/>
                <a:gd name="T37" fmla="*/ 218 h 288"/>
                <a:gd name="T38" fmla="*/ 42 w 470"/>
                <a:gd name="T39" fmla="*/ 212 h 288"/>
                <a:gd name="T40" fmla="*/ 70 w 470"/>
                <a:gd name="T41" fmla="*/ 202 h 288"/>
                <a:gd name="T42" fmla="*/ 116 w 470"/>
                <a:gd name="T43" fmla="*/ 204 h 288"/>
                <a:gd name="T44" fmla="*/ 132 w 470"/>
                <a:gd name="T45" fmla="*/ 212 h 288"/>
                <a:gd name="T46" fmla="*/ 170 w 470"/>
                <a:gd name="T47" fmla="*/ 210 h 288"/>
                <a:gd name="T48" fmla="*/ 196 w 470"/>
                <a:gd name="T49" fmla="*/ 214 h 288"/>
                <a:gd name="T50" fmla="*/ 226 w 470"/>
                <a:gd name="T51" fmla="*/ 216 h 288"/>
                <a:gd name="T52" fmla="*/ 246 w 470"/>
                <a:gd name="T53" fmla="*/ 202 h 288"/>
                <a:gd name="T54" fmla="*/ 258 w 470"/>
                <a:gd name="T55" fmla="*/ 212 h 288"/>
                <a:gd name="T56" fmla="*/ 300 w 470"/>
                <a:gd name="T57" fmla="*/ 234 h 288"/>
                <a:gd name="T58" fmla="*/ 326 w 470"/>
                <a:gd name="T59" fmla="*/ 256 h 288"/>
                <a:gd name="T60" fmla="*/ 346 w 470"/>
                <a:gd name="T61" fmla="*/ 278 h 288"/>
                <a:gd name="T62" fmla="*/ 366 w 470"/>
                <a:gd name="T63" fmla="*/ 288 h 288"/>
                <a:gd name="T64" fmla="*/ 380 w 470"/>
                <a:gd name="T65" fmla="*/ 284 h 288"/>
                <a:gd name="T66" fmla="*/ 412 w 470"/>
                <a:gd name="T67" fmla="*/ 272 h 288"/>
                <a:gd name="T68" fmla="*/ 430 w 470"/>
                <a:gd name="T69" fmla="*/ 272 h 288"/>
                <a:gd name="T70" fmla="*/ 438 w 470"/>
                <a:gd name="T71" fmla="*/ 256 h 288"/>
                <a:gd name="T72" fmla="*/ 466 w 470"/>
                <a:gd name="T73" fmla="*/ 232 h 288"/>
                <a:gd name="T74" fmla="*/ 470 w 470"/>
                <a:gd name="T75" fmla="*/ 218 h 288"/>
                <a:gd name="T76" fmla="*/ 466 w 470"/>
                <a:gd name="T77" fmla="*/ 188 h 288"/>
                <a:gd name="T78" fmla="*/ 456 w 470"/>
                <a:gd name="T79" fmla="*/ 172 h 288"/>
                <a:gd name="T80" fmla="*/ 450 w 470"/>
                <a:gd name="T81" fmla="*/ 152 h 288"/>
                <a:gd name="T82" fmla="*/ 436 w 470"/>
                <a:gd name="T83" fmla="*/ 150 h 288"/>
                <a:gd name="T84" fmla="*/ 440 w 470"/>
                <a:gd name="T85" fmla="*/ 124 h 288"/>
                <a:gd name="T86" fmla="*/ 446 w 470"/>
                <a:gd name="T87" fmla="*/ 106 h 288"/>
                <a:gd name="T88" fmla="*/ 444 w 470"/>
                <a:gd name="T89" fmla="*/ 92 h 288"/>
                <a:gd name="T90" fmla="*/ 426 w 470"/>
                <a:gd name="T91" fmla="*/ 7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70" h="288">
                  <a:moveTo>
                    <a:pt x="416" y="66"/>
                  </a:moveTo>
                  <a:lnTo>
                    <a:pt x="414" y="66"/>
                  </a:lnTo>
                  <a:lnTo>
                    <a:pt x="404" y="66"/>
                  </a:lnTo>
                  <a:lnTo>
                    <a:pt x="394" y="60"/>
                  </a:lnTo>
                  <a:lnTo>
                    <a:pt x="390" y="56"/>
                  </a:lnTo>
                  <a:lnTo>
                    <a:pt x="386" y="56"/>
                  </a:lnTo>
                  <a:lnTo>
                    <a:pt x="380" y="58"/>
                  </a:lnTo>
                  <a:lnTo>
                    <a:pt x="362" y="66"/>
                  </a:lnTo>
                  <a:lnTo>
                    <a:pt x="356" y="64"/>
                  </a:lnTo>
                  <a:lnTo>
                    <a:pt x="346" y="58"/>
                  </a:lnTo>
                  <a:lnTo>
                    <a:pt x="340" y="50"/>
                  </a:lnTo>
                  <a:lnTo>
                    <a:pt x="328" y="36"/>
                  </a:lnTo>
                  <a:lnTo>
                    <a:pt x="328" y="32"/>
                  </a:lnTo>
                  <a:lnTo>
                    <a:pt x="326" y="28"/>
                  </a:lnTo>
                  <a:lnTo>
                    <a:pt x="314" y="24"/>
                  </a:lnTo>
                  <a:lnTo>
                    <a:pt x="308" y="20"/>
                  </a:lnTo>
                  <a:lnTo>
                    <a:pt x="304" y="18"/>
                  </a:lnTo>
                  <a:lnTo>
                    <a:pt x="298" y="16"/>
                  </a:lnTo>
                  <a:lnTo>
                    <a:pt x="284" y="4"/>
                  </a:lnTo>
                  <a:lnTo>
                    <a:pt x="280" y="2"/>
                  </a:lnTo>
                  <a:lnTo>
                    <a:pt x="278" y="4"/>
                  </a:lnTo>
                  <a:lnTo>
                    <a:pt x="278" y="8"/>
                  </a:lnTo>
                  <a:lnTo>
                    <a:pt x="278" y="8"/>
                  </a:lnTo>
                  <a:lnTo>
                    <a:pt x="276" y="8"/>
                  </a:lnTo>
                  <a:lnTo>
                    <a:pt x="272" y="4"/>
                  </a:lnTo>
                  <a:lnTo>
                    <a:pt x="268" y="0"/>
                  </a:lnTo>
                  <a:lnTo>
                    <a:pt x="256" y="8"/>
                  </a:lnTo>
                  <a:lnTo>
                    <a:pt x="250" y="10"/>
                  </a:lnTo>
                  <a:lnTo>
                    <a:pt x="246" y="10"/>
                  </a:lnTo>
                  <a:lnTo>
                    <a:pt x="226" y="20"/>
                  </a:lnTo>
                  <a:lnTo>
                    <a:pt x="220" y="24"/>
                  </a:lnTo>
                  <a:lnTo>
                    <a:pt x="216" y="24"/>
                  </a:lnTo>
                  <a:lnTo>
                    <a:pt x="216" y="36"/>
                  </a:lnTo>
                  <a:lnTo>
                    <a:pt x="220" y="52"/>
                  </a:lnTo>
                  <a:lnTo>
                    <a:pt x="222" y="92"/>
                  </a:lnTo>
                  <a:lnTo>
                    <a:pt x="220" y="100"/>
                  </a:lnTo>
                  <a:lnTo>
                    <a:pt x="214" y="110"/>
                  </a:lnTo>
                  <a:lnTo>
                    <a:pt x="200" y="122"/>
                  </a:lnTo>
                  <a:lnTo>
                    <a:pt x="190" y="130"/>
                  </a:lnTo>
                  <a:lnTo>
                    <a:pt x="172" y="134"/>
                  </a:lnTo>
                  <a:lnTo>
                    <a:pt x="148" y="120"/>
                  </a:lnTo>
                  <a:lnTo>
                    <a:pt x="138" y="92"/>
                  </a:lnTo>
                  <a:lnTo>
                    <a:pt x="132" y="82"/>
                  </a:lnTo>
                  <a:lnTo>
                    <a:pt x="106" y="58"/>
                  </a:lnTo>
                  <a:lnTo>
                    <a:pt x="104" y="52"/>
                  </a:lnTo>
                  <a:lnTo>
                    <a:pt x="100" y="42"/>
                  </a:lnTo>
                  <a:lnTo>
                    <a:pt x="80" y="50"/>
                  </a:lnTo>
                  <a:lnTo>
                    <a:pt x="60" y="58"/>
                  </a:lnTo>
                  <a:lnTo>
                    <a:pt x="46" y="62"/>
                  </a:lnTo>
                  <a:lnTo>
                    <a:pt x="28" y="92"/>
                  </a:lnTo>
                  <a:lnTo>
                    <a:pt x="26" y="102"/>
                  </a:lnTo>
                  <a:lnTo>
                    <a:pt x="26" y="114"/>
                  </a:lnTo>
                  <a:lnTo>
                    <a:pt x="22" y="128"/>
                  </a:lnTo>
                  <a:lnTo>
                    <a:pt x="16" y="138"/>
                  </a:lnTo>
                  <a:lnTo>
                    <a:pt x="4" y="152"/>
                  </a:lnTo>
                  <a:lnTo>
                    <a:pt x="0" y="174"/>
                  </a:lnTo>
                  <a:lnTo>
                    <a:pt x="0" y="218"/>
                  </a:lnTo>
                  <a:lnTo>
                    <a:pt x="2" y="242"/>
                  </a:lnTo>
                  <a:lnTo>
                    <a:pt x="20" y="228"/>
                  </a:lnTo>
                  <a:lnTo>
                    <a:pt x="42" y="212"/>
                  </a:lnTo>
                  <a:lnTo>
                    <a:pt x="46" y="210"/>
                  </a:lnTo>
                  <a:lnTo>
                    <a:pt x="68" y="202"/>
                  </a:lnTo>
                  <a:lnTo>
                    <a:pt x="70" y="202"/>
                  </a:lnTo>
                  <a:lnTo>
                    <a:pt x="88" y="204"/>
                  </a:lnTo>
                  <a:lnTo>
                    <a:pt x="102" y="206"/>
                  </a:lnTo>
                  <a:lnTo>
                    <a:pt x="116" y="204"/>
                  </a:lnTo>
                  <a:lnTo>
                    <a:pt x="122" y="202"/>
                  </a:lnTo>
                  <a:lnTo>
                    <a:pt x="128" y="204"/>
                  </a:lnTo>
                  <a:lnTo>
                    <a:pt x="132" y="212"/>
                  </a:lnTo>
                  <a:lnTo>
                    <a:pt x="138" y="210"/>
                  </a:lnTo>
                  <a:lnTo>
                    <a:pt x="142" y="206"/>
                  </a:lnTo>
                  <a:lnTo>
                    <a:pt x="170" y="210"/>
                  </a:lnTo>
                  <a:lnTo>
                    <a:pt x="176" y="210"/>
                  </a:lnTo>
                  <a:lnTo>
                    <a:pt x="184" y="210"/>
                  </a:lnTo>
                  <a:lnTo>
                    <a:pt x="196" y="214"/>
                  </a:lnTo>
                  <a:lnTo>
                    <a:pt x="204" y="218"/>
                  </a:lnTo>
                  <a:lnTo>
                    <a:pt x="220" y="216"/>
                  </a:lnTo>
                  <a:lnTo>
                    <a:pt x="226" y="216"/>
                  </a:lnTo>
                  <a:lnTo>
                    <a:pt x="230" y="214"/>
                  </a:lnTo>
                  <a:lnTo>
                    <a:pt x="242" y="204"/>
                  </a:lnTo>
                  <a:lnTo>
                    <a:pt x="246" y="202"/>
                  </a:lnTo>
                  <a:lnTo>
                    <a:pt x="250" y="200"/>
                  </a:lnTo>
                  <a:lnTo>
                    <a:pt x="254" y="202"/>
                  </a:lnTo>
                  <a:lnTo>
                    <a:pt x="258" y="212"/>
                  </a:lnTo>
                  <a:lnTo>
                    <a:pt x="266" y="226"/>
                  </a:lnTo>
                  <a:lnTo>
                    <a:pt x="274" y="228"/>
                  </a:lnTo>
                  <a:lnTo>
                    <a:pt x="300" y="234"/>
                  </a:lnTo>
                  <a:lnTo>
                    <a:pt x="304" y="236"/>
                  </a:lnTo>
                  <a:lnTo>
                    <a:pt x="318" y="250"/>
                  </a:lnTo>
                  <a:lnTo>
                    <a:pt x="326" y="256"/>
                  </a:lnTo>
                  <a:lnTo>
                    <a:pt x="332" y="262"/>
                  </a:lnTo>
                  <a:lnTo>
                    <a:pt x="340" y="272"/>
                  </a:lnTo>
                  <a:lnTo>
                    <a:pt x="346" y="278"/>
                  </a:lnTo>
                  <a:lnTo>
                    <a:pt x="352" y="284"/>
                  </a:lnTo>
                  <a:lnTo>
                    <a:pt x="362" y="288"/>
                  </a:lnTo>
                  <a:lnTo>
                    <a:pt x="366" y="288"/>
                  </a:lnTo>
                  <a:lnTo>
                    <a:pt x="368" y="286"/>
                  </a:lnTo>
                  <a:lnTo>
                    <a:pt x="378" y="286"/>
                  </a:lnTo>
                  <a:lnTo>
                    <a:pt x="380" y="284"/>
                  </a:lnTo>
                  <a:lnTo>
                    <a:pt x="388" y="272"/>
                  </a:lnTo>
                  <a:lnTo>
                    <a:pt x="396" y="270"/>
                  </a:lnTo>
                  <a:lnTo>
                    <a:pt x="412" y="272"/>
                  </a:lnTo>
                  <a:lnTo>
                    <a:pt x="420" y="272"/>
                  </a:lnTo>
                  <a:lnTo>
                    <a:pt x="422" y="272"/>
                  </a:lnTo>
                  <a:lnTo>
                    <a:pt x="430" y="272"/>
                  </a:lnTo>
                  <a:lnTo>
                    <a:pt x="430" y="272"/>
                  </a:lnTo>
                  <a:lnTo>
                    <a:pt x="434" y="260"/>
                  </a:lnTo>
                  <a:lnTo>
                    <a:pt x="438" y="256"/>
                  </a:lnTo>
                  <a:lnTo>
                    <a:pt x="450" y="240"/>
                  </a:lnTo>
                  <a:lnTo>
                    <a:pt x="460" y="234"/>
                  </a:lnTo>
                  <a:lnTo>
                    <a:pt x="466" y="232"/>
                  </a:lnTo>
                  <a:lnTo>
                    <a:pt x="468" y="232"/>
                  </a:lnTo>
                  <a:lnTo>
                    <a:pt x="470" y="226"/>
                  </a:lnTo>
                  <a:lnTo>
                    <a:pt x="470" y="218"/>
                  </a:lnTo>
                  <a:lnTo>
                    <a:pt x="470" y="212"/>
                  </a:lnTo>
                  <a:lnTo>
                    <a:pt x="468" y="204"/>
                  </a:lnTo>
                  <a:lnTo>
                    <a:pt x="466" y="188"/>
                  </a:lnTo>
                  <a:lnTo>
                    <a:pt x="464" y="184"/>
                  </a:lnTo>
                  <a:lnTo>
                    <a:pt x="458" y="178"/>
                  </a:lnTo>
                  <a:lnTo>
                    <a:pt x="456" y="172"/>
                  </a:lnTo>
                  <a:lnTo>
                    <a:pt x="454" y="166"/>
                  </a:lnTo>
                  <a:lnTo>
                    <a:pt x="450" y="162"/>
                  </a:lnTo>
                  <a:lnTo>
                    <a:pt x="450" y="152"/>
                  </a:lnTo>
                  <a:lnTo>
                    <a:pt x="448" y="148"/>
                  </a:lnTo>
                  <a:lnTo>
                    <a:pt x="444" y="146"/>
                  </a:lnTo>
                  <a:lnTo>
                    <a:pt x="436" y="150"/>
                  </a:lnTo>
                  <a:lnTo>
                    <a:pt x="434" y="148"/>
                  </a:lnTo>
                  <a:lnTo>
                    <a:pt x="438" y="134"/>
                  </a:lnTo>
                  <a:lnTo>
                    <a:pt x="440" y="124"/>
                  </a:lnTo>
                  <a:lnTo>
                    <a:pt x="442" y="114"/>
                  </a:lnTo>
                  <a:lnTo>
                    <a:pt x="446" y="110"/>
                  </a:lnTo>
                  <a:lnTo>
                    <a:pt x="446" y="106"/>
                  </a:lnTo>
                  <a:lnTo>
                    <a:pt x="448" y="100"/>
                  </a:lnTo>
                  <a:lnTo>
                    <a:pt x="446" y="96"/>
                  </a:lnTo>
                  <a:lnTo>
                    <a:pt x="444" y="92"/>
                  </a:lnTo>
                  <a:lnTo>
                    <a:pt x="436" y="86"/>
                  </a:lnTo>
                  <a:lnTo>
                    <a:pt x="428" y="78"/>
                  </a:lnTo>
                  <a:lnTo>
                    <a:pt x="426" y="70"/>
                  </a:lnTo>
                  <a:lnTo>
                    <a:pt x="422" y="66"/>
                  </a:lnTo>
                  <a:lnTo>
                    <a:pt x="416" y="6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6" name="Freeform 5626">
              <a:extLst>
                <a:ext uri="{FF2B5EF4-FFF2-40B4-BE49-F238E27FC236}">
                  <a16:creationId xmlns:a16="http://schemas.microsoft.com/office/drawing/2014/main" id="{839A5986-7BE3-4B11-852A-FB469DE49506}"/>
                </a:ext>
              </a:extLst>
            </p:cNvPr>
            <p:cNvSpPr/>
            <p:nvPr/>
          </p:nvSpPr>
          <p:spPr bwMode="auto">
            <a:xfrm>
              <a:off x="3703509" y="4943802"/>
              <a:ext cx="3084" cy="1542"/>
            </a:xfrm>
            <a:custGeom>
              <a:avLst/>
              <a:gdLst>
                <a:gd name="T0" fmla="*/ 8 w 8"/>
                <a:gd name="T1" fmla="*/ 4 h 4"/>
                <a:gd name="T2" fmla="*/ 8 w 8"/>
                <a:gd name="T3" fmla="*/ 2 h 4"/>
                <a:gd name="T4" fmla="*/ 6 w 8"/>
                <a:gd name="T5" fmla="*/ 0 h 4"/>
                <a:gd name="T6" fmla="*/ 4 w 8"/>
                <a:gd name="T7" fmla="*/ 0 h 4"/>
                <a:gd name="T8" fmla="*/ 0 w 8"/>
                <a:gd name="T9" fmla="*/ 2 h 4"/>
                <a:gd name="T10" fmla="*/ 0 w 8"/>
                <a:gd name="T11" fmla="*/ 4 h 4"/>
                <a:gd name="T12" fmla="*/ 8 w 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8" y="4"/>
                  </a:moveTo>
                  <a:lnTo>
                    <a:pt x="8" y="2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8" y="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7" name="Line 5627">
              <a:extLst>
                <a:ext uri="{FF2B5EF4-FFF2-40B4-BE49-F238E27FC236}">
                  <a16:creationId xmlns:a16="http://schemas.microsoft.com/office/drawing/2014/main" id="{7B4D4619-200A-4E21-9338-951F6837D96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06593" y="4945344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8" name="Line 5629">
              <a:extLst>
                <a:ext uri="{FF2B5EF4-FFF2-40B4-BE49-F238E27FC236}">
                  <a16:creationId xmlns:a16="http://schemas.microsoft.com/office/drawing/2014/main" id="{8C001D9A-4823-4963-8CB0-8B09E22EBB2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06593" y="4945344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9" name="Freeform 5630">
              <a:extLst>
                <a:ext uri="{FF2B5EF4-FFF2-40B4-BE49-F238E27FC236}">
                  <a16:creationId xmlns:a16="http://schemas.microsoft.com/office/drawing/2014/main" id="{7316CA9C-AF43-476A-B616-2A28FCA1F25C}"/>
                </a:ext>
              </a:extLst>
            </p:cNvPr>
            <p:cNvSpPr/>
            <p:nvPr/>
          </p:nvSpPr>
          <p:spPr bwMode="auto">
            <a:xfrm>
              <a:off x="4869075" y="4435794"/>
              <a:ext cx="402398" cy="419357"/>
            </a:xfrm>
            <a:custGeom>
              <a:avLst/>
              <a:gdLst>
                <a:gd name="T0" fmla="*/ 926 w 1044"/>
                <a:gd name="T1" fmla="*/ 60 h 1088"/>
                <a:gd name="T2" fmla="*/ 904 w 1044"/>
                <a:gd name="T3" fmla="*/ 56 h 1088"/>
                <a:gd name="T4" fmla="*/ 830 w 1044"/>
                <a:gd name="T5" fmla="*/ 62 h 1088"/>
                <a:gd name="T6" fmla="*/ 764 w 1044"/>
                <a:gd name="T7" fmla="*/ 6 h 1088"/>
                <a:gd name="T8" fmla="*/ 726 w 1044"/>
                <a:gd name="T9" fmla="*/ 12 h 1088"/>
                <a:gd name="T10" fmla="*/ 618 w 1044"/>
                <a:gd name="T11" fmla="*/ 182 h 1088"/>
                <a:gd name="T12" fmla="*/ 508 w 1044"/>
                <a:gd name="T13" fmla="*/ 272 h 1088"/>
                <a:gd name="T14" fmla="*/ 470 w 1044"/>
                <a:gd name="T15" fmla="*/ 398 h 1088"/>
                <a:gd name="T16" fmla="*/ 480 w 1044"/>
                <a:gd name="T17" fmla="*/ 454 h 1088"/>
                <a:gd name="T18" fmla="*/ 414 w 1044"/>
                <a:gd name="T19" fmla="*/ 544 h 1088"/>
                <a:gd name="T20" fmla="*/ 296 w 1044"/>
                <a:gd name="T21" fmla="*/ 612 h 1088"/>
                <a:gd name="T22" fmla="*/ 246 w 1044"/>
                <a:gd name="T23" fmla="*/ 656 h 1088"/>
                <a:gd name="T24" fmla="*/ 186 w 1044"/>
                <a:gd name="T25" fmla="*/ 730 h 1088"/>
                <a:gd name="T26" fmla="*/ 150 w 1044"/>
                <a:gd name="T27" fmla="*/ 794 h 1088"/>
                <a:gd name="T28" fmla="*/ 118 w 1044"/>
                <a:gd name="T29" fmla="*/ 870 h 1088"/>
                <a:gd name="T30" fmla="*/ 70 w 1044"/>
                <a:gd name="T31" fmla="*/ 924 h 1088"/>
                <a:gd name="T32" fmla="*/ 66 w 1044"/>
                <a:gd name="T33" fmla="*/ 946 h 1088"/>
                <a:gd name="T34" fmla="*/ 42 w 1044"/>
                <a:gd name="T35" fmla="*/ 1006 h 1088"/>
                <a:gd name="T36" fmla="*/ 2 w 1044"/>
                <a:gd name="T37" fmla="*/ 1088 h 1088"/>
                <a:gd name="T38" fmla="*/ 82 w 1044"/>
                <a:gd name="T39" fmla="*/ 1084 h 1088"/>
                <a:gd name="T40" fmla="*/ 142 w 1044"/>
                <a:gd name="T41" fmla="*/ 1086 h 1088"/>
                <a:gd name="T42" fmla="*/ 154 w 1044"/>
                <a:gd name="T43" fmla="*/ 1058 h 1088"/>
                <a:gd name="T44" fmla="*/ 176 w 1044"/>
                <a:gd name="T45" fmla="*/ 1034 h 1088"/>
                <a:gd name="T46" fmla="*/ 186 w 1044"/>
                <a:gd name="T47" fmla="*/ 994 h 1088"/>
                <a:gd name="T48" fmla="*/ 198 w 1044"/>
                <a:gd name="T49" fmla="*/ 940 h 1088"/>
                <a:gd name="T50" fmla="*/ 224 w 1044"/>
                <a:gd name="T51" fmla="*/ 914 h 1088"/>
                <a:gd name="T52" fmla="*/ 252 w 1044"/>
                <a:gd name="T53" fmla="*/ 890 h 1088"/>
                <a:gd name="T54" fmla="*/ 274 w 1044"/>
                <a:gd name="T55" fmla="*/ 864 h 1088"/>
                <a:gd name="T56" fmla="*/ 302 w 1044"/>
                <a:gd name="T57" fmla="*/ 842 h 1088"/>
                <a:gd name="T58" fmla="*/ 316 w 1044"/>
                <a:gd name="T59" fmla="*/ 786 h 1088"/>
                <a:gd name="T60" fmla="*/ 324 w 1044"/>
                <a:gd name="T61" fmla="*/ 760 h 1088"/>
                <a:gd name="T62" fmla="*/ 348 w 1044"/>
                <a:gd name="T63" fmla="*/ 748 h 1088"/>
                <a:gd name="T64" fmla="*/ 362 w 1044"/>
                <a:gd name="T65" fmla="*/ 722 h 1088"/>
                <a:gd name="T66" fmla="*/ 368 w 1044"/>
                <a:gd name="T67" fmla="*/ 696 h 1088"/>
                <a:gd name="T68" fmla="*/ 408 w 1044"/>
                <a:gd name="T69" fmla="*/ 686 h 1088"/>
                <a:gd name="T70" fmla="*/ 446 w 1044"/>
                <a:gd name="T71" fmla="*/ 698 h 1088"/>
                <a:gd name="T72" fmla="*/ 470 w 1044"/>
                <a:gd name="T73" fmla="*/ 698 h 1088"/>
                <a:gd name="T74" fmla="*/ 500 w 1044"/>
                <a:gd name="T75" fmla="*/ 680 h 1088"/>
                <a:gd name="T76" fmla="*/ 538 w 1044"/>
                <a:gd name="T77" fmla="*/ 678 h 1088"/>
                <a:gd name="T78" fmla="*/ 538 w 1044"/>
                <a:gd name="T79" fmla="*/ 654 h 1088"/>
                <a:gd name="T80" fmla="*/ 546 w 1044"/>
                <a:gd name="T81" fmla="*/ 562 h 1088"/>
                <a:gd name="T82" fmla="*/ 590 w 1044"/>
                <a:gd name="T83" fmla="*/ 528 h 1088"/>
                <a:gd name="T84" fmla="*/ 632 w 1044"/>
                <a:gd name="T85" fmla="*/ 502 h 1088"/>
                <a:gd name="T86" fmla="*/ 672 w 1044"/>
                <a:gd name="T87" fmla="*/ 494 h 1088"/>
                <a:gd name="T88" fmla="*/ 688 w 1044"/>
                <a:gd name="T89" fmla="*/ 480 h 1088"/>
                <a:gd name="T90" fmla="*/ 710 w 1044"/>
                <a:gd name="T91" fmla="*/ 476 h 1088"/>
                <a:gd name="T92" fmla="*/ 774 w 1044"/>
                <a:gd name="T93" fmla="*/ 450 h 1088"/>
                <a:gd name="T94" fmla="*/ 830 w 1044"/>
                <a:gd name="T95" fmla="*/ 410 h 1088"/>
                <a:gd name="T96" fmla="*/ 876 w 1044"/>
                <a:gd name="T97" fmla="*/ 388 h 1088"/>
                <a:gd name="T98" fmla="*/ 862 w 1044"/>
                <a:gd name="T99" fmla="*/ 372 h 1088"/>
                <a:gd name="T100" fmla="*/ 862 w 1044"/>
                <a:gd name="T101" fmla="*/ 344 h 1088"/>
                <a:gd name="T102" fmla="*/ 888 w 1044"/>
                <a:gd name="T103" fmla="*/ 334 h 1088"/>
                <a:gd name="T104" fmla="*/ 926 w 1044"/>
                <a:gd name="T105" fmla="*/ 304 h 1088"/>
                <a:gd name="T106" fmla="*/ 996 w 1044"/>
                <a:gd name="T107" fmla="*/ 302 h 1088"/>
                <a:gd name="T108" fmla="*/ 1032 w 1044"/>
                <a:gd name="T109" fmla="*/ 290 h 1088"/>
                <a:gd name="T110" fmla="*/ 1030 w 1044"/>
                <a:gd name="T111" fmla="*/ 258 h 1088"/>
                <a:gd name="T112" fmla="*/ 1004 w 1044"/>
                <a:gd name="T113" fmla="*/ 208 h 1088"/>
                <a:gd name="T114" fmla="*/ 1002 w 1044"/>
                <a:gd name="T115" fmla="*/ 140 h 1088"/>
                <a:gd name="T116" fmla="*/ 992 w 1044"/>
                <a:gd name="T117" fmla="*/ 106 h 1088"/>
                <a:gd name="T118" fmla="*/ 970 w 1044"/>
                <a:gd name="T119" fmla="*/ 72 h 1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44" h="1088">
                  <a:moveTo>
                    <a:pt x="968" y="66"/>
                  </a:moveTo>
                  <a:lnTo>
                    <a:pt x="956" y="64"/>
                  </a:lnTo>
                  <a:lnTo>
                    <a:pt x="942" y="66"/>
                  </a:lnTo>
                  <a:lnTo>
                    <a:pt x="934" y="64"/>
                  </a:lnTo>
                  <a:lnTo>
                    <a:pt x="928" y="64"/>
                  </a:lnTo>
                  <a:lnTo>
                    <a:pt x="926" y="60"/>
                  </a:lnTo>
                  <a:lnTo>
                    <a:pt x="922" y="52"/>
                  </a:lnTo>
                  <a:lnTo>
                    <a:pt x="920" y="50"/>
                  </a:lnTo>
                  <a:lnTo>
                    <a:pt x="920" y="46"/>
                  </a:lnTo>
                  <a:lnTo>
                    <a:pt x="920" y="42"/>
                  </a:lnTo>
                  <a:lnTo>
                    <a:pt x="914" y="48"/>
                  </a:lnTo>
                  <a:lnTo>
                    <a:pt x="904" y="56"/>
                  </a:lnTo>
                  <a:lnTo>
                    <a:pt x="892" y="58"/>
                  </a:lnTo>
                  <a:lnTo>
                    <a:pt x="878" y="56"/>
                  </a:lnTo>
                  <a:lnTo>
                    <a:pt x="872" y="52"/>
                  </a:lnTo>
                  <a:lnTo>
                    <a:pt x="866" y="54"/>
                  </a:lnTo>
                  <a:lnTo>
                    <a:pt x="852" y="54"/>
                  </a:lnTo>
                  <a:lnTo>
                    <a:pt x="830" y="62"/>
                  </a:lnTo>
                  <a:lnTo>
                    <a:pt x="810" y="58"/>
                  </a:lnTo>
                  <a:lnTo>
                    <a:pt x="796" y="52"/>
                  </a:lnTo>
                  <a:lnTo>
                    <a:pt x="780" y="36"/>
                  </a:lnTo>
                  <a:lnTo>
                    <a:pt x="770" y="24"/>
                  </a:lnTo>
                  <a:lnTo>
                    <a:pt x="764" y="14"/>
                  </a:lnTo>
                  <a:lnTo>
                    <a:pt x="764" y="6"/>
                  </a:lnTo>
                  <a:lnTo>
                    <a:pt x="768" y="2"/>
                  </a:lnTo>
                  <a:lnTo>
                    <a:pt x="760" y="0"/>
                  </a:lnTo>
                  <a:lnTo>
                    <a:pt x="752" y="6"/>
                  </a:lnTo>
                  <a:lnTo>
                    <a:pt x="746" y="8"/>
                  </a:lnTo>
                  <a:lnTo>
                    <a:pt x="738" y="8"/>
                  </a:lnTo>
                  <a:lnTo>
                    <a:pt x="726" y="12"/>
                  </a:lnTo>
                  <a:lnTo>
                    <a:pt x="724" y="20"/>
                  </a:lnTo>
                  <a:lnTo>
                    <a:pt x="698" y="92"/>
                  </a:lnTo>
                  <a:lnTo>
                    <a:pt x="672" y="144"/>
                  </a:lnTo>
                  <a:lnTo>
                    <a:pt x="662" y="156"/>
                  </a:lnTo>
                  <a:lnTo>
                    <a:pt x="646" y="168"/>
                  </a:lnTo>
                  <a:lnTo>
                    <a:pt x="618" y="182"/>
                  </a:lnTo>
                  <a:lnTo>
                    <a:pt x="570" y="204"/>
                  </a:lnTo>
                  <a:lnTo>
                    <a:pt x="556" y="212"/>
                  </a:lnTo>
                  <a:lnTo>
                    <a:pt x="550" y="218"/>
                  </a:lnTo>
                  <a:lnTo>
                    <a:pt x="534" y="238"/>
                  </a:lnTo>
                  <a:lnTo>
                    <a:pt x="508" y="266"/>
                  </a:lnTo>
                  <a:lnTo>
                    <a:pt x="508" y="272"/>
                  </a:lnTo>
                  <a:lnTo>
                    <a:pt x="506" y="292"/>
                  </a:lnTo>
                  <a:lnTo>
                    <a:pt x="502" y="304"/>
                  </a:lnTo>
                  <a:lnTo>
                    <a:pt x="480" y="332"/>
                  </a:lnTo>
                  <a:lnTo>
                    <a:pt x="472" y="354"/>
                  </a:lnTo>
                  <a:lnTo>
                    <a:pt x="470" y="382"/>
                  </a:lnTo>
                  <a:lnTo>
                    <a:pt x="470" y="398"/>
                  </a:lnTo>
                  <a:lnTo>
                    <a:pt x="466" y="408"/>
                  </a:lnTo>
                  <a:lnTo>
                    <a:pt x="468" y="414"/>
                  </a:lnTo>
                  <a:lnTo>
                    <a:pt x="474" y="418"/>
                  </a:lnTo>
                  <a:lnTo>
                    <a:pt x="482" y="430"/>
                  </a:lnTo>
                  <a:lnTo>
                    <a:pt x="484" y="436"/>
                  </a:lnTo>
                  <a:lnTo>
                    <a:pt x="480" y="454"/>
                  </a:lnTo>
                  <a:lnTo>
                    <a:pt x="476" y="466"/>
                  </a:lnTo>
                  <a:lnTo>
                    <a:pt x="468" y="478"/>
                  </a:lnTo>
                  <a:lnTo>
                    <a:pt x="458" y="490"/>
                  </a:lnTo>
                  <a:lnTo>
                    <a:pt x="446" y="510"/>
                  </a:lnTo>
                  <a:lnTo>
                    <a:pt x="426" y="534"/>
                  </a:lnTo>
                  <a:lnTo>
                    <a:pt x="414" y="544"/>
                  </a:lnTo>
                  <a:lnTo>
                    <a:pt x="388" y="560"/>
                  </a:lnTo>
                  <a:lnTo>
                    <a:pt x="374" y="574"/>
                  </a:lnTo>
                  <a:lnTo>
                    <a:pt x="364" y="584"/>
                  </a:lnTo>
                  <a:lnTo>
                    <a:pt x="356" y="590"/>
                  </a:lnTo>
                  <a:lnTo>
                    <a:pt x="328" y="604"/>
                  </a:lnTo>
                  <a:lnTo>
                    <a:pt x="296" y="612"/>
                  </a:lnTo>
                  <a:lnTo>
                    <a:pt x="276" y="614"/>
                  </a:lnTo>
                  <a:lnTo>
                    <a:pt x="266" y="620"/>
                  </a:lnTo>
                  <a:lnTo>
                    <a:pt x="260" y="630"/>
                  </a:lnTo>
                  <a:lnTo>
                    <a:pt x="250" y="638"/>
                  </a:lnTo>
                  <a:lnTo>
                    <a:pt x="250" y="640"/>
                  </a:lnTo>
                  <a:lnTo>
                    <a:pt x="246" y="656"/>
                  </a:lnTo>
                  <a:lnTo>
                    <a:pt x="234" y="676"/>
                  </a:lnTo>
                  <a:lnTo>
                    <a:pt x="230" y="696"/>
                  </a:lnTo>
                  <a:lnTo>
                    <a:pt x="224" y="706"/>
                  </a:lnTo>
                  <a:lnTo>
                    <a:pt x="216" y="714"/>
                  </a:lnTo>
                  <a:lnTo>
                    <a:pt x="200" y="724"/>
                  </a:lnTo>
                  <a:lnTo>
                    <a:pt x="186" y="730"/>
                  </a:lnTo>
                  <a:lnTo>
                    <a:pt x="176" y="738"/>
                  </a:lnTo>
                  <a:lnTo>
                    <a:pt x="170" y="742"/>
                  </a:lnTo>
                  <a:lnTo>
                    <a:pt x="166" y="748"/>
                  </a:lnTo>
                  <a:lnTo>
                    <a:pt x="162" y="766"/>
                  </a:lnTo>
                  <a:lnTo>
                    <a:pt x="156" y="774"/>
                  </a:lnTo>
                  <a:lnTo>
                    <a:pt x="150" y="794"/>
                  </a:lnTo>
                  <a:lnTo>
                    <a:pt x="144" y="804"/>
                  </a:lnTo>
                  <a:lnTo>
                    <a:pt x="140" y="818"/>
                  </a:lnTo>
                  <a:lnTo>
                    <a:pt x="140" y="842"/>
                  </a:lnTo>
                  <a:lnTo>
                    <a:pt x="136" y="854"/>
                  </a:lnTo>
                  <a:lnTo>
                    <a:pt x="128" y="866"/>
                  </a:lnTo>
                  <a:lnTo>
                    <a:pt x="118" y="870"/>
                  </a:lnTo>
                  <a:lnTo>
                    <a:pt x="92" y="900"/>
                  </a:lnTo>
                  <a:lnTo>
                    <a:pt x="80" y="908"/>
                  </a:lnTo>
                  <a:lnTo>
                    <a:pt x="72" y="916"/>
                  </a:lnTo>
                  <a:lnTo>
                    <a:pt x="68" y="924"/>
                  </a:lnTo>
                  <a:lnTo>
                    <a:pt x="66" y="928"/>
                  </a:lnTo>
                  <a:lnTo>
                    <a:pt x="70" y="924"/>
                  </a:lnTo>
                  <a:lnTo>
                    <a:pt x="74" y="920"/>
                  </a:lnTo>
                  <a:lnTo>
                    <a:pt x="78" y="916"/>
                  </a:lnTo>
                  <a:lnTo>
                    <a:pt x="80" y="920"/>
                  </a:lnTo>
                  <a:lnTo>
                    <a:pt x="78" y="922"/>
                  </a:lnTo>
                  <a:lnTo>
                    <a:pt x="70" y="938"/>
                  </a:lnTo>
                  <a:lnTo>
                    <a:pt x="66" y="946"/>
                  </a:lnTo>
                  <a:lnTo>
                    <a:pt x="58" y="960"/>
                  </a:lnTo>
                  <a:lnTo>
                    <a:pt x="52" y="970"/>
                  </a:lnTo>
                  <a:lnTo>
                    <a:pt x="54" y="974"/>
                  </a:lnTo>
                  <a:lnTo>
                    <a:pt x="52" y="980"/>
                  </a:lnTo>
                  <a:lnTo>
                    <a:pt x="46" y="988"/>
                  </a:lnTo>
                  <a:lnTo>
                    <a:pt x="42" y="1006"/>
                  </a:lnTo>
                  <a:lnTo>
                    <a:pt x="32" y="1024"/>
                  </a:lnTo>
                  <a:lnTo>
                    <a:pt x="20" y="1028"/>
                  </a:lnTo>
                  <a:lnTo>
                    <a:pt x="14" y="1036"/>
                  </a:lnTo>
                  <a:lnTo>
                    <a:pt x="4" y="1054"/>
                  </a:lnTo>
                  <a:lnTo>
                    <a:pt x="0" y="1088"/>
                  </a:lnTo>
                  <a:lnTo>
                    <a:pt x="2" y="1088"/>
                  </a:lnTo>
                  <a:lnTo>
                    <a:pt x="18" y="1084"/>
                  </a:lnTo>
                  <a:lnTo>
                    <a:pt x="28" y="1084"/>
                  </a:lnTo>
                  <a:lnTo>
                    <a:pt x="52" y="1084"/>
                  </a:lnTo>
                  <a:lnTo>
                    <a:pt x="62" y="1082"/>
                  </a:lnTo>
                  <a:lnTo>
                    <a:pt x="70" y="1082"/>
                  </a:lnTo>
                  <a:lnTo>
                    <a:pt x="82" y="1084"/>
                  </a:lnTo>
                  <a:lnTo>
                    <a:pt x="90" y="1084"/>
                  </a:lnTo>
                  <a:lnTo>
                    <a:pt x="100" y="1086"/>
                  </a:lnTo>
                  <a:lnTo>
                    <a:pt x="112" y="1086"/>
                  </a:lnTo>
                  <a:lnTo>
                    <a:pt x="120" y="1086"/>
                  </a:lnTo>
                  <a:lnTo>
                    <a:pt x="132" y="1086"/>
                  </a:lnTo>
                  <a:lnTo>
                    <a:pt x="142" y="1086"/>
                  </a:lnTo>
                  <a:lnTo>
                    <a:pt x="146" y="1082"/>
                  </a:lnTo>
                  <a:lnTo>
                    <a:pt x="152" y="1076"/>
                  </a:lnTo>
                  <a:lnTo>
                    <a:pt x="154" y="1070"/>
                  </a:lnTo>
                  <a:lnTo>
                    <a:pt x="156" y="1066"/>
                  </a:lnTo>
                  <a:lnTo>
                    <a:pt x="156" y="1060"/>
                  </a:lnTo>
                  <a:lnTo>
                    <a:pt x="154" y="1058"/>
                  </a:lnTo>
                  <a:lnTo>
                    <a:pt x="158" y="1054"/>
                  </a:lnTo>
                  <a:lnTo>
                    <a:pt x="162" y="1048"/>
                  </a:lnTo>
                  <a:lnTo>
                    <a:pt x="166" y="1044"/>
                  </a:lnTo>
                  <a:lnTo>
                    <a:pt x="168" y="1042"/>
                  </a:lnTo>
                  <a:lnTo>
                    <a:pt x="172" y="1038"/>
                  </a:lnTo>
                  <a:lnTo>
                    <a:pt x="176" y="1034"/>
                  </a:lnTo>
                  <a:lnTo>
                    <a:pt x="178" y="1030"/>
                  </a:lnTo>
                  <a:lnTo>
                    <a:pt x="182" y="1026"/>
                  </a:lnTo>
                  <a:lnTo>
                    <a:pt x="182" y="1022"/>
                  </a:lnTo>
                  <a:lnTo>
                    <a:pt x="184" y="1016"/>
                  </a:lnTo>
                  <a:lnTo>
                    <a:pt x="184" y="1006"/>
                  </a:lnTo>
                  <a:lnTo>
                    <a:pt x="186" y="994"/>
                  </a:lnTo>
                  <a:lnTo>
                    <a:pt x="188" y="986"/>
                  </a:lnTo>
                  <a:lnTo>
                    <a:pt x="188" y="980"/>
                  </a:lnTo>
                  <a:lnTo>
                    <a:pt x="190" y="970"/>
                  </a:lnTo>
                  <a:lnTo>
                    <a:pt x="194" y="952"/>
                  </a:lnTo>
                  <a:lnTo>
                    <a:pt x="194" y="948"/>
                  </a:lnTo>
                  <a:lnTo>
                    <a:pt x="198" y="940"/>
                  </a:lnTo>
                  <a:lnTo>
                    <a:pt x="200" y="932"/>
                  </a:lnTo>
                  <a:lnTo>
                    <a:pt x="204" y="928"/>
                  </a:lnTo>
                  <a:lnTo>
                    <a:pt x="206" y="922"/>
                  </a:lnTo>
                  <a:lnTo>
                    <a:pt x="212" y="920"/>
                  </a:lnTo>
                  <a:lnTo>
                    <a:pt x="218" y="918"/>
                  </a:lnTo>
                  <a:lnTo>
                    <a:pt x="224" y="914"/>
                  </a:lnTo>
                  <a:lnTo>
                    <a:pt x="230" y="912"/>
                  </a:lnTo>
                  <a:lnTo>
                    <a:pt x="236" y="910"/>
                  </a:lnTo>
                  <a:lnTo>
                    <a:pt x="242" y="906"/>
                  </a:lnTo>
                  <a:lnTo>
                    <a:pt x="244" y="904"/>
                  </a:lnTo>
                  <a:lnTo>
                    <a:pt x="246" y="898"/>
                  </a:lnTo>
                  <a:lnTo>
                    <a:pt x="252" y="890"/>
                  </a:lnTo>
                  <a:lnTo>
                    <a:pt x="254" y="884"/>
                  </a:lnTo>
                  <a:lnTo>
                    <a:pt x="258" y="876"/>
                  </a:lnTo>
                  <a:lnTo>
                    <a:pt x="262" y="872"/>
                  </a:lnTo>
                  <a:lnTo>
                    <a:pt x="266" y="870"/>
                  </a:lnTo>
                  <a:lnTo>
                    <a:pt x="268" y="868"/>
                  </a:lnTo>
                  <a:lnTo>
                    <a:pt x="274" y="864"/>
                  </a:lnTo>
                  <a:lnTo>
                    <a:pt x="280" y="860"/>
                  </a:lnTo>
                  <a:lnTo>
                    <a:pt x="286" y="856"/>
                  </a:lnTo>
                  <a:lnTo>
                    <a:pt x="290" y="852"/>
                  </a:lnTo>
                  <a:lnTo>
                    <a:pt x="294" y="850"/>
                  </a:lnTo>
                  <a:lnTo>
                    <a:pt x="300" y="846"/>
                  </a:lnTo>
                  <a:lnTo>
                    <a:pt x="302" y="842"/>
                  </a:lnTo>
                  <a:lnTo>
                    <a:pt x="304" y="836"/>
                  </a:lnTo>
                  <a:lnTo>
                    <a:pt x="308" y="824"/>
                  </a:lnTo>
                  <a:lnTo>
                    <a:pt x="310" y="814"/>
                  </a:lnTo>
                  <a:lnTo>
                    <a:pt x="312" y="802"/>
                  </a:lnTo>
                  <a:lnTo>
                    <a:pt x="314" y="796"/>
                  </a:lnTo>
                  <a:lnTo>
                    <a:pt x="316" y="786"/>
                  </a:lnTo>
                  <a:lnTo>
                    <a:pt x="318" y="780"/>
                  </a:lnTo>
                  <a:lnTo>
                    <a:pt x="320" y="772"/>
                  </a:lnTo>
                  <a:lnTo>
                    <a:pt x="322" y="770"/>
                  </a:lnTo>
                  <a:lnTo>
                    <a:pt x="322" y="766"/>
                  </a:lnTo>
                  <a:lnTo>
                    <a:pt x="324" y="762"/>
                  </a:lnTo>
                  <a:lnTo>
                    <a:pt x="324" y="760"/>
                  </a:lnTo>
                  <a:lnTo>
                    <a:pt x="326" y="758"/>
                  </a:lnTo>
                  <a:lnTo>
                    <a:pt x="330" y="756"/>
                  </a:lnTo>
                  <a:lnTo>
                    <a:pt x="336" y="756"/>
                  </a:lnTo>
                  <a:lnTo>
                    <a:pt x="344" y="754"/>
                  </a:lnTo>
                  <a:lnTo>
                    <a:pt x="346" y="752"/>
                  </a:lnTo>
                  <a:lnTo>
                    <a:pt x="348" y="748"/>
                  </a:lnTo>
                  <a:lnTo>
                    <a:pt x="348" y="744"/>
                  </a:lnTo>
                  <a:lnTo>
                    <a:pt x="352" y="738"/>
                  </a:lnTo>
                  <a:lnTo>
                    <a:pt x="354" y="734"/>
                  </a:lnTo>
                  <a:lnTo>
                    <a:pt x="356" y="732"/>
                  </a:lnTo>
                  <a:lnTo>
                    <a:pt x="360" y="726"/>
                  </a:lnTo>
                  <a:lnTo>
                    <a:pt x="362" y="722"/>
                  </a:lnTo>
                  <a:lnTo>
                    <a:pt x="366" y="718"/>
                  </a:lnTo>
                  <a:lnTo>
                    <a:pt x="370" y="714"/>
                  </a:lnTo>
                  <a:lnTo>
                    <a:pt x="372" y="710"/>
                  </a:lnTo>
                  <a:lnTo>
                    <a:pt x="372" y="706"/>
                  </a:lnTo>
                  <a:lnTo>
                    <a:pt x="370" y="702"/>
                  </a:lnTo>
                  <a:lnTo>
                    <a:pt x="368" y="696"/>
                  </a:lnTo>
                  <a:lnTo>
                    <a:pt x="376" y="694"/>
                  </a:lnTo>
                  <a:lnTo>
                    <a:pt x="384" y="692"/>
                  </a:lnTo>
                  <a:lnTo>
                    <a:pt x="390" y="690"/>
                  </a:lnTo>
                  <a:lnTo>
                    <a:pt x="398" y="686"/>
                  </a:lnTo>
                  <a:lnTo>
                    <a:pt x="404" y="686"/>
                  </a:lnTo>
                  <a:lnTo>
                    <a:pt x="408" y="686"/>
                  </a:lnTo>
                  <a:lnTo>
                    <a:pt x="416" y="688"/>
                  </a:lnTo>
                  <a:lnTo>
                    <a:pt x="422" y="688"/>
                  </a:lnTo>
                  <a:lnTo>
                    <a:pt x="428" y="690"/>
                  </a:lnTo>
                  <a:lnTo>
                    <a:pt x="436" y="694"/>
                  </a:lnTo>
                  <a:lnTo>
                    <a:pt x="442" y="698"/>
                  </a:lnTo>
                  <a:lnTo>
                    <a:pt x="446" y="698"/>
                  </a:lnTo>
                  <a:lnTo>
                    <a:pt x="450" y="696"/>
                  </a:lnTo>
                  <a:lnTo>
                    <a:pt x="454" y="694"/>
                  </a:lnTo>
                  <a:lnTo>
                    <a:pt x="456" y="694"/>
                  </a:lnTo>
                  <a:lnTo>
                    <a:pt x="460" y="696"/>
                  </a:lnTo>
                  <a:lnTo>
                    <a:pt x="466" y="698"/>
                  </a:lnTo>
                  <a:lnTo>
                    <a:pt x="470" y="698"/>
                  </a:lnTo>
                  <a:lnTo>
                    <a:pt x="476" y="698"/>
                  </a:lnTo>
                  <a:lnTo>
                    <a:pt x="480" y="694"/>
                  </a:lnTo>
                  <a:lnTo>
                    <a:pt x="486" y="688"/>
                  </a:lnTo>
                  <a:lnTo>
                    <a:pt x="492" y="684"/>
                  </a:lnTo>
                  <a:lnTo>
                    <a:pt x="498" y="680"/>
                  </a:lnTo>
                  <a:lnTo>
                    <a:pt x="500" y="680"/>
                  </a:lnTo>
                  <a:lnTo>
                    <a:pt x="506" y="680"/>
                  </a:lnTo>
                  <a:lnTo>
                    <a:pt x="510" y="680"/>
                  </a:lnTo>
                  <a:lnTo>
                    <a:pt x="518" y="680"/>
                  </a:lnTo>
                  <a:lnTo>
                    <a:pt x="524" y="680"/>
                  </a:lnTo>
                  <a:lnTo>
                    <a:pt x="532" y="680"/>
                  </a:lnTo>
                  <a:lnTo>
                    <a:pt x="538" y="678"/>
                  </a:lnTo>
                  <a:lnTo>
                    <a:pt x="540" y="676"/>
                  </a:lnTo>
                  <a:lnTo>
                    <a:pt x="540" y="674"/>
                  </a:lnTo>
                  <a:lnTo>
                    <a:pt x="538" y="664"/>
                  </a:lnTo>
                  <a:lnTo>
                    <a:pt x="538" y="660"/>
                  </a:lnTo>
                  <a:lnTo>
                    <a:pt x="538" y="656"/>
                  </a:lnTo>
                  <a:lnTo>
                    <a:pt x="538" y="654"/>
                  </a:lnTo>
                  <a:lnTo>
                    <a:pt x="538" y="648"/>
                  </a:lnTo>
                  <a:lnTo>
                    <a:pt x="536" y="642"/>
                  </a:lnTo>
                  <a:lnTo>
                    <a:pt x="536" y="638"/>
                  </a:lnTo>
                  <a:lnTo>
                    <a:pt x="544" y="638"/>
                  </a:lnTo>
                  <a:lnTo>
                    <a:pt x="544" y="566"/>
                  </a:lnTo>
                  <a:lnTo>
                    <a:pt x="546" y="562"/>
                  </a:lnTo>
                  <a:lnTo>
                    <a:pt x="546" y="560"/>
                  </a:lnTo>
                  <a:lnTo>
                    <a:pt x="554" y="556"/>
                  </a:lnTo>
                  <a:lnTo>
                    <a:pt x="564" y="548"/>
                  </a:lnTo>
                  <a:lnTo>
                    <a:pt x="568" y="544"/>
                  </a:lnTo>
                  <a:lnTo>
                    <a:pt x="572" y="540"/>
                  </a:lnTo>
                  <a:lnTo>
                    <a:pt x="590" y="528"/>
                  </a:lnTo>
                  <a:lnTo>
                    <a:pt x="594" y="526"/>
                  </a:lnTo>
                  <a:lnTo>
                    <a:pt x="610" y="512"/>
                  </a:lnTo>
                  <a:lnTo>
                    <a:pt x="614" y="510"/>
                  </a:lnTo>
                  <a:lnTo>
                    <a:pt x="624" y="510"/>
                  </a:lnTo>
                  <a:lnTo>
                    <a:pt x="628" y="506"/>
                  </a:lnTo>
                  <a:lnTo>
                    <a:pt x="632" y="502"/>
                  </a:lnTo>
                  <a:lnTo>
                    <a:pt x="640" y="496"/>
                  </a:lnTo>
                  <a:lnTo>
                    <a:pt x="644" y="492"/>
                  </a:lnTo>
                  <a:lnTo>
                    <a:pt x="646" y="492"/>
                  </a:lnTo>
                  <a:lnTo>
                    <a:pt x="648" y="492"/>
                  </a:lnTo>
                  <a:lnTo>
                    <a:pt x="664" y="494"/>
                  </a:lnTo>
                  <a:lnTo>
                    <a:pt x="672" y="494"/>
                  </a:lnTo>
                  <a:lnTo>
                    <a:pt x="680" y="496"/>
                  </a:lnTo>
                  <a:lnTo>
                    <a:pt x="682" y="494"/>
                  </a:lnTo>
                  <a:lnTo>
                    <a:pt x="684" y="494"/>
                  </a:lnTo>
                  <a:lnTo>
                    <a:pt x="686" y="488"/>
                  </a:lnTo>
                  <a:lnTo>
                    <a:pt x="688" y="484"/>
                  </a:lnTo>
                  <a:lnTo>
                    <a:pt x="688" y="480"/>
                  </a:lnTo>
                  <a:lnTo>
                    <a:pt x="688" y="478"/>
                  </a:lnTo>
                  <a:lnTo>
                    <a:pt x="690" y="476"/>
                  </a:lnTo>
                  <a:lnTo>
                    <a:pt x="692" y="478"/>
                  </a:lnTo>
                  <a:lnTo>
                    <a:pt x="698" y="478"/>
                  </a:lnTo>
                  <a:lnTo>
                    <a:pt x="706" y="478"/>
                  </a:lnTo>
                  <a:lnTo>
                    <a:pt x="710" y="476"/>
                  </a:lnTo>
                  <a:lnTo>
                    <a:pt x="720" y="476"/>
                  </a:lnTo>
                  <a:lnTo>
                    <a:pt x="736" y="474"/>
                  </a:lnTo>
                  <a:lnTo>
                    <a:pt x="748" y="470"/>
                  </a:lnTo>
                  <a:lnTo>
                    <a:pt x="756" y="466"/>
                  </a:lnTo>
                  <a:lnTo>
                    <a:pt x="768" y="458"/>
                  </a:lnTo>
                  <a:lnTo>
                    <a:pt x="774" y="450"/>
                  </a:lnTo>
                  <a:lnTo>
                    <a:pt x="782" y="438"/>
                  </a:lnTo>
                  <a:lnTo>
                    <a:pt x="788" y="428"/>
                  </a:lnTo>
                  <a:lnTo>
                    <a:pt x="800" y="422"/>
                  </a:lnTo>
                  <a:lnTo>
                    <a:pt x="812" y="418"/>
                  </a:lnTo>
                  <a:lnTo>
                    <a:pt x="818" y="416"/>
                  </a:lnTo>
                  <a:lnTo>
                    <a:pt x="830" y="410"/>
                  </a:lnTo>
                  <a:lnTo>
                    <a:pt x="842" y="402"/>
                  </a:lnTo>
                  <a:lnTo>
                    <a:pt x="852" y="394"/>
                  </a:lnTo>
                  <a:lnTo>
                    <a:pt x="860" y="392"/>
                  </a:lnTo>
                  <a:lnTo>
                    <a:pt x="872" y="392"/>
                  </a:lnTo>
                  <a:lnTo>
                    <a:pt x="874" y="390"/>
                  </a:lnTo>
                  <a:lnTo>
                    <a:pt x="876" y="388"/>
                  </a:lnTo>
                  <a:lnTo>
                    <a:pt x="876" y="382"/>
                  </a:lnTo>
                  <a:lnTo>
                    <a:pt x="874" y="378"/>
                  </a:lnTo>
                  <a:lnTo>
                    <a:pt x="870" y="376"/>
                  </a:lnTo>
                  <a:lnTo>
                    <a:pt x="866" y="374"/>
                  </a:lnTo>
                  <a:lnTo>
                    <a:pt x="864" y="374"/>
                  </a:lnTo>
                  <a:lnTo>
                    <a:pt x="862" y="372"/>
                  </a:lnTo>
                  <a:lnTo>
                    <a:pt x="864" y="368"/>
                  </a:lnTo>
                  <a:lnTo>
                    <a:pt x="864" y="364"/>
                  </a:lnTo>
                  <a:lnTo>
                    <a:pt x="866" y="360"/>
                  </a:lnTo>
                  <a:lnTo>
                    <a:pt x="866" y="354"/>
                  </a:lnTo>
                  <a:lnTo>
                    <a:pt x="862" y="348"/>
                  </a:lnTo>
                  <a:lnTo>
                    <a:pt x="862" y="344"/>
                  </a:lnTo>
                  <a:lnTo>
                    <a:pt x="862" y="340"/>
                  </a:lnTo>
                  <a:lnTo>
                    <a:pt x="864" y="336"/>
                  </a:lnTo>
                  <a:lnTo>
                    <a:pt x="868" y="334"/>
                  </a:lnTo>
                  <a:lnTo>
                    <a:pt x="872" y="334"/>
                  </a:lnTo>
                  <a:lnTo>
                    <a:pt x="878" y="334"/>
                  </a:lnTo>
                  <a:lnTo>
                    <a:pt x="888" y="334"/>
                  </a:lnTo>
                  <a:lnTo>
                    <a:pt x="916" y="322"/>
                  </a:lnTo>
                  <a:lnTo>
                    <a:pt x="918" y="320"/>
                  </a:lnTo>
                  <a:lnTo>
                    <a:pt x="920" y="314"/>
                  </a:lnTo>
                  <a:lnTo>
                    <a:pt x="922" y="306"/>
                  </a:lnTo>
                  <a:lnTo>
                    <a:pt x="924" y="304"/>
                  </a:lnTo>
                  <a:lnTo>
                    <a:pt x="926" y="304"/>
                  </a:lnTo>
                  <a:lnTo>
                    <a:pt x="936" y="302"/>
                  </a:lnTo>
                  <a:lnTo>
                    <a:pt x="948" y="300"/>
                  </a:lnTo>
                  <a:lnTo>
                    <a:pt x="954" y="300"/>
                  </a:lnTo>
                  <a:lnTo>
                    <a:pt x="968" y="302"/>
                  </a:lnTo>
                  <a:lnTo>
                    <a:pt x="978" y="302"/>
                  </a:lnTo>
                  <a:lnTo>
                    <a:pt x="996" y="302"/>
                  </a:lnTo>
                  <a:lnTo>
                    <a:pt x="1006" y="302"/>
                  </a:lnTo>
                  <a:lnTo>
                    <a:pt x="1018" y="302"/>
                  </a:lnTo>
                  <a:lnTo>
                    <a:pt x="1030" y="304"/>
                  </a:lnTo>
                  <a:lnTo>
                    <a:pt x="1034" y="302"/>
                  </a:lnTo>
                  <a:lnTo>
                    <a:pt x="1034" y="298"/>
                  </a:lnTo>
                  <a:lnTo>
                    <a:pt x="1032" y="290"/>
                  </a:lnTo>
                  <a:lnTo>
                    <a:pt x="1032" y="284"/>
                  </a:lnTo>
                  <a:lnTo>
                    <a:pt x="1038" y="280"/>
                  </a:lnTo>
                  <a:lnTo>
                    <a:pt x="1044" y="274"/>
                  </a:lnTo>
                  <a:lnTo>
                    <a:pt x="1042" y="268"/>
                  </a:lnTo>
                  <a:lnTo>
                    <a:pt x="1036" y="264"/>
                  </a:lnTo>
                  <a:lnTo>
                    <a:pt x="1030" y="258"/>
                  </a:lnTo>
                  <a:lnTo>
                    <a:pt x="1026" y="256"/>
                  </a:lnTo>
                  <a:lnTo>
                    <a:pt x="1018" y="250"/>
                  </a:lnTo>
                  <a:lnTo>
                    <a:pt x="1016" y="242"/>
                  </a:lnTo>
                  <a:lnTo>
                    <a:pt x="1012" y="226"/>
                  </a:lnTo>
                  <a:lnTo>
                    <a:pt x="1008" y="218"/>
                  </a:lnTo>
                  <a:lnTo>
                    <a:pt x="1004" y="208"/>
                  </a:lnTo>
                  <a:lnTo>
                    <a:pt x="1008" y="188"/>
                  </a:lnTo>
                  <a:lnTo>
                    <a:pt x="1002" y="176"/>
                  </a:lnTo>
                  <a:lnTo>
                    <a:pt x="1002" y="172"/>
                  </a:lnTo>
                  <a:lnTo>
                    <a:pt x="1002" y="166"/>
                  </a:lnTo>
                  <a:lnTo>
                    <a:pt x="1002" y="154"/>
                  </a:lnTo>
                  <a:lnTo>
                    <a:pt x="1002" y="140"/>
                  </a:lnTo>
                  <a:lnTo>
                    <a:pt x="996" y="124"/>
                  </a:lnTo>
                  <a:lnTo>
                    <a:pt x="1000" y="120"/>
                  </a:lnTo>
                  <a:lnTo>
                    <a:pt x="1000" y="116"/>
                  </a:lnTo>
                  <a:lnTo>
                    <a:pt x="1000" y="114"/>
                  </a:lnTo>
                  <a:lnTo>
                    <a:pt x="996" y="110"/>
                  </a:lnTo>
                  <a:lnTo>
                    <a:pt x="992" y="106"/>
                  </a:lnTo>
                  <a:lnTo>
                    <a:pt x="994" y="102"/>
                  </a:lnTo>
                  <a:lnTo>
                    <a:pt x="996" y="96"/>
                  </a:lnTo>
                  <a:lnTo>
                    <a:pt x="996" y="94"/>
                  </a:lnTo>
                  <a:lnTo>
                    <a:pt x="988" y="88"/>
                  </a:lnTo>
                  <a:lnTo>
                    <a:pt x="974" y="76"/>
                  </a:lnTo>
                  <a:lnTo>
                    <a:pt x="970" y="72"/>
                  </a:lnTo>
                  <a:lnTo>
                    <a:pt x="968" y="6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0" name="Freeform 208">
              <a:extLst>
                <a:ext uri="{FF2B5EF4-FFF2-40B4-BE49-F238E27FC236}">
                  <a16:creationId xmlns:a16="http://schemas.microsoft.com/office/drawing/2014/main" id="{7B75E856-3D0F-46DA-89DD-568DF33AB45E}"/>
                </a:ext>
              </a:extLst>
            </p:cNvPr>
            <p:cNvSpPr/>
            <p:nvPr/>
          </p:nvSpPr>
          <p:spPr bwMode="auto">
            <a:xfrm>
              <a:off x="6391557" y="5716991"/>
              <a:ext cx="182697" cy="361156"/>
            </a:xfrm>
            <a:custGeom>
              <a:avLst/>
              <a:gdLst>
                <a:gd name="connsiteX0" fmla="*/ 1057856 w 1129332"/>
                <a:gd name="connsiteY0" fmla="*/ 740976 h 2232462"/>
                <a:gd name="connsiteX1" fmla="*/ 1043560 w 1129332"/>
                <a:gd name="connsiteY1" fmla="*/ 779098 h 2232462"/>
                <a:gd name="connsiteX2" fmla="*/ 1024500 w 1129332"/>
                <a:gd name="connsiteY2" fmla="*/ 807688 h 2232462"/>
                <a:gd name="connsiteX3" fmla="*/ 1029264 w 1129332"/>
                <a:gd name="connsiteY3" fmla="*/ 783864 h 2232462"/>
                <a:gd name="connsiteX4" fmla="*/ 1048324 w 1129332"/>
                <a:gd name="connsiteY4" fmla="*/ 745742 h 2232462"/>
                <a:gd name="connsiteX5" fmla="*/ 781480 w 1129332"/>
                <a:gd name="connsiteY5" fmla="*/ 178692 h 2232462"/>
                <a:gd name="connsiteX6" fmla="*/ 791008 w 1129332"/>
                <a:gd name="connsiteY6" fmla="*/ 178692 h 2232462"/>
                <a:gd name="connsiteX7" fmla="*/ 795776 w 1129332"/>
                <a:gd name="connsiteY7" fmla="*/ 197752 h 2232462"/>
                <a:gd name="connsiteX8" fmla="*/ 795776 w 1129332"/>
                <a:gd name="connsiteY8" fmla="*/ 202518 h 2232462"/>
                <a:gd name="connsiteX9" fmla="*/ 795776 w 1129332"/>
                <a:gd name="connsiteY9" fmla="*/ 207284 h 2232462"/>
                <a:gd name="connsiteX10" fmla="*/ 771948 w 1129332"/>
                <a:gd name="connsiteY10" fmla="*/ 207284 h 2232462"/>
                <a:gd name="connsiteX11" fmla="*/ 771948 w 1129332"/>
                <a:gd name="connsiteY11" fmla="*/ 188222 h 2232462"/>
                <a:gd name="connsiteX12" fmla="*/ 781480 w 1129332"/>
                <a:gd name="connsiteY12" fmla="*/ 188222 h 2232462"/>
                <a:gd name="connsiteX13" fmla="*/ 929196 w 1129332"/>
                <a:gd name="connsiteY13" fmla="*/ 0 h 2232462"/>
                <a:gd name="connsiteX14" fmla="*/ 938728 w 1129332"/>
                <a:gd name="connsiteY14" fmla="*/ 0 h 2232462"/>
                <a:gd name="connsiteX15" fmla="*/ 943492 w 1129332"/>
                <a:gd name="connsiteY15" fmla="*/ 9530 h 2232462"/>
                <a:gd name="connsiteX16" fmla="*/ 948260 w 1129332"/>
                <a:gd name="connsiteY16" fmla="*/ 19060 h 2232462"/>
                <a:gd name="connsiteX17" fmla="*/ 953024 w 1129332"/>
                <a:gd name="connsiteY17" fmla="*/ 23824 h 2232462"/>
                <a:gd name="connsiteX18" fmla="*/ 972084 w 1129332"/>
                <a:gd name="connsiteY18" fmla="*/ 42886 h 2232462"/>
                <a:gd name="connsiteX19" fmla="*/ 981616 w 1129332"/>
                <a:gd name="connsiteY19" fmla="*/ 57180 h 2232462"/>
                <a:gd name="connsiteX20" fmla="*/ 986380 w 1129332"/>
                <a:gd name="connsiteY20" fmla="*/ 76242 h 2232462"/>
                <a:gd name="connsiteX21" fmla="*/ 995908 w 1129332"/>
                <a:gd name="connsiteY21" fmla="*/ 90536 h 2232462"/>
                <a:gd name="connsiteX22" fmla="*/ 1024500 w 1129332"/>
                <a:gd name="connsiteY22" fmla="*/ 128658 h 2232462"/>
                <a:gd name="connsiteX23" fmla="*/ 1034032 w 1129332"/>
                <a:gd name="connsiteY23" fmla="*/ 142952 h 2232462"/>
                <a:gd name="connsiteX24" fmla="*/ 1043560 w 1129332"/>
                <a:gd name="connsiteY24" fmla="*/ 159630 h 2232462"/>
                <a:gd name="connsiteX25" fmla="*/ 1048324 w 1129332"/>
                <a:gd name="connsiteY25" fmla="*/ 188222 h 2232462"/>
                <a:gd name="connsiteX26" fmla="*/ 1062620 w 1129332"/>
                <a:gd name="connsiteY26" fmla="*/ 240638 h 2232462"/>
                <a:gd name="connsiteX27" fmla="*/ 1081680 w 1129332"/>
                <a:gd name="connsiteY27" fmla="*/ 312114 h 2232462"/>
                <a:gd name="connsiteX28" fmla="*/ 1086448 w 1129332"/>
                <a:gd name="connsiteY28" fmla="*/ 388358 h 2232462"/>
                <a:gd name="connsiteX29" fmla="*/ 1091212 w 1129332"/>
                <a:gd name="connsiteY29" fmla="*/ 426478 h 2232462"/>
                <a:gd name="connsiteX30" fmla="*/ 1100744 w 1129332"/>
                <a:gd name="connsiteY30" fmla="*/ 455068 h 2232462"/>
                <a:gd name="connsiteX31" fmla="*/ 1119804 w 1129332"/>
                <a:gd name="connsiteY31" fmla="*/ 493190 h 2232462"/>
                <a:gd name="connsiteX32" fmla="*/ 1129332 w 1129332"/>
                <a:gd name="connsiteY32" fmla="*/ 531310 h 2232462"/>
                <a:gd name="connsiteX33" fmla="*/ 1115036 w 1129332"/>
                <a:gd name="connsiteY33" fmla="*/ 569432 h 2232462"/>
                <a:gd name="connsiteX34" fmla="*/ 1100744 w 1129332"/>
                <a:gd name="connsiteY34" fmla="*/ 607552 h 2232462"/>
                <a:gd name="connsiteX35" fmla="*/ 1095976 w 1129332"/>
                <a:gd name="connsiteY35" fmla="*/ 612318 h 2232462"/>
                <a:gd name="connsiteX36" fmla="*/ 1086448 w 1129332"/>
                <a:gd name="connsiteY36" fmla="*/ 621848 h 2232462"/>
                <a:gd name="connsiteX37" fmla="*/ 1081680 w 1129332"/>
                <a:gd name="connsiteY37" fmla="*/ 621848 h 2232462"/>
                <a:gd name="connsiteX38" fmla="*/ 1067388 w 1129332"/>
                <a:gd name="connsiteY38" fmla="*/ 612318 h 2232462"/>
                <a:gd name="connsiteX39" fmla="*/ 1057856 w 1129332"/>
                <a:gd name="connsiteY39" fmla="*/ 598022 h 2232462"/>
                <a:gd name="connsiteX40" fmla="*/ 1043560 w 1129332"/>
                <a:gd name="connsiteY40" fmla="*/ 559902 h 2232462"/>
                <a:gd name="connsiteX41" fmla="*/ 1034032 w 1129332"/>
                <a:gd name="connsiteY41" fmla="*/ 540842 h 2232462"/>
                <a:gd name="connsiteX42" fmla="*/ 1029264 w 1129332"/>
                <a:gd name="connsiteY42" fmla="*/ 540842 h 2232462"/>
                <a:gd name="connsiteX43" fmla="*/ 1014968 w 1129332"/>
                <a:gd name="connsiteY43" fmla="*/ 540842 h 2232462"/>
                <a:gd name="connsiteX44" fmla="*/ 1000676 w 1129332"/>
                <a:gd name="connsiteY44" fmla="*/ 550372 h 2232462"/>
                <a:gd name="connsiteX45" fmla="*/ 995908 w 1129332"/>
                <a:gd name="connsiteY45" fmla="*/ 559902 h 2232462"/>
                <a:gd name="connsiteX46" fmla="*/ 1000676 w 1129332"/>
                <a:gd name="connsiteY46" fmla="*/ 578962 h 2232462"/>
                <a:gd name="connsiteX47" fmla="*/ 1005440 w 1129332"/>
                <a:gd name="connsiteY47" fmla="*/ 598022 h 2232462"/>
                <a:gd name="connsiteX48" fmla="*/ 1005440 w 1129332"/>
                <a:gd name="connsiteY48" fmla="*/ 617084 h 2232462"/>
                <a:gd name="connsiteX49" fmla="*/ 1010204 w 1129332"/>
                <a:gd name="connsiteY49" fmla="*/ 640908 h 2232462"/>
                <a:gd name="connsiteX50" fmla="*/ 1014968 w 1129332"/>
                <a:gd name="connsiteY50" fmla="*/ 650440 h 2232462"/>
                <a:gd name="connsiteX51" fmla="*/ 1019736 w 1129332"/>
                <a:gd name="connsiteY51" fmla="*/ 655204 h 2232462"/>
                <a:gd name="connsiteX52" fmla="*/ 1024500 w 1129332"/>
                <a:gd name="connsiteY52" fmla="*/ 669500 h 2232462"/>
                <a:gd name="connsiteX53" fmla="*/ 1029264 w 1129332"/>
                <a:gd name="connsiteY53" fmla="*/ 707620 h 2232462"/>
                <a:gd name="connsiteX54" fmla="*/ 1024500 w 1129332"/>
                <a:gd name="connsiteY54" fmla="*/ 726682 h 2232462"/>
                <a:gd name="connsiteX55" fmla="*/ 1010204 w 1129332"/>
                <a:gd name="connsiteY55" fmla="*/ 745742 h 2232462"/>
                <a:gd name="connsiteX56" fmla="*/ 1010204 w 1129332"/>
                <a:gd name="connsiteY56" fmla="*/ 755272 h 2232462"/>
                <a:gd name="connsiteX57" fmla="*/ 1014968 w 1129332"/>
                <a:gd name="connsiteY57" fmla="*/ 764802 h 2232462"/>
                <a:gd name="connsiteX58" fmla="*/ 1010204 w 1129332"/>
                <a:gd name="connsiteY58" fmla="*/ 769568 h 2232462"/>
                <a:gd name="connsiteX59" fmla="*/ 995908 w 1129332"/>
                <a:gd name="connsiteY59" fmla="*/ 774332 h 2232462"/>
                <a:gd name="connsiteX60" fmla="*/ 991144 w 1129332"/>
                <a:gd name="connsiteY60" fmla="*/ 783862 h 2232462"/>
                <a:gd name="connsiteX61" fmla="*/ 981616 w 1129332"/>
                <a:gd name="connsiteY61" fmla="*/ 798158 h 2232462"/>
                <a:gd name="connsiteX62" fmla="*/ 967320 w 1129332"/>
                <a:gd name="connsiteY62" fmla="*/ 831514 h 2232462"/>
                <a:gd name="connsiteX63" fmla="*/ 967320 w 1129332"/>
                <a:gd name="connsiteY63" fmla="*/ 850574 h 2232462"/>
                <a:gd name="connsiteX64" fmla="*/ 972084 w 1129332"/>
                <a:gd name="connsiteY64" fmla="*/ 902992 h 2232462"/>
                <a:gd name="connsiteX65" fmla="*/ 972084 w 1129332"/>
                <a:gd name="connsiteY65" fmla="*/ 941112 h 2232462"/>
                <a:gd name="connsiteX66" fmla="*/ 953024 w 1129332"/>
                <a:gd name="connsiteY66" fmla="*/ 1012588 h 2232462"/>
                <a:gd name="connsiteX67" fmla="*/ 943492 w 1129332"/>
                <a:gd name="connsiteY67" fmla="*/ 1045944 h 2232462"/>
                <a:gd name="connsiteX68" fmla="*/ 929196 w 1129332"/>
                <a:gd name="connsiteY68" fmla="*/ 1088832 h 2232462"/>
                <a:gd name="connsiteX69" fmla="*/ 905372 w 1129332"/>
                <a:gd name="connsiteY69" fmla="*/ 1141248 h 2232462"/>
                <a:gd name="connsiteX70" fmla="*/ 886312 w 1129332"/>
                <a:gd name="connsiteY70" fmla="*/ 1207960 h 2232462"/>
                <a:gd name="connsiteX71" fmla="*/ 867252 w 1129332"/>
                <a:gd name="connsiteY71" fmla="*/ 1279436 h 2232462"/>
                <a:gd name="connsiteX72" fmla="*/ 852956 w 1129332"/>
                <a:gd name="connsiteY72" fmla="*/ 1322322 h 2232462"/>
                <a:gd name="connsiteX73" fmla="*/ 833896 w 1129332"/>
                <a:gd name="connsiteY73" fmla="*/ 1365208 h 2232462"/>
                <a:gd name="connsiteX74" fmla="*/ 814836 w 1129332"/>
                <a:gd name="connsiteY74" fmla="*/ 1436686 h 2232462"/>
                <a:gd name="connsiteX75" fmla="*/ 795776 w 1129332"/>
                <a:gd name="connsiteY75" fmla="*/ 1512928 h 2232462"/>
                <a:gd name="connsiteX76" fmla="*/ 767184 w 1129332"/>
                <a:gd name="connsiteY76" fmla="*/ 1593934 h 2232462"/>
                <a:gd name="connsiteX77" fmla="*/ 729064 w 1129332"/>
                <a:gd name="connsiteY77" fmla="*/ 1689238 h 2232462"/>
                <a:gd name="connsiteX78" fmla="*/ 724296 w 1129332"/>
                <a:gd name="connsiteY78" fmla="*/ 1698768 h 2232462"/>
                <a:gd name="connsiteX79" fmla="*/ 719532 w 1129332"/>
                <a:gd name="connsiteY79" fmla="*/ 1746418 h 2232462"/>
                <a:gd name="connsiteX80" fmla="*/ 710000 w 1129332"/>
                <a:gd name="connsiteY80" fmla="*/ 1789304 h 2232462"/>
                <a:gd name="connsiteX81" fmla="*/ 700472 w 1129332"/>
                <a:gd name="connsiteY81" fmla="*/ 1832192 h 2232462"/>
                <a:gd name="connsiteX82" fmla="*/ 676648 w 1129332"/>
                <a:gd name="connsiteY82" fmla="*/ 1898904 h 2232462"/>
                <a:gd name="connsiteX83" fmla="*/ 676648 w 1129332"/>
                <a:gd name="connsiteY83" fmla="*/ 1917964 h 2232462"/>
                <a:gd name="connsiteX84" fmla="*/ 671880 w 1129332"/>
                <a:gd name="connsiteY84" fmla="*/ 1941790 h 2232462"/>
                <a:gd name="connsiteX85" fmla="*/ 652820 w 1129332"/>
                <a:gd name="connsiteY85" fmla="*/ 1979910 h 2232462"/>
                <a:gd name="connsiteX86" fmla="*/ 643292 w 1129332"/>
                <a:gd name="connsiteY86" fmla="*/ 1998970 h 2232462"/>
                <a:gd name="connsiteX87" fmla="*/ 638524 w 1129332"/>
                <a:gd name="connsiteY87" fmla="*/ 2013266 h 2232462"/>
                <a:gd name="connsiteX88" fmla="*/ 633760 w 1129332"/>
                <a:gd name="connsiteY88" fmla="*/ 2037092 h 2232462"/>
                <a:gd name="connsiteX89" fmla="*/ 628996 w 1129332"/>
                <a:gd name="connsiteY89" fmla="*/ 2056152 h 2232462"/>
                <a:gd name="connsiteX90" fmla="*/ 609936 w 1129332"/>
                <a:gd name="connsiteY90" fmla="*/ 2094274 h 2232462"/>
                <a:gd name="connsiteX91" fmla="*/ 590872 w 1129332"/>
                <a:gd name="connsiteY91" fmla="*/ 2127630 h 2232462"/>
                <a:gd name="connsiteX92" fmla="*/ 576580 w 1129332"/>
                <a:gd name="connsiteY92" fmla="*/ 2141924 h 2232462"/>
                <a:gd name="connsiteX93" fmla="*/ 543224 w 1129332"/>
                <a:gd name="connsiteY93" fmla="*/ 2156220 h 2232462"/>
                <a:gd name="connsiteX94" fmla="*/ 524160 w 1129332"/>
                <a:gd name="connsiteY94" fmla="*/ 2160984 h 2232462"/>
                <a:gd name="connsiteX95" fmla="*/ 486040 w 1129332"/>
                <a:gd name="connsiteY95" fmla="*/ 2160984 h 2232462"/>
                <a:gd name="connsiteX96" fmla="*/ 452684 w 1129332"/>
                <a:gd name="connsiteY96" fmla="*/ 2170516 h 2232462"/>
                <a:gd name="connsiteX97" fmla="*/ 414564 w 1129332"/>
                <a:gd name="connsiteY97" fmla="*/ 2189576 h 2232462"/>
                <a:gd name="connsiteX98" fmla="*/ 381208 w 1129332"/>
                <a:gd name="connsiteY98" fmla="*/ 2213402 h 2232462"/>
                <a:gd name="connsiteX99" fmla="*/ 366912 w 1129332"/>
                <a:gd name="connsiteY99" fmla="*/ 2222932 h 2232462"/>
                <a:gd name="connsiteX100" fmla="*/ 352616 w 1129332"/>
                <a:gd name="connsiteY100" fmla="*/ 2227696 h 2232462"/>
                <a:gd name="connsiteX101" fmla="*/ 304968 w 1129332"/>
                <a:gd name="connsiteY101" fmla="*/ 2232462 h 2232462"/>
                <a:gd name="connsiteX102" fmla="*/ 290672 w 1129332"/>
                <a:gd name="connsiteY102" fmla="*/ 2227696 h 2232462"/>
                <a:gd name="connsiteX103" fmla="*/ 243020 w 1129332"/>
                <a:gd name="connsiteY103" fmla="*/ 2189576 h 2232462"/>
                <a:gd name="connsiteX104" fmla="*/ 223960 w 1129332"/>
                <a:gd name="connsiteY104" fmla="*/ 2184810 h 2232462"/>
                <a:gd name="connsiteX105" fmla="*/ 190604 w 1129332"/>
                <a:gd name="connsiteY105" fmla="*/ 2180046 h 2232462"/>
                <a:gd name="connsiteX106" fmla="*/ 181072 w 1129332"/>
                <a:gd name="connsiteY106" fmla="*/ 2175280 h 2232462"/>
                <a:gd name="connsiteX107" fmla="*/ 171544 w 1129332"/>
                <a:gd name="connsiteY107" fmla="*/ 2170516 h 2232462"/>
                <a:gd name="connsiteX108" fmla="*/ 157248 w 1129332"/>
                <a:gd name="connsiteY108" fmla="*/ 2151454 h 2232462"/>
                <a:gd name="connsiteX109" fmla="*/ 128656 w 1129332"/>
                <a:gd name="connsiteY109" fmla="*/ 2137160 h 2232462"/>
                <a:gd name="connsiteX110" fmla="*/ 123892 w 1129332"/>
                <a:gd name="connsiteY110" fmla="*/ 2132394 h 2232462"/>
                <a:gd name="connsiteX111" fmla="*/ 119128 w 1129332"/>
                <a:gd name="connsiteY111" fmla="*/ 2122864 h 2232462"/>
                <a:gd name="connsiteX112" fmla="*/ 114360 w 1129332"/>
                <a:gd name="connsiteY112" fmla="*/ 2108568 h 2232462"/>
                <a:gd name="connsiteX113" fmla="*/ 104832 w 1129332"/>
                <a:gd name="connsiteY113" fmla="*/ 2094274 h 2232462"/>
                <a:gd name="connsiteX114" fmla="*/ 100064 w 1129332"/>
                <a:gd name="connsiteY114" fmla="*/ 2070448 h 2232462"/>
                <a:gd name="connsiteX115" fmla="*/ 90536 w 1129332"/>
                <a:gd name="connsiteY115" fmla="*/ 2051388 h 2232462"/>
                <a:gd name="connsiteX116" fmla="*/ 66708 w 1129332"/>
                <a:gd name="connsiteY116" fmla="*/ 2022796 h 2232462"/>
                <a:gd name="connsiteX117" fmla="*/ 66708 w 1129332"/>
                <a:gd name="connsiteY117" fmla="*/ 2013266 h 2232462"/>
                <a:gd name="connsiteX118" fmla="*/ 61944 w 1129332"/>
                <a:gd name="connsiteY118" fmla="*/ 1979910 h 2232462"/>
                <a:gd name="connsiteX119" fmla="*/ 61944 w 1129332"/>
                <a:gd name="connsiteY119" fmla="*/ 1956084 h 2232462"/>
                <a:gd name="connsiteX120" fmla="*/ 61944 w 1129332"/>
                <a:gd name="connsiteY120" fmla="*/ 1917964 h 2232462"/>
                <a:gd name="connsiteX121" fmla="*/ 61944 w 1129332"/>
                <a:gd name="connsiteY121" fmla="*/ 1898904 h 2232462"/>
                <a:gd name="connsiteX122" fmla="*/ 71476 w 1129332"/>
                <a:gd name="connsiteY122" fmla="*/ 1879842 h 2232462"/>
                <a:gd name="connsiteX123" fmla="*/ 66708 w 1129332"/>
                <a:gd name="connsiteY123" fmla="*/ 1860782 h 2232462"/>
                <a:gd name="connsiteX124" fmla="*/ 57180 w 1129332"/>
                <a:gd name="connsiteY124" fmla="*/ 1841722 h 2232462"/>
                <a:gd name="connsiteX125" fmla="*/ 57180 w 1129332"/>
                <a:gd name="connsiteY125" fmla="*/ 1822660 h 2232462"/>
                <a:gd name="connsiteX126" fmla="*/ 47648 w 1129332"/>
                <a:gd name="connsiteY126" fmla="*/ 1803600 h 2232462"/>
                <a:gd name="connsiteX127" fmla="*/ 19060 w 1129332"/>
                <a:gd name="connsiteY127" fmla="*/ 1770244 h 2232462"/>
                <a:gd name="connsiteX128" fmla="*/ 14292 w 1129332"/>
                <a:gd name="connsiteY128" fmla="*/ 1755950 h 2232462"/>
                <a:gd name="connsiteX129" fmla="*/ 9528 w 1129332"/>
                <a:gd name="connsiteY129" fmla="*/ 1736888 h 2232462"/>
                <a:gd name="connsiteX130" fmla="*/ 0 w 1129332"/>
                <a:gd name="connsiteY130" fmla="*/ 1684472 h 2232462"/>
                <a:gd name="connsiteX131" fmla="*/ 0 w 1129332"/>
                <a:gd name="connsiteY131" fmla="*/ 1670176 h 2232462"/>
                <a:gd name="connsiteX132" fmla="*/ 0 w 1129332"/>
                <a:gd name="connsiteY132" fmla="*/ 1632056 h 2232462"/>
                <a:gd name="connsiteX133" fmla="*/ 4764 w 1129332"/>
                <a:gd name="connsiteY133" fmla="*/ 1608230 h 2232462"/>
                <a:gd name="connsiteX134" fmla="*/ 9528 w 1129332"/>
                <a:gd name="connsiteY134" fmla="*/ 1593934 h 2232462"/>
                <a:gd name="connsiteX135" fmla="*/ 14292 w 1129332"/>
                <a:gd name="connsiteY135" fmla="*/ 1584404 h 2232462"/>
                <a:gd name="connsiteX136" fmla="*/ 19060 w 1129332"/>
                <a:gd name="connsiteY136" fmla="*/ 1579640 h 2232462"/>
                <a:gd name="connsiteX137" fmla="*/ 23824 w 1129332"/>
                <a:gd name="connsiteY137" fmla="*/ 1570108 h 2232462"/>
                <a:gd name="connsiteX138" fmla="*/ 28588 w 1129332"/>
                <a:gd name="connsiteY138" fmla="*/ 1560578 h 2232462"/>
                <a:gd name="connsiteX139" fmla="*/ 38120 w 1129332"/>
                <a:gd name="connsiteY139" fmla="*/ 1512928 h 2232462"/>
                <a:gd name="connsiteX140" fmla="*/ 52416 w 1129332"/>
                <a:gd name="connsiteY140" fmla="*/ 1503398 h 2232462"/>
                <a:gd name="connsiteX141" fmla="*/ 71476 w 1129332"/>
                <a:gd name="connsiteY141" fmla="*/ 1493868 h 2232462"/>
                <a:gd name="connsiteX142" fmla="*/ 85772 w 1129332"/>
                <a:gd name="connsiteY142" fmla="*/ 1484336 h 2232462"/>
                <a:gd name="connsiteX143" fmla="*/ 95300 w 1129332"/>
                <a:gd name="connsiteY143" fmla="*/ 1465276 h 2232462"/>
                <a:gd name="connsiteX144" fmla="*/ 100064 w 1129332"/>
                <a:gd name="connsiteY144" fmla="*/ 1431920 h 2232462"/>
                <a:gd name="connsiteX145" fmla="*/ 123892 w 1129332"/>
                <a:gd name="connsiteY145" fmla="*/ 1393800 h 2232462"/>
                <a:gd name="connsiteX146" fmla="*/ 133420 w 1129332"/>
                <a:gd name="connsiteY146" fmla="*/ 1379504 h 2232462"/>
                <a:gd name="connsiteX147" fmla="*/ 152484 w 1129332"/>
                <a:gd name="connsiteY147" fmla="*/ 1350914 h 2232462"/>
                <a:gd name="connsiteX148" fmla="*/ 171544 w 1129332"/>
                <a:gd name="connsiteY148" fmla="*/ 1312792 h 2232462"/>
                <a:gd name="connsiteX149" fmla="*/ 176308 w 1129332"/>
                <a:gd name="connsiteY149" fmla="*/ 1293732 h 2232462"/>
                <a:gd name="connsiteX150" fmla="*/ 176308 w 1129332"/>
                <a:gd name="connsiteY150" fmla="*/ 1274672 h 2232462"/>
                <a:gd name="connsiteX151" fmla="*/ 185836 w 1129332"/>
                <a:gd name="connsiteY151" fmla="*/ 1231784 h 2232462"/>
                <a:gd name="connsiteX152" fmla="*/ 185836 w 1129332"/>
                <a:gd name="connsiteY152" fmla="*/ 1212724 h 2232462"/>
                <a:gd name="connsiteX153" fmla="*/ 185836 w 1129332"/>
                <a:gd name="connsiteY153" fmla="*/ 1193664 h 2232462"/>
                <a:gd name="connsiteX154" fmla="*/ 176308 w 1129332"/>
                <a:gd name="connsiteY154" fmla="*/ 1169838 h 2232462"/>
                <a:gd name="connsiteX155" fmla="*/ 152484 w 1129332"/>
                <a:gd name="connsiteY155" fmla="*/ 1131718 h 2232462"/>
                <a:gd name="connsiteX156" fmla="*/ 152484 w 1129332"/>
                <a:gd name="connsiteY156" fmla="*/ 1126952 h 2232462"/>
                <a:gd name="connsiteX157" fmla="*/ 152484 w 1129332"/>
                <a:gd name="connsiteY157" fmla="*/ 1098362 h 2232462"/>
                <a:gd name="connsiteX158" fmla="*/ 152484 w 1129332"/>
                <a:gd name="connsiteY158" fmla="*/ 1079300 h 2232462"/>
                <a:gd name="connsiteX159" fmla="*/ 142952 w 1129332"/>
                <a:gd name="connsiteY159" fmla="*/ 1060240 h 2232462"/>
                <a:gd name="connsiteX160" fmla="*/ 133420 w 1129332"/>
                <a:gd name="connsiteY160" fmla="*/ 1041180 h 2232462"/>
                <a:gd name="connsiteX161" fmla="*/ 123892 w 1129332"/>
                <a:gd name="connsiteY161" fmla="*/ 1003058 h 2232462"/>
                <a:gd name="connsiteX162" fmla="*/ 114360 w 1129332"/>
                <a:gd name="connsiteY162" fmla="*/ 945878 h 2232462"/>
                <a:gd name="connsiteX163" fmla="*/ 119128 w 1129332"/>
                <a:gd name="connsiteY163" fmla="*/ 922052 h 2232462"/>
                <a:gd name="connsiteX164" fmla="*/ 114360 w 1129332"/>
                <a:gd name="connsiteY164" fmla="*/ 907756 h 2232462"/>
                <a:gd name="connsiteX165" fmla="*/ 104832 w 1129332"/>
                <a:gd name="connsiteY165" fmla="*/ 888696 h 2232462"/>
                <a:gd name="connsiteX166" fmla="*/ 114360 w 1129332"/>
                <a:gd name="connsiteY166" fmla="*/ 855340 h 2232462"/>
                <a:gd name="connsiteX167" fmla="*/ 181072 w 1129332"/>
                <a:gd name="connsiteY167" fmla="*/ 745742 h 2232462"/>
                <a:gd name="connsiteX168" fmla="*/ 185836 w 1129332"/>
                <a:gd name="connsiteY168" fmla="*/ 731446 h 2232462"/>
                <a:gd name="connsiteX169" fmla="*/ 181072 w 1129332"/>
                <a:gd name="connsiteY169" fmla="*/ 698090 h 2232462"/>
                <a:gd name="connsiteX170" fmla="*/ 181072 w 1129332"/>
                <a:gd name="connsiteY170" fmla="*/ 674264 h 2232462"/>
                <a:gd name="connsiteX171" fmla="*/ 185836 w 1129332"/>
                <a:gd name="connsiteY171" fmla="*/ 669500 h 2232462"/>
                <a:gd name="connsiteX172" fmla="*/ 190604 w 1129332"/>
                <a:gd name="connsiteY172" fmla="*/ 664734 h 2232462"/>
                <a:gd name="connsiteX173" fmla="*/ 200132 w 1129332"/>
                <a:gd name="connsiteY173" fmla="*/ 664734 h 2232462"/>
                <a:gd name="connsiteX174" fmla="*/ 257316 w 1129332"/>
                <a:gd name="connsiteY174" fmla="*/ 659970 h 2232462"/>
                <a:gd name="connsiteX175" fmla="*/ 266844 w 1129332"/>
                <a:gd name="connsiteY175" fmla="*/ 655204 h 2232462"/>
                <a:gd name="connsiteX176" fmla="*/ 281140 w 1129332"/>
                <a:gd name="connsiteY176" fmla="*/ 645674 h 2232462"/>
                <a:gd name="connsiteX177" fmla="*/ 300200 w 1129332"/>
                <a:gd name="connsiteY177" fmla="*/ 626614 h 2232462"/>
                <a:gd name="connsiteX178" fmla="*/ 304968 w 1129332"/>
                <a:gd name="connsiteY178" fmla="*/ 621848 h 2232462"/>
                <a:gd name="connsiteX179" fmla="*/ 314496 w 1129332"/>
                <a:gd name="connsiteY179" fmla="*/ 621848 h 2232462"/>
                <a:gd name="connsiteX180" fmla="*/ 319260 w 1129332"/>
                <a:gd name="connsiteY180" fmla="*/ 631378 h 2232462"/>
                <a:gd name="connsiteX181" fmla="*/ 324028 w 1129332"/>
                <a:gd name="connsiteY181" fmla="*/ 636144 h 2232462"/>
                <a:gd name="connsiteX182" fmla="*/ 347852 w 1129332"/>
                <a:gd name="connsiteY182" fmla="*/ 626614 h 2232462"/>
                <a:gd name="connsiteX183" fmla="*/ 357384 w 1129332"/>
                <a:gd name="connsiteY183" fmla="*/ 626614 h 2232462"/>
                <a:gd name="connsiteX184" fmla="*/ 366912 w 1129332"/>
                <a:gd name="connsiteY184" fmla="*/ 626614 h 2232462"/>
                <a:gd name="connsiteX185" fmla="*/ 371676 w 1129332"/>
                <a:gd name="connsiteY185" fmla="*/ 621848 h 2232462"/>
                <a:gd name="connsiteX186" fmla="*/ 371676 w 1129332"/>
                <a:gd name="connsiteY186" fmla="*/ 612318 h 2232462"/>
                <a:gd name="connsiteX187" fmla="*/ 376444 w 1129332"/>
                <a:gd name="connsiteY187" fmla="*/ 602788 h 2232462"/>
                <a:gd name="connsiteX188" fmla="*/ 381208 w 1129332"/>
                <a:gd name="connsiteY188" fmla="*/ 598022 h 2232462"/>
                <a:gd name="connsiteX189" fmla="*/ 409800 w 1129332"/>
                <a:gd name="connsiteY189" fmla="*/ 598022 h 2232462"/>
                <a:gd name="connsiteX190" fmla="*/ 428860 w 1129332"/>
                <a:gd name="connsiteY190" fmla="*/ 593258 h 2232462"/>
                <a:gd name="connsiteX191" fmla="*/ 452684 w 1129332"/>
                <a:gd name="connsiteY191" fmla="*/ 588492 h 2232462"/>
                <a:gd name="connsiteX192" fmla="*/ 457452 w 1129332"/>
                <a:gd name="connsiteY192" fmla="*/ 588492 h 2232462"/>
                <a:gd name="connsiteX193" fmla="*/ 476512 w 1129332"/>
                <a:gd name="connsiteY193" fmla="*/ 612318 h 2232462"/>
                <a:gd name="connsiteX194" fmla="*/ 481276 w 1129332"/>
                <a:gd name="connsiteY194" fmla="*/ 617084 h 2232462"/>
                <a:gd name="connsiteX195" fmla="*/ 490808 w 1129332"/>
                <a:gd name="connsiteY195" fmla="*/ 617084 h 2232462"/>
                <a:gd name="connsiteX196" fmla="*/ 495572 w 1129332"/>
                <a:gd name="connsiteY196" fmla="*/ 612318 h 2232462"/>
                <a:gd name="connsiteX197" fmla="*/ 481276 w 1129332"/>
                <a:gd name="connsiteY197" fmla="*/ 598022 h 2232462"/>
                <a:gd name="connsiteX198" fmla="*/ 481276 w 1129332"/>
                <a:gd name="connsiteY198" fmla="*/ 593258 h 2232462"/>
                <a:gd name="connsiteX199" fmla="*/ 481276 w 1129332"/>
                <a:gd name="connsiteY199" fmla="*/ 583728 h 2232462"/>
                <a:gd name="connsiteX200" fmla="*/ 486040 w 1129332"/>
                <a:gd name="connsiteY200" fmla="*/ 564666 h 2232462"/>
                <a:gd name="connsiteX201" fmla="*/ 500336 w 1129332"/>
                <a:gd name="connsiteY201" fmla="*/ 550372 h 2232462"/>
                <a:gd name="connsiteX202" fmla="*/ 533692 w 1129332"/>
                <a:gd name="connsiteY202" fmla="*/ 531310 h 2232462"/>
                <a:gd name="connsiteX203" fmla="*/ 567048 w 1129332"/>
                <a:gd name="connsiteY203" fmla="*/ 502720 h 2232462"/>
                <a:gd name="connsiteX204" fmla="*/ 576580 w 1129332"/>
                <a:gd name="connsiteY204" fmla="*/ 502720 h 2232462"/>
                <a:gd name="connsiteX205" fmla="*/ 581344 w 1129332"/>
                <a:gd name="connsiteY205" fmla="*/ 507486 h 2232462"/>
                <a:gd name="connsiteX206" fmla="*/ 590872 w 1129332"/>
                <a:gd name="connsiteY206" fmla="*/ 536076 h 2232462"/>
                <a:gd name="connsiteX207" fmla="*/ 590872 w 1129332"/>
                <a:gd name="connsiteY207" fmla="*/ 540842 h 2232462"/>
                <a:gd name="connsiteX208" fmla="*/ 595640 w 1129332"/>
                <a:gd name="connsiteY208" fmla="*/ 540842 h 2232462"/>
                <a:gd name="connsiteX209" fmla="*/ 600404 w 1129332"/>
                <a:gd name="connsiteY209" fmla="*/ 536076 h 2232462"/>
                <a:gd name="connsiteX210" fmla="*/ 605168 w 1129332"/>
                <a:gd name="connsiteY210" fmla="*/ 526546 h 2232462"/>
                <a:gd name="connsiteX211" fmla="*/ 605168 w 1129332"/>
                <a:gd name="connsiteY211" fmla="*/ 517016 h 2232462"/>
                <a:gd name="connsiteX212" fmla="*/ 600404 w 1129332"/>
                <a:gd name="connsiteY212" fmla="*/ 507486 h 2232462"/>
                <a:gd name="connsiteX213" fmla="*/ 600404 w 1129332"/>
                <a:gd name="connsiteY213" fmla="*/ 497956 h 2232462"/>
                <a:gd name="connsiteX214" fmla="*/ 600404 w 1129332"/>
                <a:gd name="connsiteY214" fmla="*/ 493190 h 2232462"/>
                <a:gd name="connsiteX215" fmla="*/ 614700 w 1129332"/>
                <a:gd name="connsiteY215" fmla="*/ 474130 h 2232462"/>
                <a:gd name="connsiteX216" fmla="*/ 628996 w 1129332"/>
                <a:gd name="connsiteY216" fmla="*/ 459834 h 2232462"/>
                <a:gd name="connsiteX217" fmla="*/ 633760 w 1129332"/>
                <a:gd name="connsiteY217" fmla="*/ 440774 h 2232462"/>
                <a:gd name="connsiteX218" fmla="*/ 638524 w 1129332"/>
                <a:gd name="connsiteY218" fmla="*/ 431244 h 2232462"/>
                <a:gd name="connsiteX219" fmla="*/ 652820 w 1129332"/>
                <a:gd name="connsiteY219" fmla="*/ 421712 h 2232462"/>
                <a:gd name="connsiteX220" fmla="*/ 657584 w 1129332"/>
                <a:gd name="connsiteY220" fmla="*/ 421712 h 2232462"/>
                <a:gd name="connsiteX221" fmla="*/ 662352 w 1129332"/>
                <a:gd name="connsiteY221" fmla="*/ 431244 h 2232462"/>
                <a:gd name="connsiteX222" fmla="*/ 662352 w 1129332"/>
                <a:gd name="connsiteY222" fmla="*/ 436008 h 2232462"/>
                <a:gd name="connsiteX223" fmla="*/ 657584 w 1129332"/>
                <a:gd name="connsiteY223" fmla="*/ 445538 h 2232462"/>
                <a:gd name="connsiteX224" fmla="*/ 652820 w 1129332"/>
                <a:gd name="connsiteY224" fmla="*/ 455068 h 2232462"/>
                <a:gd name="connsiteX225" fmla="*/ 652820 w 1129332"/>
                <a:gd name="connsiteY225" fmla="*/ 469364 h 2232462"/>
                <a:gd name="connsiteX226" fmla="*/ 657584 w 1129332"/>
                <a:gd name="connsiteY226" fmla="*/ 469364 h 2232462"/>
                <a:gd name="connsiteX227" fmla="*/ 667116 w 1129332"/>
                <a:gd name="connsiteY227" fmla="*/ 464600 h 2232462"/>
                <a:gd name="connsiteX228" fmla="*/ 676648 w 1129332"/>
                <a:gd name="connsiteY228" fmla="*/ 445538 h 2232462"/>
                <a:gd name="connsiteX229" fmla="*/ 690940 w 1129332"/>
                <a:gd name="connsiteY229" fmla="*/ 426478 h 2232462"/>
                <a:gd name="connsiteX230" fmla="*/ 695708 w 1129332"/>
                <a:gd name="connsiteY230" fmla="*/ 416948 h 2232462"/>
                <a:gd name="connsiteX231" fmla="*/ 705236 w 1129332"/>
                <a:gd name="connsiteY231" fmla="*/ 407418 h 2232462"/>
                <a:gd name="connsiteX232" fmla="*/ 719532 w 1129332"/>
                <a:gd name="connsiteY232" fmla="*/ 412182 h 2232462"/>
                <a:gd name="connsiteX233" fmla="*/ 733828 w 1129332"/>
                <a:gd name="connsiteY233" fmla="*/ 416948 h 2232462"/>
                <a:gd name="connsiteX234" fmla="*/ 710000 w 1129332"/>
                <a:gd name="connsiteY234" fmla="*/ 393122 h 2232462"/>
                <a:gd name="connsiteX235" fmla="*/ 705236 w 1129332"/>
                <a:gd name="connsiteY235" fmla="*/ 364532 h 2232462"/>
                <a:gd name="connsiteX236" fmla="*/ 733828 w 1129332"/>
                <a:gd name="connsiteY236" fmla="*/ 316880 h 2232462"/>
                <a:gd name="connsiteX237" fmla="*/ 733828 w 1129332"/>
                <a:gd name="connsiteY237" fmla="*/ 307350 h 2232462"/>
                <a:gd name="connsiteX238" fmla="*/ 738592 w 1129332"/>
                <a:gd name="connsiteY238" fmla="*/ 302584 h 2232462"/>
                <a:gd name="connsiteX239" fmla="*/ 738592 w 1129332"/>
                <a:gd name="connsiteY239" fmla="*/ 297820 h 2232462"/>
                <a:gd name="connsiteX240" fmla="*/ 724296 w 1129332"/>
                <a:gd name="connsiteY240" fmla="*/ 283524 h 2232462"/>
                <a:gd name="connsiteX241" fmla="*/ 724296 w 1129332"/>
                <a:gd name="connsiteY241" fmla="*/ 273994 h 2232462"/>
                <a:gd name="connsiteX242" fmla="*/ 724296 w 1129332"/>
                <a:gd name="connsiteY242" fmla="*/ 264464 h 2232462"/>
                <a:gd name="connsiteX243" fmla="*/ 733828 w 1129332"/>
                <a:gd name="connsiteY243" fmla="*/ 250168 h 2232462"/>
                <a:gd name="connsiteX244" fmla="*/ 738592 w 1129332"/>
                <a:gd name="connsiteY244" fmla="*/ 245404 h 2232462"/>
                <a:gd name="connsiteX245" fmla="*/ 748124 w 1129332"/>
                <a:gd name="connsiteY245" fmla="*/ 240638 h 2232462"/>
                <a:gd name="connsiteX246" fmla="*/ 752888 w 1129332"/>
                <a:gd name="connsiteY246" fmla="*/ 245404 h 2232462"/>
                <a:gd name="connsiteX247" fmla="*/ 771948 w 1129332"/>
                <a:gd name="connsiteY247" fmla="*/ 259698 h 2232462"/>
                <a:gd name="connsiteX248" fmla="*/ 781480 w 1129332"/>
                <a:gd name="connsiteY248" fmla="*/ 259698 h 2232462"/>
                <a:gd name="connsiteX249" fmla="*/ 791008 w 1129332"/>
                <a:gd name="connsiteY249" fmla="*/ 250168 h 2232462"/>
                <a:gd name="connsiteX250" fmla="*/ 805304 w 1129332"/>
                <a:gd name="connsiteY250" fmla="*/ 231108 h 2232462"/>
                <a:gd name="connsiteX251" fmla="*/ 819600 w 1129332"/>
                <a:gd name="connsiteY251" fmla="*/ 221578 h 2232462"/>
                <a:gd name="connsiteX252" fmla="*/ 838660 w 1129332"/>
                <a:gd name="connsiteY252" fmla="*/ 212048 h 2232462"/>
                <a:gd name="connsiteX253" fmla="*/ 867252 w 1129332"/>
                <a:gd name="connsiteY253" fmla="*/ 188222 h 2232462"/>
                <a:gd name="connsiteX254" fmla="*/ 881548 w 1129332"/>
                <a:gd name="connsiteY254" fmla="*/ 138188 h 2232462"/>
                <a:gd name="connsiteX255" fmla="*/ 886312 w 1129332"/>
                <a:gd name="connsiteY255" fmla="*/ 123892 h 2232462"/>
                <a:gd name="connsiteX256" fmla="*/ 881548 w 1129332"/>
                <a:gd name="connsiteY256" fmla="*/ 104832 h 2232462"/>
                <a:gd name="connsiteX257" fmla="*/ 872016 w 1129332"/>
                <a:gd name="connsiteY257" fmla="*/ 85772 h 2232462"/>
                <a:gd name="connsiteX258" fmla="*/ 862484 w 1129332"/>
                <a:gd name="connsiteY258" fmla="*/ 61946 h 2232462"/>
                <a:gd name="connsiteX259" fmla="*/ 867252 w 1129332"/>
                <a:gd name="connsiteY259" fmla="*/ 57180 h 2232462"/>
                <a:gd name="connsiteX260" fmla="*/ 881548 w 1129332"/>
                <a:gd name="connsiteY260" fmla="*/ 61946 h 2232462"/>
                <a:gd name="connsiteX261" fmla="*/ 886312 w 1129332"/>
                <a:gd name="connsiteY261" fmla="*/ 57180 h 2232462"/>
                <a:gd name="connsiteX262" fmla="*/ 900608 w 1129332"/>
                <a:gd name="connsiteY262" fmla="*/ 38120 h 2232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</a:cxnLst>
              <a:rect l="l" t="t" r="r" b="b"/>
              <a:pathLst>
                <a:path w="1129332" h="2232462">
                  <a:moveTo>
                    <a:pt x="1057856" y="740976"/>
                  </a:moveTo>
                  <a:lnTo>
                    <a:pt x="1043560" y="779098"/>
                  </a:lnTo>
                  <a:lnTo>
                    <a:pt x="1024500" y="807688"/>
                  </a:lnTo>
                  <a:lnTo>
                    <a:pt x="1029264" y="783864"/>
                  </a:lnTo>
                  <a:lnTo>
                    <a:pt x="1048324" y="745742"/>
                  </a:lnTo>
                  <a:close/>
                  <a:moveTo>
                    <a:pt x="781480" y="178692"/>
                  </a:moveTo>
                  <a:lnTo>
                    <a:pt x="791008" y="178692"/>
                  </a:lnTo>
                  <a:lnTo>
                    <a:pt x="795776" y="197752"/>
                  </a:lnTo>
                  <a:lnTo>
                    <a:pt x="795776" y="202518"/>
                  </a:lnTo>
                  <a:lnTo>
                    <a:pt x="795776" y="207284"/>
                  </a:lnTo>
                  <a:lnTo>
                    <a:pt x="771948" y="207284"/>
                  </a:lnTo>
                  <a:lnTo>
                    <a:pt x="771948" y="188222"/>
                  </a:lnTo>
                  <a:lnTo>
                    <a:pt x="781480" y="188222"/>
                  </a:lnTo>
                  <a:close/>
                  <a:moveTo>
                    <a:pt x="929196" y="0"/>
                  </a:moveTo>
                  <a:lnTo>
                    <a:pt x="938728" y="0"/>
                  </a:lnTo>
                  <a:lnTo>
                    <a:pt x="943492" y="9530"/>
                  </a:lnTo>
                  <a:lnTo>
                    <a:pt x="948260" y="19060"/>
                  </a:lnTo>
                  <a:lnTo>
                    <a:pt x="953024" y="23824"/>
                  </a:lnTo>
                  <a:lnTo>
                    <a:pt x="972084" y="42886"/>
                  </a:lnTo>
                  <a:lnTo>
                    <a:pt x="981616" y="57180"/>
                  </a:lnTo>
                  <a:lnTo>
                    <a:pt x="986380" y="76242"/>
                  </a:lnTo>
                  <a:lnTo>
                    <a:pt x="995908" y="90536"/>
                  </a:lnTo>
                  <a:lnTo>
                    <a:pt x="1024500" y="128658"/>
                  </a:lnTo>
                  <a:lnTo>
                    <a:pt x="1034032" y="142952"/>
                  </a:lnTo>
                  <a:lnTo>
                    <a:pt x="1043560" y="159630"/>
                  </a:lnTo>
                  <a:lnTo>
                    <a:pt x="1048324" y="188222"/>
                  </a:lnTo>
                  <a:lnTo>
                    <a:pt x="1062620" y="240638"/>
                  </a:lnTo>
                  <a:lnTo>
                    <a:pt x="1081680" y="312114"/>
                  </a:lnTo>
                  <a:lnTo>
                    <a:pt x="1086448" y="388358"/>
                  </a:lnTo>
                  <a:lnTo>
                    <a:pt x="1091212" y="426478"/>
                  </a:lnTo>
                  <a:lnTo>
                    <a:pt x="1100744" y="455068"/>
                  </a:lnTo>
                  <a:lnTo>
                    <a:pt x="1119804" y="493190"/>
                  </a:lnTo>
                  <a:lnTo>
                    <a:pt x="1129332" y="531310"/>
                  </a:lnTo>
                  <a:lnTo>
                    <a:pt x="1115036" y="569432"/>
                  </a:lnTo>
                  <a:lnTo>
                    <a:pt x="1100744" y="607552"/>
                  </a:lnTo>
                  <a:lnTo>
                    <a:pt x="1095976" y="612318"/>
                  </a:lnTo>
                  <a:lnTo>
                    <a:pt x="1086448" y="621848"/>
                  </a:lnTo>
                  <a:lnTo>
                    <a:pt x="1081680" y="621848"/>
                  </a:lnTo>
                  <a:lnTo>
                    <a:pt x="1067388" y="612318"/>
                  </a:lnTo>
                  <a:lnTo>
                    <a:pt x="1057856" y="598022"/>
                  </a:lnTo>
                  <a:lnTo>
                    <a:pt x="1043560" y="559902"/>
                  </a:lnTo>
                  <a:lnTo>
                    <a:pt x="1034032" y="540842"/>
                  </a:lnTo>
                  <a:lnTo>
                    <a:pt x="1029264" y="540842"/>
                  </a:lnTo>
                  <a:lnTo>
                    <a:pt x="1014968" y="540842"/>
                  </a:lnTo>
                  <a:lnTo>
                    <a:pt x="1000676" y="550372"/>
                  </a:lnTo>
                  <a:lnTo>
                    <a:pt x="995908" y="559902"/>
                  </a:lnTo>
                  <a:lnTo>
                    <a:pt x="1000676" y="578962"/>
                  </a:lnTo>
                  <a:lnTo>
                    <a:pt x="1005440" y="598022"/>
                  </a:lnTo>
                  <a:lnTo>
                    <a:pt x="1005440" y="617084"/>
                  </a:lnTo>
                  <a:lnTo>
                    <a:pt x="1010204" y="640908"/>
                  </a:lnTo>
                  <a:lnTo>
                    <a:pt x="1014968" y="650440"/>
                  </a:lnTo>
                  <a:lnTo>
                    <a:pt x="1019736" y="655204"/>
                  </a:lnTo>
                  <a:lnTo>
                    <a:pt x="1024500" y="669500"/>
                  </a:lnTo>
                  <a:lnTo>
                    <a:pt x="1029264" y="707620"/>
                  </a:lnTo>
                  <a:lnTo>
                    <a:pt x="1024500" y="726682"/>
                  </a:lnTo>
                  <a:lnTo>
                    <a:pt x="1010204" y="745742"/>
                  </a:lnTo>
                  <a:lnTo>
                    <a:pt x="1010204" y="755272"/>
                  </a:lnTo>
                  <a:lnTo>
                    <a:pt x="1014968" y="764802"/>
                  </a:lnTo>
                  <a:lnTo>
                    <a:pt x="1010204" y="769568"/>
                  </a:lnTo>
                  <a:lnTo>
                    <a:pt x="995908" y="774332"/>
                  </a:lnTo>
                  <a:lnTo>
                    <a:pt x="991144" y="783862"/>
                  </a:lnTo>
                  <a:lnTo>
                    <a:pt x="981616" y="798158"/>
                  </a:lnTo>
                  <a:lnTo>
                    <a:pt x="967320" y="831514"/>
                  </a:lnTo>
                  <a:lnTo>
                    <a:pt x="967320" y="850574"/>
                  </a:lnTo>
                  <a:lnTo>
                    <a:pt x="972084" y="902992"/>
                  </a:lnTo>
                  <a:lnTo>
                    <a:pt x="972084" y="941112"/>
                  </a:lnTo>
                  <a:lnTo>
                    <a:pt x="953024" y="1012588"/>
                  </a:lnTo>
                  <a:lnTo>
                    <a:pt x="943492" y="1045944"/>
                  </a:lnTo>
                  <a:lnTo>
                    <a:pt x="929196" y="1088832"/>
                  </a:lnTo>
                  <a:lnTo>
                    <a:pt x="905372" y="1141248"/>
                  </a:lnTo>
                  <a:lnTo>
                    <a:pt x="886312" y="1207960"/>
                  </a:lnTo>
                  <a:lnTo>
                    <a:pt x="867252" y="1279436"/>
                  </a:lnTo>
                  <a:lnTo>
                    <a:pt x="852956" y="1322322"/>
                  </a:lnTo>
                  <a:lnTo>
                    <a:pt x="833896" y="1365208"/>
                  </a:lnTo>
                  <a:lnTo>
                    <a:pt x="814836" y="1436686"/>
                  </a:lnTo>
                  <a:lnTo>
                    <a:pt x="795776" y="1512928"/>
                  </a:lnTo>
                  <a:lnTo>
                    <a:pt x="767184" y="1593934"/>
                  </a:lnTo>
                  <a:lnTo>
                    <a:pt x="729064" y="1689238"/>
                  </a:lnTo>
                  <a:lnTo>
                    <a:pt x="724296" y="1698768"/>
                  </a:lnTo>
                  <a:lnTo>
                    <a:pt x="719532" y="1746418"/>
                  </a:lnTo>
                  <a:lnTo>
                    <a:pt x="710000" y="1789304"/>
                  </a:lnTo>
                  <a:lnTo>
                    <a:pt x="700472" y="1832192"/>
                  </a:lnTo>
                  <a:lnTo>
                    <a:pt x="676648" y="1898904"/>
                  </a:lnTo>
                  <a:lnTo>
                    <a:pt x="676648" y="1917964"/>
                  </a:lnTo>
                  <a:lnTo>
                    <a:pt x="671880" y="1941790"/>
                  </a:lnTo>
                  <a:lnTo>
                    <a:pt x="652820" y="1979910"/>
                  </a:lnTo>
                  <a:lnTo>
                    <a:pt x="643292" y="1998970"/>
                  </a:lnTo>
                  <a:lnTo>
                    <a:pt x="638524" y="2013266"/>
                  </a:lnTo>
                  <a:lnTo>
                    <a:pt x="633760" y="2037092"/>
                  </a:lnTo>
                  <a:lnTo>
                    <a:pt x="628996" y="2056152"/>
                  </a:lnTo>
                  <a:lnTo>
                    <a:pt x="609936" y="2094274"/>
                  </a:lnTo>
                  <a:lnTo>
                    <a:pt x="590872" y="2127630"/>
                  </a:lnTo>
                  <a:lnTo>
                    <a:pt x="576580" y="2141924"/>
                  </a:lnTo>
                  <a:lnTo>
                    <a:pt x="543224" y="2156220"/>
                  </a:lnTo>
                  <a:lnTo>
                    <a:pt x="524160" y="2160984"/>
                  </a:lnTo>
                  <a:lnTo>
                    <a:pt x="486040" y="2160984"/>
                  </a:lnTo>
                  <a:lnTo>
                    <a:pt x="452684" y="2170516"/>
                  </a:lnTo>
                  <a:lnTo>
                    <a:pt x="414564" y="2189576"/>
                  </a:lnTo>
                  <a:lnTo>
                    <a:pt x="381208" y="2213402"/>
                  </a:lnTo>
                  <a:lnTo>
                    <a:pt x="366912" y="2222932"/>
                  </a:lnTo>
                  <a:lnTo>
                    <a:pt x="352616" y="2227696"/>
                  </a:lnTo>
                  <a:lnTo>
                    <a:pt x="304968" y="2232462"/>
                  </a:lnTo>
                  <a:lnTo>
                    <a:pt x="290672" y="2227696"/>
                  </a:lnTo>
                  <a:lnTo>
                    <a:pt x="243020" y="2189576"/>
                  </a:lnTo>
                  <a:lnTo>
                    <a:pt x="223960" y="2184810"/>
                  </a:lnTo>
                  <a:lnTo>
                    <a:pt x="190604" y="2180046"/>
                  </a:lnTo>
                  <a:lnTo>
                    <a:pt x="181072" y="2175280"/>
                  </a:lnTo>
                  <a:lnTo>
                    <a:pt x="171544" y="2170516"/>
                  </a:lnTo>
                  <a:lnTo>
                    <a:pt x="157248" y="2151454"/>
                  </a:lnTo>
                  <a:lnTo>
                    <a:pt x="128656" y="2137160"/>
                  </a:lnTo>
                  <a:lnTo>
                    <a:pt x="123892" y="2132394"/>
                  </a:lnTo>
                  <a:lnTo>
                    <a:pt x="119128" y="2122864"/>
                  </a:lnTo>
                  <a:lnTo>
                    <a:pt x="114360" y="2108568"/>
                  </a:lnTo>
                  <a:lnTo>
                    <a:pt x="104832" y="2094274"/>
                  </a:lnTo>
                  <a:lnTo>
                    <a:pt x="100064" y="2070448"/>
                  </a:lnTo>
                  <a:lnTo>
                    <a:pt x="90536" y="2051388"/>
                  </a:lnTo>
                  <a:lnTo>
                    <a:pt x="66708" y="2022796"/>
                  </a:lnTo>
                  <a:lnTo>
                    <a:pt x="66708" y="2013266"/>
                  </a:lnTo>
                  <a:lnTo>
                    <a:pt x="61944" y="1979910"/>
                  </a:lnTo>
                  <a:lnTo>
                    <a:pt x="61944" y="1956084"/>
                  </a:lnTo>
                  <a:lnTo>
                    <a:pt x="61944" y="1917964"/>
                  </a:lnTo>
                  <a:lnTo>
                    <a:pt x="61944" y="1898904"/>
                  </a:lnTo>
                  <a:lnTo>
                    <a:pt x="71476" y="1879842"/>
                  </a:lnTo>
                  <a:lnTo>
                    <a:pt x="66708" y="1860782"/>
                  </a:lnTo>
                  <a:lnTo>
                    <a:pt x="57180" y="1841722"/>
                  </a:lnTo>
                  <a:lnTo>
                    <a:pt x="57180" y="1822660"/>
                  </a:lnTo>
                  <a:lnTo>
                    <a:pt x="47648" y="1803600"/>
                  </a:lnTo>
                  <a:lnTo>
                    <a:pt x="19060" y="1770244"/>
                  </a:lnTo>
                  <a:lnTo>
                    <a:pt x="14292" y="1755950"/>
                  </a:lnTo>
                  <a:lnTo>
                    <a:pt x="9528" y="1736888"/>
                  </a:lnTo>
                  <a:lnTo>
                    <a:pt x="0" y="1684472"/>
                  </a:lnTo>
                  <a:lnTo>
                    <a:pt x="0" y="1670176"/>
                  </a:lnTo>
                  <a:lnTo>
                    <a:pt x="0" y="1632056"/>
                  </a:lnTo>
                  <a:lnTo>
                    <a:pt x="4764" y="1608230"/>
                  </a:lnTo>
                  <a:lnTo>
                    <a:pt x="9528" y="1593934"/>
                  </a:lnTo>
                  <a:lnTo>
                    <a:pt x="14292" y="1584404"/>
                  </a:lnTo>
                  <a:lnTo>
                    <a:pt x="19060" y="1579640"/>
                  </a:lnTo>
                  <a:lnTo>
                    <a:pt x="23824" y="1570108"/>
                  </a:lnTo>
                  <a:lnTo>
                    <a:pt x="28588" y="1560578"/>
                  </a:lnTo>
                  <a:lnTo>
                    <a:pt x="38120" y="1512928"/>
                  </a:lnTo>
                  <a:lnTo>
                    <a:pt x="52416" y="1503398"/>
                  </a:lnTo>
                  <a:lnTo>
                    <a:pt x="71476" y="1493868"/>
                  </a:lnTo>
                  <a:lnTo>
                    <a:pt x="85772" y="1484336"/>
                  </a:lnTo>
                  <a:lnTo>
                    <a:pt x="95300" y="1465276"/>
                  </a:lnTo>
                  <a:lnTo>
                    <a:pt x="100064" y="1431920"/>
                  </a:lnTo>
                  <a:lnTo>
                    <a:pt x="123892" y="1393800"/>
                  </a:lnTo>
                  <a:lnTo>
                    <a:pt x="133420" y="1379504"/>
                  </a:lnTo>
                  <a:lnTo>
                    <a:pt x="152484" y="1350914"/>
                  </a:lnTo>
                  <a:lnTo>
                    <a:pt x="171544" y="1312792"/>
                  </a:lnTo>
                  <a:lnTo>
                    <a:pt x="176308" y="1293732"/>
                  </a:lnTo>
                  <a:lnTo>
                    <a:pt x="176308" y="1274672"/>
                  </a:lnTo>
                  <a:lnTo>
                    <a:pt x="185836" y="1231784"/>
                  </a:lnTo>
                  <a:lnTo>
                    <a:pt x="185836" y="1212724"/>
                  </a:lnTo>
                  <a:lnTo>
                    <a:pt x="185836" y="1193664"/>
                  </a:lnTo>
                  <a:lnTo>
                    <a:pt x="176308" y="1169838"/>
                  </a:lnTo>
                  <a:lnTo>
                    <a:pt x="152484" y="1131718"/>
                  </a:lnTo>
                  <a:lnTo>
                    <a:pt x="152484" y="1126952"/>
                  </a:lnTo>
                  <a:lnTo>
                    <a:pt x="152484" y="1098362"/>
                  </a:lnTo>
                  <a:lnTo>
                    <a:pt x="152484" y="1079300"/>
                  </a:lnTo>
                  <a:lnTo>
                    <a:pt x="142952" y="1060240"/>
                  </a:lnTo>
                  <a:lnTo>
                    <a:pt x="133420" y="1041180"/>
                  </a:lnTo>
                  <a:lnTo>
                    <a:pt x="123892" y="1003058"/>
                  </a:lnTo>
                  <a:lnTo>
                    <a:pt x="114360" y="945878"/>
                  </a:lnTo>
                  <a:lnTo>
                    <a:pt x="119128" y="922052"/>
                  </a:lnTo>
                  <a:lnTo>
                    <a:pt x="114360" y="907756"/>
                  </a:lnTo>
                  <a:lnTo>
                    <a:pt x="104832" y="888696"/>
                  </a:lnTo>
                  <a:lnTo>
                    <a:pt x="114360" y="855340"/>
                  </a:lnTo>
                  <a:lnTo>
                    <a:pt x="181072" y="745742"/>
                  </a:lnTo>
                  <a:lnTo>
                    <a:pt x="185836" y="731446"/>
                  </a:lnTo>
                  <a:lnTo>
                    <a:pt x="181072" y="698090"/>
                  </a:lnTo>
                  <a:lnTo>
                    <a:pt x="181072" y="674264"/>
                  </a:lnTo>
                  <a:lnTo>
                    <a:pt x="185836" y="669500"/>
                  </a:lnTo>
                  <a:lnTo>
                    <a:pt x="190604" y="664734"/>
                  </a:lnTo>
                  <a:lnTo>
                    <a:pt x="200132" y="664734"/>
                  </a:lnTo>
                  <a:lnTo>
                    <a:pt x="257316" y="659970"/>
                  </a:lnTo>
                  <a:lnTo>
                    <a:pt x="266844" y="655204"/>
                  </a:lnTo>
                  <a:lnTo>
                    <a:pt x="281140" y="645674"/>
                  </a:lnTo>
                  <a:lnTo>
                    <a:pt x="300200" y="626614"/>
                  </a:lnTo>
                  <a:lnTo>
                    <a:pt x="304968" y="621848"/>
                  </a:lnTo>
                  <a:lnTo>
                    <a:pt x="314496" y="621848"/>
                  </a:lnTo>
                  <a:lnTo>
                    <a:pt x="319260" y="631378"/>
                  </a:lnTo>
                  <a:lnTo>
                    <a:pt x="324028" y="636144"/>
                  </a:lnTo>
                  <a:lnTo>
                    <a:pt x="347852" y="626614"/>
                  </a:lnTo>
                  <a:lnTo>
                    <a:pt x="357384" y="626614"/>
                  </a:lnTo>
                  <a:lnTo>
                    <a:pt x="366912" y="626614"/>
                  </a:lnTo>
                  <a:lnTo>
                    <a:pt x="371676" y="621848"/>
                  </a:lnTo>
                  <a:lnTo>
                    <a:pt x="371676" y="612318"/>
                  </a:lnTo>
                  <a:lnTo>
                    <a:pt x="376444" y="602788"/>
                  </a:lnTo>
                  <a:lnTo>
                    <a:pt x="381208" y="598022"/>
                  </a:lnTo>
                  <a:lnTo>
                    <a:pt x="409800" y="598022"/>
                  </a:lnTo>
                  <a:lnTo>
                    <a:pt x="428860" y="593258"/>
                  </a:lnTo>
                  <a:lnTo>
                    <a:pt x="452684" y="588492"/>
                  </a:lnTo>
                  <a:lnTo>
                    <a:pt x="457452" y="588492"/>
                  </a:lnTo>
                  <a:lnTo>
                    <a:pt x="476512" y="612318"/>
                  </a:lnTo>
                  <a:lnTo>
                    <a:pt x="481276" y="617084"/>
                  </a:lnTo>
                  <a:lnTo>
                    <a:pt x="490808" y="617084"/>
                  </a:lnTo>
                  <a:lnTo>
                    <a:pt x="495572" y="612318"/>
                  </a:lnTo>
                  <a:lnTo>
                    <a:pt x="481276" y="598022"/>
                  </a:lnTo>
                  <a:lnTo>
                    <a:pt x="481276" y="593258"/>
                  </a:lnTo>
                  <a:lnTo>
                    <a:pt x="481276" y="583728"/>
                  </a:lnTo>
                  <a:lnTo>
                    <a:pt x="486040" y="564666"/>
                  </a:lnTo>
                  <a:lnTo>
                    <a:pt x="500336" y="550372"/>
                  </a:lnTo>
                  <a:lnTo>
                    <a:pt x="533692" y="531310"/>
                  </a:lnTo>
                  <a:lnTo>
                    <a:pt x="567048" y="502720"/>
                  </a:lnTo>
                  <a:lnTo>
                    <a:pt x="576580" y="502720"/>
                  </a:lnTo>
                  <a:lnTo>
                    <a:pt x="581344" y="507486"/>
                  </a:lnTo>
                  <a:lnTo>
                    <a:pt x="590872" y="536076"/>
                  </a:lnTo>
                  <a:lnTo>
                    <a:pt x="590872" y="540842"/>
                  </a:lnTo>
                  <a:lnTo>
                    <a:pt x="595640" y="540842"/>
                  </a:lnTo>
                  <a:lnTo>
                    <a:pt x="600404" y="536076"/>
                  </a:lnTo>
                  <a:lnTo>
                    <a:pt x="605168" y="526546"/>
                  </a:lnTo>
                  <a:lnTo>
                    <a:pt x="605168" y="517016"/>
                  </a:lnTo>
                  <a:lnTo>
                    <a:pt x="600404" y="507486"/>
                  </a:lnTo>
                  <a:lnTo>
                    <a:pt x="600404" y="497956"/>
                  </a:lnTo>
                  <a:lnTo>
                    <a:pt x="600404" y="493190"/>
                  </a:lnTo>
                  <a:lnTo>
                    <a:pt x="614700" y="474130"/>
                  </a:lnTo>
                  <a:lnTo>
                    <a:pt x="628996" y="459834"/>
                  </a:lnTo>
                  <a:lnTo>
                    <a:pt x="633760" y="440774"/>
                  </a:lnTo>
                  <a:lnTo>
                    <a:pt x="638524" y="431244"/>
                  </a:lnTo>
                  <a:lnTo>
                    <a:pt x="652820" y="421712"/>
                  </a:lnTo>
                  <a:lnTo>
                    <a:pt x="657584" y="421712"/>
                  </a:lnTo>
                  <a:lnTo>
                    <a:pt x="662352" y="431244"/>
                  </a:lnTo>
                  <a:lnTo>
                    <a:pt x="662352" y="436008"/>
                  </a:lnTo>
                  <a:lnTo>
                    <a:pt x="657584" y="445538"/>
                  </a:lnTo>
                  <a:lnTo>
                    <a:pt x="652820" y="455068"/>
                  </a:lnTo>
                  <a:lnTo>
                    <a:pt x="652820" y="469364"/>
                  </a:lnTo>
                  <a:lnTo>
                    <a:pt x="657584" y="469364"/>
                  </a:lnTo>
                  <a:lnTo>
                    <a:pt x="667116" y="464600"/>
                  </a:lnTo>
                  <a:lnTo>
                    <a:pt x="676648" y="445538"/>
                  </a:lnTo>
                  <a:lnTo>
                    <a:pt x="690940" y="426478"/>
                  </a:lnTo>
                  <a:lnTo>
                    <a:pt x="695708" y="416948"/>
                  </a:lnTo>
                  <a:lnTo>
                    <a:pt x="705236" y="407418"/>
                  </a:lnTo>
                  <a:lnTo>
                    <a:pt x="719532" y="412182"/>
                  </a:lnTo>
                  <a:lnTo>
                    <a:pt x="733828" y="416948"/>
                  </a:lnTo>
                  <a:lnTo>
                    <a:pt x="710000" y="393122"/>
                  </a:lnTo>
                  <a:lnTo>
                    <a:pt x="705236" y="364532"/>
                  </a:lnTo>
                  <a:lnTo>
                    <a:pt x="733828" y="316880"/>
                  </a:lnTo>
                  <a:lnTo>
                    <a:pt x="733828" y="307350"/>
                  </a:lnTo>
                  <a:lnTo>
                    <a:pt x="738592" y="302584"/>
                  </a:lnTo>
                  <a:lnTo>
                    <a:pt x="738592" y="297820"/>
                  </a:lnTo>
                  <a:lnTo>
                    <a:pt x="724296" y="283524"/>
                  </a:lnTo>
                  <a:lnTo>
                    <a:pt x="724296" y="273994"/>
                  </a:lnTo>
                  <a:lnTo>
                    <a:pt x="724296" y="264464"/>
                  </a:lnTo>
                  <a:lnTo>
                    <a:pt x="733828" y="250168"/>
                  </a:lnTo>
                  <a:lnTo>
                    <a:pt x="738592" y="245404"/>
                  </a:lnTo>
                  <a:lnTo>
                    <a:pt x="748124" y="240638"/>
                  </a:lnTo>
                  <a:lnTo>
                    <a:pt x="752888" y="245404"/>
                  </a:lnTo>
                  <a:lnTo>
                    <a:pt x="771948" y="259698"/>
                  </a:lnTo>
                  <a:lnTo>
                    <a:pt x="781480" y="259698"/>
                  </a:lnTo>
                  <a:lnTo>
                    <a:pt x="791008" y="250168"/>
                  </a:lnTo>
                  <a:lnTo>
                    <a:pt x="805304" y="231108"/>
                  </a:lnTo>
                  <a:lnTo>
                    <a:pt x="819600" y="221578"/>
                  </a:lnTo>
                  <a:lnTo>
                    <a:pt x="838660" y="212048"/>
                  </a:lnTo>
                  <a:lnTo>
                    <a:pt x="867252" y="188222"/>
                  </a:lnTo>
                  <a:lnTo>
                    <a:pt x="881548" y="138188"/>
                  </a:lnTo>
                  <a:lnTo>
                    <a:pt x="886312" y="123892"/>
                  </a:lnTo>
                  <a:lnTo>
                    <a:pt x="881548" y="104832"/>
                  </a:lnTo>
                  <a:lnTo>
                    <a:pt x="872016" y="85772"/>
                  </a:lnTo>
                  <a:lnTo>
                    <a:pt x="862484" y="61946"/>
                  </a:lnTo>
                  <a:lnTo>
                    <a:pt x="867252" y="57180"/>
                  </a:lnTo>
                  <a:lnTo>
                    <a:pt x="881548" y="61946"/>
                  </a:lnTo>
                  <a:lnTo>
                    <a:pt x="886312" y="57180"/>
                  </a:lnTo>
                  <a:lnTo>
                    <a:pt x="900608" y="3812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1" name="Line 5645">
              <a:extLst>
                <a:ext uri="{FF2B5EF4-FFF2-40B4-BE49-F238E27FC236}">
                  <a16:creationId xmlns:a16="http://schemas.microsoft.com/office/drawing/2014/main" id="{7ED93BE9-3C80-4C1A-8613-7CBED2BB1E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550357" y="5726242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2" name="Line 5649">
              <a:extLst>
                <a:ext uri="{FF2B5EF4-FFF2-40B4-BE49-F238E27FC236}">
                  <a16:creationId xmlns:a16="http://schemas.microsoft.com/office/drawing/2014/main" id="{3FD1C8CE-5CF1-4620-AE8D-C78FA73E9E1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550357" y="5726242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3" name="Freeform 211">
              <a:extLst>
                <a:ext uri="{FF2B5EF4-FFF2-40B4-BE49-F238E27FC236}">
                  <a16:creationId xmlns:a16="http://schemas.microsoft.com/office/drawing/2014/main" id="{DD8A3DEC-9489-43C9-89DF-2274CCDF8742}"/>
                </a:ext>
              </a:extLst>
            </p:cNvPr>
            <p:cNvSpPr/>
            <p:nvPr/>
          </p:nvSpPr>
          <p:spPr bwMode="auto">
            <a:xfrm>
              <a:off x="2307066" y="4533695"/>
              <a:ext cx="800941" cy="504153"/>
            </a:xfrm>
            <a:custGeom>
              <a:avLst/>
              <a:gdLst>
                <a:gd name="connsiteX0" fmla="*/ 4188547 w 4950967"/>
                <a:gd name="connsiteY0" fmla="*/ 2425452 h 3116392"/>
                <a:gd name="connsiteX1" fmla="*/ 4193312 w 4950967"/>
                <a:gd name="connsiteY1" fmla="*/ 2430216 h 3116392"/>
                <a:gd name="connsiteX2" fmla="*/ 4198077 w 4950967"/>
                <a:gd name="connsiteY2" fmla="*/ 2430216 h 3116392"/>
                <a:gd name="connsiteX3" fmla="*/ 4179017 w 4950967"/>
                <a:gd name="connsiteY3" fmla="*/ 2439744 h 3116392"/>
                <a:gd name="connsiteX4" fmla="*/ 4174252 w 4950967"/>
                <a:gd name="connsiteY4" fmla="*/ 2444512 h 3116392"/>
                <a:gd name="connsiteX5" fmla="*/ 4155191 w 4950967"/>
                <a:gd name="connsiteY5" fmla="*/ 2449276 h 3116392"/>
                <a:gd name="connsiteX6" fmla="*/ 4150426 w 4950967"/>
                <a:gd name="connsiteY6" fmla="*/ 2444512 h 3116392"/>
                <a:gd name="connsiteX7" fmla="*/ 1157927 w 4950967"/>
                <a:gd name="connsiteY7" fmla="*/ 2411156 h 3116392"/>
                <a:gd name="connsiteX8" fmla="*/ 1162692 w 4950967"/>
                <a:gd name="connsiteY8" fmla="*/ 2425450 h 3116392"/>
                <a:gd name="connsiteX9" fmla="*/ 1167457 w 4950967"/>
                <a:gd name="connsiteY9" fmla="*/ 2434980 h 3116392"/>
                <a:gd name="connsiteX10" fmla="*/ 1157927 w 4950967"/>
                <a:gd name="connsiteY10" fmla="*/ 2434980 h 3116392"/>
                <a:gd name="connsiteX11" fmla="*/ 1143631 w 4950967"/>
                <a:gd name="connsiteY11" fmla="*/ 2425450 h 3116392"/>
                <a:gd name="connsiteX12" fmla="*/ 1148396 w 4950967"/>
                <a:gd name="connsiteY12" fmla="*/ 2420686 h 3116392"/>
                <a:gd name="connsiteX13" fmla="*/ 4931907 w 4950967"/>
                <a:gd name="connsiteY13" fmla="*/ 2130012 h 3116392"/>
                <a:gd name="connsiteX14" fmla="*/ 4941437 w 4950967"/>
                <a:gd name="connsiteY14" fmla="*/ 2130012 h 3116392"/>
                <a:gd name="connsiteX15" fmla="*/ 4941437 w 4950967"/>
                <a:gd name="connsiteY15" fmla="*/ 2134776 h 3116392"/>
                <a:gd name="connsiteX16" fmla="*/ 4936672 w 4950967"/>
                <a:gd name="connsiteY16" fmla="*/ 2149072 h 3116392"/>
                <a:gd name="connsiteX17" fmla="*/ 4912846 w 4950967"/>
                <a:gd name="connsiteY17" fmla="*/ 2172896 h 3116392"/>
                <a:gd name="connsiteX18" fmla="*/ 4908081 w 4950967"/>
                <a:gd name="connsiteY18" fmla="*/ 2177664 h 3116392"/>
                <a:gd name="connsiteX19" fmla="*/ 4903316 w 4950967"/>
                <a:gd name="connsiteY19" fmla="*/ 2163368 h 3116392"/>
                <a:gd name="connsiteX20" fmla="*/ 4908081 w 4950967"/>
                <a:gd name="connsiteY20" fmla="*/ 2144308 h 3116392"/>
                <a:gd name="connsiteX21" fmla="*/ 4917611 w 4950967"/>
                <a:gd name="connsiteY21" fmla="*/ 2134776 h 3116392"/>
                <a:gd name="connsiteX22" fmla="*/ 4941437 w 4950967"/>
                <a:gd name="connsiteY22" fmla="*/ 2010884 h 3116392"/>
                <a:gd name="connsiteX23" fmla="*/ 4946202 w 4950967"/>
                <a:gd name="connsiteY23" fmla="*/ 2010884 h 3116392"/>
                <a:gd name="connsiteX24" fmla="*/ 4950967 w 4950967"/>
                <a:gd name="connsiteY24" fmla="*/ 2020416 h 3116392"/>
                <a:gd name="connsiteX25" fmla="*/ 4950967 w 4950967"/>
                <a:gd name="connsiteY25" fmla="*/ 2025180 h 3116392"/>
                <a:gd name="connsiteX26" fmla="*/ 4946202 w 4950967"/>
                <a:gd name="connsiteY26" fmla="*/ 2020416 h 3116392"/>
                <a:gd name="connsiteX27" fmla="*/ 1839339 w 4950967"/>
                <a:gd name="connsiteY27" fmla="*/ 1939408 h 3116392"/>
                <a:gd name="connsiteX28" fmla="*/ 1844104 w 4950967"/>
                <a:gd name="connsiteY28" fmla="*/ 1939408 h 3116392"/>
                <a:gd name="connsiteX29" fmla="*/ 1853635 w 4950967"/>
                <a:gd name="connsiteY29" fmla="*/ 1944174 h 3116392"/>
                <a:gd name="connsiteX30" fmla="*/ 1853635 w 4950967"/>
                <a:gd name="connsiteY30" fmla="*/ 1948938 h 3116392"/>
                <a:gd name="connsiteX31" fmla="*/ 1858400 w 4950967"/>
                <a:gd name="connsiteY31" fmla="*/ 1953704 h 3116392"/>
                <a:gd name="connsiteX32" fmla="*/ 1853635 w 4950967"/>
                <a:gd name="connsiteY32" fmla="*/ 1968000 h 3116392"/>
                <a:gd name="connsiteX33" fmla="*/ 1844104 w 4950967"/>
                <a:gd name="connsiteY33" fmla="*/ 1963234 h 3116392"/>
                <a:gd name="connsiteX34" fmla="*/ 1839339 w 4950967"/>
                <a:gd name="connsiteY34" fmla="*/ 1953704 h 3116392"/>
                <a:gd name="connsiteX35" fmla="*/ 1329471 w 4950967"/>
                <a:gd name="connsiteY35" fmla="*/ 1491486 h 3116392"/>
                <a:gd name="connsiteX36" fmla="*/ 1343766 w 4950967"/>
                <a:gd name="connsiteY36" fmla="*/ 1520076 h 3116392"/>
                <a:gd name="connsiteX37" fmla="*/ 1343766 w 4950967"/>
                <a:gd name="connsiteY37" fmla="*/ 1524842 h 3116392"/>
                <a:gd name="connsiteX38" fmla="*/ 1339001 w 4950967"/>
                <a:gd name="connsiteY38" fmla="*/ 1524842 h 3116392"/>
                <a:gd name="connsiteX39" fmla="*/ 1329471 w 4950967"/>
                <a:gd name="connsiteY39" fmla="*/ 1515312 h 3116392"/>
                <a:gd name="connsiteX40" fmla="*/ 1329471 w 4950967"/>
                <a:gd name="connsiteY40" fmla="*/ 1496252 h 3116392"/>
                <a:gd name="connsiteX41" fmla="*/ 995912 w 4950967"/>
                <a:gd name="connsiteY41" fmla="*/ 1458130 h 3116392"/>
                <a:gd name="connsiteX42" fmla="*/ 1010207 w 4950967"/>
                <a:gd name="connsiteY42" fmla="*/ 1458130 h 3116392"/>
                <a:gd name="connsiteX43" fmla="*/ 1024503 w 4950967"/>
                <a:gd name="connsiteY43" fmla="*/ 1458130 h 3116392"/>
                <a:gd name="connsiteX44" fmla="*/ 1048328 w 4950967"/>
                <a:gd name="connsiteY44" fmla="*/ 1481956 h 3116392"/>
                <a:gd name="connsiteX45" fmla="*/ 1043563 w 4950967"/>
                <a:gd name="connsiteY45" fmla="*/ 1491486 h 3116392"/>
                <a:gd name="connsiteX46" fmla="*/ 1205577 w 4950967"/>
                <a:gd name="connsiteY46" fmla="*/ 1362828 h 3116392"/>
                <a:gd name="connsiteX47" fmla="*/ 1219873 w 4950967"/>
                <a:gd name="connsiteY47" fmla="*/ 1372358 h 3116392"/>
                <a:gd name="connsiteX48" fmla="*/ 1224638 w 4950967"/>
                <a:gd name="connsiteY48" fmla="*/ 1377122 h 3116392"/>
                <a:gd name="connsiteX49" fmla="*/ 1229403 w 4950967"/>
                <a:gd name="connsiteY49" fmla="*/ 1396184 h 3116392"/>
                <a:gd name="connsiteX50" fmla="*/ 1219873 w 4950967"/>
                <a:gd name="connsiteY50" fmla="*/ 1396184 h 3116392"/>
                <a:gd name="connsiteX51" fmla="*/ 1210342 w 4950967"/>
                <a:gd name="connsiteY51" fmla="*/ 1386652 h 3116392"/>
                <a:gd name="connsiteX52" fmla="*/ 1200812 w 4950967"/>
                <a:gd name="connsiteY52" fmla="*/ 1372358 h 3116392"/>
                <a:gd name="connsiteX53" fmla="*/ 1200812 w 4950967"/>
                <a:gd name="connsiteY53" fmla="*/ 1367592 h 3116392"/>
                <a:gd name="connsiteX54" fmla="*/ 976852 w 4950967"/>
                <a:gd name="connsiteY54" fmla="*/ 1329472 h 3116392"/>
                <a:gd name="connsiteX55" fmla="*/ 981617 w 4950967"/>
                <a:gd name="connsiteY55" fmla="*/ 1339002 h 3116392"/>
                <a:gd name="connsiteX56" fmla="*/ 967321 w 4950967"/>
                <a:gd name="connsiteY56" fmla="*/ 1400948 h 3116392"/>
                <a:gd name="connsiteX57" fmla="*/ 967321 w 4950967"/>
                <a:gd name="connsiteY57" fmla="*/ 1405714 h 3116392"/>
                <a:gd name="connsiteX58" fmla="*/ 976852 w 4950967"/>
                <a:gd name="connsiteY58" fmla="*/ 1415244 h 3116392"/>
                <a:gd name="connsiteX59" fmla="*/ 981617 w 4950967"/>
                <a:gd name="connsiteY59" fmla="*/ 1424774 h 3116392"/>
                <a:gd name="connsiteX60" fmla="*/ 981617 w 4950967"/>
                <a:gd name="connsiteY60" fmla="*/ 1439070 h 3116392"/>
                <a:gd name="connsiteX61" fmla="*/ 991147 w 4950967"/>
                <a:gd name="connsiteY61" fmla="*/ 1453364 h 3116392"/>
                <a:gd name="connsiteX62" fmla="*/ 991147 w 4950967"/>
                <a:gd name="connsiteY62" fmla="*/ 1458130 h 3116392"/>
                <a:gd name="connsiteX63" fmla="*/ 986382 w 4950967"/>
                <a:gd name="connsiteY63" fmla="*/ 1458130 h 3116392"/>
                <a:gd name="connsiteX64" fmla="*/ 976852 w 4950967"/>
                <a:gd name="connsiteY64" fmla="*/ 1439070 h 3116392"/>
                <a:gd name="connsiteX65" fmla="*/ 972086 w 4950967"/>
                <a:gd name="connsiteY65" fmla="*/ 1424774 h 3116392"/>
                <a:gd name="connsiteX66" fmla="*/ 967321 w 4950967"/>
                <a:gd name="connsiteY66" fmla="*/ 1420010 h 3116392"/>
                <a:gd name="connsiteX67" fmla="*/ 953026 w 4950967"/>
                <a:gd name="connsiteY67" fmla="*/ 1415244 h 3116392"/>
                <a:gd name="connsiteX68" fmla="*/ 967321 w 4950967"/>
                <a:gd name="connsiteY68" fmla="*/ 1386654 h 3116392"/>
                <a:gd name="connsiteX69" fmla="*/ 1143631 w 4950967"/>
                <a:gd name="connsiteY69" fmla="*/ 1191284 h 3116392"/>
                <a:gd name="connsiteX70" fmla="*/ 1138866 w 4950967"/>
                <a:gd name="connsiteY70" fmla="*/ 1200814 h 3116392"/>
                <a:gd name="connsiteX71" fmla="*/ 1143631 w 4950967"/>
                <a:gd name="connsiteY71" fmla="*/ 1210344 h 3116392"/>
                <a:gd name="connsiteX72" fmla="*/ 1134101 w 4950967"/>
                <a:gd name="connsiteY72" fmla="*/ 1205578 h 3116392"/>
                <a:gd name="connsiteX73" fmla="*/ 1124570 w 4950967"/>
                <a:gd name="connsiteY73" fmla="*/ 1234168 h 3116392"/>
                <a:gd name="connsiteX74" fmla="*/ 1119805 w 4950967"/>
                <a:gd name="connsiteY74" fmla="*/ 1234168 h 3116392"/>
                <a:gd name="connsiteX75" fmla="*/ 1129335 w 4950967"/>
                <a:gd name="connsiteY75" fmla="*/ 1200814 h 3116392"/>
                <a:gd name="connsiteX76" fmla="*/ 1134101 w 4950967"/>
                <a:gd name="connsiteY76" fmla="*/ 1196048 h 3116392"/>
                <a:gd name="connsiteX77" fmla="*/ 495574 w 4950967"/>
                <a:gd name="connsiteY77" fmla="*/ 791012 h 3116392"/>
                <a:gd name="connsiteX78" fmla="*/ 500339 w 4950967"/>
                <a:gd name="connsiteY78" fmla="*/ 795778 h 3116392"/>
                <a:gd name="connsiteX79" fmla="*/ 509869 w 4950967"/>
                <a:gd name="connsiteY79" fmla="*/ 824368 h 3116392"/>
                <a:gd name="connsiteX80" fmla="*/ 505104 w 4950967"/>
                <a:gd name="connsiteY80" fmla="*/ 843428 h 3116392"/>
                <a:gd name="connsiteX81" fmla="*/ 500339 w 4950967"/>
                <a:gd name="connsiteY81" fmla="*/ 848194 h 3116392"/>
                <a:gd name="connsiteX82" fmla="*/ 476513 w 4950967"/>
                <a:gd name="connsiteY82" fmla="*/ 838664 h 3116392"/>
                <a:gd name="connsiteX83" fmla="*/ 490808 w 4950967"/>
                <a:gd name="connsiteY83" fmla="*/ 814838 h 3116392"/>
                <a:gd name="connsiteX84" fmla="*/ 490808 w 4950967"/>
                <a:gd name="connsiteY84" fmla="*/ 795778 h 3116392"/>
                <a:gd name="connsiteX85" fmla="*/ 4765 w 4950967"/>
                <a:gd name="connsiteY85" fmla="*/ 643292 h 3116392"/>
                <a:gd name="connsiteX86" fmla="*/ 14296 w 4950967"/>
                <a:gd name="connsiteY86" fmla="*/ 643292 h 3116392"/>
                <a:gd name="connsiteX87" fmla="*/ 14296 w 4950967"/>
                <a:gd name="connsiteY87" fmla="*/ 652824 h 3116392"/>
                <a:gd name="connsiteX88" fmla="*/ 19061 w 4950967"/>
                <a:gd name="connsiteY88" fmla="*/ 662354 h 3116392"/>
                <a:gd name="connsiteX89" fmla="*/ 23826 w 4950967"/>
                <a:gd name="connsiteY89" fmla="*/ 671884 h 3116392"/>
                <a:gd name="connsiteX90" fmla="*/ 23826 w 4950967"/>
                <a:gd name="connsiteY90" fmla="*/ 686178 h 3116392"/>
                <a:gd name="connsiteX91" fmla="*/ 19061 w 4950967"/>
                <a:gd name="connsiteY91" fmla="*/ 695708 h 3116392"/>
                <a:gd name="connsiteX92" fmla="*/ 0 w 4950967"/>
                <a:gd name="connsiteY92" fmla="*/ 657588 h 3116392"/>
                <a:gd name="connsiteX93" fmla="*/ 0 w 4950967"/>
                <a:gd name="connsiteY93" fmla="*/ 648058 h 3116392"/>
                <a:gd name="connsiteX94" fmla="*/ 957791 w 4950967"/>
                <a:gd name="connsiteY94" fmla="*/ 633764 h 3116392"/>
                <a:gd name="connsiteX95" fmla="*/ 957791 w 4950967"/>
                <a:gd name="connsiteY95" fmla="*/ 643294 h 3116392"/>
                <a:gd name="connsiteX96" fmla="*/ 962556 w 4950967"/>
                <a:gd name="connsiteY96" fmla="*/ 657588 h 3116392"/>
                <a:gd name="connsiteX97" fmla="*/ 967321 w 4950967"/>
                <a:gd name="connsiteY97" fmla="*/ 676648 h 3116392"/>
                <a:gd name="connsiteX98" fmla="*/ 957791 w 4950967"/>
                <a:gd name="connsiteY98" fmla="*/ 719536 h 3116392"/>
                <a:gd name="connsiteX99" fmla="*/ 943496 w 4950967"/>
                <a:gd name="connsiteY99" fmla="*/ 719536 h 3116392"/>
                <a:gd name="connsiteX100" fmla="*/ 919670 w 4950967"/>
                <a:gd name="connsiteY100" fmla="*/ 705240 h 3116392"/>
                <a:gd name="connsiteX101" fmla="*/ 914905 w 4950967"/>
                <a:gd name="connsiteY101" fmla="*/ 695710 h 3116392"/>
                <a:gd name="connsiteX102" fmla="*/ 924435 w 4950967"/>
                <a:gd name="connsiteY102" fmla="*/ 648058 h 3116392"/>
                <a:gd name="connsiteX103" fmla="*/ 933965 w 4950967"/>
                <a:gd name="connsiteY103" fmla="*/ 643294 h 3116392"/>
                <a:gd name="connsiteX104" fmla="*/ 752890 w 4950967"/>
                <a:gd name="connsiteY104" fmla="*/ 576582 h 3116392"/>
                <a:gd name="connsiteX105" fmla="*/ 762420 w 4950967"/>
                <a:gd name="connsiteY105" fmla="*/ 576582 h 3116392"/>
                <a:gd name="connsiteX106" fmla="*/ 781481 w 4950967"/>
                <a:gd name="connsiteY106" fmla="*/ 590878 h 3116392"/>
                <a:gd name="connsiteX107" fmla="*/ 786246 w 4950967"/>
                <a:gd name="connsiteY107" fmla="*/ 605172 h 3116392"/>
                <a:gd name="connsiteX108" fmla="*/ 786246 w 4950967"/>
                <a:gd name="connsiteY108" fmla="*/ 619468 h 3116392"/>
                <a:gd name="connsiteX109" fmla="*/ 810072 w 4950967"/>
                <a:gd name="connsiteY109" fmla="*/ 624234 h 3116392"/>
                <a:gd name="connsiteX110" fmla="*/ 814837 w 4950967"/>
                <a:gd name="connsiteY110" fmla="*/ 652824 h 3116392"/>
                <a:gd name="connsiteX111" fmla="*/ 819602 w 4950967"/>
                <a:gd name="connsiteY111" fmla="*/ 667120 h 3116392"/>
                <a:gd name="connsiteX112" fmla="*/ 819602 w 4950967"/>
                <a:gd name="connsiteY112" fmla="*/ 671884 h 3116392"/>
                <a:gd name="connsiteX113" fmla="*/ 800541 w 4950967"/>
                <a:gd name="connsiteY113" fmla="*/ 662354 h 3116392"/>
                <a:gd name="connsiteX114" fmla="*/ 767185 w 4950967"/>
                <a:gd name="connsiteY114" fmla="*/ 624234 h 3116392"/>
                <a:gd name="connsiteX115" fmla="*/ 752890 w 4950967"/>
                <a:gd name="connsiteY115" fmla="*/ 605172 h 3116392"/>
                <a:gd name="connsiteX116" fmla="*/ 752890 w 4950967"/>
                <a:gd name="connsiteY116" fmla="*/ 595642 h 3116392"/>
                <a:gd name="connsiteX117" fmla="*/ 567050 w 4950967"/>
                <a:gd name="connsiteY117" fmla="*/ 171546 h 3116392"/>
                <a:gd name="connsiteX118" fmla="*/ 576581 w 4950967"/>
                <a:gd name="connsiteY118" fmla="*/ 181076 h 3116392"/>
                <a:gd name="connsiteX119" fmla="*/ 581346 w 4950967"/>
                <a:gd name="connsiteY119" fmla="*/ 185842 h 3116392"/>
                <a:gd name="connsiteX120" fmla="*/ 576581 w 4950967"/>
                <a:gd name="connsiteY120" fmla="*/ 190608 h 3116392"/>
                <a:gd name="connsiteX121" fmla="*/ 571816 w 4950967"/>
                <a:gd name="connsiteY121" fmla="*/ 190608 h 3116392"/>
                <a:gd name="connsiteX122" fmla="*/ 562285 w 4950967"/>
                <a:gd name="connsiteY122" fmla="*/ 181076 h 3116392"/>
                <a:gd name="connsiteX123" fmla="*/ 576581 w 4950967"/>
                <a:gd name="connsiteY123" fmla="*/ 0 h 3116392"/>
                <a:gd name="connsiteX124" fmla="*/ 567051 w 4950967"/>
                <a:gd name="connsiteY124" fmla="*/ 28592 h 3116392"/>
                <a:gd name="connsiteX125" fmla="*/ 557521 w 4950967"/>
                <a:gd name="connsiteY125" fmla="*/ 38120 h 3116392"/>
                <a:gd name="connsiteX126" fmla="*/ 705240 w 4950967"/>
                <a:gd name="connsiteY126" fmla="*/ 95304 h 3116392"/>
                <a:gd name="connsiteX127" fmla="*/ 781482 w 4950967"/>
                <a:gd name="connsiteY127" fmla="*/ 123892 h 3116392"/>
                <a:gd name="connsiteX128" fmla="*/ 852958 w 4950967"/>
                <a:gd name="connsiteY128" fmla="*/ 147720 h 3116392"/>
                <a:gd name="connsiteX129" fmla="*/ 929200 w 4950967"/>
                <a:gd name="connsiteY129" fmla="*/ 176308 h 3116392"/>
                <a:gd name="connsiteX130" fmla="*/ 1000677 w 4950967"/>
                <a:gd name="connsiteY130" fmla="*/ 204900 h 3116392"/>
                <a:gd name="connsiteX131" fmla="*/ 1076920 w 4950967"/>
                <a:gd name="connsiteY131" fmla="*/ 233492 h 3116392"/>
                <a:gd name="connsiteX132" fmla="*/ 1148396 w 4950967"/>
                <a:gd name="connsiteY132" fmla="*/ 257316 h 3116392"/>
                <a:gd name="connsiteX133" fmla="*/ 1315176 w 4950967"/>
                <a:gd name="connsiteY133" fmla="*/ 257316 h 3116392"/>
                <a:gd name="connsiteX134" fmla="*/ 1372357 w 4950967"/>
                <a:gd name="connsiteY134" fmla="*/ 257316 h 3116392"/>
                <a:gd name="connsiteX135" fmla="*/ 1591553 w 4950967"/>
                <a:gd name="connsiteY135" fmla="*/ 257316 h 3116392"/>
                <a:gd name="connsiteX136" fmla="*/ 1591553 w 4950967"/>
                <a:gd name="connsiteY136" fmla="*/ 238256 h 3116392"/>
                <a:gd name="connsiteX137" fmla="*/ 1591553 w 4950967"/>
                <a:gd name="connsiteY137" fmla="*/ 176308 h 3116392"/>
                <a:gd name="connsiteX138" fmla="*/ 1658265 w 4950967"/>
                <a:gd name="connsiteY138" fmla="*/ 176308 h 3116392"/>
                <a:gd name="connsiteX139" fmla="*/ 1696386 w 4950967"/>
                <a:gd name="connsiteY139" fmla="*/ 176308 h 3116392"/>
                <a:gd name="connsiteX140" fmla="*/ 1763098 w 4950967"/>
                <a:gd name="connsiteY140" fmla="*/ 176308 h 3116392"/>
                <a:gd name="connsiteX141" fmla="*/ 1796454 w 4950967"/>
                <a:gd name="connsiteY141" fmla="*/ 176308 h 3116392"/>
                <a:gd name="connsiteX142" fmla="*/ 1867931 w 4950967"/>
                <a:gd name="connsiteY142" fmla="*/ 176308 h 3116392"/>
                <a:gd name="connsiteX143" fmla="*/ 1882226 w 4950967"/>
                <a:gd name="connsiteY143" fmla="*/ 195372 h 3116392"/>
                <a:gd name="connsiteX144" fmla="*/ 1896522 w 4950967"/>
                <a:gd name="connsiteY144" fmla="*/ 219196 h 3116392"/>
                <a:gd name="connsiteX145" fmla="*/ 1915582 w 4950967"/>
                <a:gd name="connsiteY145" fmla="*/ 233492 h 3116392"/>
                <a:gd name="connsiteX146" fmla="*/ 1934642 w 4950967"/>
                <a:gd name="connsiteY146" fmla="*/ 243020 h 3116392"/>
                <a:gd name="connsiteX147" fmla="*/ 1967998 w 4950967"/>
                <a:gd name="connsiteY147" fmla="*/ 271612 h 3116392"/>
                <a:gd name="connsiteX148" fmla="*/ 2015650 w 4950967"/>
                <a:gd name="connsiteY148" fmla="*/ 319264 h 3116392"/>
                <a:gd name="connsiteX149" fmla="*/ 2049006 w 4950967"/>
                <a:gd name="connsiteY149" fmla="*/ 352620 h 3116392"/>
                <a:gd name="connsiteX150" fmla="*/ 2077596 w 4950967"/>
                <a:gd name="connsiteY150" fmla="*/ 366916 h 3116392"/>
                <a:gd name="connsiteX151" fmla="*/ 2096657 w 4950967"/>
                <a:gd name="connsiteY151" fmla="*/ 381212 h 3116392"/>
                <a:gd name="connsiteX152" fmla="*/ 2106187 w 4950967"/>
                <a:gd name="connsiteY152" fmla="*/ 390740 h 3116392"/>
                <a:gd name="connsiteX153" fmla="*/ 2120482 w 4950967"/>
                <a:gd name="connsiteY153" fmla="*/ 419332 h 3116392"/>
                <a:gd name="connsiteX154" fmla="*/ 2144308 w 4950967"/>
                <a:gd name="connsiteY154" fmla="*/ 476512 h 3116392"/>
                <a:gd name="connsiteX155" fmla="*/ 2144308 w 4950967"/>
                <a:gd name="connsiteY155" fmla="*/ 500340 h 3116392"/>
                <a:gd name="connsiteX156" fmla="*/ 2153838 w 4950967"/>
                <a:gd name="connsiteY156" fmla="*/ 524164 h 3116392"/>
                <a:gd name="connsiteX157" fmla="*/ 2172899 w 4950967"/>
                <a:gd name="connsiteY157" fmla="*/ 557520 h 3116392"/>
                <a:gd name="connsiteX158" fmla="*/ 2187194 w 4950967"/>
                <a:gd name="connsiteY158" fmla="*/ 576580 h 3116392"/>
                <a:gd name="connsiteX159" fmla="*/ 2201490 w 4950967"/>
                <a:gd name="connsiteY159" fmla="*/ 581344 h 3116392"/>
                <a:gd name="connsiteX160" fmla="*/ 2215785 w 4950967"/>
                <a:gd name="connsiteY160" fmla="*/ 590876 h 3116392"/>
                <a:gd name="connsiteX161" fmla="*/ 2230080 w 4950967"/>
                <a:gd name="connsiteY161" fmla="*/ 609936 h 3116392"/>
                <a:gd name="connsiteX162" fmla="*/ 2249141 w 4950967"/>
                <a:gd name="connsiteY162" fmla="*/ 619468 h 3116392"/>
                <a:gd name="connsiteX163" fmla="*/ 2272966 w 4950967"/>
                <a:gd name="connsiteY163" fmla="*/ 624232 h 3116392"/>
                <a:gd name="connsiteX164" fmla="*/ 2301557 w 4950967"/>
                <a:gd name="connsiteY164" fmla="*/ 643292 h 3116392"/>
                <a:gd name="connsiteX165" fmla="*/ 2339678 w 4950967"/>
                <a:gd name="connsiteY165" fmla="*/ 667116 h 3116392"/>
                <a:gd name="connsiteX166" fmla="*/ 2363504 w 4950967"/>
                <a:gd name="connsiteY166" fmla="*/ 676648 h 3116392"/>
                <a:gd name="connsiteX167" fmla="*/ 2377799 w 4950967"/>
                <a:gd name="connsiteY167" fmla="*/ 676648 h 3116392"/>
                <a:gd name="connsiteX168" fmla="*/ 2392095 w 4950967"/>
                <a:gd name="connsiteY168" fmla="*/ 671884 h 3116392"/>
                <a:gd name="connsiteX169" fmla="*/ 2401625 w 4950967"/>
                <a:gd name="connsiteY169" fmla="*/ 652824 h 3116392"/>
                <a:gd name="connsiteX170" fmla="*/ 2411155 w 4950967"/>
                <a:gd name="connsiteY170" fmla="*/ 643292 h 3116392"/>
                <a:gd name="connsiteX171" fmla="*/ 2420686 w 4950967"/>
                <a:gd name="connsiteY171" fmla="*/ 638528 h 3116392"/>
                <a:gd name="connsiteX172" fmla="*/ 2425450 w 4950967"/>
                <a:gd name="connsiteY172" fmla="*/ 633760 h 3116392"/>
                <a:gd name="connsiteX173" fmla="*/ 2425450 w 4950967"/>
                <a:gd name="connsiteY173" fmla="*/ 624232 h 3116392"/>
                <a:gd name="connsiteX174" fmla="*/ 2430216 w 4950967"/>
                <a:gd name="connsiteY174" fmla="*/ 600408 h 3116392"/>
                <a:gd name="connsiteX175" fmla="*/ 2449276 w 4950967"/>
                <a:gd name="connsiteY175" fmla="*/ 562284 h 3116392"/>
                <a:gd name="connsiteX176" fmla="*/ 2468337 w 4950967"/>
                <a:gd name="connsiteY176" fmla="*/ 543224 h 3116392"/>
                <a:gd name="connsiteX177" fmla="*/ 2487397 w 4950967"/>
                <a:gd name="connsiteY177" fmla="*/ 538460 h 3116392"/>
                <a:gd name="connsiteX178" fmla="*/ 2501693 w 4950967"/>
                <a:gd name="connsiteY178" fmla="*/ 533696 h 3116392"/>
                <a:gd name="connsiteX179" fmla="*/ 2506458 w 4950967"/>
                <a:gd name="connsiteY179" fmla="*/ 524164 h 3116392"/>
                <a:gd name="connsiteX180" fmla="*/ 2520753 w 4950967"/>
                <a:gd name="connsiteY180" fmla="*/ 524164 h 3116392"/>
                <a:gd name="connsiteX181" fmla="*/ 2535048 w 4950967"/>
                <a:gd name="connsiteY181" fmla="*/ 528928 h 3116392"/>
                <a:gd name="connsiteX182" fmla="*/ 2563639 w 4950967"/>
                <a:gd name="connsiteY182" fmla="*/ 533696 h 3116392"/>
                <a:gd name="connsiteX183" fmla="*/ 2601760 w 4950967"/>
                <a:gd name="connsiteY183" fmla="*/ 538460 h 3116392"/>
                <a:gd name="connsiteX184" fmla="*/ 2620821 w 4950967"/>
                <a:gd name="connsiteY184" fmla="*/ 538460 h 3116392"/>
                <a:gd name="connsiteX185" fmla="*/ 2630351 w 4950967"/>
                <a:gd name="connsiteY185" fmla="*/ 533696 h 3116392"/>
                <a:gd name="connsiteX186" fmla="*/ 2635116 w 4950967"/>
                <a:gd name="connsiteY186" fmla="*/ 538460 h 3116392"/>
                <a:gd name="connsiteX187" fmla="*/ 2639881 w 4950967"/>
                <a:gd name="connsiteY187" fmla="*/ 538460 h 3116392"/>
                <a:gd name="connsiteX188" fmla="*/ 2649412 w 4950967"/>
                <a:gd name="connsiteY188" fmla="*/ 538460 h 3116392"/>
                <a:gd name="connsiteX189" fmla="*/ 2658942 w 4950967"/>
                <a:gd name="connsiteY189" fmla="*/ 543224 h 3116392"/>
                <a:gd name="connsiteX190" fmla="*/ 2668472 w 4950967"/>
                <a:gd name="connsiteY190" fmla="*/ 562284 h 3116392"/>
                <a:gd name="connsiteX191" fmla="*/ 2711358 w 4950967"/>
                <a:gd name="connsiteY191" fmla="*/ 595640 h 3116392"/>
                <a:gd name="connsiteX192" fmla="*/ 2716124 w 4950967"/>
                <a:gd name="connsiteY192" fmla="*/ 605172 h 3116392"/>
                <a:gd name="connsiteX193" fmla="*/ 2730419 w 4950967"/>
                <a:gd name="connsiteY193" fmla="*/ 624232 h 3116392"/>
                <a:gd name="connsiteX194" fmla="*/ 2759010 w 4950967"/>
                <a:gd name="connsiteY194" fmla="*/ 643292 h 3116392"/>
                <a:gd name="connsiteX195" fmla="*/ 2773305 w 4950967"/>
                <a:gd name="connsiteY195" fmla="*/ 667116 h 3116392"/>
                <a:gd name="connsiteX196" fmla="*/ 2773305 w 4950967"/>
                <a:gd name="connsiteY196" fmla="*/ 681412 h 3116392"/>
                <a:gd name="connsiteX197" fmla="*/ 2787600 w 4950967"/>
                <a:gd name="connsiteY197" fmla="*/ 710004 h 3116392"/>
                <a:gd name="connsiteX198" fmla="*/ 2811426 w 4950967"/>
                <a:gd name="connsiteY198" fmla="*/ 748124 h 3116392"/>
                <a:gd name="connsiteX199" fmla="*/ 2820956 w 4950967"/>
                <a:gd name="connsiteY199" fmla="*/ 767184 h 3116392"/>
                <a:gd name="connsiteX200" fmla="*/ 2820956 w 4950967"/>
                <a:gd name="connsiteY200" fmla="*/ 781480 h 3116392"/>
                <a:gd name="connsiteX201" fmla="*/ 2825721 w 4950967"/>
                <a:gd name="connsiteY201" fmla="*/ 795776 h 3116392"/>
                <a:gd name="connsiteX202" fmla="*/ 2840017 w 4950967"/>
                <a:gd name="connsiteY202" fmla="*/ 814836 h 3116392"/>
                <a:gd name="connsiteX203" fmla="*/ 2859077 w 4950967"/>
                <a:gd name="connsiteY203" fmla="*/ 824368 h 3116392"/>
                <a:gd name="connsiteX204" fmla="*/ 2873372 w 4950967"/>
                <a:gd name="connsiteY204" fmla="*/ 848192 h 3116392"/>
                <a:gd name="connsiteX205" fmla="*/ 2892433 w 4950967"/>
                <a:gd name="connsiteY205" fmla="*/ 881548 h 3116392"/>
                <a:gd name="connsiteX206" fmla="*/ 2911494 w 4950967"/>
                <a:gd name="connsiteY206" fmla="*/ 905376 h 3116392"/>
                <a:gd name="connsiteX207" fmla="*/ 2935319 w 4950967"/>
                <a:gd name="connsiteY207" fmla="*/ 919668 h 3116392"/>
                <a:gd name="connsiteX208" fmla="*/ 2949615 w 4950967"/>
                <a:gd name="connsiteY208" fmla="*/ 933964 h 3116392"/>
                <a:gd name="connsiteX209" fmla="*/ 2954380 w 4950967"/>
                <a:gd name="connsiteY209" fmla="*/ 948260 h 3116392"/>
                <a:gd name="connsiteX210" fmla="*/ 2954380 w 4950967"/>
                <a:gd name="connsiteY210" fmla="*/ 962556 h 3116392"/>
                <a:gd name="connsiteX211" fmla="*/ 2949615 w 4950967"/>
                <a:gd name="connsiteY211" fmla="*/ 972084 h 3116392"/>
                <a:gd name="connsiteX212" fmla="*/ 2954380 w 4950967"/>
                <a:gd name="connsiteY212" fmla="*/ 981616 h 3116392"/>
                <a:gd name="connsiteX213" fmla="*/ 2959145 w 4950967"/>
                <a:gd name="connsiteY213" fmla="*/ 991148 h 3116392"/>
                <a:gd name="connsiteX214" fmla="*/ 2963910 w 4950967"/>
                <a:gd name="connsiteY214" fmla="*/ 1000676 h 3116392"/>
                <a:gd name="connsiteX215" fmla="*/ 2959145 w 4950967"/>
                <a:gd name="connsiteY215" fmla="*/ 1019736 h 3116392"/>
                <a:gd name="connsiteX216" fmla="*/ 2959145 w 4950967"/>
                <a:gd name="connsiteY216" fmla="*/ 1024504 h 3116392"/>
                <a:gd name="connsiteX217" fmla="*/ 2982970 w 4950967"/>
                <a:gd name="connsiteY217" fmla="*/ 1053092 h 3116392"/>
                <a:gd name="connsiteX218" fmla="*/ 2992501 w 4950967"/>
                <a:gd name="connsiteY218" fmla="*/ 1072152 h 3116392"/>
                <a:gd name="connsiteX219" fmla="*/ 3002031 w 4950967"/>
                <a:gd name="connsiteY219" fmla="*/ 1110276 h 3116392"/>
                <a:gd name="connsiteX220" fmla="*/ 3011561 w 4950967"/>
                <a:gd name="connsiteY220" fmla="*/ 1129336 h 3116392"/>
                <a:gd name="connsiteX221" fmla="*/ 3030622 w 4950967"/>
                <a:gd name="connsiteY221" fmla="*/ 1138864 h 3116392"/>
                <a:gd name="connsiteX222" fmla="*/ 3049682 w 4950967"/>
                <a:gd name="connsiteY222" fmla="*/ 1138864 h 3116392"/>
                <a:gd name="connsiteX223" fmla="*/ 3068743 w 4950967"/>
                <a:gd name="connsiteY223" fmla="*/ 1148396 h 3116392"/>
                <a:gd name="connsiteX224" fmla="*/ 3078273 w 4950967"/>
                <a:gd name="connsiteY224" fmla="*/ 1157924 h 3116392"/>
                <a:gd name="connsiteX225" fmla="*/ 3092568 w 4950967"/>
                <a:gd name="connsiteY225" fmla="*/ 1162692 h 3116392"/>
                <a:gd name="connsiteX226" fmla="*/ 3111629 w 4950967"/>
                <a:gd name="connsiteY226" fmla="*/ 1167456 h 3116392"/>
                <a:gd name="connsiteX227" fmla="*/ 3125924 w 4950967"/>
                <a:gd name="connsiteY227" fmla="*/ 1176988 h 3116392"/>
                <a:gd name="connsiteX228" fmla="*/ 3144985 w 4950967"/>
                <a:gd name="connsiteY228" fmla="*/ 1186516 h 3116392"/>
                <a:gd name="connsiteX229" fmla="*/ 3173576 w 4950967"/>
                <a:gd name="connsiteY229" fmla="*/ 1196048 h 3116392"/>
                <a:gd name="connsiteX230" fmla="*/ 3216462 w 4950967"/>
                <a:gd name="connsiteY230" fmla="*/ 1200812 h 3116392"/>
                <a:gd name="connsiteX231" fmla="*/ 3249818 w 4950967"/>
                <a:gd name="connsiteY231" fmla="*/ 1210344 h 3116392"/>
                <a:gd name="connsiteX232" fmla="*/ 3273643 w 4950967"/>
                <a:gd name="connsiteY232" fmla="*/ 1224636 h 3116392"/>
                <a:gd name="connsiteX233" fmla="*/ 3283174 w 4950967"/>
                <a:gd name="connsiteY233" fmla="*/ 1229404 h 3116392"/>
                <a:gd name="connsiteX234" fmla="*/ 3287939 w 4950967"/>
                <a:gd name="connsiteY234" fmla="*/ 1229404 h 3116392"/>
                <a:gd name="connsiteX235" fmla="*/ 3287939 w 4950967"/>
                <a:gd name="connsiteY235" fmla="*/ 1224636 h 3116392"/>
                <a:gd name="connsiteX236" fmla="*/ 3287939 w 4950967"/>
                <a:gd name="connsiteY236" fmla="*/ 1219872 h 3116392"/>
                <a:gd name="connsiteX237" fmla="*/ 3297469 w 4950967"/>
                <a:gd name="connsiteY237" fmla="*/ 1215108 h 3116392"/>
                <a:gd name="connsiteX238" fmla="*/ 3321294 w 4950967"/>
                <a:gd name="connsiteY238" fmla="*/ 1215108 h 3116392"/>
                <a:gd name="connsiteX239" fmla="*/ 3316530 w 4950967"/>
                <a:gd name="connsiteY239" fmla="*/ 1248464 h 3116392"/>
                <a:gd name="connsiteX240" fmla="*/ 3306999 w 4950967"/>
                <a:gd name="connsiteY240" fmla="*/ 1277056 h 3116392"/>
                <a:gd name="connsiteX241" fmla="*/ 3278408 w 4950967"/>
                <a:gd name="connsiteY241" fmla="*/ 1339000 h 3116392"/>
                <a:gd name="connsiteX242" fmla="*/ 3264113 w 4950967"/>
                <a:gd name="connsiteY242" fmla="*/ 1377120 h 3116392"/>
                <a:gd name="connsiteX243" fmla="*/ 3240288 w 4950967"/>
                <a:gd name="connsiteY243" fmla="*/ 1486720 h 3116392"/>
                <a:gd name="connsiteX244" fmla="*/ 3230757 w 4950967"/>
                <a:gd name="connsiteY244" fmla="*/ 1553432 h 3116392"/>
                <a:gd name="connsiteX245" fmla="*/ 3230757 w 4950967"/>
                <a:gd name="connsiteY245" fmla="*/ 1586788 h 3116392"/>
                <a:gd name="connsiteX246" fmla="*/ 3225992 w 4950967"/>
                <a:gd name="connsiteY246" fmla="*/ 1591552 h 3116392"/>
                <a:gd name="connsiteX247" fmla="*/ 3230757 w 4950967"/>
                <a:gd name="connsiteY247" fmla="*/ 1596316 h 3116392"/>
                <a:gd name="connsiteX248" fmla="*/ 3221227 w 4950967"/>
                <a:gd name="connsiteY248" fmla="*/ 1667796 h 3116392"/>
                <a:gd name="connsiteX249" fmla="*/ 3225992 w 4950967"/>
                <a:gd name="connsiteY249" fmla="*/ 1729740 h 3116392"/>
                <a:gd name="connsiteX250" fmla="*/ 3225992 w 4950967"/>
                <a:gd name="connsiteY250" fmla="*/ 1739272 h 3116392"/>
                <a:gd name="connsiteX251" fmla="*/ 3216462 w 4950967"/>
                <a:gd name="connsiteY251" fmla="*/ 1758332 h 3116392"/>
                <a:gd name="connsiteX252" fmla="*/ 3206932 w 4950967"/>
                <a:gd name="connsiteY252" fmla="*/ 1786924 h 3116392"/>
                <a:gd name="connsiteX253" fmla="*/ 3211697 w 4950967"/>
                <a:gd name="connsiteY253" fmla="*/ 1796452 h 3116392"/>
                <a:gd name="connsiteX254" fmla="*/ 3211697 w 4950967"/>
                <a:gd name="connsiteY254" fmla="*/ 1805984 h 3116392"/>
                <a:gd name="connsiteX255" fmla="*/ 3221227 w 4950967"/>
                <a:gd name="connsiteY255" fmla="*/ 1844104 h 3116392"/>
                <a:gd name="connsiteX256" fmla="*/ 3221227 w 4950967"/>
                <a:gd name="connsiteY256" fmla="*/ 1872696 h 3116392"/>
                <a:gd name="connsiteX257" fmla="*/ 3249818 w 4950967"/>
                <a:gd name="connsiteY257" fmla="*/ 1920348 h 3116392"/>
                <a:gd name="connsiteX258" fmla="*/ 3268878 w 4950967"/>
                <a:gd name="connsiteY258" fmla="*/ 1939408 h 3116392"/>
                <a:gd name="connsiteX259" fmla="*/ 3287939 w 4950967"/>
                <a:gd name="connsiteY259" fmla="*/ 1953704 h 3116392"/>
                <a:gd name="connsiteX260" fmla="*/ 3292704 w 4950967"/>
                <a:gd name="connsiteY260" fmla="*/ 1963232 h 3116392"/>
                <a:gd name="connsiteX261" fmla="*/ 3287939 w 4950967"/>
                <a:gd name="connsiteY261" fmla="*/ 1987056 h 3116392"/>
                <a:gd name="connsiteX262" fmla="*/ 3283174 w 4950967"/>
                <a:gd name="connsiteY262" fmla="*/ 1996588 h 3116392"/>
                <a:gd name="connsiteX263" fmla="*/ 3278408 w 4950967"/>
                <a:gd name="connsiteY263" fmla="*/ 2010884 h 3116392"/>
                <a:gd name="connsiteX264" fmla="*/ 3273643 w 4950967"/>
                <a:gd name="connsiteY264" fmla="*/ 1996588 h 3116392"/>
                <a:gd name="connsiteX265" fmla="*/ 3278408 w 4950967"/>
                <a:gd name="connsiteY265" fmla="*/ 1982292 h 3116392"/>
                <a:gd name="connsiteX266" fmla="*/ 3283174 w 4950967"/>
                <a:gd name="connsiteY266" fmla="*/ 1972764 h 3116392"/>
                <a:gd name="connsiteX267" fmla="*/ 3283174 w 4950967"/>
                <a:gd name="connsiteY267" fmla="*/ 1963232 h 3116392"/>
                <a:gd name="connsiteX268" fmla="*/ 3273643 w 4950967"/>
                <a:gd name="connsiteY268" fmla="*/ 1953704 h 3116392"/>
                <a:gd name="connsiteX269" fmla="*/ 3249818 w 4950967"/>
                <a:gd name="connsiteY269" fmla="*/ 1929876 h 3116392"/>
                <a:gd name="connsiteX270" fmla="*/ 3225992 w 4950967"/>
                <a:gd name="connsiteY270" fmla="*/ 1886992 h 3116392"/>
                <a:gd name="connsiteX271" fmla="*/ 3245052 w 4950967"/>
                <a:gd name="connsiteY271" fmla="*/ 1958468 h 3116392"/>
                <a:gd name="connsiteX272" fmla="*/ 3249818 w 4950967"/>
                <a:gd name="connsiteY272" fmla="*/ 1967996 h 3116392"/>
                <a:gd name="connsiteX273" fmla="*/ 3254583 w 4950967"/>
                <a:gd name="connsiteY273" fmla="*/ 1972764 h 3116392"/>
                <a:gd name="connsiteX274" fmla="*/ 3264113 w 4950967"/>
                <a:gd name="connsiteY274" fmla="*/ 1977528 h 3116392"/>
                <a:gd name="connsiteX275" fmla="*/ 3264113 w 4950967"/>
                <a:gd name="connsiteY275" fmla="*/ 1987056 h 3116392"/>
                <a:gd name="connsiteX276" fmla="*/ 3264113 w 4950967"/>
                <a:gd name="connsiteY276" fmla="*/ 1991824 h 3116392"/>
                <a:gd name="connsiteX277" fmla="*/ 3287939 w 4950967"/>
                <a:gd name="connsiteY277" fmla="*/ 2039476 h 3116392"/>
                <a:gd name="connsiteX278" fmla="*/ 3311764 w 4950967"/>
                <a:gd name="connsiteY278" fmla="*/ 2091892 h 3116392"/>
                <a:gd name="connsiteX279" fmla="*/ 3311764 w 4950967"/>
                <a:gd name="connsiteY279" fmla="*/ 2106188 h 3116392"/>
                <a:gd name="connsiteX280" fmla="*/ 3326060 w 4950967"/>
                <a:gd name="connsiteY280" fmla="*/ 2120480 h 3116392"/>
                <a:gd name="connsiteX281" fmla="*/ 3388006 w 4950967"/>
                <a:gd name="connsiteY281" fmla="*/ 2191960 h 3116392"/>
                <a:gd name="connsiteX282" fmla="*/ 3426128 w 4950967"/>
                <a:gd name="connsiteY282" fmla="*/ 2249140 h 3116392"/>
                <a:gd name="connsiteX283" fmla="*/ 3440423 w 4950967"/>
                <a:gd name="connsiteY283" fmla="*/ 2296792 h 3116392"/>
                <a:gd name="connsiteX284" fmla="*/ 3449953 w 4950967"/>
                <a:gd name="connsiteY284" fmla="*/ 2311088 h 3116392"/>
                <a:gd name="connsiteX285" fmla="*/ 3454718 w 4950967"/>
                <a:gd name="connsiteY285" fmla="*/ 2334912 h 3116392"/>
                <a:gd name="connsiteX286" fmla="*/ 3478544 w 4950967"/>
                <a:gd name="connsiteY286" fmla="*/ 2358736 h 3116392"/>
                <a:gd name="connsiteX287" fmla="*/ 3488074 w 4950967"/>
                <a:gd name="connsiteY287" fmla="*/ 2373032 h 3116392"/>
                <a:gd name="connsiteX288" fmla="*/ 3502370 w 4950967"/>
                <a:gd name="connsiteY288" fmla="*/ 2382564 h 3116392"/>
                <a:gd name="connsiteX289" fmla="*/ 3511900 w 4950967"/>
                <a:gd name="connsiteY289" fmla="*/ 2406388 h 3116392"/>
                <a:gd name="connsiteX290" fmla="*/ 3535725 w 4950967"/>
                <a:gd name="connsiteY290" fmla="*/ 2425448 h 3116392"/>
                <a:gd name="connsiteX291" fmla="*/ 3530960 w 4950967"/>
                <a:gd name="connsiteY291" fmla="*/ 2425448 h 3116392"/>
                <a:gd name="connsiteX292" fmla="*/ 3511900 w 4950967"/>
                <a:gd name="connsiteY292" fmla="*/ 2415920 h 3116392"/>
                <a:gd name="connsiteX293" fmla="*/ 3511900 w 4950967"/>
                <a:gd name="connsiteY293" fmla="*/ 2420684 h 3116392"/>
                <a:gd name="connsiteX294" fmla="*/ 3526195 w 4950967"/>
                <a:gd name="connsiteY294" fmla="*/ 2430216 h 3116392"/>
                <a:gd name="connsiteX295" fmla="*/ 3559551 w 4950967"/>
                <a:gd name="connsiteY295" fmla="*/ 2439744 h 3116392"/>
                <a:gd name="connsiteX296" fmla="*/ 3564316 w 4950967"/>
                <a:gd name="connsiteY296" fmla="*/ 2439744 h 3116392"/>
                <a:gd name="connsiteX297" fmla="*/ 3554786 w 4950967"/>
                <a:gd name="connsiteY297" fmla="*/ 2434980 h 3116392"/>
                <a:gd name="connsiteX298" fmla="*/ 3545256 w 4950967"/>
                <a:gd name="connsiteY298" fmla="*/ 2430216 h 3116392"/>
                <a:gd name="connsiteX299" fmla="*/ 3569081 w 4950967"/>
                <a:gd name="connsiteY299" fmla="*/ 2434980 h 3116392"/>
                <a:gd name="connsiteX300" fmla="*/ 3626263 w 4950967"/>
                <a:gd name="connsiteY300" fmla="*/ 2439744 h 3116392"/>
                <a:gd name="connsiteX301" fmla="*/ 3654854 w 4950967"/>
                <a:gd name="connsiteY301" fmla="*/ 2463572 h 3116392"/>
                <a:gd name="connsiteX302" fmla="*/ 3688210 w 4950967"/>
                <a:gd name="connsiteY302" fmla="*/ 2473100 h 3116392"/>
                <a:gd name="connsiteX303" fmla="*/ 3707270 w 4950967"/>
                <a:gd name="connsiteY303" fmla="*/ 2496928 h 3116392"/>
                <a:gd name="connsiteX304" fmla="*/ 3726330 w 4950967"/>
                <a:gd name="connsiteY304" fmla="*/ 2525516 h 3116392"/>
                <a:gd name="connsiteX305" fmla="*/ 3740626 w 4950967"/>
                <a:gd name="connsiteY305" fmla="*/ 2530284 h 3116392"/>
                <a:gd name="connsiteX306" fmla="*/ 3750156 w 4950967"/>
                <a:gd name="connsiteY306" fmla="*/ 2530284 h 3116392"/>
                <a:gd name="connsiteX307" fmla="*/ 3783512 w 4950967"/>
                <a:gd name="connsiteY307" fmla="*/ 2525516 h 3116392"/>
                <a:gd name="connsiteX308" fmla="*/ 3831163 w 4950967"/>
                <a:gd name="connsiteY308" fmla="*/ 2506456 h 3116392"/>
                <a:gd name="connsiteX309" fmla="*/ 3850224 w 4950967"/>
                <a:gd name="connsiteY309" fmla="*/ 2496928 h 3116392"/>
                <a:gd name="connsiteX310" fmla="*/ 3883580 w 4950967"/>
                <a:gd name="connsiteY310" fmla="*/ 2482632 h 3116392"/>
                <a:gd name="connsiteX311" fmla="*/ 3931231 w 4950967"/>
                <a:gd name="connsiteY311" fmla="*/ 2482632 h 3116392"/>
                <a:gd name="connsiteX312" fmla="*/ 3950292 w 4950967"/>
                <a:gd name="connsiteY312" fmla="*/ 2487396 h 3116392"/>
                <a:gd name="connsiteX313" fmla="*/ 3983647 w 4950967"/>
                <a:gd name="connsiteY313" fmla="*/ 2477868 h 3116392"/>
                <a:gd name="connsiteX314" fmla="*/ 4002708 w 4950967"/>
                <a:gd name="connsiteY314" fmla="*/ 2468336 h 3116392"/>
                <a:gd name="connsiteX315" fmla="*/ 4012238 w 4950967"/>
                <a:gd name="connsiteY315" fmla="*/ 2463572 h 3116392"/>
                <a:gd name="connsiteX316" fmla="*/ 4012238 w 4950967"/>
                <a:gd name="connsiteY316" fmla="*/ 2454040 h 3116392"/>
                <a:gd name="connsiteX317" fmla="*/ 4050359 w 4950967"/>
                <a:gd name="connsiteY317" fmla="*/ 2444512 h 3116392"/>
                <a:gd name="connsiteX318" fmla="*/ 4055124 w 4950967"/>
                <a:gd name="connsiteY318" fmla="*/ 2444512 h 3116392"/>
                <a:gd name="connsiteX319" fmla="*/ 4088480 w 4950967"/>
                <a:gd name="connsiteY319" fmla="*/ 2444512 h 3116392"/>
                <a:gd name="connsiteX320" fmla="*/ 4107541 w 4950967"/>
                <a:gd name="connsiteY320" fmla="*/ 2439744 h 3116392"/>
                <a:gd name="connsiteX321" fmla="*/ 4126601 w 4950967"/>
                <a:gd name="connsiteY321" fmla="*/ 2439744 h 3116392"/>
                <a:gd name="connsiteX322" fmla="*/ 4140896 w 4950967"/>
                <a:gd name="connsiteY322" fmla="*/ 2449276 h 3116392"/>
                <a:gd name="connsiteX323" fmla="*/ 4140896 w 4950967"/>
                <a:gd name="connsiteY323" fmla="*/ 2458804 h 3116392"/>
                <a:gd name="connsiteX324" fmla="*/ 4131366 w 4950967"/>
                <a:gd name="connsiteY324" fmla="*/ 2463572 h 3116392"/>
                <a:gd name="connsiteX325" fmla="*/ 4136132 w 4950967"/>
                <a:gd name="connsiteY325" fmla="*/ 2468336 h 3116392"/>
                <a:gd name="connsiteX326" fmla="*/ 4155192 w 4950967"/>
                <a:gd name="connsiteY326" fmla="*/ 2477868 h 3116392"/>
                <a:gd name="connsiteX327" fmla="*/ 4188548 w 4950967"/>
                <a:gd name="connsiteY327" fmla="*/ 2482632 h 3116392"/>
                <a:gd name="connsiteX328" fmla="*/ 4198078 w 4950967"/>
                <a:gd name="connsiteY328" fmla="*/ 2482632 h 3116392"/>
                <a:gd name="connsiteX329" fmla="*/ 4212374 w 4950967"/>
                <a:gd name="connsiteY329" fmla="*/ 2468336 h 3116392"/>
                <a:gd name="connsiteX330" fmla="*/ 4236199 w 4950967"/>
                <a:gd name="connsiteY330" fmla="*/ 2454040 h 3116392"/>
                <a:gd name="connsiteX331" fmla="*/ 4236199 w 4950967"/>
                <a:gd name="connsiteY331" fmla="*/ 2434980 h 3116392"/>
                <a:gd name="connsiteX332" fmla="*/ 4231434 w 4950967"/>
                <a:gd name="connsiteY332" fmla="*/ 2430216 h 3116392"/>
                <a:gd name="connsiteX333" fmla="*/ 4226669 w 4950967"/>
                <a:gd name="connsiteY333" fmla="*/ 2425448 h 3116392"/>
                <a:gd name="connsiteX334" fmla="*/ 4221904 w 4950967"/>
                <a:gd name="connsiteY334" fmla="*/ 2420684 h 3116392"/>
                <a:gd name="connsiteX335" fmla="*/ 4226669 w 4950967"/>
                <a:gd name="connsiteY335" fmla="*/ 2411156 h 3116392"/>
                <a:gd name="connsiteX336" fmla="*/ 4226669 w 4950967"/>
                <a:gd name="connsiteY336" fmla="*/ 2406388 h 3116392"/>
                <a:gd name="connsiteX337" fmla="*/ 4212374 w 4950967"/>
                <a:gd name="connsiteY337" fmla="*/ 2415920 h 3116392"/>
                <a:gd name="connsiteX338" fmla="*/ 4207608 w 4950967"/>
                <a:gd name="connsiteY338" fmla="*/ 2415920 h 3116392"/>
                <a:gd name="connsiteX339" fmla="*/ 4207608 w 4950967"/>
                <a:gd name="connsiteY339" fmla="*/ 2411156 h 3116392"/>
                <a:gd name="connsiteX340" fmla="*/ 4212374 w 4950967"/>
                <a:gd name="connsiteY340" fmla="*/ 2411156 h 3116392"/>
                <a:gd name="connsiteX341" fmla="*/ 4260025 w 4950967"/>
                <a:gd name="connsiteY341" fmla="*/ 2382564 h 3116392"/>
                <a:gd name="connsiteX342" fmla="*/ 4269555 w 4950967"/>
                <a:gd name="connsiteY342" fmla="*/ 2373032 h 3116392"/>
                <a:gd name="connsiteX343" fmla="*/ 4288616 w 4950967"/>
                <a:gd name="connsiteY343" fmla="*/ 2368268 h 3116392"/>
                <a:gd name="connsiteX344" fmla="*/ 4321972 w 4950967"/>
                <a:gd name="connsiteY344" fmla="*/ 2330148 h 3116392"/>
                <a:gd name="connsiteX345" fmla="*/ 4326736 w 4950967"/>
                <a:gd name="connsiteY345" fmla="*/ 2268200 h 3116392"/>
                <a:gd name="connsiteX346" fmla="*/ 4336267 w 4950967"/>
                <a:gd name="connsiteY346" fmla="*/ 2258672 h 3116392"/>
                <a:gd name="connsiteX347" fmla="*/ 4355327 w 4950967"/>
                <a:gd name="connsiteY347" fmla="*/ 2239608 h 3116392"/>
                <a:gd name="connsiteX348" fmla="*/ 4360092 w 4950967"/>
                <a:gd name="connsiteY348" fmla="*/ 2234844 h 3116392"/>
                <a:gd name="connsiteX349" fmla="*/ 4360092 w 4950967"/>
                <a:gd name="connsiteY349" fmla="*/ 2220548 h 3116392"/>
                <a:gd name="connsiteX350" fmla="*/ 4360092 w 4950967"/>
                <a:gd name="connsiteY350" fmla="*/ 2187192 h 3116392"/>
                <a:gd name="connsiteX351" fmla="*/ 4360092 w 4950967"/>
                <a:gd name="connsiteY351" fmla="*/ 2163368 h 3116392"/>
                <a:gd name="connsiteX352" fmla="*/ 4360092 w 4950967"/>
                <a:gd name="connsiteY352" fmla="*/ 2134776 h 3116392"/>
                <a:gd name="connsiteX353" fmla="*/ 4364858 w 4950967"/>
                <a:gd name="connsiteY353" fmla="*/ 2106188 h 3116392"/>
                <a:gd name="connsiteX354" fmla="*/ 4369623 w 4950967"/>
                <a:gd name="connsiteY354" fmla="*/ 2096656 h 3116392"/>
                <a:gd name="connsiteX355" fmla="*/ 4379153 w 4950967"/>
                <a:gd name="connsiteY355" fmla="*/ 2058536 h 3116392"/>
                <a:gd name="connsiteX356" fmla="*/ 4407744 w 4950967"/>
                <a:gd name="connsiteY356" fmla="*/ 2039476 h 3116392"/>
                <a:gd name="connsiteX357" fmla="*/ 4455395 w 4950967"/>
                <a:gd name="connsiteY357" fmla="*/ 2015648 h 3116392"/>
                <a:gd name="connsiteX358" fmla="*/ 4464925 w 4950967"/>
                <a:gd name="connsiteY358" fmla="*/ 2010884 h 3116392"/>
                <a:gd name="connsiteX359" fmla="*/ 4612644 w 4950967"/>
                <a:gd name="connsiteY359" fmla="*/ 1987056 h 3116392"/>
                <a:gd name="connsiteX360" fmla="*/ 4631704 w 4950967"/>
                <a:gd name="connsiteY360" fmla="*/ 1982292 h 3116392"/>
                <a:gd name="connsiteX361" fmla="*/ 4655530 w 4950967"/>
                <a:gd name="connsiteY361" fmla="*/ 1967996 h 3116392"/>
                <a:gd name="connsiteX362" fmla="*/ 4674591 w 4950967"/>
                <a:gd name="connsiteY362" fmla="*/ 1963232 h 3116392"/>
                <a:gd name="connsiteX363" fmla="*/ 4707946 w 4950967"/>
                <a:gd name="connsiteY363" fmla="*/ 1963232 h 3116392"/>
                <a:gd name="connsiteX364" fmla="*/ 4717477 w 4950967"/>
                <a:gd name="connsiteY364" fmla="*/ 1963232 h 3116392"/>
                <a:gd name="connsiteX365" fmla="*/ 4722242 w 4950967"/>
                <a:gd name="connsiteY365" fmla="*/ 1958468 h 3116392"/>
                <a:gd name="connsiteX366" fmla="*/ 4727008 w 4950967"/>
                <a:gd name="connsiteY366" fmla="*/ 1953704 h 3116392"/>
                <a:gd name="connsiteX367" fmla="*/ 4746068 w 4950967"/>
                <a:gd name="connsiteY367" fmla="*/ 1958468 h 3116392"/>
                <a:gd name="connsiteX368" fmla="*/ 4784189 w 4950967"/>
                <a:gd name="connsiteY368" fmla="*/ 1967996 h 3116392"/>
                <a:gd name="connsiteX369" fmla="*/ 4798484 w 4950967"/>
                <a:gd name="connsiteY369" fmla="*/ 1967996 h 3116392"/>
                <a:gd name="connsiteX370" fmla="*/ 4831840 w 4950967"/>
                <a:gd name="connsiteY370" fmla="*/ 1977528 h 3116392"/>
                <a:gd name="connsiteX371" fmla="*/ 4865196 w 4950967"/>
                <a:gd name="connsiteY371" fmla="*/ 1982292 h 3116392"/>
                <a:gd name="connsiteX372" fmla="*/ 4869961 w 4950967"/>
                <a:gd name="connsiteY372" fmla="*/ 1982292 h 3116392"/>
                <a:gd name="connsiteX373" fmla="*/ 4874726 w 4950967"/>
                <a:gd name="connsiteY373" fmla="*/ 1977528 h 3116392"/>
                <a:gd name="connsiteX374" fmla="*/ 4879492 w 4950967"/>
                <a:gd name="connsiteY374" fmla="*/ 1972764 h 3116392"/>
                <a:gd name="connsiteX375" fmla="*/ 4874726 w 4950967"/>
                <a:gd name="connsiteY375" fmla="*/ 1967996 h 3116392"/>
                <a:gd name="connsiteX376" fmla="*/ 4869961 w 4950967"/>
                <a:gd name="connsiteY376" fmla="*/ 1967996 h 3116392"/>
                <a:gd name="connsiteX377" fmla="*/ 4865196 w 4950967"/>
                <a:gd name="connsiteY377" fmla="*/ 1972764 h 3116392"/>
                <a:gd name="connsiteX378" fmla="*/ 4860431 w 4950967"/>
                <a:gd name="connsiteY378" fmla="*/ 1972764 h 3116392"/>
                <a:gd name="connsiteX379" fmla="*/ 4846136 w 4950967"/>
                <a:gd name="connsiteY379" fmla="*/ 1967996 h 3116392"/>
                <a:gd name="connsiteX380" fmla="*/ 4846136 w 4950967"/>
                <a:gd name="connsiteY380" fmla="*/ 1963232 h 3116392"/>
                <a:gd name="connsiteX381" fmla="*/ 4860431 w 4950967"/>
                <a:gd name="connsiteY381" fmla="*/ 1963232 h 3116392"/>
                <a:gd name="connsiteX382" fmla="*/ 4869961 w 4950967"/>
                <a:gd name="connsiteY382" fmla="*/ 1958468 h 3116392"/>
                <a:gd name="connsiteX383" fmla="*/ 4884256 w 4950967"/>
                <a:gd name="connsiteY383" fmla="*/ 1953704 h 3116392"/>
                <a:gd name="connsiteX384" fmla="*/ 4898552 w 4950967"/>
                <a:gd name="connsiteY384" fmla="*/ 1958468 h 3116392"/>
                <a:gd name="connsiteX385" fmla="*/ 4917612 w 4950967"/>
                <a:gd name="connsiteY385" fmla="*/ 1982292 h 3116392"/>
                <a:gd name="connsiteX386" fmla="*/ 4931908 w 4950967"/>
                <a:gd name="connsiteY386" fmla="*/ 1987056 h 3116392"/>
                <a:gd name="connsiteX387" fmla="*/ 4931908 w 4950967"/>
                <a:gd name="connsiteY387" fmla="*/ 2020412 h 3116392"/>
                <a:gd name="connsiteX388" fmla="*/ 4936673 w 4950967"/>
                <a:gd name="connsiteY388" fmla="*/ 2025180 h 3116392"/>
                <a:gd name="connsiteX389" fmla="*/ 4941438 w 4950967"/>
                <a:gd name="connsiteY389" fmla="*/ 2034708 h 3116392"/>
                <a:gd name="connsiteX390" fmla="*/ 4931908 w 4950967"/>
                <a:gd name="connsiteY390" fmla="*/ 2058536 h 3116392"/>
                <a:gd name="connsiteX391" fmla="*/ 4927142 w 4950967"/>
                <a:gd name="connsiteY391" fmla="*/ 2077596 h 3116392"/>
                <a:gd name="connsiteX392" fmla="*/ 4917612 w 4950967"/>
                <a:gd name="connsiteY392" fmla="*/ 2091892 h 3116392"/>
                <a:gd name="connsiteX393" fmla="*/ 4893786 w 4950967"/>
                <a:gd name="connsiteY393" fmla="*/ 2120480 h 3116392"/>
                <a:gd name="connsiteX394" fmla="*/ 4869961 w 4950967"/>
                <a:gd name="connsiteY394" fmla="*/ 2139544 h 3116392"/>
                <a:gd name="connsiteX395" fmla="*/ 4836605 w 4950967"/>
                <a:gd name="connsiteY395" fmla="*/ 2187192 h 3116392"/>
                <a:gd name="connsiteX396" fmla="*/ 4831840 w 4950967"/>
                <a:gd name="connsiteY396" fmla="*/ 2206252 h 3116392"/>
                <a:gd name="connsiteX397" fmla="*/ 4831840 w 4950967"/>
                <a:gd name="connsiteY397" fmla="*/ 2225316 h 3116392"/>
                <a:gd name="connsiteX398" fmla="*/ 4836605 w 4950967"/>
                <a:gd name="connsiteY398" fmla="*/ 2244376 h 3116392"/>
                <a:gd name="connsiteX399" fmla="*/ 4836605 w 4950967"/>
                <a:gd name="connsiteY399" fmla="*/ 2249140 h 3116392"/>
                <a:gd name="connsiteX400" fmla="*/ 4831840 w 4950967"/>
                <a:gd name="connsiteY400" fmla="*/ 2253904 h 3116392"/>
                <a:gd name="connsiteX401" fmla="*/ 4827075 w 4950967"/>
                <a:gd name="connsiteY401" fmla="*/ 2253904 h 3116392"/>
                <a:gd name="connsiteX402" fmla="*/ 4812780 w 4950967"/>
                <a:gd name="connsiteY402" fmla="*/ 2263436 h 3116392"/>
                <a:gd name="connsiteX403" fmla="*/ 4798484 w 4950967"/>
                <a:gd name="connsiteY403" fmla="*/ 2287260 h 3116392"/>
                <a:gd name="connsiteX404" fmla="*/ 4798484 w 4950967"/>
                <a:gd name="connsiteY404" fmla="*/ 2292028 h 3116392"/>
                <a:gd name="connsiteX405" fmla="*/ 4803250 w 4950967"/>
                <a:gd name="connsiteY405" fmla="*/ 2296792 h 3116392"/>
                <a:gd name="connsiteX406" fmla="*/ 4812780 w 4950967"/>
                <a:gd name="connsiteY406" fmla="*/ 2296792 h 3116392"/>
                <a:gd name="connsiteX407" fmla="*/ 4822310 w 4950967"/>
                <a:gd name="connsiteY407" fmla="*/ 2296792 h 3116392"/>
                <a:gd name="connsiteX408" fmla="*/ 4831840 w 4950967"/>
                <a:gd name="connsiteY408" fmla="*/ 2292028 h 3116392"/>
                <a:gd name="connsiteX409" fmla="*/ 4836605 w 4950967"/>
                <a:gd name="connsiteY409" fmla="*/ 2292028 h 3116392"/>
                <a:gd name="connsiteX410" fmla="*/ 4836605 w 4950967"/>
                <a:gd name="connsiteY410" fmla="*/ 2306320 h 3116392"/>
                <a:gd name="connsiteX411" fmla="*/ 4831840 w 4950967"/>
                <a:gd name="connsiteY411" fmla="*/ 2315852 h 3116392"/>
                <a:gd name="connsiteX412" fmla="*/ 4822310 w 4950967"/>
                <a:gd name="connsiteY412" fmla="*/ 2320616 h 3116392"/>
                <a:gd name="connsiteX413" fmla="*/ 4817544 w 4950967"/>
                <a:gd name="connsiteY413" fmla="*/ 2320616 h 3116392"/>
                <a:gd name="connsiteX414" fmla="*/ 4808014 w 4950967"/>
                <a:gd name="connsiteY414" fmla="*/ 2325384 h 3116392"/>
                <a:gd name="connsiteX415" fmla="*/ 4803250 w 4950967"/>
                <a:gd name="connsiteY415" fmla="*/ 2330148 h 3116392"/>
                <a:gd name="connsiteX416" fmla="*/ 4803250 w 4950967"/>
                <a:gd name="connsiteY416" fmla="*/ 2349208 h 3116392"/>
                <a:gd name="connsiteX417" fmla="*/ 4808014 w 4950967"/>
                <a:gd name="connsiteY417" fmla="*/ 2349208 h 3116392"/>
                <a:gd name="connsiteX418" fmla="*/ 4817544 w 4950967"/>
                <a:gd name="connsiteY418" fmla="*/ 2339676 h 3116392"/>
                <a:gd name="connsiteX419" fmla="*/ 4827075 w 4950967"/>
                <a:gd name="connsiteY419" fmla="*/ 2339676 h 3116392"/>
                <a:gd name="connsiteX420" fmla="*/ 4827075 w 4950967"/>
                <a:gd name="connsiteY420" fmla="*/ 2344444 h 3116392"/>
                <a:gd name="connsiteX421" fmla="*/ 4812780 w 4950967"/>
                <a:gd name="connsiteY421" fmla="*/ 2382564 h 3116392"/>
                <a:gd name="connsiteX422" fmla="*/ 4803250 w 4950967"/>
                <a:gd name="connsiteY422" fmla="*/ 2425448 h 3116392"/>
                <a:gd name="connsiteX423" fmla="*/ 4788954 w 4950967"/>
                <a:gd name="connsiteY423" fmla="*/ 2449276 h 3116392"/>
                <a:gd name="connsiteX424" fmla="*/ 4784189 w 4950967"/>
                <a:gd name="connsiteY424" fmla="*/ 2482632 h 3116392"/>
                <a:gd name="connsiteX425" fmla="*/ 4779424 w 4950967"/>
                <a:gd name="connsiteY425" fmla="*/ 2496928 h 3116392"/>
                <a:gd name="connsiteX426" fmla="*/ 4769894 w 4950967"/>
                <a:gd name="connsiteY426" fmla="*/ 2511224 h 3116392"/>
                <a:gd name="connsiteX427" fmla="*/ 4765128 w 4950967"/>
                <a:gd name="connsiteY427" fmla="*/ 2511224 h 3116392"/>
                <a:gd name="connsiteX428" fmla="*/ 4755598 w 4950967"/>
                <a:gd name="connsiteY428" fmla="*/ 2482632 h 3116392"/>
                <a:gd name="connsiteX429" fmla="*/ 4741302 w 4950967"/>
                <a:gd name="connsiteY429" fmla="*/ 2477868 h 3116392"/>
                <a:gd name="connsiteX430" fmla="*/ 4741302 w 4950967"/>
                <a:gd name="connsiteY430" fmla="*/ 2468336 h 3116392"/>
                <a:gd name="connsiteX431" fmla="*/ 4746068 w 4950967"/>
                <a:gd name="connsiteY431" fmla="*/ 2434980 h 3116392"/>
                <a:gd name="connsiteX432" fmla="*/ 4741302 w 4950967"/>
                <a:gd name="connsiteY432" fmla="*/ 2415920 h 3116392"/>
                <a:gd name="connsiteX433" fmla="*/ 4736538 w 4950967"/>
                <a:gd name="connsiteY433" fmla="*/ 2415920 h 3116392"/>
                <a:gd name="connsiteX434" fmla="*/ 4727008 w 4950967"/>
                <a:gd name="connsiteY434" fmla="*/ 2430216 h 3116392"/>
                <a:gd name="connsiteX435" fmla="*/ 4717477 w 4950967"/>
                <a:gd name="connsiteY435" fmla="*/ 2434980 h 3116392"/>
                <a:gd name="connsiteX436" fmla="*/ 4717477 w 4950967"/>
                <a:gd name="connsiteY436" fmla="*/ 2449276 h 3116392"/>
                <a:gd name="connsiteX437" fmla="*/ 4703182 w 4950967"/>
                <a:gd name="connsiteY437" fmla="*/ 2473100 h 3116392"/>
                <a:gd name="connsiteX438" fmla="*/ 4703182 w 4950967"/>
                <a:gd name="connsiteY438" fmla="*/ 2477868 h 3116392"/>
                <a:gd name="connsiteX439" fmla="*/ 4688886 w 4950967"/>
                <a:gd name="connsiteY439" fmla="*/ 2477868 h 3116392"/>
                <a:gd name="connsiteX440" fmla="*/ 4674591 w 4950967"/>
                <a:gd name="connsiteY440" fmla="*/ 2477868 h 3116392"/>
                <a:gd name="connsiteX441" fmla="*/ 4665060 w 4950967"/>
                <a:gd name="connsiteY441" fmla="*/ 2482632 h 3116392"/>
                <a:gd name="connsiteX442" fmla="*/ 4655530 w 4950967"/>
                <a:gd name="connsiteY442" fmla="*/ 2506456 h 3116392"/>
                <a:gd name="connsiteX443" fmla="*/ 4631704 w 4950967"/>
                <a:gd name="connsiteY443" fmla="*/ 2544576 h 3116392"/>
                <a:gd name="connsiteX444" fmla="*/ 4622174 w 4950967"/>
                <a:gd name="connsiteY444" fmla="*/ 2563640 h 3116392"/>
                <a:gd name="connsiteX445" fmla="*/ 4612644 w 4950967"/>
                <a:gd name="connsiteY445" fmla="*/ 2568404 h 3116392"/>
                <a:gd name="connsiteX446" fmla="*/ 4607879 w 4950967"/>
                <a:gd name="connsiteY446" fmla="*/ 2568404 h 3116392"/>
                <a:gd name="connsiteX447" fmla="*/ 4603114 w 4950967"/>
                <a:gd name="connsiteY447" fmla="*/ 2563640 h 3116392"/>
                <a:gd name="connsiteX448" fmla="*/ 4584054 w 4950967"/>
                <a:gd name="connsiteY448" fmla="*/ 2554108 h 3116392"/>
                <a:gd name="connsiteX449" fmla="*/ 4569758 w 4950967"/>
                <a:gd name="connsiteY449" fmla="*/ 2558872 h 3116392"/>
                <a:gd name="connsiteX450" fmla="*/ 4564993 w 4950967"/>
                <a:gd name="connsiteY450" fmla="*/ 2573168 h 3116392"/>
                <a:gd name="connsiteX451" fmla="*/ 4564993 w 4950967"/>
                <a:gd name="connsiteY451" fmla="*/ 2587464 h 3116392"/>
                <a:gd name="connsiteX452" fmla="*/ 4479220 w 4950967"/>
                <a:gd name="connsiteY452" fmla="*/ 2587464 h 3116392"/>
                <a:gd name="connsiteX453" fmla="*/ 4407744 w 4950967"/>
                <a:gd name="connsiteY453" fmla="*/ 2587464 h 3116392"/>
                <a:gd name="connsiteX454" fmla="*/ 4279085 w 4950967"/>
                <a:gd name="connsiteY454" fmla="*/ 2587464 h 3116392"/>
                <a:gd name="connsiteX455" fmla="*/ 4279085 w 4950967"/>
                <a:gd name="connsiteY455" fmla="*/ 2644644 h 3116392"/>
                <a:gd name="connsiteX456" fmla="*/ 4279085 w 4950967"/>
                <a:gd name="connsiteY456" fmla="*/ 2678000 h 3116392"/>
                <a:gd name="connsiteX457" fmla="*/ 4217138 w 4950967"/>
                <a:gd name="connsiteY457" fmla="*/ 2678000 h 3116392"/>
                <a:gd name="connsiteX458" fmla="*/ 4217138 w 4950967"/>
                <a:gd name="connsiteY458" fmla="*/ 2682768 h 3116392"/>
                <a:gd name="connsiteX459" fmla="*/ 4231434 w 4950967"/>
                <a:gd name="connsiteY459" fmla="*/ 2687532 h 3116392"/>
                <a:gd name="connsiteX460" fmla="*/ 4245729 w 4950967"/>
                <a:gd name="connsiteY460" fmla="*/ 2701828 h 3116392"/>
                <a:gd name="connsiteX461" fmla="*/ 4264790 w 4950967"/>
                <a:gd name="connsiteY461" fmla="*/ 2720888 h 3116392"/>
                <a:gd name="connsiteX462" fmla="*/ 4283850 w 4950967"/>
                <a:gd name="connsiteY462" fmla="*/ 2739948 h 3116392"/>
                <a:gd name="connsiteX463" fmla="*/ 4307676 w 4950967"/>
                <a:gd name="connsiteY463" fmla="*/ 2754244 h 3116392"/>
                <a:gd name="connsiteX464" fmla="*/ 4326736 w 4950967"/>
                <a:gd name="connsiteY464" fmla="*/ 2768540 h 3116392"/>
                <a:gd name="connsiteX465" fmla="*/ 4331502 w 4950967"/>
                <a:gd name="connsiteY465" fmla="*/ 2778068 h 3116392"/>
                <a:gd name="connsiteX466" fmla="*/ 4336267 w 4950967"/>
                <a:gd name="connsiteY466" fmla="*/ 2787600 h 3116392"/>
                <a:gd name="connsiteX467" fmla="*/ 4336267 w 4950967"/>
                <a:gd name="connsiteY467" fmla="*/ 2797128 h 3116392"/>
                <a:gd name="connsiteX468" fmla="*/ 4345797 w 4950967"/>
                <a:gd name="connsiteY468" fmla="*/ 2806660 h 3116392"/>
                <a:gd name="connsiteX469" fmla="*/ 4364858 w 4950967"/>
                <a:gd name="connsiteY469" fmla="*/ 2811424 h 3116392"/>
                <a:gd name="connsiteX470" fmla="*/ 4369623 w 4950967"/>
                <a:gd name="connsiteY470" fmla="*/ 2820956 h 3116392"/>
                <a:gd name="connsiteX471" fmla="*/ 4369623 w 4950967"/>
                <a:gd name="connsiteY471" fmla="*/ 2825720 h 3116392"/>
                <a:gd name="connsiteX472" fmla="*/ 4364858 w 4950967"/>
                <a:gd name="connsiteY472" fmla="*/ 2840016 h 3116392"/>
                <a:gd name="connsiteX473" fmla="*/ 4364858 w 4950967"/>
                <a:gd name="connsiteY473" fmla="*/ 2854312 h 3116392"/>
                <a:gd name="connsiteX474" fmla="*/ 4364858 w 4950967"/>
                <a:gd name="connsiteY474" fmla="*/ 2868608 h 3116392"/>
                <a:gd name="connsiteX475" fmla="*/ 4245729 w 4950967"/>
                <a:gd name="connsiteY475" fmla="*/ 2868608 h 3116392"/>
                <a:gd name="connsiteX476" fmla="*/ 4212374 w 4950967"/>
                <a:gd name="connsiteY476" fmla="*/ 2873372 h 3116392"/>
                <a:gd name="connsiteX477" fmla="*/ 4164722 w 4950967"/>
                <a:gd name="connsiteY477" fmla="*/ 2873372 h 3116392"/>
                <a:gd name="connsiteX478" fmla="*/ 4150427 w 4950967"/>
                <a:gd name="connsiteY478" fmla="*/ 2892432 h 3116392"/>
                <a:gd name="connsiteX479" fmla="*/ 4131366 w 4950967"/>
                <a:gd name="connsiteY479" fmla="*/ 2930552 h 3116392"/>
                <a:gd name="connsiteX480" fmla="*/ 4112306 w 4950967"/>
                <a:gd name="connsiteY480" fmla="*/ 2963908 h 3116392"/>
                <a:gd name="connsiteX481" fmla="*/ 4093245 w 4950967"/>
                <a:gd name="connsiteY481" fmla="*/ 2992500 h 3116392"/>
                <a:gd name="connsiteX482" fmla="*/ 4093245 w 4950967"/>
                <a:gd name="connsiteY482" fmla="*/ 3002032 h 3116392"/>
                <a:gd name="connsiteX483" fmla="*/ 4093245 w 4950967"/>
                <a:gd name="connsiteY483" fmla="*/ 3006796 h 3116392"/>
                <a:gd name="connsiteX484" fmla="*/ 4112306 w 4950967"/>
                <a:gd name="connsiteY484" fmla="*/ 3030620 h 3116392"/>
                <a:gd name="connsiteX485" fmla="*/ 4107541 w 4950967"/>
                <a:gd name="connsiteY485" fmla="*/ 3040152 h 3116392"/>
                <a:gd name="connsiteX486" fmla="*/ 4102776 w 4950967"/>
                <a:gd name="connsiteY486" fmla="*/ 3044916 h 3116392"/>
                <a:gd name="connsiteX487" fmla="*/ 4098010 w 4950967"/>
                <a:gd name="connsiteY487" fmla="*/ 3049680 h 3116392"/>
                <a:gd name="connsiteX488" fmla="*/ 4098010 w 4950967"/>
                <a:gd name="connsiteY488" fmla="*/ 3059212 h 3116392"/>
                <a:gd name="connsiteX489" fmla="*/ 4093245 w 4950967"/>
                <a:gd name="connsiteY489" fmla="*/ 3073508 h 3116392"/>
                <a:gd name="connsiteX490" fmla="*/ 4098010 w 4950967"/>
                <a:gd name="connsiteY490" fmla="*/ 3083036 h 3116392"/>
                <a:gd name="connsiteX491" fmla="*/ 4098010 w 4950967"/>
                <a:gd name="connsiteY491" fmla="*/ 3092568 h 3116392"/>
                <a:gd name="connsiteX492" fmla="*/ 4093245 w 4950967"/>
                <a:gd name="connsiteY492" fmla="*/ 3102096 h 3116392"/>
                <a:gd name="connsiteX493" fmla="*/ 4093245 w 4950967"/>
                <a:gd name="connsiteY493" fmla="*/ 3111628 h 3116392"/>
                <a:gd name="connsiteX494" fmla="*/ 4088480 w 4950967"/>
                <a:gd name="connsiteY494" fmla="*/ 3116392 h 3116392"/>
                <a:gd name="connsiteX495" fmla="*/ 4083715 w 4950967"/>
                <a:gd name="connsiteY495" fmla="*/ 3116392 h 3116392"/>
                <a:gd name="connsiteX496" fmla="*/ 4040829 w 4950967"/>
                <a:gd name="connsiteY496" fmla="*/ 3068740 h 3116392"/>
                <a:gd name="connsiteX497" fmla="*/ 3997943 w 4950967"/>
                <a:gd name="connsiteY497" fmla="*/ 3021092 h 3116392"/>
                <a:gd name="connsiteX498" fmla="*/ 3978882 w 4950967"/>
                <a:gd name="connsiteY498" fmla="*/ 3006796 h 3116392"/>
                <a:gd name="connsiteX499" fmla="*/ 3964587 w 4950967"/>
                <a:gd name="connsiteY499" fmla="*/ 2992500 h 3116392"/>
                <a:gd name="connsiteX500" fmla="*/ 3940761 w 4950967"/>
                <a:gd name="connsiteY500" fmla="*/ 2973440 h 3116392"/>
                <a:gd name="connsiteX501" fmla="*/ 3883580 w 4950967"/>
                <a:gd name="connsiteY501" fmla="*/ 2921024 h 3116392"/>
                <a:gd name="connsiteX502" fmla="*/ 3854989 w 4950967"/>
                <a:gd name="connsiteY502" fmla="*/ 2901964 h 3116392"/>
                <a:gd name="connsiteX503" fmla="*/ 3826398 w 4950967"/>
                <a:gd name="connsiteY503" fmla="*/ 2873372 h 3116392"/>
                <a:gd name="connsiteX504" fmla="*/ 3797807 w 4950967"/>
                <a:gd name="connsiteY504" fmla="*/ 2859076 h 3116392"/>
                <a:gd name="connsiteX505" fmla="*/ 3773982 w 4950967"/>
                <a:gd name="connsiteY505" fmla="*/ 2849548 h 3116392"/>
                <a:gd name="connsiteX506" fmla="*/ 3764452 w 4950967"/>
                <a:gd name="connsiteY506" fmla="*/ 2844780 h 3116392"/>
                <a:gd name="connsiteX507" fmla="*/ 3754921 w 4950967"/>
                <a:gd name="connsiteY507" fmla="*/ 2835252 h 3116392"/>
                <a:gd name="connsiteX508" fmla="*/ 3745391 w 4950967"/>
                <a:gd name="connsiteY508" fmla="*/ 2835252 h 3116392"/>
                <a:gd name="connsiteX509" fmla="*/ 3745391 w 4950967"/>
                <a:gd name="connsiteY509" fmla="*/ 2844780 h 3116392"/>
                <a:gd name="connsiteX510" fmla="*/ 3754921 w 4950967"/>
                <a:gd name="connsiteY510" fmla="*/ 2849548 h 3116392"/>
                <a:gd name="connsiteX511" fmla="*/ 3764452 w 4950967"/>
                <a:gd name="connsiteY511" fmla="*/ 2854312 h 3116392"/>
                <a:gd name="connsiteX512" fmla="*/ 3773982 w 4950967"/>
                <a:gd name="connsiteY512" fmla="*/ 2854312 h 3116392"/>
                <a:gd name="connsiteX513" fmla="*/ 3783512 w 4950967"/>
                <a:gd name="connsiteY513" fmla="*/ 2859076 h 3116392"/>
                <a:gd name="connsiteX514" fmla="*/ 3807338 w 4950967"/>
                <a:gd name="connsiteY514" fmla="*/ 2873372 h 3116392"/>
                <a:gd name="connsiteX515" fmla="*/ 3812103 w 4950967"/>
                <a:gd name="connsiteY515" fmla="*/ 2878136 h 3116392"/>
                <a:gd name="connsiteX516" fmla="*/ 3735861 w 4950967"/>
                <a:gd name="connsiteY516" fmla="*/ 2854312 h 3116392"/>
                <a:gd name="connsiteX517" fmla="*/ 3707270 w 4950967"/>
                <a:gd name="connsiteY517" fmla="*/ 2849548 h 3116392"/>
                <a:gd name="connsiteX518" fmla="*/ 3702505 w 4950967"/>
                <a:gd name="connsiteY518" fmla="*/ 2844780 h 3116392"/>
                <a:gd name="connsiteX519" fmla="*/ 3721565 w 4950967"/>
                <a:gd name="connsiteY519" fmla="*/ 2830484 h 3116392"/>
                <a:gd name="connsiteX520" fmla="*/ 3716800 w 4950967"/>
                <a:gd name="connsiteY520" fmla="*/ 2825720 h 3116392"/>
                <a:gd name="connsiteX521" fmla="*/ 3707270 w 4950967"/>
                <a:gd name="connsiteY521" fmla="*/ 2825720 h 3116392"/>
                <a:gd name="connsiteX522" fmla="*/ 3692974 w 4950967"/>
                <a:gd name="connsiteY522" fmla="*/ 2835252 h 3116392"/>
                <a:gd name="connsiteX523" fmla="*/ 3688210 w 4950967"/>
                <a:gd name="connsiteY523" fmla="*/ 2835252 h 3116392"/>
                <a:gd name="connsiteX524" fmla="*/ 3688210 w 4950967"/>
                <a:gd name="connsiteY524" fmla="*/ 2830484 h 3116392"/>
                <a:gd name="connsiteX525" fmla="*/ 3688210 w 4950967"/>
                <a:gd name="connsiteY525" fmla="*/ 2820956 h 3116392"/>
                <a:gd name="connsiteX526" fmla="*/ 3678679 w 4950967"/>
                <a:gd name="connsiteY526" fmla="*/ 2816192 h 3116392"/>
                <a:gd name="connsiteX527" fmla="*/ 3669149 w 4950967"/>
                <a:gd name="connsiteY527" fmla="*/ 2816192 h 3116392"/>
                <a:gd name="connsiteX528" fmla="*/ 3664384 w 4950967"/>
                <a:gd name="connsiteY528" fmla="*/ 2820956 h 3116392"/>
                <a:gd name="connsiteX529" fmla="*/ 3650088 w 4950967"/>
                <a:gd name="connsiteY529" fmla="*/ 2830484 h 3116392"/>
                <a:gd name="connsiteX530" fmla="*/ 3650088 w 4950967"/>
                <a:gd name="connsiteY530" fmla="*/ 2835252 h 3116392"/>
                <a:gd name="connsiteX531" fmla="*/ 3678679 w 4950967"/>
                <a:gd name="connsiteY531" fmla="*/ 2840016 h 3116392"/>
                <a:gd name="connsiteX532" fmla="*/ 3688210 w 4950967"/>
                <a:gd name="connsiteY532" fmla="*/ 2844780 h 3116392"/>
                <a:gd name="connsiteX533" fmla="*/ 3688210 w 4950967"/>
                <a:gd name="connsiteY533" fmla="*/ 2849548 h 3116392"/>
                <a:gd name="connsiteX534" fmla="*/ 3664384 w 4950967"/>
                <a:gd name="connsiteY534" fmla="*/ 2849548 h 3116392"/>
                <a:gd name="connsiteX535" fmla="*/ 3635793 w 4950967"/>
                <a:gd name="connsiteY535" fmla="*/ 2854312 h 3116392"/>
                <a:gd name="connsiteX536" fmla="*/ 3583376 w 4950967"/>
                <a:gd name="connsiteY536" fmla="*/ 2887668 h 3116392"/>
                <a:gd name="connsiteX537" fmla="*/ 3535725 w 4950967"/>
                <a:gd name="connsiteY537" fmla="*/ 2901964 h 3116392"/>
                <a:gd name="connsiteX538" fmla="*/ 3464248 w 4950967"/>
                <a:gd name="connsiteY538" fmla="*/ 2930552 h 3116392"/>
                <a:gd name="connsiteX539" fmla="*/ 3435658 w 4950967"/>
                <a:gd name="connsiteY539" fmla="*/ 2935320 h 3116392"/>
                <a:gd name="connsiteX540" fmla="*/ 3416597 w 4950967"/>
                <a:gd name="connsiteY540" fmla="*/ 2940084 h 3116392"/>
                <a:gd name="connsiteX541" fmla="*/ 3373711 w 4950967"/>
                <a:gd name="connsiteY541" fmla="*/ 2925788 h 3116392"/>
                <a:gd name="connsiteX542" fmla="*/ 3311764 w 4950967"/>
                <a:gd name="connsiteY542" fmla="*/ 2897196 h 3116392"/>
                <a:gd name="connsiteX543" fmla="*/ 3225992 w 4950967"/>
                <a:gd name="connsiteY543" fmla="*/ 2887668 h 3116392"/>
                <a:gd name="connsiteX544" fmla="*/ 3164046 w 4950967"/>
                <a:gd name="connsiteY544" fmla="*/ 2849548 h 3116392"/>
                <a:gd name="connsiteX545" fmla="*/ 3106864 w 4950967"/>
                <a:gd name="connsiteY545" fmla="*/ 2830484 h 3116392"/>
                <a:gd name="connsiteX546" fmla="*/ 3068743 w 4950967"/>
                <a:gd name="connsiteY546" fmla="*/ 2797128 h 3116392"/>
                <a:gd name="connsiteX547" fmla="*/ 3044917 w 4950967"/>
                <a:gd name="connsiteY547" fmla="*/ 2792364 h 3116392"/>
                <a:gd name="connsiteX548" fmla="*/ 3030622 w 4950967"/>
                <a:gd name="connsiteY548" fmla="*/ 2787600 h 3116392"/>
                <a:gd name="connsiteX549" fmla="*/ 2978206 w 4950967"/>
                <a:gd name="connsiteY549" fmla="*/ 2773304 h 3116392"/>
                <a:gd name="connsiteX550" fmla="*/ 2921024 w 4950967"/>
                <a:gd name="connsiteY550" fmla="*/ 2763772 h 3116392"/>
                <a:gd name="connsiteX551" fmla="*/ 2868608 w 4950967"/>
                <a:gd name="connsiteY551" fmla="*/ 2730416 h 3116392"/>
                <a:gd name="connsiteX552" fmla="*/ 2835252 w 4950967"/>
                <a:gd name="connsiteY552" fmla="*/ 2720888 h 3116392"/>
                <a:gd name="connsiteX553" fmla="*/ 2806661 w 4950967"/>
                <a:gd name="connsiteY553" fmla="*/ 2706592 h 3116392"/>
                <a:gd name="connsiteX554" fmla="*/ 2739949 w 4950967"/>
                <a:gd name="connsiteY554" fmla="*/ 2687532 h 3116392"/>
                <a:gd name="connsiteX555" fmla="*/ 2716124 w 4950967"/>
                <a:gd name="connsiteY555" fmla="*/ 2673236 h 3116392"/>
                <a:gd name="connsiteX556" fmla="*/ 2692298 w 4950967"/>
                <a:gd name="connsiteY556" fmla="*/ 2654176 h 3116392"/>
                <a:gd name="connsiteX557" fmla="*/ 2658942 w 4950967"/>
                <a:gd name="connsiteY557" fmla="*/ 2635116 h 3116392"/>
                <a:gd name="connsiteX558" fmla="*/ 2639881 w 4950967"/>
                <a:gd name="connsiteY558" fmla="*/ 2620820 h 3116392"/>
                <a:gd name="connsiteX559" fmla="*/ 2625586 w 4950967"/>
                <a:gd name="connsiteY559" fmla="*/ 2611288 h 3116392"/>
                <a:gd name="connsiteX560" fmla="*/ 2596995 w 4950967"/>
                <a:gd name="connsiteY560" fmla="*/ 2582700 h 3116392"/>
                <a:gd name="connsiteX561" fmla="*/ 2587465 w 4950967"/>
                <a:gd name="connsiteY561" fmla="*/ 2568404 h 3116392"/>
                <a:gd name="connsiteX562" fmla="*/ 2573170 w 4950967"/>
                <a:gd name="connsiteY562" fmla="*/ 2563640 h 3116392"/>
                <a:gd name="connsiteX563" fmla="*/ 2563639 w 4950967"/>
                <a:gd name="connsiteY563" fmla="*/ 2558872 h 3116392"/>
                <a:gd name="connsiteX564" fmla="*/ 2530284 w 4950967"/>
                <a:gd name="connsiteY564" fmla="*/ 2563640 h 3116392"/>
                <a:gd name="connsiteX565" fmla="*/ 2477867 w 4950967"/>
                <a:gd name="connsiteY565" fmla="*/ 2549344 h 3116392"/>
                <a:gd name="connsiteX566" fmla="*/ 2454041 w 4950967"/>
                <a:gd name="connsiteY566" fmla="*/ 2544576 h 3116392"/>
                <a:gd name="connsiteX567" fmla="*/ 2401625 w 4950967"/>
                <a:gd name="connsiteY567" fmla="*/ 2525516 h 3116392"/>
                <a:gd name="connsiteX568" fmla="*/ 2334913 w 4950967"/>
                <a:gd name="connsiteY568" fmla="*/ 2501692 h 3116392"/>
                <a:gd name="connsiteX569" fmla="*/ 2315853 w 4950967"/>
                <a:gd name="connsiteY569" fmla="*/ 2477868 h 3116392"/>
                <a:gd name="connsiteX570" fmla="*/ 2296792 w 4950967"/>
                <a:gd name="connsiteY570" fmla="*/ 2449276 h 3116392"/>
                <a:gd name="connsiteX571" fmla="*/ 2263436 w 4950967"/>
                <a:gd name="connsiteY571" fmla="*/ 2420684 h 3116392"/>
                <a:gd name="connsiteX572" fmla="*/ 2244376 w 4950967"/>
                <a:gd name="connsiteY572" fmla="*/ 2406388 h 3116392"/>
                <a:gd name="connsiteX573" fmla="*/ 2206255 w 4950967"/>
                <a:gd name="connsiteY573" fmla="*/ 2387328 h 3116392"/>
                <a:gd name="connsiteX574" fmla="*/ 2187194 w 4950967"/>
                <a:gd name="connsiteY574" fmla="*/ 2377800 h 3116392"/>
                <a:gd name="connsiteX575" fmla="*/ 2153838 w 4950967"/>
                <a:gd name="connsiteY575" fmla="*/ 2363504 h 3116392"/>
                <a:gd name="connsiteX576" fmla="*/ 2101422 w 4950967"/>
                <a:gd name="connsiteY576" fmla="*/ 2339676 h 3116392"/>
                <a:gd name="connsiteX577" fmla="*/ 2087126 w 4950967"/>
                <a:gd name="connsiteY577" fmla="*/ 2315852 h 3116392"/>
                <a:gd name="connsiteX578" fmla="*/ 2077596 w 4950967"/>
                <a:gd name="connsiteY578" fmla="*/ 2296792 h 3116392"/>
                <a:gd name="connsiteX579" fmla="*/ 2049006 w 4950967"/>
                <a:gd name="connsiteY579" fmla="*/ 2272964 h 3116392"/>
                <a:gd name="connsiteX580" fmla="*/ 2020415 w 4950967"/>
                <a:gd name="connsiteY580" fmla="*/ 2230080 h 3116392"/>
                <a:gd name="connsiteX581" fmla="*/ 2010884 w 4950967"/>
                <a:gd name="connsiteY581" fmla="*/ 2211020 h 3116392"/>
                <a:gd name="connsiteX582" fmla="*/ 2006119 w 4950967"/>
                <a:gd name="connsiteY582" fmla="*/ 2187192 h 3116392"/>
                <a:gd name="connsiteX583" fmla="*/ 1996589 w 4950967"/>
                <a:gd name="connsiteY583" fmla="*/ 2172896 h 3116392"/>
                <a:gd name="connsiteX584" fmla="*/ 1987059 w 4950967"/>
                <a:gd name="connsiteY584" fmla="*/ 2158604 h 3116392"/>
                <a:gd name="connsiteX585" fmla="*/ 1991824 w 4950967"/>
                <a:gd name="connsiteY585" fmla="*/ 2153836 h 3116392"/>
                <a:gd name="connsiteX586" fmla="*/ 2006119 w 4950967"/>
                <a:gd name="connsiteY586" fmla="*/ 2144308 h 3116392"/>
                <a:gd name="connsiteX587" fmla="*/ 2034710 w 4950967"/>
                <a:gd name="connsiteY587" fmla="*/ 2139544 h 3116392"/>
                <a:gd name="connsiteX588" fmla="*/ 2053771 w 4950967"/>
                <a:gd name="connsiteY588" fmla="*/ 2130012 h 3116392"/>
                <a:gd name="connsiteX589" fmla="*/ 2053771 w 4950967"/>
                <a:gd name="connsiteY589" fmla="*/ 2120480 h 3116392"/>
                <a:gd name="connsiteX590" fmla="*/ 2053771 w 4950967"/>
                <a:gd name="connsiteY590" fmla="*/ 2115716 h 3116392"/>
                <a:gd name="connsiteX591" fmla="*/ 2044240 w 4950967"/>
                <a:gd name="connsiteY591" fmla="*/ 2101420 h 3116392"/>
                <a:gd name="connsiteX592" fmla="*/ 2025180 w 4950967"/>
                <a:gd name="connsiteY592" fmla="*/ 2096656 h 3116392"/>
                <a:gd name="connsiteX593" fmla="*/ 2015650 w 4950967"/>
                <a:gd name="connsiteY593" fmla="*/ 2096656 h 3116392"/>
                <a:gd name="connsiteX594" fmla="*/ 2015650 w 4950967"/>
                <a:gd name="connsiteY594" fmla="*/ 2091892 h 3116392"/>
                <a:gd name="connsiteX595" fmla="*/ 2020415 w 4950967"/>
                <a:gd name="connsiteY595" fmla="*/ 2082360 h 3116392"/>
                <a:gd name="connsiteX596" fmla="*/ 2029945 w 4950967"/>
                <a:gd name="connsiteY596" fmla="*/ 2072832 h 3116392"/>
                <a:gd name="connsiteX597" fmla="*/ 2044240 w 4950967"/>
                <a:gd name="connsiteY597" fmla="*/ 2053768 h 3116392"/>
                <a:gd name="connsiteX598" fmla="*/ 2058536 w 4950967"/>
                <a:gd name="connsiteY598" fmla="*/ 2039476 h 3116392"/>
                <a:gd name="connsiteX599" fmla="*/ 2058536 w 4950967"/>
                <a:gd name="connsiteY599" fmla="*/ 2015648 h 3116392"/>
                <a:gd name="connsiteX600" fmla="*/ 2058536 w 4950967"/>
                <a:gd name="connsiteY600" fmla="*/ 1996588 h 3116392"/>
                <a:gd name="connsiteX601" fmla="*/ 2058536 w 4950967"/>
                <a:gd name="connsiteY601" fmla="*/ 1977528 h 3116392"/>
                <a:gd name="connsiteX602" fmla="*/ 2025180 w 4950967"/>
                <a:gd name="connsiteY602" fmla="*/ 1953704 h 3116392"/>
                <a:gd name="connsiteX603" fmla="*/ 2020415 w 4950967"/>
                <a:gd name="connsiteY603" fmla="*/ 1944172 h 3116392"/>
                <a:gd name="connsiteX604" fmla="*/ 2010884 w 4950967"/>
                <a:gd name="connsiteY604" fmla="*/ 1920348 h 3116392"/>
                <a:gd name="connsiteX605" fmla="*/ 1991824 w 4950967"/>
                <a:gd name="connsiteY605" fmla="*/ 1891756 h 3116392"/>
                <a:gd name="connsiteX606" fmla="*/ 1991824 w 4950967"/>
                <a:gd name="connsiteY606" fmla="*/ 1834572 h 3116392"/>
                <a:gd name="connsiteX607" fmla="*/ 1967998 w 4950967"/>
                <a:gd name="connsiteY607" fmla="*/ 1782156 h 3116392"/>
                <a:gd name="connsiteX608" fmla="*/ 1944173 w 4950967"/>
                <a:gd name="connsiteY608" fmla="*/ 1758332 h 3116392"/>
                <a:gd name="connsiteX609" fmla="*/ 1934642 w 4950967"/>
                <a:gd name="connsiteY609" fmla="*/ 1748800 h 3116392"/>
                <a:gd name="connsiteX610" fmla="*/ 1901287 w 4950967"/>
                <a:gd name="connsiteY610" fmla="*/ 1710680 h 3116392"/>
                <a:gd name="connsiteX611" fmla="*/ 1872696 w 4950967"/>
                <a:gd name="connsiteY611" fmla="*/ 1686856 h 3116392"/>
                <a:gd name="connsiteX612" fmla="*/ 1848870 w 4950967"/>
                <a:gd name="connsiteY612" fmla="*/ 1643968 h 3116392"/>
                <a:gd name="connsiteX613" fmla="*/ 1825044 w 4950967"/>
                <a:gd name="connsiteY613" fmla="*/ 1620144 h 3116392"/>
                <a:gd name="connsiteX614" fmla="*/ 1791689 w 4950967"/>
                <a:gd name="connsiteY614" fmla="*/ 1572492 h 3116392"/>
                <a:gd name="connsiteX615" fmla="*/ 1767863 w 4950967"/>
                <a:gd name="connsiteY615" fmla="*/ 1548668 h 3116392"/>
                <a:gd name="connsiteX616" fmla="*/ 1663030 w 4950967"/>
                <a:gd name="connsiteY616" fmla="*/ 1472424 h 3116392"/>
                <a:gd name="connsiteX617" fmla="*/ 1667795 w 4950967"/>
                <a:gd name="connsiteY617" fmla="*/ 1472424 h 3116392"/>
                <a:gd name="connsiteX618" fmla="*/ 1701151 w 4950967"/>
                <a:gd name="connsiteY618" fmla="*/ 1491484 h 3116392"/>
                <a:gd name="connsiteX619" fmla="*/ 1705916 w 4950967"/>
                <a:gd name="connsiteY619" fmla="*/ 1486720 h 3116392"/>
                <a:gd name="connsiteX620" fmla="*/ 1705916 w 4950967"/>
                <a:gd name="connsiteY620" fmla="*/ 1477188 h 3116392"/>
                <a:gd name="connsiteX621" fmla="*/ 1701151 w 4950967"/>
                <a:gd name="connsiteY621" fmla="*/ 1467660 h 3116392"/>
                <a:gd name="connsiteX622" fmla="*/ 1696386 w 4950967"/>
                <a:gd name="connsiteY622" fmla="*/ 1462896 h 3116392"/>
                <a:gd name="connsiteX623" fmla="*/ 1686856 w 4950967"/>
                <a:gd name="connsiteY623" fmla="*/ 1467660 h 3116392"/>
                <a:gd name="connsiteX624" fmla="*/ 1677326 w 4950967"/>
                <a:gd name="connsiteY624" fmla="*/ 1462896 h 3116392"/>
                <a:gd name="connsiteX625" fmla="*/ 1667795 w 4950967"/>
                <a:gd name="connsiteY625" fmla="*/ 1462896 h 3116392"/>
                <a:gd name="connsiteX626" fmla="*/ 1653500 w 4950967"/>
                <a:gd name="connsiteY626" fmla="*/ 1458128 h 3116392"/>
                <a:gd name="connsiteX627" fmla="*/ 1634439 w 4950967"/>
                <a:gd name="connsiteY627" fmla="*/ 1443832 h 3116392"/>
                <a:gd name="connsiteX628" fmla="*/ 1624909 w 4950967"/>
                <a:gd name="connsiteY628" fmla="*/ 1434304 h 3116392"/>
                <a:gd name="connsiteX629" fmla="*/ 1624909 w 4950967"/>
                <a:gd name="connsiteY629" fmla="*/ 1415244 h 3116392"/>
                <a:gd name="connsiteX630" fmla="*/ 1591553 w 4950967"/>
                <a:gd name="connsiteY630" fmla="*/ 1381888 h 3116392"/>
                <a:gd name="connsiteX631" fmla="*/ 1582023 w 4950967"/>
                <a:gd name="connsiteY631" fmla="*/ 1367592 h 3116392"/>
                <a:gd name="connsiteX632" fmla="*/ 1586788 w 4950967"/>
                <a:gd name="connsiteY632" fmla="*/ 1367592 h 3116392"/>
                <a:gd name="connsiteX633" fmla="*/ 1596318 w 4950967"/>
                <a:gd name="connsiteY633" fmla="*/ 1372356 h 3116392"/>
                <a:gd name="connsiteX634" fmla="*/ 1601084 w 4950967"/>
                <a:gd name="connsiteY634" fmla="*/ 1377120 h 3116392"/>
                <a:gd name="connsiteX635" fmla="*/ 1610614 w 4950967"/>
                <a:gd name="connsiteY635" fmla="*/ 1377120 h 3116392"/>
                <a:gd name="connsiteX636" fmla="*/ 1620144 w 4950967"/>
                <a:gd name="connsiteY636" fmla="*/ 1372356 h 3116392"/>
                <a:gd name="connsiteX637" fmla="*/ 1615379 w 4950967"/>
                <a:gd name="connsiteY637" fmla="*/ 1367592 h 3116392"/>
                <a:gd name="connsiteX638" fmla="*/ 1610614 w 4950967"/>
                <a:gd name="connsiteY638" fmla="*/ 1362828 h 3116392"/>
                <a:gd name="connsiteX639" fmla="*/ 1567728 w 4950967"/>
                <a:gd name="connsiteY639" fmla="*/ 1343764 h 3116392"/>
                <a:gd name="connsiteX640" fmla="*/ 1553432 w 4950967"/>
                <a:gd name="connsiteY640" fmla="*/ 1334236 h 3116392"/>
                <a:gd name="connsiteX641" fmla="*/ 1515311 w 4950967"/>
                <a:gd name="connsiteY641" fmla="*/ 1315176 h 3116392"/>
                <a:gd name="connsiteX642" fmla="*/ 1505781 w 4950967"/>
                <a:gd name="connsiteY642" fmla="*/ 1305644 h 3116392"/>
                <a:gd name="connsiteX643" fmla="*/ 1501016 w 4950967"/>
                <a:gd name="connsiteY643" fmla="*/ 1286584 h 3116392"/>
                <a:gd name="connsiteX644" fmla="*/ 1491486 w 4950967"/>
                <a:gd name="connsiteY644" fmla="*/ 1286584 h 3116392"/>
                <a:gd name="connsiteX645" fmla="*/ 1486720 w 4950967"/>
                <a:gd name="connsiteY645" fmla="*/ 1291348 h 3116392"/>
                <a:gd name="connsiteX646" fmla="*/ 1462895 w 4950967"/>
                <a:gd name="connsiteY646" fmla="*/ 1296116 h 3116392"/>
                <a:gd name="connsiteX647" fmla="*/ 1458130 w 4950967"/>
                <a:gd name="connsiteY647" fmla="*/ 1291348 h 3116392"/>
                <a:gd name="connsiteX648" fmla="*/ 1458130 w 4950967"/>
                <a:gd name="connsiteY648" fmla="*/ 1281820 h 3116392"/>
                <a:gd name="connsiteX649" fmla="*/ 1472425 w 4950967"/>
                <a:gd name="connsiteY649" fmla="*/ 1277056 h 3116392"/>
                <a:gd name="connsiteX650" fmla="*/ 1486720 w 4950967"/>
                <a:gd name="connsiteY650" fmla="*/ 1257992 h 3116392"/>
                <a:gd name="connsiteX651" fmla="*/ 1486720 w 4950967"/>
                <a:gd name="connsiteY651" fmla="*/ 1253228 h 3116392"/>
                <a:gd name="connsiteX652" fmla="*/ 1477190 w 4950967"/>
                <a:gd name="connsiteY652" fmla="*/ 1257992 h 3116392"/>
                <a:gd name="connsiteX653" fmla="*/ 1467660 w 4950967"/>
                <a:gd name="connsiteY653" fmla="*/ 1267524 h 3116392"/>
                <a:gd name="connsiteX654" fmla="*/ 1453365 w 4950967"/>
                <a:gd name="connsiteY654" fmla="*/ 1272288 h 3116392"/>
                <a:gd name="connsiteX655" fmla="*/ 1439069 w 4950967"/>
                <a:gd name="connsiteY655" fmla="*/ 1277056 h 3116392"/>
                <a:gd name="connsiteX656" fmla="*/ 1429539 w 4950967"/>
                <a:gd name="connsiteY656" fmla="*/ 1272288 h 3116392"/>
                <a:gd name="connsiteX657" fmla="*/ 1420009 w 4950967"/>
                <a:gd name="connsiteY657" fmla="*/ 1272288 h 3116392"/>
                <a:gd name="connsiteX658" fmla="*/ 1410478 w 4950967"/>
                <a:gd name="connsiteY658" fmla="*/ 1253228 h 3116392"/>
                <a:gd name="connsiteX659" fmla="*/ 1400948 w 4950967"/>
                <a:gd name="connsiteY659" fmla="*/ 1200812 h 3116392"/>
                <a:gd name="connsiteX660" fmla="*/ 1415244 w 4950967"/>
                <a:gd name="connsiteY660" fmla="*/ 1181752 h 3116392"/>
                <a:gd name="connsiteX661" fmla="*/ 1424774 w 4950967"/>
                <a:gd name="connsiteY661" fmla="*/ 1162692 h 3116392"/>
                <a:gd name="connsiteX662" fmla="*/ 1439069 w 4950967"/>
                <a:gd name="connsiteY662" fmla="*/ 1153160 h 3116392"/>
                <a:gd name="connsiteX663" fmla="*/ 1443834 w 4950967"/>
                <a:gd name="connsiteY663" fmla="*/ 1162692 h 3116392"/>
                <a:gd name="connsiteX664" fmla="*/ 1448600 w 4950967"/>
                <a:gd name="connsiteY664" fmla="*/ 1162692 h 3116392"/>
                <a:gd name="connsiteX665" fmla="*/ 1443834 w 4950967"/>
                <a:gd name="connsiteY665" fmla="*/ 1153160 h 3116392"/>
                <a:gd name="connsiteX666" fmla="*/ 1434304 w 4950967"/>
                <a:gd name="connsiteY666" fmla="*/ 1143632 h 3116392"/>
                <a:gd name="connsiteX667" fmla="*/ 1429539 w 4950967"/>
                <a:gd name="connsiteY667" fmla="*/ 1134100 h 3116392"/>
                <a:gd name="connsiteX668" fmla="*/ 1429539 w 4950967"/>
                <a:gd name="connsiteY668" fmla="*/ 1129336 h 3116392"/>
                <a:gd name="connsiteX669" fmla="*/ 1424774 w 4950967"/>
                <a:gd name="connsiteY669" fmla="*/ 1115040 h 3116392"/>
                <a:gd name="connsiteX670" fmla="*/ 1391418 w 4950967"/>
                <a:gd name="connsiteY670" fmla="*/ 1081684 h 3116392"/>
                <a:gd name="connsiteX671" fmla="*/ 1362827 w 4950967"/>
                <a:gd name="connsiteY671" fmla="*/ 1086448 h 3116392"/>
                <a:gd name="connsiteX672" fmla="*/ 1348532 w 4950967"/>
                <a:gd name="connsiteY672" fmla="*/ 1081684 h 3116392"/>
                <a:gd name="connsiteX673" fmla="*/ 1339002 w 4950967"/>
                <a:gd name="connsiteY673" fmla="*/ 1072152 h 3116392"/>
                <a:gd name="connsiteX674" fmla="*/ 1329471 w 4950967"/>
                <a:gd name="connsiteY674" fmla="*/ 1053092 h 3116392"/>
                <a:gd name="connsiteX675" fmla="*/ 1324706 w 4950967"/>
                <a:gd name="connsiteY675" fmla="*/ 1034032 h 3116392"/>
                <a:gd name="connsiteX676" fmla="*/ 1324706 w 4950967"/>
                <a:gd name="connsiteY676" fmla="*/ 1024504 h 3116392"/>
                <a:gd name="connsiteX677" fmla="*/ 1319941 w 4950967"/>
                <a:gd name="connsiteY677" fmla="*/ 1019736 h 3116392"/>
                <a:gd name="connsiteX678" fmla="*/ 1267525 w 4950967"/>
                <a:gd name="connsiteY678" fmla="*/ 1005440 h 3116392"/>
                <a:gd name="connsiteX679" fmla="*/ 1253229 w 4950967"/>
                <a:gd name="connsiteY679" fmla="*/ 991148 h 3116392"/>
                <a:gd name="connsiteX680" fmla="*/ 1238934 w 4950967"/>
                <a:gd name="connsiteY680" fmla="*/ 976852 h 3116392"/>
                <a:gd name="connsiteX681" fmla="*/ 1229404 w 4950967"/>
                <a:gd name="connsiteY681" fmla="*/ 962556 h 3116392"/>
                <a:gd name="connsiteX682" fmla="*/ 1224638 w 4950967"/>
                <a:gd name="connsiteY682" fmla="*/ 953024 h 3116392"/>
                <a:gd name="connsiteX683" fmla="*/ 1219873 w 4950967"/>
                <a:gd name="connsiteY683" fmla="*/ 938732 h 3116392"/>
                <a:gd name="connsiteX684" fmla="*/ 1215108 w 4950967"/>
                <a:gd name="connsiteY684" fmla="*/ 914904 h 3116392"/>
                <a:gd name="connsiteX685" fmla="*/ 1219873 w 4950967"/>
                <a:gd name="connsiteY685" fmla="*/ 891080 h 3116392"/>
                <a:gd name="connsiteX686" fmla="*/ 1229404 w 4950967"/>
                <a:gd name="connsiteY686" fmla="*/ 881548 h 3116392"/>
                <a:gd name="connsiteX687" fmla="*/ 1196048 w 4950967"/>
                <a:gd name="connsiteY687" fmla="*/ 872020 h 3116392"/>
                <a:gd name="connsiteX688" fmla="*/ 1181752 w 4950967"/>
                <a:gd name="connsiteY688" fmla="*/ 872020 h 3116392"/>
                <a:gd name="connsiteX689" fmla="*/ 1167457 w 4950967"/>
                <a:gd name="connsiteY689" fmla="*/ 876784 h 3116392"/>
                <a:gd name="connsiteX690" fmla="*/ 1157927 w 4950967"/>
                <a:gd name="connsiteY690" fmla="*/ 867252 h 3116392"/>
                <a:gd name="connsiteX691" fmla="*/ 1138866 w 4950967"/>
                <a:gd name="connsiteY691" fmla="*/ 862488 h 3116392"/>
                <a:gd name="connsiteX692" fmla="*/ 1110275 w 4950967"/>
                <a:gd name="connsiteY692" fmla="*/ 833896 h 3116392"/>
                <a:gd name="connsiteX693" fmla="*/ 1081685 w 4950967"/>
                <a:gd name="connsiteY693" fmla="*/ 786244 h 3116392"/>
                <a:gd name="connsiteX694" fmla="*/ 1048329 w 4950967"/>
                <a:gd name="connsiteY694" fmla="*/ 771952 h 3116392"/>
                <a:gd name="connsiteX695" fmla="*/ 1038798 w 4950967"/>
                <a:gd name="connsiteY695" fmla="*/ 757656 h 3116392"/>
                <a:gd name="connsiteX696" fmla="*/ 1024503 w 4950967"/>
                <a:gd name="connsiteY696" fmla="*/ 738596 h 3116392"/>
                <a:gd name="connsiteX697" fmla="*/ 1014973 w 4950967"/>
                <a:gd name="connsiteY697" fmla="*/ 724300 h 3116392"/>
                <a:gd name="connsiteX698" fmla="*/ 1010208 w 4950967"/>
                <a:gd name="connsiteY698" fmla="*/ 714768 h 3116392"/>
                <a:gd name="connsiteX699" fmla="*/ 1010208 w 4950967"/>
                <a:gd name="connsiteY699" fmla="*/ 710004 h 3116392"/>
                <a:gd name="connsiteX700" fmla="*/ 991147 w 4950967"/>
                <a:gd name="connsiteY700" fmla="*/ 695708 h 3116392"/>
                <a:gd name="connsiteX701" fmla="*/ 976852 w 4950967"/>
                <a:gd name="connsiteY701" fmla="*/ 676648 h 3116392"/>
                <a:gd name="connsiteX702" fmla="*/ 972087 w 4950967"/>
                <a:gd name="connsiteY702" fmla="*/ 657588 h 3116392"/>
                <a:gd name="connsiteX703" fmla="*/ 967322 w 4950967"/>
                <a:gd name="connsiteY703" fmla="*/ 628996 h 3116392"/>
                <a:gd name="connsiteX704" fmla="*/ 953026 w 4950967"/>
                <a:gd name="connsiteY704" fmla="*/ 619468 h 3116392"/>
                <a:gd name="connsiteX705" fmla="*/ 938731 w 4950967"/>
                <a:gd name="connsiteY705" fmla="*/ 614700 h 3116392"/>
                <a:gd name="connsiteX706" fmla="*/ 938731 w 4950967"/>
                <a:gd name="connsiteY706" fmla="*/ 605172 h 3116392"/>
                <a:gd name="connsiteX707" fmla="*/ 938731 w 4950967"/>
                <a:gd name="connsiteY707" fmla="*/ 595640 h 3116392"/>
                <a:gd name="connsiteX708" fmla="*/ 933966 w 4950967"/>
                <a:gd name="connsiteY708" fmla="*/ 581344 h 3116392"/>
                <a:gd name="connsiteX709" fmla="*/ 910140 w 4950967"/>
                <a:gd name="connsiteY709" fmla="*/ 547988 h 3116392"/>
                <a:gd name="connsiteX710" fmla="*/ 895845 w 4950967"/>
                <a:gd name="connsiteY710" fmla="*/ 524164 h 3116392"/>
                <a:gd name="connsiteX711" fmla="*/ 891080 w 4950967"/>
                <a:gd name="connsiteY711" fmla="*/ 514632 h 3116392"/>
                <a:gd name="connsiteX712" fmla="*/ 886314 w 4950967"/>
                <a:gd name="connsiteY712" fmla="*/ 500340 h 3116392"/>
                <a:gd name="connsiteX713" fmla="*/ 881549 w 4950967"/>
                <a:gd name="connsiteY713" fmla="*/ 476512 h 3116392"/>
                <a:gd name="connsiteX714" fmla="*/ 872019 w 4950967"/>
                <a:gd name="connsiteY714" fmla="*/ 443156 h 3116392"/>
                <a:gd name="connsiteX715" fmla="*/ 852958 w 4950967"/>
                <a:gd name="connsiteY715" fmla="*/ 405036 h 3116392"/>
                <a:gd name="connsiteX716" fmla="*/ 833898 w 4950967"/>
                <a:gd name="connsiteY716" fmla="*/ 381212 h 3116392"/>
                <a:gd name="connsiteX717" fmla="*/ 824368 w 4950967"/>
                <a:gd name="connsiteY717" fmla="*/ 352620 h 3116392"/>
                <a:gd name="connsiteX718" fmla="*/ 829133 w 4950967"/>
                <a:gd name="connsiteY718" fmla="*/ 328792 h 3116392"/>
                <a:gd name="connsiteX719" fmla="*/ 829133 w 4950967"/>
                <a:gd name="connsiteY719" fmla="*/ 314500 h 3116392"/>
                <a:gd name="connsiteX720" fmla="*/ 824368 w 4950967"/>
                <a:gd name="connsiteY720" fmla="*/ 309732 h 3116392"/>
                <a:gd name="connsiteX721" fmla="*/ 829133 w 4950967"/>
                <a:gd name="connsiteY721" fmla="*/ 304968 h 3116392"/>
                <a:gd name="connsiteX722" fmla="*/ 833898 w 4950967"/>
                <a:gd name="connsiteY722" fmla="*/ 304968 h 3116392"/>
                <a:gd name="connsiteX723" fmla="*/ 838663 w 4950967"/>
                <a:gd name="connsiteY723" fmla="*/ 300204 h 3116392"/>
                <a:gd name="connsiteX724" fmla="*/ 833898 w 4950967"/>
                <a:gd name="connsiteY724" fmla="*/ 285908 h 3116392"/>
                <a:gd name="connsiteX725" fmla="*/ 829133 w 4950967"/>
                <a:gd name="connsiteY725" fmla="*/ 281144 h 3116392"/>
                <a:gd name="connsiteX726" fmla="*/ 814837 w 4950967"/>
                <a:gd name="connsiteY726" fmla="*/ 276376 h 3116392"/>
                <a:gd name="connsiteX727" fmla="*/ 805307 w 4950967"/>
                <a:gd name="connsiteY727" fmla="*/ 271612 h 3116392"/>
                <a:gd name="connsiteX728" fmla="*/ 767186 w 4950967"/>
                <a:gd name="connsiteY728" fmla="*/ 262080 h 3116392"/>
                <a:gd name="connsiteX729" fmla="*/ 748126 w 4950967"/>
                <a:gd name="connsiteY729" fmla="*/ 252552 h 3116392"/>
                <a:gd name="connsiteX730" fmla="*/ 743361 w 4950967"/>
                <a:gd name="connsiteY730" fmla="*/ 233492 h 3116392"/>
                <a:gd name="connsiteX731" fmla="*/ 733830 w 4950967"/>
                <a:gd name="connsiteY731" fmla="*/ 219196 h 3116392"/>
                <a:gd name="connsiteX732" fmla="*/ 724300 w 4950967"/>
                <a:gd name="connsiteY732" fmla="*/ 214432 h 3116392"/>
                <a:gd name="connsiteX733" fmla="*/ 695709 w 4950967"/>
                <a:gd name="connsiteY733" fmla="*/ 200136 h 3116392"/>
                <a:gd name="connsiteX734" fmla="*/ 690944 w 4950967"/>
                <a:gd name="connsiteY734" fmla="*/ 209664 h 3116392"/>
                <a:gd name="connsiteX735" fmla="*/ 686179 w 4950967"/>
                <a:gd name="connsiteY735" fmla="*/ 219196 h 3116392"/>
                <a:gd name="connsiteX736" fmla="*/ 676649 w 4950967"/>
                <a:gd name="connsiteY736" fmla="*/ 223960 h 3116392"/>
                <a:gd name="connsiteX737" fmla="*/ 662353 w 4950967"/>
                <a:gd name="connsiteY737" fmla="*/ 223960 h 3116392"/>
                <a:gd name="connsiteX738" fmla="*/ 648058 w 4950967"/>
                <a:gd name="connsiteY738" fmla="*/ 214432 h 3116392"/>
                <a:gd name="connsiteX739" fmla="*/ 600407 w 4950967"/>
                <a:gd name="connsiteY739" fmla="*/ 181076 h 3116392"/>
                <a:gd name="connsiteX740" fmla="*/ 590876 w 4950967"/>
                <a:gd name="connsiteY740" fmla="*/ 176308 h 3116392"/>
                <a:gd name="connsiteX741" fmla="*/ 576581 w 4950967"/>
                <a:gd name="connsiteY741" fmla="*/ 176308 h 3116392"/>
                <a:gd name="connsiteX742" fmla="*/ 571816 w 4950967"/>
                <a:gd name="connsiteY742" fmla="*/ 171544 h 3116392"/>
                <a:gd name="connsiteX743" fmla="*/ 543225 w 4950967"/>
                <a:gd name="connsiteY743" fmla="*/ 152484 h 3116392"/>
                <a:gd name="connsiteX744" fmla="*/ 547990 w 4950967"/>
                <a:gd name="connsiteY744" fmla="*/ 162016 h 3116392"/>
                <a:gd name="connsiteX745" fmla="*/ 557521 w 4950967"/>
                <a:gd name="connsiteY745" fmla="*/ 171544 h 3116392"/>
                <a:gd name="connsiteX746" fmla="*/ 562286 w 4950967"/>
                <a:gd name="connsiteY746" fmla="*/ 200136 h 3116392"/>
                <a:gd name="connsiteX747" fmla="*/ 552755 w 4950967"/>
                <a:gd name="connsiteY747" fmla="*/ 219196 h 3116392"/>
                <a:gd name="connsiteX748" fmla="*/ 547990 w 4950967"/>
                <a:gd name="connsiteY748" fmla="*/ 290672 h 3116392"/>
                <a:gd name="connsiteX749" fmla="*/ 557521 w 4950967"/>
                <a:gd name="connsiteY749" fmla="*/ 300204 h 3116392"/>
                <a:gd name="connsiteX750" fmla="*/ 567051 w 4950967"/>
                <a:gd name="connsiteY750" fmla="*/ 324028 h 3116392"/>
                <a:gd name="connsiteX751" fmla="*/ 576581 w 4950967"/>
                <a:gd name="connsiteY751" fmla="*/ 362148 h 3116392"/>
                <a:gd name="connsiteX752" fmla="*/ 581346 w 4950967"/>
                <a:gd name="connsiteY752" fmla="*/ 385976 h 3116392"/>
                <a:gd name="connsiteX753" fmla="*/ 590876 w 4950967"/>
                <a:gd name="connsiteY753" fmla="*/ 405036 h 3116392"/>
                <a:gd name="connsiteX754" fmla="*/ 586111 w 4950967"/>
                <a:gd name="connsiteY754" fmla="*/ 457452 h 3116392"/>
                <a:gd name="connsiteX755" fmla="*/ 590876 w 4950967"/>
                <a:gd name="connsiteY755" fmla="*/ 471748 h 3116392"/>
                <a:gd name="connsiteX756" fmla="*/ 600407 w 4950967"/>
                <a:gd name="connsiteY756" fmla="*/ 495572 h 3116392"/>
                <a:gd name="connsiteX757" fmla="*/ 624232 w 4950967"/>
                <a:gd name="connsiteY757" fmla="*/ 514632 h 3116392"/>
                <a:gd name="connsiteX758" fmla="*/ 628998 w 4950967"/>
                <a:gd name="connsiteY758" fmla="*/ 528928 h 3116392"/>
                <a:gd name="connsiteX759" fmla="*/ 657588 w 4950967"/>
                <a:gd name="connsiteY759" fmla="*/ 547988 h 3116392"/>
                <a:gd name="connsiteX760" fmla="*/ 676649 w 4950967"/>
                <a:gd name="connsiteY760" fmla="*/ 567052 h 3116392"/>
                <a:gd name="connsiteX761" fmla="*/ 714770 w 4950967"/>
                <a:gd name="connsiteY761" fmla="*/ 600408 h 3116392"/>
                <a:gd name="connsiteX762" fmla="*/ 724300 w 4950967"/>
                <a:gd name="connsiteY762" fmla="*/ 609936 h 3116392"/>
                <a:gd name="connsiteX763" fmla="*/ 757656 w 4950967"/>
                <a:gd name="connsiteY763" fmla="*/ 662352 h 3116392"/>
                <a:gd name="connsiteX764" fmla="*/ 757656 w 4950967"/>
                <a:gd name="connsiteY764" fmla="*/ 671884 h 3116392"/>
                <a:gd name="connsiteX765" fmla="*/ 767186 w 4950967"/>
                <a:gd name="connsiteY765" fmla="*/ 690944 h 3116392"/>
                <a:gd name="connsiteX766" fmla="*/ 786247 w 4950967"/>
                <a:gd name="connsiteY766" fmla="*/ 686180 h 3116392"/>
                <a:gd name="connsiteX767" fmla="*/ 791012 w 4950967"/>
                <a:gd name="connsiteY767" fmla="*/ 700472 h 3116392"/>
                <a:gd name="connsiteX768" fmla="*/ 791012 w 4950967"/>
                <a:gd name="connsiteY768" fmla="*/ 705240 h 3116392"/>
                <a:gd name="connsiteX769" fmla="*/ 795777 w 4950967"/>
                <a:gd name="connsiteY769" fmla="*/ 710004 h 3116392"/>
                <a:gd name="connsiteX770" fmla="*/ 805307 w 4950967"/>
                <a:gd name="connsiteY770" fmla="*/ 710004 h 3116392"/>
                <a:gd name="connsiteX771" fmla="*/ 810072 w 4950967"/>
                <a:gd name="connsiteY771" fmla="*/ 714768 h 3116392"/>
                <a:gd name="connsiteX772" fmla="*/ 829133 w 4950967"/>
                <a:gd name="connsiteY772" fmla="*/ 767184 h 3116392"/>
                <a:gd name="connsiteX773" fmla="*/ 838663 w 4950967"/>
                <a:gd name="connsiteY773" fmla="*/ 771952 h 3116392"/>
                <a:gd name="connsiteX774" fmla="*/ 848193 w 4950967"/>
                <a:gd name="connsiteY774" fmla="*/ 776716 h 3116392"/>
                <a:gd name="connsiteX775" fmla="*/ 862489 w 4950967"/>
                <a:gd name="connsiteY775" fmla="*/ 781480 h 3116392"/>
                <a:gd name="connsiteX776" fmla="*/ 862489 w 4950967"/>
                <a:gd name="connsiteY776" fmla="*/ 791012 h 3116392"/>
                <a:gd name="connsiteX777" fmla="*/ 862489 w 4950967"/>
                <a:gd name="connsiteY777" fmla="*/ 805308 h 3116392"/>
                <a:gd name="connsiteX778" fmla="*/ 876784 w 4950967"/>
                <a:gd name="connsiteY778" fmla="*/ 819600 h 3116392"/>
                <a:gd name="connsiteX779" fmla="*/ 872019 w 4950967"/>
                <a:gd name="connsiteY779" fmla="*/ 838664 h 3116392"/>
                <a:gd name="connsiteX780" fmla="*/ 881549 w 4950967"/>
                <a:gd name="connsiteY780" fmla="*/ 857724 h 3116392"/>
                <a:gd name="connsiteX781" fmla="*/ 881549 w 4950967"/>
                <a:gd name="connsiteY781" fmla="*/ 872020 h 3116392"/>
                <a:gd name="connsiteX782" fmla="*/ 886314 w 4950967"/>
                <a:gd name="connsiteY782" fmla="*/ 886312 h 3116392"/>
                <a:gd name="connsiteX783" fmla="*/ 914905 w 4950967"/>
                <a:gd name="connsiteY783" fmla="*/ 914904 h 3116392"/>
                <a:gd name="connsiteX784" fmla="*/ 948261 w 4950967"/>
                <a:gd name="connsiteY784" fmla="*/ 938732 h 3116392"/>
                <a:gd name="connsiteX785" fmla="*/ 957791 w 4950967"/>
                <a:gd name="connsiteY785" fmla="*/ 972084 h 3116392"/>
                <a:gd name="connsiteX786" fmla="*/ 972087 w 4950967"/>
                <a:gd name="connsiteY786" fmla="*/ 1000676 h 3116392"/>
                <a:gd name="connsiteX787" fmla="*/ 986382 w 4950967"/>
                <a:gd name="connsiteY787" fmla="*/ 1005440 h 3116392"/>
                <a:gd name="connsiteX788" fmla="*/ 1000677 w 4950967"/>
                <a:gd name="connsiteY788" fmla="*/ 1019736 h 3116392"/>
                <a:gd name="connsiteX789" fmla="*/ 995912 w 4950967"/>
                <a:gd name="connsiteY789" fmla="*/ 1029268 h 3116392"/>
                <a:gd name="connsiteX790" fmla="*/ 1000677 w 4950967"/>
                <a:gd name="connsiteY790" fmla="*/ 1038796 h 3116392"/>
                <a:gd name="connsiteX791" fmla="*/ 1019738 w 4950967"/>
                <a:gd name="connsiteY791" fmla="*/ 1057860 h 3116392"/>
                <a:gd name="connsiteX792" fmla="*/ 1019738 w 4950967"/>
                <a:gd name="connsiteY792" fmla="*/ 1086448 h 3116392"/>
                <a:gd name="connsiteX793" fmla="*/ 1038798 w 4950967"/>
                <a:gd name="connsiteY793" fmla="*/ 1105508 h 3116392"/>
                <a:gd name="connsiteX794" fmla="*/ 1043564 w 4950967"/>
                <a:gd name="connsiteY794" fmla="*/ 1110276 h 3116392"/>
                <a:gd name="connsiteX795" fmla="*/ 1048329 w 4950967"/>
                <a:gd name="connsiteY795" fmla="*/ 1105508 h 3116392"/>
                <a:gd name="connsiteX796" fmla="*/ 1034033 w 4950967"/>
                <a:gd name="connsiteY796" fmla="*/ 1086448 h 3116392"/>
                <a:gd name="connsiteX797" fmla="*/ 1029268 w 4950967"/>
                <a:gd name="connsiteY797" fmla="*/ 1076920 h 3116392"/>
                <a:gd name="connsiteX798" fmla="*/ 1029268 w 4950967"/>
                <a:gd name="connsiteY798" fmla="*/ 1057860 h 3116392"/>
                <a:gd name="connsiteX799" fmla="*/ 1029268 w 4950967"/>
                <a:gd name="connsiteY799" fmla="*/ 1053092 h 3116392"/>
                <a:gd name="connsiteX800" fmla="*/ 1067389 w 4950967"/>
                <a:gd name="connsiteY800" fmla="*/ 1081684 h 3116392"/>
                <a:gd name="connsiteX801" fmla="*/ 1072154 w 4950967"/>
                <a:gd name="connsiteY801" fmla="*/ 1105508 h 3116392"/>
                <a:gd name="connsiteX802" fmla="*/ 1081685 w 4950967"/>
                <a:gd name="connsiteY802" fmla="*/ 1119804 h 3116392"/>
                <a:gd name="connsiteX803" fmla="*/ 1081685 w 4950967"/>
                <a:gd name="connsiteY803" fmla="*/ 1134100 h 3116392"/>
                <a:gd name="connsiteX804" fmla="*/ 1091215 w 4950967"/>
                <a:gd name="connsiteY804" fmla="*/ 1143632 h 3116392"/>
                <a:gd name="connsiteX805" fmla="*/ 1091215 w 4950967"/>
                <a:gd name="connsiteY805" fmla="*/ 1157924 h 3116392"/>
                <a:gd name="connsiteX806" fmla="*/ 1105510 w 4950967"/>
                <a:gd name="connsiteY806" fmla="*/ 1186516 h 3116392"/>
                <a:gd name="connsiteX807" fmla="*/ 1105510 w 4950967"/>
                <a:gd name="connsiteY807" fmla="*/ 1219872 h 3116392"/>
                <a:gd name="connsiteX808" fmla="*/ 1110275 w 4950967"/>
                <a:gd name="connsiteY808" fmla="*/ 1243700 h 3116392"/>
                <a:gd name="connsiteX809" fmla="*/ 1134101 w 4950967"/>
                <a:gd name="connsiteY809" fmla="*/ 1281820 h 3116392"/>
                <a:gd name="connsiteX810" fmla="*/ 1153162 w 4950967"/>
                <a:gd name="connsiteY810" fmla="*/ 1286584 h 3116392"/>
                <a:gd name="connsiteX811" fmla="*/ 1153162 w 4950967"/>
                <a:gd name="connsiteY811" fmla="*/ 1305644 h 3116392"/>
                <a:gd name="connsiteX812" fmla="*/ 1172222 w 4950967"/>
                <a:gd name="connsiteY812" fmla="*/ 1353296 h 3116392"/>
                <a:gd name="connsiteX813" fmla="*/ 1196048 w 4950967"/>
                <a:gd name="connsiteY813" fmla="*/ 1381888 h 3116392"/>
                <a:gd name="connsiteX814" fmla="*/ 1205578 w 4950967"/>
                <a:gd name="connsiteY814" fmla="*/ 1400948 h 3116392"/>
                <a:gd name="connsiteX815" fmla="*/ 1205578 w 4950967"/>
                <a:gd name="connsiteY815" fmla="*/ 1415244 h 3116392"/>
                <a:gd name="connsiteX816" fmla="*/ 1200813 w 4950967"/>
                <a:gd name="connsiteY816" fmla="*/ 1434304 h 3116392"/>
                <a:gd name="connsiteX817" fmla="*/ 1196048 w 4950967"/>
                <a:gd name="connsiteY817" fmla="*/ 1448600 h 3116392"/>
                <a:gd name="connsiteX818" fmla="*/ 1210343 w 4950967"/>
                <a:gd name="connsiteY818" fmla="*/ 1491484 h 3116392"/>
                <a:gd name="connsiteX819" fmla="*/ 1224638 w 4950967"/>
                <a:gd name="connsiteY819" fmla="*/ 1515312 h 3116392"/>
                <a:gd name="connsiteX820" fmla="*/ 1248464 w 4950967"/>
                <a:gd name="connsiteY820" fmla="*/ 1520076 h 3116392"/>
                <a:gd name="connsiteX821" fmla="*/ 1248464 w 4950967"/>
                <a:gd name="connsiteY821" fmla="*/ 1524840 h 3116392"/>
                <a:gd name="connsiteX822" fmla="*/ 1248464 w 4950967"/>
                <a:gd name="connsiteY822" fmla="*/ 1529604 h 3116392"/>
                <a:gd name="connsiteX823" fmla="*/ 1253229 w 4950967"/>
                <a:gd name="connsiteY823" fmla="*/ 1534372 h 3116392"/>
                <a:gd name="connsiteX824" fmla="*/ 1262760 w 4950967"/>
                <a:gd name="connsiteY824" fmla="*/ 1529604 h 3116392"/>
                <a:gd name="connsiteX825" fmla="*/ 1267525 w 4950967"/>
                <a:gd name="connsiteY825" fmla="*/ 1515312 h 3116392"/>
                <a:gd name="connsiteX826" fmla="*/ 1262760 w 4950967"/>
                <a:gd name="connsiteY826" fmla="*/ 1505780 h 3116392"/>
                <a:gd name="connsiteX827" fmla="*/ 1262760 w 4950967"/>
                <a:gd name="connsiteY827" fmla="*/ 1501016 h 3116392"/>
                <a:gd name="connsiteX828" fmla="*/ 1262760 w 4950967"/>
                <a:gd name="connsiteY828" fmla="*/ 1491484 h 3116392"/>
                <a:gd name="connsiteX829" fmla="*/ 1272290 w 4950967"/>
                <a:gd name="connsiteY829" fmla="*/ 1491484 h 3116392"/>
                <a:gd name="connsiteX830" fmla="*/ 1310411 w 4950967"/>
                <a:gd name="connsiteY830" fmla="*/ 1520076 h 3116392"/>
                <a:gd name="connsiteX831" fmla="*/ 1315176 w 4950967"/>
                <a:gd name="connsiteY831" fmla="*/ 1534372 h 3116392"/>
                <a:gd name="connsiteX832" fmla="*/ 1329471 w 4950967"/>
                <a:gd name="connsiteY832" fmla="*/ 1543900 h 3116392"/>
                <a:gd name="connsiteX833" fmla="*/ 1343767 w 4950967"/>
                <a:gd name="connsiteY833" fmla="*/ 1562960 h 3116392"/>
                <a:gd name="connsiteX834" fmla="*/ 1348532 w 4950967"/>
                <a:gd name="connsiteY834" fmla="*/ 1572492 h 3116392"/>
                <a:gd name="connsiteX835" fmla="*/ 1358062 w 4950967"/>
                <a:gd name="connsiteY835" fmla="*/ 1586788 h 3116392"/>
                <a:gd name="connsiteX836" fmla="*/ 1362827 w 4950967"/>
                <a:gd name="connsiteY836" fmla="*/ 1610612 h 3116392"/>
                <a:gd name="connsiteX837" fmla="*/ 1391418 w 4950967"/>
                <a:gd name="connsiteY837" fmla="*/ 1620144 h 3116392"/>
                <a:gd name="connsiteX838" fmla="*/ 1400948 w 4950967"/>
                <a:gd name="connsiteY838" fmla="*/ 1639204 h 3116392"/>
                <a:gd name="connsiteX839" fmla="*/ 1405713 w 4950967"/>
                <a:gd name="connsiteY839" fmla="*/ 1653500 h 3116392"/>
                <a:gd name="connsiteX840" fmla="*/ 1396183 w 4950967"/>
                <a:gd name="connsiteY840" fmla="*/ 1686856 h 3116392"/>
                <a:gd name="connsiteX841" fmla="*/ 1391418 w 4950967"/>
                <a:gd name="connsiteY841" fmla="*/ 1696384 h 3116392"/>
                <a:gd name="connsiteX842" fmla="*/ 1372357 w 4950967"/>
                <a:gd name="connsiteY842" fmla="*/ 1705916 h 3116392"/>
                <a:gd name="connsiteX843" fmla="*/ 1353297 w 4950967"/>
                <a:gd name="connsiteY843" fmla="*/ 1724976 h 3116392"/>
                <a:gd name="connsiteX844" fmla="*/ 1339002 w 4950967"/>
                <a:gd name="connsiteY844" fmla="*/ 1734508 h 3116392"/>
                <a:gd name="connsiteX845" fmla="*/ 1324706 w 4950967"/>
                <a:gd name="connsiteY845" fmla="*/ 1739272 h 3116392"/>
                <a:gd name="connsiteX846" fmla="*/ 1310411 w 4950967"/>
                <a:gd name="connsiteY846" fmla="*/ 1739272 h 3116392"/>
                <a:gd name="connsiteX847" fmla="*/ 1300880 w 4950967"/>
                <a:gd name="connsiteY847" fmla="*/ 1720212 h 3116392"/>
                <a:gd name="connsiteX848" fmla="*/ 1281820 w 4950967"/>
                <a:gd name="connsiteY848" fmla="*/ 1663028 h 3116392"/>
                <a:gd name="connsiteX849" fmla="*/ 1272290 w 4950967"/>
                <a:gd name="connsiteY849" fmla="*/ 1653500 h 3116392"/>
                <a:gd name="connsiteX850" fmla="*/ 1267525 w 4950967"/>
                <a:gd name="connsiteY850" fmla="*/ 1634440 h 3116392"/>
                <a:gd name="connsiteX851" fmla="*/ 1257994 w 4950967"/>
                <a:gd name="connsiteY851" fmla="*/ 1620144 h 3116392"/>
                <a:gd name="connsiteX852" fmla="*/ 1215108 w 4950967"/>
                <a:gd name="connsiteY852" fmla="*/ 1596316 h 3116392"/>
                <a:gd name="connsiteX853" fmla="*/ 1191283 w 4950967"/>
                <a:gd name="connsiteY853" fmla="*/ 1572492 h 3116392"/>
                <a:gd name="connsiteX854" fmla="*/ 1172222 w 4950967"/>
                <a:gd name="connsiteY854" fmla="*/ 1558196 h 3116392"/>
                <a:gd name="connsiteX855" fmla="*/ 1153162 w 4950967"/>
                <a:gd name="connsiteY855" fmla="*/ 1534372 h 3116392"/>
                <a:gd name="connsiteX856" fmla="*/ 1091215 w 4950967"/>
                <a:gd name="connsiteY856" fmla="*/ 1496248 h 3116392"/>
                <a:gd name="connsiteX857" fmla="*/ 1067389 w 4950967"/>
                <a:gd name="connsiteY857" fmla="*/ 1477188 h 3116392"/>
                <a:gd name="connsiteX858" fmla="*/ 1048329 w 4950967"/>
                <a:gd name="connsiteY858" fmla="*/ 1453364 h 3116392"/>
                <a:gd name="connsiteX859" fmla="*/ 1038798 w 4950967"/>
                <a:gd name="connsiteY859" fmla="*/ 1458128 h 3116392"/>
                <a:gd name="connsiteX860" fmla="*/ 1029268 w 4950967"/>
                <a:gd name="connsiteY860" fmla="*/ 1458128 h 3116392"/>
                <a:gd name="connsiteX861" fmla="*/ 1029268 w 4950967"/>
                <a:gd name="connsiteY861" fmla="*/ 1453364 h 3116392"/>
                <a:gd name="connsiteX862" fmla="*/ 1029268 w 4950967"/>
                <a:gd name="connsiteY862" fmla="*/ 1443832 h 3116392"/>
                <a:gd name="connsiteX863" fmla="*/ 1024503 w 4950967"/>
                <a:gd name="connsiteY863" fmla="*/ 1434304 h 3116392"/>
                <a:gd name="connsiteX864" fmla="*/ 986382 w 4950967"/>
                <a:gd name="connsiteY864" fmla="*/ 1405712 h 3116392"/>
                <a:gd name="connsiteX865" fmla="*/ 981617 w 4950967"/>
                <a:gd name="connsiteY865" fmla="*/ 1391416 h 3116392"/>
                <a:gd name="connsiteX866" fmla="*/ 981617 w 4950967"/>
                <a:gd name="connsiteY866" fmla="*/ 1372356 h 3116392"/>
                <a:gd name="connsiteX867" fmla="*/ 986382 w 4950967"/>
                <a:gd name="connsiteY867" fmla="*/ 1324704 h 3116392"/>
                <a:gd name="connsiteX868" fmla="*/ 991147 w 4950967"/>
                <a:gd name="connsiteY868" fmla="*/ 1296116 h 3116392"/>
                <a:gd name="connsiteX869" fmla="*/ 991147 w 4950967"/>
                <a:gd name="connsiteY869" fmla="*/ 1281820 h 3116392"/>
                <a:gd name="connsiteX870" fmla="*/ 986382 w 4950967"/>
                <a:gd name="connsiteY870" fmla="*/ 1277056 h 3116392"/>
                <a:gd name="connsiteX871" fmla="*/ 981617 w 4950967"/>
                <a:gd name="connsiteY871" fmla="*/ 1272288 h 3116392"/>
                <a:gd name="connsiteX872" fmla="*/ 981617 w 4950967"/>
                <a:gd name="connsiteY872" fmla="*/ 1248464 h 3116392"/>
                <a:gd name="connsiteX873" fmla="*/ 972087 w 4950967"/>
                <a:gd name="connsiteY873" fmla="*/ 1219872 h 3116392"/>
                <a:gd name="connsiteX874" fmla="*/ 943496 w 4950967"/>
                <a:gd name="connsiteY874" fmla="*/ 1167456 h 3116392"/>
                <a:gd name="connsiteX875" fmla="*/ 919670 w 4950967"/>
                <a:gd name="connsiteY875" fmla="*/ 1157924 h 3116392"/>
                <a:gd name="connsiteX876" fmla="*/ 895845 w 4950967"/>
                <a:gd name="connsiteY876" fmla="*/ 1153160 h 3116392"/>
                <a:gd name="connsiteX877" fmla="*/ 838663 w 4950967"/>
                <a:gd name="connsiteY877" fmla="*/ 1105508 h 3116392"/>
                <a:gd name="connsiteX878" fmla="*/ 824368 w 4950967"/>
                <a:gd name="connsiteY878" fmla="*/ 1081684 h 3116392"/>
                <a:gd name="connsiteX879" fmla="*/ 819603 w 4950967"/>
                <a:gd name="connsiteY879" fmla="*/ 1067388 h 3116392"/>
                <a:gd name="connsiteX880" fmla="*/ 819603 w 4950967"/>
                <a:gd name="connsiteY880" fmla="*/ 1043564 h 3116392"/>
                <a:gd name="connsiteX881" fmla="*/ 810072 w 4950967"/>
                <a:gd name="connsiteY881" fmla="*/ 1057860 h 3116392"/>
                <a:gd name="connsiteX882" fmla="*/ 800542 w 4950967"/>
                <a:gd name="connsiteY882" fmla="*/ 1067388 h 3116392"/>
                <a:gd name="connsiteX883" fmla="*/ 776716 w 4950967"/>
                <a:gd name="connsiteY883" fmla="*/ 1067388 h 3116392"/>
                <a:gd name="connsiteX884" fmla="*/ 748126 w 4950967"/>
                <a:gd name="connsiteY884" fmla="*/ 1081684 h 3116392"/>
                <a:gd name="connsiteX885" fmla="*/ 733830 w 4950967"/>
                <a:gd name="connsiteY885" fmla="*/ 1067388 h 3116392"/>
                <a:gd name="connsiteX886" fmla="*/ 724300 w 4950967"/>
                <a:gd name="connsiteY886" fmla="*/ 1053092 h 3116392"/>
                <a:gd name="connsiteX887" fmla="*/ 710005 w 4950967"/>
                <a:gd name="connsiteY887" fmla="*/ 1038796 h 3116392"/>
                <a:gd name="connsiteX888" fmla="*/ 695709 w 4950967"/>
                <a:gd name="connsiteY888" fmla="*/ 1034032 h 3116392"/>
                <a:gd name="connsiteX889" fmla="*/ 686179 w 4950967"/>
                <a:gd name="connsiteY889" fmla="*/ 1034032 h 3116392"/>
                <a:gd name="connsiteX890" fmla="*/ 671884 w 4950967"/>
                <a:gd name="connsiteY890" fmla="*/ 1014972 h 3116392"/>
                <a:gd name="connsiteX891" fmla="*/ 657588 w 4950967"/>
                <a:gd name="connsiteY891" fmla="*/ 1005440 h 3116392"/>
                <a:gd name="connsiteX892" fmla="*/ 633763 w 4950967"/>
                <a:gd name="connsiteY892" fmla="*/ 1005440 h 3116392"/>
                <a:gd name="connsiteX893" fmla="*/ 619467 w 4950967"/>
                <a:gd name="connsiteY893" fmla="*/ 995912 h 3116392"/>
                <a:gd name="connsiteX894" fmla="*/ 614702 w 4950967"/>
                <a:gd name="connsiteY894" fmla="*/ 981616 h 3116392"/>
                <a:gd name="connsiteX895" fmla="*/ 609937 w 4950967"/>
                <a:gd name="connsiteY895" fmla="*/ 967320 h 3116392"/>
                <a:gd name="connsiteX896" fmla="*/ 605172 w 4950967"/>
                <a:gd name="connsiteY896" fmla="*/ 957792 h 3116392"/>
                <a:gd name="connsiteX897" fmla="*/ 576581 w 4950967"/>
                <a:gd name="connsiteY897" fmla="*/ 938732 h 3116392"/>
                <a:gd name="connsiteX898" fmla="*/ 552755 w 4950967"/>
                <a:gd name="connsiteY898" fmla="*/ 914904 h 3116392"/>
                <a:gd name="connsiteX899" fmla="*/ 533695 w 4950967"/>
                <a:gd name="connsiteY899" fmla="*/ 900608 h 3116392"/>
                <a:gd name="connsiteX900" fmla="*/ 524165 w 4950967"/>
                <a:gd name="connsiteY900" fmla="*/ 891080 h 3116392"/>
                <a:gd name="connsiteX901" fmla="*/ 524165 w 4950967"/>
                <a:gd name="connsiteY901" fmla="*/ 881548 h 3116392"/>
                <a:gd name="connsiteX902" fmla="*/ 557521 w 4950967"/>
                <a:gd name="connsiteY902" fmla="*/ 886312 h 3116392"/>
                <a:gd name="connsiteX903" fmla="*/ 600407 w 4950967"/>
                <a:gd name="connsiteY903" fmla="*/ 895844 h 3116392"/>
                <a:gd name="connsiteX904" fmla="*/ 619467 w 4950967"/>
                <a:gd name="connsiteY904" fmla="*/ 891080 h 3116392"/>
                <a:gd name="connsiteX905" fmla="*/ 628998 w 4950967"/>
                <a:gd name="connsiteY905" fmla="*/ 881548 h 3116392"/>
                <a:gd name="connsiteX906" fmla="*/ 638528 w 4950967"/>
                <a:gd name="connsiteY906" fmla="*/ 876784 h 3116392"/>
                <a:gd name="connsiteX907" fmla="*/ 643293 w 4950967"/>
                <a:gd name="connsiteY907" fmla="*/ 886312 h 3116392"/>
                <a:gd name="connsiteX908" fmla="*/ 638528 w 4950967"/>
                <a:gd name="connsiteY908" fmla="*/ 895844 h 3116392"/>
                <a:gd name="connsiteX909" fmla="*/ 652823 w 4950967"/>
                <a:gd name="connsiteY909" fmla="*/ 905376 h 3116392"/>
                <a:gd name="connsiteX910" fmla="*/ 667118 w 4950967"/>
                <a:gd name="connsiteY910" fmla="*/ 914904 h 3116392"/>
                <a:gd name="connsiteX911" fmla="*/ 676649 w 4950967"/>
                <a:gd name="connsiteY911" fmla="*/ 914904 h 3116392"/>
                <a:gd name="connsiteX912" fmla="*/ 667118 w 4950967"/>
                <a:gd name="connsiteY912" fmla="*/ 905376 h 3116392"/>
                <a:gd name="connsiteX913" fmla="*/ 662353 w 4950967"/>
                <a:gd name="connsiteY913" fmla="*/ 886312 h 3116392"/>
                <a:gd name="connsiteX914" fmla="*/ 662353 w 4950967"/>
                <a:gd name="connsiteY914" fmla="*/ 881548 h 3116392"/>
                <a:gd name="connsiteX915" fmla="*/ 662353 w 4950967"/>
                <a:gd name="connsiteY915" fmla="*/ 872020 h 3116392"/>
                <a:gd name="connsiteX916" fmla="*/ 648058 w 4950967"/>
                <a:gd name="connsiteY916" fmla="*/ 872020 h 3116392"/>
                <a:gd name="connsiteX917" fmla="*/ 648058 w 4950967"/>
                <a:gd name="connsiteY917" fmla="*/ 867252 h 3116392"/>
                <a:gd name="connsiteX918" fmla="*/ 657588 w 4950967"/>
                <a:gd name="connsiteY918" fmla="*/ 852956 h 3116392"/>
                <a:gd name="connsiteX919" fmla="*/ 671884 w 4950967"/>
                <a:gd name="connsiteY919" fmla="*/ 814836 h 3116392"/>
                <a:gd name="connsiteX920" fmla="*/ 681414 w 4950967"/>
                <a:gd name="connsiteY920" fmla="*/ 781480 h 3116392"/>
                <a:gd name="connsiteX921" fmla="*/ 667118 w 4950967"/>
                <a:gd name="connsiteY921" fmla="*/ 748124 h 3116392"/>
                <a:gd name="connsiteX922" fmla="*/ 638528 w 4950967"/>
                <a:gd name="connsiteY922" fmla="*/ 724300 h 3116392"/>
                <a:gd name="connsiteX923" fmla="*/ 586111 w 4950967"/>
                <a:gd name="connsiteY923" fmla="*/ 662352 h 3116392"/>
                <a:gd name="connsiteX924" fmla="*/ 552755 w 4950967"/>
                <a:gd name="connsiteY924" fmla="*/ 628996 h 3116392"/>
                <a:gd name="connsiteX925" fmla="*/ 543225 w 4950967"/>
                <a:gd name="connsiteY925" fmla="*/ 614700 h 3116392"/>
                <a:gd name="connsiteX926" fmla="*/ 533695 w 4950967"/>
                <a:gd name="connsiteY926" fmla="*/ 609936 h 3116392"/>
                <a:gd name="connsiteX927" fmla="*/ 505104 w 4950967"/>
                <a:gd name="connsiteY927" fmla="*/ 600408 h 3116392"/>
                <a:gd name="connsiteX928" fmla="*/ 481279 w 4950967"/>
                <a:gd name="connsiteY928" fmla="*/ 581344 h 3116392"/>
                <a:gd name="connsiteX929" fmla="*/ 443158 w 4950967"/>
                <a:gd name="connsiteY929" fmla="*/ 557520 h 3116392"/>
                <a:gd name="connsiteX930" fmla="*/ 424097 w 4950967"/>
                <a:gd name="connsiteY930" fmla="*/ 543224 h 3116392"/>
                <a:gd name="connsiteX931" fmla="*/ 414567 w 4950967"/>
                <a:gd name="connsiteY931" fmla="*/ 509868 h 3116392"/>
                <a:gd name="connsiteX932" fmla="*/ 405036 w 4950967"/>
                <a:gd name="connsiteY932" fmla="*/ 505104 h 3116392"/>
                <a:gd name="connsiteX933" fmla="*/ 409802 w 4950967"/>
                <a:gd name="connsiteY933" fmla="*/ 481276 h 3116392"/>
                <a:gd name="connsiteX934" fmla="*/ 405036 w 4950967"/>
                <a:gd name="connsiteY934" fmla="*/ 443156 h 3116392"/>
                <a:gd name="connsiteX935" fmla="*/ 395506 w 4950967"/>
                <a:gd name="connsiteY935" fmla="*/ 433628 h 3116392"/>
                <a:gd name="connsiteX936" fmla="*/ 376446 w 4950967"/>
                <a:gd name="connsiteY936" fmla="*/ 424096 h 3116392"/>
                <a:gd name="connsiteX937" fmla="*/ 371681 w 4950967"/>
                <a:gd name="connsiteY937" fmla="*/ 395504 h 3116392"/>
                <a:gd name="connsiteX938" fmla="*/ 366915 w 4950967"/>
                <a:gd name="connsiteY938" fmla="*/ 371680 h 3116392"/>
                <a:gd name="connsiteX939" fmla="*/ 366915 w 4950967"/>
                <a:gd name="connsiteY939" fmla="*/ 352620 h 3116392"/>
                <a:gd name="connsiteX940" fmla="*/ 328794 w 4950967"/>
                <a:gd name="connsiteY940" fmla="*/ 324028 h 3116392"/>
                <a:gd name="connsiteX941" fmla="*/ 328794 w 4950967"/>
                <a:gd name="connsiteY941" fmla="*/ 309732 h 3116392"/>
                <a:gd name="connsiteX942" fmla="*/ 328794 w 4950967"/>
                <a:gd name="connsiteY942" fmla="*/ 295436 h 3116392"/>
                <a:gd name="connsiteX943" fmla="*/ 324029 w 4950967"/>
                <a:gd name="connsiteY943" fmla="*/ 281144 h 3116392"/>
                <a:gd name="connsiteX944" fmla="*/ 304969 w 4950967"/>
                <a:gd name="connsiteY944" fmla="*/ 252552 h 3116392"/>
                <a:gd name="connsiteX945" fmla="*/ 281143 w 4950967"/>
                <a:gd name="connsiteY945" fmla="*/ 223960 h 3116392"/>
                <a:gd name="connsiteX946" fmla="*/ 271613 w 4950967"/>
                <a:gd name="connsiteY946" fmla="*/ 214432 h 3116392"/>
                <a:gd name="connsiteX947" fmla="*/ 271613 w 4950967"/>
                <a:gd name="connsiteY947" fmla="*/ 190604 h 3116392"/>
                <a:gd name="connsiteX948" fmla="*/ 262083 w 4950967"/>
                <a:gd name="connsiteY948" fmla="*/ 181076 h 3116392"/>
                <a:gd name="connsiteX949" fmla="*/ 266848 w 4950967"/>
                <a:gd name="connsiteY949" fmla="*/ 181076 h 3116392"/>
                <a:gd name="connsiteX950" fmla="*/ 271613 w 4950967"/>
                <a:gd name="connsiteY950" fmla="*/ 181076 h 3116392"/>
                <a:gd name="connsiteX951" fmla="*/ 276378 w 4950967"/>
                <a:gd name="connsiteY951" fmla="*/ 176308 h 3116392"/>
                <a:gd name="connsiteX952" fmla="*/ 276378 w 4950967"/>
                <a:gd name="connsiteY952" fmla="*/ 162016 h 3116392"/>
                <a:gd name="connsiteX953" fmla="*/ 243022 w 4950967"/>
                <a:gd name="connsiteY953" fmla="*/ 133424 h 3116392"/>
                <a:gd name="connsiteX954" fmla="*/ 233492 w 4950967"/>
                <a:gd name="connsiteY954" fmla="*/ 95304 h 3116392"/>
                <a:gd name="connsiteX955" fmla="*/ 214431 w 4950967"/>
                <a:gd name="connsiteY955" fmla="*/ 76244 h 3116392"/>
                <a:gd name="connsiteX956" fmla="*/ 209666 w 4950967"/>
                <a:gd name="connsiteY956" fmla="*/ 71476 h 3116392"/>
                <a:gd name="connsiteX957" fmla="*/ 200136 w 4950967"/>
                <a:gd name="connsiteY957" fmla="*/ 38120 h 3116392"/>
                <a:gd name="connsiteX958" fmla="*/ 243022 w 4950967"/>
                <a:gd name="connsiteY958" fmla="*/ 33356 h 3116392"/>
                <a:gd name="connsiteX959" fmla="*/ 285908 w 4950967"/>
                <a:gd name="connsiteY959" fmla="*/ 28592 h 3116392"/>
                <a:gd name="connsiteX960" fmla="*/ 333560 w 4950967"/>
                <a:gd name="connsiteY960" fmla="*/ 23824 h 3116392"/>
                <a:gd name="connsiteX961" fmla="*/ 376446 w 4950967"/>
                <a:gd name="connsiteY961" fmla="*/ 19060 h 3116392"/>
                <a:gd name="connsiteX962" fmla="*/ 424097 w 4950967"/>
                <a:gd name="connsiteY962" fmla="*/ 14296 h 3116392"/>
                <a:gd name="connsiteX963" fmla="*/ 466983 w 4950967"/>
                <a:gd name="connsiteY963" fmla="*/ 9532 h 3116392"/>
                <a:gd name="connsiteX964" fmla="*/ 557521 w 4950967"/>
                <a:gd name="connsiteY964" fmla="*/ 4764 h 3116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</a:cxnLst>
              <a:rect l="l" t="t" r="r" b="b"/>
              <a:pathLst>
                <a:path w="4950967" h="3116392">
                  <a:moveTo>
                    <a:pt x="4188547" y="2425452"/>
                  </a:moveTo>
                  <a:lnTo>
                    <a:pt x="4193312" y="2430216"/>
                  </a:lnTo>
                  <a:lnTo>
                    <a:pt x="4198077" y="2430216"/>
                  </a:lnTo>
                  <a:lnTo>
                    <a:pt x="4179017" y="2439744"/>
                  </a:lnTo>
                  <a:lnTo>
                    <a:pt x="4174252" y="2444512"/>
                  </a:lnTo>
                  <a:lnTo>
                    <a:pt x="4155191" y="2449276"/>
                  </a:lnTo>
                  <a:lnTo>
                    <a:pt x="4150426" y="2444512"/>
                  </a:lnTo>
                  <a:close/>
                  <a:moveTo>
                    <a:pt x="1157927" y="2411156"/>
                  </a:moveTo>
                  <a:lnTo>
                    <a:pt x="1162692" y="2425450"/>
                  </a:lnTo>
                  <a:lnTo>
                    <a:pt x="1167457" y="2434980"/>
                  </a:lnTo>
                  <a:lnTo>
                    <a:pt x="1157927" y="2434980"/>
                  </a:lnTo>
                  <a:lnTo>
                    <a:pt x="1143631" y="2425450"/>
                  </a:lnTo>
                  <a:lnTo>
                    <a:pt x="1148396" y="2420686"/>
                  </a:lnTo>
                  <a:close/>
                  <a:moveTo>
                    <a:pt x="4931907" y="2130012"/>
                  </a:moveTo>
                  <a:lnTo>
                    <a:pt x="4941437" y="2130012"/>
                  </a:lnTo>
                  <a:lnTo>
                    <a:pt x="4941437" y="2134776"/>
                  </a:lnTo>
                  <a:lnTo>
                    <a:pt x="4936672" y="2149072"/>
                  </a:lnTo>
                  <a:lnTo>
                    <a:pt x="4912846" y="2172896"/>
                  </a:lnTo>
                  <a:lnTo>
                    <a:pt x="4908081" y="2177664"/>
                  </a:lnTo>
                  <a:lnTo>
                    <a:pt x="4903316" y="2163368"/>
                  </a:lnTo>
                  <a:lnTo>
                    <a:pt x="4908081" y="2144308"/>
                  </a:lnTo>
                  <a:lnTo>
                    <a:pt x="4917611" y="2134776"/>
                  </a:lnTo>
                  <a:close/>
                  <a:moveTo>
                    <a:pt x="4941437" y="2010884"/>
                  </a:moveTo>
                  <a:lnTo>
                    <a:pt x="4946202" y="2010884"/>
                  </a:lnTo>
                  <a:lnTo>
                    <a:pt x="4950967" y="2020416"/>
                  </a:lnTo>
                  <a:lnTo>
                    <a:pt x="4950967" y="2025180"/>
                  </a:lnTo>
                  <a:lnTo>
                    <a:pt x="4946202" y="2020416"/>
                  </a:lnTo>
                  <a:close/>
                  <a:moveTo>
                    <a:pt x="1839339" y="1939408"/>
                  </a:moveTo>
                  <a:lnTo>
                    <a:pt x="1844104" y="1939408"/>
                  </a:lnTo>
                  <a:lnTo>
                    <a:pt x="1853635" y="1944174"/>
                  </a:lnTo>
                  <a:lnTo>
                    <a:pt x="1853635" y="1948938"/>
                  </a:lnTo>
                  <a:lnTo>
                    <a:pt x="1858400" y="1953704"/>
                  </a:lnTo>
                  <a:lnTo>
                    <a:pt x="1853635" y="1968000"/>
                  </a:lnTo>
                  <a:lnTo>
                    <a:pt x="1844104" y="1963234"/>
                  </a:lnTo>
                  <a:lnTo>
                    <a:pt x="1839339" y="1953704"/>
                  </a:lnTo>
                  <a:close/>
                  <a:moveTo>
                    <a:pt x="1329471" y="1491486"/>
                  </a:moveTo>
                  <a:lnTo>
                    <a:pt x="1343766" y="1520076"/>
                  </a:lnTo>
                  <a:lnTo>
                    <a:pt x="1343766" y="1524842"/>
                  </a:lnTo>
                  <a:lnTo>
                    <a:pt x="1339001" y="1524842"/>
                  </a:lnTo>
                  <a:lnTo>
                    <a:pt x="1329471" y="1515312"/>
                  </a:lnTo>
                  <a:lnTo>
                    <a:pt x="1329471" y="1496252"/>
                  </a:lnTo>
                  <a:close/>
                  <a:moveTo>
                    <a:pt x="995912" y="1458130"/>
                  </a:moveTo>
                  <a:lnTo>
                    <a:pt x="1010207" y="1458130"/>
                  </a:lnTo>
                  <a:lnTo>
                    <a:pt x="1024503" y="1458130"/>
                  </a:lnTo>
                  <a:lnTo>
                    <a:pt x="1048328" y="1481956"/>
                  </a:lnTo>
                  <a:lnTo>
                    <a:pt x="1043563" y="1491486"/>
                  </a:lnTo>
                  <a:close/>
                  <a:moveTo>
                    <a:pt x="1205577" y="1362828"/>
                  </a:moveTo>
                  <a:lnTo>
                    <a:pt x="1219873" y="1372358"/>
                  </a:lnTo>
                  <a:lnTo>
                    <a:pt x="1224638" y="1377122"/>
                  </a:lnTo>
                  <a:lnTo>
                    <a:pt x="1229403" y="1396184"/>
                  </a:lnTo>
                  <a:lnTo>
                    <a:pt x="1219873" y="1396184"/>
                  </a:lnTo>
                  <a:lnTo>
                    <a:pt x="1210342" y="1386652"/>
                  </a:lnTo>
                  <a:lnTo>
                    <a:pt x="1200812" y="1372358"/>
                  </a:lnTo>
                  <a:lnTo>
                    <a:pt x="1200812" y="1367592"/>
                  </a:lnTo>
                  <a:close/>
                  <a:moveTo>
                    <a:pt x="976852" y="1329472"/>
                  </a:moveTo>
                  <a:lnTo>
                    <a:pt x="981617" y="1339002"/>
                  </a:lnTo>
                  <a:lnTo>
                    <a:pt x="967321" y="1400948"/>
                  </a:lnTo>
                  <a:lnTo>
                    <a:pt x="967321" y="1405714"/>
                  </a:lnTo>
                  <a:lnTo>
                    <a:pt x="976852" y="1415244"/>
                  </a:lnTo>
                  <a:lnTo>
                    <a:pt x="981617" y="1424774"/>
                  </a:lnTo>
                  <a:lnTo>
                    <a:pt x="981617" y="1439070"/>
                  </a:lnTo>
                  <a:lnTo>
                    <a:pt x="991147" y="1453364"/>
                  </a:lnTo>
                  <a:lnTo>
                    <a:pt x="991147" y="1458130"/>
                  </a:lnTo>
                  <a:lnTo>
                    <a:pt x="986382" y="1458130"/>
                  </a:lnTo>
                  <a:lnTo>
                    <a:pt x="976852" y="1439070"/>
                  </a:lnTo>
                  <a:lnTo>
                    <a:pt x="972086" y="1424774"/>
                  </a:lnTo>
                  <a:lnTo>
                    <a:pt x="967321" y="1420010"/>
                  </a:lnTo>
                  <a:lnTo>
                    <a:pt x="953026" y="1415244"/>
                  </a:lnTo>
                  <a:lnTo>
                    <a:pt x="967321" y="1386654"/>
                  </a:lnTo>
                  <a:close/>
                  <a:moveTo>
                    <a:pt x="1143631" y="1191284"/>
                  </a:moveTo>
                  <a:lnTo>
                    <a:pt x="1138866" y="1200814"/>
                  </a:lnTo>
                  <a:lnTo>
                    <a:pt x="1143631" y="1210344"/>
                  </a:lnTo>
                  <a:lnTo>
                    <a:pt x="1134101" y="1205578"/>
                  </a:lnTo>
                  <a:lnTo>
                    <a:pt x="1124570" y="1234168"/>
                  </a:lnTo>
                  <a:lnTo>
                    <a:pt x="1119805" y="1234168"/>
                  </a:lnTo>
                  <a:lnTo>
                    <a:pt x="1129335" y="1200814"/>
                  </a:lnTo>
                  <a:lnTo>
                    <a:pt x="1134101" y="1196048"/>
                  </a:lnTo>
                  <a:close/>
                  <a:moveTo>
                    <a:pt x="495574" y="791012"/>
                  </a:moveTo>
                  <a:lnTo>
                    <a:pt x="500339" y="795778"/>
                  </a:lnTo>
                  <a:lnTo>
                    <a:pt x="509869" y="824368"/>
                  </a:lnTo>
                  <a:lnTo>
                    <a:pt x="505104" y="843428"/>
                  </a:lnTo>
                  <a:lnTo>
                    <a:pt x="500339" y="848194"/>
                  </a:lnTo>
                  <a:lnTo>
                    <a:pt x="476513" y="838664"/>
                  </a:lnTo>
                  <a:lnTo>
                    <a:pt x="490808" y="814838"/>
                  </a:lnTo>
                  <a:lnTo>
                    <a:pt x="490808" y="795778"/>
                  </a:lnTo>
                  <a:close/>
                  <a:moveTo>
                    <a:pt x="4765" y="643292"/>
                  </a:moveTo>
                  <a:lnTo>
                    <a:pt x="14296" y="643292"/>
                  </a:lnTo>
                  <a:lnTo>
                    <a:pt x="14296" y="652824"/>
                  </a:lnTo>
                  <a:lnTo>
                    <a:pt x="19061" y="662354"/>
                  </a:lnTo>
                  <a:lnTo>
                    <a:pt x="23826" y="671884"/>
                  </a:lnTo>
                  <a:lnTo>
                    <a:pt x="23826" y="686178"/>
                  </a:lnTo>
                  <a:lnTo>
                    <a:pt x="19061" y="695708"/>
                  </a:lnTo>
                  <a:lnTo>
                    <a:pt x="0" y="657588"/>
                  </a:lnTo>
                  <a:lnTo>
                    <a:pt x="0" y="648058"/>
                  </a:lnTo>
                  <a:close/>
                  <a:moveTo>
                    <a:pt x="957791" y="633764"/>
                  </a:moveTo>
                  <a:lnTo>
                    <a:pt x="957791" y="643294"/>
                  </a:lnTo>
                  <a:lnTo>
                    <a:pt x="962556" y="657588"/>
                  </a:lnTo>
                  <a:lnTo>
                    <a:pt x="967321" y="676648"/>
                  </a:lnTo>
                  <a:lnTo>
                    <a:pt x="957791" y="719536"/>
                  </a:lnTo>
                  <a:lnTo>
                    <a:pt x="943496" y="719536"/>
                  </a:lnTo>
                  <a:lnTo>
                    <a:pt x="919670" y="705240"/>
                  </a:lnTo>
                  <a:lnTo>
                    <a:pt x="914905" y="695710"/>
                  </a:lnTo>
                  <a:lnTo>
                    <a:pt x="924435" y="648058"/>
                  </a:lnTo>
                  <a:lnTo>
                    <a:pt x="933965" y="643294"/>
                  </a:lnTo>
                  <a:close/>
                  <a:moveTo>
                    <a:pt x="752890" y="576582"/>
                  </a:moveTo>
                  <a:lnTo>
                    <a:pt x="762420" y="576582"/>
                  </a:lnTo>
                  <a:lnTo>
                    <a:pt x="781481" y="590878"/>
                  </a:lnTo>
                  <a:lnTo>
                    <a:pt x="786246" y="605172"/>
                  </a:lnTo>
                  <a:lnTo>
                    <a:pt x="786246" y="619468"/>
                  </a:lnTo>
                  <a:lnTo>
                    <a:pt x="810072" y="624234"/>
                  </a:lnTo>
                  <a:lnTo>
                    <a:pt x="814837" y="652824"/>
                  </a:lnTo>
                  <a:lnTo>
                    <a:pt x="819602" y="667120"/>
                  </a:lnTo>
                  <a:lnTo>
                    <a:pt x="819602" y="671884"/>
                  </a:lnTo>
                  <a:lnTo>
                    <a:pt x="800541" y="662354"/>
                  </a:lnTo>
                  <a:lnTo>
                    <a:pt x="767185" y="624234"/>
                  </a:lnTo>
                  <a:lnTo>
                    <a:pt x="752890" y="605172"/>
                  </a:lnTo>
                  <a:lnTo>
                    <a:pt x="752890" y="595642"/>
                  </a:lnTo>
                  <a:close/>
                  <a:moveTo>
                    <a:pt x="567050" y="171546"/>
                  </a:moveTo>
                  <a:lnTo>
                    <a:pt x="576581" y="181076"/>
                  </a:lnTo>
                  <a:lnTo>
                    <a:pt x="581346" y="185842"/>
                  </a:lnTo>
                  <a:lnTo>
                    <a:pt x="576581" y="190608"/>
                  </a:lnTo>
                  <a:lnTo>
                    <a:pt x="571816" y="190608"/>
                  </a:lnTo>
                  <a:lnTo>
                    <a:pt x="562285" y="181076"/>
                  </a:lnTo>
                  <a:close/>
                  <a:moveTo>
                    <a:pt x="576581" y="0"/>
                  </a:moveTo>
                  <a:lnTo>
                    <a:pt x="567051" y="28592"/>
                  </a:lnTo>
                  <a:lnTo>
                    <a:pt x="557521" y="38120"/>
                  </a:lnTo>
                  <a:lnTo>
                    <a:pt x="705240" y="95304"/>
                  </a:lnTo>
                  <a:lnTo>
                    <a:pt x="781482" y="123892"/>
                  </a:lnTo>
                  <a:lnTo>
                    <a:pt x="852958" y="147720"/>
                  </a:lnTo>
                  <a:lnTo>
                    <a:pt x="929200" y="176308"/>
                  </a:lnTo>
                  <a:lnTo>
                    <a:pt x="1000677" y="204900"/>
                  </a:lnTo>
                  <a:lnTo>
                    <a:pt x="1076920" y="233492"/>
                  </a:lnTo>
                  <a:lnTo>
                    <a:pt x="1148396" y="257316"/>
                  </a:lnTo>
                  <a:lnTo>
                    <a:pt x="1315176" y="257316"/>
                  </a:lnTo>
                  <a:lnTo>
                    <a:pt x="1372357" y="257316"/>
                  </a:lnTo>
                  <a:lnTo>
                    <a:pt x="1591553" y="257316"/>
                  </a:lnTo>
                  <a:lnTo>
                    <a:pt x="1591553" y="238256"/>
                  </a:lnTo>
                  <a:lnTo>
                    <a:pt x="1591553" y="176308"/>
                  </a:lnTo>
                  <a:lnTo>
                    <a:pt x="1658265" y="176308"/>
                  </a:lnTo>
                  <a:lnTo>
                    <a:pt x="1696386" y="176308"/>
                  </a:lnTo>
                  <a:lnTo>
                    <a:pt x="1763098" y="176308"/>
                  </a:lnTo>
                  <a:lnTo>
                    <a:pt x="1796454" y="176308"/>
                  </a:lnTo>
                  <a:lnTo>
                    <a:pt x="1867931" y="176308"/>
                  </a:lnTo>
                  <a:lnTo>
                    <a:pt x="1882226" y="195372"/>
                  </a:lnTo>
                  <a:lnTo>
                    <a:pt x="1896522" y="219196"/>
                  </a:lnTo>
                  <a:lnTo>
                    <a:pt x="1915582" y="233492"/>
                  </a:lnTo>
                  <a:lnTo>
                    <a:pt x="1934642" y="243020"/>
                  </a:lnTo>
                  <a:lnTo>
                    <a:pt x="1967998" y="271612"/>
                  </a:lnTo>
                  <a:lnTo>
                    <a:pt x="2015650" y="319264"/>
                  </a:lnTo>
                  <a:lnTo>
                    <a:pt x="2049006" y="352620"/>
                  </a:lnTo>
                  <a:lnTo>
                    <a:pt x="2077596" y="366916"/>
                  </a:lnTo>
                  <a:lnTo>
                    <a:pt x="2096657" y="381212"/>
                  </a:lnTo>
                  <a:lnTo>
                    <a:pt x="2106187" y="390740"/>
                  </a:lnTo>
                  <a:lnTo>
                    <a:pt x="2120482" y="419332"/>
                  </a:lnTo>
                  <a:lnTo>
                    <a:pt x="2144308" y="476512"/>
                  </a:lnTo>
                  <a:lnTo>
                    <a:pt x="2144308" y="500340"/>
                  </a:lnTo>
                  <a:lnTo>
                    <a:pt x="2153838" y="524164"/>
                  </a:lnTo>
                  <a:lnTo>
                    <a:pt x="2172899" y="557520"/>
                  </a:lnTo>
                  <a:lnTo>
                    <a:pt x="2187194" y="576580"/>
                  </a:lnTo>
                  <a:lnTo>
                    <a:pt x="2201490" y="581344"/>
                  </a:lnTo>
                  <a:lnTo>
                    <a:pt x="2215785" y="590876"/>
                  </a:lnTo>
                  <a:lnTo>
                    <a:pt x="2230080" y="609936"/>
                  </a:lnTo>
                  <a:lnTo>
                    <a:pt x="2249141" y="619468"/>
                  </a:lnTo>
                  <a:lnTo>
                    <a:pt x="2272966" y="624232"/>
                  </a:lnTo>
                  <a:lnTo>
                    <a:pt x="2301557" y="643292"/>
                  </a:lnTo>
                  <a:lnTo>
                    <a:pt x="2339678" y="667116"/>
                  </a:lnTo>
                  <a:lnTo>
                    <a:pt x="2363504" y="676648"/>
                  </a:lnTo>
                  <a:lnTo>
                    <a:pt x="2377799" y="676648"/>
                  </a:lnTo>
                  <a:lnTo>
                    <a:pt x="2392095" y="671884"/>
                  </a:lnTo>
                  <a:lnTo>
                    <a:pt x="2401625" y="652824"/>
                  </a:lnTo>
                  <a:lnTo>
                    <a:pt x="2411155" y="643292"/>
                  </a:lnTo>
                  <a:lnTo>
                    <a:pt x="2420686" y="638528"/>
                  </a:lnTo>
                  <a:lnTo>
                    <a:pt x="2425450" y="633760"/>
                  </a:lnTo>
                  <a:lnTo>
                    <a:pt x="2425450" y="624232"/>
                  </a:lnTo>
                  <a:lnTo>
                    <a:pt x="2430216" y="600408"/>
                  </a:lnTo>
                  <a:lnTo>
                    <a:pt x="2449276" y="562284"/>
                  </a:lnTo>
                  <a:lnTo>
                    <a:pt x="2468337" y="543224"/>
                  </a:lnTo>
                  <a:lnTo>
                    <a:pt x="2487397" y="538460"/>
                  </a:lnTo>
                  <a:lnTo>
                    <a:pt x="2501693" y="533696"/>
                  </a:lnTo>
                  <a:lnTo>
                    <a:pt x="2506458" y="524164"/>
                  </a:lnTo>
                  <a:lnTo>
                    <a:pt x="2520753" y="524164"/>
                  </a:lnTo>
                  <a:lnTo>
                    <a:pt x="2535048" y="528928"/>
                  </a:lnTo>
                  <a:lnTo>
                    <a:pt x="2563639" y="533696"/>
                  </a:lnTo>
                  <a:lnTo>
                    <a:pt x="2601760" y="538460"/>
                  </a:lnTo>
                  <a:lnTo>
                    <a:pt x="2620821" y="538460"/>
                  </a:lnTo>
                  <a:lnTo>
                    <a:pt x="2630351" y="533696"/>
                  </a:lnTo>
                  <a:lnTo>
                    <a:pt x="2635116" y="538460"/>
                  </a:lnTo>
                  <a:lnTo>
                    <a:pt x="2639881" y="538460"/>
                  </a:lnTo>
                  <a:lnTo>
                    <a:pt x="2649412" y="538460"/>
                  </a:lnTo>
                  <a:lnTo>
                    <a:pt x="2658942" y="543224"/>
                  </a:lnTo>
                  <a:lnTo>
                    <a:pt x="2668472" y="562284"/>
                  </a:lnTo>
                  <a:lnTo>
                    <a:pt x="2711358" y="595640"/>
                  </a:lnTo>
                  <a:lnTo>
                    <a:pt x="2716124" y="605172"/>
                  </a:lnTo>
                  <a:lnTo>
                    <a:pt x="2730419" y="624232"/>
                  </a:lnTo>
                  <a:lnTo>
                    <a:pt x="2759010" y="643292"/>
                  </a:lnTo>
                  <a:lnTo>
                    <a:pt x="2773305" y="667116"/>
                  </a:lnTo>
                  <a:lnTo>
                    <a:pt x="2773305" y="681412"/>
                  </a:lnTo>
                  <a:lnTo>
                    <a:pt x="2787600" y="710004"/>
                  </a:lnTo>
                  <a:lnTo>
                    <a:pt x="2811426" y="748124"/>
                  </a:lnTo>
                  <a:lnTo>
                    <a:pt x="2820956" y="767184"/>
                  </a:lnTo>
                  <a:lnTo>
                    <a:pt x="2820956" y="781480"/>
                  </a:lnTo>
                  <a:lnTo>
                    <a:pt x="2825721" y="795776"/>
                  </a:lnTo>
                  <a:lnTo>
                    <a:pt x="2840017" y="814836"/>
                  </a:lnTo>
                  <a:lnTo>
                    <a:pt x="2859077" y="824368"/>
                  </a:lnTo>
                  <a:lnTo>
                    <a:pt x="2873372" y="848192"/>
                  </a:lnTo>
                  <a:lnTo>
                    <a:pt x="2892433" y="881548"/>
                  </a:lnTo>
                  <a:lnTo>
                    <a:pt x="2911494" y="905376"/>
                  </a:lnTo>
                  <a:lnTo>
                    <a:pt x="2935319" y="919668"/>
                  </a:lnTo>
                  <a:lnTo>
                    <a:pt x="2949615" y="933964"/>
                  </a:lnTo>
                  <a:lnTo>
                    <a:pt x="2954380" y="948260"/>
                  </a:lnTo>
                  <a:lnTo>
                    <a:pt x="2954380" y="962556"/>
                  </a:lnTo>
                  <a:lnTo>
                    <a:pt x="2949615" y="972084"/>
                  </a:lnTo>
                  <a:lnTo>
                    <a:pt x="2954380" y="981616"/>
                  </a:lnTo>
                  <a:lnTo>
                    <a:pt x="2959145" y="991148"/>
                  </a:lnTo>
                  <a:lnTo>
                    <a:pt x="2963910" y="1000676"/>
                  </a:lnTo>
                  <a:lnTo>
                    <a:pt x="2959145" y="1019736"/>
                  </a:lnTo>
                  <a:lnTo>
                    <a:pt x="2959145" y="1024504"/>
                  </a:lnTo>
                  <a:lnTo>
                    <a:pt x="2982970" y="1053092"/>
                  </a:lnTo>
                  <a:lnTo>
                    <a:pt x="2992501" y="1072152"/>
                  </a:lnTo>
                  <a:lnTo>
                    <a:pt x="3002031" y="1110276"/>
                  </a:lnTo>
                  <a:lnTo>
                    <a:pt x="3011561" y="1129336"/>
                  </a:lnTo>
                  <a:lnTo>
                    <a:pt x="3030622" y="1138864"/>
                  </a:lnTo>
                  <a:lnTo>
                    <a:pt x="3049682" y="1138864"/>
                  </a:lnTo>
                  <a:lnTo>
                    <a:pt x="3068743" y="1148396"/>
                  </a:lnTo>
                  <a:lnTo>
                    <a:pt x="3078273" y="1157924"/>
                  </a:lnTo>
                  <a:lnTo>
                    <a:pt x="3092568" y="1162692"/>
                  </a:lnTo>
                  <a:lnTo>
                    <a:pt x="3111629" y="1167456"/>
                  </a:lnTo>
                  <a:lnTo>
                    <a:pt x="3125924" y="1176988"/>
                  </a:lnTo>
                  <a:lnTo>
                    <a:pt x="3144985" y="1186516"/>
                  </a:lnTo>
                  <a:lnTo>
                    <a:pt x="3173576" y="1196048"/>
                  </a:lnTo>
                  <a:lnTo>
                    <a:pt x="3216462" y="1200812"/>
                  </a:lnTo>
                  <a:lnTo>
                    <a:pt x="3249818" y="1210344"/>
                  </a:lnTo>
                  <a:lnTo>
                    <a:pt x="3273643" y="1224636"/>
                  </a:lnTo>
                  <a:lnTo>
                    <a:pt x="3283174" y="1229404"/>
                  </a:lnTo>
                  <a:lnTo>
                    <a:pt x="3287939" y="1229404"/>
                  </a:lnTo>
                  <a:lnTo>
                    <a:pt x="3287939" y="1224636"/>
                  </a:lnTo>
                  <a:lnTo>
                    <a:pt x="3287939" y="1219872"/>
                  </a:lnTo>
                  <a:lnTo>
                    <a:pt x="3297469" y="1215108"/>
                  </a:lnTo>
                  <a:lnTo>
                    <a:pt x="3321294" y="1215108"/>
                  </a:lnTo>
                  <a:lnTo>
                    <a:pt x="3316530" y="1248464"/>
                  </a:lnTo>
                  <a:lnTo>
                    <a:pt x="3306999" y="1277056"/>
                  </a:lnTo>
                  <a:lnTo>
                    <a:pt x="3278408" y="1339000"/>
                  </a:lnTo>
                  <a:lnTo>
                    <a:pt x="3264113" y="1377120"/>
                  </a:lnTo>
                  <a:lnTo>
                    <a:pt x="3240288" y="1486720"/>
                  </a:lnTo>
                  <a:lnTo>
                    <a:pt x="3230757" y="1553432"/>
                  </a:lnTo>
                  <a:lnTo>
                    <a:pt x="3230757" y="1586788"/>
                  </a:lnTo>
                  <a:lnTo>
                    <a:pt x="3225992" y="1591552"/>
                  </a:lnTo>
                  <a:lnTo>
                    <a:pt x="3230757" y="1596316"/>
                  </a:lnTo>
                  <a:lnTo>
                    <a:pt x="3221227" y="1667796"/>
                  </a:lnTo>
                  <a:lnTo>
                    <a:pt x="3225992" y="1729740"/>
                  </a:lnTo>
                  <a:lnTo>
                    <a:pt x="3225992" y="1739272"/>
                  </a:lnTo>
                  <a:lnTo>
                    <a:pt x="3216462" y="1758332"/>
                  </a:lnTo>
                  <a:lnTo>
                    <a:pt x="3206932" y="1786924"/>
                  </a:lnTo>
                  <a:lnTo>
                    <a:pt x="3211697" y="1796452"/>
                  </a:lnTo>
                  <a:lnTo>
                    <a:pt x="3211697" y="1805984"/>
                  </a:lnTo>
                  <a:lnTo>
                    <a:pt x="3221227" y="1844104"/>
                  </a:lnTo>
                  <a:lnTo>
                    <a:pt x="3221227" y="1872696"/>
                  </a:lnTo>
                  <a:lnTo>
                    <a:pt x="3249818" y="1920348"/>
                  </a:lnTo>
                  <a:lnTo>
                    <a:pt x="3268878" y="1939408"/>
                  </a:lnTo>
                  <a:lnTo>
                    <a:pt x="3287939" y="1953704"/>
                  </a:lnTo>
                  <a:lnTo>
                    <a:pt x="3292704" y="1963232"/>
                  </a:lnTo>
                  <a:lnTo>
                    <a:pt x="3287939" y="1987056"/>
                  </a:lnTo>
                  <a:lnTo>
                    <a:pt x="3283174" y="1996588"/>
                  </a:lnTo>
                  <a:lnTo>
                    <a:pt x="3278408" y="2010884"/>
                  </a:lnTo>
                  <a:lnTo>
                    <a:pt x="3273643" y="1996588"/>
                  </a:lnTo>
                  <a:lnTo>
                    <a:pt x="3278408" y="1982292"/>
                  </a:lnTo>
                  <a:lnTo>
                    <a:pt x="3283174" y="1972764"/>
                  </a:lnTo>
                  <a:lnTo>
                    <a:pt x="3283174" y="1963232"/>
                  </a:lnTo>
                  <a:lnTo>
                    <a:pt x="3273643" y="1953704"/>
                  </a:lnTo>
                  <a:lnTo>
                    <a:pt x="3249818" y="1929876"/>
                  </a:lnTo>
                  <a:lnTo>
                    <a:pt x="3225992" y="1886992"/>
                  </a:lnTo>
                  <a:lnTo>
                    <a:pt x="3245052" y="1958468"/>
                  </a:lnTo>
                  <a:lnTo>
                    <a:pt x="3249818" y="1967996"/>
                  </a:lnTo>
                  <a:lnTo>
                    <a:pt x="3254583" y="1972764"/>
                  </a:lnTo>
                  <a:lnTo>
                    <a:pt x="3264113" y="1977528"/>
                  </a:lnTo>
                  <a:lnTo>
                    <a:pt x="3264113" y="1987056"/>
                  </a:lnTo>
                  <a:lnTo>
                    <a:pt x="3264113" y="1991824"/>
                  </a:lnTo>
                  <a:lnTo>
                    <a:pt x="3287939" y="2039476"/>
                  </a:lnTo>
                  <a:lnTo>
                    <a:pt x="3311764" y="2091892"/>
                  </a:lnTo>
                  <a:lnTo>
                    <a:pt x="3311764" y="2106188"/>
                  </a:lnTo>
                  <a:lnTo>
                    <a:pt x="3326060" y="2120480"/>
                  </a:lnTo>
                  <a:lnTo>
                    <a:pt x="3388006" y="2191960"/>
                  </a:lnTo>
                  <a:lnTo>
                    <a:pt x="3426128" y="2249140"/>
                  </a:lnTo>
                  <a:lnTo>
                    <a:pt x="3440423" y="2296792"/>
                  </a:lnTo>
                  <a:lnTo>
                    <a:pt x="3449953" y="2311088"/>
                  </a:lnTo>
                  <a:lnTo>
                    <a:pt x="3454718" y="2334912"/>
                  </a:lnTo>
                  <a:lnTo>
                    <a:pt x="3478544" y="2358736"/>
                  </a:lnTo>
                  <a:lnTo>
                    <a:pt x="3488074" y="2373032"/>
                  </a:lnTo>
                  <a:lnTo>
                    <a:pt x="3502370" y="2382564"/>
                  </a:lnTo>
                  <a:lnTo>
                    <a:pt x="3511900" y="2406388"/>
                  </a:lnTo>
                  <a:lnTo>
                    <a:pt x="3535725" y="2425448"/>
                  </a:lnTo>
                  <a:lnTo>
                    <a:pt x="3530960" y="2425448"/>
                  </a:lnTo>
                  <a:lnTo>
                    <a:pt x="3511900" y="2415920"/>
                  </a:lnTo>
                  <a:lnTo>
                    <a:pt x="3511900" y="2420684"/>
                  </a:lnTo>
                  <a:lnTo>
                    <a:pt x="3526195" y="2430216"/>
                  </a:lnTo>
                  <a:lnTo>
                    <a:pt x="3559551" y="2439744"/>
                  </a:lnTo>
                  <a:lnTo>
                    <a:pt x="3564316" y="2439744"/>
                  </a:lnTo>
                  <a:lnTo>
                    <a:pt x="3554786" y="2434980"/>
                  </a:lnTo>
                  <a:lnTo>
                    <a:pt x="3545256" y="2430216"/>
                  </a:lnTo>
                  <a:lnTo>
                    <a:pt x="3569081" y="2434980"/>
                  </a:lnTo>
                  <a:lnTo>
                    <a:pt x="3626263" y="2439744"/>
                  </a:lnTo>
                  <a:lnTo>
                    <a:pt x="3654854" y="2463572"/>
                  </a:lnTo>
                  <a:lnTo>
                    <a:pt x="3688210" y="2473100"/>
                  </a:lnTo>
                  <a:lnTo>
                    <a:pt x="3707270" y="2496928"/>
                  </a:lnTo>
                  <a:lnTo>
                    <a:pt x="3726330" y="2525516"/>
                  </a:lnTo>
                  <a:lnTo>
                    <a:pt x="3740626" y="2530284"/>
                  </a:lnTo>
                  <a:lnTo>
                    <a:pt x="3750156" y="2530284"/>
                  </a:lnTo>
                  <a:lnTo>
                    <a:pt x="3783512" y="2525516"/>
                  </a:lnTo>
                  <a:lnTo>
                    <a:pt x="3831163" y="2506456"/>
                  </a:lnTo>
                  <a:lnTo>
                    <a:pt x="3850224" y="2496928"/>
                  </a:lnTo>
                  <a:lnTo>
                    <a:pt x="3883580" y="2482632"/>
                  </a:lnTo>
                  <a:lnTo>
                    <a:pt x="3931231" y="2482632"/>
                  </a:lnTo>
                  <a:lnTo>
                    <a:pt x="3950292" y="2487396"/>
                  </a:lnTo>
                  <a:lnTo>
                    <a:pt x="3983647" y="2477868"/>
                  </a:lnTo>
                  <a:lnTo>
                    <a:pt x="4002708" y="2468336"/>
                  </a:lnTo>
                  <a:lnTo>
                    <a:pt x="4012238" y="2463572"/>
                  </a:lnTo>
                  <a:lnTo>
                    <a:pt x="4012238" y="2454040"/>
                  </a:lnTo>
                  <a:lnTo>
                    <a:pt x="4050359" y="2444512"/>
                  </a:lnTo>
                  <a:lnTo>
                    <a:pt x="4055124" y="2444512"/>
                  </a:lnTo>
                  <a:lnTo>
                    <a:pt x="4088480" y="2444512"/>
                  </a:lnTo>
                  <a:lnTo>
                    <a:pt x="4107541" y="2439744"/>
                  </a:lnTo>
                  <a:lnTo>
                    <a:pt x="4126601" y="2439744"/>
                  </a:lnTo>
                  <a:lnTo>
                    <a:pt x="4140896" y="2449276"/>
                  </a:lnTo>
                  <a:lnTo>
                    <a:pt x="4140896" y="2458804"/>
                  </a:lnTo>
                  <a:lnTo>
                    <a:pt x="4131366" y="2463572"/>
                  </a:lnTo>
                  <a:lnTo>
                    <a:pt x="4136132" y="2468336"/>
                  </a:lnTo>
                  <a:lnTo>
                    <a:pt x="4155192" y="2477868"/>
                  </a:lnTo>
                  <a:lnTo>
                    <a:pt x="4188548" y="2482632"/>
                  </a:lnTo>
                  <a:lnTo>
                    <a:pt x="4198078" y="2482632"/>
                  </a:lnTo>
                  <a:lnTo>
                    <a:pt x="4212374" y="2468336"/>
                  </a:lnTo>
                  <a:lnTo>
                    <a:pt x="4236199" y="2454040"/>
                  </a:lnTo>
                  <a:lnTo>
                    <a:pt x="4236199" y="2434980"/>
                  </a:lnTo>
                  <a:lnTo>
                    <a:pt x="4231434" y="2430216"/>
                  </a:lnTo>
                  <a:lnTo>
                    <a:pt x="4226669" y="2425448"/>
                  </a:lnTo>
                  <a:lnTo>
                    <a:pt x="4221904" y="2420684"/>
                  </a:lnTo>
                  <a:lnTo>
                    <a:pt x="4226669" y="2411156"/>
                  </a:lnTo>
                  <a:lnTo>
                    <a:pt x="4226669" y="2406388"/>
                  </a:lnTo>
                  <a:lnTo>
                    <a:pt x="4212374" y="2415920"/>
                  </a:lnTo>
                  <a:lnTo>
                    <a:pt x="4207608" y="2415920"/>
                  </a:lnTo>
                  <a:lnTo>
                    <a:pt x="4207608" y="2411156"/>
                  </a:lnTo>
                  <a:lnTo>
                    <a:pt x="4212374" y="2411156"/>
                  </a:lnTo>
                  <a:lnTo>
                    <a:pt x="4260025" y="2382564"/>
                  </a:lnTo>
                  <a:lnTo>
                    <a:pt x="4269555" y="2373032"/>
                  </a:lnTo>
                  <a:lnTo>
                    <a:pt x="4288616" y="2368268"/>
                  </a:lnTo>
                  <a:lnTo>
                    <a:pt x="4321972" y="2330148"/>
                  </a:lnTo>
                  <a:lnTo>
                    <a:pt x="4326736" y="2268200"/>
                  </a:lnTo>
                  <a:lnTo>
                    <a:pt x="4336267" y="2258672"/>
                  </a:lnTo>
                  <a:lnTo>
                    <a:pt x="4355327" y="2239608"/>
                  </a:lnTo>
                  <a:lnTo>
                    <a:pt x="4360092" y="2234844"/>
                  </a:lnTo>
                  <a:lnTo>
                    <a:pt x="4360092" y="2220548"/>
                  </a:lnTo>
                  <a:lnTo>
                    <a:pt x="4360092" y="2187192"/>
                  </a:lnTo>
                  <a:lnTo>
                    <a:pt x="4360092" y="2163368"/>
                  </a:lnTo>
                  <a:lnTo>
                    <a:pt x="4360092" y="2134776"/>
                  </a:lnTo>
                  <a:lnTo>
                    <a:pt x="4364858" y="2106188"/>
                  </a:lnTo>
                  <a:lnTo>
                    <a:pt x="4369623" y="2096656"/>
                  </a:lnTo>
                  <a:lnTo>
                    <a:pt x="4379153" y="2058536"/>
                  </a:lnTo>
                  <a:lnTo>
                    <a:pt x="4407744" y="2039476"/>
                  </a:lnTo>
                  <a:lnTo>
                    <a:pt x="4455395" y="2015648"/>
                  </a:lnTo>
                  <a:lnTo>
                    <a:pt x="4464925" y="2010884"/>
                  </a:lnTo>
                  <a:lnTo>
                    <a:pt x="4612644" y="1987056"/>
                  </a:lnTo>
                  <a:lnTo>
                    <a:pt x="4631704" y="1982292"/>
                  </a:lnTo>
                  <a:lnTo>
                    <a:pt x="4655530" y="1967996"/>
                  </a:lnTo>
                  <a:lnTo>
                    <a:pt x="4674591" y="1963232"/>
                  </a:lnTo>
                  <a:lnTo>
                    <a:pt x="4707946" y="1963232"/>
                  </a:lnTo>
                  <a:lnTo>
                    <a:pt x="4717477" y="1963232"/>
                  </a:lnTo>
                  <a:lnTo>
                    <a:pt x="4722242" y="1958468"/>
                  </a:lnTo>
                  <a:lnTo>
                    <a:pt x="4727008" y="1953704"/>
                  </a:lnTo>
                  <a:lnTo>
                    <a:pt x="4746068" y="1958468"/>
                  </a:lnTo>
                  <a:lnTo>
                    <a:pt x="4784189" y="1967996"/>
                  </a:lnTo>
                  <a:lnTo>
                    <a:pt x="4798484" y="1967996"/>
                  </a:lnTo>
                  <a:lnTo>
                    <a:pt x="4831840" y="1977528"/>
                  </a:lnTo>
                  <a:lnTo>
                    <a:pt x="4865196" y="1982292"/>
                  </a:lnTo>
                  <a:lnTo>
                    <a:pt x="4869961" y="1982292"/>
                  </a:lnTo>
                  <a:lnTo>
                    <a:pt x="4874726" y="1977528"/>
                  </a:lnTo>
                  <a:lnTo>
                    <a:pt x="4879492" y="1972764"/>
                  </a:lnTo>
                  <a:lnTo>
                    <a:pt x="4874726" y="1967996"/>
                  </a:lnTo>
                  <a:lnTo>
                    <a:pt x="4869961" y="1967996"/>
                  </a:lnTo>
                  <a:lnTo>
                    <a:pt x="4865196" y="1972764"/>
                  </a:lnTo>
                  <a:lnTo>
                    <a:pt x="4860431" y="1972764"/>
                  </a:lnTo>
                  <a:lnTo>
                    <a:pt x="4846136" y="1967996"/>
                  </a:lnTo>
                  <a:lnTo>
                    <a:pt x="4846136" y="1963232"/>
                  </a:lnTo>
                  <a:lnTo>
                    <a:pt x="4860431" y="1963232"/>
                  </a:lnTo>
                  <a:lnTo>
                    <a:pt x="4869961" y="1958468"/>
                  </a:lnTo>
                  <a:lnTo>
                    <a:pt x="4884256" y="1953704"/>
                  </a:lnTo>
                  <a:lnTo>
                    <a:pt x="4898552" y="1958468"/>
                  </a:lnTo>
                  <a:lnTo>
                    <a:pt x="4917612" y="1982292"/>
                  </a:lnTo>
                  <a:lnTo>
                    <a:pt x="4931908" y="1987056"/>
                  </a:lnTo>
                  <a:lnTo>
                    <a:pt x="4931908" y="2020412"/>
                  </a:lnTo>
                  <a:lnTo>
                    <a:pt x="4936673" y="2025180"/>
                  </a:lnTo>
                  <a:lnTo>
                    <a:pt x="4941438" y="2034708"/>
                  </a:lnTo>
                  <a:lnTo>
                    <a:pt x="4931908" y="2058536"/>
                  </a:lnTo>
                  <a:lnTo>
                    <a:pt x="4927142" y="2077596"/>
                  </a:lnTo>
                  <a:lnTo>
                    <a:pt x="4917612" y="2091892"/>
                  </a:lnTo>
                  <a:lnTo>
                    <a:pt x="4893786" y="2120480"/>
                  </a:lnTo>
                  <a:lnTo>
                    <a:pt x="4869961" y="2139544"/>
                  </a:lnTo>
                  <a:lnTo>
                    <a:pt x="4836605" y="2187192"/>
                  </a:lnTo>
                  <a:lnTo>
                    <a:pt x="4831840" y="2206252"/>
                  </a:lnTo>
                  <a:lnTo>
                    <a:pt x="4831840" y="2225316"/>
                  </a:lnTo>
                  <a:lnTo>
                    <a:pt x="4836605" y="2244376"/>
                  </a:lnTo>
                  <a:lnTo>
                    <a:pt x="4836605" y="2249140"/>
                  </a:lnTo>
                  <a:lnTo>
                    <a:pt x="4831840" y="2253904"/>
                  </a:lnTo>
                  <a:lnTo>
                    <a:pt x="4827075" y="2253904"/>
                  </a:lnTo>
                  <a:lnTo>
                    <a:pt x="4812780" y="2263436"/>
                  </a:lnTo>
                  <a:lnTo>
                    <a:pt x="4798484" y="2287260"/>
                  </a:lnTo>
                  <a:lnTo>
                    <a:pt x="4798484" y="2292028"/>
                  </a:lnTo>
                  <a:lnTo>
                    <a:pt x="4803250" y="2296792"/>
                  </a:lnTo>
                  <a:lnTo>
                    <a:pt x="4812780" y="2296792"/>
                  </a:lnTo>
                  <a:lnTo>
                    <a:pt x="4822310" y="2296792"/>
                  </a:lnTo>
                  <a:lnTo>
                    <a:pt x="4831840" y="2292028"/>
                  </a:lnTo>
                  <a:lnTo>
                    <a:pt x="4836605" y="2292028"/>
                  </a:lnTo>
                  <a:lnTo>
                    <a:pt x="4836605" y="2306320"/>
                  </a:lnTo>
                  <a:lnTo>
                    <a:pt x="4831840" y="2315852"/>
                  </a:lnTo>
                  <a:lnTo>
                    <a:pt x="4822310" y="2320616"/>
                  </a:lnTo>
                  <a:lnTo>
                    <a:pt x="4817544" y="2320616"/>
                  </a:lnTo>
                  <a:lnTo>
                    <a:pt x="4808014" y="2325384"/>
                  </a:lnTo>
                  <a:lnTo>
                    <a:pt x="4803250" y="2330148"/>
                  </a:lnTo>
                  <a:lnTo>
                    <a:pt x="4803250" y="2349208"/>
                  </a:lnTo>
                  <a:lnTo>
                    <a:pt x="4808014" y="2349208"/>
                  </a:lnTo>
                  <a:lnTo>
                    <a:pt x="4817544" y="2339676"/>
                  </a:lnTo>
                  <a:lnTo>
                    <a:pt x="4827075" y="2339676"/>
                  </a:lnTo>
                  <a:lnTo>
                    <a:pt x="4827075" y="2344444"/>
                  </a:lnTo>
                  <a:lnTo>
                    <a:pt x="4812780" y="2382564"/>
                  </a:lnTo>
                  <a:lnTo>
                    <a:pt x="4803250" y="2425448"/>
                  </a:lnTo>
                  <a:lnTo>
                    <a:pt x="4788954" y="2449276"/>
                  </a:lnTo>
                  <a:lnTo>
                    <a:pt x="4784189" y="2482632"/>
                  </a:lnTo>
                  <a:lnTo>
                    <a:pt x="4779424" y="2496928"/>
                  </a:lnTo>
                  <a:lnTo>
                    <a:pt x="4769894" y="2511224"/>
                  </a:lnTo>
                  <a:lnTo>
                    <a:pt x="4765128" y="2511224"/>
                  </a:lnTo>
                  <a:lnTo>
                    <a:pt x="4755598" y="2482632"/>
                  </a:lnTo>
                  <a:lnTo>
                    <a:pt x="4741302" y="2477868"/>
                  </a:lnTo>
                  <a:lnTo>
                    <a:pt x="4741302" y="2468336"/>
                  </a:lnTo>
                  <a:lnTo>
                    <a:pt x="4746068" y="2434980"/>
                  </a:lnTo>
                  <a:lnTo>
                    <a:pt x="4741302" y="2415920"/>
                  </a:lnTo>
                  <a:lnTo>
                    <a:pt x="4736538" y="2415920"/>
                  </a:lnTo>
                  <a:lnTo>
                    <a:pt x="4727008" y="2430216"/>
                  </a:lnTo>
                  <a:lnTo>
                    <a:pt x="4717477" y="2434980"/>
                  </a:lnTo>
                  <a:lnTo>
                    <a:pt x="4717477" y="2449276"/>
                  </a:lnTo>
                  <a:lnTo>
                    <a:pt x="4703182" y="2473100"/>
                  </a:lnTo>
                  <a:lnTo>
                    <a:pt x="4703182" y="2477868"/>
                  </a:lnTo>
                  <a:lnTo>
                    <a:pt x="4688886" y="2477868"/>
                  </a:lnTo>
                  <a:lnTo>
                    <a:pt x="4674591" y="2477868"/>
                  </a:lnTo>
                  <a:lnTo>
                    <a:pt x="4665060" y="2482632"/>
                  </a:lnTo>
                  <a:lnTo>
                    <a:pt x="4655530" y="2506456"/>
                  </a:lnTo>
                  <a:lnTo>
                    <a:pt x="4631704" y="2544576"/>
                  </a:lnTo>
                  <a:lnTo>
                    <a:pt x="4622174" y="2563640"/>
                  </a:lnTo>
                  <a:lnTo>
                    <a:pt x="4612644" y="2568404"/>
                  </a:lnTo>
                  <a:lnTo>
                    <a:pt x="4607879" y="2568404"/>
                  </a:lnTo>
                  <a:lnTo>
                    <a:pt x="4603114" y="2563640"/>
                  </a:lnTo>
                  <a:lnTo>
                    <a:pt x="4584054" y="2554108"/>
                  </a:lnTo>
                  <a:lnTo>
                    <a:pt x="4569758" y="2558872"/>
                  </a:lnTo>
                  <a:lnTo>
                    <a:pt x="4564993" y="2573168"/>
                  </a:lnTo>
                  <a:lnTo>
                    <a:pt x="4564993" y="2587464"/>
                  </a:lnTo>
                  <a:lnTo>
                    <a:pt x="4479220" y="2587464"/>
                  </a:lnTo>
                  <a:lnTo>
                    <a:pt x="4407744" y="2587464"/>
                  </a:lnTo>
                  <a:lnTo>
                    <a:pt x="4279085" y="2587464"/>
                  </a:lnTo>
                  <a:lnTo>
                    <a:pt x="4279085" y="2644644"/>
                  </a:lnTo>
                  <a:lnTo>
                    <a:pt x="4279085" y="2678000"/>
                  </a:lnTo>
                  <a:lnTo>
                    <a:pt x="4217138" y="2678000"/>
                  </a:lnTo>
                  <a:lnTo>
                    <a:pt x="4217138" y="2682768"/>
                  </a:lnTo>
                  <a:lnTo>
                    <a:pt x="4231434" y="2687532"/>
                  </a:lnTo>
                  <a:lnTo>
                    <a:pt x="4245729" y="2701828"/>
                  </a:lnTo>
                  <a:lnTo>
                    <a:pt x="4264790" y="2720888"/>
                  </a:lnTo>
                  <a:lnTo>
                    <a:pt x="4283850" y="2739948"/>
                  </a:lnTo>
                  <a:lnTo>
                    <a:pt x="4307676" y="2754244"/>
                  </a:lnTo>
                  <a:lnTo>
                    <a:pt x="4326736" y="2768540"/>
                  </a:lnTo>
                  <a:lnTo>
                    <a:pt x="4331502" y="2778068"/>
                  </a:lnTo>
                  <a:lnTo>
                    <a:pt x="4336267" y="2787600"/>
                  </a:lnTo>
                  <a:lnTo>
                    <a:pt x="4336267" y="2797128"/>
                  </a:lnTo>
                  <a:lnTo>
                    <a:pt x="4345797" y="2806660"/>
                  </a:lnTo>
                  <a:lnTo>
                    <a:pt x="4364858" y="2811424"/>
                  </a:lnTo>
                  <a:lnTo>
                    <a:pt x="4369623" y="2820956"/>
                  </a:lnTo>
                  <a:lnTo>
                    <a:pt x="4369623" y="2825720"/>
                  </a:lnTo>
                  <a:lnTo>
                    <a:pt x="4364858" y="2840016"/>
                  </a:lnTo>
                  <a:lnTo>
                    <a:pt x="4364858" y="2854312"/>
                  </a:lnTo>
                  <a:lnTo>
                    <a:pt x="4364858" y="2868608"/>
                  </a:lnTo>
                  <a:lnTo>
                    <a:pt x="4245729" y="2868608"/>
                  </a:lnTo>
                  <a:lnTo>
                    <a:pt x="4212374" y="2873372"/>
                  </a:lnTo>
                  <a:lnTo>
                    <a:pt x="4164722" y="2873372"/>
                  </a:lnTo>
                  <a:lnTo>
                    <a:pt x="4150427" y="2892432"/>
                  </a:lnTo>
                  <a:lnTo>
                    <a:pt x="4131366" y="2930552"/>
                  </a:lnTo>
                  <a:lnTo>
                    <a:pt x="4112306" y="2963908"/>
                  </a:lnTo>
                  <a:lnTo>
                    <a:pt x="4093245" y="2992500"/>
                  </a:lnTo>
                  <a:lnTo>
                    <a:pt x="4093245" y="3002032"/>
                  </a:lnTo>
                  <a:lnTo>
                    <a:pt x="4093245" y="3006796"/>
                  </a:lnTo>
                  <a:lnTo>
                    <a:pt x="4112306" y="3030620"/>
                  </a:lnTo>
                  <a:lnTo>
                    <a:pt x="4107541" y="3040152"/>
                  </a:lnTo>
                  <a:lnTo>
                    <a:pt x="4102776" y="3044916"/>
                  </a:lnTo>
                  <a:lnTo>
                    <a:pt x="4098010" y="3049680"/>
                  </a:lnTo>
                  <a:lnTo>
                    <a:pt x="4098010" y="3059212"/>
                  </a:lnTo>
                  <a:lnTo>
                    <a:pt x="4093245" y="3073508"/>
                  </a:lnTo>
                  <a:lnTo>
                    <a:pt x="4098010" y="3083036"/>
                  </a:lnTo>
                  <a:lnTo>
                    <a:pt x="4098010" y="3092568"/>
                  </a:lnTo>
                  <a:lnTo>
                    <a:pt x="4093245" y="3102096"/>
                  </a:lnTo>
                  <a:lnTo>
                    <a:pt x="4093245" y="3111628"/>
                  </a:lnTo>
                  <a:lnTo>
                    <a:pt x="4088480" y="3116392"/>
                  </a:lnTo>
                  <a:lnTo>
                    <a:pt x="4083715" y="3116392"/>
                  </a:lnTo>
                  <a:lnTo>
                    <a:pt x="4040829" y="3068740"/>
                  </a:lnTo>
                  <a:lnTo>
                    <a:pt x="3997943" y="3021092"/>
                  </a:lnTo>
                  <a:lnTo>
                    <a:pt x="3978882" y="3006796"/>
                  </a:lnTo>
                  <a:lnTo>
                    <a:pt x="3964587" y="2992500"/>
                  </a:lnTo>
                  <a:lnTo>
                    <a:pt x="3940761" y="2973440"/>
                  </a:lnTo>
                  <a:lnTo>
                    <a:pt x="3883580" y="2921024"/>
                  </a:lnTo>
                  <a:lnTo>
                    <a:pt x="3854989" y="2901964"/>
                  </a:lnTo>
                  <a:lnTo>
                    <a:pt x="3826398" y="2873372"/>
                  </a:lnTo>
                  <a:lnTo>
                    <a:pt x="3797807" y="2859076"/>
                  </a:lnTo>
                  <a:lnTo>
                    <a:pt x="3773982" y="2849548"/>
                  </a:lnTo>
                  <a:lnTo>
                    <a:pt x="3764452" y="2844780"/>
                  </a:lnTo>
                  <a:lnTo>
                    <a:pt x="3754921" y="2835252"/>
                  </a:lnTo>
                  <a:lnTo>
                    <a:pt x="3745391" y="2835252"/>
                  </a:lnTo>
                  <a:lnTo>
                    <a:pt x="3745391" y="2844780"/>
                  </a:lnTo>
                  <a:lnTo>
                    <a:pt x="3754921" y="2849548"/>
                  </a:lnTo>
                  <a:lnTo>
                    <a:pt x="3764452" y="2854312"/>
                  </a:lnTo>
                  <a:lnTo>
                    <a:pt x="3773982" y="2854312"/>
                  </a:lnTo>
                  <a:lnTo>
                    <a:pt x="3783512" y="2859076"/>
                  </a:lnTo>
                  <a:lnTo>
                    <a:pt x="3807338" y="2873372"/>
                  </a:lnTo>
                  <a:lnTo>
                    <a:pt x="3812103" y="2878136"/>
                  </a:lnTo>
                  <a:lnTo>
                    <a:pt x="3735861" y="2854312"/>
                  </a:lnTo>
                  <a:lnTo>
                    <a:pt x="3707270" y="2849548"/>
                  </a:lnTo>
                  <a:lnTo>
                    <a:pt x="3702505" y="2844780"/>
                  </a:lnTo>
                  <a:lnTo>
                    <a:pt x="3721565" y="2830484"/>
                  </a:lnTo>
                  <a:lnTo>
                    <a:pt x="3716800" y="2825720"/>
                  </a:lnTo>
                  <a:lnTo>
                    <a:pt x="3707270" y="2825720"/>
                  </a:lnTo>
                  <a:lnTo>
                    <a:pt x="3692974" y="2835252"/>
                  </a:lnTo>
                  <a:lnTo>
                    <a:pt x="3688210" y="2835252"/>
                  </a:lnTo>
                  <a:lnTo>
                    <a:pt x="3688210" y="2830484"/>
                  </a:lnTo>
                  <a:lnTo>
                    <a:pt x="3688210" y="2820956"/>
                  </a:lnTo>
                  <a:lnTo>
                    <a:pt x="3678679" y="2816192"/>
                  </a:lnTo>
                  <a:lnTo>
                    <a:pt x="3669149" y="2816192"/>
                  </a:lnTo>
                  <a:lnTo>
                    <a:pt x="3664384" y="2820956"/>
                  </a:lnTo>
                  <a:lnTo>
                    <a:pt x="3650088" y="2830484"/>
                  </a:lnTo>
                  <a:lnTo>
                    <a:pt x="3650088" y="2835252"/>
                  </a:lnTo>
                  <a:lnTo>
                    <a:pt x="3678679" y="2840016"/>
                  </a:lnTo>
                  <a:lnTo>
                    <a:pt x="3688210" y="2844780"/>
                  </a:lnTo>
                  <a:lnTo>
                    <a:pt x="3688210" y="2849548"/>
                  </a:lnTo>
                  <a:lnTo>
                    <a:pt x="3664384" y="2849548"/>
                  </a:lnTo>
                  <a:lnTo>
                    <a:pt x="3635793" y="2854312"/>
                  </a:lnTo>
                  <a:lnTo>
                    <a:pt x="3583376" y="2887668"/>
                  </a:lnTo>
                  <a:lnTo>
                    <a:pt x="3535725" y="2901964"/>
                  </a:lnTo>
                  <a:lnTo>
                    <a:pt x="3464248" y="2930552"/>
                  </a:lnTo>
                  <a:lnTo>
                    <a:pt x="3435658" y="2935320"/>
                  </a:lnTo>
                  <a:lnTo>
                    <a:pt x="3416597" y="2940084"/>
                  </a:lnTo>
                  <a:lnTo>
                    <a:pt x="3373711" y="2925788"/>
                  </a:lnTo>
                  <a:lnTo>
                    <a:pt x="3311764" y="2897196"/>
                  </a:lnTo>
                  <a:lnTo>
                    <a:pt x="3225992" y="2887668"/>
                  </a:lnTo>
                  <a:lnTo>
                    <a:pt x="3164046" y="2849548"/>
                  </a:lnTo>
                  <a:lnTo>
                    <a:pt x="3106864" y="2830484"/>
                  </a:lnTo>
                  <a:lnTo>
                    <a:pt x="3068743" y="2797128"/>
                  </a:lnTo>
                  <a:lnTo>
                    <a:pt x="3044917" y="2792364"/>
                  </a:lnTo>
                  <a:lnTo>
                    <a:pt x="3030622" y="2787600"/>
                  </a:lnTo>
                  <a:lnTo>
                    <a:pt x="2978206" y="2773304"/>
                  </a:lnTo>
                  <a:lnTo>
                    <a:pt x="2921024" y="2763772"/>
                  </a:lnTo>
                  <a:lnTo>
                    <a:pt x="2868608" y="2730416"/>
                  </a:lnTo>
                  <a:lnTo>
                    <a:pt x="2835252" y="2720888"/>
                  </a:lnTo>
                  <a:lnTo>
                    <a:pt x="2806661" y="2706592"/>
                  </a:lnTo>
                  <a:lnTo>
                    <a:pt x="2739949" y="2687532"/>
                  </a:lnTo>
                  <a:lnTo>
                    <a:pt x="2716124" y="2673236"/>
                  </a:lnTo>
                  <a:lnTo>
                    <a:pt x="2692298" y="2654176"/>
                  </a:lnTo>
                  <a:lnTo>
                    <a:pt x="2658942" y="2635116"/>
                  </a:lnTo>
                  <a:lnTo>
                    <a:pt x="2639881" y="2620820"/>
                  </a:lnTo>
                  <a:lnTo>
                    <a:pt x="2625586" y="2611288"/>
                  </a:lnTo>
                  <a:lnTo>
                    <a:pt x="2596995" y="2582700"/>
                  </a:lnTo>
                  <a:lnTo>
                    <a:pt x="2587465" y="2568404"/>
                  </a:lnTo>
                  <a:lnTo>
                    <a:pt x="2573170" y="2563640"/>
                  </a:lnTo>
                  <a:lnTo>
                    <a:pt x="2563639" y="2558872"/>
                  </a:lnTo>
                  <a:lnTo>
                    <a:pt x="2530284" y="2563640"/>
                  </a:lnTo>
                  <a:lnTo>
                    <a:pt x="2477867" y="2549344"/>
                  </a:lnTo>
                  <a:lnTo>
                    <a:pt x="2454041" y="2544576"/>
                  </a:lnTo>
                  <a:lnTo>
                    <a:pt x="2401625" y="2525516"/>
                  </a:lnTo>
                  <a:lnTo>
                    <a:pt x="2334913" y="2501692"/>
                  </a:lnTo>
                  <a:lnTo>
                    <a:pt x="2315853" y="2477868"/>
                  </a:lnTo>
                  <a:lnTo>
                    <a:pt x="2296792" y="2449276"/>
                  </a:lnTo>
                  <a:lnTo>
                    <a:pt x="2263436" y="2420684"/>
                  </a:lnTo>
                  <a:lnTo>
                    <a:pt x="2244376" y="2406388"/>
                  </a:lnTo>
                  <a:lnTo>
                    <a:pt x="2206255" y="2387328"/>
                  </a:lnTo>
                  <a:lnTo>
                    <a:pt x="2187194" y="2377800"/>
                  </a:lnTo>
                  <a:lnTo>
                    <a:pt x="2153838" y="2363504"/>
                  </a:lnTo>
                  <a:lnTo>
                    <a:pt x="2101422" y="2339676"/>
                  </a:lnTo>
                  <a:lnTo>
                    <a:pt x="2087126" y="2315852"/>
                  </a:lnTo>
                  <a:lnTo>
                    <a:pt x="2077596" y="2296792"/>
                  </a:lnTo>
                  <a:lnTo>
                    <a:pt x="2049006" y="2272964"/>
                  </a:lnTo>
                  <a:lnTo>
                    <a:pt x="2020415" y="2230080"/>
                  </a:lnTo>
                  <a:lnTo>
                    <a:pt x="2010884" y="2211020"/>
                  </a:lnTo>
                  <a:lnTo>
                    <a:pt x="2006119" y="2187192"/>
                  </a:lnTo>
                  <a:lnTo>
                    <a:pt x="1996589" y="2172896"/>
                  </a:lnTo>
                  <a:lnTo>
                    <a:pt x="1987059" y="2158604"/>
                  </a:lnTo>
                  <a:lnTo>
                    <a:pt x="1991824" y="2153836"/>
                  </a:lnTo>
                  <a:lnTo>
                    <a:pt x="2006119" y="2144308"/>
                  </a:lnTo>
                  <a:lnTo>
                    <a:pt x="2034710" y="2139544"/>
                  </a:lnTo>
                  <a:lnTo>
                    <a:pt x="2053771" y="2130012"/>
                  </a:lnTo>
                  <a:lnTo>
                    <a:pt x="2053771" y="2120480"/>
                  </a:lnTo>
                  <a:lnTo>
                    <a:pt x="2053771" y="2115716"/>
                  </a:lnTo>
                  <a:lnTo>
                    <a:pt x="2044240" y="2101420"/>
                  </a:lnTo>
                  <a:lnTo>
                    <a:pt x="2025180" y="2096656"/>
                  </a:lnTo>
                  <a:lnTo>
                    <a:pt x="2015650" y="2096656"/>
                  </a:lnTo>
                  <a:lnTo>
                    <a:pt x="2015650" y="2091892"/>
                  </a:lnTo>
                  <a:lnTo>
                    <a:pt x="2020415" y="2082360"/>
                  </a:lnTo>
                  <a:lnTo>
                    <a:pt x="2029945" y="2072832"/>
                  </a:lnTo>
                  <a:lnTo>
                    <a:pt x="2044240" y="2053768"/>
                  </a:lnTo>
                  <a:lnTo>
                    <a:pt x="2058536" y="2039476"/>
                  </a:lnTo>
                  <a:lnTo>
                    <a:pt x="2058536" y="2015648"/>
                  </a:lnTo>
                  <a:lnTo>
                    <a:pt x="2058536" y="1996588"/>
                  </a:lnTo>
                  <a:lnTo>
                    <a:pt x="2058536" y="1977528"/>
                  </a:lnTo>
                  <a:lnTo>
                    <a:pt x="2025180" y="1953704"/>
                  </a:lnTo>
                  <a:lnTo>
                    <a:pt x="2020415" y="1944172"/>
                  </a:lnTo>
                  <a:lnTo>
                    <a:pt x="2010884" y="1920348"/>
                  </a:lnTo>
                  <a:lnTo>
                    <a:pt x="1991824" y="1891756"/>
                  </a:lnTo>
                  <a:lnTo>
                    <a:pt x="1991824" y="1834572"/>
                  </a:lnTo>
                  <a:lnTo>
                    <a:pt x="1967998" y="1782156"/>
                  </a:lnTo>
                  <a:lnTo>
                    <a:pt x="1944173" y="1758332"/>
                  </a:lnTo>
                  <a:lnTo>
                    <a:pt x="1934642" y="1748800"/>
                  </a:lnTo>
                  <a:lnTo>
                    <a:pt x="1901287" y="1710680"/>
                  </a:lnTo>
                  <a:lnTo>
                    <a:pt x="1872696" y="1686856"/>
                  </a:lnTo>
                  <a:lnTo>
                    <a:pt x="1848870" y="1643968"/>
                  </a:lnTo>
                  <a:lnTo>
                    <a:pt x="1825044" y="1620144"/>
                  </a:lnTo>
                  <a:lnTo>
                    <a:pt x="1791689" y="1572492"/>
                  </a:lnTo>
                  <a:lnTo>
                    <a:pt x="1767863" y="1548668"/>
                  </a:lnTo>
                  <a:lnTo>
                    <a:pt x="1663030" y="1472424"/>
                  </a:lnTo>
                  <a:lnTo>
                    <a:pt x="1667795" y="1472424"/>
                  </a:lnTo>
                  <a:lnTo>
                    <a:pt x="1701151" y="1491484"/>
                  </a:lnTo>
                  <a:lnTo>
                    <a:pt x="1705916" y="1486720"/>
                  </a:lnTo>
                  <a:lnTo>
                    <a:pt x="1705916" y="1477188"/>
                  </a:lnTo>
                  <a:lnTo>
                    <a:pt x="1701151" y="1467660"/>
                  </a:lnTo>
                  <a:lnTo>
                    <a:pt x="1696386" y="1462896"/>
                  </a:lnTo>
                  <a:lnTo>
                    <a:pt x="1686856" y="1467660"/>
                  </a:lnTo>
                  <a:lnTo>
                    <a:pt x="1677326" y="1462896"/>
                  </a:lnTo>
                  <a:lnTo>
                    <a:pt x="1667795" y="1462896"/>
                  </a:lnTo>
                  <a:lnTo>
                    <a:pt x="1653500" y="1458128"/>
                  </a:lnTo>
                  <a:lnTo>
                    <a:pt x="1634439" y="1443832"/>
                  </a:lnTo>
                  <a:lnTo>
                    <a:pt x="1624909" y="1434304"/>
                  </a:lnTo>
                  <a:lnTo>
                    <a:pt x="1624909" y="1415244"/>
                  </a:lnTo>
                  <a:lnTo>
                    <a:pt x="1591553" y="1381888"/>
                  </a:lnTo>
                  <a:lnTo>
                    <a:pt x="1582023" y="1367592"/>
                  </a:lnTo>
                  <a:lnTo>
                    <a:pt x="1586788" y="1367592"/>
                  </a:lnTo>
                  <a:lnTo>
                    <a:pt x="1596318" y="1372356"/>
                  </a:lnTo>
                  <a:lnTo>
                    <a:pt x="1601084" y="1377120"/>
                  </a:lnTo>
                  <a:lnTo>
                    <a:pt x="1610614" y="1377120"/>
                  </a:lnTo>
                  <a:lnTo>
                    <a:pt x="1620144" y="1372356"/>
                  </a:lnTo>
                  <a:lnTo>
                    <a:pt x="1615379" y="1367592"/>
                  </a:lnTo>
                  <a:lnTo>
                    <a:pt x="1610614" y="1362828"/>
                  </a:lnTo>
                  <a:lnTo>
                    <a:pt x="1567728" y="1343764"/>
                  </a:lnTo>
                  <a:lnTo>
                    <a:pt x="1553432" y="1334236"/>
                  </a:lnTo>
                  <a:lnTo>
                    <a:pt x="1515311" y="1315176"/>
                  </a:lnTo>
                  <a:lnTo>
                    <a:pt x="1505781" y="1305644"/>
                  </a:lnTo>
                  <a:lnTo>
                    <a:pt x="1501016" y="1286584"/>
                  </a:lnTo>
                  <a:lnTo>
                    <a:pt x="1491486" y="1286584"/>
                  </a:lnTo>
                  <a:lnTo>
                    <a:pt x="1486720" y="1291348"/>
                  </a:lnTo>
                  <a:lnTo>
                    <a:pt x="1462895" y="1296116"/>
                  </a:lnTo>
                  <a:lnTo>
                    <a:pt x="1458130" y="1291348"/>
                  </a:lnTo>
                  <a:lnTo>
                    <a:pt x="1458130" y="1281820"/>
                  </a:lnTo>
                  <a:lnTo>
                    <a:pt x="1472425" y="1277056"/>
                  </a:lnTo>
                  <a:lnTo>
                    <a:pt x="1486720" y="1257992"/>
                  </a:lnTo>
                  <a:lnTo>
                    <a:pt x="1486720" y="1253228"/>
                  </a:lnTo>
                  <a:lnTo>
                    <a:pt x="1477190" y="1257992"/>
                  </a:lnTo>
                  <a:lnTo>
                    <a:pt x="1467660" y="1267524"/>
                  </a:lnTo>
                  <a:lnTo>
                    <a:pt x="1453365" y="1272288"/>
                  </a:lnTo>
                  <a:lnTo>
                    <a:pt x="1439069" y="1277056"/>
                  </a:lnTo>
                  <a:lnTo>
                    <a:pt x="1429539" y="1272288"/>
                  </a:lnTo>
                  <a:lnTo>
                    <a:pt x="1420009" y="1272288"/>
                  </a:lnTo>
                  <a:lnTo>
                    <a:pt x="1410478" y="1253228"/>
                  </a:lnTo>
                  <a:lnTo>
                    <a:pt x="1400948" y="1200812"/>
                  </a:lnTo>
                  <a:lnTo>
                    <a:pt x="1415244" y="1181752"/>
                  </a:lnTo>
                  <a:lnTo>
                    <a:pt x="1424774" y="1162692"/>
                  </a:lnTo>
                  <a:lnTo>
                    <a:pt x="1439069" y="1153160"/>
                  </a:lnTo>
                  <a:lnTo>
                    <a:pt x="1443834" y="1162692"/>
                  </a:lnTo>
                  <a:lnTo>
                    <a:pt x="1448600" y="1162692"/>
                  </a:lnTo>
                  <a:lnTo>
                    <a:pt x="1443834" y="1153160"/>
                  </a:lnTo>
                  <a:lnTo>
                    <a:pt x="1434304" y="1143632"/>
                  </a:lnTo>
                  <a:lnTo>
                    <a:pt x="1429539" y="1134100"/>
                  </a:lnTo>
                  <a:lnTo>
                    <a:pt x="1429539" y="1129336"/>
                  </a:lnTo>
                  <a:lnTo>
                    <a:pt x="1424774" y="1115040"/>
                  </a:lnTo>
                  <a:lnTo>
                    <a:pt x="1391418" y="1081684"/>
                  </a:lnTo>
                  <a:lnTo>
                    <a:pt x="1362827" y="1086448"/>
                  </a:lnTo>
                  <a:lnTo>
                    <a:pt x="1348532" y="1081684"/>
                  </a:lnTo>
                  <a:lnTo>
                    <a:pt x="1339002" y="1072152"/>
                  </a:lnTo>
                  <a:lnTo>
                    <a:pt x="1329471" y="1053092"/>
                  </a:lnTo>
                  <a:lnTo>
                    <a:pt x="1324706" y="1034032"/>
                  </a:lnTo>
                  <a:lnTo>
                    <a:pt x="1324706" y="1024504"/>
                  </a:lnTo>
                  <a:lnTo>
                    <a:pt x="1319941" y="1019736"/>
                  </a:lnTo>
                  <a:lnTo>
                    <a:pt x="1267525" y="1005440"/>
                  </a:lnTo>
                  <a:lnTo>
                    <a:pt x="1253229" y="991148"/>
                  </a:lnTo>
                  <a:lnTo>
                    <a:pt x="1238934" y="976852"/>
                  </a:lnTo>
                  <a:lnTo>
                    <a:pt x="1229404" y="962556"/>
                  </a:lnTo>
                  <a:lnTo>
                    <a:pt x="1224638" y="953024"/>
                  </a:lnTo>
                  <a:lnTo>
                    <a:pt x="1219873" y="938732"/>
                  </a:lnTo>
                  <a:lnTo>
                    <a:pt x="1215108" y="914904"/>
                  </a:lnTo>
                  <a:lnTo>
                    <a:pt x="1219873" y="891080"/>
                  </a:lnTo>
                  <a:lnTo>
                    <a:pt x="1229404" y="881548"/>
                  </a:lnTo>
                  <a:lnTo>
                    <a:pt x="1196048" y="872020"/>
                  </a:lnTo>
                  <a:lnTo>
                    <a:pt x="1181752" y="872020"/>
                  </a:lnTo>
                  <a:lnTo>
                    <a:pt x="1167457" y="876784"/>
                  </a:lnTo>
                  <a:lnTo>
                    <a:pt x="1157927" y="867252"/>
                  </a:lnTo>
                  <a:lnTo>
                    <a:pt x="1138866" y="862488"/>
                  </a:lnTo>
                  <a:lnTo>
                    <a:pt x="1110275" y="833896"/>
                  </a:lnTo>
                  <a:lnTo>
                    <a:pt x="1081685" y="786244"/>
                  </a:lnTo>
                  <a:lnTo>
                    <a:pt x="1048329" y="771952"/>
                  </a:lnTo>
                  <a:lnTo>
                    <a:pt x="1038798" y="757656"/>
                  </a:lnTo>
                  <a:lnTo>
                    <a:pt x="1024503" y="738596"/>
                  </a:lnTo>
                  <a:lnTo>
                    <a:pt x="1014973" y="724300"/>
                  </a:lnTo>
                  <a:lnTo>
                    <a:pt x="1010208" y="714768"/>
                  </a:lnTo>
                  <a:lnTo>
                    <a:pt x="1010208" y="710004"/>
                  </a:lnTo>
                  <a:lnTo>
                    <a:pt x="991147" y="695708"/>
                  </a:lnTo>
                  <a:lnTo>
                    <a:pt x="976852" y="676648"/>
                  </a:lnTo>
                  <a:lnTo>
                    <a:pt x="972087" y="657588"/>
                  </a:lnTo>
                  <a:lnTo>
                    <a:pt x="967322" y="628996"/>
                  </a:lnTo>
                  <a:lnTo>
                    <a:pt x="953026" y="619468"/>
                  </a:lnTo>
                  <a:lnTo>
                    <a:pt x="938731" y="614700"/>
                  </a:lnTo>
                  <a:lnTo>
                    <a:pt x="938731" y="605172"/>
                  </a:lnTo>
                  <a:lnTo>
                    <a:pt x="938731" y="595640"/>
                  </a:lnTo>
                  <a:lnTo>
                    <a:pt x="933966" y="581344"/>
                  </a:lnTo>
                  <a:lnTo>
                    <a:pt x="910140" y="547988"/>
                  </a:lnTo>
                  <a:lnTo>
                    <a:pt x="895845" y="524164"/>
                  </a:lnTo>
                  <a:lnTo>
                    <a:pt x="891080" y="514632"/>
                  </a:lnTo>
                  <a:lnTo>
                    <a:pt x="886314" y="500340"/>
                  </a:lnTo>
                  <a:lnTo>
                    <a:pt x="881549" y="476512"/>
                  </a:lnTo>
                  <a:lnTo>
                    <a:pt x="872019" y="443156"/>
                  </a:lnTo>
                  <a:lnTo>
                    <a:pt x="852958" y="405036"/>
                  </a:lnTo>
                  <a:lnTo>
                    <a:pt x="833898" y="381212"/>
                  </a:lnTo>
                  <a:lnTo>
                    <a:pt x="824368" y="352620"/>
                  </a:lnTo>
                  <a:lnTo>
                    <a:pt x="829133" y="328792"/>
                  </a:lnTo>
                  <a:lnTo>
                    <a:pt x="829133" y="314500"/>
                  </a:lnTo>
                  <a:lnTo>
                    <a:pt x="824368" y="309732"/>
                  </a:lnTo>
                  <a:lnTo>
                    <a:pt x="829133" y="304968"/>
                  </a:lnTo>
                  <a:lnTo>
                    <a:pt x="833898" y="304968"/>
                  </a:lnTo>
                  <a:lnTo>
                    <a:pt x="838663" y="300204"/>
                  </a:lnTo>
                  <a:lnTo>
                    <a:pt x="833898" y="285908"/>
                  </a:lnTo>
                  <a:lnTo>
                    <a:pt x="829133" y="281144"/>
                  </a:lnTo>
                  <a:lnTo>
                    <a:pt x="814837" y="276376"/>
                  </a:lnTo>
                  <a:lnTo>
                    <a:pt x="805307" y="271612"/>
                  </a:lnTo>
                  <a:lnTo>
                    <a:pt x="767186" y="262080"/>
                  </a:lnTo>
                  <a:lnTo>
                    <a:pt x="748126" y="252552"/>
                  </a:lnTo>
                  <a:lnTo>
                    <a:pt x="743361" y="233492"/>
                  </a:lnTo>
                  <a:lnTo>
                    <a:pt x="733830" y="219196"/>
                  </a:lnTo>
                  <a:lnTo>
                    <a:pt x="724300" y="214432"/>
                  </a:lnTo>
                  <a:lnTo>
                    <a:pt x="695709" y="200136"/>
                  </a:lnTo>
                  <a:lnTo>
                    <a:pt x="690944" y="209664"/>
                  </a:lnTo>
                  <a:lnTo>
                    <a:pt x="686179" y="219196"/>
                  </a:lnTo>
                  <a:lnTo>
                    <a:pt x="676649" y="223960"/>
                  </a:lnTo>
                  <a:lnTo>
                    <a:pt x="662353" y="223960"/>
                  </a:lnTo>
                  <a:lnTo>
                    <a:pt x="648058" y="214432"/>
                  </a:lnTo>
                  <a:lnTo>
                    <a:pt x="600407" y="181076"/>
                  </a:lnTo>
                  <a:lnTo>
                    <a:pt x="590876" y="176308"/>
                  </a:lnTo>
                  <a:lnTo>
                    <a:pt x="576581" y="176308"/>
                  </a:lnTo>
                  <a:lnTo>
                    <a:pt x="571816" y="171544"/>
                  </a:lnTo>
                  <a:lnTo>
                    <a:pt x="543225" y="152484"/>
                  </a:lnTo>
                  <a:lnTo>
                    <a:pt x="547990" y="162016"/>
                  </a:lnTo>
                  <a:lnTo>
                    <a:pt x="557521" y="171544"/>
                  </a:lnTo>
                  <a:lnTo>
                    <a:pt x="562286" y="200136"/>
                  </a:lnTo>
                  <a:lnTo>
                    <a:pt x="552755" y="219196"/>
                  </a:lnTo>
                  <a:lnTo>
                    <a:pt x="547990" y="290672"/>
                  </a:lnTo>
                  <a:lnTo>
                    <a:pt x="557521" y="300204"/>
                  </a:lnTo>
                  <a:lnTo>
                    <a:pt x="567051" y="324028"/>
                  </a:lnTo>
                  <a:lnTo>
                    <a:pt x="576581" y="362148"/>
                  </a:lnTo>
                  <a:lnTo>
                    <a:pt x="581346" y="385976"/>
                  </a:lnTo>
                  <a:lnTo>
                    <a:pt x="590876" y="405036"/>
                  </a:lnTo>
                  <a:lnTo>
                    <a:pt x="586111" y="457452"/>
                  </a:lnTo>
                  <a:lnTo>
                    <a:pt x="590876" y="471748"/>
                  </a:lnTo>
                  <a:lnTo>
                    <a:pt x="600407" y="495572"/>
                  </a:lnTo>
                  <a:lnTo>
                    <a:pt x="624232" y="514632"/>
                  </a:lnTo>
                  <a:lnTo>
                    <a:pt x="628998" y="528928"/>
                  </a:lnTo>
                  <a:lnTo>
                    <a:pt x="657588" y="547988"/>
                  </a:lnTo>
                  <a:lnTo>
                    <a:pt x="676649" y="567052"/>
                  </a:lnTo>
                  <a:lnTo>
                    <a:pt x="714770" y="600408"/>
                  </a:lnTo>
                  <a:lnTo>
                    <a:pt x="724300" y="609936"/>
                  </a:lnTo>
                  <a:lnTo>
                    <a:pt x="757656" y="662352"/>
                  </a:lnTo>
                  <a:lnTo>
                    <a:pt x="757656" y="671884"/>
                  </a:lnTo>
                  <a:lnTo>
                    <a:pt x="767186" y="690944"/>
                  </a:lnTo>
                  <a:lnTo>
                    <a:pt x="786247" y="686180"/>
                  </a:lnTo>
                  <a:lnTo>
                    <a:pt x="791012" y="700472"/>
                  </a:lnTo>
                  <a:lnTo>
                    <a:pt x="791012" y="705240"/>
                  </a:lnTo>
                  <a:lnTo>
                    <a:pt x="795777" y="710004"/>
                  </a:lnTo>
                  <a:lnTo>
                    <a:pt x="805307" y="710004"/>
                  </a:lnTo>
                  <a:lnTo>
                    <a:pt x="810072" y="714768"/>
                  </a:lnTo>
                  <a:lnTo>
                    <a:pt x="829133" y="767184"/>
                  </a:lnTo>
                  <a:lnTo>
                    <a:pt x="838663" y="771952"/>
                  </a:lnTo>
                  <a:lnTo>
                    <a:pt x="848193" y="776716"/>
                  </a:lnTo>
                  <a:lnTo>
                    <a:pt x="862489" y="781480"/>
                  </a:lnTo>
                  <a:lnTo>
                    <a:pt x="862489" y="791012"/>
                  </a:lnTo>
                  <a:lnTo>
                    <a:pt x="862489" y="805308"/>
                  </a:lnTo>
                  <a:lnTo>
                    <a:pt x="876784" y="819600"/>
                  </a:lnTo>
                  <a:lnTo>
                    <a:pt x="872019" y="838664"/>
                  </a:lnTo>
                  <a:lnTo>
                    <a:pt x="881549" y="857724"/>
                  </a:lnTo>
                  <a:lnTo>
                    <a:pt x="881549" y="872020"/>
                  </a:lnTo>
                  <a:lnTo>
                    <a:pt x="886314" y="886312"/>
                  </a:lnTo>
                  <a:lnTo>
                    <a:pt x="914905" y="914904"/>
                  </a:lnTo>
                  <a:lnTo>
                    <a:pt x="948261" y="938732"/>
                  </a:lnTo>
                  <a:lnTo>
                    <a:pt x="957791" y="972084"/>
                  </a:lnTo>
                  <a:lnTo>
                    <a:pt x="972087" y="1000676"/>
                  </a:lnTo>
                  <a:lnTo>
                    <a:pt x="986382" y="1005440"/>
                  </a:lnTo>
                  <a:lnTo>
                    <a:pt x="1000677" y="1019736"/>
                  </a:lnTo>
                  <a:lnTo>
                    <a:pt x="995912" y="1029268"/>
                  </a:lnTo>
                  <a:lnTo>
                    <a:pt x="1000677" y="1038796"/>
                  </a:lnTo>
                  <a:lnTo>
                    <a:pt x="1019738" y="1057860"/>
                  </a:lnTo>
                  <a:lnTo>
                    <a:pt x="1019738" y="1086448"/>
                  </a:lnTo>
                  <a:lnTo>
                    <a:pt x="1038798" y="1105508"/>
                  </a:lnTo>
                  <a:lnTo>
                    <a:pt x="1043564" y="1110276"/>
                  </a:lnTo>
                  <a:lnTo>
                    <a:pt x="1048329" y="1105508"/>
                  </a:lnTo>
                  <a:lnTo>
                    <a:pt x="1034033" y="1086448"/>
                  </a:lnTo>
                  <a:lnTo>
                    <a:pt x="1029268" y="1076920"/>
                  </a:lnTo>
                  <a:lnTo>
                    <a:pt x="1029268" y="1057860"/>
                  </a:lnTo>
                  <a:lnTo>
                    <a:pt x="1029268" y="1053092"/>
                  </a:lnTo>
                  <a:lnTo>
                    <a:pt x="1067389" y="1081684"/>
                  </a:lnTo>
                  <a:lnTo>
                    <a:pt x="1072154" y="1105508"/>
                  </a:lnTo>
                  <a:lnTo>
                    <a:pt x="1081685" y="1119804"/>
                  </a:lnTo>
                  <a:lnTo>
                    <a:pt x="1081685" y="1134100"/>
                  </a:lnTo>
                  <a:lnTo>
                    <a:pt x="1091215" y="1143632"/>
                  </a:lnTo>
                  <a:lnTo>
                    <a:pt x="1091215" y="1157924"/>
                  </a:lnTo>
                  <a:lnTo>
                    <a:pt x="1105510" y="1186516"/>
                  </a:lnTo>
                  <a:lnTo>
                    <a:pt x="1105510" y="1219872"/>
                  </a:lnTo>
                  <a:lnTo>
                    <a:pt x="1110275" y="1243700"/>
                  </a:lnTo>
                  <a:lnTo>
                    <a:pt x="1134101" y="1281820"/>
                  </a:lnTo>
                  <a:lnTo>
                    <a:pt x="1153162" y="1286584"/>
                  </a:lnTo>
                  <a:lnTo>
                    <a:pt x="1153162" y="1305644"/>
                  </a:lnTo>
                  <a:lnTo>
                    <a:pt x="1172222" y="1353296"/>
                  </a:lnTo>
                  <a:lnTo>
                    <a:pt x="1196048" y="1381888"/>
                  </a:lnTo>
                  <a:lnTo>
                    <a:pt x="1205578" y="1400948"/>
                  </a:lnTo>
                  <a:lnTo>
                    <a:pt x="1205578" y="1415244"/>
                  </a:lnTo>
                  <a:lnTo>
                    <a:pt x="1200813" y="1434304"/>
                  </a:lnTo>
                  <a:lnTo>
                    <a:pt x="1196048" y="1448600"/>
                  </a:lnTo>
                  <a:lnTo>
                    <a:pt x="1210343" y="1491484"/>
                  </a:lnTo>
                  <a:lnTo>
                    <a:pt x="1224638" y="1515312"/>
                  </a:lnTo>
                  <a:lnTo>
                    <a:pt x="1248464" y="1520076"/>
                  </a:lnTo>
                  <a:lnTo>
                    <a:pt x="1248464" y="1524840"/>
                  </a:lnTo>
                  <a:lnTo>
                    <a:pt x="1248464" y="1529604"/>
                  </a:lnTo>
                  <a:lnTo>
                    <a:pt x="1253229" y="1534372"/>
                  </a:lnTo>
                  <a:lnTo>
                    <a:pt x="1262760" y="1529604"/>
                  </a:lnTo>
                  <a:lnTo>
                    <a:pt x="1267525" y="1515312"/>
                  </a:lnTo>
                  <a:lnTo>
                    <a:pt x="1262760" y="1505780"/>
                  </a:lnTo>
                  <a:lnTo>
                    <a:pt x="1262760" y="1501016"/>
                  </a:lnTo>
                  <a:lnTo>
                    <a:pt x="1262760" y="1491484"/>
                  </a:lnTo>
                  <a:lnTo>
                    <a:pt x="1272290" y="1491484"/>
                  </a:lnTo>
                  <a:lnTo>
                    <a:pt x="1310411" y="1520076"/>
                  </a:lnTo>
                  <a:lnTo>
                    <a:pt x="1315176" y="1534372"/>
                  </a:lnTo>
                  <a:lnTo>
                    <a:pt x="1329471" y="1543900"/>
                  </a:lnTo>
                  <a:lnTo>
                    <a:pt x="1343767" y="1562960"/>
                  </a:lnTo>
                  <a:lnTo>
                    <a:pt x="1348532" y="1572492"/>
                  </a:lnTo>
                  <a:lnTo>
                    <a:pt x="1358062" y="1586788"/>
                  </a:lnTo>
                  <a:lnTo>
                    <a:pt x="1362827" y="1610612"/>
                  </a:lnTo>
                  <a:lnTo>
                    <a:pt x="1391418" y="1620144"/>
                  </a:lnTo>
                  <a:lnTo>
                    <a:pt x="1400948" y="1639204"/>
                  </a:lnTo>
                  <a:lnTo>
                    <a:pt x="1405713" y="1653500"/>
                  </a:lnTo>
                  <a:lnTo>
                    <a:pt x="1396183" y="1686856"/>
                  </a:lnTo>
                  <a:lnTo>
                    <a:pt x="1391418" y="1696384"/>
                  </a:lnTo>
                  <a:lnTo>
                    <a:pt x="1372357" y="1705916"/>
                  </a:lnTo>
                  <a:lnTo>
                    <a:pt x="1353297" y="1724976"/>
                  </a:lnTo>
                  <a:lnTo>
                    <a:pt x="1339002" y="1734508"/>
                  </a:lnTo>
                  <a:lnTo>
                    <a:pt x="1324706" y="1739272"/>
                  </a:lnTo>
                  <a:lnTo>
                    <a:pt x="1310411" y="1739272"/>
                  </a:lnTo>
                  <a:lnTo>
                    <a:pt x="1300880" y="1720212"/>
                  </a:lnTo>
                  <a:lnTo>
                    <a:pt x="1281820" y="1663028"/>
                  </a:lnTo>
                  <a:lnTo>
                    <a:pt x="1272290" y="1653500"/>
                  </a:lnTo>
                  <a:lnTo>
                    <a:pt x="1267525" y="1634440"/>
                  </a:lnTo>
                  <a:lnTo>
                    <a:pt x="1257994" y="1620144"/>
                  </a:lnTo>
                  <a:lnTo>
                    <a:pt x="1215108" y="1596316"/>
                  </a:lnTo>
                  <a:lnTo>
                    <a:pt x="1191283" y="1572492"/>
                  </a:lnTo>
                  <a:lnTo>
                    <a:pt x="1172222" y="1558196"/>
                  </a:lnTo>
                  <a:lnTo>
                    <a:pt x="1153162" y="1534372"/>
                  </a:lnTo>
                  <a:lnTo>
                    <a:pt x="1091215" y="1496248"/>
                  </a:lnTo>
                  <a:lnTo>
                    <a:pt x="1067389" y="1477188"/>
                  </a:lnTo>
                  <a:lnTo>
                    <a:pt x="1048329" y="1453364"/>
                  </a:lnTo>
                  <a:lnTo>
                    <a:pt x="1038798" y="1458128"/>
                  </a:lnTo>
                  <a:lnTo>
                    <a:pt x="1029268" y="1458128"/>
                  </a:lnTo>
                  <a:lnTo>
                    <a:pt x="1029268" y="1453364"/>
                  </a:lnTo>
                  <a:lnTo>
                    <a:pt x="1029268" y="1443832"/>
                  </a:lnTo>
                  <a:lnTo>
                    <a:pt x="1024503" y="1434304"/>
                  </a:lnTo>
                  <a:lnTo>
                    <a:pt x="986382" y="1405712"/>
                  </a:lnTo>
                  <a:lnTo>
                    <a:pt x="981617" y="1391416"/>
                  </a:lnTo>
                  <a:lnTo>
                    <a:pt x="981617" y="1372356"/>
                  </a:lnTo>
                  <a:lnTo>
                    <a:pt x="986382" y="1324704"/>
                  </a:lnTo>
                  <a:lnTo>
                    <a:pt x="991147" y="1296116"/>
                  </a:lnTo>
                  <a:lnTo>
                    <a:pt x="991147" y="1281820"/>
                  </a:lnTo>
                  <a:lnTo>
                    <a:pt x="986382" y="1277056"/>
                  </a:lnTo>
                  <a:lnTo>
                    <a:pt x="981617" y="1272288"/>
                  </a:lnTo>
                  <a:lnTo>
                    <a:pt x="981617" y="1248464"/>
                  </a:lnTo>
                  <a:lnTo>
                    <a:pt x="972087" y="1219872"/>
                  </a:lnTo>
                  <a:lnTo>
                    <a:pt x="943496" y="1167456"/>
                  </a:lnTo>
                  <a:lnTo>
                    <a:pt x="919670" y="1157924"/>
                  </a:lnTo>
                  <a:lnTo>
                    <a:pt x="895845" y="1153160"/>
                  </a:lnTo>
                  <a:lnTo>
                    <a:pt x="838663" y="1105508"/>
                  </a:lnTo>
                  <a:lnTo>
                    <a:pt x="824368" y="1081684"/>
                  </a:lnTo>
                  <a:lnTo>
                    <a:pt x="819603" y="1067388"/>
                  </a:lnTo>
                  <a:lnTo>
                    <a:pt x="819603" y="1043564"/>
                  </a:lnTo>
                  <a:lnTo>
                    <a:pt x="810072" y="1057860"/>
                  </a:lnTo>
                  <a:lnTo>
                    <a:pt x="800542" y="1067388"/>
                  </a:lnTo>
                  <a:lnTo>
                    <a:pt x="776716" y="1067388"/>
                  </a:lnTo>
                  <a:lnTo>
                    <a:pt x="748126" y="1081684"/>
                  </a:lnTo>
                  <a:lnTo>
                    <a:pt x="733830" y="1067388"/>
                  </a:lnTo>
                  <a:lnTo>
                    <a:pt x="724300" y="1053092"/>
                  </a:lnTo>
                  <a:lnTo>
                    <a:pt x="710005" y="1038796"/>
                  </a:lnTo>
                  <a:lnTo>
                    <a:pt x="695709" y="1034032"/>
                  </a:lnTo>
                  <a:lnTo>
                    <a:pt x="686179" y="1034032"/>
                  </a:lnTo>
                  <a:lnTo>
                    <a:pt x="671884" y="1014972"/>
                  </a:lnTo>
                  <a:lnTo>
                    <a:pt x="657588" y="1005440"/>
                  </a:lnTo>
                  <a:lnTo>
                    <a:pt x="633763" y="1005440"/>
                  </a:lnTo>
                  <a:lnTo>
                    <a:pt x="619467" y="995912"/>
                  </a:lnTo>
                  <a:lnTo>
                    <a:pt x="614702" y="981616"/>
                  </a:lnTo>
                  <a:lnTo>
                    <a:pt x="609937" y="967320"/>
                  </a:lnTo>
                  <a:lnTo>
                    <a:pt x="605172" y="957792"/>
                  </a:lnTo>
                  <a:lnTo>
                    <a:pt x="576581" y="938732"/>
                  </a:lnTo>
                  <a:lnTo>
                    <a:pt x="552755" y="914904"/>
                  </a:lnTo>
                  <a:lnTo>
                    <a:pt x="533695" y="900608"/>
                  </a:lnTo>
                  <a:lnTo>
                    <a:pt x="524165" y="891080"/>
                  </a:lnTo>
                  <a:lnTo>
                    <a:pt x="524165" y="881548"/>
                  </a:lnTo>
                  <a:lnTo>
                    <a:pt x="557521" y="886312"/>
                  </a:lnTo>
                  <a:lnTo>
                    <a:pt x="600407" y="895844"/>
                  </a:lnTo>
                  <a:lnTo>
                    <a:pt x="619467" y="891080"/>
                  </a:lnTo>
                  <a:lnTo>
                    <a:pt x="628998" y="881548"/>
                  </a:lnTo>
                  <a:lnTo>
                    <a:pt x="638528" y="876784"/>
                  </a:lnTo>
                  <a:lnTo>
                    <a:pt x="643293" y="886312"/>
                  </a:lnTo>
                  <a:lnTo>
                    <a:pt x="638528" y="895844"/>
                  </a:lnTo>
                  <a:lnTo>
                    <a:pt x="652823" y="905376"/>
                  </a:lnTo>
                  <a:lnTo>
                    <a:pt x="667118" y="914904"/>
                  </a:lnTo>
                  <a:lnTo>
                    <a:pt x="676649" y="914904"/>
                  </a:lnTo>
                  <a:lnTo>
                    <a:pt x="667118" y="905376"/>
                  </a:lnTo>
                  <a:lnTo>
                    <a:pt x="662353" y="886312"/>
                  </a:lnTo>
                  <a:lnTo>
                    <a:pt x="662353" y="881548"/>
                  </a:lnTo>
                  <a:lnTo>
                    <a:pt x="662353" y="872020"/>
                  </a:lnTo>
                  <a:lnTo>
                    <a:pt x="648058" y="872020"/>
                  </a:lnTo>
                  <a:lnTo>
                    <a:pt x="648058" y="867252"/>
                  </a:lnTo>
                  <a:lnTo>
                    <a:pt x="657588" y="852956"/>
                  </a:lnTo>
                  <a:lnTo>
                    <a:pt x="671884" y="814836"/>
                  </a:lnTo>
                  <a:lnTo>
                    <a:pt x="681414" y="781480"/>
                  </a:lnTo>
                  <a:lnTo>
                    <a:pt x="667118" y="748124"/>
                  </a:lnTo>
                  <a:lnTo>
                    <a:pt x="638528" y="724300"/>
                  </a:lnTo>
                  <a:lnTo>
                    <a:pt x="586111" y="662352"/>
                  </a:lnTo>
                  <a:lnTo>
                    <a:pt x="552755" y="628996"/>
                  </a:lnTo>
                  <a:lnTo>
                    <a:pt x="543225" y="614700"/>
                  </a:lnTo>
                  <a:lnTo>
                    <a:pt x="533695" y="609936"/>
                  </a:lnTo>
                  <a:lnTo>
                    <a:pt x="505104" y="600408"/>
                  </a:lnTo>
                  <a:lnTo>
                    <a:pt x="481279" y="581344"/>
                  </a:lnTo>
                  <a:lnTo>
                    <a:pt x="443158" y="557520"/>
                  </a:lnTo>
                  <a:lnTo>
                    <a:pt x="424097" y="543224"/>
                  </a:lnTo>
                  <a:lnTo>
                    <a:pt x="414567" y="509868"/>
                  </a:lnTo>
                  <a:lnTo>
                    <a:pt x="405036" y="505104"/>
                  </a:lnTo>
                  <a:lnTo>
                    <a:pt x="409802" y="481276"/>
                  </a:lnTo>
                  <a:lnTo>
                    <a:pt x="405036" y="443156"/>
                  </a:lnTo>
                  <a:lnTo>
                    <a:pt x="395506" y="433628"/>
                  </a:lnTo>
                  <a:lnTo>
                    <a:pt x="376446" y="424096"/>
                  </a:lnTo>
                  <a:lnTo>
                    <a:pt x="371681" y="395504"/>
                  </a:lnTo>
                  <a:lnTo>
                    <a:pt x="366915" y="371680"/>
                  </a:lnTo>
                  <a:lnTo>
                    <a:pt x="366915" y="352620"/>
                  </a:lnTo>
                  <a:lnTo>
                    <a:pt x="328794" y="324028"/>
                  </a:lnTo>
                  <a:lnTo>
                    <a:pt x="328794" y="309732"/>
                  </a:lnTo>
                  <a:lnTo>
                    <a:pt x="328794" y="295436"/>
                  </a:lnTo>
                  <a:lnTo>
                    <a:pt x="324029" y="281144"/>
                  </a:lnTo>
                  <a:lnTo>
                    <a:pt x="304969" y="252552"/>
                  </a:lnTo>
                  <a:lnTo>
                    <a:pt x="281143" y="223960"/>
                  </a:lnTo>
                  <a:lnTo>
                    <a:pt x="271613" y="214432"/>
                  </a:lnTo>
                  <a:lnTo>
                    <a:pt x="271613" y="190604"/>
                  </a:lnTo>
                  <a:lnTo>
                    <a:pt x="262083" y="181076"/>
                  </a:lnTo>
                  <a:lnTo>
                    <a:pt x="266848" y="181076"/>
                  </a:lnTo>
                  <a:lnTo>
                    <a:pt x="271613" y="181076"/>
                  </a:lnTo>
                  <a:lnTo>
                    <a:pt x="276378" y="176308"/>
                  </a:lnTo>
                  <a:lnTo>
                    <a:pt x="276378" y="162016"/>
                  </a:lnTo>
                  <a:lnTo>
                    <a:pt x="243022" y="133424"/>
                  </a:lnTo>
                  <a:lnTo>
                    <a:pt x="233492" y="95304"/>
                  </a:lnTo>
                  <a:lnTo>
                    <a:pt x="214431" y="76244"/>
                  </a:lnTo>
                  <a:lnTo>
                    <a:pt x="209666" y="71476"/>
                  </a:lnTo>
                  <a:lnTo>
                    <a:pt x="200136" y="38120"/>
                  </a:lnTo>
                  <a:lnTo>
                    <a:pt x="243022" y="33356"/>
                  </a:lnTo>
                  <a:lnTo>
                    <a:pt x="285908" y="28592"/>
                  </a:lnTo>
                  <a:lnTo>
                    <a:pt x="333560" y="23824"/>
                  </a:lnTo>
                  <a:lnTo>
                    <a:pt x="376446" y="19060"/>
                  </a:lnTo>
                  <a:lnTo>
                    <a:pt x="424097" y="14296"/>
                  </a:lnTo>
                  <a:lnTo>
                    <a:pt x="466983" y="9532"/>
                  </a:lnTo>
                  <a:lnTo>
                    <a:pt x="557521" y="476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4" name="Freeform 5690">
              <a:extLst>
                <a:ext uri="{FF2B5EF4-FFF2-40B4-BE49-F238E27FC236}">
                  <a16:creationId xmlns:a16="http://schemas.microsoft.com/office/drawing/2014/main" id="{1632C6D9-50A1-4A1E-92BA-5D7EF4F07F1A}"/>
                </a:ext>
              </a:extLst>
            </p:cNvPr>
            <p:cNvSpPr/>
            <p:nvPr/>
          </p:nvSpPr>
          <p:spPr bwMode="auto">
            <a:xfrm>
              <a:off x="9583371" y="5257549"/>
              <a:ext cx="3854" cy="5396"/>
            </a:xfrm>
            <a:custGeom>
              <a:avLst/>
              <a:gdLst>
                <a:gd name="T0" fmla="*/ 2 w 10"/>
                <a:gd name="T1" fmla="*/ 12 h 14"/>
                <a:gd name="T2" fmla="*/ 6 w 10"/>
                <a:gd name="T3" fmla="*/ 4 h 14"/>
                <a:gd name="T4" fmla="*/ 8 w 10"/>
                <a:gd name="T5" fmla="*/ 2 h 14"/>
                <a:gd name="T6" fmla="*/ 10 w 10"/>
                <a:gd name="T7" fmla="*/ 0 h 14"/>
                <a:gd name="T8" fmla="*/ 8 w 10"/>
                <a:gd name="T9" fmla="*/ 2 h 14"/>
                <a:gd name="T10" fmla="*/ 4 w 10"/>
                <a:gd name="T11" fmla="*/ 4 h 14"/>
                <a:gd name="T12" fmla="*/ 2 w 10"/>
                <a:gd name="T13" fmla="*/ 10 h 14"/>
                <a:gd name="T14" fmla="*/ 2 w 10"/>
                <a:gd name="T15" fmla="*/ 12 h 14"/>
                <a:gd name="T16" fmla="*/ 0 w 10"/>
                <a:gd name="T17" fmla="*/ 14 h 14"/>
                <a:gd name="T18" fmla="*/ 2 w 10"/>
                <a:gd name="T19" fmla="*/ 14 h 14"/>
                <a:gd name="T20" fmla="*/ 2 w 10"/>
                <a:gd name="T21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14">
                  <a:moveTo>
                    <a:pt x="2" y="12"/>
                  </a:moveTo>
                  <a:lnTo>
                    <a:pt x="6" y="4"/>
                  </a:lnTo>
                  <a:lnTo>
                    <a:pt x="8" y="2"/>
                  </a:lnTo>
                  <a:lnTo>
                    <a:pt x="10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0" y="14"/>
                  </a:lnTo>
                  <a:lnTo>
                    <a:pt x="2" y="14"/>
                  </a:lnTo>
                  <a:lnTo>
                    <a:pt x="2" y="1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5" name="Freeform 5691">
              <a:extLst>
                <a:ext uri="{FF2B5EF4-FFF2-40B4-BE49-F238E27FC236}">
                  <a16:creationId xmlns:a16="http://schemas.microsoft.com/office/drawing/2014/main" id="{380C58BE-412E-401B-8015-C71ECD873C84}"/>
                </a:ext>
              </a:extLst>
            </p:cNvPr>
            <p:cNvSpPr/>
            <p:nvPr/>
          </p:nvSpPr>
          <p:spPr bwMode="auto">
            <a:xfrm>
              <a:off x="9633478" y="5231339"/>
              <a:ext cx="4625" cy="1542"/>
            </a:xfrm>
            <a:custGeom>
              <a:avLst/>
              <a:gdLst>
                <a:gd name="T0" fmla="*/ 0 w 12"/>
                <a:gd name="T1" fmla="*/ 0 h 4"/>
                <a:gd name="T2" fmla="*/ 2 w 12"/>
                <a:gd name="T3" fmla="*/ 2 h 4"/>
                <a:gd name="T4" fmla="*/ 2 w 12"/>
                <a:gd name="T5" fmla="*/ 2 h 4"/>
                <a:gd name="T6" fmla="*/ 6 w 12"/>
                <a:gd name="T7" fmla="*/ 2 h 4"/>
                <a:gd name="T8" fmla="*/ 8 w 12"/>
                <a:gd name="T9" fmla="*/ 2 h 4"/>
                <a:gd name="T10" fmla="*/ 10 w 12"/>
                <a:gd name="T11" fmla="*/ 4 h 4"/>
                <a:gd name="T12" fmla="*/ 12 w 12"/>
                <a:gd name="T13" fmla="*/ 4 h 4"/>
                <a:gd name="T14" fmla="*/ 8 w 12"/>
                <a:gd name="T15" fmla="*/ 0 h 4"/>
                <a:gd name="T16" fmla="*/ 2 w 12"/>
                <a:gd name="T17" fmla="*/ 0 h 4"/>
                <a:gd name="T18" fmla="*/ 0 w 12"/>
                <a:gd name="T1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4">
                  <a:moveTo>
                    <a:pt x="0" y="0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6" y="2"/>
                  </a:lnTo>
                  <a:lnTo>
                    <a:pt x="8" y="2"/>
                  </a:lnTo>
                  <a:lnTo>
                    <a:pt x="10" y="4"/>
                  </a:lnTo>
                  <a:lnTo>
                    <a:pt x="12" y="4"/>
                  </a:lnTo>
                  <a:lnTo>
                    <a:pt x="8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6" name="Freeform 5692">
              <a:extLst>
                <a:ext uri="{FF2B5EF4-FFF2-40B4-BE49-F238E27FC236}">
                  <a16:creationId xmlns:a16="http://schemas.microsoft.com/office/drawing/2014/main" id="{29C953E2-3464-46BD-AFB7-DD7CD84DD340}"/>
                </a:ext>
              </a:extLst>
            </p:cNvPr>
            <p:cNvSpPr/>
            <p:nvPr/>
          </p:nvSpPr>
          <p:spPr bwMode="auto">
            <a:xfrm>
              <a:off x="9619603" y="5228255"/>
              <a:ext cx="9251" cy="2313"/>
            </a:xfrm>
            <a:custGeom>
              <a:avLst/>
              <a:gdLst>
                <a:gd name="T0" fmla="*/ 6 w 24"/>
                <a:gd name="T1" fmla="*/ 2 h 6"/>
                <a:gd name="T2" fmla="*/ 2 w 24"/>
                <a:gd name="T3" fmla="*/ 0 h 6"/>
                <a:gd name="T4" fmla="*/ 0 w 24"/>
                <a:gd name="T5" fmla="*/ 0 h 6"/>
                <a:gd name="T6" fmla="*/ 4 w 24"/>
                <a:gd name="T7" fmla="*/ 4 h 6"/>
                <a:gd name="T8" fmla="*/ 12 w 24"/>
                <a:gd name="T9" fmla="*/ 6 h 6"/>
                <a:gd name="T10" fmla="*/ 14 w 24"/>
                <a:gd name="T11" fmla="*/ 6 h 6"/>
                <a:gd name="T12" fmla="*/ 16 w 24"/>
                <a:gd name="T13" fmla="*/ 6 h 6"/>
                <a:gd name="T14" fmla="*/ 18 w 24"/>
                <a:gd name="T15" fmla="*/ 6 h 6"/>
                <a:gd name="T16" fmla="*/ 22 w 24"/>
                <a:gd name="T17" fmla="*/ 4 h 6"/>
                <a:gd name="T18" fmla="*/ 24 w 24"/>
                <a:gd name="T19" fmla="*/ 4 h 6"/>
                <a:gd name="T20" fmla="*/ 14 w 24"/>
                <a:gd name="T21" fmla="*/ 4 h 6"/>
                <a:gd name="T22" fmla="*/ 6 w 24"/>
                <a:gd name="T2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6">
                  <a:moveTo>
                    <a:pt x="6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4" y="4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8" y="6"/>
                  </a:lnTo>
                  <a:lnTo>
                    <a:pt x="22" y="4"/>
                  </a:lnTo>
                  <a:lnTo>
                    <a:pt x="24" y="4"/>
                  </a:lnTo>
                  <a:lnTo>
                    <a:pt x="14" y="4"/>
                  </a:lnTo>
                  <a:lnTo>
                    <a:pt x="6" y="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7" name="Freeform 5693">
              <a:extLst>
                <a:ext uri="{FF2B5EF4-FFF2-40B4-BE49-F238E27FC236}">
                  <a16:creationId xmlns:a16="http://schemas.microsoft.com/office/drawing/2014/main" id="{35FC8A5A-FB5C-4FA3-BF97-D42AF916C040}"/>
                </a:ext>
              </a:extLst>
            </p:cNvPr>
            <p:cNvSpPr/>
            <p:nvPr/>
          </p:nvSpPr>
          <p:spPr bwMode="auto">
            <a:xfrm>
              <a:off x="9560245" y="5223630"/>
              <a:ext cx="3854" cy="1542"/>
            </a:xfrm>
            <a:custGeom>
              <a:avLst/>
              <a:gdLst>
                <a:gd name="T0" fmla="*/ 10 w 10"/>
                <a:gd name="T1" fmla="*/ 2 h 4"/>
                <a:gd name="T2" fmla="*/ 6 w 10"/>
                <a:gd name="T3" fmla="*/ 2 h 4"/>
                <a:gd name="T4" fmla="*/ 0 w 10"/>
                <a:gd name="T5" fmla="*/ 0 h 4"/>
                <a:gd name="T6" fmla="*/ 0 w 10"/>
                <a:gd name="T7" fmla="*/ 2 h 4"/>
                <a:gd name="T8" fmla="*/ 2 w 10"/>
                <a:gd name="T9" fmla="*/ 2 h 4"/>
                <a:gd name="T10" fmla="*/ 10 w 10"/>
                <a:gd name="T11" fmla="*/ 4 h 4"/>
                <a:gd name="T12" fmla="*/ 10 w 10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10" y="2"/>
                  </a:moveTo>
                  <a:lnTo>
                    <a:pt x="6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10" y="4"/>
                  </a:lnTo>
                  <a:lnTo>
                    <a:pt x="10" y="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8" name="Freeform 5694">
              <a:extLst>
                <a:ext uri="{FF2B5EF4-FFF2-40B4-BE49-F238E27FC236}">
                  <a16:creationId xmlns:a16="http://schemas.microsoft.com/office/drawing/2014/main" id="{07733B27-71B2-4B40-8B7C-728F047D4502}"/>
                </a:ext>
              </a:extLst>
            </p:cNvPr>
            <p:cNvSpPr/>
            <p:nvPr/>
          </p:nvSpPr>
          <p:spPr bwMode="auto">
            <a:xfrm>
              <a:off x="9513992" y="5125729"/>
              <a:ext cx="1542" cy="771"/>
            </a:xfrm>
            <a:custGeom>
              <a:avLst/>
              <a:gdLst>
                <a:gd name="T0" fmla="*/ 2 w 4"/>
                <a:gd name="T1" fmla="*/ 0 h 2"/>
                <a:gd name="T2" fmla="*/ 4 w 4"/>
                <a:gd name="T3" fmla="*/ 0 h 2"/>
                <a:gd name="T4" fmla="*/ 2 w 4"/>
                <a:gd name="T5" fmla="*/ 0 h 2"/>
                <a:gd name="T6" fmla="*/ 0 w 4"/>
                <a:gd name="T7" fmla="*/ 0 h 2"/>
                <a:gd name="T8" fmla="*/ 0 w 4"/>
                <a:gd name="T9" fmla="*/ 0 h 2"/>
                <a:gd name="T10" fmla="*/ 2 w 4"/>
                <a:gd name="T11" fmla="*/ 2 h 2"/>
                <a:gd name="T12" fmla="*/ 2 w 4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9" name="Line 5695">
              <a:extLst>
                <a:ext uri="{FF2B5EF4-FFF2-40B4-BE49-F238E27FC236}">
                  <a16:creationId xmlns:a16="http://schemas.microsoft.com/office/drawing/2014/main" id="{8B2B329C-1E24-4C15-81CF-D62C73DDB01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514763" y="5125729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0" name="Freeform 5702">
              <a:extLst>
                <a:ext uri="{FF2B5EF4-FFF2-40B4-BE49-F238E27FC236}">
                  <a16:creationId xmlns:a16="http://schemas.microsoft.com/office/drawing/2014/main" id="{89D48EED-0907-4323-A77C-0A5F94E2F361}"/>
                </a:ext>
              </a:extLst>
            </p:cNvPr>
            <p:cNvSpPr/>
            <p:nvPr/>
          </p:nvSpPr>
          <p:spPr bwMode="auto">
            <a:xfrm>
              <a:off x="5814941" y="4226116"/>
              <a:ext cx="64754" cy="50878"/>
            </a:xfrm>
            <a:custGeom>
              <a:avLst/>
              <a:gdLst>
                <a:gd name="T0" fmla="*/ 124 w 168"/>
                <a:gd name="T1" fmla="*/ 2 h 132"/>
                <a:gd name="T2" fmla="*/ 118 w 168"/>
                <a:gd name="T3" fmla="*/ 0 h 132"/>
                <a:gd name="T4" fmla="*/ 106 w 168"/>
                <a:gd name="T5" fmla="*/ 4 h 132"/>
                <a:gd name="T6" fmla="*/ 96 w 168"/>
                <a:gd name="T7" fmla="*/ 2 h 132"/>
                <a:gd name="T8" fmla="*/ 90 w 168"/>
                <a:gd name="T9" fmla="*/ 4 h 132"/>
                <a:gd name="T10" fmla="*/ 78 w 168"/>
                <a:gd name="T11" fmla="*/ 10 h 132"/>
                <a:gd name="T12" fmla="*/ 74 w 168"/>
                <a:gd name="T13" fmla="*/ 10 h 132"/>
                <a:gd name="T14" fmla="*/ 58 w 168"/>
                <a:gd name="T15" fmla="*/ 14 h 132"/>
                <a:gd name="T16" fmla="*/ 56 w 168"/>
                <a:gd name="T17" fmla="*/ 22 h 132"/>
                <a:gd name="T18" fmla="*/ 50 w 168"/>
                <a:gd name="T19" fmla="*/ 20 h 132"/>
                <a:gd name="T20" fmla="*/ 40 w 168"/>
                <a:gd name="T21" fmla="*/ 16 h 132"/>
                <a:gd name="T22" fmla="*/ 20 w 168"/>
                <a:gd name="T23" fmla="*/ 30 h 132"/>
                <a:gd name="T24" fmla="*/ 18 w 168"/>
                <a:gd name="T25" fmla="*/ 42 h 132"/>
                <a:gd name="T26" fmla="*/ 10 w 168"/>
                <a:gd name="T27" fmla="*/ 42 h 132"/>
                <a:gd name="T28" fmla="*/ 8 w 168"/>
                <a:gd name="T29" fmla="*/ 44 h 132"/>
                <a:gd name="T30" fmla="*/ 6 w 168"/>
                <a:gd name="T31" fmla="*/ 64 h 132"/>
                <a:gd name="T32" fmla="*/ 2 w 168"/>
                <a:gd name="T33" fmla="*/ 70 h 132"/>
                <a:gd name="T34" fmla="*/ 4 w 168"/>
                <a:gd name="T35" fmla="*/ 84 h 132"/>
                <a:gd name="T36" fmla="*/ 4 w 168"/>
                <a:gd name="T37" fmla="*/ 94 h 132"/>
                <a:gd name="T38" fmla="*/ 12 w 168"/>
                <a:gd name="T39" fmla="*/ 112 h 132"/>
                <a:gd name="T40" fmla="*/ 18 w 168"/>
                <a:gd name="T41" fmla="*/ 124 h 132"/>
                <a:gd name="T42" fmla="*/ 28 w 168"/>
                <a:gd name="T43" fmla="*/ 126 h 132"/>
                <a:gd name="T44" fmla="*/ 34 w 168"/>
                <a:gd name="T45" fmla="*/ 130 h 132"/>
                <a:gd name="T46" fmla="*/ 44 w 168"/>
                <a:gd name="T47" fmla="*/ 132 h 132"/>
                <a:gd name="T48" fmla="*/ 58 w 168"/>
                <a:gd name="T49" fmla="*/ 130 h 132"/>
                <a:gd name="T50" fmla="*/ 66 w 168"/>
                <a:gd name="T51" fmla="*/ 128 h 132"/>
                <a:gd name="T52" fmla="*/ 78 w 168"/>
                <a:gd name="T53" fmla="*/ 128 h 132"/>
                <a:gd name="T54" fmla="*/ 98 w 168"/>
                <a:gd name="T55" fmla="*/ 110 h 132"/>
                <a:gd name="T56" fmla="*/ 112 w 168"/>
                <a:gd name="T57" fmla="*/ 106 h 132"/>
                <a:gd name="T58" fmla="*/ 118 w 168"/>
                <a:gd name="T59" fmla="*/ 106 h 132"/>
                <a:gd name="T60" fmla="*/ 134 w 168"/>
                <a:gd name="T61" fmla="*/ 108 h 132"/>
                <a:gd name="T62" fmla="*/ 150 w 168"/>
                <a:gd name="T63" fmla="*/ 104 h 132"/>
                <a:gd name="T64" fmla="*/ 154 w 168"/>
                <a:gd name="T65" fmla="*/ 90 h 132"/>
                <a:gd name="T66" fmla="*/ 162 w 168"/>
                <a:gd name="T67" fmla="*/ 90 h 132"/>
                <a:gd name="T68" fmla="*/ 164 w 168"/>
                <a:gd name="T69" fmla="*/ 66 h 132"/>
                <a:gd name="T70" fmla="*/ 168 w 168"/>
                <a:gd name="T71" fmla="*/ 54 h 132"/>
                <a:gd name="T72" fmla="*/ 164 w 168"/>
                <a:gd name="T73" fmla="*/ 52 h 132"/>
                <a:gd name="T74" fmla="*/ 158 w 168"/>
                <a:gd name="T75" fmla="*/ 32 h 132"/>
                <a:gd name="T76" fmla="*/ 148 w 168"/>
                <a:gd name="T77" fmla="*/ 26 h 132"/>
                <a:gd name="T78" fmla="*/ 136 w 168"/>
                <a:gd name="T79" fmla="*/ 1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8" h="132">
                  <a:moveTo>
                    <a:pt x="124" y="4"/>
                  </a:moveTo>
                  <a:lnTo>
                    <a:pt x="124" y="2"/>
                  </a:lnTo>
                  <a:lnTo>
                    <a:pt x="120" y="0"/>
                  </a:lnTo>
                  <a:lnTo>
                    <a:pt x="118" y="0"/>
                  </a:lnTo>
                  <a:lnTo>
                    <a:pt x="112" y="2"/>
                  </a:lnTo>
                  <a:lnTo>
                    <a:pt x="106" y="4"/>
                  </a:lnTo>
                  <a:lnTo>
                    <a:pt x="102" y="2"/>
                  </a:lnTo>
                  <a:lnTo>
                    <a:pt x="96" y="2"/>
                  </a:lnTo>
                  <a:lnTo>
                    <a:pt x="92" y="4"/>
                  </a:lnTo>
                  <a:lnTo>
                    <a:pt x="90" y="4"/>
                  </a:lnTo>
                  <a:lnTo>
                    <a:pt x="86" y="8"/>
                  </a:lnTo>
                  <a:lnTo>
                    <a:pt x="78" y="10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62" y="12"/>
                  </a:lnTo>
                  <a:lnTo>
                    <a:pt x="58" y="14"/>
                  </a:lnTo>
                  <a:lnTo>
                    <a:pt x="56" y="20"/>
                  </a:lnTo>
                  <a:lnTo>
                    <a:pt x="56" y="22"/>
                  </a:lnTo>
                  <a:lnTo>
                    <a:pt x="54" y="22"/>
                  </a:lnTo>
                  <a:lnTo>
                    <a:pt x="50" y="20"/>
                  </a:lnTo>
                  <a:lnTo>
                    <a:pt x="46" y="16"/>
                  </a:lnTo>
                  <a:lnTo>
                    <a:pt x="40" y="16"/>
                  </a:lnTo>
                  <a:lnTo>
                    <a:pt x="22" y="24"/>
                  </a:lnTo>
                  <a:lnTo>
                    <a:pt x="20" y="30"/>
                  </a:lnTo>
                  <a:lnTo>
                    <a:pt x="20" y="40"/>
                  </a:lnTo>
                  <a:lnTo>
                    <a:pt x="18" y="42"/>
                  </a:lnTo>
                  <a:lnTo>
                    <a:pt x="16" y="44"/>
                  </a:lnTo>
                  <a:lnTo>
                    <a:pt x="10" y="42"/>
                  </a:lnTo>
                  <a:lnTo>
                    <a:pt x="8" y="42"/>
                  </a:lnTo>
                  <a:lnTo>
                    <a:pt x="8" y="44"/>
                  </a:lnTo>
                  <a:lnTo>
                    <a:pt x="4" y="58"/>
                  </a:lnTo>
                  <a:lnTo>
                    <a:pt x="6" y="64"/>
                  </a:lnTo>
                  <a:lnTo>
                    <a:pt x="6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4" y="84"/>
                  </a:lnTo>
                  <a:lnTo>
                    <a:pt x="4" y="90"/>
                  </a:lnTo>
                  <a:lnTo>
                    <a:pt x="4" y="94"/>
                  </a:lnTo>
                  <a:lnTo>
                    <a:pt x="8" y="108"/>
                  </a:lnTo>
                  <a:lnTo>
                    <a:pt x="12" y="112"/>
                  </a:lnTo>
                  <a:lnTo>
                    <a:pt x="14" y="114"/>
                  </a:lnTo>
                  <a:lnTo>
                    <a:pt x="18" y="124"/>
                  </a:lnTo>
                  <a:lnTo>
                    <a:pt x="20" y="126"/>
                  </a:lnTo>
                  <a:lnTo>
                    <a:pt x="28" y="126"/>
                  </a:lnTo>
                  <a:lnTo>
                    <a:pt x="32" y="128"/>
                  </a:lnTo>
                  <a:lnTo>
                    <a:pt x="34" y="130"/>
                  </a:lnTo>
                  <a:lnTo>
                    <a:pt x="34" y="132"/>
                  </a:lnTo>
                  <a:lnTo>
                    <a:pt x="44" y="132"/>
                  </a:lnTo>
                  <a:lnTo>
                    <a:pt x="46" y="130"/>
                  </a:lnTo>
                  <a:lnTo>
                    <a:pt x="58" y="130"/>
                  </a:lnTo>
                  <a:lnTo>
                    <a:pt x="64" y="126"/>
                  </a:lnTo>
                  <a:lnTo>
                    <a:pt x="66" y="128"/>
                  </a:lnTo>
                  <a:lnTo>
                    <a:pt x="74" y="130"/>
                  </a:lnTo>
                  <a:lnTo>
                    <a:pt x="78" y="128"/>
                  </a:lnTo>
                  <a:lnTo>
                    <a:pt x="88" y="124"/>
                  </a:lnTo>
                  <a:lnTo>
                    <a:pt x="98" y="110"/>
                  </a:lnTo>
                  <a:lnTo>
                    <a:pt x="102" y="108"/>
                  </a:lnTo>
                  <a:lnTo>
                    <a:pt x="112" y="106"/>
                  </a:lnTo>
                  <a:lnTo>
                    <a:pt x="114" y="104"/>
                  </a:lnTo>
                  <a:lnTo>
                    <a:pt x="118" y="106"/>
                  </a:lnTo>
                  <a:lnTo>
                    <a:pt x="128" y="108"/>
                  </a:lnTo>
                  <a:lnTo>
                    <a:pt x="134" y="108"/>
                  </a:lnTo>
                  <a:lnTo>
                    <a:pt x="142" y="106"/>
                  </a:lnTo>
                  <a:lnTo>
                    <a:pt x="150" y="104"/>
                  </a:lnTo>
                  <a:lnTo>
                    <a:pt x="152" y="92"/>
                  </a:lnTo>
                  <a:lnTo>
                    <a:pt x="154" y="90"/>
                  </a:lnTo>
                  <a:lnTo>
                    <a:pt x="158" y="90"/>
                  </a:lnTo>
                  <a:lnTo>
                    <a:pt x="162" y="90"/>
                  </a:lnTo>
                  <a:lnTo>
                    <a:pt x="164" y="88"/>
                  </a:lnTo>
                  <a:lnTo>
                    <a:pt x="164" y="66"/>
                  </a:lnTo>
                  <a:lnTo>
                    <a:pt x="168" y="56"/>
                  </a:lnTo>
                  <a:lnTo>
                    <a:pt x="168" y="54"/>
                  </a:lnTo>
                  <a:lnTo>
                    <a:pt x="168" y="52"/>
                  </a:lnTo>
                  <a:lnTo>
                    <a:pt x="164" y="52"/>
                  </a:lnTo>
                  <a:lnTo>
                    <a:pt x="162" y="46"/>
                  </a:lnTo>
                  <a:lnTo>
                    <a:pt x="158" y="32"/>
                  </a:lnTo>
                  <a:lnTo>
                    <a:pt x="154" y="28"/>
                  </a:lnTo>
                  <a:lnTo>
                    <a:pt x="148" y="26"/>
                  </a:lnTo>
                  <a:lnTo>
                    <a:pt x="140" y="22"/>
                  </a:lnTo>
                  <a:lnTo>
                    <a:pt x="136" y="16"/>
                  </a:lnTo>
                  <a:lnTo>
                    <a:pt x="124" y="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1" name="Freeform 5706">
              <a:extLst>
                <a:ext uri="{FF2B5EF4-FFF2-40B4-BE49-F238E27FC236}">
                  <a16:creationId xmlns:a16="http://schemas.microsoft.com/office/drawing/2014/main" id="{BF4A3FA7-07BA-48E1-8AC5-195D5E8114CB}"/>
                </a:ext>
              </a:extLst>
            </p:cNvPr>
            <p:cNvSpPr/>
            <p:nvPr/>
          </p:nvSpPr>
          <p:spPr bwMode="auto">
            <a:xfrm>
              <a:off x="4988561" y="4757250"/>
              <a:ext cx="417044" cy="394689"/>
            </a:xfrm>
            <a:custGeom>
              <a:avLst/>
              <a:gdLst>
                <a:gd name="T0" fmla="*/ 1018 w 1082"/>
                <a:gd name="T1" fmla="*/ 422 h 1024"/>
                <a:gd name="T2" fmla="*/ 1016 w 1082"/>
                <a:gd name="T3" fmla="*/ 400 h 1024"/>
                <a:gd name="T4" fmla="*/ 1010 w 1082"/>
                <a:gd name="T5" fmla="*/ 364 h 1024"/>
                <a:gd name="T6" fmla="*/ 954 w 1082"/>
                <a:gd name="T7" fmla="*/ 340 h 1024"/>
                <a:gd name="T8" fmla="*/ 912 w 1082"/>
                <a:gd name="T9" fmla="*/ 318 h 1024"/>
                <a:gd name="T10" fmla="*/ 880 w 1082"/>
                <a:gd name="T11" fmla="*/ 280 h 1024"/>
                <a:gd name="T12" fmla="*/ 762 w 1082"/>
                <a:gd name="T13" fmla="*/ 194 h 1024"/>
                <a:gd name="T14" fmla="*/ 612 w 1082"/>
                <a:gd name="T15" fmla="*/ 88 h 1024"/>
                <a:gd name="T16" fmla="*/ 372 w 1082"/>
                <a:gd name="T17" fmla="*/ 0 h 1024"/>
                <a:gd name="T18" fmla="*/ 384 w 1082"/>
                <a:gd name="T19" fmla="*/ 122 h 1024"/>
                <a:gd name="T20" fmla="*/ 398 w 1082"/>
                <a:gd name="T21" fmla="*/ 246 h 1024"/>
                <a:gd name="T22" fmla="*/ 412 w 1082"/>
                <a:gd name="T23" fmla="*/ 386 h 1024"/>
                <a:gd name="T24" fmla="*/ 432 w 1082"/>
                <a:gd name="T25" fmla="*/ 558 h 1024"/>
                <a:gd name="T26" fmla="*/ 442 w 1082"/>
                <a:gd name="T27" fmla="*/ 664 h 1024"/>
                <a:gd name="T28" fmla="*/ 184 w 1082"/>
                <a:gd name="T29" fmla="*/ 658 h 1024"/>
                <a:gd name="T30" fmla="*/ 136 w 1082"/>
                <a:gd name="T31" fmla="*/ 670 h 1024"/>
                <a:gd name="T32" fmla="*/ 96 w 1082"/>
                <a:gd name="T33" fmla="*/ 678 h 1024"/>
                <a:gd name="T34" fmla="*/ 50 w 1082"/>
                <a:gd name="T35" fmla="*/ 654 h 1024"/>
                <a:gd name="T36" fmla="*/ 26 w 1082"/>
                <a:gd name="T37" fmla="*/ 698 h 1024"/>
                <a:gd name="T38" fmla="*/ 4 w 1082"/>
                <a:gd name="T39" fmla="*/ 726 h 1024"/>
                <a:gd name="T40" fmla="*/ 16 w 1082"/>
                <a:gd name="T41" fmla="*/ 768 h 1024"/>
                <a:gd name="T42" fmla="*/ 20 w 1082"/>
                <a:gd name="T43" fmla="*/ 798 h 1024"/>
                <a:gd name="T44" fmla="*/ 34 w 1082"/>
                <a:gd name="T45" fmla="*/ 806 h 1024"/>
                <a:gd name="T46" fmla="*/ 54 w 1082"/>
                <a:gd name="T47" fmla="*/ 832 h 1024"/>
                <a:gd name="T48" fmla="*/ 54 w 1082"/>
                <a:gd name="T49" fmla="*/ 864 h 1024"/>
                <a:gd name="T50" fmla="*/ 50 w 1082"/>
                <a:gd name="T51" fmla="*/ 888 h 1024"/>
                <a:gd name="T52" fmla="*/ 82 w 1082"/>
                <a:gd name="T53" fmla="*/ 886 h 1024"/>
                <a:gd name="T54" fmla="*/ 104 w 1082"/>
                <a:gd name="T55" fmla="*/ 906 h 1024"/>
                <a:gd name="T56" fmla="*/ 130 w 1082"/>
                <a:gd name="T57" fmla="*/ 886 h 1024"/>
                <a:gd name="T58" fmla="*/ 176 w 1082"/>
                <a:gd name="T59" fmla="*/ 888 h 1024"/>
                <a:gd name="T60" fmla="*/ 188 w 1082"/>
                <a:gd name="T61" fmla="*/ 870 h 1024"/>
                <a:gd name="T62" fmla="*/ 214 w 1082"/>
                <a:gd name="T63" fmla="*/ 876 h 1024"/>
                <a:gd name="T64" fmla="*/ 232 w 1082"/>
                <a:gd name="T65" fmla="*/ 926 h 1024"/>
                <a:gd name="T66" fmla="*/ 254 w 1082"/>
                <a:gd name="T67" fmla="*/ 944 h 1024"/>
                <a:gd name="T68" fmla="*/ 238 w 1082"/>
                <a:gd name="T69" fmla="*/ 968 h 1024"/>
                <a:gd name="T70" fmla="*/ 260 w 1082"/>
                <a:gd name="T71" fmla="*/ 974 h 1024"/>
                <a:gd name="T72" fmla="*/ 280 w 1082"/>
                <a:gd name="T73" fmla="*/ 1016 h 1024"/>
                <a:gd name="T74" fmla="*/ 302 w 1082"/>
                <a:gd name="T75" fmla="*/ 1006 h 1024"/>
                <a:gd name="T76" fmla="*/ 322 w 1082"/>
                <a:gd name="T77" fmla="*/ 1016 h 1024"/>
                <a:gd name="T78" fmla="*/ 348 w 1082"/>
                <a:gd name="T79" fmla="*/ 1020 h 1024"/>
                <a:gd name="T80" fmla="*/ 366 w 1082"/>
                <a:gd name="T81" fmla="*/ 1010 h 1024"/>
                <a:gd name="T82" fmla="*/ 380 w 1082"/>
                <a:gd name="T83" fmla="*/ 996 h 1024"/>
                <a:gd name="T84" fmla="*/ 394 w 1082"/>
                <a:gd name="T85" fmla="*/ 986 h 1024"/>
                <a:gd name="T86" fmla="*/ 396 w 1082"/>
                <a:gd name="T87" fmla="*/ 1012 h 1024"/>
                <a:gd name="T88" fmla="*/ 414 w 1082"/>
                <a:gd name="T89" fmla="*/ 1016 h 1024"/>
                <a:gd name="T90" fmla="*/ 444 w 1082"/>
                <a:gd name="T91" fmla="*/ 1002 h 1024"/>
                <a:gd name="T92" fmla="*/ 454 w 1082"/>
                <a:gd name="T93" fmla="*/ 958 h 1024"/>
                <a:gd name="T94" fmla="*/ 456 w 1082"/>
                <a:gd name="T95" fmla="*/ 916 h 1024"/>
                <a:gd name="T96" fmla="*/ 496 w 1082"/>
                <a:gd name="T97" fmla="*/ 896 h 1024"/>
                <a:gd name="T98" fmla="*/ 514 w 1082"/>
                <a:gd name="T99" fmla="*/ 860 h 1024"/>
                <a:gd name="T100" fmla="*/ 520 w 1082"/>
                <a:gd name="T101" fmla="*/ 824 h 1024"/>
                <a:gd name="T102" fmla="*/ 570 w 1082"/>
                <a:gd name="T103" fmla="*/ 820 h 1024"/>
                <a:gd name="T104" fmla="*/ 592 w 1082"/>
                <a:gd name="T105" fmla="*/ 788 h 1024"/>
                <a:gd name="T106" fmla="*/ 612 w 1082"/>
                <a:gd name="T107" fmla="*/ 780 h 1024"/>
                <a:gd name="T108" fmla="*/ 670 w 1082"/>
                <a:gd name="T109" fmla="*/ 752 h 1024"/>
                <a:gd name="T110" fmla="*/ 724 w 1082"/>
                <a:gd name="T111" fmla="*/ 714 h 1024"/>
                <a:gd name="T112" fmla="*/ 774 w 1082"/>
                <a:gd name="T113" fmla="*/ 694 h 1024"/>
                <a:gd name="T114" fmla="*/ 822 w 1082"/>
                <a:gd name="T115" fmla="*/ 700 h 1024"/>
                <a:gd name="T116" fmla="*/ 908 w 1082"/>
                <a:gd name="T117" fmla="*/ 678 h 1024"/>
                <a:gd name="T118" fmla="*/ 1002 w 1082"/>
                <a:gd name="T119" fmla="*/ 668 h 1024"/>
                <a:gd name="T120" fmla="*/ 1056 w 1082"/>
                <a:gd name="T121" fmla="*/ 650 h 1024"/>
                <a:gd name="T122" fmla="*/ 1074 w 1082"/>
                <a:gd name="T123" fmla="*/ 606 h 1024"/>
                <a:gd name="T124" fmla="*/ 1082 w 1082"/>
                <a:gd name="T125" fmla="*/ 414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82" h="1024">
                  <a:moveTo>
                    <a:pt x="1082" y="414"/>
                  </a:moveTo>
                  <a:lnTo>
                    <a:pt x="1060" y="418"/>
                  </a:lnTo>
                  <a:lnTo>
                    <a:pt x="1046" y="420"/>
                  </a:lnTo>
                  <a:lnTo>
                    <a:pt x="1030" y="424"/>
                  </a:lnTo>
                  <a:lnTo>
                    <a:pt x="1026" y="424"/>
                  </a:lnTo>
                  <a:lnTo>
                    <a:pt x="1022" y="424"/>
                  </a:lnTo>
                  <a:lnTo>
                    <a:pt x="1018" y="422"/>
                  </a:lnTo>
                  <a:lnTo>
                    <a:pt x="1012" y="418"/>
                  </a:lnTo>
                  <a:lnTo>
                    <a:pt x="1008" y="416"/>
                  </a:lnTo>
                  <a:lnTo>
                    <a:pt x="1008" y="414"/>
                  </a:lnTo>
                  <a:lnTo>
                    <a:pt x="1010" y="408"/>
                  </a:lnTo>
                  <a:lnTo>
                    <a:pt x="1012" y="404"/>
                  </a:lnTo>
                  <a:lnTo>
                    <a:pt x="1014" y="402"/>
                  </a:lnTo>
                  <a:lnTo>
                    <a:pt x="1016" y="400"/>
                  </a:lnTo>
                  <a:lnTo>
                    <a:pt x="1018" y="398"/>
                  </a:lnTo>
                  <a:lnTo>
                    <a:pt x="1018" y="396"/>
                  </a:lnTo>
                  <a:lnTo>
                    <a:pt x="1016" y="390"/>
                  </a:lnTo>
                  <a:lnTo>
                    <a:pt x="1014" y="384"/>
                  </a:lnTo>
                  <a:lnTo>
                    <a:pt x="1014" y="374"/>
                  </a:lnTo>
                  <a:lnTo>
                    <a:pt x="1014" y="368"/>
                  </a:lnTo>
                  <a:lnTo>
                    <a:pt x="1010" y="364"/>
                  </a:lnTo>
                  <a:lnTo>
                    <a:pt x="1000" y="360"/>
                  </a:lnTo>
                  <a:lnTo>
                    <a:pt x="992" y="356"/>
                  </a:lnTo>
                  <a:lnTo>
                    <a:pt x="988" y="356"/>
                  </a:lnTo>
                  <a:lnTo>
                    <a:pt x="978" y="354"/>
                  </a:lnTo>
                  <a:lnTo>
                    <a:pt x="966" y="352"/>
                  </a:lnTo>
                  <a:lnTo>
                    <a:pt x="962" y="350"/>
                  </a:lnTo>
                  <a:lnTo>
                    <a:pt x="954" y="340"/>
                  </a:lnTo>
                  <a:lnTo>
                    <a:pt x="950" y="336"/>
                  </a:lnTo>
                  <a:lnTo>
                    <a:pt x="930" y="334"/>
                  </a:lnTo>
                  <a:lnTo>
                    <a:pt x="924" y="334"/>
                  </a:lnTo>
                  <a:lnTo>
                    <a:pt x="920" y="330"/>
                  </a:lnTo>
                  <a:lnTo>
                    <a:pt x="914" y="328"/>
                  </a:lnTo>
                  <a:lnTo>
                    <a:pt x="912" y="322"/>
                  </a:lnTo>
                  <a:lnTo>
                    <a:pt x="912" y="318"/>
                  </a:lnTo>
                  <a:lnTo>
                    <a:pt x="910" y="316"/>
                  </a:lnTo>
                  <a:lnTo>
                    <a:pt x="888" y="304"/>
                  </a:lnTo>
                  <a:lnTo>
                    <a:pt x="884" y="300"/>
                  </a:lnTo>
                  <a:lnTo>
                    <a:pt x="880" y="296"/>
                  </a:lnTo>
                  <a:lnTo>
                    <a:pt x="880" y="292"/>
                  </a:lnTo>
                  <a:lnTo>
                    <a:pt x="880" y="286"/>
                  </a:lnTo>
                  <a:lnTo>
                    <a:pt x="880" y="280"/>
                  </a:lnTo>
                  <a:lnTo>
                    <a:pt x="880" y="276"/>
                  </a:lnTo>
                  <a:lnTo>
                    <a:pt x="870" y="270"/>
                  </a:lnTo>
                  <a:lnTo>
                    <a:pt x="848" y="254"/>
                  </a:lnTo>
                  <a:lnTo>
                    <a:pt x="826" y="240"/>
                  </a:lnTo>
                  <a:lnTo>
                    <a:pt x="806" y="224"/>
                  </a:lnTo>
                  <a:lnTo>
                    <a:pt x="784" y="210"/>
                  </a:lnTo>
                  <a:lnTo>
                    <a:pt x="762" y="194"/>
                  </a:lnTo>
                  <a:lnTo>
                    <a:pt x="740" y="180"/>
                  </a:lnTo>
                  <a:lnTo>
                    <a:pt x="720" y="164"/>
                  </a:lnTo>
                  <a:lnTo>
                    <a:pt x="698" y="148"/>
                  </a:lnTo>
                  <a:lnTo>
                    <a:pt x="676" y="134"/>
                  </a:lnTo>
                  <a:lnTo>
                    <a:pt x="654" y="118"/>
                  </a:lnTo>
                  <a:lnTo>
                    <a:pt x="634" y="104"/>
                  </a:lnTo>
                  <a:lnTo>
                    <a:pt x="612" y="88"/>
                  </a:lnTo>
                  <a:lnTo>
                    <a:pt x="590" y="72"/>
                  </a:lnTo>
                  <a:lnTo>
                    <a:pt x="568" y="56"/>
                  </a:lnTo>
                  <a:lnTo>
                    <a:pt x="548" y="42"/>
                  </a:lnTo>
                  <a:lnTo>
                    <a:pt x="526" y="26"/>
                  </a:lnTo>
                  <a:lnTo>
                    <a:pt x="508" y="14"/>
                  </a:lnTo>
                  <a:lnTo>
                    <a:pt x="488" y="0"/>
                  </a:lnTo>
                  <a:lnTo>
                    <a:pt x="372" y="0"/>
                  </a:lnTo>
                  <a:lnTo>
                    <a:pt x="374" y="16"/>
                  </a:lnTo>
                  <a:lnTo>
                    <a:pt x="376" y="34"/>
                  </a:lnTo>
                  <a:lnTo>
                    <a:pt x="378" y="52"/>
                  </a:lnTo>
                  <a:lnTo>
                    <a:pt x="380" y="70"/>
                  </a:lnTo>
                  <a:lnTo>
                    <a:pt x="380" y="88"/>
                  </a:lnTo>
                  <a:lnTo>
                    <a:pt x="382" y="106"/>
                  </a:lnTo>
                  <a:lnTo>
                    <a:pt x="384" y="122"/>
                  </a:lnTo>
                  <a:lnTo>
                    <a:pt x="386" y="140"/>
                  </a:lnTo>
                  <a:lnTo>
                    <a:pt x="388" y="158"/>
                  </a:lnTo>
                  <a:lnTo>
                    <a:pt x="390" y="176"/>
                  </a:lnTo>
                  <a:lnTo>
                    <a:pt x="392" y="194"/>
                  </a:lnTo>
                  <a:lnTo>
                    <a:pt x="394" y="212"/>
                  </a:lnTo>
                  <a:lnTo>
                    <a:pt x="396" y="228"/>
                  </a:lnTo>
                  <a:lnTo>
                    <a:pt x="398" y="246"/>
                  </a:lnTo>
                  <a:lnTo>
                    <a:pt x="402" y="282"/>
                  </a:lnTo>
                  <a:lnTo>
                    <a:pt x="404" y="298"/>
                  </a:lnTo>
                  <a:lnTo>
                    <a:pt x="406" y="316"/>
                  </a:lnTo>
                  <a:lnTo>
                    <a:pt x="408" y="334"/>
                  </a:lnTo>
                  <a:lnTo>
                    <a:pt x="410" y="350"/>
                  </a:lnTo>
                  <a:lnTo>
                    <a:pt x="410" y="368"/>
                  </a:lnTo>
                  <a:lnTo>
                    <a:pt x="412" y="386"/>
                  </a:lnTo>
                  <a:lnTo>
                    <a:pt x="414" y="404"/>
                  </a:lnTo>
                  <a:lnTo>
                    <a:pt x="420" y="454"/>
                  </a:lnTo>
                  <a:lnTo>
                    <a:pt x="422" y="472"/>
                  </a:lnTo>
                  <a:lnTo>
                    <a:pt x="426" y="506"/>
                  </a:lnTo>
                  <a:lnTo>
                    <a:pt x="428" y="524"/>
                  </a:lnTo>
                  <a:lnTo>
                    <a:pt x="430" y="540"/>
                  </a:lnTo>
                  <a:lnTo>
                    <a:pt x="432" y="558"/>
                  </a:lnTo>
                  <a:lnTo>
                    <a:pt x="434" y="574"/>
                  </a:lnTo>
                  <a:lnTo>
                    <a:pt x="436" y="590"/>
                  </a:lnTo>
                  <a:lnTo>
                    <a:pt x="442" y="600"/>
                  </a:lnTo>
                  <a:lnTo>
                    <a:pt x="452" y="610"/>
                  </a:lnTo>
                  <a:lnTo>
                    <a:pt x="450" y="626"/>
                  </a:lnTo>
                  <a:lnTo>
                    <a:pt x="446" y="644"/>
                  </a:lnTo>
                  <a:lnTo>
                    <a:pt x="442" y="664"/>
                  </a:lnTo>
                  <a:lnTo>
                    <a:pt x="202" y="664"/>
                  </a:lnTo>
                  <a:lnTo>
                    <a:pt x="194" y="664"/>
                  </a:lnTo>
                  <a:lnTo>
                    <a:pt x="192" y="662"/>
                  </a:lnTo>
                  <a:lnTo>
                    <a:pt x="190" y="652"/>
                  </a:lnTo>
                  <a:lnTo>
                    <a:pt x="188" y="652"/>
                  </a:lnTo>
                  <a:lnTo>
                    <a:pt x="186" y="656"/>
                  </a:lnTo>
                  <a:lnTo>
                    <a:pt x="184" y="658"/>
                  </a:lnTo>
                  <a:lnTo>
                    <a:pt x="186" y="662"/>
                  </a:lnTo>
                  <a:lnTo>
                    <a:pt x="184" y="666"/>
                  </a:lnTo>
                  <a:lnTo>
                    <a:pt x="176" y="668"/>
                  </a:lnTo>
                  <a:lnTo>
                    <a:pt x="164" y="670"/>
                  </a:lnTo>
                  <a:lnTo>
                    <a:pt x="152" y="672"/>
                  </a:lnTo>
                  <a:lnTo>
                    <a:pt x="140" y="672"/>
                  </a:lnTo>
                  <a:lnTo>
                    <a:pt x="136" y="670"/>
                  </a:lnTo>
                  <a:lnTo>
                    <a:pt x="132" y="670"/>
                  </a:lnTo>
                  <a:lnTo>
                    <a:pt x="122" y="668"/>
                  </a:lnTo>
                  <a:lnTo>
                    <a:pt x="116" y="668"/>
                  </a:lnTo>
                  <a:lnTo>
                    <a:pt x="110" y="668"/>
                  </a:lnTo>
                  <a:lnTo>
                    <a:pt x="102" y="670"/>
                  </a:lnTo>
                  <a:lnTo>
                    <a:pt x="100" y="670"/>
                  </a:lnTo>
                  <a:lnTo>
                    <a:pt x="96" y="678"/>
                  </a:lnTo>
                  <a:lnTo>
                    <a:pt x="90" y="688"/>
                  </a:lnTo>
                  <a:lnTo>
                    <a:pt x="86" y="688"/>
                  </a:lnTo>
                  <a:lnTo>
                    <a:pt x="82" y="682"/>
                  </a:lnTo>
                  <a:lnTo>
                    <a:pt x="72" y="674"/>
                  </a:lnTo>
                  <a:lnTo>
                    <a:pt x="58" y="662"/>
                  </a:lnTo>
                  <a:lnTo>
                    <a:pt x="54" y="656"/>
                  </a:lnTo>
                  <a:lnTo>
                    <a:pt x="50" y="654"/>
                  </a:lnTo>
                  <a:lnTo>
                    <a:pt x="44" y="658"/>
                  </a:lnTo>
                  <a:lnTo>
                    <a:pt x="38" y="662"/>
                  </a:lnTo>
                  <a:lnTo>
                    <a:pt x="34" y="668"/>
                  </a:lnTo>
                  <a:lnTo>
                    <a:pt x="30" y="674"/>
                  </a:lnTo>
                  <a:lnTo>
                    <a:pt x="28" y="682"/>
                  </a:lnTo>
                  <a:lnTo>
                    <a:pt x="28" y="688"/>
                  </a:lnTo>
                  <a:lnTo>
                    <a:pt x="26" y="698"/>
                  </a:lnTo>
                  <a:lnTo>
                    <a:pt x="22" y="706"/>
                  </a:lnTo>
                  <a:lnTo>
                    <a:pt x="16" y="710"/>
                  </a:lnTo>
                  <a:lnTo>
                    <a:pt x="12" y="714"/>
                  </a:lnTo>
                  <a:lnTo>
                    <a:pt x="10" y="716"/>
                  </a:lnTo>
                  <a:lnTo>
                    <a:pt x="0" y="710"/>
                  </a:lnTo>
                  <a:lnTo>
                    <a:pt x="6" y="722"/>
                  </a:lnTo>
                  <a:lnTo>
                    <a:pt x="4" y="726"/>
                  </a:lnTo>
                  <a:lnTo>
                    <a:pt x="2" y="734"/>
                  </a:lnTo>
                  <a:lnTo>
                    <a:pt x="6" y="740"/>
                  </a:lnTo>
                  <a:lnTo>
                    <a:pt x="10" y="744"/>
                  </a:lnTo>
                  <a:lnTo>
                    <a:pt x="14" y="748"/>
                  </a:lnTo>
                  <a:lnTo>
                    <a:pt x="16" y="752"/>
                  </a:lnTo>
                  <a:lnTo>
                    <a:pt x="16" y="760"/>
                  </a:lnTo>
                  <a:lnTo>
                    <a:pt x="16" y="768"/>
                  </a:lnTo>
                  <a:lnTo>
                    <a:pt x="18" y="770"/>
                  </a:lnTo>
                  <a:lnTo>
                    <a:pt x="20" y="774"/>
                  </a:lnTo>
                  <a:lnTo>
                    <a:pt x="20" y="776"/>
                  </a:lnTo>
                  <a:lnTo>
                    <a:pt x="18" y="780"/>
                  </a:lnTo>
                  <a:lnTo>
                    <a:pt x="14" y="784"/>
                  </a:lnTo>
                  <a:lnTo>
                    <a:pt x="14" y="790"/>
                  </a:lnTo>
                  <a:lnTo>
                    <a:pt x="20" y="798"/>
                  </a:lnTo>
                  <a:lnTo>
                    <a:pt x="24" y="802"/>
                  </a:lnTo>
                  <a:lnTo>
                    <a:pt x="24" y="806"/>
                  </a:lnTo>
                  <a:lnTo>
                    <a:pt x="26" y="808"/>
                  </a:lnTo>
                  <a:lnTo>
                    <a:pt x="28" y="812"/>
                  </a:lnTo>
                  <a:lnTo>
                    <a:pt x="30" y="810"/>
                  </a:lnTo>
                  <a:lnTo>
                    <a:pt x="32" y="808"/>
                  </a:lnTo>
                  <a:lnTo>
                    <a:pt x="34" y="806"/>
                  </a:lnTo>
                  <a:lnTo>
                    <a:pt x="38" y="808"/>
                  </a:lnTo>
                  <a:lnTo>
                    <a:pt x="42" y="808"/>
                  </a:lnTo>
                  <a:lnTo>
                    <a:pt x="44" y="814"/>
                  </a:lnTo>
                  <a:lnTo>
                    <a:pt x="46" y="816"/>
                  </a:lnTo>
                  <a:lnTo>
                    <a:pt x="48" y="822"/>
                  </a:lnTo>
                  <a:lnTo>
                    <a:pt x="50" y="826"/>
                  </a:lnTo>
                  <a:lnTo>
                    <a:pt x="54" y="832"/>
                  </a:lnTo>
                  <a:lnTo>
                    <a:pt x="54" y="834"/>
                  </a:lnTo>
                  <a:lnTo>
                    <a:pt x="58" y="836"/>
                  </a:lnTo>
                  <a:lnTo>
                    <a:pt x="56" y="844"/>
                  </a:lnTo>
                  <a:lnTo>
                    <a:pt x="56" y="848"/>
                  </a:lnTo>
                  <a:lnTo>
                    <a:pt x="54" y="858"/>
                  </a:lnTo>
                  <a:lnTo>
                    <a:pt x="54" y="862"/>
                  </a:lnTo>
                  <a:lnTo>
                    <a:pt x="54" y="864"/>
                  </a:lnTo>
                  <a:lnTo>
                    <a:pt x="58" y="868"/>
                  </a:lnTo>
                  <a:lnTo>
                    <a:pt x="58" y="872"/>
                  </a:lnTo>
                  <a:lnTo>
                    <a:pt x="56" y="874"/>
                  </a:lnTo>
                  <a:lnTo>
                    <a:pt x="54" y="878"/>
                  </a:lnTo>
                  <a:lnTo>
                    <a:pt x="52" y="884"/>
                  </a:lnTo>
                  <a:lnTo>
                    <a:pt x="50" y="886"/>
                  </a:lnTo>
                  <a:lnTo>
                    <a:pt x="50" y="888"/>
                  </a:lnTo>
                  <a:lnTo>
                    <a:pt x="56" y="892"/>
                  </a:lnTo>
                  <a:lnTo>
                    <a:pt x="64" y="898"/>
                  </a:lnTo>
                  <a:lnTo>
                    <a:pt x="66" y="900"/>
                  </a:lnTo>
                  <a:lnTo>
                    <a:pt x="70" y="898"/>
                  </a:lnTo>
                  <a:lnTo>
                    <a:pt x="74" y="894"/>
                  </a:lnTo>
                  <a:lnTo>
                    <a:pt x="78" y="888"/>
                  </a:lnTo>
                  <a:lnTo>
                    <a:pt x="82" y="886"/>
                  </a:lnTo>
                  <a:lnTo>
                    <a:pt x="88" y="886"/>
                  </a:lnTo>
                  <a:lnTo>
                    <a:pt x="92" y="890"/>
                  </a:lnTo>
                  <a:lnTo>
                    <a:pt x="96" y="898"/>
                  </a:lnTo>
                  <a:lnTo>
                    <a:pt x="100" y="904"/>
                  </a:lnTo>
                  <a:lnTo>
                    <a:pt x="100" y="906"/>
                  </a:lnTo>
                  <a:lnTo>
                    <a:pt x="102" y="906"/>
                  </a:lnTo>
                  <a:lnTo>
                    <a:pt x="104" y="906"/>
                  </a:lnTo>
                  <a:lnTo>
                    <a:pt x="106" y="906"/>
                  </a:lnTo>
                  <a:lnTo>
                    <a:pt x="108" y="904"/>
                  </a:lnTo>
                  <a:lnTo>
                    <a:pt x="110" y="900"/>
                  </a:lnTo>
                  <a:lnTo>
                    <a:pt x="118" y="890"/>
                  </a:lnTo>
                  <a:lnTo>
                    <a:pt x="124" y="888"/>
                  </a:lnTo>
                  <a:lnTo>
                    <a:pt x="126" y="888"/>
                  </a:lnTo>
                  <a:lnTo>
                    <a:pt x="130" y="886"/>
                  </a:lnTo>
                  <a:lnTo>
                    <a:pt x="138" y="888"/>
                  </a:lnTo>
                  <a:lnTo>
                    <a:pt x="148" y="892"/>
                  </a:lnTo>
                  <a:lnTo>
                    <a:pt x="160" y="898"/>
                  </a:lnTo>
                  <a:lnTo>
                    <a:pt x="164" y="898"/>
                  </a:lnTo>
                  <a:lnTo>
                    <a:pt x="168" y="898"/>
                  </a:lnTo>
                  <a:lnTo>
                    <a:pt x="170" y="890"/>
                  </a:lnTo>
                  <a:lnTo>
                    <a:pt x="176" y="888"/>
                  </a:lnTo>
                  <a:lnTo>
                    <a:pt x="182" y="884"/>
                  </a:lnTo>
                  <a:lnTo>
                    <a:pt x="188" y="884"/>
                  </a:lnTo>
                  <a:lnTo>
                    <a:pt x="190" y="882"/>
                  </a:lnTo>
                  <a:lnTo>
                    <a:pt x="192" y="882"/>
                  </a:lnTo>
                  <a:lnTo>
                    <a:pt x="192" y="878"/>
                  </a:lnTo>
                  <a:lnTo>
                    <a:pt x="192" y="876"/>
                  </a:lnTo>
                  <a:lnTo>
                    <a:pt x="188" y="870"/>
                  </a:lnTo>
                  <a:lnTo>
                    <a:pt x="188" y="868"/>
                  </a:lnTo>
                  <a:lnTo>
                    <a:pt x="190" y="868"/>
                  </a:lnTo>
                  <a:lnTo>
                    <a:pt x="194" y="868"/>
                  </a:lnTo>
                  <a:lnTo>
                    <a:pt x="200" y="868"/>
                  </a:lnTo>
                  <a:lnTo>
                    <a:pt x="206" y="870"/>
                  </a:lnTo>
                  <a:lnTo>
                    <a:pt x="212" y="874"/>
                  </a:lnTo>
                  <a:lnTo>
                    <a:pt x="214" y="876"/>
                  </a:lnTo>
                  <a:lnTo>
                    <a:pt x="218" y="884"/>
                  </a:lnTo>
                  <a:lnTo>
                    <a:pt x="220" y="892"/>
                  </a:lnTo>
                  <a:lnTo>
                    <a:pt x="226" y="906"/>
                  </a:lnTo>
                  <a:lnTo>
                    <a:pt x="226" y="922"/>
                  </a:lnTo>
                  <a:lnTo>
                    <a:pt x="228" y="924"/>
                  </a:lnTo>
                  <a:lnTo>
                    <a:pt x="232" y="924"/>
                  </a:lnTo>
                  <a:lnTo>
                    <a:pt x="232" y="926"/>
                  </a:lnTo>
                  <a:lnTo>
                    <a:pt x="236" y="932"/>
                  </a:lnTo>
                  <a:lnTo>
                    <a:pt x="238" y="934"/>
                  </a:lnTo>
                  <a:lnTo>
                    <a:pt x="242" y="934"/>
                  </a:lnTo>
                  <a:lnTo>
                    <a:pt x="248" y="940"/>
                  </a:lnTo>
                  <a:lnTo>
                    <a:pt x="252" y="942"/>
                  </a:lnTo>
                  <a:lnTo>
                    <a:pt x="254" y="942"/>
                  </a:lnTo>
                  <a:lnTo>
                    <a:pt x="254" y="944"/>
                  </a:lnTo>
                  <a:lnTo>
                    <a:pt x="252" y="946"/>
                  </a:lnTo>
                  <a:lnTo>
                    <a:pt x="250" y="948"/>
                  </a:lnTo>
                  <a:lnTo>
                    <a:pt x="246" y="952"/>
                  </a:lnTo>
                  <a:lnTo>
                    <a:pt x="242" y="956"/>
                  </a:lnTo>
                  <a:lnTo>
                    <a:pt x="236" y="964"/>
                  </a:lnTo>
                  <a:lnTo>
                    <a:pt x="236" y="966"/>
                  </a:lnTo>
                  <a:lnTo>
                    <a:pt x="238" y="968"/>
                  </a:lnTo>
                  <a:lnTo>
                    <a:pt x="240" y="968"/>
                  </a:lnTo>
                  <a:lnTo>
                    <a:pt x="242" y="968"/>
                  </a:lnTo>
                  <a:lnTo>
                    <a:pt x="248" y="964"/>
                  </a:lnTo>
                  <a:lnTo>
                    <a:pt x="254" y="964"/>
                  </a:lnTo>
                  <a:lnTo>
                    <a:pt x="258" y="968"/>
                  </a:lnTo>
                  <a:lnTo>
                    <a:pt x="260" y="970"/>
                  </a:lnTo>
                  <a:lnTo>
                    <a:pt x="260" y="974"/>
                  </a:lnTo>
                  <a:lnTo>
                    <a:pt x="258" y="978"/>
                  </a:lnTo>
                  <a:lnTo>
                    <a:pt x="258" y="984"/>
                  </a:lnTo>
                  <a:lnTo>
                    <a:pt x="260" y="992"/>
                  </a:lnTo>
                  <a:lnTo>
                    <a:pt x="262" y="1002"/>
                  </a:lnTo>
                  <a:lnTo>
                    <a:pt x="264" y="1004"/>
                  </a:lnTo>
                  <a:lnTo>
                    <a:pt x="280" y="1012"/>
                  </a:lnTo>
                  <a:lnTo>
                    <a:pt x="280" y="1016"/>
                  </a:lnTo>
                  <a:lnTo>
                    <a:pt x="282" y="1018"/>
                  </a:lnTo>
                  <a:lnTo>
                    <a:pt x="280" y="1022"/>
                  </a:lnTo>
                  <a:lnTo>
                    <a:pt x="282" y="1022"/>
                  </a:lnTo>
                  <a:lnTo>
                    <a:pt x="288" y="1022"/>
                  </a:lnTo>
                  <a:lnTo>
                    <a:pt x="292" y="1018"/>
                  </a:lnTo>
                  <a:lnTo>
                    <a:pt x="296" y="1010"/>
                  </a:lnTo>
                  <a:lnTo>
                    <a:pt x="302" y="1006"/>
                  </a:lnTo>
                  <a:lnTo>
                    <a:pt x="308" y="1006"/>
                  </a:lnTo>
                  <a:lnTo>
                    <a:pt x="310" y="1004"/>
                  </a:lnTo>
                  <a:lnTo>
                    <a:pt x="312" y="1004"/>
                  </a:lnTo>
                  <a:lnTo>
                    <a:pt x="316" y="1008"/>
                  </a:lnTo>
                  <a:lnTo>
                    <a:pt x="318" y="1010"/>
                  </a:lnTo>
                  <a:lnTo>
                    <a:pt x="320" y="1012"/>
                  </a:lnTo>
                  <a:lnTo>
                    <a:pt x="322" y="1016"/>
                  </a:lnTo>
                  <a:lnTo>
                    <a:pt x="334" y="1018"/>
                  </a:lnTo>
                  <a:lnTo>
                    <a:pt x="338" y="1020"/>
                  </a:lnTo>
                  <a:lnTo>
                    <a:pt x="342" y="1024"/>
                  </a:lnTo>
                  <a:lnTo>
                    <a:pt x="344" y="1024"/>
                  </a:lnTo>
                  <a:lnTo>
                    <a:pt x="346" y="1024"/>
                  </a:lnTo>
                  <a:lnTo>
                    <a:pt x="348" y="1022"/>
                  </a:lnTo>
                  <a:lnTo>
                    <a:pt x="348" y="1020"/>
                  </a:lnTo>
                  <a:lnTo>
                    <a:pt x="346" y="1016"/>
                  </a:lnTo>
                  <a:lnTo>
                    <a:pt x="346" y="1014"/>
                  </a:lnTo>
                  <a:lnTo>
                    <a:pt x="348" y="1010"/>
                  </a:lnTo>
                  <a:lnTo>
                    <a:pt x="352" y="1010"/>
                  </a:lnTo>
                  <a:lnTo>
                    <a:pt x="356" y="1010"/>
                  </a:lnTo>
                  <a:lnTo>
                    <a:pt x="362" y="1010"/>
                  </a:lnTo>
                  <a:lnTo>
                    <a:pt x="366" y="1010"/>
                  </a:lnTo>
                  <a:lnTo>
                    <a:pt x="366" y="1008"/>
                  </a:lnTo>
                  <a:lnTo>
                    <a:pt x="366" y="1000"/>
                  </a:lnTo>
                  <a:lnTo>
                    <a:pt x="366" y="996"/>
                  </a:lnTo>
                  <a:lnTo>
                    <a:pt x="366" y="992"/>
                  </a:lnTo>
                  <a:lnTo>
                    <a:pt x="368" y="990"/>
                  </a:lnTo>
                  <a:lnTo>
                    <a:pt x="374" y="994"/>
                  </a:lnTo>
                  <a:lnTo>
                    <a:pt x="380" y="996"/>
                  </a:lnTo>
                  <a:lnTo>
                    <a:pt x="384" y="996"/>
                  </a:lnTo>
                  <a:lnTo>
                    <a:pt x="384" y="996"/>
                  </a:lnTo>
                  <a:lnTo>
                    <a:pt x="382" y="990"/>
                  </a:lnTo>
                  <a:lnTo>
                    <a:pt x="382" y="988"/>
                  </a:lnTo>
                  <a:lnTo>
                    <a:pt x="384" y="988"/>
                  </a:lnTo>
                  <a:lnTo>
                    <a:pt x="386" y="988"/>
                  </a:lnTo>
                  <a:lnTo>
                    <a:pt x="394" y="986"/>
                  </a:lnTo>
                  <a:lnTo>
                    <a:pt x="394" y="986"/>
                  </a:lnTo>
                  <a:lnTo>
                    <a:pt x="396" y="994"/>
                  </a:lnTo>
                  <a:lnTo>
                    <a:pt x="394" y="996"/>
                  </a:lnTo>
                  <a:lnTo>
                    <a:pt x="396" y="1002"/>
                  </a:lnTo>
                  <a:lnTo>
                    <a:pt x="398" y="1006"/>
                  </a:lnTo>
                  <a:lnTo>
                    <a:pt x="398" y="1008"/>
                  </a:lnTo>
                  <a:lnTo>
                    <a:pt x="396" y="1012"/>
                  </a:lnTo>
                  <a:lnTo>
                    <a:pt x="394" y="1014"/>
                  </a:lnTo>
                  <a:lnTo>
                    <a:pt x="396" y="1016"/>
                  </a:lnTo>
                  <a:lnTo>
                    <a:pt x="398" y="1018"/>
                  </a:lnTo>
                  <a:lnTo>
                    <a:pt x="404" y="1020"/>
                  </a:lnTo>
                  <a:lnTo>
                    <a:pt x="408" y="1020"/>
                  </a:lnTo>
                  <a:lnTo>
                    <a:pt x="412" y="1018"/>
                  </a:lnTo>
                  <a:lnTo>
                    <a:pt x="414" y="1016"/>
                  </a:lnTo>
                  <a:lnTo>
                    <a:pt x="416" y="1014"/>
                  </a:lnTo>
                  <a:lnTo>
                    <a:pt x="418" y="1010"/>
                  </a:lnTo>
                  <a:lnTo>
                    <a:pt x="420" y="1008"/>
                  </a:lnTo>
                  <a:lnTo>
                    <a:pt x="430" y="1004"/>
                  </a:lnTo>
                  <a:lnTo>
                    <a:pt x="440" y="1004"/>
                  </a:lnTo>
                  <a:lnTo>
                    <a:pt x="442" y="1006"/>
                  </a:lnTo>
                  <a:lnTo>
                    <a:pt x="444" y="1002"/>
                  </a:lnTo>
                  <a:lnTo>
                    <a:pt x="444" y="996"/>
                  </a:lnTo>
                  <a:lnTo>
                    <a:pt x="446" y="990"/>
                  </a:lnTo>
                  <a:lnTo>
                    <a:pt x="446" y="982"/>
                  </a:lnTo>
                  <a:lnTo>
                    <a:pt x="446" y="972"/>
                  </a:lnTo>
                  <a:lnTo>
                    <a:pt x="444" y="964"/>
                  </a:lnTo>
                  <a:lnTo>
                    <a:pt x="448" y="962"/>
                  </a:lnTo>
                  <a:lnTo>
                    <a:pt x="454" y="958"/>
                  </a:lnTo>
                  <a:lnTo>
                    <a:pt x="456" y="952"/>
                  </a:lnTo>
                  <a:lnTo>
                    <a:pt x="460" y="942"/>
                  </a:lnTo>
                  <a:lnTo>
                    <a:pt x="462" y="932"/>
                  </a:lnTo>
                  <a:lnTo>
                    <a:pt x="460" y="928"/>
                  </a:lnTo>
                  <a:lnTo>
                    <a:pt x="458" y="926"/>
                  </a:lnTo>
                  <a:lnTo>
                    <a:pt x="458" y="922"/>
                  </a:lnTo>
                  <a:lnTo>
                    <a:pt x="456" y="916"/>
                  </a:lnTo>
                  <a:lnTo>
                    <a:pt x="458" y="912"/>
                  </a:lnTo>
                  <a:lnTo>
                    <a:pt x="462" y="908"/>
                  </a:lnTo>
                  <a:lnTo>
                    <a:pt x="466" y="904"/>
                  </a:lnTo>
                  <a:lnTo>
                    <a:pt x="470" y="902"/>
                  </a:lnTo>
                  <a:lnTo>
                    <a:pt x="478" y="900"/>
                  </a:lnTo>
                  <a:lnTo>
                    <a:pt x="490" y="898"/>
                  </a:lnTo>
                  <a:lnTo>
                    <a:pt x="496" y="896"/>
                  </a:lnTo>
                  <a:lnTo>
                    <a:pt x="500" y="892"/>
                  </a:lnTo>
                  <a:lnTo>
                    <a:pt x="504" y="890"/>
                  </a:lnTo>
                  <a:lnTo>
                    <a:pt x="506" y="884"/>
                  </a:lnTo>
                  <a:lnTo>
                    <a:pt x="510" y="882"/>
                  </a:lnTo>
                  <a:lnTo>
                    <a:pt x="514" y="878"/>
                  </a:lnTo>
                  <a:lnTo>
                    <a:pt x="514" y="866"/>
                  </a:lnTo>
                  <a:lnTo>
                    <a:pt x="514" y="860"/>
                  </a:lnTo>
                  <a:lnTo>
                    <a:pt x="512" y="858"/>
                  </a:lnTo>
                  <a:lnTo>
                    <a:pt x="510" y="856"/>
                  </a:lnTo>
                  <a:lnTo>
                    <a:pt x="526" y="846"/>
                  </a:lnTo>
                  <a:lnTo>
                    <a:pt x="528" y="842"/>
                  </a:lnTo>
                  <a:lnTo>
                    <a:pt x="524" y="834"/>
                  </a:lnTo>
                  <a:lnTo>
                    <a:pt x="522" y="830"/>
                  </a:lnTo>
                  <a:lnTo>
                    <a:pt x="520" y="824"/>
                  </a:lnTo>
                  <a:lnTo>
                    <a:pt x="524" y="820"/>
                  </a:lnTo>
                  <a:lnTo>
                    <a:pt x="528" y="816"/>
                  </a:lnTo>
                  <a:lnTo>
                    <a:pt x="532" y="812"/>
                  </a:lnTo>
                  <a:lnTo>
                    <a:pt x="538" y="808"/>
                  </a:lnTo>
                  <a:lnTo>
                    <a:pt x="546" y="806"/>
                  </a:lnTo>
                  <a:lnTo>
                    <a:pt x="552" y="808"/>
                  </a:lnTo>
                  <a:lnTo>
                    <a:pt x="570" y="820"/>
                  </a:lnTo>
                  <a:lnTo>
                    <a:pt x="572" y="820"/>
                  </a:lnTo>
                  <a:lnTo>
                    <a:pt x="576" y="820"/>
                  </a:lnTo>
                  <a:lnTo>
                    <a:pt x="582" y="816"/>
                  </a:lnTo>
                  <a:lnTo>
                    <a:pt x="588" y="814"/>
                  </a:lnTo>
                  <a:lnTo>
                    <a:pt x="590" y="806"/>
                  </a:lnTo>
                  <a:lnTo>
                    <a:pt x="590" y="794"/>
                  </a:lnTo>
                  <a:lnTo>
                    <a:pt x="592" y="788"/>
                  </a:lnTo>
                  <a:lnTo>
                    <a:pt x="594" y="788"/>
                  </a:lnTo>
                  <a:lnTo>
                    <a:pt x="604" y="790"/>
                  </a:lnTo>
                  <a:lnTo>
                    <a:pt x="608" y="790"/>
                  </a:lnTo>
                  <a:lnTo>
                    <a:pt x="610" y="790"/>
                  </a:lnTo>
                  <a:lnTo>
                    <a:pt x="612" y="786"/>
                  </a:lnTo>
                  <a:lnTo>
                    <a:pt x="612" y="784"/>
                  </a:lnTo>
                  <a:lnTo>
                    <a:pt x="612" y="780"/>
                  </a:lnTo>
                  <a:lnTo>
                    <a:pt x="616" y="768"/>
                  </a:lnTo>
                  <a:lnTo>
                    <a:pt x="622" y="760"/>
                  </a:lnTo>
                  <a:lnTo>
                    <a:pt x="634" y="750"/>
                  </a:lnTo>
                  <a:lnTo>
                    <a:pt x="638" y="748"/>
                  </a:lnTo>
                  <a:lnTo>
                    <a:pt x="642" y="748"/>
                  </a:lnTo>
                  <a:lnTo>
                    <a:pt x="666" y="754"/>
                  </a:lnTo>
                  <a:lnTo>
                    <a:pt x="670" y="752"/>
                  </a:lnTo>
                  <a:lnTo>
                    <a:pt x="674" y="734"/>
                  </a:lnTo>
                  <a:lnTo>
                    <a:pt x="680" y="732"/>
                  </a:lnTo>
                  <a:lnTo>
                    <a:pt x="688" y="732"/>
                  </a:lnTo>
                  <a:lnTo>
                    <a:pt x="692" y="732"/>
                  </a:lnTo>
                  <a:lnTo>
                    <a:pt x="696" y="730"/>
                  </a:lnTo>
                  <a:lnTo>
                    <a:pt x="706" y="724"/>
                  </a:lnTo>
                  <a:lnTo>
                    <a:pt x="724" y="714"/>
                  </a:lnTo>
                  <a:lnTo>
                    <a:pt x="736" y="710"/>
                  </a:lnTo>
                  <a:lnTo>
                    <a:pt x="738" y="708"/>
                  </a:lnTo>
                  <a:lnTo>
                    <a:pt x="744" y="702"/>
                  </a:lnTo>
                  <a:lnTo>
                    <a:pt x="754" y="694"/>
                  </a:lnTo>
                  <a:lnTo>
                    <a:pt x="760" y="694"/>
                  </a:lnTo>
                  <a:lnTo>
                    <a:pt x="768" y="692"/>
                  </a:lnTo>
                  <a:lnTo>
                    <a:pt x="774" y="694"/>
                  </a:lnTo>
                  <a:lnTo>
                    <a:pt x="776" y="696"/>
                  </a:lnTo>
                  <a:lnTo>
                    <a:pt x="778" y="696"/>
                  </a:lnTo>
                  <a:lnTo>
                    <a:pt x="788" y="694"/>
                  </a:lnTo>
                  <a:lnTo>
                    <a:pt x="804" y="698"/>
                  </a:lnTo>
                  <a:lnTo>
                    <a:pt x="818" y="704"/>
                  </a:lnTo>
                  <a:lnTo>
                    <a:pt x="820" y="700"/>
                  </a:lnTo>
                  <a:lnTo>
                    <a:pt x="822" y="700"/>
                  </a:lnTo>
                  <a:lnTo>
                    <a:pt x="832" y="700"/>
                  </a:lnTo>
                  <a:lnTo>
                    <a:pt x="852" y="700"/>
                  </a:lnTo>
                  <a:lnTo>
                    <a:pt x="866" y="700"/>
                  </a:lnTo>
                  <a:lnTo>
                    <a:pt x="868" y="698"/>
                  </a:lnTo>
                  <a:lnTo>
                    <a:pt x="878" y="690"/>
                  </a:lnTo>
                  <a:lnTo>
                    <a:pt x="890" y="680"/>
                  </a:lnTo>
                  <a:lnTo>
                    <a:pt x="908" y="678"/>
                  </a:lnTo>
                  <a:lnTo>
                    <a:pt x="926" y="678"/>
                  </a:lnTo>
                  <a:lnTo>
                    <a:pt x="942" y="676"/>
                  </a:lnTo>
                  <a:lnTo>
                    <a:pt x="962" y="676"/>
                  </a:lnTo>
                  <a:lnTo>
                    <a:pt x="980" y="676"/>
                  </a:lnTo>
                  <a:lnTo>
                    <a:pt x="1000" y="674"/>
                  </a:lnTo>
                  <a:lnTo>
                    <a:pt x="1002" y="670"/>
                  </a:lnTo>
                  <a:lnTo>
                    <a:pt x="1002" y="668"/>
                  </a:lnTo>
                  <a:lnTo>
                    <a:pt x="1004" y="668"/>
                  </a:lnTo>
                  <a:lnTo>
                    <a:pt x="1020" y="672"/>
                  </a:lnTo>
                  <a:lnTo>
                    <a:pt x="1034" y="674"/>
                  </a:lnTo>
                  <a:lnTo>
                    <a:pt x="1034" y="666"/>
                  </a:lnTo>
                  <a:lnTo>
                    <a:pt x="1048" y="654"/>
                  </a:lnTo>
                  <a:lnTo>
                    <a:pt x="1054" y="652"/>
                  </a:lnTo>
                  <a:lnTo>
                    <a:pt x="1056" y="650"/>
                  </a:lnTo>
                  <a:lnTo>
                    <a:pt x="1058" y="646"/>
                  </a:lnTo>
                  <a:lnTo>
                    <a:pt x="1060" y="640"/>
                  </a:lnTo>
                  <a:lnTo>
                    <a:pt x="1060" y="636"/>
                  </a:lnTo>
                  <a:lnTo>
                    <a:pt x="1062" y="634"/>
                  </a:lnTo>
                  <a:lnTo>
                    <a:pt x="1064" y="628"/>
                  </a:lnTo>
                  <a:lnTo>
                    <a:pt x="1068" y="616"/>
                  </a:lnTo>
                  <a:lnTo>
                    <a:pt x="1074" y="606"/>
                  </a:lnTo>
                  <a:lnTo>
                    <a:pt x="1078" y="590"/>
                  </a:lnTo>
                  <a:lnTo>
                    <a:pt x="1078" y="576"/>
                  </a:lnTo>
                  <a:lnTo>
                    <a:pt x="1080" y="564"/>
                  </a:lnTo>
                  <a:lnTo>
                    <a:pt x="1082" y="562"/>
                  </a:lnTo>
                  <a:lnTo>
                    <a:pt x="1082" y="504"/>
                  </a:lnTo>
                  <a:lnTo>
                    <a:pt x="1082" y="482"/>
                  </a:lnTo>
                  <a:lnTo>
                    <a:pt x="1082" y="41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2" name="Line 5707">
              <a:extLst>
                <a:ext uri="{FF2B5EF4-FFF2-40B4-BE49-F238E27FC236}">
                  <a16:creationId xmlns:a16="http://schemas.microsoft.com/office/drawing/2014/main" id="{4BA948E0-3959-4382-BE70-562429AB374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405605" y="4916821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3" name="Line 5709">
              <a:extLst>
                <a:ext uri="{FF2B5EF4-FFF2-40B4-BE49-F238E27FC236}">
                  <a16:creationId xmlns:a16="http://schemas.microsoft.com/office/drawing/2014/main" id="{04A011A2-4492-4B40-87E2-4EE0E13ACE9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405605" y="4916821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4" name="Freeform 222">
              <a:extLst>
                <a:ext uri="{FF2B5EF4-FFF2-40B4-BE49-F238E27FC236}">
                  <a16:creationId xmlns:a16="http://schemas.microsoft.com/office/drawing/2014/main" id="{37E474DC-FC88-4F58-BADC-03586C5BFA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56911" y="4431169"/>
              <a:ext cx="9250" cy="7709"/>
            </a:xfrm>
            <a:custGeom>
              <a:avLst/>
              <a:gdLst>
                <a:gd name="connsiteX0" fmla="*/ 28590 w 57180"/>
                <a:gd name="connsiteY0" fmla="*/ 19060 h 47652"/>
                <a:gd name="connsiteX1" fmla="*/ 42886 w 57180"/>
                <a:gd name="connsiteY1" fmla="*/ 23826 h 47652"/>
                <a:gd name="connsiteX2" fmla="*/ 57180 w 57180"/>
                <a:gd name="connsiteY2" fmla="*/ 33356 h 47652"/>
                <a:gd name="connsiteX3" fmla="*/ 57180 w 57180"/>
                <a:gd name="connsiteY3" fmla="*/ 42886 h 47652"/>
                <a:gd name="connsiteX4" fmla="*/ 52416 w 57180"/>
                <a:gd name="connsiteY4" fmla="*/ 47652 h 47652"/>
                <a:gd name="connsiteX5" fmla="*/ 38120 w 57180"/>
                <a:gd name="connsiteY5" fmla="*/ 47652 h 47652"/>
                <a:gd name="connsiteX6" fmla="*/ 28590 w 57180"/>
                <a:gd name="connsiteY6" fmla="*/ 38120 h 47652"/>
                <a:gd name="connsiteX7" fmla="*/ 14294 w 57180"/>
                <a:gd name="connsiteY7" fmla="*/ 0 h 47652"/>
                <a:gd name="connsiteX8" fmla="*/ 19060 w 57180"/>
                <a:gd name="connsiteY8" fmla="*/ 0 h 47652"/>
                <a:gd name="connsiteX9" fmla="*/ 19060 w 57180"/>
                <a:gd name="connsiteY9" fmla="*/ 4764 h 47652"/>
                <a:gd name="connsiteX10" fmla="*/ 19060 w 57180"/>
                <a:gd name="connsiteY10" fmla="*/ 9528 h 47652"/>
                <a:gd name="connsiteX11" fmla="*/ 9530 w 57180"/>
                <a:gd name="connsiteY11" fmla="*/ 9528 h 47652"/>
                <a:gd name="connsiteX12" fmla="*/ 0 w 57180"/>
                <a:gd name="connsiteY12" fmla="*/ 4764 h 47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180" h="47652">
                  <a:moveTo>
                    <a:pt x="28590" y="19060"/>
                  </a:moveTo>
                  <a:lnTo>
                    <a:pt x="42886" y="23826"/>
                  </a:lnTo>
                  <a:lnTo>
                    <a:pt x="57180" y="33356"/>
                  </a:lnTo>
                  <a:lnTo>
                    <a:pt x="57180" y="42886"/>
                  </a:lnTo>
                  <a:lnTo>
                    <a:pt x="52416" y="47652"/>
                  </a:lnTo>
                  <a:lnTo>
                    <a:pt x="38120" y="47652"/>
                  </a:lnTo>
                  <a:lnTo>
                    <a:pt x="28590" y="38120"/>
                  </a:lnTo>
                  <a:close/>
                  <a:moveTo>
                    <a:pt x="14294" y="0"/>
                  </a:moveTo>
                  <a:lnTo>
                    <a:pt x="19060" y="0"/>
                  </a:lnTo>
                  <a:lnTo>
                    <a:pt x="19060" y="4764"/>
                  </a:lnTo>
                  <a:lnTo>
                    <a:pt x="19060" y="9528"/>
                  </a:lnTo>
                  <a:lnTo>
                    <a:pt x="9530" y="9528"/>
                  </a:lnTo>
                  <a:lnTo>
                    <a:pt x="0" y="476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5" name="Freeform 5757">
              <a:extLst>
                <a:ext uri="{FF2B5EF4-FFF2-40B4-BE49-F238E27FC236}">
                  <a16:creationId xmlns:a16="http://schemas.microsoft.com/office/drawing/2014/main" id="{C5E52825-80D7-4357-8392-1E41D10B338F}"/>
                </a:ext>
              </a:extLst>
            </p:cNvPr>
            <p:cNvSpPr/>
            <p:nvPr/>
          </p:nvSpPr>
          <p:spPr bwMode="auto">
            <a:xfrm>
              <a:off x="5764063" y="4185259"/>
              <a:ext cx="48565" cy="57045"/>
            </a:xfrm>
            <a:custGeom>
              <a:avLst/>
              <a:gdLst>
                <a:gd name="T0" fmla="*/ 48 w 126"/>
                <a:gd name="T1" fmla="*/ 0 h 148"/>
                <a:gd name="T2" fmla="*/ 42 w 126"/>
                <a:gd name="T3" fmla="*/ 2 h 148"/>
                <a:gd name="T4" fmla="*/ 36 w 126"/>
                <a:gd name="T5" fmla="*/ 0 h 148"/>
                <a:gd name="T6" fmla="*/ 34 w 126"/>
                <a:gd name="T7" fmla="*/ 4 h 148"/>
                <a:gd name="T8" fmla="*/ 40 w 126"/>
                <a:gd name="T9" fmla="*/ 16 h 148"/>
                <a:gd name="T10" fmla="*/ 36 w 126"/>
                <a:gd name="T11" fmla="*/ 22 h 148"/>
                <a:gd name="T12" fmla="*/ 30 w 126"/>
                <a:gd name="T13" fmla="*/ 16 h 148"/>
                <a:gd name="T14" fmla="*/ 22 w 126"/>
                <a:gd name="T15" fmla="*/ 22 h 148"/>
                <a:gd name="T16" fmla="*/ 16 w 126"/>
                <a:gd name="T17" fmla="*/ 30 h 148"/>
                <a:gd name="T18" fmla="*/ 12 w 126"/>
                <a:gd name="T19" fmla="*/ 36 h 148"/>
                <a:gd name="T20" fmla="*/ 4 w 126"/>
                <a:gd name="T21" fmla="*/ 48 h 148"/>
                <a:gd name="T22" fmla="*/ 2 w 126"/>
                <a:gd name="T23" fmla="*/ 52 h 148"/>
                <a:gd name="T24" fmla="*/ 2 w 126"/>
                <a:gd name="T25" fmla="*/ 68 h 148"/>
                <a:gd name="T26" fmla="*/ 8 w 126"/>
                <a:gd name="T27" fmla="*/ 80 h 148"/>
                <a:gd name="T28" fmla="*/ 4 w 126"/>
                <a:gd name="T29" fmla="*/ 86 h 148"/>
                <a:gd name="T30" fmla="*/ 0 w 126"/>
                <a:gd name="T31" fmla="*/ 88 h 148"/>
                <a:gd name="T32" fmla="*/ 4 w 126"/>
                <a:gd name="T33" fmla="*/ 94 h 148"/>
                <a:gd name="T34" fmla="*/ 8 w 126"/>
                <a:gd name="T35" fmla="*/ 100 h 148"/>
                <a:gd name="T36" fmla="*/ 14 w 126"/>
                <a:gd name="T37" fmla="*/ 98 h 148"/>
                <a:gd name="T38" fmla="*/ 12 w 126"/>
                <a:gd name="T39" fmla="*/ 102 h 148"/>
                <a:gd name="T40" fmla="*/ 30 w 126"/>
                <a:gd name="T41" fmla="*/ 116 h 148"/>
                <a:gd name="T42" fmla="*/ 50 w 126"/>
                <a:gd name="T43" fmla="*/ 142 h 148"/>
                <a:gd name="T44" fmla="*/ 60 w 126"/>
                <a:gd name="T45" fmla="*/ 144 h 148"/>
                <a:gd name="T46" fmla="*/ 60 w 126"/>
                <a:gd name="T47" fmla="*/ 134 h 148"/>
                <a:gd name="T48" fmla="*/ 60 w 126"/>
                <a:gd name="T49" fmla="*/ 128 h 148"/>
                <a:gd name="T50" fmla="*/ 44 w 126"/>
                <a:gd name="T51" fmla="*/ 112 h 148"/>
                <a:gd name="T52" fmla="*/ 56 w 126"/>
                <a:gd name="T53" fmla="*/ 114 h 148"/>
                <a:gd name="T54" fmla="*/ 64 w 126"/>
                <a:gd name="T55" fmla="*/ 106 h 148"/>
                <a:gd name="T56" fmla="*/ 74 w 126"/>
                <a:gd name="T57" fmla="*/ 94 h 148"/>
                <a:gd name="T58" fmla="*/ 80 w 126"/>
                <a:gd name="T59" fmla="*/ 82 h 148"/>
                <a:gd name="T60" fmla="*/ 86 w 126"/>
                <a:gd name="T61" fmla="*/ 82 h 148"/>
                <a:gd name="T62" fmla="*/ 86 w 126"/>
                <a:gd name="T63" fmla="*/ 90 h 148"/>
                <a:gd name="T64" fmla="*/ 90 w 126"/>
                <a:gd name="T65" fmla="*/ 94 h 148"/>
                <a:gd name="T66" fmla="*/ 100 w 126"/>
                <a:gd name="T67" fmla="*/ 92 h 148"/>
                <a:gd name="T68" fmla="*/ 108 w 126"/>
                <a:gd name="T69" fmla="*/ 88 h 148"/>
                <a:gd name="T70" fmla="*/ 108 w 126"/>
                <a:gd name="T71" fmla="*/ 82 h 148"/>
                <a:gd name="T72" fmla="*/ 106 w 126"/>
                <a:gd name="T73" fmla="*/ 72 h 148"/>
                <a:gd name="T74" fmla="*/ 112 w 126"/>
                <a:gd name="T75" fmla="*/ 70 h 148"/>
                <a:gd name="T76" fmla="*/ 118 w 126"/>
                <a:gd name="T77" fmla="*/ 66 h 148"/>
                <a:gd name="T78" fmla="*/ 126 w 126"/>
                <a:gd name="T79" fmla="*/ 62 h 148"/>
                <a:gd name="T80" fmla="*/ 120 w 126"/>
                <a:gd name="T81" fmla="*/ 54 h 148"/>
                <a:gd name="T82" fmla="*/ 100 w 126"/>
                <a:gd name="T83" fmla="*/ 40 h 148"/>
                <a:gd name="T84" fmla="*/ 88 w 126"/>
                <a:gd name="T85" fmla="*/ 38 h 148"/>
                <a:gd name="T86" fmla="*/ 78 w 126"/>
                <a:gd name="T87" fmla="*/ 32 h 148"/>
                <a:gd name="T88" fmla="*/ 64 w 126"/>
                <a:gd name="T89" fmla="*/ 18 h 148"/>
                <a:gd name="T90" fmla="*/ 52 w 126"/>
                <a:gd name="T91" fmla="*/ 8 h 148"/>
                <a:gd name="T92" fmla="*/ 50 w 126"/>
                <a:gd name="T93" fmla="*/ 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5" h="148">
                  <a:moveTo>
                    <a:pt x="50" y="0"/>
                  </a:moveTo>
                  <a:lnTo>
                    <a:pt x="48" y="0"/>
                  </a:lnTo>
                  <a:lnTo>
                    <a:pt x="44" y="0"/>
                  </a:lnTo>
                  <a:lnTo>
                    <a:pt x="42" y="2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4" y="4"/>
                  </a:lnTo>
                  <a:lnTo>
                    <a:pt x="36" y="8"/>
                  </a:lnTo>
                  <a:lnTo>
                    <a:pt x="40" y="16"/>
                  </a:lnTo>
                  <a:lnTo>
                    <a:pt x="40" y="22"/>
                  </a:lnTo>
                  <a:lnTo>
                    <a:pt x="36" y="22"/>
                  </a:lnTo>
                  <a:lnTo>
                    <a:pt x="34" y="18"/>
                  </a:lnTo>
                  <a:lnTo>
                    <a:pt x="30" y="16"/>
                  </a:lnTo>
                  <a:lnTo>
                    <a:pt x="28" y="18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6" y="30"/>
                  </a:lnTo>
                  <a:lnTo>
                    <a:pt x="14" y="34"/>
                  </a:lnTo>
                  <a:lnTo>
                    <a:pt x="12" y="36"/>
                  </a:lnTo>
                  <a:lnTo>
                    <a:pt x="14" y="46"/>
                  </a:lnTo>
                  <a:lnTo>
                    <a:pt x="4" y="48"/>
                  </a:lnTo>
                  <a:lnTo>
                    <a:pt x="2" y="48"/>
                  </a:lnTo>
                  <a:lnTo>
                    <a:pt x="2" y="52"/>
                  </a:lnTo>
                  <a:lnTo>
                    <a:pt x="2" y="62"/>
                  </a:lnTo>
                  <a:lnTo>
                    <a:pt x="2" y="68"/>
                  </a:lnTo>
                  <a:lnTo>
                    <a:pt x="8" y="78"/>
                  </a:lnTo>
                  <a:lnTo>
                    <a:pt x="8" y="80"/>
                  </a:lnTo>
                  <a:lnTo>
                    <a:pt x="8" y="82"/>
                  </a:lnTo>
                  <a:lnTo>
                    <a:pt x="4" y="86"/>
                  </a:lnTo>
                  <a:lnTo>
                    <a:pt x="2" y="88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4" y="94"/>
                  </a:lnTo>
                  <a:lnTo>
                    <a:pt x="6" y="98"/>
                  </a:lnTo>
                  <a:lnTo>
                    <a:pt x="8" y="100"/>
                  </a:lnTo>
                  <a:lnTo>
                    <a:pt x="10" y="98"/>
                  </a:lnTo>
                  <a:lnTo>
                    <a:pt x="14" y="98"/>
                  </a:lnTo>
                  <a:lnTo>
                    <a:pt x="14" y="100"/>
                  </a:lnTo>
                  <a:lnTo>
                    <a:pt x="12" y="102"/>
                  </a:lnTo>
                  <a:lnTo>
                    <a:pt x="14" y="104"/>
                  </a:lnTo>
                  <a:lnTo>
                    <a:pt x="30" y="116"/>
                  </a:lnTo>
                  <a:lnTo>
                    <a:pt x="46" y="132"/>
                  </a:lnTo>
                  <a:lnTo>
                    <a:pt x="50" y="142"/>
                  </a:lnTo>
                  <a:lnTo>
                    <a:pt x="60" y="148"/>
                  </a:lnTo>
                  <a:lnTo>
                    <a:pt x="60" y="144"/>
                  </a:lnTo>
                  <a:lnTo>
                    <a:pt x="62" y="138"/>
                  </a:lnTo>
                  <a:lnTo>
                    <a:pt x="60" y="134"/>
                  </a:lnTo>
                  <a:lnTo>
                    <a:pt x="62" y="132"/>
                  </a:lnTo>
                  <a:lnTo>
                    <a:pt x="60" y="128"/>
                  </a:lnTo>
                  <a:lnTo>
                    <a:pt x="52" y="124"/>
                  </a:lnTo>
                  <a:lnTo>
                    <a:pt x="44" y="112"/>
                  </a:lnTo>
                  <a:lnTo>
                    <a:pt x="50" y="112"/>
                  </a:lnTo>
                  <a:lnTo>
                    <a:pt x="56" y="114"/>
                  </a:lnTo>
                  <a:lnTo>
                    <a:pt x="62" y="112"/>
                  </a:lnTo>
                  <a:lnTo>
                    <a:pt x="64" y="106"/>
                  </a:lnTo>
                  <a:lnTo>
                    <a:pt x="68" y="100"/>
                  </a:lnTo>
                  <a:lnTo>
                    <a:pt x="74" y="94"/>
                  </a:lnTo>
                  <a:lnTo>
                    <a:pt x="76" y="86"/>
                  </a:lnTo>
                  <a:lnTo>
                    <a:pt x="80" y="82"/>
                  </a:lnTo>
                  <a:lnTo>
                    <a:pt x="84" y="80"/>
                  </a:lnTo>
                  <a:lnTo>
                    <a:pt x="86" y="82"/>
                  </a:lnTo>
                  <a:lnTo>
                    <a:pt x="86" y="84"/>
                  </a:lnTo>
                  <a:lnTo>
                    <a:pt x="86" y="90"/>
                  </a:lnTo>
                  <a:lnTo>
                    <a:pt x="88" y="94"/>
                  </a:lnTo>
                  <a:lnTo>
                    <a:pt x="90" y="94"/>
                  </a:lnTo>
                  <a:lnTo>
                    <a:pt x="94" y="94"/>
                  </a:lnTo>
                  <a:lnTo>
                    <a:pt x="100" y="92"/>
                  </a:lnTo>
                  <a:lnTo>
                    <a:pt x="106" y="88"/>
                  </a:lnTo>
                  <a:lnTo>
                    <a:pt x="108" y="88"/>
                  </a:lnTo>
                  <a:lnTo>
                    <a:pt x="108" y="88"/>
                  </a:lnTo>
                  <a:lnTo>
                    <a:pt x="108" y="82"/>
                  </a:lnTo>
                  <a:lnTo>
                    <a:pt x="108" y="76"/>
                  </a:lnTo>
                  <a:lnTo>
                    <a:pt x="106" y="72"/>
                  </a:lnTo>
                  <a:lnTo>
                    <a:pt x="106" y="70"/>
                  </a:lnTo>
                  <a:lnTo>
                    <a:pt x="112" y="70"/>
                  </a:lnTo>
                  <a:lnTo>
                    <a:pt x="116" y="70"/>
                  </a:lnTo>
                  <a:lnTo>
                    <a:pt x="118" y="66"/>
                  </a:lnTo>
                  <a:lnTo>
                    <a:pt x="126" y="64"/>
                  </a:lnTo>
                  <a:lnTo>
                    <a:pt x="126" y="62"/>
                  </a:lnTo>
                  <a:lnTo>
                    <a:pt x="126" y="58"/>
                  </a:lnTo>
                  <a:lnTo>
                    <a:pt x="120" y="54"/>
                  </a:lnTo>
                  <a:lnTo>
                    <a:pt x="114" y="52"/>
                  </a:lnTo>
                  <a:lnTo>
                    <a:pt x="100" y="40"/>
                  </a:lnTo>
                  <a:lnTo>
                    <a:pt x="94" y="40"/>
                  </a:lnTo>
                  <a:lnTo>
                    <a:pt x="88" y="38"/>
                  </a:lnTo>
                  <a:lnTo>
                    <a:pt x="82" y="34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4" y="18"/>
                  </a:lnTo>
                  <a:lnTo>
                    <a:pt x="58" y="10"/>
                  </a:lnTo>
                  <a:lnTo>
                    <a:pt x="52" y="8"/>
                  </a:lnTo>
                  <a:lnTo>
                    <a:pt x="50" y="4"/>
                  </a:lnTo>
                  <a:lnTo>
                    <a:pt x="50" y="2"/>
                  </a:lnTo>
                  <a:lnTo>
                    <a:pt x="5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6" name="Freeform 5761">
              <a:extLst>
                <a:ext uri="{FF2B5EF4-FFF2-40B4-BE49-F238E27FC236}">
                  <a16:creationId xmlns:a16="http://schemas.microsoft.com/office/drawing/2014/main" id="{899A27E6-65D6-48F3-BE34-834003AD53E8}"/>
                </a:ext>
              </a:extLst>
            </p:cNvPr>
            <p:cNvSpPr/>
            <p:nvPr/>
          </p:nvSpPr>
          <p:spPr bwMode="auto">
            <a:xfrm>
              <a:off x="7515495" y="3861491"/>
              <a:ext cx="812119" cy="390064"/>
            </a:xfrm>
            <a:custGeom>
              <a:avLst/>
              <a:gdLst>
                <a:gd name="T0" fmla="*/ 1811 w 2107"/>
                <a:gd name="T1" fmla="*/ 230 h 1012"/>
                <a:gd name="T2" fmla="*/ 1713 w 2107"/>
                <a:gd name="T3" fmla="*/ 210 h 1012"/>
                <a:gd name="T4" fmla="*/ 1595 w 2107"/>
                <a:gd name="T5" fmla="*/ 278 h 1012"/>
                <a:gd name="T6" fmla="*/ 1493 w 2107"/>
                <a:gd name="T7" fmla="*/ 302 h 1012"/>
                <a:gd name="T8" fmla="*/ 1353 w 2107"/>
                <a:gd name="T9" fmla="*/ 282 h 1012"/>
                <a:gd name="T10" fmla="*/ 1303 w 2107"/>
                <a:gd name="T11" fmla="*/ 222 h 1012"/>
                <a:gd name="T12" fmla="*/ 1195 w 2107"/>
                <a:gd name="T13" fmla="*/ 182 h 1012"/>
                <a:gd name="T14" fmla="*/ 1089 w 2107"/>
                <a:gd name="T15" fmla="*/ 192 h 1012"/>
                <a:gd name="T16" fmla="*/ 1015 w 2107"/>
                <a:gd name="T17" fmla="*/ 194 h 1012"/>
                <a:gd name="T18" fmla="*/ 953 w 2107"/>
                <a:gd name="T19" fmla="*/ 152 h 1012"/>
                <a:gd name="T20" fmla="*/ 941 w 2107"/>
                <a:gd name="T21" fmla="*/ 80 h 1012"/>
                <a:gd name="T22" fmla="*/ 833 w 2107"/>
                <a:gd name="T23" fmla="*/ 40 h 1012"/>
                <a:gd name="T24" fmla="*/ 735 w 2107"/>
                <a:gd name="T25" fmla="*/ 2 h 1012"/>
                <a:gd name="T26" fmla="*/ 676 w 2107"/>
                <a:gd name="T27" fmla="*/ 70 h 1012"/>
                <a:gd name="T28" fmla="*/ 670 w 2107"/>
                <a:gd name="T29" fmla="*/ 136 h 1012"/>
                <a:gd name="T30" fmla="*/ 683 w 2107"/>
                <a:gd name="T31" fmla="*/ 202 h 1012"/>
                <a:gd name="T32" fmla="*/ 630 w 2107"/>
                <a:gd name="T33" fmla="*/ 246 h 1012"/>
                <a:gd name="T34" fmla="*/ 566 w 2107"/>
                <a:gd name="T35" fmla="*/ 230 h 1012"/>
                <a:gd name="T36" fmla="*/ 514 w 2107"/>
                <a:gd name="T37" fmla="*/ 226 h 1012"/>
                <a:gd name="T38" fmla="*/ 454 w 2107"/>
                <a:gd name="T39" fmla="*/ 218 h 1012"/>
                <a:gd name="T40" fmla="*/ 410 w 2107"/>
                <a:gd name="T41" fmla="*/ 162 h 1012"/>
                <a:gd name="T42" fmla="*/ 342 w 2107"/>
                <a:gd name="T43" fmla="*/ 140 h 1012"/>
                <a:gd name="T44" fmla="*/ 296 w 2107"/>
                <a:gd name="T45" fmla="*/ 140 h 1012"/>
                <a:gd name="T46" fmla="*/ 234 w 2107"/>
                <a:gd name="T47" fmla="*/ 172 h 1012"/>
                <a:gd name="T48" fmla="*/ 162 w 2107"/>
                <a:gd name="T49" fmla="*/ 208 h 1012"/>
                <a:gd name="T50" fmla="*/ 114 w 2107"/>
                <a:gd name="T51" fmla="*/ 254 h 1012"/>
                <a:gd name="T52" fmla="*/ 74 w 2107"/>
                <a:gd name="T53" fmla="*/ 272 h 1012"/>
                <a:gd name="T54" fmla="*/ 24 w 2107"/>
                <a:gd name="T55" fmla="*/ 296 h 1012"/>
                <a:gd name="T56" fmla="*/ 2 w 2107"/>
                <a:gd name="T57" fmla="*/ 330 h 1012"/>
                <a:gd name="T58" fmla="*/ 22 w 2107"/>
                <a:gd name="T59" fmla="*/ 368 h 1012"/>
                <a:gd name="T60" fmla="*/ 90 w 2107"/>
                <a:gd name="T61" fmla="*/ 422 h 1012"/>
                <a:gd name="T62" fmla="*/ 150 w 2107"/>
                <a:gd name="T63" fmla="*/ 432 h 1012"/>
                <a:gd name="T64" fmla="*/ 180 w 2107"/>
                <a:gd name="T65" fmla="*/ 490 h 1012"/>
                <a:gd name="T66" fmla="*/ 212 w 2107"/>
                <a:gd name="T67" fmla="*/ 576 h 1012"/>
                <a:gd name="T68" fmla="*/ 192 w 2107"/>
                <a:gd name="T69" fmla="*/ 656 h 1012"/>
                <a:gd name="T70" fmla="*/ 242 w 2107"/>
                <a:gd name="T71" fmla="*/ 694 h 1012"/>
                <a:gd name="T72" fmla="*/ 388 w 2107"/>
                <a:gd name="T73" fmla="*/ 716 h 1012"/>
                <a:gd name="T74" fmla="*/ 498 w 2107"/>
                <a:gd name="T75" fmla="*/ 780 h 1012"/>
                <a:gd name="T76" fmla="*/ 546 w 2107"/>
                <a:gd name="T77" fmla="*/ 880 h 1012"/>
                <a:gd name="T78" fmla="*/ 733 w 2107"/>
                <a:gd name="T79" fmla="*/ 922 h 1012"/>
                <a:gd name="T80" fmla="*/ 915 w 2107"/>
                <a:gd name="T81" fmla="*/ 936 h 1012"/>
                <a:gd name="T82" fmla="*/ 1097 w 2107"/>
                <a:gd name="T83" fmla="*/ 988 h 1012"/>
                <a:gd name="T84" fmla="*/ 1231 w 2107"/>
                <a:gd name="T85" fmla="*/ 958 h 1012"/>
                <a:gd name="T86" fmla="*/ 1363 w 2107"/>
                <a:gd name="T87" fmla="*/ 940 h 1012"/>
                <a:gd name="T88" fmla="*/ 1485 w 2107"/>
                <a:gd name="T89" fmla="*/ 908 h 1012"/>
                <a:gd name="T90" fmla="*/ 1553 w 2107"/>
                <a:gd name="T91" fmla="*/ 846 h 1012"/>
                <a:gd name="T92" fmla="*/ 1569 w 2107"/>
                <a:gd name="T93" fmla="*/ 794 h 1012"/>
                <a:gd name="T94" fmla="*/ 1573 w 2107"/>
                <a:gd name="T95" fmla="*/ 708 h 1012"/>
                <a:gd name="T96" fmla="*/ 1685 w 2107"/>
                <a:gd name="T97" fmla="*/ 728 h 1012"/>
                <a:gd name="T98" fmla="*/ 1753 w 2107"/>
                <a:gd name="T99" fmla="*/ 680 h 1012"/>
                <a:gd name="T100" fmla="*/ 1837 w 2107"/>
                <a:gd name="T101" fmla="*/ 656 h 1012"/>
                <a:gd name="T102" fmla="*/ 1889 w 2107"/>
                <a:gd name="T103" fmla="*/ 586 h 1012"/>
                <a:gd name="T104" fmla="*/ 1943 w 2107"/>
                <a:gd name="T105" fmla="*/ 558 h 1012"/>
                <a:gd name="T106" fmla="*/ 2021 w 2107"/>
                <a:gd name="T107" fmla="*/ 546 h 1012"/>
                <a:gd name="T108" fmla="*/ 2097 w 2107"/>
                <a:gd name="T109" fmla="*/ 552 h 1012"/>
                <a:gd name="T110" fmla="*/ 2073 w 2107"/>
                <a:gd name="T111" fmla="*/ 480 h 1012"/>
                <a:gd name="T112" fmla="*/ 2033 w 2107"/>
                <a:gd name="T113" fmla="*/ 444 h 1012"/>
                <a:gd name="T114" fmla="*/ 1947 w 2107"/>
                <a:gd name="T115" fmla="*/ 446 h 1012"/>
                <a:gd name="T116" fmla="*/ 1873 w 2107"/>
                <a:gd name="T117" fmla="*/ 434 h 1012"/>
                <a:gd name="T118" fmla="*/ 1839 w 2107"/>
                <a:gd name="T119" fmla="*/ 386 h 1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07" h="1012">
                  <a:moveTo>
                    <a:pt x="1897" y="238"/>
                  </a:moveTo>
                  <a:lnTo>
                    <a:pt x="1893" y="232"/>
                  </a:lnTo>
                  <a:lnTo>
                    <a:pt x="1887" y="228"/>
                  </a:lnTo>
                  <a:lnTo>
                    <a:pt x="1875" y="222"/>
                  </a:lnTo>
                  <a:lnTo>
                    <a:pt x="1865" y="220"/>
                  </a:lnTo>
                  <a:lnTo>
                    <a:pt x="1861" y="220"/>
                  </a:lnTo>
                  <a:lnTo>
                    <a:pt x="1847" y="226"/>
                  </a:lnTo>
                  <a:lnTo>
                    <a:pt x="1839" y="230"/>
                  </a:lnTo>
                  <a:lnTo>
                    <a:pt x="1833" y="232"/>
                  </a:lnTo>
                  <a:lnTo>
                    <a:pt x="1825" y="232"/>
                  </a:lnTo>
                  <a:lnTo>
                    <a:pt x="1815" y="230"/>
                  </a:lnTo>
                  <a:lnTo>
                    <a:pt x="1811" y="230"/>
                  </a:lnTo>
                  <a:lnTo>
                    <a:pt x="1805" y="226"/>
                  </a:lnTo>
                  <a:lnTo>
                    <a:pt x="1793" y="214"/>
                  </a:lnTo>
                  <a:lnTo>
                    <a:pt x="1787" y="206"/>
                  </a:lnTo>
                  <a:lnTo>
                    <a:pt x="1779" y="202"/>
                  </a:lnTo>
                  <a:lnTo>
                    <a:pt x="1769" y="196"/>
                  </a:lnTo>
                  <a:lnTo>
                    <a:pt x="1765" y="196"/>
                  </a:lnTo>
                  <a:lnTo>
                    <a:pt x="1757" y="196"/>
                  </a:lnTo>
                  <a:lnTo>
                    <a:pt x="1745" y="194"/>
                  </a:lnTo>
                  <a:lnTo>
                    <a:pt x="1739" y="192"/>
                  </a:lnTo>
                  <a:lnTo>
                    <a:pt x="1735" y="194"/>
                  </a:lnTo>
                  <a:lnTo>
                    <a:pt x="1725" y="200"/>
                  </a:lnTo>
                  <a:lnTo>
                    <a:pt x="1713" y="210"/>
                  </a:lnTo>
                  <a:lnTo>
                    <a:pt x="1703" y="214"/>
                  </a:lnTo>
                  <a:lnTo>
                    <a:pt x="1693" y="220"/>
                  </a:lnTo>
                  <a:lnTo>
                    <a:pt x="1677" y="234"/>
                  </a:lnTo>
                  <a:lnTo>
                    <a:pt x="1665" y="240"/>
                  </a:lnTo>
                  <a:lnTo>
                    <a:pt x="1661" y="252"/>
                  </a:lnTo>
                  <a:lnTo>
                    <a:pt x="1659" y="260"/>
                  </a:lnTo>
                  <a:lnTo>
                    <a:pt x="1649" y="264"/>
                  </a:lnTo>
                  <a:lnTo>
                    <a:pt x="1643" y="268"/>
                  </a:lnTo>
                  <a:lnTo>
                    <a:pt x="1635" y="270"/>
                  </a:lnTo>
                  <a:lnTo>
                    <a:pt x="1621" y="268"/>
                  </a:lnTo>
                  <a:lnTo>
                    <a:pt x="1615" y="270"/>
                  </a:lnTo>
                  <a:lnTo>
                    <a:pt x="1595" y="278"/>
                  </a:lnTo>
                  <a:lnTo>
                    <a:pt x="1585" y="280"/>
                  </a:lnTo>
                  <a:lnTo>
                    <a:pt x="1579" y="280"/>
                  </a:lnTo>
                  <a:lnTo>
                    <a:pt x="1573" y="282"/>
                  </a:lnTo>
                  <a:lnTo>
                    <a:pt x="1561" y="284"/>
                  </a:lnTo>
                  <a:lnTo>
                    <a:pt x="1557" y="284"/>
                  </a:lnTo>
                  <a:lnTo>
                    <a:pt x="1553" y="286"/>
                  </a:lnTo>
                  <a:lnTo>
                    <a:pt x="1547" y="286"/>
                  </a:lnTo>
                  <a:lnTo>
                    <a:pt x="1537" y="290"/>
                  </a:lnTo>
                  <a:lnTo>
                    <a:pt x="1513" y="304"/>
                  </a:lnTo>
                  <a:lnTo>
                    <a:pt x="1505" y="306"/>
                  </a:lnTo>
                  <a:lnTo>
                    <a:pt x="1499" y="308"/>
                  </a:lnTo>
                  <a:lnTo>
                    <a:pt x="1493" y="302"/>
                  </a:lnTo>
                  <a:lnTo>
                    <a:pt x="1487" y="300"/>
                  </a:lnTo>
                  <a:lnTo>
                    <a:pt x="1479" y="300"/>
                  </a:lnTo>
                  <a:lnTo>
                    <a:pt x="1471" y="304"/>
                  </a:lnTo>
                  <a:lnTo>
                    <a:pt x="1457" y="300"/>
                  </a:lnTo>
                  <a:lnTo>
                    <a:pt x="1441" y="298"/>
                  </a:lnTo>
                  <a:lnTo>
                    <a:pt x="1427" y="294"/>
                  </a:lnTo>
                  <a:lnTo>
                    <a:pt x="1423" y="292"/>
                  </a:lnTo>
                  <a:lnTo>
                    <a:pt x="1409" y="288"/>
                  </a:lnTo>
                  <a:lnTo>
                    <a:pt x="1375" y="288"/>
                  </a:lnTo>
                  <a:lnTo>
                    <a:pt x="1367" y="288"/>
                  </a:lnTo>
                  <a:lnTo>
                    <a:pt x="1361" y="286"/>
                  </a:lnTo>
                  <a:lnTo>
                    <a:pt x="1353" y="282"/>
                  </a:lnTo>
                  <a:lnTo>
                    <a:pt x="1341" y="268"/>
                  </a:lnTo>
                  <a:lnTo>
                    <a:pt x="1333" y="264"/>
                  </a:lnTo>
                  <a:lnTo>
                    <a:pt x="1329" y="262"/>
                  </a:lnTo>
                  <a:lnTo>
                    <a:pt x="1327" y="256"/>
                  </a:lnTo>
                  <a:lnTo>
                    <a:pt x="1325" y="256"/>
                  </a:lnTo>
                  <a:lnTo>
                    <a:pt x="1323" y="252"/>
                  </a:lnTo>
                  <a:lnTo>
                    <a:pt x="1323" y="246"/>
                  </a:lnTo>
                  <a:lnTo>
                    <a:pt x="1323" y="236"/>
                  </a:lnTo>
                  <a:lnTo>
                    <a:pt x="1323" y="228"/>
                  </a:lnTo>
                  <a:lnTo>
                    <a:pt x="1321" y="226"/>
                  </a:lnTo>
                  <a:lnTo>
                    <a:pt x="1313" y="224"/>
                  </a:lnTo>
                  <a:lnTo>
                    <a:pt x="1303" y="222"/>
                  </a:lnTo>
                  <a:lnTo>
                    <a:pt x="1285" y="222"/>
                  </a:lnTo>
                  <a:lnTo>
                    <a:pt x="1277" y="222"/>
                  </a:lnTo>
                  <a:lnTo>
                    <a:pt x="1271" y="216"/>
                  </a:lnTo>
                  <a:lnTo>
                    <a:pt x="1265" y="212"/>
                  </a:lnTo>
                  <a:lnTo>
                    <a:pt x="1257" y="200"/>
                  </a:lnTo>
                  <a:lnTo>
                    <a:pt x="1253" y="194"/>
                  </a:lnTo>
                  <a:lnTo>
                    <a:pt x="1243" y="188"/>
                  </a:lnTo>
                  <a:lnTo>
                    <a:pt x="1233" y="186"/>
                  </a:lnTo>
                  <a:lnTo>
                    <a:pt x="1221" y="188"/>
                  </a:lnTo>
                  <a:lnTo>
                    <a:pt x="1211" y="188"/>
                  </a:lnTo>
                  <a:lnTo>
                    <a:pt x="1201" y="186"/>
                  </a:lnTo>
                  <a:lnTo>
                    <a:pt x="1195" y="182"/>
                  </a:lnTo>
                  <a:lnTo>
                    <a:pt x="1187" y="178"/>
                  </a:lnTo>
                  <a:lnTo>
                    <a:pt x="1177" y="178"/>
                  </a:lnTo>
                  <a:lnTo>
                    <a:pt x="1167" y="176"/>
                  </a:lnTo>
                  <a:lnTo>
                    <a:pt x="1155" y="172"/>
                  </a:lnTo>
                  <a:lnTo>
                    <a:pt x="1149" y="172"/>
                  </a:lnTo>
                  <a:lnTo>
                    <a:pt x="1143" y="176"/>
                  </a:lnTo>
                  <a:lnTo>
                    <a:pt x="1137" y="180"/>
                  </a:lnTo>
                  <a:lnTo>
                    <a:pt x="1129" y="182"/>
                  </a:lnTo>
                  <a:lnTo>
                    <a:pt x="1111" y="186"/>
                  </a:lnTo>
                  <a:lnTo>
                    <a:pt x="1105" y="188"/>
                  </a:lnTo>
                  <a:lnTo>
                    <a:pt x="1095" y="188"/>
                  </a:lnTo>
                  <a:lnTo>
                    <a:pt x="1089" y="192"/>
                  </a:lnTo>
                  <a:lnTo>
                    <a:pt x="1083" y="198"/>
                  </a:lnTo>
                  <a:lnTo>
                    <a:pt x="1077" y="202"/>
                  </a:lnTo>
                  <a:lnTo>
                    <a:pt x="1071" y="204"/>
                  </a:lnTo>
                  <a:lnTo>
                    <a:pt x="1063" y="204"/>
                  </a:lnTo>
                  <a:lnTo>
                    <a:pt x="1055" y="202"/>
                  </a:lnTo>
                  <a:lnTo>
                    <a:pt x="1053" y="202"/>
                  </a:lnTo>
                  <a:lnTo>
                    <a:pt x="1047" y="204"/>
                  </a:lnTo>
                  <a:lnTo>
                    <a:pt x="1041" y="206"/>
                  </a:lnTo>
                  <a:lnTo>
                    <a:pt x="1031" y="204"/>
                  </a:lnTo>
                  <a:lnTo>
                    <a:pt x="1027" y="202"/>
                  </a:lnTo>
                  <a:lnTo>
                    <a:pt x="1019" y="200"/>
                  </a:lnTo>
                  <a:lnTo>
                    <a:pt x="1015" y="194"/>
                  </a:lnTo>
                  <a:lnTo>
                    <a:pt x="1011" y="190"/>
                  </a:lnTo>
                  <a:lnTo>
                    <a:pt x="1003" y="190"/>
                  </a:lnTo>
                  <a:lnTo>
                    <a:pt x="991" y="186"/>
                  </a:lnTo>
                  <a:lnTo>
                    <a:pt x="985" y="182"/>
                  </a:lnTo>
                  <a:lnTo>
                    <a:pt x="979" y="180"/>
                  </a:lnTo>
                  <a:lnTo>
                    <a:pt x="969" y="172"/>
                  </a:lnTo>
                  <a:lnTo>
                    <a:pt x="965" y="166"/>
                  </a:lnTo>
                  <a:lnTo>
                    <a:pt x="961" y="166"/>
                  </a:lnTo>
                  <a:lnTo>
                    <a:pt x="955" y="164"/>
                  </a:lnTo>
                  <a:lnTo>
                    <a:pt x="953" y="160"/>
                  </a:lnTo>
                  <a:lnTo>
                    <a:pt x="953" y="154"/>
                  </a:lnTo>
                  <a:lnTo>
                    <a:pt x="953" y="152"/>
                  </a:lnTo>
                  <a:lnTo>
                    <a:pt x="955" y="146"/>
                  </a:lnTo>
                  <a:lnTo>
                    <a:pt x="953" y="142"/>
                  </a:lnTo>
                  <a:lnTo>
                    <a:pt x="949" y="138"/>
                  </a:lnTo>
                  <a:lnTo>
                    <a:pt x="947" y="134"/>
                  </a:lnTo>
                  <a:lnTo>
                    <a:pt x="949" y="128"/>
                  </a:lnTo>
                  <a:lnTo>
                    <a:pt x="947" y="120"/>
                  </a:lnTo>
                  <a:lnTo>
                    <a:pt x="947" y="112"/>
                  </a:lnTo>
                  <a:lnTo>
                    <a:pt x="943" y="106"/>
                  </a:lnTo>
                  <a:lnTo>
                    <a:pt x="943" y="94"/>
                  </a:lnTo>
                  <a:lnTo>
                    <a:pt x="945" y="90"/>
                  </a:lnTo>
                  <a:lnTo>
                    <a:pt x="945" y="84"/>
                  </a:lnTo>
                  <a:lnTo>
                    <a:pt x="941" y="80"/>
                  </a:lnTo>
                  <a:lnTo>
                    <a:pt x="933" y="78"/>
                  </a:lnTo>
                  <a:lnTo>
                    <a:pt x="923" y="74"/>
                  </a:lnTo>
                  <a:lnTo>
                    <a:pt x="905" y="68"/>
                  </a:lnTo>
                  <a:lnTo>
                    <a:pt x="899" y="68"/>
                  </a:lnTo>
                  <a:lnTo>
                    <a:pt x="893" y="70"/>
                  </a:lnTo>
                  <a:lnTo>
                    <a:pt x="889" y="68"/>
                  </a:lnTo>
                  <a:lnTo>
                    <a:pt x="883" y="64"/>
                  </a:lnTo>
                  <a:lnTo>
                    <a:pt x="873" y="60"/>
                  </a:lnTo>
                  <a:lnTo>
                    <a:pt x="863" y="54"/>
                  </a:lnTo>
                  <a:lnTo>
                    <a:pt x="849" y="48"/>
                  </a:lnTo>
                  <a:lnTo>
                    <a:pt x="839" y="42"/>
                  </a:lnTo>
                  <a:lnTo>
                    <a:pt x="833" y="40"/>
                  </a:lnTo>
                  <a:lnTo>
                    <a:pt x="817" y="40"/>
                  </a:lnTo>
                  <a:lnTo>
                    <a:pt x="805" y="40"/>
                  </a:lnTo>
                  <a:lnTo>
                    <a:pt x="797" y="38"/>
                  </a:lnTo>
                  <a:lnTo>
                    <a:pt x="789" y="30"/>
                  </a:lnTo>
                  <a:lnTo>
                    <a:pt x="785" y="26"/>
                  </a:lnTo>
                  <a:lnTo>
                    <a:pt x="777" y="24"/>
                  </a:lnTo>
                  <a:lnTo>
                    <a:pt x="773" y="22"/>
                  </a:lnTo>
                  <a:lnTo>
                    <a:pt x="765" y="20"/>
                  </a:lnTo>
                  <a:lnTo>
                    <a:pt x="749" y="12"/>
                  </a:lnTo>
                  <a:lnTo>
                    <a:pt x="743" y="8"/>
                  </a:lnTo>
                  <a:lnTo>
                    <a:pt x="739" y="8"/>
                  </a:lnTo>
                  <a:lnTo>
                    <a:pt x="735" y="2"/>
                  </a:lnTo>
                  <a:lnTo>
                    <a:pt x="731" y="0"/>
                  </a:lnTo>
                  <a:lnTo>
                    <a:pt x="727" y="4"/>
                  </a:lnTo>
                  <a:lnTo>
                    <a:pt x="725" y="16"/>
                  </a:lnTo>
                  <a:lnTo>
                    <a:pt x="721" y="22"/>
                  </a:lnTo>
                  <a:lnTo>
                    <a:pt x="713" y="34"/>
                  </a:lnTo>
                  <a:lnTo>
                    <a:pt x="695" y="42"/>
                  </a:lnTo>
                  <a:lnTo>
                    <a:pt x="691" y="46"/>
                  </a:lnTo>
                  <a:lnTo>
                    <a:pt x="687" y="56"/>
                  </a:lnTo>
                  <a:lnTo>
                    <a:pt x="687" y="64"/>
                  </a:lnTo>
                  <a:lnTo>
                    <a:pt x="683" y="66"/>
                  </a:lnTo>
                  <a:lnTo>
                    <a:pt x="680" y="66"/>
                  </a:lnTo>
                  <a:lnTo>
                    <a:pt x="676" y="70"/>
                  </a:lnTo>
                  <a:lnTo>
                    <a:pt x="672" y="78"/>
                  </a:lnTo>
                  <a:lnTo>
                    <a:pt x="670" y="80"/>
                  </a:lnTo>
                  <a:lnTo>
                    <a:pt x="668" y="88"/>
                  </a:lnTo>
                  <a:lnTo>
                    <a:pt x="668" y="90"/>
                  </a:lnTo>
                  <a:lnTo>
                    <a:pt x="668" y="94"/>
                  </a:lnTo>
                  <a:lnTo>
                    <a:pt x="666" y="100"/>
                  </a:lnTo>
                  <a:lnTo>
                    <a:pt x="662" y="112"/>
                  </a:lnTo>
                  <a:lnTo>
                    <a:pt x="662" y="118"/>
                  </a:lnTo>
                  <a:lnTo>
                    <a:pt x="664" y="122"/>
                  </a:lnTo>
                  <a:lnTo>
                    <a:pt x="668" y="128"/>
                  </a:lnTo>
                  <a:lnTo>
                    <a:pt x="670" y="132"/>
                  </a:lnTo>
                  <a:lnTo>
                    <a:pt x="670" y="136"/>
                  </a:lnTo>
                  <a:lnTo>
                    <a:pt x="670" y="142"/>
                  </a:lnTo>
                  <a:lnTo>
                    <a:pt x="672" y="148"/>
                  </a:lnTo>
                  <a:lnTo>
                    <a:pt x="674" y="154"/>
                  </a:lnTo>
                  <a:lnTo>
                    <a:pt x="678" y="158"/>
                  </a:lnTo>
                  <a:lnTo>
                    <a:pt x="682" y="162"/>
                  </a:lnTo>
                  <a:lnTo>
                    <a:pt x="687" y="162"/>
                  </a:lnTo>
                  <a:lnTo>
                    <a:pt x="691" y="166"/>
                  </a:lnTo>
                  <a:lnTo>
                    <a:pt x="691" y="170"/>
                  </a:lnTo>
                  <a:lnTo>
                    <a:pt x="689" y="176"/>
                  </a:lnTo>
                  <a:lnTo>
                    <a:pt x="687" y="190"/>
                  </a:lnTo>
                  <a:lnTo>
                    <a:pt x="685" y="198"/>
                  </a:lnTo>
                  <a:lnTo>
                    <a:pt x="683" y="202"/>
                  </a:lnTo>
                  <a:lnTo>
                    <a:pt x="680" y="210"/>
                  </a:lnTo>
                  <a:lnTo>
                    <a:pt x="680" y="212"/>
                  </a:lnTo>
                  <a:lnTo>
                    <a:pt x="672" y="218"/>
                  </a:lnTo>
                  <a:lnTo>
                    <a:pt x="668" y="220"/>
                  </a:lnTo>
                  <a:lnTo>
                    <a:pt x="664" y="226"/>
                  </a:lnTo>
                  <a:lnTo>
                    <a:pt x="658" y="226"/>
                  </a:lnTo>
                  <a:lnTo>
                    <a:pt x="654" y="226"/>
                  </a:lnTo>
                  <a:lnTo>
                    <a:pt x="650" y="226"/>
                  </a:lnTo>
                  <a:lnTo>
                    <a:pt x="646" y="230"/>
                  </a:lnTo>
                  <a:lnTo>
                    <a:pt x="642" y="236"/>
                  </a:lnTo>
                  <a:lnTo>
                    <a:pt x="634" y="244"/>
                  </a:lnTo>
                  <a:lnTo>
                    <a:pt x="630" y="246"/>
                  </a:lnTo>
                  <a:lnTo>
                    <a:pt x="620" y="248"/>
                  </a:lnTo>
                  <a:lnTo>
                    <a:pt x="616" y="244"/>
                  </a:lnTo>
                  <a:lnTo>
                    <a:pt x="614" y="240"/>
                  </a:lnTo>
                  <a:lnTo>
                    <a:pt x="610" y="238"/>
                  </a:lnTo>
                  <a:lnTo>
                    <a:pt x="606" y="232"/>
                  </a:lnTo>
                  <a:lnTo>
                    <a:pt x="588" y="230"/>
                  </a:lnTo>
                  <a:lnTo>
                    <a:pt x="584" y="230"/>
                  </a:lnTo>
                  <a:lnTo>
                    <a:pt x="580" y="232"/>
                  </a:lnTo>
                  <a:lnTo>
                    <a:pt x="578" y="232"/>
                  </a:lnTo>
                  <a:lnTo>
                    <a:pt x="574" y="228"/>
                  </a:lnTo>
                  <a:lnTo>
                    <a:pt x="572" y="230"/>
                  </a:lnTo>
                  <a:lnTo>
                    <a:pt x="566" y="230"/>
                  </a:lnTo>
                  <a:lnTo>
                    <a:pt x="562" y="230"/>
                  </a:lnTo>
                  <a:lnTo>
                    <a:pt x="556" y="224"/>
                  </a:lnTo>
                  <a:lnTo>
                    <a:pt x="548" y="222"/>
                  </a:lnTo>
                  <a:lnTo>
                    <a:pt x="546" y="220"/>
                  </a:lnTo>
                  <a:lnTo>
                    <a:pt x="542" y="220"/>
                  </a:lnTo>
                  <a:lnTo>
                    <a:pt x="540" y="224"/>
                  </a:lnTo>
                  <a:lnTo>
                    <a:pt x="538" y="224"/>
                  </a:lnTo>
                  <a:lnTo>
                    <a:pt x="536" y="222"/>
                  </a:lnTo>
                  <a:lnTo>
                    <a:pt x="532" y="218"/>
                  </a:lnTo>
                  <a:lnTo>
                    <a:pt x="528" y="218"/>
                  </a:lnTo>
                  <a:lnTo>
                    <a:pt x="522" y="224"/>
                  </a:lnTo>
                  <a:lnTo>
                    <a:pt x="514" y="226"/>
                  </a:lnTo>
                  <a:lnTo>
                    <a:pt x="510" y="230"/>
                  </a:lnTo>
                  <a:lnTo>
                    <a:pt x="504" y="228"/>
                  </a:lnTo>
                  <a:lnTo>
                    <a:pt x="502" y="226"/>
                  </a:lnTo>
                  <a:lnTo>
                    <a:pt x="498" y="226"/>
                  </a:lnTo>
                  <a:lnTo>
                    <a:pt x="486" y="226"/>
                  </a:lnTo>
                  <a:lnTo>
                    <a:pt x="484" y="226"/>
                  </a:lnTo>
                  <a:lnTo>
                    <a:pt x="478" y="224"/>
                  </a:lnTo>
                  <a:lnTo>
                    <a:pt x="476" y="220"/>
                  </a:lnTo>
                  <a:lnTo>
                    <a:pt x="472" y="216"/>
                  </a:lnTo>
                  <a:lnTo>
                    <a:pt x="464" y="216"/>
                  </a:lnTo>
                  <a:lnTo>
                    <a:pt x="458" y="216"/>
                  </a:lnTo>
                  <a:lnTo>
                    <a:pt x="454" y="218"/>
                  </a:lnTo>
                  <a:lnTo>
                    <a:pt x="450" y="218"/>
                  </a:lnTo>
                  <a:lnTo>
                    <a:pt x="448" y="212"/>
                  </a:lnTo>
                  <a:lnTo>
                    <a:pt x="442" y="206"/>
                  </a:lnTo>
                  <a:lnTo>
                    <a:pt x="440" y="204"/>
                  </a:lnTo>
                  <a:lnTo>
                    <a:pt x="436" y="202"/>
                  </a:lnTo>
                  <a:lnTo>
                    <a:pt x="434" y="198"/>
                  </a:lnTo>
                  <a:lnTo>
                    <a:pt x="434" y="190"/>
                  </a:lnTo>
                  <a:lnTo>
                    <a:pt x="432" y="178"/>
                  </a:lnTo>
                  <a:lnTo>
                    <a:pt x="430" y="168"/>
                  </a:lnTo>
                  <a:lnTo>
                    <a:pt x="426" y="164"/>
                  </a:lnTo>
                  <a:lnTo>
                    <a:pt x="416" y="162"/>
                  </a:lnTo>
                  <a:lnTo>
                    <a:pt x="410" y="162"/>
                  </a:lnTo>
                  <a:lnTo>
                    <a:pt x="398" y="160"/>
                  </a:lnTo>
                  <a:lnTo>
                    <a:pt x="388" y="160"/>
                  </a:lnTo>
                  <a:lnTo>
                    <a:pt x="386" y="160"/>
                  </a:lnTo>
                  <a:lnTo>
                    <a:pt x="378" y="158"/>
                  </a:lnTo>
                  <a:lnTo>
                    <a:pt x="370" y="158"/>
                  </a:lnTo>
                  <a:lnTo>
                    <a:pt x="362" y="156"/>
                  </a:lnTo>
                  <a:lnTo>
                    <a:pt x="360" y="158"/>
                  </a:lnTo>
                  <a:lnTo>
                    <a:pt x="352" y="158"/>
                  </a:lnTo>
                  <a:lnTo>
                    <a:pt x="346" y="154"/>
                  </a:lnTo>
                  <a:lnTo>
                    <a:pt x="342" y="146"/>
                  </a:lnTo>
                  <a:lnTo>
                    <a:pt x="342" y="144"/>
                  </a:lnTo>
                  <a:lnTo>
                    <a:pt x="342" y="140"/>
                  </a:lnTo>
                  <a:lnTo>
                    <a:pt x="336" y="138"/>
                  </a:lnTo>
                  <a:lnTo>
                    <a:pt x="330" y="140"/>
                  </a:lnTo>
                  <a:lnTo>
                    <a:pt x="328" y="148"/>
                  </a:lnTo>
                  <a:lnTo>
                    <a:pt x="324" y="150"/>
                  </a:lnTo>
                  <a:lnTo>
                    <a:pt x="320" y="150"/>
                  </a:lnTo>
                  <a:lnTo>
                    <a:pt x="318" y="146"/>
                  </a:lnTo>
                  <a:lnTo>
                    <a:pt x="312" y="142"/>
                  </a:lnTo>
                  <a:lnTo>
                    <a:pt x="308" y="138"/>
                  </a:lnTo>
                  <a:lnTo>
                    <a:pt x="302" y="132"/>
                  </a:lnTo>
                  <a:lnTo>
                    <a:pt x="298" y="132"/>
                  </a:lnTo>
                  <a:lnTo>
                    <a:pt x="298" y="136"/>
                  </a:lnTo>
                  <a:lnTo>
                    <a:pt x="296" y="140"/>
                  </a:lnTo>
                  <a:lnTo>
                    <a:pt x="292" y="148"/>
                  </a:lnTo>
                  <a:lnTo>
                    <a:pt x="286" y="150"/>
                  </a:lnTo>
                  <a:lnTo>
                    <a:pt x="276" y="148"/>
                  </a:lnTo>
                  <a:lnTo>
                    <a:pt x="266" y="150"/>
                  </a:lnTo>
                  <a:lnTo>
                    <a:pt x="260" y="152"/>
                  </a:lnTo>
                  <a:lnTo>
                    <a:pt x="256" y="156"/>
                  </a:lnTo>
                  <a:lnTo>
                    <a:pt x="252" y="162"/>
                  </a:lnTo>
                  <a:lnTo>
                    <a:pt x="248" y="162"/>
                  </a:lnTo>
                  <a:lnTo>
                    <a:pt x="244" y="166"/>
                  </a:lnTo>
                  <a:lnTo>
                    <a:pt x="242" y="172"/>
                  </a:lnTo>
                  <a:lnTo>
                    <a:pt x="236" y="172"/>
                  </a:lnTo>
                  <a:lnTo>
                    <a:pt x="234" y="172"/>
                  </a:lnTo>
                  <a:lnTo>
                    <a:pt x="228" y="174"/>
                  </a:lnTo>
                  <a:lnTo>
                    <a:pt x="218" y="176"/>
                  </a:lnTo>
                  <a:lnTo>
                    <a:pt x="216" y="178"/>
                  </a:lnTo>
                  <a:lnTo>
                    <a:pt x="208" y="184"/>
                  </a:lnTo>
                  <a:lnTo>
                    <a:pt x="204" y="188"/>
                  </a:lnTo>
                  <a:lnTo>
                    <a:pt x="198" y="188"/>
                  </a:lnTo>
                  <a:lnTo>
                    <a:pt x="194" y="194"/>
                  </a:lnTo>
                  <a:lnTo>
                    <a:pt x="192" y="198"/>
                  </a:lnTo>
                  <a:lnTo>
                    <a:pt x="182" y="198"/>
                  </a:lnTo>
                  <a:lnTo>
                    <a:pt x="172" y="204"/>
                  </a:lnTo>
                  <a:lnTo>
                    <a:pt x="168" y="204"/>
                  </a:lnTo>
                  <a:lnTo>
                    <a:pt x="162" y="208"/>
                  </a:lnTo>
                  <a:lnTo>
                    <a:pt x="156" y="210"/>
                  </a:lnTo>
                  <a:lnTo>
                    <a:pt x="152" y="210"/>
                  </a:lnTo>
                  <a:lnTo>
                    <a:pt x="148" y="214"/>
                  </a:lnTo>
                  <a:lnTo>
                    <a:pt x="146" y="222"/>
                  </a:lnTo>
                  <a:lnTo>
                    <a:pt x="140" y="226"/>
                  </a:lnTo>
                  <a:lnTo>
                    <a:pt x="132" y="226"/>
                  </a:lnTo>
                  <a:lnTo>
                    <a:pt x="124" y="230"/>
                  </a:lnTo>
                  <a:lnTo>
                    <a:pt x="124" y="238"/>
                  </a:lnTo>
                  <a:lnTo>
                    <a:pt x="126" y="246"/>
                  </a:lnTo>
                  <a:lnTo>
                    <a:pt x="126" y="250"/>
                  </a:lnTo>
                  <a:lnTo>
                    <a:pt x="120" y="250"/>
                  </a:lnTo>
                  <a:lnTo>
                    <a:pt x="114" y="254"/>
                  </a:lnTo>
                  <a:lnTo>
                    <a:pt x="108" y="260"/>
                  </a:lnTo>
                  <a:lnTo>
                    <a:pt x="102" y="260"/>
                  </a:lnTo>
                  <a:lnTo>
                    <a:pt x="98" y="258"/>
                  </a:lnTo>
                  <a:lnTo>
                    <a:pt x="96" y="262"/>
                  </a:lnTo>
                  <a:lnTo>
                    <a:pt x="94" y="268"/>
                  </a:lnTo>
                  <a:lnTo>
                    <a:pt x="90" y="270"/>
                  </a:lnTo>
                  <a:lnTo>
                    <a:pt x="84" y="274"/>
                  </a:lnTo>
                  <a:lnTo>
                    <a:pt x="80" y="272"/>
                  </a:lnTo>
                  <a:lnTo>
                    <a:pt x="80" y="270"/>
                  </a:lnTo>
                  <a:lnTo>
                    <a:pt x="76" y="266"/>
                  </a:lnTo>
                  <a:lnTo>
                    <a:pt x="74" y="268"/>
                  </a:lnTo>
                  <a:lnTo>
                    <a:pt x="74" y="272"/>
                  </a:lnTo>
                  <a:lnTo>
                    <a:pt x="72" y="276"/>
                  </a:lnTo>
                  <a:lnTo>
                    <a:pt x="66" y="276"/>
                  </a:lnTo>
                  <a:lnTo>
                    <a:pt x="62" y="274"/>
                  </a:lnTo>
                  <a:lnTo>
                    <a:pt x="58" y="272"/>
                  </a:lnTo>
                  <a:lnTo>
                    <a:pt x="52" y="272"/>
                  </a:lnTo>
                  <a:lnTo>
                    <a:pt x="46" y="274"/>
                  </a:lnTo>
                  <a:lnTo>
                    <a:pt x="42" y="272"/>
                  </a:lnTo>
                  <a:lnTo>
                    <a:pt x="40" y="274"/>
                  </a:lnTo>
                  <a:lnTo>
                    <a:pt x="30" y="276"/>
                  </a:lnTo>
                  <a:lnTo>
                    <a:pt x="26" y="282"/>
                  </a:lnTo>
                  <a:lnTo>
                    <a:pt x="26" y="292"/>
                  </a:lnTo>
                  <a:lnTo>
                    <a:pt x="24" y="296"/>
                  </a:lnTo>
                  <a:lnTo>
                    <a:pt x="20" y="300"/>
                  </a:lnTo>
                  <a:lnTo>
                    <a:pt x="16" y="302"/>
                  </a:lnTo>
                  <a:lnTo>
                    <a:pt x="12" y="304"/>
                  </a:lnTo>
                  <a:lnTo>
                    <a:pt x="6" y="306"/>
                  </a:lnTo>
                  <a:lnTo>
                    <a:pt x="4" y="306"/>
                  </a:lnTo>
                  <a:lnTo>
                    <a:pt x="6" y="310"/>
                  </a:lnTo>
                  <a:lnTo>
                    <a:pt x="6" y="314"/>
                  </a:lnTo>
                  <a:lnTo>
                    <a:pt x="6" y="318"/>
                  </a:lnTo>
                  <a:lnTo>
                    <a:pt x="8" y="322"/>
                  </a:lnTo>
                  <a:lnTo>
                    <a:pt x="8" y="324"/>
                  </a:lnTo>
                  <a:lnTo>
                    <a:pt x="4" y="326"/>
                  </a:lnTo>
                  <a:lnTo>
                    <a:pt x="2" y="330"/>
                  </a:lnTo>
                  <a:lnTo>
                    <a:pt x="0" y="334"/>
                  </a:lnTo>
                  <a:lnTo>
                    <a:pt x="4" y="338"/>
                  </a:lnTo>
                  <a:lnTo>
                    <a:pt x="6" y="342"/>
                  </a:lnTo>
                  <a:lnTo>
                    <a:pt x="14" y="344"/>
                  </a:lnTo>
                  <a:lnTo>
                    <a:pt x="20" y="348"/>
                  </a:lnTo>
                  <a:lnTo>
                    <a:pt x="22" y="350"/>
                  </a:lnTo>
                  <a:lnTo>
                    <a:pt x="20" y="354"/>
                  </a:lnTo>
                  <a:lnTo>
                    <a:pt x="18" y="358"/>
                  </a:lnTo>
                  <a:lnTo>
                    <a:pt x="16" y="360"/>
                  </a:lnTo>
                  <a:lnTo>
                    <a:pt x="14" y="362"/>
                  </a:lnTo>
                  <a:lnTo>
                    <a:pt x="16" y="366"/>
                  </a:lnTo>
                  <a:lnTo>
                    <a:pt x="22" y="368"/>
                  </a:lnTo>
                  <a:lnTo>
                    <a:pt x="28" y="370"/>
                  </a:lnTo>
                  <a:lnTo>
                    <a:pt x="38" y="374"/>
                  </a:lnTo>
                  <a:lnTo>
                    <a:pt x="44" y="380"/>
                  </a:lnTo>
                  <a:lnTo>
                    <a:pt x="52" y="382"/>
                  </a:lnTo>
                  <a:lnTo>
                    <a:pt x="54" y="388"/>
                  </a:lnTo>
                  <a:lnTo>
                    <a:pt x="54" y="398"/>
                  </a:lnTo>
                  <a:lnTo>
                    <a:pt x="62" y="404"/>
                  </a:lnTo>
                  <a:lnTo>
                    <a:pt x="72" y="410"/>
                  </a:lnTo>
                  <a:lnTo>
                    <a:pt x="78" y="412"/>
                  </a:lnTo>
                  <a:lnTo>
                    <a:pt x="80" y="416"/>
                  </a:lnTo>
                  <a:lnTo>
                    <a:pt x="86" y="420"/>
                  </a:lnTo>
                  <a:lnTo>
                    <a:pt x="90" y="422"/>
                  </a:lnTo>
                  <a:lnTo>
                    <a:pt x="96" y="422"/>
                  </a:lnTo>
                  <a:lnTo>
                    <a:pt x="104" y="418"/>
                  </a:lnTo>
                  <a:lnTo>
                    <a:pt x="114" y="418"/>
                  </a:lnTo>
                  <a:lnTo>
                    <a:pt x="120" y="420"/>
                  </a:lnTo>
                  <a:lnTo>
                    <a:pt x="124" y="430"/>
                  </a:lnTo>
                  <a:lnTo>
                    <a:pt x="128" y="432"/>
                  </a:lnTo>
                  <a:lnTo>
                    <a:pt x="130" y="434"/>
                  </a:lnTo>
                  <a:lnTo>
                    <a:pt x="134" y="438"/>
                  </a:lnTo>
                  <a:lnTo>
                    <a:pt x="138" y="438"/>
                  </a:lnTo>
                  <a:lnTo>
                    <a:pt x="142" y="436"/>
                  </a:lnTo>
                  <a:lnTo>
                    <a:pt x="146" y="432"/>
                  </a:lnTo>
                  <a:lnTo>
                    <a:pt x="150" y="432"/>
                  </a:lnTo>
                  <a:lnTo>
                    <a:pt x="152" y="434"/>
                  </a:lnTo>
                  <a:lnTo>
                    <a:pt x="152" y="440"/>
                  </a:lnTo>
                  <a:lnTo>
                    <a:pt x="156" y="446"/>
                  </a:lnTo>
                  <a:lnTo>
                    <a:pt x="160" y="450"/>
                  </a:lnTo>
                  <a:lnTo>
                    <a:pt x="168" y="452"/>
                  </a:lnTo>
                  <a:lnTo>
                    <a:pt x="170" y="454"/>
                  </a:lnTo>
                  <a:lnTo>
                    <a:pt x="170" y="460"/>
                  </a:lnTo>
                  <a:lnTo>
                    <a:pt x="174" y="464"/>
                  </a:lnTo>
                  <a:lnTo>
                    <a:pt x="176" y="468"/>
                  </a:lnTo>
                  <a:lnTo>
                    <a:pt x="178" y="478"/>
                  </a:lnTo>
                  <a:lnTo>
                    <a:pt x="180" y="486"/>
                  </a:lnTo>
                  <a:lnTo>
                    <a:pt x="180" y="490"/>
                  </a:lnTo>
                  <a:lnTo>
                    <a:pt x="184" y="496"/>
                  </a:lnTo>
                  <a:lnTo>
                    <a:pt x="190" y="508"/>
                  </a:lnTo>
                  <a:lnTo>
                    <a:pt x="196" y="516"/>
                  </a:lnTo>
                  <a:lnTo>
                    <a:pt x="200" y="518"/>
                  </a:lnTo>
                  <a:lnTo>
                    <a:pt x="206" y="522"/>
                  </a:lnTo>
                  <a:lnTo>
                    <a:pt x="208" y="528"/>
                  </a:lnTo>
                  <a:lnTo>
                    <a:pt x="212" y="542"/>
                  </a:lnTo>
                  <a:lnTo>
                    <a:pt x="214" y="550"/>
                  </a:lnTo>
                  <a:lnTo>
                    <a:pt x="214" y="556"/>
                  </a:lnTo>
                  <a:lnTo>
                    <a:pt x="216" y="558"/>
                  </a:lnTo>
                  <a:lnTo>
                    <a:pt x="216" y="562"/>
                  </a:lnTo>
                  <a:lnTo>
                    <a:pt x="212" y="576"/>
                  </a:lnTo>
                  <a:lnTo>
                    <a:pt x="208" y="582"/>
                  </a:lnTo>
                  <a:lnTo>
                    <a:pt x="208" y="586"/>
                  </a:lnTo>
                  <a:lnTo>
                    <a:pt x="210" y="596"/>
                  </a:lnTo>
                  <a:lnTo>
                    <a:pt x="214" y="602"/>
                  </a:lnTo>
                  <a:lnTo>
                    <a:pt x="214" y="610"/>
                  </a:lnTo>
                  <a:lnTo>
                    <a:pt x="212" y="614"/>
                  </a:lnTo>
                  <a:lnTo>
                    <a:pt x="206" y="620"/>
                  </a:lnTo>
                  <a:lnTo>
                    <a:pt x="204" y="624"/>
                  </a:lnTo>
                  <a:lnTo>
                    <a:pt x="200" y="626"/>
                  </a:lnTo>
                  <a:lnTo>
                    <a:pt x="194" y="638"/>
                  </a:lnTo>
                  <a:lnTo>
                    <a:pt x="192" y="650"/>
                  </a:lnTo>
                  <a:lnTo>
                    <a:pt x="192" y="656"/>
                  </a:lnTo>
                  <a:lnTo>
                    <a:pt x="194" y="662"/>
                  </a:lnTo>
                  <a:lnTo>
                    <a:pt x="198" y="668"/>
                  </a:lnTo>
                  <a:lnTo>
                    <a:pt x="198" y="672"/>
                  </a:lnTo>
                  <a:lnTo>
                    <a:pt x="204" y="682"/>
                  </a:lnTo>
                  <a:lnTo>
                    <a:pt x="206" y="688"/>
                  </a:lnTo>
                  <a:lnTo>
                    <a:pt x="208" y="688"/>
                  </a:lnTo>
                  <a:lnTo>
                    <a:pt x="210" y="686"/>
                  </a:lnTo>
                  <a:lnTo>
                    <a:pt x="218" y="686"/>
                  </a:lnTo>
                  <a:lnTo>
                    <a:pt x="222" y="688"/>
                  </a:lnTo>
                  <a:lnTo>
                    <a:pt x="228" y="692"/>
                  </a:lnTo>
                  <a:lnTo>
                    <a:pt x="234" y="694"/>
                  </a:lnTo>
                  <a:lnTo>
                    <a:pt x="242" y="694"/>
                  </a:lnTo>
                  <a:lnTo>
                    <a:pt x="248" y="696"/>
                  </a:lnTo>
                  <a:lnTo>
                    <a:pt x="252" y="698"/>
                  </a:lnTo>
                  <a:lnTo>
                    <a:pt x="262" y="700"/>
                  </a:lnTo>
                  <a:lnTo>
                    <a:pt x="282" y="700"/>
                  </a:lnTo>
                  <a:lnTo>
                    <a:pt x="290" y="702"/>
                  </a:lnTo>
                  <a:lnTo>
                    <a:pt x="308" y="706"/>
                  </a:lnTo>
                  <a:lnTo>
                    <a:pt x="318" y="704"/>
                  </a:lnTo>
                  <a:lnTo>
                    <a:pt x="332" y="702"/>
                  </a:lnTo>
                  <a:lnTo>
                    <a:pt x="340" y="704"/>
                  </a:lnTo>
                  <a:lnTo>
                    <a:pt x="364" y="708"/>
                  </a:lnTo>
                  <a:lnTo>
                    <a:pt x="378" y="712"/>
                  </a:lnTo>
                  <a:lnTo>
                    <a:pt x="388" y="716"/>
                  </a:lnTo>
                  <a:lnTo>
                    <a:pt x="394" y="722"/>
                  </a:lnTo>
                  <a:lnTo>
                    <a:pt x="402" y="732"/>
                  </a:lnTo>
                  <a:lnTo>
                    <a:pt x="408" y="736"/>
                  </a:lnTo>
                  <a:lnTo>
                    <a:pt x="424" y="738"/>
                  </a:lnTo>
                  <a:lnTo>
                    <a:pt x="434" y="750"/>
                  </a:lnTo>
                  <a:lnTo>
                    <a:pt x="442" y="754"/>
                  </a:lnTo>
                  <a:lnTo>
                    <a:pt x="458" y="766"/>
                  </a:lnTo>
                  <a:lnTo>
                    <a:pt x="468" y="770"/>
                  </a:lnTo>
                  <a:lnTo>
                    <a:pt x="480" y="774"/>
                  </a:lnTo>
                  <a:lnTo>
                    <a:pt x="498" y="772"/>
                  </a:lnTo>
                  <a:lnTo>
                    <a:pt x="500" y="774"/>
                  </a:lnTo>
                  <a:lnTo>
                    <a:pt x="498" y="780"/>
                  </a:lnTo>
                  <a:lnTo>
                    <a:pt x="498" y="788"/>
                  </a:lnTo>
                  <a:lnTo>
                    <a:pt x="498" y="794"/>
                  </a:lnTo>
                  <a:lnTo>
                    <a:pt x="500" y="798"/>
                  </a:lnTo>
                  <a:lnTo>
                    <a:pt x="506" y="800"/>
                  </a:lnTo>
                  <a:lnTo>
                    <a:pt x="510" y="802"/>
                  </a:lnTo>
                  <a:lnTo>
                    <a:pt x="514" y="808"/>
                  </a:lnTo>
                  <a:lnTo>
                    <a:pt x="514" y="812"/>
                  </a:lnTo>
                  <a:lnTo>
                    <a:pt x="522" y="828"/>
                  </a:lnTo>
                  <a:lnTo>
                    <a:pt x="532" y="854"/>
                  </a:lnTo>
                  <a:lnTo>
                    <a:pt x="532" y="864"/>
                  </a:lnTo>
                  <a:lnTo>
                    <a:pt x="536" y="870"/>
                  </a:lnTo>
                  <a:lnTo>
                    <a:pt x="546" y="880"/>
                  </a:lnTo>
                  <a:lnTo>
                    <a:pt x="552" y="886"/>
                  </a:lnTo>
                  <a:lnTo>
                    <a:pt x="562" y="894"/>
                  </a:lnTo>
                  <a:lnTo>
                    <a:pt x="564" y="902"/>
                  </a:lnTo>
                  <a:lnTo>
                    <a:pt x="564" y="912"/>
                  </a:lnTo>
                  <a:lnTo>
                    <a:pt x="566" y="914"/>
                  </a:lnTo>
                  <a:lnTo>
                    <a:pt x="582" y="912"/>
                  </a:lnTo>
                  <a:lnTo>
                    <a:pt x="596" y="910"/>
                  </a:lnTo>
                  <a:lnTo>
                    <a:pt x="620" y="908"/>
                  </a:lnTo>
                  <a:lnTo>
                    <a:pt x="654" y="912"/>
                  </a:lnTo>
                  <a:lnTo>
                    <a:pt x="687" y="916"/>
                  </a:lnTo>
                  <a:lnTo>
                    <a:pt x="719" y="920"/>
                  </a:lnTo>
                  <a:lnTo>
                    <a:pt x="733" y="922"/>
                  </a:lnTo>
                  <a:lnTo>
                    <a:pt x="767" y="926"/>
                  </a:lnTo>
                  <a:lnTo>
                    <a:pt x="787" y="922"/>
                  </a:lnTo>
                  <a:lnTo>
                    <a:pt x="801" y="918"/>
                  </a:lnTo>
                  <a:lnTo>
                    <a:pt x="809" y="918"/>
                  </a:lnTo>
                  <a:lnTo>
                    <a:pt x="837" y="922"/>
                  </a:lnTo>
                  <a:lnTo>
                    <a:pt x="853" y="926"/>
                  </a:lnTo>
                  <a:lnTo>
                    <a:pt x="875" y="928"/>
                  </a:lnTo>
                  <a:lnTo>
                    <a:pt x="889" y="930"/>
                  </a:lnTo>
                  <a:lnTo>
                    <a:pt x="901" y="930"/>
                  </a:lnTo>
                  <a:lnTo>
                    <a:pt x="907" y="930"/>
                  </a:lnTo>
                  <a:lnTo>
                    <a:pt x="911" y="932"/>
                  </a:lnTo>
                  <a:lnTo>
                    <a:pt x="915" y="936"/>
                  </a:lnTo>
                  <a:lnTo>
                    <a:pt x="925" y="952"/>
                  </a:lnTo>
                  <a:lnTo>
                    <a:pt x="933" y="958"/>
                  </a:lnTo>
                  <a:lnTo>
                    <a:pt x="945" y="964"/>
                  </a:lnTo>
                  <a:lnTo>
                    <a:pt x="971" y="968"/>
                  </a:lnTo>
                  <a:lnTo>
                    <a:pt x="987" y="972"/>
                  </a:lnTo>
                  <a:lnTo>
                    <a:pt x="1005" y="976"/>
                  </a:lnTo>
                  <a:lnTo>
                    <a:pt x="1015" y="982"/>
                  </a:lnTo>
                  <a:lnTo>
                    <a:pt x="1029" y="990"/>
                  </a:lnTo>
                  <a:lnTo>
                    <a:pt x="1047" y="1000"/>
                  </a:lnTo>
                  <a:lnTo>
                    <a:pt x="1065" y="996"/>
                  </a:lnTo>
                  <a:lnTo>
                    <a:pt x="1085" y="990"/>
                  </a:lnTo>
                  <a:lnTo>
                    <a:pt x="1097" y="988"/>
                  </a:lnTo>
                  <a:lnTo>
                    <a:pt x="1097" y="1008"/>
                  </a:lnTo>
                  <a:lnTo>
                    <a:pt x="1115" y="1008"/>
                  </a:lnTo>
                  <a:lnTo>
                    <a:pt x="1121" y="1008"/>
                  </a:lnTo>
                  <a:lnTo>
                    <a:pt x="1129" y="1012"/>
                  </a:lnTo>
                  <a:lnTo>
                    <a:pt x="1133" y="1012"/>
                  </a:lnTo>
                  <a:lnTo>
                    <a:pt x="1139" y="1006"/>
                  </a:lnTo>
                  <a:lnTo>
                    <a:pt x="1143" y="1000"/>
                  </a:lnTo>
                  <a:lnTo>
                    <a:pt x="1151" y="998"/>
                  </a:lnTo>
                  <a:lnTo>
                    <a:pt x="1165" y="990"/>
                  </a:lnTo>
                  <a:lnTo>
                    <a:pt x="1187" y="978"/>
                  </a:lnTo>
                  <a:lnTo>
                    <a:pt x="1217" y="964"/>
                  </a:lnTo>
                  <a:lnTo>
                    <a:pt x="1231" y="958"/>
                  </a:lnTo>
                  <a:lnTo>
                    <a:pt x="1235" y="958"/>
                  </a:lnTo>
                  <a:lnTo>
                    <a:pt x="1241" y="954"/>
                  </a:lnTo>
                  <a:lnTo>
                    <a:pt x="1247" y="952"/>
                  </a:lnTo>
                  <a:lnTo>
                    <a:pt x="1255" y="950"/>
                  </a:lnTo>
                  <a:lnTo>
                    <a:pt x="1267" y="948"/>
                  </a:lnTo>
                  <a:lnTo>
                    <a:pt x="1281" y="946"/>
                  </a:lnTo>
                  <a:lnTo>
                    <a:pt x="1311" y="942"/>
                  </a:lnTo>
                  <a:lnTo>
                    <a:pt x="1315" y="942"/>
                  </a:lnTo>
                  <a:lnTo>
                    <a:pt x="1331" y="940"/>
                  </a:lnTo>
                  <a:lnTo>
                    <a:pt x="1339" y="938"/>
                  </a:lnTo>
                  <a:lnTo>
                    <a:pt x="1349" y="938"/>
                  </a:lnTo>
                  <a:lnTo>
                    <a:pt x="1363" y="940"/>
                  </a:lnTo>
                  <a:lnTo>
                    <a:pt x="1373" y="940"/>
                  </a:lnTo>
                  <a:lnTo>
                    <a:pt x="1385" y="940"/>
                  </a:lnTo>
                  <a:lnTo>
                    <a:pt x="1401" y="938"/>
                  </a:lnTo>
                  <a:lnTo>
                    <a:pt x="1415" y="938"/>
                  </a:lnTo>
                  <a:lnTo>
                    <a:pt x="1421" y="936"/>
                  </a:lnTo>
                  <a:lnTo>
                    <a:pt x="1431" y="932"/>
                  </a:lnTo>
                  <a:lnTo>
                    <a:pt x="1439" y="928"/>
                  </a:lnTo>
                  <a:lnTo>
                    <a:pt x="1449" y="924"/>
                  </a:lnTo>
                  <a:lnTo>
                    <a:pt x="1463" y="918"/>
                  </a:lnTo>
                  <a:lnTo>
                    <a:pt x="1471" y="914"/>
                  </a:lnTo>
                  <a:lnTo>
                    <a:pt x="1477" y="912"/>
                  </a:lnTo>
                  <a:lnTo>
                    <a:pt x="1485" y="908"/>
                  </a:lnTo>
                  <a:lnTo>
                    <a:pt x="1487" y="906"/>
                  </a:lnTo>
                  <a:lnTo>
                    <a:pt x="1489" y="902"/>
                  </a:lnTo>
                  <a:lnTo>
                    <a:pt x="1493" y="898"/>
                  </a:lnTo>
                  <a:lnTo>
                    <a:pt x="1499" y="890"/>
                  </a:lnTo>
                  <a:lnTo>
                    <a:pt x="1505" y="882"/>
                  </a:lnTo>
                  <a:lnTo>
                    <a:pt x="1507" y="878"/>
                  </a:lnTo>
                  <a:lnTo>
                    <a:pt x="1513" y="870"/>
                  </a:lnTo>
                  <a:lnTo>
                    <a:pt x="1519" y="866"/>
                  </a:lnTo>
                  <a:lnTo>
                    <a:pt x="1525" y="858"/>
                  </a:lnTo>
                  <a:lnTo>
                    <a:pt x="1529" y="856"/>
                  </a:lnTo>
                  <a:lnTo>
                    <a:pt x="1537" y="852"/>
                  </a:lnTo>
                  <a:lnTo>
                    <a:pt x="1553" y="846"/>
                  </a:lnTo>
                  <a:lnTo>
                    <a:pt x="1557" y="844"/>
                  </a:lnTo>
                  <a:lnTo>
                    <a:pt x="1559" y="844"/>
                  </a:lnTo>
                  <a:lnTo>
                    <a:pt x="1565" y="838"/>
                  </a:lnTo>
                  <a:lnTo>
                    <a:pt x="1571" y="832"/>
                  </a:lnTo>
                  <a:lnTo>
                    <a:pt x="1575" y="828"/>
                  </a:lnTo>
                  <a:lnTo>
                    <a:pt x="1581" y="826"/>
                  </a:lnTo>
                  <a:lnTo>
                    <a:pt x="1585" y="824"/>
                  </a:lnTo>
                  <a:lnTo>
                    <a:pt x="1585" y="820"/>
                  </a:lnTo>
                  <a:lnTo>
                    <a:pt x="1585" y="814"/>
                  </a:lnTo>
                  <a:lnTo>
                    <a:pt x="1581" y="808"/>
                  </a:lnTo>
                  <a:lnTo>
                    <a:pt x="1579" y="804"/>
                  </a:lnTo>
                  <a:lnTo>
                    <a:pt x="1569" y="794"/>
                  </a:lnTo>
                  <a:lnTo>
                    <a:pt x="1563" y="788"/>
                  </a:lnTo>
                  <a:lnTo>
                    <a:pt x="1557" y="780"/>
                  </a:lnTo>
                  <a:lnTo>
                    <a:pt x="1555" y="774"/>
                  </a:lnTo>
                  <a:lnTo>
                    <a:pt x="1553" y="768"/>
                  </a:lnTo>
                  <a:lnTo>
                    <a:pt x="1551" y="764"/>
                  </a:lnTo>
                  <a:lnTo>
                    <a:pt x="1551" y="760"/>
                  </a:lnTo>
                  <a:lnTo>
                    <a:pt x="1555" y="752"/>
                  </a:lnTo>
                  <a:lnTo>
                    <a:pt x="1557" y="746"/>
                  </a:lnTo>
                  <a:lnTo>
                    <a:pt x="1559" y="736"/>
                  </a:lnTo>
                  <a:lnTo>
                    <a:pt x="1565" y="722"/>
                  </a:lnTo>
                  <a:lnTo>
                    <a:pt x="1569" y="716"/>
                  </a:lnTo>
                  <a:lnTo>
                    <a:pt x="1573" y="708"/>
                  </a:lnTo>
                  <a:lnTo>
                    <a:pt x="1583" y="700"/>
                  </a:lnTo>
                  <a:lnTo>
                    <a:pt x="1591" y="698"/>
                  </a:lnTo>
                  <a:lnTo>
                    <a:pt x="1597" y="700"/>
                  </a:lnTo>
                  <a:lnTo>
                    <a:pt x="1609" y="700"/>
                  </a:lnTo>
                  <a:lnTo>
                    <a:pt x="1617" y="700"/>
                  </a:lnTo>
                  <a:lnTo>
                    <a:pt x="1623" y="704"/>
                  </a:lnTo>
                  <a:lnTo>
                    <a:pt x="1629" y="714"/>
                  </a:lnTo>
                  <a:lnTo>
                    <a:pt x="1635" y="716"/>
                  </a:lnTo>
                  <a:lnTo>
                    <a:pt x="1659" y="724"/>
                  </a:lnTo>
                  <a:lnTo>
                    <a:pt x="1667" y="726"/>
                  </a:lnTo>
                  <a:lnTo>
                    <a:pt x="1675" y="726"/>
                  </a:lnTo>
                  <a:lnTo>
                    <a:pt x="1685" y="728"/>
                  </a:lnTo>
                  <a:lnTo>
                    <a:pt x="1689" y="728"/>
                  </a:lnTo>
                  <a:lnTo>
                    <a:pt x="1693" y="730"/>
                  </a:lnTo>
                  <a:lnTo>
                    <a:pt x="1699" y="728"/>
                  </a:lnTo>
                  <a:lnTo>
                    <a:pt x="1705" y="722"/>
                  </a:lnTo>
                  <a:lnTo>
                    <a:pt x="1713" y="716"/>
                  </a:lnTo>
                  <a:lnTo>
                    <a:pt x="1717" y="714"/>
                  </a:lnTo>
                  <a:lnTo>
                    <a:pt x="1723" y="712"/>
                  </a:lnTo>
                  <a:lnTo>
                    <a:pt x="1725" y="708"/>
                  </a:lnTo>
                  <a:lnTo>
                    <a:pt x="1731" y="702"/>
                  </a:lnTo>
                  <a:lnTo>
                    <a:pt x="1739" y="696"/>
                  </a:lnTo>
                  <a:lnTo>
                    <a:pt x="1749" y="688"/>
                  </a:lnTo>
                  <a:lnTo>
                    <a:pt x="1753" y="680"/>
                  </a:lnTo>
                  <a:lnTo>
                    <a:pt x="1753" y="676"/>
                  </a:lnTo>
                  <a:lnTo>
                    <a:pt x="1755" y="672"/>
                  </a:lnTo>
                  <a:lnTo>
                    <a:pt x="1757" y="670"/>
                  </a:lnTo>
                  <a:lnTo>
                    <a:pt x="1763" y="668"/>
                  </a:lnTo>
                  <a:lnTo>
                    <a:pt x="1769" y="666"/>
                  </a:lnTo>
                  <a:lnTo>
                    <a:pt x="1781" y="670"/>
                  </a:lnTo>
                  <a:lnTo>
                    <a:pt x="1797" y="670"/>
                  </a:lnTo>
                  <a:lnTo>
                    <a:pt x="1801" y="670"/>
                  </a:lnTo>
                  <a:lnTo>
                    <a:pt x="1815" y="666"/>
                  </a:lnTo>
                  <a:lnTo>
                    <a:pt x="1821" y="666"/>
                  </a:lnTo>
                  <a:lnTo>
                    <a:pt x="1831" y="664"/>
                  </a:lnTo>
                  <a:lnTo>
                    <a:pt x="1837" y="656"/>
                  </a:lnTo>
                  <a:lnTo>
                    <a:pt x="1847" y="648"/>
                  </a:lnTo>
                  <a:lnTo>
                    <a:pt x="1855" y="642"/>
                  </a:lnTo>
                  <a:lnTo>
                    <a:pt x="1859" y="642"/>
                  </a:lnTo>
                  <a:lnTo>
                    <a:pt x="1865" y="636"/>
                  </a:lnTo>
                  <a:lnTo>
                    <a:pt x="1867" y="632"/>
                  </a:lnTo>
                  <a:lnTo>
                    <a:pt x="1867" y="628"/>
                  </a:lnTo>
                  <a:lnTo>
                    <a:pt x="1865" y="622"/>
                  </a:lnTo>
                  <a:lnTo>
                    <a:pt x="1869" y="616"/>
                  </a:lnTo>
                  <a:lnTo>
                    <a:pt x="1875" y="604"/>
                  </a:lnTo>
                  <a:lnTo>
                    <a:pt x="1881" y="598"/>
                  </a:lnTo>
                  <a:lnTo>
                    <a:pt x="1885" y="592"/>
                  </a:lnTo>
                  <a:lnTo>
                    <a:pt x="1889" y="586"/>
                  </a:lnTo>
                  <a:lnTo>
                    <a:pt x="1893" y="582"/>
                  </a:lnTo>
                  <a:lnTo>
                    <a:pt x="1897" y="582"/>
                  </a:lnTo>
                  <a:lnTo>
                    <a:pt x="1903" y="576"/>
                  </a:lnTo>
                  <a:lnTo>
                    <a:pt x="1909" y="576"/>
                  </a:lnTo>
                  <a:lnTo>
                    <a:pt x="1915" y="578"/>
                  </a:lnTo>
                  <a:lnTo>
                    <a:pt x="1927" y="578"/>
                  </a:lnTo>
                  <a:lnTo>
                    <a:pt x="1935" y="580"/>
                  </a:lnTo>
                  <a:lnTo>
                    <a:pt x="1939" y="578"/>
                  </a:lnTo>
                  <a:lnTo>
                    <a:pt x="1941" y="576"/>
                  </a:lnTo>
                  <a:lnTo>
                    <a:pt x="1941" y="572"/>
                  </a:lnTo>
                  <a:lnTo>
                    <a:pt x="1943" y="562"/>
                  </a:lnTo>
                  <a:lnTo>
                    <a:pt x="1943" y="558"/>
                  </a:lnTo>
                  <a:lnTo>
                    <a:pt x="1947" y="556"/>
                  </a:lnTo>
                  <a:lnTo>
                    <a:pt x="1953" y="556"/>
                  </a:lnTo>
                  <a:lnTo>
                    <a:pt x="1957" y="560"/>
                  </a:lnTo>
                  <a:lnTo>
                    <a:pt x="1961" y="562"/>
                  </a:lnTo>
                  <a:lnTo>
                    <a:pt x="1965" y="564"/>
                  </a:lnTo>
                  <a:lnTo>
                    <a:pt x="1971" y="562"/>
                  </a:lnTo>
                  <a:lnTo>
                    <a:pt x="1977" y="554"/>
                  </a:lnTo>
                  <a:lnTo>
                    <a:pt x="1987" y="550"/>
                  </a:lnTo>
                  <a:lnTo>
                    <a:pt x="1993" y="548"/>
                  </a:lnTo>
                  <a:lnTo>
                    <a:pt x="2003" y="544"/>
                  </a:lnTo>
                  <a:lnTo>
                    <a:pt x="2009" y="546"/>
                  </a:lnTo>
                  <a:lnTo>
                    <a:pt x="2021" y="546"/>
                  </a:lnTo>
                  <a:lnTo>
                    <a:pt x="2025" y="546"/>
                  </a:lnTo>
                  <a:lnTo>
                    <a:pt x="2031" y="546"/>
                  </a:lnTo>
                  <a:lnTo>
                    <a:pt x="2035" y="542"/>
                  </a:lnTo>
                  <a:lnTo>
                    <a:pt x="2039" y="540"/>
                  </a:lnTo>
                  <a:lnTo>
                    <a:pt x="2045" y="542"/>
                  </a:lnTo>
                  <a:lnTo>
                    <a:pt x="2051" y="546"/>
                  </a:lnTo>
                  <a:lnTo>
                    <a:pt x="2059" y="552"/>
                  </a:lnTo>
                  <a:lnTo>
                    <a:pt x="2071" y="554"/>
                  </a:lnTo>
                  <a:lnTo>
                    <a:pt x="2079" y="552"/>
                  </a:lnTo>
                  <a:lnTo>
                    <a:pt x="2089" y="556"/>
                  </a:lnTo>
                  <a:lnTo>
                    <a:pt x="2095" y="554"/>
                  </a:lnTo>
                  <a:lnTo>
                    <a:pt x="2097" y="552"/>
                  </a:lnTo>
                  <a:lnTo>
                    <a:pt x="2105" y="548"/>
                  </a:lnTo>
                  <a:lnTo>
                    <a:pt x="2107" y="542"/>
                  </a:lnTo>
                  <a:lnTo>
                    <a:pt x="2107" y="538"/>
                  </a:lnTo>
                  <a:lnTo>
                    <a:pt x="2107" y="530"/>
                  </a:lnTo>
                  <a:lnTo>
                    <a:pt x="2105" y="526"/>
                  </a:lnTo>
                  <a:lnTo>
                    <a:pt x="2099" y="520"/>
                  </a:lnTo>
                  <a:lnTo>
                    <a:pt x="2099" y="514"/>
                  </a:lnTo>
                  <a:lnTo>
                    <a:pt x="2097" y="508"/>
                  </a:lnTo>
                  <a:lnTo>
                    <a:pt x="2095" y="502"/>
                  </a:lnTo>
                  <a:lnTo>
                    <a:pt x="2087" y="496"/>
                  </a:lnTo>
                  <a:lnTo>
                    <a:pt x="2083" y="492"/>
                  </a:lnTo>
                  <a:lnTo>
                    <a:pt x="2073" y="480"/>
                  </a:lnTo>
                  <a:lnTo>
                    <a:pt x="2069" y="478"/>
                  </a:lnTo>
                  <a:lnTo>
                    <a:pt x="2069" y="476"/>
                  </a:lnTo>
                  <a:lnTo>
                    <a:pt x="2067" y="472"/>
                  </a:lnTo>
                  <a:lnTo>
                    <a:pt x="2063" y="470"/>
                  </a:lnTo>
                  <a:lnTo>
                    <a:pt x="2059" y="466"/>
                  </a:lnTo>
                  <a:lnTo>
                    <a:pt x="2057" y="464"/>
                  </a:lnTo>
                  <a:lnTo>
                    <a:pt x="2055" y="458"/>
                  </a:lnTo>
                  <a:lnTo>
                    <a:pt x="2053" y="454"/>
                  </a:lnTo>
                  <a:lnTo>
                    <a:pt x="2049" y="450"/>
                  </a:lnTo>
                  <a:lnTo>
                    <a:pt x="2045" y="450"/>
                  </a:lnTo>
                  <a:lnTo>
                    <a:pt x="2041" y="448"/>
                  </a:lnTo>
                  <a:lnTo>
                    <a:pt x="2033" y="444"/>
                  </a:lnTo>
                  <a:lnTo>
                    <a:pt x="2029" y="438"/>
                  </a:lnTo>
                  <a:lnTo>
                    <a:pt x="2021" y="426"/>
                  </a:lnTo>
                  <a:lnTo>
                    <a:pt x="2015" y="422"/>
                  </a:lnTo>
                  <a:lnTo>
                    <a:pt x="1999" y="420"/>
                  </a:lnTo>
                  <a:lnTo>
                    <a:pt x="1993" y="418"/>
                  </a:lnTo>
                  <a:lnTo>
                    <a:pt x="1985" y="418"/>
                  </a:lnTo>
                  <a:lnTo>
                    <a:pt x="1981" y="420"/>
                  </a:lnTo>
                  <a:lnTo>
                    <a:pt x="1973" y="420"/>
                  </a:lnTo>
                  <a:lnTo>
                    <a:pt x="1967" y="422"/>
                  </a:lnTo>
                  <a:lnTo>
                    <a:pt x="1961" y="430"/>
                  </a:lnTo>
                  <a:lnTo>
                    <a:pt x="1953" y="440"/>
                  </a:lnTo>
                  <a:lnTo>
                    <a:pt x="1947" y="446"/>
                  </a:lnTo>
                  <a:lnTo>
                    <a:pt x="1943" y="452"/>
                  </a:lnTo>
                  <a:lnTo>
                    <a:pt x="1941" y="454"/>
                  </a:lnTo>
                  <a:lnTo>
                    <a:pt x="1935" y="452"/>
                  </a:lnTo>
                  <a:lnTo>
                    <a:pt x="1931" y="446"/>
                  </a:lnTo>
                  <a:lnTo>
                    <a:pt x="1921" y="440"/>
                  </a:lnTo>
                  <a:lnTo>
                    <a:pt x="1915" y="436"/>
                  </a:lnTo>
                  <a:lnTo>
                    <a:pt x="1911" y="434"/>
                  </a:lnTo>
                  <a:lnTo>
                    <a:pt x="1901" y="432"/>
                  </a:lnTo>
                  <a:lnTo>
                    <a:pt x="1895" y="434"/>
                  </a:lnTo>
                  <a:lnTo>
                    <a:pt x="1885" y="436"/>
                  </a:lnTo>
                  <a:lnTo>
                    <a:pt x="1877" y="436"/>
                  </a:lnTo>
                  <a:lnTo>
                    <a:pt x="1873" y="434"/>
                  </a:lnTo>
                  <a:lnTo>
                    <a:pt x="1867" y="434"/>
                  </a:lnTo>
                  <a:lnTo>
                    <a:pt x="1857" y="440"/>
                  </a:lnTo>
                  <a:lnTo>
                    <a:pt x="1851" y="448"/>
                  </a:lnTo>
                  <a:lnTo>
                    <a:pt x="1845" y="450"/>
                  </a:lnTo>
                  <a:lnTo>
                    <a:pt x="1839" y="446"/>
                  </a:lnTo>
                  <a:lnTo>
                    <a:pt x="1833" y="440"/>
                  </a:lnTo>
                  <a:lnTo>
                    <a:pt x="1827" y="432"/>
                  </a:lnTo>
                  <a:lnTo>
                    <a:pt x="1823" y="426"/>
                  </a:lnTo>
                  <a:lnTo>
                    <a:pt x="1821" y="408"/>
                  </a:lnTo>
                  <a:lnTo>
                    <a:pt x="1829" y="402"/>
                  </a:lnTo>
                  <a:lnTo>
                    <a:pt x="1837" y="396"/>
                  </a:lnTo>
                  <a:lnTo>
                    <a:pt x="1839" y="386"/>
                  </a:lnTo>
                  <a:lnTo>
                    <a:pt x="1837" y="376"/>
                  </a:lnTo>
                  <a:lnTo>
                    <a:pt x="1841" y="364"/>
                  </a:lnTo>
                  <a:lnTo>
                    <a:pt x="1849" y="352"/>
                  </a:lnTo>
                  <a:lnTo>
                    <a:pt x="1853" y="342"/>
                  </a:lnTo>
                  <a:lnTo>
                    <a:pt x="1853" y="338"/>
                  </a:lnTo>
                  <a:lnTo>
                    <a:pt x="1859" y="328"/>
                  </a:lnTo>
                  <a:lnTo>
                    <a:pt x="1863" y="318"/>
                  </a:lnTo>
                  <a:lnTo>
                    <a:pt x="1867" y="304"/>
                  </a:lnTo>
                  <a:lnTo>
                    <a:pt x="1877" y="280"/>
                  </a:lnTo>
                  <a:lnTo>
                    <a:pt x="1891" y="252"/>
                  </a:lnTo>
                  <a:lnTo>
                    <a:pt x="1897" y="23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7" name="Freeform 5763">
              <a:extLst>
                <a:ext uri="{FF2B5EF4-FFF2-40B4-BE49-F238E27FC236}">
                  <a16:creationId xmlns:a16="http://schemas.microsoft.com/office/drawing/2014/main" id="{056F7C88-64DF-4506-9904-E93BB9383636}"/>
                </a:ext>
              </a:extLst>
            </p:cNvPr>
            <p:cNvSpPr/>
            <p:nvPr/>
          </p:nvSpPr>
          <p:spPr bwMode="auto">
            <a:xfrm>
              <a:off x="7515495" y="3861491"/>
              <a:ext cx="812119" cy="390064"/>
            </a:xfrm>
            <a:custGeom>
              <a:avLst/>
              <a:gdLst>
                <a:gd name="T0" fmla="*/ 1811 w 2107"/>
                <a:gd name="T1" fmla="*/ 230 h 1012"/>
                <a:gd name="T2" fmla="*/ 1713 w 2107"/>
                <a:gd name="T3" fmla="*/ 210 h 1012"/>
                <a:gd name="T4" fmla="*/ 1595 w 2107"/>
                <a:gd name="T5" fmla="*/ 278 h 1012"/>
                <a:gd name="T6" fmla="*/ 1493 w 2107"/>
                <a:gd name="T7" fmla="*/ 302 h 1012"/>
                <a:gd name="T8" fmla="*/ 1353 w 2107"/>
                <a:gd name="T9" fmla="*/ 282 h 1012"/>
                <a:gd name="T10" fmla="*/ 1303 w 2107"/>
                <a:gd name="T11" fmla="*/ 222 h 1012"/>
                <a:gd name="T12" fmla="*/ 1195 w 2107"/>
                <a:gd name="T13" fmla="*/ 182 h 1012"/>
                <a:gd name="T14" fmla="*/ 1089 w 2107"/>
                <a:gd name="T15" fmla="*/ 192 h 1012"/>
                <a:gd name="T16" fmla="*/ 1015 w 2107"/>
                <a:gd name="T17" fmla="*/ 194 h 1012"/>
                <a:gd name="T18" fmla="*/ 953 w 2107"/>
                <a:gd name="T19" fmla="*/ 152 h 1012"/>
                <a:gd name="T20" fmla="*/ 941 w 2107"/>
                <a:gd name="T21" fmla="*/ 80 h 1012"/>
                <a:gd name="T22" fmla="*/ 833 w 2107"/>
                <a:gd name="T23" fmla="*/ 40 h 1012"/>
                <a:gd name="T24" fmla="*/ 735 w 2107"/>
                <a:gd name="T25" fmla="*/ 2 h 1012"/>
                <a:gd name="T26" fmla="*/ 676 w 2107"/>
                <a:gd name="T27" fmla="*/ 70 h 1012"/>
                <a:gd name="T28" fmla="*/ 670 w 2107"/>
                <a:gd name="T29" fmla="*/ 136 h 1012"/>
                <a:gd name="T30" fmla="*/ 683 w 2107"/>
                <a:gd name="T31" fmla="*/ 202 h 1012"/>
                <a:gd name="T32" fmla="*/ 630 w 2107"/>
                <a:gd name="T33" fmla="*/ 246 h 1012"/>
                <a:gd name="T34" fmla="*/ 566 w 2107"/>
                <a:gd name="T35" fmla="*/ 230 h 1012"/>
                <a:gd name="T36" fmla="*/ 514 w 2107"/>
                <a:gd name="T37" fmla="*/ 226 h 1012"/>
                <a:gd name="T38" fmla="*/ 454 w 2107"/>
                <a:gd name="T39" fmla="*/ 218 h 1012"/>
                <a:gd name="T40" fmla="*/ 410 w 2107"/>
                <a:gd name="T41" fmla="*/ 162 h 1012"/>
                <a:gd name="T42" fmla="*/ 342 w 2107"/>
                <a:gd name="T43" fmla="*/ 140 h 1012"/>
                <a:gd name="T44" fmla="*/ 296 w 2107"/>
                <a:gd name="T45" fmla="*/ 140 h 1012"/>
                <a:gd name="T46" fmla="*/ 234 w 2107"/>
                <a:gd name="T47" fmla="*/ 172 h 1012"/>
                <a:gd name="T48" fmla="*/ 162 w 2107"/>
                <a:gd name="T49" fmla="*/ 208 h 1012"/>
                <a:gd name="T50" fmla="*/ 114 w 2107"/>
                <a:gd name="T51" fmla="*/ 254 h 1012"/>
                <a:gd name="T52" fmla="*/ 74 w 2107"/>
                <a:gd name="T53" fmla="*/ 272 h 1012"/>
                <a:gd name="T54" fmla="*/ 24 w 2107"/>
                <a:gd name="T55" fmla="*/ 296 h 1012"/>
                <a:gd name="T56" fmla="*/ 2 w 2107"/>
                <a:gd name="T57" fmla="*/ 330 h 1012"/>
                <a:gd name="T58" fmla="*/ 22 w 2107"/>
                <a:gd name="T59" fmla="*/ 368 h 1012"/>
                <a:gd name="T60" fmla="*/ 90 w 2107"/>
                <a:gd name="T61" fmla="*/ 422 h 1012"/>
                <a:gd name="T62" fmla="*/ 150 w 2107"/>
                <a:gd name="T63" fmla="*/ 432 h 1012"/>
                <a:gd name="T64" fmla="*/ 180 w 2107"/>
                <a:gd name="T65" fmla="*/ 490 h 1012"/>
                <a:gd name="T66" fmla="*/ 212 w 2107"/>
                <a:gd name="T67" fmla="*/ 576 h 1012"/>
                <a:gd name="T68" fmla="*/ 192 w 2107"/>
                <a:gd name="T69" fmla="*/ 656 h 1012"/>
                <a:gd name="T70" fmla="*/ 242 w 2107"/>
                <a:gd name="T71" fmla="*/ 694 h 1012"/>
                <a:gd name="T72" fmla="*/ 388 w 2107"/>
                <a:gd name="T73" fmla="*/ 716 h 1012"/>
                <a:gd name="T74" fmla="*/ 498 w 2107"/>
                <a:gd name="T75" fmla="*/ 780 h 1012"/>
                <a:gd name="T76" fmla="*/ 546 w 2107"/>
                <a:gd name="T77" fmla="*/ 880 h 1012"/>
                <a:gd name="T78" fmla="*/ 733 w 2107"/>
                <a:gd name="T79" fmla="*/ 922 h 1012"/>
                <a:gd name="T80" fmla="*/ 915 w 2107"/>
                <a:gd name="T81" fmla="*/ 936 h 1012"/>
                <a:gd name="T82" fmla="*/ 1097 w 2107"/>
                <a:gd name="T83" fmla="*/ 988 h 1012"/>
                <a:gd name="T84" fmla="*/ 1231 w 2107"/>
                <a:gd name="T85" fmla="*/ 958 h 1012"/>
                <a:gd name="T86" fmla="*/ 1363 w 2107"/>
                <a:gd name="T87" fmla="*/ 940 h 1012"/>
                <a:gd name="T88" fmla="*/ 1485 w 2107"/>
                <a:gd name="T89" fmla="*/ 908 h 1012"/>
                <a:gd name="T90" fmla="*/ 1553 w 2107"/>
                <a:gd name="T91" fmla="*/ 846 h 1012"/>
                <a:gd name="T92" fmla="*/ 1569 w 2107"/>
                <a:gd name="T93" fmla="*/ 794 h 1012"/>
                <a:gd name="T94" fmla="*/ 1573 w 2107"/>
                <a:gd name="T95" fmla="*/ 708 h 1012"/>
                <a:gd name="T96" fmla="*/ 1685 w 2107"/>
                <a:gd name="T97" fmla="*/ 728 h 1012"/>
                <a:gd name="T98" fmla="*/ 1753 w 2107"/>
                <a:gd name="T99" fmla="*/ 680 h 1012"/>
                <a:gd name="T100" fmla="*/ 1837 w 2107"/>
                <a:gd name="T101" fmla="*/ 656 h 1012"/>
                <a:gd name="T102" fmla="*/ 1889 w 2107"/>
                <a:gd name="T103" fmla="*/ 586 h 1012"/>
                <a:gd name="T104" fmla="*/ 1943 w 2107"/>
                <a:gd name="T105" fmla="*/ 558 h 1012"/>
                <a:gd name="T106" fmla="*/ 2021 w 2107"/>
                <a:gd name="T107" fmla="*/ 546 h 1012"/>
                <a:gd name="T108" fmla="*/ 2097 w 2107"/>
                <a:gd name="T109" fmla="*/ 552 h 1012"/>
                <a:gd name="T110" fmla="*/ 2073 w 2107"/>
                <a:gd name="T111" fmla="*/ 480 h 1012"/>
                <a:gd name="T112" fmla="*/ 2033 w 2107"/>
                <a:gd name="T113" fmla="*/ 444 h 1012"/>
                <a:gd name="T114" fmla="*/ 1947 w 2107"/>
                <a:gd name="T115" fmla="*/ 446 h 1012"/>
                <a:gd name="T116" fmla="*/ 1873 w 2107"/>
                <a:gd name="T117" fmla="*/ 434 h 1012"/>
                <a:gd name="T118" fmla="*/ 1839 w 2107"/>
                <a:gd name="T119" fmla="*/ 386 h 1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07" h="1012">
                  <a:moveTo>
                    <a:pt x="1897" y="238"/>
                  </a:moveTo>
                  <a:lnTo>
                    <a:pt x="1893" y="232"/>
                  </a:lnTo>
                  <a:lnTo>
                    <a:pt x="1887" y="228"/>
                  </a:lnTo>
                  <a:lnTo>
                    <a:pt x="1875" y="222"/>
                  </a:lnTo>
                  <a:lnTo>
                    <a:pt x="1865" y="220"/>
                  </a:lnTo>
                  <a:lnTo>
                    <a:pt x="1861" y="220"/>
                  </a:lnTo>
                  <a:lnTo>
                    <a:pt x="1847" y="226"/>
                  </a:lnTo>
                  <a:lnTo>
                    <a:pt x="1839" y="230"/>
                  </a:lnTo>
                  <a:lnTo>
                    <a:pt x="1833" y="232"/>
                  </a:lnTo>
                  <a:lnTo>
                    <a:pt x="1825" y="232"/>
                  </a:lnTo>
                  <a:lnTo>
                    <a:pt x="1815" y="230"/>
                  </a:lnTo>
                  <a:lnTo>
                    <a:pt x="1811" y="230"/>
                  </a:lnTo>
                  <a:lnTo>
                    <a:pt x="1805" y="226"/>
                  </a:lnTo>
                  <a:lnTo>
                    <a:pt x="1793" y="214"/>
                  </a:lnTo>
                  <a:lnTo>
                    <a:pt x="1787" y="206"/>
                  </a:lnTo>
                  <a:lnTo>
                    <a:pt x="1779" y="202"/>
                  </a:lnTo>
                  <a:lnTo>
                    <a:pt x="1769" y="196"/>
                  </a:lnTo>
                  <a:lnTo>
                    <a:pt x="1765" y="196"/>
                  </a:lnTo>
                  <a:lnTo>
                    <a:pt x="1757" y="196"/>
                  </a:lnTo>
                  <a:lnTo>
                    <a:pt x="1745" y="194"/>
                  </a:lnTo>
                  <a:lnTo>
                    <a:pt x="1739" y="192"/>
                  </a:lnTo>
                  <a:lnTo>
                    <a:pt x="1735" y="194"/>
                  </a:lnTo>
                  <a:lnTo>
                    <a:pt x="1725" y="200"/>
                  </a:lnTo>
                  <a:lnTo>
                    <a:pt x="1713" y="210"/>
                  </a:lnTo>
                  <a:lnTo>
                    <a:pt x="1703" y="214"/>
                  </a:lnTo>
                  <a:lnTo>
                    <a:pt x="1693" y="220"/>
                  </a:lnTo>
                  <a:lnTo>
                    <a:pt x="1677" y="234"/>
                  </a:lnTo>
                  <a:lnTo>
                    <a:pt x="1665" y="240"/>
                  </a:lnTo>
                  <a:lnTo>
                    <a:pt x="1661" y="252"/>
                  </a:lnTo>
                  <a:lnTo>
                    <a:pt x="1659" y="260"/>
                  </a:lnTo>
                  <a:lnTo>
                    <a:pt x="1649" y="264"/>
                  </a:lnTo>
                  <a:lnTo>
                    <a:pt x="1643" y="268"/>
                  </a:lnTo>
                  <a:lnTo>
                    <a:pt x="1635" y="270"/>
                  </a:lnTo>
                  <a:lnTo>
                    <a:pt x="1621" y="268"/>
                  </a:lnTo>
                  <a:lnTo>
                    <a:pt x="1615" y="270"/>
                  </a:lnTo>
                  <a:lnTo>
                    <a:pt x="1595" y="278"/>
                  </a:lnTo>
                  <a:lnTo>
                    <a:pt x="1585" y="280"/>
                  </a:lnTo>
                  <a:lnTo>
                    <a:pt x="1579" y="280"/>
                  </a:lnTo>
                  <a:lnTo>
                    <a:pt x="1573" y="282"/>
                  </a:lnTo>
                  <a:lnTo>
                    <a:pt x="1561" y="284"/>
                  </a:lnTo>
                  <a:lnTo>
                    <a:pt x="1557" y="284"/>
                  </a:lnTo>
                  <a:lnTo>
                    <a:pt x="1553" y="286"/>
                  </a:lnTo>
                  <a:lnTo>
                    <a:pt x="1547" y="286"/>
                  </a:lnTo>
                  <a:lnTo>
                    <a:pt x="1537" y="290"/>
                  </a:lnTo>
                  <a:lnTo>
                    <a:pt x="1513" y="304"/>
                  </a:lnTo>
                  <a:lnTo>
                    <a:pt x="1505" y="306"/>
                  </a:lnTo>
                  <a:lnTo>
                    <a:pt x="1499" y="308"/>
                  </a:lnTo>
                  <a:lnTo>
                    <a:pt x="1493" y="302"/>
                  </a:lnTo>
                  <a:lnTo>
                    <a:pt x="1487" y="300"/>
                  </a:lnTo>
                  <a:lnTo>
                    <a:pt x="1479" y="300"/>
                  </a:lnTo>
                  <a:lnTo>
                    <a:pt x="1471" y="304"/>
                  </a:lnTo>
                  <a:lnTo>
                    <a:pt x="1457" y="300"/>
                  </a:lnTo>
                  <a:lnTo>
                    <a:pt x="1441" y="298"/>
                  </a:lnTo>
                  <a:lnTo>
                    <a:pt x="1427" y="294"/>
                  </a:lnTo>
                  <a:lnTo>
                    <a:pt x="1423" y="292"/>
                  </a:lnTo>
                  <a:lnTo>
                    <a:pt x="1409" y="288"/>
                  </a:lnTo>
                  <a:lnTo>
                    <a:pt x="1375" y="288"/>
                  </a:lnTo>
                  <a:lnTo>
                    <a:pt x="1367" y="288"/>
                  </a:lnTo>
                  <a:lnTo>
                    <a:pt x="1361" y="286"/>
                  </a:lnTo>
                  <a:lnTo>
                    <a:pt x="1353" y="282"/>
                  </a:lnTo>
                  <a:lnTo>
                    <a:pt x="1341" y="268"/>
                  </a:lnTo>
                  <a:lnTo>
                    <a:pt x="1333" y="264"/>
                  </a:lnTo>
                  <a:lnTo>
                    <a:pt x="1329" y="262"/>
                  </a:lnTo>
                  <a:lnTo>
                    <a:pt x="1327" y="256"/>
                  </a:lnTo>
                  <a:lnTo>
                    <a:pt x="1325" y="256"/>
                  </a:lnTo>
                  <a:lnTo>
                    <a:pt x="1323" y="252"/>
                  </a:lnTo>
                  <a:lnTo>
                    <a:pt x="1323" y="246"/>
                  </a:lnTo>
                  <a:lnTo>
                    <a:pt x="1323" y="236"/>
                  </a:lnTo>
                  <a:lnTo>
                    <a:pt x="1323" y="228"/>
                  </a:lnTo>
                  <a:lnTo>
                    <a:pt x="1321" y="226"/>
                  </a:lnTo>
                  <a:lnTo>
                    <a:pt x="1313" y="224"/>
                  </a:lnTo>
                  <a:lnTo>
                    <a:pt x="1303" y="222"/>
                  </a:lnTo>
                  <a:lnTo>
                    <a:pt x="1285" y="222"/>
                  </a:lnTo>
                  <a:lnTo>
                    <a:pt x="1277" y="222"/>
                  </a:lnTo>
                  <a:lnTo>
                    <a:pt x="1271" y="216"/>
                  </a:lnTo>
                  <a:lnTo>
                    <a:pt x="1265" y="212"/>
                  </a:lnTo>
                  <a:lnTo>
                    <a:pt x="1257" y="200"/>
                  </a:lnTo>
                  <a:lnTo>
                    <a:pt x="1253" y="194"/>
                  </a:lnTo>
                  <a:lnTo>
                    <a:pt x="1243" y="188"/>
                  </a:lnTo>
                  <a:lnTo>
                    <a:pt x="1233" y="186"/>
                  </a:lnTo>
                  <a:lnTo>
                    <a:pt x="1221" y="188"/>
                  </a:lnTo>
                  <a:lnTo>
                    <a:pt x="1211" y="188"/>
                  </a:lnTo>
                  <a:lnTo>
                    <a:pt x="1201" y="186"/>
                  </a:lnTo>
                  <a:lnTo>
                    <a:pt x="1195" y="182"/>
                  </a:lnTo>
                  <a:lnTo>
                    <a:pt x="1187" y="178"/>
                  </a:lnTo>
                  <a:lnTo>
                    <a:pt x="1177" y="178"/>
                  </a:lnTo>
                  <a:lnTo>
                    <a:pt x="1167" y="176"/>
                  </a:lnTo>
                  <a:lnTo>
                    <a:pt x="1155" y="172"/>
                  </a:lnTo>
                  <a:lnTo>
                    <a:pt x="1149" y="174"/>
                  </a:lnTo>
                  <a:lnTo>
                    <a:pt x="1143" y="176"/>
                  </a:lnTo>
                  <a:lnTo>
                    <a:pt x="1137" y="180"/>
                  </a:lnTo>
                  <a:lnTo>
                    <a:pt x="1129" y="182"/>
                  </a:lnTo>
                  <a:lnTo>
                    <a:pt x="1111" y="186"/>
                  </a:lnTo>
                  <a:lnTo>
                    <a:pt x="1105" y="188"/>
                  </a:lnTo>
                  <a:lnTo>
                    <a:pt x="1095" y="188"/>
                  </a:lnTo>
                  <a:lnTo>
                    <a:pt x="1089" y="192"/>
                  </a:lnTo>
                  <a:lnTo>
                    <a:pt x="1083" y="198"/>
                  </a:lnTo>
                  <a:lnTo>
                    <a:pt x="1077" y="202"/>
                  </a:lnTo>
                  <a:lnTo>
                    <a:pt x="1071" y="204"/>
                  </a:lnTo>
                  <a:lnTo>
                    <a:pt x="1063" y="204"/>
                  </a:lnTo>
                  <a:lnTo>
                    <a:pt x="1055" y="202"/>
                  </a:lnTo>
                  <a:lnTo>
                    <a:pt x="1053" y="202"/>
                  </a:lnTo>
                  <a:lnTo>
                    <a:pt x="1047" y="204"/>
                  </a:lnTo>
                  <a:lnTo>
                    <a:pt x="1041" y="206"/>
                  </a:lnTo>
                  <a:lnTo>
                    <a:pt x="1031" y="204"/>
                  </a:lnTo>
                  <a:lnTo>
                    <a:pt x="1027" y="202"/>
                  </a:lnTo>
                  <a:lnTo>
                    <a:pt x="1019" y="200"/>
                  </a:lnTo>
                  <a:lnTo>
                    <a:pt x="1015" y="194"/>
                  </a:lnTo>
                  <a:lnTo>
                    <a:pt x="1011" y="190"/>
                  </a:lnTo>
                  <a:lnTo>
                    <a:pt x="1003" y="190"/>
                  </a:lnTo>
                  <a:lnTo>
                    <a:pt x="991" y="186"/>
                  </a:lnTo>
                  <a:lnTo>
                    <a:pt x="985" y="182"/>
                  </a:lnTo>
                  <a:lnTo>
                    <a:pt x="979" y="180"/>
                  </a:lnTo>
                  <a:lnTo>
                    <a:pt x="969" y="174"/>
                  </a:lnTo>
                  <a:lnTo>
                    <a:pt x="965" y="166"/>
                  </a:lnTo>
                  <a:lnTo>
                    <a:pt x="961" y="166"/>
                  </a:lnTo>
                  <a:lnTo>
                    <a:pt x="955" y="164"/>
                  </a:lnTo>
                  <a:lnTo>
                    <a:pt x="953" y="160"/>
                  </a:lnTo>
                  <a:lnTo>
                    <a:pt x="953" y="154"/>
                  </a:lnTo>
                  <a:lnTo>
                    <a:pt x="953" y="152"/>
                  </a:lnTo>
                  <a:lnTo>
                    <a:pt x="955" y="146"/>
                  </a:lnTo>
                  <a:lnTo>
                    <a:pt x="953" y="142"/>
                  </a:lnTo>
                  <a:lnTo>
                    <a:pt x="949" y="138"/>
                  </a:lnTo>
                  <a:lnTo>
                    <a:pt x="947" y="134"/>
                  </a:lnTo>
                  <a:lnTo>
                    <a:pt x="949" y="128"/>
                  </a:lnTo>
                  <a:lnTo>
                    <a:pt x="947" y="120"/>
                  </a:lnTo>
                  <a:lnTo>
                    <a:pt x="947" y="112"/>
                  </a:lnTo>
                  <a:lnTo>
                    <a:pt x="943" y="106"/>
                  </a:lnTo>
                  <a:lnTo>
                    <a:pt x="943" y="94"/>
                  </a:lnTo>
                  <a:lnTo>
                    <a:pt x="945" y="90"/>
                  </a:lnTo>
                  <a:lnTo>
                    <a:pt x="945" y="84"/>
                  </a:lnTo>
                  <a:lnTo>
                    <a:pt x="941" y="80"/>
                  </a:lnTo>
                  <a:lnTo>
                    <a:pt x="933" y="78"/>
                  </a:lnTo>
                  <a:lnTo>
                    <a:pt x="923" y="74"/>
                  </a:lnTo>
                  <a:lnTo>
                    <a:pt x="905" y="68"/>
                  </a:lnTo>
                  <a:lnTo>
                    <a:pt x="899" y="68"/>
                  </a:lnTo>
                  <a:lnTo>
                    <a:pt x="893" y="70"/>
                  </a:lnTo>
                  <a:lnTo>
                    <a:pt x="889" y="68"/>
                  </a:lnTo>
                  <a:lnTo>
                    <a:pt x="883" y="64"/>
                  </a:lnTo>
                  <a:lnTo>
                    <a:pt x="873" y="60"/>
                  </a:lnTo>
                  <a:lnTo>
                    <a:pt x="863" y="54"/>
                  </a:lnTo>
                  <a:lnTo>
                    <a:pt x="849" y="48"/>
                  </a:lnTo>
                  <a:lnTo>
                    <a:pt x="839" y="42"/>
                  </a:lnTo>
                  <a:lnTo>
                    <a:pt x="833" y="40"/>
                  </a:lnTo>
                  <a:lnTo>
                    <a:pt x="817" y="40"/>
                  </a:lnTo>
                  <a:lnTo>
                    <a:pt x="805" y="40"/>
                  </a:lnTo>
                  <a:lnTo>
                    <a:pt x="797" y="38"/>
                  </a:lnTo>
                  <a:lnTo>
                    <a:pt x="789" y="30"/>
                  </a:lnTo>
                  <a:lnTo>
                    <a:pt x="785" y="26"/>
                  </a:lnTo>
                  <a:lnTo>
                    <a:pt x="777" y="24"/>
                  </a:lnTo>
                  <a:lnTo>
                    <a:pt x="773" y="22"/>
                  </a:lnTo>
                  <a:lnTo>
                    <a:pt x="765" y="20"/>
                  </a:lnTo>
                  <a:lnTo>
                    <a:pt x="749" y="12"/>
                  </a:lnTo>
                  <a:lnTo>
                    <a:pt x="743" y="8"/>
                  </a:lnTo>
                  <a:lnTo>
                    <a:pt x="739" y="8"/>
                  </a:lnTo>
                  <a:lnTo>
                    <a:pt x="735" y="2"/>
                  </a:lnTo>
                  <a:lnTo>
                    <a:pt x="731" y="0"/>
                  </a:lnTo>
                  <a:lnTo>
                    <a:pt x="727" y="4"/>
                  </a:lnTo>
                  <a:lnTo>
                    <a:pt x="725" y="16"/>
                  </a:lnTo>
                  <a:lnTo>
                    <a:pt x="721" y="22"/>
                  </a:lnTo>
                  <a:lnTo>
                    <a:pt x="713" y="34"/>
                  </a:lnTo>
                  <a:lnTo>
                    <a:pt x="695" y="42"/>
                  </a:lnTo>
                  <a:lnTo>
                    <a:pt x="691" y="46"/>
                  </a:lnTo>
                  <a:lnTo>
                    <a:pt x="687" y="56"/>
                  </a:lnTo>
                  <a:lnTo>
                    <a:pt x="687" y="64"/>
                  </a:lnTo>
                  <a:lnTo>
                    <a:pt x="683" y="66"/>
                  </a:lnTo>
                  <a:lnTo>
                    <a:pt x="680" y="66"/>
                  </a:lnTo>
                  <a:lnTo>
                    <a:pt x="676" y="70"/>
                  </a:lnTo>
                  <a:lnTo>
                    <a:pt x="672" y="78"/>
                  </a:lnTo>
                  <a:lnTo>
                    <a:pt x="670" y="80"/>
                  </a:lnTo>
                  <a:lnTo>
                    <a:pt x="668" y="88"/>
                  </a:lnTo>
                  <a:lnTo>
                    <a:pt x="668" y="92"/>
                  </a:lnTo>
                  <a:lnTo>
                    <a:pt x="668" y="94"/>
                  </a:lnTo>
                  <a:lnTo>
                    <a:pt x="666" y="100"/>
                  </a:lnTo>
                  <a:lnTo>
                    <a:pt x="662" y="112"/>
                  </a:lnTo>
                  <a:lnTo>
                    <a:pt x="662" y="118"/>
                  </a:lnTo>
                  <a:lnTo>
                    <a:pt x="664" y="122"/>
                  </a:lnTo>
                  <a:lnTo>
                    <a:pt x="668" y="128"/>
                  </a:lnTo>
                  <a:lnTo>
                    <a:pt x="670" y="132"/>
                  </a:lnTo>
                  <a:lnTo>
                    <a:pt x="670" y="136"/>
                  </a:lnTo>
                  <a:lnTo>
                    <a:pt x="670" y="142"/>
                  </a:lnTo>
                  <a:lnTo>
                    <a:pt x="672" y="148"/>
                  </a:lnTo>
                  <a:lnTo>
                    <a:pt x="674" y="154"/>
                  </a:lnTo>
                  <a:lnTo>
                    <a:pt x="678" y="158"/>
                  </a:lnTo>
                  <a:lnTo>
                    <a:pt x="682" y="162"/>
                  </a:lnTo>
                  <a:lnTo>
                    <a:pt x="687" y="162"/>
                  </a:lnTo>
                  <a:lnTo>
                    <a:pt x="691" y="166"/>
                  </a:lnTo>
                  <a:lnTo>
                    <a:pt x="691" y="170"/>
                  </a:lnTo>
                  <a:lnTo>
                    <a:pt x="689" y="176"/>
                  </a:lnTo>
                  <a:lnTo>
                    <a:pt x="687" y="190"/>
                  </a:lnTo>
                  <a:lnTo>
                    <a:pt x="685" y="196"/>
                  </a:lnTo>
                  <a:lnTo>
                    <a:pt x="683" y="202"/>
                  </a:lnTo>
                  <a:lnTo>
                    <a:pt x="680" y="210"/>
                  </a:lnTo>
                  <a:lnTo>
                    <a:pt x="680" y="212"/>
                  </a:lnTo>
                  <a:lnTo>
                    <a:pt x="672" y="218"/>
                  </a:lnTo>
                  <a:lnTo>
                    <a:pt x="668" y="220"/>
                  </a:lnTo>
                  <a:lnTo>
                    <a:pt x="664" y="226"/>
                  </a:lnTo>
                  <a:lnTo>
                    <a:pt x="658" y="226"/>
                  </a:lnTo>
                  <a:lnTo>
                    <a:pt x="654" y="226"/>
                  </a:lnTo>
                  <a:lnTo>
                    <a:pt x="650" y="226"/>
                  </a:lnTo>
                  <a:lnTo>
                    <a:pt x="646" y="230"/>
                  </a:lnTo>
                  <a:lnTo>
                    <a:pt x="642" y="236"/>
                  </a:lnTo>
                  <a:lnTo>
                    <a:pt x="634" y="244"/>
                  </a:lnTo>
                  <a:lnTo>
                    <a:pt x="630" y="246"/>
                  </a:lnTo>
                  <a:lnTo>
                    <a:pt x="620" y="248"/>
                  </a:lnTo>
                  <a:lnTo>
                    <a:pt x="616" y="244"/>
                  </a:lnTo>
                  <a:lnTo>
                    <a:pt x="614" y="240"/>
                  </a:lnTo>
                  <a:lnTo>
                    <a:pt x="610" y="238"/>
                  </a:lnTo>
                  <a:lnTo>
                    <a:pt x="606" y="232"/>
                  </a:lnTo>
                  <a:lnTo>
                    <a:pt x="588" y="230"/>
                  </a:lnTo>
                  <a:lnTo>
                    <a:pt x="584" y="230"/>
                  </a:lnTo>
                  <a:lnTo>
                    <a:pt x="580" y="232"/>
                  </a:lnTo>
                  <a:lnTo>
                    <a:pt x="578" y="232"/>
                  </a:lnTo>
                  <a:lnTo>
                    <a:pt x="574" y="228"/>
                  </a:lnTo>
                  <a:lnTo>
                    <a:pt x="572" y="230"/>
                  </a:lnTo>
                  <a:lnTo>
                    <a:pt x="566" y="230"/>
                  </a:lnTo>
                  <a:lnTo>
                    <a:pt x="562" y="230"/>
                  </a:lnTo>
                  <a:lnTo>
                    <a:pt x="556" y="224"/>
                  </a:lnTo>
                  <a:lnTo>
                    <a:pt x="548" y="222"/>
                  </a:lnTo>
                  <a:lnTo>
                    <a:pt x="546" y="220"/>
                  </a:lnTo>
                  <a:lnTo>
                    <a:pt x="542" y="220"/>
                  </a:lnTo>
                  <a:lnTo>
                    <a:pt x="540" y="224"/>
                  </a:lnTo>
                  <a:lnTo>
                    <a:pt x="538" y="224"/>
                  </a:lnTo>
                  <a:lnTo>
                    <a:pt x="536" y="222"/>
                  </a:lnTo>
                  <a:lnTo>
                    <a:pt x="532" y="218"/>
                  </a:lnTo>
                  <a:lnTo>
                    <a:pt x="528" y="218"/>
                  </a:lnTo>
                  <a:lnTo>
                    <a:pt x="522" y="224"/>
                  </a:lnTo>
                  <a:lnTo>
                    <a:pt x="514" y="226"/>
                  </a:lnTo>
                  <a:lnTo>
                    <a:pt x="510" y="230"/>
                  </a:lnTo>
                  <a:lnTo>
                    <a:pt x="504" y="228"/>
                  </a:lnTo>
                  <a:lnTo>
                    <a:pt x="502" y="226"/>
                  </a:lnTo>
                  <a:lnTo>
                    <a:pt x="498" y="226"/>
                  </a:lnTo>
                  <a:lnTo>
                    <a:pt x="486" y="226"/>
                  </a:lnTo>
                  <a:lnTo>
                    <a:pt x="484" y="226"/>
                  </a:lnTo>
                  <a:lnTo>
                    <a:pt x="478" y="224"/>
                  </a:lnTo>
                  <a:lnTo>
                    <a:pt x="476" y="220"/>
                  </a:lnTo>
                  <a:lnTo>
                    <a:pt x="472" y="216"/>
                  </a:lnTo>
                  <a:lnTo>
                    <a:pt x="464" y="216"/>
                  </a:lnTo>
                  <a:lnTo>
                    <a:pt x="458" y="216"/>
                  </a:lnTo>
                  <a:lnTo>
                    <a:pt x="454" y="218"/>
                  </a:lnTo>
                  <a:lnTo>
                    <a:pt x="450" y="218"/>
                  </a:lnTo>
                  <a:lnTo>
                    <a:pt x="448" y="212"/>
                  </a:lnTo>
                  <a:lnTo>
                    <a:pt x="442" y="206"/>
                  </a:lnTo>
                  <a:lnTo>
                    <a:pt x="440" y="204"/>
                  </a:lnTo>
                  <a:lnTo>
                    <a:pt x="436" y="202"/>
                  </a:lnTo>
                  <a:lnTo>
                    <a:pt x="434" y="198"/>
                  </a:lnTo>
                  <a:lnTo>
                    <a:pt x="434" y="190"/>
                  </a:lnTo>
                  <a:lnTo>
                    <a:pt x="432" y="178"/>
                  </a:lnTo>
                  <a:lnTo>
                    <a:pt x="430" y="168"/>
                  </a:lnTo>
                  <a:lnTo>
                    <a:pt x="426" y="164"/>
                  </a:lnTo>
                  <a:lnTo>
                    <a:pt x="416" y="162"/>
                  </a:lnTo>
                  <a:lnTo>
                    <a:pt x="410" y="162"/>
                  </a:lnTo>
                  <a:lnTo>
                    <a:pt x="398" y="160"/>
                  </a:lnTo>
                  <a:lnTo>
                    <a:pt x="388" y="160"/>
                  </a:lnTo>
                  <a:lnTo>
                    <a:pt x="386" y="160"/>
                  </a:lnTo>
                  <a:lnTo>
                    <a:pt x="378" y="158"/>
                  </a:lnTo>
                  <a:lnTo>
                    <a:pt x="370" y="158"/>
                  </a:lnTo>
                  <a:lnTo>
                    <a:pt x="362" y="158"/>
                  </a:lnTo>
                  <a:lnTo>
                    <a:pt x="360" y="158"/>
                  </a:lnTo>
                  <a:lnTo>
                    <a:pt x="352" y="158"/>
                  </a:lnTo>
                  <a:lnTo>
                    <a:pt x="346" y="154"/>
                  </a:lnTo>
                  <a:lnTo>
                    <a:pt x="342" y="146"/>
                  </a:lnTo>
                  <a:lnTo>
                    <a:pt x="342" y="144"/>
                  </a:lnTo>
                  <a:lnTo>
                    <a:pt x="342" y="140"/>
                  </a:lnTo>
                  <a:lnTo>
                    <a:pt x="336" y="138"/>
                  </a:lnTo>
                  <a:lnTo>
                    <a:pt x="330" y="140"/>
                  </a:lnTo>
                  <a:lnTo>
                    <a:pt x="328" y="148"/>
                  </a:lnTo>
                  <a:lnTo>
                    <a:pt x="324" y="150"/>
                  </a:lnTo>
                  <a:lnTo>
                    <a:pt x="320" y="150"/>
                  </a:lnTo>
                  <a:lnTo>
                    <a:pt x="318" y="146"/>
                  </a:lnTo>
                  <a:lnTo>
                    <a:pt x="312" y="142"/>
                  </a:lnTo>
                  <a:lnTo>
                    <a:pt x="308" y="138"/>
                  </a:lnTo>
                  <a:lnTo>
                    <a:pt x="302" y="132"/>
                  </a:lnTo>
                  <a:lnTo>
                    <a:pt x="298" y="132"/>
                  </a:lnTo>
                  <a:lnTo>
                    <a:pt x="298" y="136"/>
                  </a:lnTo>
                  <a:lnTo>
                    <a:pt x="296" y="140"/>
                  </a:lnTo>
                  <a:lnTo>
                    <a:pt x="292" y="148"/>
                  </a:lnTo>
                  <a:lnTo>
                    <a:pt x="286" y="150"/>
                  </a:lnTo>
                  <a:lnTo>
                    <a:pt x="276" y="148"/>
                  </a:lnTo>
                  <a:lnTo>
                    <a:pt x="266" y="150"/>
                  </a:lnTo>
                  <a:lnTo>
                    <a:pt x="260" y="152"/>
                  </a:lnTo>
                  <a:lnTo>
                    <a:pt x="256" y="158"/>
                  </a:lnTo>
                  <a:lnTo>
                    <a:pt x="252" y="162"/>
                  </a:lnTo>
                  <a:lnTo>
                    <a:pt x="248" y="162"/>
                  </a:lnTo>
                  <a:lnTo>
                    <a:pt x="244" y="166"/>
                  </a:lnTo>
                  <a:lnTo>
                    <a:pt x="242" y="172"/>
                  </a:lnTo>
                  <a:lnTo>
                    <a:pt x="236" y="172"/>
                  </a:lnTo>
                  <a:lnTo>
                    <a:pt x="234" y="172"/>
                  </a:lnTo>
                  <a:lnTo>
                    <a:pt x="228" y="174"/>
                  </a:lnTo>
                  <a:lnTo>
                    <a:pt x="218" y="176"/>
                  </a:lnTo>
                  <a:lnTo>
                    <a:pt x="216" y="178"/>
                  </a:lnTo>
                  <a:lnTo>
                    <a:pt x="208" y="184"/>
                  </a:lnTo>
                  <a:lnTo>
                    <a:pt x="204" y="188"/>
                  </a:lnTo>
                  <a:lnTo>
                    <a:pt x="198" y="188"/>
                  </a:lnTo>
                  <a:lnTo>
                    <a:pt x="194" y="194"/>
                  </a:lnTo>
                  <a:lnTo>
                    <a:pt x="192" y="198"/>
                  </a:lnTo>
                  <a:lnTo>
                    <a:pt x="182" y="198"/>
                  </a:lnTo>
                  <a:lnTo>
                    <a:pt x="172" y="204"/>
                  </a:lnTo>
                  <a:lnTo>
                    <a:pt x="168" y="204"/>
                  </a:lnTo>
                  <a:lnTo>
                    <a:pt x="162" y="208"/>
                  </a:lnTo>
                  <a:lnTo>
                    <a:pt x="156" y="210"/>
                  </a:lnTo>
                  <a:lnTo>
                    <a:pt x="152" y="210"/>
                  </a:lnTo>
                  <a:lnTo>
                    <a:pt x="148" y="214"/>
                  </a:lnTo>
                  <a:lnTo>
                    <a:pt x="146" y="222"/>
                  </a:lnTo>
                  <a:lnTo>
                    <a:pt x="140" y="226"/>
                  </a:lnTo>
                  <a:lnTo>
                    <a:pt x="132" y="226"/>
                  </a:lnTo>
                  <a:lnTo>
                    <a:pt x="124" y="230"/>
                  </a:lnTo>
                  <a:lnTo>
                    <a:pt x="124" y="238"/>
                  </a:lnTo>
                  <a:lnTo>
                    <a:pt x="126" y="246"/>
                  </a:lnTo>
                  <a:lnTo>
                    <a:pt x="126" y="250"/>
                  </a:lnTo>
                  <a:lnTo>
                    <a:pt x="120" y="250"/>
                  </a:lnTo>
                  <a:lnTo>
                    <a:pt x="114" y="254"/>
                  </a:lnTo>
                  <a:lnTo>
                    <a:pt x="108" y="260"/>
                  </a:lnTo>
                  <a:lnTo>
                    <a:pt x="102" y="260"/>
                  </a:lnTo>
                  <a:lnTo>
                    <a:pt x="98" y="258"/>
                  </a:lnTo>
                  <a:lnTo>
                    <a:pt x="96" y="262"/>
                  </a:lnTo>
                  <a:lnTo>
                    <a:pt x="94" y="268"/>
                  </a:lnTo>
                  <a:lnTo>
                    <a:pt x="90" y="270"/>
                  </a:lnTo>
                  <a:lnTo>
                    <a:pt x="84" y="274"/>
                  </a:lnTo>
                  <a:lnTo>
                    <a:pt x="80" y="272"/>
                  </a:lnTo>
                  <a:lnTo>
                    <a:pt x="80" y="270"/>
                  </a:lnTo>
                  <a:lnTo>
                    <a:pt x="76" y="266"/>
                  </a:lnTo>
                  <a:lnTo>
                    <a:pt x="74" y="268"/>
                  </a:lnTo>
                  <a:lnTo>
                    <a:pt x="74" y="272"/>
                  </a:lnTo>
                  <a:lnTo>
                    <a:pt x="72" y="276"/>
                  </a:lnTo>
                  <a:lnTo>
                    <a:pt x="66" y="276"/>
                  </a:lnTo>
                  <a:lnTo>
                    <a:pt x="62" y="274"/>
                  </a:lnTo>
                  <a:lnTo>
                    <a:pt x="58" y="272"/>
                  </a:lnTo>
                  <a:lnTo>
                    <a:pt x="52" y="272"/>
                  </a:lnTo>
                  <a:lnTo>
                    <a:pt x="46" y="274"/>
                  </a:lnTo>
                  <a:lnTo>
                    <a:pt x="42" y="272"/>
                  </a:lnTo>
                  <a:lnTo>
                    <a:pt x="40" y="274"/>
                  </a:lnTo>
                  <a:lnTo>
                    <a:pt x="30" y="276"/>
                  </a:lnTo>
                  <a:lnTo>
                    <a:pt x="26" y="282"/>
                  </a:lnTo>
                  <a:lnTo>
                    <a:pt x="26" y="292"/>
                  </a:lnTo>
                  <a:lnTo>
                    <a:pt x="24" y="296"/>
                  </a:lnTo>
                  <a:lnTo>
                    <a:pt x="20" y="300"/>
                  </a:lnTo>
                  <a:lnTo>
                    <a:pt x="16" y="302"/>
                  </a:lnTo>
                  <a:lnTo>
                    <a:pt x="12" y="304"/>
                  </a:lnTo>
                  <a:lnTo>
                    <a:pt x="6" y="306"/>
                  </a:lnTo>
                  <a:lnTo>
                    <a:pt x="4" y="306"/>
                  </a:lnTo>
                  <a:lnTo>
                    <a:pt x="6" y="310"/>
                  </a:lnTo>
                  <a:lnTo>
                    <a:pt x="6" y="314"/>
                  </a:lnTo>
                  <a:lnTo>
                    <a:pt x="6" y="318"/>
                  </a:lnTo>
                  <a:lnTo>
                    <a:pt x="8" y="322"/>
                  </a:lnTo>
                  <a:lnTo>
                    <a:pt x="8" y="324"/>
                  </a:lnTo>
                  <a:lnTo>
                    <a:pt x="4" y="326"/>
                  </a:lnTo>
                  <a:lnTo>
                    <a:pt x="2" y="330"/>
                  </a:lnTo>
                  <a:lnTo>
                    <a:pt x="0" y="334"/>
                  </a:lnTo>
                  <a:lnTo>
                    <a:pt x="4" y="338"/>
                  </a:lnTo>
                  <a:lnTo>
                    <a:pt x="6" y="342"/>
                  </a:lnTo>
                  <a:lnTo>
                    <a:pt x="14" y="344"/>
                  </a:lnTo>
                  <a:lnTo>
                    <a:pt x="20" y="348"/>
                  </a:lnTo>
                  <a:lnTo>
                    <a:pt x="22" y="350"/>
                  </a:lnTo>
                  <a:lnTo>
                    <a:pt x="20" y="354"/>
                  </a:lnTo>
                  <a:lnTo>
                    <a:pt x="18" y="358"/>
                  </a:lnTo>
                  <a:lnTo>
                    <a:pt x="16" y="360"/>
                  </a:lnTo>
                  <a:lnTo>
                    <a:pt x="14" y="362"/>
                  </a:lnTo>
                  <a:lnTo>
                    <a:pt x="16" y="366"/>
                  </a:lnTo>
                  <a:lnTo>
                    <a:pt x="22" y="368"/>
                  </a:lnTo>
                  <a:lnTo>
                    <a:pt x="28" y="370"/>
                  </a:lnTo>
                  <a:lnTo>
                    <a:pt x="38" y="374"/>
                  </a:lnTo>
                  <a:lnTo>
                    <a:pt x="44" y="380"/>
                  </a:lnTo>
                  <a:lnTo>
                    <a:pt x="52" y="382"/>
                  </a:lnTo>
                  <a:lnTo>
                    <a:pt x="54" y="388"/>
                  </a:lnTo>
                  <a:lnTo>
                    <a:pt x="54" y="398"/>
                  </a:lnTo>
                  <a:lnTo>
                    <a:pt x="62" y="404"/>
                  </a:lnTo>
                  <a:lnTo>
                    <a:pt x="72" y="410"/>
                  </a:lnTo>
                  <a:lnTo>
                    <a:pt x="78" y="412"/>
                  </a:lnTo>
                  <a:lnTo>
                    <a:pt x="80" y="416"/>
                  </a:lnTo>
                  <a:lnTo>
                    <a:pt x="86" y="420"/>
                  </a:lnTo>
                  <a:lnTo>
                    <a:pt x="90" y="422"/>
                  </a:lnTo>
                  <a:lnTo>
                    <a:pt x="96" y="422"/>
                  </a:lnTo>
                  <a:lnTo>
                    <a:pt x="104" y="418"/>
                  </a:lnTo>
                  <a:lnTo>
                    <a:pt x="114" y="418"/>
                  </a:lnTo>
                  <a:lnTo>
                    <a:pt x="120" y="420"/>
                  </a:lnTo>
                  <a:lnTo>
                    <a:pt x="124" y="430"/>
                  </a:lnTo>
                  <a:lnTo>
                    <a:pt x="128" y="432"/>
                  </a:lnTo>
                  <a:lnTo>
                    <a:pt x="130" y="434"/>
                  </a:lnTo>
                  <a:lnTo>
                    <a:pt x="134" y="438"/>
                  </a:lnTo>
                  <a:lnTo>
                    <a:pt x="138" y="438"/>
                  </a:lnTo>
                  <a:lnTo>
                    <a:pt x="142" y="436"/>
                  </a:lnTo>
                  <a:lnTo>
                    <a:pt x="146" y="432"/>
                  </a:lnTo>
                  <a:lnTo>
                    <a:pt x="150" y="432"/>
                  </a:lnTo>
                  <a:lnTo>
                    <a:pt x="152" y="434"/>
                  </a:lnTo>
                  <a:lnTo>
                    <a:pt x="152" y="440"/>
                  </a:lnTo>
                  <a:lnTo>
                    <a:pt x="156" y="446"/>
                  </a:lnTo>
                  <a:lnTo>
                    <a:pt x="160" y="450"/>
                  </a:lnTo>
                  <a:lnTo>
                    <a:pt x="168" y="452"/>
                  </a:lnTo>
                  <a:lnTo>
                    <a:pt x="170" y="454"/>
                  </a:lnTo>
                  <a:lnTo>
                    <a:pt x="170" y="460"/>
                  </a:lnTo>
                  <a:lnTo>
                    <a:pt x="174" y="464"/>
                  </a:lnTo>
                  <a:lnTo>
                    <a:pt x="176" y="468"/>
                  </a:lnTo>
                  <a:lnTo>
                    <a:pt x="178" y="478"/>
                  </a:lnTo>
                  <a:lnTo>
                    <a:pt x="180" y="486"/>
                  </a:lnTo>
                  <a:lnTo>
                    <a:pt x="180" y="490"/>
                  </a:lnTo>
                  <a:lnTo>
                    <a:pt x="184" y="496"/>
                  </a:lnTo>
                  <a:lnTo>
                    <a:pt x="190" y="508"/>
                  </a:lnTo>
                  <a:lnTo>
                    <a:pt x="196" y="516"/>
                  </a:lnTo>
                  <a:lnTo>
                    <a:pt x="200" y="518"/>
                  </a:lnTo>
                  <a:lnTo>
                    <a:pt x="206" y="522"/>
                  </a:lnTo>
                  <a:lnTo>
                    <a:pt x="208" y="528"/>
                  </a:lnTo>
                  <a:lnTo>
                    <a:pt x="212" y="542"/>
                  </a:lnTo>
                  <a:lnTo>
                    <a:pt x="214" y="550"/>
                  </a:lnTo>
                  <a:lnTo>
                    <a:pt x="214" y="556"/>
                  </a:lnTo>
                  <a:lnTo>
                    <a:pt x="216" y="558"/>
                  </a:lnTo>
                  <a:lnTo>
                    <a:pt x="216" y="562"/>
                  </a:lnTo>
                  <a:lnTo>
                    <a:pt x="212" y="576"/>
                  </a:lnTo>
                  <a:lnTo>
                    <a:pt x="208" y="582"/>
                  </a:lnTo>
                  <a:lnTo>
                    <a:pt x="208" y="586"/>
                  </a:lnTo>
                  <a:lnTo>
                    <a:pt x="210" y="596"/>
                  </a:lnTo>
                  <a:lnTo>
                    <a:pt x="214" y="602"/>
                  </a:lnTo>
                  <a:lnTo>
                    <a:pt x="214" y="610"/>
                  </a:lnTo>
                  <a:lnTo>
                    <a:pt x="212" y="614"/>
                  </a:lnTo>
                  <a:lnTo>
                    <a:pt x="206" y="620"/>
                  </a:lnTo>
                  <a:lnTo>
                    <a:pt x="204" y="624"/>
                  </a:lnTo>
                  <a:lnTo>
                    <a:pt x="200" y="626"/>
                  </a:lnTo>
                  <a:lnTo>
                    <a:pt x="194" y="638"/>
                  </a:lnTo>
                  <a:lnTo>
                    <a:pt x="192" y="650"/>
                  </a:lnTo>
                  <a:lnTo>
                    <a:pt x="192" y="656"/>
                  </a:lnTo>
                  <a:lnTo>
                    <a:pt x="194" y="662"/>
                  </a:lnTo>
                  <a:lnTo>
                    <a:pt x="198" y="668"/>
                  </a:lnTo>
                  <a:lnTo>
                    <a:pt x="198" y="672"/>
                  </a:lnTo>
                  <a:lnTo>
                    <a:pt x="204" y="682"/>
                  </a:lnTo>
                  <a:lnTo>
                    <a:pt x="206" y="688"/>
                  </a:lnTo>
                  <a:lnTo>
                    <a:pt x="208" y="688"/>
                  </a:lnTo>
                  <a:lnTo>
                    <a:pt x="210" y="686"/>
                  </a:lnTo>
                  <a:lnTo>
                    <a:pt x="218" y="686"/>
                  </a:lnTo>
                  <a:lnTo>
                    <a:pt x="222" y="688"/>
                  </a:lnTo>
                  <a:lnTo>
                    <a:pt x="228" y="692"/>
                  </a:lnTo>
                  <a:lnTo>
                    <a:pt x="234" y="694"/>
                  </a:lnTo>
                  <a:lnTo>
                    <a:pt x="242" y="694"/>
                  </a:lnTo>
                  <a:lnTo>
                    <a:pt x="248" y="696"/>
                  </a:lnTo>
                  <a:lnTo>
                    <a:pt x="252" y="698"/>
                  </a:lnTo>
                  <a:lnTo>
                    <a:pt x="262" y="700"/>
                  </a:lnTo>
                  <a:lnTo>
                    <a:pt x="282" y="700"/>
                  </a:lnTo>
                  <a:lnTo>
                    <a:pt x="290" y="702"/>
                  </a:lnTo>
                  <a:lnTo>
                    <a:pt x="308" y="706"/>
                  </a:lnTo>
                  <a:lnTo>
                    <a:pt x="318" y="704"/>
                  </a:lnTo>
                  <a:lnTo>
                    <a:pt x="332" y="702"/>
                  </a:lnTo>
                  <a:lnTo>
                    <a:pt x="340" y="704"/>
                  </a:lnTo>
                  <a:lnTo>
                    <a:pt x="364" y="708"/>
                  </a:lnTo>
                  <a:lnTo>
                    <a:pt x="378" y="712"/>
                  </a:lnTo>
                  <a:lnTo>
                    <a:pt x="388" y="716"/>
                  </a:lnTo>
                  <a:lnTo>
                    <a:pt x="394" y="722"/>
                  </a:lnTo>
                  <a:lnTo>
                    <a:pt x="402" y="732"/>
                  </a:lnTo>
                  <a:lnTo>
                    <a:pt x="408" y="736"/>
                  </a:lnTo>
                  <a:lnTo>
                    <a:pt x="424" y="738"/>
                  </a:lnTo>
                  <a:lnTo>
                    <a:pt x="434" y="750"/>
                  </a:lnTo>
                  <a:lnTo>
                    <a:pt x="442" y="754"/>
                  </a:lnTo>
                  <a:lnTo>
                    <a:pt x="458" y="766"/>
                  </a:lnTo>
                  <a:lnTo>
                    <a:pt x="468" y="770"/>
                  </a:lnTo>
                  <a:lnTo>
                    <a:pt x="480" y="774"/>
                  </a:lnTo>
                  <a:lnTo>
                    <a:pt x="498" y="772"/>
                  </a:lnTo>
                  <a:lnTo>
                    <a:pt x="500" y="774"/>
                  </a:lnTo>
                  <a:lnTo>
                    <a:pt x="498" y="780"/>
                  </a:lnTo>
                  <a:lnTo>
                    <a:pt x="498" y="788"/>
                  </a:lnTo>
                  <a:lnTo>
                    <a:pt x="498" y="794"/>
                  </a:lnTo>
                  <a:lnTo>
                    <a:pt x="500" y="798"/>
                  </a:lnTo>
                  <a:lnTo>
                    <a:pt x="506" y="800"/>
                  </a:lnTo>
                  <a:lnTo>
                    <a:pt x="510" y="802"/>
                  </a:lnTo>
                  <a:lnTo>
                    <a:pt x="514" y="808"/>
                  </a:lnTo>
                  <a:lnTo>
                    <a:pt x="514" y="812"/>
                  </a:lnTo>
                  <a:lnTo>
                    <a:pt x="522" y="828"/>
                  </a:lnTo>
                  <a:lnTo>
                    <a:pt x="532" y="854"/>
                  </a:lnTo>
                  <a:lnTo>
                    <a:pt x="532" y="864"/>
                  </a:lnTo>
                  <a:lnTo>
                    <a:pt x="536" y="870"/>
                  </a:lnTo>
                  <a:lnTo>
                    <a:pt x="546" y="880"/>
                  </a:lnTo>
                  <a:lnTo>
                    <a:pt x="552" y="886"/>
                  </a:lnTo>
                  <a:lnTo>
                    <a:pt x="562" y="894"/>
                  </a:lnTo>
                  <a:lnTo>
                    <a:pt x="564" y="902"/>
                  </a:lnTo>
                  <a:lnTo>
                    <a:pt x="564" y="910"/>
                  </a:lnTo>
                  <a:lnTo>
                    <a:pt x="566" y="914"/>
                  </a:lnTo>
                  <a:lnTo>
                    <a:pt x="582" y="912"/>
                  </a:lnTo>
                  <a:lnTo>
                    <a:pt x="596" y="910"/>
                  </a:lnTo>
                  <a:lnTo>
                    <a:pt x="620" y="908"/>
                  </a:lnTo>
                  <a:lnTo>
                    <a:pt x="654" y="912"/>
                  </a:lnTo>
                  <a:lnTo>
                    <a:pt x="687" y="916"/>
                  </a:lnTo>
                  <a:lnTo>
                    <a:pt x="719" y="920"/>
                  </a:lnTo>
                  <a:lnTo>
                    <a:pt x="733" y="922"/>
                  </a:lnTo>
                  <a:lnTo>
                    <a:pt x="767" y="926"/>
                  </a:lnTo>
                  <a:lnTo>
                    <a:pt x="787" y="922"/>
                  </a:lnTo>
                  <a:lnTo>
                    <a:pt x="801" y="918"/>
                  </a:lnTo>
                  <a:lnTo>
                    <a:pt x="809" y="918"/>
                  </a:lnTo>
                  <a:lnTo>
                    <a:pt x="837" y="922"/>
                  </a:lnTo>
                  <a:lnTo>
                    <a:pt x="853" y="926"/>
                  </a:lnTo>
                  <a:lnTo>
                    <a:pt x="875" y="928"/>
                  </a:lnTo>
                  <a:lnTo>
                    <a:pt x="889" y="930"/>
                  </a:lnTo>
                  <a:lnTo>
                    <a:pt x="901" y="930"/>
                  </a:lnTo>
                  <a:lnTo>
                    <a:pt x="907" y="930"/>
                  </a:lnTo>
                  <a:lnTo>
                    <a:pt x="911" y="932"/>
                  </a:lnTo>
                  <a:lnTo>
                    <a:pt x="915" y="936"/>
                  </a:lnTo>
                  <a:lnTo>
                    <a:pt x="925" y="952"/>
                  </a:lnTo>
                  <a:lnTo>
                    <a:pt x="933" y="958"/>
                  </a:lnTo>
                  <a:lnTo>
                    <a:pt x="945" y="964"/>
                  </a:lnTo>
                  <a:lnTo>
                    <a:pt x="971" y="968"/>
                  </a:lnTo>
                  <a:lnTo>
                    <a:pt x="987" y="972"/>
                  </a:lnTo>
                  <a:lnTo>
                    <a:pt x="1005" y="976"/>
                  </a:lnTo>
                  <a:lnTo>
                    <a:pt x="1015" y="982"/>
                  </a:lnTo>
                  <a:lnTo>
                    <a:pt x="1029" y="990"/>
                  </a:lnTo>
                  <a:lnTo>
                    <a:pt x="1047" y="1000"/>
                  </a:lnTo>
                  <a:lnTo>
                    <a:pt x="1065" y="996"/>
                  </a:lnTo>
                  <a:lnTo>
                    <a:pt x="1085" y="990"/>
                  </a:lnTo>
                  <a:lnTo>
                    <a:pt x="1097" y="988"/>
                  </a:lnTo>
                  <a:lnTo>
                    <a:pt x="1097" y="1008"/>
                  </a:lnTo>
                  <a:lnTo>
                    <a:pt x="1115" y="1008"/>
                  </a:lnTo>
                  <a:lnTo>
                    <a:pt x="1121" y="1008"/>
                  </a:lnTo>
                  <a:lnTo>
                    <a:pt x="1129" y="1012"/>
                  </a:lnTo>
                  <a:lnTo>
                    <a:pt x="1133" y="1012"/>
                  </a:lnTo>
                  <a:lnTo>
                    <a:pt x="1139" y="1006"/>
                  </a:lnTo>
                  <a:lnTo>
                    <a:pt x="1143" y="1000"/>
                  </a:lnTo>
                  <a:lnTo>
                    <a:pt x="1151" y="998"/>
                  </a:lnTo>
                  <a:lnTo>
                    <a:pt x="1165" y="990"/>
                  </a:lnTo>
                  <a:lnTo>
                    <a:pt x="1187" y="978"/>
                  </a:lnTo>
                  <a:lnTo>
                    <a:pt x="1217" y="964"/>
                  </a:lnTo>
                  <a:lnTo>
                    <a:pt x="1231" y="958"/>
                  </a:lnTo>
                  <a:lnTo>
                    <a:pt x="1235" y="958"/>
                  </a:lnTo>
                  <a:lnTo>
                    <a:pt x="1241" y="954"/>
                  </a:lnTo>
                  <a:lnTo>
                    <a:pt x="1247" y="952"/>
                  </a:lnTo>
                  <a:lnTo>
                    <a:pt x="1255" y="950"/>
                  </a:lnTo>
                  <a:lnTo>
                    <a:pt x="1267" y="948"/>
                  </a:lnTo>
                  <a:lnTo>
                    <a:pt x="1281" y="946"/>
                  </a:lnTo>
                  <a:lnTo>
                    <a:pt x="1311" y="942"/>
                  </a:lnTo>
                  <a:lnTo>
                    <a:pt x="1315" y="942"/>
                  </a:lnTo>
                  <a:lnTo>
                    <a:pt x="1331" y="940"/>
                  </a:lnTo>
                  <a:lnTo>
                    <a:pt x="1339" y="938"/>
                  </a:lnTo>
                  <a:lnTo>
                    <a:pt x="1349" y="938"/>
                  </a:lnTo>
                  <a:lnTo>
                    <a:pt x="1363" y="940"/>
                  </a:lnTo>
                  <a:lnTo>
                    <a:pt x="1373" y="940"/>
                  </a:lnTo>
                  <a:lnTo>
                    <a:pt x="1385" y="940"/>
                  </a:lnTo>
                  <a:lnTo>
                    <a:pt x="1401" y="938"/>
                  </a:lnTo>
                  <a:lnTo>
                    <a:pt x="1415" y="938"/>
                  </a:lnTo>
                  <a:lnTo>
                    <a:pt x="1421" y="936"/>
                  </a:lnTo>
                  <a:lnTo>
                    <a:pt x="1431" y="932"/>
                  </a:lnTo>
                  <a:lnTo>
                    <a:pt x="1439" y="928"/>
                  </a:lnTo>
                  <a:lnTo>
                    <a:pt x="1449" y="924"/>
                  </a:lnTo>
                  <a:lnTo>
                    <a:pt x="1463" y="918"/>
                  </a:lnTo>
                  <a:lnTo>
                    <a:pt x="1471" y="914"/>
                  </a:lnTo>
                  <a:lnTo>
                    <a:pt x="1477" y="912"/>
                  </a:lnTo>
                  <a:lnTo>
                    <a:pt x="1485" y="908"/>
                  </a:lnTo>
                  <a:lnTo>
                    <a:pt x="1487" y="906"/>
                  </a:lnTo>
                  <a:lnTo>
                    <a:pt x="1489" y="902"/>
                  </a:lnTo>
                  <a:lnTo>
                    <a:pt x="1493" y="898"/>
                  </a:lnTo>
                  <a:lnTo>
                    <a:pt x="1499" y="890"/>
                  </a:lnTo>
                  <a:lnTo>
                    <a:pt x="1505" y="882"/>
                  </a:lnTo>
                  <a:lnTo>
                    <a:pt x="1507" y="878"/>
                  </a:lnTo>
                  <a:lnTo>
                    <a:pt x="1513" y="870"/>
                  </a:lnTo>
                  <a:lnTo>
                    <a:pt x="1519" y="866"/>
                  </a:lnTo>
                  <a:lnTo>
                    <a:pt x="1525" y="858"/>
                  </a:lnTo>
                  <a:lnTo>
                    <a:pt x="1529" y="856"/>
                  </a:lnTo>
                  <a:lnTo>
                    <a:pt x="1537" y="852"/>
                  </a:lnTo>
                  <a:lnTo>
                    <a:pt x="1553" y="846"/>
                  </a:lnTo>
                  <a:lnTo>
                    <a:pt x="1557" y="844"/>
                  </a:lnTo>
                  <a:lnTo>
                    <a:pt x="1559" y="844"/>
                  </a:lnTo>
                  <a:lnTo>
                    <a:pt x="1565" y="838"/>
                  </a:lnTo>
                  <a:lnTo>
                    <a:pt x="1571" y="832"/>
                  </a:lnTo>
                  <a:lnTo>
                    <a:pt x="1575" y="828"/>
                  </a:lnTo>
                  <a:lnTo>
                    <a:pt x="1581" y="826"/>
                  </a:lnTo>
                  <a:lnTo>
                    <a:pt x="1585" y="824"/>
                  </a:lnTo>
                  <a:lnTo>
                    <a:pt x="1585" y="820"/>
                  </a:lnTo>
                  <a:lnTo>
                    <a:pt x="1585" y="814"/>
                  </a:lnTo>
                  <a:lnTo>
                    <a:pt x="1581" y="808"/>
                  </a:lnTo>
                  <a:lnTo>
                    <a:pt x="1579" y="804"/>
                  </a:lnTo>
                  <a:lnTo>
                    <a:pt x="1569" y="794"/>
                  </a:lnTo>
                  <a:lnTo>
                    <a:pt x="1563" y="788"/>
                  </a:lnTo>
                  <a:lnTo>
                    <a:pt x="1557" y="780"/>
                  </a:lnTo>
                  <a:lnTo>
                    <a:pt x="1555" y="774"/>
                  </a:lnTo>
                  <a:lnTo>
                    <a:pt x="1553" y="768"/>
                  </a:lnTo>
                  <a:lnTo>
                    <a:pt x="1551" y="764"/>
                  </a:lnTo>
                  <a:lnTo>
                    <a:pt x="1551" y="760"/>
                  </a:lnTo>
                  <a:lnTo>
                    <a:pt x="1555" y="752"/>
                  </a:lnTo>
                  <a:lnTo>
                    <a:pt x="1557" y="746"/>
                  </a:lnTo>
                  <a:lnTo>
                    <a:pt x="1559" y="736"/>
                  </a:lnTo>
                  <a:lnTo>
                    <a:pt x="1565" y="722"/>
                  </a:lnTo>
                  <a:lnTo>
                    <a:pt x="1569" y="716"/>
                  </a:lnTo>
                  <a:lnTo>
                    <a:pt x="1573" y="708"/>
                  </a:lnTo>
                  <a:lnTo>
                    <a:pt x="1583" y="700"/>
                  </a:lnTo>
                  <a:lnTo>
                    <a:pt x="1591" y="698"/>
                  </a:lnTo>
                  <a:lnTo>
                    <a:pt x="1597" y="700"/>
                  </a:lnTo>
                  <a:lnTo>
                    <a:pt x="1609" y="700"/>
                  </a:lnTo>
                  <a:lnTo>
                    <a:pt x="1617" y="700"/>
                  </a:lnTo>
                  <a:lnTo>
                    <a:pt x="1623" y="704"/>
                  </a:lnTo>
                  <a:lnTo>
                    <a:pt x="1629" y="714"/>
                  </a:lnTo>
                  <a:lnTo>
                    <a:pt x="1635" y="716"/>
                  </a:lnTo>
                  <a:lnTo>
                    <a:pt x="1659" y="724"/>
                  </a:lnTo>
                  <a:lnTo>
                    <a:pt x="1667" y="726"/>
                  </a:lnTo>
                  <a:lnTo>
                    <a:pt x="1675" y="726"/>
                  </a:lnTo>
                  <a:lnTo>
                    <a:pt x="1685" y="728"/>
                  </a:lnTo>
                  <a:lnTo>
                    <a:pt x="1689" y="728"/>
                  </a:lnTo>
                  <a:lnTo>
                    <a:pt x="1693" y="730"/>
                  </a:lnTo>
                  <a:lnTo>
                    <a:pt x="1699" y="728"/>
                  </a:lnTo>
                  <a:lnTo>
                    <a:pt x="1705" y="722"/>
                  </a:lnTo>
                  <a:lnTo>
                    <a:pt x="1713" y="716"/>
                  </a:lnTo>
                  <a:lnTo>
                    <a:pt x="1717" y="714"/>
                  </a:lnTo>
                  <a:lnTo>
                    <a:pt x="1723" y="712"/>
                  </a:lnTo>
                  <a:lnTo>
                    <a:pt x="1725" y="708"/>
                  </a:lnTo>
                  <a:lnTo>
                    <a:pt x="1731" y="702"/>
                  </a:lnTo>
                  <a:lnTo>
                    <a:pt x="1739" y="696"/>
                  </a:lnTo>
                  <a:lnTo>
                    <a:pt x="1749" y="688"/>
                  </a:lnTo>
                  <a:lnTo>
                    <a:pt x="1753" y="680"/>
                  </a:lnTo>
                  <a:lnTo>
                    <a:pt x="1753" y="676"/>
                  </a:lnTo>
                  <a:lnTo>
                    <a:pt x="1755" y="672"/>
                  </a:lnTo>
                  <a:lnTo>
                    <a:pt x="1757" y="670"/>
                  </a:lnTo>
                  <a:lnTo>
                    <a:pt x="1763" y="668"/>
                  </a:lnTo>
                  <a:lnTo>
                    <a:pt x="1769" y="666"/>
                  </a:lnTo>
                  <a:lnTo>
                    <a:pt x="1781" y="670"/>
                  </a:lnTo>
                  <a:lnTo>
                    <a:pt x="1797" y="670"/>
                  </a:lnTo>
                  <a:lnTo>
                    <a:pt x="1801" y="670"/>
                  </a:lnTo>
                  <a:lnTo>
                    <a:pt x="1815" y="666"/>
                  </a:lnTo>
                  <a:lnTo>
                    <a:pt x="1821" y="666"/>
                  </a:lnTo>
                  <a:lnTo>
                    <a:pt x="1831" y="664"/>
                  </a:lnTo>
                  <a:lnTo>
                    <a:pt x="1837" y="656"/>
                  </a:lnTo>
                  <a:lnTo>
                    <a:pt x="1847" y="648"/>
                  </a:lnTo>
                  <a:lnTo>
                    <a:pt x="1855" y="642"/>
                  </a:lnTo>
                  <a:lnTo>
                    <a:pt x="1859" y="642"/>
                  </a:lnTo>
                  <a:lnTo>
                    <a:pt x="1865" y="636"/>
                  </a:lnTo>
                  <a:lnTo>
                    <a:pt x="1867" y="632"/>
                  </a:lnTo>
                  <a:lnTo>
                    <a:pt x="1867" y="628"/>
                  </a:lnTo>
                  <a:lnTo>
                    <a:pt x="1865" y="622"/>
                  </a:lnTo>
                  <a:lnTo>
                    <a:pt x="1869" y="616"/>
                  </a:lnTo>
                  <a:lnTo>
                    <a:pt x="1875" y="604"/>
                  </a:lnTo>
                  <a:lnTo>
                    <a:pt x="1881" y="598"/>
                  </a:lnTo>
                  <a:lnTo>
                    <a:pt x="1885" y="592"/>
                  </a:lnTo>
                  <a:lnTo>
                    <a:pt x="1889" y="586"/>
                  </a:lnTo>
                  <a:lnTo>
                    <a:pt x="1893" y="582"/>
                  </a:lnTo>
                  <a:lnTo>
                    <a:pt x="1897" y="582"/>
                  </a:lnTo>
                  <a:lnTo>
                    <a:pt x="1903" y="576"/>
                  </a:lnTo>
                  <a:lnTo>
                    <a:pt x="1909" y="576"/>
                  </a:lnTo>
                  <a:lnTo>
                    <a:pt x="1915" y="578"/>
                  </a:lnTo>
                  <a:lnTo>
                    <a:pt x="1927" y="578"/>
                  </a:lnTo>
                  <a:lnTo>
                    <a:pt x="1935" y="580"/>
                  </a:lnTo>
                  <a:lnTo>
                    <a:pt x="1939" y="578"/>
                  </a:lnTo>
                  <a:lnTo>
                    <a:pt x="1941" y="576"/>
                  </a:lnTo>
                  <a:lnTo>
                    <a:pt x="1941" y="572"/>
                  </a:lnTo>
                  <a:lnTo>
                    <a:pt x="1943" y="562"/>
                  </a:lnTo>
                  <a:lnTo>
                    <a:pt x="1943" y="558"/>
                  </a:lnTo>
                  <a:lnTo>
                    <a:pt x="1947" y="556"/>
                  </a:lnTo>
                  <a:lnTo>
                    <a:pt x="1953" y="556"/>
                  </a:lnTo>
                  <a:lnTo>
                    <a:pt x="1957" y="560"/>
                  </a:lnTo>
                  <a:lnTo>
                    <a:pt x="1961" y="562"/>
                  </a:lnTo>
                  <a:lnTo>
                    <a:pt x="1965" y="564"/>
                  </a:lnTo>
                  <a:lnTo>
                    <a:pt x="1971" y="562"/>
                  </a:lnTo>
                  <a:lnTo>
                    <a:pt x="1977" y="554"/>
                  </a:lnTo>
                  <a:lnTo>
                    <a:pt x="1987" y="550"/>
                  </a:lnTo>
                  <a:lnTo>
                    <a:pt x="1993" y="548"/>
                  </a:lnTo>
                  <a:lnTo>
                    <a:pt x="2003" y="544"/>
                  </a:lnTo>
                  <a:lnTo>
                    <a:pt x="2009" y="546"/>
                  </a:lnTo>
                  <a:lnTo>
                    <a:pt x="2021" y="546"/>
                  </a:lnTo>
                  <a:lnTo>
                    <a:pt x="2025" y="546"/>
                  </a:lnTo>
                  <a:lnTo>
                    <a:pt x="2031" y="546"/>
                  </a:lnTo>
                  <a:lnTo>
                    <a:pt x="2035" y="542"/>
                  </a:lnTo>
                  <a:lnTo>
                    <a:pt x="2039" y="540"/>
                  </a:lnTo>
                  <a:lnTo>
                    <a:pt x="2045" y="542"/>
                  </a:lnTo>
                  <a:lnTo>
                    <a:pt x="2051" y="546"/>
                  </a:lnTo>
                  <a:lnTo>
                    <a:pt x="2059" y="552"/>
                  </a:lnTo>
                  <a:lnTo>
                    <a:pt x="2071" y="554"/>
                  </a:lnTo>
                  <a:lnTo>
                    <a:pt x="2079" y="552"/>
                  </a:lnTo>
                  <a:lnTo>
                    <a:pt x="2089" y="556"/>
                  </a:lnTo>
                  <a:lnTo>
                    <a:pt x="2095" y="554"/>
                  </a:lnTo>
                  <a:lnTo>
                    <a:pt x="2097" y="552"/>
                  </a:lnTo>
                  <a:lnTo>
                    <a:pt x="2105" y="548"/>
                  </a:lnTo>
                  <a:lnTo>
                    <a:pt x="2107" y="542"/>
                  </a:lnTo>
                  <a:lnTo>
                    <a:pt x="2107" y="538"/>
                  </a:lnTo>
                  <a:lnTo>
                    <a:pt x="2107" y="530"/>
                  </a:lnTo>
                  <a:lnTo>
                    <a:pt x="2105" y="526"/>
                  </a:lnTo>
                  <a:lnTo>
                    <a:pt x="2099" y="520"/>
                  </a:lnTo>
                  <a:lnTo>
                    <a:pt x="2099" y="514"/>
                  </a:lnTo>
                  <a:lnTo>
                    <a:pt x="2097" y="508"/>
                  </a:lnTo>
                  <a:lnTo>
                    <a:pt x="2095" y="502"/>
                  </a:lnTo>
                  <a:lnTo>
                    <a:pt x="2087" y="496"/>
                  </a:lnTo>
                  <a:lnTo>
                    <a:pt x="2083" y="492"/>
                  </a:lnTo>
                  <a:lnTo>
                    <a:pt x="2073" y="480"/>
                  </a:lnTo>
                  <a:lnTo>
                    <a:pt x="2069" y="478"/>
                  </a:lnTo>
                  <a:lnTo>
                    <a:pt x="2069" y="476"/>
                  </a:lnTo>
                  <a:lnTo>
                    <a:pt x="2067" y="472"/>
                  </a:lnTo>
                  <a:lnTo>
                    <a:pt x="2063" y="470"/>
                  </a:lnTo>
                  <a:lnTo>
                    <a:pt x="2059" y="466"/>
                  </a:lnTo>
                  <a:lnTo>
                    <a:pt x="2057" y="464"/>
                  </a:lnTo>
                  <a:lnTo>
                    <a:pt x="2055" y="458"/>
                  </a:lnTo>
                  <a:lnTo>
                    <a:pt x="2053" y="454"/>
                  </a:lnTo>
                  <a:lnTo>
                    <a:pt x="2049" y="452"/>
                  </a:lnTo>
                  <a:lnTo>
                    <a:pt x="2045" y="450"/>
                  </a:lnTo>
                  <a:lnTo>
                    <a:pt x="2041" y="448"/>
                  </a:lnTo>
                  <a:lnTo>
                    <a:pt x="2033" y="444"/>
                  </a:lnTo>
                  <a:lnTo>
                    <a:pt x="2029" y="438"/>
                  </a:lnTo>
                  <a:lnTo>
                    <a:pt x="2021" y="426"/>
                  </a:lnTo>
                  <a:lnTo>
                    <a:pt x="2015" y="422"/>
                  </a:lnTo>
                  <a:lnTo>
                    <a:pt x="1999" y="420"/>
                  </a:lnTo>
                  <a:lnTo>
                    <a:pt x="1993" y="418"/>
                  </a:lnTo>
                  <a:lnTo>
                    <a:pt x="1985" y="418"/>
                  </a:lnTo>
                  <a:lnTo>
                    <a:pt x="1981" y="420"/>
                  </a:lnTo>
                  <a:lnTo>
                    <a:pt x="1973" y="420"/>
                  </a:lnTo>
                  <a:lnTo>
                    <a:pt x="1967" y="422"/>
                  </a:lnTo>
                  <a:lnTo>
                    <a:pt x="1961" y="430"/>
                  </a:lnTo>
                  <a:lnTo>
                    <a:pt x="1953" y="440"/>
                  </a:lnTo>
                  <a:lnTo>
                    <a:pt x="1947" y="446"/>
                  </a:lnTo>
                  <a:lnTo>
                    <a:pt x="1943" y="452"/>
                  </a:lnTo>
                  <a:lnTo>
                    <a:pt x="1941" y="454"/>
                  </a:lnTo>
                  <a:lnTo>
                    <a:pt x="1935" y="452"/>
                  </a:lnTo>
                  <a:lnTo>
                    <a:pt x="1931" y="446"/>
                  </a:lnTo>
                  <a:lnTo>
                    <a:pt x="1921" y="440"/>
                  </a:lnTo>
                  <a:lnTo>
                    <a:pt x="1915" y="436"/>
                  </a:lnTo>
                  <a:lnTo>
                    <a:pt x="1911" y="434"/>
                  </a:lnTo>
                  <a:lnTo>
                    <a:pt x="1901" y="432"/>
                  </a:lnTo>
                  <a:lnTo>
                    <a:pt x="1895" y="434"/>
                  </a:lnTo>
                  <a:lnTo>
                    <a:pt x="1885" y="436"/>
                  </a:lnTo>
                  <a:lnTo>
                    <a:pt x="1877" y="436"/>
                  </a:lnTo>
                  <a:lnTo>
                    <a:pt x="1873" y="434"/>
                  </a:lnTo>
                  <a:lnTo>
                    <a:pt x="1867" y="434"/>
                  </a:lnTo>
                  <a:lnTo>
                    <a:pt x="1857" y="440"/>
                  </a:lnTo>
                  <a:lnTo>
                    <a:pt x="1851" y="448"/>
                  </a:lnTo>
                  <a:lnTo>
                    <a:pt x="1845" y="450"/>
                  </a:lnTo>
                  <a:lnTo>
                    <a:pt x="1839" y="446"/>
                  </a:lnTo>
                  <a:lnTo>
                    <a:pt x="1833" y="440"/>
                  </a:lnTo>
                  <a:lnTo>
                    <a:pt x="1827" y="432"/>
                  </a:lnTo>
                  <a:lnTo>
                    <a:pt x="1823" y="426"/>
                  </a:lnTo>
                  <a:lnTo>
                    <a:pt x="1821" y="408"/>
                  </a:lnTo>
                  <a:lnTo>
                    <a:pt x="1829" y="402"/>
                  </a:lnTo>
                  <a:lnTo>
                    <a:pt x="1837" y="396"/>
                  </a:lnTo>
                  <a:lnTo>
                    <a:pt x="1839" y="386"/>
                  </a:lnTo>
                  <a:lnTo>
                    <a:pt x="1837" y="376"/>
                  </a:lnTo>
                  <a:lnTo>
                    <a:pt x="1841" y="364"/>
                  </a:lnTo>
                  <a:lnTo>
                    <a:pt x="1849" y="352"/>
                  </a:lnTo>
                  <a:lnTo>
                    <a:pt x="1853" y="342"/>
                  </a:lnTo>
                  <a:lnTo>
                    <a:pt x="1853" y="338"/>
                  </a:lnTo>
                  <a:lnTo>
                    <a:pt x="1859" y="328"/>
                  </a:lnTo>
                  <a:lnTo>
                    <a:pt x="1863" y="318"/>
                  </a:lnTo>
                  <a:lnTo>
                    <a:pt x="1867" y="304"/>
                  </a:lnTo>
                  <a:lnTo>
                    <a:pt x="1877" y="280"/>
                  </a:lnTo>
                  <a:lnTo>
                    <a:pt x="1891" y="252"/>
                  </a:lnTo>
                  <a:lnTo>
                    <a:pt x="1897" y="23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8" name="Freeform 5765">
              <a:extLst>
                <a:ext uri="{FF2B5EF4-FFF2-40B4-BE49-F238E27FC236}">
                  <a16:creationId xmlns:a16="http://schemas.microsoft.com/office/drawing/2014/main" id="{6D2BEADB-0962-47D1-8A2C-A2A2E33B2A23}"/>
                </a:ext>
              </a:extLst>
            </p:cNvPr>
            <p:cNvSpPr/>
            <p:nvPr/>
          </p:nvSpPr>
          <p:spPr bwMode="auto">
            <a:xfrm>
              <a:off x="8965899" y="5047100"/>
              <a:ext cx="3084" cy="2313"/>
            </a:xfrm>
            <a:custGeom>
              <a:avLst/>
              <a:gdLst>
                <a:gd name="T0" fmla="*/ 8 w 8"/>
                <a:gd name="T1" fmla="*/ 2 h 6"/>
                <a:gd name="T2" fmla="*/ 8 w 8"/>
                <a:gd name="T3" fmla="*/ 2 h 6"/>
                <a:gd name="T4" fmla="*/ 6 w 8"/>
                <a:gd name="T5" fmla="*/ 0 h 6"/>
                <a:gd name="T6" fmla="*/ 0 w 8"/>
                <a:gd name="T7" fmla="*/ 2 h 6"/>
                <a:gd name="T8" fmla="*/ 0 w 8"/>
                <a:gd name="T9" fmla="*/ 4 h 6"/>
                <a:gd name="T10" fmla="*/ 2 w 8"/>
                <a:gd name="T11" fmla="*/ 6 h 6"/>
                <a:gd name="T12" fmla="*/ 4 w 8"/>
                <a:gd name="T13" fmla="*/ 6 h 6"/>
                <a:gd name="T14" fmla="*/ 8 w 8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8" y="2"/>
                  </a:moveTo>
                  <a:lnTo>
                    <a:pt x="8" y="2"/>
                  </a:lnTo>
                  <a:lnTo>
                    <a:pt x="6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4" y="6"/>
                  </a:lnTo>
                  <a:lnTo>
                    <a:pt x="8" y="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9" name="Freeform 5766">
              <a:extLst>
                <a:ext uri="{FF2B5EF4-FFF2-40B4-BE49-F238E27FC236}">
                  <a16:creationId xmlns:a16="http://schemas.microsoft.com/office/drawing/2014/main" id="{3BE68A22-BC2B-401B-9176-017AC632F4E7}"/>
                </a:ext>
              </a:extLst>
            </p:cNvPr>
            <p:cNvSpPr/>
            <p:nvPr/>
          </p:nvSpPr>
          <p:spPr bwMode="auto">
            <a:xfrm>
              <a:off x="8976691" y="5024744"/>
              <a:ext cx="2313" cy="3854"/>
            </a:xfrm>
            <a:custGeom>
              <a:avLst/>
              <a:gdLst>
                <a:gd name="T0" fmla="*/ 6 w 6"/>
                <a:gd name="T1" fmla="*/ 6 h 10"/>
                <a:gd name="T2" fmla="*/ 4 w 6"/>
                <a:gd name="T3" fmla="*/ 0 h 10"/>
                <a:gd name="T4" fmla="*/ 2 w 6"/>
                <a:gd name="T5" fmla="*/ 0 h 10"/>
                <a:gd name="T6" fmla="*/ 0 w 6"/>
                <a:gd name="T7" fmla="*/ 2 h 10"/>
                <a:gd name="T8" fmla="*/ 0 w 6"/>
                <a:gd name="T9" fmla="*/ 4 h 10"/>
                <a:gd name="T10" fmla="*/ 2 w 6"/>
                <a:gd name="T11" fmla="*/ 10 h 10"/>
                <a:gd name="T12" fmla="*/ 6 w 6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0">
                  <a:moveTo>
                    <a:pt x="6" y="6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10"/>
                  </a:lnTo>
                  <a:lnTo>
                    <a:pt x="6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0" name="Freeform 5767">
              <a:extLst>
                <a:ext uri="{FF2B5EF4-FFF2-40B4-BE49-F238E27FC236}">
                  <a16:creationId xmlns:a16="http://schemas.microsoft.com/office/drawing/2014/main" id="{1168038D-9FE4-4D84-A019-C46FD16C3DA3}"/>
                </a:ext>
              </a:extLst>
            </p:cNvPr>
            <p:cNvSpPr/>
            <p:nvPr/>
          </p:nvSpPr>
          <p:spPr bwMode="auto">
            <a:xfrm>
              <a:off x="8979004" y="5019348"/>
              <a:ext cx="3854" cy="3854"/>
            </a:xfrm>
            <a:custGeom>
              <a:avLst/>
              <a:gdLst>
                <a:gd name="T0" fmla="*/ 6 w 10"/>
                <a:gd name="T1" fmla="*/ 8 h 10"/>
                <a:gd name="T2" fmla="*/ 8 w 10"/>
                <a:gd name="T3" fmla="*/ 6 h 10"/>
                <a:gd name="T4" fmla="*/ 8 w 10"/>
                <a:gd name="T5" fmla="*/ 2 h 10"/>
                <a:gd name="T6" fmla="*/ 10 w 10"/>
                <a:gd name="T7" fmla="*/ 0 h 10"/>
                <a:gd name="T8" fmla="*/ 8 w 10"/>
                <a:gd name="T9" fmla="*/ 0 h 10"/>
                <a:gd name="T10" fmla="*/ 2 w 10"/>
                <a:gd name="T11" fmla="*/ 4 h 10"/>
                <a:gd name="T12" fmla="*/ 0 w 10"/>
                <a:gd name="T13" fmla="*/ 10 h 10"/>
                <a:gd name="T14" fmla="*/ 2 w 10"/>
                <a:gd name="T15" fmla="*/ 10 h 10"/>
                <a:gd name="T16" fmla="*/ 6 w 10"/>
                <a:gd name="T17" fmla="*/ 10 h 10"/>
                <a:gd name="T18" fmla="*/ 6 w 10"/>
                <a:gd name="T1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0">
                  <a:moveTo>
                    <a:pt x="6" y="8"/>
                  </a:moveTo>
                  <a:lnTo>
                    <a:pt x="8" y="6"/>
                  </a:lnTo>
                  <a:lnTo>
                    <a:pt x="8" y="2"/>
                  </a:lnTo>
                  <a:lnTo>
                    <a:pt x="10" y="0"/>
                  </a:lnTo>
                  <a:lnTo>
                    <a:pt x="8" y="0"/>
                  </a:lnTo>
                  <a:lnTo>
                    <a:pt x="2" y="4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6" y="10"/>
                  </a:lnTo>
                  <a:lnTo>
                    <a:pt x="6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1" name="Freeform 5768">
              <a:extLst>
                <a:ext uri="{FF2B5EF4-FFF2-40B4-BE49-F238E27FC236}">
                  <a16:creationId xmlns:a16="http://schemas.microsoft.com/office/drawing/2014/main" id="{8C23EBDD-84BE-4D64-B970-EFB978042D51}"/>
                </a:ext>
              </a:extLst>
            </p:cNvPr>
            <p:cNvSpPr/>
            <p:nvPr/>
          </p:nvSpPr>
          <p:spPr bwMode="auto">
            <a:xfrm>
              <a:off x="8978233" y="4990055"/>
              <a:ext cx="1542" cy="771"/>
            </a:xfrm>
            <a:custGeom>
              <a:avLst/>
              <a:gdLst>
                <a:gd name="T0" fmla="*/ 4 w 4"/>
                <a:gd name="T1" fmla="*/ 2 h 2"/>
                <a:gd name="T2" fmla="*/ 4 w 4"/>
                <a:gd name="T3" fmla="*/ 2 h 2"/>
                <a:gd name="T4" fmla="*/ 4 w 4"/>
                <a:gd name="T5" fmla="*/ 0 h 2"/>
                <a:gd name="T6" fmla="*/ 0 w 4"/>
                <a:gd name="T7" fmla="*/ 0 h 2"/>
                <a:gd name="T8" fmla="*/ 0 w 4"/>
                <a:gd name="T9" fmla="*/ 2 h 2"/>
                <a:gd name="T10" fmla="*/ 2 w 4"/>
                <a:gd name="T11" fmla="*/ 2 h 2"/>
                <a:gd name="T12" fmla="*/ 4 w 4"/>
                <a:gd name="T13" fmla="*/ 2 h 2"/>
                <a:gd name="T14" fmla="*/ 4 w 4"/>
                <a:gd name="T1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4" y="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2" name="Freeform 5769">
              <a:extLst>
                <a:ext uri="{FF2B5EF4-FFF2-40B4-BE49-F238E27FC236}">
                  <a16:creationId xmlns:a16="http://schemas.microsoft.com/office/drawing/2014/main" id="{4D59D795-6269-498C-BF5B-0DCC036B6D65}"/>
                </a:ext>
              </a:extLst>
            </p:cNvPr>
            <p:cNvSpPr/>
            <p:nvPr/>
          </p:nvSpPr>
          <p:spPr bwMode="auto">
            <a:xfrm>
              <a:off x="8980546" y="4942260"/>
              <a:ext cx="2313" cy="3084"/>
            </a:xfrm>
            <a:custGeom>
              <a:avLst/>
              <a:gdLst>
                <a:gd name="T0" fmla="*/ 2 w 6"/>
                <a:gd name="T1" fmla="*/ 8 h 8"/>
                <a:gd name="T2" fmla="*/ 6 w 6"/>
                <a:gd name="T3" fmla="*/ 4 h 8"/>
                <a:gd name="T4" fmla="*/ 4 w 6"/>
                <a:gd name="T5" fmla="*/ 0 h 8"/>
                <a:gd name="T6" fmla="*/ 4 w 6"/>
                <a:gd name="T7" fmla="*/ 2 h 8"/>
                <a:gd name="T8" fmla="*/ 0 w 6"/>
                <a:gd name="T9" fmla="*/ 8 h 8"/>
                <a:gd name="T10" fmla="*/ 2 w 6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8">
                  <a:moveTo>
                    <a:pt x="2" y="8"/>
                  </a:moveTo>
                  <a:lnTo>
                    <a:pt x="6" y="4"/>
                  </a:lnTo>
                  <a:lnTo>
                    <a:pt x="4" y="0"/>
                  </a:lnTo>
                  <a:lnTo>
                    <a:pt x="4" y="2"/>
                  </a:lnTo>
                  <a:lnTo>
                    <a:pt x="0" y="8"/>
                  </a:lnTo>
                  <a:lnTo>
                    <a:pt x="2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3" name="Freeform 5770">
              <a:extLst>
                <a:ext uri="{FF2B5EF4-FFF2-40B4-BE49-F238E27FC236}">
                  <a16:creationId xmlns:a16="http://schemas.microsoft.com/office/drawing/2014/main" id="{D4B99449-2975-43E6-BA55-72CC7AAAE615}"/>
                </a:ext>
              </a:extLst>
            </p:cNvPr>
            <p:cNvSpPr/>
            <p:nvPr/>
          </p:nvSpPr>
          <p:spPr bwMode="auto">
            <a:xfrm>
              <a:off x="8978233" y="4925301"/>
              <a:ext cx="1542" cy="2313"/>
            </a:xfrm>
            <a:custGeom>
              <a:avLst/>
              <a:gdLst>
                <a:gd name="T0" fmla="*/ 4 w 4"/>
                <a:gd name="T1" fmla="*/ 4 h 6"/>
                <a:gd name="T2" fmla="*/ 4 w 4"/>
                <a:gd name="T3" fmla="*/ 2 h 6"/>
                <a:gd name="T4" fmla="*/ 4 w 4"/>
                <a:gd name="T5" fmla="*/ 2 h 6"/>
                <a:gd name="T6" fmla="*/ 0 w 4"/>
                <a:gd name="T7" fmla="*/ 0 h 6"/>
                <a:gd name="T8" fmla="*/ 0 w 4"/>
                <a:gd name="T9" fmla="*/ 4 h 6"/>
                <a:gd name="T10" fmla="*/ 2 w 4"/>
                <a:gd name="T11" fmla="*/ 6 h 6"/>
                <a:gd name="T12" fmla="*/ 4 w 4"/>
                <a:gd name="T13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6">
                  <a:moveTo>
                    <a:pt x="4" y="4"/>
                  </a:moveTo>
                  <a:lnTo>
                    <a:pt x="4" y="2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6"/>
                  </a:lnTo>
                  <a:lnTo>
                    <a:pt x="4" y="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4" name="Line 5771">
              <a:extLst>
                <a:ext uri="{FF2B5EF4-FFF2-40B4-BE49-F238E27FC236}">
                  <a16:creationId xmlns:a16="http://schemas.microsoft.com/office/drawing/2014/main" id="{99A3D03A-3ADD-462E-B87A-BE62C5F06DE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979775" y="4926843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5" name="Line 5778">
              <a:extLst>
                <a:ext uri="{FF2B5EF4-FFF2-40B4-BE49-F238E27FC236}">
                  <a16:creationId xmlns:a16="http://schemas.microsoft.com/office/drawing/2014/main" id="{60F752A6-6206-4B87-B8EC-61A6A4DAB0D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979775" y="4926843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6" name="Freeform 5779">
              <a:extLst>
                <a:ext uri="{FF2B5EF4-FFF2-40B4-BE49-F238E27FC236}">
                  <a16:creationId xmlns:a16="http://schemas.microsoft.com/office/drawing/2014/main" id="{7C0E3CFE-6C9F-47D4-8CB2-F347FBDD001D}"/>
                </a:ext>
              </a:extLst>
            </p:cNvPr>
            <p:cNvSpPr/>
            <p:nvPr/>
          </p:nvSpPr>
          <p:spPr bwMode="auto">
            <a:xfrm>
              <a:off x="6062392" y="5675364"/>
              <a:ext cx="268265" cy="439014"/>
            </a:xfrm>
            <a:custGeom>
              <a:avLst/>
              <a:gdLst>
                <a:gd name="T0" fmla="*/ 168 w 696"/>
                <a:gd name="T1" fmla="*/ 1093 h 1139"/>
                <a:gd name="T2" fmla="*/ 178 w 696"/>
                <a:gd name="T3" fmla="*/ 1039 h 1139"/>
                <a:gd name="T4" fmla="*/ 342 w 696"/>
                <a:gd name="T5" fmla="*/ 943 h 1139"/>
                <a:gd name="T6" fmla="*/ 338 w 696"/>
                <a:gd name="T7" fmla="*/ 909 h 1139"/>
                <a:gd name="T8" fmla="*/ 346 w 696"/>
                <a:gd name="T9" fmla="*/ 801 h 1139"/>
                <a:gd name="T10" fmla="*/ 334 w 696"/>
                <a:gd name="T11" fmla="*/ 807 h 1139"/>
                <a:gd name="T12" fmla="*/ 298 w 696"/>
                <a:gd name="T13" fmla="*/ 687 h 1139"/>
                <a:gd name="T14" fmla="*/ 294 w 696"/>
                <a:gd name="T15" fmla="*/ 627 h 1139"/>
                <a:gd name="T16" fmla="*/ 386 w 696"/>
                <a:gd name="T17" fmla="*/ 567 h 1139"/>
                <a:gd name="T18" fmla="*/ 414 w 696"/>
                <a:gd name="T19" fmla="*/ 545 h 1139"/>
                <a:gd name="T20" fmla="*/ 478 w 696"/>
                <a:gd name="T21" fmla="*/ 479 h 1139"/>
                <a:gd name="T22" fmla="*/ 556 w 696"/>
                <a:gd name="T23" fmla="*/ 443 h 1139"/>
                <a:gd name="T24" fmla="*/ 626 w 696"/>
                <a:gd name="T25" fmla="*/ 405 h 1139"/>
                <a:gd name="T26" fmla="*/ 654 w 696"/>
                <a:gd name="T27" fmla="*/ 363 h 1139"/>
                <a:gd name="T28" fmla="*/ 686 w 696"/>
                <a:gd name="T29" fmla="*/ 305 h 1139"/>
                <a:gd name="T30" fmla="*/ 694 w 696"/>
                <a:gd name="T31" fmla="*/ 269 h 1139"/>
                <a:gd name="T32" fmla="*/ 684 w 696"/>
                <a:gd name="T33" fmla="*/ 249 h 1139"/>
                <a:gd name="T34" fmla="*/ 676 w 696"/>
                <a:gd name="T35" fmla="*/ 189 h 1139"/>
                <a:gd name="T36" fmla="*/ 676 w 696"/>
                <a:gd name="T37" fmla="*/ 158 h 1139"/>
                <a:gd name="T38" fmla="*/ 676 w 696"/>
                <a:gd name="T39" fmla="*/ 104 h 1139"/>
                <a:gd name="T40" fmla="*/ 676 w 696"/>
                <a:gd name="T41" fmla="*/ 40 h 1139"/>
                <a:gd name="T42" fmla="*/ 674 w 696"/>
                <a:gd name="T43" fmla="*/ 8 h 1139"/>
                <a:gd name="T44" fmla="*/ 604 w 696"/>
                <a:gd name="T45" fmla="*/ 38 h 1139"/>
                <a:gd name="T46" fmla="*/ 520 w 696"/>
                <a:gd name="T47" fmla="*/ 54 h 1139"/>
                <a:gd name="T48" fmla="*/ 468 w 696"/>
                <a:gd name="T49" fmla="*/ 84 h 1139"/>
                <a:gd name="T50" fmla="*/ 412 w 696"/>
                <a:gd name="T51" fmla="*/ 84 h 1139"/>
                <a:gd name="T52" fmla="*/ 354 w 696"/>
                <a:gd name="T53" fmla="*/ 76 h 1139"/>
                <a:gd name="T54" fmla="*/ 308 w 696"/>
                <a:gd name="T55" fmla="*/ 94 h 1139"/>
                <a:gd name="T56" fmla="*/ 294 w 696"/>
                <a:gd name="T57" fmla="*/ 128 h 1139"/>
                <a:gd name="T58" fmla="*/ 300 w 696"/>
                <a:gd name="T59" fmla="*/ 179 h 1139"/>
                <a:gd name="T60" fmla="*/ 328 w 696"/>
                <a:gd name="T61" fmla="*/ 229 h 1139"/>
                <a:gd name="T62" fmla="*/ 366 w 696"/>
                <a:gd name="T63" fmla="*/ 323 h 1139"/>
                <a:gd name="T64" fmla="*/ 334 w 696"/>
                <a:gd name="T65" fmla="*/ 385 h 1139"/>
                <a:gd name="T66" fmla="*/ 332 w 696"/>
                <a:gd name="T67" fmla="*/ 447 h 1139"/>
                <a:gd name="T68" fmla="*/ 320 w 696"/>
                <a:gd name="T69" fmla="*/ 433 h 1139"/>
                <a:gd name="T70" fmla="*/ 274 w 696"/>
                <a:gd name="T71" fmla="*/ 389 h 1139"/>
                <a:gd name="T72" fmla="*/ 266 w 696"/>
                <a:gd name="T73" fmla="*/ 357 h 1139"/>
                <a:gd name="T74" fmla="*/ 282 w 696"/>
                <a:gd name="T75" fmla="*/ 287 h 1139"/>
                <a:gd name="T76" fmla="*/ 232 w 696"/>
                <a:gd name="T77" fmla="*/ 271 h 1139"/>
                <a:gd name="T78" fmla="*/ 180 w 696"/>
                <a:gd name="T79" fmla="*/ 243 h 1139"/>
                <a:gd name="T80" fmla="*/ 92 w 696"/>
                <a:gd name="T81" fmla="*/ 273 h 1139"/>
                <a:gd name="T82" fmla="*/ 0 w 696"/>
                <a:gd name="T83" fmla="*/ 303 h 1139"/>
                <a:gd name="T84" fmla="*/ 10 w 696"/>
                <a:gd name="T85" fmla="*/ 359 h 1139"/>
                <a:gd name="T86" fmla="*/ 96 w 696"/>
                <a:gd name="T87" fmla="*/ 387 h 1139"/>
                <a:gd name="T88" fmla="*/ 178 w 696"/>
                <a:gd name="T89" fmla="*/ 421 h 1139"/>
                <a:gd name="T90" fmla="*/ 180 w 696"/>
                <a:gd name="T91" fmla="*/ 523 h 1139"/>
                <a:gd name="T92" fmla="*/ 172 w 696"/>
                <a:gd name="T93" fmla="*/ 563 h 1139"/>
                <a:gd name="T94" fmla="*/ 172 w 696"/>
                <a:gd name="T95" fmla="*/ 589 h 1139"/>
                <a:gd name="T96" fmla="*/ 180 w 696"/>
                <a:gd name="T97" fmla="*/ 647 h 1139"/>
                <a:gd name="T98" fmla="*/ 148 w 696"/>
                <a:gd name="T99" fmla="*/ 715 h 1139"/>
                <a:gd name="T100" fmla="*/ 98 w 696"/>
                <a:gd name="T101" fmla="*/ 787 h 1139"/>
                <a:gd name="T102" fmla="*/ 80 w 696"/>
                <a:gd name="T103" fmla="*/ 861 h 1139"/>
                <a:gd name="T104" fmla="*/ 102 w 696"/>
                <a:gd name="T105" fmla="*/ 923 h 1139"/>
                <a:gd name="T106" fmla="*/ 114 w 696"/>
                <a:gd name="T107" fmla="*/ 1023 h 1139"/>
                <a:gd name="T108" fmla="*/ 120 w 696"/>
                <a:gd name="T109" fmla="*/ 1083 h 1139"/>
                <a:gd name="T110" fmla="*/ 140 w 696"/>
                <a:gd name="T111" fmla="*/ 1139 h 1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6" h="1139">
                  <a:moveTo>
                    <a:pt x="174" y="1137"/>
                  </a:moveTo>
                  <a:lnTo>
                    <a:pt x="174" y="1137"/>
                  </a:lnTo>
                  <a:lnTo>
                    <a:pt x="178" y="1095"/>
                  </a:lnTo>
                  <a:lnTo>
                    <a:pt x="178" y="1081"/>
                  </a:lnTo>
                  <a:lnTo>
                    <a:pt x="176" y="1083"/>
                  </a:lnTo>
                  <a:lnTo>
                    <a:pt x="174" y="1085"/>
                  </a:lnTo>
                  <a:lnTo>
                    <a:pt x="172" y="1095"/>
                  </a:lnTo>
                  <a:lnTo>
                    <a:pt x="168" y="1093"/>
                  </a:lnTo>
                  <a:lnTo>
                    <a:pt x="166" y="1091"/>
                  </a:lnTo>
                  <a:lnTo>
                    <a:pt x="162" y="1087"/>
                  </a:lnTo>
                  <a:lnTo>
                    <a:pt x="158" y="1083"/>
                  </a:lnTo>
                  <a:lnTo>
                    <a:pt x="154" y="1077"/>
                  </a:lnTo>
                  <a:lnTo>
                    <a:pt x="158" y="1069"/>
                  </a:lnTo>
                  <a:lnTo>
                    <a:pt x="164" y="1063"/>
                  </a:lnTo>
                  <a:lnTo>
                    <a:pt x="168" y="1049"/>
                  </a:lnTo>
                  <a:lnTo>
                    <a:pt x="178" y="1039"/>
                  </a:lnTo>
                  <a:lnTo>
                    <a:pt x="204" y="1021"/>
                  </a:lnTo>
                  <a:lnTo>
                    <a:pt x="216" y="1017"/>
                  </a:lnTo>
                  <a:lnTo>
                    <a:pt x="236" y="1007"/>
                  </a:lnTo>
                  <a:lnTo>
                    <a:pt x="286" y="991"/>
                  </a:lnTo>
                  <a:lnTo>
                    <a:pt x="312" y="977"/>
                  </a:lnTo>
                  <a:lnTo>
                    <a:pt x="322" y="971"/>
                  </a:lnTo>
                  <a:lnTo>
                    <a:pt x="330" y="963"/>
                  </a:lnTo>
                  <a:lnTo>
                    <a:pt x="342" y="943"/>
                  </a:lnTo>
                  <a:lnTo>
                    <a:pt x="344" y="935"/>
                  </a:lnTo>
                  <a:lnTo>
                    <a:pt x="348" y="919"/>
                  </a:lnTo>
                  <a:lnTo>
                    <a:pt x="346" y="915"/>
                  </a:lnTo>
                  <a:lnTo>
                    <a:pt x="344" y="915"/>
                  </a:lnTo>
                  <a:lnTo>
                    <a:pt x="342" y="921"/>
                  </a:lnTo>
                  <a:lnTo>
                    <a:pt x="338" y="919"/>
                  </a:lnTo>
                  <a:lnTo>
                    <a:pt x="336" y="917"/>
                  </a:lnTo>
                  <a:lnTo>
                    <a:pt x="338" y="909"/>
                  </a:lnTo>
                  <a:lnTo>
                    <a:pt x="344" y="873"/>
                  </a:lnTo>
                  <a:lnTo>
                    <a:pt x="350" y="857"/>
                  </a:lnTo>
                  <a:lnTo>
                    <a:pt x="346" y="843"/>
                  </a:lnTo>
                  <a:lnTo>
                    <a:pt x="344" y="835"/>
                  </a:lnTo>
                  <a:lnTo>
                    <a:pt x="348" y="815"/>
                  </a:lnTo>
                  <a:lnTo>
                    <a:pt x="348" y="809"/>
                  </a:lnTo>
                  <a:lnTo>
                    <a:pt x="348" y="807"/>
                  </a:lnTo>
                  <a:lnTo>
                    <a:pt x="346" y="801"/>
                  </a:lnTo>
                  <a:lnTo>
                    <a:pt x="344" y="797"/>
                  </a:lnTo>
                  <a:lnTo>
                    <a:pt x="342" y="797"/>
                  </a:lnTo>
                  <a:lnTo>
                    <a:pt x="340" y="801"/>
                  </a:lnTo>
                  <a:lnTo>
                    <a:pt x="338" y="811"/>
                  </a:lnTo>
                  <a:lnTo>
                    <a:pt x="340" y="817"/>
                  </a:lnTo>
                  <a:lnTo>
                    <a:pt x="338" y="821"/>
                  </a:lnTo>
                  <a:lnTo>
                    <a:pt x="334" y="817"/>
                  </a:lnTo>
                  <a:lnTo>
                    <a:pt x="334" y="807"/>
                  </a:lnTo>
                  <a:lnTo>
                    <a:pt x="334" y="791"/>
                  </a:lnTo>
                  <a:lnTo>
                    <a:pt x="330" y="771"/>
                  </a:lnTo>
                  <a:lnTo>
                    <a:pt x="330" y="765"/>
                  </a:lnTo>
                  <a:lnTo>
                    <a:pt x="322" y="747"/>
                  </a:lnTo>
                  <a:lnTo>
                    <a:pt x="320" y="731"/>
                  </a:lnTo>
                  <a:lnTo>
                    <a:pt x="312" y="705"/>
                  </a:lnTo>
                  <a:lnTo>
                    <a:pt x="304" y="695"/>
                  </a:lnTo>
                  <a:lnTo>
                    <a:pt x="298" y="687"/>
                  </a:lnTo>
                  <a:lnTo>
                    <a:pt x="294" y="681"/>
                  </a:lnTo>
                  <a:lnTo>
                    <a:pt x="292" y="677"/>
                  </a:lnTo>
                  <a:lnTo>
                    <a:pt x="296" y="655"/>
                  </a:lnTo>
                  <a:lnTo>
                    <a:pt x="296" y="643"/>
                  </a:lnTo>
                  <a:lnTo>
                    <a:pt x="296" y="635"/>
                  </a:lnTo>
                  <a:lnTo>
                    <a:pt x="294" y="631"/>
                  </a:lnTo>
                  <a:lnTo>
                    <a:pt x="290" y="627"/>
                  </a:lnTo>
                  <a:lnTo>
                    <a:pt x="294" y="627"/>
                  </a:lnTo>
                  <a:lnTo>
                    <a:pt x="302" y="635"/>
                  </a:lnTo>
                  <a:lnTo>
                    <a:pt x="306" y="635"/>
                  </a:lnTo>
                  <a:lnTo>
                    <a:pt x="310" y="635"/>
                  </a:lnTo>
                  <a:lnTo>
                    <a:pt x="336" y="613"/>
                  </a:lnTo>
                  <a:lnTo>
                    <a:pt x="356" y="591"/>
                  </a:lnTo>
                  <a:lnTo>
                    <a:pt x="368" y="579"/>
                  </a:lnTo>
                  <a:lnTo>
                    <a:pt x="376" y="573"/>
                  </a:lnTo>
                  <a:lnTo>
                    <a:pt x="386" y="567"/>
                  </a:lnTo>
                  <a:lnTo>
                    <a:pt x="390" y="569"/>
                  </a:lnTo>
                  <a:lnTo>
                    <a:pt x="394" y="569"/>
                  </a:lnTo>
                  <a:lnTo>
                    <a:pt x="396" y="559"/>
                  </a:lnTo>
                  <a:lnTo>
                    <a:pt x="400" y="565"/>
                  </a:lnTo>
                  <a:lnTo>
                    <a:pt x="404" y="563"/>
                  </a:lnTo>
                  <a:lnTo>
                    <a:pt x="406" y="557"/>
                  </a:lnTo>
                  <a:lnTo>
                    <a:pt x="410" y="549"/>
                  </a:lnTo>
                  <a:lnTo>
                    <a:pt x="414" y="545"/>
                  </a:lnTo>
                  <a:lnTo>
                    <a:pt x="428" y="531"/>
                  </a:lnTo>
                  <a:lnTo>
                    <a:pt x="438" y="519"/>
                  </a:lnTo>
                  <a:lnTo>
                    <a:pt x="438" y="515"/>
                  </a:lnTo>
                  <a:lnTo>
                    <a:pt x="440" y="509"/>
                  </a:lnTo>
                  <a:lnTo>
                    <a:pt x="444" y="505"/>
                  </a:lnTo>
                  <a:lnTo>
                    <a:pt x="448" y="503"/>
                  </a:lnTo>
                  <a:lnTo>
                    <a:pt x="460" y="491"/>
                  </a:lnTo>
                  <a:lnTo>
                    <a:pt x="478" y="479"/>
                  </a:lnTo>
                  <a:lnTo>
                    <a:pt x="498" y="467"/>
                  </a:lnTo>
                  <a:lnTo>
                    <a:pt x="512" y="463"/>
                  </a:lnTo>
                  <a:lnTo>
                    <a:pt x="514" y="459"/>
                  </a:lnTo>
                  <a:lnTo>
                    <a:pt x="518" y="457"/>
                  </a:lnTo>
                  <a:lnTo>
                    <a:pt x="534" y="453"/>
                  </a:lnTo>
                  <a:lnTo>
                    <a:pt x="550" y="447"/>
                  </a:lnTo>
                  <a:lnTo>
                    <a:pt x="554" y="445"/>
                  </a:lnTo>
                  <a:lnTo>
                    <a:pt x="556" y="443"/>
                  </a:lnTo>
                  <a:lnTo>
                    <a:pt x="560" y="445"/>
                  </a:lnTo>
                  <a:lnTo>
                    <a:pt x="568" y="443"/>
                  </a:lnTo>
                  <a:lnTo>
                    <a:pt x="572" y="441"/>
                  </a:lnTo>
                  <a:lnTo>
                    <a:pt x="580" y="439"/>
                  </a:lnTo>
                  <a:lnTo>
                    <a:pt x="586" y="429"/>
                  </a:lnTo>
                  <a:lnTo>
                    <a:pt x="590" y="427"/>
                  </a:lnTo>
                  <a:lnTo>
                    <a:pt x="616" y="411"/>
                  </a:lnTo>
                  <a:lnTo>
                    <a:pt x="626" y="405"/>
                  </a:lnTo>
                  <a:lnTo>
                    <a:pt x="630" y="403"/>
                  </a:lnTo>
                  <a:lnTo>
                    <a:pt x="626" y="393"/>
                  </a:lnTo>
                  <a:lnTo>
                    <a:pt x="632" y="389"/>
                  </a:lnTo>
                  <a:lnTo>
                    <a:pt x="640" y="387"/>
                  </a:lnTo>
                  <a:lnTo>
                    <a:pt x="646" y="377"/>
                  </a:lnTo>
                  <a:lnTo>
                    <a:pt x="648" y="373"/>
                  </a:lnTo>
                  <a:lnTo>
                    <a:pt x="648" y="371"/>
                  </a:lnTo>
                  <a:lnTo>
                    <a:pt x="654" y="363"/>
                  </a:lnTo>
                  <a:lnTo>
                    <a:pt x="660" y="357"/>
                  </a:lnTo>
                  <a:lnTo>
                    <a:pt x="678" y="337"/>
                  </a:lnTo>
                  <a:lnTo>
                    <a:pt x="684" y="323"/>
                  </a:lnTo>
                  <a:lnTo>
                    <a:pt x="684" y="317"/>
                  </a:lnTo>
                  <a:lnTo>
                    <a:pt x="680" y="313"/>
                  </a:lnTo>
                  <a:lnTo>
                    <a:pt x="682" y="309"/>
                  </a:lnTo>
                  <a:lnTo>
                    <a:pt x="686" y="309"/>
                  </a:lnTo>
                  <a:lnTo>
                    <a:pt x="686" y="305"/>
                  </a:lnTo>
                  <a:lnTo>
                    <a:pt x="686" y="299"/>
                  </a:lnTo>
                  <a:lnTo>
                    <a:pt x="692" y="293"/>
                  </a:lnTo>
                  <a:lnTo>
                    <a:pt x="696" y="291"/>
                  </a:lnTo>
                  <a:lnTo>
                    <a:pt x="696" y="285"/>
                  </a:lnTo>
                  <a:lnTo>
                    <a:pt x="694" y="279"/>
                  </a:lnTo>
                  <a:lnTo>
                    <a:pt x="694" y="275"/>
                  </a:lnTo>
                  <a:lnTo>
                    <a:pt x="694" y="273"/>
                  </a:lnTo>
                  <a:lnTo>
                    <a:pt x="694" y="269"/>
                  </a:lnTo>
                  <a:lnTo>
                    <a:pt x="692" y="265"/>
                  </a:lnTo>
                  <a:lnTo>
                    <a:pt x="688" y="265"/>
                  </a:lnTo>
                  <a:lnTo>
                    <a:pt x="682" y="273"/>
                  </a:lnTo>
                  <a:lnTo>
                    <a:pt x="682" y="267"/>
                  </a:lnTo>
                  <a:lnTo>
                    <a:pt x="682" y="263"/>
                  </a:lnTo>
                  <a:lnTo>
                    <a:pt x="688" y="257"/>
                  </a:lnTo>
                  <a:lnTo>
                    <a:pt x="688" y="251"/>
                  </a:lnTo>
                  <a:lnTo>
                    <a:pt x="684" y="249"/>
                  </a:lnTo>
                  <a:lnTo>
                    <a:pt x="680" y="247"/>
                  </a:lnTo>
                  <a:lnTo>
                    <a:pt x="680" y="245"/>
                  </a:lnTo>
                  <a:lnTo>
                    <a:pt x="680" y="227"/>
                  </a:lnTo>
                  <a:lnTo>
                    <a:pt x="678" y="211"/>
                  </a:lnTo>
                  <a:lnTo>
                    <a:pt x="678" y="205"/>
                  </a:lnTo>
                  <a:lnTo>
                    <a:pt x="676" y="201"/>
                  </a:lnTo>
                  <a:lnTo>
                    <a:pt x="678" y="195"/>
                  </a:lnTo>
                  <a:lnTo>
                    <a:pt x="676" y="189"/>
                  </a:lnTo>
                  <a:lnTo>
                    <a:pt x="678" y="185"/>
                  </a:lnTo>
                  <a:lnTo>
                    <a:pt x="678" y="177"/>
                  </a:lnTo>
                  <a:lnTo>
                    <a:pt x="678" y="173"/>
                  </a:lnTo>
                  <a:lnTo>
                    <a:pt x="678" y="169"/>
                  </a:lnTo>
                  <a:lnTo>
                    <a:pt x="670" y="168"/>
                  </a:lnTo>
                  <a:lnTo>
                    <a:pt x="668" y="166"/>
                  </a:lnTo>
                  <a:lnTo>
                    <a:pt x="670" y="164"/>
                  </a:lnTo>
                  <a:lnTo>
                    <a:pt x="676" y="158"/>
                  </a:lnTo>
                  <a:lnTo>
                    <a:pt x="678" y="154"/>
                  </a:lnTo>
                  <a:lnTo>
                    <a:pt x="678" y="146"/>
                  </a:lnTo>
                  <a:lnTo>
                    <a:pt x="676" y="138"/>
                  </a:lnTo>
                  <a:lnTo>
                    <a:pt x="672" y="136"/>
                  </a:lnTo>
                  <a:lnTo>
                    <a:pt x="674" y="130"/>
                  </a:lnTo>
                  <a:lnTo>
                    <a:pt x="674" y="124"/>
                  </a:lnTo>
                  <a:lnTo>
                    <a:pt x="674" y="110"/>
                  </a:lnTo>
                  <a:lnTo>
                    <a:pt x="676" y="104"/>
                  </a:lnTo>
                  <a:lnTo>
                    <a:pt x="674" y="100"/>
                  </a:lnTo>
                  <a:lnTo>
                    <a:pt x="672" y="92"/>
                  </a:lnTo>
                  <a:lnTo>
                    <a:pt x="668" y="80"/>
                  </a:lnTo>
                  <a:lnTo>
                    <a:pt x="670" y="66"/>
                  </a:lnTo>
                  <a:lnTo>
                    <a:pt x="666" y="58"/>
                  </a:lnTo>
                  <a:lnTo>
                    <a:pt x="668" y="54"/>
                  </a:lnTo>
                  <a:lnTo>
                    <a:pt x="672" y="48"/>
                  </a:lnTo>
                  <a:lnTo>
                    <a:pt x="676" y="40"/>
                  </a:lnTo>
                  <a:lnTo>
                    <a:pt x="676" y="38"/>
                  </a:lnTo>
                  <a:lnTo>
                    <a:pt x="674" y="36"/>
                  </a:lnTo>
                  <a:lnTo>
                    <a:pt x="674" y="32"/>
                  </a:lnTo>
                  <a:lnTo>
                    <a:pt x="680" y="24"/>
                  </a:lnTo>
                  <a:lnTo>
                    <a:pt x="672" y="20"/>
                  </a:lnTo>
                  <a:lnTo>
                    <a:pt x="676" y="18"/>
                  </a:lnTo>
                  <a:lnTo>
                    <a:pt x="680" y="14"/>
                  </a:lnTo>
                  <a:lnTo>
                    <a:pt x="674" y="8"/>
                  </a:lnTo>
                  <a:lnTo>
                    <a:pt x="670" y="0"/>
                  </a:lnTo>
                  <a:lnTo>
                    <a:pt x="664" y="6"/>
                  </a:lnTo>
                  <a:lnTo>
                    <a:pt x="652" y="16"/>
                  </a:lnTo>
                  <a:lnTo>
                    <a:pt x="640" y="24"/>
                  </a:lnTo>
                  <a:lnTo>
                    <a:pt x="628" y="30"/>
                  </a:lnTo>
                  <a:lnTo>
                    <a:pt x="620" y="34"/>
                  </a:lnTo>
                  <a:lnTo>
                    <a:pt x="612" y="34"/>
                  </a:lnTo>
                  <a:lnTo>
                    <a:pt x="604" y="38"/>
                  </a:lnTo>
                  <a:lnTo>
                    <a:pt x="596" y="44"/>
                  </a:lnTo>
                  <a:lnTo>
                    <a:pt x="586" y="48"/>
                  </a:lnTo>
                  <a:lnTo>
                    <a:pt x="574" y="48"/>
                  </a:lnTo>
                  <a:lnTo>
                    <a:pt x="562" y="52"/>
                  </a:lnTo>
                  <a:lnTo>
                    <a:pt x="548" y="60"/>
                  </a:lnTo>
                  <a:lnTo>
                    <a:pt x="542" y="64"/>
                  </a:lnTo>
                  <a:lnTo>
                    <a:pt x="530" y="58"/>
                  </a:lnTo>
                  <a:lnTo>
                    <a:pt x="520" y="54"/>
                  </a:lnTo>
                  <a:lnTo>
                    <a:pt x="510" y="54"/>
                  </a:lnTo>
                  <a:lnTo>
                    <a:pt x="504" y="56"/>
                  </a:lnTo>
                  <a:lnTo>
                    <a:pt x="502" y="58"/>
                  </a:lnTo>
                  <a:lnTo>
                    <a:pt x="500" y="62"/>
                  </a:lnTo>
                  <a:lnTo>
                    <a:pt x="498" y="68"/>
                  </a:lnTo>
                  <a:lnTo>
                    <a:pt x="492" y="76"/>
                  </a:lnTo>
                  <a:lnTo>
                    <a:pt x="480" y="82"/>
                  </a:lnTo>
                  <a:lnTo>
                    <a:pt x="468" y="84"/>
                  </a:lnTo>
                  <a:lnTo>
                    <a:pt x="458" y="82"/>
                  </a:lnTo>
                  <a:lnTo>
                    <a:pt x="452" y="80"/>
                  </a:lnTo>
                  <a:lnTo>
                    <a:pt x="448" y="76"/>
                  </a:lnTo>
                  <a:lnTo>
                    <a:pt x="442" y="74"/>
                  </a:lnTo>
                  <a:lnTo>
                    <a:pt x="436" y="74"/>
                  </a:lnTo>
                  <a:lnTo>
                    <a:pt x="428" y="76"/>
                  </a:lnTo>
                  <a:lnTo>
                    <a:pt x="422" y="82"/>
                  </a:lnTo>
                  <a:lnTo>
                    <a:pt x="412" y="84"/>
                  </a:lnTo>
                  <a:lnTo>
                    <a:pt x="398" y="84"/>
                  </a:lnTo>
                  <a:lnTo>
                    <a:pt x="390" y="80"/>
                  </a:lnTo>
                  <a:lnTo>
                    <a:pt x="390" y="76"/>
                  </a:lnTo>
                  <a:lnTo>
                    <a:pt x="384" y="72"/>
                  </a:lnTo>
                  <a:lnTo>
                    <a:pt x="372" y="66"/>
                  </a:lnTo>
                  <a:lnTo>
                    <a:pt x="364" y="66"/>
                  </a:lnTo>
                  <a:lnTo>
                    <a:pt x="358" y="72"/>
                  </a:lnTo>
                  <a:lnTo>
                    <a:pt x="354" y="76"/>
                  </a:lnTo>
                  <a:lnTo>
                    <a:pt x="350" y="76"/>
                  </a:lnTo>
                  <a:lnTo>
                    <a:pt x="346" y="76"/>
                  </a:lnTo>
                  <a:lnTo>
                    <a:pt x="342" y="76"/>
                  </a:lnTo>
                  <a:lnTo>
                    <a:pt x="340" y="76"/>
                  </a:lnTo>
                  <a:lnTo>
                    <a:pt x="324" y="74"/>
                  </a:lnTo>
                  <a:lnTo>
                    <a:pt x="310" y="74"/>
                  </a:lnTo>
                  <a:lnTo>
                    <a:pt x="310" y="86"/>
                  </a:lnTo>
                  <a:lnTo>
                    <a:pt x="308" y="94"/>
                  </a:lnTo>
                  <a:lnTo>
                    <a:pt x="306" y="102"/>
                  </a:lnTo>
                  <a:lnTo>
                    <a:pt x="304" y="106"/>
                  </a:lnTo>
                  <a:lnTo>
                    <a:pt x="302" y="108"/>
                  </a:lnTo>
                  <a:lnTo>
                    <a:pt x="298" y="110"/>
                  </a:lnTo>
                  <a:lnTo>
                    <a:pt x="294" y="114"/>
                  </a:lnTo>
                  <a:lnTo>
                    <a:pt x="292" y="116"/>
                  </a:lnTo>
                  <a:lnTo>
                    <a:pt x="294" y="118"/>
                  </a:lnTo>
                  <a:lnTo>
                    <a:pt x="294" y="128"/>
                  </a:lnTo>
                  <a:lnTo>
                    <a:pt x="294" y="130"/>
                  </a:lnTo>
                  <a:lnTo>
                    <a:pt x="292" y="132"/>
                  </a:lnTo>
                  <a:lnTo>
                    <a:pt x="298" y="146"/>
                  </a:lnTo>
                  <a:lnTo>
                    <a:pt x="300" y="154"/>
                  </a:lnTo>
                  <a:lnTo>
                    <a:pt x="298" y="162"/>
                  </a:lnTo>
                  <a:lnTo>
                    <a:pt x="298" y="168"/>
                  </a:lnTo>
                  <a:lnTo>
                    <a:pt x="300" y="173"/>
                  </a:lnTo>
                  <a:lnTo>
                    <a:pt x="300" y="179"/>
                  </a:lnTo>
                  <a:lnTo>
                    <a:pt x="300" y="187"/>
                  </a:lnTo>
                  <a:lnTo>
                    <a:pt x="300" y="191"/>
                  </a:lnTo>
                  <a:lnTo>
                    <a:pt x="302" y="193"/>
                  </a:lnTo>
                  <a:lnTo>
                    <a:pt x="304" y="201"/>
                  </a:lnTo>
                  <a:lnTo>
                    <a:pt x="304" y="205"/>
                  </a:lnTo>
                  <a:lnTo>
                    <a:pt x="306" y="207"/>
                  </a:lnTo>
                  <a:lnTo>
                    <a:pt x="314" y="213"/>
                  </a:lnTo>
                  <a:lnTo>
                    <a:pt x="328" y="229"/>
                  </a:lnTo>
                  <a:lnTo>
                    <a:pt x="338" y="241"/>
                  </a:lnTo>
                  <a:lnTo>
                    <a:pt x="344" y="251"/>
                  </a:lnTo>
                  <a:lnTo>
                    <a:pt x="358" y="267"/>
                  </a:lnTo>
                  <a:lnTo>
                    <a:pt x="368" y="281"/>
                  </a:lnTo>
                  <a:lnTo>
                    <a:pt x="370" y="295"/>
                  </a:lnTo>
                  <a:lnTo>
                    <a:pt x="372" y="297"/>
                  </a:lnTo>
                  <a:lnTo>
                    <a:pt x="368" y="307"/>
                  </a:lnTo>
                  <a:lnTo>
                    <a:pt x="366" y="323"/>
                  </a:lnTo>
                  <a:lnTo>
                    <a:pt x="366" y="333"/>
                  </a:lnTo>
                  <a:lnTo>
                    <a:pt x="366" y="351"/>
                  </a:lnTo>
                  <a:lnTo>
                    <a:pt x="364" y="369"/>
                  </a:lnTo>
                  <a:lnTo>
                    <a:pt x="362" y="377"/>
                  </a:lnTo>
                  <a:lnTo>
                    <a:pt x="360" y="379"/>
                  </a:lnTo>
                  <a:lnTo>
                    <a:pt x="352" y="381"/>
                  </a:lnTo>
                  <a:lnTo>
                    <a:pt x="336" y="383"/>
                  </a:lnTo>
                  <a:lnTo>
                    <a:pt x="334" y="385"/>
                  </a:lnTo>
                  <a:lnTo>
                    <a:pt x="332" y="389"/>
                  </a:lnTo>
                  <a:lnTo>
                    <a:pt x="328" y="397"/>
                  </a:lnTo>
                  <a:lnTo>
                    <a:pt x="324" y="407"/>
                  </a:lnTo>
                  <a:lnTo>
                    <a:pt x="324" y="411"/>
                  </a:lnTo>
                  <a:lnTo>
                    <a:pt x="324" y="411"/>
                  </a:lnTo>
                  <a:lnTo>
                    <a:pt x="328" y="415"/>
                  </a:lnTo>
                  <a:lnTo>
                    <a:pt x="332" y="427"/>
                  </a:lnTo>
                  <a:lnTo>
                    <a:pt x="332" y="447"/>
                  </a:lnTo>
                  <a:lnTo>
                    <a:pt x="330" y="449"/>
                  </a:lnTo>
                  <a:lnTo>
                    <a:pt x="326" y="449"/>
                  </a:lnTo>
                  <a:lnTo>
                    <a:pt x="320" y="449"/>
                  </a:lnTo>
                  <a:lnTo>
                    <a:pt x="318" y="449"/>
                  </a:lnTo>
                  <a:lnTo>
                    <a:pt x="316" y="447"/>
                  </a:lnTo>
                  <a:lnTo>
                    <a:pt x="316" y="441"/>
                  </a:lnTo>
                  <a:lnTo>
                    <a:pt x="318" y="439"/>
                  </a:lnTo>
                  <a:lnTo>
                    <a:pt x="320" y="433"/>
                  </a:lnTo>
                  <a:lnTo>
                    <a:pt x="318" y="429"/>
                  </a:lnTo>
                  <a:lnTo>
                    <a:pt x="314" y="429"/>
                  </a:lnTo>
                  <a:lnTo>
                    <a:pt x="308" y="425"/>
                  </a:lnTo>
                  <a:lnTo>
                    <a:pt x="296" y="411"/>
                  </a:lnTo>
                  <a:lnTo>
                    <a:pt x="288" y="401"/>
                  </a:lnTo>
                  <a:lnTo>
                    <a:pt x="282" y="395"/>
                  </a:lnTo>
                  <a:lnTo>
                    <a:pt x="276" y="391"/>
                  </a:lnTo>
                  <a:lnTo>
                    <a:pt x="274" y="389"/>
                  </a:lnTo>
                  <a:lnTo>
                    <a:pt x="274" y="387"/>
                  </a:lnTo>
                  <a:lnTo>
                    <a:pt x="274" y="381"/>
                  </a:lnTo>
                  <a:lnTo>
                    <a:pt x="274" y="377"/>
                  </a:lnTo>
                  <a:lnTo>
                    <a:pt x="272" y="373"/>
                  </a:lnTo>
                  <a:lnTo>
                    <a:pt x="266" y="369"/>
                  </a:lnTo>
                  <a:lnTo>
                    <a:pt x="264" y="365"/>
                  </a:lnTo>
                  <a:lnTo>
                    <a:pt x="264" y="361"/>
                  </a:lnTo>
                  <a:lnTo>
                    <a:pt x="266" y="357"/>
                  </a:lnTo>
                  <a:lnTo>
                    <a:pt x="270" y="353"/>
                  </a:lnTo>
                  <a:lnTo>
                    <a:pt x="274" y="343"/>
                  </a:lnTo>
                  <a:lnTo>
                    <a:pt x="276" y="337"/>
                  </a:lnTo>
                  <a:lnTo>
                    <a:pt x="282" y="325"/>
                  </a:lnTo>
                  <a:lnTo>
                    <a:pt x="284" y="313"/>
                  </a:lnTo>
                  <a:lnTo>
                    <a:pt x="284" y="305"/>
                  </a:lnTo>
                  <a:lnTo>
                    <a:pt x="284" y="299"/>
                  </a:lnTo>
                  <a:lnTo>
                    <a:pt x="282" y="287"/>
                  </a:lnTo>
                  <a:lnTo>
                    <a:pt x="280" y="277"/>
                  </a:lnTo>
                  <a:lnTo>
                    <a:pt x="272" y="265"/>
                  </a:lnTo>
                  <a:lnTo>
                    <a:pt x="268" y="265"/>
                  </a:lnTo>
                  <a:lnTo>
                    <a:pt x="260" y="265"/>
                  </a:lnTo>
                  <a:lnTo>
                    <a:pt x="254" y="267"/>
                  </a:lnTo>
                  <a:lnTo>
                    <a:pt x="250" y="269"/>
                  </a:lnTo>
                  <a:lnTo>
                    <a:pt x="244" y="269"/>
                  </a:lnTo>
                  <a:lnTo>
                    <a:pt x="232" y="271"/>
                  </a:lnTo>
                  <a:lnTo>
                    <a:pt x="228" y="273"/>
                  </a:lnTo>
                  <a:lnTo>
                    <a:pt x="224" y="275"/>
                  </a:lnTo>
                  <a:lnTo>
                    <a:pt x="224" y="275"/>
                  </a:lnTo>
                  <a:lnTo>
                    <a:pt x="214" y="265"/>
                  </a:lnTo>
                  <a:lnTo>
                    <a:pt x="208" y="257"/>
                  </a:lnTo>
                  <a:lnTo>
                    <a:pt x="198" y="239"/>
                  </a:lnTo>
                  <a:lnTo>
                    <a:pt x="194" y="237"/>
                  </a:lnTo>
                  <a:lnTo>
                    <a:pt x="180" y="243"/>
                  </a:lnTo>
                  <a:lnTo>
                    <a:pt x="174" y="245"/>
                  </a:lnTo>
                  <a:lnTo>
                    <a:pt x="152" y="251"/>
                  </a:lnTo>
                  <a:lnTo>
                    <a:pt x="134" y="259"/>
                  </a:lnTo>
                  <a:lnTo>
                    <a:pt x="128" y="259"/>
                  </a:lnTo>
                  <a:lnTo>
                    <a:pt x="120" y="263"/>
                  </a:lnTo>
                  <a:lnTo>
                    <a:pt x="114" y="265"/>
                  </a:lnTo>
                  <a:lnTo>
                    <a:pt x="98" y="271"/>
                  </a:lnTo>
                  <a:lnTo>
                    <a:pt x="92" y="273"/>
                  </a:lnTo>
                  <a:lnTo>
                    <a:pt x="86" y="275"/>
                  </a:lnTo>
                  <a:lnTo>
                    <a:pt x="72" y="279"/>
                  </a:lnTo>
                  <a:lnTo>
                    <a:pt x="60" y="283"/>
                  </a:lnTo>
                  <a:lnTo>
                    <a:pt x="44" y="287"/>
                  </a:lnTo>
                  <a:lnTo>
                    <a:pt x="28" y="291"/>
                  </a:lnTo>
                  <a:lnTo>
                    <a:pt x="20" y="295"/>
                  </a:lnTo>
                  <a:lnTo>
                    <a:pt x="14" y="299"/>
                  </a:lnTo>
                  <a:lnTo>
                    <a:pt x="0" y="303"/>
                  </a:lnTo>
                  <a:lnTo>
                    <a:pt x="0" y="305"/>
                  </a:lnTo>
                  <a:lnTo>
                    <a:pt x="0" y="309"/>
                  </a:lnTo>
                  <a:lnTo>
                    <a:pt x="2" y="317"/>
                  </a:lnTo>
                  <a:lnTo>
                    <a:pt x="4" y="323"/>
                  </a:lnTo>
                  <a:lnTo>
                    <a:pt x="8" y="329"/>
                  </a:lnTo>
                  <a:lnTo>
                    <a:pt x="10" y="339"/>
                  </a:lnTo>
                  <a:lnTo>
                    <a:pt x="10" y="347"/>
                  </a:lnTo>
                  <a:lnTo>
                    <a:pt x="10" y="359"/>
                  </a:lnTo>
                  <a:lnTo>
                    <a:pt x="12" y="371"/>
                  </a:lnTo>
                  <a:lnTo>
                    <a:pt x="14" y="373"/>
                  </a:lnTo>
                  <a:lnTo>
                    <a:pt x="26" y="373"/>
                  </a:lnTo>
                  <a:lnTo>
                    <a:pt x="46" y="373"/>
                  </a:lnTo>
                  <a:lnTo>
                    <a:pt x="66" y="373"/>
                  </a:lnTo>
                  <a:lnTo>
                    <a:pt x="78" y="383"/>
                  </a:lnTo>
                  <a:lnTo>
                    <a:pt x="82" y="385"/>
                  </a:lnTo>
                  <a:lnTo>
                    <a:pt x="96" y="387"/>
                  </a:lnTo>
                  <a:lnTo>
                    <a:pt x="112" y="401"/>
                  </a:lnTo>
                  <a:lnTo>
                    <a:pt x="132" y="403"/>
                  </a:lnTo>
                  <a:lnTo>
                    <a:pt x="146" y="407"/>
                  </a:lnTo>
                  <a:lnTo>
                    <a:pt x="158" y="413"/>
                  </a:lnTo>
                  <a:lnTo>
                    <a:pt x="164" y="419"/>
                  </a:lnTo>
                  <a:lnTo>
                    <a:pt x="170" y="421"/>
                  </a:lnTo>
                  <a:lnTo>
                    <a:pt x="176" y="421"/>
                  </a:lnTo>
                  <a:lnTo>
                    <a:pt x="178" y="421"/>
                  </a:lnTo>
                  <a:lnTo>
                    <a:pt x="178" y="425"/>
                  </a:lnTo>
                  <a:lnTo>
                    <a:pt x="174" y="433"/>
                  </a:lnTo>
                  <a:lnTo>
                    <a:pt x="174" y="443"/>
                  </a:lnTo>
                  <a:lnTo>
                    <a:pt x="180" y="457"/>
                  </a:lnTo>
                  <a:lnTo>
                    <a:pt x="180" y="471"/>
                  </a:lnTo>
                  <a:lnTo>
                    <a:pt x="178" y="493"/>
                  </a:lnTo>
                  <a:lnTo>
                    <a:pt x="178" y="515"/>
                  </a:lnTo>
                  <a:lnTo>
                    <a:pt x="180" y="523"/>
                  </a:lnTo>
                  <a:lnTo>
                    <a:pt x="180" y="529"/>
                  </a:lnTo>
                  <a:lnTo>
                    <a:pt x="182" y="531"/>
                  </a:lnTo>
                  <a:lnTo>
                    <a:pt x="180" y="535"/>
                  </a:lnTo>
                  <a:lnTo>
                    <a:pt x="178" y="543"/>
                  </a:lnTo>
                  <a:lnTo>
                    <a:pt x="176" y="553"/>
                  </a:lnTo>
                  <a:lnTo>
                    <a:pt x="176" y="557"/>
                  </a:lnTo>
                  <a:lnTo>
                    <a:pt x="174" y="559"/>
                  </a:lnTo>
                  <a:lnTo>
                    <a:pt x="172" y="563"/>
                  </a:lnTo>
                  <a:lnTo>
                    <a:pt x="164" y="567"/>
                  </a:lnTo>
                  <a:lnTo>
                    <a:pt x="162" y="569"/>
                  </a:lnTo>
                  <a:lnTo>
                    <a:pt x="162" y="575"/>
                  </a:lnTo>
                  <a:lnTo>
                    <a:pt x="162" y="579"/>
                  </a:lnTo>
                  <a:lnTo>
                    <a:pt x="166" y="581"/>
                  </a:lnTo>
                  <a:lnTo>
                    <a:pt x="170" y="583"/>
                  </a:lnTo>
                  <a:lnTo>
                    <a:pt x="172" y="585"/>
                  </a:lnTo>
                  <a:lnTo>
                    <a:pt x="172" y="589"/>
                  </a:lnTo>
                  <a:lnTo>
                    <a:pt x="170" y="595"/>
                  </a:lnTo>
                  <a:lnTo>
                    <a:pt x="166" y="605"/>
                  </a:lnTo>
                  <a:lnTo>
                    <a:pt x="170" y="617"/>
                  </a:lnTo>
                  <a:lnTo>
                    <a:pt x="174" y="625"/>
                  </a:lnTo>
                  <a:lnTo>
                    <a:pt x="180" y="633"/>
                  </a:lnTo>
                  <a:lnTo>
                    <a:pt x="182" y="639"/>
                  </a:lnTo>
                  <a:lnTo>
                    <a:pt x="182" y="643"/>
                  </a:lnTo>
                  <a:lnTo>
                    <a:pt x="180" y="647"/>
                  </a:lnTo>
                  <a:lnTo>
                    <a:pt x="174" y="663"/>
                  </a:lnTo>
                  <a:lnTo>
                    <a:pt x="168" y="673"/>
                  </a:lnTo>
                  <a:lnTo>
                    <a:pt x="160" y="685"/>
                  </a:lnTo>
                  <a:lnTo>
                    <a:pt x="150" y="691"/>
                  </a:lnTo>
                  <a:lnTo>
                    <a:pt x="148" y="695"/>
                  </a:lnTo>
                  <a:lnTo>
                    <a:pt x="148" y="699"/>
                  </a:lnTo>
                  <a:lnTo>
                    <a:pt x="148" y="707"/>
                  </a:lnTo>
                  <a:lnTo>
                    <a:pt x="148" y="715"/>
                  </a:lnTo>
                  <a:lnTo>
                    <a:pt x="140" y="727"/>
                  </a:lnTo>
                  <a:lnTo>
                    <a:pt x="144" y="739"/>
                  </a:lnTo>
                  <a:lnTo>
                    <a:pt x="144" y="741"/>
                  </a:lnTo>
                  <a:lnTo>
                    <a:pt x="140" y="741"/>
                  </a:lnTo>
                  <a:lnTo>
                    <a:pt x="128" y="755"/>
                  </a:lnTo>
                  <a:lnTo>
                    <a:pt x="118" y="767"/>
                  </a:lnTo>
                  <a:lnTo>
                    <a:pt x="108" y="777"/>
                  </a:lnTo>
                  <a:lnTo>
                    <a:pt x="98" y="787"/>
                  </a:lnTo>
                  <a:lnTo>
                    <a:pt x="88" y="799"/>
                  </a:lnTo>
                  <a:lnTo>
                    <a:pt x="78" y="809"/>
                  </a:lnTo>
                  <a:lnTo>
                    <a:pt x="70" y="817"/>
                  </a:lnTo>
                  <a:lnTo>
                    <a:pt x="70" y="821"/>
                  </a:lnTo>
                  <a:lnTo>
                    <a:pt x="70" y="823"/>
                  </a:lnTo>
                  <a:lnTo>
                    <a:pt x="74" y="833"/>
                  </a:lnTo>
                  <a:lnTo>
                    <a:pt x="78" y="847"/>
                  </a:lnTo>
                  <a:lnTo>
                    <a:pt x="80" y="861"/>
                  </a:lnTo>
                  <a:lnTo>
                    <a:pt x="86" y="879"/>
                  </a:lnTo>
                  <a:lnTo>
                    <a:pt x="86" y="889"/>
                  </a:lnTo>
                  <a:lnTo>
                    <a:pt x="86" y="895"/>
                  </a:lnTo>
                  <a:lnTo>
                    <a:pt x="90" y="899"/>
                  </a:lnTo>
                  <a:lnTo>
                    <a:pt x="94" y="907"/>
                  </a:lnTo>
                  <a:lnTo>
                    <a:pt x="96" y="913"/>
                  </a:lnTo>
                  <a:lnTo>
                    <a:pt x="98" y="917"/>
                  </a:lnTo>
                  <a:lnTo>
                    <a:pt x="102" y="923"/>
                  </a:lnTo>
                  <a:lnTo>
                    <a:pt x="106" y="935"/>
                  </a:lnTo>
                  <a:lnTo>
                    <a:pt x="110" y="947"/>
                  </a:lnTo>
                  <a:lnTo>
                    <a:pt x="112" y="955"/>
                  </a:lnTo>
                  <a:lnTo>
                    <a:pt x="114" y="957"/>
                  </a:lnTo>
                  <a:lnTo>
                    <a:pt x="114" y="965"/>
                  </a:lnTo>
                  <a:lnTo>
                    <a:pt x="114" y="977"/>
                  </a:lnTo>
                  <a:lnTo>
                    <a:pt x="114" y="991"/>
                  </a:lnTo>
                  <a:lnTo>
                    <a:pt x="114" y="1023"/>
                  </a:lnTo>
                  <a:lnTo>
                    <a:pt x="114" y="1029"/>
                  </a:lnTo>
                  <a:lnTo>
                    <a:pt x="114" y="1049"/>
                  </a:lnTo>
                  <a:lnTo>
                    <a:pt x="110" y="1059"/>
                  </a:lnTo>
                  <a:lnTo>
                    <a:pt x="112" y="1067"/>
                  </a:lnTo>
                  <a:lnTo>
                    <a:pt x="112" y="1073"/>
                  </a:lnTo>
                  <a:lnTo>
                    <a:pt x="114" y="1073"/>
                  </a:lnTo>
                  <a:lnTo>
                    <a:pt x="120" y="1077"/>
                  </a:lnTo>
                  <a:lnTo>
                    <a:pt x="120" y="1083"/>
                  </a:lnTo>
                  <a:lnTo>
                    <a:pt x="120" y="1091"/>
                  </a:lnTo>
                  <a:lnTo>
                    <a:pt x="118" y="1097"/>
                  </a:lnTo>
                  <a:lnTo>
                    <a:pt x="120" y="1101"/>
                  </a:lnTo>
                  <a:lnTo>
                    <a:pt x="120" y="1109"/>
                  </a:lnTo>
                  <a:lnTo>
                    <a:pt x="122" y="1113"/>
                  </a:lnTo>
                  <a:lnTo>
                    <a:pt x="124" y="1137"/>
                  </a:lnTo>
                  <a:lnTo>
                    <a:pt x="128" y="1137"/>
                  </a:lnTo>
                  <a:lnTo>
                    <a:pt x="140" y="1139"/>
                  </a:lnTo>
                  <a:lnTo>
                    <a:pt x="148" y="1139"/>
                  </a:lnTo>
                  <a:lnTo>
                    <a:pt x="154" y="1139"/>
                  </a:lnTo>
                  <a:lnTo>
                    <a:pt x="166" y="1137"/>
                  </a:lnTo>
                  <a:lnTo>
                    <a:pt x="174" y="1137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7" name="Freeform 5783">
              <a:extLst>
                <a:ext uri="{FF2B5EF4-FFF2-40B4-BE49-F238E27FC236}">
                  <a16:creationId xmlns:a16="http://schemas.microsoft.com/office/drawing/2014/main" id="{DF9CFFF3-87C2-46FA-8EC5-C500B2D50E6C}"/>
                </a:ext>
              </a:extLst>
            </p:cNvPr>
            <p:cNvSpPr/>
            <p:nvPr/>
          </p:nvSpPr>
          <p:spPr bwMode="auto">
            <a:xfrm>
              <a:off x="4882180" y="4897549"/>
              <a:ext cx="3084" cy="6938"/>
            </a:xfrm>
            <a:custGeom>
              <a:avLst/>
              <a:gdLst>
                <a:gd name="T0" fmla="*/ 6 w 8"/>
                <a:gd name="T1" fmla="*/ 10 h 18"/>
                <a:gd name="T2" fmla="*/ 8 w 8"/>
                <a:gd name="T3" fmla="*/ 0 h 18"/>
                <a:gd name="T4" fmla="*/ 6 w 8"/>
                <a:gd name="T5" fmla="*/ 0 h 18"/>
                <a:gd name="T6" fmla="*/ 4 w 8"/>
                <a:gd name="T7" fmla="*/ 4 h 18"/>
                <a:gd name="T8" fmla="*/ 0 w 8"/>
                <a:gd name="T9" fmla="*/ 10 h 18"/>
                <a:gd name="T10" fmla="*/ 0 w 8"/>
                <a:gd name="T11" fmla="*/ 14 h 18"/>
                <a:gd name="T12" fmla="*/ 2 w 8"/>
                <a:gd name="T13" fmla="*/ 18 h 18"/>
                <a:gd name="T14" fmla="*/ 6 w 8"/>
                <a:gd name="T15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8">
                  <a:moveTo>
                    <a:pt x="6" y="1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6" y="1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8" name="Freeform 5784">
              <a:extLst>
                <a:ext uri="{FF2B5EF4-FFF2-40B4-BE49-F238E27FC236}">
                  <a16:creationId xmlns:a16="http://schemas.microsoft.com/office/drawing/2014/main" id="{6F1D3B82-8A16-4B43-9E36-054219452DA2}"/>
                </a:ext>
              </a:extLst>
            </p:cNvPr>
            <p:cNvSpPr/>
            <p:nvPr/>
          </p:nvSpPr>
          <p:spPr bwMode="auto">
            <a:xfrm>
              <a:off x="4867533" y="4692496"/>
              <a:ext cx="309122" cy="340727"/>
            </a:xfrm>
            <a:custGeom>
              <a:avLst/>
              <a:gdLst>
                <a:gd name="T0" fmla="*/ 708 w 802"/>
                <a:gd name="T1" fmla="*/ 380 h 884"/>
                <a:gd name="T2" fmla="*/ 700 w 802"/>
                <a:gd name="T3" fmla="*/ 308 h 884"/>
                <a:gd name="T4" fmla="*/ 694 w 802"/>
                <a:gd name="T5" fmla="*/ 238 h 884"/>
                <a:gd name="T6" fmla="*/ 686 w 802"/>
                <a:gd name="T7" fmla="*/ 168 h 884"/>
                <a:gd name="T8" fmla="*/ 746 w 802"/>
                <a:gd name="T9" fmla="*/ 130 h 884"/>
                <a:gd name="T10" fmla="*/ 684 w 802"/>
                <a:gd name="T11" fmla="*/ 90 h 884"/>
                <a:gd name="T12" fmla="*/ 622 w 802"/>
                <a:gd name="T13" fmla="*/ 48 h 884"/>
                <a:gd name="T14" fmla="*/ 574 w 802"/>
                <a:gd name="T15" fmla="*/ 16 h 884"/>
                <a:gd name="T16" fmla="*/ 330 w 802"/>
                <a:gd name="T17" fmla="*/ 94 h 884"/>
                <a:gd name="T18" fmla="*/ 316 w 802"/>
                <a:gd name="T19" fmla="*/ 284 h 884"/>
                <a:gd name="T20" fmla="*/ 282 w 802"/>
                <a:gd name="T21" fmla="*/ 296 h 884"/>
                <a:gd name="T22" fmla="*/ 256 w 802"/>
                <a:gd name="T23" fmla="*/ 324 h 884"/>
                <a:gd name="T24" fmla="*/ 260 w 802"/>
                <a:gd name="T25" fmla="*/ 346 h 884"/>
                <a:gd name="T26" fmla="*/ 262 w 802"/>
                <a:gd name="T27" fmla="*/ 392 h 884"/>
                <a:gd name="T28" fmla="*/ 240 w 802"/>
                <a:gd name="T29" fmla="*/ 428 h 884"/>
                <a:gd name="T30" fmla="*/ 0 w 802"/>
                <a:gd name="T31" fmla="*/ 452 h 884"/>
                <a:gd name="T32" fmla="*/ 6 w 802"/>
                <a:gd name="T33" fmla="*/ 446 h 884"/>
                <a:gd name="T34" fmla="*/ 28 w 802"/>
                <a:gd name="T35" fmla="*/ 478 h 884"/>
                <a:gd name="T36" fmla="*/ 38 w 802"/>
                <a:gd name="T37" fmla="*/ 474 h 884"/>
                <a:gd name="T38" fmla="*/ 54 w 802"/>
                <a:gd name="T39" fmla="*/ 512 h 884"/>
                <a:gd name="T40" fmla="*/ 50 w 802"/>
                <a:gd name="T41" fmla="*/ 556 h 884"/>
                <a:gd name="T42" fmla="*/ 38 w 802"/>
                <a:gd name="T43" fmla="*/ 572 h 884"/>
                <a:gd name="T44" fmla="*/ 64 w 802"/>
                <a:gd name="T45" fmla="*/ 624 h 884"/>
                <a:gd name="T46" fmla="*/ 56 w 802"/>
                <a:gd name="T47" fmla="*/ 716 h 884"/>
                <a:gd name="T48" fmla="*/ 34 w 802"/>
                <a:gd name="T49" fmla="*/ 778 h 884"/>
                <a:gd name="T50" fmla="*/ 40 w 802"/>
                <a:gd name="T51" fmla="*/ 784 h 884"/>
                <a:gd name="T52" fmla="*/ 54 w 802"/>
                <a:gd name="T53" fmla="*/ 762 h 884"/>
                <a:gd name="T54" fmla="*/ 72 w 802"/>
                <a:gd name="T55" fmla="*/ 764 h 884"/>
                <a:gd name="T56" fmla="*/ 110 w 802"/>
                <a:gd name="T57" fmla="*/ 758 h 884"/>
                <a:gd name="T58" fmla="*/ 128 w 802"/>
                <a:gd name="T59" fmla="*/ 752 h 884"/>
                <a:gd name="T60" fmla="*/ 138 w 802"/>
                <a:gd name="T61" fmla="*/ 752 h 884"/>
                <a:gd name="T62" fmla="*/ 180 w 802"/>
                <a:gd name="T63" fmla="*/ 758 h 884"/>
                <a:gd name="T64" fmla="*/ 204 w 802"/>
                <a:gd name="T65" fmla="*/ 784 h 884"/>
                <a:gd name="T66" fmla="*/ 220 w 802"/>
                <a:gd name="T67" fmla="*/ 786 h 884"/>
                <a:gd name="T68" fmla="*/ 232 w 802"/>
                <a:gd name="T69" fmla="*/ 788 h 884"/>
                <a:gd name="T70" fmla="*/ 240 w 802"/>
                <a:gd name="T71" fmla="*/ 794 h 884"/>
                <a:gd name="T72" fmla="*/ 252 w 802"/>
                <a:gd name="T73" fmla="*/ 824 h 884"/>
                <a:gd name="T74" fmla="*/ 260 w 802"/>
                <a:gd name="T75" fmla="*/ 830 h 884"/>
                <a:gd name="T76" fmla="*/ 274 w 802"/>
                <a:gd name="T77" fmla="*/ 842 h 884"/>
                <a:gd name="T78" fmla="*/ 278 w 802"/>
                <a:gd name="T79" fmla="*/ 850 h 884"/>
                <a:gd name="T80" fmla="*/ 296 w 802"/>
                <a:gd name="T81" fmla="*/ 864 h 884"/>
                <a:gd name="T82" fmla="*/ 314 w 802"/>
                <a:gd name="T83" fmla="*/ 878 h 884"/>
                <a:gd name="T84" fmla="*/ 336 w 802"/>
                <a:gd name="T85" fmla="*/ 874 h 884"/>
                <a:gd name="T86" fmla="*/ 344 w 802"/>
                <a:gd name="T87" fmla="*/ 842 h 884"/>
                <a:gd name="T88" fmla="*/ 364 w 802"/>
                <a:gd name="T89" fmla="*/ 822 h 884"/>
                <a:gd name="T90" fmla="*/ 396 w 802"/>
                <a:gd name="T91" fmla="*/ 850 h 884"/>
                <a:gd name="T92" fmla="*/ 414 w 802"/>
                <a:gd name="T93" fmla="*/ 838 h 884"/>
                <a:gd name="T94" fmla="*/ 436 w 802"/>
                <a:gd name="T95" fmla="*/ 836 h 884"/>
                <a:gd name="T96" fmla="*/ 466 w 802"/>
                <a:gd name="T97" fmla="*/ 840 h 884"/>
                <a:gd name="T98" fmla="*/ 500 w 802"/>
                <a:gd name="T99" fmla="*/ 830 h 884"/>
                <a:gd name="T100" fmla="*/ 504 w 802"/>
                <a:gd name="T101" fmla="*/ 820 h 884"/>
                <a:gd name="T102" fmla="*/ 756 w 802"/>
                <a:gd name="T103" fmla="*/ 832 h 884"/>
                <a:gd name="T104" fmla="*/ 756 w 802"/>
                <a:gd name="T105" fmla="*/ 768 h 884"/>
                <a:gd name="T106" fmla="*/ 744 w 802"/>
                <a:gd name="T107" fmla="*/ 708 h 884"/>
                <a:gd name="T108" fmla="*/ 734 w 802"/>
                <a:gd name="T109" fmla="*/ 622 h 884"/>
                <a:gd name="T110" fmla="*/ 724 w 802"/>
                <a:gd name="T111" fmla="*/ 518 h 884"/>
                <a:gd name="T112" fmla="*/ 716 w 802"/>
                <a:gd name="T113" fmla="*/ 450 h 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02" h="884">
                  <a:moveTo>
                    <a:pt x="714" y="432"/>
                  </a:moveTo>
                  <a:lnTo>
                    <a:pt x="712" y="414"/>
                  </a:lnTo>
                  <a:lnTo>
                    <a:pt x="710" y="396"/>
                  </a:lnTo>
                  <a:lnTo>
                    <a:pt x="708" y="380"/>
                  </a:lnTo>
                  <a:lnTo>
                    <a:pt x="706" y="362"/>
                  </a:lnTo>
                  <a:lnTo>
                    <a:pt x="704" y="344"/>
                  </a:lnTo>
                  <a:lnTo>
                    <a:pt x="702" y="326"/>
                  </a:lnTo>
                  <a:lnTo>
                    <a:pt x="700" y="308"/>
                  </a:lnTo>
                  <a:lnTo>
                    <a:pt x="698" y="290"/>
                  </a:lnTo>
                  <a:lnTo>
                    <a:pt x="696" y="274"/>
                  </a:lnTo>
                  <a:lnTo>
                    <a:pt x="694" y="256"/>
                  </a:lnTo>
                  <a:lnTo>
                    <a:pt x="694" y="238"/>
                  </a:lnTo>
                  <a:lnTo>
                    <a:pt x="692" y="220"/>
                  </a:lnTo>
                  <a:lnTo>
                    <a:pt x="690" y="202"/>
                  </a:lnTo>
                  <a:lnTo>
                    <a:pt x="688" y="184"/>
                  </a:lnTo>
                  <a:lnTo>
                    <a:pt x="686" y="168"/>
                  </a:lnTo>
                  <a:lnTo>
                    <a:pt x="802" y="168"/>
                  </a:lnTo>
                  <a:lnTo>
                    <a:pt x="772" y="148"/>
                  </a:lnTo>
                  <a:lnTo>
                    <a:pt x="756" y="136"/>
                  </a:lnTo>
                  <a:lnTo>
                    <a:pt x="746" y="130"/>
                  </a:lnTo>
                  <a:lnTo>
                    <a:pt x="734" y="122"/>
                  </a:lnTo>
                  <a:lnTo>
                    <a:pt x="722" y="114"/>
                  </a:lnTo>
                  <a:lnTo>
                    <a:pt x="710" y="106"/>
                  </a:lnTo>
                  <a:lnTo>
                    <a:pt x="684" y="90"/>
                  </a:lnTo>
                  <a:lnTo>
                    <a:pt x="672" y="82"/>
                  </a:lnTo>
                  <a:lnTo>
                    <a:pt x="648" y="66"/>
                  </a:lnTo>
                  <a:lnTo>
                    <a:pt x="636" y="56"/>
                  </a:lnTo>
                  <a:lnTo>
                    <a:pt x="622" y="48"/>
                  </a:lnTo>
                  <a:lnTo>
                    <a:pt x="610" y="40"/>
                  </a:lnTo>
                  <a:lnTo>
                    <a:pt x="598" y="32"/>
                  </a:lnTo>
                  <a:lnTo>
                    <a:pt x="586" y="24"/>
                  </a:lnTo>
                  <a:lnTo>
                    <a:pt x="574" y="16"/>
                  </a:lnTo>
                  <a:lnTo>
                    <a:pt x="562" y="8"/>
                  </a:lnTo>
                  <a:lnTo>
                    <a:pt x="548" y="0"/>
                  </a:lnTo>
                  <a:lnTo>
                    <a:pt x="548" y="94"/>
                  </a:lnTo>
                  <a:lnTo>
                    <a:pt x="330" y="94"/>
                  </a:lnTo>
                  <a:lnTo>
                    <a:pt x="330" y="270"/>
                  </a:lnTo>
                  <a:lnTo>
                    <a:pt x="330" y="278"/>
                  </a:lnTo>
                  <a:lnTo>
                    <a:pt x="326" y="280"/>
                  </a:lnTo>
                  <a:lnTo>
                    <a:pt x="316" y="284"/>
                  </a:lnTo>
                  <a:lnTo>
                    <a:pt x="306" y="288"/>
                  </a:lnTo>
                  <a:lnTo>
                    <a:pt x="294" y="290"/>
                  </a:lnTo>
                  <a:lnTo>
                    <a:pt x="290" y="292"/>
                  </a:lnTo>
                  <a:lnTo>
                    <a:pt x="282" y="296"/>
                  </a:lnTo>
                  <a:lnTo>
                    <a:pt x="272" y="304"/>
                  </a:lnTo>
                  <a:lnTo>
                    <a:pt x="264" y="310"/>
                  </a:lnTo>
                  <a:lnTo>
                    <a:pt x="258" y="318"/>
                  </a:lnTo>
                  <a:lnTo>
                    <a:pt x="256" y="324"/>
                  </a:lnTo>
                  <a:lnTo>
                    <a:pt x="254" y="328"/>
                  </a:lnTo>
                  <a:lnTo>
                    <a:pt x="256" y="332"/>
                  </a:lnTo>
                  <a:lnTo>
                    <a:pt x="258" y="342"/>
                  </a:lnTo>
                  <a:lnTo>
                    <a:pt x="260" y="346"/>
                  </a:lnTo>
                  <a:lnTo>
                    <a:pt x="260" y="354"/>
                  </a:lnTo>
                  <a:lnTo>
                    <a:pt x="260" y="362"/>
                  </a:lnTo>
                  <a:lnTo>
                    <a:pt x="262" y="382"/>
                  </a:lnTo>
                  <a:lnTo>
                    <a:pt x="262" y="392"/>
                  </a:lnTo>
                  <a:lnTo>
                    <a:pt x="264" y="412"/>
                  </a:lnTo>
                  <a:lnTo>
                    <a:pt x="264" y="420"/>
                  </a:lnTo>
                  <a:lnTo>
                    <a:pt x="264" y="428"/>
                  </a:lnTo>
                  <a:lnTo>
                    <a:pt x="240" y="428"/>
                  </a:lnTo>
                  <a:lnTo>
                    <a:pt x="224" y="428"/>
                  </a:lnTo>
                  <a:lnTo>
                    <a:pt x="6" y="428"/>
                  </a:lnTo>
                  <a:lnTo>
                    <a:pt x="4" y="442"/>
                  </a:lnTo>
                  <a:lnTo>
                    <a:pt x="0" y="452"/>
                  </a:lnTo>
                  <a:lnTo>
                    <a:pt x="0" y="460"/>
                  </a:lnTo>
                  <a:lnTo>
                    <a:pt x="0" y="466"/>
                  </a:lnTo>
                  <a:lnTo>
                    <a:pt x="4" y="450"/>
                  </a:lnTo>
                  <a:lnTo>
                    <a:pt x="6" y="446"/>
                  </a:lnTo>
                  <a:lnTo>
                    <a:pt x="8" y="444"/>
                  </a:lnTo>
                  <a:lnTo>
                    <a:pt x="12" y="446"/>
                  </a:lnTo>
                  <a:lnTo>
                    <a:pt x="22" y="466"/>
                  </a:lnTo>
                  <a:lnTo>
                    <a:pt x="28" y="478"/>
                  </a:lnTo>
                  <a:lnTo>
                    <a:pt x="32" y="480"/>
                  </a:lnTo>
                  <a:lnTo>
                    <a:pt x="34" y="476"/>
                  </a:lnTo>
                  <a:lnTo>
                    <a:pt x="34" y="472"/>
                  </a:lnTo>
                  <a:lnTo>
                    <a:pt x="38" y="474"/>
                  </a:lnTo>
                  <a:lnTo>
                    <a:pt x="42" y="476"/>
                  </a:lnTo>
                  <a:lnTo>
                    <a:pt x="48" y="492"/>
                  </a:lnTo>
                  <a:lnTo>
                    <a:pt x="56" y="506"/>
                  </a:lnTo>
                  <a:lnTo>
                    <a:pt x="54" y="512"/>
                  </a:lnTo>
                  <a:lnTo>
                    <a:pt x="54" y="522"/>
                  </a:lnTo>
                  <a:lnTo>
                    <a:pt x="50" y="536"/>
                  </a:lnTo>
                  <a:lnTo>
                    <a:pt x="40" y="558"/>
                  </a:lnTo>
                  <a:lnTo>
                    <a:pt x="50" y="556"/>
                  </a:lnTo>
                  <a:lnTo>
                    <a:pt x="44" y="564"/>
                  </a:lnTo>
                  <a:lnTo>
                    <a:pt x="38" y="564"/>
                  </a:lnTo>
                  <a:lnTo>
                    <a:pt x="36" y="566"/>
                  </a:lnTo>
                  <a:lnTo>
                    <a:pt x="38" y="572"/>
                  </a:lnTo>
                  <a:lnTo>
                    <a:pt x="50" y="580"/>
                  </a:lnTo>
                  <a:lnTo>
                    <a:pt x="56" y="592"/>
                  </a:lnTo>
                  <a:lnTo>
                    <a:pt x="60" y="610"/>
                  </a:lnTo>
                  <a:lnTo>
                    <a:pt x="64" y="624"/>
                  </a:lnTo>
                  <a:lnTo>
                    <a:pt x="66" y="646"/>
                  </a:lnTo>
                  <a:lnTo>
                    <a:pt x="68" y="668"/>
                  </a:lnTo>
                  <a:lnTo>
                    <a:pt x="64" y="692"/>
                  </a:lnTo>
                  <a:lnTo>
                    <a:pt x="56" y="716"/>
                  </a:lnTo>
                  <a:lnTo>
                    <a:pt x="46" y="734"/>
                  </a:lnTo>
                  <a:lnTo>
                    <a:pt x="38" y="756"/>
                  </a:lnTo>
                  <a:lnTo>
                    <a:pt x="38" y="766"/>
                  </a:lnTo>
                  <a:lnTo>
                    <a:pt x="34" y="778"/>
                  </a:lnTo>
                  <a:lnTo>
                    <a:pt x="34" y="808"/>
                  </a:lnTo>
                  <a:lnTo>
                    <a:pt x="36" y="804"/>
                  </a:lnTo>
                  <a:lnTo>
                    <a:pt x="38" y="790"/>
                  </a:lnTo>
                  <a:lnTo>
                    <a:pt x="40" y="784"/>
                  </a:lnTo>
                  <a:lnTo>
                    <a:pt x="42" y="782"/>
                  </a:lnTo>
                  <a:lnTo>
                    <a:pt x="46" y="776"/>
                  </a:lnTo>
                  <a:lnTo>
                    <a:pt x="50" y="766"/>
                  </a:lnTo>
                  <a:lnTo>
                    <a:pt x="54" y="762"/>
                  </a:lnTo>
                  <a:lnTo>
                    <a:pt x="58" y="760"/>
                  </a:lnTo>
                  <a:lnTo>
                    <a:pt x="62" y="760"/>
                  </a:lnTo>
                  <a:lnTo>
                    <a:pt x="64" y="762"/>
                  </a:lnTo>
                  <a:lnTo>
                    <a:pt x="72" y="764"/>
                  </a:lnTo>
                  <a:lnTo>
                    <a:pt x="84" y="764"/>
                  </a:lnTo>
                  <a:lnTo>
                    <a:pt x="94" y="764"/>
                  </a:lnTo>
                  <a:lnTo>
                    <a:pt x="100" y="760"/>
                  </a:lnTo>
                  <a:lnTo>
                    <a:pt x="110" y="758"/>
                  </a:lnTo>
                  <a:lnTo>
                    <a:pt x="122" y="758"/>
                  </a:lnTo>
                  <a:lnTo>
                    <a:pt x="126" y="756"/>
                  </a:lnTo>
                  <a:lnTo>
                    <a:pt x="128" y="754"/>
                  </a:lnTo>
                  <a:lnTo>
                    <a:pt x="128" y="752"/>
                  </a:lnTo>
                  <a:lnTo>
                    <a:pt x="132" y="754"/>
                  </a:lnTo>
                  <a:lnTo>
                    <a:pt x="134" y="754"/>
                  </a:lnTo>
                  <a:lnTo>
                    <a:pt x="136" y="752"/>
                  </a:lnTo>
                  <a:lnTo>
                    <a:pt x="138" y="752"/>
                  </a:lnTo>
                  <a:lnTo>
                    <a:pt x="140" y="754"/>
                  </a:lnTo>
                  <a:lnTo>
                    <a:pt x="148" y="754"/>
                  </a:lnTo>
                  <a:lnTo>
                    <a:pt x="166" y="752"/>
                  </a:lnTo>
                  <a:lnTo>
                    <a:pt x="180" y="758"/>
                  </a:lnTo>
                  <a:lnTo>
                    <a:pt x="194" y="770"/>
                  </a:lnTo>
                  <a:lnTo>
                    <a:pt x="202" y="776"/>
                  </a:lnTo>
                  <a:lnTo>
                    <a:pt x="202" y="780"/>
                  </a:lnTo>
                  <a:lnTo>
                    <a:pt x="204" y="784"/>
                  </a:lnTo>
                  <a:lnTo>
                    <a:pt x="208" y="788"/>
                  </a:lnTo>
                  <a:lnTo>
                    <a:pt x="212" y="788"/>
                  </a:lnTo>
                  <a:lnTo>
                    <a:pt x="216" y="786"/>
                  </a:lnTo>
                  <a:lnTo>
                    <a:pt x="220" y="786"/>
                  </a:lnTo>
                  <a:lnTo>
                    <a:pt x="222" y="790"/>
                  </a:lnTo>
                  <a:lnTo>
                    <a:pt x="224" y="790"/>
                  </a:lnTo>
                  <a:lnTo>
                    <a:pt x="230" y="788"/>
                  </a:lnTo>
                  <a:lnTo>
                    <a:pt x="232" y="788"/>
                  </a:lnTo>
                  <a:lnTo>
                    <a:pt x="234" y="790"/>
                  </a:lnTo>
                  <a:lnTo>
                    <a:pt x="234" y="790"/>
                  </a:lnTo>
                  <a:lnTo>
                    <a:pt x="236" y="792"/>
                  </a:lnTo>
                  <a:lnTo>
                    <a:pt x="240" y="794"/>
                  </a:lnTo>
                  <a:lnTo>
                    <a:pt x="242" y="800"/>
                  </a:lnTo>
                  <a:lnTo>
                    <a:pt x="246" y="808"/>
                  </a:lnTo>
                  <a:lnTo>
                    <a:pt x="248" y="818"/>
                  </a:lnTo>
                  <a:lnTo>
                    <a:pt x="252" y="824"/>
                  </a:lnTo>
                  <a:lnTo>
                    <a:pt x="256" y="824"/>
                  </a:lnTo>
                  <a:lnTo>
                    <a:pt x="258" y="826"/>
                  </a:lnTo>
                  <a:lnTo>
                    <a:pt x="260" y="830"/>
                  </a:lnTo>
                  <a:lnTo>
                    <a:pt x="260" y="830"/>
                  </a:lnTo>
                  <a:lnTo>
                    <a:pt x="262" y="832"/>
                  </a:lnTo>
                  <a:lnTo>
                    <a:pt x="266" y="832"/>
                  </a:lnTo>
                  <a:lnTo>
                    <a:pt x="270" y="836"/>
                  </a:lnTo>
                  <a:lnTo>
                    <a:pt x="274" y="842"/>
                  </a:lnTo>
                  <a:lnTo>
                    <a:pt x="276" y="846"/>
                  </a:lnTo>
                  <a:lnTo>
                    <a:pt x="274" y="848"/>
                  </a:lnTo>
                  <a:lnTo>
                    <a:pt x="276" y="850"/>
                  </a:lnTo>
                  <a:lnTo>
                    <a:pt x="278" y="850"/>
                  </a:lnTo>
                  <a:lnTo>
                    <a:pt x="280" y="854"/>
                  </a:lnTo>
                  <a:lnTo>
                    <a:pt x="284" y="856"/>
                  </a:lnTo>
                  <a:lnTo>
                    <a:pt x="288" y="860"/>
                  </a:lnTo>
                  <a:lnTo>
                    <a:pt x="296" y="864"/>
                  </a:lnTo>
                  <a:lnTo>
                    <a:pt x="302" y="868"/>
                  </a:lnTo>
                  <a:lnTo>
                    <a:pt x="304" y="874"/>
                  </a:lnTo>
                  <a:lnTo>
                    <a:pt x="312" y="878"/>
                  </a:lnTo>
                  <a:lnTo>
                    <a:pt x="314" y="878"/>
                  </a:lnTo>
                  <a:lnTo>
                    <a:pt x="324" y="884"/>
                  </a:lnTo>
                  <a:lnTo>
                    <a:pt x="326" y="882"/>
                  </a:lnTo>
                  <a:lnTo>
                    <a:pt x="330" y="878"/>
                  </a:lnTo>
                  <a:lnTo>
                    <a:pt x="336" y="874"/>
                  </a:lnTo>
                  <a:lnTo>
                    <a:pt x="340" y="866"/>
                  </a:lnTo>
                  <a:lnTo>
                    <a:pt x="342" y="856"/>
                  </a:lnTo>
                  <a:lnTo>
                    <a:pt x="342" y="850"/>
                  </a:lnTo>
                  <a:lnTo>
                    <a:pt x="344" y="842"/>
                  </a:lnTo>
                  <a:lnTo>
                    <a:pt x="348" y="836"/>
                  </a:lnTo>
                  <a:lnTo>
                    <a:pt x="352" y="830"/>
                  </a:lnTo>
                  <a:lnTo>
                    <a:pt x="358" y="826"/>
                  </a:lnTo>
                  <a:lnTo>
                    <a:pt x="364" y="822"/>
                  </a:lnTo>
                  <a:lnTo>
                    <a:pt x="368" y="824"/>
                  </a:lnTo>
                  <a:lnTo>
                    <a:pt x="372" y="830"/>
                  </a:lnTo>
                  <a:lnTo>
                    <a:pt x="386" y="842"/>
                  </a:lnTo>
                  <a:lnTo>
                    <a:pt x="396" y="850"/>
                  </a:lnTo>
                  <a:lnTo>
                    <a:pt x="400" y="856"/>
                  </a:lnTo>
                  <a:lnTo>
                    <a:pt x="404" y="856"/>
                  </a:lnTo>
                  <a:lnTo>
                    <a:pt x="410" y="846"/>
                  </a:lnTo>
                  <a:lnTo>
                    <a:pt x="414" y="838"/>
                  </a:lnTo>
                  <a:lnTo>
                    <a:pt x="416" y="838"/>
                  </a:lnTo>
                  <a:lnTo>
                    <a:pt x="424" y="836"/>
                  </a:lnTo>
                  <a:lnTo>
                    <a:pt x="430" y="836"/>
                  </a:lnTo>
                  <a:lnTo>
                    <a:pt x="436" y="836"/>
                  </a:lnTo>
                  <a:lnTo>
                    <a:pt x="446" y="838"/>
                  </a:lnTo>
                  <a:lnTo>
                    <a:pt x="450" y="838"/>
                  </a:lnTo>
                  <a:lnTo>
                    <a:pt x="454" y="840"/>
                  </a:lnTo>
                  <a:lnTo>
                    <a:pt x="466" y="840"/>
                  </a:lnTo>
                  <a:lnTo>
                    <a:pt x="478" y="838"/>
                  </a:lnTo>
                  <a:lnTo>
                    <a:pt x="490" y="836"/>
                  </a:lnTo>
                  <a:lnTo>
                    <a:pt x="498" y="834"/>
                  </a:lnTo>
                  <a:lnTo>
                    <a:pt x="500" y="830"/>
                  </a:lnTo>
                  <a:lnTo>
                    <a:pt x="498" y="826"/>
                  </a:lnTo>
                  <a:lnTo>
                    <a:pt x="500" y="824"/>
                  </a:lnTo>
                  <a:lnTo>
                    <a:pt x="502" y="820"/>
                  </a:lnTo>
                  <a:lnTo>
                    <a:pt x="504" y="820"/>
                  </a:lnTo>
                  <a:lnTo>
                    <a:pt x="506" y="830"/>
                  </a:lnTo>
                  <a:lnTo>
                    <a:pt x="508" y="832"/>
                  </a:lnTo>
                  <a:lnTo>
                    <a:pt x="516" y="832"/>
                  </a:lnTo>
                  <a:lnTo>
                    <a:pt x="756" y="832"/>
                  </a:lnTo>
                  <a:lnTo>
                    <a:pt x="760" y="812"/>
                  </a:lnTo>
                  <a:lnTo>
                    <a:pt x="764" y="794"/>
                  </a:lnTo>
                  <a:lnTo>
                    <a:pt x="766" y="778"/>
                  </a:lnTo>
                  <a:lnTo>
                    <a:pt x="756" y="768"/>
                  </a:lnTo>
                  <a:lnTo>
                    <a:pt x="750" y="758"/>
                  </a:lnTo>
                  <a:lnTo>
                    <a:pt x="748" y="742"/>
                  </a:lnTo>
                  <a:lnTo>
                    <a:pt x="746" y="726"/>
                  </a:lnTo>
                  <a:lnTo>
                    <a:pt x="744" y="708"/>
                  </a:lnTo>
                  <a:lnTo>
                    <a:pt x="742" y="692"/>
                  </a:lnTo>
                  <a:lnTo>
                    <a:pt x="740" y="674"/>
                  </a:lnTo>
                  <a:lnTo>
                    <a:pt x="736" y="640"/>
                  </a:lnTo>
                  <a:lnTo>
                    <a:pt x="734" y="622"/>
                  </a:lnTo>
                  <a:lnTo>
                    <a:pt x="728" y="572"/>
                  </a:lnTo>
                  <a:lnTo>
                    <a:pt x="726" y="554"/>
                  </a:lnTo>
                  <a:lnTo>
                    <a:pt x="724" y="536"/>
                  </a:lnTo>
                  <a:lnTo>
                    <a:pt x="724" y="518"/>
                  </a:lnTo>
                  <a:lnTo>
                    <a:pt x="722" y="502"/>
                  </a:lnTo>
                  <a:lnTo>
                    <a:pt x="720" y="484"/>
                  </a:lnTo>
                  <a:lnTo>
                    <a:pt x="718" y="466"/>
                  </a:lnTo>
                  <a:lnTo>
                    <a:pt x="716" y="450"/>
                  </a:lnTo>
                  <a:lnTo>
                    <a:pt x="714" y="43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9" name="Line 5785">
              <a:extLst>
                <a:ext uri="{FF2B5EF4-FFF2-40B4-BE49-F238E27FC236}">
                  <a16:creationId xmlns:a16="http://schemas.microsoft.com/office/drawing/2014/main" id="{D6132C2A-2F83-4F57-82E4-FFA9C91D59F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42736" y="4859006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0" name="Line 5788">
              <a:extLst>
                <a:ext uri="{FF2B5EF4-FFF2-40B4-BE49-F238E27FC236}">
                  <a16:creationId xmlns:a16="http://schemas.microsoft.com/office/drawing/2014/main" id="{8D2AAF26-D895-4B09-ABC7-98729E48312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42736" y="4859006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1" name="Freeform 5789">
              <a:extLst>
                <a:ext uri="{FF2B5EF4-FFF2-40B4-BE49-F238E27FC236}">
                  <a16:creationId xmlns:a16="http://schemas.microsoft.com/office/drawing/2014/main" id="{89CA081D-ECE0-4C78-9868-C46754327490}"/>
                </a:ext>
              </a:extLst>
            </p:cNvPr>
            <p:cNvSpPr/>
            <p:nvPr/>
          </p:nvSpPr>
          <p:spPr bwMode="auto">
            <a:xfrm>
              <a:off x="3725865" y="4978491"/>
              <a:ext cx="2313" cy="3854"/>
            </a:xfrm>
            <a:custGeom>
              <a:avLst/>
              <a:gdLst>
                <a:gd name="T0" fmla="*/ 6 w 6"/>
                <a:gd name="T1" fmla="*/ 6 h 10"/>
                <a:gd name="T2" fmla="*/ 4 w 6"/>
                <a:gd name="T3" fmla="*/ 0 h 10"/>
                <a:gd name="T4" fmla="*/ 4 w 6"/>
                <a:gd name="T5" fmla="*/ 0 h 10"/>
                <a:gd name="T6" fmla="*/ 0 w 6"/>
                <a:gd name="T7" fmla="*/ 4 h 10"/>
                <a:gd name="T8" fmla="*/ 0 w 6"/>
                <a:gd name="T9" fmla="*/ 8 h 10"/>
                <a:gd name="T10" fmla="*/ 6 w 6"/>
                <a:gd name="T11" fmla="*/ 10 h 10"/>
                <a:gd name="T12" fmla="*/ 6 w 6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0">
                  <a:moveTo>
                    <a:pt x="6" y="6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8"/>
                  </a:lnTo>
                  <a:lnTo>
                    <a:pt x="6" y="10"/>
                  </a:lnTo>
                  <a:lnTo>
                    <a:pt x="6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2" name="Line 5790">
              <a:extLst>
                <a:ext uri="{FF2B5EF4-FFF2-40B4-BE49-F238E27FC236}">
                  <a16:creationId xmlns:a16="http://schemas.microsoft.com/office/drawing/2014/main" id="{791EE9E4-3EEE-4FB3-AC9B-FAF9075BCB9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28177" y="4980804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3" name="Line 5792">
              <a:extLst>
                <a:ext uri="{FF2B5EF4-FFF2-40B4-BE49-F238E27FC236}">
                  <a16:creationId xmlns:a16="http://schemas.microsoft.com/office/drawing/2014/main" id="{810E4BAD-6840-4911-AB2D-A0BEA731BFB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28177" y="4980804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4" name="Freeform 242">
              <a:extLst>
                <a:ext uri="{FF2B5EF4-FFF2-40B4-BE49-F238E27FC236}">
                  <a16:creationId xmlns:a16="http://schemas.microsoft.com/office/drawing/2014/main" id="{D2CB6E35-CF22-43D2-A94A-C22FC844A2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46930" y="5924742"/>
              <a:ext cx="11564" cy="13876"/>
            </a:xfrm>
            <a:custGeom>
              <a:avLst/>
              <a:gdLst>
                <a:gd name="connsiteX0" fmla="*/ 52416 w 71480"/>
                <a:gd name="connsiteY0" fmla="*/ 0 h 85772"/>
                <a:gd name="connsiteX1" fmla="*/ 66712 w 71480"/>
                <a:gd name="connsiteY1" fmla="*/ 19060 h 85772"/>
                <a:gd name="connsiteX2" fmla="*/ 71480 w 71480"/>
                <a:gd name="connsiteY2" fmla="*/ 38120 h 85772"/>
                <a:gd name="connsiteX3" fmla="*/ 71480 w 71480"/>
                <a:gd name="connsiteY3" fmla="*/ 57182 h 85772"/>
                <a:gd name="connsiteX4" fmla="*/ 61948 w 71480"/>
                <a:gd name="connsiteY4" fmla="*/ 61946 h 85772"/>
                <a:gd name="connsiteX5" fmla="*/ 61948 w 71480"/>
                <a:gd name="connsiteY5" fmla="*/ 76242 h 85772"/>
                <a:gd name="connsiteX6" fmla="*/ 52416 w 71480"/>
                <a:gd name="connsiteY6" fmla="*/ 85772 h 85772"/>
                <a:gd name="connsiteX7" fmla="*/ 33356 w 71480"/>
                <a:gd name="connsiteY7" fmla="*/ 85772 h 85772"/>
                <a:gd name="connsiteX8" fmla="*/ 9532 w 71480"/>
                <a:gd name="connsiteY8" fmla="*/ 85772 h 85772"/>
                <a:gd name="connsiteX9" fmla="*/ 0 w 71480"/>
                <a:gd name="connsiteY9" fmla="*/ 76242 h 85772"/>
                <a:gd name="connsiteX10" fmla="*/ 0 w 71480"/>
                <a:gd name="connsiteY10" fmla="*/ 71476 h 85772"/>
                <a:gd name="connsiteX11" fmla="*/ 4768 w 71480"/>
                <a:gd name="connsiteY11" fmla="*/ 71476 h 85772"/>
                <a:gd name="connsiteX12" fmla="*/ 4768 w 71480"/>
                <a:gd name="connsiteY12" fmla="*/ 57182 h 85772"/>
                <a:gd name="connsiteX13" fmla="*/ 9532 w 71480"/>
                <a:gd name="connsiteY13" fmla="*/ 42886 h 85772"/>
                <a:gd name="connsiteX14" fmla="*/ 14296 w 71480"/>
                <a:gd name="connsiteY14" fmla="*/ 33356 h 85772"/>
                <a:gd name="connsiteX15" fmla="*/ 23828 w 71480"/>
                <a:gd name="connsiteY15" fmla="*/ 28590 h 85772"/>
                <a:gd name="connsiteX16" fmla="*/ 28592 w 71480"/>
                <a:gd name="connsiteY16" fmla="*/ 14296 h 85772"/>
                <a:gd name="connsiteX17" fmla="*/ 38124 w 71480"/>
                <a:gd name="connsiteY17" fmla="*/ 4766 h 85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71480" h="85772">
                  <a:moveTo>
                    <a:pt x="52416" y="0"/>
                  </a:moveTo>
                  <a:lnTo>
                    <a:pt x="66712" y="19060"/>
                  </a:lnTo>
                  <a:lnTo>
                    <a:pt x="71480" y="38120"/>
                  </a:lnTo>
                  <a:lnTo>
                    <a:pt x="71480" y="57182"/>
                  </a:lnTo>
                  <a:lnTo>
                    <a:pt x="61948" y="61946"/>
                  </a:lnTo>
                  <a:lnTo>
                    <a:pt x="61948" y="76242"/>
                  </a:lnTo>
                  <a:lnTo>
                    <a:pt x="52416" y="85772"/>
                  </a:lnTo>
                  <a:lnTo>
                    <a:pt x="33356" y="85772"/>
                  </a:lnTo>
                  <a:lnTo>
                    <a:pt x="9532" y="85772"/>
                  </a:lnTo>
                  <a:lnTo>
                    <a:pt x="0" y="76242"/>
                  </a:lnTo>
                  <a:lnTo>
                    <a:pt x="0" y="71476"/>
                  </a:lnTo>
                  <a:lnTo>
                    <a:pt x="4768" y="71476"/>
                  </a:lnTo>
                  <a:lnTo>
                    <a:pt x="4768" y="57182"/>
                  </a:lnTo>
                  <a:lnTo>
                    <a:pt x="9532" y="42886"/>
                  </a:lnTo>
                  <a:lnTo>
                    <a:pt x="14296" y="33356"/>
                  </a:lnTo>
                  <a:lnTo>
                    <a:pt x="23828" y="28590"/>
                  </a:lnTo>
                  <a:lnTo>
                    <a:pt x="28592" y="14296"/>
                  </a:lnTo>
                  <a:lnTo>
                    <a:pt x="38124" y="476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5" name="Freeform 5800">
              <a:extLst>
                <a:ext uri="{FF2B5EF4-FFF2-40B4-BE49-F238E27FC236}">
                  <a16:creationId xmlns:a16="http://schemas.microsoft.com/office/drawing/2014/main" id="{5CDB7C01-AB3F-4DEA-8330-F8E9A1CBF2A4}"/>
                </a:ext>
              </a:extLst>
            </p:cNvPr>
            <p:cNvSpPr/>
            <p:nvPr/>
          </p:nvSpPr>
          <p:spPr bwMode="auto">
            <a:xfrm>
              <a:off x="6124062" y="5648383"/>
              <a:ext cx="81713" cy="200043"/>
            </a:xfrm>
            <a:custGeom>
              <a:avLst/>
              <a:gdLst>
                <a:gd name="T0" fmla="*/ 18 w 212"/>
                <a:gd name="T1" fmla="*/ 0 h 519"/>
                <a:gd name="T2" fmla="*/ 20 w 212"/>
                <a:gd name="T3" fmla="*/ 10 h 519"/>
                <a:gd name="T4" fmla="*/ 32 w 212"/>
                <a:gd name="T5" fmla="*/ 14 h 519"/>
                <a:gd name="T6" fmla="*/ 44 w 212"/>
                <a:gd name="T7" fmla="*/ 30 h 519"/>
                <a:gd name="T8" fmla="*/ 56 w 212"/>
                <a:gd name="T9" fmla="*/ 56 h 519"/>
                <a:gd name="T10" fmla="*/ 64 w 212"/>
                <a:gd name="T11" fmla="*/ 78 h 519"/>
                <a:gd name="T12" fmla="*/ 38 w 212"/>
                <a:gd name="T13" fmla="*/ 98 h 519"/>
                <a:gd name="T14" fmla="*/ 44 w 212"/>
                <a:gd name="T15" fmla="*/ 122 h 519"/>
                <a:gd name="T16" fmla="*/ 40 w 212"/>
                <a:gd name="T17" fmla="*/ 146 h 519"/>
                <a:gd name="T18" fmla="*/ 44 w 212"/>
                <a:gd name="T19" fmla="*/ 194 h 519"/>
                <a:gd name="T20" fmla="*/ 50 w 212"/>
                <a:gd name="T21" fmla="*/ 204 h 519"/>
                <a:gd name="T22" fmla="*/ 18 w 212"/>
                <a:gd name="T23" fmla="*/ 228 h 519"/>
                <a:gd name="T24" fmla="*/ 20 w 212"/>
                <a:gd name="T25" fmla="*/ 249 h 519"/>
                <a:gd name="T26" fmla="*/ 10 w 212"/>
                <a:gd name="T27" fmla="*/ 273 h 519"/>
                <a:gd name="T28" fmla="*/ 8 w 212"/>
                <a:gd name="T29" fmla="*/ 285 h 519"/>
                <a:gd name="T30" fmla="*/ 12 w 212"/>
                <a:gd name="T31" fmla="*/ 295 h 519"/>
                <a:gd name="T32" fmla="*/ 22 w 212"/>
                <a:gd name="T33" fmla="*/ 309 h 519"/>
                <a:gd name="T34" fmla="*/ 38 w 212"/>
                <a:gd name="T35" fmla="*/ 309 h 519"/>
                <a:gd name="T36" fmla="*/ 68 w 212"/>
                <a:gd name="T37" fmla="*/ 343 h 519"/>
                <a:gd name="T38" fmla="*/ 100 w 212"/>
                <a:gd name="T39" fmla="*/ 335 h 519"/>
                <a:gd name="T40" fmla="*/ 124 w 212"/>
                <a:gd name="T41" fmla="*/ 369 h 519"/>
                <a:gd name="T42" fmla="*/ 114 w 212"/>
                <a:gd name="T43" fmla="*/ 413 h 519"/>
                <a:gd name="T44" fmla="*/ 106 w 212"/>
                <a:gd name="T45" fmla="*/ 439 h 519"/>
                <a:gd name="T46" fmla="*/ 114 w 212"/>
                <a:gd name="T47" fmla="*/ 459 h 519"/>
                <a:gd name="T48" fmla="*/ 148 w 212"/>
                <a:gd name="T49" fmla="*/ 495 h 519"/>
                <a:gd name="T50" fmla="*/ 156 w 212"/>
                <a:gd name="T51" fmla="*/ 511 h 519"/>
                <a:gd name="T52" fmla="*/ 170 w 212"/>
                <a:gd name="T53" fmla="*/ 519 h 519"/>
                <a:gd name="T54" fmla="*/ 164 w 212"/>
                <a:gd name="T55" fmla="*/ 481 h 519"/>
                <a:gd name="T56" fmla="*/ 176 w 212"/>
                <a:gd name="T57" fmla="*/ 453 h 519"/>
                <a:gd name="T58" fmla="*/ 206 w 212"/>
                <a:gd name="T59" fmla="*/ 421 h 519"/>
                <a:gd name="T60" fmla="*/ 210 w 212"/>
                <a:gd name="T61" fmla="*/ 365 h 519"/>
                <a:gd name="T62" fmla="*/ 168 w 212"/>
                <a:gd name="T63" fmla="*/ 299 h 519"/>
                <a:gd name="T64" fmla="*/ 144 w 212"/>
                <a:gd name="T65" fmla="*/ 287 h 519"/>
                <a:gd name="T66" fmla="*/ 164 w 212"/>
                <a:gd name="T67" fmla="*/ 311 h 519"/>
                <a:gd name="T68" fmla="*/ 170 w 212"/>
                <a:gd name="T69" fmla="*/ 333 h 519"/>
                <a:gd name="T70" fmla="*/ 154 w 212"/>
                <a:gd name="T71" fmla="*/ 317 h 519"/>
                <a:gd name="T72" fmla="*/ 146 w 212"/>
                <a:gd name="T73" fmla="*/ 309 h 519"/>
                <a:gd name="T74" fmla="*/ 142 w 212"/>
                <a:gd name="T75" fmla="*/ 315 h 519"/>
                <a:gd name="T76" fmla="*/ 138 w 212"/>
                <a:gd name="T77" fmla="*/ 323 h 519"/>
                <a:gd name="T78" fmla="*/ 128 w 212"/>
                <a:gd name="T79" fmla="*/ 319 h 519"/>
                <a:gd name="T80" fmla="*/ 122 w 212"/>
                <a:gd name="T81" fmla="*/ 303 h 519"/>
                <a:gd name="T82" fmla="*/ 122 w 212"/>
                <a:gd name="T83" fmla="*/ 279 h 519"/>
                <a:gd name="T84" fmla="*/ 108 w 212"/>
                <a:gd name="T85" fmla="*/ 263 h 519"/>
                <a:gd name="T86" fmla="*/ 108 w 212"/>
                <a:gd name="T87" fmla="*/ 234 h 519"/>
                <a:gd name="T88" fmla="*/ 104 w 212"/>
                <a:gd name="T89" fmla="*/ 222 h 519"/>
                <a:gd name="T90" fmla="*/ 98 w 212"/>
                <a:gd name="T91" fmla="*/ 202 h 519"/>
                <a:gd name="T92" fmla="*/ 90 w 212"/>
                <a:gd name="T93" fmla="*/ 188 h 519"/>
                <a:gd name="T94" fmla="*/ 100 w 212"/>
                <a:gd name="T95" fmla="*/ 162 h 519"/>
                <a:gd name="T96" fmla="*/ 104 w 212"/>
                <a:gd name="T97" fmla="*/ 128 h 519"/>
                <a:gd name="T98" fmla="*/ 102 w 212"/>
                <a:gd name="T99" fmla="*/ 112 h 519"/>
                <a:gd name="T100" fmla="*/ 102 w 212"/>
                <a:gd name="T101" fmla="*/ 74 h 519"/>
                <a:gd name="T102" fmla="*/ 100 w 212"/>
                <a:gd name="T103" fmla="*/ 60 h 519"/>
                <a:gd name="T104" fmla="*/ 84 w 212"/>
                <a:gd name="T105" fmla="*/ 32 h 519"/>
                <a:gd name="T106" fmla="*/ 84 w 212"/>
                <a:gd name="T107" fmla="*/ 16 h 519"/>
                <a:gd name="T108" fmla="*/ 68 w 212"/>
                <a:gd name="T109" fmla="*/ 12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1" h="519">
                  <a:moveTo>
                    <a:pt x="44" y="8"/>
                  </a:moveTo>
                  <a:lnTo>
                    <a:pt x="36" y="6"/>
                  </a:lnTo>
                  <a:lnTo>
                    <a:pt x="30" y="6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8" y="6"/>
                  </a:lnTo>
                  <a:lnTo>
                    <a:pt x="20" y="8"/>
                  </a:lnTo>
                  <a:lnTo>
                    <a:pt x="20" y="10"/>
                  </a:lnTo>
                  <a:lnTo>
                    <a:pt x="22" y="14"/>
                  </a:lnTo>
                  <a:lnTo>
                    <a:pt x="24" y="16"/>
                  </a:lnTo>
                  <a:lnTo>
                    <a:pt x="26" y="16"/>
                  </a:lnTo>
                  <a:lnTo>
                    <a:pt x="28" y="14"/>
                  </a:lnTo>
                  <a:lnTo>
                    <a:pt x="32" y="14"/>
                  </a:lnTo>
                  <a:lnTo>
                    <a:pt x="34" y="14"/>
                  </a:lnTo>
                  <a:lnTo>
                    <a:pt x="36" y="18"/>
                  </a:lnTo>
                  <a:lnTo>
                    <a:pt x="38" y="24"/>
                  </a:lnTo>
                  <a:lnTo>
                    <a:pt x="42" y="26"/>
                  </a:lnTo>
                  <a:lnTo>
                    <a:pt x="44" y="30"/>
                  </a:lnTo>
                  <a:lnTo>
                    <a:pt x="44" y="36"/>
                  </a:lnTo>
                  <a:lnTo>
                    <a:pt x="42" y="42"/>
                  </a:lnTo>
                  <a:lnTo>
                    <a:pt x="48" y="48"/>
                  </a:lnTo>
                  <a:lnTo>
                    <a:pt x="54" y="52"/>
                  </a:lnTo>
                  <a:lnTo>
                    <a:pt x="56" y="56"/>
                  </a:lnTo>
                  <a:lnTo>
                    <a:pt x="56" y="62"/>
                  </a:lnTo>
                  <a:lnTo>
                    <a:pt x="58" y="66"/>
                  </a:lnTo>
                  <a:lnTo>
                    <a:pt x="62" y="72"/>
                  </a:lnTo>
                  <a:lnTo>
                    <a:pt x="64" y="76"/>
                  </a:lnTo>
                  <a:lnTo>
                    <a:pt x="64" y="78"/>
                  </a:lnTo>
                  <a:lnTo>
                    <a:pt x="52" y="92"/>
                  </a:lnTo>
                  <a:lnTo>
                    <a:pt x="48" y="94"/>
                  </a:lnTo>
                  <a:lnTo>
                    <a:pt x="44" y="94"/>
                  </a:lnTo>
                  <a:lnTo>
                    <a:pt x="40" y="96"/>
                  </a:lnTo>
                  <a:lnTo>
                    <a:pt x="38" y="98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12"/>
                  </a:lnTo>
                  <a:lnTo>
                    <a:pt x="46" y="116"/>
                  </a:lnTo>
                  <a:lnTo>
                    <a:pt x="44" y="122"/>
                  </a:lnTo>
                  <a:lnTo>
                    <a:pt x="40" y="134"/>
                  </a:lnTo>
                  <a:lnTo>
                    <a:pt x="36" y="134"/>
                  </a:lnTo>
                  <a:lnTo>
                    <a:pt x="36" y="142"/>
                  </a:lnTo>
                  <a:lnTo>
                    <a:pt x="38" y="144"/>
                  </a:lnTo>
                  <a:lnTo>
                    <a:pt x="40" y="146"/>
                  </a:lnTo>
                  <a:lnTo>
                    <a:pt x="42" y="152"/>
                  </a:lnTo>
                  <a:lnTo>
                    <a:pt x="42" y="160"/>
                  </a:lnTo>
                  <a:lnTo>
                    <a:pt x="42" y="166"/>
                  </a:lnTo>
                  <a:lnTo>
                    <a:pt x="38" y="180"/>
                  </a:lnTo>
                  <a:lnTo>
                    <a:pt x="44" y="194"/>
                  </a:lnTo>
                  <a:lnTo>
                    <a:pt x="46" y="196"/>
                  </a:lnTo>
                  <a:lnTo>
                    <a:pt x="54" y="196"/>
                  </a:lnTo>
                  <a:lnTo>
                    <a:pt x="56" y="196"/>
                  </a:lnTo>
                  <a:lnTo>
                    <a:pt x="54" y="200"/>
                  </a:lnTo>
                  <a:lnTo>
                    <a:pt x="50" y="204"/>
                  </a:lnTo>
                  <a:lnTo>
                    <a:pt x="48" y="206"/>
                  </a:lnTo>
                  <a:lnTo>
                    <a:pt x="38" y="210"/>
                  </a:lnTo>
                  <a:lnTo>
                    <a:pt x="22" y="216"/>
                  </a:lnTo>
                  <a:lnTo>
                    <a:pt x="20" y="220"/>
                  </a:lnTo>
                  <a:lnTo>
                    <a:pt x="18" y="228"/>
                  </a:lnTo>
                  <a:lnTo>
                    <a:pt x="20" y="232"/>
                  </a:lnTo>
                  <a:lnTo>
                    <a:pt x="22" y="234"/>
                  </a:lnTo>
                  <a:lnTo>
                    <a:pt x="20" y="239"/>
                  </a:lnTo>
                  <a:lnTo>
                    <a:pt x="20" y="245"/>
                  </a:lnTo>
                  <a:lnTo>
                    <a:pt x="20" y="249"/>
                  </a:lnTo>
                  <a:lnTo>
                    <a:pt x="20" y="255"/>
                  </a:lnTo>
                  <a:lnTo>
                    <a:pt x="18" y="257"/>
                  </a:lnTo>
                  <a:lnTo>
                    <a:pt x="14" y="263"/>
                  </a:lnTo>
                  <a:lnTo>
                    <a:pt x="12" y="269"/>
                  </a:lnTo>
                  <a:lnTo>
                    <a:pt x="10" y="273"/>
                  </a:lnTo>
                  <a:lnTo>
                    <a:pt x="6" y="277"/>
                  </a:lnTo>
                  <a:lnTo>
                    <a:pt x="0" y="279"/>
                  </a:lnTo>
                  <a:lnTo>
                    <a:pt x="0" y="281"/>
                  </a:lnTo>
                  <a:lnTo>
                    <a:pt x="6" y="283"/>
                  </a:lnTo>
                  <a:lnTo>
                    <a:pt x="8" y="285"/>
                  </a:lnTo>
                  <a:lnTo>
                    <a:pt x="8" y="287"/>
                  </a:lnTo>
                  <a:lnTo>
                    <a:pt x="8" y="289"/>
                  </a:lnTo>
                  <a:lnTo>
                    <a:pt x="6" y="291"/>
                  </a:lnTo>
                  <a:lnTo>
                    <a:pt x="10" y="293"/>
                  </a:lnTo>
                  <a:lnTo>
                    <a:pt x="12" y="295"/>
                  </a:lnTo>
                  <a:lnTo>
                    <a:pt x="16" y="299"/>
                  </a:lnTo>
                  <a:lnTo>
                    <a:pt x="20" y="305"/>
                  </a:lnTo>
                  <a:lnTo>
                    <a:pt x="20" y="307"/>
                  </a:lnTo>
                  <a:lnTo>
                    <a:pt x="20" y="309"/>
                  </a:lnTo>
                  <a:lnTo>
                    <a:pt x="22" y="309"/>
                  </a:lnTo>
                  <a:lnTo>
                    <a:pt x="24" y="307"/>
                  </a:lnTo>
                  <a:lnTo>
                    <a:pt x="28" y="303"/>
                  </a:lnTo>
                  <a:lnTo>
                    <a:pt x="32" y="303"/>
                  </a:lnTo>
                  <a:lnTo>
                    <a:pt x="34" y="307"/>
                  </a:lnTo>
                  <a:lnTo>
                    <a:pt x="38" y="309"/>
                  </a:lnTo>
                  <a:lnTo>
                    <a:pt x="48" y="327"/>
                  </a:lnTo>
                  <a:lnTo>
                    <a:pt x="54" y="335"/>
                  </a:lnTo>
                  <a:lnTo>
                    <a:pt x="64" y="345"/>
                  </a:lnTo>
                  <a:lnTo>
                    <a:pt x="64" y="345"/>
                  </a:lnTo>
                  <a:lnTo>
                    <a:pt x="68" y="343"/>
                  </a:lnTo>
                  <a:lnTo>
                    <a:pt x="72" y="341"/>
                  </a:lnTo>
                  <a:lnTo>
                    <a:pt x="84" y="339"/>
                  </a:lnTo>
                  <a:lnTo>
                    <a:pt x="90" y="339"/>
                  </a:lnTo>
                  <a:lnTo>
                    <a:pt x="94" y="337"/>
                  </a:lnTo>
                  <a:lnTo>
                    <a:pt x="100" y="335"/>
                  </a:lnTo>
                  <a:lnTo>
                    <a:pt x="108" y="335"/>
                  </a:lnTo>
                  <a:lnTo>
                    <a:pt x="112" y="335"/>
                  </a:lnTo>
                  <a:lnTo>
                    <a:pt x="120" y="347"/>
                  </a:lnTo>
                  <a:lnTo>
                    <a:pt x="122" y="357"/>
                  </a:lnTo>
                  <a:lnTo>
                    <a:pt x="124" y="369"/>
                  </a:lnTo>
                  <a:lnTo>
                    <a:pt x="124" y="375"/>
                  </a:lnTo>
                  <a:lnTo>
                    <a:pt x="124" y="383"/>
                  </a:lnTo>
                  <a:lnTo>
                    <a:pt x="122" y="395"/>
                  </a:lnTo>
                  <a:lnTo>
                    <a:pt x="116" y="407"/>
                  </a:lnTo>
                  <a:lnTo>
                    <a:pt x="114" y="413"/>
                  </a:lnTo>
                  <a:lnTo>
                    <a:pt x="110" y="423"/>
                  </a:lnTo>
                  <a:lnTo>
                    <a:pt x="106" y="427"/>
                  </a:lnTo>
                  <a:lnTo>
                    <a:pt x="104" y="431"/>
                  </a:lnTo>
                  <a:lnTo>
                    <a:pt x="104" y="435"/>
                  </a:lnTo>
                  <a:lnTo>
                    <a:pt x="106" y="439"/>
                  </a:lnTo>
                  <a:lnTo>
                    <a:pt x="112" y="443"/>
                  </a:lnTo>
                  <a:lnTo>
                    <a:pt x="114" y="447"/>
                  </a:lnTo>
                  <a:lnTo>
                    <a:pt x="114" y="451"/>
                  </a:lnTo>
                  <a:lnTo>
                    <a:pt x="114" y="457"/>
                  </a:lnTo>
                  <a:lnTo>
                    <a:pt x="114" y="459"/>
                  </a:lnTo>
                  <a:lnTo>
                    <a:pt x="116" y="461"/>
                  </a:lnTo>
                  <a:lnTo>
                    <a:pt x="122" y="465"/>
                  </a:lnTo>
                  <a:lnTo>
                    <a:pt x="128" y="471"/>
                  </a:lnTo>
                  <a:lnTo>
                    <a:pt x="136" y="481"/>
                  </a:lnTo>
                  <a:lnTo>
                    <a:pt x="148" y="495"/>
                  </a:lnTo>
                  <a:lnTo>
                    <a:pt x="154" y="499"/>
                  </a:lnTo>
                  <a:lnTo>
                    <a:pt x="158" y="499"/>
                  </a:lnTo>
                  <a:lnTo>
                    <a:pt x="160" y="503"/>
                  </a:lnTo>
                  <a:lnTo>
                    <a:pt x="158" y="509"/>
                  </a:lnTo>
                  <a:lnTo>
                    <a:pt x="156" y="511"/>
                  </a:lnTo>
                  <a:lnTo>
                    <a:pt x="156" y="517"/>
                  </a:lnTo>
                  <a:lnTo>
                    <a:pt x="158" y="519"/>
                  </a:lnTo>
                  <a:lnTo>
                    <a:pt x="160" y="519"/>
                  </a:lnTo>
                  <a:lnTo>
                    <a:pt x="166" y="519"/>
                  </a:lnTo>
                  <a:lnTo>
                    <a:pt x="170" y="519"/>
                  </a:lnTo>
                  <a:lnTo>
                    <a:pt x="172" y="517"/>
                  </a:lnTo>
                  <a:lnTo>
                    <a:pt x="172" y="497"/>
                  </a:lnTo>
                  <a:lnTo>
                    <a:pt x="168" y="485"/>
                  </a:lnTo>
                  <a:lnTo>
                    <a:pt x="164" y="481"/>
                  </a:lnTo>
                  <a:lnTo>
                    <a:pt x="164" y="481"/>
                  </a:lnTo>
                  <a:lnTo>
                    <a:pt x="164" y="477"/>
                  </a:lnTo>
                  <a:lnTo>
                    <a:pt x="168" y="467"/>
                  </a:lnTo>
                  <a:lnTo>
                    <a:pt x="172" y="459"/>
                  </a:lnTo>
                  <a:lnTo>
                    <a:pt x="174" y="455"/>
                  </a:lnTo>
                  <a:lnTo>
                    <a:pt x="176" y="453"/>
                  </a:lnTo>
                  <a:lnTo>
                    <a:pt x="192" y="451"/>
                  </a:lnTo>
                  <a:lnTo>
                    <a:pt x="200" y="449"/>
                  </a:lnTo>
                  <a:lnTo>
                    <a:pt x="202" y="447"/>
                  </a:lnTo>
                  <a:lnTo>
                    <a:pt x="204" y="439"/>
                  </a:lnTo>
                  <a:lnTo>
                    <a:pt x="206" y="421"/>
                  </a:lnTo>
                  <a:lnTo>
                    <a:pt x="206" y="403"/>
                  </a:lnTo>
                  <a:lnTo>
                    <a:pt x="206" y="393"/>
                  </a:lnTo>
                  <a:lnTo>
                    <a:pt x="208" y="377"/>
                  </a:lnTo>
                  <a:lnTo>
                    <a:pt x="212" y="367"/>
                  </a:lnTo>
                  <a:lnTo>
                    <a:pt x="210" y="365"/>
                  </a:lnTo>
                  <a:lnTo>
                    <a:pt x="208" y="351"/>
                  </a:lnTo>
                  <a:lnTo>
                    <a:pt x="198" y="337"/>
                  </a:lnTo>
                  <a:lnTo>
                    <a:pt x="184" y="321"/>
                  </a:lnTo>
                  <a:lnTo>
                    <a:pt x="178" y="311"/>
                  </a:lnTo>
                  <a:lnTo>
                    <a:pt x="168" y="299"/>
                  </a:lnTo>
                  <a:lnTo>
                    <a:pt x="154" y="283"/>
                  </a:lnTo>
                  <a:lnTo>
                    <a:pt x="146" y="277"/>
                  </a:lnTo>
                  <a:lnTo>
                    <a:pt x="144" y="275"/>
                  </a:lnTo>
                  <a:lnTo>
                    <a:pt x="144" y="281"/>
                  </a:lnTo>
                  <a:lnTo>
                    <a:pt x="144" y="287"/>
                  </a:lnTo>
                  <a:lnTo>
                    <a:pt x="146" y="287"/>
                  </a:lnTo>
                  <a:lnTo>
                    <a:pt x="154" y="289"/>
                  </a:lnTo>
                  <a:lnTo>
                    <a:pt x="156" y="289"/>
                  </a:lnTo>
                  <a:lnTo>
                    <a:pt x="158" y="295"/>
                  </a:lnTo>
                  <a:lnTo>
                    <a:pt x="164" y="311"/>
                  </a:lnTo>
                  <a:lnTo>
                    <a:pt x="164" y="313"/>
                  </a:lnTo>
                  <a:lnTo>
                    <a:pt x="170" y="325"/>
                  </a:lnTo>
                  <a:lnTo>
                    <a:pt x="172" y="331"/>
                  </a:lnTo>
                  <a:lnTo>
                    <a:pt x="170" y="333"/>
                  </a:lnTo>
                  <a:lnTo>
                    <a:pt x="170" y="333"/>
                  </a:lnTo>
                  <a:lnTo>
                    <a:pt x="168" y="333"/>
                  </a:lnTo>
                  <a:lnTo>
                    <a:pt x="166" y="331"/>
                  </a:lnTo>
                  <a:lnTo>
                    <a:pt x="162" y="327"/>
                  </a:lnTo>
                  <a:lnTo>
                    <a:pt x="156" y="319"/>
                  </a:lnTo>
                  <a:lnTo>
                    <a:pt x="154" y="317"/>
                  </a:lnTo>
                  <a:lnTo>
                    <a:pt x="150" y="317"/>
                  </a:lnTo>
                  <a:lnTo>
                    <a:pt x="150" y="315"/>
                  </a:lnTo>
                  <a:lnTo>
                    <a:pt x="148" y="311"/>
                  </a:lnTo>
                  <a:lnTo>
                    <a:pt x="148" y="309"/>
                  </a:lnTo>
                  <a:lnTo>
                    <a:pt x="146" y="309"/>
                  </a:lnTo>
                  <a:lnTo>
                    <a:pt x="144" y="307"/>
                  </a:lnTo>
                  <a:lnTo>
                    <a:pt x="144" y="307"/>
                  </a:lnTo>
                  <a:lnTo>
                    <a:pt x="142" y="309"/>
                  </a:lnTo>
                  <a:lnTo>
                    <a:pt x="144" y="311"/>
                  </a:lnTo>
                  <a:lnTo>
                    <a:pt x="142" y="315"/>
                  </a:lnTo>
                  <a:lnTo>
                    <a:pt x="142" y="317"/>
                  </a:lnTo>
                  <a:lnTo>
                    <a:pt x="140" y="319"/>
                  </a:lnTo>
                  <a:lnTo>
                    <a:pt x="142" y="319"/>
                  </a:lnTo>
                  <a:lnTo>
                    <a:pt x="140" y="321"/>
                  </a:lnTo>
                  <a:lnTo>
                    <a:pt x="138" y="323"/>
                  </a:lnTo>
                  <a:lnTo>
                    <a:pt x="134" y="325"/>
                  </a:lnTo>
                  <a:lnTo>
                    <a:pt x="134" y="325"/>
                  </a:lnTo>
                  <a:lnTo>
                    <a:pt x="132" y="323"/>
                  </a:lnTo>
                  <a:lnTo>
                    <a:pt x="132" y="321"/>
                  </a:lnTo>
                  <a:lnTo>
                    <a:pt x="128" y="319"/>
                  </a:lnTo>
                  <a:lnTo>
                    <a:pt x="126" y="317"/>
                  </a:lnTo>
                  <a:lnTo>
                    <a:pt x="124" y="313"/>
                  </a:lnTo>
                  <a:lnTo>
                    <a:pt x="122" y="309"/>
                  </a:lnTo>
                  <a:lnTo>
                    <a:pt x="122" y="305"/>
                  </a:lnTo>
                  <a:lnTo>
                    <a:pt x="122" y="303"/>
                  </a:lnTo>
                  <a:lnTo>
                    <a:pt x="124" y="301"/>
                  </a:lnTo>
                  <a:lnTo>
                    <a:pt x="126" y="297"/>
                  </a:lnTo>
                  <a:lnTo>
                    <a:pt x="128" y="289"/>
                  </a:lnTo>
                  <a:lnTo>
                    <a:pt x="126" y="285"/>
                  </a:lnTo>
                  <a:lnTo>
                    <a:pt x="122" y="279"/>
                  </a:lnTo>
                  <a:lnTo>
                    <a:pt x="120" y="277"/>
                  </a:lnTo>
                  <a:lnTo>
                    <a:pt x="118" y="277"/>
                  </a:lnTo>
                  <a:lnTo>
                    <a:pt x="114" y="275"/>
                  </a:lnTo>
                  <a:lnTo>
                    <a:pt x="108" y="265"/>
                  </a:lnTo>
                  <a:lnTo>
                    <a:pt x="108" y="263"/>
                  </a:lnTo>
                  <a:lnTo>
                    <a:pt x="108" y="259"/>
                  </a:lnTo>
                  <a:lnTo>
                    <a:pt x="110" y="257"/>
                  </a:lnTo>
                  <a:lnTo>
                    <a:pt x="110" y="249"/>
                  </a:lnTo>
                  <a:lnTo>
                    <a:pt x="108" y="236"/>
                  </a:lnTo>
                  <a:lnTo>
                    <a:pt x="108" y="234"/>
                  </a:lnTo>
                  <a:lnTo>
                    <a:pt x="106" y="230"/>
                  </a:lnTo>
                  <a:lnTo>
                    <a:pt x="106" y="228"/>
                  </a:lnTo>
                  <a:lnTo>
                    <a:pt x="104" y="226"/>
                  </a:lnTo>
                  <a:lnTo>
                    <a:pt x="106" y="224"/>
                  </a:lnTo>
                  <a:lnTo>
                    <a:pt x="104" y="222"/>
                  </a:lnTo>
                  <a:lnTo>
                    <a:pt x="102" y="220"/>
                  </a:lnTo>
                  <a:lnTo>
                    <a:pt x="102" y="220"/>
                  </a:lnTo>
                  <a:lnTo>
                    <a:pt x="100" y="216"/>
                  </a:lnTo>
                  <a:lnTo>
                    <a:pt x="100" y="206"/>
                  </a:lnTo>
                  <a:lnTo>
                    <a:pt x="98" y="202"/>
                  </a:lnTo>
                  <a:lnTo>
                    <a:pt x="96" y="200"/>
                  </a:lnTo>
                  <a:lnTo>
                    <a:pt x="94" y="198"/>
                  </a:lnTo>
                  <a:lnTo>
                    <a:pt x="92" y="196"/>
                  </a:lnTo>
                  <a:lnTo>
                    <a:pt x="90" y="190"/>
                  </a:lnTo>
                  <a:lnTo>
                    <a:pt x="90" y="188"/>
                  </a:lnTo>
                  <a:lnTo>
                    <a:pt x="90" y="176"/>
                  </a:lnTo>
                  <a:lnTo>
                    <a:pt x="94" y="172"/>
                  </a:lnTo>
                  <a:lnTo>
                    <a:pt x="98" y="168"/>
                  </a:lnTo>
                  <a:lnTo>
                    <a:pt x="100" y="164"/>
                  </a:lnTo>
                  <a:lnTo>
                    <a:pt x="100" y="162"/>
                  </a:lnTo>
                  <a:lnTo>
                    <a:pt x="102" y="160"/>
                  </a:lnTo>
                  <a:lnTo>
                    <a:pt x="108" y="152"/>
                  </a:lnTo>
                  <a:lnTo>
                    <a:pt x="108" y="150"/>
                  </a:lnTo>
                  <a:lnTo>
                    <a:pt x="106" y="134"/>
                  </a:lnTo>
                  <a:lnTo>
                    <a:pt x="104" y="128"/>
                  </a:lnTo>
                  <a:lnTo>
                    <a:pt x="102" y="122"/>
                  </a:lnTo>
                  <a:lnTo>
                    <a:pt x="102" y="118"/>
                  </a:lnTo>
                  <a:lnTo>
                    <a:pt x="102" y="114"/>
                  </a:lnTo>
                  <a:lnTo>
                    <a:pt x="102" y="112"/>
                  </a:lnTo>
                  <a:lnTo>
                    <a:pt x="102" y="112"/>
                  </a:lnTo>
                  <a:lnTo>
                    <a:pt x="100" y="80"/>
                  </a:lnTo>
                  <a:lnTo>
                    <a:pt x="100" y="78"/>
                  </a:lnTo>
                  <a:lnTo>
                    <a:pt x="100" y="78"/>
                  </a:lnTo>
                  <a:lnTo>
                    <a:pt x="102" y="76"/>
                  </a:lnTo>
                  <a:lnTo>
                    <a:pt x="102" y="74"/>
                  </a:lnTo>
                  <a:lnTo>
                    <a:pt x="102" y="72"/>
                  </a:lnTo>
                  <a:lnTo>
                    <a:pt x="102" y="70"/>
                  </a:lnTo>
                  <a:lnTo>
                    <a:pt x="104" y="70"/>
                  </a:lnTo>
                  <a:lnTo>
                    <a:pt x="104" y="66"/>
                  </a:lnTo>
                  <a:lnTo>
                    <a:pt x="100" y="60"/>
                  </a:lnTo>
                  <a:lnTo>
                    <a:pt x="98" y="56"/>
                  </a:lnTo>
                  <a:lnTo>
                    <a:pt x="90" y="50"/>
                  </a:lnTo>
                  <a:lnTo>
                    <a:pt x="88" y="46"/>
                  </a:lnTo>
                  <a:lnTo>
                    <a:pt x="86" y="42"/>
                  </a:lnTo>
                  <a:lnTo>
                    <a:pt x="84" y="32"/>
                  </a:lnTo>
                  <a:lnTo>
                    <a:pt x="82" y="30"/>
                  </a:lnTo>
                  <a:lnTo>
                    <a:pt x="80" y="26"/>
                  </a:lnTo>
                  <a:lnTo>
                    <a:pt x="80" y="22"/>
                  </a:lnTo>
                  <a:lnTo>
                    <a:pt x="82" y="20"/>
                  </a:lnTo>
                  <a:lnTo>
                    <a:pt x="84" y="16"/>
                  </a:lnTo>
                  <a:lnTo>
                    <a:pt x="84" y="18"/>
                  </a:lnTo>
                  <a:lnTo>
                    <a:pt x="80" y="18"/>
                  </a:lnTo>
                  <a:lnTo>
                    <a:pt x="78" y="16"/>
                  </a:lnTo>
                  <a:lnTo>
                    <a:pt x="72" y="14"/>
                  </a:lnTo>
                  <a:lnTo>
                    <a:pt x="68" y="12"/>
                  </a:lnTo>
                  <a:lnTo>
                    <a:pt x="56" y="14"/>
                  </a:lnTo>
                  <a:lnTo>
                    <a:pt x="52" y="14"/>
                  </a:lnTo>
                  <a:lnTo>
                    <a:pt x="50" y="14"/>
                  </a:lnTo>
                  <a:lnTo>
                    <a:pt x="44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296" name="Group 261">
              <a:extLst>
                <a:ext uri="{FF2B5EF4-FFF2-40B4-BE49-F238E27FC236}">
                  <a16:creationId xmlns:a16="http://schemas.microsoft.com/office/drawing/2014/main" id="{19387359-2372-4BBE-AA66-89E1CB8AE5BF}"/>
                </a:ext>
              </a:extLst>
            </p:cNvPr>
            <p:cNvGrpSpPr/>
            <p:nvPr/>
          </p:nvGrpSpPr>
          <p:grpSpPr>
            <a:xfrm>
              <a:off x="7815751" y="5223630"/>
              <a:ext cx="495673" cy="164196"/>
              <a:chOff x="44187393" y="25891879"/>
              <a:chExt cx="3063975" cy="1014970"/>
            </a:xfrm>
            <a:grpFill/>
          </p:grpSpPr>
          <p:sp>
            <p:nvSpPr>
              <p:cNvPr id="565" name="Freeform 514">
                <a:extLst>
                  <a:ext uri="{FF2B5EF4-FFF2-40B4-BE49-F238E27FC236}">
                    <a16:creationId xmlns:a16="http://schemas.microsoft.com/office/drawing/2014/main" id="{6ABD1959-6A6F-4F3E-AD08-96635663C637}"/>
                  </a:ext>
                </a:extLst>
              </p:cNvPr>
              <p:cNvSpPr/>
              <p:nvPr/>
            </p:nvSpPr>
            <p:spPr bwMode="auto">
              <a:xfrm>
                <a:off x="45736058" y="25891879"/>
                <a:ext cx="1515308" cy="1014970"/>
              </a:xfrm>
              <a:custGeom>
                <a:avLst/>
                <a:gdLst>
                  <a:gd name="connsiteX0" fmla="*/ 271612 w 1515308"/>
                  <a:gd name="connsiteY0" fmla="*/ 719534 h 1014970"/>
                  <a:gd name="connsiteX1" fmla="*/ 276376 w 1515308"/>
                  <a:gd name="connsiteY1" fmla="*/ 719534 h 1014970"/>
                  <a:gd name="connsiteX2" fmla="*/ 281140 w 1515308"/>
                  <a:gd name="connsiteY2" fmla="*/ 719534 h 1014970"/>
                  <a:gd name="connsiteX3" fmla="*/ 285908 w 1515308"/>
                  <a:gd name="connsiteY3" fmla="*/ 724300 h 1014970"/>
                  <a:gd name="connsiteX4" fmla="*/ 285908 w 1515308"/>
                  <a:gd name="connsiteY4" fmla="*/ 748124 h 1014970"/>
                  <a:gd name="connsiteX5" fmla="*/ 285908 w 1515308"/>
                  <a:gd name="connsiteY5" fmla="*/ 767184 h 1014970"/>
                  <a:gd name="connsiteX6" fmla="*/ 285908 w 1515308"/>
                  <a:gd name="connsiteY6" fmla="*/ 771950 h 1014970"/>
                  <a:gd name="connsiteX7" fmla="*/ 281140 w 1515308"/>
                  <a:gd name="connsiteY7" fmla="*/ 771950 h 1014970"/>
                  <a:gd name="connsiteX8" fmla="*/ 276376 w 1515308"/>
                  <a:gd name="connsiteY8" fmla="*/ 767184 h 1014970"/>
                  <a:gd name="connsiteX9" fmla="*/ 1272288 w 1515308"/>
                  <a:gd name="connsiteY9" fmla="*/ 481278 h 1014970"/>
                  <a:gd name="connsiteX10" fmla="*/ 1281820 w 1515308"/>
                  <a:gd name="connsiteY10" fmla="*/ 486044 h 1014970"/>
                  <a:gd name="connsiteX11" fmla="*/ 1300880 w 1515308"/>
                  <a:gd name="connsiteY11" fmla="*/ 495574 h 1014970"/>
                  <a:gd name="connsiteX12" fmla="*/ 1281820 w 1515308"/>
                  <a:gd name="connsiteY12" fmla="*/ 500338 h 1014970"/>
                  <a:gd name="connsiteX13" fmla="*/ 1262760 w 1515308"/>
                  <a:gd name="connsiteY13" fmla="*/ 495574 h 1014970"/>
                  <a:gd name="connsiteX14" fmla="*/ 1267524 w 1515308"/>
                  <a:gd name="connsiteY14" fmla="*/ 490808 h 1014970"/>
                  <a:gd name="connsiteX15" fmla="*/ 1267524 w 1515308"/>
                  <a:gd name="connsiteY15" fmla="*/ 486044 h 1014970"/>
                  <a:gd name="connsiteX16" fmla="*/ 1124568 w 1515308"/>
                  <a:gd name="connsiteY16" fmla="*/ 57182 h 1014970"/>
                  <a:gd name="connsiteX17" fmla="*/ 1129336 w 1515308"/>
                  <a:gd name="connsiteY17" fmla="*/ 57182 h 1014970"/>
                  <a:gd name="connsiteX18" fmla="*/ 1138864 w 1515308"/>
                  <a:gd name="connsiteY18" fmla="*/ 61946 h 1014970"/>
                  <a:gd name="connsiteX19" fmla="*/ 1138864 w 1515308"/>
                  <a:gd name="connsiteY19" fmla="*/ 81006 h 1014970"/>
                  <a:gd name="connsiteX20" fmla="*/ 1138864 w 1515308"/>
                  <a:gd name="connsiteY20" fmla="*/ 90536 h 1014970"/>
                  <a:gd name="connsiteX21" fmla="*/ 1134100 w 1515308"/>
                  <a:gd name="connsiteY21" fmla="*/ 100068 h 1014970"/>
                  <a:gd name="connsiteX22" fmla="*/ 1129336 w 1515308"/>
                  <a:gd name="connsiteY22" fmla="*/ 114362 h 1014970"/>
                  <a:gd name="connsiteX23" fmla="*/ 1134100 w 1515308"/>
                  <a:gd name="connsiteY23" fmla="*/ 114362 h 1014970"/>
                  <a:gd name="connsiteX24" fmla="*/ 1148396 w 1515308"/>
                  <a:gd name="connsiteY24" fmla="*/ 104832 h 1014970"/>
                  <a:gd name="connsiteX25" fmla="*/ 1167456 w 1515308"/>
                  <a:gd name="connsiteY25" fmla="*/ 85772 h 1014970"/>
                  <a:gd name="connsiteX26" fmla="*/ 1176988 w 1515308"/>
                  <a:gd name="connsiteY26" fmla="*/ 66712 h 1014970"/>
                  <a:gd name="connsiteX27" fmla="*/ 1181752 w 1515308"/>
                  <a:gd name="connsiteY27" fmla="*/ 57182 h 1014970"/>
                  <a:gd name="connsiteX28" fmla="*/ 1200812 w 1515308"/>
                  <a:gd name="connsiteY28" fmla="*/ 61946 h 1014970"/>
                  <a:gd name="connsiteX29" fmla="*/ 1200812 w 1515308"/>
                  <a:gd name="connsiteY29" fmla="*/ 66712 h 1014970"/>
                  <a:gd name="connsiteX30" fmla="*/ 1200812 w 1515308"/>
                  <a:gd name="connsiteY30" fmla="*/ 81006 h 1014970"/>
                  <a:gd name="connsiteX31" fmla="*/ 1200812 w 1515308"/>
                  <a:gd name="connsiteY31" fmla="*/ 85772 h 1014970"/>
                  <a:gd name="connsiteX32" fmla="*/ 1210340 w 1515308"/>
                  <a:gd name="connsiteY32" fmla="*/ 104832 h 1014970"/>
                  <a:gd name="connsiteX33" fmla="*/ 1224636 w 1515308"/>
                  <a:gd name="connsiteY33" fmla="*/ 114362 h 1014970"/>
                  <a:gd name="connsiteX34" fmla="*/ 1238932 w 1515308"/>
                  <a:gd name="connsiteY34" fmla="*/ 119128 h 1014970"/>
                  <a:gd name="connsiteX35" fmla="*/ 1257992 w 1515308"/>
                  <a:gd name="connsiteY35" fmla="*/ 128658 h 1014970"/>
                  <a:gd name="connsiteX36" fmla="*/ 1262760 w 1515308"/>
                  <a:gd name="connsiteY36" fmla="*/ 138188 h 1014970"/>
                  <a:gd name="connsiteX37" fmla="*/ 1267524 w 1515308"/>
                  <a:gd name="connsiteY37" fmla="*/ 142954 h 1014970"/>
                  <a:gd name="connsiteX38" fmla="*/ 1272288 w 1515308"/>
                  <a:gd name="connsiteY38" fmla="*/ 157248 h 1014970"/>
                  <a:gd name="connsiteX39" fmla="*/ 1272288 w 1515308"/>
                  <a:gd name="connsiteY39" fmla="*/ 166778 h 1014970"/>
                  <a:gd name="connsiteX40" fmla="*/ 1257992 w 1515308"/>
                  <a:gd name="connsiteY40" fmla="*/ 181074 h 1014970"/>
                  <a:gd name="connsiteX41" fmla="*/ 1262760 w 1515308"/>
                  <a:gd name="connsiteY41" fmla="*/ 200134 h 1014970"/>
                  <a:gd name="connsiteX42" fmla="*/ 1262760 w 1515308"/>
                  <a:gd name="connsiteY42" fmla="*/ 209664 h 1014970"/>
                  <a:gd name="connsiteX43" fmla="*/ 1257992 w 1515308"/>
                  <a:gd name="connsiteY43" fmla="*/ 219196 h 1014970"/>
                  <a:gd name="connsiteX44" fmla="*/ 1243696 w 1515308"/>
                  <a:gd name="connsiteY44" fmla="*/ 228726 h 1014970"/>
                  <a:gd name="connsiteX45" fmla="*/ 1291348 w 1515308"/>
                  <a:gd name="connsiteY45" fmla="*/ 219196 h 1014970"/>
                  <a:gd name="connsiteX46" fmla="*/ 1300880 w 1515308"/>
                  <a:gd name="connsiteY46" fmla="*/ 214430 h 1014970"/>
                  <a:gd name="connsiteX47" fmla="*/ 1319940 w 1515308"/>
                  <a:gd name="connsiteY47" fmla="*/ 200134 h 1014970"/>
                  <a:gd name="connsiteX48" fmla="*/ 1329472 w 1515308"/>
                  <a:gd name="connsiteY48" fmla="*/ 214430 h 1014970"/>
                  <a:gd name="connsiteX49" fmla="*/ 1339000 w 1515308"/>
                  <a:gd name="connsiteY49" fmla="*/ 233490 h 1014970"/>
                  <a:gd name="connsiteX50" fmla="*/ 1329472 w 1515308"/>
                  <a:gd name="connsiteY50" fmla="*/ 238256 h 1014970"/>
                  <a:gd name="connsiteX51" fmla="*/ 1310408 w 1515308"/>
                  <a:gd name="connsiteY51" fmla="*/ 243020 h 1014970"/>
                  <a:gd name="connsiteX52" fmla="*/ 1310408 w 1515308"/>
                  <a:gd name="connsiteY52" fmla="*/ 247786 h 1014970"/>
                  <a:gd name="connsiteX53" fmla="*/ 1315176 w 1515308"/>
                  <a:gd name="connsiteY53" fmla="*/ 257316 h 1014970"/>
                  <a:gd name="connsiteX54" fmla="*/ 1324704 w 1515308"/>
                  <a:gd name="connsiteY54" fmla="*/ 257316 h 1014970"/>
                  <a:gd name="connsiteX55" fmla="*/ 1343764 w 1515308"/>
                  <a:gd name="connsiteY55" fmla="*/ 247786 h 1014970"/>
                  <a:gd name="connsiteX56" fmla="*/ 1358060 w 1515308"/>
                  <a:gd name="connsiteY56" fmla="*/ 238256 h 1014970"/>
                  <a:gd name="connsiteX57" fmla="*/ 1367592 w 1515308"/>
                  <a:gd name="connsiteY57" fmla="*/ 238256 h 1014970"/>
                  <a:gd name="connsiteX58" fmla="*/ 1377120 w 1515308"/>
                  <a:gd name="connsiteY58" fmla="*/ 243020 h 1014970"/>
                  <a:gd name="connsiteX59" fmla="*/ 1391416 w 1515308"/>
                  <a:gd name="connsiteY59" fmla="*/ 247786 h 1014970"/>
                  <a:gd name="connsiteX60" fmla="*/ 1400948 w 1515308"/>
                  <a:gd name="connsiteY60" fmla="*/ 252552 h 1014970"/>
                  <a:gd name="connsiteX61" fmla="*/ 1405712 w 1515308"/>
                  <a:gd name="connsiteY61" fmla="*/ 262082 h 1014970"/>
                  <a:gd name="connsiteX62" fmla="*/ 1410476 w 1515308"/>
                  <a:gd name="connsiteY62" fmla="*/ 276376 h 1014970"/>
                  <a:gd name="connsiteX63" fmla="*/ 1429536 w 1515308"/>
                  <a:gd name="connsiteY63" fmla="*/ 281142 h 1014970"/>
                  <a:gd name="connsiteX64" fmla="*/ 1467660 w 1515308"/>
                  <a:gd name="connsiteY64" fmla="*/ 300202 h 1014970"/>
                  <a:gd name="connsiteX65" fmla="*/ 1477188 w 1515308"/>
                  <a:gd name="connsiteY65" fmla="*/ 300202 h 1014970"/>
                  <a:gd name="connsiteX66" fmla="*/ 1481956 w 1515308"/>
                  <a:gd name="connsiteY66" fmla="*/ 300202 h 1014970"/>
                  <a:gd name="connsiteX67" fmla="*/ 1505780 w 1515308"/>
                  <a:gd name="connsiteY67" fmla="*/ 300202 h 1014970"/>
                  <a:gd name="connsiteX68" fmla="*/ 1510544 w 1515308"/>
                  <a:gd name="connsiteY68" fmla="*/ 304968 h 1014970"/>
                  <a:gd name="connsiteX69" fmla="*/ 1515308 w 1515308"/>
                  <a:gd name="connsiteY69" fmla="*/ 309732 h 1014970"/>
                  <a:gd name="connsiteX70" fmla="*/ 1515308 w 1515308"/>
                  <a:gd name="connsiteY70" fmla="*/ 319262 h 1014970"/>
                  <a:gd name="connsiteX71" fmla="*/ 1515308 w 1515308"/>
                  <a:gd name="connsiteY71" fmla="*/ 328794 h 1014970"/>
                  <a:gd name="connsiteX72" fmla="*/ 1515308 w 1515308"/>
                  <a:gd name="connsiteY72" fmla="*/ 338324 h 1014970"/>
                  <a:gd name="connsiteX73" fmla="*/ 1510544 w 1515308"/>
                  <a:gd name="connsiteY73" fmla="*/ 343088 h 1014970"/>
                  <a:gd name="connsiteX74" fmla="*/ 1496248 w 1515308"/>
                  <a:gd name="connsiteY74" fmla="*/ 352618 h 1014970"/>
                  <a:gd name="connsiteX75" fmla="*/ 1462892 w 1515308"/>
                  <a:gd name="connsiteY75" fmla="*/ 362148 h 1014970"/>
                  <a:gd name="connsiteX76" fmla="*/ 1424772 w 1515308"/>
                  <a:gd name="connsiteY76" fmla="*/ 371680 h 1014970"/>
                  <a:gd name="connsiteX77" fmla="*/ 1405712 w 1515308"/>
                  <a:gd name="connsiteY77" fmla="*/ 371680 h 1014970"/>
                  <a:gd name="connsiteX78" fmla="*/ 1377120 w 1515308"/>
                  <a:gd name="connsiteY78" fmla="*/ 366914 h 1014970"/>
                  <a:gd name="connsiteX79" fmla="*/ 1367592 w 1515308"/>
                  <a:gd name="connsiteY79" fmla="*/ 366914 h 1014970"/>
                  <a:gd name="connsiteX80" fmla="*/ 1358060 w 1515308"/>
                  <a:gd name="connsiteY80" fmla="*/ 371680 h 1014970"/>
                  <a:gd name="connsiteX81" fmla="*/ 1348532 w 1515308"/>
                  <a:gd name="connsiteY81" fmla="*/ 395504 h 1014970"/>
                  <a:gd name="connsiteX82" fmla="*/ 1372356 w 1515308"/>
                  <a:gd name="connsiteY82" fmla="*/ 419330 h 1014970"/>
                  <a:gd name="connsiteX83" fmla="*/ 1405712 w 1515308"/>
                  <a:gd name="connsiteY83" fmla="*/ 447922 h 1014970"/>
                  <a:gd name="connsiteX84" fmla="*/ 1410476 w 1515308"/>
                  <a:gd name="connsiteY84" fmla="*/ 452686 h 1014970"/>
                  <a:gd name="connsiteX85" fmla="*/ 1410476 w 1515308"/>
                  <a:gd name="connsiteY85" fmla="*/ 462216 h 1014970"/>
                  <a:gd name="connsiteX86" fmla="*/ 1405712 w 1515308"/>
                  <a:gd name="connsiteY86" fmla="*/ 466982 h 1014970"/>
                  <a:gd name="connsiteX87" fmla="*/ 1396180 w 1515308"/>
                  <a:gd name="connsiteY87" fmla="*/ 466982 h 1014970"/>
                  <a:gd name="connsiteX88" fmla="*/ 1377120 w 1515308"/>
                  <a:gd name="connsiteY88" fmla="*/ 471746 h 1014970"/>
                  <a:gd name="connsiteX89" fmla="*/ 1353296 w 1515308"/>
                  <a:gd name="connsiteY89" fmla="*/ 476512 h 1014970"/>
                  <a:gd name="connsiteX90" fmla="*/ 1339000 w 1515308"/>
                  <a:gd name="connsiteY90" fmla="*/ 481278 h 1014970"/>
                  <a:gd name="connsiteX91" fmla="*/ 1319940 w 1515308"/>
                  <a:gd name="connsiteY91" fmla="*/ 486042 h 1014970"/>
                  <a:gd name="connsiteX92" fmla="*/ 1300880 w 1515308"/>
                  <a:gd name="connsiteY92" fmla="*/ 481278 h 1014970"/>
                  <a:gd name="connsiteX93" fmla="*/ 1277052 w 1515308"/>
                  <a:gd name="connsiteY93" fmla="*/ 471746 h 1014970"/>
                  <a:gd name="connsiteX94" fmla="*/ 1272288 w 1515308"/>
                  <a:gd name="connsiteY94" fmla="*/ 471746 h 1014970"/>
                  <a:gd name="connsiteX95" fmla="*/ 1262760 w 1515308"/>
                  <a:gd name="connsiteY95" fmla="*/ 476512 h 1014970"/>
                  <a:gd name="connsiteX96" fmla="*/ 1257992 w 1515308"/>
                  <a:gd name="connsiteY96" fmla="*/ 490808 h 1014970"/>
                  <a:gd name="connsiteX97" fmla="*/ 1253228 w 1515308"/>
                  <a:gd name="connsiteY97" fmla="*/ 495572 h 1014970"/>
                  <a:gd name="connsiteX98" fmla="*/ 1248464 w 1515308"/>
                  <a:gd name="connsiteY98" fmla="*/ 495572 h 1014970"/>
                  <a:gd name="connsiteX99" fmla="*/ 1234168 w 1515308"/>
                  <a:gd name="connsiteY99" fmla="*/ 495572 h 1014970"/>
                  <a:gd name="connsiteX100" fmla="*/ 1205576 w 1515308"/>
                  <a:gd name="connsiteY100" fmla="*/ 476512 h 1014970"/>
                  <a:gd name="connsiteX101" fmla="*/ 1176988 w 1515308"/>
                  <a:gd name="connsiteY101" fmla="*/ 471746 h 1014970"/>
                  <a:gd name="connsiteX102" fmla="*/ 1138864 w 1515308"/>
                  <a:gd name="connsiteY102" fmla="*/ 471746 h 1014970"/>
                  <a:gd name="connsiteX103" fmla="*/ 1115040 w 1515308"/>
                  <a:gd name="connsiteY103" fmla="*/ 466982 h 1014970"/>
                  <a:gd name="connsiteX104" fmla="*/ 1105508 w 1515308"/>
                  <a:gd name="connsiteY104" fmla="*/ 471746 h 1014970"/>
                  <a:gd name="connsiteX105" fmla="*/ 1100744 w 1515308"/>
                  <a:gd name="connsiteY105" fmla="*/ 471746 h 1014970"/>
                  <a:gd name="connsiteX106" fmla="*/ 1091212 w 1515308"/>
                  <a:gd name="connsiteY106" fmla="*/ 466982 h 1014970"/>
                  <a:gd name="connsiteX107" fmla="*/ 1086448 w 1515308"/>
                  <a:gd name="connsiteY107" fmla="*/ 466982 h 1014970"/>
                  <a:gd name="connsiteX108" fmla="*/ 1072152 w 1515308"/>
                  <a:gd name="connsiteY108" fmla="*/ 476512 h 1014970"/>
                  <a:gd name="connsiteX109" fmla="*/ 1062624 w 1515308"/>
                  <a:gd name="connsiteY109" fmla="*/ 471746 h 1014970"/>
                  <a:gd name="connsiteX110" fmla="*/ 1057856 w 1515308"/>
                  <a:gd name="connsiteY110" fmla="*/ 466982 h 1014970"/>
                  <a:gd name="connsiteX111" fmla="*/ 1043564 w 1515308"/>
                  <a:gd name="connsiteY111" fmla="*/ 466982 h 1014970"/>
                  <a:gd name="connsiteX112" fmla="*/ 1029268 w 1515308"/>
                  <a:gd name="connsiteY112" fmla="*/ 466982 h 1014970"/>
                  <a:gd name="connsiteX113" fmla="*/ 1010208 w 1515308"/>
                  <a:gd name="connsiteY113" fmla="*/ 476512 h 1014970"/>
                  <a:gd name="connsiteX114" fmla="*/ 991148 w 1515308"/>
                  <a:gd name="connsiteY114" fmla="*/ 471746 h 1014970"/>
                  <a:gd name="connsiteX115" fmla="*/ 986380 w 1515308"/>
                  <a:gd name="connsiteY115" fmla="*/ 471746 h 1014970"/>
                  <a:gd name="connsiteX116" fmla="*/ 981616 w 1515308"/>
                  <a:gd name="connsiteY116" fmla="*/ 471746 h 1014970"/>
                  <a:gd name="connsiteX117" fmla="*/ 972084 w 1515308"/>
                  <a:gd name="connsiteY117" fmla="*/ 486042 h 1014970"/>
                  <a:gd name="connsiteX118" fmla="*/ 957792 w 1515308"/>
                  <a:gd name="connsiteY118" fmla="*/ 495572 h 1014970"/>
                  <a:gd name="connsiteX119" fmla="*/ 948260 w 1515308"/>
                  <a:gd name="connsiteY119" fmla="*/ 509868 h 1014970"/>
                  <a:gd name="connsiteX120" fmla="*/ 943496 w 1515308"/>
                  <a:gd name="connsiteY120" fmla="*/ 528928 h 1014970"/>
                  <a:gd name="connsiteX121" fmla="*/ 938728 w 1515308"/>
                  <a:gd name="connsiteY121" fmla="*/ 533694 h 1014970"/>
                  <a:gd name="connsiteX122" fmla="*/ 938728 w 1515308"/>
                  <a:gd name="connsiteY122" fmla="*/ 567050 h 1014970"/>
                  <a:gd name="connsiteX123" fmla="*/ 933964 w 1515308"/>
                  <a:gd name="connsiteY123" fmla="*/ 581344 h 1014970"/>
                  <a:gd name="connsiteX124" fmla="*/ 938728 w 1515308"/>
                  <a:gd name="connsiteY124" fmla="*/ 600406 h 1014970"/>
                  <a:gd name="connsiteX125" fmla="*/ 938728 w 1515308"/>
                  <a:gd name="connsiteY125" fmla="*/ 609936 h 1014970"/>
                  <a:gd name="connsiteX126" fmla="*/ 933964 w 1515308"/>
                  <a:gd name="connsiteY126" fmla="*/ 624230 h 1014970"/>
                  <a:gd name="connsiteX127" fmla="*/ 929200 w 1515308"/>
                  <a:gd name="connsiteY127" fmla="*/ 628996 h 1014970"/>
                  <a:gd name="connsiteX128" fmla="*/ 929200 w 1515308"/>
                  <a:gd name="connsiteY128" fmla="*/ 648056 h 1014970"/>
                  <a:gd name="connsiteX129" fmla="*/ 929200 w 1515308"/>
                  <a:gd name="connsiteY129" fmla="*/ 652822 h 1014970"/>
                  <a:gd name="connsiteX130" fmla="*/ 929200 w 1515308"/>
                  <a:gd name="connsiteY130" fmla="*/ 662352 h 1014970"/>
                  <a:gd name="connsiteX131" fmla="*/ 924436 w 1515308"/>
                  <a:gd name="connsiteY131" fmla="*/ 676648 h 1014970"/>
                  <a:gd name="connsiteX132" fmla="*/ 910140 w 1515308"/>
                  <a:gd name="connsiteY132" fmla="*/ 681412 h 1014970"/>
                  <a:gd name="connsiteX133" fmla="*/ 900608 w 1515308"/>
                  <a:gd name="connsiteY133" fmla="*/ 681412 h 1014970"/>
                  <a:gd name="connsiteX134" fmla="*/ 891080 w 1515308"/>
                  <a:gd name="connsiteY134" fmla="*/ 676648 h 1014970"/>
                  <a:gd name="connsiteX135" fmla="*/ 881548 w 1515308"/>
                  <a:gd name="connsiteY135" fmla="*/ 686178 h 1014970"/>
                  <a:gd name="connsiteX136" fmla="*/ 867252 w 1515308"/>
                  <a:gd name="connsiteY136" fmla="*/ 695708 h 1014970"/>
                  <a:gd name="connsiteX137" fmla="*/ 862488 w 1515308"/>
                  <a:gd name="connsiteY137" fmla="*/ 705238 h 1014970"/>
                  <a:gd name="connsiteX138" fmla="*/ 862488 w 1515308"/>
                  <a:gd name="connsiteY138" fmla="*/ 714768 h 1014970"/>
                  <a:gd name="connsiteX139" fmla="*/ 867252 w 1515308"/>
                  <a:gd name="connsiteY139" fmla="*/ 719534 h 1014970"/>
                  <a:gd name="connsiteX140" fmla="*/ 862488 w 1515308"/>
                  <a:gd name="connsiteY140" fmla="*/ 724298 h 1014970"/>
                  <a:gd name="connsiteX141" fmla="*/ 862488 w 1515308"/>
                  <a:gd name="connsiteY141" fmla="*/ 729064 h 1014970"/>
                  <a:gd name="connsiteX142" fmla="*/ 862488 w 1515308"/>
                  <a:gd name="connsiteY142" fmla="*/ 738594 h 1014970"/>
                  <a:gd name="connsiteX143" fmla="*/ 872020 w 1515308"/>
                  <a:gd name="connsiteY143" fmla="*/ 743358 h 1014970"/>
                  <a:gd name="connsiteX144" fmla="*/ 881548 w 1515308"/>
                  <a:gd name="connsiteY144" fmla="*/ 748124 h 1014970"/>
                  <a:gd name="connsiteX145" fmla="*/ 881548 w 1515308"/>
                  <a:gd name="connsiteY145" fmla="*/ 757654 h 1014970"/>
                  <a:gd name="connsiteX146" fmla="*/ 872020 w 1515308"/>
                  <a:gd name="connsiteY146" fmla="*/ 762420 h 1014970"/>
                  <a:gd name="connsiteX147" fmla="*/ 862488 w 1515308"/>
                  <a:gd name="connsiteY147" fmla="*/ 767184 h 1014970"/>
                  <a:gd name="connsiteX148" fmla="*/ 848192 w 1515308"/>
                  <a:gd name="connsiteY148" fmla="*/ 781480 h 1014970"/>
                  <a:gd name="connsiteX149" fmla="*/ 824368 w 1515308"/>
                  <a:gd name="connsiteY149" fmla="*/ 795776 h 1014970"/>
                  <a:gd name="connsiteX150" fmla="*/ 819600 w 1515308"/>
                  <a:gd name="connsiteY150" fmla="*/ 800540 h 1014970"/>
                  <a:gd name="connsiteX151" fmla="*/ 814836 w 1515308"/>
                  <a:gd name="connsiteY151" fmla="*/ 805306 h 1014970"/>
                  <a:gd name="connsiteX152" fmla="*/ 814836 w 1515308"/>
                  <a:gd name="connsiteY152" fmla="*/ 810070 h 1014970"/>
                  <a:gd name="connsiteX153" fmla="*/ 819600 w 1515308"/>
                  <a:gd name="connsiteY153" fmla="*/ 829132 h 1014970"/>
                  <a:gd name="connsiteX154" fmla="*/ 824368 w 1515308"/>
                  <a:gd name="connsiteY154" fmla="*/ 833896 h 1014970"/>
                  <a:gd name="connsiteX155" fmla="*/ 824368 w 1515308"/>
                  <a:gd name="connsiteY155" fmla="*/ 838662 h 1014970"/>
                  <a:gd name="connsiteX156" fmla="*/ 819600 w 1515308"/>
                  <a:gd name="connsiteY156" fmla="*/ 848192 h 1014970"/>
                  <a:gd name="connsiteX157" fmla="*/ 819600 w 1515308"/>
                  <a:gd name="connsiteY157" fmla="*/ 852956 h 1014970"/>
                  <a:gd name="connsiteX158" fmla="*/ 810072 w 1515308"/>
                  <a:gd name="connsiteY158" fmla="*/ 857722 h 1014970"/>
                  <a:gd name="connsiteX159" fmla="*/ 805308 w 1515308"/>
                  <a:gd name="connsiteY159" fmla="*/ 862486 h 1014970"/>
                  <a:gd name="connsiteX160" fmla="*/ 800540 w 1515308"/>
                  <a:gd name="connsiteY160" fmla="*/ 867252 h 1014970"/>
                  <a:gd name="connsiteX161" fmla="*/ 800540 w 1515308"/>
                  <a:gd name="connsiteY161" fmla="*/ 886312 h 1014970"/>
                  <a:gd name="connsiteX162" fmla="*/ 791012 w 1515308"/>
                  <a:gd name="connsiteY162" fmla="*/ 895842 h 1014970"/>
                  <a:gd name="connsiteX163" fmla="*/ 781480 w 1515308"/>
                  <a:gd name="connsiteY163" fmla="*/ 914904 h 1014970"/>
                  <a:gd name="connsiteX164" fmla="*/ 781480 w 1515308"/>
                  <a:gd name="connsiteY164" fmla="*/ 919668 h 1014970"/>
                  <a:gd name="connsiteX165" fmla="*/ 776716 w 1515308"/>
                  <a:gd name="connsiteY165" fmla="*/ 924434 h 1014970"/>
                  <a:gd name="connsiteX166" fmla="*/ 752888 w 1515308"/>
                  <a:gd name="connsiteY166" fmla="*/ 914904 h 1014970"/>
                  <a:gd name="connsiteX167" fmla="*/ 738596 w 1515308"/>
                  <a:gd name="connsiteY167" fmla="*/ 919668 h 1014970"/>
                  <a:gd name="connsiteX168" fmla="*/ 714768 w 1515308"/>
                  <a:gd name="connsiteY168" fmla="*/ 924434 h 1014970"/>
                  <a:gd name="connsiteX169" fmla="*/ 695708 w 1515308"/>
                  <a:gd name="connsiteY169" fmla="*/ 924434 h 1014970"/>
                  <a:gd name="connsiteX170" fmla="*/ 681412 w 1515308"/>
                  <a:gd name="connsiteY170" fmla="*/ 924434 h 1014970"/>
                  <a:gd name="connsiteX171" fmla="*/ 667116 w 1515308"/>
                  <a:gd name="connsiteY171" fmla="*/ 933964 h 1014970"/>
                  <a:gd name="connsiteX172" fmla="*/ 657588 w 1515308"/>
                  <a:gd name="connsiteY172" fmla="*/ 943494 h 1014970"/>
                  <a:gd name="connsiteX173" fmla="*/ 643292 w 1515308"/>
                  <a:gd name="connsiteY173" fmla="*/ 953024 h 1014970"/>
                  <a:gd name="connsiteX174" fmla="*/ 633760 w 1515308"/>
                  <a:gd name="connsiteY174" fmla="*/ 957790 h 1014970"/>
                  <a:gd name="connsiteX175" fmla="*/ 619468 w 1515308"/>
                  <a:gd name="connsiteY175" fmla="*/ 943494 h 1014970"/>
                  <a:gd name="connsiteX176" fmla="*/ 609936 w 1515308"/>
                  <a:gd name="connsiteY176" fmla="*/ 948260 h 1014970"/>
                  <a:gd name="connsiteX177" fmla="*/ 595640 w 1515308"/>
                  <a:gd name="connsiteY177" fmla="*/ 943494 h 1014970"/>
                  <a:gd name="connsiteX178" fmla="*/ 557520 w 1515308"/>
                  <a:gd name="connsiteY178" fmla="*/ 929198 h 1014970"/>
                  <a:gd name="connsiteX179" fmla="*/ 547988 w 1515308"/>
                  <a:gd name="connsiteY179" fmla="*/ 924434 h 1014970"/>
                  <a:gd name="connsiteX180" fmla="*/ 538460 w 1515308"/>
                  <a:gd name="connsiteY180" fmla="*/ 924434 h 1014970"/>
                  <a:gd name="connsiteX181" fmla="*/ 538460 w 1515308"/>
                  <a:gd name="connsiteY181" fmla="*/ 919668 h 1014970"/>
                  <a:gd name="connsiteX182" fmla="*/ 538460 w 1515308"/>
                  <a:gd name="connsiteY182" fmla="*/ 914904 h 1014970"/>
                  <a:gd name="connsiteX183" fmla="*/ 538460 w 1515308"/>
                  <a:gd name="connsiteY183" fmla="*/ 905374 h 1014970"/>
                  <a:gd name="connsiteX184" fmla="*/ 528928 w 1515308"/>
                  <a:gd name="connsiteY184" fmla="*/ 905374 h 1014970"/>
                  <a:gd name="connsiteX185" fmla="*/ 457452 w 1515308"/>
                  <a:gd name="connsiteY185" fmla="*/ 905374 h 1014970"/>
                  <a:gd name="connsiteX186" fmla="*/ 433628 w 1515308"/>
                  <a:gd name="connsiteY186" fmla="*/ 914904 h 1014970"/>
                  <a:gd name="connsiteX187" fmla="*/ 419332 w 1515308"/>
                  <a:gd name="connsiteY187" fmla="*/ 919668 h 1014970"/>
                  <a:gd name="connsiteX188" fmla="*/ 409800 w 1515308"/>
                  <a:gd name="connsiteY188" fmla="*/ 924434 h 1014970"/>
                  <a:gd name="connsiteX189" fmla="*/ 409800 w 1515308"/>
                  <a:gd name="connsiteY189" fmla="*/ 938730 h 1014970"/>
                  <a:gd name="connsiteX190" fmla="*/ 400272 w 1515308"/>
                  <a:gd name="connsiteY190" fmla="*/ 957790 h 1014970"/>
                  <a:gd name="connsiteX191" fmla="*/ 395504 w 1515308"/>
                  <a:gd name="connsiteY191" fmla="*/ 972084 h 1014970"/>
                  <a:gd name="connsiteX192" fmla="*/ 371680 w 1515308"/>
                  <a:gd name="connsiteY192" fmla="*/ 976850 h 1014970"/>
                  <a:gd name="connsiteX193" fmla="*/ 352620 w 1515308"/>
                  <a:gd name="connsiteY193" fmla="*/ 991146 h 1014970"/>
                  <a:gd name="connsiteX194" fmla="*/ 347856 w 1515308"/>
                  <a:gd name="connsiteY194" fmla="*/ 995910 h 1014970"/>
                  <a:gd name="connsiteX195" fmla="*/ 333560 w 1515308"/>
                  <a:gd name="connsiteY195" fmla="*/ 991146 h 1014970"/>
                  <a:gd name="connsiteX196" fmla="*/ 319264 w 1515308"/>
                  <a:gd name="connsiteY196" fmla="*/ 991146 h 1014970"/>
                  <a:gd name="connsiteX197" fmla="*/ 309732 w 1515308"/>
                  <a:gd name="connsiteY197" fmla="*/ 995910 h 1014970"/>
                  <a:gd name="connsiteX198" fmla="*/ 300204 w 1515308"/>
                  <a:gd name="connsiteY198" fmla="*/ 995910 h 1014970"/>
                  <a:gd name="connsiteX199" fmla="*/ 271612 w 1515308"/>
                  <a:gd name="connsiteY199" fmla="*/ 986380 h 1014970"/>
                  <a:gd name="connsiteX200" fmla="*/ 243020 w 1515308"/>
                  <a:gd name="connsiteY200" fmla="*/ 986380 h 1014970"/>
                  <a:gd name="connsiteX201" fmla="*/ 223960 w 1515308"/>
                  <a:gd name="connsiteY201" fmla="*/ 991146 h 1014970"/>
                  <a:gd name="connsiteX202" fmla="*/ 214432 w 1515308"/>
                  <a:gd name="connsiteY202" fmla="*/ 991146 h 1014970"/>
                  <a:gd name="connsiteX203" fmla="*/ 166780 w 1515308"/>
                  <a:gd name="connsiteY203" fmla="*/ 1014970 h 1014970"/>
                  <a:gd name="connsiteX204" fmla="*/ 147720 w 1515308"/>
                  <a:gd name="connsiteY204" fmla="*/ 1014970 h 1014970"/>
                  <a:gd name="connsiteX205" fmla="*/ 142952 w 1515308"/>
                  <a:gd name="connsiteY205" fmla="*/ 1010206 h 1014970"/>
                  <a:gd name="connsiteX206" fmla="*/ 133424 w 1515308"/>
                  <a:gd name="connsiteY206" fmla="*/ 1000676 h 1014970"/>
                  <a:gd name="connsiteX207" fmla="*/ 119128 w 1515308"/>
                  <a:gd name="connsiteY207" fmla="*/ 995910 h 1014970"/>
                  <a:gd name="connsiteX208" fmla="*/ 85772 w 1515308"/>
                  <a:gd name="connsiteY208" fmla="*/ 962554 h 1014970"/>
                  <a:gd name="connsiteX209" fmla="*/ 76244 w 1515308"/>
                  <a:gd name="connsiteY209" fmla="*/ 957790 h 1014970"/>
                  <a:gd name="connsiteX210" fmla="*/ 66712 w 1515308"/>
                  <a:gd name="connsiteY210" fmla="*/ 948260 h 1014970"/>
                  <a:gd name="connsiteX211" fmla="*/ 61948 w 1515308"/>
                  <a:gd name="connsiteY211" fmla="*/ 938730 h 1014970"/>
                  <a:gd name="connsiteX212" fmla="*/ 52416 w 1515308"/>
                  <a:gd name="connsiteY212" fmla="*/ 929198 h 1014970"/>
                  <a:gd name="connsiteX213" fmla="*/ 42888 w 1515308"/>
                  <a:gd name="connsiteY213" fmla="*/ 924434 h 1014970"/>
                  <a:gd name="connsiteX214" fmla="*/ 28592 w 1515308"/>
                  <a:gd name="connsiteY214" fmla="*/ 910138 h 1014970"/>
                  <a:gd name="connsiteX215" fmla="*/ 14296 w 1515308"/>
                  <a:gd name="connsiteY215" fmla="*/ 895842 h 1014970"/>
                  <a:gd name="connsiteX216" fmla="*/ 14296 w 1515308"/>
                  <a:gd name="connsiteY216" fmla="*/ 872018 h 1014970"/>
                  <a:gd name="connsiteX217" fmla="*/ 4764 w 1515308"/>
                  <a:gd name="connsiteY217" fmla="*/ 867252 h 1014970"/>
                  <a:gd name="connsiteX218" fmla="*/ 0 w 1515308"/>
                  <a:gd name="connsiteY218" fmla="*/ 862486 h 1014970"/>
                  <a:gd name="connsiteX219" fmla="*/ 0 w 1515308"/>
                  <a:gd name="connsiteY219" fmla="*/ 852956 h 1014970"/>
                  <a:gd name="connsiteX220" fmla="*/ 9532 w 1515308"/>
                  <a:gd name="connsiteY220" fmla="*/ 833896 h 1014970"/>
                  <a:gd name="connsiteX221" fmla="*/ 23824 w 1515308"/>
                  <a:gd name="connsiteY221" fmla="*/ 852956 h 1014970"/>
                  <a:gd name="connsiteX222" fmla="*/ 23824 w 1515308"/>
                  <a:gd name="connsiteY222" fmla="*/ 857722 h 1014970"/>
                  <a:gd name="connsiteX223" fmla="*/ 47652 w 1515308"/>
                  <a:gd name="connsiteY223" fmla="*/ 872018 h 1014970"/>
                  <a:gd name="connsiteX224" fmla="*/ 66712 w 1515308"/>
                  <a:gd name="connsiteY224" fmla="*/ 881548 h 1014970"/>
                  <a:gd name="connsiteX225" fmla="*/ 85772 w 1515308"/>
                  <a:gd name="connsiteY225" fmla="*/ 886312 h 1014970"/>
                  <a:gd name="connsiteX226" fmla="*/ 109596 w 1515308"/>
                  <a:gd name="connsiteY226" fmla="*/ 886312 h 1014970"/>
                  <a:gd name="connsiteX227" fmla="*/ 119128 w 1515308"/>
                  <a:gd name="connsiteY227" fmla="*/ 881548 h 1014970"/>
                  <a:gd name="connsiteX228" fmla="*/ 123892 w 1515308"/>
                  <a:gd name="connsiteY228" fmla="*/ 881548 h 1014970"/>
                  <a:gd name="connsiteX229" fmla="*/ 133424 w 1515308"/>
                  <a:gd name="connsiteY229" fmla="*/ 886312 h 1014970"/>
                  <a:gd name="connsiteX230" fmla="*/ 176308 w 1515308"/>
                  <a:gd name="connsiteY230" fmla="*/ 905374 h 1014970"/>
                  <a:gd name="connsiteX231" fmla="*/ 190604 w 1515308"/>
                  <a:gd name="connsiteY231" fmla="*/ 910138 h 1014970"/>
                  <a:gd name="connsiteX232" fmla="*/ 209664 w 1515308"/>
                  <a:gd name="connsiteY232" fmla="*/ 910138 h 1014970"/>
                  <a:gd name="connsiteX233" fmla="*/ 219196 w 1515308"/>
                  <a:gd name="connsiteY233" fmla="*/ 914904 h 1014970"/>
                  <a:gd name="connsiteX234" fmla="*/ 243020 w 1515308"/>
                  <a:gd name="connsiteY234" fmla="*/ 929198 h 1014970"/>
                  <a:gd name="connsiteX235" fmla="*/ 247788 w 1515308"/>
                  <a:gd name="connsiteY235" fmla="*/ 933964 h 1014970"/>
                  <a:gd name="connsiteX236" fmla="*/ 262080 w 1515308"/>
                  <a:gd name="connsiteY236" fmla="*/ 929198 h 1014970"/>
                  <a:gd name="connsiteX237" fmla="*/ 243020 w 1515308"/>
                  <a:gd name="connsiteY237" fmla="*/ 924434 h 1014970"/>
                  <a:gd name="connsiteX238" fmla="*/ 233492 w 1515308"/>
                  <a:gd name="connsiteY238" fmla="*/ 919668 h 1014970"/>
                  <a:gd name="connsiteX239" fmla="*/ 228728 w 1515308"/>
                  <a:gd name="connsiteY239" fmla="*/ 905374 h 1014970"/>
                  <a:gd name="connsiteX240" fmla="*/ 233492 w 1515308"/>
                  <a:gd name="connsiteY240" fmla="*/ 895842 h 1014970"/>
                  <a:gd name="connsiteX241" fmla="*/ 243020 w 1515308"/>
                  <a:gd name="connsiteY241" fmla="*/ 886312 h 1014970"/>
                  <a:gd name="connsiteX242" fmla="*/ 247788 w 1515308"/>
                  <a:gd name="connsiteY242" fmla="*/ 876782 h 1014970"/>
                  <a:gd name="connsiteX243" fmla="*/ 252552 w 1515308"/>
                  <a:gd name="connsiteY243" fmla="*/ 852956 h 1014970"/>
                  <a:gd name="connsiteX244" fmla="*/ 257316 w 1515308"/>
                  <a:gd name="connsiteY244" fmla="*/ 838662 h 1014970"/>
                  <a:gd name="connsiteX245" fmla="*/ 266848 w 1515308"/>
                  <a:gd name="connsiteY245" fmla="*/ 829132 h 1014970"/>
                  <a:gd name="connsiteX246" fmla="*/ 266848 w 1515308"/>
                  <a:gd name="connsiteY246" fmla="*/ 814836 h 1014970"/>
                  <a:gd name="connsiteX247" fmla="*/ 257316 w 1515308"/>
                  <a:gd name="connsiteY247" fmla="*/ 805306 h 1014970"/>
                  <a:gd name="connsiteX248" fmla="*/ 257316 w 1515308"/>
                  <a:gd name="connsiteY248" fmla="*/ 791010 h 1014970"/>
                  <a:gd name="connsiteX249" fmla="*/ 257316 w 1515308"/>
                  <a:gd name="connsiteY249" fmla="*/ 776714 h 1014970"/>
                  <a:gd name="connsiteX250" fmla="*/ 262080 w 1515308"/>
                  <a:gd name="connsiteY250" fmla="*/ 767184 h 1014970"/>
                  <a:gd name="connsiteX251" fmla="*/ 271612 w 1515308"/>
                  <a:gd name="connsiteY251" fmla="*/ 776714 h 1014970"/>
                  <a:gd name="connsiteX252" fmla="*/ 281144 w 1515308"/>
                  <a:gd name="connsiteY252" fmla="*/ 781480 h 1014970"/>
                  <a:gd name="connsiteX253" fmla="*/ 290672 w 1515308"/>
                  <a:gd name="connsiteY253" fmla="*/ 781480 h 1014970"/>
                  <a:gd name="connsiteX254" fmla="*/ 295436 w 1515308"/>
                  <a:gd name="connsiteY254" fmla="*/ 776714 h 1014970"/>
                  <a:gd name="connsiteX255" fmla="*/ 295436 w 1515308"/>
                  <a:gd name="connsiteY255" fmla="*/ 771950 h 1014970"/>
                  <a:gd name="connsiteX256" fmla="*/ 295436 w 1515308"/>
                  <a:gd name="connsiteY256" fmla="*/ 757654 h 1014970"/>
                  <a:gd name="connsiteX257" fmla="*/ 295436 w 1515308"/>
                  <a:gd name="connsiteY257" fmla="*/ 738594 h 1014970"/>
                  <a:gd name="connsiteX258" fmla="*/ 304968 w 1515308"/>
                  <a:gd name="connsiteY258" fmla="*/ 719534 h 1014970"/>
                  <a:gd name="connsiteX259" fmla="*/ 324028 w 1515308"/>
                  <a:gd name="connsiteY259" fmla="*/ 710004 h 1014970"/>
                  <a:gd name="connsiteX260" fmla="*/ 338324 w 1515308"/>
                  <a:gd name="connsiteY260" fmla="*/ 705238 h 1014970"/>
                  <a:gd name="connsiteX261" fmla="*/ 400272 w 1515308"/>
                  <a:gd name="connsiteY261" fmla="*/ 695708 h 1014970"/>
                  <a:gd name="connsiteX262" fmla="*/ 495572 w 1515308"/>
                  <a:gd name="connsiteY262" fmla="*/ 671882 h 1014970"/>
                  <a:gd name="connsiteX263" fmla="*/ 524164 w 1515308"/>
                  <a:gd name="connsiteY263" fmla="*/ 662352 h 1014970"/>
                  <a:gd name="connsiteX264" fmla="*/ 538460 w 1515308"/>
                  <a:gd name="connsiteY264" fmla="*/ 657586 h 1014970"/>
                  <a:gd name="connsiteX265" fmla="*/ 547988 w 1515308"/>
                  <a:gd name="connsiteY265" fmla="*/ 648056 h 1014970"/>
                  <a:gd name="connsiteX266" fmla="*/ 562284 w 1515308"/>
                  <a:gd name="connsiteY266" fmla="*/ 628996 h 1014970"/>
                  <a:gd name="connsiteX267" fmla="*/ 590876 w 1515308"/>
                  <a:gd name="connsiteY267" fmla="*/ 590874 h 1014970"/>
                  <a:gd name="connsiteX268" fmla="*/ 609936 w 1515308"/>
                  <a:gd name="connsiteY268" fmla="*/ 567050 h 1014970"/>
                  <a:gd name="connsiteX269" fmla="*/ 648056 w 1515308"/>
                  <a:gd name="connsiteY269" fmla="*/ 524164 h 1014970"/>
                  <a:gd name="connsiteX270" fmla="*/ 681412 w 1515308"/>
                  <a:gd name="connsiteY270" fmla="*/ 486042 h 1014970"/>
                  <a:gd name="connsiteX271" fmla="*/ 686180 w 1515308"/>
                  <a:gd name="connsiteY271" fmla="*/ 481278 h 1014970"/>
                  <a:gd name="connsiteX272" fmla="*/ 690944 w 1515308"/>
                  <a:gd name="connsiteY272" fmla="*/ 457452 h 1014970"/>
                  <a:gd name="connsiteX273" fmla="*/ 690944 w 1515308"/>
                  <a:gd name="connsiteY273" fmla="*/ 447922 h 1014970"/>
                  <a:gd name="connsiteX274" fmla="*/ 690944 w 1515308"/>
                  <a:gd name="connsiteY274" fmla="*/ 438390 h 1014970"/>
                  <a:gd name="connsiteX275" fmla="*/ 695708 w 1515308"/>
                  <a:gd name="connsiteY275" fmla="*/ 433626 h 1014970"/>
                  <a:gd name="connsiteX276" fmla="*/ 705240 w 1515308"/>
                  <a:gd name="connsiteY276" fmla="*/ 433626 h 1014970"/>
                  <a:gd name="connsiteX277" fmla="*/ 710004 w 1515308"/>
                  <a:gd name="connsiteY277" fmla="*/ 433626 h 1014970"/>
                  <a:gd name="connsiteX278" fmla="*/ 719532 w 1515308"/>
                  <a:gd name="connsiteY278" fmla="*/ 443156 h 1014970"/>
                  <a:gd name="connsiteX279" fmla="*/ 729064 w 1515308"/>
                  <a:gd name="connsiteY279" fmla="*/ 447922 h 1014970"/>
                  <a:gd name="connsiteX280" fmla="*/ 733828 w 1515308"/>
                  <a:gd name="connsiteY280" fmla="*/ 457452 h 1014970"/>
                  <a:gd name="connsiteX281" fmla="*/ 738596 w 1515308"/>
                  <a:gd name="connsiteY281" fmla="*/ 466982 h 1014970"/>
                  <a:gd name="connsiteX282" fmla="*/ 738596 w 1515308"/>
                  <a:gd name="connsiteY282" fmla="*/ 476512 h 1014970"/>
                  <a:gd name="connsiteX283" fmla="*/ 743360 w 1515308"/>
                  <a:gd name="connsiteY283" fmla="*/ 481278 h 1014970"/>
                  <a:gd name="connsiteX284" fmla="*/ 762420 w 1515308"/>
                  <a:gd name="connsiteY284" fmla="*/ 486042 h 1014970"/>
                  <a:gd name="connsiteX285" fmla="*/ 762420 w 1515308"/>
                  <a:gd name="connsiteY285" fmla="*/ 490808 h 1014970"/>
                  <a:gd name="connsiteX286" fmla="*/ 776716 w 1515308"/>
                  <a:gd name="connsiteY286" fmla="*/ 505102 h 1014970"/>
                  <a:gd name="connsiteX287" fmla="*/ 786244 w 1515308"/>
                  <a:gd name="connsiteY287" fmla="*/ 514632 h 1014970"/>
                  <a:gd name="connsiteX288" fmla="*/ 791012 w 1515308"/>
                  <a:gd name="connsiteY288" fmla="*/ 519398 h 1014970"/>
                  <a:gd name="connsiteX289" fmla="*/ 795776 w 1515308"/>
                  <a:gd name="connsiteY289" fmla="*/ 519398 h 1014970"/>
                  <a:gd name="connsiteX290" fmla="*/ 810072 w 1515308"/>
                  <a:gd name="connsiteY290" fmla="*/ 509868 h 1014970"/>
                  <a:gd name="connsiteX291" fmla="*/ 814836 w 1515308"/>
                  <a:gd name="connsiteY291" fmla="*/ 495572 h 1014970"/>
                  <a:gd name="connsiteX292" fmla="*/ 819600 w 1515308"/>
                  <a:gd name="connsiteY292" fmla="*/ 481278 h 1014970"/>
                  <a:gd name="connsiteX293" fmla="*/ 814836 w 1515308"/>
                  <a:gd name="connsiteY293" fmla="*/ 481278 h 1014970"/>
                  <a:gd name="connsiteX294" fmla="*/ 824368 w 1515308"/>
                  <a:gd name="connsiteY294" fmla="*/ 466982 h 1014970"/>
                  <a:gd name="connsiteX295" fmla="*/ 824368 w 1515308"/>
                  <a:gd name="connsiteY295" fmla="*/ 462216 h 1014970"/>
                  <a:gd name="connsiteX296" fmla="*/ 824368 w 1515308"/>
                  <a:gd name="connsiteY296" fmla="*/ 457452 h 1014970"/>
                  <a:gd name="connsiteX297" fmla="*/ 819600 w 1515308"/>
                  <a:gd name="connsiteY297" fmla="*/ 452686 h 1014970"/>
                  <a:gd name="connsiteX298" fmla="*/ 814836 w 1515308"/>
                  <a:gd name="connsiteY298" fmla="*/ 438390 h 1014970"/>
                  <a:gd name="connsiteX299" fmla="*/ 814836 w 1515308"/>
                  <a:gd name="connsiteY299" fmla="*/ 419330 h 1014970"/>
                  <a:gd name="connsiteX300" fmla="*/ 810072 w 1515308"/>
                  <a:gd name="connsiteY300" fmla="*/ 409800 h 1014970"/>
                  <a:gd name="connsiteX301" fmla="*/ 814836 w 1515308"/>
                  <a:gd name="connsiteY301" fmla="*/ 405036 h 1014970"/>
                  <a:gd name="connsiteX302" fmla="*/ 829132 w 1515308"/>
                  <a:gd name="connsiteY302" fmla="*/ 400270 h 1014970"/>
                  <a:gd name="connsiteX303" fmla="*/ 843428 w 1515308"/>
                  <a:gd name="connsiteY303" fmla="*/ 390740 h 1014970"/>
                  <a:gd name="connsiteX304" fmla="*/ 852956 w 1515308"/>
                  <a:gd name="connsiteY304" fmla="*/ 381210 h 1014970"/>
                  <a:gd name="connsiteX305" fmla="*/ 852956 w 1515308"/>
                  <a:gd name="connsiteY305" fmla="*/ 414566 h 1014970"/>
                  <a:gd name="connsiteX306" fmla="*/ 857724 w 1515308"/>
                  <a:gd name="connsiteY306" fmla="*/ 433626 h 1014970"/>
                  <a:gd name="connsiteX307" fmla="*/ 867252 w 1515308"/>
                  <a:gd name="connsiteY307" fmla="*/ 462216 h 1014970"/>
                  <a:gd name="connsiteX308" fmla="*/ 876784 w 1515308"/>
                  <a:gd name="connsiteY308" fmla="*/ 466982 h 1014970"/>
                  <a:gd name="connsiteX309" fmla="*/ 891080 w 1515308"/>
                  <a:gd name="connsiteY309" fmla="*/ 471746 h 1014970"/>
                  <a:gd name="connsiteX310" fmla="*/ 895844 w 1515308"/>
                  <a:gd name="connsiteY310" fmla="*/ 466982 h 1014970"/>
                  <a:gd name="connsiteX311" fmla="*/ 900608 w 1515308"/>
                  <a:gd name="connsiteY311" fmla="*/ 466982 h 1014970"/>
                  <a:gd name="connsiteX312" fmla="*/ 895844 w 1515308"/>
                  <a:gd name="connsiteY312" fmla="*/ 452686 h 1014970"/>
                  <a:gd name="connsiteX313" fmla="*/ 891080 w 1515308"/>
                  <a:gd name="connsiteY313" fmla="*/ 424096 h 1014970"/>
                  <a:gd name="connsiteX314" fmla="*/ 886312 w 1515308"/>
                  <a:gd name="connsiteY314" fmla="*/ 405036 h 1014970"/>
                  <a:gd name="connsiteX315" fmla="*/ 876784 w 1515308"/>
                  <a:gd name="connsiteY315" fmla="*/ 390740 h 1014970"/>
                  <a:gd name="connsiteX316" fmla="*/ 872020 w 1515308"/>
                  <a:gd name="connsiteY316" fmla="*/ 381210 h 1014970"/>
                  <a:gd name="connsiteX317" fmla="*/ 910140 w 1515308"/>
                  <a:gd name="connsiteY317" fmla="*/ 376444 h 1014970"/>
                  <a:gd name="connsiteX318" fmla="*/ 919668 w 1515308"/>
                  <a:gd name="connsiteY318" fmla="*/ 371680 h 1014970"/>
                  <a:gd name="connsiteX319" fmla="*/ 933964 w 1515308"/>
                  <a:gd name="connsiteY319" fmla="*/ 362148 h 1014970"/>
                  <a:gd name="connsiteX320" fmla="*/ 938728 w 1515308"/>
                  <a:gd name="connsiteY320" fmla="*/ 352618 h 1014970"/>
                  <a:gd name="connsiteX321" fmla="*/ 943496 w 1515308"/>
                  <a:gd name="connsiteY321" fmla="*/ 338324 h 1014970"/>
                  <a:gd name="connsiteX322" fmla="*/ 924436 w 1515308"/>
                  <a:gd name="connsiteY322" fmla="*/ 328794 h 1014970"/>
                  <a:gd name="connsiteX323" fmla="*/ 914904 w 1515308"/>
                  <a:gd name="connsiteY323" fmla="*/ 314498 h 1014970"/>
                  <a:gd name="connsiteX324" fmla="*/ 914904 w 1515308"/>
                  <a:gd name="connsiteY324" fmla="*/ 304968 h 1014970"/>
                  <a:gd name="connsiteX325" fmla="*/ 938728 w 1515308"/>
                  <a:gd name="connsiteY325" fmla="*/ 276376 h 1014970"/>
                  <a:gd name="connsiteX326" fmla="*/ 943496 w 1515308"/>
                  <a:gd name="connsiteY326" fmla="*/ 271612 h 1014970"/>
                  <a:gd name="connsiteX327" fmla="*/ 948260 w 1515308"/>
                  <a:gd name="connsiteY327" fmla="*/ 281142 h 1014970"/>
                  <a:gd name="connsiteX328" fmla="*/ 957792 w 1515308"/>
                  <a:gd name="connsiteY328" fmla="*/ 281142 h 1014970"/>
                  <a:gd name="connsiteX329" fmla="*/ 967320 w 1515308"/>
                  <a:gd name="connsiteY329" fmla="*/ 285906 h 1014970"/>
                  <a:gd name="connsiteX330" fmla="*/ 976852 w 1515308"/>
                  <a:gd name="connsiteY330" fmla="*/ 281142 h 1014970"/>
                  <a:gd name="connsiteX331" fmla="*/ 986380 w 1515308"/>
                  <a:gd name="connsiteY331" fmla="*/ 271612 h 1014970"/>
                  <a:gd name="connsiteX332" fmla="*/ 995912 w 1515308"/>
                  <a:gd name="connsiteY332" fmla="*/ 252552 h 1014970"/>
                  <a:gd name="connsiteX333" fmla="*/ 1014972 w 1515308"/>
                  <a:gd name="connsiteY333" fmla="*/ 228726 h 1014970"/>
                  <a:gd name="connsiteX334" fmla="*/ 1024504 w 1515308"/>
                  <a:gd name="connsiteY334" fmla="*/ 209664 h 1014970"/>
                  <a:gd name="connsiteX335" fmla="*/ 1029268 w 1515308"/>
                  <a:gd name="connsiteY335" fmla="*/ 190604 h 1014970"/>
                  <a:gd name="connsiteX336" fmla="*/ 1086448 w 1515308"/>
                  <a:gd name="connsiteY336" fmla="*/ 128658 h 1014970"/>
                  <a:gd name="connsiteX337" fmla="*/ 1091212 w 1515308"/>
                  <a:gd name="connsiteY337" fmla="*/ 119128 h 1014970"/>
                  <a:gd name="connsiteX338" fmla="*/ 1186516 w 1515308"/>
                  <a:gd name="connsiteY338" fmla="*/ 0 h 1014970"/>
                  <a:gd name="connsiteX339" fmla="*/ 1205576 w 1515308"/>
                  <a:gd name="connsiteY339" fmla="*/ 0 h 1014970"/>
                  <a:gd name="connsiteX340" fmla="*/ 1205576 w 1515308"/>
                  <a:gd name="connsiteY340" fmla="*/ 9530 h 1014970"/>
                  <a:gd name="connsiteX341" fmla="*/ 1205576 w 1515308"/>
                  <a:gd name="connsiteY341" fmla="*/ 19060 h 1014970"/>
                  <a:gd name="connsiteX342" fmla="*/ 1200812 w 1515308"/>
                  <a:gd name="connsiteY342" fmla="*/ 23826 h 1014970"/>
                  <a:gd name="connsiteX343" fmla="*/ 1186516 w 1515308"/>
                  <a:gd name="connsiteY343" fmla="*/ 28590 h 1014970"/>
                  <a:gd name="connsiteX344" fmla="*/ 1176988 w 1515308"/>
                  <a:gd name="connsiteY344" fmla="*/ 33356 h 1014970"/>
                  <a:gd name="connsiteX345" fmla="*/ 1172220 w 1515308"/>
                  <a:gd name="connsiteY345" fmla="*/ 23826 h 1014970"/>
                  <a:gd name="connsiteX346" fmla="*/ 1172220 w 1515308"/>
                  <a:gd name="connsiteY346" fmla="*/ 14296 h 1014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</a:cxnLst>
                <a:rect l="l" t="t" r="r" b="b"/>
                <a:pathLst>
                  <a:path w="1515308" h="1014970">
                    <a:moveTo>
                      <a:pt x="271612" y="719534"/>
                    </a:moveTo>
                    <a:lnTo>
                      <a:pt x="276376" y="719534"/>
                    </a:lnTo>
                    <a:lnTo>
                      <a:pt x="281140" y="719534"/>
                    </a:lnTo>
                    <a:lnTo>
                      <a:pt x="285908" y="724300"/>
                    </a:lnTo>
                    <a:lnTo>
                      <a:pt x="285908" y="748124"/>
                    </a:lnTo>
                    <a:lnTo>
                      <a:pt x="285908" y="767184"/>
                    </a:lnTo>
                    <a:lnTo>
                      <a:pt x="285908" y="771950"/>
                    </a:lnTo>
                    <a:lnTo>
                      <a:pt x="281140" y="771950"/>
                    </a:lnTo>
                    <a:lnTo>
                      <a:pt x="276376" y="767184"/>
                    </a:lnTo>
                    <a:close/>
                    <a:moveTo>
                      <a:pt x="1272288" y="481278"/>
                    </a:moveTo>
                    <a:lnTo>
                      <a:pt x="1281820" y="486044"/>
                    </a:lnTo>
                    <a:lnTo>
                      <a:pt x="1300880" y="495574"/>
                    </a:lnTo>
                    <a:lnTo>
                      <a:pt x="1281820" y="500338"/>
                    </a:lnTo>
                    <a:lnTo>
                      <a:pt x="1262760" y="495574"/>
                    </a:lnTo>
                    <a:lnTo>
                      <a:pt x="1267524" y="490808"/>
                    </a:lnTo>
                    <a:lnTo>
                      <a:pt x="1267524" y="486044"/>
                    </a:lnTo>
                    <a:close/>
                    <a:moveTo>
                      <a:pt x="1124568" y="57182"/>
                    </a:moveTo>
                    <a:lnTo>
                      <a:pt x="1129336" y="57182"/>
                    </a:lnTo>
                    <a:lnTo>
                      <a:pt x="1138864" y="61946"/>
                    </a:lnTo>
                    <a:lnTo>
                      <a:pt x="1138864" y="81006"/>
                    </a:lnTo>
                    <a:lnTo>
                      <a:pt x="1138864" y="90536"/>
                    </a:lnTo>
                    <a:lnTo>
                      <a:pt x="1134100" y="100068"/>
                    </a:lnTo>
                    <a:lnTo>
                      <a:pt x="1129336" y="114362"/>
                    </a:lnTo>
                    <a:lnTo>
                      <a:pt x="1134100" y="114362"/>
                    </a:lnTo>
                    <a:lnTo>
                      <a:pt x="1148396" y="104832"/>
                    </a:lnTo>
                    <a:lnTo>
                      <a:pt x="1167456" y="85772"/>
                    </a:lnTo>
                    <a:lnTo>
                      <a:pt x="1176988" y="66712"/>
                    </a:lnTo>
                    <a:lnTo>
                      <a:pt x="1181752" y="57182"/>
                    </a:lnTo>
                    <a:lnTo>
                      <a:pt x="1200812" y="61946"/>
                    </a:lnTo>
                    <a:lnTo>
                      <a:pt x="1200812" y="66712"/>
                    </a:lnTo>
                    <a:lnTo>
                      <a:pt x="1200812" y="81006"/>
                    </a:lnTo>
                    <a:lnTo>
                      <a:pt x="1200812" y="85772"/>
                    </a:lnTo>
                    <a:lnTo>
                      <a:pt x="1210340" y="104832"/>
                    </a:lnTo>
                    <a:lnTo>
                      <a:pt x="1224636" y="114362"/>
                    </a:lnTo>
                    <a:lnTo>
                      <a:pt x="1238932" y="119128"/>
                    </a:lnTo>
                    <a:lnTo>
                      <a:pt x="1257992" y="128658"/>
                    </a:lnTo>
                    <a:lnTo>
                      <a:pt x="1262760" y="138188"/>
                    </a:lnTo>
                    <a:lnTo>
                      <a:pt x="1267524" y="142954"/>
                    </a:lnTo>
                    <a:lnTo>
                      <a:pt x="1272288" y="157248"/>
                    </a:lnTo>
                    <a:lnTo>
                      <a:pt x="1272288" y="166778"/>
                    </a:lnTo>
                    <a:lnTo>
                      <a:pt x="1257992" y="181074"/>
                    </a:lnTo>
                    <a:lnTo>
                      <a:pt x="1262760" y="200134"/>
                    </a:lnTo>
                    <a:lnTo>
                      <a:pt x="1262760" y="209664"/>
                    </a:lnTo>
                    <a:lnTo>
                      <a:pt x="1257992" y="219196"/>
                    </a:lnTo>
                    <a:lnTo>
                      <a:pt x="1243696" y="228726"/>
                    </a:lnTo>
                    <a:lnTo>
                      <a:pt x="1291348" y="219196"/>
                    </a:lnTo>
                    <a:lnTo>
                      <a:pt x="1300880" y="214430"/>
                    </a:lnTo>
                    <a:lnTo>
                      <a:pt x="1319940" y="200134"/>
                    </a:lnTo>
                    <a:lnTo>
                      <a:pt x="1329472" y="214430"/>
                    </a:lnTo>
                    <a:lnTo>
                      <a:pt x="1339000" y="233490"/>
                    </a:lnTo>
                    <a:lnTo>
                      <a:pt x="1329472" y="238256"/>
                    </a:lnTo>
                    <a:lnTo>
                      <a:pt x="1310408" y="243020"/>
                    </a:lnTo>
                    <a:lnTo>
                      <a:pt x="1310408" y="247786"/>
                    </a:lnTo>
                    <a:lnTo>
                      <a:pt x="1315176" y="257316"/>
                    </a:lnTo>
                    <a:lnTo>
                      <a:pt x="1324704" y="257316"/>
                    </a:lnTo>
                    <a:lnTo>
                      <a:pt x="1343764" y="247786"/>
                    </a:lnTo>
                    <a:lnTo>
                      <a:pt x="1358060" y="238256"/>
                    </a:lnTo>
                    <a:lnTo>
                      <a:pt x="1367592" y="238256"/>
                    </a:lnTo>
                    <a:lnTo>
                      <a:pt x="1377120" y="243020"/>
                    </a:lnTo>
                    <a:lnTo>
                      <a:pt x="1391416" y="247786"/>
                    </a:lnTo>
                    <a:lnTo>
                      <a:pt x="1400948" y="252552"/>
                    </a:lnTo>
                    <a:lnTo>
                      <a:pt x="1405712" y="262082"/>
                    </a:lnTo>
                    <a:lnTo>
                      <a:pt x="1410476" y="276376"/>
                    </a:lnTo>
                    <a:lnTo>
                      <a:pt x="1429536" y="281142"/>
                    </a:lnTo>
                    <a:lnTo>
                      <a:pt x="1467660" y="300202"/>
                    </a:lnTo>
                    <a:lnTo>
                      <a:pt x="1477188" y="300202"/>
                    </a:lnTo>
                    <a:lnTo>
                      <a:pt x="1481956" y="300202"/>
                    </a:lnTo>
                    <a:lnTo>
                      <a:pt x="1505780" y="300202"/>
                    </a:lnTo>
                    <a:lnTo>
                      <a:pt x="1510544" y="304968"/>
                    </a:lnTo>
                    <a:lnTo>
                      <a:pt x="1515308" y="309732"/>
                    </a:lnTo>
                    <a:lnTo>
                      <a:pt x="1515308" y="319262"/>
                    </a:lnTo>
                    <a:lnTo>
                      <a:pt x="1515308" y="328794"/>
                    </a:lnTo>
                    <a:lnTo>
                      <a:pt x="1515308" y="338324"/>
                    </a:lnTo>
                    <a:lnTo>
                      <a:pt x="1510544" y="343088"/>
                    </a:lnTo>
                    <a:lnTo>
                      <a:pt x="1496248" y="352618"/>
                    </a:lnTo>
                    <a:lnTo>
                      <a:pt x="1462892" y="362148"/>
                    </a:lnTo>
                    <a:lnTo>
                      <a:pt x="1424772" y="371680"/>
                    </a:lnTo>
                    <a:lnTo>
                      <a:pt x="1405712" y="371680"/>
                    </a:lnTo>
                    <a:lnTo>
                      <a:pt x="1377120" y="366914"/>
                    </a:lnTo>
                    <a:lnTo>
                      <a:pt x="1367592" y="366914"/>
                    </a:lnTo>
                    <a:lnTo>
                      <a:pt x="1358060" y="371680"/>
                    </a:lnTo>
                    <a:lnTo>
                      <a:pt x="1348532" y="395504"/>
                    </a:lnTo>
                    <a:lnTo>
                      <a:pt x="1372356" y="419330"/>
                    </a:lnTo>
                    <a:lnTo>
                      <a:pt x="1405712" y="447922"/>
                    </a:lnTo>
                    <a:lnTo>
                      <a:pt x="1410476" y="452686"/>
                    </a:lnTo>
                    <a:lnTo>
                      <a:pt x="1410476" y="462216"/>
                    </a:lnTo>
                    <a:lnTo>
                      <a:pt x="1405712" y="466982"/>
                    </a:lnTo>
                    <a:lnTo>
                      <a:pt x="1396180" y="466982"/>
                    </a:lnTo>
                    <a:lnTo>
                      <a:pt x="1377120" y="471746"/>
                    </a:lnTo>
                    <a:lnTo>
                      <a:pt x="1353296" y="476512"/>
                    </a:lnTo>
                    <a:lnTo>
                      <a:pt x="1339000" y="481278"/>
                    </a:lnTo>
                    <a:lnTo>
                      <a:pt x="1319940" y="486042"/>
                    </a:lnTo>
                    <a:lnTo>
                      <a:pt x="1300880" y="481278"/>
                    </a:lnTo>
                    <a:lnTo>
                      <a:pt x="1277052" y="471746"/>
                    </a:lnTo>
                    <a:lnTo>
                      <a:pt x="1272288" y="471746"/>
                    </a:lnTo>
                    <a:lnTo>
                      <a:pt x="1262760" y="476512"/>
                    </a:lnTo>
                    <a:lnTo>
                      <a:pt x="1257992" y="490808"/>
                    </a:lnTo>
                    <a:lnTo>
                      <a:pt x="1253228" y="495572"/>
                    </a:lnTo>
                    <a:lnTo>
                      <a:pt x="1248464" y="495572"/>
                    </a:lnTo>
                    <a:lnTo>
                      <a:pt x="1234168" y="495572"/>
                    </a:lnTo>
                    <a:lnTo>
                      <a:pt x="1205576" y="476512"/>
                    </a:lnTo>
                    <a:lnTo>
                      <a:pt x="1176988" y="471746"/>
                    </a:lnTo>
                    <a:lnTo>
                      <a:pt x="1138864" y="471746"/>
                    </a:lnTo>
                    <a:lnTo>
                      <a:pt x="1115040" y="466982"/>
                    </a:lnTo>
                    <a:lnTo>
                      <a:pt x="1105508" y="471746"/>
                    </a:lnTo>
                    <a:lnTo>
                      <a:pt x="1100744" y="471746"/>
                    </a:lnTo>
                    <a:lnTo>
                      <a:pt x="1091212" y="466982"/>
                    </a:lnTo>
                    <a:lnTo>
                      <a:pt x="1086448" y="466982"/>
                    </a:lnTo>
                    <a:lnTo>
                      <a:pt x="1072152" y="476512"/>
                    </a:lnTo>
                    <a:lnTo>
                      <a:pt x="1062624" y="471746"/>
                    </a:lnTo>
                    <a:lnTo>
                      <a:pt x="1057856" y="466982"/>
                    </a:lnTo>
                    <a:lnTo>
                      <a:pt x="1043564" y="466982"/>
                    </a:lnTo>
                    <a:lnTo>
                      <a:pt x="1029268" y="466982"/>
                    </a:lnTo>
                    <a:lnTo>
                      <a:pt x="1010208" y="476512"/>
                    </a:lnTo>
                    <a:lnTo>
                      <a:pt x="991148" y="471746"/>
                    </a:lnTo>
                    <a:lnTo>
                      <a:pt x="986380" y="471746"/>
                    </a:lnTo>
                    <a:lnTo>
                      <a:pt x="981616" y="471746"/>
                    </a:lnTo>
                    <a:lnTo>
                      <a:pt x="972084" y="486042"/>
                    </a:lnTo>
                    <a:lnTo>
                      <a:pt x="957792" y="495572"/>
                    </a:lnTo>
                    <a:lnTo>
                      <a:pt x="948260" y="509868"/>
                    </a:lnTo>
                    <a:lnTo>
                      <a:pt x="943496" y="528928"/>
                    </a:lnTo>
                    <a:lnTo>
                      <a:pt x="938728" y="533694"/>
                    </a:lnTo>
                    <a:lnTo>
                      <a:pt x="938728" y="567050"/>
                    </a:lnTo>
                    <a:lnTo>
                      <a:pt x="933964" y="581344"/>
                    </a:lnTo>
                    <a:lnTo>
                      <a:pt x="938728" y="600406"/>
                    </a:lnTo>
                    <a:lnTo>
                      <a:pt x="938728" y="609936"/>
                    </a:lnTo>
                    <a:lnTo>
                      <a:pt x="933964" y="624230"/>
                    </a:lnTo>
                    <a:lnTo>
                      <a:pt x="929200" y="628996"/>
                    </a:lnTo>
                    <a:lnTo>
                      <a:pt x="929200" y="648056"/>
                    </a:lnTo>
                    <a:lnTo>
                      <a:pt x="929200" y="652822"/>
                    </a:lnTo>
                    <a:lnTo>
                      <a:pt x="929200" y="662352"/>
                    </a:lnTo>
                    <a:lnTo>
                      <a:pt x="924436" y="676648"/>
                    </a:lnTo>
                    <a:lnTo>
                      <a:pt x="910140" y="681412"/>
                    </a:lnTo>
                    <a:lnTo>
                      <a:pt x="900608" y="681412"/>
                    </a:lnTo>
                    <a:lnTo>
                      <a:pt x="891080" y="676648"/>
                    </a:lnTo>
                    <a:lnTo>
                      <a:pt x="881548" y="686178"/>
                    </a:lnTo>
                    <a:lnTo>
                      <a:pt x="867252" y="695708"/>
                    </a:lnTo>
                    <a:lnTo>
                      <a:pt x="862488" y="705238"/>
                    </a:lnTo>
                    <a:lnTo>
                      <a:pt x="862488" y="714768"/>
                    </a:lnTo>
                    <a:lnTo>
                      <a:pt x="867252" y="719534"/>
                    </a:lnTo>
                    <a:lnTo>
                      <a:pt x="862488" y="724298"/>
                    </a:lnTo>
                    <a:lnTo>
                      <a:pt x="862488" y="729064"/>
                    </a:lnTo>
                    <a:lnTo>
                      <a:pt x="862488" y="738594"/>
                    </a:lnTo>
                    <a:lnTo>
                      <a:pt x="872020" y="743358"/>
                    </a:lnTo>
                    <a:lnTo>
                      <a:pt x="881548" y="748124"/>
                    </a:lnTo>
                    <a:lnTo>
                      <a:pt x="881548" y="757654"/>
                    </a:lnTo>
                    <a:lnTo>
                      <a:pt x="872020" y="762420"/>
                    </a:lnTo>
                    <a:lnTo>
                      <a:pt x="862488" y="767184"/>
                    </a:lnTo>
                    <a:lnTo>
                      <a:pt x="848192" y="781480"/>
                    </a:lnTo>
                    <a:lnTo>
                      <a:pt x="824368" y="795776"/>
                    </a:lnTo>
                    <a:lnTo>
                      <a:pt x="819600" y="800540"/>
                    </a:lnTo>
                    <a:lnTo>
                      <a:pt x="814836" y="805306"/>
                    </a:lnTo>
                    <a:lnTo>
                      <a:pt x="814836" y="810070"/>
                    </a:lnTo>
                    <a:lnTo>
                      <a:pt x="819600" y="829132"/>
                    </a:lnTo>
                    <a:lnTo>
                      <a:pt x="824368" y="833896"/>
                    </a:lnTo>
                    <a:lnTo>
                      <a:pt x="824368" y="838662"/>
                    </a:lnTo>
                    <a:lnTo>
                      <a:pt x="819600" y="848192"/>
                    </a:lnTo>
                    <a:lnTo>
                      <a:pt x="819600" y="852956"/>
                    </a:lnTo>
                    <a:lnTo>
                      <a:pt x="810072" y="857722"/>
                    </a:lnTo>
                    <a:lnTo>
                      <a:pt x="805308" y="862486"/>
                    </a:lnTo>
                    <a:lnTo>
                      <a:pt x="800540" y="867252"/>
                    </a:lnTo>
                    <a:lnTo>
                      <a:pt x="800540" y="886312"/>
                    </a:lnTo>
                    <a:lnTo>
                      <a:pt x="791012" y="895842"/>
                    </a:lnTo>
                    <a:lnTo>
                      <a:pt x="781480" y="914904"/>
                    </a:lnTo>
                    <a:lnTo>
                      <a:pt x="781480" y="919668"/>
                    </a:lnTo>
                    <a:lnTo>
                      <a:pt x="776716" y="924434"/>
                    </a:lnTo>
                    <a:lnTo>
                      <a:pt x="752888" y="914904"/>
                    </a:lnTo>
                    <a:lnTo>
                      <a:pt x="738596" y="919668"/>
                    </a:lnTo>
                    <a:lnTo>
                      <a:pt x="714768" y="924434"/>
                    </a:lnTo>
                    <a:lnTo>
                      <a:pt x="695708" y="924434"/>
                    </a:lnTo>
                    <a:lnTo>
                      <a:pt x="681412" y="924434"/>
                    </a:lnTo>
                    <a:lnTo>
                      <a:pt x="667116" y="933964"/>
                    </a:lnTo>
                    <a:lnTo>
                      <a:pt x="657588" y="943494"/>
                    </a:lnTo>
                    <a:lnTo>
                      <a:pt x="643292" y="953024"/>
                    </a:lnTo>
                    <a:lnTo>
                      <a:pt x="633760" y="957790"/>
                    </a:lnTo>
                    <a:lnTo>
                      <a:pt x="619468" y="943494"/>
                    </a:lnTo>
                    <a:lnTo>
                      <a:pt x="609936" y="948260"/>
                    </a:lnTo>
                    <a:lnTo>
                      <a:pt x="595640" y="943494"/>
                    </a:lnTo>
                    <a:lnTo>
                      <a:pt x="557520" y="929198"/>
                    </a:lnTo>
                    <a:lnTo>
                      <a:pt x="547988" y="924434"/>
                    </a:lnTo>
                    <a:lnTo>
                      <a:pt x="538460" y="924434"/>
                    </a:lnTo>
                    <a:lnTo>
                      <a:pt x="538460" y="919668"/>
                    </a:lnTo>
                    <a:lnTo>
                      <a:pt x="538460" y="914904"/>
                    </a:lnTo>
                    <a:lnTo>
                      <a:pt x="538460" y="905374"/>
                    </a:lnTo>
                    <a:lnTo>
                      <a:pt x="528928" y="905374"/>
                    </a:lnTo>
                    <a:lnTo>
                      <a:pt x="457452" y="905374"/>
                    </a:lnTo>
                    <a:lnTo>
                      <a:pt x="433628" y="914904"/>
                    </a:lnTo>
                    <a:lnTo>
                      <a:pt x="419332" y="919668"/>
                    </a:lnTo>
                    <a:lnTo>
                      <a:pt x="409800" y="924434"/>
                    </a:lnTo>
                    <a:lnTo>
                      <a:pt x="409800" y="938730"/>
                    </a:lnTo>
                    <a:lnTo>
                      <a:pt x="400272" y="957790"/>
                    </a:lnTo>
                    <a:lnTo>
                      <a:pt x="395504" y="972084"/>
                    </a:lnTo>
                    <a:lnTo>
                      <a:pt x="371680" y="976850"/>
                    </a:lnTo>
                    <a:lnTo>
                      <a:pt x="352620" y="991146"/>
                    </a:lnTo>
                    <a:lnTo>
                      <a:pt x="347856" y="995910"/>
                    </a:lnTo>
                    <a:lnTo>
                      <a:pt x="333560" y="991146"/>
                    </a:lnTo>
                    <a:lnTo>
                      <a:pt x="319264" y="991146"/>
                    </a:lnTo>
                    <a:lnTo>
                      <a:pt x="309732" y="995910"/>
                    </a:lnTo>
                    <a:lnTo>
                      <a:pt x="300204" y="995910"/>
                    </a:lnTo>
                    <a:lnTo>
                      <a:pt x="271612" y="986380"/>
                    </a:lnTo>
                    <a:lnTo>
                      <a:pt x="243020" y="986380"/>
                    </a:lnTo>
                    <a:lnTo>
                      <a:pt x="223960" y="991146"/>
                    </a:lnTo>
                    <a:lnTo>
                      <a:pt x="214432" y="991146"/>
                    </a:lnTo>
                    <a:lnTo>
                      <a:pt x="166780" y="1014970"/>
                    </a:lnTo>
                    <a:lnTo>
                      <a:pt x="147720" y="1014970"/>
                    </a:lnTo>
                    <a:lnTo>
                      <a:pt x="142952" y="1010206"/>
                    </a:lnTo>
                    <a:lnTo>
                      <a:pt x="133424" y="1000676"/>
                    </a:lnTo>
                    <a:lnTo>
                      <a:pt x="119128" y="995910"/>
                    </a:lnTo>
                    <a:lnTo>
                      <a:pt x="85772" y="962554"/>
                    </a:lnTo>
                    <a:lnTo>
                      <a:pt x="76244" y="957790"/>
                    </a:lnTo>
                    <a:lnTo>
                      <a:pt x="66712" y="948260"/>
                    </a:lnTo>
                    <a:lnTo>
                      <a:pt x="61948" y="938730"/>
                    </a:lnTo>
                    <a:lnTo>
                      <a:pt x="52416" y="929198"/>
                    </a:lnTo>
                    <a:lnTo>
                      <a:pt x="42888" y="924434"/>
                    </a:lnTo>
                    <a:lnTo>
                      <a:pt x="28592" y="910138"/>
                    </a:lnTo>
                    <a:lnTo>
                      <a:pt x="14296" y="895842"/>
                    </a:lnTo>
                    <a:lnTo>
                      <a:pt x="14296" y="872018"/>
                    </a:lnTo>
                    <a:lnTo>
                      <a:pt x="4764" y="867252"/>
                    </a:lnTo>
                    <a:lnTo>
                      <a:pt x="0" y="862486"/>
                    </a:lnTo>
                    <a:lnTo>
                      <a:pt x="0" y="852956"/>
                    </a:lnTo>
                    <a:lnTo>
                      <a:pt x="9532" y="833896"/>
                    </a:lnTo>
                    <a:lnTo>
                      <a:pt x="23824" y="852956"/>
                    </a:lnTo>
                    <a:lnTo>
                      <a:pt x="23824" y="857722"/>
                    </a:lnTo>
                    <a:lnTo>
                      <a:pt x="47652" y="872018"/>
                    </a:lnTo>
                    <a:lnTo>
                      <a:pt x="66712" y="881548"/>
                    </a:lnTo>
                    <a:lnTo>
                      <a:pt x="85772" y="886312"/>
                    </a:lnTo>
                    <a:lnTo>
                      <a:pt x="109596" y="886312"/>
                    </a:lnTo>
                    <a:lnTo>
                      <a:pt x="119128" y="881548"/>
                    </a:lnTo>
                    <a:lnTo>
                      <a:pt x="123892" y="881548"/>
                    </a:lnTo>
                    <a:lnTo>
                      <a:pt x="133424" y="886312"/>
                    </a:lnTo>
                    <a:lnTo>
                      <a:pt x="176308" y="905374"/>
                    </a:lnTo>
                    <a:lnTo>
                      <a:pt x="190604" y="910138"/>
                    </a:lnTo>
                    <a:lnTo>
                      <a:pt x="209664" y="910138"/>
                    </a:lnTo>
                    <a:lnTo>
                      <a:pt x="219196" y="914904"/>
                    </a:lnTo>
                    <a:lnTo>
                      <a:pt x="243020" y="929198"/>
                    </a:lnTo>
                    <a:lnTo>
                      <a:pt x="247788" y="933964"/>
                    </a:lnTo>
                    <a:lnTo>
                      <a:pt x="262080" y="929198"/>
                    </a:lnTo>
                    <a:lnTo>
                      <a:pt x="243020" y="924434"/>
                    </a:lnTo>
                    <a:lnTo>
                      <a:pt x="233492" y="919668"/>
                    </a:lnTo>
                    <a:lnTo>
                      <a:pt x="228728" y="905374"/>
                    </a:lnTo>
                    <a:lnTo>
                      <a:pt x="233492" y="895842"/>
                    </a:lnTo>
                    <a:lnTo>
                      <a:pt x="243020" y="886312"/>
                    </a:lnTo>
                    <a:lnTo>
                      <a:pt x="247788" y="876782"/>
                    </a:lnTo>
                    <a:lnTo>
                      <a:pt x="252552" y="852956"/>
                    </a:lnTo>
                    <a:lnTo>
                      <a:pt x="257316" y="838662"/>
                    </a:lnTo>
                    <a:lnTo>
                      <a:pt x="266848" y="829132"/>
                    </a:lnTo>
                    <a:lnTo>
                      <a:pt x="266848" y="814836"/>
                    </a:lnTo>
                    <a:lnTo>
                      <a:pt x="257316" y="805306"/>
                    </a:lnTo>
                    <a:lnTo>
                      <a:pt x="257316" y="791010"/>
                    </a:lnTo>
                    <a:lnTo>
                      <a:pt x="257316" y="776714"/>
                    </a:lnTo>
                    <a:lnTo>
                      <a:pt x="262080" y="767184"/>
                    </a:lnTo>
                    <a:lnTo>
                      <a:pt x="271612" y="776714"/>
                    </a:lnTo>
                    <a:lnTo>
                      <a:pt x="281144" y="781480"/>
                    </a:lnTo>
                    <a:lnTo>
                      <a:pt x="290672" y="781480"/>
                    </a:lnTo>
                    <a:lnTo>
                      <a:pt x="295436" y="776714"/>
                    </a:lnTo>
                    <a:lnTo>
                      <a:pt x="295436" y="771950"/>
                    </a:lnTo>
                    <a:lnTo>
                      <a:pt x="295436" y="757654"/>
                    </a:lnTo>
                    <a:lnTo>
                      <a:pt x="295436" y="738594"/>
                    </a:lnTo>
                    <a:lnTo>
                      <a:pt x="304968" y="719534"/>
                    </a:lnTo>
                    <a:lnTo>
                      <a:pt x="324028" y="710004"/>
                    </a:lnTo>
                    <a:lnTo>
                      <a:pt x="338324" y="705238"/>
                    </a:lnTo>
                    <a:lnTo>
                      <a:pt x="400272" y="695708"/>
                    </a:lnTo>
                    <a:lnTo>
                      <a:pt x="495572" y="671882"/>
                    </a:lnTo>
                    <a:lnTo>
                      <a:pt x="524164" y="662352"/>
                    </a:lnTo>
                    <a:lnTo>
                      <a:pt x="538460" y="657586"/>
                    </a:lnTo>
                    <a:lnTo>
                      <a:pt x="547988" y="648056"/>
                    </a:lnTo>
                    <a:lnTo>
                      <a:pt x="562284" y="628996"/>
                    </a:lnTo>
                    <a:lnTo>
                      <a:pt x="590876" y="590874"/>
                    </a:lnTo>
                    <a:lnTo>
                      <a:pt x="609936" y="567050"/>
                    </a:lnTo>
                    <a:lnTo>
                      <a:pt x="648056" y="524164"/>
                    </a:lnTo>
                    <a:lnTo>
                      <a:pt x="681412" y="486042"/>
                    </a:lnTo>
                    <a:lnTo>
                      <a:pt x="686180" y="481278"/>
                    </a:lnTo>
                    <a:lnTo>
                      <a:pt x="690944" y="457452"/>
                    </a:lnTo>
                    <a:lnTo>
                      <a:pt x="690944" y="447922"/>
                    </a:lnTo>
                    <a:lnTo>
                      <a:pt x="690944" y="438390"/>
                    </a:lnTo>
                    <a:lnTo>
                      <a:pt x="695708" y="433626"/>
                    </a:lnTo>
                    <a:lnTo>
                      <a:pt x="705240" y="433626"/>
                    </a:lnTo>
                    <a:lnTo>
                      <a:pt x="710004" y="433626"/>
                    </a:lnTo>
                    <a:lnTo>
                      <a:pt x="719532" y="443156"/>
                    </a:lnTo>
                    <a:lnTo>
                      <a:pt x="729064" y="447922"/>
                    </a:lnTo>
                    <a:lnTo>
                      <a:pt x="733828" y="457452"/>
                    </a:lnTo>
                    <a:lnTo>
                      <a:pt x="738596" y="466982"/>
                    </a:lnTo>
                    <a:lnTo>
                      <a:pt x="738596" y="476512"/>
                    </a:lnTo>
                    <a:lnTo>
                      <a:pt x="743360" y="481278"/>
                    </a:lnTo>
                    <a:lnTo>
                      <a:pt x="762420" y="486042"/>
                    </a:lnTo>
                    <a:lnTo>
                      <a:pt x="762420" y="490808"/>
                    </a:lnTo>
                    <a:lnTo>
                      <a:pt x="776716" y="505102"/>
                    </a:lnTo>
                    <a:lnTo>
                      <a:pt x="786244" y="514632"/>
                    </a:lnTo>
                    <a:lnTo>
                      <a:pt x="791012" y="519398"/>
                    </a:lnTo>
                    <a:lnTo>
                      <a:pt x="795776" y="519398"/>
                    </a:lnTo>
                    <a:lnTo>
                      <a:pt x="810072" y="509868"/>
                    </a:lnTo>
                    <a:lnTo>
                      <a:pt x="814836" y="495572"/>
                    </a:lnTo>
                    <a:lnTo>
                      <a:pt x="819600" y="481278"/>
                    </a:lnTo>
                    <a:lnTo>
                      <a:pt x="814836" y="481278"/>
                    </a:lnTo>
                    <a:lnTo>
                      <a:pt x="824368" y="466982"/>
                    </a:lnTo>
                    <a:lnTo>
                      <a:pt x="824368" y="462216"/>
                    </a:lnTo>
                    <a:lnTo>
                      <a:pt x="824368" y="457452"/>
                    </a:lnTo>
                    <a:lnTo>
                      <a:pt x="819600" y="452686"/>
                    </a:lnTo>
                    <a:lnTo>
                      <a:pt x="814836" y="438390"/>
                    </a:lnTo>
                    <a:lnTo>
                      <a:pt x="814836" y="419330"/>
                    </a:lnTo>
                    <a:lnTo>
                      <a:pt x="810072" y="409800"/>
                    </a:lnTo>
                    <a:lnTo>
                      <a:pt x="814836" y="405036"/>
                    </a:lnTo>
                    <a:lnTo>
                      <a:pt x="829132" y="400270"/>
                    </a:lnTo>
                    <a:lnTo>
                      <a:pt x="843428" y="390740"/>
                    </a:lnTo>
                    <a:lnTo>
                      <a:pt x="852956" y="381210"/>
                    </a:lnTo>
                    <a:lnTo>
                      <a:pt x="852956" y="414566"/>
                    </a:lnTo>
                    <a:lnTo>
                      <a:pt x="857724" y="433626"/>
                    </a:lnTo>
                    <a:lnTo>
                      <a:pt x="867252" y="462216"/>
                    </a:lnTo>
                    <a:lnTo>
                      <a:pt x="876784" y="466982"/>
                    </a:lnTo>
                    <a:lnTo>
                      <a:pt x="891080" y="471746"/>
                    </a:lnTo>
                    <a:lnTo>
                      <a:pt x="895844" y="466982"/>
                    </a:lnTo>
                    <a:lnTo>
                      <a:pt x="900608" y="466982"/>
                    </a:lnTo>
                    <a:lnTo>
                      <a:pt x="895844" y="452686"/>
                    </a:lnTo>
                    <a:lnTo>
                      <a:pt x="891080" y="424096"/>
                    </a:lnTo>
                    <a:lnTo>
                      <a:pt x="886312" y="405036"/>
                    </a:lnTo>
                    <a:lnTo>
                      <a:pt x="876784" y="390740"/>
                    </a:lnTo>
                    <a:lnTo>
                      <a:pt x="872020" y="381210"/>
                    </a:lnTo>
                    <a:lnTo>
                      <a:pt x="910140" y="376444"/>
                    </a:lnTo>
                    <a:lnTo>
                      <a:pt x="919668" y="371680"/>
                    </a:lnTo>
                    <a:lnTo>
                      <a:pt x="933964" y="362148"/>
                    </a:lnTo>
                    <a:lnTo>
                      <a:pt x="938728" y="352618"/>
                    </a:lnTo>
                    <a:lnTo>
                      <a:pt x="943496" y="338324"/>
                    </a:lnTo>
                    <a:lnTo>
                      <a:pt x="924436" y="328794"/>
                    </a:lnTo>
                    <a:lnTo>
                      <a:pt x="914904" y="314498"/>
                    </a:lnTo>
                    <a:lnTo>
                      <a:pt x="914904" y="304968"/>
                    </a:lnTo>
                    <a:lnTo>
                      <a:pt x="938728" y="276376"/>
                    </a:lnTo>
                    <a:lnTo>
                      <a:pt x="943496" y="271612"/>
                    </a:lnTo>
                    <a:lnTo>
                      <a:pt x="948260" y="281142"/>
                    </a:lnTo>
                    <a:lnTo>
                      <a:pt x="957792" y="281142"/>
                    </a:lnTo>
                    <a:lnTo>
                      <a:pt x="967320" y="285906"/>
                    </a:lnTo>
                    <a:lnTo>
                      <a:pt x="976852" y="281142"/>
                    </a:lnTo>
                    <a:lnTo>
                      <a:pt x="986380" y="271612"/>
                    </a:lnTo>
                    <a:lnTo>
                      <a:pt x="995912" y="252552"/>
                    </a:lnTo>
                    <a:lnTo>
                      <a:pt x="1014972" y="228726"/>
                    </a:lnTo>
                    <a:lnTo>
                      <a:pt x="1024504" y="209664"/>
                    </a:lnTo>
                    <a:lnTo>
                      <a:pt x="1029268" y="190604"/>
                    </a:lnTo>
                    <a:lnTo>
                      <a:pt x="1086448" y="128658"/>
                    </a:lnTo>
                    <a:lnTo>
                      <a:pt x="1091212" y="119128"/>
                    </a:lnTo>
                    <a:close/>
                    <a:moveTo>
                      <a:pt x="1186516" y="0"/>
                    </a:moveTo>
                    <a:lnTo>
                      <a:pt x="1205576" y="0"/>
                    </a:lnTo>
                    <a:lnTo>
                      <a:pt x="1205576" y="9530"/>
                    </a:lnTo>
                    <a:lnTo>
                      <a:pt x="1205576" y="19060"/>
                    </a:lnTo>
                    <a:lnTo>
                      <a:pt x="1200812" y="23826"/>
                    </a:lnTo>
                    <a:lnTo>
                      <a:pt x="1186516" y="28590"/>
                    </a:lnTo>
                    <a:lnTo>
                      <a:pt x="1176988" y="33356"/>
                    </a:lnTo>
                    <a:lnTo>
                      <a:pt x="1172220" y="23826"/>
                    </a:lnTo>
                    <a:lnTo>
                      <a:pt x="1172220" y="14296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6" name="Freeform 515">
                <a:extLst>
                  <a:ext uri="{FF2B5EF4-FFF2-40B4-BE49-F238E27FC236}">
                    <a16:creationId xmlns:a16="http://schemas.microsoft.com/office/drawing/2014/main" id="{A4F63DC3-C7EC-46EB-BE2B-3F059193FC1F}"/>
                  </a:ext>
                </a:extLst>
              </p:cNvPr>
              <p:cNvSpPr/>
              <p:nvPr/>
            </p:nvSpPr>
            <p:spPr bwMode="auto">
              <a:xfrm>
                <a:off x="44187393" y="25996708"/>
                <a:ext cx="729064" cy="838664"/>
              </a:xfrm>
              <a:custGeom>
                <a:avLst/>
                <a:gdLst>
                  <a:gd name="connsiteX0" fmla="*/ 710004 w 729064"/>
                  <a:gd name="connsiteY0" fmla="*/ 595644 h 838664"/>
                  <a:gd name="connsiteX1" fmla="*/ 714768 w 729064"/>
                  <a:gd name="connsiteY1" fmla="*/ 609936 h 838664"/>
                  <a:gd name="connsiteX2" fmla="*/ 714768 w 729064"/>
                  <a:gd name="connsiteY2" fmla="*/ 619468 h 838664"/>
                  <a:gd name="connsiteX3" fmla="*/ 710004 w 729064"/>
                  <a:gd name="connsiteY3" fmla="*/ 619468 h 838664"/>
                  <a:gd name="connsiteX4" fmla="*/ 705240 w 729064"/>
                  <a:gd name="connsiteY4" fmla="*/ 619468 h 838664"/>
                  <a:gd name="connsiteX5" fmla="*/ 700476 w 729064"/>
                  <a:gd name="connsiteY5" fmla="*/ 614704 h 838664"/>
                  <a:gd name="connsiteX6" fmla="*/ 710004 w 729064"/>
                  <a:gd name="connsiteY6" fmla="*/ 600408 h 838664"/>
                  <a:gd name="connsiteX7" fmla="*/ 262084 w 729064"/>
                  <a:gd name="connsiteY7" fmla="*/ 567052 h 838664"/>
                  <a:gd name="connsiteX8" fmla="*/ 262084 w 729064"/>
                  <a:gd name="connsiteY8" fmla="*/ 576584 h 838664"/>
                  <a:gd name="connsiteX9" fmla="*/ 257320 w 729064"/>
                  <a:gd name="connsiteY9" fmla="*/ 581348 h 838664"/>
                  <a:gd name="connsiteX10" fmla="*/ 252552 w 729064"/>
                  <a:gd name="connsiteY10" fmla="*/ 576584 h 838664"/>
                  <a:gd name="connsiteX11" fmla="*/ 257320 w 729064"/>
                  <a:gd name="connsiteY11" fmla="*/ 571816 h 838664"/>
                  <a:gd name="connsiteX12" fmla="*/ 90540 w 729064"/>
                  <a:gd name="connsiteY12" fmla="*/ 190608 h 838664"/>
                  <a:gd name="connsiteX13" fmla="*/ 95304 w 729064"/>
                  <a:gd name="connsiteY13" fmla="*/ 190608 h 838664"/>
                  <a:gd name="connsiteX14" fmla="*/ 104836 w 729064"/>
                  <a:gd name="connsiteY14" fmla="*/ 195372 h 838664"/>
                  <a:gd name="connsiteX15" fmla="*/ 109600 w 729064"/>
                  <a:gd name="connsiteY15" fmla="*/ 200136 h 838664"/>
                  <a:gd name="connsiteX16" fmla="*/ 100068 w 729064"/>
                  <a:gd name="connsiteY16" fmla="*/ 214432 h 838664"/>
                  <a:gd name="connsiteX17" fmla="*/ 100068 w 729064"/>
                  <a:gd name="connsiteY17" fmla="*/ 219200 h 838664"/>
                  <a:gd name="connsiteX18" fmla="*/ 85776 w 729064"/>
                  <a:gd name="connsiteY18" fmla="*/ 219200 h 838664"/>
                  <a:gd name="connsiteX19" fmla="*/ 33356 w 729064"/>
                  <a:gd name="connsiteY19" fmla="*/ 33358 h 838664"/>
                  <a:gd name="connsiteX20" fmla="*/ 42888 w 729064"/>
                  <a:gd name="connsiteY20" fmla="*/ 47654 h 838664"/>
                  <a:gd name="connsiteX21" fmla="*/ 38124 w 729064"/>
                  <a:gd name="connsiteY21" fmla="*/ 57184 h 838664"/>
                  <a:gd name="connsiteX22" fmla="*/ 33356 w 729064"/>
                  <a:gd name="connsiteY22" fmla="*/ 57184 h 838664"/>
                  <a:gd name="connsiteX23" fmla="*/ 28592 w 729064"/>
                  <a:gd name="connsiteY23" fmla="*/ 57184 h 838664"/>
                  <a:gd name="connsiteX24" fmla="*/ 23828 w 729064"/>
                  <a:gd name="connsiteY24" fmla="*/ 61948 h 838664"/>
                  <a:gd name="connsiteX25" fmla="*/ 14296 w 729064"/>
                  <a:gd name="connsiteY25" fmla="*/ 61948 h 838664"/>
                  <a:gd name="connsiteX26" fmla="*/ 9532 w 729064"/>
                  <a:gd name="connsiteY26" fmla="*/ 52418 h 838664"/>
                  <a:gd name="connsiteX27" fmla="*/ 4768 w 729064"/>
                  <a:gd name="connsiteY27" fmla="*/ 47654 h 838664"/>
                  <a:gd name="connsiteX28" fmla="*/ 0 w 729064"/>
                  <a:gd name="connsiteY28" fmla="*/ 38124 h 838664"/>
                  <a:gd name="connsiteX29" fmla="*/ 9532 w 729064"/>
                  <a:gd name="connsiteY29" fmla="*/ 38124 h 838664"/>
                  <a:gd name="connsiteX30" fmla="*/ 19064 w 729064"/>
                  <a:gd name="connsiteY30" fmla="*/ 42888 h 838664"/>
                  <a:gd name="connsiteX31" fmla="*/ 28592 w 729064"/>
                  <a:gd name="connsiteY31" fmla="*/ 38124 h 838664"/>
                  <a:gd name="connsiteX32" fmla="*/ 85776 w 729064"/>
                  <a:gd name="connsiteY32" fmla="*/ 0 h 838664"/>
                  <a:gd name="connsiteX33" fmla="*/ 90540 w 729064"/>
                  <a:gd name="connsiteY33" fmla="*/ 0 h 838664"/>
                  <a:gd name="connsiteX34" fmla="*/ 100068 w 729064"/>
                  <a:gd name="connsiteY34" fmla="*/ 0 h 838664"/>
                  <a:gd name="connsiteX35" fmla="*/ 109600 w 729064"/>
                  <a:gd name="connsiteY35" fmla="*/ 19060 h 838664"/>
                  <a:gd name="connsiteX36" fmla="*/ 142956 w 729064"/>
                  <a:gd name="connsiteY36" fmla="*/ 33356 h 838664"/>
                  <a:gd name="connsiteX37" fmla="*/ 152484 w 729064"/>
                  <a:gd name="connsiteY37" fmla="*/ 33356 h 838664"/>
                  <a:gd name="connsiteX38" fmla="*/ 166780 w 729064"/>
                  <a:gd name="connsiteY38" fmla="*/ 28592 h 838664"/>
                  <a:gd name="connsiteX39" fmla="*/ 176312 w 729064"/>
                  <a:gd name="connsiteY39" fmla="*/ 33356 h 838664"/>
                  <a:gd name="connsiteX40" fmla="*/ 181076 w 729064"/>
                  <a:gd name="connsiteY40" fmla="*/ 38124 h 838664"/>
                  <a:gd name="connsiteX41" fmla="*/ 185840 w 729064"/>
                  <a:gd name="connsiteY41" fmla="*/ 52416 h 838664"/>
                  <a:gd name="connsiteX42" fmla="*/ 190608 w 729064"/>
                  <a:gd name="connsiteY42" fmla="*/ 66712 h 838664"/>
                  <a:gd name="connsiteX43" fmla="*/ 209668 w 729064"/>
                  <a:gd name="connsiteY43" fmla="*/ 66712 h 838664"/>
                  <a:gd name="connsiteX44" fmla="*/ 219196 w 729064"/>
                  <a:gd name="connsiteY44" fmla="*/ 66712 h 838664"/>
                  <a:gd name="connsiteX45" fmla="*/ 223964 w 729064"/>
                  <a:gd name="connsiteY45" fmla="*/ 81008 h 838664"/>
                  <a:gd name="connsiteX46" fmla="*/ 228728 w 729064"/>
                  <a:gd name="connsiteY46" fmla="*/ 100068 h 838664"/>
                  <a:gd name="connsiteX47" fmla="*/ 223964 w 729064"/>
                  <a:gd name="connsiteY47" fmla="*/ 114364 h 838664"/>
                  <a:gd name="connsiteX48" fmla="*/ 209668 w 729064"/>
                  <a:gd name="connsiteY48" fmla="*/ 128660 h 838664"/>
                  <a:gd name="connsiteX49" fmla="*/ 209668 w 729064"/>
                  <a:gd name="connsiteY49" fmla="*/ 142956 h 838664"/>
                  <a:gd name="connsiteX50" fmla="*/ 219196 w 729064"/>
                  <a:gd name="connsiteY50" fmla="*/ 147720 h 838664"/>
                  <a:gd name="connsiteX51" fmla="*/ 223964 w 729064"/>
                  <a:gd name="connsiteY51" fmla="*/ 157252 h 838664"/>
                  <a:gd name="connsiteX52" fmla="*/ 228728 w 729064"/>
                  <a:gd name="connsiteY52" fmla="*/ 162016 h 838664"/>
                  <a:gd name="connsiteX53" fmla="*/ 238260 w 729064"/>
                  <a:gd name="connsiteY53" fmla="*/ 162016 h 838664"/>
                  <a:gd name="connsiteX54" fmla="*/ 243024 w 729064"/>
                  <a:gd name="connsiteY54" fmla="*/ 157252 h 838664"/>
                  <a:gd name="connsiteX55" fmla="*/ 247788 w 729064"/>
                  <a:gd name="connsiteY55" fmla="*/ 147720 h 838664"/>
                  <a:gd name="connsiteX56" fmla="*/ 252552 w 729064"/>
                  <a:gd name="connsiteY56" fmla="*/ 138188 h 838664"/>
                  <a:gd name="connsiteX57" fmla="*/ 276380 w 729064"/>
                  <a:gd name="connsiteY57" fmla="*/ 128660 h 838664"/>
                  <a:gd name="connsiteX58" fmla="*/ 300204 w 729064"/>
                  <a:gd name="connsiteY58" fmla="*/ 119128 h 838664"/>
                  <a:gd name="connsiteX59" fmla="*/ 304968 w 729064"/>
                  <a:gd name="connsiteY59" fmla="*/ 119128 h 838664"/>
                  <a:gd name="connsiteX60" fmla="*/ 304968 w 729064"/>
                  <a:gd name="connsiteY60" fmla="*/ 123896 h 838664"/>
                  <a:gd name="connsiteX61" fmla="*/ 314500 w 729064"/>
                  <a:gd name="connsiteY61" fmla="*/ 138188 h 838664"/>
                  <a:gd name="connsiteX62" fmla="*/ 319264 w 729064"/>
                  <a:gd name="connsiteY62" fmla="*/ 138188 h 838664"/>
                  <a:gd name="connsiteX63" fmla="*/ 324032 w 729064"/>
                  <a:gd name="connsiteY63" fmla="*/ 142956 h 838664"/>
                  <a:gd name="connsiteX64" fmla="*/ 338324 w 729064"/>
                  <a:gd name="connsiteY64" fmla="*/ 138188 h 838664"/>
                  <a:gd name="connsiteX65" fmla="*/ 347856 w 729064"/>
                  <a:gd name="connsiteY65" fmla="*/ 133424 h 838664"/>
                  <a:gd name="connsiteX66" fmla="*/ 357388 w 729064"/>
                  <a:gd name="connsiteY66" fmla="*/ 119128 h 838664"/>
                  <a:gd name="connsiteX67" fmla="*/ 357388 w 729064"/>
                  <a:gd name="connsiteY67" fmla="*/ 109600 h 838664"/>
                  <a:gd name="connsiteX68" fmla="*/ 376448 w 729064"/>
                  <a:gd name="connsiteY68" fmla="*/ 90540 h 838664"/>
                  <a:gd name="connsiteX69" fmla="*/ 381212 w 729064"/>
                  <a:gd name="connsiteY69" fmla="*/ 76244 h 838664"/>
                  <a:gd name="connsiteX70" fmla="*/ 385976 w 729064"/>
                  <a:gd name="connsiteY70" fmla="*/ 66712 h 838664"/>
                  <a:gd name="connsiteX71" fmla="*/ 414568 w 729064"/>
                  <a:gd name="connsiteY71" fmla="*/ 76244 h 838664"/>
                  <a:gd name="connsiteX72" fmla="*/ 424100 w 729064"/>
                  <a:gd name="connsiteY72" fmla="*/ 81008 h 838664"/>
                  <a:gd name="connsiteX73" fmla="*/ 452688 w 729064"/>
                  <a:gd name="connsiteY73" fmla="*/ 128660 h 838664"/>
                  <a:gd name="connsiteX74" fmla="*/ 490808 w 729064"/>
                  <a:gd name="connsiteY74" fmla="*/ 162016 h 838664"/>
                  <a:gd name="connsiteX75" fmla="*/ 509872 w 729064"/>
                  <a:gd name="connsiteY75" fmla="*/ 176312 h 838664"/>
                  <a:gd name="connsiteX76" fmla="*/ 524164 w 729064"/>
                  <a:gd name="connsiteY76" fmla="*/ 181076 h 838664"/>
                  <a:gd name="connsiteX77" fmla="*/ 538460 w 729064"/>
                  <a:gd name="connsiteY77" fmla="*/ 200136 h 838664"/>
                  <a:gd name="connsiteX78" fmla="*/ 557520 w 729064"/>
                  <a:gd name="connsiteY78" fmla="*/ 223960 h 838664"/>
                  <a:gd name="connsiteX79" fmla="*/ 590876 w 729064"/>
                  <a:gd name="connsiteY79" fmla="*/ 285908 h 838664"/>
                  <a:gd name="connsiteX80" fmla="*/ 595644 w 729064"/>
                  <a:gd name="connsiteY80" fmla="*/ 314500 h 838664"/>
                  <a:gd name="connsiteX81" fmla="*/ 600408 w 729064"/>
                  <a:gd name="connsiteY81" fmla="*/ 357384 h 838664"/>
                  <a:gd name="connsiteX82" fmla="*/ 590876 w 729064"/>
                  <a:gd name="connsiteY82" fmla="*/ 424096 h 838664"/>
                  <a:gd name="connsiteX83" fmla="*/ 581348 w 729064"/>
                  <a:gd name="connsiteY83" fmla="*/ 457452 h 838664"/>
                  <a:gd name="connsiteX84" fmla="*/ 581348 w 729064"/>
                  <a:gd name="connsiteY84" fmla="*/ 471748 h 838664"/>
                  <a:gd name="connsiteX85" fmla="*/ 595644 w 729064"/>
                  <a:gd name="connsiteY85" fmla="*/ 495576 h 838664"/>
                  <a:gd name="connsiteX86" fmla="*/ 590876 w 729064"/>
                  <a:gd name="connsiteY86" fmla="*/ 519400 h 838664"/>
                  <a:gd name="connsiteX87" fmla="*/ 595644 w 729064"/>
                  <a:gd name="connsiteY87" fmla="*/ 533696 h 838664"/>
                  <a:gd name="connsiteX88" fmla="*/ 595644 w 729064"/>
                  <a:gd name="connsiteY88" fmla="*/ 586112 h 838664"/>
                  <a:gd name="connsiteX89" fmla="*/ 600408 w 729064"/>
                  <a:gd name="connsiteY89" fmla="*/ 600408 h 838664"/>
                  <a:gd name="connsiteX90" fmla="*/ 609936 w 729064"/>
                  <a:gd name="connsiteY90" fmla="*/ 609936 h 838664"/>
                  <a:gd name="connsiteX91" fmla="*/ 652824 w 729064"/>
                  <a:gd name="connsiteY91" fmla="*/ 643292 h 838664"/>
                  <a:gd name="connsiteX92" fmla="*/ 657588 w 729064"/>
                  <a:gd name="connsiteY92" fmla="*/ 652824 h 838664"/>
                  <a:gd name="connsiteX93" fmla="*/ 676648 w 729064"/>
                  <a:gd name="connsiteY93" fmla="*/ 690944 h 838664"/>
                  <a:gd name="connsiteX94" fmla="*/ 714772 w 729064"/>
                  <a:gd name="connsiteY94" fmla="*/ 776716 h 838664"/>
                  <a:gd name="connsiteX95" fmla="*/ 729064 w 729064"/>
                  <a:gd name="connsiteY95" fmla="*/ 814836 h 838664"/>
                  <a:gd name="connsiteX96" fmla="*/ 724300 w 729064"/>
                  <a:gd name="connsiteY96" fmla="*/ 824368 h 838664"/>
                  <a:gd name="connsiteX97" fmla="*/ 719536 w 729064"/>
                  <a:gd name="connsiteY97" fmla="*/ 829132 h 838664"/>
                  <a:gd name="connsiteX98" fmla="*/ 710004 w 729064"/>
                  <a:gd name="connsiteY98" fmla="*/ 833896 h 838664"/>
                  <a:gd name="connsiteX99" fmla="*/ 700476 w 729064"/>
                  <a:gd name="connsiteY99" fmla="*/ 824368 h 838664"/>
                  <a:gd name="connsiteX100" fmla="*/ 695712 w 729064"/>
                  <a:gd name="connsiteY100" fmla="*/ 819604 h 838664"/>
                  <a:gd name="connsiteX101" fmla="*/ 695712 w 729064"/>
                  <a:gd name="connsiteY101" fmla="*/ 814836 h 838664"/>
                  <a:gd name="connsiteX102" fmla="*/ 695712 w 729064"/>
                  <a:gd name="connsiteY102" fmla="*/ 805308 h 838664"/>
                  <a:gd name="connsiteX103" fmla="*/ 686180 w 729064"/>
                  <a:gd name="connsiteY103" fmla="*/ 795776 h 838664"/>
                  <a:gd name="connsiteX104" fmla="*/ 676648 w 729064"/>
                  <a:gd name="connsiteY104" fmla="*/ 791012 h 838664"/>
                  <a:gd name="connsiteX105" fmla="*/ 681416 w 729064"/>
                  <a:gd name="connsiteY105" fmla="*/ 800544 h 838664"/>
                  <a:gd name="connsiteX106" fmla="*/ 681416 w 729064"/>
                  <a:gd name="connsiteY106" fmla="*/ 819604 h 838664"/>
                  <a:gd name="connsiteX107" fmla="*/ 667120 w 729064"/>
                  <a:gd name="connsiteY107" fmla="*/ 819604 h 838664"/>
                  <a:gd name="connsiteX108" fmla="*/ 652824 w 729064"/>
                  <a:gd name="connsiteY108" fmla="*/ 814836 h 838664"/>
                  <a:gd name="connsiteX109" fmla="*/ 633764 w 729064"/>
                  <a:gd name="connsiteY109" fmla="*/ 819604 h 838664"/>
                  <a:gd name="connsiteX110" fmla="*/ 609936 w 729064"/>
                  <a:gd name="connsiteY110" fmla="*/ 838664 h 838664"/>
                  <a:gd name="connsiteX111" fmla="*/ 600408 w 729064"/>
                  <a:gd name="connsiteY111" fmla="*/ 838664 h 838664"/>
                  <a:gd name="connsiteX112" fmla="*/ 590876 w 729064"/>
                  <a:gd name="connsiteY112" fmla="*/ 819604 h 838664"/>
                  <a:gd name="connsiteX113" fmla="*/ 586112 w 729064"/>
                  <a:gd name="connsiteY113" fmla="*/ 810072 h 838664"/>
                  <a:gd name="connsiteX114" fmla="*/ 581348 w 729064"/>
                  <a:gd name="connsiteY114" fmla="*/ 805308 h 838664"/>
                  <a:gd name="connsiteX115" fmla="*/ 509872 w 729064"/>
                  <a:gd name="connsiteY115" fmla="*/ 762420 h 838664"/>
                  <a:gd name="connsiteX116" fmla="*/ 481280 w 729064"/>
                  <a:gd name="connsiteY116" fmla="*/ 752892 h 838664"/>
                  <a:gd name="connsiteX117" fmla="*/ 452688 w 729064"/>
                  <a:gd name="connsiteY117" fmla="*/ 724300 h 838664"/>
                  <a:gd name="connsiteX118" fmla="*/ 390744 w 729064"/>
                  <a:gd name="connsiteY118" fmla="*/ 695708 h 838664"/>
                  <a:gd name="connsiteX119" fmla="*/ 352620 w 729064"/>
                  <a:gd name="connsiteY119" fmla="*/ 662352 h 838664"/>
                  <a:gd name="connsiteX120" fmla="*/ 333560 w 729064"/>
                  <a:gd name="connsiteY120" fmla="*/ 643292 h 838664"/>
                  <a:gd name="connsiteX121" fmla="*/ 295440 w 729064"/>
                  <a:gd name="connsiteY121" fmla="*/ 624232 h 838664"/>
                  <a:gd name="connsiteX122" fmla="*/ 276380 w 729064"/>
                  <a:gd name="connsiteY122" fmla="*/ 605172 h 838664"/>
                  <a:gd name="connsiteX123" fmla="*/ 266848 w 729064"/>
                  <a:gd name="connsiteY123" fmla="*/ 600408 h 838664"/>
                  <a:gd name="connsiteX124" fmla="*/ 257320 w 729064"/>
                  <a:gd name="connsiteY124" fmla="*/ 595640 h 838664"/>
                  <a:gd name="connsiteX125" fmla="*/ 266848 w 729064"/>
                  <a:gd name="connsiteY125" fmla="*/ 576580 h 838664"/>
                  <a:gd name="connsiteX126" fmla="*/ 262084 w 729064"/>
                  <a:gd name="connsiteY126" fmla="*/ 552756 h 838664"/>
                  <a:gd name="connsiteX127" fmla="*/ 262084 w 729064"/>
                  <a:gd name="connsiteY127" fmla="*/ 538460 h 838664"/>
                  <a:gd name="connsiteX128" fmla="*/ 228728 w 729064"/>
                  <a:gd name="connsiteY128" fmla="*/ 500340 h 838664"/>
                  <a:gd name="connsiteX129" fmla="*/ 219196 w 729064"/>
                  <a:gd name="connsiteY129" fmla="*/ 476512 h 838664"/>
                  <a:gd name="connsiteX130" fmla="*/ 190608 w 729064"/>
                  <a:gd name="connsiteY130" fmla="*/ 452688 h 838664"/>
                  <a:gd name="connsiteX131" fmla="*/ 181076 w 729064"/>
                  <a:gd name="connsiteY131" fmla="*/ 443156 h 838664"/>
                  <a:gd name="connsiteX132" fmla="*/ 166780 w 729064"/>
                  <a:gd name="connsiteY132" fmla="*/ 424096 h 838664"/>
                  <a:gd name="connsiteX133" fmla="*/ 176312 w 729064"/>
                  <a:gd name="connsiteY133" fmla="*/ 419332 h 838664"/>
                  <a:gd name="connsiteX134" fmla="*/ 181076 w 729064"/>
                  <a:gd name="connsiteY134" fmla="*/ 414568 h 838664"/>
                  <a:gd name="connsiteX135" fmla="*/ 176312 w 729064"/>
                  <a:gd name="connsiteY135" fmla="*/ 405036 h 838664"/>
                  <a:gd name="connsiteX136" fmla="*/ 162016 w 729064"/>
                  <a:gd name="connsiteY136" fmla="*/ 385976 h 838664"/>
                  <a:gd name="connsiteX137" fmla="*/ 152484 w 729064"/>
                  <a:gd name="connsiteY137" fmla="*/ 362152 h 838664"/>
                  <a:gd name="connsiteX138" fmla="*/ 152484 w 729064"/>
                  <a:gd name="connsiteY138" fmla="*/ 319264 h 838664"/>
                  <a:gd name="connsiteX139" fmla="*/ 128660 w 729064"/>
                  <a:gd name="connsiteY139" fmla="*/ 257316 h 838664"/>
                  <a:gd name="connsiteX140" fmla="*/ 109600 w 729064"/>
                  <a:gd name="connsiteY140" fmla="*/ 171544 h 838664"/>
                  <a:gd name="connsiteX141" fmla="*/ 114364 w 729064"/>
                  <a:gd name="connsiteY141" fmla="*/ 138188 h 838664"/>
                  <a:gd name="connsiteX142" fmla="*/ 109600 w 729064"/>
                  <a:gd name="connsiteY142" fmla="*/ 109600 h 838664"/>
                  <a:gd name="connsiteX143" fmla="*/ 100068 w 729064"/>
                  <a:gd name="connsiteY143" fmla="*/ 76244 h 838664"/>
                  <a:gd name="connsiteX144" fmla="*/ 81008 w 729064"/>
                  <a:gd name="connsiteY144" fmla="*/ 57184 h 838664"/>
                  <a:gd name="connsiteX145" fmla="*/ 76244 w 729064"/>
                  <a:gd name="connsiteY145" fmla="*/ 38124 h 838664"/>
                  <a:gd name="connsiteX146" fmla="*/ 76244 w 729064"/>
                  <a:gd name="connsiteY146" fmla="*/ 28592 h 838664"/>
                  <a:gd name="connsiteX147" fmla="*/ 81008 w 729064"/>
                  <a:gd name="connsiteY147" fmla="*/ 4768 h 838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</a:cxnLst>
                <a:rect l="l" t="t" r="r" b="b"/>
                <a:pathLst>
                  <a:path w="729064" h="838664">
                    <a:moveTo>
                      <a:pt x="710004" y="595644"/>
                    </a:moveTo>
                    <a:lnTo>
                      <a:pt x="714768" y="609936"/>
                    </a:lnTo>
                    <a:lnTo>
                      <a:pt x="714768" y="619468"/>
                    </a:lnTo>
                    <a:lnTo>
                      <a:pt x="710004" y="619468"/>
                    </a:lnTo>
                    <a:lnTo>
                      <a:pt x="705240" y="619468"/>
                    </a:lnTo>
                    <a:lnTo>
                      <a:pt x="700476" y="614704"/>
                    </a:lnTo>
                    <a:lnTo>
                      <a:pt x="710004" y="600408"/>
                    </a:lnTo>
                    <a:close/>
                    <a:moveTo>
                      <a:pt x="262084" y="567052"/>
                    </a:moveTo>
                    <a:lnTo>
                      <a:pt x="262084" y="576584"/>
                    </a:lnTo>
                    <a:lnTo>
                      <a:pt x="257320" y="581348"/>
                    </a:lnTo>
                    <a:lnTo>
                      <a:pt x="252552" y="576584"/>
                    </a:lnTo>
                    <a:lnTo>
                      <a:pt x="257320" y="571816"/>
                    </a:lnTo>
                    <a:close/>
                    <a:moveTo>
                      <a:pt x="90540" y="190608"/>
                    </a:moveTo>
                    <a:lnTo>
                      <a:pt x="95304" y="190608"/>
                    </a:lnTo>
                    <a:lnTo>
                      <a:pt x="104836" y="195372"/>
                    </a:lnTo>
                    <a:lnTo>
                      <a:pt x="109600" y="200136"/>
                    </a:lnTo>
                    <a:lnTo>
                      <a:pt x="100068" y="214432"/>
                    </a:lnTo>
                    <a:lnTo>
                      <a:pt x="100068" y="219200"/>
                    </a:lnTo>
                    <a:lnTo>
                      <a:pt x="85776" y="219200"/>
                    </a:lnTo>
                    <a:close/>
                    <a:moveTo>
                      <a:pt x="33356" y="33358"/>
                    </a:moveTo>
                    <a:lnTo>
                      <a:pt x="42888" y="47654"/>
                    </a:lnTo>
                    <a:lnTo>
                      <a:pt x="38124" y="57184"/>
                    </a:lnTo>
                    <a:lnTo>
                      <a:pt x="33356" y="57184"/>
                    </a:lnTo>
                    <a:lnTo>
                      <a:pt x="28592" y="57184"/>
                    </a:lnTo>
                    <a:lnTo>
                      <a:pt x="23828" y="61948"/>
                    </a:lnTo>
                    <a:lnTo>
                      <a:pt x="14296" y="61948"/>
                    </a:lnTo>
                    <a:lnTo>
                      <a:pt x="9532" y="52418"/>
                    </a:lnTo>
                    <a:lnTo>
                      <a:pt x="4768" y="47654"/>
                    </a:lnTo>
                    <a:lnTo>
                      <a:pt x="0" y="38124"/>
                    </a:lnTo>
                    <a:lnTo>
                      <a:pt x="9532" y="38124"/>
                    </a:lnTo>
                    <a:lnTo>
                      <a:pt x="19064" y="42888"/>
                    </a:lnTo>
                    <a:lnTo>
                      <a:pt x="28592" y="38124"/>
                    </a:lnTo>
                    <a:close/>
                    <a:moveTo>
                      <a:pt x="85776" y="0"/>
                    </a:moveTo>
                    <a:lnTo>
                      <a:pt x="90540" y="0"/>
                    </a:lnTo>
                    <a:lnTo>
                      <a:pt x="100068" y="0"/>
                    </a:lnTo>
                    <a:lnTo>
                      <a:pt x="109600" y="19060"/>
                    </a:lnTo>
                    <a:lnTo>
                      <a:pt x="142956" y="33356"/>
                    </a:lnTo>
                    <a:lnTo>
                      <a:pt x="152484" y="33356"/>
                    </a:lnTo>
                    <a:lnTo>
                      <a:pt x="166780" y="28592"/>
                    </a:lnTo>
                    <a:lnTo>
                      <a:pt x="176312" y="33356"/>
                    </a:lnTo>
                    <a:lnTo>
                      <a:pt x="181076" y="38124"/>
                    </a:lnTo>
                    <a:lnTo>
                      <a:pt x="185840" y="52416"/>
                    </a:lnTo>
                    <a:lnTo>
                      <a:pt x="190608" y="66712"/>
                    </a:lnTo>
                    <a:lnTo>
                      <a:pt x="209668" y="66712"/>
                    </a:lnTo>
                    <a:lnTo>
                      <a:pt x="219196" y="66712"/>
                    </a:lnTo>
                    <a:lnTo>
                      <a:pt x="223964" y="81008"/>
                    </a:lnTo>
                    <a:lnTo>
                      <a:pt x="228728" y="100068"/>
                    </a:lnTo>
                    <a:lnTo>
                      <a:pt x="223964" y="114364"/>
                    </a:lnTo>
                    <a:lnTo>
                      <a:pt x="209668" y="128660"/>
                    </a:lnTo>
                    <a:lnTo>
                      <a:pt x="209668" y="142956"/>
                    </a:lnTo>
                    <a:lnTo>
                      <a:pt x="219196" y="147720"/>
                    </a:lnTo>
                    <a:lnTo>
                      <a:pt x="223964" y="157252"/>
                    </a:lnTo>
                    <a:lnTo>
                      <a:pt x="228728" y="162016"/>
                    </a:lnTo>
                    <a:lnTo>
                      <a:pt x="238260" y="162016"/>
                    </a:lnTo>
                    <a:lnTo>
                      <a:pt x="243024" y="157252"/>
                    </a:lnTo>
                    <a:lnTo>
                      <a:pt x="247788" y="147720"/>
                    </a:lnTo>
                    <a:lnTo>
                      <a:pt x="252552" y="138188"/>
                    </a:lnTo>
                    <a:lnTo>
                      <a:pt x="276380" y="128660"/>
                    </a:lnTo>
                    <a:lnTo>
                      <a:pt x="300204" y="119128"/>
                    </a:lnTo>
                    <a:lnTo>
                      <a:pt x="304968" y="119128"/>
                    </a:lnTo>
                    <a:lnTo>
                      <a:pt x="304968" y="123896"/>
                    </a:lnTo>
                    <a:lnTo>
                      <a:pt x="314500" y="138188"/>
                    </a:lnTo>
                    <a:lnTo>
                      <a:pt x="319264" y="138188"/>
                    </a:lnTo>
                    <a:lnTo>
                      <a:pt x="324032" y="142956"/>
                    </a:lnTo>
                    <a:lnTo>
                      <a:pt x="338324" y="138188"/>
                    </a:lnTo>
                    <a:lnTo>
                      <a:pt x="347856" y="133424"/>
                    </a:lnTo>
                    <a:lnTo>
                      <a:pt x="357388" y="119128"/>
                    </a:lnTo>
                    <a:lnTo>
                      <a:pt x="357388" y="109600"/>
                    </a:lnTo>
                    <a:lnTo>
                      <a:pt x="376448" y="90540"/>
                    </a:lnTo>
                    <a:lnTo>
                      <a:pt x="381212" y="76244"/>
                    </a:lnTo>
                    <a:lnTo>
                      <a:pt x="385976" y="66712"/>
                    </a:lnTo>
                    <a:lnTo>
                      <a:pt x="414568" y="76244"/>
                    </a:lnTo>
                    <a:lnTo>
                      <a:pt x="424100" y="81008"/>
                    </a:lnTo>
                    <a:lnTo>
                      <a:pt x="452688" y="128660"/>
                    </a:lnTo>
                    <a:lnTo>
                      <a:pt x="490808" y="162016"/>
                    </a:lnTo>
                    <a:lnTo>
                      <a:pt x="509872" y="176312"/>
                    </a:lnTo>
                    <a:lnTo>
                      <a:pt x="524164" y="181076"/>
                    </a:lnTo>
                    <a:lnTo>
                      <a:pt x="538460" y="200136"/>
                    </a:lnTo>
                    <a:lnTo>
                      <a:pt x="557520" y="223960"/>
                    </a:lnTo>
                    <a:lnTo>
                      <a:pt x="590876" y="285908"/>
                    </a:lnTo>
                    <a:lnTo>
                      <a:pt x="595644" y="314500"/>
                    </a:lnTo>
                    <a:lnTo>
                      <a:pt x="600408" y="357384"/>
                    </a:lnTo>
                    <a:lnTo>
                      <a:pt x="590876" y="424096"/>
                    </a:lnTo>
                    <a:lnTo>
                      <a:pt x="581348" y="457452"/>
                    </a:lnTo>
                    <a:lnTo>
                      <a:pt x="581348" y="471748"/>
                    </a:lnTo>
                    <a:lnTo>
                      <a:pt x="595644" y="495576"/>
                    </a:lnTo>
                    <a:lnTo>
                      <a:pt x="590876" y="519400"/>
                    </a:lnTo>
                    <a:lnTo>
                      <a:pt x="595644" y="533696"/>
                    </a:lnTo>
                    <a:lnTo>
                      <a:pt x="595644" y="586112"/>
                    </a:lnTo>
                    <a:lnTo>
                      <a:pt x="600408" y="600408"/>
                    </a:lnTo>
                    <a:lnTo>
                      <a:pt x="609936" y="609936"/>
                    </a:lnTo>
                    <a:lnTo>
                      <a:pt x="652824" y="643292"/>
                    </a:lnTo>
                    <a:lnTo>
                      <a:pt x="657588" y="652824"/>
                    </a:lnTo>
                    <a:lnTo>
                      <a:pt x="676648" y="690944"/>
                    </a:lnTo>
                    <a:lnTo>
                      <a:pt x="714772" y="776716"/>
                    </a:lnTo>
                    <a:lnTo>
                      <a:pt x="729064" y="814836"/>
                    </a:lnTo>
                    <a:lnTo>
                      <a:pt x="724300" y="824368"/>
                    </a:lnTo>
                    <a:lnTo>
                      <a:pt x="719536" y="829132"/>
                    </a:lnTo>
                    <a:lnTo>
                      <a:pt x="710004" y="833896"/>
                    </a:lnTo>
                    <a:lnTo>
                      <a:pt x="700476" y="824368"/>
                    </a:lnTo>
                    <a:lnTo>
                      <a:pt x="695712" y="819604"/>
                    </a:lnTo>
                    <a:lnTo>
                      <a:pt x="695712" y="814836"/>
                    </a:lnTo>
                    <a:lnTo>
                      <a:pt x="695712" y="805308"/>
                    </a:lnTo>
                    <a:lnTo>
                      <a:pt x="686180" y="795776"/>
                    </a:lnTo>
                    <a:lnTo>
                      <a:pt x="676648" y="791012"/>
                    </a:lnTo>
                    <a:lnTo>
                      <a:pt x="681416" y="800544"/>
                    </a:lnTo>
                    <a:lnTo>
                      <a:pt x="681416" y="819604"/>
                    </a:lnTo>
                    <a:lnTo>
                      <a:pt x="667120" y="819604"/>
                    </a:lnTo>
                    <a:lnTo>
                      <a:pt x="652824" y="814836"/>
                    </a:lnTo>
                    <a:lnTo>
                      <a:pt x="633764" y="819604"/>
                    </a:lnTo>
                    <a:lnTo>
                      <a:pt x="609936" y="838664"/>
                    </a:lnTo>
                    <a:lnTo>
                      <a:pt x="600408" y="838664"/>
                    </a:lnTo>
                    <a:lnTo>
                      <a:pt x="590876" y="819604"/>
                    </a:lnTo>
                    <a:lnTo>
                      <a:pt x="586112" y="810072"/>
                    </a:lnTo>
                    <a:lnTo>
                      <a:pt x="581348" y="805308"/>
                    </a:lnTo>
                    <a:lnTo>
                      <a:pt x="509872" y="762420"/>
                    </a:lnTo>
                    <a:lnTo>
                      <a:pt x="481280" y="752892"/>
                    </a:lnTo>
                    <a:lnTo>
                      <a:pt x="452688" y="724300"/>
                    </a:lnTo>
                    <a:lnTo>
                      <a:pt x="390744" y="695708"/>
                    </a:lnTo>
                    <a:lnTo>
                      <a:pt x="352620" y="662352"/>
                    </a:lnTo>
                    <a:lnTo>
                      <a:pt x="333560" y="643292"/>
                    </a:lnTo>
                    <a:lnTo>
                      <a:pt x="295440" y="624232"/>
                    </a:lnTo>
                    <a:lnTo>
                      <a:pt x="276380" y="605172"/>
                    </a:lnTo>
                    <a:lnTo>
                      <a:pt x="266848" y="600408"/>
                    </a:lnTo>
                    <a:lnTo>
                      <a:pt x="257320" y="595640"/>
                    </a:lnTo>
                    <a:lnTo>
                      <a:pt x="266848" y="576580"/>
                    </a:lnTo>
                    <a:lnTo>
                      <a:pt x="262084" y="552756"/>
                    </a:lnTo>
                    <a:lnTo>
                      <a:pt x="262084" y="538460"/>
                    </a:lnTo>
                    <a:lnTo>
                      <a:pt x="228728" y="500340"/>
                    </a:lnTo>
                    <a:lnTo>
                      <a:pt x="219196" y="476512"/>
                    </a:lnTo>
                    <a:lnTo>
                      <a:pt x="190608" y="452688"/>
                    </a:lnTo>
                    <a:lnTo>
                      <a:pt x="181076" y="443156"/>
                    </a:lnTo>
                    <a:lnTo>
                      <a:pt x="166780" y="424096"/>
                    </a:lnTo>
                    <a:lnTo>
                      <a:pt x="176312" y="419332"/>
                    </a:lnTo>
                    <a:lnTo>
                      <a:pt x="181076" y="414568"/>
                    </a:lnTo>
                    <a:lnTo>
                      <a:pt x="176312" y="405036"/>
                    </a:lnTo>
                    <a:lnTo>
                      <a:pt x="162016" y="385976"/>
                    </a:lnTo>
                    <a:lnTo>
                      <a:pt x="152484" y="362152"/>
                    </a:lnTo>
                    <a:lnTo>
                      <a:pt x="152484" y="319264"/>
                    </a:lnTo>
                    <a:lnTo>
                      <a:pt x="128660" y="257316"/>
                    </a:lnTo>
                    <a:lnTo>
                      <a:pt x="109600" y="171544"/>
                    </a:lnTo>
                    <a:lnTo>
                      <a:pt x="114364" y="138188"/>
                    </a:lnTo>
                    <a:lnTo>
                      <a:pt x="109600" y="109600"/>
                    </a:lnTo>
                    <a:lnTo>
                      <a:pt x="100068" y="76244"/>
                    </a:lnTo>
                    <a:lnTo>
                      <a:pt x="81008" y="57184"/>
                    </a:lnTo>
                    <a:lnTo>
                      <a:pt x="76244" y="38124"/>
                    </a:lnTo>
                    <a:lnTo>
                      <a:pt x="76244" y="28592"/>
                    </a:lnTo>
                    <a:lnTo>
                      <a:pt x="81008" y="4768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97" name="Freeform 5827">
              <a:extLst>
                <a:ext uri="{FF2B5EF4-FFF2-40B4-BE49-F238E27FC236}">
                  <a16:creationId xmlns:a16="http://schemas.microsoft.com/office/drawing/2014/main" id="{C400C0FD-AA02-4AC6-BEA9-62E213D7433E}"/>
                </a:ext>
              </a:extLst>
            </p:cNvPr>
            <p:cNvSpPr/>
            <p:nvPr/>
          </p:nvSpPr>
          <p:spPr bwMode="auto">
            <a:xfrm>
              <a:off x="5594470" y="5844571"/>
              <a:ext cx="342269" cy="329164"/>
            </a:xfrm>
            <a:custGeom>
              <a:avLst/>
              <a:gdLst>
                <a:gd name="T0" fmla="*/ 696 w 888"/>
                <a:gd name="T1" fmla="*/ 60 h 854"/>
                <a:gd name="T2" fmla="*/ 634 w 888"/>
                <a:gd name="T3" fmla="*/ 70 h 854"/>
                <a:gd name="T4" fmla="*/ 592 w 888"/>
                <a:gd name="T5" fmla="*/ 72 h 854"/>
                <a:gd name="T6" fmla="*/ 556 w 888"/>
                <a:gd name="T7" fmla="*/ 62 h 854"/>
                <a:gd name="T8" fmla="*/ 490 w 888"/>
                <a:gd name="T9" fmla="*/ 58 h 854"/>
                <a:gd name="T10" fmla="*/ 460 w 888"/>
                <a:gd name="T11" fmla="*/ 50 h 854"/>
                <a:gd name="T12" fmla="*/ 440 w 888"/>
                <a:gd name="T13" fmla="*/ 30 h 854"/>
                <a:gd name="T14" fmla="*/ 366 w 888"/>
                <a:gd name="T15" fmla="*/ 28 h 854"/>
                <a:gd name="T16" fmla="*/ 150 w 888"/>
                <a:gd name="T17" fmla="*/ 30 h 854"/>
                <a:gd name="T18" fmla="*/ 130 w 888"/>
                <a:gd name="T19" fmla="*/ 18 h 854"/>
                <a:gd name="T20" fmla="*/ 102 w 888"/>
                <a:gd name="T21" fmla="*/ 0 h 854"/>
                <a:gd name="T22" fmla="*/ 76 w 888"/>
                <a:gd name="T23" fmla="*/ 6 h 854"/>
                <a:gd name="T24" fmla="*/ 42 w 888"/>
                <a:gd name="T25" fmla="*/ 16 h 854"/>
                <a:gd name="T26" fmla="*/ 20 w 888"/>
                <a:gd name="T27" fmla="*/ 14 h 854"/>
                <a:gd name="T28" fmla="*/ 2 w 888"/>
                <a:gd name="T29" fmla="*/ 54 h 854"/>
                <a:gd name="T30" fmla="*/ 26 w 888"/>
                <a:gd name="T31" fmla="*/ 108 h 854"/>
                <a:gd name="T32" fmla="*/ 96 w 888"/>
                <a:gd name="T33" fmla="*/ 222 h 854"/>
                <a:gd name="T34" fmla="*/ 142 w 888"/>
                <a:gd name="T35" fmla="*/ 322 h 854"/>
                <a:gd name="T36" fmla="*/ 184 w 888"/>
                <a:gd name="T37" fmla="*/ 400 h 854"/>
                <a:gd name="T38" fmla="*/ 178 w 888"/>
                <a:gd name="T39" fmla="*/ 412 h 854"/>
                <a:gd name="T40" fmla="*/ 180 w 888"/>
                <a:gd name="T41" fmla="*/ 454 h 854"/>
                <a:gd name="T42" fmla="*/ 192 w 888"/>
                <a:gd name="T43" fmla="*/ 532 h 854"/>
                <a:gd name="T44" fmla="*/ 204 w 888"/>
                <a:gd name="T45" fmla="*/ 590 h 854"/>
                <a:gd name="T46" fmla="*/ 214 w 888"/>
                <a:gd name="T47" fmla="*/ 660 h 854"/>
                <a:gd name="T48" fmla="*/ 224 w 888"/>
                <a:gd name="T49" fmla="*/ 686 h 854"/>
                <a:gd name="T50" fmla="*/ 238 w 888"/>
                <a:gd name="T51" fmla="*/ 738 h 854"/>
                <a:gd name="T52" fmla="*/ 302 w 888"/>
                <a:gd name="T53" fmla="*/ 824 h 854"/>
                <a:gd name="T54" fmla="*/ 326 w 888"/>
                <a:gd name="T55" fmla="*/ 818 h 854"/>
                <a:gd name="T56" fmla="*/ 334 w 888"/>
                <a:gd name="T57" fmla="*/ 810 h 854"/>
                <a:gd name="T58" fmla="*/ 342 w 888"/>
                <a:gd name="T59" fmla="*/ 788 h 854"/>
                <a:gd name="T60" fmla="*/ 360 w 888"/>
                <a:gd name="T61" fmla="*/ 798 h 854"/>
                <a:gd name="T62" fmla="*/ 372 w 888"/>
                <a:gd name="T63" fmla="*/ 810 h 854"/>
                <a:gd name="T64" fmla="*/ 372 w 888"/>
                <a:gd name="T65" fmla="*/ 826 h 854"/>
                <a:gd name="T66" fmla="*/ 392 w 888"/>
                <a:gd name="T67" fmla="*/ 842 h 854"/>
                <a:gd name="T68" fmla="*/ 432 w 888"/>
                <a:gd name="T69" fmla="*/ 850 h 854"/>
                <a:gd name="T70" fmla="*/ 488 w 888"/>
                <a:gd name="T71" fmla="*/ 854 h 854"/>
                <a:gd name="T72" fmla="*/ 498 w 888"/>
                <a:gd name="T73" fmla="*/ 838 h 854"/>
                <a:gd name="T74" fmla="*/ 522 w 888"/>
                <a:gd name="T75" fmla="*/ 822 h 854"/>
                <a:gd name="T76" fmla="*/ 608 w 888"/>
                <a:gd name="T77" fmla="*/ 350 h 854"/>
                <a:gd name="T78" fmla="*/ 608 w 888"/>
                <a:gd name="T79" fmla="*/ 106 h 854"/>
                <a:gd name="T80" fmla="*/ 676 w 888"/>
                <a:gd name="T81" fmla="*/ 84 h 854"/>
                <a:gd name="T82" fmla="*/ 754 w 888"/>
                <a:gd name="T83" fmla="*/ 70 h 854"/>
                <a:gd name="T84" fmla="*/ 776 w 888"/>
                <a:gd name="T85" fmla="*/ 98 h 854"/>
                <a:gd name="T86" fmla="*/ 786 w 888"/>
                <a:gd name="T87" fmla="*/ 100 h 854"/>
                <a:gd name="T88" fmla="*/ 814 w 888"/>
                <a:gd name="T89" fmla="*/ 76 h 854"/>
                <a:gd name="T90" fmla="*/ 836 w 888"/>
                <a:gd name="T91" fmla="*/ 72 h 854"/>
                <a:gd name="T92" fmla="*/ 886 w 888"/>
                <a:gd name="T93" fmla="*/ 56 h 854"/>
                <a:gd name="T94" fmla="*/ 866 w 888"/>
                <a:gd name="T95" fmla="*/ 40 h 854"/>
                <a:gd name="T96" fmla="*/ 808 w 888"/>
                <a:gd name="T97" fmla="*/ 38 h 8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87" h="854">
                  <a:moveTo>
                    <a:pt x="764" y="46"/>
                  </a:moveTo>
                  <a:lnTo>
                    <a:pt x="744" y="50"/>
                  </a:lnTo>
                  <a:lnTo>
                    <a:pt x="716" y="56"/>
                  </a:lnTo>
                  <a:lnTo>
                    <a:pt x="696" y="60"/>
                  </a:lnTo>
                  <a:lnTo>
                    <a:pt x="672" y="64"/>
                  </a:lnTo>
                  <a:lnTo>
                    <a:pt x="656" y="66"/>
                  </a:lnTo>
                  <a:lnTo>
                    <a:pt x="636" y="70"/>
                  </a:lnTo>
                  <a:lnTo>
                    <a:pt x="634" y="70"/>
                  </a:lnTo>
                  <a:lnTo>
                    <a:pt x="628" y="68"/>
                  </a:lnTo>
                  <a:lnTo>
                    <a:pt x="616" y="68"/>
                  </a:lnTo>
                  <a:lnTo>
                    <a:pt x="602" y="70"/>
                  </a:lnTo>
                  <a:lnTo>
                    <a:pt x="592" y="72"/>
                  </a:lnTo>
                  <a:lnTo>
                    <a:pt x="584" y="70"/>
                  </a:lnTo>
                  <a:lnTo>
                    <a:pt x="576" y="68"/>
                  </a:lnTo>
                  <a:lnTo>
                    <a:pt x="570" y="62"/>
                  </a:lnTo>
                  <a:lnTo>
                    <a:pt x="556" y="62"/>
                  </a:lnTo>
                  <a:lnTo>
                    <a:pt x="538" y="62"/>
                  </a:lnTo>
                  <a:lnTo>
                    <a:pt x="520" y="62"/>
                  </a:lnTo>
                  <a:lnTo>
                    <a:pt x="502" y="58"/>
                  </a:lnTo>
                  <a:lnTo>
                    <a:pt x="490" y="58"/>
                  </a:lnTo>
                  <a:lnTo>
                    <a:pt x="482" y="58"/>
                  </a:lnTo>
                  <a:lnTo>
                    <a:pt x="474" y="56"/>
                  </a:lnTo>
                  <a:lnTo>
                    <a:pt x="466" y="54"/>
                  </a:lnTo>
                  <a:lnTo>
                    <a:pt x="460" y="50"/>
                  </a:lnTo>
                  <a:lnTo>
                    <a:pt x="450" y="40"/>
                  </a:lnTo>
                  <a:lnTo>
                    <a:pt x="444" y="32"/>
                  </a:lnTo>
                  <a:lnTo>
                    <a:pt x="442" y="30"/>
                  </a:lnTo>
                  <a:lnTo>
                    <a:pt x="440" y="30"/>
                  </a:lnTo>
                  <a:lnTo>
                    <a:pt x="438" y="30"/>
                  </a:lnTo>
                  <a:lnTo>
                    <a:pt x="420" y="28"/>
                  </a:lnTo>
                  <a:lnTo>
                    <a:pt x="392" y="28"/>
                  </a:lnTo>
                  <a:lnTo>
                    <a:pt x="366" y="28"/>
                  </a:lnTo>
                  <a:lnTo>
                    <a:pt x="178" y="28"/>
                  </a:lnTo>
                  <a:lnTo>
                    <a:pt x="164" y="30"/>
                  </a:lnTo>
                  <a:lnTo>
                    <a:pt x="152" y="30"/>
                  </a:lnTo>
                  <a:lnTo>
                    <a:pt x="150" y="30"/>
                  </a:lnTo>
                  <a:lnTo>
                    <a:pt x="146" y="28"/>
                  </a:lnTo>
                  <a:lnTo>
                    <a:pt x="144" y="26"/>
                  </a:lnTo>
                  <a:lnTo>
                    <a:pt x="136" y="22"/>
                  </a:lnTo>
                  <a:lnTo>
                    <a:pt x="130" y="18"/>
                  </a:lnTo>
                  <a:lnTo>
                    <a:pt x="122" y="12"/>
                  </a:lnTo>
                  <a:lnTo>
                    <a:pt x="116" y="4"/>
                  </a:lnTo>
                  <a:lnTo>
                    <a:pt x="110" y="2"/>
                  </a:lnTo>
                  <a:lnTo>
                    <a:pt x="102" y="0"/>
                  </a:lnTo>
                  <a:lnTo>
                    <a:pt x="96" y="0"/>
                  </a:lnTo>
                  <a:lnTo>
                    <a:pt x="92" y="0"/>
                  </a:lnTo>
                  <a:lnTo>
                    <a:pt x="82" y="2"/>
                  </a:lnTo>
                  <a:lnTo>
                    <a:pt x="76" y="6"/>
                  </a:lnTo>
                  <a:lnTo>
                    <a:pt x="70" y="10"/>
                  </a:lnTo>
                  <a:lnTo>
                    <a:pt x="62" y="12"/>
                  </a:lnTo>
                  <a:lnTo>
                    <a:pt x="54" y="16"/>
                  </a:lnTo>
                  <a:lnTo>
                    <a:pt x="42" y="16"/>
                  </a:lnTo>
                  <a:lnTo>
                    <a:pt x="40" y="16"/>
                  </a:lnTo>
                  <a:lnTo>
                    <a:pt x="32" y="16"/>
                  </a:lnTo>
                  <a:lnTo>
                    <a:pt x="26" y="14"/>
                  </a:lnTo>
                  <a:lnTo>
                    <a:pt x="20" y="14"/>
                  </a:lnTo>
                  <a:lnTo>
                    <a:pt x="12" y="18"/>
                  </a:lnTo>
                  <a:lnTo>
                    <a:pt x="2" y="18"/>
                  </a:lnTo>
                  <a:lnTo>
                    <a:pt x="0" y="34"/>
                  </a:lnTo>
                  <a:lnTo>
                    <a:pt x="2" y="54"/>
                  </a:lnTo>
                  <a:lnTo>
                    <a:pt x="4" y="70"/>
                  </a:lnTo>
                  <a:lnTo>
                    <a:pt x="16" y="90"/>
                  </a:lnTo>
                  <a:lnTo>
                    <a:pt x="22" y="104"/>
                  </a:lnTo>
                  <a:lnTo>
                    <a:pt x="26" y="108"/>
                  </a:lnTo>
                  <a:lnTo>
                    <a:pt x="40" y="122"/>
                  </a:lnTo>
                  <a:lnTo>
                    <a:pt x="48" y="134"/>
                  </a:lnTo>
                  <a:lnTo>
                    <a:pt x="88" y="212"/>
                  </a:lnTo>
                  <a:lnTo>
                    <a:pt x="96" y="222"/>
                  </a:lnTo>
                  <a:lnTo>
                    <a:pt x="102" y="246"/>
                  </a:lnTo>
                  <a:lnTo>
                    <a:pt x="114" y="274"/>
                  </a:lnTo>
                  <a:lnTo>
                    <a:pt x="140" y="312"/>
                  </a:lnTo>
                  <a:lnTo>
                    <a:pt x="142" y="322"/>
                  </a:lnTo>
                  <a:lnTo>
                    <a:pt x="148" y="334"/>
                  </a:lnTo>
                  <a:lnTo>
                    <a:pt x="170" y="362"/>
                  </a:lnTo>
                  <a:lnTo>
                    <a:pt x="180" y="382"/>
                  </a:lnTo>
                  <a:lnTo>
                    <a:pt x="184" y="400"/>
                  </a:lnTo>
                  <a:lnTo>
                    <a:pt x="184" y="406"/>
                  </a:lnTo>
                  <a:lnTo>
                    <a:pt x="182" y="416"/>
                  </a:lnTo>
                  <a:lnTo>
                    <a:pt x="180" y="414"/>
                  </a:lnTo>
                  <a:lnTo>
                    <a:pt x="178" y="412"/>
                  </a:lnTo>
                  <a:lnTo>
                    <a:pt x="176" y="418"/>
                  </a:lnTo>
                  <a:lnTo>
                    <a:pt x="178" y="426"/>
                  </a:lnTo>
                  <a:lnTo>
                    <a:pt x="182" y="440"/>
                  </a:lnTo>
                  <a:lnTo>
                    <a:pt x="180" y="454"/>
                  </a:lnTo>
                  <a:lnTo>
                    <a:pt x="182" y="466"/>
                  </a:lnTo>
                  <a:lnTo>
                    <a:pt x="182" y="496"/>
                  </a:lnTo>
                  <a:lnTo>
                    <a:pt x="182" y="506"/>
                  </a:lnTo>
                  <a:lnTo>
                    <a:pt x="192" y="532"/>
                  </a:lnTo>
                  <a:lnTo>
                    <a:pt x="200" y="548"/>
                  </a:lnTo>
                  <a:lnTo>
                    <a:pt x="204" y="566"/>
                  </a:lnTo>
                  <a:lnTo>
                    <a:pt x="204" y="582"/>
                  </a:lnTo>
                  <a:lnTo>
                    <a:pt x="204" y="590"/>
                  </a:lnTo>
                  <a:lnTo>
                    <a:pt x="206" y="602"/>
                  </a:lnTo>
                  <a:lnTo>
                    <a:pt x="206" y="616"/>
                  </a:lnTo>
                  <a:lnTo>
                    <a:pt x="210" y="634"/>
                  </a:lnTo>
                  <a:lnTo>
                    <a:pt x="214" y="660"/>
                  </a:lnTo>
                  <a:lnTo>
                    <a:pt x="222" y="668"/>
                  </a:lnTo>
                  <a:lnTo>
                    <a:pt x="224" y="674"/>
                  </a:lnTo>
                  <a:lnTo>
                    <a:pt x="226" y="680"/>
                  </a:lnTo>
                  <a:lnTo>
                    <a:pt x="224" y="686"/>
                  </a:lnTo>
                  <a:lnTo>
                    <a:pt x="224" y="694"/>
                  </a:lnTo>
                  <a:lnTo>
                    <a:pt x="230" y="710"/>
                  </a:lnTo>
                  <a:lnTo>
                    <a:pt x="234" y="730"/>
                  </a:lnTo>
                  <a:lnTo>
                    <a:pt x="238" y="738"/>
                  </a:lnTo>
                  <a:lnTo>
                    <a:pt x="262" y="782"/>
                  </a:lnTo>
                  <a:lnTo>
                    <a:pt x="274" y="796"/>
                  </a:lnTo>
                  <a:lnTo>
                    <a:pt x="282" y="802"/>
                  </a:lnTo>
                  <a:lnTo>
                    <a:pt x="302" y="824"/>
                  </a:lnTo>
                  <a:lnTo>
                    <a:pt x="310" y="830"/>
                  </a:lnTo>
                  <a:lnTo>
                    <a:pt x="314" y="826"/>
                  </a:lnTo>
                  <a:lnTo>
                    <a:pt x="322" y="820"/>
                  </a:lnTo>
                  <a:lnTo>
                    <a:pt x="326" y="818"/>
                  </a:lnTo>
                  <a:lnTo>
                    <a:pt x="328" y="820"/>
                  </a:lnTo>
                  <a:lnTo>
                    <a:pt x="330" y="818"/>
                  </a:lnTo>
                  <a:lnTo>
                    <a:pt x="332" y="814"/>
                  </a:lnTo>
                  <a:lnTo>
                    <a:pt x="334" y="810"/>
                  </a:lnTo>
                  <a:lnTo>
                    <a:pt x="334" y="804"/>
                  </a:lnTo>
                  <a:lnTo>
                    <a:pt x="336" y="800"/>
                  </a:lnTo>
                  <a:lnTo>
                    <a:pt x="338" y="794"/>
                  </a:lnTo>
                  <a:lnTo>
                    <a:pt x="342" y="788"/>
                  </a:lnTo>
                  <a:lnTo>
                    <a:pt x="350" y="786"/>
                  </a:lnTo>
                  <a:lnTo>
                    <a:pt x="356" y="790"/>
                  </a:lnTo>
                  <a:lnTo>
                    <a:pt x="358" y="794"/>
                  </a:lnTo>
                  <a:lnTo>
                    <a:pt x="360" y="798"/>
                  </a:lnTo>
                  <a:lnTo>
                    <a:pt x="362" y="802"/>
                  </a:lnTo>
                  <a:lnTo>
                    <a:pt x="366" y="800"/>
                  </a:lnTo>
                  <a:lnTo>
                    <a:pt x="370" y="804"/>
                  </a:lnTo>
                  <a:lnTo>
                    <a:pt x="372" y="810"/>
                  </a:lnTo>
                  <a:lnTo>
                    <a:pt x="372" y="814"/>
                  </a:lnTo>
                  <a:lnTo>
                    <a:pt x="368" y="818"/>
                  </a:lnTo>
                  <a:lnTo>
                    <a:pt x="370" y="822"/>
                  </a:lnTo>
                  <a:lnTo>
                    <a:pt x="372" y="826"/>
                  </a:lnTo>
                  <a:lnTo>
                    <a:pt x="374" y="830"/>
                  </a:lnTo>
                  <a:lnTo>
                    <a:pt x="376" y="836"/>
                  </a:lnTo>
                  <a:lnTo>
                    <a:pt x="388" y="840"/>
                  </a:lnTo>
                  <a:lnTo>
                    <a:pt x="392" y="842"/>
                  </a:lnTo>
                  <a:lnTo>
                    <a:pt x="402" y="842"/>
                  </a:lnTo>
                  <a:lnTo>
                    <a:pt x="410" y="844"/>
                  </a:lnTo>
                  <a:lnTo>
                    <a:pt x="418" y="848"/>
                  </a:lnTo>
                  <a:lnTo>
                    <a:pt x="432" y="850"/>
                  </a:lnTo>
                  <a:lnTo>
                    <a:pt x="452" y="848"/>
                  </a:lnTo>
                  <a:lnTo>
                    <a:pt x="466" y="848"/>
                  </a:lnTo>
                  <a:lnTo>
                    <a:pt x="480" y="854"/>
                  </a:lnTo>
                  <a:lnTo>
                    <a:pt x="488" y="854"/>
                  </a:lnTo>
                  <a:lnTo>
                    <a:pt x="494" y="852"/>
                  </a:lnTo>
                  <a:lnTo>
                    <a:pt x="496" y="846"/>
                  </a:lnTo>
                  <a:lnTo>
                    <a:pt x="496" y="842"/>
                  </a:lnTo>
                  <a:lnTo>
                    <a:pt x="498" y="838"/>
                  </a:lnTo>
                  <a:lnTo>
                    <a:pt x="504" y="838"/>
                  </a:lnTo>
                  <a:lnTo>
                    <a:pt x="510" y="834"/>
                  </a:lnTo>
                  <a:lnTo>
                    <a:pt x="514" y="826"/>
                  </a:lnTo>
                  <a:lnTo>
                    <a:pt x="522" y="822"/>
                  </a:lnTo>
                  <a:lnTo>
                    <a:pt x="536" y="818"/>
                  </a:lnTo>
                  <a:lnTo>
                    <a:pt x="542" y="818"/>
                  </a:lnTo>
                  <a:lnTo>
                    <a:pt x="542" y="350"/>
                  </a:lnTo>
                  <a:lnTo>
                    <a:pt x="608" y="350"/>
                  </a:lnTo>
                  <a:lnTo>
                    <a:pt x="608" y="348"/>
                  </a:lnTo>
                  <a:lnTo>
                    <a:pt x="608" y="334"/>
                  </a:lnTo>
                  <a:lnTo>
                    <a:pt x="608" y="134"/>
                  </a:lnTo>
                  <a:lnTo>
                    <a:pt x="608" y="106"/>
                  </a:lnTo>
                  <a:lnTo>
                    <a:pt x="608" y="92"/>
                  </a:lnTo>
                  <a:lnTo>
                    <a:pt x="624" y="92"/>
                  </a:lnTo>
                  <a:lnTo>
                    <a:pt x="644" y="88"/>
                  </a:lnTo>
                  <a:lnTo>
                    <a:pt x="676" y="84"/>
                  </a:lnTo>
                  <a:lnTo>
                    <a:pt x="704" y="78"/>
                  </a:lnTo>
                  <a:lnTo>
                    <a:pt x="724" y="74"/>
                  </a:lnTo>
                  <a:lnTo>
                    <a:pt x="746" y="72"/>
                  </a:lnTo>
                  <a:lnTo>
                    <a:pt x="754" y="70"/>
                  </a:lnTo>
                  <a:lnTo>
                    <a:pt x="756" y="72"/>
                  </a:lnTo>
                  <a:lnTo>
                    <a:pt x="760" y="72"/>
                  </a:lnTo>
                  <a:lnTo>
                    <a:pt x="770" y="86"/>
                  </a:lnTo>
                  <a:lnTo>
                    <a:pt x="776" y="98"/>
                  </a:lnTo>
                  <a:lnTo>
                    <a:pt x="778" y="102"/>
                  </a:lnTo>
                  <a:lnTo>
                    <a:pt x="780" y="102"/>
                  </a:lnTo>
                  <a:lnTo>
                    <a:pt x="782" y="102"/>
                  </a:lnTo>
                  <a:lnTo>
                    <a:pt x="786" y="100"/>
                  </a:lnTo>
                  <a:lnTo>
                    <a:pt x="796" y="90"/>
                  </a:lnTo>
                  <a:lnTo>
                    <a:pt x="798" y="86"/>
                  </a:lnTo>
                  <a:lnTo>
                    <a:pt x="806" y="82"/>
                  </a:lnTo>
                  <a:lnTo>
                    <a:pt x="814" y="76"/>
                  </a:lnTo>
                  <a:lnTo>
                    <a:pt x="822" y="72"/>
                  </a:lnTo>
                  <a:lnTo>
                    <a:pt x="830" y="70"/>
                  </a:lnTo>
                  <a:lnTo>
                    <a:pt x="832" y="70"/>
                  </a:lnTo>
                  <a:lnTo>
                    <a:pt x="836" y="72"/>
                  </a:lnTo>
                  <a:lnTo>
                    <a:pt x="840" y="74"/>
                  </a:lnTo>
                  <a:lnTo>
                    <a:pt x="858" y="62"/>
                  </a:lnTo>
                  <a:lnTo>
                    <a:pt x="866" y="58"/>
                  </a:lnTo>
                  <a:lnTo>
                    <a:pt x="886" y="56"/>
                  </a:lnTo>
                  <a:lnTo>
                    <a:pt x="888" y="56"/>
                  </a:lnTo>
                  <a:lnTo>
                    <a:pt x="876" y="46"/>
                  </a:lnTo>
                  <a:lnTo>
                    <a:pt x="872" y="40"/>
                  </a:lnTo>
                  <a:lnTo>
                    <a:pt x="866" y="40"/>
                  </a:lnTo>
                  <a:lnTo>
                    <a:pt x="854" y="38"/>
                  </a:lnTo>
                  <a:lnTo>
                    <a:pt x="824" y="34"/>
                  </a:lnTo>
                  <a:lnTo>
                    <a:pt x="820" y="36"/>
                  </a:lnTo>
                  <a:lnTo>
                    <a:pt x="808" y="38"/>
                  </a:lnTo>
                  <a:lnTo>
                    <a:pt x="792" y="40"/>
                  </a:lnTo>
                  <a:lnTo>
                    <a:pt x="778" y="42"/>
                  </a:lnTo>
                  <a:lnTo>
                    <a:pt x="764" y="4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8" name="Freeform 246">
              <a:extLst>
                <a:ext uri="{FF2B5EF4-FFF2-40B4-BE49-F238E27FC236}">
                  <a16:creationId xmlns:a16="http://schemas.microsoft.com/office/drawing/2014/main" id="{52C09A3A-F39E-4C69-8EBE-0AD266EF6492}"/>
                </a:ext>
              </a:extLst>
            </p:cNvPr>
            <p:cNvSpPr/>
            <p:nvPr/>
          </p:nvSpPr>
          <p:spPr bwMode="auto">
            <a:xfrm>
              <a:off x="9443071" y="5929368"/>
              <a:ext cx="103298" cy="67837"/>
            </a:xfrm>
            <a:custGeom>
              <a:avLst/>
              <a:gdLst>
                <a:gd name="connsiteX0" fmla="*/ 533696 w 638528"/>
                <a:gd name="connsiteY0" fmla="*/ 400268 h 419330"/>
                <a:gd name="connsiteX1" fmla="*/ 543224 w 638528"/>
                <a:gd name="connsiteY1" fmla="*/ 405034 h 419330"/>
                <a:gd name="connsiteX2" fmla="*/ 547992 w 638528"/>
                <a:gd name="connsiteY2" fmla="*/ 414564 h 419330"/>
                <a:gd name="connsiteX3" fmla="*/ 543224 w 638528"/>
                <a:gd name="connsiteY3" fmla="*/ 419330 h 419330"/>
                <a:gd name="connsiteX4" fmla="*/ 538460 w 638528"/>
                <a:gd name="connsiteY4" fmla="*/ 419330 h 419330"/>
                <a:gd name="connsiteX5" fmla="*/ 533696 w 638528"/>
                <a:gd name="connsiteY5" fmla="*/ 414564 h 419330"/>
                <a:gd name="connsiteX6" fmla="*/ 528928 w 638528"/>
                <a:gd name="connsiteY6" fmla="*/ 414564 h 419330"/>
                <a:gd name="connsiteX7" fmla="*/ 614704 w 638528"/>
                <a:gd name="connsiteY7" fmla="*/ 195368 h 419330"/>
                <a:gd name="connsiteX8" fmla="*/ 614704 w 638528"/>
                <a:gd name="connsiteY8" fmla="*/ 204900 h 419330"/>
                <a:gd name="connsiteX9" fmla="*/ 619468 w 638528"/>
                <a:gd name="connsiteY9" fmla="*/ 209664 h 419330"/>
                <a:gd name="connsiteX10" fmla="*/ 619468 w 638528"/>
                <a:gd name="connsiteY10" fmla="*/ 214430 h 419330"/>
                <a:gd name="connsiteX11" fmla="*/ 628996 w 638528"/>
                <a:gd name="connsiteY11" fmla="*/ 214430 h 419330"/>
                <a:gd name="connsiteX12" fmla="*/ 638528 w 638528"/>
                <a:gd name="connsiteY12" fmla="*/ 214430 h 419330"/>
                <a:gd name="connsiteX13" fmla="*/ 638528 w 638528"/>
                <a:gd name="connsiteY13" fmla="*/ 243020 h 419330"/>
                <a:gd name="connsiteX14" fmla="*/ 619468 w 638528"/>
                <a:gd name="connsiteY14" fmla="*/ 247784 h 419330"/>
                <a:gd name="connsiteX15" fmla="*/ 614704 w 638528"/>
                <a:gd name="connsiteY15" fmla="*/ 247784 h 419330"/>
                <a:gd name="connsiteX16" fmla="*/ 609936 w 638528"/>
                <a:gd name="connsiteY16" fmla="*/ 243020 h 419330"/>
                <a:gd name="connsiteX17" fmla="*/ 600408 w 638528"/>
                <a:gd name="connsiteY17" fmla="*/ 238254 h 419330"/>
                <a:gd name="connsiteX18" fmla="*/ 600408 w 638528"/>
                <a:gd name="connsiteY18" fmla="*/ 228724 h 419330"/>
                <a:gd name="connsiteX19" fmla="*/ 590876 w 638528"/>
                <a:gd name="connsiteY19" fmla="*/ 204900 h 419330"/>
                <a:gd name="connsiteX20" fmla="*/ 605172 w 638528"/>
                <a:gd name="connsiteY20" fmla="*/ 204900 h 419330"/>
                <a:gd name="connsiteX21" fmla="*/ 495576 w 638528"/>
                <a:gd name="connsiteY21" fmla="*/ 85772 h 419330"/>
                <a:gd name="connsiteX22" fmla="*/ 505104 w 638528"/>
                <a:gd name="connsiteY22" fmla="*/ 90536 h 419330"/>
                <a:gd name="connsiteX23" fmla="*/ 509872 w 638528"/>
                <a:gd name="connsiteY23" fmla="*/ 95302 h 419330"/>
                <a:gd name="connsiteX24" fmla="*/ 509872 w 638528"/>
                <a:gd name="connsiteY24" fmla="*/ 123892 h 419330"/>
                <a:gd name="connsiteX25" fmla="*/ 519400 w 638528"/>
                <a:gd name="connsiteY25" fmla="*/ 133422 h 419330"/>
                <a:gd name="connsiteX26" fmla="*/ 528932 w 638528"/>
                <a:gd name="connsiteY26" fmla="*/ 152482 h 419330"/>
                <a:gd name="connsiteX27" fmla="*/ 528932 w 638528"/>
                <a:gd name="connsiteY27" fmla="*/ 157248 h 419330"/>
                <a:gd name="connsiteX28" fmla="*/ 524164 w 638528"/>
                <a:gd name="connsiteY28" fmla="*/ 166778 h 419330"/>
                <a:gd name="connsiteX29" fmla="*/ 514636 w 638528"/>
                <a:gd name="connsiteY29" fmla="*/ 171544 h 419330"/>
                <a:gd name="connsiteX30" fmla="*/ 505104 w 638528"/>
                <a:gd name="connsiteY30" fmla="*/ 157248 h 419330"/>
                <a:gd name="connsiteX31" fmla="*/ 481280 w 638528"/>
                <a:gd name="connsiteY31" fmla="*/ 152482 h 419330"/>
                <a:gd name="connsiteX32" fmla="*/ 471748 w 638528"/>
                <a:gd name="connsiteY32" fmla="*/ 138188 h 419330"/>
                <a:gd name="connsiteX33" fmla="*/ 466984 w 638528"/>
                <a:gd name="connsiteY33" fmla="*/ 128656 h 419330"/>
                <a:gd name="connsiteX34" fmla="*/ 481280 w 638528"/>
                <a:gd name="connsiteY34" fmla="*/ 123892 h 419330"/>
                <a:gd name="connsiteX35" fmla="*/ 490808 w 638528"/>
                <a:gd name="connsiteY35" fmla="*/ 109596 h 419330"/>
                <a:gd name="connsiteX36" fmla="*/ 481280 w 638528"/>
                <a:gd name="connsiteY36" fmla="*/ 100066 h 419330"/>
                <a:gd name="connsiteX37" fmla="*/ 471748 w 638528"/>
                <a:gd name="connsiteY37" fmla="*/ 100066 h 419330"/>
                <a:gd name="connsiteX38" fmla="*/ 471748 w 638528"/>
                <a:gd name="connsiteY38" fmla="*/ 95302 h 419330"/>
                <a:gd name="connsiteX39" fmla="*/ 395508 w 638528"/>
                <a:gd name="connsiteY39" fmla="*/ 42884 h 419330"/>
                <a:gd name="connsiteX40" fmla="*/ 405036 w 638528"/>
                <a:gd name="connsiteY40" fmla="*/ 42884 h 419330"/>
                <a:gd name="connsiteX41" fmla="*/ 409800 w 638528"/>
                <a:gd name="connsiteY41" fmla="*/ 47650 h 419330"/>
                <a:gd name="connsiteX42" fmla="*/ 405036 w 638528"/>
                <a:gd name="connsiteY42" fmla="*/ 52416 h 419330"/>
                <a:gd name="connsiteX43" fmla="*/ 400272 w 638528"/>
                <a:gd name="connsiteY43" fmla="*/ 61946 h 419330"/>
                <a:gd name="connsiteX44" fmla="*/ 400272 w 638528"/>
                <a:gd name="connsiteY44" fmla="*/ 71476 h 419330"/>
                <a:gd name="connsiteX45" fmla="*/ 405036 w 638528"/>
                <a:gd name="connsiteY45" fmla="*/ 71476 h 419330"/>
                <a:gd name="connsiteX46" fmla="*/ 400272 w 638528"/>
                <a:gd name="connsiteY46" fmla="*/ 85770 h 419330"/>
                <a:gd name="connsiteX47" fmla="*/ 390740 w 638528"/>
                <a:gd name="connsiteY47" fmla="*/ 90536 h 419330"/>
                <a:gd name="connsiteX48" fmla="*/ 381212 w 638528"/>
                <a:gd name="connsiteY48" fmla="*/ 90536 h 419330"/>
                <a:gd name="connsiteX49" fmla="*/ 395508 w 638528"/>
                <a:gd name="connsiteY49" fmla="*/ 76240 h 419330"/>
                <a:gd name="connsiteX50" fmla="*/ 395508 w 638528"/>
                <a:gd name="connsiteY50" fmla="*/ 66710 h 419330"/>
                <a:gd name="connsiteX51" fmla="*/ 395508 w 638528"/>
                <a:gd name="connsiteY51" fmla="*/ 47650 h 419330"/>
                <a:gd name="connsiteX52" fmla="*/ 4768 w 638528"/>
                <a:gd name="connsiteY52" fmla="*/ 0 h 419330"/>
                <a:gd name="connsiteX53" fmla="*/ 23828 w 638528"/>
                <a:gd name="connsiteY53" fmla="*/ 14294 h 419330"/>
                <a:gd name="connsiteX54" fmla="*/ 42888 w 638528"/>
                <a:gd name="connsiteY54" fmla="*/ 23824 h 419330"/>
                <a:gd name="connsiteX55" fmla="*/ 61948 w 638528"/>
                <a:gd name="connsiteY55" fmla="*/ 19060 h 419330"/>
                <a:gd name="connsiteX56" fmla="*/ 85772 w 638528"/>
                <a:gd name="connsiteY56" fmla="*/ 38120 h 419330"/>
                <a:gd name="connsiteX57" fmla="*/ 147720 w 638528"/>
                <a:gd name="connsiteY57" fmla="*/ 85772 h 419330"/>
                <a:gd name="connsiteX58" fmla="*/ 166780 w 638528"/>
                <a:gd name="connsiteY58" fmla="*/ 100066 h 419330"/>
                <a:gd name="connsiteX59" fmla="*/ 181076 w 638528"/>
                <a:gd name="connsiteY59" fmla="*/ 100066 h 419330"/>
                <a:gd name="connsiteX60" fmla="*/ 190604 w 638528"/>
                <a:gd name="connsiteY60" fmla="*/ 109596 h 419330"/>
                <a:gd name="connsiteX61" fmla="*/ 200136 w 638528"/>
                <a:gd name="connsiteY61" fmla="*/ 123892 h 419330"/>
                <a:gd name="connsiteX62" fmla="*/ 209668 w 638528"/>
                <a:gd name="connsiteY62" fmla="*/ 128658 h 419330"/>
                <a:gd name="connsiteX63" fmla="*/ 214432 w 638528"/>
                <a:gd name="connsiteY63" fmla="*/ 138188 h 419330"/>
                <a:gd name="connsiteX64" fmla="*/ 214432 w 638528"/>
                <a:gd name="connsiteY64" fmla="*/ 147718 h 419330"/>
                <a:gd name="connsiteX65" fmla="*/ 219196 w 638528"/>
                <a:gd name="connsiteY65" fmla="*/ 152484 h 419330"/>
                <a:gd name="connsiteX66" fmla="*/ 243024 w 638528"/>
                <a:gd name="connsiteY66" fmla="*/ 171544 h 419330"/>
                <a:gd name="connsiteX67" fmla="*/ 252552 w 638528"/>
                <a:gd name="connsiteY67" fmla="*/ 185840 h 419330"/>
                <a:gd name="connsiteX68" fmla="*/ 271612 w 638528"/>
                <a:gd name="connsiteY68" fmla="*/ 195370 h 419330"/>
                <a:gd name="connsiteX69" fmla="*/ 276380 w 638528"/>
                <a:gd name="connsiteY69" fmla="*/ 200134 h 419330"/>
                <a:gd name="connsiteX70" fmla="*/ 285908 w 638528"/>
                <a:gd name="connsiteY70" fmla="*/ 204900 h 419330"/>
                <a:gd name="connsiteX71" fmla="*/ 300204 w 638528"/>
                <a:gd name="connsiteY71" fmla="*/ 214430 h 419330"/>
                <a:gd name="connsiteX72" fmla="*/ 314500 w 638528"/>
                <a:gd name="connsiteY72" fmla="*/ 223960 h 419330"/>
                <a:gd name="connsiteX73" fmla="*/ 352620 w 638528"/>
                <a:gd name="connsiteY73" fmla="*/ 247786 h 419330"/>
                <a:gd name="connsiteX74" fmla="*/ 381212 w 638528"/>
                <a:gd name="connsiteY74" fmla="*/ 271612 h 419330"/>
                <a:gd name="connsiteX75" fmla="*/ 400272 w 638528"/>
                <a:gd name="connsiteY75" fmla="*/ 285906 h 419330"/>
                <a:gd name="connsiteX76" fmla="*/ 414568 w 638528"/>
                <a:gd name="connsiteY76" fmla="*/ 300202 h 419330"/>
                <a:gd name="connsiteX77" fmla="*/ 433628 w 638528"/>
                <a:gd name="connsiteY77" fmla="*/ 309732 h 419330"/>
                <a:gd name="connsiteX78" fmla="*/ 452688 w 638528"/>
                <a:gd name="connsiteY78" fmla="*/ 324028 h 419330"/>
                <a:gd name="connsiteX79" fmla="*/ 462216 w 638528"/>
                <a:gd name="connsiteY79" fmla="*/ 352618 h 419330"/>
                <a:gd name="connsiteX80" fmla="*/ 457452 w 638528"/>
                <a:gd name="connsiteY80" fmla="*/ 362148 h 419330"/>
                <a:gd name="connsiteX81" fmla="*/ 447924 w 638528"/>
                <a:gd name="connsiteY81" fmla="*/ 366914 h 419330"/>
                <a:gd name="connsiteX82" fmla="*/ 438392 w 638528"/>
                <a:gd name="connsiteY82" fmla="*/ 366914 h 419330"/>
                <a:gd name="connsiteX83" fmla="*/ 428864 w 638528"/>
                <a:gd name="connsiteY83" fmla="*/ 371680 h 419330"/>
                <a:gd name="connsiteX84" fmla="*/ 395508 w 638528"/>
                <a:gd name="connsiteY84" fmla="*/ 352618 h 419330"/>
                <a:gd name="connsiteX85" fmla="*/ 385976 w 638528"/>
                <a:gd name="connsiteY85" fmla="*/ 352618 h 419330"/>
                <a:gd name="connsiteX86" fmla="*/ 381212 w 638528"/>
                <a:gd name="connsiteY86" fmla="*/ 352618 h 419330"/>
                <a:gd name="connsiteX87" fmla="*/ 376444 w 638528"/>
                <a:gd name="connsiteY87" fmla="*/ 347854 h 419330"/>
                <a:gd name="connsiteX88" fmla="*/ 371680 w 638528"/>
                <a:gd name="connsiteY88" fmla="*/ 343088 h 419330"/>
                <a:gd name="connsiteX89" fmla="*/ 352620 w 638528"/>
                <a:gd name="connsiteY89" fmla="*/ 333558 h 419330"/>
                <a:gd name="connsiteX90" fmla="*/ 333560 w 638528"/>
                <a:gd name="connsiteY90" fmla="*/ 324028 h 419330"/>
                <a:gd name="connsiteX91" fmla="*/ 328796 w 638528"/>
                <a:gd name="connsiteY91" fmla="*/ 314498 h 419330"/>
                <a:gd name="connsiteX92" fmla="*/ 324028 w 638528"/>
                <a:gd name="connsiteY92" fmla="*/ 304968 h 419330"/>
                <a:gd name="connsiteX93" fmla="*/ 319264 w 638528"/>
                <a:gd name="connsiteY93" fmla="*/ 300202 h 419330"/>
                <a:gd name="connsiteX94" fmla="*/ 295440 w 638528"/>
                <a:gd name="connsiteY94" fmla="*/ 295436 h 419330"/>
                <a:gd name="connsiteX95" fmla="*/ 281144 w 638528"/>
                <a:gd name="connsiteY95" fmla="*/ 285906 h 419330"/>
                <a:gd name="connsiteX96" fmla="*/ 266848 w 638528"/>
                <a:gd name="connsiteY96" fmla="*/ 271612 h 419330"/>
                <a:gd name="connsiteX97" fmla="*/ 247788 w 638528"/>
                <a:gd name="connsiteY97" fmla="*/ 262082 h 419330"/>
                <a:gd name="connsiteX98" fmla="*/ 219196 w 638528"/>
                <a:gd name="connsiteY98" fmla="*/ 243020 h 419330"/>
                <a:gd name="connsiteX99" fmla="*/ 200136 w 638528"/>
                <a:gd name="connsiteY99" fmla="*/ 238256 h 419330"/>
                <a:gd name="connsiteX100" fmla="*/ 185840 w 638528"/>
                <a:gd name="connsiteY100" fmla="*/ 228726 h 419330"/>
                <a:gd name="connsiteX101" fmla="*/ 152484 w 638528"/>
                <a:gd name="connsiteY101" fmla="*/ 195370 h 419330"/>
                <a:gd name="connsiteX102" fmla="*/ 138188 w 638528"/>
                <a:gd name="connsiteY102" fmla="*/ 190604 h 419330"/>
                <a:gd name="connsiteX103" fmla="*/ 128660 w 638528"/>
                <a:gd name="connsiteY103" fmla="*/ 176308 h 419330"/>
                <a:gd name="connsiteX104" fmla="*/ 95304 w 638528"/>
                <a:gd name="connsiteY104" fmla="*/ 138188 h 419330"/>
                <a:gd name="connsiteX105" fmla="*/ 81008 w 638528"/>
                <a:gd name="connsiteY105" fmla="*/ 123892 h 419330"/>
                <a:gd name="connsiteX106" fmla="*/ 66712 w 638528"/>
                <a:gd name="connsiteY106" fmla="*/ 114362 h 419330"/>
                <a:gd name="connsiteX107" fmla="*/ 52416 w 638528"/>
                <a:gd name="connsiteY107" fmla="*/ 95302 h 419330"/>
                <a:gd name="connsiteX108" fmla="*/ 42888 w 638528"/>
                <a:gd name="connsiteY108" fmla="*/ 81006 h 419330"/>
                <a:gd name="connsiteX109" fmla="*/ 19060 w 638528"/>
                <a:gd name="connsiteY109" fmla="*/ 52416 h 419330"/>
                <a:gd name="connsiteX110" fmla="*/ 19060 w 638528"/>
                <a:gd name="connsiteY110" fmla="*/ 42886 h 419330"/>
                <a:gd name="connsiteX111" fmla="*/ 19060 w 638528"/>
                <a:gd name="connsiteY111" fmla="*/ 33354 h 419330"/>
                <a:gd name="connsiteX112" fmla="*/ 14296 w 638528"/>
                <a:gd name="connsiteY112" fmla="*/ 23824 h 419330"/>
                <a:gd name="connsiteX113" fmla="*/ 4768 w 638528"/>
                <a:gd name="connsiteY113" fmla="*/ 19060 h 419330"/>
                <a:gd name="connsiteX114" fmla="*/ 0 w 638528"/>
                <a:gd name="connsiteY114" fmla="*/ 14294 h 419330"/>
                <a:gd name="connsiteX115" fmla="*/ 0 w 638528"/>
                <a:gd name="connsiteY115" fmla="*/ 4764 h 419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638528" h="419330">
                  <a:moveTo>
                    <a:pt x="533696" y="400268"/>
                  </a:moveTo>
                  <a:lnTo>
                    <a:pt x="543224" y="405034"/>
                  </a:lnTo>
                  <a:lnTo>
                    <a:pt x="547992" y="414564"/>
                  </a:lnTo>
                  <a:lnTo>
                    <a:pt x="543224" y="419330"/>
                  </a:lnTo>
                  <a:lnTo>
                    <a:pt x="538460" y="419330"/>
                  </a:lnTo>
                  <a:lnTo>
                    <a:pt x="533696" y="414564"/>
                  </a:lnTo>
                  <a:lnTo>
                    <a:pt x="528928" y="414564"/>
                  </a:lnTo>
                  <a:close/>
                  <a:moveTo>
                    <a:pt x="614704" y="195368"/>
                  </a:moveTo>
                  <a:lnTo>
                    <a:pt x="614704" y="204900"/>
                  </a:lnTo>
                  <a:lnTo>
                    <a:pt x="619468" y="209664"/>
                  </a:lnTo>
                  <a:lnTo>
                    <a:pt x="619468" y="214430"/>
                  </a:lnTo>
                  <a:lnTo>
                    <a:pt x="628996" y="214430"/>
                  </a:lnTo>
                  <a:lnTo>
                    <a:pt x="638528" y="214430"/>
                  </a:lnTo>
                  <a:lnTo>
                    <a:pt x="638528" y="243020"/>
                  </a:lnTo>
                  <a:lnTo>
                    <a:pt x="619468" y="247784"/>
                  </a:lnTo>
                  <a:lnTo>
                    <a:pt x="614704" y="247784"/>
                  </a:lnTo>
                  <a:lnTo>
                    <a:pt x="609936" y="243020"/>
                  </a:lnTo>
                  <a:lnTo>
                    <a:pt x="600408" y="238254"/>
                  </a:lnTo>
                  <a:lnTo>
                    <a:pt x="600408" y="228724"/>
                  </a:lnTo>
                  <a:lnTo>
                    <a:pt x="590876" y="204900"/>
                  </a:lnTo>
                  <a:lnTo>
                    <a:pt x="605172" y="204900"/>
                  </a:lnTo>
                  <a:close/>
                  <a:moveTo>
                    <a:pt x="495576" y="85772"/>
                  </a:moveTo>
                  <a:lnTo>
                    <a:pt x="505104" y="90536"/>
                  </a:lnTo>
                  <a:lnTo>
                    <a:pt x="509872" y="95302"/>
                  </a:lnTo>
                  <a:lnTo>
                    <a:pt x="509872" y="123892"/>
                  </a:lnTo>
                  <a:lnTo>
                    <a:pt x="519400" y="133422"/>
                  </a:lnTo>
                  <a:lnTo>
                    <a:pt x="528932" y="152482"/>
                  </a:lnTo>
                  <a:lnTo>
                    <a:pt x="528932" y="157248"/>
                  </a:lnTo>
                  <a:lnTo>
                    <a:pt x="524164" y="166778"/>
                  </a:lnTo>
                  <a:lnTo>
                    <a:pt x="514636" y="171544"/>
                  </a:lnTo>
                  <a:lnTo>
                    <a:pt x="505104" y="157248"/>
                  </a:lnTo>
                  <a:lnTo>
                    <a:pt x="481280" y="152482"/>
                  </a:lnTo>
                  <a:lnTo>
                    <a:pt x="471748" y="138188"/>
                  </a:lnTo>
                  <a:lnTo>
                    <a:pt x="466984" y="128656"/>
                  </a:lnTo>
                  <a:lnTo>
                    <a:pt x="481280" y="123892"/>
                  </a:lnTo>
                  <a:lnTo>
                    <a:pt x="490808" y="109596"/>
                  </a:lnTo>
                  <a:lnTo>
                    <a:pt x="481280" y="100066"/>
                  </a:lnTo>
                  <a:lnTo>
                    <a:pt x="471748" y="100066"/>
                  </a:lnTo>
                  <a:lnTo>
                    <a:pt x="471748" y="95302"/>
                  </a:lnTo>
                  <a:close/>
                  <a:moveTo>
                    <a:pt x="395508" y="42884"/>
                  </a:moveTo>
                  <a:lnTo>
                    <a:pt x="405036" y="42884"/>
                  </a:lnTo>
                  <a:lnTo>
                    <a:pt x="409800" y="47650"/>
                  </a:lnTo>
                  <a:lnTo>
                    <a:pt x="405036" y="52416"/>
                  </a:lnTo>
                  <a:lnTo>
                    <a:pt x="400272" y="61946"/>
                  </a:lnTo>
                  <a:lnTo>
                    <a:pt x="400272" y="71476"/>
                  </a:lnTo>
                  <a:lnTo>
                    <a:pt x="405036" y="71476"/>
                  </a:lnTo>
                  <a:lnTo>
                    <a:pt x="400272" y="85770"/>
                  </a:lnTo>
                  <a:lnTo>
                    <a:pt x="390740" y="90536"/>
                  </a:lnTo>
                  <a:lnTo>
                    <a:pt x="381212" y="90536"/>
                  </a:lnTo>
                  <a:lnTo>
                    <a:pt x="395508" y="76240"/>
                  </a:lnTo>
                  <a:lnTo>
                    <a:pt x="395508" y="66710"/>
                  </a:lnTo>
                  <a:lnTo>
                    <a:pt x="395508" y="47650"/>
                  </a:lnTo>
                  <a:close/>
                  <a:moveTo>
                    <a:pt x="4768" y="0"/>
                  </a:moveTo>
                  <a:lnTo>
                    <a:pt x="23828" y="14294"/>
                  </a:lnTo>
                  <a:lnTo>
                    <a:pt x="42888" y="23824"/>
                  </a:lnTo>
                  <a:lnTo>
                    <a:pt x="61948" y="19060"/>
                  </a:lnTo>
                  <a:lnTo>
                    <a:pt x="85772" y="38120"/>
                  </a:lnTo>
                  <a:lnTo>
                    <a:pt x="147720" y="85772"/>
                  </a:lnTo>
                  <a:lnTo>
                    <a:pt x="166780" y="100066"/>
                  </a:lnTo>
                  <a:lnTo>
                    <a:pt x="181076" y="100066"/>
                  </a:lnTo>
                  <a:lnTo>
                    <a:pt x="190604" y="109596"/>
                  </a:lnTo>
                  <a:lnTo>
                    <a:pt x="200136" y="123892"/>
                  </a:lnTo>
                  <a:lnTo>
                    <a:pt x="209668" y="128658"/>
                  </a:lnTo>
                  <a:lnTo>
                    <a:pt x="214432" y="138188"/>
                  </a:lnTo>
                  <a:lnTo>
                    <a:pt x="214432" y="147718"/>
                  </a:lnTo>
                  <a:lnTo>
                    <a:pt x="219196" y="152484"/>
                  </a:lnTo>
                  <a:lnTo>
                    <a:pt x="243024" y="171544"/>
                  </a:lnTo>
                  <a:lnTo>
                    <a:pt x="252552" y="185840"/>
                  </a:lnTo>
                  <a:lnTo>
                    <a:pt x="271612" y="195370"/>
                  </a:lnTo>
                  <a:lnTo>
                    <a:pt x="276380" y="200134"/>
                  </a:lnTo>
                  <a:lnTo>
                    <a:pt x="285908" y="204900"/>
                  </a:lnTo>
                  <a:lnTo>
                    <a:pt x="300204" y="214430"/>
                  </a:lnTo>
                  <a:lnTo>
                    <a:pt x="314500" y="223960"/>
                  </a:lnTo>
                  <a:lnTo>
                    <a:pt x="352620" y="247786"/>
                  </a:lnTo>
                  <a:lnTo>
                    <a:pt x="381212" y="271612"/>
                  </a:lnTo>
                  <a:lnTo>
                    <a:pt x="400272" y="285906"/>
                  </a:lnTo>
                  <a:lnTo>
                    <a:pt x="414568" y="300202"/>
                  </a:lnTo>
                  <a:lnTo>
                    <a:pt x="433628" y="309732"/>
                  </a:lnTo>
                  <a:lnTo>
                    <a:pt x="452688" y="324028"/>
                  </a:lnTo>
                  <a:lnTo>
                    <a:pt x="462216" y="352618"/>
                  </a:lnTo>
                  <a:lnTo>
                    <a:pt x="457452" y="362148"/>
                  </a:lnTo>
                  <a:lnTo>
                    <a:pt x="447924" y="366914"/>
                  </a:lnTo>
                  <a:lnTo>
                    <a:pt x="438392" y="366914"/>
                  </a:lnTo>
                  <a:lnTo>
                    <a:pt x="428864" y="371680"/>
                  </a:lnTo>
                  <a:lnTo>
                    <a:pt x="395508" y="352618"/>
                  </a:lnTo>
                  <a:lnTo>
                    <a:pt x="385976" y="352618"/>
                  </a:lnTo>
                  <a:lnTo>
                    <a:pt x="381212" y="352618"/>
                  </a:lnTo>
                  <a:lnTo>
                    <a:pt x="376444" y="347854"/>
                  </a:lnTo>
                  <a:lnTo>
                    <a:pt x="371680" y="343088"/>
                  </a:lnTo>
                  <a:lnTo>
                    <a:pt x="352620" y="333558"/>
                  </a:lnTo>
                  <a:lnTo>
                    <a:pt x="333560" y="324028"/>
                  </a:lnTo>
                  <a:lnTo>
                    <a:pt x="328796" y="314498"/>
                  </a:lnTo>
                  <a:lnTo>
                    <a:pt x="324028" y="304968"/>
                  </a:lnTo>
                  <a:lnTo>
                    <a:pt x="319264" y="300202"/>
                  </a:lnTo>
                  <a:lnTo>
                    <a:pt x="295440" y="295436"/>
                  </a:lnTo>
                  <a:lnTo>
                    <a:pt x="281144" y="285906"/>
                  </a:lnTo>
                  <a:lnTo>
                    <a:pt x="266848" y="271612"/>
                  </a:lnTo>
                  <a:lnTo>
                    <a:pt x="247788" y="262082"/>
                  </a:lnTo>
                  <a:lnTo>
                    <a:pt x="219196" y="243020"/>
                  </a:lnTo>
                  <a:lnTo>
                    <a:pt x="200136" y="238256"/>
                  </a:lnTo>
                  <a:lnTo>
                    <a:pt x="185840" y="228726"/>
                  </a:lnTo>
                  <a:lnTo>
                    <a:pt x="152484" y="195370"/>
                  </a:lnTo>
                  <a:lnTo>
                    <a:pt x="138188" y="190604"/>
                  </a:lnTo>
                  <a:lnTo>
                    <a:pt x="128660" y="176308"/>
                  </a:lnTo>
                  <a:lnTo>
                    <a:pt x="95304" y="138188"/>
                  </a:lnTo>
                  <a:lnTo>
                    <a:pt x="81008" y="123892"/>
                  </a:lnTo>
                  <a:lnTo>
                    <a:pt x="66712" y="114362"/>
                  </a:lnTo>
                  <a:lnTo>
                    <a:pt x="52416" y="95302"/>
                  </a:lnTo>
                  <a:lnTo>
                    <a:pt x="42888" y="81006"/>
                  </a:lnTo>
                  <a:lnTo>
                    <a:pt x="19060" y="52416"/>
                  </a:lnTo>
                  <a:lnTo>
                    <a:pt x="19060" y="42886"/>
                  </a:lnTo>
                  <a:lnTo>
                    <a:pt x="19060" y="33354"/>
                  </a:lnTo>
                  <a:lnTo>
                    <a:pt x="14296" y="23824"/>
                  </a:lnTo>
                  <a:lnTo>
                    <a:pt x="4768" y="19060"/>
                  </a:lnTo>
                  <a:lnTo>
                    <a:pt x="0" y="14294"/>
                  </a:lnTo>
                  <a:lnTo>
                    <a:pt x="0" y="476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9" name="Freeform 5845">
              <a:extLst>
                <a:ext uri="{FF2B5EF4-FFF2-40B4-BE49-F238E27FC236}">
                  <a16:creationId xmlns:a16="http://schemas.microsoft.com/office/drawing/2014/main" id="{9DAF2497-8CCA-445A-8E0E-3D217459F822}"/>
                </a:ext>
              </a:extLst>
            </p:cNvPr>
            <p:cNvSpPr/>
            <p:nvPr/>
          </p:nvSpPr>
          <p:spPr bwMode="auto">
            <a:xfrm>
              <a:off x="5302308" y="4798106"/>
              <a:ext cx="399314" cy="313747"/>
            </a:xfrm>
            <a:custGeom>
              <a:avLst/>
              <a:gdLst>
                <a:gd name="T0" fmla="*/ 922 w 1036"/>
                <a:gd name="T1" fmla="*/ 64 h 814"/>
                <a:gd name="T2" fmla="*/ 874 w 1036"/>
                <a:gd name="T3" fmla="*/ 24 h 814"/>
                <a:gd name="T4" fmla="*/ 706 w 1036"/>
                <a:gd name="T5" fmla="*/ 44 h 814"/>
                <a:gd name="T6" fmla="*/ 538 w 1036"/>
                <a:gd name="T7" fmla="*/ 152 h 814"/>
                <a:gd name="T8" fmla="*/ 448 w 1036"/>
                <a:gd name="T9" fmla="*/ 216 h 814"/>
                <a:gd name="T10" fmla="*/ 392 w 1036"/>
                <a:gd name="T11" fmla="*/ 266 h 814"/>
                <a:gd name="T12" fmla="*/ 318 w 1036"/>
                <a:gd name="T13" fmla="*/ 298 h 814"/>
                <a:gd name="T14" fmla="*/ 268 w 1036"/>
                <a:gd name="T15" fmla="*/ 376 h 814"/>
                <a:gd name="T16" fmla="*/ 264 w 1036"/>
                <a:gd name="T17" fmla="*/ 470 h 814"/>
                <a:gd name="T18" fmla="*/ 250 w 1036"/>
                <a:gd name="T19" fmla="*/ 522 h 814"/>
                <a:gd name="T20" fmla="*/ 244 w 1036"/>
                <a:gd name="T21" fmla="*/ 540 h 814"/>
                <a:gd name="T22" fmla="*/ 220 w 1036"/>
                <a:gd name="T23" fmla="*/ 560 h 814"/>
                <a:gd name="T24" fmla="*/ 188 w 1036"/>
                <a:gd name="T25" fmla="*/ 562 h 814"/>
                <a:gd name="T26" fmla="*/ 148 w 1036"/>
                <a:gd name="T27" fmla="*/ 570 h 814"/>
                <a:gd name="T28" fmla="*/ 76 w 1036"/>
                <a:gd name="T29" fmla="*/ 574 h 814"/>
                <a:gd name="T30" fmla="*/ 38 w 1036"/>
                <a:gd name="T31" fmla="*/ 594 h 814"/>
                <a:gd name="T32" fmla="*/ 4 w 1036"/>
                <a:gd name="T33" fmla="*/ 598 h 814"/>
                <a:gd name="T34" fmla="*/ 0 w 1036"/>
                <a:gd name="T35" fmla="*/ 626 h 814"/>
                <a:gd name="T36" fmla="*/ 14 w 1036"/>
                <a:gd name="T37" fmla="*/ 650 h 814"/>
                <a:gd name="T38" fmla="*/ 30 w 1036"/>
                <a:gd name="T39" fmla="*/ 680 h 814"/>
                <a:gd name="T40" fmla="*/ 46 w 1036"/>
                <a:gd name="T41" fmla="*/ 684 h 814"/>
                <a:gd name="T42" fmla="*/ 56 w 1036"/>
                <a:gd name="T43" fmla="*/ 696 h 814"/>
                <a:gd name="T44" fmla="*/ 60 w 1036"/>
                <a:gd name="T45" fmla="*/ 704 h 814"/>
                <a:gd name="T46" fmla="*/ 54 w 1036"/>
                <a:gd name="T47" fmla="*/ 724 h 814"/>
                <a:gd name="T48" fmla="*/ 88 w 1036"/>
                <a:gd name="T49" fmla="*/ 748 h 814"/>
                <a:gd name="T50" fmla="*/ 110 w 1036"/>
                <a:gd name="T51" fmla="*/ 752 h 814"/>
                <a:gd name="T52" fmla="*/ 128 w 1036"/>
                <a:gd name="T53" fmla="*/ 746 h 814"/>
                <a:gd name="T54" fmla="*/ 136 w 1036"/>
                <a:gd name="T55" fmla="*/ 766 h 814"/>
                <a:gd name="T56" fmla="*/ 126 w 1036"/>
                <a:gd name="T57" fmla="*/ 770 h 814"/>
                <a:gd name="T58" fmla="*/ 144 w 1036"/>
                <a:gd name="T59" fmla="*/ 798 h 814"/>
                <a:gd name="T60" fmla="*/ 146 w 1036"/>
                <a:gd name="T61" fmla="*/ 780 h 814"/>
                <a:gd name="T62" fmla="*/ 166 w 1036"/>
                <a:gd name="T63" fmla="*/ 774 h 814"/>
                <a:gd name="T64" fmla="*/ 178 w 1036"/>
                <a:gd name="T65" fmla="*/ 770 h 814"/>
                <a:gd name="T66" fmla="*/ 210 w 1036"/>
                <a:gd name="T67" fmla="*/ 802 h 814"/>
                <a:gd name="T68" fmla="*/ 230 w 1036"/>
                <a:gd name="T69" fmla="*/ 812 h 814"/>
                <a:gd name="T70" fmla="*/ 226 w 1036"/>
                <a:gd name="T71" fmla="*/ 802 h 814"/>
                <a:gd name="T72" fmla="*/ 228 w 1036"/>
                <a:gd name="T73" fmla="*/ 780 h 814"/>
                <a:gd name="T74" fmla="*/ 248 w 1036"/>
                <a:gd name="T75" fmla="*/ 742 h 814"/>
                <a:gd name="T76" fmla="*/ 264 w 1036"/>
                <a:gd name="T77" fmla="*/ 694 h 814"/>
                <a:gd name="T78" fmla="*/ 296 w 1036"/>
                <a:gd name="T79" fmla="*/ 678 h 814"/>
                <a:gd name="T80" fmla="*/ 334 w 1036"/>
                <a:gd name="T81" fmla="*/ 676 h 814"/>
                <a:gd name="T82" fmla="*/ 372 w 1036"/>
                <a:gd name="T83" fmla="*/ 676 h 814"/>
                <a:gd name="T84" fmla="*/ 408 w 1036"/>
                <a:gd name="T85" fmla="*/ 686 h 814"/>
                <a:gd name="T86" fmla="*/ 436 w 1036"/>
                <a:gd name="T87" fmla="*/ 720 h 814"/>
                <a:gd name="T88" fmla="*/ 452 w 1036"/>
                <a:gd name="T89" fmla="*/ 726 h 814"/>
                <a:gd name="T90" fmla="*/ 472 w 1036"/>
                <a:gd name="T91" fmla="*/ 720 h 814"/>
                <a:gd name="T92" fmla="*/ 520 w 1036"/>
                <a:gd name="T93" fmla="*/ 708 h 814"/>
                <a:gd name="T94" fmla="*/ 594 w 1036"/>
                <a:gd name="T95" fmla="*/ 740 h 814"/>
                <a:gd name="T96" fmla="*/ 658 w 1036"/>
                <a:gd name="T97" fmla="*/ 708 h 814"/>
                <a:gd name="T98" fmla="*/ 738 w 1036"/>
                <a:gd name="T99" fmla="*/ 704 h 814"/>
                <a:gd name="T100" fmla="*/ 784 w 1036"/>
                <a:gd name="T101" fmla="*/ 720 h 814"/>
                <a:gd name="T102" fmla="*/ 820 w 1036"/>
                <a:gd name="T103" fmla="*/ 704 h 814"/>
                <a:gd name="T104" fmla="*/ 854 w 1036"/>
                <a:gd name="T105" fmla="*/ 688 h 814"/>
                <a:gd name="T106" fmla="*/ 876 w 1036"/>
                <a:gd name="T107" fmla="*/ 650 h 814"/>
                <a:gd name="T108" fmla="*/ 896 w 1036"/>
                <a:gd name="T109" fmla="*/ 594 h 814"/>
                <a:gd name="T110" fmla="*/ 988 w 1036"/>
                <a:gd name="T111" fmla="*/ 480 h 814"/>
                <a:gd name="T112" fmla="*/ 1012 w 1036"/>
                <a:gd name="T113" fmla="*/ 364 h 814"/>
                <a:gd name="T114" fmla="*/ 1022 w 1036"/>
                <a:gd name="T115" fmla="*/ 254 h 814"/>
                <a:gd name="T116" fmla="*/ 1034 w 1036"/>
                <a:gd name="T117" fmla="*/ 220 h 814"/>
                <a:gd name="T118" fmla="*/ 1014 w 1036"/>
                <a:gd name="T119" fmla="*/ 180 h 814"/>
                <a:gd name="T120" fmla="*/ 986 w 1036"/>
                <a:gd name="T121" fmla="*/ 136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36" h="814">
                  <a:moveTo>
                    <a:pt x="972" y="36"/>
                  </a:moveTo>
                  <a:lnTo>
                    <a:pt x="944" y="52"/>
                  </a:lnTo>
                  <a:lnTo>
                    <a:pt x="924" y="64"/>
                  </a:lnTo>
                  <a:lnTo>
                    <a:pt x="922" y="64"/>
                  </a:lnTo>
                  <a:lnTo>
                    <a:pt x="920" y="64"/>
                  </a:lnTo>
                  <a:lnTo>
                    <a:pt x="898" y="44"/>
                  </a:lnTo>
                  <a:lnTo>
                    <a:pt x="882" y="28"/>
                  </a:lnTo>
                  <a:lnTo>
                    <a:pt x="874" y="24"/>
                  </a:lnTo>
                  <a:lnTo>
                    <a:pt x="808" y="8"/>
                  </a:lnTo>
                  <a:lnTo>
                    <a:pt x="774" y="0"/>
                  </a:lnTo>
                  <a:lnTo>
                    <a:pt x="740" y="22"/>
                  </a:lnTo>
                  <a:lnTo>
                    <a:pt x="706" y="44"/>
                  </a:lnTo>
                  <a:lnTo>
                    <a:pt x="672" y="64"/>
                  </a:lnTo>
                  <a:lnTo>
                    <a:pt x="604" y="108"/>
                  </a:lnTo>
                  <a:lnTo>
                    <a:pt x="572" y="130"/>
                  </a:lnTo>
                  <a:lnTo>
                    <a:pt x="538" y="152"/>
                  </a:lnTo>
                  <a:lnTo>
                    <a:pt x="504" y="172"/>
                  </a:lnTo>
                  <a:lnTo>
                    <a:pt x="480" y="186"/>
                  </a:lnTo>
                  <a:lnTo>
                    <a:pt x="466" y="200"/>
                  </a:lnTo>
                  <a:lnTo>
                    <a:pt x="448" y="216"/>
                  </a:lnTo>
                  <a:lnTo>
                    <a:pt x="432" y="230"/>
                  </a:lnTo>
                  <a:lnTo>
                    <a:pt x="418" y="242"/>
                  </a:lnTo>
                  <a:lnTo>
                    <a:pt x="400" y="258"/>
                  </a:lnTo>
                  <a:lnTo>
                    <a:pt x="392" y="266"/>
                  </a:lnTo>
                  <a:lnTo>
                    <a:pt x="372" y="284"/>
                  </a:lnTo>
                  <a:lnTo>
                    <a:pt x="366" y="288"/>
                  </a:lnTo>
                  <a:lnTo>
                    <a:pt x="342" y="292"/>
                  </a:lnTo>
                  <a:lnTo>
                    <a:pt x="318" y="298"/>
                  </a:lnTo>
                  <a:lnTo>
                    <a:pt x="296" y="302"/>
                  </a:lnTo>
                  <a:lnTo>
                    <a:pt x="282" y="304"/>
                  </a:lnTo>
                  <a:lnTo>
                    <a:pt x="268" y="308"/>
                  </a:lnTo>
                  <a:lnTo>
                    <a:pt x="268" y="376"/>
                  </a:lnTo>
                  <a:lnTo>
                    <a:pt x="268" y="398"/>
                  </a:lnTo>
                  <a:lnTo>
                    <a:pt x="268" y="456"/>
                  </a:lnTo>
                  <a:lnTo>
                    <a:pt x="266" y="458"/>
                  </a:lnTo>
                  <a:lnTo>
                    <a:pt x="264" y="470"/>
                  </a:lnTo>
                  <a:lnTo>
                    <a:pt x="264" y="484"/>
                  </a:lnTo>
                  <a:lnTo>
                    <a:pt x="260" y="500"/>
                  </a:lnTo>
                  <a:lnTo>
                    <a:pt x="254" y="510"/>
                  </a:lnTo>
                  <a:lnTo>
                    <a:pt x="250" y="522"/>
                  </a:lnTo>
                  <a:lnTo>
                    <a:pt x="248" y="528"/>
                  </a:lnTo>
                  <a:lnTo>
                    <a:pt x="246" y="530"/>
                  </a:lnTo>
                  <a:lnTo>
                    <a:pt x="246" y="534"/>
                  </a:lnTo>
                  <a:lnTo>
                    <a:pt x="244" y="540"/>
                  </a:lnTo>
                  <a:lnTo>
                    <a:pt x="242" y="544"/>
                  </a:lnTo>
                  <a:lnTo>
                    <a:pt x="240" y="546"/>
                  </a:lnTo>
                  <a:lnTo>
                    <a:pt x="234" y="548"/>
                  </a:lnTo>
                  <a:lnTo>
                    <a:pt x="220" y="560"/>
                  </a:lnTo>
                  <a:lnTo>
                    <a:pt x="220" y="568"/>
                  </a:lnTo>
                  <a:lnTo>
                    <a:pt x="206" y="566"/>
                  </a:lnTo>
                  <a:lnTo>
                    <a:pt x="190" y="562"/>
                  </a:lnTo>
                  <a:lnTo>
                    <a:pt x="188" y="562"/>
                  </a:lnTo>
                  <a:lnTo>
                    <a:pt x="188" y="564"/>
                  </a:lnTo>
                  <a:lnTo>
                    <a:pt x="186" y="568"/>
                  </a:lnTo>
                  <a:lnTo>
                    <a:pt x="166" y="570"/>
                  </a:lnTo>
                  <a:lnTo>
                    <a:pt x="148" y="570"/>
                  </a:lnTo>
                  <a:lnTo>
                    <a:pt x="128" y="570"/>
                  </a:lnTo>
                  <a:lnTo>
                    <a:pt x="112" y="572"/>
                  </a:lnTo>
                  <a:lnTo>
                    <a:pt x="94" y="572"/>
                  </a:lnTo>
                  <a:lnTo>
                    <a:pt x="76" y="574"/>
                  </a:lnTo>
                  <a:lnTo>
                    <a:pt x="64" y="584"/>
                  </a:lnTo>
                  <a:lnTo>
                    <a:pt x="54" y="592"/>
                  </a:lnTo>
                  <a:lnTo>
                    <a:pt x="52" y="594"/>
                  </a:lnTo>
                  <a:lnTo>
                    <a:pt x="38" y="594"/>
                  </a:lnTo>
                  <a:lnTo>
                    <a:pt x="18" y="594"/>
                  </a:lnTo>
                  <a:lnTo>
                    <a:pt x="8" y="594"/>
                  </a:lnTo>
                  <a:lnTo>
                    <a:pt x="6" y="594"/>
                  </a:lnTo>
                  <a:lnTo>
                    <a:pt x="4" y="598"/>
                  </a:lnTo>
                  <a:lnTo>
                    <a:pt x="4" y="602"/>
                  </a:lnTo>
                  <a:lnTo>
                    <a:pt x="4" y="606"/>
                  </a:lnTo>
                  <a:lnTo>
                    <a:pt x="2" y="616"/>
                  </a:lnTo>
                  <a:lnTo>
                    <a:pt x="0" y="626"/>
                  </a:lnTo>
                  <a:lnTo>
                    <a:pt x="6" y="632"/>
                  </a:lnTo>
                  <a:lnTo>
                    <a:pt x="14" y="640"/>
                  </a:lnTo>
                  <a:lnTo>
                    <a:pt x="16" y="642"/>
                  </a:lnTo>
                  <a:lnTo>
                    <a:pt x="14" y="650"/>
                  </a:lnTo>
                  <a:lnTo>
                    <a:pt x="14" y="654"/>
                  </a:lnTo>
                  <a:lnTo>
                    <a:pt x="18" y="662"/>
                  </a:lnTo>
                  <a:lnTo>
                    <a:pt x="24" y="670"/>
                  </a:lnTo>
                  <a:lnTo>
                    <a:pt x="30" y="680"/>
                  </a:lnTo>
                  <a:lnTo>
                    <a:pt x="34" y="680"/>
                  </a:lnTo>
                  <a:lnTo>
                    <a:pt x="40" y="682"/>
                  </a:lnTo>
                  <a:lnTo>
                    <a:pt x="42" y="684"/>
                  </a:lnTo>
                  <a:lnTo>
                    <a:pt x="46" y="684"/>
                  </a:lnTo>
                  <a:lnTo>
                    <a:pt x="48" y="686"/>
                  </a:lnTo>
                  <a:lnTo>
                    <a:pt x="52" y="688"/>
                  </a:lnTo>
                  <a:lnTo>
                    <a:pt x="54" y="690"/>
                  </a:lnTo>
                  <a:lnTo>
                    <a:pt x="56" y="696"/>
                  </a:lnTo>
                  <a:lnTo>
                    <a:pt x="64" y="698"/>
                  </a:lnTo>
                  <a:lnTo>
                    <a:pt x="68" y="702"/>
                  </a:lnTo>
                  <a:lnTo>
                    <a:pt x="66" y="704"/>
                  </a:lnTo>
                  <a:lnTo>
                    <a:pt x="60" y="704"/>
                  </a:lnTo>
                  <a:lnTo>
                    <a:pt x="54" y="702"/>
                  </a:lnTo>
                  <a:lnTo>
                    <a:pt x="54" y="704"/>
                  </a:lnTo>
                  <a:lnTo>
                    <a:pt x="54" y="716"/>
                  </a:lnTo>
                  <a:lnTo>
                    <a:pt x="54" y="724"/>
                  </a:lnTo>
                  <a:lnTo>
                    <a:pt x="56" y="726"/>
                  </a:lnTo>
                  <a:lnTo>
                    <a:pt x="62" y="726"/>
                  </a:lnTo>
                  <a:lnTo>
                    <a:pt x="76" y="738"/>
                  </a:lnTo>
                  <a:lnTo>
                    <a:pt x="88" y="748"/>
                  </a:lnTo>
                  <a:lnTo>
                    <a:pt x="92" y="752"/>
                  </a:lnTo>
                  <a:lnTo>
                    <a:pt x="100" y="752"/>
                  </a:lnTo>
                  <a:lnTo>
                    <a:pt x="108" y="752"/>
                  </a:lnTo>
                  <a:lnTo>
                    <a:pt x="110" y="752"/>
                  </a:lnTo>
                  <a:lnTo>
                    <a:pt x="118" y="746"/>
                  </a:lnTo>
                  <a:lnTo>
                    <a:pt x="122" y="746"/>
                  </a:lnTo>
                  <a:lnTo>
                    <a:pt x="126" y="746"/>
                  </a:lnTo>
                  <a:lnTo>
                    <a:pt x="128" y="746"/>
                  </a:lnTo>
                  <a:lnTo>
                    <a:pt x="132" y="752"/>
                  </a:lnTo>
                  <a:lnTo>
                    <a:pt x="136" y="758"/>
                  </a:lnTo>
                  <a:lnTo>
                    <a:pt x="136" y="762"/>
                  </a:lnTo>
                  <a:lnTo>
                    <a:pt x="136" y="766"/>
                  </a:lnTo>
                  <a:lnTo>
                    <a:pt x="134" y="766"/>
                  </a:lnTo>
                  <a:lnTo>
                    <a:pt x="128" y="768"/>
                  </a:lnTo>
                  <a:lnTo>
                    <a:pt x="126" y="768"/>
                  </a:lnTo>
                  <a:lnTo>
                    <a:pt x="126" y="770"/>
                  </a:lnTo>
                  <a:lnTo>
                    <a:pt x="126" y="774"/>
                  </a:lnTo>
                  <a:lnTo>
                    <a:pt x="128" y="776"/>
                  </a:lnTo>
                  <a:lnTo>
                    <a:pt x="134" y="784"/>
                  </a:lnTo>
                  <a:lnTo>
                    <a:pt x="144" y="798"/>
                  </a:lnTo>
                  <a:lnTo>
                    <a:pt x="146" y="800"/>
                  </a:lnTo>
                  <a:lnTo>
                    <a:pt x="148" y="794"/>
                  </a:lnTo>
                  <a:lnTo>
                    <a:pt x="146" y="782"/>
                  </a:lnTo>
                  <a:lnTo>
                    <a:pt x="146" y="780"/>
                  </a:lnTo>
                  <a:lnTo>
                    <a:pt x="152" y="776"/>
                  </a:lnTo>
                  <a:lnTo>
                    <a:pt x="160" y="774"/>
                  </a:lnTo>
                  <a:lnTo>
                    <a:pt x="164" y="774"/>
                  </a:lnTo>
                  <a:lnTo>
                    <a:pt x="166" y="774"/>
                  </a:lnTo>
                  <a:lnTo>
                    <a:pt x="170" y="770"/>
                  </a:lnTo>
                  <a:lnTo>
                    <a:pt x="174" y="768"/>
                  </a:lnTo>
                  <a:lnTo>
                    <a:pt x="178" y="768"/>
                  </a:lnTo>
                  <a:lnTo>
                    <a:pt x="178" y="770"/>
                  </a:lnTo>
                  <a:lnTo>
                    <a:pt x="196" y="786"/>
                  </a:lnTo>
                  <a:lnTo>
                    <a:pt x="204" y="794"/>
                  </a:lnTo>
                  <a:lnTo>
                    <a:pt x="206" y="798"/>
                  </a:lnTo>
                  <a:lnTo>
                    <a:pt x="210" y="802"/>
                  </a:lnTo>
                  <a:lnTo>
                    <a:pt x="216" y="804"/>
                  </a:lnTo>
                  <a:lnTo>
                    <a:pt x="222" y="808"/>
                  </a:lnTo>
                  <a:lnTo>
                    <a:pt x="226" y="814"/>
                  </a:lnTo>
                  <a:lnTo>
                    <a:pt x="230" y="812"/>
                  </a:lnTo>
                  <a:lnTo>
                    <a:pt x="230" y="810"/>
                  </a:lnTo>
                  <a:lnTo>
                    <a:pt x="230" y="808"/>
                  </a:lnTo>
                  <a:lnTo>
                    <a:pt x="228" y="806"/>
                  </a:lnTo>
                  <a:lnTo>
                    <a:pt x="226" y="802"/>
                  </a:lnTo>
                  <a:lnTo>
                    <a:pt x="228" y="800"/>
                  </a:lnTo>
                  <a:lnTo>
                    <a:pt x="228" y="796"/>
                  </a:lnTo>
                  <a:lnTo>
                    <a:pt x="228" y="790"/>
                  </a:lnTo>
                  <a:lnTo>
                    <a:pt x="228" y="780"/>
                  </a:lnTo>
                  <a:lnTo>
                    <a:pt x="228" y="766"/>
                  </a:lnTo>
                  <a:lnTo>
                    <a:pt x="230" y="758"/>
                  </a:lnTo>
                  <a:lnTo>
                    <a:pt x="238" y="752"/>
                  </a:lnTo>
                  <a:lnTo>
                    <a:pt x="248" y="742"/>
                  </a:lnTo>
                  <a:lnTo>
                    <a:pt x="254" y="732"/>
                  </a:lnTo>
                  <a:lnTo>
                    <a:pt x="258" y="724"/>
                  </a:lnTo>
                  <a:lnTo>
                    <a:pt x="262" y="696"/>
                  </a:lnTo>
                  <a:lnTo>
                    <a:pt x="264" y="694"/>
                  </a:lnTo>
                  <a:lnTo>
                    <a:pt x="268" y="694"/>
                  </a:lnTo>
                  <a:lnTo>
                    <a:pt x="280" y="684"/>
                  </a:lnTo>
                  <a:lnTo>
                    <a:pt x="290" y="680"/>
                  </a:lnTo>
                  <a:lnTo>
                    <a:pt x="296" y="678"/>
                  </a:lnTo>
                  <a:lnTo>
                    <a:pt x="306" y="676"/>
                  </a:lnTo>
                  <a:lnTo>
                    <a:pt x="312" y="676"/>
                  </a:lnTo>
                  <a:lnTo>
                    <a:pt x="324" y="676"/>
                  </a:lnTo>
                  <a:lnTo>
                    <a:pt x="334" y="676"/>
                  </a:lnTo>
                  <a:lnTo>
                    <a:pt x="342" y="670"/>
                  </a:lnTo>
                  <a:lnTo>
                    <a:pt x="346" y="668"/>
                  </a:lnTo>
                  <a:lnTo>
                    <a:pt x="350" y="668"/>
                  </a:lnTo>
                  <a:lnTo>
                    <a:pt x="372" y="676"/>
                  </a:lnTo>
                  <a:lnTo>
                    <a:pt x="396" y="682"/>
                  </a:lnTo>
                  <a:lnTo>
                    <a:pt x="400" y="682"/>
                  </a:lnTo>
                  <a:lnTo>
                    <a:pt x="402" y="682"/>
                  </a:lnTo>
                  <a:lnTo>
                    <a:pt x="408" y="686"/>
                  </a:lnTo>
                  <a:lnTo>
                    <a:pt x="418" y="694"/>
                  </a:lnTo>
                  <a:lnTo>
                    <a:pt x="422" y="700"/>
                  </a:lnTo>
                  <a:lnTo>
                    <a:pt x="424" y="702"/>
                  </a:lnTo>
                  <a:lnTo>
                    <a:pt x="436" y="720"/>
                  </a:lnTo>
                  <a:lnTo>
                    <a:pt x="440" y="724"/>
                  </a:lnTo>
                  <a:lnTo>
                    <a:pt x="444" y="726"/>
                  </a:lnTo>
                  <a:lnTo>
                    <a:pt x="450" y="728"/>
                  </a:lnTo>
                  <a:lnTo>
                    <a:pt x="452" y="726"/>
                  </a:lnTo>
                  <a:lnTo>
                    <a:pt x="456" y="726"/>
                  </a:lnTo>
                  <a:lnTo>
                    <a:pt x="460" y="720"/>
                  </a:lnTo>
                  <a:lnTo>
                    <a:pt x="466" y="720"/>
                  </a:lnTo>
                  <a:lnTo>
                    <a:pt x="472" y="720"/>
                  </a:lnTo>
                  <a:lnTo>
                    <a:pt x="500" y="704"/>
                  </a:lnTo>
                  <a:lnTo>
                    <a:pt x="504" y="704"/>
                  </a:lnTo>
                  <a:lnTo>
                    <a:pt x="512" y="706"/>
                  </a:lnTo>
                  <a:lnTo>
                    <a:pt x="520" y="708"/>
                  </a:lnTo>
                  <a:lnTo>
                    <a:pt x="544" y="724"/>
                  </a:lnTo>
                  <a:lnTo>
                    <a:pt x="564" y="734"/>
                  </a:lnTo>
                  <a:lnTo>
                    <a:pt x="578" y="736"/>
                  </a:lnTo>
                  <a:lnTo>
                    <a:pt x="594" y="740"/>
                  </a:lnTo>
                  <a:lnTo>
                    <a:pt x="620" y="740"/>
                  </a:lnTo>
                  <a:lnTo>
                    <a:pt x="640" y="718"/>
                  </a:lnTo>
                  <a:lnTo>
                    <a:pt x="648" y="712"/>
                  </a:lnTo>
                  <a:lnTo>
                    <a:pt x="658" y="708"/>
                  </a:lnTo>
                  <a:lnTo>
                    <a:pt x="660" y="708"/>
                  </a:lnTo>
                  <a:lnTo>
                    <a:pt x="676" y="704"/>
                  </a:lnTo>
                  <a:lnTo>
                    <a:pt x="708" y="702"/>
                  </a:lnTo>
                  <a:lnTo>
                    <a:pt x="738" y="704"/>
                  </a:lnTo>
                  <a:lnTo>
                    <a:pt x="744" y="704"/>
                  </a:lnTo>
                  <a:lnTo>
                    <a:pt x="756" y="706"/>
                  </a:lnTo>
                  <a:lnTo>
                    <a:pt x="776" y="714"/>
                  </a:lnTo>
                  <a:lnTo>
                    <a:pt x="784" y="720"/>
                  </a:lnTo>
                  <a:lnTo>
                    <a:pt x="798" y="722"/>
                  </a:lnTo>
                  <a:lnTo>
                    <a:pt x="808" y="720"/>
                  </a:lnTo>
                  <a:lnTo>
                    <a:pt x="810" y="714"/>
                  </a:lnTo>
                  <a:lnTo>
                    <a:pt x="820" y="704"/>
                  </a:lnTo>
                  <a:lnTo>
                    <a:pt x="826" y="702"/>
                  </a:lnTo>
                  <a:lnTo>
                    <a:pt x="834" y="696"/>
                  </a:lnTo>
                  <a:lnTo>
                    <a:pt x="846" y="690"/>
                  </a:lnTo>
                  <a:lnTo>
                    <a:pt x="854" y="688"/>
                  </a:lnTo>
                  <a:lnTo>
                    <a:pt x="864" y="682"/>
                  </a:lnTo>
                  <a:lnTo>
                    <a:pt x="870" y="680"/>
                  </a:lnTo>
                  <a:lnTo>
                    <a:pt x="882" y="680"/>
                  </a:lnTo>
                  <a:lnTo>
                    <a:pt x="876" y="650"/>
                  </a:lnTo>
                  <a:lnTo>
                    <a:pt x="872" y="634"/>
                  </a:lnTo>
                  <a:lnTo>
                    <a:pt x="876" y="628"/>
                  </a:lnTo>
                  <a:lnTo>
                    <a:pt x="884" y="616"/>
                  </a:lnTo>
                  <a:lnTo>
                    <a:pt x="896" y="594"/>
                  </a:lnTo>
                  <a:lnTo>
                    <a:pt x="920" y="558"/>
                  </a:lnTo>
                  <a:lnTo>
                    <a:pt x="932" y="540"/>
                  </a:lnTo>
                  <a:lnTo>
                    <a:pt x="956" y="514"/>
                  </a:lnTo>
                  <a:lnTo>
                    <a:pt x="988" y="480"/>
                  </a:lnTo>
                  <a:lnTo>
                    <a:pt x="1004" y="462"/>
                  </a:lnTo>
                  <a:lnTo>
                    <a:pt x="1008" y="428"/>
                  </a:lnTo>
                  <a:lnTo>
                    <a:pt x="1010" y="390"/>
                  </a:lnTo>
                  <a:lnTo>
                    <a:pt x="1012" y="364"/>
                  </a:lnTo>
                  <a:lnTo>
                    <a:pt x="1016" y="330"/>
                  </a:lnTo>
                  <a:lnTo>
                    <a:pt x="1018" y="304"/>
                  </a:lnTo>
                  <a:lnTo>
                    <a:pt x="1020" y="284"/>
                  </a:lnTo>
                  <a:lnTo>
                    <a:pt x="1022" y="254"/>
                  </a:lnTo>
                  <a:lnTo>
                    <a:pt x="1024" y="250"/>
                  </a:lnTo>
                  <a:lnTo>
                    <a:pt x="1036" y="226"/>
                  </a:lnTo>
                  <a:lnTo>
                    <a:pt x="1036" y="224"/>
                  </a:lnTo>
                  <a:lnTo>
                    <a:pt x="1034" y="220"/>
                  </a:lnTo>
                  <a:lnTo>
                    <a:pt x="1018" y="200"/>
                  </a:lnTo>
                  <a:lnTo>
                    <a:pt x="1012" y="196"/>
                  </a:lnTo>
                  <a:lnTo>
                    <a:pt x="1008" y="186"/>
                  </a:lnTo>
                  <a:lnTo>
                    <a:pt x="1014" y="180"/>
                  </a:lnTo>
                  <a:lnTo>
                    <a:pt x="992" y="148"/>
                  </a:lnTo>
                  <a:lnTo>
                    <a:pt x="988" y="146"/>
                  </a:lnTo>
                  <a:lnTo>
                    <a:pt x="986" y="142"/>
                  </a:lnTo>
                  <a:lnTo>
                    <a:pt x="986" y="136"/>
                  </a:lnTo>
                  <a:lnTo>
                    <a:pt x="984" y="112"/>
                  </a:lnTo>
                  <a:lnTo>
                    <a:pt x="980" y="78"/>
                  </a:lnTo>
                  <a:lnTo>
                    <a:pt x="972" y="3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0" name="Freeform 5849">
              <a:extLst>
                <a:ext uri="{FF2B5EF4-FFF2-40B4-BE49-F238E27FC236}">
                  <a16:creationId xmlns:a16="http://schemas.microsoft.com/office/drawing/2014/main" id="{7E07992E-71D5-4353-93E1-43E9F07770BA}"/>
                </a:ext>
              </a:extLst>
            </p:cNvPr>
            <p:cNvSpPr/>
            <p:nvPr/>
          </p:nvSpPr>
          <p:spPr bwMode="auto">
            <a:xfrm>
              <a:off x="9540973" y="6176048"/>
              <a:ext cx="1542" cy="2313"/>
            </a:xfrm>
            <a:custGeom>
              <a:avLst/>
              <a:gdLst>
                <a:gd name="T0" fmla="*/ 2 w 4"/>
                <a:gd name="T1" fmla="*/ 0 h 6"/>
                <a:gd name="T2" fmla="*/ 0 w 4"/>
                <a:gd name="T3" fmla="*/ 0 h 6"/>
                <a:gd name="T4" fmla="*/ 0 w 4"/>
                <a:gd name="T5" fmla="*/ 0 h 6"/>
                <a:gd name="T6" fmla="*/ 0 w 4"/>
                <a:gd name="T7" fmla="*/ 0 h 6"/>
                <a:gd name="T8" fmla="*/ 0 w 4"/>
                <a:gd name="T9" fmla="*/ 0 h 6"/>
                <a:gd name="T10" fmla="*/ 0 w 4"/>
                <a:gd name="T11" fmla="*/ 2 h 6"/>
                <a:gd name="T12" fmla="*/ 0 w 4"/>
                <a:gd name="T13" fmla="*/ 2 h 6"/>
                <a:gd name="T14" fmla="*/ 0 w 4"/>
                <a:gd name="T15" fmla="*/ 2 h 6"/>
                <a:gd name="T16" fmla="*/ 0 w 4"/>
                <a:gd name="T17" fmla="*/ 4 h 6"/>
                <a:gd name="T18" fmla="*/ 0 w 4"/>
                <a:gd name="T19" fmla="*/ 4 h 6"/>
                <a:gd name="T20" fmla="*/ 0 w 4"/>
                <a:gd name="T21" fmla="*/ 4 h 6"/>
                <a:gd name="T22" fmla="*/ 0 w 4"/>
                <a:gd name="T23" fmla="*/ 4 h 6"/>
                <a:gd name="T24" fmla="*/ 2 w 4"/>
                <a:gd name="T25" fmla="*/ 4 h 6"/>
                <a:gd name="T26" fmla="*/ 2 w 4"/>
                <a:gd name="T27" fmla="*/ 4 h 6"/>
                <a:gd name="T28" fmla="*/ 2 w 4"/>
                <a:gd name="T29" fmla="*/ 4 h 6"/>
                <a:gd name="T30" fmla="*/ 4 w 4"/>
                <a:gd name="T31" fmla="*/ 6 h 6"/>
                <a:gd name="T32" fmla="*/ 4 w 4"/>
                <a:gd name="T33" fmla="*/ 4 h 6"/>
                <a:gd name="T34" fmla="*/ 4 w 4"/>
                <a:gd name="T35" fmla="*/ 4 h 6"/>
                <a:gd name="T36" fmla="*/ 4 w 4"/>
                <a:gd name="T37" fmla="*/ 4 h 6"/>
                <a:gd name="T38" fmla="*/ 4 w 4"/>
                <a:gd name="T39" fmla="*/ 4 h 6"/>
                <a:gd name="T40" fmla="*/ 4 w 4"/>
                <a:gd name="T41" fmla="*/ 2 h 6"/>
                <a:gd name="T42" fmla="*/ 4 w 4"/>
                <a:gd name="T43" fmla="*/ 2 h 6"/>
                <a:gd name="T44" fmla="*/ 4 w 4"/>
                <a:gd name="T45" fmla="*/ 2 h 6"/>
                <a:gd name="T46" fmla="*/ 4 w 4"/>
                <a:gd name="T47" fmla="*/ 0 h 6"/>
                <a:gd name="T48" fmla="*/ 2 w 4"/>
                <a:gd name="T4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6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1" name="Line 5850">
              <a:extLst>
                <a:ext uri="{FF2B5EF4-FFF2-40B4-BE49-F238E27FC236}">
                  <a16:creationId xmlns:a16="http://schemas.microsoft.com/office/drawing/2014/main" id="{2A2BCE89-6C8F-406B-9228-33C135529E9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541744" y="6176048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2" name="Freeform 5851">
              <a:extLst>
                <a:ext uri="{FF2B5EF4-FFF2-40B4-BE49-F238E27FC236}">
                  <a16:creationId xmlns:a16="http://schemas.microsoft.com/office/drawing/2014/main" id="{FD3B17E1-5F86-4A51-A82B-2D82EA47D58C}"/>
                </a:ext>
              </a:extLst>
            </p:cNvPr>
            <p:cNvSpPr/>
            <p:nvPr/>
          </p:nvSpPr>
          <p:spPr bwMode="auto">
            <a:xfrm>
              <a:off x="9540973" y="6176048"/>
              <a:ext cx="1542" cy="2313"/>
            </a:xfrm>
            <a:custGeom>
              <a:avLst/>
              <a:gdLst>
                <a:gd name="T0" fmla="*/ 2 w 4"/>
                <a:gd name="T1" fmla="*/ 0 h 6"/>
                <a:gd name="T2" fmla="*/ 0 w 4"/>
                <a:gd name="T3" fmla="*/ 0 h 6"/>
                <a:gd name="T4" fmla="*/ 0 w 4"/>
                <a:gd name="T5" fmla="*/ 0 h 6"/>
                <a:gd name="T6" fmla="*/ 0 w 4"/>
                <a:gd name="T7" fmla="*/ 0 h 6"/>
                <a:gd name="T8" fmla="*/ 0 w 4"/>
                <a:gd name="T9" fmla="*/ 0 h 6"/>
                <a:gd name="T10" fmla="*/ 0 w 4"/>
                <a:gd name="T11" fmla="*/ 2 h 6"/>
                <a:gd name="T12" fmla="*/ 0 w 4"/>
                <a:gd name="T13" fmla="*/ 2 h 6"/>
                <a:gd name="T14" fmla="*/ 0 w 4"/>
                <a:gd name="T15" fmla="*/ 2 h 6"/>
                <a:gd name="T16" fmla="*/ 0 w 4"/>
                <a:gd name="T17" fmla="*/ 4 h 6"/>
                <a:gd name="T18" fmla="*/ 0 w 4"/>
                <a:gd name="T19" fmla="*/ 4 h 6"/>
                <a:gd name="T20" fmla="*/ 0 w 4"/>
                <a:gd name="T21" fmla="*/ 4 h 6"/>
                <a:gd name="T22" fmla="*/ 0 w 4"/>
                <a:gd name="T23" fmla="*/ 4 h 6"/>
                <a:gd name="T24" fmla="*/ 2 w 4"/>
                <a:gd name="T25" fmla="*/ 4 h 6"/>
                <a:gd name="T26" fmla="*/ 2 w 4"/>
                <a:gd name="T27" fmla="*/ 4 h 6"/>
                <a:gd name="T28" fmla="*/ 2 w 4"/>
                <a:gd name="T29" fmla="*/ 4 h 6"/>
                <a:gd name="T30" fmla="*/ 4 w 4"/>
                <a:gd name="T31" fmla="*/ 6 h 6"/>
                <a:gd name="T32" fmla="*/ 4 w 4"/>
                <a:gd name="T33" fmla="*/ 6 h 6"/>
                <a:gd name="T34" fmla="*/ 4 w 4"/>
                <a:gd name="T35" fmla="*/ 6 h 6"/>
                <a:gd name="T36" fmla="*/ 4 w 4"/>
                <a:gd name="T37" fmla="*/ 4 h 6"/>
                <a:gd name="T38" fmla="*/ 4 w 4"/>
                <a:gd name="T39" fmla="*/ 4 h 6"/>
                <a:gd name="T40" fmla="*/ 4 w 4"/>
                <a:gd name="T41" fmla="*/ 2 h 6"/>
                <a:gd name="T42" fmla="*/ 4 w 4"/>
                <a:gd name="T43" fmla="*/ 2 h 6"/>
                <a:gd name="T44" fmla="*/ 4 w 4"/>
                <a:gd name="T45" fmla="*/ 2 h 6"/>
                <a:gd name="T46" fmla="*/ 4 w 4"/>
                <a:gd name="T47" fmla="*/ 0 h 6"/>
                <a:gd name="T48" fmla="*/ 2 w 4"/>
                <a:gd name="T4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2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3" name="Freeform 251">
              <a:extLst>
                <a:ext uri="{FF2B5EF4-FFF2-40B4-BE49-F238E27FC236}">
                  <a16:creationId xmlns:a16="http://schemas.microsoft.com/office/drawing/2014/main" id="{DF255DCA-2782-4DB1-BC6A-1330ADDEB3E9}"/>
                </a:ext>
              </a:extLst>
            </p:cNvPr>
            <p:cNvSpPr/>
            <p:nvPr/>
          </p:nvSpPr>
          <p:spPr bwMode="auto">
            <a:xfrm>
              <a:off x="5366291" y="5055579"/>
              <a:ext cx="302183" cy="245910"/>
            </a:xfrm>
            <a:custGeom>
              <a:avLst/>
              <a:gdLst>
                <a:gd name="connsiteX0" fmla="*/ 710002 w 1867928"/>
                <a:gd name="connsiteY0" fmla="*/ 1481954 h 1520076"/>
                <a:gd name="connsiteX1" fmla="*/ 714768 w 1867928"/>
                <a:gd name="connsiteY1" fmla="*/ 1486720 h 1520076"/>
                <a:gd name="connsiteX2" fmla="*/ 724298 w 1867928"/>
                <a:gd name="connsiteY2" fmla="*/ 1486720 h 1520076"/>
                <a:gd name="connsiteX3" fmla="*/ 719532 w 1867928"/>
                <a:gd name="connsiteY3" fmla="*/ 1496250 h 1520076"/>
                <a:gd name="connsiteX4" fmla="*/ 705238 w 1867928"/>
                <a:gd name="connsiteY4" fmla="*/ 1501016 h 1520076"/>
                <a:gd name="connsiteX5" fmla="*/ 695708 w 1867928"/>
                <a:gd name="connsiteY5" fmla="*/ 1501016 h 1520076"/>
                <a:gd name="connsiteX6" fmla="*/ 428860 w 1867928"/>
                <a:gd name="connsiteY6" fmla="*/ 0 h 1520076"/>
                <a:gd name="connsiteX7" fmla="*/ 438390 w 1867928"/>
                <a:gd name="connsiteY7" fmla="*/ 0 h 1520076"/>
                <a:gd name="connsiteX8" fmla="*/ 490808 w 1867928"/>
                <a:gd name="connsiteY8" fmla="*/ 19060 h 1520076"/>
                <a:gd name="connsiteX9" fmla="*/ 547988 w 1867928"/>
                <a:gd name="connsiteY9" fmla="*/ 33356 h 1520076"/>
                <a:gd name="connsiteX10" fmla="*/ 557518 w 1867928"/>
                <a:gd name="connsiteY10" fmla="*/ 33356 h 1520076"/>
                <a:gd name="connsiteX11" fmla="*/ 562284 w 1867928"/>
                <a:gd name="connsiteY11" fmla="*/ 33356 h 1520076"/>
                <a:gd name="connsiteX12" fmla="*/ 576580 w 1867928"/>
                <a:gd name="connsiteY12" fmla="*/ 42886 h 1520076"/>
                <a:gd name="connsiteX13" fmla="*/ 600406 w 1867928"/>
                <a:gd name="connsiteY13" fmla="*/ 61946 h 1520076"/>
                <a:gd name="connsiteX14" fmla="*/ 609936 w 1867928"/>
                <a:gd name="connsiteY14" fmla="*/ 76242 h 1520076"/>
                <a:gd name="connsiteX15" fmla="*/ 614700 w 1867928"/>
                <a:gd name="connsiteY15" fmla="*/ 81008 h 1520076"/>
                <a:gd name="connsiteX16" fmla="*/ 643292 w 1867928"/>
                <a:gd name="connsiteY16" fmla="*/ 123894 h 1520076"/>
                <a:gd name="connsiteX17" fmla="*/ 652822 w 1867928"/>
                <a:gd name="connsiteY17" fmla="*/ 133424 h 1520076"/>
                <a:gd name="connsiteX18" fmla="*/ 662352 w 1867928"/>
                <a:gd name="connsiteY18" fmla="*/ 138188 h 1520076"/>
                <a:gd name="connsiteX19" fmla="*/ 676648 w 1867928"/>
                <a:gd name="connsiteY19" fmla="*/ 142954 h 1520076"/>
                <a:gd name="connsiteX20" fmla="*/ 681412 w 1867928"/>
                <a:gd name="connsiteY20" fmla="*/ 138188 h 1520076"/>
                <a:gd name="connsiteX21" fmla="*/ 690942 w 1867928"/>
                <a:gd name="connsiteY21" fmla="*/ 138188 h 1520076"/>
                <a:gd name="connsiteX22" fmla="*/ 700472 w 1867928"/>
                <a:gd name="connsiteY22" fmla="*/ 123894 h 1520076"/>
                <a:gd name="connsiteX23" fmla="*/ 714768 w 1867928"/>
                <a:gd name="connsiteY23" fmla="*/ 123894 h 1520076"/>
                <a:gd name="connsiteX24" fmla="*/ 729064 w 1867928"/>
                <a:gd name="connsiteY24" fmla="*/ 123894 h 1520076"/>
                <a:gd name="connsiteX25" fmla="*/ 795776 w 1867928"/>
                <a:gd name="connsiteY25" fmla="*/ 85772 h 1520076"/>
                <a:gd name="connsiteX26" fmla="*/ 805306 w 1867928"/>
                <a:gd name="connsiteY26" fmla="*/ 85772 h 1520076"/>
                <a:gd name="connsiteX27" fmla="*/ 824366 w 1867928"/>
                <a:gd name="connsiteY27" fmla="*/ 90538 h 1520076"/>
                <a:gd name="connsiteX28" fmla="*/ 843426 w 1867928"/>
                <a:gd name="connsiteY28" fmla="*/ 95302 h 1520076"/>
                <a:gd name="connsiteX29" fmla="*/ 900608 w 1867928"/>
                <a:gd name="connsiteY29" fmla="*/ 133424 h 1520076"/>
                <a:gd name="connsiteX30" fmla="*/ 948260 w 1867928"/>
                <a:gd name="connsiteY30" fmla="*/ 157250 h 1520076"/>
                <a:gd name="connsiteX31" fmla="*/ 981616 w 1867928"/>
                <a:gd name="connsiteY31" fmla="*/ 162014 h 1520076"/>
                <a:gd name="connsiteX32" fmla="*/ 1019736 w 1867928"/>
                <a:gd name="connsiteY32" fmla="*/ 171544 h 1520076"/>
                <a:gd name="connsiteX33" fmla="*/ 1081684 w 1867928"/>
                <a:gd name="connsiteY33" fmla="*/ 171544 h 1520076"/>
                <a:gd name="connsiteX34" fmla="*/ 1129334 w 1867928"/>
                <a:gd name="connsiteY34" fmla="*/ 119128 h 1520076"/>
                <a:gd name="connsiteX35" fmla="*/ 1148394 w 1867928"/>
                <a:gd name="connsiteY35" fmla="*/ 104832 h 1520076"/>
                <a:gd name="connsiteX36" fmla="*/ 1172220 w 1867928"/>
                <a:gd name="connsiteY36" fmla="*/ 95302 h 1520076"/>
                <a:gd name="connsiteX37" fmla="*/ 1176986 w 1867928"/>
                <a:gd name="connsiteY37" fmla="*/ 95302 h 1520076"/>
                <a:gd name="connsiteX38" fmla="*/ 1215106 w 1867928"/>
                <a:gd name="connsiteY38" fmla="*/ 85772 h 1520076"/>
                <a:gd name="connsiteX39" fmla="*/ 1291348 w 1867928"/>
                <a:gd name="connsiteY39" fmla="*/ 81008 h 1520076"/>
                <a:gd name="connsiteX40" fmla="*/ 1362826 w 1867928"/>
                <a:gd name="connsiteY40" fmla="*/ 85772 h 1520076"/>
                <a:gd name="connsiteX41" fmla="*/ 1377120 w 1867928"/>
                <a:gd name="connsiteY41" fmla="*/ 85772 h 1520076"/>
                <a:gd name="connsiteX42" fmla="*/ 1405712 w 1867928"/>
                <a:gd name="connsiteY42" fmla="*/ 90538 h 1520076"/>
                <a:gd name="connsiteX43" fmla="*/ 1453362 w 1867928"/>
                <a:gd name="connsiteY43" fmla="*/ 109598 h 1520076"/>
                <a:gd name="connsiteX44" fmla="*/ 1472424 w 1867928"/>
                <a:gd name="connsiteY44" fmla="*/ 123894 h 1520076"/>
                <a:gd name="connsiteX45" fmla="*/ 1505780 w 1867928"/>
                <a:gd name="connsiteY45" fmla="*/ 128658 h 1520076"/>
                <a:gd name="connsiteX46" fmla="*/ 1529604 w 1867928"/>
                <a:gd name="connsiteY46" fmla="*/ 123894 h 1520076"/>
                <a:gd name="connsiteX47" fmla="*/ 1534370 w 1867928"/>
                <a:gd name="connsiteY47" fmla="*/ 109598 h 1520076"/>
                <a:gd name="connsiteX48" fmla="*/ 1558196 w 1867928"/>
                <a:gd name="connsiteY48" fmla="*/ 85772 h 1520076"/>
                <a:gd name="connsiteX49" fmla="*/ 1572492 w 1867928"/>
                <a:gd name="connsiteY49" fmla="*/ 81008 h 1520076"/>
                <a:gd name="connsiteX50" fmla="*/ 1591552 w 1867928"/>
                <a:gd name="connsiteY50" fmla="*/ 66712 h 1520076"/>
                <a:gd name="connsiteX51" fmla="*/ 1620142 w 1867928"/>
                <a:gd name="connsiteY51" fmla="*/ 52416 h 1520076"/>
                <a:gd name="connsiteX52" fmla="*/ 1639202 w 1867928"/>
                <a:gd name="connsiteY52" fmla="*/ 47652 h 1520076"/>
                <a:gd name="connsiteX53" fmla="*/ 1663028 w 1867928"/>
                <a:gd name="connsiteY53" fmla="*/ 33356 h 1520076"/>
                <a:gd name="connsiteX54" fmla="*/ 1677324 w 1867928"/>
                <a:gd name="connsiteY54" fmla="*/ 28590 h 1520076"/>
                <a:gd name="connsiteX55" fmla="*/ 1705914 w 1867928"/>
                <a:gd name="connsiteY55" fmla="*/ 28590 h 1520076"/>
                <a:gd name="connsiteX56" fmla="*/ 1729740 w 1867928"/>
                <a:gd name="connsiteY56" fmla="*/ 61946 h 1520076"/>
                <a:gd name="connsiteX57" fmla="*/ 1758332 w 1867928"/>
                <a:gd name="connsiteY57" fmla="*/ 100068 h 1520076"/>
                <a:gd name="connsiteX58" fmla="*/ 1777392 w 1867928"/>
                <a:gd name="connsiteY58" fmla="*/ 128658 h 1520076"/>
                <a:gd name="connsiteX59" fmla="*/ 1791688 w 1867928"/>
                <a:gd name="connsiteY59" fmla="*/ 200136 h 1520076"/>
                <a:gd name="connsiteX60" fmla="*/ 1796452 w 1867928"/>
                <a:gd name="connsiteY60" fmla="*/ 214430 h 1520076"/>
                <a:gd name="connsiteX61" fmla="*/ 1796452 w 1867928"/>
                <a:gd name="connsiteY61" fmla="*/ 223960 h 1520076"/>
                <a:gd name="connsiteX62" fmla="*/ 1796452 w 1867928"/>
                <a:gd name="connsiteY62" fmla="*/ 228726 h 1520076"/>
                <a:gd name="connsiteX63" fmla="*/ 1796452 w 1867928"/>
                <a:gd name="connsiteY63" fmla="*/ 238256 h 1520076"/>
                <a:gd name="connsiteX64" fmla="*/ 1810748 w 1867928"/>
                <a:gd name="connsiteY64" fmla="*/ 243022 h 1520076"/>
                <a:gd name="connsiteX65" fmla="*/ 1834574 w 1867928"/>
                <a:gd name="connsiteY65" fmla="*/ 243022 h 1520076"/>
                <a:gd name="connsiteX66" fmla="*/ 1848868 w 1867928"/>
                <a:gd name="connsiteY66" fmla="*/ 252552 h 1520076"/>
                <a:gd name="connsiteX67" fmla="*/ 1858398 w 1867928"/>
                <a:gd name="connsiteY67" fmla="*/ 266848 h 1520076"/>
                <a:gd name="connsiteX68" fmla="*/ 1863164 w 1867928"/>
                <a:gd name="connsiteY68" fmla="*/ 276378 h 1520076"/>
                <a:gd name="connsiteX69" fmla="*/ 1867928 w 1867928"/>
                <a:gd name="connsiteY69" fmla="*/ 281142 h 1520076"/>
                <a:gd name="connsiteX70" fmla="*/ 1863164 w 1867928"/>
                <a:gd name="connsiteY70" fmla="*/ 300202 h 1520076"/>
                <a:gd name="connsiteX71" fmla="*/ 1863164 w 1867928"/>
                <a:gd name="connsiteY71" fmla="*/ 328794 h 1520076"/>
                <a:gd name="connsiteX72" fmla="*/ 1853634 w 1867928"/>
                <a:gd name="connsiteY72" fmla="*/ 343090 h 1520076"/>
                <a:gd name="connsiteX73" fmla="*/ 1858398 w 1867928"/>
                <a:gd name="connsiteY73" fmla="*/ 366914 h 1520076"/>
                <a:gd name="connsiteX74" fmla="*/ 1858398 w 1867928"/>
                <a:gd name="connsiteY74" fmla="*/ 376444 h 1520076"/>
                <a:gd name="connsiteX75" fmla="*/ 1853634 w 1867928"/>
                <a:gd name="connsiteY75" fmla="*/ 381210 h 1520076"/>
                <a:gd name="connsiteX76" fmla="*/ 1844104 w 1867928"/>
                <a:gd name="connsiteY76" fmla="*/ 390740 h 1520076"/>
                <a:gd name="connsiteX77" fmla="*/ 1829808 w 1867928"/>
                <a:gd name="connsiteY77" fmla="*/ 395506 h 1520076"/>
                <a:gd name="connsiteX78" fmla="*/ 1801218 w 1867928"/>
                <a:gd name="connsiteY78" fmla="*/ 414566 h 1520076"/>
                <a:gd name="connsiteX79" fmla="*/ 1791688 w 1867928"/>
                <a:gd name="connsiteY79" fmla="*/ 419332 h 1520076"/>
                <a:gd name="connsiteX80" fmla="*/ 1777392 w 1867928"/>
                <a:gd name="connsiteY80" fmla="*/ 419332 h 1520076"/>
                <a:gd name="connsiteX81" fmla="*/ 1763096 w 1867928"/>
                <a:gd name="connsiteY81" fmla="*/ 424096 h 1520076"/>
                <a:gd name="connsiteX82" fmla="*/ 1748800 w 1867928"/>
                <a:gd name="connsiteY82" fmla="*/ 438392 h 1520076"/>
                <a:gd name="connsiteX83" fmla="*/ 1720210 w 1867928"/>
                <a:gd name="connsiteY83" fmla="*/ 481278 h 1520076"/>
                <a:gd name="connsiteX84" fmla="*/ 1696384 w 1867928"/>
                <a:gd name="connsiteY84" fmla="*/ 524164 h 1520076"/>
                <a:gd name="connsiteX85" fmla="*/ 1686854 w 1867928"/>
                <a:gd name="connsiteY85" fmla="*/ 557520 h 1520076"/>
                <a:gd name="connsiteX86" fmla="*/ 1677324 w 1867928"/>
                <a:gd name="connsiteY86" fmla="*/ 590876 h 1520076"/>
                <a:gd name="connsiteX87" fmla="*/ 1653498 w 1867928"/>
                <a:gd name="connsiteY87" fmla="*/ 614702 h 1520076"/>
                <a:gd name="connsiteX88" fmla="*/ 1648734 w 1867928"/>
                <a:gd name="connsiteY88" fmla="*/ 624232 h 1520076"/>
                <a:gd name="connsiteX89" fmla="*/ 1648734 w 1867928"/>
                <a:gd name="connsiteY89" fmla="*/ 633762 h 1520076"/>
                <a:gd name="connsiteX90" fmla="*/ 1648734 w 1867928"/>
                <a:gd name="connsiteY90" fmla="*/ 648058 h 1520076"/>
                <a:gd name="connsiteX91" fmla="*/ 1643968 w 1867928"/>
                <a:gd name="connsiteY91" fmla="*/ 676648 h 1520076"/>
                <a:gd name="connsiteX92" fmla="*/ 1643968 w 1867928"/>
                <a:gd name="connsiteY92" fmla="*/ 686178 h 1520076"/>
                <a:gd name="connsiteX93" fmla="*/ 1639202 w 1867928"/>
                <a:gd name="connsiteY93" fmla="*/ 690944 h 1520076"/>
                <a:gd name="connsiteX94" fmla="*/ 1615378 w 1867928"/>
                <a:gd name="connsiteY94" fmla="*/ 700474 h 1520076"/>
                <a:gd name="connsiteX95" fmla="*/ 1601082 w 1867928"/>
                <a:gd name="connsiteY95" fmla="*/ 710004 h 1520076"/>
                <a:gd name="connsiteX96" fmla="*/ 1591552 w 1867928"/>
                <a:gd name="connsiteY96" fmla="*/ 729064 h 1520076"/>
                <a:gd name="connsiteX97" fmla="*/ 1586786 w 1867928"/>
                <a:gd name="connsiteY97" fmla="*/ 748124 h 1520076"/>
                <a:gd name="connsiteX98" fmla="*/ 1582022 w 1867928"/>
                <a:gd name="connsiteY98" fmla="*/ 771950 h 1520076"/>
                <a:gd name="connsiteX99" fmla="*/ 1582022 w 1867928"/>
                <a:gd name="connsiteY99" fmla="*/ 795776 h 1520076"/>
                <a:gd name="connsiteX100" fmla="*/ 1577256 w 1867928"/>
                <a:gd name="connsiteY100" fmla="*/ 805306 h 1520076"/>
                <a:gd name="connsiteX101" fmla="*/ 1567726 w 1867928"/>
                <a:gd name="connsiteY101" fmla="*/ 814836 h 1520076"/>
                <a:gd name="connsiteX102" fmla="*/ 1558196 w 1867928"/>
                <a:gd name="connsiteY102" fmla="*/ 829132 h 1520076"/>
                <a:gd name="connsiteX103" fmla="*/ 1543900 w 1867928"/>
                <a:gd name="connsiteY103" fmla="*/ 838662 h 1520076"/>
                <a:gd name="connsiteX104" fmla="*/ 1520074 w 1867928"/>
                <a:gd name="connsiteY104" fmla="*/ 838662 h 1520076"/>
                <a:gd name="connsiteX105" fmla="*/ 1505780 w 1867928"/>
                <a:gd name="connsiteY105" fmla="*/ 867252 h 1520076"/>
                <a:gd name="connsiteX106" fmla="*/ 1491484 w 1867928"/>
                <a:gd name="connsiteY106" fmla="*/ 891078 h 1520076"/>
                <a:gd name="connsiteX107" fmla="*/ 1491484 w 1867928"/>
                <a:gd name="connsiteY107" fmla="*/ 900608 h 1520076"/>
                <a:gd name="connsiteX108" fmla="*/ 1477188 w 1867928"/>
                <a:gd name="connsiteY108" fmla="*/ 943494 h 1520076"/>
                <a:gd name="connsiteX109" fmla="*/ 1458128 w 1867928"/>
                <a:gd name="connsiteY109" fmla="*/ 976850 h 1520076"/>
                <a:gd name="connsiteX110" fmla="*/ 1458128 w 1867928"/>
                <a:gd name="connsiteY110" fmla="*/ 991146 h 1520076"/>
                <a:gd name="connsiteX111" fmla="*/ 1458128 w 1867928"/>
                <a:gd name="connsiteY111" fmla="*/ 1000676 h 1520076"/>
                <a:gd name="connsiteX112" fmla="*/ 1434302 w 1867928"/>
                <a:gd name="connsiteY112" fmla="*/ 1029268 h 1520076"/>
                <a:gd name="connsiteX113" fmla="*/ 1424772 w 1867928"/>
                <a:gd name="connsiteY113" fmla="*/ 1038798 h 1520076"/>
                <a:gd name="connsiteX114" fmla="*/ 1420008 w 1867928"/>
                <a:gd name="connsiteY114" fmla="*/ 1048328 h 1520076"/>
                <a:gd name="connsiteX115" fmla="*/ 1424772 w 1867928"/>
                <a:gd name="connsiteY115" fmla="*/ 1062624 h 1520076"/>
                <a:gd name="connsiteX116" fmla="*/ 1434302 w 1867928"/>
                <a:gd name="connsiteY116" fmla="*/ 1072154 h 1520076"/>
                <a:gd name="connsiteX117" fmla="*/ 1420008 w 1867928"/>
                <a:gd name="connsiteY117" fmla="*/ 1081684 h 1520076"/>
                <a:gd name="connsiteX118" fmla="*/ 1400946 w 1867928"/>
                <a:gd name="connsiteY118" fmla="*/ 1100744 h 1520076"/>
                <a:gd name="connsiteX119" fmla="*/ 1391416 w 1867928"/>
                <a:gd name="connsiteY119" fmla="*/ 1110274 h 1520076"/>
                <a:gd name="connsiteX120" fmla="*/ 1386652 w 1867928"/>
                <a:gd name="connsiteY120" fmla="*/ 1115040 h 1520076"/>
                <a:gd name="connsiteX121" fmla="*/ 1386652 w 1867928"/>
                <a:gd name="connsiteY121" fmla="*/ 1138864 h 1520076"/>
                <a:gd name="connsiteX122" fmla="*/ 1381886 w 1867928"/>
                <a:gd name="connsiteY122" fmla="*/ 1148396 h 1520076"/>
                <a:gd name="connsiteX123" fmla="*/ 1372356 w 1867928"/>
                <a:gd name="connsiteY123" fmla="*/ 1157926 h 1520076"/>
                <a:gd name="connsiteX124" fmla="*/ 1362826 w 1867928"/>
                <a:gd name="connsiteY124" fmla="*/ 1167456 h 1520076"/>
                <a:gd name="connsiteX125" fmla="*/ 1348530 w 1867928"/>
                <a:gd name="connsiteY125" fmla="*/ 1172220 h 1520076"/>
                <a:gd name="connsiteX126" fmla="*/ 1334234 w 1867928"/>
                <a:gd name="connsiteY126" fmla="*/ 1176986 h 1520076"/>
                <a:gd name="connsiteX127" fmla="*/ 1324704 w 1867928"/>
                <a:gd name="connsiteY127" fmla="*/ 1181752 h 1520076"/>
                <a:gd name="connsiteX128" fmla="*/ 1315174 w 1867928"/>
                <a:gd name="connsiteY128" fmla="*/ 1176986 h 1520076"/>
                <a:gd name="connsiteX129" fmla="*/ 1310410 w 1867928"/>
                <a:gd name="connsiteY129" fmla="*/ 1172220 h 1520076"/>
                <a:gd name="connsiteX130" fmla="*/ 1305644 w 1867928"/>
                <a:gd name="connsiteY130" fmla="*/ 1138864 h 1520076"/>
                <a:gd name="connsiteX131" fmla="*/ 1300878 w 1867928"/>
                <a:gd name="connsiteY131" fmla="*/ 1134100 h 1520076"/>
                <a:gd name="connsiteX132" fmla="*/ 1291348 w 1867928"/>
                <a:gd name="connsiteY132" fmla="*/ 1129334 h 1520076"/>
                <a:gd name="connsiteX133" fmla="*/ 1277054 w 1867928"/>
                <a:gd name="connsiteY133" fmla="*/ 1110274 h 1520076"/>
                <a:gd name="connsiteX134" fmla="*/ 1257992 w 1867928"/>
                <a:gd name="connsiteY134" fmla="*/ 1095978 h 1520076"/>
                <a:gd name="connsiteX135" fmla="*/ 1238932 w 1867928"/>
                <a:gd name="connsiteY135" fmla="*/ 1081684 h 1520076"/>
                <a:gd name="connsiteX136" fmla="*/ 1234168 w 1867928"/>
                <a:gd name="connsiteY136" fmla="*/ 1081684 h 1520076"/>
                <a:gd name="connsiteX137" fmla="*/ 1229402 w 1867928"/>
                <a:gd name="connsiteY137" fmla="*/ 1086448 h 1520076"/>
                <a:gd name="connsiteX138" fmla="*/ 1224636 w 1867928"/>
                <a:gd name="connsiteY138" fmla="*/ 1105510 h 1520076"/>
                <a:gd name="connsiteX139" fmla="*/ 1219872 w 1867928"/>
                <a:gd name="connsiteY139" fmla="*/ 1110274 h 1520076"/>
                <a:gd name="connsiteX140" fmla="*/ 1205576 w 1867928"/>
                <a:gd name="connsiteY140" fmla="*/ 1110274 h 1520076"/>
                <a:gd name="connsiteX141" fmla="*/ 1186516 w 1867928"/>
                <a:gd name="connsiteY141" fmla="*/ 1110274 h 1520076"/>
                <a:gd name="connsiteX142" fmla="*/ 1172220 w 1867928"/>
                <a:gd name="connsiteY142" fmla="*/ 1110274 h 1520076"/>
                <a:gd name="connsiteX143" fmla="*/ 1172220 w 1867928"/>
                <a:gd name="connsiteY143" fmla="*/ 1105510 h 1520076"/>
                <a:gd name="connsiteX144" fmla="*/ 1167456 w 1867928"/>
                <a:gd name="connsiteY144" fmla="*/ 1100744 h 1520076"/>
                <a:gd name="connsiteX145" fmla="*/ 1167456 w 1867928"/>
                <a:gd name="connsiteY145" fmla="*/ 1091214 h 1520076"/>
                <a:gd name="connsiteX146" fmla="*/ 1148394 w 1867928"/>
                <a:gd name="connsiteY146" fmla="*/ 1105510 h 1520076"/>
                <a:gd name="connsiteX147" fmla="*/ 1124570 w 1867928"/>
                <a:gd name="connsiteY147" fmla="*/ 1124570 h 1520076"/>
                <a:gd name="connsiteX148" fmla="*/ 1115038 w 1867928"/>
                <a:gd name="connsiteY148" fmla="*/ 1124570 h 1520076"/>
                <a:gd name="connsiteX149" fmla="*/ 1110274 w 1867928"/>
                <a:gd name="connsiteY149" fmla="*/ 1129334 h 1520076"/>
                <a:gd name="connsiteX150" fmla="*/ 1100744 w 1867928"/>
                <a:gd name="connsiteY150" fmla="*/ 1148396 h 1520076"/>
                <a:gd name="connsiteX151" fmla="*/ 1091214 w 1867928"/>
                <a:gd name="connsiteY151" fmla="*/ 1167456 h 1520076"/>
                <a:gd name="connsiteX152" fmla="*/ 1076918 w 1867928"/>
                <a:gd name="connsiteY152" fmla="*/ 1176986 h 1520076"/>
                <a:gd name="connsiteX153" fmla="*/ 1062622 w 1867928"/>
                <a:gd name="connsiteY153" fmla="*/ 1181752 h 1520076"/>
                <a:gd name="connsiteX154" fmla="*/ 1053092 w 1867928"/>
                <a:gd name="connsiteY154" fmla="*/ 1191282 h 1520076"/>
                <a:gd name="connsiteX155" fmla="*/ 1043562 w 1867928"/>
                <a:gd name="connsiteY155" fmla="*/ 1200812 h 1520076"/>
                <a:gd name="connsiteX156" fmla="*/ 995910 w 1867928"/>
                <a:gd name="connsiteY156" fmla="*/ 1248462 h 1520076"/>
                <a:gd name="connsiteX157" fmla="*/ 986380 w 1867928"/>
                <a:gd name="connsiteY157" fmla="*/ 1262758 h 1520076"/>
                <a:gd name="connsiteX158" fmla="*/ 976850 w 1867928"/>
                <a:gd name="connsiteY158" fmla="*/ 1281818 h 1520076"/>
                <a:gd name="connsiteX159" fmla="*/ 972084 w 1867928"/>
                <a:gd name="connsiteY159" fmla="*/ 1305644 h 1520076"/>
                <a:gd name="connsiteX160" fmla="*/ 962554 w 1867928"/>
                <a:gd name="connsiteY160" fmla="*/ 1334236 h 1520076"/>
                <a:gd name="connsiteX161" fmla="*/ 953024 w 1867928"/>
                <a:gd name="connsiteY161" fmla="*/ 1377122 h 1520076"/>
                <a:gd name="connsiteX162" fmla="*/ 943494 w 1867928"/>
                <a:gd name="connsiteY162" fmla="*/ 1400946 h 1520076"/>
                <a:gd name="connsiteX163" fmla="*/ 929198 w 1867928"/>
                <a:gd name="connsiteY163" fmla="*/ 1420008 h 1520076"/>
                <a:gd name="connsiteX164" fmla="*/ 924434 w 1867928"/>
                <a:gd name="connsiteY164" fmla="*/ 1434302 h 1520076"/>
                <a:gd name="connsiteX165" fmla="*/ 914904 w 1867928"/>
                <a:gd name="connsiteY165" fmla="*/ 1443832 h 1520076"/>
                <a:gd name="connsiteX166" fmla="*/ 910138 w 1867928"/>
                <a:gd name="connsiteY166" fmla="*/ 1448598 h 1520076"/>
                <a:gd name="connsiteX167" fmla="*/ 895844 w 1867928"/>
                <a:gd name="connsiteY167" fmla="*/ 1448598 h 1520076"/>
                <a:gd name="connsiteX168" fmla="*/ 891078 w 1867928"/>
                <a:gd name="connsiteY168" fmla="*/ 1434302 h 1520076"/>
                <a:gd name="connsiteX169" fmla="*/ 886312 w 1867928"/>
                <a:gd name="connsiteY169" fmla="*/ 1434302 h 1520076"/>
                <a:gd name="connsiteX170" fmla="*/ 872018 w 1867928"/>
                <a:gd name="connsiteY170" fmla="*/ 1420008 h 1520076"/>
                <a:gd name="connsiteX171" fmla="*/ 867252 w 1867928"/>
                <a:gd name="connsiteY171" fmla="*/ 1420008 h 1520076"/>
                <a:gd name="connsiteX172" fmla="*/ 881548 w 1867928"/>
                <a:gd name="connsiteY172" fmla="*/ 1458128 h 1520076"/>
                <a:gd name="connsiteX173" fmla="*/ 876782 w 1867928"/>
                <a:gd name="connsiteY173" fmla="*/ 1477188 h 1520076"/>
                <a:gd name="connsiteX174" fmla="*/ 833896 w 1867928"/>
                <a:gd name="connsiteY174" fmla="*/ 1477188 h 1520076"/>
                <a:gd name="connsiteX175" fmla="*/ 800540 w 1867928"/>
                <a:gd name="connsiteY175" fmla="*/ 1481954 h 1520076"/>
                <a:gd name="connsiteX176" fmla="*/ 776714 w 1867928"/>
                <a:gd name="connsiteY176" fmla="*/ 1481954 h 1520076"/>
                <a:gd name="connsiteX177" fmla="*/ 762420 w 1867928"/>
                <a:gd name="connsiteY177" fmla="*/ 1477188 h 1520076"/>
                <a:gd name="connsiteX178" fmla="*/ 757654 w 1867928"/>
                <a:gd name="connsiteY178" fmla="*/ 1458128 h 1520076"/>
                <a:gd name="connsiteX179" fmla="*/ 752890 w 1867928"/>
                <a:gd name="connsiteY179" fmla="*/ 1462894 h 1520076"/>
                <a:gd name="connsiteX180" fmla="*/ 752890 w 1867928"/>
                <a:gd name="connsiteY180" fmla="*/ 1467658 h 1520076"/>
                <a:gd name="connsiteX181" fmla="*/ 743358 w 1867928"/>
                <a:gd name="connsiteY181" fmla="*/ 1477188 h 1520076"/>
                <a:gd name="connsiteX182" fmla="*/ 719534 w 1867928"/>
                <a:gd name="connsiteY182" fmla="*/ 1477188 h 1520076"/>
                <a:gd name="connsiteX183" fmla="*/ 705238 w 1867928"/>
                <a:gd name="connsiteY183" fmla="*/ 1467658 h 1520076"/>
                <a:gd name="connsiteX184" fmla="*/ 695708 w 1867928"/>
                <a:gd name="connsiteY184" fmla="*/ 1458128 h 1520076"/>
                <a:gd name="connsiteX185" fmla="*/ 686178 w 1867928"/>
                <a:gd name="connsiteY185" fmla="*/ 1453364 h 1520076"/>
                <a:gd name="connsiteX186" fmla="*/ 700472 w 1867928"/>
                <a:gd name="connsiteY186" fmla="*/ 1467658 h 1520076"/>
                <a:gd name="connsiteX187" fmla="*/ 700472 w 1867928"/>
                <a:gd name="connsiteY187" fmla="*/ 1481954 h 1520076"/>
                <a:gd name="connsiteX188" fmla="*/ 676648 w 1867928"/>
                <a:gd name="connsiteY188" fmla="*/ 1501014 h 1520076"/>
                <a:gd name="connsiteX189" fmla="*/ 662352 w 1867928"/>
                <a:gd name="connsiteY189" fmla="*/ 1501014 h 1520076"/>
                <a:gd name="connsiteX190" fmla="*/ 652822 w 1867928"/>
                <a:gd name="connsiteY190" fmla="*/ 1496250 h 1520076"/>
                <a:gd name="connsiteX191" fmla="*/ 648056 w 1867928"/>
                <a:gd name="connsiteY191" fmla="*/ 1481954 h 1520076"/>
                <a:gd name="connsiteX192" fmla="*/ 648056 w 1867928"/>
                <a:gd name="connsiteY192" fmla="*/ 1462894 h 1520076"/>
                <a:gd name="connsiteX193" fmla="*/ 643292 w 1867928"/>
                <a:gd name="connsiteY193" fmla="*/ 1448598 h 1520076"/>
                <a:gd name="connsiteX194" fmla="*/ 638526 w 1867928"/>
                <a:gd name="connsiteY194" fmla="*/ 1448598 h 1520076"/>
                <a:gd name="connsiteX195" fmla="*/ 638526 w 1867928"/>
                <a:gd name="connsiteY195" fmla="*/ 1462894 h 1520076"/>
                <a:gd name="connsiteX196" fmla="*/ 643292 w 1867928"/>
                <a:gd name="connsiteY196" fmla="*/ 1472424 h 1520076"/>
                <a:gd name="connsiteX197" fmla="*/ 643292 w 1867928"/>
                <a:gd name="connsiteY197" fmla="*/ 1491484 h 1520076"/>
                <a:gd name="connsiteX198" fmla="*/ 652822 w 1867928"/>
                <a:gd name="connsiteY198" fmla="*/ 1505780 h 1520076"/>
                <a:gd name="connsiteX199" fmla="*/ 638526 w 1867928"/>
                <a:gd name="connsiteY199" fmla="*/ 1510544 h 1520076"/>
                <a:gd name="connsiteX200" fmla="*/ 628996 w 1867928"/>
                <a:gd name="connsiteY200" fmla="*/ 1510544 h 1520076"/>
                <a:gd name="connsiteX201" fmla="*/ 614700 w 1867928"/>
                <a:gd name="connsiteY201" fmla="*/ 1510544 h 1520076"/>
                <a:gd name="connsiteX202" fmla="*/ 614700 w 1867928"/>
                <a:gd name="connsiteY202" fmla="*/ 1505780 h 1520076"/>
                <a:gd name="connsiteX203" fmla="*/ 609936 w 1867928"/>
                <a:gd name="connsiteY203" fmla="*/ 1491484 h 1520076"/>
                <a:gd name="connsiteX204" fmla="*/ 609936 w 1867928"/>
                <a:gd name="connsiteY204" fmla="*/ 1486720 h 1520076"/>
                <a:gd name="connsiteX205" fmla="*/ 605170 w 1867928"/>
                <a:gd name="connsiteY205" fmla="*/ 1510544 h 1520076"/>
                <a:gd name="connsiteX206" fmla="*/ 595640 w 1867928"/>
                <a:gd name="connsiteY206" fmla="*/ 1510544 h 1520076"/>
                <a:gd name="connsiteX207" fmla="*/ 590874 w 1867928"/>
                <a:gd name="connsiteY207" fmla="*/ 1510544 h 1520076"/>
                <a:gd name="connsiteX208" fmla="*/ 562284 w 1867928"/>
                <a:gd name="connsiteY208" fmla="*/ 1515310 h 1520076"/>
                <a:gd name="connsiteX209" fmla="*/ 557518 w 1867928"/>
                <a:gd name="connsiteY209" fmla="*/ 1515310 h 1520076"/>
                <a:gd name="connsiteX210" fmla="*/ 557518 w 1867928"/>
                <a:gd name="connsiteY210" fmla="*/ 1510544 h 1520076"/>
                <a:gd name="connsiteX211" fmla="*/ 562284 w 1867928"/>
                <a:gd name="connsiteY211" fmla="*/ 1505780 h 1520076"/>
                <a:gd name="connsiteX212" fmla="*/ 562284 w 1867928"/>
                <a:gd name="connsiteY212" fmla="*/ 1496250 h 1520076"/>
                <a:gd name="connsiteX213" fmla="*/ 552754 w 1867928"/>
                <a:gd name="connsiteY213" fmla="*/ 1501014 h 1520076"/>
                <a:gd name="connsiteX214" fmla="*/ 547988 w 1867928"/>
                <a:gd name="connsiteY214" fmla="*/ 1515310 h 1520076"/>
                <a:gd name="connsiteX215" fmla="*/ 543224 w 1867928"/>
                <a:gd name="connsiteY215" fmla="*/ 1520076 h 1520076"/>
                <a:gd name="connsiteX216" fmla="*/ 528928 w 1867928"/>
                <a:gd name="connsiteY216" fmla="*/ 1515310 h 1520076"/>
                <a:gd name="connsiteX217" fmla="*/ 514632 w 1867928"/>
                <a:gd name="connsiteY217" fmla="*/ 1510544 h 1520076"/>
                <a:gd name="connsiteX218" fmla="*/ 486042 w 1867928"/>
                <a:gd name="connsiteY218" fmla="*/ 1491484 h 1520076"/>
                <a:gd name="connsiteX219" fmla="*/ 452686 w 1867928"/>
                <a:gd name="connsiteY219" fmla="*/ 1462894 h 1520076"/>
                <a:gd name="connsiteX220" fmla="*/ 447920 w 1867928"/>
                <a:gd name="connsiteY220" fmla="*/ 1448598 h 1520076"/>
                <a:gd name="connsiteX221" fmla="*/ 438390 w 1867928"/>
                <a:gd name="connsiteY221" fmla="*/ 1429538 h 1520076"/>
                <a:gd name="connsiteX222" fmla="*/ 433626 w 1867928"/>
                <a:gd name="connsiteY222" fmla="*/ 1415242 h 1520076"/>
                <a:gd name="connsiteX223" fmla="*/ 424096 w 1867928"/>
                <a:gd name="connsiteY223" fmla="*/ 1386652 h 1520076"/>
                <a:gd name="connsiteX224" fmla="*/ 433626 w 1867928"/>
                <a:gd name="connsiteY224" fmla="*/ 1386652 h 1520076"/>
                <a:gd name="connsiteX225" fmla="*/ 438390 w 1867928"/>
                <a:gd name="connsiteY225" fmla="*/ 1381886 h 1520076"/>
                <a:gd name="connsiteX226" fmla="*/ 424096 w 1867928"/>
                <a:gd name="connsiteY226" fmla="*/ 1377122 h 1520076"/>
                <a:gd name="connsiteX227" fmla="*/ 419330 w 1867928"/>
                <a:gd name="connsiteY227" fmla="*/ 1377122 h 1520076"/>
                <a:gd name="connsiteX228" fmla="*/ 419330 w 1867928"/>
                <a:gd name="connsiteY228" fmla="*/ 1367592 h 1520076"/>
                <a:gd name="connsiteX229" fmla="*/ 419330 w 1867928"/>
                <a:gd name="connsiteY229" fmla="*/ 1353296 h 1520076"/>
                <a:gd name="connsiteX230" fmla="*/ 428860 w 1867928"/>
                <a:gd name="connsiteY230" fmla="*/ 1348530 h 1520076"/>
                <a:gd name="connsiteX231" fmla="*/ 438390 w 1867928"/>
                <a:gd name="connsiteY231" fmla="*/ 1348530 h 1520076"/>
                <a:gd name="connsiteX232" fmla="*/ 443156 w 1867928"/>
                <a:gd name="connsiteY232" fmla="*/ 1339000 h 1520076"/>
                <a:gd name="connsiteX233" fmla="*/ 447920 w 1867928"/>
                <a:gd name="connsiteY233" fmla="*/ 1334236 h 1520076"/>
                <a:gd name="connsiteX234" fmla="*/ 424096 w 1867928"/>
                <a:gd name="connsiteY234" fmla="*/ 1343766 h 1520076"/>
                <a:gd name="connsiteX235" fmla="*/ 400270 w 1867928"/>
                <a:gd name="connsiteY235" fmla="*/ 1329470 h 1520076"/>
                <a:gd name="connsiteX236" fmla="*/ 390740 w 1867928"/>
                <a:gd name="connsiteY236" fmla="*/ 1324704 h 1520076"/>
                <a:gd name="connsiteX237" fmla="*/ 395504 w 1867928"/>
                <a:gd name="connsiteY237" fmla="*/ 1315174 h 1520076"/>
                <a:gd name="connsiteX238" fmla="*/ 405034 w 1867928"/>
                <a:gd name="connsiteY238" fmla="*/ 1315174 h 1520076"/>
                <a:gd name="connsiteX239" fmla="*/ 424096 w 1867928"/>
                <a:gd name="connsiteY239" fmla="*/ 1315174 h 1520076"/>
                <a:gd name="connsiteX240" fmla="*/ 433626 w 1867928"/>
                <a:gd name="connsiteY240" fmla="*/ 1310410 h 1520076"/>
                <a:gd name="connsiteX241" fmla="*/ 428860 w 1867928"/>
                <a:gd name="connsiteY241" fmla="*/ 1310410 h 1520076"/>
                <a:gd name="connsiteX242" fmla="*/ 414566 w 1867928"/>
                <a:gd name="connsiteY242" fmla="*/ 1310410 h 1520076"/>
                <a:gd name="connsiteX243" fmla="*/ 414566 w 1867928"/>
                <a:gd name="connsiteY243" fmla="*/ 1305644 h 1520076"/>
                <a:gd name="connsiteX244" fmla="*/ 414566 w 1867928"/>
                <a:gd name="connsiteY244" fmla="*/ 1296114 h 1520076"/>
                <a:gd name="connsiteX245" fmla="*/ 409800 w 1867928"/>
                <a:gd name="connsiteY245" fmla="*/ 1296114 h 1520076"/>
                <a:gd name="connsiteX246" fmla="*/ 405034 w 1867928"/>
                <a:gd name="connsiteY246" fmla="*/ 1305644 h 1520076"/>
                <a:gd name="connsiteX247" fmla="*/ 390740 w 1867928"/>
                <a:gd name="connsiteY247" fmla="*/ 1310410 h 1520076"/>
                <a:gd name="connsiteX248" fmla="*/ 381210 w 1867928"/>
                <a:gd name="connsiteY248" fmla="*/ 1305644 h 1520076"/>
                <a:gd name="connsiteX249" fmla="*/ 376444 w 1867928"/>
                <a:gd name="connsiteY249" fmla="*/ 1291348 h 1520076"/>
                <a:gd name="connsiteX250" fmla="*/ 376444 w 1867928"/>
                <a:gd name="connsiteY250" fmla="*/ 1286584 h 1520076"/>
                <a:gd name="connsiteX251" fmla="*/ 366914 w 1867928"/>
                <a:gd name="connsiteY251" fmla="*/ 1281818 h 1520076"/>
                <a:gd name="connsiteX252" fmla="*/ 338324 w 1867928"/>
                <a:gd name="connsiteY252" fmla="*/ 1243698 h 1520076"/>
                <a:gd name="connsiteX253" fmla="*/ 304968 w 1867928"/>
                <a:gd name="connsiteY253" fmla="*/ 1215108 h 1520076"/>
                <a:gd name="connsiteX254" fmla="*/ 271612 w 1867928"/>
                <a:gd name="connsiteY254" fmla="*/ 1196046 h 1520076"/>
                <a:gd name="connsiteX255" fmla="*/ 223960 w 1867928"/>
                <a:gd name="connsiteY255" fmla="*/ 1186516 h 1520076"/>
                <a:gd name="connsiteX256" fmla="*/ 123892 w 1867928"/>
                <a:gd name="connsiteY256" fmla="*/ 1186516 h 1520076"/>
                <a:gd name="connsiteX257" fmla="*/ 119128 w 1867928"/>
                <a:gd name="connsiteY257" fmla="*/ 1181752 h 1520076"/>
                <a:gd name="connsiteX258" fmla="*/ 123892 w 1867928"/>
                <a:gd name="connsiteY258" fmla="*/ 1176986 h 1520076"/>
                <a:gd name="connsiteX259" fmla="*/ 133422 w 1867928"/>
                <a:gd name="connsiteY259" fmla="*/ 1176986 h 1520076"/>
                <a:gd name="connsiteX260" fmla="*/ 166778 w 1867928"/>
                <a:gd name="connsiteY260" fmla="*/ 1157926 h 1520076"/>
                <a:gd name="connsiteX261" fmla="*/ 162014 w 1867928"/>
                <a:gd name="connsiteY261" fmla="*/ 1157926 h 1520076"/>
                <a:gd name="connsiteX262" fmla="*/ 128658 w 1867928"/>
                <a:gd name="connsiteY262" fmla="*/ 1167456 h 1520076"/>
                <a:gd name="connsiteX263" fmla="*/ 114362 w 1867928"/>
                <a:gd name="connsiteY263" fmla="*/ 1167456 h 1520076"/>
                <a:gd name="connsiteX264" fmla="*/ 100066 w 1867928"/>
                <a:gd name="connsiteY264" fmla="*/ 1186516 h 1520076"/>
                <a:gd name="connsiteX265" fmla="*/ 14294 w 1867928"/>
                <a:gd name="connsiteY265" fmla="*/ 1191282 h 1520076"/>
                <a:gd name="connsiteX266" fmla="*/ 4764 w 1867928"/>
                <a:gd name="connsiteY266" fmla="*/ 1191282 h 1520076"/>
                <a:gd name="connsiteX267" fmla="*/ 4764 w 1867928"/>
                <a:gd name="connsiteY267" fmla="*/ 1181752 h 1520076"/>
                <a:gd name="connsiteX268" fmla="*/ 9530 w 1867928"/>
                <a:gd name="connsiteY268" fmla="*/ 1157926 h 1520076"/>
                <a:gd name="connsiteX269" fmla="*/ 9530 w 1867928"/>
                <a:gd name="connsiteY269" fmla="*/ 1143630 h 1520076"/>
                <a:gd name="connsiteX270" fmla="*/ 14294 w 1867928"/>
                <a:gd name="connsiteY270" fmla="*/ 1138864 h 1520076"/>
                <a:gd name="connsiteX271" fmla="*/ 9530 w 1867928"/>
                <a:gd name="connsiteY271" fmla="*/ 1129334 h 1520076"/>
                <a:gd name="connsiteX272" fmla="*/ 9530 w 1867928"/>
                <a:gd name="connsiteY272" fmla="*/ 1115040 h 1520076"/>
                <a:gd name="connsiteX273" fmla="*/ 4764 w 1867928"/>
                <a:gd name="connsiteY273" fmla="*/ 1095978 h 1520076"/>
                <a:gd name="connsiteX274" fmla="*/ 9530 w 1867928"/>
                <a:gd name="connsiteY274" fmla="*/ 1091214 h 1520076"/>
                <a:gd name="connsiteX275" fmla="*/ 9530 w 1867928"/>
                <a:gd name="connsiteY275" fmla="*/ 1081684 h 1520076"/>
                <a:gd name="connsiteX276" fmla="*/ 9530 w 1867928"/>
                <a:gd name="connsiteY276" fmla="*/ 1067388 h 1520076"/>
                <a:gd name="connsiteX277" fmla="*/ 9530 w 1867928"/>
                <a:gd name="connsiteY277" fmla="*/ 1029268 h 1520076"/>
                <a:gd name="connsiteX278" fmla="*/ 14294 w 1867928"/>
                <a:gd name="connsiteY278" fmla="*/ 1024502 h 1520076"/>
                <a:gd name="connsiteX279" fmla="*/ 14294 w 1867928"/>
                <a:gd name="connsiteY279" fmla="*/ 1019736 h 1520076"/>
                <a:gd name="connsiteX280" fmla="*/ 9530 w 1867928"/>
                <a:gd name="connsiteY280" fmla="*/ 1005442 h 1520076"/>
                <a:gd name="connsiteX281" fmla="*/ 4764 w 1867928"/>
                <a:gd name="connsiteY281" fmla="*/ 995912 h 1520076"/>
                <a:gd name="connsiteX282" fmla="*/ 4764 w 1867928"/>
                <a:gd name="connsiteY282" fmla="*/ 976850 h 1520076"/>
                <a:gd name="connsiteX283" fmla="*/ 4764 w 1867928"/>
                <a:gd name="connsiteY283" fmla="*/ 962556 h 1520076"/>
                <a:gd name="connsiteX284" fmla="*/ 0 w 1867928"/>
                <a:gd name="connsiteY284" fmla="*/ 953026 h 1520076"/>
                <a:gd name="connsiteX285" fmla="*/ 4764 w 1867928"/>
                <a:gd name="connsiteY285" fmla="*/ 929200 h 1520076"/>
                <a:gd name="connsiteX286" fmla="*/ 4764 w 1867928"/>
                <a:gd name="connsiteY286" fmla="*/ 891078 h 1520076"/>
                <a:gd name="connsiteX287" fmla="*/ 4764 w 1867928"/>
                <a:gd name="connsiteY287" fmla="*/ 876784 h 1520076"/>
                <a:gd name="connsiteX288" fmla="*/ 4764 w 1867928"/>
                <a:gd name="connsiteY288" fmla="*/ 867252 h 1520076"/>
                <a:gd name="connsiteX289" fmla="*/ 9530 w 1867928"/>
                <a:gd name="connsiteY289" fmla="*/ 838662 h 1520076"/>
                <a:gd name="connsiteX290" fmla="*/ 9530 w 1867928"/>
                <a:gd name="connsiteY290" fmla="*/ 810072 h 1520076"/>
                <a:gd name="connsiteX291" fmla="*/ 14294 w 1867928"/>
                <a:gd name="connsiteY291" fmla="*/ 767186 h 1520076"/>
                <a:gd name="connsiteX292" fmla="*/ 33354 w 1867928"/>
                <a:gd name="connsiteY292" fmla="*/ 767186 h 1520076"/>
                <a:gd name="connsiteX293" fmla="*/ 57180 w 1867928"/>
                <a:gd name="connsiteY293" fmla="*/ 762420 h 1520076"/>
                <a:gd name="connsiteX294" fmla="*/ 66710 w 1867928"/>
                <a:gd name="connsiteY294" fmla="*/ 748124 h 1520076"/>
                <a:gd name="connsiteX295" fmla="*/ 71476 w 1867928"/>
                <a:gd name="connsiteY295" fmla="*/ 724300 h 1520076"/>
                <a:gd name="connsiteX296" fmla="*/ 71476 w 1867928"/>
                <a:gd name="connsiteY296" fmla="*/ 705238 h 1520076"/>
                <a:gd name="connsiteX297" fmla="*/ 76242 w 1867928"/>
                <a:gd name="connsiteY297" fmla="*/ 700474 h 1520076"/>
                <a:gd name="connsiteX298" fmla="*/ 85772 w 1867928"/>
                <a:gd name="connsiteY298" fmla="*/ 686178 h 1520076"/>
                <a:gd name="connsiteX299" fmla="*/ 100066 w 1867928"/>
                <a:gd name="connsiteY299" fmla="*/ 671882 h 1520076"/>
                <a:gd name="connsiteX300" fmla="*/ 100066 w 1867928"/>
                <a:gd name="connsiteY300" fmla="*/ 652822 h 1520076"/>
                <a:gd name="connsiteX301" fmla="*/ 104832 w 1867928"/>
                <a:gd name="connsiteY301" fmla="*/ 648058 h 1520076"/>
                <a:gd name="connsiteX302" fmla="*/ 114362 w 1867928"/>
                <a:gd name="connsiteY302" fmla="*/ 643292 h 1520076"/>
                <a:gd name="connsiteX303" fmla="*/ 123892 w 1867928"/>
                <a:gd name="connsiteY303" fmla="*/ 643292 h 1520076"/>
                <a:gd name="connsiteX304" fmla="*/ 138188 w 1867928"/>
                <a:gd name="connsiteY304" fmla="*/ 633762 h 1520076"/>
                <a:gd name="connsiteX305" fmla="*/ 142952 w 1867928"/>
                <a:gd name="connsiteY305" fmla="*/ 619466 h 1520076"/>
                <a:gd name="connsiteX306" fmla="*/ 152484 w 1867928"/>
                <a:gd name="connsiteY306" fmla="*/ 590876 h 1520076"/>
                <a:gd name="connsiteX307" fmla="*/ 138188 w 1867928"/>
                <a:gd name="connsiteY307" fmla="*/ 576580 h 1520076"/>
                <a:gd name="connsiteX308" fmla="*/ 138188 w 1867928"/>
                <a:gd name="connsiteY308" fmla="*/ 571816 h 1520076"/>
                <a:gd name="connsiteX309" fmla="*/ 142952 w 1867928"/>
                <a:gd name="connsiteY309" fmla="*/ 562284 h 1520076"/>
                <a:gd name="connsiteX310" fmla="*/ 152484 w 1867928"/>
                <a:gd name="connsiteY310" fmla="*/ 552754 h 1520076"/>
                <a:gd name="connsiteX311" fmla="*/ 157248 w 1867928"/>
                <a:gd name="connsiteY311" fmla="*/ 552754 h 1520076"/>
                <a:gd name="connsiteX312" fmla="*/ 166778 w 1867928"/>
                <a:gd name="connsiteY312" fmla="*/ 552754 h 1520076"/>
                <a:gd name="connsiteX313" fmla="*/ 171544 w 1867928"/>
                <a:gd name="connsiteY313" fmla="*/ 552754 h 1520076"/>
                <a:gd name="connsiteX314" fmla="*/ 171544 w 1867928"/>
                <a:gd name="connsiteY314" fmla="*/ 547990 h 1520076"/>
                <a:gd name="connsiteX315" fmla="*/ 181074 w 1867928"/>
                <a:gd name="connsiteY315" fmla="*/ 524164 h 1520076"/>
                <a:gd name="connsiteX316" fmla="*/ 181074 w 1867928"/>
                <a:gd name="connsiteY316" fmla="*/ 514634 h 1520076"/>
                <a:gd name="connsiteX317" fmla="*/ 166778 w 1867928"/>
                <a:gd name="connsiteY317" fmla="*/ 495574 h 1520076"/>
                <a:gd name="connsiteX318" fmla="*/ 166778 w 1867928"/>
                <a:gd name="connsiteY318" fmla="*/ 486042 h 1520076"/>
                <a:gd name="connsiteX319" fmla="*/ 162014 w 1867928"/>
                <a:gd name="connsiteY319" fmla="*/ 462218 h 1520076"/>
                <a:gd name="connsiteX320" fmla="*/ 162014 w 1867928"/>
                <a:gd name="connsiteY320" fmla="*/ 447922 h 1520076"/>
                <a:gd name="connsiteX321" fmla="*/ 157248 w 1867928"/>
                <a:gd name="connsiteY321" fmla="*/ 438392 h 1520076"/>
                <a:gd name="connsiteX322" fmla="*/ 152484 w 1867928"/>
                <a:gd name="connsiteY322" fmla="*/ 433626 h 1520076"/>
                <a:gd name="connsiteX323" fmla="*/ 147718 w 1867928"/>
                <a:gd name="connsiteY323" fmla="*/ 433626 h 1520076"/>
                <a:gd name="connsiteX324" fmla="*/ 123892 w 1867928"/>
                <a:gd name="connsiteY324" fmla="*/ 395506 h 1520076"/>
                <a:gd name="connsiteX325" fmla="*/ 123892 w 1867928"/>
                <a:gd name="connsiteY325" fmla="*/ 381210 h 1520076"/>
                <a:gd name="connsiteX326" fmla="*/ 138188 w 1867928"/>
                <a:gd name="connsiteY326" fmla="*/ 357384 h 1520076"/>
                <a:gd name="connsiteX327" fmla="*/ 142952 w 1867928"/>
                <a:gd name="connsiteY327" fmla="*/ 347854 h 1520076"/>
                <a:gd name="connsiteX328" fmla="*/ 152484 w 1867928"/>
                <a:gd name="connsiteY328" fmla="*/ 343090 h 1520076"/>
                <a:gd name="connsiteX329" fmla="*/ 152484 w 1867928"/>
                <a:gd name="connsiteY329" fmla="*/ 338324 h 1520076"/>
                <a:gd name="connsiteX330" fmla="*/ 152484 w 1867928"/>
                <a:gd name="connsiteY330" fmla="*/ 333558 h 1520076"/>
                <a:gd name="connsiteX331" fmla="*/ 147718 w 1867928"/>
                <a:gd name="connsiteY331" fmla="*/ 328794 h 1520076"/>
                <a:gd name="connsiteX332" fmla="*/ 142952 w 1867928"/>
                <a:gd name="connsiteY332" fmla="*/ 319264 h 1520076"/>
                <a:gd name="connsiteX333" fmla="*/ 147718 w 1867928"/>
                <a:gd name="connsiteY333" fmla="*/ 314498 h 1520076"/>
                <a:gd name="connsiteX334" fmla="*/ 147718 w 1867928"/>
                <a:gd name="connsiteY334" fmla="*/ 304968 h 1520076"/>
                <a:gd name="connsiteX335" fmla="*/ 147718 w 1867928"/>
                <a:gd name="connsiteY335" fmla="*/ 290672 h 1520076"/>
                <a:gd name="connsiteX336" fmla="*/ 147718 w 1867928"/>
                <a:gd name="connsiteY336" fmla="*/ 266848 h 1520076"/>
                <a:gd name="connsiteX337" fmla="*/ 147718 w 1867928"/>
                <a:gd name="connsiteY337" fmla="*/ 233492 h 1520076"/>
                <a:gd name="connsiteX338" fmla="*/ 152484 w 1867928"/>
                <a:gd name="connsiteY338" fmla="*/ 214430 h 1520076"/>
                <a:gd name="connsiteX339" fmla="*/ 171544 w 1867928"/>
                <a:gd name="connsiteY339" fmla="*/ 200136 h 1520076"/>
                <a:gd name="connsiteX340" fmla="*/ 195370 w 1867928"/>
                <a:gd name="connsiteY340" fmla="*/ 176310 h 1520076"/>
                <a:gd name="connsiteX341" fmla="*/ 209664 w 1867928"/>
                <a:gd name="connsiteY341" fmla="*/ 152484 h 1520076"/>
                <a:gd name="connsiteX342" fmla="*/ 219194 w 1867928"/>
                <a:gd name="connsiteY342" fmla="*/ 133424 h 1520076"/>
                <a:gd name="connsiteX343" fmla="*/ 228726 w 1867928"/>
                <a:gd name="connsiteY343" fmla="*/ 66712 h 1520076"/>
                <a:gd name="connsiteX344" fmla="*/ 233490 w 1867928"/>
                <a:gd name="connsiteY344" fmla="*/ 61946 h 1520076"/>
                <a:gd name="connsiteX345" fmla="*/ 243020 w 1867928"/>
                <a:gd name="connsiteY345" fmla="*/ 61946 h 1520076"/>
                <a:gd name="connsiteX346" fmla="*/ 271612 w 1867928"/>
                <a:gd name="connsiteY346" fmla="*/ 38122 h 1520076"/>
                <a:gd name="connsiteX347" fmla="*/ 295436 w 1867928"/>
                <a:gd name="connsiteY347" fmla="*/ 28590 h 1520076"/>
                <a:gd name="connsiteX348" fmla="*/ 309732 w 1867928"/>
                <a:gd name="connsiteY348" fmla="*/ 23826 h 1520076"/>
                <a:gd name="connsiteX349" fmla="*/ 333558 w 1867928"/>
                <a:gd name="connsiteY349" fmla="*/ 19060 h 1520076"/>
                <a:gd name="connsiteX350" fmla="*/ 347854 w 1867928"/>
                <a:gd name="connsiteY350" fmla="*/ 19060 h 1520076"/>
                <a:gd name="connsiteX351" fmla="*/ 376444 w 1867928"/>
                <a:gd name="connsiteY351" fmla="*/ 19060 h 1520076"/>
                <a:gd name="connsiteX352" fmla="*/ 400270 w 1867928"/>
                <a:gd name="connsiteY352" fmla="*/ 19060 h 1520076"/>
                <a:gd name="connsiteX353" fmla="*/ 419330 w 1867928"/>
                <a:gd name="connsiteY353" fmla="*/ 4766 h 1520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</a:cxnLst>
              <a:rect l="l" t="t" r="r" b="b"/>
              <a:pathLst>
                <a:path w="1867928" h="1520076">
                  <a:moveTo>
                    <a:pt x="710002" y="1481954"/>
                  </a:moveTo>
                  <a:lnTo>
                    <a:pt x="714768" y="1486720"/>
                  </a:lnTo>
                  <a:lnTo>
                    <a:pt x="724298" y="1486720"/>
                  </a:lnTo>
                  <a:lnTo>
                    <a:pt x="719532" y="1496250"/>
                  </a:lnTo>
                  <a:lnTo>
                    <a:pt x="705238" y="1501016"/>
                  </a:lnTo>
                  <a:lnTo>
                    <a:pt x="695708" y="1501016"/>
                  </a:lnTo>
                  <a:close/>
                  <a:moveTo>
                    <a:pt x="428860" y="0"/>
                  </a:moveTo>
                  <a:lnTo>
                    <a:pt x="438390" y="0"/>
                  </a:lnTo>
                  <a:lnTo>
                    <a:pt x="490808" y="19060"/>
                  </a:lnTo>
                  <a:lnTo>
                    <a:pt x="547988" y="33356"/>
                  </a:lnTo>
                  <a:lnTo>
                    <a:pt x="557518" y="33356"/>
                  </a:lnTo>
                  <a:lnTo>
                    <a:pt x="562284" y="33356"/>
                  </a:lnTo>
                  <a:lnTo>
                    <a:pt x="576580" y="42886"/>
                  </a:lnTo>
                  <a:lnTo>
                    <a:pt x="600406" y="61946"/>
                  </a:lnTo>
                  <a:lnTo>
                    <a:pt x="609936" y="76242"/>
                  </a:lnTo>
                  <a:lnTo>
                    <a:pt x="614700" y="81008"/>
                  </a:lnTo>
                  <a:lnTo>
                    <a:pt x="643292" y="123894"/>
                  </a:lnTo>
                  <a:lnTo>
                    <a:pt x="652822" y="133424"/>
                  </a:lnTo>
                  <a:lnTo>
                    <a:pt x="662352" y="138188"/>
                  </a:lnTo>
                  <a:lnTo>
                    <a:pt x="676648" y="142954"/>
                  </a:lnTo>
                  <a:lnTo>
                    <a:pt x="681412" y="138188"/>
                  </a:lnTo>
                  <a:lnTo>
                    <a:pt x="690942" y="138188"/>
                  </a:lnTo>
                  <a:lnTo>
                    <a:pt x="700472" y="123894"/>
                  </a:lnTo>
                  <a:lnTo>
                    <a:pt x="714768" y="123894"/>
                  </a:lnTo>
                  <a:lnTo>
                    <a:pt x="729064" y="123894"/>
                  </a:lnTo>
                  <a:lnTo>
                    <a:pt x="795776" y="85772"/>
                  </a:lnTo>
                  <a:lnTo>
                    <a:pt x="805306" y="85772"/>
                  </a:lnTo>
                  <a:lnTo>
                    <a:pt x="824366" y="90538"/>
                  </a:lnTo>
                  <a:lnTo>
                    <a:pt x="843426" y="95302"/>
                  </a:lnTo>
                  <a:lnTo>
                    <a:pt x="900608" y="133424"/>
                  </a:lnTo>
                  <a:lnTo>
                    <a:pt x="948260" y="157250"/>
                  </a:lnTo>
                  <a:lnTo>
                    <a:pt x="981616" y="162014"/>
                  </a:lnTo>
                  <a:lnTo>
                    <a:pt x="1019736" y="171544"/>
                  </a:lnTo>
                  <a:lnTo>
                    <a:pt x="1081684" y="171544"/>
                  </a:lnTo>
                  <a:lnTo>
                    <a:pt x="1129334" y="119128"/>
                  </a:lnTo>
                  <a:lnTo>
                    <a:pt x="1148394" y="104832"/>
                  </a:lnTo>
                  <a:lnTo>
                    <a:pt x="1172220" y="95302"/>
                  </a:lnTo>
                  <a:lnTo>
                    <a:pt x="1176986" y="95302"/>
                  </a:lnTo>
                  <a:lnTo>
                    <a:pt x="1215106" y="85772"/>
                  </a:lnTo>
                  <a:lnTo>
                    <a:pt x="1291348" y="81008"/>
                  </a:lnTo>
                  <a:lnTo>
                    <a:pt x="1362826" y="85772"/>
                  </a:lnTo>
                  <a:lnTo>
                    <a:pt x="1377120" y="85772"/>
                  </a:lnTo>
                  <a:lnTo>
                    <a:pt x="1405712" y="90538"/>
                  </a:lnTo>
                  <a:lnTo>
                    <a:pt x="1453362" y="109598"/>
                  </a:lnTo>
                  <a:lnTo>
                    <a:pt x="1472424" y="123894"/>
                  </a:lnTo>
                  <a:lnTo>
                    <a:pt x="1505780" y="128658"/>
                  </a:lnTo>
                  <a:lnTo>
                    <a:pt x="1529604" y="123894"/>
                  </a:lnTo>
                  <a:lnTo>
                    <a:pt x="1534370" y="109598"/>
                  </a:lnTo>
                  <a:lnTo>
                    <a:pt x="1558196" y="85772"/>
                  </a:lnTo>
                  <a:lnTo>
                    <a:pt x="1572492" y="81008"/>
                  </a:lnTo>
                  <a:lnTo>
                    <a:pt x="1591552" y="66712"/>
                  </a:lnTo>
                  <a:lnTo>
                    <a:pt x="1620142" y="52416"/>
                  </a:lnTo>
                  <a:lnTo>
                    <a:pt x="1639202" y="47652"/>
                  </a:lnTo>
                  <a:lnTo>
                    <a:pt x="1663028" y="33356"/>
                  </a:lnTo>
                  <a:lnTo>
                    <a:pt x="1677324" y="28590"/>
                  </a:lnTo>
                  <a:lnTo>
                    <a:pt x="1705914" y="28590"/>
                  </a:lnTo>
                  <a:lnTo>
                    <a:pt x="1729740" y="61946"/>
                  </a:lnTo>
                  <a:lnTo>
                    <a:pt x="1758332" y="100068"/>
                  </a:lnTo>
                  <a:lnTo>
                    <a:pt x="1777392" y="128658"/>
                  </a:lnTo>
                  <a:lnTo>
                    <a:pt x="1791688" y="200136"/>
                  </a:lnTo>
                  <a:lnTo>
                    <a:pt x="1796452" y="214430"/>
                  </a:lnTo>
                  <a:lnTo>
                    <a:pt x="1796452" y="223960"/>
                  </a:lnTo>
                  <a:lnTo>
                    <a:pt x="1796452" y="228726"/>
                  </a:lnTo>
                  <a:lnTo>
                    <a:pt x="1796452" y="238256"/>
                  </a:lnTo>
                  <a:lnTo>
                    <a:pt x="1810748" y="243022"/>
                  </a:lnTo>
                  <a:lnTo>
                    <a:pt x="1834574" y="243022"/>
                  </a:lnTo>
                  <a:lnTo>
                    <a:pt x="1848868" y="252552"/>
                  </a:lnTo>
                  <a:lnTo>
                    <a:pt x="1858398" y="266848"/>
                  </a:lnTo>
                  <a:lnTo>
                    <a:pt x="1863164" y="276378"/>
                  </a:lnTo>
                  <a:lnTo>
                    <a:pt x="1867928" y="281142"/>
                  </a:lnTo>
                  <a:lnTo>
                    <a:pt x="1863164" y="300202"/>
                  </a:lnTo>
                  <a:lnTo>
                    <a:pt x="1863164" y="328794"/>
                  </a:lnTo>
                  <a:lnTo>
                    <a:pt x="1853634" y="343090"/>
                  </a:lnTo>
                  <a:lnTo>
                    <a:pt x="1858398" y="366914"/>
                  </a:lnTo>
                  <a:lnTo>
                    <a:pt x="1858398" y="376444"/>
                  </a:lnTo>
                  <a:lnTo>
                    <a:pt x="1853634" y="381210"/>
                  </a:lnTo>
                  <a:lnTo>
                    <a:pt x="1844104" y="390740"/>
                  </a:lnTo>
                  <a:lnTo>
                    <a:pt x="1829808" y="395506"/>
                  </a:lnTo>
                  <a:lnTo>
                    <a:pt x="1801218" y="414566"/>
                  </a:lnTo>
                  <a:lnTo>
                    <a:pt x="1791688" y="419332"/>
                  </a:lnTo>
                  <a:lnTo>
                    <a:pt x="1777392" y="419332"/>
                  </a:lnTo>
                  <a:lnTo>
                    <a:pt x="1763096" y="424096"/>
                  </a:lnTo>
                  <a:lnTo>
                    <a:pt x="1748800" y="438392"/>
                  </a:lnTo>
                  <a:lnTo>
                    <a:pt x="1720210" y="481278"/>
                  </a:lnTo>
                  <a:lnTo>
                    <a:pt x="1696384" y="524164"/>
                  </a:lnTo>
                  <a:lnTo>
                    <a:pt x="1686854" y="557520"/>
                  </a:lnTo>
                  <a:lnTo>
                    <a:pt x="1677324" y="590876"/>
                  </a:lnTo>
                  <a:lnTo>
                    <a:pt x="1653498" y="614702"/>
                  </a:lnTo>
                  <a:lnTo>
                    <a:pt x="1648734" y="624232"/>
                  </a:lnTo>
                  <a:lnTo>
                    <a:pt x="1648734" y="633762"/>
                  </a:lnTo>
                  <a:lnTo>
                    <a:pt x="1648734" y="648058"/>
                  </a:lnTo>
                  <a:lnTo>
                    <a:pt x="1643968" y="676648"/>
                  </a:lnTo>
                  <a:lnTo>
                    <a:pt x="1643968" y="686178"/>
                  </a:lnTo>
                  <a:lnTo>
                    <a:pt x="1639202" y="690944"/>
                  </a:lnTo>
                  <a:lnTo>
                    <a:pt x="1615378" y="700474"/>
                  </a:lnTo>
                  <a:lnTo>
                    <a:pt x="1601082" y="710004"/>
                  </a:lnTo>
                  <a:lnTo>
                    <a:pt x="1591552" y="729064"/>
                  </a:lnTo>
                  <a:lnTo>
                    <a:pt x="1586786" y="748124"/>
                  </a:lnTo>
                  <a:lnTo>
                    <a:pt x="1582022" y="771950"/>
                  </a:lnTo>
                  <a:lnTo>
                    <a:pt x="1582022" y="795776"/>
                  </a:lnTo>
                  <a:lnTo>
                    <a:pt x="1577256" y="805306"/>
                  </a:lnTo>
                  <a:lnTo>
                    <a:pt x="1567726" y="814836"/>
                  </a:lnTo>
                  <a:lnTo>
                    <a:pt x="1558196" y="829132"/>
                  </a:lnTo>
                  <a:lnTo>
                    <a:pt x="1543900" y="838662"/>
                  </a:lnTo>
                  <a:lnTo>
                    <a:pt x="1520074" y="838662"/>
                  </a:lnTo>
                  <a:lnTo>
                    <a:pt x="1505780" y="867252"/>
                  </a:lnTo>
                  <a:lnTo>
                    <a:pt x="1491484" y="891078"/>
                  </a:lnTo>
                  <a:lnTo>
                    <a:pt x="1491484" y="900608"/>
                  </a:lnTo>
                  <a:lnTo>
                    <a:pt x="1477188" y="943494"/>
                  </a:lnTo>
                  <a:lnTo>
                    <a:pt x="1458128" y="976850"/>
                  </a:lnTo>
                  <a:lnTo>
                    <a:pt x="1458128" y="991146"/>
                  </a:lnTo>
                  <a:lnTo>
                    <a:pt x="1458128" y="1000676"/>
                  </a:lnTo>
                  <a:lnTo>
                    <a:pt x="1434302" y="1029268"/>
                  </a:lnTo>
                  <a:lnTo>
                    <a:pt x="1424772" y="1038798"/>
                  </a:lnTo>
                  <a:lnTo>
                    <a:pt x="1420008" y="1048328"/>
                  </a:lnTo>
                  <a:lnTo>
                    <a:pt x="1424772" y="1062624"/>
                  </a:lnTo>
                  <a:lnTo>
                    <a:pt x="1434302" y="1072154"/>
                  </a:lnTo>
                  <a:lnTo>
                    <a:pt x="1420008" y="1081684"/>
                  </a:lnTo>
                  <a:lnTo>
                    <a:pt x="1400946" y="1100744"/>
                  </a:lnTo>
                  <a:lnTo>
                    <a:pt x="1391416" y="1110274"/>
                  </a:lnTo>
                  <a:lnTo>
                    <a:pt x="1386652" y="1115040"/>
                  </a:lnTo>
                  <a:lnTo>
                    <a:pt x="1386652" y="1138864"/>
                  </a:lnTo>
                  <a:lnTo>
                    <a:pt x="1381886" y="1148396"/>
                  </a:lnTo>
                  <a:lnTo>
                    <a:pt x="1372356" y="1157926"/>
                  </a:lnTo>
                  <a:lnTo>
                    <a:pt x="1362826" y="1167456"/>
                  </a:lnTo>
                  <a:lnTo>
                    <a:pt x="1348530" y="1172220"/>
                  </a:lnTo>
                  <a:lnTo>
                    <a:pt x="1334234" y="1176986"/>
                  </a:lnTo>
                  <a:lnTo>
                    <a:pt x="1324704" y="1181752"/>
                  </a:lnTo>
                  <a:lnTo>
                    <a:pt x="1315174" y="1176986"/>
                  </a:lnTo>
                  <a:lnTo>
                    <a:pt x="1310410" y="1172220"/>
                  </a:lnTo>
                  <a:lnTo>
                    <a:pt x="1305644" y="1138864"/>
                  </a:lnTo>
                  <a:lnTo>
                    <a:pt x="1300878" y="1134100"/>
                  </a:lnTo>
                  <a:lnTo>
                    <a:pt x="1291348" y="1129334"/>
                  </a:lnTo>
                  <a:lnTo>
                    <a:pt x="1277054" y="1110274"/>
                  </a:lnTo>
                  <a:lnTo>
                    <a:pt x="1257992" y="1095978"/>
                  </a:lnTo>
                  <a:lnTo>
                    <a:pt x="1238932" y="1081684"/>
                  </a:lnTo>
                  <a:lnTo>
                    <a:pt x="1234168" y="1081684"/>
                  </a:lnTo>
                  <a:lnTo>
                    <a:pt x="1229402" y="1086448"/>
                  </a:lnTo>
                  <a:lnTo>
                    <a:pt x="1224636" y="1105510"/>
                  </a:lnTo>
                  <a:lnTo>
                    <a:pt x="1219872" y="1110274"/>
                  </a:lnTo>
                  <a:lnTo>
                    <a:pt x="1205576" y="1110274"/>
                  </a:lnTo>
                  <a:lnTo>
                    <a:pt x="1186516" y="1110274"/>
                  </a:lnTo>
                  <a:lnTo>
                    <a:pt x="1172220" y="1110274"/>
                  </a:lnTo>
                  <a:lnTo>
                    <a:pt x="1172220" y="1105510"/>
                  </a:lnTo>
                  <a:lnTo>
                    <a:pt x="1167456" y="1100744"/>
                  </a:lnTo>
                  <a:lnTo>
                    <a:pt x="1167456" y="1091214"/>
                  </a:lnTo>
                  <a:lnTo>
                    <a:pt x="1148394" y="1105510"/>
                  </a:lnTo>
                  <a:lnTo>
                    <a:pt x="1124570" y="1124570"/>
                  </a:lnTo>
                  <a:lnTo>
                    <a:pt x="1115038" y="1124570"/>
                  </a:lnTo>
                  <a:lnTo>
                    <a:pt x="1110274" y="1129334"/>
                  </a:lnTo>
                  <a:lnTo>
                    <a:pt x="1100744" y="1148396"/>
                  </a:lnTo>
                  <a:lnTo>
                    <a:pt x="1091214" y="1167456"/>
                  </a:lnTo>
                  <a:lnTo>
                    <a:pt x="1076918" y="1176986"/>
                  </a:lnTo>
                  <a:lnTo>
                    <a:pt x="1062622" y="1181752"/>
                  </a:lnTo>
                  <a:lnTo>
                    <a:pt x="1053092" y="1191282"/>
                  </a:lnTo>
                  <a:lnTo>
                    <a:pt x="1043562" y="1200812"/>
                  </a:lnTo>
                  <a:lnTo>
                    <a:pt x="995910" y="1248462"/>
                  </a:lnTo>
                  <a:lnTo>
                    <a:pt x="986380" y="1262758"/>
                  </a:lnTo>
                  <a:lnTo>
                    <a:pt x="976850" y="1281818"/>
                  </a:lnTo>
                  <a:lnTo>
                    <a:pt x="972084" y="1305644"/>
                  </a:lnTo>
                  <a:lnTo>
                    <a:pt x="962554" y="1334236"/>
                  </a:lnTo>
                  <a:lnTo>
                    <a:pt x="953024" y="1377122"/>
                  </a:lnTo>
                  <a:lnTo>
                    <a:pt x="943494" y="1400946"/>
                  </a:lnTo>
                  <a:lnTo>
                    <a:pt x="929198" y="1420008"/>
                  </a:lnTo>
                  <a:lnTo>
                    <a:pt x="924434" y="1434302"/>
                  </a:lnTo>
                  <a:lnTo>
                    <a:pt x="914904" y="1443832"/>
                  </a:lnTo>
                  <a:lnTo>
                    <a:pt x="910138" y="1448598"/>
                  </a:lnTo>
                  <a:lnTo>
                    <a:pt x="895844" y="1448598"/>
                  </a:lnTo>
                  <a:lnTo>
                    <a:pt x="891078" y="1434302"/>
                  </a:lnTo>
                  <a:lnTo>
                    <a:pt x="886312" y="1434302"/>
                  </a:lnTo>
                  <a:lnTo>
                    <a:pt x="872018" y="1420008"/>
                  </a:lnTo>
                  <a:lnTo>
                    <a:pt x="867252" y="1420008"/>
                  </a:lnTo>
                  <a:lnTo>
                    <a:pt x="881548" y="1458128"/>
                  </a:lnTo>
                  <a:lnTo>
                    <a:pt x="876782" y="1477188"/>
                  </a:lnTo>
                  <a:lnTo>
                    <a:pt x="833896" y="1477188"/>
                  </a:lnTo>
                  <a:lnTo>
                    <a:pt x="800540" y="1481954"/>
                  </a:lnTo>
                  <a:lnTo>
                    <a:pt x="776714" y="1481954"/>
                  </a:lnTo>
                  <a:lnTo>
                    <a:pt x="762420" y="1477188"/>
                  </a:lnTo>
                  <a:lnTo>
                    <a:pt x="757654" y="1458128"/>
                  </a:lnTo>
                  <a:lnTo>
                    <a:pt x="752890" y="1462894"/>
                  </a:lnTo>
                  <a:lnTo>
                    <a:pt x="752890" y="1467658"/>
                  </a:lnTo>
                  <a:lnTo>
                    <a:pt x="743358" y="1477188"/>
                  </a:lnTo>
                  <a:lnTo>
                    <a:pt x="719534" y="1477188"/>
                  </a:lnTo>
                  <a:lnTo>
                    <a:pt x="705238" y="1467658"/>
                  </a:lnTo>
                  <a:lnTo>
                    <a:pt x="695708" y="1458128"/>
                  </a:lnTo>
                  <a:lnTo>
                    <a:pt x="686178" y="1453364"/>
                  </a:lnTo>
                  <a:lnTo>
                    <a:pt x="700472" y="1467658"/>
                  </a:lnTo>
                  <a:lnTo>
                    <a:pt x="700472" y="1481954"/>
                  </a:lnTo>
                  <a:lnTo>
                    <a:pt x="676648" y="1501014"/>
                  </a:lnTo>
                  <a:lnTo>
                    <a:pt x="662352" y="1501014"/>
                  </a:lnTo>
                  <a:lnTo>
                    <a:pt x="652822" y="1496250"/>
                  </a:lnTo>
                  <a:lnTo>
                    <a:pt x="648056" y="1481954"/>
                  </a:lnTo>
                  <a:lnTo>
                    <a:pt x="648056" y="1462894"/>
                  </a:lnTo>
                  <a:lnTo>
                    <a:pt x="643292" y="1448598"/>
                  </a:lnTo>
                  <a:lnTo>
                    <a:pt x="638526" y="1448598"/>
                  </a:lnTo>
                  <a:lnTo>
                    <a:pt x="638526" y="1462894"/>
                  </a:lnTo>
                  <a:lnTo>
                    <a:pt x="643292" y="1472424"/>
                  </a:lnTo>
                  <a:lnTo>
                    <a:pt x="643292" y="1491484"/>
                  </a:lnTo>
                  <a:lnTo>
                    <a:pt x="652822" y="1505780"/>
                  </a:lnTo>
                  <a:lnTo>
                    <a:pt x="638526" y="1510544"/>
                  </a:lnTo>
                  <a:lnTo>
                    <a:pt x="628996" y="1510544"/>
                  </a:lnTo>
                  <a:lnTo>
                    <a:pt x="614700" y="1510544"/>
                  </a:lnTo>
                  <a:lnTo>
                    <a:pt x="614700" y="1505780"/>
                  </a:lnTo>
                  <a:lnTo>
                    <a:pt x="609936" y="1491484"/>
                  </a:lnTo>
                  <a:lnTo>
                    <a:pt x="609936" y="1486720"/>
                  </a:lnTo>
                  <a:lnTo>
                    <a:pt x="605170" y="1510544"/>
                  </a:lnTo>
                  <a:lnTo>
                    <a:pt x="595640" y="1510544"/>
                  </a:lnTo>
                  <a:lnTo>
                    <a:pt x="590874" y="1510544"/>
                  </a:lnTo>
                  <a:lnTo>
                    <a:pt x="562284" y="1515310"/>
                  </a:lnTo>
                  <a:lnTo>
                    <a:pt x="557518" y="1515310"/>
                  </a:lnTo>
                  <a:lnTo>
                    <a:pt x="557518" y="1510544"/>
                  </a:lnTo>
                  <a:lnTo>
                    <a:pt x="562284" y="1505780"/>
                  </a:lnTo>
                  <a:lnTo>
                    <a:pt x="562284" y="1496250"/>
                  </a:lnTo>
                  <a:lnTo>
                    <a:pt x="552754" y="1501014"/>
                  </a:lnTo>
                  <a:lnTo>
                    <a:pt x="547988" y="1515310"/>
                  </a:lnTo>
                  <a:lnTo>
                    <a:pt x="543224" y="1520076"/>
                  </a:lnTo>
                  <a:lnTo>
                    <a:pt x="528928" y="1515310"/>
                  </a:lnTo>
                  <a:lnTo>
                    <a:pt x="514632" y="1510544"/>
                  </a:lnTo>
                  <a:lnTo>
                    <a:pt x="486042" y="1491484"/>
                  </a:lnTo>
                  <a:lnTo>
                    <a:pt x="452686" y="1462894"/>
                  </a:lnTo>
                  <a:lnTo>
                    <a:pt x="447920" y="1448598"/>
                  </a:lnTo>
                  <a:lnTo>
                    <a:pt x="438390" y="1429538"/>
                  </a:lnTo>
                  <a:lnTo>
                    <a:pt x="433626" y="1415242"/>
                  </a:lnTo>
                  <a:lnTo>
                    <a:pt x="424096" y="1386652"/>
                  </a:lnTo>
                  <a:lnTo>
                    <a:pt x="433626" y="1386652"/>
                  </a:lnTo>
                  <a:lnTo>
                    <a:pt x="438390" y="1381886"/>
                  </a:lnTo>
                  <a:lnTo>
                    <a:pt x="424096" y="1377122"/>
                  </a:lnTo>
                  <a:lnTo>
                    <a:pt x="419330" y="1377122"/>
                  </a:lnTo>
                  <a:lnTo>
                    <a:pt x="419330" y="1367592"/>
                  </a:lnTo>
                  <a:lnTo>
                    <a:pt x="419330" y="1353296"/>
                  </a:lnTo>
                  <a:lnTo>
                    <a:pt x="428860" y="1348530"/>
                  </a:lnTo>
                  <a:lnTo>
                    <a:pt x="438390" y="1348530"/>
                  </a:lnTo>
                  <a:lnTo>
                    <a:pt x="443156" y="1339000"/>
                  </a:lnTo>
                  <a:lnTo>
                    <a:pt x="447920" y="1334236"/>
                  </a:lnTo>
                  <a:lnTo>
                    <a:pt x="424096" y="1343766"/>
                  </a:lnTo>
                  <a:lnTo>
                    <a:pt x="400270" y="1329470"/>
                  </a:lnTo>
                  <a:lnTo>
                    <a:pt x="390740" y="1324704"/>
                  </a:lnTo>
                  <a:lnTo>
                    <a:pt x="395504" y="1315174"/>
                  </a:lnTo>
                  <a:lnTo>
                    <a:pt x="405034" y="1315174"/>
                  </a:lnTo>
                  <a:lnTo>
                    <a:pt x="424096" y="1315174"/>
                  </a:lnTo>
                  <a:lnTo>
                    <a:pt x="433626" y="1310410"/>
                  </a:lnTo>
                  <a:lnTo>
                    <a:pt x="428860" y="1310410"/>
                  </a:lnTo>
                  <a:lnTo>
                    <a:pt x="414566" y="1310410"/>
                  </a:lnTo>
                  <a:lnTo>
                    <a:pt x="414566" y="1305644"/>
                  </a:lnTo>
                  <a:lnTo>
                    <a:pt x="414566" y="1296114"/>
                  </a:lnTo>
                  <a:lnTo>
                    <a:pt x="409800" y="1296114"/>
                  </a:lnTo>
                  <a:lnTo>
                    <a:pt x="405034" y="1305644"/>
                  </a:lnTo>
                  <a:lnTo>
                    <a:pt x="390740" y="1310410"/>
                  </a:lnTo>
                  <a:lnTo>
                    <a:pt x="381210" y="1305644"/>
                  </a:lnTo>
                  <a:lnTo>
                    <a:pt x="376444" y="1291348"/>
                  </a:lnTo>
                  <a:lnTo>
                    <a:pt x="376444" y="1286584"/>
                  </a:lnTo>
                  <a:lnTo>
                    <a:pt x="366914" y="1281818"/>
                  </a:lnTo>
                  <a:lnTo>
                    <a:pt x="338324" y="1243698"/>
                  </a:lnTo>
                  <a:lnTo>
                    <a:pt x="304968" y="1215108"/>
                  </a:lnTo>
                  <a:lnTo>
                    <a:pt x="271612" y="1196046"/>
                  </a:lnTo>
                  <a:lnTo>
                    <a:pt x="223960" y="1186516"/>
                  </a:lnTo>
                  <a:lnTo>
                    <a:pt x="123892" y="1186516"/>
                  </a:lnTo>
                  <a:lnTo>
                    <a:pt x="119128" y="1181752"/>
                  </a:lnTo>
                  <a:lnTo>
                    <a:pt x="123892" y="1176986"/>
                  </a:lnTo>
                  <a:lnTo>
                    <a:pt x="133422" y="1176986"/>
                  </a:lnTo>
                  <a:lnTo>
                    <a:pt x="166778" y="1157926"/>
                  </a:lnTo>
                  <a:lnTo>
                    <a:pt x="162014" y="1157926"/>
                  </a:lnTo>
                  <a:lnTo>
                    <a:pt x="128658" y="1167456"/>
                  </a:lnTo>
                  <a:lnTo>
                    <a:pt x="114362" y="1167456"/>
                  </a:lnTo>
                  <a:lnTo>
                    <a:pt x="100066" y="1186516"/>
                  </a:lnTo>
                  <a:lnTo>
                    <a:pt x="14294" y="1191282"/>
                  </a:lnTo>
                  <a:lnTo>
                    <a:pt x="4764" y="1191282"/>
                  </a:lnTo>
                  <a:lnTo>
                    <a:pt x="4764" y="1181752"/>
                  </a:lnTo>
                  <a:lnTo>
                    <a:pt x="9530" y="1157926"/>
                  </a:lnTo>
                  <a:lnTo>
                    <a:pt x="9530" y="1143630"/>
                  </a:lnTo>
                  <a:lnTo>
                    <a:pt x="14294" y="1138864"/>
                  </a:lnTo>
                  <a:lnTo>
                    <a:pt x="9530" y="1129334"/>
                  </a:lnTo>
                  <a:lnTo>
                    <a:pt x="9530" y="1115040"/>
                  </a:lnTo>
                  <a:lnTo>
                    <a:pt x="4764" y="1095978"/>
                  </a:lnTo>
                  <a:lnTo>
                    <a:pt x="9530" y="1091214"/>
                  </a:lnTo>
                  <a:lnTo>
                    <a:pt x="9530" y="1081684"/>
                  </a:lnTo>
                  <a:lnTo>
                    <a:pt x="9530" y="1067388"/>
                  </a:lnTo>
                  <a:lnTo>
                    <a:pt x="9530" y="1029268"/>
                  </a:lnTo>
                  <a:lnTo>
                    <a:pt x="14294" y="1024502"/>
                  </a:lnTo>
                  <a:lnTo>
                    <a:pt x="14294" y="1019736"/>
                  </a:lnTo>
                  <a:lnTo>
                    <a:pt x="9530" y="1005442"/>
                  </a:lnTo>
                  <a:lnTo>
                    <a:pt x="4764" y="995912"/>
                  </a:lnTo>
                  <a:lnTo>
                    <a:pt x="4764" y="976850"/>
                  </a:lnTo>
                  <a:lnTo>
                    <a:pt x="4764" y="962556"/>
                  </a:lnTo>
                  <a:lnTo>
                    <a:pt x="0" y="953026"/>
                  </a:lnTo>
                  <a:lnTo>
                    <a:pt x="4764" y="929200"/>
                  </a:lnTo>
                  <a:lnTo>
                    <a:pt x="4764" y="891078"/>
                  </a:lnTo>
                  <a:lnTo>
                    <a:pt x="4764" y="876784"/>
                  </a:lnTo>
                  <a:lnTo>
                    <a:pt x="4764" y="867252"/>
                  </a:lnTo>
                  <a:lnTo>
                    <a:pt x="9530" y="838662"/>
                  </a:lnTo>
                  <a:lnTo>
                    <a:pt x="9530" y="810072"/>
                  </a:lnTo>
                  <a:lnTo>
                    <a:pt x="14294" y="767186"/>
                  </a:lnTo>
                  <a:lnTo>
                    <a:pt x="33354" y="767186"/>
                  </a:lnTo>
                  <a:lnTo>
                    <a:pt x="57180" y="762420"/>
                  </a:lnTo>
                  <a:lnTo>
                    <a:pt x="66710" y="748124"/>
                  </a:lnTo>
                  <a:lnTo>
                    <a:pt x="71476" y="724300"/>
                  </a:lnTo>
                  <a:lnTo>
                    <a:pt x="71476" y="705238"/>
                  </a:lnTo>
                  <a:lnTo>
                    <a:pt x="76242" y="700474"/>
                  </a:lnTo>
                  <a:lnTo>
                    <a:pt x="85772" y="686178"/>
                  </a:lnTo>
                  <a:lnTo>
                    <a:pt x="100066" y="671882"/>
                  </a:lnTo>
                  <a:lnTo>
                    <a:pt x="100066" y="652822"/>
                  </a:lnTo>
                  <a:lnTo>
                    <a:pt x="104832" y="648058"/>
                  </a:lnTo>
                  <a:lnTo>
                    <a:pt x="114362" y="643292"/>
                  </a:lnTo>
                  <a:lnTo>
                    <a:pt x="123892" y="643292"/>
                  </a:lnTo>
                  <a:lnTo>
                    <a:pt x="138188" y="633762"/>
                  </a:lnTo>
                  <a:lnTo>
                    <a:pt x="142952" y="619466"/>
                  </a:lnTo>
                  <a:lnTo>
                    <a:pt x="152484" y="590876"/>
                  </a:lnTo>
                  <a:lnTo>
                    <a:pt x="138188" y="576580"/>
                  </a:lnTo>
                  <a:lnTo>
                    <a:pt x="138188" y="571816"/>
                  </a:lnTo>
                  <a:lnTo>
                    <a:pt x="142952" y="562284"/>
                  </a:lnTo>
                  <a:lnTo>
                    <a:pt x="152484" y="552754"/>
                  </a:lnTo>
                  <a:lnTo>
                    <a:pt x="157248" y="552754"/>
                  </a:lnTo>
                  <a:lnTo>
                    <a:pt x="166778" y="552754"/>
                  </a:lnTo>
                  <a:lnTo>
                    <a:pt x="171544" y="552754"/>
                  </a:lnTo>
                  <a:lnTo>
                    <a:pt x="171544" y="547990"/>
                  </a:lnTo>
                  <a:lnTo>
                    <a:pt x="181074" y="524164"/>
                  </a:lnTo>
                  <a:lnTo>
                    <a:pt x="181074" y="514634"/>
                  </a:lnTo>
                  <a:lnTo>
                    <a:pt x="166778" y="495574"/>
                  </a:lnTo>
                  <a:lnTo>
                    <a:pt x="166778" y="486042"/>
                  </a:lnTo>
                  <a:lnTo>
                    <a:pt x="162014" y="462218"/>
                  </a:lnTo>
                  <a:lnTo>
                    <a:pt x="162014" y="447922"/>
                  </a:lnTo>
                  <a:lnTo>
                    <a:pt x="157248" y="438392"/>
                  </a:lnTo>
                  <a:lnTo>
                    <a:pt x="152484" y="433626"/>
                  </a:lnTo>
                  <a:lnTo>
                    <a:pt x="147718" y="433626"/>
                  </a:lnTo>
                  <a:lnTo>
                    <a:pt x="123892" y="395506"/>
                  </a:lnTo>
                  <a:lnTo>
                    <a:pt x="123892" y="381210"/>
                  </a:lnTo>
                  <a:lnTo>
                    <a:pt x="138188" y="357384"/>
                  </a:lnTo>
                  <a:lnTo>
                    <a:pt x="142952" y="347854"/>
                  </a:lnTo>
                  <a:lnTo>
                    <a:pt x="152484" y="343090"/>
                  </a:lnTo>
                  <a:lnTo>
                    <a:pt x="152484" y="338324"/>
                  </a:lnTo>
                  <a:lnTo>
                    <a:pt x="152484" y="333558"/>
                  </a:lnTo>
                  <a:lnTo>
                    <a:pt x="147718" y="328794"/>
                  </a:lnTo>
                  <a:lnTo>
                    <a:pt x="142952" y="319264"/>
                  </a:lnTo>
                  <a:lnTo>
                    <a:pt x="147718" y="314498"/>
                  </a:lnTo>
                  <a:lnTo>
                    <a:pt x="147718" y="304968"/>
                  </a:lnTo>
                  <a:lnTo>
                    <a:pt x="147718" y="290672"/>
                  </a:lnTo>
                  <a:lnTo>
                    <a:pt x="147718" y="266848"/>
                  </a:lnTo>
                  <a:lnTo>
                    <a:pt x="147718" y="233492"/>
                  </a:lnTo>
                  <a:lnTo>
                    <a:pt x="152484" y="214430"/>
                  </a:lnTo>
                  <a:lnTo>
                    <a:pt x="171544" y="200136"/>
                  </a:lnTo>
                  <a:lnTo>
                    <a:pt x="195370" y="176310"/>
                  </a:lnTo>
                  <a:lnTo>
                    <a:pt x="209664" y="152484"/>
                  </a:lnTo>
                  <a:lnTo>
                    <a:pt x="219194" y="133424"/>
                  </a:lnTo>
                  <a:lnTo>
                    <a:pt x="228726" y="66712"/>
                  </a:lnTo>
                  <a:lnTo>
                    <a:pt x="233490" y="61946"/>
                  </a:lnTo>
                  <a:lnTo>
                    <a:pt x="243020" y="61946"/>
                  </a:lnTo>
                  <a:lnTo>
                    <a:pt x="271612" y="38122"/>
                  </a:lnTo>
                  <a:lnTo>
                    <a:pt x="295436" y="28590"/>
                  </a:lnTo>
                  <a:lnTo>
                    <a:pt x="309732" y="23826"/>
                  </a:lnTo>
                  <a:lnTo>
                    <a:pt x="333558" y="19060"/>
                  </a:lnTo>
                  <a:lnTo>
                    <a:pt x="347854" y="19060"/>
                  </a:lnTo>
                  <a:lnTo>
                    <a:pt x="376444" y="19060"/>
                  </a:lnTo>
                  <a:lnTo>
                    <a:pt x="400270" y="19060"/>
                  </a:lnTo>
                  <a:lnTo>
                    <a:pt x="419330" y="476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4" name="Line 5855">
              <a:extLst>
                <a:ext uri="{FF2B5EF4-FFF2-40B4-BE49-F238E27FC236}">
                  <a16:creationId xmlns:a16="http://schemas.microsoft.com/office/drawing/2014/main" id="{F08632C5-9F6B-40E9-A88C-FBF73D97C9D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445691" y="5058663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5" name="Line 5858">
              <a:extLst>
                <a:ext uri="{FF2B5EF4-FFF2-40B4-BE49-F238E27FC236}">
                  <a16:creationId xmlns:a16="http://schemas.microsoft.com/office/drawing/2014/main" id="{80727AD9-7EEF-4A04-B622-CA85AEF13C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445691" y="5058663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6" name="Freeform 5859">
              <a:extLst>
                <a:ext uri="{FF2B5EF4-FFF2-40B4-BE49-F238E27FC236}">
                  <a16:creationId xmlns:a16="http://schemas.microsoft.com/office/drawing/2014/main" id="{847D9D39-34D8-4536-B0B0-A6E17573E9DC}"/>
                </a:ext>
              </a:extLst>
            </p:cNvPr>
            <p:cNvSpPr/>
            <p:nvPr/>
          </p:nvSpPr>
          <p:spPr bwMode="auto">
            <a:xfrm>
              <a:off x="3083339" y="5026286"/>
              <a:ext cx="113704" cy="110235"/>
            </a:xfrm>
            <a:custGeom>
              <a:avLst/>
              <a:gdLst>
                <a:gd name="T0" fmla="*/ 271 w 295"/>
                <a:gd name="T1" fmla="*/ 2 h 286"/>
                <a:gd name="T2" fmla="*/ 261 w 295"/>
                <a:gd name="T3" fmla="*/ 8 h 286"/>
                <a:gd name="T4" fmla="*/ 243 w 295"/>
                <a:gd name="T5" fmla="*/ 16 h 286"/>
                <a:gd name="T6" fmla="*/ 233 w 295"/>
                <a:gd name="T7" fmla="*/ 16 h 286"/>
                <a:gd name="T8" fmla="*/ 227 w 295"/>
                <a:gd name="T9" fmla="*/ 18 h 286"/>
                <a:gd name="T10" fmla="*/ 223 w 295"/>
                <a:gd name="T11" fmla="*/ 20 h 286"/>
                <a:gd name="T12" fmla="*/ 215 w 295"/>
                <a:gd name="T13" fmla="*/ 20 h 286"/>
                <a:gd name="T14" fmla="*/ 197 w 295"/>
                <a:gd name="T15" fmla="*/ 22 h 286"/>
                <a:gd name="T16" fmla="*/ 185 w 295"/>
                <a:gd name="T17" fmla="*/ 12 h 286"/>
                <a:gd name="T18" fmla="*/ 171 w 295"/>
                <a:gd name="T19" fmla="*/ 24 h 286"/>
                <a:gd name="T20" fmla="*/ 167 w 295"/>
                <a:gd name="T21" fmla="*/ 28 h 286"/>
                <a:gd name="T22" fmla="*/ 161 w 295"/>
                <a:gd name="T23" fmla="*/ 42 h 286"/>
                <a:gd name="T24" fmla="*/ 157 w 295"/>
                <a:gd name="T25" fmla="*/ 48 h 286"/>
                <a:gd name="T26" fmla="*/ 137 w 295"/>
                <a:gd name="T27" fmla="*/ 66 h 286"/>
                <a:gd name="T28" fmla="*/ 127 w 295"/>
                <a:gd name="T29" fmla="*/ 76 h 286"/>
                <a:gd name="T30" fmla="*/ 111 w 295"/>
                <a:gd name="T31" fmla="*/ 70 h 286"/>
                <a:gd name="T32" fmla="*/ 100 w 295"/>
                <a:gd name="T33" fmla="*/ 68 h 286"/>
                <a:gd name="T34" fmla="*/ 86 w 295"/>
                <a:gd name="T35" fmla="*/ 84 h 286"/>
                <a:gd name="T36" fmla="*/ 60 w 295"/>
                <a:gd name="T37" fmla="*/ 84 h 286"/>
                <a:gd name="T38" fmla="*/ 62 w 295"/>
                <a:gd name="T39" fmla="*/ 108 h 286"/>
                <a:gd name="T40" fmla="*/ 58 w 295"/>
                <a:gd name="T41" fmla="*/ 116 h 286"/>
                <a:gd name="T42" fmla="*/ 50 w 295"/>
                <a:gd name="T43" fmla="*/ 122 h 286"/>
                <a:gd name="T44" fmla="*/ 44 w 295"/>
                <a:gd name="T45" fmla="*/ 134 h 286"/>
                <a:gd name="T46" fmla="*/ 22 w 295"/>
                <a:gd name="T47" fmla="*/ 138 h 286"/>
                <a:gd name="T48" fmla="*/ 12 w 295"/>
                <a:gd name="T49" fmla="*/ 136 h 286"/>
                <a:gd name="T50" fmla="*/ 0 w 295"/>
                <a:gd name="T51" fmla="*/ 138 h 286"/>
                <a:gd name="T52" fmla="*/ 32 w 295"/>
                <a:gd name="T53" fmla="*/ 168 h 286"/>
                <a:gd name="T54" fmla="*/ 60 w 295"/>
                <a:gd name="T55" fmla="*/ 192 h 286"/>
                <a:gd name="T56" fmla="*/ 111 w 295"/>
                <a:gd name="T57" fmla="*/ 246 h 286"/>
                <a:gd name="T58" fmla="*/ 127 w 295"/>
                <a:gd name="T59" fmla="*/ 264 h 286"/>
                <a:gd name="T60" fmla="*/ 129 w 295"/>
                <a:gd name="T61" fmla="*/ 262 h 286"/>
                <a:gd name="T62" fmla="*/ 137 w 295"/>
                <a:gd name="T63" fmla="*/ 256 h 286"/>
                <a:gd name="T64" fmla="*/ 163 w 295"/>
                <a:gd name="T65" fmla="*/ 266 h 286"/>
                <a:gd name="T66" fmla="*/ 195 w 295"/>
                <a:gd name="T67" fmla="*/ 266 h 286"/>
                <a:gd name="T68" fmla="*/ 213 w 295"/>
                <a:gd name="T69" fmla="*/ 270 h 286"/>
                <a:gd name="T70" fmla="*/ 227 w 295"/>
                <a:gd name="T71" fmla="*/ 280 h 286"/>
                <a:gd name="T72" fmla="*/ 235 w 295"/>
                <a:gd name="T73" fmla="*/ 284 h 286"/>
                <a:gd name="T74" fmla="*/ 259 w 295"/>
                <a:gd name="T75" fmla="*/ 284 h 286"/>
                <a:gd name="T76" fmla="*/ 259 w 295"/>
                <a:gd name="T77" fmla="*/ 274 h 286"/>
                <a:gd name="T78" fmla="*/ 249 w 295"/>
                <a:gd name="T79" fmla="*/ 248 h 286"/>
                <a:gd name="T80" fmla="*/ 255 w 295"/>
                <a:gd name="T81" fmla="*/ 236 h 286"/>
                <a:gd name="T82" fmla="*/ 263 w 295"/>
                <a:gd name="T83" fmla="*/ 220 h 286"/>
                <a:gd name="T84" fmla="*/ 253 w 295"/>
                <a:gd name="T85" fmla="*/ 214 h 286"/>
                <a:gd name="T86" fmla="*/ 255 w 295"/>
                <a:gd name="T87" fmla="*/ 206 h 286"/>
                <a:gd name="T88" fmla="*/ 259 w 295"/>
                <a:gd name="T89" fmla="*/ 198 h 286"/>
                <a:gd name="T90" fmla="*/ 261 w 295"/>
                <a:gd name="T91" fmla="*/ 186 h 286"/>
                <a:gd name="T92" fmla="*/ 259 w 295"/>
                <a:gd name="T93" fmla="*/ 174 h 286"/>
                <a:gd name="T94" fmla="*/ 261 w 295"/>
                <a:gd name="T95" fmla="*/ 164 h 286"/>
                <a:gd name="T96" fmla="*/ 269 w 295"/>
                <a:gd name="T97" fmla="*/ 158 h 286"/>
                <a:gd name="T98" fmla="*/ 265 w 295"/>
                <a:gd name="T99" fmla="*/ 172 h 286"/>
                <a:gd name="T100" fmla="*/ 273 w 295"/>
                <a:gd name="T101" fmla="*/ 174 h 286"/>
                <a:gd name="T102" fmla="*/ 273 w 295"/>
                <a:gd name="T103" fmla="*/ 138 h 286"/>
                <a:gd name="T104" fmla="*/ 279 w 295"/>
                <a:gd name="T105" fmla="*/ 68 h 286"/>
                <a:gd name="T106" fmla="*/ 293 w 295"/>
                <a:gd name="T107" fmla="*/ 50 h 286"/>
                <a:gd name="T108" fmla="*/ 283 w 295"/>
                <a:gd name="T109" fmla="*/ 16 h 286"/>
                <a:gd name="T110" fmla="*/ 281 w 295"/>
                <a:gd name="T111" fmla="*/ 8 h 286"/>
                <a:gd name="T112" fmla="*/ 287 w 295"/>
                <a:gd name="T113" fmla="*/ 14 h 286"/>
                <a:gd name="T114" fmla="*/ 293 w 295"/>
                <a:gd name="T115" fmla="*/ 2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95" h="286">
                  <a:moveTo>
                    <a:pt x="295" y="0"/>
                  </a:moveTo>
                  <a:lnTo>
                    <a:pt x="279" y="0"/>
                  </a:lnTo>
                  <a:lnTo>
                    <a:pt x="271" y="2"/>
                  </a:lnTo>
                  <a:lnTo>
                    <a:pt x="267" y="6"/>
                  </a:lnTo>
                  <a:lnTo>
                    <a:pt x="265" y="8"/>
                  </a:lnTo>
                  <a:lnTo>
                    <a:pt x="261" y="8"/>
                  </a:lnTo>
                  <a:lnTo>
                    <a:pt x="257" y="10"/>
                  </a:lnTo>
                  <a:lnTo>
                    <a:pt x="249" y="14"/>
                  </a:lnTo>
                  <a:lnTo>
                    <a:pt x="243" y="16"/>
                  </a:lnTo>
                  <a:lnTo>
                    <a:pt x="237" y="14"/>
                  </a:lnTo>
                  <a:lnTo>
                    <a:pt x="235" y="16"/>
                  </a:lnTo>
                  <a:lnTo>
                    <a:pt x="233" y="16"/>
                  </a:lnTo>
                  <a:lnTo>
                    <a:pt x="233" y="18"/>
                  </a:lnTo>
                  <a:lnTo>
                    <a:pt x="231" y="18"/>
                  </a:lnTo>
                  <a:lnTo>
                    <a:pt x="227" y="18"/>
                  </a:lnTo>
                  <a:lnTo>
                    <a:pt x="225" y="16"/>
                  </a:lnTo>
                  <a:lnTo>
                    <a:pt x="223" y="18"/>
                  </a:lnTo>
                  <a:lnTo>
                    <a:pt x="223" y="20"/>
                  </a:lnTo>
                  <a:lnTo>
                    <a:pt x="221" y="20"/>
                  </a:lnTo>
                  <a:lnTo>
                    <a:pt x="219" y="20"/>
                  </a:lnTo>
                  <a:lnTo>
                    <a:pt x="215" y="20"/>
                  </a:lnTo>
                  <a:lnTo>
                    <a:pt x="211" y="24"/>
                  </a:lnTo>
                  <a:lnTo>
                    <a:pt x="205" y="24"/>
                  </a:lnTo>
                  <a:lnTo>
                    <a:pt x="197" y="22"/>
                  </a:lnTo>
                  <a:lnTo>
                    <a:pt x="193" y="20"/>
                  </a:lnTo>
                  <a:lnTo>
                    <a:pt x="189" y="14"/>
                  </a:lnTo>
                  <a:lnTo>
                    <a:pt x="185" y="12"/>
                  </a:lnTo>
                  <a:lnTo>
                    <a:pt x="175" y="16"/>
                  </a:lnTo>
                  <a:lnTo>
                    <a:pt x="173" y="22"/>
                  </a:lnTo>
                  <a:lnTo>
                    <a:pt x="171" y="24"/>
                  </a:lnTo>
                  <a:lnTo>
                    <a:pt x="173" y="26"/>
                  </a:lnTo>
                  <a:lnTo>
                    <a:pt x="171" y="28"/>
                  </a:lnTo>
                  <a:lnTo>
                    <a:pt x="167" y="28"/>
                  </a:lnTo>
                  <a:lnTo>
                    <a:pt x="165" y="32"/>
                  </a:lnTo>
                  <a:lnTo>
                    <a:pt x="163" y="38"/>
                  </a:lnTo>
                  <a:lnTo>
                    <a:pt x="161" y="42"/>
                  </a:lnTo>
                  <a:lnTo>
                    <a:pt x="163" y="44"/>
                  </a:lnTo>
                  <a:lnTo>
                    <a:pt x="161" y="46"/>
                  </a:lnTo>
                  <a:lnTo>
                    <a:pt x="157" y="48"/>
                  </a:lnTo>
                  <a:lnTo>
                    <a:pt x="151" y="52"/>
                  </a:lnTo>
                  <a:lnTo>
                    <a:pt x="143" y="60"/>
                  </a:lnTo>
                  <a:lnTo>
                    <a:pt x="137" y="66"/>
                  </a:lnTo>
                  <a:lnTo>
                    <a:pt x="131" y="68"/>
                  </a:lnTo>
                  <a:lnTo>
                    <a:pt x="127" y="72"/>
                  </a:lnTo>
                  <a:lnTo>
                    <a:pt x="127" y="76"/>
                  </a:lnTo>
                  <a:lnTo>
                    <a:pt x="127" y="78"/>
                  </a:lnTo>
                  <a:lnTo>
                    <a:pt x="123" y="78"/>
                  </a:lnTo>
                  <a:lnTo>
                    <a:pt x="111" y="70"/>
                  </a:lnTo>
                  <a:lnTo>
                    <a:pt x="107" y="64"/>
                  </a:lnTo>
                  <a:lnTo>
                    <a:pt x="103" y="66"/>
                  </a:lnTo>
                  <a:lnTo>
                    <a:pt x="100" y="68"/>
                  </a:lnTo>
                  <a:lnTo>
                    <a:pt x="94" y="74"/>
                  </a:lnTo>
                  <a:lnTo>
                    <a:pt x="88" y="84"/>
                  </a:lnTo>
                  <a:lnTo>
                    <a:pt x="86" y="84"/>
                  </a:lnTo>
                  <a:lnTo>
                    <a:pt x="70" y="82"/>
                  </a:lnTo>
                  <a:lnTo>
                    <a:pt x="62" y="84"/>
                  </a:lnTo>
                  <a:lnTo>
                    <a:pt x="60" y="84"/>
                  </a:lnTo>
                  <a:lnTo>
                    <a:pt x="60" y="88"/>
                  </a:lnTo>
                  <a:lnTo>
                    <a:pt x="60" y="92"/>
                  </a:lnTo>
                  <a:lnTo>
                    <a:pt x="62" y="108"/>
                  </a:lnTo>
                  <a:lnTo>
                    <a:pt x="64" y="114"/>
                  </a:lnTo>
                  <a:lnTo>
                    <a:pt x="62" y="116"/>
                  </a:lnTo>
                  <a:lnTo>
                    <a:pt x="58" y="116"/>
                  </a:lnTo>
                  <a:lnTo>
                    <a:pt x="52" y="118"/>
                  </a:lnTo>
                  <a:lnTo>
                    <a:pt x="50" y="120"/>
                  </a:lnTo>
                  <a:lnTo>
                    <a:pt x="50" y="122"/>
                  </a:lnTo>
                  <a:lnTo>
                    <a:pt x="50" y="126"/>
                  </a:lnTo>
                  <a:lnTo>
                    <a:pt x="48" y="132"/>
                  </a:lnTo>
                  <a:lnTo>
                    <a:pt x="44" y="134"/>
                  </a:lnTo>
                  <a:lnTo>
                    <a:pt x="40" y="136"/>
                  </a:lnTo>
                  <a:lnTo>
                    <a:pt x="22" y="136"/>
                  </a:lnTo>
                  <a:lnTo>
                    <a:pt x="22" y="138"/>
                  </a:lnTo>
                  <a:lnTo>
                    <a:pt x="18" y="140"/>
                  </a:lnTo>
                  <a:lnTo>
                    <a:pt x="16" y="140"/>
                  </a:lnTo>
                  <a:lnTo>
                    <a:pt x="12" y="136"/>
                  </a:lnTo>
                  <a:lnTo>
                    <a:pt x="8" y="132"/>
                  </a:lnTo>
                  <a:lnTo>
                    <a:pt x="6" y="132"/>
                  </a:lnTo>
                  <a:lnTo>
                    <a:pt x="0" y="138"/>
                  </a:lnTo>
                  <a:lnTo>
                    <a:pt x="0" y="142"/>
                  </a:lnTo>
                  <a:lnTo>
                    <a:pt x="14" y="152"/>
                  </a:lnTo>
                  <a:lnTo>
                    <a:pt x="32" y="168"/>
                  </a:lnTo>
                  <a:lnTo>
                    <a:pt x="36" y="172"/>
                  </a:lnTo>
                  <a:lnTo>
                    <a:pt x="54" y="186"/>
                  </a:lnTo>
                  <a:lnTo>
                    <a:pt x="60" y="192"/>
                  </a:lnTo>
                  <a:lnTo>
                    <a:pt x="68" y="204"/>
                  </a:lnTo>
                  <a:lnTo>
                    <a:pt x="80" y="220"/>
                  </a:lnTo>
                  <a:lnTo>
                    <a:pt x="111" y="246"/>
                  </a:lnTo>
                  <a:lnTo>
                    <a:pt x="121" y="256"/>
                  </a:lnTo>
                  <a:lnTo>
                    <a:pt x="127" y="264"/>
                  </a:lnTo>
                  <a:lnTo>
                    <a:pt x="127" y="264"/>
                  </a:lnTo>
                  <a:lnTo>
                    <a:pt x="127" y="264"/>
                  </a:lnTo>
                  <a:lnTo>
                    <a:pt x="129" y="264"/>
                  </a:lnTo>
                  <a:lnTo>
                    <a:pt x="129" y="262"/>
                  </a:lnTo>
                  <a:lnTo>
                    <a:pt x="131" y="258"/>
                  </a:lnTo>
                  <a:lnTo>
                    <a:pt x="133" y="256"/>
                  </a:lnTo>
                  <a:lnTo>
                    <a:pt x="137" y="256"/>
                  </a:lnTo>
                  <a:lnTo>
                    <a:pt x="139" y="258"/>
                  </a:lnTo>
                  <a:lnTo>
                    <a:pt x="151" y="262"/>
                  </a:lnTo>
                  <a:lnTo>
                    <a:pt x="163" y="266"/>
                  </a:lnTo>
                  <a:lnTo>
                    <a:pt x="181" y="272"/>
                  </a:lnTo>
                  <a:lnTo>
                    <a:pt x="189" y="268"/>
                  </a:lnTo>
                  <a:lnTo>
                    <a:pt x="195" y="266"/>
                  </a:lnTo>
                  <a:lnTo>
                    <a:pt x="199" y="266"/>
                  </a:lnTo>
                  <a:lnTo>
                    <a:pt x="209" y="270"/>
                  </a:lnTo>
                  <a:lnTo>
                    <a:pt x="213" y="270"/>
                  </a:lnTo>
                  <a:lnTo>
                    <a:pt x="217" y="270"/>
                  </a:lnTo>
                  <a:lnTo>
                    <a:pt x="223" y="276"/>
                  </a:lnTo>
                  <a:lnTo>
                    <a:pt x="227" y="280"/>
                  </a:lnTo>
                  <a:lnTo>
                    <a:pt x="227" y="282"/>
                  </a:lnTo>
                  <a:lnTo>
                    <a:pt x="229" y="284"/>
                  </a:lnTo>
                  <a:lnTo>
                    <a:pt x="235" y="284"/>
                  </a:lnTo>
                  <a:lnTo>
                    <a:pt x="245" y="286"/>
                  </a:lnTo>
                  <a:lnTo>
                    <a:pt x="253" y="286"/>
                  </a:lnTo>
                  <a:lnTo>
                    <a:pt x="259" y="284"/>
                  </a:lnTo>
                  <a:lnTo>
                    <a:pt x="263" y="280"/>
                  </a:lnTo>
                  <a:lnTo>
                    <a:pt x="263" y="274"/>
                  </a:lnTo>
                  <a:lnTo>
                    <a:pt x="259" y="274"/>
                  </a:lnTo>
                  <a:lnTo>
                    <a:pt x="255" y="268"/>
                  </a:lnTo>
                  <a:lnTo>
                    <a:pt x="251" y="260"/>
                  </a:lnTo>
                  <a:lnTo>
                    <a:pt x="249" y="248"/>
                  </a:lnTo>
                  <a:lnTo>
                    <a:pt x="249" y="246"/>
                  </a:lnTo>
                  <a:lnTo>
                    <a:pt x="251" y="240"/>
                  </a:lnTo>
                  <a:lnTo>
                    <a:pt x="255" y="236"/>
                  </a:lnTo>
                  <a:lnTo>
                    <a:pt x="257" y="232"/>
                  </a:lnTo>
                  <a:lnTo>
                    <a:pt x="263" y="226"/>
                  </a:lnTo>
                  <a:lnTo>
                    <a:pt x="263" y="220"/>
                  </a:lnTo>
                  <a:lnTo>
                    <a:pt x="259" y="214"/>
                  </a:lnTo>
                  <a:lnTo>
                    <a:pt x="257" y="214"/>
                  </a:lnTo>
                  <a:lnTo>
                    <a:pt x="253" y="214"/>
                  </a:lnTo>
                  <a:lnTo>
                    <a:pt x="251" y="212"/>
                  </a:lnTo>
                  <a:lnTo>
                    <a:pt x="253" y="208"/>
                  </a:lnTo>
                  <a:lnTo>
                    <a:pt x="255" y="206"/>
                  </a:lnTo>
                  <a:lnTo>
                    <a:pt x="255" y="204"/>
                  </a:lnTo>
                  <a:lnTo>
                    <a:pt x="255" y="198"/>
                  </a:lnTo>
                  <a:lnTo>
                    <a:pt x="259" y="198"/>
                  </a:lnTo>
                  <a:lnTo>
                    <a:pt x="261" y="200"/>
                  </a:lnTo>
                  <a:lnTo>
                    <a:pt x="261" y="200"/>
                  </a:lnTo>
                  <a:lnTo>
                    <a:pt x="261" y="186"/>
                  </a:lnTo>
                  <a:lnTo>
                    <a:pt x="263" y="182"/>
                  </a:lnTo>
                  <a:lnTo>
                    <a:pt x="263" y="180"/>
                  </a:lnTo>
                  <a:lnTo>
                    <a:pt x="259" y="174"/>
                  </a:lnTo>
                  <a:lnTo>
                    <a:pt x="257" y="168"/>
                  </a:lnTo>
                  <a:lnTo>
                    <a:pt x="259" y="166"/>
                  </a:lnTo>
                  <a:lnTo>
                    <a:pt x="261" y="164"/>
                  </a:lnTo>
                  <a:lnTo>
                    <a:pt x="265" y="160"/>
                  </a:lnTo>
                  <a:lnTo>
                    <a:pt x="267" y="154"/>
                  </a:lnTo>
                  <a:lnTo>
                    <a:pt x="269" y="158"/>
                  </a:lnTo>
                  <a:lnTo>
                    <a:pt x="267" y="164"/>
                  </a:lnTo>
                  <a:lnTo>
                    <a:pt x="265" y="168"/>
                  </a:lnTo>
                  <a:lnTo>
                    <a:pt x="265" y="172"/>
                  </a:lnTo>
                  <a:lnTo>
                    <a:pt x="267" y="176"/>
                  </a:lnTo>
                  <a:lnTo>
                    <a:pt x="269" y="176"/>
                  </a:lnTo>
                  <a:lnTo>
                    <a:pt x="273" y="174"/>
                  </a:lnTo>
                  <a:lnTo>
                    <a:pt x="271" y="168"/>
                  </a:lnTo>
                  <a:lnTo>
                    <a:pt x="271" y="162"/>
                  </a:lnTo>
                  <a:lnTo>
                    <a:pt x="273" y="138"/>
                  </a:lnTo>
                  <a:lnTo>
                    <a:pt x="269" y="114"/>
                  </a:lnTo>
                  <a:lnTo>
                    <a:pt x="273" y="86"/>
                  </a:lnTo>
                  <a:lnTo>
                    <a:pt x="279" y="68"/>
                  </a:lnTo>
                  <a:lnTo>
                    <a:pt x="283" y="64"/>
                  </a:lnTo>
                  <a:lnTo>
                    <a:pt x="287" y="56"/>
                  </a:lnTo>
                  <a:lnTo>
                    <a:pt x="293" y="50"/>
                  </a:lnTo>
                  <a:lnTo>
                    <a:pt x="293" y="44"/>
                  </a:lnTo>
                  <a:lnTo>
                    <a:pt x="287" y="16"/>
                  </a:lnTo>
                  <a:lnTo>
                    <a:pt x="283" y="16"/>
                  </a:lnTo>
                  <a:lnTo>
                    <a:pt x="281" y="16"/>
                  </a:lnTo>
                  <a:lnTo>
                    <a:pt x="279" y="12"/>
                  </a:lnTo>
                  <a:lnTo>
                    <a:pt x="281" y="8"/>
                  </a:lnTo>
                  <a:lnTo>
                    <a:pt x="283" y="6"/>
                  </a:lnTo>
                  <a:lnTo>
                    <a:pt x="285" y="8"/>
                  </a:lnTo>
                  <a:lnTo>
                    <a:pt x="287" y="14"/>
                  </a:lnTo>
                  <a:lnTo>
                    <a:pt x="287" y="12"/>
                  </a:lnTo>
                  <a:lnTo>
                    <a:pt x="291" y="4"/>
                  </a:lnTo>
                  <a:lnTo>
                    <a:pt x="293" y="2"/>
                  </a:lnTo>
                  <a:lnTo>
                    <a:pt x="295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7" name="Line 5860">
              <a:extLst>
                <a:ext uri="{FF2B5EF4-FFF2-40B4-BE49-F238E27FC236}">
                  <a16:creationId xmlns:a16="http://schemas.microsoft.com/office/drawing/2014/main" id="{75A98717-EE85-481D-8EA5-217C3391FDF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197043" y="5026286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8" name="Line 5862">
              <a:extLst>
                <a:ext uri="{FF2B5EF4-FFF2-40B4-BE49-F238E27FC236}">
                  <a16:creationId xmlns:a16="http://schemas.microsoft.com/office/drawing/2014/main" id="{3A06C805-E6CE-48AF-B820-FB29E46EDB3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197043" y="5026286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9" name="Freeform 5863">
              <a:extLst>
                <a:ext uri="{FF2B5EF4-FFF2-40B4-BE49-F238E27FC236}">
                  <a16:creationId xmlns:a16="http://schemas.microsoft.com/office/drawing/2014/main" id="{5B6B82D3-F41C-4BDA-B3A6-B41F6C17517A}"/>
                </a:ext>
              </a:extLst>
            </p:cNvPr>
            <p:cNvSpPr/>
            <p:nvPr/>
          </p:nvSpPr>
          <p:spPr bwMode="auto">
            <a:xfrm>
              <a:off x="3570918" y="5096436"/>
              <a:ext cx="3854" cy="6938"/>
            </a:xfrm>
            <a:custGeom>
              <a:avLst/>
              <a:gdLst>
                <a:gd name="T0" fmla="*/ 10 w 10"/>
                <a:gd name="T1" fmla="*/ 10 h 18"/>
                <a:gd name="T2" fmla="*/ 8 w 10"/>
                <a:gd name="T3" fmla="*/ 18 h 18"/>
                <a:gd name="T4" fmla="*/ 6 w 10"/>
                <a:gd name="T5" fmla="*/ 14 h 18"/>
                <a:gd name="T6" fmla="*/ 6 w 10"/>
                <a:gd name="T7" fmla="*/ 8 h 18"/>
                <a:gd name="T8" fmla="*/ 4 w 10"/>
                <a:gd name="T9" fmla="*/ 6 h 18"/>
                <a:gd name="T10" fmla="*/ 2 w 10"/>
                <a:gd name="T11" fmla="*/ 4 h 18"/>
                <a:gd name="T12" fmla="*/ 0 w 10"/>
                <a:gd name="T13" fmla="*/ 2 h 18"/>
                <a:gd name="T14" fmla="*/ 0 w 10"/>
                <a:gd name="T15" fmla="*/ 0 h 18"/>
                <a:gd name="T16" fmla="*/ 10 w 10"/>
                <a:gd name="T17" fmla="*/ 4 h 18"/>
                <a:gd name="T18" fmla="*/ 10 w 10"/>
                <a:gd name="T19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8">
                  <a:moveTo>
                    <a:pt x="10" y="10"/>
                  </a:moveTo>
                  <a:lnTo>
                    <a:pt x="8" y="18"/>
                  </a:lnTo>
                  <a:lnTo>
                    <a:pt x="6" y="14"/>
                  </a:lnTo>
                  <a:lnTo>
                    <a:pt x="6" y="8"/>
                  </a:lnTo>
                  <a:lnTo>
                    <a:pt x="4" y="6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10" y="4"/>
                  </a:lnTo>
                  <a:lnTo>
                    <a:pt x="10" y="1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0" name="Freeform 5864">
              <a:extLst>
                <a:ext uri="{FF2B5EF4-FFF2-40B4-BE49-F238E27FC236}">
                  <a16:creationId xmlns:a16="http://schemas.microsoft.com/office/drawing/2014/main" id="{4CFD635B-1D54-4C8A-BDFA-67323B970046}"/>
                </a:ext>
              </a:extLst>
            </p:cNvPr>
            <p:cNvSpPr/>
            <p:nvPr/>
          </p:nvSpPr>
          <p:spPr bwMode="auto">
            <a:xfrm>
              <a:off x="3706593" y="4959220"/>
              <a:ext cx="1542" cy="1542"/>
            </a:xfrm>
            <a:custGeom>
              <a:avLst/>
              <a:gdLst>
                <a:gd name="T0" fmla="*/ 4 w 4"/>
                <a:gd name="T1" fmla="*/ 4 h 4"/>
                <a:gd name="T2" fmla="*/ 2 w 4"/>
                <a:gd name="T3" fmla="*/ 4 h 4"/>
                <a:gd name="T4" fmla="*/ 2 w 4"/>
                <a:gd name="T5" fmla="*/ 4 h 4"/>
                <a:gd name="T6" fmla="*/ 0 w 4"/>
                <a:gd name="T7" fmla="*/ 4 h 4"/>
                <a:gd name="T8" fmla="*/ 0 w 4"/>
                <a:gd name="T9" fmla="*/ 0 h 4"/>
                <a:gd name="T10" fmla="*/ 2 w 4"/>
                <a:gd name="T11" fmla="*/ 2 h 4"/>
                <a:gd name="T12" fmla="*/ 2 w 4"/>
                <a:gd name="T13" fmla="*/ 2 h 4"/>
                <a:gd name="T14" fmla="*/ 4 w 4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1" name="Freeform 5865">
              <a:extLst>
                <a:ext uri="{FF2B5EF4-FFF2-40B4-BE49-F238E27FC236}">
                  <a16:creationId xmlns:a16="http://schemas.microsoft.com/office/drawing/2014/main" id="{8A07B984-1355-4A7A-8D44-A3BCD3423421}"/>
                </a:ext>
              </a:extLst>
            </p:cNvPr>
            <p:cNvSpPr/>
            <p:nvPr/>
          </p:nvSpPr>
          <p:spPr bwMode="auto">
            <a:xfrm>
              <a:off x="3700426" y="4956136"/>
              <a:ext cx="771" cy="771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2 h 2"/>
                <a:gd name="T4" fmla="*/ 0 w 2"/>
                <a:gd name="T5" fmla="*/ 2 h 2"/>
                <a:gd name="T6" fmla="*/ 0 w 2"/>
                <a:gd name="T7" fmla="*/ 0 h 2"/>
                <a:gd name="T8" fmla="*/ 0 w 2"/>
                <a:gd name="T9" fmla="*/ 0 h 2"/>
                <a:gd name="T10" fmla="*/ 0 w 2"/>
                <a:gd name="T11" fmla="*/ 0 h 2"/>
                <a:gd name="T12" fmla="*/ 2 w 2"/>
                <a:gd name="T13" fmla="*/ 2 h 2"/>
                <a:gd name="T14" fmla="*/ 0 w 2"/>
                <a:gd name="T1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2" name="Freeform 260">
              <a:extLst>
                <a:ext uri="{FF2B5EF4-FFF2-40B4-BE49-F238E27FC236}">
                  <a16:creationId xmlns:a16="http://schemas.microsoft.com/office/drawing/2014/main" id="{73BE56EC-0EC6-4764-9701-55972EC45CFF}"/>
                </a:ext>
              </a:extLst>
            </p:cNvPr>
            <p:cNvSpPr/>
            <p:nvPr/>
          </p:nvSpPr>
          <p:spPr bwMode="auto">
            <a:xfrm>
              <a:off x="5419481" y="2810015"/>
              <a:ext cx="661412" cy="790149"/>
            </a:xfrm>
            <a:custGeom>
              <a:avLst/>
              <a:gdLst>
                <a:gd name="connsiteX0" fmla="*/ 28592 w 4088480"/>
                <a:gd name="connsiteY0" fmla="*/ 4140896 h 4884255"/>
                <a:gd name="connsiteX1" fmla="*/ 33356 w 4088480"/>
                <a:gd name="connsiteY1" fmla="*/ 4140896 h 4884255"/>
                <a:gd name="connsiteX2" fmla="*/ 42886 w 4088480"/>
                <a:gd name="connsiteY2" fmla="*/ 4159956 h 4884255"/>
                <a:gd name="connsiteX3" fmla="*/ 47652 w 4088480"/>
                <a:gd name="connsiteY3" fmla="*/ 4188547 h 4884255"/>
                <a:gd name="connsiteX4" fmla="*/ 47652 w 4088480"/>
                <a:gd name="connsiteY4" fmla="*/ 4221903 h 4884255"/>
                <a:gd name="connsiteX5" fmla="*/ 33356 w 4088480"/>
                <a:gd name="connsiteY5" fmla="*/ 4221903 h 4884255"/>
                <a:gd name="connsiteX6" fmla="*/ 28592 w 4088480"/>
                <a:gd name="connsiteY6" fmla="*/ 4207608 h 4884255"/>
                <a:gd name="connsiteX7" fmla="*/ 23826 w 4088480"/>
                <a:gd name="connsiteY7" fmla="*/ 4198077 h 4884255"/>
                <a:gd name="connsiteX8" fmla="*/ 23826 w 4088480"/>
                <a:gd name="connsiteY8" fmla="*/ 4174252 h 4884255"/>
                <a:gd name="connsiteX9" fmla="*/ 23826 w 4088480"/>
                <a:gd name="connsiteY9" fmla="*/ 4155191 h 4884255"/>
                <a:gd name="connsiteX10" fmla="*/ 9530 w 4088480"/>
                <a:gd name="connsiteY10" fmla="*/ 3902639 h 4884255"/>
                <a:gd name="connsiteX11" fmla="*/ 19060 w 4088480"/>
                <a:gd name="connsiteY11" fmla="*/ 3902639 h 4884255"/>
                <a:gd name="connsiteX12" fmla="*/ 28592 w 4088480"/>
                <a:gd name="connsiteY12" fmla="*/ 3916934 h 4884255"/>
                <a:gd name="connsiteX13" fmla="*/ 28592 w 4088480"/>
                <a:gd name="connsiteY13" fmla="*/ 3940760 h 4884255"/>
                <a:gd name="connsiteX14" fmla="*/ 14296 w 4088480"/>
                <a:gd name="connsiteY14" fmla="*/ 3945525 h 4884255"/>
                <a:gd name="connsiteX15" fmla="*/ 0 w 4088480"/>
                <a:gd name="connsiteY15" fmla="*/ 3940760 h 4884255"/>
                <a:gd name="connsiteX16" fmla="*/ 4766 w 4088480"/>
                <a:gd name="connsiteY16" fmla="*/ 3907404 h 4884255"/>
                <a:gd name="connsiteX17" fmla="*/ 514634 w 4088480"/>
                <a:gd name="connsiteY17" fmla="*/ 3135454 h 4884255"/>
                <a:gd name="connsiteX18" fmla="*/ 524164 w 4088480"/>
                <a:gd name="connsiteY18" fmla="*/ 3149749 h 4884255"/>
                <a:gd name="connsiteX19" fmla="*/ 524164 w 4088480"/>
                <a:gd name="connsiteY19" fmla="*/ 3173575 h 4884255"/>
                <a:gd name="connsiteX20" fmla="*/ 519398 w 4088480"/>
                <a:gd name="connsiteY20" fmla="*/ 3183105 h 4884255"/>
                <a:gd name="connsiteX21" fmla="*/ 500338 w 4088480"/>
                <a:gd name="connsiteY21" fmla="*/ 3183105 h 4884255"/>
                <a:gd name="connsiteX22" fmla="*/ 486044 w 4088480"/>
                <a:gd name="connsiteY22" fmla="*/ 3178340 h 4884255"/>
                <a:gd name="connsiteX23" fmla="*/ 471748 w 4088480"/>
                <a:gd name="connsiteY23" fmla="*/ 3168810 h 4884255"/>
                <a:gd name="connsiteX24" fmla="*/ 471748 w 4088480"/>
                <a:gd name="connsiteY24" fmla="*/ 3159279 h 4884255"/>
                <a:gd name="connsiteX25" fmla="*/ 490808 w 4088480"/>
                <a:gd name="connsiteY25" fmla="*/ 3144984 h 4884255"/>
                <a:gd name="connsiteX26" fmla="*/ 614702 w 4088480"/>
                <a:gd name="connsiteY26" fmla="*/ 3021091 h 4884255"/>
                <a:gd name="connsiteX27" fmla="*/ 619466 w 4088480"/>
                <a:gd name="connsiteY27" fmla="*/ 3021091 h 4884255"/>
                <a:gd name="connsiteX28" fmla="*/ 628996 w 4088480"/>
                <a:gd name="connsiteY28" fmla="*/ 3030621 h 4884255"/>
                <a:gd name="connsiteX29" fmla="*/ 628996 w 4088480"/>
                <a:gd name="connsiteY29" fmla="*/ 3049682 h 4884255"/>
                <a:gd name="connsiteX30" fmla="*/ 624232 w 4088480"/>
                <a:gd name="connsiteY30" fmla="*/ 3054447 h 4884255"/>
                <a:gd name="connsiteX31" fmla="*/ 576580 w 4088480"/>
                <a:gd name="connsiteY31" fmla="*/ 3068742 h 4884255"/>
                <a:gd name="connsiteX32" fmla="*/ 557520 w 4088480"/>
                <a:gd name="connsiteY32" fmla="*/ 3068742 h 4884255"/>
                <a:gd name="connsiteX33" fmla="*/ 547990 w 4088480"/>
                <a:gd name="connsiteY33" fmla="*/ 3059212 h 4884255"/>
                <a:gd name="connsiteX34" fmla="*/ 571816 w 4088480"/>
                <a:gd name="connsiteY34" fmla="*/ 3044917 h 4884255"/>
                <a:gd name="connsiteX35" fmla="*/ 609936 w 4088480"/>
                <a:gd name="connsiteY35" fmla="*/ 3030621 h 4884255"/>
                <a:gd name="connsiteX36" fmla="*/ 972086 w 4088480"/>
                <a:gd name="connsiteY36" fmla="*/ 2596995 h 4884255"/>
                <a:gd name="connsiteX37" fmla="*/ 991146 w 4088480"/>
                <a:gd name="connsiteY37" fmla="*/ 2596995 h 4884255"/>
                <a:gd name="connsiteX38" fmla="*/ 1010208 w 4088480"/>
                <a:gd name="connsiteY38" fmla="*/ 2620821 h 4884255"/>
                <a:gd name="connsiteX39" fmla="*/ 1005442 w 4088480"/>
                <a:gd name="connsiteY39" fmla="*/ 2635116 h 4884255"/>
                <a:gd name="connsiteX40" fmla="*/ 995912 w 4088480"/>
                <a:gd name="connsiteY40" fmla="*/ 2644646 h 4884255"/>
                <a:gd name="connsiteX41" fmla="*/ 981616 w 4088480"/>
                <a:gd name="connsiteY41" fmla="*/ 2639881 h 4884255"/>
                <a:gd name="connsiteX42" fmla="*/ 943496 w 4088480"/>
                <a:gd name="connsiteY42" fmla="*/ 2644646 h 4884255"/>
                <a:gd name="connsiteX43" fmla="*/ 929200 w 4088480"/>
                <a:gd name="connsiteY43" fmla="*/ 2635116 h 4884255"/>
                <a:gd name="connsiteX44" fmla="*/ 938730 w 4088480"/>
                <a:gd name="connsiteY44" fmla="*/ 2616055 h 4884255"/>
                <a:gd name="connsiteX45" fmla="*/ 1105510 w 4088480"/>
                <a:gd name="connsiteY45" fmla="*/ 2325382 h 4884255"/>
                <a:gd name="connsiteX46" fmla="*/ 1124570 w 4088480"/>
                <a:gd name="connsiteY46" fmla="*/ 2325382 h 4884255"/>
                <a:gd name="connsiteX47" fmla="*/ 1129336 w 4088480"/>
                <a:gd name="connsiteY47" fmla="*/ 2334912 h 4884255"/>
                <a:gd name="connsiteX48" fmla="*/ 1119804 w 4088480"/>
                <a:gd name="connsiteY48" fmla="*/ 2353973 h 4884255"/>
                <a:gd name="connsiteX49" fmla="*/ 1110274 w 4088480"/>
                <a:gd name="connsiteY49" fmla="*/ 2363503 h 4884255"/>
                <a:gd name="connsiteX50" fmla="*/ 1091214 w 4088480"/>
                <a:gd name="connsiteY50" fmla="*/ 2363503 h 4884255"/>
                <a:gd name="connsiteX51" fmla="*/ 1091214 w 4088480"/>
                <a:gd name="connsiteY51" fmla="*/ 2353973 h 4884255"/>
                <a:gd name="connsiteX52" fmla="*/ 1095980 w 4088480"/>
                <a:gd name="connsiteY52" fmla="*/ 2330147 h 4884255"/>
                <a:gd name="connsiteX53" fmla="*/ 1224638 w 4088480"/>
                <a:gd name="connsiteY53" fmla="*/ 2206254 h 4884255"/>
                <a:gd name="connsiteX54" fmla="*/ 1243698 w 4088480"/>
                <a:gd name="connsiteY54" fmla="*/ 2206254 h 4884255"/>
                <a:gd name="connsiteX55" fmla="*/ 1248464 w 4088480"/>
                <a:gd name="connsiteY55" fmla="*/ 2215784 h 4884255"/>
                <a:gd name="connsiteX56" fmla="*/ 1238934 w 4088480"/>
                <a:gd name="connsiteY56" fmla="*/ 2225314 h 4884255"/>
                <a:gd name="connsiteX57" fmla="*/ 1205578 w 4088480"/>
                <a:gd name="connsiteY57" fmla="*/ 2249140 h 4884255"/>
                <a:gd name="connsiteX58" fmla="*/ 1191282 w 4088480"/>
                <a:gd name="connsiteY58" fmla="*/ 2249140 h 4884255"/>
                <a:gd name="connsiteX59" fmla="*/ 1191282 w 4088480"/>
                <a:gd name="connsiteY59" fmla="*/ 2234845 h 4884255"/>
                <a:gd name="connsiteX60" fmla="*/ 1200812 w 4088480"/>
                <a:gd name="connsiteY60" fmla="*/ 2220549 h 4884255"/>
                <a:gd name="connsiteX61" fmla="*/ 1210342 w 4088480"/>
                <a:gd name="connsiteY61" fmla="*/ 2211019 h 4884255"/>
                <a:gd name="connsiteX62" fmla="*/ 1210342 w 4088480"/>
                <a:gd name="connsiteY62" fmla="*/ 2130012 h 4884255"/>
                <a:gd name="connsiteX63" fmla="*/ 1224638 w 4088480"/>
                <a:gd name="connsiteY63" fmla="*/ 2144307 h 4884255"/>
                <a:gd name="connsiteX64" fmla="*/ 1224638 w 4088480"/>
                <a:gd name="connsiteY64" fmla="*/ 2163368 h 4884255"/>
                <a:gd name="connsiteX65" fmla="*/ 1215108 w 4088480"/>
                <a:gd name="connsiteY65" fmla="*/ 2182429 h 4884255"/>
                <a:gd name="connsiteX66" fmla="*/ 1191282 w 4088480"/>
                <a:gd name="connsiteY66" fmla="*/ 2196724 h 4884255"/>
                <a:gd name="connsiteX67" fmla="*/ 1176988 w 4088480"/>
                <a:gd name="connsiteY67" fmla="*/ 2196724 h 4884255"/>
                <a:gd name="connsiteX68" fmla="*/ 1181752 w 4088480"/>
                <a:gd name="connsiteY68" fmla="*/ 2182429 h 4884255"/>
                <a:gd name="connsiteX69" fmla="*/ 1191282 w 4088480"/>
                <a:gd name="connsiteY69" fmla="*/ 2163368 h 4884255"/>
                <a:gd name="connsiteX70" fmla="*/ 1196048 w 4088480"/>
                <a:gd name="connsiteY70" fmla="*/ 2153838 h 4884255"/>
                <a:gd name="connsiteX71" fmla="*/ 1200812 w 4088480"/>
                <a:gd name="connsiteY71" fmla="*/ 2139542 h 4884255"/>
                <a:gd name="connsiteX72" fmla="*/ 1291350 w 4088480"/>
                <a:gd name="connsiteY72" fmla="*/ 1381887 h 4884255"/>
                <a:gd name="connsiteX73" fmla="*/ 1300880 w 4088480"/>
                <a:gd name="connsiteY73" fmla="*/ 1391417 h 4884255"/>
                <a:gd name="connsiteX74" fmla="*/ 1296114 w 4088480"/>
                <a:gd name="connsiteY74" fmla="*/ 1410478 h 4884255"/>
                <a:gd name="connsiteX75" fmla="*/ 1296114 w 4088480"/>
                <a:gd name="connsiteY75" fmla="*/ 1429538 h 4884255"/>
                <a:gd name="connsiteX76" fmla="*/ 1296114 w 4088480"/>
                <a:gd name="connsiteY76" fmla="*/ 1439069 h 4884255"/>
                <a:gd name="connsiteX77" fmla="*/ 1277054 w 4088480"/>
                <a:gd name="connsiteY77" fmla="*/ 1462894 h 4884255"/>
                <a:gd name="connsiteX78" fmla="*/ 1253228 w 4088480"/>
                <a:gd name="connsiteY78" fmla="*/ 1486720 h 4884255"/>
                <a:gd name="connsiteX79" fmla="*/ 1262760 w 4088480"/>
                <a:gd name="connsiteY79" fmla="*/ 1443834 h 4884255"/>
                <a:gd name="connsiteX80" fmla="*/ 1277054 w 4088480"/>
                <a:gd name="connsiteY80" fmla="*/ 1405713 h 4884255"/>
                <a:gd name="connsiteX81" fmla="*/ 1391418 w 4088480"/>
                <a:gd name="connsiteY81" fmla="*/ 1296115 h 4884255"/>
                <a:gd name="connsiteX82" fmla="*/ 1405712 w 4088480"/>
                <a:gd name="connsiteY82" fmla="*/ 1296115 h 4884255"/>
                <a:gd name="connsiteX83" fmla="*/ 1420008 w 4088480"/>
                <a:gd name="connsiteY83" fmla="*/ 1300880 h 4884255"/>
                <a:gd name="connsiteX84" fmla="*/ 1429538 w 4088480"/>
                <a:gd name="connsiteY84" fmla="*/ 1305645 h 4884255"/>
                <a:gd name="connsiteX85" fmla="*/ 1453364 w 4088480"/>
                <a:gd name="connsiteY85" fmla="*/ 1305645 h 4884255"/>
                <a:gd name="connsiteX86" fmla="*/ 1458128 w 4088480"/>
                <a:gd name="connsiteY86" fmla="*/ 1305645 h 4884255"/>
                <a:gd name="connsiteX87" fmla="*/ 1453364 w 4088480"/>
                <a:gd name="connsiteY87" fmla="*/ 1319941 h 4884255"/>
                <a:gd name="connsiteX88" fmla="*/ 1443834 w 4088480"/>
                <a:gd name="connsiteY88" fmla="*/ 1334236 h 4884255"/>
                <a:gd name="connsiteX89" fmla="*/ 1420008 w 4088480"/>
                <a:gd name="connsiteY89" fmla="*/ 1339001 h 4884255"/>
                <a:gd name="connsiteX90" fmla="*/ 1410478 w 4088480"/>
                <a:gd name="connsiteY90" fmla="*/ 1362827 h 4884255"/>
                <a:gd name="connsiteX91" fmla="*/ 1405712 w 4088480"/>
                <a:gd name="connsiteY91" fmla="*/ 1367592 h 4884255"/>
                <a:gd name="connsiteX92" fmla="*/ 1386652 w 4088480"/>
                <a:gd name="connsiteY92" fmla="*/ 1367592 h 4884255"/>
                <a:gd name="connsiteX93" fmla="*/ 1372356 w 4088480"/>
                <a:gd name="connsiteY93" fmla="*/ 1372357 h 4884255"/>
                <a:gd name="connsiteX94" fmla="*/ 1358062 w 4088480"/>
                <a:gd name="connsiteY94" fmla="*/ 1391417 h 4884255"/>
                <a:gd name="connsiteX95" fmla="*/ 1348530 w 4088480"/>
                <a:gd name="connsiteY95" fmla="*/ 1377122 h 4884255"/>
                <a:gd name="connsiteX96" fmla="*/ 1343766 w 4088480"/>
                <a:gd name="connsiteY96" fmla="*/ 1386652 h 4884255"/>
                <a:gd name="connsiteX97" fmla="*/ 1343766 w 4088480"/>
                <a:gd name="connsiteY97" fmla="*/ 1400948 h 4884255"/>
                <a:gd name="connsiteX98" fmla="*/ 1339000 w 4088480"/>
                <a:gd name="connsiteY98" fmla="*/ 1405713 h 4884255"/>
                <a:gd name="connsiteX99" fmla="*/ 1319940 w 4088480"/>
                <a:gd name="connsiteY99" fmla="*/ 1410478 h 4884255"/>
                <a:gd name="connsiteX100" fmla="*/ 1315176 w 4088480"/>
                <a:gd name="connsiteY100" fmla="*/ 1372357 h 4884255"/>
                <a:gd name="connsiteX101" fmla="*/ 1324706 w 4088480"/>
                <a:gd name="connsiteY101" fmla="*/ 1362827 h 4884255"/>
                <a:gd name="connsiteX102" fmla="*/ 1329470 w 4088480"/>
                <a:gd name="connsiteY102" fmla="*/ 1343766 h 4884255"/>
                <a:gd name="connsiteX103" fmla="*/ 1339000 w 4088480"/>
                <a:gd name="connsiteY103" fmla="*/ 1339001 h 4884255"/>
                <a:gd name="connsiteX104" fmla="*/ 1348530 w 4088480"/>
                <a:gd name="connsiteY104" fmla="*/ 1343766 h 4884255"/>
                <a:gd name="connsiteX105" fmla="*/ 1367592 w 4088480"/>
                <a:gd name="connsiteY105" fmla="*/ 1305645 h 4884255"/>
                <a:gd name="connsiteX106" fmla="*/ 1610612 w 4088480"/>
                <a:gd name="connsiteY106" fmla="*/ 981617 h 4884255"/>
                <a:gd name="connsiteX107" fmla="*/ 1615378 w 4088480"/>
                <a:gd name="connsiteY107" fmla="*/ 981617 h 4884255"/>
                <a:gd name="connsiteX108" fmla="*/ 1620144 w 4088480"/>
                <a:gd name="connsiteY108" fmla="*/ 991147 h 4884255"/>
                <a:gd name="connsiteX109" fmla="*/ 1629674 w 4088480"/>
                <a:gd name="connsiteY109" fmla="*/ 1010208 h 4884255"/>
                <a:gd name="connsiteX110" fmla="*/ 1648734 w 4088480"/>
                <a:gd name="connsiteY110" fmla="*/ 1053094 h 4884255"/>
                <a:gd name="connsiteX111" fmla="*/ 1658264 w 4088480"/>
                <a:gd name="connsiteY111" fmla="*/ 1076920 h 4884255"/>
                <a:gd name="connsiteX112" fmla="*/ 1648734 w 4088480"/>
                <a:gd name="connsiteY112" fmla="*/ 1124571 h 4884255"/>
                <a:gd name="connsiteX113" fmla="*/ 1629674 w 4088480"/>
                <a:gd name="connsiteY113" fmla="*/ 1148397 h 4884255"/>
                <a:gd name="connsiteX114" fmla="*/ 1601082 w 4088480"/>
                <a:gd name="connsiteY114" fmla="*/ 1153162 h 4884255"/>
                <a:gd name="connsiteX115" fmla="*/ 1577256 w 4088480"/>
                <a:gd name="connsiteY115" fmla="*/ 1153162 h 4884255"/>
                <a:gd name="connsiteX116" fmla="*/ 1562962 w 4088480"/>
                <a:gd name="connsiteY116" fmla="*/ 1138867 h 4884255"/>
                <a:gd name="connsiteX117" fmla="*/ 1562962 w 4088480"/>
                <a:gd name="connsiteY117" fmla="*/ 1129336 h 4884255"/>
                <a:gd name="connsiteX118" fmla="*/ 1553432 w 4088480"/>
                <a:gd name="connsiteY118" fmla="*/ 1124571 h 4884255"/>
                <a:gd name="connsiteX119" fmla="*/ 1534370 w 4088480"/>
                <a:gd name="connsiteY119" fmla="*/ 1138867 h 4884255"/>
                <a:gd name="connsiteX120" fmla="*/ 1520076 w 4088480"/>
                <a:gd name="connsiteY120" fmla="*/ 1143632 h 4884255"/>
                <a:gd name="connsiteX121" fmla="*/ 1501016 w 4088480"/>
                <a:gd name="connsiteY121" fmla="*/ 1129336 h 4884255"/>
                <a:gd name="connsiteX122" fmla="*/ 1496250 w 4088480"/>
                <a:gd name="connsiteY122" fmla="*/ 1110276 h 4884255"/>
                <a:gd name="connsiteX123" fmla="*/ 1515310 w 4088480"/>
                <a:gd name="connsiteY123" fmla="*/ 1081685 h 4884255"/>
                <a:gd name="connsiteX124" fmla="*/ 1524840 w 4088480"/>
                <a:gd name="connsiteY124" fmla="*/ 1062624 h 4884255"/>
                <a:gd name="connsiteX125" fmla="*/ 1548666 w 4088480"/>
                <a:gd name="connsiteY125" fmla="*/ 1067389 h 4884255"/>
                <a:gd name="connsiteX126" fmla="*/ 1553432 w 4088480"/>
                <a:gd name="connsiteY126" fmla="*/ 1072155 h 4884255"/>
                <a:gd name="connsiteX127" fmla="*/ 1562962 w 4088480"/>
                <a:gd name="connsiteY127" fmla="*/ 1076920 h 4884255"/>
                <a:gd name="connsiteX128" fmla="*/ 1572492 w 4088480"/>
                <a:gd name="connsiteY128" fmla="*/ 1053094 h 4884255"/>
                <a:gd name="connsiteX129" fmla="*/ 1567726 w 4088480"/>
                <a:gd name="connsiteY129" fmla="*/ 1034034 h 4884255"/>
                <a:gd name="connsiteX130" fmla="*/ 1577256 w 4088480"/>
                <a:gd name="connsiteY130" fmla="*/ 1019738 h 4884255"/>
                <a:gd name="connsiteX131" fmla="*/ 1601082 w 4088480"/>
                <a:gd name="connsiteY131" fmla="*/ 1029268 h 4884255"/>
                <a:gd name="connsiteX132" fmla="*/ 1601082 w 4088480"/>
                <a:gd name="connsiteY132" fmla="*/ 986382 h 4884255"/>
                <a:gd name="connsiteX133" fmla="*/ 1744038 w 4088480"/>
                <a:gd name="connsiteY133" fmla="*/ 852958 h 4884255"/>
                <a:gd name="connsiteX134" fmla="*/ 1758332 w 4088480"/>
                <a:gd name="connsiteY134" fmla="*/ 852958 h 4884255"/>
                <a:gd name="connsiteX135" fmla="*/ 1772628 w 4088480"/>
                <a:gd name="connsiteY135" fmla="*/ 862488 h 4884255"/>
                <a:gd name="connsiteX136" fmla="*/ 1767864 w 4088480"/>
                <a:gd name="connsiteY136" fmla="*/ 891079 h 4884255"/>
                <a:gd name="connsiteX137" fmla="*/ 1748802 w 4088480"/>
                <a:gd name="connsiteY137" fmla="*/ 933965 h 4884255"/>
                <a:gd name="connsiteX138" fmla="*/ 1720212 w 4088480"/>
                <a:gd name="connsiteY138" fmla="*/ 972086 h 4884255"/>
                <a:gd name="connsiteX139" fmla="*/ 1724976 w 4088480"/>
                <a:gd name="connsiteY139" fmla="*/ 1000677 h 4884255"/>
                <a:gd name="connsiteX140" fmla="*/ 1734508 w 4088480"/>
                <a:gd name="connsiteY140" fmla="*/ 1024503 h 4884255"/>
                <a:gd name="connsiteX141" fmla="*/ 1739272 w 4088480"/>
                <a:gd name="connsiteY141" fmla="*/ 1062624 h 4884255"/>
                <a:gd name="connsiteX142" fmla="*/ 1739272 w 4088480"/>
                <a:gd name="connsiteY142" fmla="*/ 1100745 h 4884255"/>
                <a:gd name="connsiteX143" fmla="*/ 1720212 w 4088480"/>
                <a:gd name="connsiteY143" fmla="*/ 1148396 h 4884255"/>
                <a:gd name="connsiteX144" fmla="*/ 1715446 w 4088480"/>
                <a:gd name="connsiteY144" fmla="*/ 1172222 h 4884255"/>
                <a:gd name="connsiteX145" fmla="*/ 1715446 w 4088480"/>
                <a:gd name="connsiteY145" fmla="*/ 1176987 h 4884255"/>
                <a:gd name="connsiteX146" fmla="*/ 1739272 w 4088480"/>
                <a:gd name="connsiteY146" fmla="*/ 1134101 h 4884255"/>
                <a:gd name="connsiteX147" fmla="*/ 1758332 w 4088480"/>
                <a:gd name="connsiteY147" fmla="*/ 1124570 h 4884255"/>
                <a:gd name="connsiteX148" fmla="*/ 1763098 w 4088480"/>
                <a:gd name="connsiteY148" fmla="*/ 1110275 h 4884255"/>
                <a:gd name="connsiteX149" fmla="*/ 1772628 w 4088480"/>
                <a:gd name="connsiteY149" fmla="*/ 1095980 h 4884255"/>
                <a:gd name="connsiteX150" fmla="*/ 1772628 w 4088480"/>
                <a:gd name="connsiteY150" fmla="*/ 1072154 h 4884255"/>
                <a:gd name="connsiteX151" fmla="*/ 1772628 w 4088480"/>
                <a:gd name="connsiteY151" fmla="*/ 1053093 h 4884255"/>
                <a:gd name="connsiteX152" fmla="*/ 1786924 w 4088480"/>
                <a:gd name="connsiteY152" fmla="*/ 1048328 h 4884255"/>
                <a:gd name="connsiteX153" fmla="*/ 1796454 w 4088480"/>
                <a:gd name="connsiteY153" fmla="*/ 1043563 h 4884255"/>
                <a:gd name="connsiteX154" fmla="*/ 1801220 w 4088480"/>
                <a:gd name="connsiteY154" fmla="*/ 1038798 h 4884255"/>
                <a:gd name="connsiteX155" fmla="*/ 1815514 w 4088480"/>
                <a:gd name="connsiteY155" fmla="*/ 1053093 h 4884255"/>
                <a:gd name="connsiteX156" fmla="*/ 1825044 w 4088480"/>
                <a:gd name="connsiteY156" fmla="*/ 1072154 h 4884255"/>
                <a:gd name="connsiteX157" fmla="*/ 1834576 w 4088480"/>
                <a:gd name="connsiteY157" fmla="*/ 1105510 h 4884255"/>
                <a:gd name="connsiteX158" fmla="*/ 1834576 w 4088480"/>
                <a:gd name="connsiteY158" fmla="*/ 1143631 h 4884255"/>
                <a:gd name="connsiteX159" fmla="*/ 1805984 w 4088480"/>
                <a:gd name="connsiteY159" fmla="*/ 1172222 h 4884255"/>
                <a:gd name="connsiteX160" fmla="*/ 1782158 w 4088480"/>
                <a:gd name="connsiteY160" fmla="*/ 1181752 h 4884255"/>
                <a:gd name="connsiteX161" fmla="*/ 1758332 w 4088480"/>
                <a:gd name="connsiteY161" fmla="*/ 1215108 h 4884255"/>
                <a:gd name="connsiteX162" fmla="*/ 1748802 w 4088480"/>
                <a:gd name="connsiteY162" fmla="*/ 1243699 h 4884255"/>
                <a:gd name="connsiteX163" fmla="*/ 1739272 w 4088480"/>
                <a:gd name="connsiteY163" fmla="*/ 1248464 h 4884255"/>
                <a:gd name="connsiteX164" fmla="*/ 1729742 w 4088480"/>
                <a:gd name="connsiteY164" fmla="*/ 1243699 h 4884255"/>
                <a:gd name="connsiteX165" fmla="*/ 1724976 w 4088480"/>
                <a:gd name="connsiteY165" fmla="*/ 1238933 h 4884255"/>
                <a:gd name="connsiteX166" fmla="*/ 1715446 w 4088480"/>
                <a:gd name="connsiteY166" fmla="*/ 1238933 h 4884255"/>
                <a:gd name="connsiteX167" fmla="*/ 1701152 w 4088480"/>
                <a:gd name="connsiteY167" fmla="*/ 1262759 h 4884255"/>
                <a:gd name="connsiteX168" fmla="*/ 1663030 w 4088480"/>
                <a:gd name="connsiteY168" fmla="*/ 1281820 h 4884255"/>
                <a:gd name="connsiteX169" fmla="*/ 1648734 w 4088480"/>
                <a:gd name="connsiteY169" fmla="*/ 1272289 h 4884255"/>
                <a:gd name="connsiteX170" fmla="*/ 1648734 w 4088480"/>
                <a:gd name="connsiteY170" fmla="*/ 1253229 h 4884255"/>
                <a:gd name="connsiteX171" fmla="*/ 1639204 w 4088480"/>
                <a:gd name="connsiteY171" fmla="*/ 1253229 h 4884255"/>
                <a:gd name="connsiteX172" fmla="*/ 1624910 w 4088480"/>
                <a:gd name="connsiteY172" fmla="*/ 1281820 h 4884255"/>
                <a:gd name="connsiteX173" fmla="*/ 1610614 w 4088480"/>
                <a:gd name="connsiteY173" fmla="*/ 1291350 h 4884255"/>
                <a:gd name="connsiteX174" fmla="*/ 1601084 w 4088480"/>
                <a:gd name="connsiteY174" fmla="*/ 1291350 h 4884255"/>
                <a:gd name="connsiteX175" fmla="*/ 1582022 w 4088480"/>
                <a:gd name="connsiteY175" fmla="*/ 1281820 h 4884255"/>
                <a:gd name="connsiteX176" fmla="*/ 1539136 w 4088480"/>
                <a:gd name="connsiteY176" fmla="*/ 1329471 h 4884255"/>
                <a:gd name="connsiteX177" fmla="*/ 1491486 w 4088480"/>
                <a:gd name="connsiteY177" fmla="*/ 1334236 h 4884255"/>
                <a:gd name="connsiteX178" fmla="*/ 1477190 w 4088480"/>
                <a:gd name="connsiteY178" fmla="*/ 1329471 h 4884255"/>
                <a:gd name="connsiteX179" fmla="*/ 1477190 w 4088480"/>
                <a:gd name="connsiteY179" fmla="*/ 1305645 h 4884255"/>
                <a:gd name="connsiteX180" fmla="*/ 1505780 w 4088480"/>
                <a:gd name="connsiteY180" fmla="*/ 1267524 h 4884255"/>
                <a:gd name="connsiteX181" fmla="*/ 1529606 w 4088480"/>
                <a:gd name="connsiteY181" fmla="*/ 1243699 h 4884255"/>
                <a:gd name="connsiteX182" fmla="*/ 1610614 w 4088480"/>
                <a:gd name="connsiteY182" fmla="*/ 1224638 h 4884255"/>
                <a:gd name="connsiteX183" fmla="*/ 1658266 w 4088480"/>
                <a:gd name="connsiteY183" fmla="*/ 1148396 h 4884255"/>
                <a:gd name="connsiteX184" fmla="*/ 1672560 w 4088480"/>
                <a:gd name="connsiteY184" fmla="*/ 1067389 h 4884255"/>
                <a:gd name="connsiteX185" fmla="*/ 1682090 w 4088480"/>
                <a:gd name="connsiteY185" fmla="*/ 1038798 h 4884255"/>
                <a:gd name="connsiteX186" fmla="*/ 1677326 w 4088480"/>
                <a:gd name="connsiteY186" fmla="*/ 1024503 h 4884255"/>
                <a:gd name="connsiteX187" fmla="*/ 1663030 w 4088480"/>
                <a:gd name="connsiteY187" fmla="*/ 1019737 h 4884255"/>
                <a:gd name="connsiteX188" fmla="*/ 1663030 w 4088480"/>
                <a:gd name="connsiteY188" fmla="*/ 995912 h 4884255"/>
                <a:gd name="connsiteX189" fmla="*/ 1672560 w 4088480"/>
                <a:gd name="connsiteY189" fmla="*/ 967321 h 4884255"/>
                <a:gd name="connsiteX190" fmla="*/ 1696386 w 4088480"/>
                <a:gd name="connsiteY190" fmla="*/ 929200 h 4884255"/>
                <a:gd name="connsiteX191" fmla="*/ 1710682 w 4088480"/>
                <a:gd name="connsiteY191" fmla="*/ 910140 h 4884255"/>
                <a:gd name="connsiteX192" fmla="*/ 1734508 w 4088480"/>
                <a:gd name="connsiteY192" fmla="*/ 862488 h 4884255"/>
                <a:gd name="connsiteX193" fmla="*/ 1987058 w 4088480"/>
                <a:gd name="connsiteY193" fmla="*/ 719535 h 4884255"/>
                <a:gd name="connsiteX194" fmla="*/ 2006118 w 4088480"/>
                <a:gd name="connsiteY194" fmla="*/ 748126 h 4884255"/>
                <a:gd name="connsiteX195" fmla="*/ 2010884 w 4088480"/>
                <a:gd name="connsiteY195" fmla="*/ 738596 h 4884255"/>
                <a:gd name="connsiteX196" fmla="*/ 2029944 w 4088480"/>
                <a:gd name="connsiteY196" fmla="*/ 733830 h 4884255"/>
                <a:gd name="connsiteX197" fmla="*/ 2044240 w 4088480"/>
                <a:gd name="connsiteY197" fmla="*/ 743361 h 4884255"/>
                <a:gd name="connsiteX198" fmla="*/ 2053770 w 4088480"/>
                <a:gd name="connsiteY198" fmla="*/ 762421 h 4884255"/>
                <a:gd name="connsiteX199" fmla="*/ 2063300 w 4088480"/>
                <a:gd name="connsiteY199" fmla="*/ 762421 h 4884255"/>
                <a:gd name="connsiteX200" fmla="*/ 2072830 w 4088480"/>
                <a:gd name="connsiteY200" fmla="*/ 781482 h 4884255"/>
                <a:gd name="connsiteX201" fmla="*/ 2077596 w 4088480"/>
                <a:gd name="connsiteY201" fmla="*/ 810072 h 4884255"/>
                <a:gd name="connsiteX202" fmla="*/ 2068064 w 4088480"/>
                <a:gd name="connsiteY202" fmla="*/ 829133 h 4884255"/>
                <a:gd name="connsiteX203" fmla="*/ 2053770 w 4088480"/>
                <a:gd name="connsiteY203" fmla="*/ 838663 h 4884255"/>
                <a:gd name="connsiteX204" fmla="*/ 2049004 w 4088480"/>
                <a:gd name="connsiteY204" fmla="*/ 862489 h 4884255"/>
                <a:gd name="connsiteX205" fmla="*/ 2053770 w 4088480"/>
                <a:gd name="connsiteY205" fmla="*/ 895845 h 4884255"/>
                <a:gd name="connsiteX206" fmla="*/ 2029944 w 4088480"/>
                <a:gd name="connsiteY206" fmla="*/ 910140 h 4884255"/>
                <a:gd name="connsiteX207" fmla="*/ 1996588 w 4088480"/>
                <a:gd name="connsiteY207" fmla="*/ 914905 h 4884255"/>
                <a:gd name="connsiteX208" fmla="*/ 1982292 w 4088480"/>
                <a:gd name="connsiteY208" fmla="*/ 900610 h 4884255"/>
                <a:gd name="connsiteX209" fmla="*/ 1958468 w 4088480"/>
                <a:gd name="connsiteY209" fmla="*/ 929201 h 4884255"/>
                <a:gd name="connsiteX210" fmla="*/ 1934642 w 4088480"/>
                <a:gd name="connsiteY210" fmla="*/ 972087 h 4884255"/>
                <a:gd name="connsiteX211" fmla="*/ 1920346 w 4088480"/>
                <a:gd name="connsiteY211" fmla="*/ 976852 h 4884255"/>
                <a:gd name="connsiteX212" fmla="*/ 1920346 w 4088480"/>
                <a:gd name="connsiteY212" fmla="*/ 962557 h 4884255"/>
                <a:gd name="connsiteX213" fmla="*/ 1901286 w 4088480"/>
                <a:gd name="connsiteY213" fmla="*/ 953026 h 4884255"/>
                <a:gd name="connsiteX214" fmla="*/ 1877460 w 4088480"/>
                <a:gd name="connsiteY214" fmla="*/ 953026 h 4884255"/>
                <a:gd name="connsiteX215" fmla="*/ 1877460 w 4088480"/>
                <a:gd name="connsiteY215" fmla="*/ 943496 h 4884255"/>
                <a:gd name="connsiteX216" fmla="*/ 1882226 w 4088480"/>
                <a:gd name="connsiteY216" fmla="*/ 933966 h 4884255"/>
                <a:gd name="connsiteX217" fmla="*/ 1901286 w 4088480"/>
                <a:gd name="connsiteY217" fmla="*/ 924436 h 4884255"/>
                <a:gd name="connsiteX218" fmla="*/ 1906050 w 4088480"/>
                <a:gd name="connsiteY218" fmla="*/ 900610 h 4884255"/>
                <a:gd name="connsiteX219" fmla="*/ 1901286 w 4088480"/>
                <a:gd name="connsiteY219" fmla="*/ 857724 h 4884255"/>
                <a:gd name="connsiteX220" fmla="*/ 1906050 w 4088480"/>
                <a:gd name="connsiteY220" fmla="*/ 838663 h 4884255"/>
                <a:gd name="connsiteX221" fmla="*/ 1906050 w 4088480"/>
                <a:gd name="connsiteY221" fmla="*/ 824368 h 4884255"/>
                <a:gd name="connsiteX222" fmla="*/ 1920346 w 4088480"/>
                <a:gd name="connsiteY222" fmla="*/ 810072 h 4884255"/>
                <a:gd name="connsiteX223" fmla="*/ 1963232 w 4088480"/>
                <a:gd name="connsiteY223" fmla="*/ 814838 h 4884255"/>
                <a:gd name="connsiteX224" fmla="*/ 1967998 w 4088480"/>
                <a:gd name="connsiteY224" fmla="*/ 800542 h 4884255"/>
                <a:gd name="connsiteX225" fmla="*/ 1967998 w 4088480"/>
                <a:gd name="connsiteY225" fmla="*/ 791012 h 4884255"/>
                <a:gd name="connsiteX226" fmla="*/ 1944172 w 4088480"/>
                <a:gd name="connsiteY226" fmla="*/ 771951 h 4884255"/>
                <a:gd name="connsiteX227" fmla="*/ 1948936 w 4088480"/>
                <a:gd name="connsiteY227" fmla="*/ 762421 h 4884255"/>
                <a:gd name="connsiteX228" fmla="*/ 1963232 w 4088480"/>
                <a:gd name="connsiteY228" fmla="*/ 752891 h 4884255"/>
                <a:gd name="connsiteX229" fmla="*/ 1977528 w 4088480"/>
                <a:gd name="connsiteY229" fmla="*/ 752891 h 4884255"/>
                <a:gd name="connsiteX230" fmla="*/ 1982292 w 4088480"/>
                <a:gd name="connsiteY230" fmla="*/ 733830 h 4884255"/>
                <a:gd name="connsiteX231" fmla="*/ 1982292 w 4088480"/>
                <a:gd name="connsiteY231" fmla="*/ 724300 h 4884255"/>
                <a:gd name="connsiteX232" fmla="*/ 3912170 w 4088480"/>
                <a:gd name="connsiteY232" fmla="*/ 581346 h 4884255"/>
                <a:gd name="connsiteX233" fmla="*/ 3926464 w 4088480"/>
                <a:gd name="connsiteY233" fmla="*/ 581346 h 4884255"/>
                <a:gd name="connsiteX234" fmla="*/ 3935994 w 4088480"/>
                <a:gd name="connsiteY234" fmla="*/ 595641 h 4884255"/>
                <a:gd name="connsiteX235" fmla="*/ 3945524 w 4088480"/>
                <a:gd name="connsiteY235" fmla="*/ 614702 h 4884255"/>
                <a:gd name="connsiteX236" fmla="*/ 3931230 w 4088480"/>
                <a:gd name="connsiteY236" fmla="*/ 628998 h 4884255"/>
                <a:gd name="connsiteX237" fmla="*/ 3902640 w 4088480"/>
                <a:gd name="connsiteY237" fmla="*/ 643293 h 4884255"/>
                <a:gd name="connsiteX238" fmla="*/ 3897874 w 4088480"/>
                <a:gd name="connsiteY238" fmla="*/ 633763 h 4884255"/>
                <a:gd name="connsiteX239" fmla="*/ 3902640 w 4088480"/>
                <a:gd name="connsiteY239" fmla="*/ 614702 h 4884255"/>
                <a:gd name="connsiteX240" fmla="*/ 2477866 w 4088480"/>
                <a:gd name="connsiteY240" fmla="*/ 433627 h 4884255"/>
                <a:gd name="connsiteX241" fmla="*/ 2496926 w 4088480"/>
                <a:gd name="connsiteY241" fmla="*/ 438392 h 4884255"/>
                <a:gd name="connsiteX242" fmla="*/ 2501692 w 4088480"/>
                <a:gd name="connsiteY242" fmla="*/ 443157 h 4884255"/>
                <a:gd name="connsiteX243" fmla="*/ 2496926 w 4088480"/>
                <a:gd name="connsiteY243" fmla="*/ 495574 h 4884255"/>
                <a:gd name="connsiteX244" fmla="*/ 2487396 w 4088480"/>
                <a:gd name="connsiteY244" fmla="*/ 509869 h 4884255"/>
                <a:gd name="connsiteX245" fmla="*/ 2477866 w 4088480"/>
                <a:gd name="connsiteY245" fmla="*/ 509869 h 4884255"/>
                <a:gd name="connsiteX246" fmla="*/ 2468336 w 4088480"/>
                <a:gd name="connsiteY246" fmla="*/ 505104 h 4884255"/>
                <a:gd name="connsiteX247" fmla="*/ 2458806 w 4088480"/>
                <a:gd name="connsiteY247" fmla="*/ 500339 h 4884255"/>
                <a:gd name="connsiteX248" fmla="*/ 2449276 w 4088480"/>
                <a:gd name="connsiteY248" fmla="*/ 505104 h 4884255"/>
                <a:gd name="connsiteX249" fmla="*/ 2439744 w 4088480"/>
                <a:gd name="connsiteY249" fmla="*/ 486043 h 4884255"/>
                <a:gd name="connsiteX250" fmla="*/ 2439744 w 4088480"/>
                <a:gd name="connsiteY250" fmla="*/ 466983 h 4884255"/>
                <a:gd name="connsiteX251" fmla="*/ 2454040 w 4088480"/>
                <a:gd name="connsiteY251" fmla="*/ 443157 h 4884255"/>
                <a:gd name="connsiteX252" fmla="*/ 2239610 w 4088480"/>
                <a:gd name="connsiteY252" fmla="*/ 424097 h 4884255"/>
                <a:gd name="connsiteX253" fmla="*/ 2253906 w 4088480"/>
                <a:gd name="connsiteY253" fmla="*/ 424097 h 4884255"/>
                <a:gd name="connsiteX254" fmla="*/ 2258670 w 4088480"/>
                <a:gd name="connsiteY254" fmla="*/ 457453 h 4884255"/>
                <a:gd name="connsiteX255" fmla="*/ 2258670 w 4088480"/>
                <a:gd name="connsiteY255" fmla="*/ 509869 h 4884255"/>
                <a:gd name="connsiteX256" fmla="*/ 2272966 w 4088480"/>
                <a:gd name="connsiteY256" fmla="*/ 533695 h 4884255"/>
                <a:gd name="connsiteX257" fmla="*/ 2287262 w 4088480"/>
                <a:gd name="connsiteY257" fmla="*/ 528930 h 4884255"/>
                <a:gd name="connsiteX258" fmla="*/ 2287262 w 4088480"/>
                <a:gd name="connsiteY258" fmla="*/ 519400 h 4884255"/>
                <a:gd name="connsiteX259" fmla="*/ 2296792 w 4088480"/>
                <a:gd name="connsiteY259" fmla="*/ 514635 h 4884255"/>
                <a:gd name="connsiteX260" fmla="*/ 2315852 w 4088480"/>
                <a:gd name="connsiteY260" fmla="*/ 528930 h 4884255"/>
                <a:gd name="connsiteX261" fmla="*/ 2311086 w 4088480"/>
                <a:gd name="connsiteY261" fmla="*/ 552756 h 4884255"/>
                <a:gd name="connsiteX262" fmla="*/ 2287262 w 4088480"/>
                <a:gd name="connsiteY262" fmla="*/ 581346 h 4884255"/>
                <a:gd name="connsiteX263" fmla="*/ 2272966 w 4088480"/>
                <a:gd name="connsiteY263" fmla="*/ 619467 h 4884255"/>
                <a:gd name="connsiteX264" fmla="*/ 2249140 w 4088480"/>
                <a:gd name="connsiteY264" fmla="*/ 628998 h 4884255"/>
                <a:gd name="connsiteX265" fmla="*/ 2239610 w 4088480"/>
                <a:gd name="connsiteY265" fmla="*/ 624233 h 4884255"/>
                <a:gd name="connsiteX266" fmla="*/ 2220550 w 4088480"/>
                <a:gd name="connsiteY266" fmla="*/ 648058 h 4884255"/>
                <a:gd name="connsiteX267" fmla="*/ 2206254 w 4088480"/>
                <a:gd name="connsiteY267" fmla="*/ 671884 h 4884255"/>
                <a:gd name="connsiteX268" fmla="*/ 2187194 w 4088480"/>
                <a:gd name="connsiteY268" fmla="*/ 700475 h 4884255"/>
                <a:gd name="connsiteX269" fmla="*/ 2187194 w 4088480"/>
                <a:gd name="connsiteY269" fmla="*/ 719535 h 4884255"/>
                <a:gd name="connsiteX270" fmla="*/ 2187194 w 4088480"/>
                <a:gd name="connsiteY270" fmla="*/ 729065 h 4884255"/>
                <a:gd name="connsiteX271" fmla="*/ 2130012 w 4088480"/>
                <a:gd name="connsiteY271" fmla="*/ 738596 h 4884255"/>
                <a:gd name="connsiteX272" fmla="*/ 2106186 w 4088480"/>
                <a:gd name="connsiteY272" fmla="*/ 748126 h 4884255"/>
                <a:gd name="connsiteX273" fmla="*/ 2082362 w 4088480"/>
                <a:gd name="connsiteY273" fmla="*/ 738596 h 4884255"/>
                <a:gd name="connsiteX274" fmla="*/ 2072832 w 4088480"/>
                <a:gd name="connsiteY274" fmla="*/ 719535 h 4884255"/>
                <a:gd name="connsiteX275" fmla="*/ 2077596 w 4088480"/>
                <a:gd name="connsiteY275" fmla="*/ 705240 h 4884255"/>
                <a:gd name="connsiteX276" fmla="*/ 2101422 w 4088480"/>
                <a:gd name="connsiteY276" fmla="*/ 705240 h 4884255"/>
                <a:gd name="connsiteX277" fmla="*/ 2101422 w 4088480"/>
                <a:gd name="connsiteY277" fmla="*/ 686179 h 4884255"/>
                <a:gd name="connsiteX278" fmla="*/ 2106186 w 4088480"/>
                <a:gd name="connsiteY278" fmla="*/ 671884 h 4884255"/>
                <a:gd name="connsiteX279" fmla="*/ 2110952 w 4088480"/>
                <a:gd name="connsiteY279" fmla="*/ 667119 h 4884255"/>
                <a:gd name="connsiteX280" fmla="*/ 2115718 w 4088480"/>
                <a:gd name="connsiteY280" fmla="*/ 643293 h 4884255"/>
                <a:gd name="connsiteX281" fmla="*/ 2125248 w 4088480"/>
                <a:gd name="connsiteY281" fmla="*/ 638528 h 4884255"/>
                <a:gd name="connsiteX282" fmla="*/ 2144308 w 4088480"/>
                <a:gd name="connsiteY282" fmla="*/ 643293 h 4884255"/>
                <a:gd name="connsiteX283" fmla="*/ 2153838 w 4088480"/>
                <a:gd name="connsiteY283" fmla="*/ 624233 h 4884255"/>
                <a:gd name="connsiteX284" fmla="*/ 2163368 w 4088480"/>
                <a:gd name="connsiteY284" fmla="*/ 624233 h 4884255"/>
                <a:gd name="connsiteX285" fmla="*/ 2168134 w 4088480"/>
                <a:gd name="connsiteY285" fmla="*/ 638528 h 4884255"/>
                <a:gd name="connsiteX286" fmla="*/ 2172898 w 4088480"/>
                <a:gd name="connsiteY286" fmla="*/ 619467 h 4884255"/>
                <a:gd name="connsiteX287" fmla="*/ 2168134 w 4088480"/>
                <a:gd name="connsiteY287" fmla="*/ 600407 h 4884255"/>
                <a:gd name="connsiteX288" fmla="*/ 2172898 w 4088480"/>
                <a:gd name="connsiteY288" fmla="*/ 586111 h 4884255"/>
                <a:gd name="connsiteX289" fmla="*/ 2191958 w 4088480"/>
                <a:gd name="connsiteY289" fmla="*/ 557521 h 4884255"/>
                <a:gd name="connsiteX290" fmla="*/ 2201490 w 4088480"/>
                <a:gd name="connsiteY290" fmla="*/ 533695 h 4884255"/>
                <a:gd name="connsiteX291" fmla="*/ 2215784 w 4088480"/>
                <a:gd name="connsiteY291" fmla="*/ 519400 h 4884255"/>
                <a:gd name="connsiteX292" fmla="*/ 2225314 w 4088480"/>
                <a:gd name="connsiteY292" fmla="*/ 519400 h 4884255"/>
                <a:gd name="connsiteX293" fmla="*/ 2230080 w 4088480"/>
                <a:gd name="connsiteY293" fmla="*/ 500339 h 4884255"/>
                <a:gd name="connsiteX294" fmla="*/ 2225314 w 4088480"/>
                <a:gd name="connsiteY294" fmla="*/ 476513 h 4884255"/>
                <a:gd name="connsiteX295" fmla="*/ 2230080 w 4088480"/>
                <a:gd name="connsiteY295" fmla="*/ 462218 h 4884255"/>
                <a:gd name="connsiteX296" fmla="*/ 2311088 w 4088480"/>
                <a:gd name="connsiteY296" fmla="*/ 414567 h 4884255"/>
                <a:gd name="connsiteX297" fmla="*/ 2325382 w 4088480"/>
                <a:gd name="connsiteY297" fmla="*/ 414567 h 4884255"/>
                <a:gd name="connsiteX298" fmla="*/ 2339678 w 4088480"/>
                <a:gd name="connsiteY298" fmla="*/ 438393 h 4884255"/>
                <a:gd name="connsiteX299" fmla="*/ 2349208 w 4088480"/>
                <a:gd name="connsiteY299" fmla="*/ 443158 h 4884255"/>
                <a:gd name="connsiteX300" fmla="*/ 2353974 w 4088480"/>
                <a:gd name="connsiteY300" fmla="*/ 443158 h 4884255"/>
                <a:gd name="connsiteX301" fmla="*/ 2363504 w 4088480"/>
                <a:gd name="connsiteY301" fmla="*/ 447923 h 4884255"/>
                <a:gd name="connsiteX302" fmla="*/ 2373034 w 4088480"/>
                <a:gd name="connsiteY302" fmla="*/ 471748 h 4884255"/>
                <a:gd name="connsiteX303" fmla="*/ 2387328 w 4088480"/>
                <a:gd name="connsiteY303" fmla="*/ 481278 h 4884255"/>
                <a:gd name="connsiteX304" fmla="*/ 2387328 w 4088480"/>
                <a:gd name="connsiteY304" fmla="*/ 490809 h 4884255"/>
                <a:gd name="connsiteX305" fmla="*/ 2377798 w 4088480"/>
                <a:gd name="connsiteY305" fmla="*/ 505104 h 4884255"/>
                <a:gd name="connsiteX306" fmla="*/ 2358738 w 4088480"/>
                <a:gd name="connsiteY306" fmla="*/ 505104 h 4884255"/>
                <a:gd name="connsiteX307" fmla="*/ 2339678 w 4088480"/>
                <a:gd name="connsiteY307" fmla="*/ 505104 h 4884255"/>
                <a:gd name="connsiteX308" fmla="*/ 2334912 w 4088480"/>
                <a:gd name="connsiteY308" fmla="*/ 486044 h 4884255"/>
                <a:gd name="connsiteX309" fmla="*/ 2330148 w 4088480"/>
                <a:gd name="connsiteY309" fmla="*/ 462218 h 4884255"/>
                <a:gd name="connsiteX310" fmla="*/ 2315852 w 4088480"/>
                <a:gd name="connsiteY310" fmla="*/ 438393 h 4884255"/>
                <a:gd name="connsiteX311" fmla="*/ 2930554 w 4088480"/>
                <a:gd name="connsiteY311" fmla="*/ 252552 h 4884255"/>
                <a:gd name="connsiteX312" fmla="*/ 2935318 w 4088480"/>
                <a:gd name="connsiteY312" fmla="*/ 262082 h 4884255"/>
                <a:gd name="connsiteX313" fmla="*/ 2940084 w 4088480"/>
                <a:gd name="connsiteY313" fmla="*/ 285908 h 4884255"/>
                <a:gd name="connsiteX314" fmla="*/ 2944848 w 4088480"/>
                <a:gd name="connsiteY314" fmla="*/ 304968 h 4884255"/>
                <a:gd name="connsiteX315" fmla="*/ 2944848 w 4088480"/>
                <a:gd name="connsiteY315" fmla="*/ 324029 h 4884255"/>
                <a:gd name="connsiteX316" fmla="*/ 2930554 w 4088480"/>
                <a:gd name="connsiteY316" fmla="*/ 347854 h 4884255"/>
                <a:gd name="connsiteX317" fmla="*/ 2897198 w 4088480"/>
                <a:gd name="connsiteY317" fmla="*/ 385975 h 4884255"/>
                <a:gd name="connsiteX318" fmla="*/ 2897198 w 4088480"/>
                <a:gd name="connsiteY318" fmla="*/ 395506 h 4884255"/>
                <a:gd name="connsiteX319" fmla="*/ 2887668 w 4088480"/>
                <a:gd name="connsiteY319" fmla="*/ 400271 h 4884255"/>
                <a:gd name="connsiteX320" fmla="*/ 2868608 w 4088480"/>
                <a:gd name="connsiteY320" fmla="*/ 409801 h 4884255"/>
                <a:gd name="connsiteX321" fmla="*/ 2859076 w 4088480"/>
                <a:gd name="connsiteY321" fmla="*/ 400271 h 4884255"/>
                <a:gd name="connsiteX322" fmla="*/ 2863842 w 4088480"/>
                <a:gd name="connsiteY322" fmla="*/ 371680 h 4884255"/>
                <a:gd name="connsiteX323" fmla="*/ 2859076 w 4088480"/>
                <a:gd name="connsiteY323" fmla="*/ 366915 h 4884255"/>
                <a:gd name="connsiteX324" fmla="*/ 2844782 w 4088480"/>
                <a:gd name="connsiteY324" fmla="*/ 376445 h 4884255"/>
                <a:gd name="connsiteX325" fmla="*/ 2830486 w 4088480"/>
                <a:gd name="connsiteY325" fmla="*/ 362150 h 4884255"/>
                <a:gd name="connsiteX326" fmla="*/ 2830486 w 4088480"/>
                <a:gd name="connsiteY326" fmla="*/ 347854 h 4884255"/>
                <a:gd name="connsiteX327" fmla="*/ 2835252 w 4088480"/>
                <a:gd name="connsiteY327" fmla="*/ 333559 h 4884255"/>
                <a:gd name="connsiteX328" fmla="*/ 2849546 w 4088480"/>
                <a:gd name="connsiteY328" fmla="*/ 314499 h 4884255"/>
                <a:gd name="connsiteX329" fmla="*/ 2868608 w 4088480"/>
                <a:gd name="connsiteY329" fmla="*/ 300203 h 4884255"/>
                <a:gd name="connsiteX330" fmla="*/ 2882902 w 4088480"/>
                <a:gd name="connsiteY330" fmla="*/ 304968 h 4884255"/>
                <a:gd name="connsiteX331" fmla="*/ 2963910 w 4088480"/>
                <a:gd name="connsiteY331" fmla="*/ 190606 h 4884255"/>
                <a:gd name="connsiteX332" fmla="*/ 2973440 w 4088480"/>
                <a:gd name="connsiteY332" fmla="*/ 200136 h 4884255"/>
                <a:gd name="connsiteX333" fmla="*/ 2978204 w 4088480"/>
                <a:gd name="connsiteY333" fmla="*/ 204901 h 4884255"/>
                <a:gd name="connsiteX334" fmla="*/ 2992500 w 4088480"/>
                <a:gd name="connsiteY334" fmla="*/ 214432 h 4884255"/>
                <a:gd name="connsiteX335" fmla="*/ 3011560 w 4088480"/>
                <a:gd name="connsiteY335" fmla="*/ 238257 h 4884255"/>
                <a:gd name="connsiteX336" fmla="*/ 3002030 w 4088480"/>
                <a:gd name="connsiteY336" fmla="*/ 276378 h 4884255"/>
                <a:gd name="connsiteX337" fmla="*/ 2973440 w 4088480"/>
                <a:gd name="connsiteY337" fmla="*/ 295439 h 4884255"/>
                <a:gd name="connsiteX338" fmla="*/ 2954380 w 4088480"/>
                <a:gd name="connsiteY338" fmla="*/ 276378 h 4884255"/>
                <a:gd name="connsiteX339" fmla="*/ 2949614 w 4088480"/>
                <a:gd name="connsiteY339" fmla="*/ 262083 h 4884255"/>
                <a:gd name="connsiteX340" fmla="*/ 2949614 w 4088480"/>
                <a:gd name="connsiteY340" fmla="*/ 223962 h 4884255"/>
                <a:gd name="connsiteX341" fmla="*/ 2954380 w 4088480"/>
                <a:gd name="connsiteY341" fmla="*/ 204901 h 4884255"/>
                <a:gd name="connsiteX342" fmla="*/ 2906728 w 4088480"/>
                <a:gd name="connsiteY342" fmla="*/ 147719 h 4884255"/>
                <a:gd name="connsiteX343" fmla="*/ 2911492 w 4088480"/>
                <a:gd name="connsiteY343" fmla="*/ 157249 h 4884255"/>
                <a:gd name="connsiteX344" fmla="*/ 2911492 w 4088480"/>
                <a:gd name="connsiteY344" fmla="*/ 171545 h 4884255"/>
                <a:gd name="connsiteX345" fmla="*/ 2906728 w 4088480"/>
                <a:gd name="connsiteY345" fmla="*/ 185840 h 4884255"/>
                <a:gd name="connsiteX346" fmla="*/ 2892432 w 4088480"/>
                <a:gd name="connsiteY346" fmla="*/ 204900 h 4884255"/>
                <a:gd name="connsiteX347" fmla="*/ 2854312 w 4088480"/>
                <a:gd name="connsiteY347" fmla="*/ 262082 h 4884255"/>
                <a:gd name="connsiteX348" fmla="*/ 2835250 w 4088480"/>
                <a:gd name="connsiteY348" fmla="*/ 271612 h 4884255"/>
                <a:gd name="connsiteX349" fmla="*/ 2825720 w 4088480"/>
                <a:gd name="connsiteY349" fmla="*/ 281142 h 4884255"/>
                <a:gd name="connsiteX350" fmla="*/ 2816190 w 4088480"/>
                <a:gd name="connsiteY350" fmla="*/ 285908 h 4884255"/>
                <a:gd name="connsiteX351" fmla="*/ 2792364 w 4088480"/>
                <a:gd name="connsiteY351" fmla="*/ 281142 h 4884255"/>
                <a:gd name="connsiteX352" fmla="*/ 2782834 w 4088480"/>
                <a:gd name="connsiteY352" fmla="*/ 290673 h 4884255"/>
                <a:gd name="connsiteX353" fmla="*/ 2773304 w 4088480"/>
                <a:gd name="connsiteY353" fmla="*/ 300203 h 4884255"/>
                <a:gd name="connsiteX354" fmla="*/ 2754244 w 4088480"/>
                <a:gd name="connsiteY354" fmla="*/ 304968 h 4884255"/>
                <a:gd name="connsiteX355" fmla="*/ 2744714 w 4088480"/>
                <a:gd name="connsiteY355" fmla="*/ 300203 h 4884255"/>
                <a:gd name="connsiteX356" fmla="*/ 2716122 w 4088480"/>
                <a:gd name="connsiteY356" fmla="*/ 276377 h 4884255"/>
                <a:gd name="connsiteX357" fmla="*/ 2697062 w 4088480"/>
                <a:gd name="connsiteY357" fmla="*/ 252552 h 4884255"/>
                <a:gd name="connsiteX358" fmla="*/ 2687532 w 4088480"/>
                <a:gd name="connsiteY358" fmla="*/ 233491 h 4884255"/>
                <a:gd name="connsiteX359" fmla="*/ 2716122 w 4088480"/>
                <a:gd name="connsiteY359" fmla="*/ 233491 h 4884255"/>
                <a:gd name="connsiteX360" fmla="*/ 2725654 w 4088480"/>
                <a:gd name="connsiteY360" fmla="*/ 228726 h 4884255"/>
                <a:gd name="connsiteX361" fmla="*/ 2744714 w 4088480"/>
                <a:gd name="connsiteY361" fmla="*/ 233491 h 4884255"/>
                <a:gd name="connsiteX362" fmla="*/ 2754244 w 4088480"/>
                <a:gd name="connsiteY362" fmla="*/ 214431 h 4884255"/>
                <a:gd name="connsiteX363" fmla="*/ 2778070 w 4088480"/>
                <a:gd name="connsiteY363" fmla="*/ 214431 h 4884255"/>
                <a:gd name="connsiteX364" fmla="*/ 2820956 w 4088480"/>
                <a:gd name="connsiteY364" fmla="*/ 200135 h 4884255"/>
                <a:gd name="connsiteX365" fmla="*/ 2840016 w 4088480"/>
                <a:gd name="connsiteY365" fmla="*/ 209666 h 4884255"/>
                <a:gd name="connsiteX366" fmla="*/ 2878138 w 4088480"/>
                <a:gd name="connsiteY366" fmla="*/ 157249 h 4884255"/>
                <a:gd name="connsiteX367" fmla="*/ 2887668 w 4088480"/>
                <a:gd name="connsiteY367" fmla="*/ 162014 h 4884255"/>
                <a:gd name="connsiteX368" fmla="*/ 3564316 w 4088480"/>
                <a:gd name="connsiteY368" fmla="*/ 28591 h 4884255"/>
                <a:gd name="connsiteX369" fmla="*/ 3583376 w 4088480"/>
                <a:gd name="connsiteY369" fmla="*/ 33356 h 4884255"/>
                <a:gd name="connsiteX370" fmla="*/ 3597672 w 4088480"/>
                <a:gd name="connsiteY370" fmla="*/ 42886 h 4884255"/>
                <a:gd name="connsiteX371" fmla="*/ 3650088 w 4088480"/>
                <a:gd name="connsiteY371" fmla="*/ 52417 h 4884255"/>
                <a:gd name="connsiteX372" fmla="*/ 3688210 w 4088480"/>
                <a:gd name="connsiteY372" fmla="*/ 81007 h 4884255"/>
                <a:gd name="connsiteX373" fmla="*/ 3683444 w 4088480"/>
                <a:gd name="connsiteY373" fmla="*/ 133424 h 4884255"/>
                <a:gd name="connsiteX374" fmla="*/ 3678680 w 4088480"/>
                <a:gd name="connsiteY374" fmla="*/ 152484 h 4884255"/>
                <a:gd name="connsiteX375" fmla="*/ 3669148 w 4088480"/>
                <a:gd name="connsiteY375" fmla="*/ 166780 h 4884255"/>
                <a:gd name="connsiteX376" fmla="*/ 3616732 w 4088480"/>
                <a:gd name="connsiteY376" fmla="*/ 204901 h 4884255"/>
                <a:gd name="connsiteX377" fmla="*/ 3611968 w 4088480"/>
                <a:gd name="connsiteY377" fmla="*/ 223961 h 4884255"/>
                <a:gd name="connsiteX378" fmla="*/ 3626262 w 4088480"/>
                <a:gd name="connsiteY378" fmla="*/ 228726 h 4884255"/>
                <a:gd name="connsiteX379" fmla="*/ 3659618 w 4088480"/>
                <a:gd name="connsiteY379" fmla="*/ 209666 h 4884255"/>
                <a:gd name="connsiteX380" fmla="*/ 3669148 w 4088480"/>
                <a:gd name="connsiteY380" fmla="*/ 228726 h 4884255"/>
                <a:gd name="connsiteX381" fmla="*/ 3654854 w 4088480"/>
                <a:gd name="connsiteY381" fmla="*/ 271612 h 4884255"/>
                <a:gd name="connsiteX382" fmla="*/ 3654854 w 4088480"/>
                <a:gd name="connsiteY382" fmla="*/ 333559 h 4884255"/>
                <a:gd name="connsiteX383" fmla="*/ 3650088 w 4088480"/>
                <a:gd name="connsiteY383" fmla="*/ 371680 h 4884255"/>
                <a:gd name="connsiteX384" fmla="*/ 3650088 w 4088480"/>
                <a:gd name="connsiteY384" fmla="*/ 405036 h 4884255"/>
                <a:gd name="connsiteX385" fmla="*/ 3654854 w 4088480"/>
                <a:gd name="connsiteY385" fmla="*/ 424097 h 4884255"/>
                <a:gd name="connsiteX386" fmla="*/ 3669148 w 4088480"/>
                <a:gd name="connsiteY386" fmla="*/ 352620 h 4884255"/>
                <a:gd name="connsiteX387" fmla="*/ 3673914 w 4088480"/>
                <a:gd name="connsiteY387" fmla="*/ 333559 h 4884255"/>
                <a:gd name="connsiteX388" fmla="*/ 3692974 w 4088480"/>
                <a:gd name="connsiteY388" fmla="*/ 304968 h 4884255"/>
                <a:gd name="connsiteX389" fmla="*/ 3702504 w 4088480"/>
                <a:gd name="connsiteY389" fmla="*/ 252552 h 4884255"/>
                <a:gd name="connsiteX390" fmla="*/ 3721566 w 4088480"/>
                <a:gd name="connsiteY390" fmla="*/ 185840 h 4884255"/>
                <a:gd name="connsiteX391" fmla="*/ 3740626 w 4088480"/>
                <a:gd name="connsiteY391" fmla="*/ 147719 h 4884255"/>
                <a:gd name="connsiteX392" fmla="*/ 3754920 w 4088480"/>
                <a:gd name="connsiteY392" fmla="*/ 133424 h 4884255"/>
                <a:gd name="connsiteX393" fmla="*/ 3797808 w 4088480"/>
                <a:gd name="connsiteY393" fmla="*/ 138189 h 4884255"/>
                <a:gd name="connsiteX394" fmla="*/ 3816868 w 4088480"/>
                <a:gd name="connsiteY394" fmla="*/ 152484 h 4884255"/>
                <a:gd name="connsiteX395" fmla="*/ 3831164 w 4088480"/>
                <a:gd name="connsiteY395" fmla="*/ 185840 h 4884255"/>
                <a:gd name="connsiteX396" fmla="*/ 3845458 w 4088480"/>
                <a:gd name="connsiteY396" fmla="*/ 195370 h 4884255"/>
                <a:gd name="connsiteX397" fmla="*/ 3883580 w 4088480"/>
                <a:gd name="connsiteY397" fmla="*/ 209666 h 4884255"/>
                <a:gd name="connsiteX398" fmla="*/ 3893110 w 4088480"/>
                <a:gd name="connsiteY398" fmla="*/ 228726 h 4884255"/>
                <a:gd name="connsiteX399" fmla="*/ 3897876 w 4088480"/>
                <a:gd name="connsiteY399" fmla="*/ 238257 h 4884255"/>
                <a:gd name="connsiteX400" fmla="*/ 3907406 w 4088480"/>
                <a:gd name="connsiteY400" fmla="*/ 243022 h 4884255"/>
                <a:gd name="connsiteX401" fmla="*/ 3931230 w 4088480"/>
                <a:gd name="connsiteY401" fmla="*/ 214431 h 4884255"/>
                <a:gd name="connsiteX402" fmla="*/ 3950292 w 4088480"/>
                <a:gd name="connsiteY402" fmla="*/ 209666 h 4884255"/>
                <a:gd name="connsiteX403" fmla="*/ 3974116 w 4088480"/>
                <a:gd name="connsiteY403" fmla="*/ 247787 h 4884255"/>
                <a:gd name="connsiteX404" fmla="*/ 3969352 w 4088480"/>
                <a:gd name="connsiteY404" fmla="*/ 276378 h 4884255"/>
                <a:gd name="connsiteX405" fmla="*/ 3969352 w 4088480"/>
                <a:gd name="connsiteY405" fmla="*/ 285908 h 4884255"/>
                <a:gd name="connsiteX406" fmla="*/ 4002708 w 4088480"/>
                <a:gd name="connsiteY406" fmla="*/ 285908 h 4884255"/>
                <a:gd name="connsiteX407" fmla="*/ 4031298 w 4088480"/>
                <a:gd name="connsiteY407" fmla="*/ 295438 h 4884255"/>
                <a:gd name="connsiteX408" fmla="*/ 4083714 w 4088480"/>
                <a:gd name="connsiteY408" fmla="*/ 352620 h 4884255"/>
                <a:gd name="connsiteX409" fmla="*/ 4088480 w 4088480"/>
                <a:gd name="connsiteY409" fmla="*/ 381210 h 4884255"/>
                <a:gd name="connsiteX410" fmla="*/ 4083714 w 4088480"/>
                <a:gd name="connsiteY410" fmla="*/ 414566 h 4884255"/>
                <a:gd name="connsiteX411" fmla="*/ 4012238 w 4088480"/>
                <a:gd name="connsiteY411" fmla="*/ 447922 h 4884255"/>
                <a:gd name="connsiteX412" fmla="*/ 3978882 w 4088480"/>
                <a:gd name="connsiteY412" fmla="*/ 481278 h 4884255"/>
                <a:gd name="connsiteX413" fmla="*/ 3926466 w 4088480"/>
                <a:gd name="connsiteY413" fmla="*/ 495573 h 4884255"/>
                <a:gd name="connsiteX414" fmla="*/ 3745390 w 4088480"/>
                <a:gd name="connsiteY414" fmla="*/ 471748 h 4884255"/>
                <a:gd name="connsiteX415" fmla="*/ 3750156 w 4088480"/>
                <a:gd name="connsiteY415" fmla="*/ 495573 h 4884255"/>
                <a:gd name="connsiteX416" fmla="*/ 3874050 w 4088480"/>
                <a:gd name="connsiteY416" fmla="*/ 547990 h 4884255"/>
                <a:gd name="connsiteX417" fmla="*/ 3883580 w 4088480"/>
                <a:gd name="connsiteY417" fmla="*/ 562285 h 4884255"/>
                <a:gd name="connsiteX418" fmla="*/ 3878814 w 4088480"/>
                <a:gd name="connsiteY418" fmla="*/ 595641 h 4884255"/>
                <a:gd name="connsiteX419" fmla="*/ 3878814 w 4088480"/>
                <a:gd name="connsiteY419" fmla="*/ 619467 h 4884255"/>
                <a:gd name="connsiteX420" fmla="*/ 3883580 w 4088480"/>
                <a:gd name="connsiteY420" fmla="*/ 638527 h 4884255"/>
                <a:gd name="connsiteX421" fmla="*/ 3888344 w 4088480"/>
                <a:gd name="connsiteY421" fmla="*/ 652823 h 4884255"/>
                <a:gd name="connsiteX422" fmla="*/ 3907406 w 4088480"/>
                <a:gd name="connsiteY422" fmla="*/ 662353 h 4884255"/>
                <a:gd name="connsiteX423" fmla="*/ 3935996 w 4088480"/>
                <a:gd name="connsiteY423" fmla="*/ 657588 h 4884255"/>
                <a:gd name="connsiteX424" fmla="*/ 3950292 w 4088480"/>
                <a:gd name="connsiteY424" fmla="*/ 667118 h 4884255"/>
                <a:gd name="connsiteX425" fmla="*/ 3964586 w 4088480"/>
                <a:gd name="connsiteY425" fmla="*/ 652823 h 4884255"/>
                <a:gd name="connsiteX426" fmla="*/ 3964586 w 4088480"/>
                <a:gd name="connsiteY426" fmla="*/ 609936 h 4884255"/>
                <a:gd name="connsiteX427" fmla="*/ 3974116 w 4088480"/>
                <a:gd name="connsiteY427" fmla="*/ 600406 h 4884255"/>
                <a:gd name="connsiteX428" fmla="*/ 3993178 w 4088480"/>
                <a:gd name="connsiteY428" fmla="*/ 614702 h 4884255"/>
                <a:gd name="connsiteX429" fmla="*/ 3997942 w 4088480"/>
                <a:gd name="connsiteY429" fmla="*/ 657588 h 4884255"/>
                <a:gd name="connsiteX430" fmla="*/ 4002708 w 4088480"/>
                <a:gd name="connsiteY430" fmla="*/ 662353 h 4884255"/>
                <a:gd name="connsiteX431" fmla="*/ 4012238 w 4088480"/>
                <a:gd name="connsiteY431" fmla="*/ 633762 h 4884255"/>
                <a:gd name="connsiteX432" fmla="*/ 4031298 w 4088480"/>
                <a:gd name="connsiteY432" fmla="*/ 633762 h 4884255"/>
                <a:gd name="connsiteX433" fmla="*/ 4050360 w 4088480"/>
                <a:gd name="connsiteY433" fmla="*/ 628997 h 4884255"/>
                <a:gd name="connsiteX434" fmla="*/ 4074184 w 4088480"/>
                <a:gd name="connsiteY434" fmla="*/ 638527 h 4884255"/>
                <a:gd name="connsiteX435" fmla="*/ 4083714 w 4088480"/>
                <a:gd name="connsiteY435" fmla="*/ 695709 h 4884255"/>
                <a:gd name="connsiteX436" fmla="*/ 4083714 w 4088480"/>
                <a:gd name="connsiteY436" fmla="*/ 714769 h 4884255"/>
                <a:gd name="connsiteX437" fmla="*/ 4078950 w 4088480"/>
                <a:gd name="connsiteY437" fmla="*/ 738595 h 4884255"/>
                <a:gd name="connsiteX438" fmla="*/ 4074184 w 4088480"/>
                <a:gd name="connsiteY438" fmla="*/ 748125 h 4884255"/>
                <a:gd name="connsiteX439" fmla="*/ 4059890 w 4088480"/>
                <a:gd name="connsiteY439" fmla="*/ 752890 h 4884255"/>
                <a:gd name="connsiteX440" fmla="*/ 4036064 w 4088480"/>
                <a:gd name="connsiteY440" fmla="*/ 748125 h 4884255"/>
                <a:gd name="connsiteX441" fmla="*/ 3997942 w 4088480"/>
                <a:gd name="connsiteY441" fmla="*/ 729065 h 4884255"/>
                <a:gd name="connsiteX442" fmla="*/ 3974116 w 4088480"/>
                <a:gd name="connsiteY442" fmla="*/ 705239 h 4884255"/>
                <a:gd name="connsiteX443" fmla="*/ 3964586 w 4088480"/>
                <a:gd name="connsiteY443" fmla="*/ 705239 h 4884255"/>
                <a:gd name="connsiteX444" fmla="*/ 3969352 w 4088480"/>
                <a:gd name="connsiteY444" fmla="*/ 729065 h 4884255"/>
                <a:gd name="connsiteX445" fmla="*/ 3969352 w 4088480"/>
                <a:gd name="connsiteY445" fmla="*/ 743360 h 4884255"/>
                <a:gd name="connsiteX446" fmla="*/ 3964586 w 4088480"/>
                <a:gd name="connsiteY446" fmla="*/ 762421 h 4884255"/>
                <a:gd name="connsiteX447" fmla="*/ 3959822 w 4088480"/>
                <a:gd name="connsiteY447" fmla="*/ 781481 h 4884255"/>
                <a:gd name="connsiteX448" fmla="*/ 3950292 w 4088480"/>
                <a:gd name="connsiteY448" fmla="*/ 795776 h 4884255"/>
                <a:gd name="connsiteX449" fmla="*/ 3935996 w 4088480"/>
                <a:gd name="connsiteY449" fmla="*/ 810072 h 4884255"/>
                <a:gd name="connsiteX450" fmla="*/ 3912170 w 4088480"/>
                <a:gd name="connsiteY450" fmla="*/ 824367 h 4884255"/>
                <a:gd name="connsiteX451" fmla="*/ 3840694 w 4088480"/>
                <a:gd name="connsiteY451" fmla="*/ 852958 h 4884255"/>
                <a:gd name="connsiteX452" fmla="*/ 3835928 w 4088480"/>
                <a:gd name="connsiteY452" fmla="*/ 867253 h 4884255"/>
                <a:gd name="connsiteX453" fmla="*/ 3812102 w 4088480"/>
                <a:gd name="connsiteY453" fmla="*/ 943495 h 4884255"/>
                <a:gd name="connsiteX454" fmla="*/ 3807338 w 4088480"/>
                <a:gd name="connsiteY454" fmla="*/ 953026 h 4884255"/>
                <a:gd name="connsiteX455" fmla="*/ 3802572 w 4088480"/>
                <a:gd name="connsiteY455" fmla="*/ 962556 h 4884255"/>
                <a:gd name="connsiteX456" fmla="*/ 3773982 w 4088480"/>
                <a:gd name="connsiteY456" fmla="*/ 976851 h 4884255"/>
                <a:gd name="connsiteX457" fmla="*/ 3764452 w 4088480"/>
                <a:gd name="connsiteY457" fmla="*/ 957791 h 4884255"/>
                <a:gd name="connsiteX458" fmla="*/ 3754920 w 4088480"/>
                <a:gd name="connsiteY458" fmla="*/ 933965 h 4884255"/>
                <a:gd name="connsiteX459" fmla="*/ 3759686 w 4088480"/>
                <a:gd name="connsiteY459" fmla="*/ 905374 h 4884255"/>
                <a:gd name="connsiteX460" fmla="*/ 3783512 w 4088480"/>
                <a:gd name="connsiteY460" fmla="*/ 857723 h 4884255"/>
                <a:gd name="connsiteX461" fmla="*/ 3812102 w 4088480"/>
                <a:gd name="connsiteY461" fmla="*/ 824367 h 4884255"/>
                <a:gd name="connsiteX462" fmla="*/ 3816868 w 4088480"/>
                <a:gd name="connsiteY462" fmla="*/ 810072 h 4884255"/>
                <a:gd name="connsiteX463" fmla="*/ 3835928 w 4088480"/>
                <a:gd name="connsiteY463" fmla="*/ 776716 h 4884255"/>
                <a:gd name="connsiteX464" fmla="*/ 3802572 w 4088480"/>
                <a:gd name="connsiteY464" fmla="*/ 686179 h 4884255"/>
                <a:gd name="connsiteX465" fmla="*/ 3750156 w 4088480"/>
                <a:gd name="connsiteY465" fmla="*/ 662353 h 4884255"/>
                <a:gd name="connsiteX466" fmla="*/ 3688210 w 4088480"/>
                <a:gd name="connsiteY466" fmla="*/ 619467 h 4884255"/>
                <a:gd name="connsiteX467" fmla="*/ 3669148 w 4088480"/>
                <a:gd name="connsiteY467" fmla="*/ 595641 h 4884255"/>
                <a:gd name="connsiteX468" fmla="*/ 3631028 w 4088480"/>
                <a:gd name="connsiteY468" fmla="*/ 552755 h 4884255"/>
                <a:gd name="connsiteX469" fmla="*/ 3607202 w 4088480"/>
                <a:gd name="connsiteY469" fmla="*/ 509869 h 4884255"/>
                <a:gd name="connsiteX470" fmla="*/ 3588142 w 4088480"/>
                <a:gd name="connsiteY470" fmla="*/ 509869 h 4884255"/>
                <a:gd name="connsiteX471" fmla="*/ 3559550 w 4088480"/>
                <a:gd name="connsiteY471" fmla="*/ 519399 h 4884255"/>
                <a:gd name="connsiteX472" fmla="*/ 3521430 w 4088480"/>
                <a:gd name="connsiteY472" fmla="*/ 557520 h 4884255"/>
                <a:gd name="connsiteX473" fmla="*/ 3502370 w 4088480"/>
                <a:gd name="connsiteY473" fmla="*/ 576581 h 4884255"/>
                <a:gd name="connsiteX474" fmla="*/ 3488074 w 4088480"/>
                <a:gd name="connsiteY474" fmla="*/ 581346 h 4884255"/>
                <a:gd name="connsiteX475" fmla="*/ 3459484 w 4088480"/>
                <a:gd name="connsiteY475" fmla="*/ 571815 h 4884255"/>
                <a:gd name="connsiteX476" fmla="*/ 3426128 w 4088480"/>
                <a:gd name="connsiteY476" fmla="*/ 567050 h 4884255"/>
                <a:gd name="connsiteX477" fmla="*/ 3402302 w 4088480"/>
                <a:gd name="connsiteY477" fmla="*/ 571815 h 4884255"/>
                <a:gd name="connsiteX478" fmla="*/ 3397536 w 4088480"/>
                <a:gd name="connsiteY478" fmla="*/ 576581 h 4884255"/>
                <a:gd name="connsiteX479" fmla="*/ 3359416 w 4088480"/>
                <a:gd name="connsiteY479" fmla="*/ 638527 h 4884255"/>
                <a:gd name="connsiteX480" fmla="*/ 3335590 w 4088480"/>
                <a:gd name="connsiteY480" fmla="*/ 667118 h 4884255"/>
                <a:gd name="connsiteX481" fmla="*/ 3326060 w 4088480"/>
                <a:gd name="connsiteY481" fmla="*/ 676648 h 4884255"/>
                <a:gd name="connsiteX482" fmla="*/ 3316530 w 4088480"/>
                <a:gd name="connsiteY482" fmla="*/ 695709 h 4884255"/>
                <a:gd name="connsiteX483" fmla="*/ 3307000 w 4088480"/>
                <a:gd name="connsiteY483" fmla="*/ 724299 h 4884255"/>
                <a:gd name="connsiteX484" fmla="*/ 3287938 w 4088480"/>
                <a:gd name="connsiteY484" fmla="*/ 824367 h 4884255"/>
                <a:gd name="connsiteX485" fmla="*/ 3278408 w 4088480"/>
                <a:gd name="connsiteY485" fmla="*/ 862488 h 4884255"/>
                <a:gd name="connsiteX486" fmla="*/ 3273644 w 4088480"/>
                <a:gd name="connsiteY486" fmla="*/ 881549 h 4884255"/>
                <a:gd name="connsiteX487" fmla="*/ 3278408 w 4088480"/>
                <a:gd name="connsiteY487" fmla="*/ 953026 h 4884255"/>
                <a:gd name="connsiteX488" fmla="*/ 3273644 w 4088480"/>
                <a:gd name="connsiteY488" fmla="*/ 991147 h 4884255"/>
                <a:gd name="connsiteX489" fmla="*/ 3259348 w 4088480"/>
                <a:gd name="connsiteY489" fmla="*/ 1019737 h 4884255"/>
                <a:gd name="connsiteX490" fmla="*/ 3245052 w 4088480"/>
                <a:gd name="connsiteY490" fmla="*/ 1034033 h 4884255"/>
                <a:gd name="connsiteX491" fmla="*/ 3230756 w 4088480"/>
                <a:gd name="connsiteY491" fmla="*/ 1034033 h 4884255"/>
                <a:gd name="connsiteX492" fmla="*/ 3211696 w 4088480"/>
                <a:gd name="connsiteY492" fmla="*/ 1043563 h 4884255"/>
                <a:gd name="connsiteX493" fmla="*/ 3197402 w 4088480"/>
                <a:gd name="connsiteY493" fmla="*/ 1062623 h 4884255"/>
                <a:gd name="connsiteX494" fmla="*/ 3183106 w 4088480"/>
                <a:gd name="connsiteY494" fmla="*/ 1086449 h 4884255"/>
                <a:gd name="connsiteX495" fmla="*/ 3168810 w 4088480"/>
                <a:gd name="connsiteY495" fmla="*/ 1138865 h 4884255"/>
                <a:gd name="connsiteX496" fmla="*/ 3149750 w 4088480"/>
                <a:gd name="connsiteY496" fmla="*/ 1162691 h 4884255"/>
                <a:gd name="connsiteX497" fmla="*/ 3125924 w 4088480"/>
                <a:gd name="connsiteY497" fmla="*/ 1153161 h 4884255"/>
                <a:gd name="connsiteX498" fmla="*/ 3111628 w 4088480"/>
                <a:gd name="connsiteY498" fmla="*/ 1134100 h 4884255"/>
                <a:gd name="connsiteX499" fmla="*/ 3078272 w 4088480"/>
                <a:gd name="connsiteY499" fmla="*/ 1119805 h 4884255"/>
                <a:gd name="connsiteX500" fmla="*/ 3054448 w 4088480"/>
                <a:gd name="connsiteY500" fmla="*/ 1110275 h 4884255"/>
                <a:gd name="connsiteX501" fmla="*/ 3025856 w 4088480"/>
                <a:gd name="connsiteY501" fmla="*/ 1086449 h 4884255"/>
                <a:gd name="connsiteX502" fmla="*/ 3002032 w 4088480"/>
                <a:gd name="connsiteY502" fmla="*/ 1072154 h 4884255"/>
                <a:gd name="connsiteX503" fmla="*/ 2978206 w 4088480"/>
                <a:gd name="connsiteY503" fmla="*/ 1067389 h 4884255"/>
                <a:gd name="connsiteX504" fmla="*/ 2963910 w 4088480"/>
                <a:gd name="connsiteY504" fmla="*/ 1091214 h 4884255"/>
                <a:gd name="connsiteX505" fmla="*/ 2954380 w 4088480"/>
                <a:gd name="connsiteY505" fmla="*/ 1110275 h 4884255"/>
                <a:gd name="connsiteX506" fmla="*/ 2916258 w 4088480"/>
                <a:gd name="connsiteY506" fmla="*/ 1124570 h 4884255"/>
                <a:gd name="connsiteX507" fmla="*/ 2897198 w 4088480"/>
                <a:gd name="connsiteY507" fmla="*/ 1134100 h 4884255"/>
                <a:gd name="connsiteX508" fmla="*/ 2868608 w 4088480"/>
                <a:gd name="connsiteY508" fmla="*/ 1138865 h 4884255"/>
                <a:gd name="connsiteX509" fmla="*/ 2854312 w 4088480"/>
                <a:gd name="connsiteY509" fmla="*/ 1124570 h 4884255"/>
                <a:gd name="connsiteX510" fmla="*/ 2816192 w 4088480"/>
                <a:gd name="connsiteY510" fmla="*/ 1115040 h 4884255"/>
                <a:gd name="connsiteX511" fmla="*/ 2768540 w 4088480"/>
                <a:gd name="connsiteY511" fmla="*/ 1105510 h 4884255"/>
                <a:gd name="connsiteX512" fmla="*/ 2754244 w 4088480"/>
                <a:gd name="connsiteY512" fmla="*/ 1105510 h 4884255"/>
                <a:gd name="connsiteX513" fmla="*/ 2749480 w 4088480"/>
                <a:gd name="connsiteY513" fmla="*/ 1081684 h 4884255"/>
                <a:gd name="connsiteX514" fmla="*/ 2735184 w 4088480"/>
                <a:gd name="connsiteY514" fmla="*/ 1048328 h 4884255"/>
                <a:gd name="connsiteX515" fmla="*/ 2701828 w 4088480"/>
                <a:gd name="connsiteY515" fmla="*/ 986381 h 4884255"/>
                <a:gd name="connsiteX516" fmla="*/ 2687532 w 4088480"/>
                <a:gd name="connsiteY516" fmla="*/ 967321 h 4884255"/>
                <a:gd name="connsiteX517" fmla="*/ 2658942 w 4088480"/>
                <a:gd name="connsiteY517" fmla="*/ 914905 h 4884255"/>
                <a:gd name="connsiteX518" fmla="*/ 2630352 w 4088480"/>
                <a:gd name="connsiteY518" fmla="*/ 867253 h 4884255"/>
                <a:gd name="connsiteX519" fmla="*/ 2625586 w 4088480"/>
                <a:gd name="connsiteY519" fmla="*/ 862488 h 4884255"/>
                <a:gd name="connsiteX520" fmla="*/ 2601760 w 4088480"/>
                <a:gd name="connsiteY520" fmla="*/ 862488 h 4884255"/>
                <a:gd name="connsiteX521" fmla="*/ 2573170 w 4088480"/>
                <a:gd name="connsiteY521" fmla="*/ 862488 h 4884255"/>
                <a:gd name="connsiteX522" fmla="*/ 2554108 w 4088480"/>
                <a:gd name="connsiteY522" fmla="*/ 876784 h 4884255"/>
                <a:gd name="connsiteX523" fmla="*/ 2544578 w 4088480"/>
                <a:gd name="connsiteY523" fmla="*/ 891079 h 4884255"/>
                <a:gd name="connsiteX524" fmla="*/ 2539814 w 4088480"/>
                <a:gd name="connsiteY524" fmla="*/ 900609 h 4884255"/>
                <a:gd name="connsiteX525" fmla="*/ 2554108 w 4088480"/>
                <a:gd name="connsiteY525" fmla="*/ 948260 h 4884255"/>
                <a:gd name="connsiteX526" fmla="*/ 2549344 w 4088480"/>
                <a:gd name="connsiteY526" fmla="*/ 962556 h 4884255"/>
                <a:gd name="connsiteX527" fmla="*/ 2544578 w 4088480"/>
                <a:gd name="connsiteY527" fmla="*/ 967321 h 4884255"/>
                <a:gd name="connsiteX528" fmla="*/ 2515988 w 4088480"/>
                <a:gd name="connsiteY528" fmla="*/ 953026 h 4884255"/>
                <a:gd name="connsiteX529" fmla="*/ 2482632 w 4088480"/>
                <a:gd name="connsiteY529" fmla="*/ 953026 h 4884255"/>
                <a:gd name="connsiteX530" fmla="*/ 2473102 w 4088480"/>
                <a:gd name="connsiteY530" fmla="*/ 967321 h 4884255"/>
                <a:gd name="connsiteX531" fmla="*/ 2454042 w 4088480"/>
                <a:gd name="connsiteY531" fmla="*/ 972086 h 4884255"/>
                <a:gd name="connsiteX532" fmla="*/ 2392094 w 4088480"/>
                <a:gd name="connsiteY532" fmla="*/ 976851 h 4884255"/>
                <a:gd name="connsiteX533" fmla="*/ 2420686 w 4088480"/>
                <a:gd name="connsiteY533" fmla="*/ 1014972 h 4884255"/>
                <a:gd name="connsiteX534" fmla="*/ 2430216 w 4088480"/>
                <a:gd name="connsiteY534" fmla="*/ 1029268 h 4884255"/>
                <a:gd name="connsiteX535" fmla="*/ 2430216 w 4088480"/>
                <a:gd name="connsiteY535" fmla="*/ 1048328 h 4884255"/>
                <a:gd name="connsiteX536" fmla="*/ 2425450 w 4088480"/>
                <a:gd name="connsiteY536" fmla="*/ 1091214 h 4884255"/>
                <a:gd name="connsiteX537" fmla="*/ 2415920 w 4088480"/>
                <a:gd name="connsiteY537" fmla="*/ 1124570 h 4884255"/>
                <a:gd name="connsiteX538" fmla="*/ 2396860 w 4088480"/>
                <a:gd name="connsiteY538" fmla="*/ 1153161 h 4884255"/>
                <a:gd name="connsiteX539" fmla="*/ 2373034 w 4088480"/>
                <a:gd name="connsiteY539" fmla="*/ 1181752 h 4884255"/>
                <a:gd name="connsiteX540" fmla="*/ 2415920 w 4088480"/>
                <a:gd name="connsiteY540" fmla="*/ 1210342 h 4884255"/>
                <a:gd name="connsiteX541" fmla="*/ 2382564 w 4088480"/>
                <a:gd name="connsiteY541" fmla="*/ 1248463 h 4884255"/>
                <a:gd name="connsiteX542" fmla="*/ 2373034 w 4088480"/>
                <a:gd name="connsiteY542" fmla="*/ 1262759 h 4884255"/>
                <a:gd name="connsiteX543" fmla="*/ 2353974 w 4088480"/>
                <a:gd name="connsiteY543" fmla="*/ 1257994 h 4884255"/>
                <a:gd name="connsiteX544" fmla="*/ 2325382 w 4088480"/>
                <a:gd name="connsiteY544" fmla="*/ 1243698 h 4884255"/>
                <a:gd name="connsiteX545" fmla="*/ 2258672 w 4088480"/>
                <a:gd name="connsiteY545" fmla="*/ 1215107 h 4884255"/>
                <a:gd name="connsiteX546" fmla="*/ 2230080 w 4088480"/>
                <a:gd name="connsiteY546" fmla="*/ 1205577 h 4884255"/>
                <a:gd name="connsiteX547" fmla="*/ 2201490 w 4088480"/>
                <a:gd name="connsiteY547" fmla="*/ 1200812 h 4884255"/>
                <a:gd name="connsiteX548" fmla="*/ 2182428 w 4088480"/>
                <a:gd name="connsiteY548" fmla="*/ 1200812 h 4884255"/>
                <a:gd name="connsiteX549" fmla="*/ 2125248 w 4088480"/>
                <a:gd name="connsiteY549" fmla="*/ 1172221 h 4884255"/>
                <a:gd name="connsiteX550" fmla="*/ 2110952 w 4088480"/>
                <a:gd name="connsiteY550" fmla="*/ 1176987 h 4884255"/>
                <a:gd name="connsiteX551" fmla="*/ 2087126 w 4088480"/>
                <a:gd name="connsiteY551" fmla="*/ 1186517 h 4884255"/>
                <a:gd name="connsiteX552" fmla="*/ 2087126 w 4088480"/>
                <a:gd name="connsiteY552" fmla="*/ 1215107 h 4884255"/>
                <a:gd name="connsiteX553" fmla="*/ 2087126 w 4088480"/>
                <a:gd name="connsiteY553" fmla="*/ 1277054 h 4884255"/>
                <a:gd name="connsiteX554" fmla="*/ 2091892 w 4088480"/>
                <a:gd name="connsiteY554" fmla="*/ 1324705 h 4884255"/>
                <a:gd name="connsiteX555" fmla="*/ 2082362 w 4088480"/>
                <a:gd name="connsiteY555" fmla="*/ 1353296 h 4884255"/>
                <a:gd name="connsiteX556" fmla="*/ 2072832 w 4088480"/>
                <a:gd name="connsiteY556" fmla="*/ 1372357 h 4884255"/>
                <a:gd name="connsiteX557" fmla="*/ 2049006 w 4088480"/>
                <a:gd name="connsiteY557" fmla="*/ 1424773 h 4884255"/>
                <a:gd name="connsiteX558" fmla="*/ 1996588 w 4088480"/>
                <a:gd name="connsiteY558" fmla="*/ 1391417 h 4884255"/>
                <a:gd name="connsiteX559" fmla="*/ 1958468 w 4088480"/>
                <a:gd name="connsiteY559" fmla="*/ 1367592 h 4884255"/>
                <a:gd name="connsiteX560" fmla="*/ 1934642 w 4088480"/>
                <a:gd name="connsiteY560" fmla="*/ 1396182 h 4884255"/>
                <a:gd name="connsiteX561" fmla="*/ 1872696 w 4088480"/>
                <a:gd name="connsiteY561" fmla="*/ 1453364 h 4884255"/>
                <a:gd name="connsiteX562" fmla="*/ 1844104 w 4088480"/>
                <a:gd name="connsiteY562" fmla="*/ 1562962 h 4884255"/>
                <a:gd name="connsiteX563" fmla="*/ 1839340 w 4088480"/>
                <a:gd name="connsiteY563" fmla="*/ 1567727 h 4884255"/>
                <a:gd name="connsiteX564" fmla="*/ 1825044 w 4088480"/>
                <a:gd name="connsiteY564" fmla="*/ 1596318 h 4884255"/>
                <a:gd name="connsiteX565" fmla="*/ 1801218 w 4088480"/>
                <a:gd name="connsiteY565" fmla="*/ 1610613 h 4884255"/>
                <a:gd name="connsiteX566" fmla="*/ 1782158 w 4088480"/>
                <a:gd name="connsiteY566" fmla="*/ 1615378 h 4884255"/>
                <a:gd name="connsiteX567" fmla="*/ 1772628 w 4088480"/>
                <a:gd name="connsiteY567" fmla="*/ 1648734 h 4884255"/>
                <a:gd name="connsiteX568" fmla="*/ 1796454 w 4088480"/>
                <a:gd name="connsiteY568" fmla="*/ 1691620 h 4884255"/>
                <a:gd name="connsiteX569" fmla="*/ 1805984 w 4088480"/>
                <a:gd name="connsiteY569" fmla="*/ 1720211 h 4884255"/>
                <a:gd name="connsiteX570" fmla="*/ 1820280 w 4088480"/>
                <a:gd name="connsiteY570" fmla="*/ 1758332 h 4884255"/>
                <a:gd name="connsiteX571" fmla="*/ 1815514 w 4088480"/>
                <a:gd name="connsiteY571" fmla="*/ 1782158 h 4884255"/>
                <a:gd name="connsiteX572" fmla="*/ 1815514 w 4088480"/>
                <a:gd name="connsiteY572" fmla="*/ 1796453 h 4884255"/>
                <a:gd name="connsiteX573" fmla="*/ 1786924 w 4088480"/>
                <a:gd name="connsiteY573" fmla="*/ 1829809 h 4884255"/>
                <a:gd name="connsiteX574" fmla="*/ 1734508 w 4088480"/>
                <a:gd name="connsiteY574" fmla="*/ 1910816 h 4884255"/>
                <a:gd name="connsiteX575" fmla="*/ 1682090 w 4088480"/>
                <a:gd name="connsiteY575" fmla="*/ 1996588 h 4884255"/>
                <a:gd name="connsiteX576" fmla="*/ 1663030 w 4088480"/>
                <a:gd name="connsiteY576" fmla="*/ 2020414 h 4884255"/>
                <a:gd name="connsiteX577" fmla="*/ 1672560 w 4088480"/>
                <a:gd name="connsiteY577" fmla="*/ 2091891 h 4884255"/>
                <a:gd name="connsiteX578" fmla="*/ 1653500 w 4088480"/>
                <a:gd name="connsiteY578" fmla="*/ 2115717 h 4884255"/>
                <a:gd name="connsiteX579" fmla="*/ 1620144 w 4088480"/>
                <a:gd name="connsiteY579" fmla="*/ 2134777 h 4884255"/>
                <a:gd name="connsiteX580" fmla="*/ 1601084 w 4088480"/>
                <a:gd name="connsiteY580" fmla="*/ 2144307 h 4884255"/>
                <a:gd name="connsiteX581" fmla="*/ 1582022 w 4088480"/>
                <a:gd name="connsiteY581" fmla="*/ 2153837 h 4884255"/>
                <a:gd name="connsiteX582" fmla="*/ 1524842 w 4088480"/>
                <a:gd name="connsiteY582" fmla="*/ 2163368 h 4884255"/>
                <a:gd name="connsiteX583" fmla="*/ 1534372 w 4088480"/>
                <a:gd name="connsiteY583" fmla="*/ 2234845 h 4884255"/>
                <a:gd name="connsiteX584" fmla="*/ 1539136 w 4088480"/>
                <a:gd name="connsiteY584" fmla="*/ 2268201 h 4884255"/>
                <a:gd name="connsiteX585" fmla="*/ 1539136 w 4088480"/>
                <a:gd name="connsiteY585" fmla="*/ 2292026 h 4884255"/>
                <a:gd name="connsiteX586" fmla="*/ 1534372 w 4088480"/>
                <a:gd name="connsiteY586" fmla="*/ 2311087 h 4884255"/>
                <a:gd name="connsiteX587" fmla="*/ 1524842 w 4088480"/>
                <a:gd name="connsiteY587" fmla="*/ 2344443 h 4884255"/>
                <a:gd name="connsiteX588" fmla="*/ 1515312 w 4088480"/>
                <a:gd name="connsiteY588" fmla="*/ 2477866 h 4884255"/>
                <a:gd name="connsiteX589" fmla="*/ 1505780 w 4088480"/>
                <a:gd name="connsiteY589" fmla="*/ 2487396 h 4884255"/>
                <a:gd name="connsiteX590" fmla="*/ 1496250 w 4088480"/>
                <a:gd name="connsiteY590" fmla="*/ 2525517 h 4884255"/>
                <a:gd name="connsiteX591" fmla="*/ 1458130 w 4088480"/>
                <a:gd name="connsiteY591" fmla="*/ 2606525 h 4884255"/>
                <a:gd name="connsiteX592" fmla="*/ 1424774 w 4088480"/>
                <a:gd name="connsiteY592" fmla="*/ 2663706 h 4884255"/>
                <a:gd name="connsiteX593" fmla="*/ 1381888 w 4088480"/>
                <a:gd name="connsiteY593" fmla="*/ 2739948 h 4884255"/>
                <a:gd name="connsiteX594" fmla="*/ 1420008 w 4088480"/>
                <a:gd name="connsiteY594" fmla="*/ 2763774 h 4884255"/>
                <a:gd name="connsiteX595" fmla="*/ 1448600 w 4088480"/>
                <a:gd name="connsiteY595" fmla="*/ 2782834 h 4884255"/>
                <a:gd name="connsiteX596" fmla="*/ 1458130 w 4088480"/>
                <a:gd name="connsiteY596" fmla="*/ 2811425 h 4884255"/>
                <a:gd name="connsiteX597" fmla="*/ 1462894 w 4088480"/>
                <a:gd name="connsiteY597" fmla="*/ 2859076 h 4884255"/>
                <a:gd name="connsiteX598" fmla="*/ 1462894 w 4088480"/>
                <a:gd name="connsiteY598" fmla="*/ 2887667 h 4884255"/>
                <a:gd name="connsiteX599" fmla="*/ 1448600 w 4088480"/>
                <a:gd name="connsiteY599" fmla="*/ 2916258 h 4884255"/>
                <a:gd name="connsiteX600" fmla="*/ 1439068 w 4088480"/>
                <a:gd name="connsiteY600" fmla="*/ 2935318 h 4884255"/>
                <a:gd name="connsiteX601" fmla="*/ 1434304 w 4088480"/>
                <a:gd name="connsiteY601" fmla="*/ 2944849 h 4884255"/>
                <a:gd name="connsiteX602" fmla="*/ 1386652 w 4088480"/>
                <a:gd name="connsiteY602" fmla="*/ 2935318 h 4884255"/>
                <a:gd name="connsiteX603" fmla="*/ 1329472 w 4088480"/>
                <a:gd name="connsiteY603" fmla="*/ 2925788 h 4884255"/>
                <a:gd name="connsiteX604" fmla="*/ 1315176 w 4088480"/>
                <a:gd name="connsiteY604" fmla="*/ 2925788 h 4884255"/>
                <a:gd name="connsiteX605" fmla="*/ 1281820 w 4088480"/>
                <a:gd name="connsiteY605" fmla="*/ 2930553 h 4884255"/>
                <a:gd name="connsiteX606" fmla="*/ 1248464 w 4088480"/>
                <a:gd name="connsiteY606" fmla="*/ 2949613 h 4884255"/>
                <a:gd name="connsiteX607" fmla="*/ 1234168 w 4088480"/>
                <a:gd name="connsiteY607" fmla="*/ 2963909 h 4884255"/>
                <a:gd name="connsiteX608" fmla="*/ 1229404 w 4088480"/>
                <a:gd name="connsiteY608" fmla="*/ 2973439 h 4884255"/>
                <a:gd name="connsiteX609" fmla="*/ 1210342 w 4088480"/>
                <a:gd name="connsiteY609" fmla="*/ 3006795 h 4884255"/>
                <a:gd name="connsiteX610" fmla="*/ 1172222 w 4088480"/>
                <a:gd name="connsiteY610" fmla="*/ 3068742 h 4884255"/>
                <a:gd name="connsiteX611" fmla="*/ 1153162 w 4088480"/>
                <a:gd name="connsiteY611" fmla="*/ 3092567 h 4884255"/>
                <a:gd name="connsiteX612" fmla="*/ 1157926 w 4088480"/>
                <a:gd name="connsiteY612" fmla="*/ 3130689 h 4884255"/>
                <a:gd name="connsiteX613" fmla="*/ 1124570 w 4088480"/>
                <a:gd name="connsiteY613" fmla="*/ 3202165 h 4884255"/>
                <a:gd name="connsiteX614" fmla="*/ 1148396 w 4088480"/>
                <a:gd name="connsiteY614" fmla="*/ 3268877 h 4884255"/>
                <a:gd name="connsiteX615" fmla="*/ 1148396 w 4088480"/>
                <a:gd name="connsiteY615" fmla="*/ 3273642 h 4884255"/>
                <a:gd name="connsiteX616" fmla="*/ 1162692 w 4088480"/>
                <a:gd name="connsiteY616" fmla="*/ 3302233 h 4884255"/>
                <a:gd name="connsiteX617" fmla="*/ 1148396 w 4088480"/>
                <a:gd name="connsiteY617" fmla="*/ 3316528 h 4884255"/>
                <a:gd name="connsiteX618" fmla="*/ 1143632 w 4088480"/>
                <a:gd name="connsiteY618" fmla="*/ 3326059 h 4884255"/>
                <a:gd name="connsiteX619" fmla="*/ 1143632 w 4088480"/>
                <a:gd name="connsiteY619" fmla="*/ 3359415 h 4884255"/>
                <a:gd name="connsiteX620" fmla="*/ 1148396 w 4088480"/>
                <a:gd name="connsiteY620" fmla="*/ 3397535 h 4884255"/>
                <a:gd name="connsiteX621" fmla="*/ 1143632 w 4088480"/>
                <a:gd name="connsiteY621" fmla="*/ 3416596 h 4884255"/>
                <a:gd name="connsiteX622" fmla="*/ 1143632 w 4088480"/>
                <a:gd name="connsiteY622" fmla="*/ 3440422 h 4884255"/>
                <a:gd name="connsiteX623" fmla="*/ 1172222 w 4088480"/>
                <a:gd name="connsiteY623" fmla="*/ 3545255 h 4884255"/>
                <a:gd name="connsiteX624" fmla="*/ 1172222 w 4088480"/>
                <a:gd name="connsiteY624" fmla="*/ 3569080 h 4884255"/>
                <a:gd name="connsiteX625" fmla="*/ 1172222 w 4088480"/>
                <a:gd name="connsiteY625" fmla="*/ 3583375 h 4884255"/>
                <a:gd name="connsiteX626" fmla="*/ 1162692 w 4088480"/>
                <a:gd name="connsiteY626" fmla="*/ 3645322 h 4884255"/>
                <a:gd name="connsiteX627" fmla="*/ 1148396 w 4088480"/>
                <a:gd name="connsiteY627" fmla="*/ 3731094 h 4884255"/>
                <a:gd name="connsiteX628" fmla="*/ 1172222 w 4088480"/>
                <a:gd name="connsiteY628" fmla="*/ 3754920 h 4884255"/>
                <a:gd name="connsiteX629" fmla="*/ 1200812 w 4088480"/>
                <a:gd name="connsiteY629" fmla="*/ 3778746 h 4884255"/>
                <a:gd name="connsiteX630" fmla="*/ 1219874 w 4088480"/>
                <a:gd name="connsiteY630" fmla="*/ 3788276 h 4884255"/>
                <a:gd name="connsiteX631" fmla="*/ 1243698 w 4088480"/>
                <a:gd name="connsiteY631" fmla="*/ 3821632 h 4884255"/>
                <a:gd name="connsiteX632" fmla="*/ 1262760 w 4088480"/>
                <a:gd name="connsiteY632" fmla="*/ 3850223 h 4884255"/>
                <a:gd name="connsiteX633" fmla="*/ 1262760 w 4088480"/>
                <a:gd name="connsiteY633" fmla="*/ 3874048 h 4884255"/>
                <a:gd name="connsiteX634" fmla="*/ 1253228 w 4088480"/>
                <a:gd name="connsiteY634" fmla="*/ 3893109 h 4884255"/>
                <a:gd name="connsiteX635" fmla="*/ 1248464 w 4088480"/>
                <a:gd name="connsiteY635" fmla="*/ 3912169 h 4884255"/>
                <a:gd name="connsiteX636" fmla="*/ 1238934 w 4088480"/>
                <a:gd name="connsiteY636" fmla="*/ 3931230 h 4884255"/>
                <a:gd name="connsiteX637" fmla="*/ 1238934 w 4088480"/>
                <a:gd name="connsiteY637" fmla="*/ 3945525 h 4884255"/>
                <a:gd name="connsiteX638" fmla="*/ 1234168 w 4088480"/>
                <a:gd name="connsiteY638" fmla="*/ 3950290 h 4884255"/>
                <a:gd name="connsiteX639" fmla="*/ 1200812 w 4088480"/>
                <a:gd name="connsiteY639" fmla="*/ 3950290 h 4884255"/>
                <a:gd name="connsiteX640" fmla="*/ 1181752 w 4088480"/>
                <a:gd name="connsiteY640" fmla="*/ 3959821 h 4884255"/>
                <a:gd name="connsiteX641" fmla="*/ 1172222 w 4088480"/>
                <a:gd name="connsiteY641" fmla="*/ 3964585 h 4884255"/>
                <a:gd name="connsiteX642" fmla="*/ 1176988 w 4088480"/>
                <a:gd name="connsiteY642" fmla="*/ 4002707 h 4884255"/>
                <a:gd name="connsiteX643" fmla="*/ 1196048 w 4088480"/>
                <a:gd name="connsiteY643" fmla="*/ 4064653 h 4884255"/>
                <a:gd name="connsiteX644" fmla="*/ 1215108 w 4088480"/>
                <a:gd name="connsiteY644" fmla="*/ 4112305 h 4884255"/>
                <a:gd name="connsiteX645" fmla="*/ 1219874 w 4088480"/>
                <a:gd name="connsiteY645" fmla="*/ 4140895 h 4884255"/>
                <a:gd name="connsiteX646" fmla="*/ 1210342 w 4088480"/>
                <a:gd name="connsiteY646" fmla="*/ 4174251 h 4884255"/>
                <a:gd name="connsiteX647" fmla="*/ 1205578 w 4088480"/>
                <a:gd name="connsiteY647" fmla="*/ 4188547 h 4884255"/>
                <a:gd name="connsiteX648" fmla="*/ 1205578 w 4088480"/>
                <a:gd name="connsiteY648" fmla="*/ 4207607 h 4884255"/>
                <a:gd name="connsiteX649" fmla="*/ 1200812 w 4088480"/>
                <a:gd name="connsiteY649" fmla="*/ 4250493 h 4884255"/>
                <a:gd name="connsiteX650" fmla="*/ 1191282 w 4088480"/>
                <a:gd name="connsiteY650" fmla="*/ 4269553 h 4884255"/>
                <a:gd name="connsiteX651" fmla="*/ 1172222 w 4088480"/>
                <a:gd name="connsiteY651" fmla="*/ 4293379 h 4884255"/>
                <a:gd name="connsiteX652" fmla="*/ 1153162 w 4088480"/>
                <a:gd name="connsiteY652" fmla="*/ 4312440 h 4884255"/>
                <a:gd name="connsiteX653" fmla="*/ 1138866 w 4088480"/>
                <a:gd name="connsiteY653" fmla="*/ 4317205 h 4884255"/>
                <a:gd name="connsiteX654" fmla="*/ 1124570 w 4088480"/>
                <a:gd name="connsiteY654" fmla="*/ 4317205 h 4884255"/>
                <a:gd name="connsiteX655" fmla="*/ 1115040 w 4088480"/>
                <a:gd name="connsiteY655" fmla="*/ 4326735 h 4884255"/>
                <a:gd name="connsiteX656" fmla="*/ 1110276 w 4088480"/>
                <a:gd name="connsiteY656" fmla="*/ 4350561 h 4884255"/>
                <a:gd name="connsiteX657" fmla="*/ 1100744 w 4088480"/>
                <a:gd name="connsiteY657" fmla="*/ 4379151 h 4884255"/>
                <a:gd name="connsiteX658" fmla="*/ 1076920 w 4088480"/>
                <a:gd name="connsiteY658" fmla="*/ 4412507 h 4884255"/>
                <a:gd name="connsiteX659" fmla="*/ 1076920 w 4088480"/>
                <a:gd name="connsiteY659" fmla="*/ 4422037 h 4884255"/>
                <a:gd name="connsiteX660" fmla="*/ 1086450 w 4088480"/>
                <a:gd name="connsiteY660" fmla="*/ 4460159 h 4884255"/>
                <a:gd name="connsiteX661" fmla="*/ 1095980 w 4088480"/>
                <a:gd name="connsiteY661" fmla="*/ 4503045 h 4884255"/>
                <a:gd name="connsiteX662" fmla="*/ 1086450 w 4088480"/>
                <a:gd name="connsiteY662" fmla="*/ 4541166 h 4884255"/>
                <a:gd name="connsiteX663" fmla="*/ 1081684 w 4088480"/>
                <a:gd name="connsiteY663" fmla="*/ 4584052 h 4884255"/>
                <a:gd name="connsiteX664" fmla="*/ 1072154 w 4088480"/>
                <a:gd name="connsiteY664" fmla="*/ 4612643 h 4884255"/>
                <a:gd name="connsiteX665" fmla="*/ 1053094 w 4088480"/>
                <a:gd name="connsiteY665" fmla="*/ 4622173 h 4884255"/>
                <a:gd name="connsiteX666" fmla="*/ 1043564 w 4088480"/>
                <a:gd name="connsiteY666" fmla="*/ 4617408 h 4884255"/>
                <a:gd name="connsiteX667" fmla="*/ 1029268 w 4088480"/>
                <a:gd name="connsiteY667" fmla="*/ 4579287 h 4884255"/>
                <a:gd name="connsiteX668" fmla="*/ 1029268 w 4088480"/>
                <a:gd name="connsiteY668" fmla="*/ 4569757 h 4884255"/>
                <a:gd name="connsiteX669" fmla="*/ 1029268 w 4088480"/>
                <a:gd name="connsiteY669" fmla="*/ 4560227 h 4884255"/>
                <a:gd name="connsiteX670" fmla="*/ 991148 w 4088480"/>
                <a:gd name="connsiteY670" fmla="*/ 4545931 h 4884255"/>
                <a:gd name="connsiteX671" fmla="*/ 986382 w 4088480"/>
                <a:gd name="connsiteY671" fmla="*/ 4550696 h 4884255"/>
                <a:gd name="connsiteX672" fmla="*/ 972086 w 4088480"/>
                <a:gd name="connsiteY672" fmla="*/ 4541166 h 4884255"/>
                <a:gd name="connsiteX673" fmla="*/ 943496 w 4088480"/>
                <a:gd name="connsiteY673" fmla="*/ 4536401 h 4884255"/>
                <a:gd name="connsiteX674" fmla="*/ 929200 w 4088480"/>
                <a:gd name="connsiteY674" fmla="*/ 4503045 h 4884255"/>
                <a:gd name="connsiteX675" fmla="*/ 914904 w 4088480"/>
                <a:gd name="connsiteY675" fmla="*/ 4474454 h 4884255"/>
                <a:gd name="connsiteX676" fmla="*/ 914904 w 4088480"/>
                <a:gd name="connsiteY676" fmla="*/ 4460159 h 4884255"/>
                <a:gd name="connsiteX677" fmla="*/ 914904 w 4088480"/>
                <a:gd name="connsiteY677" fmla="*/ 4407743 h 4884255"/>
                <a:gd name="connsiteX678" fmla="*/ 910140 w 4088480"/>
                <a:gd name="connsiteY678" fmla="*/ 4383917 h 4884255"/>
                <a:gd name="connsiteX679" fmla="*/ 905374 w 4088480"/>
                <a:gd name="connsiteY679" fmla="*/ 4355326 h 4884255"/>
                <a:gd name="connsiteX680" fmla="*/ 895844 w 4088480"/>
                <a:gd name="connsiteY680" fmla="*/ 4379151 h 4884255"/>
                <a:gd name="connsiteX681" fmla="*/ 900610 w 4088480"/>
                <a:gd name="connsiteY681" fmla="*/ 4412507 h 4884255"/>
                <a:gd name="connsiteX682" fmla="*/ 891080 w 4088480"/>
                <a:gd name="connsiteY682" fmla="*/ 4426803 h 4884255"/>
                <a:gd name="connsiteX683" fmla="*/ 876784 w 4088480"/>
                <a:gd name="connsiteY683" fmla="*/ 4431568 h 4884255"/>
                <a:gd name="connsiteX684" fmla="*/ 876784 w 4088480"/>
                <a:gd name="connsiteY684" fmla="*/ 4450629 h 4884255"/>
                <a:gd name="connsiteX685" fmla="*/ 881550 w 4088480"/>
                <a:gd name="connsiteY685" fmla="*/ 4455393 h 4884255"/>
                <a:gd name="connsiteX686" fmla="*/ 886314 w 4088480"/>
                <a:gd name="connsiteY686" fmla="*/ 4474454 h 4884255"/>
                <a:gd name="connsiteX687" fmla="*/ 881550 w 4088480"/>
                <a:gd name="connsiteY687" fmla="*/ 4507810 h 4884255"/>
                <a:gd name="connsiteX688" fmla="*/ 852958 w 4088480"/>
                <a:gd name="connsiteY688" fmla="*/ 4574522 h 4884255"/>
                <a:gd name="connsiteX689" fmla="*/ 843428 w 4088480"/>
                <a:gd name="connsiteY689" fmla="*/ 4579287 h 4884255"/>
                <a:gd name="connsiteX690" fmla="*/ 843428 w 4088480"/>
                <a:gd name="connsiteY690" fmla="*/ 4588817 h 4884255"/>
                <a:gd name="connsiteX691" fmla="*/ 829132 w 4088480"/>
                <a:gd name="connsiteY691" fmla="*/ 4584052 h 4884255"/>
                <a:gd name="connsiteX692" fmla="*/ 805308 w 4088480"/>
                <a:gd name="connsiteY692" fmla="*/ 4603113 h 4884255"/>
                <a:gd name="connsiteX693" fmla="*/ 791012 w 4088480"/>
                <a:gd name="connsiteY693" fmla="*/ 4603113 h 4884255"/>
                <a:gd name="connsiteX694" fmla="*/ 781482 w 4088480"/>
                <a:gd name="connsiteY694" fmla="*/ 4584052 h 4884255"/>
                <a:gd name="connsiteX695" fmla="*/ 757656 w 4088480"/>
                <a:gd name="connsiteY695" fmla="*/ 4555461 h 4884255"/>
                <a:gd name="connsiteX696" fmla="*/ 743360 w 4088480"/>
                <a:gd name="connsiteY696" fmla="*/ 4555461 h 4884255"/>
                <a:gd name="connsiteX697" fmla="*/ 757656 w 4088480"/>
                <a:gd name="connsiteY697" fmla="*/ 4569757 h 4884255"/>
                <a:gd name="connsiteX698" fmla="*/ 767186 w 4088480"/>
                <a:gd name="connsiteY698" fmla="*/ 4588817 h 4884255"/>
                <a:gd name="connsiteX699" fmla="*/ 762420 w 4088480"/>
                <a:gd name="connsiteY699" fmla="*/ 4598347 h 4884255"/>
                <a:gd name="connsiteX700" fmla="*/ 752890 w 4088480"/>
                <a:gd name="connsiteY700" fmla="*/ 4607877 h 4884255"/>
                <a:gd name="connsiteX701" fmla="*/ 743360 w 4088480"/>
                <a:gd name="connsiteY701" fmla="*/ 4612643 h 4884255"/>
                <a:gd name="connsiteX702" fmla="*/ 705240 w 4088480"/>
                <a:gd name="connsiteY702" fmla="*/ 4636469 h 4884255"/>
                <a:gd name="connsiteX703" fmla="*/ 719534 w 4088480"/>
                <a:gd name="connsiteY703" fmla="*/ 4650764 h 4884255"/>
                <a:gd name="connsiteX704" fmla="*/ 710004 w 4088480"/>
                <a:gd name="connsiteY704" fmla="*/ 4669825 h 4884255"/>
                <a:gd name="connsiteX705" fmla="*/ 695710 w 4088480"/>
                <a:gd name="connsiteY705" fmla="*/ 4669825 h 4884255"/>
                <a:gd name="connsiteX706" fmla="*/ 686178 w 4088480"/>
                <a:gd name="connsiteY706" fmla="*/ 4679355 h 4884255"/>
                <a:gd name="connsiteX707" fmla="*/ 686178 w 4088480"/>
                <a:gd name="connsiteY707" fmla="*/ 4688885 h 4884255"/>
                <a:gd name="connsiteX708" fmla="*/ 648058 w 4088480"/>
                <a:gd name="connsiteY708" fmla="*/ 4722241 h 4884255"/>
                <a:gd name="connsiteX709" fmla="*/ 581346 w 4088480"/>
                <a:gd name="connsiteY709" fmla="*/ 4803248 h 4884255"/>
                <a:gd name="connsiteX710" fmla="*/ 547990 w 4088480"/>
                <a:gd name="connsiteY710" fmla="*/ 4822309 h 4884255"/>
                <a:gd name="connsiteX711" fmla="*/ 528930 w 4088480"/>
                <a:gd name="connsiteY711" fmla="*/ 4846134 h 4884255"/>
                <a:gd name="connsiteX712" fmla="*/ 505104 w 4088480"/>
                <a:gd name="connsiteY712" fmla="*/ 4846134 h 4884255"/>
                <a:gd name="connsiteX713" fmla="*/ 481278 w 4088480"/>
                <a:gd name="connsiteY713" fmla="*/ 4865195 h 4884255"/>
                <a:gd name="connsiteX714" fmla="*/ 419332 w 4088480"/>
                <a:gd name="connsiteY714" fmla="*/ 4884255 h 4884255"/>
                <a:gd name="connsiteX715" fmla="*/ 376446 w 4088480"/>
                <a:gd name="connsiteY715" fmla="*/ 4874725 h 4884255"/>
                <a:gd name="connsiteX716" fmla="*/ 347854 w 4088480"/>
                <a:gd name="connsiteY716" fmla="*/ 4884255 h 4884255"/>
                <a:gd name="connsiteX717" fmla="*/ 328794 w 4088480"/>
                <a:gd name="connsiteY717" fmla="*/ 4869959 h 4884255"/>
                <a:gd name="connsiteX718" fmla="*/ 328794 w 4088480"/>
                <a:gd name="connsiteY718" fmla="*/ 4860429 h 4884255"/>
                <a:gd name="connsiteX719" fmla="*/ 328794 w 4088480"/>
                <a:gd name="connsiteY719" fmla="*/ 4855664 h 4884255"/>
                <a:gd name="connsiteX720" fmla="*/ 333560 w 4088480"/>
                <a:gd name="connsiteY720" fmla="*/ 4846134 h 4884255"/>
                <a:gd name="connsiteX721" fmla="*/ 324030 w 4088480"/>
                <a:gd name="connsiteY721" fmla="*/ 4846134 h 4884255"/>
                <a:gd name="connsiteX722" fmla="*/ 314498 w 4088480"/>
                <a:gd name="connsiteY722" fmla="*/ 4846134 h 4884255"/>
                <a:gd name="connsiteX723" fmla="*/ 309734 w 4088480"/>
                <a:gd name="connsiteY723" fmla="*/ 4850899 h 4884255"/>
                <a:gd name="connsiteX724" fmla="*/ 309734 w 4088480"/>
                <a:gd name="connsiteY724" fmla="*/ 4865195 h 4884255"/>
                <a:gd name="connsiteX725" fmla="*/ 304968 w 4088480"/>
                <a:gd name="connsiteY725" fmla="*/ 4869959 h 4884255"/>
                <a:gd name="connsiteX726" fmla="*/ 281144 w 4088480"/>
                <a:gd name="connsiteY726" fmla="*/ 4860429 h 4884255"/>
                <a:gd name="connsiteX727" fmla="*/ 276378 w 4088480"/>
                <a:gd name="connsiteY727" fmla="*/ 4855664 h 4884255"/>
                <a:gd name="connsiteX728" fmla="*/ 285908 w 4088480"/>
                <a:gd name="connsiteY728" fmla="*/ 4836603 h 4884255"/>
                <a:gd name="connsiteX729" fmla="*/ 295438 w 4088480"/>
                <a:gd name="connsiteY729" fmla="*/ 4822309 h 4884255"/>
                <a:gd name="connsiteX730" fmla="*/ 290674 w 4088480"/>
                <a:gd name="connsiteY730" fmla="*/ 4812778 h 4884255"/>
                <a:gd name="connsiteX731" fmla="*/ 285908 w 4088480"/>
                <a:gd name="connsiteY731" fmla="*/ 4812778 h 4884255"/>
                <a:gd name="connsiteX732" fmla="*/ 266848 w 4088480"/>
                <a:gd name="connsiteY732" fmla="*/ 4812778 h 4884255"/>
                <a:gd name="connsiteX733" fmla="*/ 247788 w 4088480"/>
                <a:gd name="connsiteY733" fmla="*/ 4812778 h 4884255"/>
                <a:gd name="connsiteX734" fmla="*/ 195370 w 4088480"/>
                <a:gd name="connsiteY734" fmla="*/ 4779422 h 4884255"/>
                <a:gd name="connsiteX735" fmla="*/ 185840 w 4088480"/>
                <a:gd name="connsiteY735" fmla="*/ 4760361 h 4884255"/>
                <a:gd name="connsiteX736" fmla="*/ 142954 w 4088480"/>
                <a:gd name="connsiteY736" fmla="*/ 4736536 h 4884255"/>
                <a:gd name="connsiteX737" fmla="*/ 123894 w 4088480"/>
                <a:gd name="connsiteY737" fmla="*/ 4707945 h 4884255"/>
                <a:gd name="connsiteX738" fmla="*/ 114364 w 4088480"/>
                <a:gd name="connsiteY738" fmla="*/ 4674589 h 4884255"/>
                <a:gd name="connsiteX739" fmla="*/ 114364 w 4088480"/>
                <a:gd name="connsiteY739" fmla="*/ 4645999 h 4884255"/>
                <a:gd name="connsiteX740" fmla="*/ 119128 w 4088480"/>
                <a:gd name="connsiteY740" fmla="*/ 4598347 h 4884255"/>
                <a:gd name="connsiteX741" fmla="*/ 128658 w 4088480"/>
                <a:gd name="connsiteY741" fmla="*/ 4588817 h 4884255"/>
                <a:gd name="connsiteX742" fmla="*/ 166780 w 4088480"/>
                <a:gd name="connsiteY742" fmla="*/ 4603113 h 4884255"/>
                <a:gd name="connsiteX743" fmla="*/ 204900 w 4088480"/>
                <a:gd name="connsiteY743" fmla="*/ 4631703 h 4884255"/>
                <a:gd name="connsiteX744" fmla="*/ 209666 w 4088480"/>
                <a:gd name="connsiteY744" fmla="*/ 4626938 h 4884255"/>
                <a:gd name="connsiteX745" fmla="*/ 223962 w 4088480"/>
                <a:gd name="connsiteY745" fmla="*/ 4607877 h 4884255"/>
                <a:gd name="connsiteX746" fmla="*/ 247788 w 4088480"/>
                <a:gd name="connsiteY746" fmla="*/ 4588817 h 4884255"/>
                <a:gd name="connsiteX747" fmla="*/ 238256 w 4088480"/>
                <a:gd name="connsiteY747" fmla="*/ 4588817 h 4884255"/>
                <a:gd name="connsiteX748" fmla="*/ 204900 w 4088480"/>
                <a:gd name="connsiteY748" fmla="*/ 4607877 h 4884255"/>
                <a:gd name="connsiteX749" fmla="*/ 190606 w 4088480"/>
                <a:gd name="connsiteY749" fmla="*/ 4593583 h 4884255"/>
                <a:gd name="connsiteX750" fmla="*/ 171546 w 4088480"/>
                <a:gd name="connsiteY750" fmla="*/ 4574522 h 4884255"/>
                <a:gd name="connsiteX751" fmla="*/ 171546 w 4088480"/>
                <a:gd name="connsiteY751" fmla="*/ 4560227 h 4884255"/>
                <a:gd name="connsiteX752" fmla="*/ 181076 w 4088480"/>
                <a:gd name="connsiteY752" fmla="*/ 4550696 h 4884255"/>
                <a:gd name="connsiteX753" fmla="*/ 185840 w 4088480"/>
                <a:gd name="connsiteY753" fmla="*/ 4536401 h 4884255"/>
                <a:gd name="connsiteX754" fmla="*/ 181076 w 4088480"/>
                <a:gd name="connsiteY754" fmla="*/ 4522105 h 4884255"/>
                <a:gd name="connsiteX755" fmla="*/ 181076 w 4088480"/>
                <a:gd name="connsiteY755" fmla="*/ 4498279 h 4884255"/>
                <a:gd name="connsiteX756" fmla="*/ 195370 w 4088480"/>
                <a:gd name="connsiteY756" fmla="*/ 4479219 h 4884255"/>
                <a:gd name="connsiteX757" fmla="*/ 219196 w 4088480"/>
                <a:gd name="connsiteY757" fmla="*/ 4455393 h 4884255"/>
                <a:gd name="connsiteX758" fmla="*/ 238256 w 4088480"/>
                <a:gd name="connsiteY758" fmla="*/ 4436333 h 4884255"/>
                <a:gd name="connsiteX759" fmla="*/ 252552 w 4088480"/>
                <a:gd name="connsiteY759" fmla="*/ 4422037 h 4884255"/>
                <a:gd name="connsiteX760" fmla="*/ 252552 w 4088480"/>
                <a:gd name="connsiteY760" fmla="*/ 4417273 h 4884255"/>
                <a:gd name="connsiteX761" fmla="*/ 233492 w 4088480"/>
                <a:gd name="connsiteY761" fmla="*/ 4426803 h 4884255"/>
                <a:gd name="connsiteX762" fmla="*/ 214432 w 4088480"/>
                <a:gd name="connsiteY762" fmla="*/ 4441098 h 4884255"/>
                <a:gd name="connsiteX763" fmla="*/ 190606 w 4088480"/>
                <a:gd name="connsiteY763" fmla="*/ 4464924 h 4884255"/>
                <a:gd name="connsiteX764" fmla="*/ 166780 w 4088480"/>
                <a:gd name="connsiteY764" fmla="*/ 4483985 h 4884255"/>
                <a:gd name="connsiteX765" fmla="*/ 147720 w 4088480"/>
                <a:gd name="connsiteY765" fmla="*/ 4488749 h 4884255"/>
                <a:gd name="connsiteX766" fmla="*/ 133424 w 4088480"/>
                <a:gd name="connsiteY766" fmla="*/ 4498279 h 4884255"/>
                <a:gd name="connsiteX767" fmla="*/ 123894 w 4088480"/>
                <a:gd name="connsiteY767" fmla="*/ 4503045 h 4884255"/>
                <a:gd name="connsiteX768" fmla="*/ 104834 w 4088480"/>
                <a:gd name="connsiteY768" fmla="*/ 4531635 h 4884255"/>
                <a:gd name="connsiteX769" fmla="*/ 90538 w 4088480"/>
                <a:gd name="connsiteY769" fmla="*/ 4541166 h 4884255"/>
                <a:gd name="connsiteX770" fmla="*/ 61948 w 4088480"/>
                <a:gd name="connsiteY770" fmla="*/ 4541166 h 4884255"/>
                <a:gd name="connsiteX771" fmla="*/ 52416 w 4088480"/>
                <a:gd name="connsiteY771" fmla="*/ 4522105 h 4884255"/>
                <a:gd name="connsiteX772" fmla="*/ 61948 w 4088480"/>
                <a:gd name="connsiteY772" fmla="*/ 4450629 h 4884255"/>
                <a:gd name="connsiteX773" fmla="*/ 71478 w 4088480"/>
                <a:gd name="connsiteY773" fmla="*/ 4417273 h 4884255"/>
                <a:gd name="connsiteX774" fmla="*/ 81008 w 4088480"/>
                <a:gd name="connsiteY774" fmla="*/ 4393447 h 4884255"/>
                <a:gd name="connsiteX775" fmla="*/ 95304 w 4088480"/>
                <a:gd name="connsiteY775" fmla="*/ 4388682 h 4884255"/>
                <a:gd name="connsiteX776" fmla="*/ 104834 w 4088480"/>
                <a:gd name="connsiteY776" fmla="*/ 4374387 h 4884255"/>
                <a:gd name="connsiteX777" fmla="*/ 114364 w 4088480"/>
                <a:gd name="connsiteY777" fmla="*/ 4374387 h 4884255"/>
                <a:gd name="connsiteX778" fmla="*/ 123894 w 4088480"/>
                <a:gd name="connsiteY778" fmla="*/ 4379151 h 4884255"/>
                <a:gd name="connsiteX779" fmla="*/ 152484 w 4088480"/>
                <a:gd name="connsiteY779" fmla="*/ 4388682 h 4884255"/>
                <a:gd name="connsiteX780" fmla="*/ 166780 w 4088480"/>
                <a:gd name="connsiteY780" fmla="*/ 4364856 h 4884255"/>
                <a:gd name="connsiteX781" fmla="*/ 185840 w 4088480"/>
                <a:gd name="connsiteY781" fmla="*/ 4364856 h 4884255"/>
                <a:gd name="connsiteX782" fmla="*/ 223962 w 4088480"/>
                <a:gd name="connsiteY782" fmla="*/ 4341031 h 4884255"/>
                <a:gd name="connsiteX783" fmla="*/ 223962 w 4088480"/>
                <a:gd name="connsiteY783" fmla="*/ 4336265 h 4884255"/>
                <a:gd name="connsiteX784" fmla="*/ 200136 w 4088480"/>
                <a:gd name="connsiteY784" fmla="*/ 4341031 h 4884255"/>
                <a:gd name="connsiteX785" fmla="*/ 185840 w 4088480"/>
                <a:gd name="connsiteY785" fmla="*/ 4341031 h 4884255"/>
                <a:gd name="connsiteX786" fmla="*/ 162014 w 4088480"/>
                <a:gd name="connsiteY786" fmla="*/ 4345795 h 4884255"/>
                <a:gd name="connsiteX787" fmla="*/ 152484 w 4088480"/>
                <a:gd name="connsiteY787" fmla="*/ 4341031 h 4884255"/>
                <a:gd name="connsiteX788" fmla="*/ 147720 w 4088480"/>
                <a:gd name="connsiteY788" fmla="*/ 4326735 h 4884255"/>
                <a:gd name="connsiteX789" fmla="*/ 157250 w 4088480"/>
                <a:gd name="connsiteY789" fmla="*/ 4312440 h 4884255"/>
                <a:gd name="connsiteX790" fmla="*/ 190606 w 4088480"/>
                <a:gd name="connsiteY790" fmla="*/ 4274319 h 4884255"/>
                <a:gd name="connsiteX791" fmla="*/ 200136 w 4088480"/>
                <a:gd name="connsiteY791" fmla="*/ 4255259 h 4884255"/>
                <a:gd name="connsiteX792" fmla="*/ 204900 w 4088480"/>
                <a:gd name="connsiteY792" fmla="*/ 4240963 h 4884255"/>
                <a:gd name="connsiteX793" fmla="*/ 204900 w 4088480"/>
                <a:gd name="connsiteY793" fmla="*/ 4231433 h 4884255"/>
                <a:gd name="connsiteX794" fmla="*/ 209666 w 4088480"/>
                <a:gd name="connsiteY794" fmla="*/ 4212372 h 4884255"/>
                <a:gd name="connsiteX795" fmla="*/ 243022 w 4088480"/>
                <a:gd name="connsiteY795" fmla="*/ 4174251 h 4884255"/>
                <a:gd name="connsiteX796" fmla="*/ 271612 w 4088480"/>
                <a:gd name="connsiteY796" fmla="*/ 4155191 h 4884255"/>
                <a:gd name="connsiteX797" fmla="*/ 281144 w 4088480"/>
                <a:gd name="connsiteY797" fmla="*/ 4169486 h 4884255"/>
                <a:gd name="connsiteX798" fmla="*/ 271612 w 4088480"/>
                <a:gd name="connsiteY798" fmla="*/ 4217137 h 4884255"/>
                <a:gd name="connsiteX799" fmla="*/ 271612 w 4088480"/>
                <a:gd name="connsiteY799" fmla="*/ 4236198 h 4884255"/>
                <a:gd name="connsiteX800" fmla="*/ 290674 w 4088480"/>
                <a:gd name="connsiteY800" fmla="*/ 4169486 h 4884255"/>
                <a:gd name="connsiteX801" fmla="*/ 300204 w 4088480"/>
                <a:gd name="connsiteY801" fmla="*/ 4150425 h 4884255"/>
                <a:gd name="connsiteX802" fmla="*/ 309734 w 4088480"/>
                <a:gd name="connsiteY802" fmla="*/ 4140895 h 4884255"/>
                <a:gd name="connsiteX803" fmla="*/ 338324 w 4088480"/>
                <a:gd name="connsiteY803" fmla="*/ 4131365 h 4884255"/>
                <a:gd name="connsiteX804" fmla="*/ 343090 w 4088480"/>
                <a:gd name="connsiteY804" fmla="*/ 4121835 h 4884255"/>
                <a:gd name="connsiteX805" fmla="*/ 314498 w 4088480"/>
                <a:gd name="connsiteY805" fmla="*/ 4126600 h 4884255"/>
                <a:gd name="connsiteX806" fmla="*/ 243022 w 4088480"/>
                <a:gd name="connsiteY806" fmla="*/ 4150425 h 4884255"/>
                <a:gd name="connsiteX807" fmla="*/ 214432 w 4088480"/>
                <a:gd name="connsiteY807" fmla="*/ 4174251 h 4884255"/>
                <a:gd name="connsiteX808" fmla="*/ 204900 w 4088480"/>
                <a:gd name="connsiteY808" fmla="*/ 4193312 h 4884255"/>
                <a:gd name="connsiteX809" fmla="*/ 185840 w 4088480"/>
                <a:gd name="connsiteY809" fmla="*/ 4217137 h 4884255"/>
                <a:gd name="connsiteX810" fmla="*/ 176310 w 4088480"/>
                <a:gd name="connsiteY810" fmla="*/ 4236198 h 4884255"/>
                <a:gd name="connsiteX811" fmla="*/ 171546 w 4088480"/>
                <a:gd name="connsiteY811" fmla="*/ 4260023 h 4884255"/>
                <a:gd name="connsiteX812" fmla="*/ 157250 w 4088480"/>
                <a:gd name="connsiteY812" fmla="*/ 4274319 h 4884255"/>
                <a:gd name="connsiteX813" fmla="*/ 142954 w 4088480"/>
                <a:gd name="connsiteY813" fmla="*/ 4279084 h 4884255"/>
                <a:gd name="connsiteX814" fmla="*/ 119128 w 4088480"/>
                <a:gd name="connsiteY814" fmla="*/ 4312440 h 4884255"/>
                <a:gd name="connsiteX815" fmla="*/ 109598 w 4088480"/>
                <a:gd name="connsiteY815" fmla="*/ 4336265 h 4884255"/>
                <a:gd name="connsiteX816" fmla="*/ 90538 w 4088480"/>
                <a:gd name="connsiteY816" fmla="*/ 4360091 h 4884255"/>
                <a:gd name="connsiteX817" fmla="*/ 76242 w 4088480"/>
                <a:gd name="connsiteY817" fmla="*/ 4374387 h 4884255"/>
                <a:gd name="connsiteX818" fmla="*/ 71478 w 4088480"/>
                <a:gd name="connsiteY818" fmla="*/ 4379151 h 4884255"/>
                <a:gd name="connsiteX819" fmla="*/ 61948 w 4088480"/>
                <a:gd name="connsiteY819" fmla="*/ 4393447 h 4884255"/>
                <a:gd name="connsiteX820" fmla="*/ 57182 w 4088480"/>
                <a:gd name="connsiteY820" fmla="*/ 4393447 h 4884255"/>
                <a:gd name="connsiteX821" fmla="*/ 52416 w 4088480"/>
                <a:gd name="connsiteY821" fmla="*/ 4388682 h 4884255"/>
                <a:gd name="connsiteX822" fmla="*/ 47652 w 4088480"/>
                <a:gd name="connsiteY822" fmla="*/ 4369621 h 4884255"/>
                <a:gd name="connsiteX823" fmla="*/ 52416 w 4088480"/>
                <a:gd name="connsiteY823" fmla="*/ 4336265 h 4884255"/>
                <a:gd name="connsiteX824" fmla="*/ 61948 w 4088480"/>
                <a:gd name="connsiteY824" fmla="*/ 4312440 h 4884255"/>
                <a:gd name="connsiteX825" fmla="*/ 66712 w 4088480"/>
                <a:gd name="connsiteY825" fmla="*/ 4288614 h 4884255"/>
                <a:gd name="connsiteX826" fmla="*/ 61948 w 4088480"/>
                <a:gd name="connsiteY826" fmla="*/ 4269553 h 4884255"/>
                <a:gd name="connsiteX827" fmla="*/ 66712 w 4088480"/>
                <a:gd name="connsiteY827" fmla="*/ 4255259 h 4884255"/>
                <a:gd name="connsiteX828" fmla="*/ 76242 w 4088480"/>
                <a:gd name="connsiteY828" fmla="*/ 4255259 h 4884255"/>
                <a:gd name="connsiteX829" fmla="*/ 90538 w 4088480"/>
                <a:gd name="connsiteY829" fmla="*/ 4260023 h 4884255"/>
                <a:gd name="connsiteX830" fmla="*/ 109598 w 4088480"/>
                <a:gd name="connsiteY830" fmla="*/ 4260023 h 4884255"/>
                <a:gd name="connsiteX831" fmla="*/ 138190 w 4088480"/>
                <a:gd name="connsiteY831" fmla="*/ 4245728 h 4884255"/>
                <a:gd name="connsiteX832" fmla="*/ 133424 w 4088480"/>
                <a:gd name="connsiteY832" fmla="*/ 4236198 h 4884255"/>
                <a:gd name="connsiteX833" fmla="*/ 123894 w 4088480"/>
                <a:gd name="connsiteY833" fmla="*/ 4236198 h 4884255"/>
                <a:gd name="connsiteX834" fmla="*/ 100068 w 4088480"/>
                <a:gd name="connsiteY834" fmla="*/ 4236198 h 4884255"/>
                <a:gd name="connsiteX835" fmla="*/ 76242 w 4088480"/>
                <a:gd name="connsiteY835" fmla="*/ 4217137 h 4884255"/>
                <a:gd name="connsiteX836" fmla="*/ 61948 w 4088480"/>
                <a:gd name="connsiteY836" fmla="*/ 4188547 h 4884255"/>
                <a:gd name="connsiteX837" fmla="*/ 52416 w 4088480"/>
                <a:gd name="connsiteY837" fmla="*/ 4145661 h 4884255"/>
                <a:gd name="connsiteX838" fmla="*/ 57182 w 4088480"/>
                <a:gd name="connsiteY838" fmla="*/ 4131365 h 4884255"/>
                <a:gd name="connsiteX839" fmla="*/ 119128 w 4088480"/>
                <a:gd name="connsiteY839" fmla="*/ 4088479 h 4884255"/>
                <a:gd name="connsiteX840" fmla="*/ 133424 w 4088480"/>
                <a:gd name="connsiteY840" fmla="*/ 4064653 h 4884255"/>
                <a:gd name="connsiteX841" fmla="*/ 123894 w 4088480"/>
                <a:gd name="connsiteY841" fmla="*/ 4064653 h 4884255"/>
                <a:gd name="connsiteX842" fmla="*/ 104834 w 4088480"/>
                <a:gd name="connsiteY842" fmla="*/ 4088479 h 4884255"/>
                <a:gd name="connsiteX843" fmla="*/ 71478 w 4088480"/>
                <a:gd name="connsiteY843" fmla="*/ 4102774 h 4884255"/>
                <a:gd name="connsiteX844" fmla="*/ 52416 w 4088480"/>
                <a:gd name="connsiteY844" fmla="*/ 4083714 h 4884255"/>
                <a:gd name="connsiteX845" fmla="*/ 42886 w 4088480"/>
                <a:gd name="connsiteY845" fmla="*/ 4059888 h 4884255"/>
                <a:gd name="connsiteX846" fmla="*/ 33356 w 4088480"/>
                <a:gd name="connsiteY846" fmla="*/ 4012237 h 4884255"/>
                <a:gd name="connsiteX847" fmla="*/ 38122 w 4088480"/>
                <a:gd name="connsiteY847" fmla="*/ 3988411 h 4884255"/>
                <a:gd name="connsiteX848" fmla="*/ 33356 w 4088480"/>
                <a:gd name="connsiteY848" fmla="*/ 3955055 h 4884255"/>
                <a:gd name="connsiteX849" fmla="*/ 47652 w 4088480"/>
                <a:gd name="connsiteY849" fmla="*/ 3945525 h 4884255"/>
                <a:gd name="connsiteX850" fmla="*/ 61948 w 4088480"/>
                <a:gd name="connsiteY850" fmla="*/ 3950290 h 4884255"/>
                <a:gd name="connsiteX851" fmla="*/ 76242 w 4088480"/>
                <a:gd name="connsiteY851" fmla="*/ 3950290 h 4884255"/>
                <a:gd name="connsiteX852" fmla="*/ 114364 w 4088480"/>
                <a:gd name="connsiteY852" fmla="*/ 3950290 h 4884255"/>
                <a:gd name="connsiteX853" fmla="*/ 185840 w 4088480"/>
                <a:gd name="connsiteY853" fmla="*/ 3926465 h 4884255"/>
                <a:gd name="connsiteX854" fmla="*/ 233492 w 4088480"/>
                <a:gd name="connsiteY854" fmla="*/ 3940760 h 4884255"/>
                <a:gd name="connsiteX855" fmla="*/ 252552 w 4088480"/>
                <a:gd name="connsiteY855" fmla="*/ 3940760 h 4884255"/>
                <a:gd name="connsiteX856" fmla="*/ 285908 w 4088480"/>
                <a:gd name="connsiteY856" fmla="*/ 3921699 h 4884255"/>
                <a:gd name="connsiteX857" fmla="*/ 309734 w 4088480"/>
                <a:gd name="connsiteY857" fmla="*/ 3921699 h 4884255"/>
                <a:gd name="connsiteX858" fmla="*/ 328794 w 4088480"/>
                <a:gd name="connsiteY858" fmla="*/ 3931230 h 4884255"/>
                <a:gd name="connsiteX859" fmla="*/ 343090 w 4088480"/>
                <a:gd name="connsiteY859" fmla="*/ 3950290 h 4884255"/>
                <a:gd name="connsiteX860" fmla="*/ 343090 w 4088480"/>
                <a:gd name="connsiteY860" fmla="*/ 3969351 h 4884255"/>
                <a:gd name="connsiteX861" fmla="*/ 352620 w 4088480"/>
                <a:gd name="connsiteY861" fmla="*/ 3983646 h 4884255"/>
                <a:gd name="connsiteX862" fmla="*/ 357386 w 4088480"/>
                <a:gd name="connsiteY862" fmla="*/ 3978881 h 4884255"/>
                <a:gd name="connsiteX863" fmla="*/ 352620 w 4088480"/>
                <a:gd name="connsiteY863" fmla="*/ 3959821 h 4884255"/>
                <a:gd name="connsiteX864" fmla="*/ 352620 w 4088480"/>
                <a:gd name="connsiteY864" fmla="*/ 3935995 h 4884255"/>
                <a:gd name="connsiteX865" fmla="*/ 428862 w 4088480"/>
                <a:gd name="connsiteY865" fmla="*/ 3907404 h 4884255"/>
                <a:gd name="connsiteX866" fmla="*/ 438392 w 4088480"/>
                <a:gd name="connsiteY866" fmla="*/ 3897874 h 4884255"/>
                <a:gd name="connsiteX867" fmla="*/ 409802 w 4088480"/>
                <a:gd name="connsiteY867" fmla="*/ 3893109 h 4884255"/>
                <a:gd name="connsiteX868" fmla="*/ 400272 w 4088480"/>
                <a:gd name="connsiteY868" fmla="*/ 3869283 h 4884255"/>
                <a:gd name="connsiteX869" fmla="*/ 414566 w 4088480"/>
                <a:gd name="connsiteY869" fmla="*/ 3831162 h 4884255"/>
                <a:gd name="connsiteX870" fmla="*/ 414566 w 4088480"/>
                <a:gd name="connsiteY870" fmla="*/ 3826397 h 4884255"/>
                <a:gd name="connsiteX871" fmla="*/ 395506 w 4088480"/>
                <a:gd name="connsiteY871" fmla="*/ 3845457 h 4884255"/>
                <a:gd name="connsiteX872" fmla="*/ 390740 w 4088480"/>
                <a:gd name="connsiteY872" fmla="*/ 3874048 h 4884255"/>
                <a:gd name="connsiteX873" fmla="*/ 390740 w 4088480"/>
                <a:gd name="connsiteY873" fmla="*/ 3897874 h 4884255"/>
                <a:gd name="connsiteX874" fmla="*/ 390740 w 4088480"/>
                <a:gd name="connsiteY874" fmla="*/ 3907404 h 4884255"/>
                <a:gd name="connsiteX875" fmla="*/ 371680 w 4088480"/>
                <a:gd name="connsiteY875" fmla="*/ 3912169 h 4884255"/>
                <a:gd name="connsiteX876" fmla="*/ 338324 w 4088480"/>
                <a:gd name="connsiteY876" fmla="*/ 3912169 h 4884255"/>
                <a:gd name="connsiteX877" fmla="*/ 314498 w 4088480"/>
                <a:gd name="connsiteY877" fmla="*/ 3902639 h 4884255"/>
                <a:gd name="connsiteX878" fmla="*/ 290674 w 4088480"/>
                <a:gd name="connsiteY878" fmla="*/ 3897874 h 4884255"/>
                <a:gd name="connsiteX879" fmla="*/ 285908 w 4088480"/>
                <a:gd name="connsiteY879" fmla="*/ 3893109 h 4884255"/>
                <a:gd name="connsiteX880" fmla="*/ 285908 w 4088480"/>
                <a:gd name="connsiteY880" fmla="*/ 3874048 h 4884255"/>
                <a:gd name="connsiteX881" fmla="*/ 281144 w 4088480"/>
                <a:gd name="connsiteY881" fmla="*/ 3874048 h 4884255"/>
                <a:gd name="connsiteX882" fmla="*/ 271612 w 4088480"/>
                <a:gd name="connsiteY882" fmla="*/ 3888343 h 4884255"/>
                <a:gd name="connsiteX883" fmla="*/ 266848 w 4088480"/>
                <a:gd name="connsiteY883" fmla="*/ 3916934 h 4884255"/>
                <a:gd name="connsiteX884" fmla="*/ 247788 w 4088480"/>
                <a:gd name="connsiteY884" fmla="*/ 3921699 h 4884255"/>
                <a:gd name="connsiteX885" fmla="*/ 200136 w 4088480"/>
                <a:gd name="connsiteY885" fmla="*/ 3912169 h 4884255"/>
                <a:gd name="connsiteX886" fmla="*/ 133424 w 4088480"/>
                <a:gd name="connsiteY886" fmla="*/ 3916934 h 4884255"/>
                <a:gd name="connsiteX887" fmla="*/ 104834 w 4088480"/>
                <a:gd name="connsiteY887" fmla="*/ 3931230 h 4884255"/>
                <a:gd name="connsiteX888" fmla="*/ 85772 w 4088480"/>
                <a:gd name="connsiteY888" fmla="*/ 3931230 h 4884255"/>
                <a:gd name="connsiteX889" fmla="*/ 47652 w 4088480"/>
                <a:gd name="connsiteY889" fmla="*/ 3907404 h 4884255"/>
                <a:gd name="connsiteX890" fmla="*/ 38122 w 4088480"/>
                <a:gd name="connsiteY890" fmla="*/ 3883579 h 4884255"/>
                <a:gd name="connsiteX891" fmla="*/ 33356 w 4088480"/>
                <a:gd name="connsiteY891" fmla="*/ 3845457 h 4884255"/>
                <a:gd name="connsiteX892" fmla="*/ 33356 w 4088480"/>
                <a:gd name="connsiteY892" fmla="*/ 3826397 h 4884255"/>
                <a:gd name="connsiteX893" fmla="*/ 61948 w 4088480"/>
                <a:gd name="connsiteY893" fmla="*/ 3816867 h 4884255"/>
                <a:gd name="connsiteX894" fmla="*/ 71478 w 4088480"/>
                <a:gd name="connsiteY894" fmla="*/ 3816867 h 4884255"/>
                <a:gd name="connsiteX895" fmla="*/ 85772 w 4088480"/>
                <a:gd name="connsiteY895" fmla="*/ 3807337 h 4884255"/>
                <a:gd name="connsiteX896" fmla="*/ 76242 w 4088480"/>
                <a:gd name="connsiteY896" fmla="*/ 3802571 h 4884255"/>
                <a:gd name="connsiteX897" fmla="*/ 57182 w 4088480"/>
                <a:gd name="connsiteY897" fmla="*/ 3788276 h 4884255"/>
                <a:gd name="connsiteX898" fmla="*/ 47652 w 4088480"/>
                <a:gd name="connsiteY898" fmla="*/ 3764450 h 4884255"/>
                <a:gd name="connsiteX899" fmla="*/ 33356 w 4088480"/>
                <a:gd name="connsiteY899" fmla="*/ 3754920 h 4884255"/>
                <a:gd name="connsiteX900" fmla="*/ 23826 w 4088480"/>
                <a:gd name="connsiteY900" fmla="*/ 3735859 h 4884255"/>
                <a:gd name="connsiteX901" fmla="*/ 19060 w 4088480"/>
                <a:gd name="connsiteY901" fmla="*/ 3702503 h 4884255"/>
                <a:gd name="connsiteX902" fmla="*/ 23826 w 4088480"/>
                <a:gd name="connsiteY902" fmla="*/ 3678678 h 4884255"/>
                <a:gd name="connsiteX903" fmla="*/ 28592 w 4088480"/>
                <a:gd name="connsiteY903" fmla="*/ 3673913 h 4884255"/>
                <a:gd name="connsiteX904" fmla="*/ 52416 w 4088480"/>
                <a:gd name="connsiteY904" fmla="*/ 3678678 h 4884255"/>
                <a:gd name="connsiteX905" fmla="*/ 104834 w 4088480"/>
                <a:gd name="connsiteY905" fmla="*/ 3673913 h 4884255"/>
                <a:gd name="connsiteX906" fmla="*/ 157250 w 4088480"/>
                <a:gd name="connsiteY906" fmla="*/ 3697739 h 4884255"/>
                <a:gd name="connsiteX907" fmla="*/ 190606 w 4088480"/>
                <a:gd name="connsiteY907" fmla="*/ 3707269 h 4884255"/>
                <a:gd name="connsiteX908" fmla="*/ 262082 w 4088480"/>
                <a:gd name="connsiteY908" fmla="*/ 3702503 h 4884255"/>
                <a:gd name="connsiteX909" fmla="*/ 304968 w 4088480"/>
                <a:gd name="connsiteY909" fmla="*/ 3683443 h 4884255"/>
                <a:gd name="connsiteX910" fmla="*/ 295438 w 4088480"/>
                <a:gd name="connsiteY910" fmla="*/ 3673913 h 4884255"/>
                <a:gd name="connsiteX911" fmla="*/ 252552 w 4088480"/>
                <a:gd name="connsiteY911" fmla="*/ 3688208 h 4884255"/>
                <a:gd name="connsiteX912" fmla="*/ 209666 w 4088480"/>
                <a:gd name="connsiteY912" fmla="*/ 3688208 h 4884255"/>
                <a:gd name="connsiteX913" fmla="*/ 138190 w 4088480"/>
                <a:gd name="connsiteY913" fmla="*/ 3664383 h 4884255"/>
                <a:gd name="connsiteX914" fmla="*/ 104834 w 4088480"/>
                <a:gd name="connsiteY914" fmla="*/ 3654852 h 4884255"/>
                <a:gd name="connsiteX915" fmla="*/ 76242 w 4088480"/>
                <a:gd name="connsiteY915" fmla="*/ 3659617 h 4884255"/>
                <a:gd name="connsiteX916" fmla="*/ 57182 w 4088480"/>
                <a:gd name="connsiteY916" fmla="*/ 3654852 h 4884255"/>
                <a:gd name="connsiteX917" fmla="*/ 47652 w 4088480"/>
                <a:gd name="connsiteY917" fmla="*/ 3631027 h 4884255"/>
                <a:gd name="connsiteX918" fmla="*/ 57182 w 4088480"/>
                <a:gd name="connsiteY918" fmla="*/ 3588141 h 4884255"/>
                <a:gd name="connsiteX919" fmla="*/ 71478 w 4088480"/>
                <a:gd name="connsiteY919" fmla="*/ 3573845 h 4884255"/>
                <a:gd name="connsiteX920" fmla="*/ 81008 w 4088480"/>
                <a:gd name="connsiteY920" fmla="*/ 3588141 h 4884255"/>
                <a:gd name="connsiteX921" fmla="*/ 90538 w 4088480"/>
                <a:gd name="connsiteY921" fmla="*/ 3588141 h 4884255"/>
                <a:gd name="connsiteX922" fmla="*/ 100068 w 4088480"/>
                <a:gd name="connsiteY922" fmla="*/ 3569080 h 4884255"/>
                <a:gd name="connsiteX923" fmla="*/ 109598 w 4088480"/>
                <a:gd name="connsiteY923" fmla="*/ 3559550 h 4884255"/>
                <a:gd name="connsiteX924" fmla="*/ 114364 w 4088480"/>
                <a:gd name="connsiteY924" fmla="*/ 3535724 h 4884255"/>
                <a:gd name="connsiteX925" fmla="*/ 147720 w 4088480"/>
                <a:gd name="connsiteY925" fmla="*/ 3511899 h 4884255"/>
                <a:gd name="connsiteX926" fmla="*/ 157250 w 4088480"/>
                <a:gd name="connsiteY926" fmla="*/ 3511899 h 4884255"/>
                <a:gd name="connsiteX927" fmla="*/ 176310 w 4088480"/>
                <a:gd name="connsiteY927" fmla="*/ 3497603 h 4884255"/>
                <a:gd name="connsiteX928" fmla="*/ 185840 w 4088480"/>
                <a:gd name="connsiteY928" fmla="*/ 3502368 h 4884255"/>
                <a:gd name="connsiteX929" fmla="*/ 195370 w 4088480"/>
                <a:gd name="connsiteY929" fmla="*/ 3511899 h 4884255"/>
                <a:gd name="connsiteX930" fmla="*/ 204900 w 4088480"/>
                <a:gd name="connsiteY930" fmla="*/ 3521429 h 4884255"/>
                <a:gd name="connsiteX931" fmla="*/ 219196 w 4088480"/>
                <a:gd name="connsiteY931" fmla="*/ 3521429 h 4884255"/>
                <a:gd name="connsiteX932" fmla="*/ 281144 w 4088480"/>
                <a:gd name="connsiteY932" fmla="*/ 3502368 h 4884255"/>
                <a:gd name="connsiteX933" fmla="*/ 285908 w 4088480"/>
                <a:gd name="connsiteY933" fmla="*/ 3497603 h 4884255"/>
                <a:gd name="connsiteX934" fmla="*/ 295438 w 4088480"/>
                <a:gd name="connsiteY934" fmla="*/ 3483308 h 4884255"/>
                <a:gd name="connsiteX935" fmla="*/ 262082 w 4088480"/>
                <a:gd name="connsiteY935" fmla="*/ 3488073 h 4884255"/>
                <a:gd name="connsiteX936" fmla="*/ 228726 w 4088480"/>
                <a:gd name="connsiteY936" fmla="*/ 3497603 h 4884255"/>
                <a:gd name="connsiteX937" fmla="*/ 209666 w 4088480"/>
                <a:gd name="connsiteY937" fmla="*/ 3502368 h 4884255"/>
                <a:gd name="connsiteX938" fmla="*/ 209666 w 4088480"/>
                <a:gd name="connsiteY938" fmla="*/ 3488073 h 4884255"/>
                <a:gd name="connsiteX939" fmla="*/ 214432 w 4088480"/>
                <a:gd name="connsiteY939" fmla="*/ 3478543 h 4884255"/>
                <a:gd name="connsiteX940" fmla="*/ 228726 w 4088480"/>
                <a:gd name="connsiteY940" fmla="*/ 3464247 h 4884255"/>
                <a:gd name="connsiteX941" fmla="*/ 233492 w 4088480"/>
                <a:gd name="connsiteY941" fmla="*/ 3440422 h 4884255"/>
                <a:gd name="connsiteX942" fmla="*/ 243022 w 4088480"/>
                <a:gd name="connsiteY942" fmla="*/ 3435657 h 4884255"/>
                <a:gd name="connsiteX943" fmla="*/ 257318 w 4088480"/>
                <a:gd name="connsiteY943" fmla="*/ 3435657 h 4884255"/>
                <a:gd name="connsiteX944" fmla="*/ 285908 w 4088480"/>
                <a:gd name="connsiteY944" fmla="*/ 3430891 h 4884255"/>
                <a:gd name="connsiteX945" fmla="*/ 304968 w 4088480"/>
                <a:gd name="connsiteY945" fmla="*/ 3426126 h 4884255"/>
                <a:gd name="connsiteX946" fmla="*/ 338324 w 4088480"/>
                <a:gd name="connsiteY946" fmla="*/ 3426126 h 4884255"/>
                <a:gd name="connsiteX947" fmla="*/ 390740 w 4088480"/>
                <a:gd name="connsiteY947" fmla="*/ 3435657 h 4884255"/>
                <a:gd name="connsiteX948" fmla="*/ 424096 w 4088480"/>
                <a:gd name="connsiteY948" fmla="*/ 3454717 h 4884255"/>
                <a:gd name="connsiteX949" fmla="*/ 433628 w 4088480"/>
                <a:gd name="connsiteY949" fmla="*/ 3454717 h 4884255"/>
                <a:gd name="connsiteX950" fmla="*/ 447922 w 4088480"/>
                <a:gd name="connsiteY950" fmla="*/ 3449952 h 4884255"/>
                <a:gd name="connsiteX951" fmla="*/ 452688 w 4088480"/>
                <a:gd name="connsiteY951" fmla="*/ 3440422 h 4884255"/>
                <a:gd name="connsiteX952" fmla="*/ 428862 w 4088480"/>
                <a:gd name="connsiteY952" fmla="*/ 3435657 h 4884255"/>
                <a:gd name="connsiteX953" fmla="*/ 424096 w 4088480"/>
                <a:gd name="connsiteY953" fmla="*/ 3421361 h 4884255"/>
                <a:gd name="connsiteX954" fmla="*/ 428862 w 4088480"/>
                <a:gd name="connsiteY954" fmla="*/ 3411831 h 4884255"/>
                <a:gd name="connsiteX955" fmla="*/ 471748 w 4088480"/>
                <a:gd name="connsiteY955" fmla="*/ 3397535 h 4884255"/>
                <a:gd name="connsiteX956" fmla="*/ 514634 w 4088480"/>
                <a:gd name="connsiteY956" fmla="*/ 3392771 h 4884255"/>
                <a:gd name="connsiteX957" fmla="*/ 509870 w 4088480"/>
                <a:gd name="connsiteY957" fmla="*/ 3378475 h 4884255"/>
                <a:gd name="connsiteX958" fmla="*/ 409802 w 4088480"/>
                <a:gd name="connsiteY958" fmla="*/ 3397535 h 4884255"/>
                <a:gd name="connsiteX959" fmla="*/ 381210 w 4088480"/>
                <a:gd name="connsiteY959" fmla="*/ 3383240 h 4884255"/>
                <a:gd name="connsiteX960" fmla="*/ 362150 w 4088480"/>
                <a:gd name="connsiteY960" fmla="*/ 3383240 h 4884255"/>
                <a:gd name="connsiteX961" fmla="*/ 347854 w 4088480"/>
                <a:gd name="connsiteY961" fmla="*/ 3392771 h 4884255"/>
                <a:gd name="connsiteX962" fmla="*/ 309734 w 4088480"/>
                <a:gd name="connsiteY962" fmla="*/ 3402301 h 4884255"/>
                <a:gd name="connsiteX963" fmla="*/ 304968 w 4088480"/>
                <a:gd name="connsiteY963" fmla="*/ 3397535 h 4884255"/>
                <a:gd name="connsiteX964" fmla="*/ 309734 w 4088480"/>
                <a:gd name="connsiteY964" fmla="*/ 3373710 h 4884255"/>
                <a:gd name="connsiteX965" fmla="*/ 333560 w 4088480"/>
                <a:gd name="connsiteY965" fmla="*/ 3335589 h 4884255"/>
                <a:gd name="connsiteX966" fmla="*/ 333560 w 4088480"/>
                <a:gd name="connsiteY966" fmla="*/ 3326059 h 4884255"/>
                <a:gd name="connsiteX967" fmla="*/ 347854 w 4088480"/>
                <a:gd name="connsiteY967" fmla="*/ 3316528 h 4884255"/>
                <a:gd name="connsiteX968" fmla="*/ 405036 w 4088480"/>
                <a:gd name="connsiteY968" fmla="*/ 3292703 h 4884255"/>
                <a:gd name="connsiteX969" fmla="*/ 433628 w 4088480"/>
                <a:gd name="connsiteY969" fmla="*/ 3264112 h 4884255"/>
                <a:gd name="connsiteX970" fmla="*/ 447922 w 4088480"/>
                <a:gd name="connsiteY970" fmla="*/ 3264112 h 4884255"/>
                <a:gd name="connsiteX971" fmla="*/ 462218 w 4088480"/>
                <a:gd name="connsiteY971" fmla="*/ 3264112 h 4884255"/>
                <a:gd name="connsiteX972" fmla="*/ 481278 w 4088480"/>
                <a:gd name="connsiteY972" fmla="*/ 3259347 h 4884255"/>
                <a:gd name="connsiteX973" fmla="*/ 519400 w 4088480"/>
                <a:gd name="connsiteY973" fmla="*/ 3268877 h 4884255"/>
                <a:gd name="connsiteX974" fmla="*/ 533694 w 4088480"/>
                <a:gd name="connsiteY974" fmla="*/ 3302233 h 4884255"/>
                <a:gd name="connsiteX975" fmla="*/ 547990 w 4088480"/>
                <a:gd name="connsiteY975" fmla="*/ 3311763 h 4884255"/>
                <a:gd name="connsiteX976" fmla="*/ 600406 w 4088480"/>
                <a:gd name="connsiteY976" fmla="*/ 3354649 h 4884255"/>
                <a:gd name="connsiteX977" fmla="*/ 595642 w 4088480"/>
                <a:gd name="connsiteY977" fmla="*/ 3340354 h 4884255"/>
                <a:gd name="connsiteX978" fmla="*/ 552756 w 4088480"/>
                <a:gd name="connsiteY978" fmla="*/ 3287937 h 4884255"/>
                <a:gd name="connsiteX979" fmla="*/ 538460 w 4088480"/>
                <a:gd name="connsiteY979" fmla="*/ 3273642 h 4884255"/>
                <a:gd name="connsiteX980" fmla="*/ 524164 w 4088480"/>
                <a:gd name="connsiteY980" fmla="*/ 3245051 h 4884255"/>
                <a:gd name="connsiteX981" fmla="*/ 528930 w 4088480"/>
                <a:gd name="connsiteY981" fmla="*/ 3221226 h 4884255"/>
                <a:gd name="connsiteX982" fmla="*/ 543226 w 4088480"/>
                <a:gd name="connsiteY982" fmla="*/ 3202165 h 4884255"/>
                <a:gd name="connsiteX983" fmla="*/ 590876 w 4088480"/>
                <a:gd name="connsiteY983" fmla="*/ 3192635 h 4884255"/>
                <a:gd name="connsiteX984" fmla="*/ 600406 w 4088480"/>
                <a:gd name="connsiteY984" fmla="*/ 3183105 h 4884255"/>
                <a:gd name="connsiteX985" fmla="*/ 600406 w 4088480"/>
                <a:gd name="connsiteY985" fmla="*/ 3164044 h 4884255"/>
                <a:gd name="connsiteX986" fmla="*/ 595642 w 4088480"/>
                <a:gd name="connsiteY986" fmla="*/ 3154514 h 4884255"/>
                <a:gd name="connsiteX987" fmla="*/ 576580 w 4088480"/>
                <a:gd name="connsiteY987" fmla="*/ 3154514 h 4884255"/>
                <a:gd name="connsiteX988" fmla="*/ 562286 w 4088480"/>
                <a:gd name="connsiteY988" fmla="*/ 3144984 h 4884255"/>
                <a:gd name="connsiteX989" fmla="*/ 557520 w 4088480"/>
                <a:gd name="connsiteY989" fmla="*/ 3125923 h 4884255"/>
                <a:gd name="connsiteX990" fmla="*/ 562286 w 4088480"/>
                <a:gd name="connsiteY990" fmla="*/ 3116393 h 4884255"/>
                <a:gd name="connsiteX991" fmla="*/ 590876 w 4088480"/>
                <a:gd name="connsiteY991" fmla="*/ 3092567 h 4884255"/>
                <a:gd name="connsiteX992" fmla="*/ 605172 w 4088480"/>
                <a:gd name="connsiteY992" fmla="*/ 3083037 h 4884255"/>
                <a:gd name="connsiteX993" fmla="*/ 633762 w 4088480"/>
                <a:gd name="connsiteY993" fmla="*/ 3073507 h 4884255"/>
                <a:gd name="connsiteX994" fmla="*/ 681414 w 4088480"/>
                <a:gd name="connsiteY994" fmla="*/ 3092567 h 4884255"/>
                <a:gd name="connsiteX995" fmla="*/ 681414 w 4088480"/>
                <a:gd name="connsiteY995" fmla="*/ 3102098 h 4884255"/>
                <a:gd name="connsiteX996" fmla="*/ 671884 w 4088480"/>
                <a:gd name="connsiteY996" fmla="*/ 3125923 h 4884255"/>
                <a:gd name="connsiteX997" fmla="*/ 671884 w 4088480"/>
                <a:gd name="connsiteY997" fmla="*/ 3140219 h 4884255"/>
                <a:gd name="connsiteX998" fmla="*/ 681414 w 4088480"/>
                <a:gd name="connsiteY998" fmla="*/ 3140219 h 4884255"/>
                <a:gd name="connsiteX999" fmla="*/ 710004 w 4088480"/>
                <a:gd name="connsiteY999" fmla="*/ 3102098 h 4884255"/>
                <a:gd name="connsiteX1000" fmla="*/ 738596 w 4088480"/>
                <a:gd name="connsiteY1000" fmla="*/ 3097333 h 4884255"/>
                <a:gd name="connsiteX1001" fmla="*/ 752890 w 4088480"/>
                <a:gd name="connsiteY1001" fmla="*/ 3087802 h 4884255"/>
                <a:gd name="connsiteX1002" fmla="*/ 767186 w 4088480"/>
                <a:gd name="connsiteY1002" fmla="*/ 3083037 h 4884255"/>
                <a:gd name="connsiteX1003" fmla="*/ 786246 w 4088480"/>
                <a:gd name="connsiteY1003" fmla="*/ 3121158 h 4884255"/>
                <a:gd name="connsiteX1004" fmla="*/ 795776 w 4088480"/>
                <a:gd name="connsiteY1004" fmla="*/ 3130689 h 4884255"/>
                <a:gd name="connsiteX1005" fmla="*/ 805308 w 4088480"/>
                <a:gd name="connsiteY1005" fmla="*/ 3135453 h 4884255"/>
                <a:gd name="connsiteX1006" fmla="*/ 810072 w 4088480"/>
                <a:gd name="connsiteY1006" fmla="*/ 3164044 h 4884255"/>
                <a:gd name="connsiteX1007" fmla="*/ 819602 w 4088480"/>
                <a:gd name="connsiteY1007" fmla="*/ 3164044 h 4884255"/>
                <a:gd name="connsiteX1008" fmla="*/ 829132 w 4088480"/>
                <a:gd name="connsiteY1008" fmla="*/ 3149749 h 4884255"/>
                <a:gd name="connsiteX1009" fmla="*/ 843428 w 4088480"/>
                <a:gd name="connsiteY1009" fmla="*/ 3144984 h 4884255"/>
                <a:gd name="connsiteX1010" fmla="*/ 867254 w 4088480"/>
                <a:gd name="connsiteY1010" fmla="*/ 3140219 h 4884255"/>
                <a:gd name="connsiteX1011" fmla="*/ 905374 w 4088480"/>
                <a:gd name="connsiteY1011" fmla="*/ 3144984 h 4884255"/>
                <a:gd name="connsiteX1012" fmla="*/ 924436 w 4088480"/>
                <a:gd name="connsiteY1012" fmla="*/ 3140219 h 4884255"/>
                <a:gd name="connsiteX1013" fmla="*/ 933966 w 4088480"/>
                <a:gd name="connsiteY1013" fmla="*/ 3140219 h 4884255"/>
                <a:gd name="connsiteX1014" fmla="*/ 924436 w 4088480"/>
                <a:gd name="connsiteY1014" fmla="*/ 3116393 h 4884255"/>
                <a:gd name="connsiteX1015" fmla="*/ 919670 w 4088480"/>
                <a:gd name="connsiteY1015" fmla="*/ 3106863 h 4884255"/>
                <a:gd name="connsiteX1016" fmla="*/ 929200 w 4088480"/>
                <a:gd name="connsiteY1016" fmla="*/ 3083037 h 4884255"/>
                <a:gd name="connsiteX1017" fmla="*/ 933966 w 4088480"/>
                <a:gd name="connsiteY1017" fmla="*/ 3073507 h 4884255"/>
                <a:gd name="connsiteX1018" fmla="*/ 962556 w 4088480"/>
                <a:gd name="connsiteY1018" fmla="*/ 3059211 h 4884255"/>
                <a:gd name="connsiteX1019" fmla="*/ 991148 w 4088480"/>
                <a:gd name="connsiteY1019" fmla="*/ 3049681 h 4884255"/>
                <a:gd name="connsiteX1020" fmla="*/ 1005442 w 4088480"/>
                <a:gd name="connsiteY1020" fmla="*/ 3035386 h 4884255"/>
                <a:gd name="connsiteX1021" fmla="*/ 1029268 w 4088480"/>
                <a:gd name="connsiteY1021" fmla="*/ 3021091 h 4884255"/>
                <a:gd name="connsiteX1022" fmla="*/ 1024502 w 4088480"/>
                <a:gd name="connsiteY1022" fmla="*/ 3006795 h 4884255"/>
                <a:gd name="connsiteX1023" fmla="*/ 1019738 w 4088480"/>
                <a:gd name="connsiteY1023" fmla="*/ 2992500 h 4884255"/>
                <a:gd name="connsiteX1024" fmla="*/ 1005442 w 4088480"/>
                <a:gd name="connsiteY1024" fmla="*/ 2992500 h 4884255"/>
                <a:gd name="connsiteX1025" fmla="*/ 995912 w 4088480"/>
                <a:gd name="connsiteY1025" fmla="*/ 2987735 h 4884255"/>
                <a:gd name="connsiteX1026" fmla="*/ 1014972 w 4088480"/>
                <a:gd name="connsiteY1026" fmla="*/ 2968674 h 4884255"/>
                <a:gd name="connsiteX1027" fmla="*/ 1043564 w 4088480"/>
                <a:gd name="connsiteY1027" fmla="*/ 2949613 h 4884255"/>
                <a:gd name="connsiteX1028" fmla="*/ 1038798 w 4088480"/>
                <a:gd name="connsiteY1028" fmla="*/ 2940083 h 4884255"/>
                <a:gd name="connsiteX1029" fmla="*/ 1019738 w 4088480"/>
                <a:gd name="connsiteY1029" fmla="*/ 2930553 h 4884255"/>
                <a:gd name="connsiteX1030" fmla="*/ 1005442 w 4088480"/>
                <a:gd name="connsiteY1030" fmla="*/ 2940083 h 4884255"/>
                <a:gd name="connsiteX1031" fmla="*/ 981616 w 4088480"/>
                <a:gd name="connsiteY1031" fmla="*/ 2954379 h 4884255"/>
                <a:gd name="connsiteX1032" fmla="*/ 957792 w 4088480"/>
                <a:gd name="connsiteY1032" fmla="*/ 2978204 h 4884255"/>
                <a:gd name="connsiteX1033" fmla="*/ 967322 w 4088480"/>
                <a:gd name="connsiteY1033" fmla="*/ 2987735 h 4884255"/>
                <a:gd name="connsiteX1034" fmla="*/ 976852 w 4088480"/>
                <a:gd name="connsiteY1034" fmla="*/ 3006795 h 4884255"/>
                <a:gd name="connsiteX1035" fmla="*/ 957792 w 4088480"/>
                <a:gd name="connsiteY1035" fmla="*/ 3030621 h 4884255"/>
                <a:gd name="connsiteX1036" fmla="*/ 867254 w 4088480"/>
                <a:gd name="connsiteY1036" fmla="*/ 3102098 h 4884255"/>
                <a:gd name="connsiteX1037" fmla="*/ 824368 w 4088480"/>
                <a:gd name="connsiteY1037" fmla="*/ 3121158 h 4884255"/>
                <a:gd name="connsiteX1038" fmla="*/ 800542 w 4088480"/>
                <a:gd name="connsiteY1038" fmla="*/ 3121158 h 4884255"/>
                <a:gd name="connsiteX1039" fmla="*/ 795776 w 4088480"/>
                <a:gd name="connsiteY1039" fmla="*/ 3102098 h 4884255"/>
                <a:gd name="connsiteX1040" fmla="*/ 786246 w 4088480"/>
                <a:gd name="connsiteY1040" fmla="*/ 3087802 h 4884255"/>
                <a:gd name="connsiteX1041" fmla="*/ 776716 w 4088480"/>
                <a:gd name="connsiteY1041" fmla="*/ 3059211 h 4884255"/>
                <a:gd name="connsiteX1042" fmla="*/ 762420 w 4088480"/>
                <a:gd name="connsiteY1042" fmla="*/ 3059211 h 4884255"/>
                <a:gd name="connsiteX1043" fmla="*/ 752890 w 4088480"/>
                <a:gd name="connsiteY1043" fmla="*/ 3063977 h 4884255"/>
                <a:gd name="connsiteX1044" fmla="*/ 748126 w 4088480"/>
                <a:gd name="connsiteY1044" fmla="*/ 3054447 h 4884255"/>
                <a:gd name="connsiteX1045" fmla="*/ 752890 w 4088480"/>
                <a:gd name="connsiteY1045" fmla="*/ 3021091 h 4884255"/>
                <a:gd name="connsiteX1046" fmla="*/ 767186 w 4088480"/>
                <a:gd name="connsiteY1046" fmla="*/ 2997265 h 4884255"/>
                <a:gd name="connsiteX1047" fmla="*/ 791012 w 4088480"/>
                <a:gd name="connsiteY1047" fmla="*/ 2978204 h 4884255"/>
                <a:gd name="connsiteX1048" fmla="*/ 805308 w 4088480"/>
                <a:gd name="connsiteY1048" fmla="*/ 2954379 h 4884255"/>
                <a:gd name="connsiteX1049" fmla="*/ 814838 w 4088480"/>
                <a:gd name="connsiteY1049" fmla="*/ 2921023 h 4884255"/>
                <a:gd name="connsiteX1050" fmla="*/ 852958 w 4088480"/>
                <a:gd name="connsiteY1050" fmla="*/ 2887667 h 4884255"/>
                <a:gd name="connsiteX1051" fmla="*/ 900610 w 4088480"/>
                <a:gd name="connsiteY1051" fmla="*/ 2801895 h 4884255"/>
                <a:gd name="connsiteX1052" fmla="*/ 943496 w 4088480"/>
                <a:gd name="connsiteY1052" fmla="*/ 2773304 h 4884255"/>
                <a:gd name="connsiteX1053" fmla="*/ 957792 w 4088480"/>
                <a:gd name="connsiteY1053" fmla="*/ 2744713 h 4884255"/>
                <a:gd name="connsiteX1054" fmla="*/ 986382 w 4088480"/>
                <a:gd name="connsiteY1054" fmla="*/ 2730418 h 4884255"/>
                <a:gd name="connsiteX1055" fmla="*/ 1005442 w 4088480"/>
                <a:gd name="connsiteY1055" fmla="*/ 2706592 h 4884255"/>
                <a:gd name="connsiteX1056" fmla="*/ 1024502 w 4088480"/>
                <a:gd name="connsiteY1056" fmla="*/ 2701827 h 4884255"/>
                <a:gd name="connsiteX1057" fmla="*/ 1053094 w 4088480"/>
                <a:gd name="connsiteY1057" fmla="*/ 2682767 h 4884255"/>
                <a:gd name="connsiteX1058" fmla="*/ 1067390 w 4088480"/>
                <a:gd name="connsiteY1058" fmla="*/ 2654176 h 4884255"/>
                <a:gd name="connsiteX1059" fmla="*/ 1057858 w 4088480"/>
                <a:gd name="connsiteY1059" fmla="*/ 2654176 h 4884255"/>
                <a:gd name="connsiteX1060" fmla="*/ 1029268 w 4088480"/>
                <a:gd name="connsiteY1060" fmla="*/ 2673236 h 4884255"/>
                <a:gd name="connsiteX1061" fmla="*/ 1014972 w 4088480"/>
                <a:gd name="connsiteY1061" fmla="*/ 2678001 h 4884255"/>
                <a:gd name="connsiteX1062" fmla="*/ 1019738 w 4088480"/>
                <a:gd name="connsiteY1062" fmla="*/ 2649411 h 4884255"/>
                <a:gd name="connsiteX1063" fmla="*/ 1024502 w 4088480"/>
                <a:gd name="connsiteY1063" fmla="*/ 2620820 h 4884255"/>
                <a:gd name="connsiteX1064" fmla="*/ 1048328 w 4088480"/>
                <a:gd name="connsiteY1064" fmla="*/ 2596994 h 4884255"/>
                <a:gd name="connsiteX1065" fmla="*/ 1153162 w 4088480"/>
                <a:gd name="connsiteY1065" fmla="*/ 2520752 h 4884255"/>
                <a:gd name="connsiteX1066" fmla="*/ 1162692 w 4088480"/>
                <a:gd name="connsiteY1066" fmla="*/ 2535047 h 4884255"/>
                <a:gd name="connsiteX1067" fmla="*/ 1172222 w 4088480"/>
                <a:gd name="connsiteY1067" fmla="*/ 2554108 h 4884255"/>
                <a:gd name="connsiteX1068" fmla="*/ 1205578 w 4088480"/>
                <a:gd name="connsiteY1068" fmla="*/ 2549343 h 4884255"/>
                <a:gd name="connsiteX1069" fmla="*/ 1243698 w 4088480"/>
                <a:gd name="connsiteY1069" fmla="*/ 2506457 h 4884255"/>
                <a:gd name="connsiteX1070" fmla="*/ 1267524 w 4088480"/>
                <a:gd name="connsiteY1070" fmla="*/ 2463571 h 4884255"/>
                <a:gd name="connsiteX1071" fmla="*/ 1253228 w 4088480"/>
                <a:gd name="connsiteY1071" fmla="*/ 2468336 h 4884255"/>
                <a:gd name="connsiteX1072" fmla="*/ 1238934 w 4088480"/>
                <a:gd name="connsiteY1072" fmla="*/ 2487396 h 4884255"/>
                <a:gd name="connsiteX1073" fmla="*/ 1205578 w 4088480"/>
                <a:gd name="connsiteY1073" fmla="*/ 2515987 h 4884255"/>
                <a:gd name="connsiteX1074" fmla="*/ 1191282 w 4088480"/>
                <a:gd name="connsiteY1074" fmla="*/ 2520752 h 4884255"/>
                <a:gd name="connsiteX1075" fmla="*/ 1181752 w 4088480"/>
                <a:gd name="connsiteY1075" fmla="*/ 2515987 h 4884255"/>
                <a:gd name="connsiteX1076" fmla="*/ 1176988 w 4088480"/>
                <a:gd name="connsiteY1076" fmla="*/ 2496927 h 4884255"/>
                <a:gd name="connsiteX1077" fmla="*/ 1167456 w 4088480"/>
                <a:gd name="connsiteY1077" fmla="*/ 2492161 h 4884255"/>
                <a:gd name="connsiteX1078" fmla="*/ 1157926 w 4088480"/>
                <a:gd name="connsiteY1078" fmla="*/ 2496927 h 4884255"/>
                <a:gd name="connsiteX1079" fmla="*/ 1148396 w 4088480"/>
                <a:gd name="connsiteY1079" fmla="*/ 2482631 h 4884255"/>
                <a:gd name="connsiteX1080" fmla="*/ 1143632 w 4088480"/>
                <a:gd name="connsiteY1080" fmla="*/ 2454041 h 4884255"/>
                <a:gd name="connsiteX1081" fmla="*/ 1157926 w 4088480"/>
                <a:gd name="connsiteY1081" fmla="*/ 2406389 h 4884255"/>
                <a:gd name="connsiteX1082" fmla="*/ 1167456 w 4088480"/>
                <a:gd name="connsiteY1082" fmla="*/ 2377799 h 4884255"/>
                <a:gd name="connsiteX1083" fmla="*/ 1181752 w 4088480"/>
                <a:gd name="connsiteY1083" fmla="*/ 2353973 h 4884255"/>
                <a:gd name="connsiteX1084" fmla="*/ 1224638 w 4088480"/>
                <a:gd name="connsiteY1084" fmla="*/ 2287261 h 4884255"/>
                <a:gd name="connsiteX1085" fmla="*/ 1234168 w 4088480"/>
                <a:gd name="connsiteY1085" fmla="*/ 2249140 h 4884255"/>
                <a:gd name="connsiteX1086" fmla="*/ 1253228 w 4088480"/>
                <a:gd name="connsiteY1086" fmla="*/ 2230079 h 4884255"/>
                <a:gd name="connsiteX1087" fmla="*/ 1281820 w 4088480"/>
                <a:gd name="connsiteY1087" fmla="*/ 2234845 h 4884255"/>
                <a:gd name="connsiteX1088" fmla="*/ 1286584 w 4088480"/>
                <a:gd name="connsiteY1088" fmla="*/ 2225314 h 4884255"/>
                <a:gd name="connsiteX1089" fmla="*/ 1277054 w 4088480"/>
                <a:gd name="connsiteY1089" fmla="*/ 2201489 h 4884255"/>
                <a:gd name="connsiteX1090" fmla="*/ 1248464 w 4088480"/>
                <a:gd name="connsiteY1090" fmla="*/ 2182428 h 4884255"/>
                <a:gd name="connsiteX1091" fmla="*/ 1248464 w 4088480"/>
                <a:gd name="connsiteY1091" fmla="*/ 2172898 h 4884255"/>
                <a:gd name="connsiteX1092" fmla="*/ 1343766 w 4088480"/>
                <a:gd name="connsiteY1092" fmla="*/ 2139542 h 4884255"/>
                <a:gd name="connsiteX1093" fmla="*/ 1386652 w 4088480"/>
                <a:gd name="connsiteY1093" fmla="*/ 2139542 h 4884255"/>
                <a:gd name="connsiteX1094" fmla="*/ 1400948 w 4088480"/>
                <a:gd name="connsiteY1094" fmla="*/ 2125247 h 4884255"/>
                <a:gd name="connsiteX1095" fmla="*/ 1424774 w 4088480"/>
                <a:gd name="connsiteY1095" fmla="*/ 2115717 h 4884255"/>
                <a:gd name="connsiteX1096" fmla="*/ 1443834 w 4088480"/>
                <a:gd name="connsiteY1096" fmla="*/ 2096656 h 4884255"/>
                <a:gd name="connsiteX1097" fmla="*/ 1434304 w 4088480"/>
                <a:gd name="connsiteY1097" fmla="*/ 2087126 h 4884255"/>
                <a:gd name="connsiteX1098" fmla="*/ 1386652 w 4088480"/>
                <a:gd name="connsiteY1098" fmla="*/ 2106186 h 4884255"/>
                <a:gd name="connsiteX1099" fmla="*/ 1362828 w 4088480"/>
                <a:gd name="connsiteY1099" fmla="*/ 2115717 h 4884255"/>
                <a:gd name="connsiteX1100" fmla="*/ 1348532 w 4088480"/>
                <a:gd name="connsiteY1100" fmla="*/ 2110951 h 4884255"/>
                <a:gd name="connsiteX1101" fmla="*/ 1339002 w 4088480"/>
                <a:gd name="connsiteY1101" fmla="*/ 2120482 h 4884255"/>
                <a:gd name="connsiteX1102" fmla="*/ 1300880 w 4088480"/>
                <a:gd name="connsiteY1102" fmla="*/ 2120482 h 4884255"/>
                <a:gd name="connsiteX1103" fmla="*/ 1291350 w 4088480"/>
                <a:gd name="connsiteY1103" fmla="*/ 2044239 h 4884255"/>
                <a:gd name="connsiteX1104" fmla="*/ 1300880 w 4088480"/>
                <a:gd name="connsiteY1104" fmla="*/ 2001353 h 4884255"/>
                <a:gd name="connsiteX1105" fmla="*/ 1310410 w 4088480"/>
                <a:gd name="connsiteY1105" fmla="*/ 2001353 h 4884255"/>
                <a:gd name="connsiteX1106" fmla="*/ 1315176 w 4088480"/>
                <a:gd name="connsiteY1106" fmla="*/ 1963232 h 4884255"/>
                <a:gd name="connsiteX1107" fmla="*/ 1329472 w 4088480"/>
                <a:gd name="connsiteY1107" fmla="*/ 1939407 h 4884255"/>
                <a:gd name="connsiteX1108" fmla="*/ 1353296 w 4088480"/>
                <a:gd name="connsiteY1108" fmla="*/ 1929877 h 4884255"/>
                <a:gd name="connsiteX1109" fmla="*/ 1362828 w 4088480"/>
                <a:gd name="connsiteY1109" fmla="*/ 1920346 h 4884255"/>
                <a:gd name="connsiteX1110" fmla="*/ 1381888 w 4088480"/>
                <a:gd name="connsiteY1110" fmla="*/ 1901286 h 4884255"/>
                <a:gd name="connsiteX1111" fmla="*/ 1405714 w 4088480"/>
                <a:gd name="connsiteY1111" fmla="*/ 1906051 h 4884255"/>
                <a:gd name="connsiteX1112" fmla="*/ 1434304 w 4088480"/>
                <a:gd name="connsiteY1112" fmla="*/ 1901286 h 4884255"/>
                <a:gd name="connsiteX1113" fmla="*/ 1424774 w 4088480"/>
                <a:gd name="connsiteY1113" fmla="*/ 1891755 h 4884255"/>
                <a:gd name="connsiteX1114" fmla="*/ 1391418 w 4088480"/>
                <a:gd name="connsiteY1114" fmla="*/ 1877460 h 4884255"/>
                <a:gd name="connsiteX1115" fmla="*/ 1386652 w 4088480"/>
                <a:gd name="connsiteY1115" fmla="*/ 1858400 h 4884255"/>
                <a:gd name="connsiteX1116" fmla="*/ 1396182 w 4088480"/>
                <a:gd name="connsiteY1116" fmla="*/ 1844104 h 4884255"/>
                <a:gd name="connsiteX1117" fmla="*/ 1410478 w 4088480"/>
                <a:gd name="connsiteY1117" fmla="*/ 1834574 h 4884255"/>
                <a:gd name="connsiteX1118" fmla="*/ 1420008 w 4088480"/>
                <a:gd name="connsiteY1118" fmla="*/ 1834574 h 4884255"/>
                <a:gd name="connsiteX1119" fmla="*/ 1443834 w 4088480"/>
                <a:gd name="connsiteY1119" fmla="*/ 1791688 h 4884255"/>
                <a:gd name="connsiteX1120" fmla="*/ 1458130 w 4088480"/>
                <a:gd name="connsiteY1120" fmla="*/ 1772627 h 4884255"/>
                <a:gd name="connsiteX1121" fmla="*/ 1472424 w 4088480"/>
                <a:gd name="connsiteY1121" fmla="*/ 1772627 h 4884255"/>
                <a:gd name="connsiteX1122" fmla="*/ 1491486 w 4088480"/>
                <a:gd name="connsiteY1122" fmla="*/ 1753567 h 4884255"/>
                <a:gd name="connsiteX1123" fmla="*/ 1510546 w 4088480"/>
                <a:gd name="connsiteY1123" fmla="*/ 1763097 h 4884255"/>
                <a:gd name="connsiteX1124" fmla="*/ 1534372 w 4088480"/>
                <a:gd name="connsiteY1124" fmla="*/ 1748802 h 4884255"/>
                <a:gd name="connsiteX1125" fmla="*/ 1558198 w 4088480"/>
                <a:gd name="connsiteY1125" fmla="*/ 1739271 h 4884255"/>
                <a:gd name="connsiteX1126" fmla="*/ 1658264 w 4088480"/>
                <a:gd name="connsiteY1126" fmla="*/ 1739271 h 4884255"/>
                <a:gd name="connsiteX1127" fmla="*/ 1663030 w 4088480"/>
                <a:gd name="connsiteY1127" fmla="*/ 1720211 h 4884255"/>
                <a:gd name="connsiteX1128" fmla="*/ 1643970 w 4088480"/>
                <a:gd name="connsiteY1128" fmla="*/ 1715446 h 4884255"/>
                <a:gd name="connsiteX1129" fmla="*/ 1567728 w 4088480"/>
                <a:gd name="connsiteY1129" fmla="*/ 1710681 h 4884255"/>
                <a:gd name="connsiteX1130" fmla="*/ 1529606 w 4088480"/>
                <a:gd name="connsiteY1130" fmla="*/ 1710681 h 4884255"/>
                <a:gd name="connsiteX1131" fmla="*/ 1515312 w 4088480"/>
                <a:gd name="connsiteY1131" fmla="*/ 1715446 h 4884255"/>
                <a:gd name="connsiteX1132" fmla="*/ 1505780 w 4088480"/>
                <a:gd name="connsiteY1132" fmla="*/ 1710681 h 4884255"/>
                <a:gd name="connsiteX1133" fmla="*/ 1510546 w 4088480"/>
                <a:gd name="connsiteY1133" fmla="*/ 1701150 h 4884255"/>
                <a:gd name="connsiteX1134" fmla="*/ 1524842 w 4088480"/>
                <a:gd name="connsiteY1134" fmla="*/ 1682090 h 4884255"/>
                <a:gd name="connsiteX1135" fmla="*/ 1529606 w 4088480"/>
                <a:gd name="connsiteY1135" fmla="*/ 1663029 h 4884255"/>
                <a:gd name="connsiteX1136" fmla="*/ 1558198 w 4088480"/>
                <a:gd name="connsiteY1136" fmla="*/ 1615378 h 4884255"/>
                <a:gd name="connsiteX1137" fmla="*/ 1591554 w 4088480"/>
                <a:gd name="connsiteY1137" fmla="*/ 1586787 h 4884255"/>
                <a:gd name="connsiteX1138" fmla="*/ 1615378 w 4088480"/>
                <a:gd name="connsiteY1138" fmla="*/ 1596318 h 4884255"/>
                <a:gd name="connsiteX1139" fmla="*/ 1639204 w 4088480"/>
                <a:gd name="connsiteY1139" fmla="*/ 1624908 h 4884255"/>
                <a:gd name="connsiteX1140" fmla="*/ 1658264 w 4088480"/>
                <a:gd name="connsiteY1140" fmla="*/ 1629673 h 4884255"/>
                <a:gd name="connsiteX1141" fmla="*/ 1667796 w 4088480"/>
                <a:gd name="connsiteY1141" fmla="*/ 1639204 h 4884255"/>
                <a:gd name="connsiteX1142" fmla="*/ 1682090 w 4088480"/>
                <a:gd name="connsiteY1142" fmla="*/ 1677325 h 4884255"/>
                <a:gd name="connsiteX1143" fmla="*/ 1686856 w 4088480"/>
                <a:gd name="connsiteY1143" fmla="*/ 1677325 h 4884255"/>
                <a:gd name="connsiteX1144" fmla="*/ 1686856 w 4088480"/>
                <a:gd name="connsiteY1144" fmla="*/ 1639204 h 4884255"/>
                <a:gd name="connsiteX1145" fmla="*/ 1701152 w 4088480"/>
                <a:gd name="connsiteY1145" fmla="*/ 1605848 h 4884255"/>
                <a:gd name="connsiteX1146" fmla="*/ 1696386 w 4088480"/>
                <a:gd name="connsiteY1146" fmla="*/ 1601083 h 4884255"/>
                <a:gd name="connsiteX1147" fmla="*/ 1672560 w 4088480"/>
                <a:gd name="connsiteY1147" fmla="*/ 1610613 h 4884255"/>
                <a:gd name="connsiteX1148" fmla="*/ 1648734 w 4088480"/>
                <a:gd name="connsiteY1148" fmla="*/ 1601083 h 4884255"/>
                <a:gd name="connsiteX1149" fmla="*/ 1634440 w 4088480"/>
                <a:gd name="connsiteY1149" fmla="*/ 1577257 h 4884255"/>
                <a:gd name="connsiteX1150" fmla="*/ 1629674 w 4088480"/>
                <a:gd name="connsiteY1150" fmla="*/ 1553431 h 4884255"/>
                <a:gd name="connsiteX1151" fmla="*/ 1639204 w 4088480"/>
                <a:gd name="connsiteY1151" fmla="*/ 1534371 h 4884255"/>
                <a:gd name="connsiteX1152" fmla="*/ 1648734 w 4088480"/>
                <a:gd name="connsiteY1152" fmla="*/ 1520076 h 4884255"/>
                <a:gd name="connsiteX1153" fmla="*/ 1643970 w 4088480"/>
                <a:gd name="connsiteY1153" fmla="*/ 1505780 h 4884255"/>
                <a:gd name="connsiteX1154" fmla="*/ 1601084 w 4088480"/>
                <a:gd name="connsiteY1154" fmla="*/ 1543901 h 4884255"/>
                <a:gd name="connsiteX1155" fmla="*/ 1572492 w 4088480"/>
                <a:gd name="connsiteY1155" fmla="*/ 1548666 h 4884255"/>
                <a:gd name="connsiteX1156" fmla="*/ 1562962 w 4088480"/>
                <a:gd name="connsiteY1156" fmla="*/ 1543901 h 4884255"/>
                <a:gd name="connsiteX1157" fmla="*/ 1567728 w 4088480"/>
                <a:gd name="connsiteY1157" fmla="*/ 1515311 h 4884255"/>
                <a:gd name="connsiteX1158" fmla="*/ 1562962 w 4088480"/>
                <a:gd name="connsiteY1158" fmla="*/ 1491485 h 4884255"/>
                <a:gd name="connsiteX1159" fmla="*/ 1601084 w 4088480"/>
                <a:gd name="connsiteY1159" fmla="*/ 1429538 h 4884255"/>
                <a:gd name="connsiteX1160" fmla="*/ 1615378 w 4088480"/>
                <a:gd name="connsiteY1160" fmla="*/ 1420008 h 4884255"/>
                <a:gd name="connsiteX1161" fmla="*/ 1639204 w 4088480"/>
                <a:gd name="connsiteY1161" fmla="*/ 1424773 h 4884255"/>
                <a:gd name="connsiteX1162" fmla="*/ 1658264 w 4088480"/>
                <a:gd name="connsiteY1162" fmla="*/ 1443834 h 4884255"/>
                <a:gd name="connsiteX1163" fmla="*/ 1672560 w 4088480"/>
                <a:gd name="connsiteY1163" fmla="*/ 1443834 h 4884255"/>
                <a:gd name="connsiteX1164" fmla="*/ 1691620 w 4088480"/>
                <a:gd name="connsiteY1164" fmla="*/ 1434303 h 4884255"/>
                <a:gd name="connsiteX1165" fmla="*/ 1691620 w 4088480"/>
                <a:gd name="connsiteY1165" fmla="*/ 1415243 h 4884255"/>
                <a:gd name="connsiteX1166" fmla="*/ 1648734 w 4088480"/>
                <a:gd name="connsiteY1166" fmla="*/ 1410478 h 4884255"/>
                <a:gd name="connsiteX1167" fmla="*/ 1639204 w 4088480"/>
                <a:gd name="connsiteY1167" fmla="*/ 1396182 h 4884255"/>
                <a:gd name="connsiteX1168" fmla="*/ 1643970 w 4088480"/>
                <a:gd name="connsiteY1168" fmla="*/ 1381887 h 4884255"/>
                <a:gd name="connsiteX1169" fmla="*/ 1672560 w 4088480"/>
                <a:gd name="connsiteY1169" fmla="*/ 1367592 h 4884255"/>
                <a:gd name="connsiteX1170" fmla="*/ 1696386 w 4088480"/>
                <a:gd name="connsiteY1170" fmla="*/ 1343766 h 4884255"/>
                <a:gd name="connsiteX1171" fmla="*/ 1729742 w 4088480"/>
                <a:gd name="connsiteY1171" fmla="*/ 1334236 h 4884255"/>
                <a:gd name="connsiteX1172" fmla="*/ 1753568 w 4088480"/>
                <a:gd name="connsiteY1172" fmla="*/ 1315175 h 4884255"/>
                <a:gd name="connsiteX1173" fmla="*/ 1758332 w 4088480"/>
                <a:gd name="connsiteY1173" fmla="*/ 1319940 h 4884255"/>
                <a:gd name="connsiteX1174" fmla="*/ 1763098 w 4088480"/>
                <a:gd name="connsiteY1174" fmla="*/ 1329471 h 4884255"/>
                <a:gd name="connsiteX1175" fmla="*/ 1772628 w 4088480"/>
                <a:gd name="connsiteY1175" fmla="*/ 1400947 h 4884255"/>
                <a:gd name="connsiteX1176" fmla="*/ 1791688 w 4088480"/>
                <a:gd name="connsiteY1176" fmla="*/ 1458129 h 4884255"/>
                <a:gd name="connsiteX1177" fmla="*/ 1801218 w 4088480"/>
                <a:gd name="connsiteY1177" fmla="*/ 1458129 h 4884255"/>
                <a:gd name="connsiteX1178" fmla="*/ 1791688 w 4088480"/>
                <a:gd name="connsiteY1178" fmla="*/ 1410478 h 4884255"/>
                <a:gd name="connsiteX1179" fmla="*/ 1801218 w 4088480"/>
                <a:gd name="connsiteY1179" fmla="*/ 1396182 h 4884255"/>
                <a:gd name="connsiteX1180" fmla="*/ 1810748 w 4088480"/>
                <a:gd name="connsiteY1180" fmla="*/ 1386652 h 4884255"/>
                <a:gd name="connsiteX1181" fmla="*/ 1810748 w 4088480"/>
                <a:gd name="connsiteY1181" fmla="*/ 1372357 h 4884255"/>
                <a:gd name="connsiteX1182" fmla="*/ 1801218 w 4088480"/>
                <a:gd name="connsiteY1182" fmla="*/ 1367592 h 4884255"/>
                <a:gd name="connsiteX1183" fmla="*/ 1791688 w 4088480"/>
                <a:gd name="connsiteY1183" fmla="*/ 1348531 h 4884255"/>
                <a:gd name="connsiteX1184" fmla="*/ 1777394 w 4088480"/>
                <a:gd name="connsiteY1184" fmla="*/ 1291349 h 4884255"/>
                <a:gd name="connsiteX1185" fmla="*/ 1782158 w 4088480"/>
                <a:gd name="connsiteY1185" fmla="*/ 1277054 h 4884255"/>
                <a:gd name="connsiteX1186" fmla="*/ 1810748 w 4088480"/>
                <a:gd name="connsiteY1186" fmla="*/ 1248463 h 4884255"/>
                <a:gd name="connsiteX1187" fmla="*/ 1848870 w 4088480"/>
                <a:gd name="connsiteY1187" fmla="*/ 1238933 h 4884255"/>
                <a:gd name="connsiteX1188" fmla="*/ 1886992 w 4088480"/>
                <a:gd name="connsiteY1188" fmla="*/ 1262759 h 4884255"/>
                <a:gd name="connsiteX1189" fmla="*/ 1901286 w 4088480"/>
                <a:gd name="connsiteY1189" fmla="*/ 1262759 h 4884255"/>
                <a:gd name="connsiteX1190" fmla="*/ 1920346 w 4088480"/>
                <a:gd name="connsiteY1190" fmla="*/ 1257994 h 4884255"/>
                <a:gd name="connsiteX1191" fmla="*/ 1958468 w 4088480"/>
                <a:gd name="connsiteY1191" fmla="*/ 1238933 h 4884255"/>
                <a:gd name="connsiteX1192" fmla="*/ 1982294 w 4088480"/>
                <a:gd name="connsiteY1192" fmla="*/ 1229403 h 4884255"/>
                <a:gd name="connsiteX1193" fmla="*/ 1991824 w 4088480"/>
                <a:gd name="connsiteY1193" fmla="*/ 1229403 h 4884255"/>
                <a:gd name="connsiteX1194" fmla="*/ 1996588 w 4088480"/>
                <a:gd name="connsiteY1194" fmla="*/ 1224638 h 4884255"/>
                <a:gd name="connsiteX1195" fmla="*/ 1987058 w 4088480"/>
                <a:gd name="connsiteY1195" fmla="*/ 1215107 h 4884255"/>
                <a:gd name="connsiteX1196" fmla="*/ 1982294 w 4088480"/>
                <a:gd name="connsiteY1196" fmla="*/ 1210342 h 4884255"/>
                <a:gd name="connsiteX1197" fmla="*/ 1972764 w 4088480"/>
                <a:gd name="connsiteY1197" fmla="*/ 1205577 h 4884255"/>
                <a:gd name="connsiteX1198" fmla="*/ 1939408 w 4088480"/>
                <a:gd name="connsiteY1198" fmla="*/ 1215107 h 4884255"/>
                <a:gd name="connsiteX1199" fmla="*/ 1844104 w 4088480"/>
                <a:gd name="connsiteY1199" fmla="*/ 1215107 h 4884255"/>
                <a:gd name="connsiteX1200" fmla="*/ 1834574 w 4088480"/>
                <a:gd name="connsiteY1200" fmla="*/ 1205577 h 4884255"/>
                <a:gd name="connsiteX1201" fmla="*/ 1829810 w 4088480"/>
                <a:gd name="connsiteY1201" fmla="*/ 1186517 h 4884255"/>
                <a:gd name="connsiteX1202" fmla="*/ 1839340 w 4088480"/>
                <a:gd name="connsiteY1202" fmla="*/ 1162691 h 4884255"/>
                <a:gd name="connsiteX1203" fmla="*/ 1853636 w 4088480"/>
                <a:gd name="connsiteY1203" fmla="*/ 1148396 h 4884255"/>
                <a:gd name="connsiteX1204" fmla="*/ 1891756 w 4088480"/>
                <a:gd name="connsiteY1204" fmla="*/ 1119805 h 4884255"/>
                <a:gd name="connsiteX1205" fmla="*/ 1929878 w 4088480"/>
                <a:gd name="connsiteY1205" fmla="*/ 1115040 h 4884255"/>
                <a:gd name="connsiteX1206" fmla="*/ 1967998 w 4088480"/>
                <a:gd name="connsiteY1206" fmla="*/ 1072154 h 4884255"/>
                <a:gd name="connsiteX1207" fmla="*/ 1982294 w 4088480"/>
                <a:gd name="connsiteY1207" fmla="*/ 1038798 h 4884255"/>
                <a:gd name="connsiteX1208" fmla="*/ 1991824 w 4088480"/>
                <a:gd name="connsiteY1208" fmla="*/ 981616 h 4884255"/>
                <a:gd name="connsiteX1209" fmla="*/ 2015650 w 4088480"/>
                <a:gd name="connsiteY1209" fmla="*/ 938730 h 4884255"/>
                <a:gd name="connsiteX1210" fmla="*/ 2077596 w 4088480"/>
                <a:gd name="connsiteY1210" fmla="*/ 914905 h 4884255"/>
                <a:gd name="connsiteX1211" fmla="*/ 2082362 w 4088480"/>
                <a:gd name="connsiteY1211" fmla="*/ 905374 h 4884255"/>
                <a:gd name="connsiteX1212" fmla="*/ 2072832 w 4088480"/>
                <a:gd name="connsiteY1212" fmla="*/ 881549 h 4884255"/>
                <a:gd name="connsiteX1213" fmla="*/ 2077596 w 4088480"/>
                <a:gd name="connsiteY1213" fmla="*/ 843428 h 4884255"/>
                <a:gd name="connsiteX1214" fmla="*/ 2091892 w 4088480"/>
                <a:gd name="connsiteY1214" fmla="*/ 795776 h 4884255"/>
                <a:gd name="connsiteX1215" fmla="*/ 2106186 w 4088480"/>
                <a:gd name="connsiteY1215" fmla="*/ 776716 h 4884255"/>
                <a:gd name="connsiteX1216" fmla="*/ 2110952 w 4088480"/>
                <a:gd name="connsiteY1216" fmla="*/ 776716 h 4884255"/>
                <a:gd name="connsiteX1217" fmla="*/ 2125248 w 4088480"/>
                <a:gd name="connsiteY1217" fmla="*/ 791011 h 4884255"/>
                <a:gd name="connsiteX1218" fmla="*/ 2139542 w 4088480"/>
                <a:gd name="connsiteY1218" fmla="*/ 824367 h 4884255"/>
                <a:gd name="connsiteX1219" fmla="*/ 2163368 w 4088480"/>
                <a:gd name="connsiteY1219" fmla="*/ 843428 h 4884255"/>
                <a:gd name="connsiteX1220" fmla="*/ 2196724 w 4088480"/>
                <a:gd name="connsiteY1220" fmla="*/ 848193 h 4884255"/>
                <a:gd name="connsiteX1221" fmla="*/ 2206254 w 4088480"/>
                <a:gd name="connsiteY1221" fmla="*/ 838663 h 4884255"/>
                <a:gd name="connsiteX1222" fmla="*/ 2182428 w 4088480"/>
                <a:gd name="connsiteY1222" fmla="*/ 819602 h 4884255"/>
                <a:gd name="connsiteX1223" fmla="*/ 2163368 w 4088480"/>
                <a:gd name="connsiteY1223" fmla="*/ 795776 h 4884255"/>
                <a:gd name="connsiteX1224" fmla="*/ 2158604 w 4088480"/>
                <a:gd name="connsiteY1224" fmla="*/ 767186 h 4884255"/>
                <a:gd name="connsiteX1225" fmla="*/ 2168134 w 4088480"/>
                <a:gd name="connsiteY1225" fmla="*/ 752890 h 4884255"/>
                <a:gd name="connsiteX1226" fmla="*/ 2182428 w 4088480"/>
                <a:gd name="connsiteY1226" fmla="*/ 757655 h 4884255"/>
                <a:gd name="connsiteX1227" fmla="*/ 2201490 w 4088480"/>
                <a:gd name="connsiteY1227" fmla="*/ 752890 h 4884255"/>
                <a:gd name="connsiteX1228" fmla="*/ 2220550 w 4088480"/>
                <a:gd name="connsiteY1228" fmla="*/ 738595 h 4884255"/>
                <a:gd name="connsiteX1229" fmla="*/ 2220550 w 4088480"/>
                <a:gd name="connsiteY1229" fmla="*/ 724299 h 4884255"/>
                <a:gd name="connsiteX1230" fmla="*/ 2220550 w 4088480"/>
                <a:gd name="connsiteY1230" fmla="*/ 710004 h 4884255"/>
                <a:gd name="connsiteX1231" fmla="*/ 2225316 w 4088480"/>
                <a:gd name="connsiteY1231" fmla="*/ 690944 h 4884255"/>
                <a:gd name="connsiteX1232" fmla="*/ 2249140 w 4088480"/>
                <a:gd name="connsiteY1232" fmla="*/ 652823 h 4884255"/>
                <a:gd name="connsiteX1233" fmla="*/ 2325382 w 4088480"/>
                <a:gd name="connsiteY1233" fmla="*/ 628997 h 4884255"/>
                <a:gd name="connsiteX1234" fmla="*/ 2334912 w 4088480"/>
                <a:gd name="connsiteY1234" fmla="*/ 638527 h 4884255"/>
                <a:gd name="connsiteX1235" fmla="*/ 2330148 w 4088480"/>
                <a:gd name="connsiteY1235" fmla="*/ 714769 h 4884255"/>
                <a:gd name="connsiteX1236" fmla="*/ 2320618 w 4088480"/>
                <a:gd name="connsiteY1236" fmla="*/ 762421 h 4884255"/>
                <a:gd name="connsiteX1237" fmla="*/ 2320618 w 4088480"/>
                <a:gd name="connsiteY1237" fmla="*/ 795776 h 4884255"/>
                <a:gd name="connsiteX1238" fmla="*/ 2334912 w 4088480"/>
                <a:gd name="connsiteY1238" fmla="*/ 762421 h 4884255"/>
                <a:gd name="connsiteX1239" fmla="*/ 2353974 w 4088480"/>
                <a:gd name="connsiteY1239" fmla="*/ 662353 h 4884255"/>
                <a:gd name="connsiteX1240" fmla="*/ 2368268 w 4088480"/>
                <a:gd name="connsiteY1240" fmla="*/ 619467 h 4884255"/>
                <a:gd name="connsiteX1241" fmla="*/ 2387330 w 4088480"/>
                <a:gd name="connsiteY1241" fmla="*/ 590876 h 4884255"/>
                <a:gd name="connsiteX1242" fmla="*/ 2396860 w 4088480"/>
                <a:gd name="connsiteY1242" fmla="*/ 586111 h 4884255"/>
                <a:gd name="connsiteX1243" fmla="*/ 2411156 w 4088480"/>
                <a:gd name="connsiteY1243" fmla="*/ 571815 h 4884255"/>
                <a:gd name="connsiteX1244" fmla="*/ 2425450 w 4088480"/>
                <a:gd name="connsiteY1244" fmla="*/ 562285 h 4884255"/>
                <a:gd name="connsiteX1245" fmla="*/ 2430216 w 4088480"/>
                <a:gd name="connsiteY1245" fmla="*/ 576581 h 4884255"/>
                <a:gd name="connsiteX1246" fmla="*/ 2434980 w 4088480"/>
                <a:gd name="connsiteY1246" fmla="*/ 600406 h 4884255"/>
                <a:gd name="connsiteX1247" fmla="*/ 2425450 w 4088480"/>
                <a:gd name="connsiteY1247" fmla="*/ 686179 h 4884255"/>
                <a:gd name="connsiteX1248" fmla="*/ 2430216 w 4088480"/>
                <a:gd name="connsiteY1248" fmla="*/ 710004 h 4884255"/>
                <a:gd name="connsiteX1249" fmla="*/ 2420686 w 4088480"/>
                <a:gd name="connsiteY1249" fmla="*/ 748125 h 4884255"/>
                <a:gd name="connsiteX1250" fmla="*/ 2382564 w 4088480"/>
                <a:gd name="connsiteY1250" fmla="*/ 829132 h 4884255"/>
                <a:gd name="connsiteX1251" fmla="*/ 2382564 w 4088480"/>
                <a:gd name="connsiteY1251" fmla="*/ 838663 h 4884255"/>
                <a:gd name="connsiteX1252" fmla="*/ 2392094 w 4088480"/>
                <a:gd name="connsiteY1252" fmla="*/ 833897 h 4884255"/>
                <a:gd name="connsiteX1253" fmla="*/ 2406390 w 4088480"/>
                <a:gd name="connsiteY1253" fmla="*/ 819602 h 4884255"/>
                <a:gd name="connsiteX1254" fmla="*/ 2454042 w 4088480"/>
                <a:gd name="connsiteY1254" fmla="*/ 743360 h 4884255"/>
                <a:gd name="connsiteX1255" fmla="*/ 2492162 w 4088480"/>
                <a:gd name="connsiteY1255" fmla="*/ 752890 h 4884255"/>
                <a:gd name="connsiteX1256" fmla="*/ 2492162 w 4088480"/>
                <a:gd name="connsiteY1256" fmla="*/ 748125 h 4884255"/>
                <a:gd name="connsiteX1257" fmla="*/ 2477866 w 4088480"/>
                <a:gd name="connsiteY1257" fmla="*/ 729065 h 4884255"/>
                <a:gd name="connsiteX1258" fmla="*/ 2463572 w 4088480"/>
                <a:gd name="connsiteY1258" fmla="*/ 705239 h 4884255"/>
                <a:gd name="connsiteX1259" fmla="*/ 2458806 w 4088480"/>
                <a:gd name="connsiteY1259" fmla="*/ 676648 h 4884255"/>
                <a:gd name="connsiteX1260" fmla="*/ 2463572 w 4088480"/>
                <a:gd name="connsiteY1260" fmla="*/ 605171 h 4884255"/>
                <a:gd name="connsiteX1261" fmla="*/ 2473102 w 4088480"/>
                <a:gd name="connsiteY1261" fmla="*/ 576581 h 4884255"/>
                <a:gd name="connsiteX1262" fmla="*/ 2506458 w 4088480"/>
                <a:gd name="connsiteY1262" fmla="*/ 581346 h 4884255"/>
                <a:gd name="connsiteX1263" fmla="*/ 2530284 w 4088480"/>
                <a:gd name="connsiteY1263" fmla="*/ 576581 h 4884255"/>
                <a:gd name="connsiteX1264" fmla="*/ 2535048 w 4088480"/>
                <a:gd name="connsiteY1264" fmla="*/ 590876 h 4884255"/>
                <a:gd name="connsiteX1265" fmla="*/ 2558874 w 4088480"/>
                <a:gd name="connsiteY1265" fmla="*/ 590876 h 4884255"/>
                <a:gd name="connsiteX1266" fmla="*/ 2573170 w 4088480"/>
                <a:gd name="connsiteY1266" fmla="*/ 538460 h 4884255"/>
                <a:gd name="connsiteX1267" fmla="*/ 2601760 w 4088480"/>
                <a:gd name="connsiteY1267" fmla="*/ 533694 h 4884255"/>
                <a:gd name="connsiteX1268" fmla="*/ 2625586 w 4088480"/>
                <a:gd name="connsiteY1268" fmla="*/ 567050 h 4884255"/>
                <a:gd name="connsiteX1269" fmla="*/ 2654176 w 4088480"/>
                <a:gd name="connsiteY1269" fmla="*/ 590876 h 4884255"/>
                <a:gd name="connsiteX1270" fmla="*/ 2678002 w 4088480"/>
                <a:gd name="connsiteY1270" fmla="*/ 624232 h 4884255"/>
                <a:gd name="connsiteX1271" fmla="*/ 2682768 w 4088480"/>
                <a:gd name="connsiteY1271" fmla="*/ 614702 h 4884255"/>
                <a:gd name="connsiteX1272" fmla="*/ 2673236 w 4088480"/>
                <a:gd name="connsiteY1272" fmla="*/ 538460 h 4884255"/>
                <a:gd name="connsiteX1273" fmla="*/ 2658942 w 4088480"/>
                <a:gd name="connsiteY1273" fmla="*/ 509869 h 4884255"/>
                <a:gd name="connsiteX1274" fmla="*/ 2625586 w 4088480"/>
                <a:gd name="connsiteY1274" fmla="*/ 495573 h 4884255"/>
                <a:gd name="connsiteX1275" fmla="*/ 2596996 w 4088480"/>
                <a:gd name="connsiteY1275" fmla="*/ 457452 h 4884255"/>
                <a:gd name="connsiteX1276" fmla="*/ 2587464 w 4088480"/>
                <a:gd name="connsiteY1276" fmla="*/ 443157 h 4884255"/>
                <a:gd name="connsiteX1277" fmla="*/ 2587464 w 4088480"/>
                <a:gd name="connsiteY1277" fmla="*/ 428862 h 4884255"/>
                <a:gd name="connsiteX1278" fmla="*/ 2616056 w 4088480"/>
                <a:gd name="connsiteY1278" fmla="*/ 419331 h 4884255"/>
                <a:gd name="connsiteX1279" fmla="*/ 2654176 w 4088480"/>
                <a:gd name="connsiteY1279" fmla="*/ 433627 h 4884255"/>
                <a:gd name="connsiteX1280" fmla="*/ 2687532 w 4088480"/>
                <a:gd name="connsiteY1280" fmla="*/ 405036 h 4884255"/>
                <a:gd name="connsiteX1281" fmla="*/ 2697062 w 4088480"/>
                <a:gd name="connsiteY1281" fmla="*/ 409801 h 4884255"/>
                <a:gd name="connsiteX1282" fmla="*/ 2720888 w 4088480"/>
                <a:gd name="connsiteY1282" fmla="*/ 395506 h 4884255"/>
                <a:gd name="connsiteX1283" fmla="*/ 2739948 w 4088480"/>
                <a:gd name="connsiteY1283" fmla="*/ 419331 h 4884255"/>
                <a:gd name="connsiteX1284" fmla="*/ 2749480 w 4088480"/>
                <a:gd name="connsiteY1284" fmla="*/ 409801 h 4884255"/>
                <a:gd name="connsiteX1285" fmla="*/ 2754244 w 4088480"/>
                <a:gd name="connsiteY1285" fmla="*/ 381210 h 4884255"/>
                <a:gd name="connsiteX1286" fmla="*/ 2797130 w 4088480"/>
                <a:gd name="connsiteY1286" fmla="*/ 366915 h 4884255"/>
                <a:gd name="connsiteX1287" fmla="*/ 2820956 w 4088480"/>
                <a:gd name="connsiteY1287" fmla="*/ 381210 h 4884255"/>
                <a:gd name="connsiteX1288" fmla="*/ 2835252 w 4088480"/>
                <a:gd name="connsiteY1288" fmla="*/ 400271 h 4884255"/>
                <a:gd name="connsiteX1289" fmla="*/ 2840016 w 4088480"/>
                <a:gd name="connsiteY1289" fmla="*/ 428862 h 4884255"/>
                <a:gd name="connsiteX1290" fmla="*/ 2849546 w 4088480"/>
                <a:gd name="connsiteY1290" fmla="*/ 490808 h 4884255"/>
                <a:gd name="connsiteX1291" fmla="*/ 2873372 w 4088480"/>
                <a:gd name="connsiteY1291" fmla="*/ 524164 h 4884255"/>
                <a:gd name="connsiteX1292" fmla="*/ 2882902 w 4088480"/>
                <a:gd name="connsiteY1292" fmla="*/ 543225 h 4884255"/>
                <a:gd name="connsiteX1293" fmla="*/ 2897198 w 4088480"/>
                <a:gd name="connsiteY1293" fmla="*/ 547990 h 4884255"/>
                <a:gd name="connsiteX1294" fmla="*/ 2906728 w 4088480"/>
                <a:gd name="connsiteY1294" fmla="*/ 528929 h 4884255"/>
                <a:gd name="connsiteX1295" fmla="*/ 2892432 w 4088480"/>
                <a:gd name="connsiteY1295" fmla="*/ 509869 h 4884255"/>
                <a:gd name="connsiteX1296" fmla="*/ 2887668 w 4088480"/>
                <a:gd name="connsiteY1296" fmla="*/ 490808 h 4884255"/>
                <a:gd name="connsiteX1297" fmla="*/ 2897198 w 4088480"/>
                <a:gd name="connsiteY1297" fmla="*/ 443157 h 4884255"/>
                <a:gd name="connsiteX1298" fmla="*/ 2901964 w 4088480"/>
                <a:gd name="connsiteY1298" fmla="*/ 424097 h 4884255"/>
                <a:gd name="connsiteX1299" fmla="*/ 2949614 w 4088480"/>
                <a:gd name="connsiteY1299" fmla="*/ 352620 h 4884255"/>
                <a:gd name="connsiteX1300" fmla="*/ 2982970 w 4088480"/>
                <a:gd name="connsiteY1300" fmla="*/ 319264 h 4884255"/>
                <a:gd name="connsiteX1301" fmla="*/ 3006796 w 4088480"/>
                <a:gd name="connsiteY1301" fmla="*/ 314499 h 4884255"/>
                <a:gd name="connsiteX1302" fmla="*/ 3044916 w 4088480"/>
                <a:gd name="connsiteY1302" fmla="*/ 233491 h 4884255"/>
                <a:gd name="connsiteX1303" fmla="*/ 3054448 w 4088480"/>
                <a:gd name="connsiteY1303" fmla="*/ 214431 h 4884255"/>
                <a:gd name="connsiteX1304" fmla="*/ 3068742 w 4088480"/>
                <a:gd name="connsiteY1304" fmla="*/ 214431 h 4884255"/>
                <a:gd name="connsiteX1305" fmla="*/ 3063978 w 4088480"/>
                <a:gd name="connsiteY1305" fmla="*/ 190605 h 4884255"/>
                <a:gd name="connsiteX1306" fmla="*/ 3044916 w 4088480"/>
                <a:gd name="connsiteY1306" fmla="*/ 181075 h 4884255"/>
                <a:gd name="connsiteX1307" fmla="*/ 3040152 w 4088480"/>
                <a:gd name="connsiteY1307" fmla="*/ 152484 h 4884255"/>
                <a:gd name="connsiteX1308" fmla="*/ 3068742 w 4088480"/>
                <a:gd name="connsiteY1308" fmla="*/ 123894 h 4884255"/>
                <a:gd name="connsiteX1309" fmla="*/ 3102098 w 4088480"/>
                <a:gd name="connsiteY1309" fmla="*/ 71477 h 4884255"/>
                <a:gd name="connsiteX1310" fmla="*/ 3121160 w 4088480"/>
                <a:gd name="connsiteY1310" fmla="*/ 66712 h 4884255"/>
                <a:gd name="connsiteX1311" fmla="*/ 3130690 w 4088480"/>
                <a:gd name="connsiteY1311" fmla="*/ 81007 h 4884255"/>
                <a:gd name="connsiteX1312" fmla="*/ 3164046 w 4088480"/>
                <a:gd name="connsiteY1312" fmla="*/ 104833 h 4884255"/>
                <a:gd name="connsiteX1313" fmla="*/ 3183106 w 4088480"/>
                <a:gd name="connsiteY1313" fmla="*/ 133424 h 4884255"/>
                <a:gd name="connsiteX1314" fmla="*/ 3197402 w 4088480"/>
                <a:gd name="connsiteY1314" fmla="*/ 147719 h 4884255"/>
                <a:gd name="connsiteX1315" fmla="*/ 3206932 w 4088480"/>
                <a:gd name="connsiteY1315" fmla="*/ 142954 h 4884255"/>
                <a:gd name="connsiteX1316" fmla="*/ 3216462 w 4088480"/>
                <a:gd name="connsiteY1316" fmla="*/ 123894 h 4884255"/>
                <a:gd name="connsiteX1317" fmla="*/ 3225992 w 4088480"/>
                <a:gd name="connsiteY1317" fmla="*/ 114363 h 4884255"/>
                <a:gd name="connsiteX1318" fmla="*/ 3245052 w 4088480"/>
                <a:gd name="connsiteY1318" fmla="*/ 119128 h 4884255"/>
                <a:gd name="connsiteX1319" fmla="*/ 3259348 w 4088480"/>
                <a:gd name="connsiteY1319" fmla="*/ 133424 h 4884255"/>
                <a:gd name="connsiteX1320" fmla="*/ 3268878 w 4088480"/>
                <a:gd name="connsiteY1320" fmla="*/ 133424 h 4884255"/>
                <a:gd name="connsiteX1321" fmla="*/ 3278408 w 4088480"/>
                <a:gd name="connsiteY1321" fmla="*/ 142954 h 4884255"/>
                <a:gd name="connsiteX1322" fmla="*/ 3278408 w 4088480"/>
                <a:gd name="connsiteY1322" fmla="*/ 157249 h 4884255"/>
                <a:gd name="connsiteX1323" fmla="*/ 3259348 w 4088480"/>
                <a:gd name="connsiteY1323" fmla="*/ 176310 h 4884255"/>
                <a:gd name="connsiteX1324" fmla="*/ 3230756 w 4088480"/>
                <a:gd name="connsiteY1324" fmla="*/ 228726 h 4884255"/>
                <a:gd name="connsiteX1325" fmla="*/ 3202166 w 4088480"/>
                <a:gd name="connsiteY1325" fmla="*/ 281143 h 4884255"/>
                <a:gd name="connsiteX1326" fmla="*/ 3187872 w 4088480"/>
                <a:gd name="connsiteY1326" fmla="*/ 314499 h 4884255"/>
                <a:gd name="connsiteX1327" fmla="*/ 3178340 w 4088480"/>
                <a:gd name="connsiteY1327" fmla="*/ 390741 h 4884255"/>
                <a:gd name="connsiteX1328" fmla="*/ 3154516 w 4088480"/>
                <a:gd name="connsiteY1328" fmla="*/ 438392 h 4884255"/>
                <a:gd name="connsiteX1329" fmla="*/ 3154516 w 4088480"/>
                <a:gd name="connsiteY1329" fmla="*/ 471748 h 4884255"/>
                <a:gd name="connsiteX1330" fmla="*/ 3164046 w 4088480"/>
                <a:gd name="connsiteY1330" fmla="*/ 490808 h 4884255"/>
                <a:gd name="connsiteX1331" fmla="*/ 3187872 w 4088480"/>
                <a:gd name="connsiteY1331" fmla="*/ 476513 h 4884255"/>
                <a:gd name="connsiteX1332" fmla="*/ 3221226 w 4088480"/>
                <a:gd name="connsiteY1332" fmla="*/ 428862 h 4884255"/>
                <a:gd name="connsiteX1333" fmla="*/ 3230756 w 4088480"/>
                <a:gd name="connsiteY1333" fmla="*/ 381210 h 4884255"/>
                <a:gd name="connsiteX1334" fmla="*/ 3311764 w 4088480"/>
                <a:gd name="connsiteY1334" fmla="*/ 247787 h 4884255"/>
                <a:gd name="connsiteX1335" fmla="*/ 3349886 w 4088480"/>
                <a:gd name="connsiteY1335" fmla="*/ 176310 h 4884255"/>
                <a:gd name="connsiteX1336" fmla="*/ 3392772 w 4088480"/>
                <a:gd name="connsiteY1336" fmla="*/ 114363 h 4884255"/>
                <a:gd name="connsiteX1337" fmla="*/ 3416596 w 4088480"/>
                <a:gd name="connsiteY1337" fmla="*/ 100068 h 4884255"/>
                <a:gd name="connsiteX1338" fmla="*/ 3426128 w 4088480"/>
                <a:gd name="connsiteY1338" fmla="*/ 142954 h 4884255"/>
                <a:gd name="connsiteX1339" fmla="*/ 3416596 w 4088480"/>
                <a:gd name="connsiteY1339" fmla="*/ 195370 h 4884255"/>
                <a:gd name="connsiteX1340" fmla="*/ 3402302 w 4088480"/>
                <a:gd name="connsiteY1340" fmla="*/ 228726 h 4884255"/>
                <a:gd name="connsiteX1341" fmla="*/ 3411832 w 4088480"/>
                <a:gd name="connsiteY1341" fmla="*/ 243022 h 4884255"/>
                <a:gd name="connsiteX1342" fmla="*/ 3411832 w 4088480"/>
                <a:gd name="connsiteY1342" fmla="*/ 285908 h 4884255"/>
                <a:gd name="connsiteX1343" fmla="*/ 3407066 w 4088480"/>
                <a:gd name="connsiteY1343" fmla="*/ 304968 h 4884255"/>
                <a:gd name="connsiteX1344" fmla="*/ 3402302 w 4088480"/>
                <a:gd name="connsiteY1344" fmla="*/ 328794 h 4884255"/>
                <a:gd name="connsiteX1345" fmla="*/ 3402302 w 4088480"/>
                <a:gd name="connsiteY1345" fmla="*/ 347854 h 4884255"/>
                <a:gd name="connsiteX1346" fmla="*/ 3416596 w 4088480"/>
                <a:gd name="connsiteY1346" fmla="*/ 343089 h 4884255"/>
                <a:gd name="connsiteX1347" fmla="*/ 3469014 w 4088480"/>
                <a:gd name="connsiteY1347" fmla="*/ 300203 h 4884255"/>
                <a:gd name="connsiteX1348" fmla="*/ 3478544 w 4088480"/>
                <a:gd name="connsiteY1348" fmla="*/ 257317 h 4884255"/>
                <a:gd name="connsiteX1349" fmla="*/ 3492840 w 4088480"/>
                <a:gd name="connsiteY1349" fmla="*/ 223961 h 4884255"/>
                <a:gd name="connsiteX1350" fmla="*/ 3497604 w 4088480"/>
                <a:gd name="connsiteY1350" fmla="*/ 190605 h 4884255"/>
                <a:gd name="connsiteX1351" fmla="*/ 3516664 w 4088480"/>
                <a:gd name="connsiteY1351" fmla="*/ 166780 h 4884255"/>
                <a:gd name="connsiteX1352" fmla="*/ 3554786 w 4088480"/>
                <a:gd name="connsiteY1352" fmla="*/ 162015 h 4884255"/>
                <a:gd name="connsiteX1353" fmla="*/ 3554786 w 4088480"/>
                <a:gd name="connsiteY1353" fmla="*/ 152484 h 4884255"/>
                <a:gd name="connsiteX1354" fmla="*/ 3511900 w 4088480"/>
                <a:gd name="connsiteY1354" fmla="*/ 114363 h 4884255"/>
                <a:gd name="connsiteX1355" fmla="*/ 3507134 w 4088480"/>
                <a:gd name="connsiteY1355" fmla="*/ 95303 h 4884255"/>
                <a:gd name="connsiteX1356" fmla="*/ 3521430 w 4088480"/>
                <a:gd name="connsiteY1356" fmla="*/ 71477 h 4884255"/>
                <a:gd name="connsiteX1357" fmla="*/ 3249816 w 4088480"/>
                <a:gd name="connsiteY1357" fmla="*/ 0 h 4884255"/>
                <a:gd name="connsiteX1358" fmla="*/ 3287938 w 4088480"/>
                <a:gd name="connsiteY1358" fmla="*/ 19060 h 4884255"/>
                <a:gd name="connsiteX1359" fmla="*/ 3302234 w 4088480"/>
                <a:gd name="connsiteY1359" fmla="*/ 19060 h 4884255"/>
                <a:gd name="connsiteX1360" fmla="*/ 3326058 w 4088480"/>
                <a:gd name="connsiteY1360" fmla="*/ 52416 h 4884255"/>
                <a:gd name="connsiteX1361" fmla="*/ 3335588 w 4088480"/>
                <a:gd name="connsiteY1361" fmla="*/ 52416 h 4884255"/>
                <a:gd name="connsiteX1362" fmla="*/ 3335588 w 4088480"/>
                <a:gd name="connsiteY1362" fmla="*/ 71477 h 4884255"/>
                <a:gd name="connsiteX1363" fmla="*/ 3311764 w 4088480"/>
                <a:gd name="connsiteY1363" fmla="*/ 81007 h 4884255"/>
                <a:gd name="connsiteX1364" fmla="*/ 3278408 w 4088480"/>
                <a:gd name="connsiteY1364" fmla="*/ 90537 h 4884255"/>
                <a:gd name="connsiteX1365" fmla="*/ 3273642 w 4088480"/>
                <a:gd name="connsiteY1365" fmla="*/ 90537 h 4884255"/>
                <a:gd name="connsiteX1366" fmla="*/ 3249816 w 4088480"/>
                <a:gd name="connsiteY1366" fmla="*/ 90537 h 4884255"/>
                <a:gd name="connsiteX1367" fmla="*/ 3230756 w 4088480"/>
                <a:gd name="connsiteY1367" fmla="*/ 61946 h 4884255"/>
                <a:gd name="connsiteX1368" fmla="*/ 3206932 w 4088480"/>
                <a:gd name="connsiteY1368" fmla="*/ 52416 h 4884255"/>
                <a:gd name="connsiteX1369" fmla="*/ 3206932 w 4088480"/>
                <a:gd name="connsiteY1369" fmla="*/ 47651 h 4884255"/>
                <a:gd name="connsiteX1370" fmla="*/ 3221226 w 4088480"/>
                <a:gd name="connsiteY1370" fmla="*/ 23826 h 4884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</a:cxnLst>
              <a:rect l="l" t="t" r="r" b="b"/>
              <a:pathLst>
                <a:path w="4088480" h="4884255">
                  <a:moveTo>
                    <a:pt x="28592" y="4140896"/>
                  </a:moveTo>
                  <a:lnTo>
                    <a:pt x="33356" y="4140896"/>
                  </a:lnTo>
                  <a:lnTo>
                    <a:pt x="42886" y="4159956"/>
                  </a:lnTo>
                  <a:lnTo>
                    <a:pt x="47652" y="4188547"/>
                  </a:lnTo>
                  <a:lnTo>
                    <a:pt x="47652" y="4221903"/>
                  </a:lnTo>
                  <a:lnTo>
                    <a:pt x="33356" y="4221903"/>
                  </a:lnTo>
                  <a:lnTo>
                    <a:pt x="28592" y="4207608"/>
                  </a:lnTo>
                  <a:lnTo>
                    <a:pt x="23826" y="4198077"/>
                  </a:lnTo>
                  <a:lnTo>
                    <a:pt x="23826" y="4174252"/>
                  </a:lnTo>
                  <a:lnTo>
                    <a:pt x="23826" y="4155191"/>
                  </a:lnTo>
                  <a:close/>
                  <a:moveTo>
                    <a:pt x="9530" y="3902639"/>
                  </a:moveTo>
                  <a:lnTo>
                    <a:pt x="19060" y="3902639"/>
                  </a:lnTo>
                  <a:lnTo>
                    <a:pt x="28592" y="3916934"/>
                  </a:lnTo>
                  <a:lnTo>
                    <a:pt x="28592" y="3940760"/>
                  </a:lnTo>
                  <a:lnTo>
                    <a:pt x="14296" y="3945525"/>
                  </a:lnTo>
                  <a:lnTo>
                    <a:pt x="0" y="3940760"/>
                  </a:lnTo>
                  <a:lnTo>
                    <a:pt x="4766" y="3907404"/>
                  </a:lnTo>
                  <a:close/>
                  <a:moveTo>
                    <a:pt x="514634" y="3135454"/>
                  </a:moveTo>
                  <a:lnTo>
                    <a:pt x="524164" y="3149749"/>
                  </a:lnTo>
                  <a:lnTo>
                    <a:pt x="524164" y="3173575"/>
                  </a:lnTo>
                  <a:lnTo>
                    <a:pt x="519398" y="3183105"/>
                  </a:lnTo>
                  <a:lnTo>
                    <a:pt x="500338" y="3183105"/>
                  </a:lnTo>
                  <a:lnTo>
                    <a:pt x="486044" y="3178340"/>
                  </a:lnTo>
                  <a:lnTo>
                    <a:pt x="471748" y="3168810"/>
                  </a:lnTo>
                  <a:lnTo>
                    <a:pt x="471748" y="3159279"/>
                  </a:lnTo>
                  <a:lnTo>
                    <a:pt x="490808" y="3144984"/>
                  </a:lnTo>
                  <a:close/>
                  <a:moveTo>
                    <a:pt x="614702" y="3021091"/>
                  </a:moveTo>
                  <a:lnTo>
                    <a:pt x="619466" y="3021091"/>
                  </a:lnTo>
                  <a:lnTo>
                    <a:pt x="628996" y="3030621"/>
                  </a:lnTo>
                  <a:lnTo>
                    <a:pt x="628996" y="3049682"/>
                  </a:lnTo>
                  <a:lnTo>
                    <a:pt x="624232" y="3054447"/>
                  </a:lnTo>
                  <a:lnTo>
                    <a:pt x="576580" y="3068742"/>
                  </a:lnTo>
                  <a:lnTo>
                    <a:pt x="557520" y="3068742"/>
                  </a:lnTo>
                  <a:lnTo>
                    <a:pt x="547990" y="3059212"/>
                  </a:lnTo>
                  <a:lnTo>
                    <a:pt x="571816" y="3044917"/>
                  </a:lnTo>
                  <a:lnTo>
                    <a:pt x="609936" y="3030621"/>
                  </a:lnTo>
                  <a:close/>
                  <a:moveTo>
                    <a:pt x="972086" y="2596995"/>
                  </a:moveTo>
                  <a:lnTo>
                    <a:pt x="991146" y="2596995"/>
                  </a:lnTo>
                  <a:lnTo>
                    <a:pt x="1010208" y="2620821"/>
                  </a:lnTo>
                  <a:lnTo>
                    <a:pt x="1005442" y="2635116"/>
                  </a:lnTo>
                  <a:lnTo>
                    <a:pt x="995912" y="2644646"/>
                  </a:lnTo>
                  <a:lnTo>
                    <a:pt x="981616" y="2639881"/>
                  </a:lnTo>
                  <a:lnTo>
                    <a:pt x="943496" y="2644646"/>
                  </a:lnTo>
                  <a:lnTo>
                    <a:pt x="929200" y="2635116"/>
                  </a:lnTo>
                  <a:lnTo>
                    <a:pt x="938730" y="2616055"/>
                  </a:lnTo>
                  <a:close/>
                  <a:moveTo>
                    <a:pt x="1105510" y="2325382"/>
                  </a:moveTo>
                  <a:lnTo>
                    <a:pt x="1124570" y="2325382"/>
                  </a:lnTo>
                  <a:lnTo>
                    <a:pt x="1129336" y="2334912"/>
                  </a:lnTo>
                  <a:lnTo>
                    <a:pt x="1119804" y="2353973"/>
                  </a:lnTo>
                  <a:lnTo>
                    <a:pt x="1110274" y="2363503"/>
                  </a:lnTo>
                  <a:lnTo>
                    <a:pt x="1091214" y="2363503"/>
                  </a:lnTo>
                  <a:lnTo>
                    <a:pt x="1091214" y="2353973"/>
                  </a:lnTo>
                  <a:lnTo>
                    <a:pt x="1095980" y="2330147"/>
                  </a:lnTo>
                  <a:close/>
                  <a:moveTo>
                    <a:pt x="1224638" y="2206254"/>
                  </a:moveTo>
                  <a:lnTo>
                    <a:pt x="1243698" y="2206254"/>
                  </a:lnTo>
                  <a:lnTo>
                    <a:pt x="1248464" y="2215784"/>
                  </a:lnTo>
                  <a:lnTo>
                    <a:pt x="1238934" y="2225314"/>
                  </a:lnTo>
                  <a:lnTo>
                    <a:pt x="1205578" y="2249140"/>
                  </a:lnTo>
                  <a:lnTo>
                    <a:pt x="1191282" y="2249140"/>
                  </a:lnTo>
                  <a:lnTo>
                    <a:pt x="1191282" y="2234845"/>
                  </a:lnTo>
                  <a:lnTo>
                    <a:pt x="1200812" y="2220549"/>
                  </a:lnTo>
                  <a:lnTo>
                    <a:pt x="1210342" y="2211019"/>
                  </a:lnTo>
                  <a:close/>
                  <a:moveTo>
                    <a:pt x="1210342" y="2130012"/>
                  </a:moveTo>
                  <a:lnTo>
                    <a:pt x="1224638" y="2144307"/>
                  </a:lnTo>
                  <a:lnTo>
                    <a:pt x="1224638" y="2163368"/>
                  </a:lnTo>
                  <a:lnTo>
                    <a:pt x="1215108" y="2182429"/>
                  </a:lnTo>
                  <a:lnTo>
                    <a:pt x="1191282" y="2196724"/>
                  </a:lnTo>
                  <a:lnTo>
                    <a:pt x="1176988" y="2196724"/>
                  </a:lnTo>
                  <a:lnTo>
                    <a:pt x="1181752" y="2182429"/>
                  </a:lnTo>
                  <a:lnTo>
                    <a:pt x="1191282" y="2163368"/>
                  </a:lnTo>
                  <a:lnTo>
                    <a:pt x="1196048" y="2153838"/>
                  </a:lnTo>
                  <a:lnTo>
                    <a:pt x="1200812" y="2139542"/>
                  </a:lnTo>
                  <a:close/>
                  <a:moveTo>
                    <a:pt x="1291350" y="1381887"/>
                  </a:moveTo>
                  <a:lnTo>
                    <a:pt x="1300880" y="1391417"/>
                  </a:lnTo>
                  <a:lnTo>
                    <a:pt x="1296114" y="1410478"/>
                  </a:lnTo>
                  <a:lnTo>
                    <a:pt x="1296114" y="1429538"/>
                  </a:lnTo>
                  <a:lnTo>
                    <a:pt x="1296114" y="1439069"/>
                  </a:lnTo>
                  <a:lnTo>
                    <a:pt x="1277054" y="1462894"/>
                  </a:lnTo>
                  <a:lnTo>
                    <a:pt x="1253228" y="1486720"/>
                  </a:lnTo>
                  <a:lnTo>
                    <a:pt x="1262760" y="1443834"/>
                  </a:lnTo>
                  <a:lnTo>
                    <a:pt x="1277054" y="1405713"/>
                  </a:lnTo>
                  <a:close/>
                  <a:moveTo>
                    <a:pt x="1391418" y="1296115"/>
                  </a:moveTo>
                  <a:lnTo>
                    <a:pt x="1405712" y="1296115"/>
                  </a:lnTo>
                  <a:lnTo>
                    <a:pt x="1420008" y="1300880"/>
                  </a:lnTo>
                  <a:lnTo>
                    <a:pt x="1429538" y="1305645"/>
                  </a:lnTo>
                  <a:lnTo>
                    <a:pt x="1453364" y="1305645"/>
                  </a:lnTo>
                  <a:lnTo>
                    <a:pt x="1458128" y="1305645"/>
                  </a:lnTo>
                  <a:lnTo>
                    <a:pt x="1453364" y="1319941"/>
                  </a:lnTo>
                  <a:lnTo>
                    <a:pt x="1443834" y="1334236"/>
                  </a:lnTo>
                  <a:lnTo>
                    <a:pt x="1420008" y="1339001"/>
                  </a:lnTo>
                  <a:lnTo>
                    <a:pt x="1410478" y="1362827"/>
                  </a:lnTo>
                  <a:lnTo>
                    <a:pt x="1405712" y="1367592"/>
                  </a:lnTo>
                  <a:lnTo>
                    <a:pt x="1386652" y="1367592"/>
                  </a:lnTo>
                  <a:lnTo>
                    <a:pt x="1372356" y="1372357"/>
                  </a:lnTo>
                  <a:lnTo>
                    <a:pt x="1358062" y="1391417"/>
                  </a:lnTo>
                  <a:lnTo>
                    <a:pt x="1348530" y="1377122"/>
                  </a:lnTo>
                  <a:lnTo>
                    <a:pt x="1343766" y="1386652"/>
                  </a:lnTo>
                  <a:lnTo>
                    <a:pt x="1343766" y="1400948"/>
                  </a:lnTo>
                  <a:lnTo>
                    <a:pt x="1339000" y="1405713"/>
                  </a:lnTo>
                  <a:lnTo>
                    <a:pt x="1319940" y="1410478"/>
                  </a:lnTo>
                  <a:lnTo>
                    <a:pt x="1315176" y="1372357"/>
                  </a:lnTo>
                  <a:lnTo>
                    <a:pt x="1324706" y="1362827"/>
                  </a:lnTo>
                  <a:lnTo>
                    <a:pt x="1329470" y="1343766"/>
                  </a:lnTo>
                  <a:lnTo>
                    <a:pt x="1339000" y="1339001"/>
                  </a:lnTo>
                  <a:lnTo>
                    <a:pt x="1348530" y="1343766"/>
                  </a:lnTo>
                  <a:lnTo>
                    <a:pt x="1367592" y="1305645"/>
                  </a:lnTo>
                  <a:close/>
                  <a:moveTo>
                    <a:pt x="1610612" y="981617"/>
                  </a:moveTo>
                  <a:lnTo>
                    <a:pt x="1615378" y="981617"/>
                  </a:lnTo>
                  <a:lnTo>
                    <a:pt x="1620144" y="991147"/>
                  </a:lnTo>
                  <a:lnTo>
                    <a:pt x="1629674" y="1010208"/>
                  </a:lnTo>
                  <a:lnTo>
                    <a:pt x="1648734" y="1053094"/>
                  </a:lnTo>
                  <a:lnTo>
                    <a:pt x="1658264" y="1076920"/>
                  </a:lnTo>
                  <a:lnTo>
                    <a:pt x="1648734" y="1124571"/>
                  </a:lnTo>
                  <a:lnTo>
                    <a:pt x="1629674" y="1148397"/>
                  </a:lnTo>
                  <a:lnTo>
                    <a:pt x="1601082" y="1153162"/>
                  </a:lnTo>
                  <a:lnTo>
                    <a:pt x="1577256" y="1153162"/>
                  </a:lnTo>
                  <a:lnTo>
                    <a:pt x="1562962" y="1138867"/>
                  </a:lnTo>
                  <a:lnTo>
                    <a:pt x="1562962" y="1129336"/>
                  </a:lnTo>
                  <a:lnTo>
                    <a:pt x="1553432" y="1124571"/>
                  </a:lnTo>
                  <a:lnTo>
                    <a:pt x="1534370" y="1138867"/>
                  </a:lnTo>
                  <a:lnTo>
                    <a:pt x="1520076" y="1143632"/>
                  </a:lnTo>
                  <a:lnTo>
                    <a:pt x="1501016" y="1129336"/>
                  </a:lnTo>
                  <a:lnTo>
                    <a:pt x="1496250" y="1110276"/>
                  </a:lnTo>
                  <a:lnTo>
                    <a:pt x="1515310" y="1081685"/>
                  </a:lnTo>
                  <a:lnTo>
                    <a:pt x="1524840" y="1062624"/>
                  </a:lnTo>
                  <a:lnTo>
                    <a:pt x="1548666" y="1067389"/>
                  </a:lnTo>
                  <a:lnTo>
                    <a:pt x="1553432" y="1072155"/>
                  </a:lnTo>
                  <a:lnTo>
                    <a:pt x="1562962" y="1076920"/>
                  </a:lnTo>
                  <a:lnTo>
                    <a:pt x="1572492" y="1053094"/>
                  </a:lnTo>
                  <a:lnTo>
                    <a:pt x="1567726" y="1034034"/>
                  </a:lnTo>
                  <a:lnTo>
                    <a:pt x="1577256" y="1019738"/>
                  </a:lnTo>
                  <a:lnTo>
                    <a:pt x="1601082" y="1029268"/>
                  </a:lnTo>
                  <a:lnTo>
                    <a:pt x="1601082" y="986382"/>
                  </a:lnTo>
                  <a:close/>
                  <a:moveTo>
                    <a:pt x="1744038" y="852958"/>
                  </a:moveTo>
                  <a:lnTo>
                    <a:pt x="1758332" y="852958"/>
                  </a:lnTo>
                  <a:lnTo>
                    <a:pt x="1772628" y="862488"/>
                  </a:lnTo>
                  <a:lnTo>
                    <a:pt x="1767864" y="891079"/>
                  </a:lnTo>
                  <a:lnTo>
                    <a:pt x="1748802" y="933965"/>
                  </a:lnTo>
                  <a:lnTo>
                    <a:pt x="1720212" y="972086"/>
                  </a:lnTo>
                  <a:lnTo>
                    <a:pt x="1724976" y="1000677"/>
                  </a:lnTo>
                  <a:lnTo>
                    <a:pt x="1734508" y="1024503"/>
                  </a:lnTo>
                  <a:lnTo>
                    <a:pt x="1739272" y="1062624"/>
                  </a:lnTo>
                  <a:lnTo>
                    <a:pt x="1739272" y="1100745"/>
                  </a:lnTo>
                  <a:lnTo>
                    <a:pt x="1720212" y="1148396"/>
                  </a:lnTo>
                  <a:lnTo>
                    <a:pt x="1715446" y="1172222"/>
                  </a:lnTo>
                  <a:lnTo>
                    <a:pt x="1715446" y="1176987"/>
                  </a:lnTo>
                  <a:lnTo>
                    <a:pt x="1739272" y="1134101"/>
                  </a:lnTo>
                  <a:lnTo>
                    <a:pt x="1758332" y="1124570"/>
                  </a:lnTo>
                  <a:lnTo>
                    <a:pt x="1763098" y="1110275"/>
                  </a:lnTo>
                  <a:lnTo>
                    <a:pt x="1772628" y="1095980"/>
                  </a:lnTo>
                  <a:lnTo>
                    <a:pt x="1772628" y="1072154"/>
                  </a:lnTo>
                  <a:lnTo>
                    <a:pt x="1772628" y="1053093"/>
                  </a:lnTo>
                  <a:lnTo>
                    <a:pt x="1786924" y="1048328"/>
                  </a:lnTo>
                  <a:lnTo>
                    <a:pt x="1796454" y="1043563"/>
                  </a:lnTo>
                  <a:lnTo>
                    <a:pt x="1801220" y="1038798"/>
                  </a:lnTo>
                  <a:lnTo>
                    <a:pt x="1815514" y="1053093"/>
                  </a:lnTo>
                  <a:lnTo>
                    <a:pt x="1825044" y="1072154"/>
                  </a:lnTo>
                  <a:lnTo>
                    <a:pt x="1834576" y="1105510"/>
                  </a:lnTo>
                  <a:lnTo>
                    <a:pt x="1834576" y="1143631"/>
                  </a:lnTo>
                  <a:lnTo>
                    <a:pt x="1805984" y="1172222"/>
                  </a:lnTo>
                  <a:lnTo>
                    <a:pt x="1782158" y="1181752"/>
                  </a:lnTo>
                  <a:lnTo>
                    <a:pt x="1758332" y="1215108"/>
                  </a:lnTo>
                  <a:lnTo>
                    <a:pt x="1748802" y="1243699"/>
                  </a:lnTo>
                  <a:lnTo>
                    <a:pt x="1739272" y="1248464"/>
                  </a:lnTo>
                  <a:lnTo>
                    <a:pt x="1729742" y="1243699"/>
                  </a:lnTo>
                  <a:lnTo>
                    <a:pt x="1724976" y="1238933"/>
                  </a:lnTo>
                  <a:lnTo>
                    <a:pt x="1715446" y="1238933"/>
                  </a:lnTo>
                  <a:lnTo>
                    <a:pt x="1701152" y="1262759"/>
                  </a:lnTo>
                  <a:lnTo>
                    <a:pt x="1663030" y="1281820"/>
                  </a:lnTo>
                  <a:lnTo>
                    <a:pt x="1648734" y="1272289"/>
                  </a:lnTo>
                  <a:lnTo>
                    <a:pt x="1648734" y="1253229"/>
                  </a:lnTo>
                  <a:lnTo>
                    <a:pt x="1639204" y="1253229"/>
                  </a:lnTo>
                  <a:lnTo>
                    <a:pt x="1624910" y="1281820"/>
                  </a:lnTo>
                  <a:lnTo>
                    <a:pt x="1610614" y="1291350"/>
                  </a:lnTo>
                  <a:lnTo>
                    <a:pt x="1601084" y="1291350"/>
                  </a:lnTo>
                  <a:lnTo>
                    <a:pt x="1582022" y="1281820"/>
                  </a:lnTo>
                  <a:lnTo>
                    <a:pt x="1539136" y="1329471"/>
                  </a:lnTo>
                  <a:lnTo>
                    <a:pt x="1491486" y="1334236"/>
                  </a:lnTo>
                  <a:lnTo>
                    <a:pt x="1477190" y="1329471"/>
                  </a:lnTo>
                  <a:lnTo>
                    <a:pt x="1477190" y="1305645"/>
                  </a:lnTo>
                  <a:lnTo>
                    <a:pt x="1505780" y="1267524"/>
                  </a:lnTo>
                  <a:lnTo>
                    <a:pt x="1529606" y="1243699"/>
                  </a:lnTo>
                  <a:lnTo>
                    <a:pt x="1610614" y="1224638"/>
                  </a:lnTo>
                  <a:lnTo>
                    <a:pt x="1658266" y="1148396"/>
                  </a:lnTo>
                  <a:lnTo>
                    <a:pt x="1672560" y="1067389"/>
                  </a:lnTo>
                  <a:lnTo>
                    <a:pt x="1682090" y="1038798"/>
                  </a:lnTo>
                  <a:lnTo>
                    <a:pt x="1677326" y="1024503"/>
                  </a:lnTo>
                  <a:lnTo>
                    <a:pt x="1663030" y="1019737"/>
                  </a:lnTo>
                  <a:lnTo>
                    <a:pt x="1663030" y="995912"/>
                  </a:lnTo>
                  <a:lnTo>
                    <a:pt x="1672560" y="967321"/>
                  </a:lnTo>
                  <a:lnTo>
                    <a:pt x="1696386" y="929200"/>
                  </a:lnTo>
                  <a:lnTo>
                    <a:pt x="1710682" y="910140"/>
                  </a:lnTo>
                  <a:lnTo>
                    <a:pt x="1734508" y="862488"/>
                  </a:lnTo>
                  <a:close/>
                  <a:moveTo>
                    <a:pt x="1987058" y="719535"/>
                  </a:moveTo>
                  <a:lnTo>
                    <a:pt x="2006118" y="748126"/>
                  </a:lnTo>
                  <a:lnTo>
                    <a:pt x="2010884" y="738596"/>
                  </a:lnTo>
                  <a:lnTo>
                    <a:pt x="2029944" y="733830"/>
                  </a:lnTo>
                  <a:lnTo>
                    <a:pt x="2044240" y="743361"/>
                  </a:lnTo>
                  <a:lnTo>
                    <a:pt x="2053770" y="762421"/>
                  </a:lnTo>
                  <a:lnTo>
                    <a:pt x="2063300" y="762421"/>
                  </a:lnTo>
                  <a:lnTo>
                    <a:pt x="2072830" y="781482"/>
                  </a:lnTo>
                  <a:lnTo>
                    <a:pt x="2077596" y="810072"/>
                  </a:lnTo>
                  <a:lnTo>
                    <a:pt x="2068064" y="829133"/>
                  </a:lnTo>
                  <a:lnTo>
                    <a:pt x="2053770" y="838663"/>
                  </a:lnTo>
                  <a:lnTo>
                    <a:pt x="2049004" y="862489"/>
                  </a:lnTo>
                  <a:lnTo>
                    <a:pt x="2053770" y="895845"/>
                  </a:lnTo>
                  <a:lnTo>
                    <a:pt x="2029944" y="910140"/>
                  </a:lnTo>
                  <a:lnTo>
                    <a:pt x="1996588" y="914905"/>
                  </a:lnTo>
                  <a:lnTo>
                    <a:pt x="1982292" y="900610"/>
                  </a:lnTo>
                  <a:lnTo>
                    <a:pt x="1958468" y="929201"/>
                  </a:lnTo>
                  <a:lnTo>
                    <a:pt x="1934642" y="972087"/>
                  </a:lnTo>
                  <a:lnTo>
                    <a:pt x="1920346" y="976852"/>
                  </a:lnTo>
                  <a:lnTo>
                    <a:pt x="1920346" y="962557"/>
                  </a:lnTo>
                  <a:lnTo>
                    <a:pt x="1901286" y="953026"/>
                  </a:lnTo>
                  <a:lnTo>
                    <a:pt x="1877460" y="953026"/>
                  </a:lnTo>
                  <a:lnTo>
                    <a:pt x="1877460" y="943496"/>
                  </a:lnTo>
                  <a:lnTo>
                    <a:pt x="1882226" y="933966"/>
                  </a:lnTo>
                  <a:lnTo>
                    <a:pt x="1901286" y="924436"/>
                  </a:lnTo>
                  <a:lnTo>
                    <a:pt x="1906050" y="900610"/>
                  </a:lnTo>
                  <a:lnTo>
                    <a:pt x="1901286" y="857724"/>
                  </a:lnTo>
                  <a:lnTo>
                    <a:pt x="1906050" y="838663"/>
                  </a:lnTo>
                  <a:lnTo>
                    <a:pt x="1906050" y="824368"/>
                  </a:lnTo>
                  <a:lnTo>
                    <a:pt x="1920346" y="810072"/>
                  </a:lnTo>
                  <a:lnTo>
                    <a:pt x="1963232" y="814838"/>
                  </a:lnTo>
                  <a:lnTo>
                    <a:pt x="1967998" y="800542"/>
                  </a:lnTo>
                  <a:lnTo>
                    <a:pt x="1967998" y="791012"/>
                  </a:lnTo>
                  <a:lnTo>
                    <a:pt x="1944172" y="771951"/>
                  </a:lnTo>
                  <a:lnTo>
                    <a:pt x="1948936" y="762421"/>
                  </a:lnTo>
                  <a:lnTo>
                    <a:pt x="1963232" y="752891"/>
                  </a:lnTo>
                  <a:lnTo>
                    <a:pt x="1977528" y="752891"/>
                  </a:lnTo>
                  <a:lnTo>
                    <a:pt x="1982292" y="733830"/>
                  </a:lnTo>
                  <a:lnTo>
                    <a:pt x="1982292" y="724300"/>
                  </a:lnTo>
                  <a:close/>
                  <a:moveTo>
                    <a:pt x="3912170" y="581346"/>
                  </a:moveTo>
                  <a:lnTo>
                    <a:pt x="3926464" y="581346"/>
                  </a:lnTo>
                  <a:lnTo>
                    <a:pt x="3935994" y="595641"/>
                  </a:lnTo>
                  <a:lnTo>
                    <a:pt x="3945524" y="614702"/>
                  </a:lnTo>
                  <a:lnTo>
                    <a:pt x="3931230" y="628998"/>
                  </a:lnTo>
                  <a:lnTo>
                    <a:pt x="3902640" y="643293"/>
                  </a:lnTo>
                  <a:lnTo>
                    <a:pt x="3897874" y="633763"/>
                  </a:lnTo>
                  <a:lnTo>
                    <a:pt x="3902640" y="614702"/>
                  </a:lnTo>
                  <a:close/>
                  <a:moveTo>
                    <a:pt x="2477866" y="433627"/>
                  </a:moveTo>
                  <a:lnTo>
                    <a:pt x="2496926" y="438392"/>
                  </a:lnTo>
                  <a:lnTo>
                    <a:pt x="2501692" y="443157"/>
                  </a:lnTo>
                  <a:lnTo>
                    <a:pt x="2496926" y="495574"/>
                  </a:lnTo>
                  <a:lnTo>
                    <a:pt x="2487396" y="509869"/>
                  </a:lnTo>
                  <a:lnTo>
                    <a:pt x="2477866" y="509869"/>
                  </a:lnTo>
                  <a:lnTo>
                    <a:pt x="2468336" y="505104"/>
                  </a:lnTo>
                  <a:lnTo>
                    <a:pt x="2458806" y="500339"/>
                  </a:lnTo>
                  <a:lnTo>
                    <a:pt x="2449276" y="505104"/>
                  </a:lnTo>
                  <a:lnTo>
                    <a:pt x="2439744" y="486043"/>
                  </a:lnTo>
                  <a:lnTo>
                    <a:pt x="2439744" y="466983"/>
                  </a:lnTo>
                  <a:lnTo>
                    <a:pt x="2454040" y="443157"/>
                  </a:lnTo>
                  <a:close/>
                  <a:moveTo>
                    <a:pt x="2239610" y="424097"/>
                  </a:moveTo>
                  <a:lnTo>
                    <a:pt x="2253906" y="424097"/>
                  </a:lnTo>
                  <a:lnTo>
                    <a:pt x="2258670" y="457453"/>
                  </a:lnTo>
                  <a:lnTo>
                    <a:pt x="2258670" y="509869"/>
                  </a:lnTo>
                  <a:lnTo>
                    <a:pt x="2272966" y="533695"/>
                  </a:lnTo>
                  <a:lnTo>
                    <a:pt x="2287262" y="528930"/>
                  </a:lnTo>
                  <a:lnTo>
                    <a:pt x="2287262" y="519400"/>
                  </a:lnTo>
                  <a:lnTo>
                    <a:pt x="2296792" y="514635"/>
                  </a:lnTo>
                  <a:lnTo>
                    <a:pt x="2315852" y="528930"/>
                  </a:lnTo>
                  <a:lnTo>
                    <a:pt x="2311086" y="552756"/>
                  </a:lnTo>
                  <a:lnTo>
                    <a:pt x="2287262" y="581346"/>
                  </a:lnTo>
                  <a:lnTo>
                    <a:pt x="2272966" y="619467"/>
                  </a:lnTo>
                  <a:lnTo>
                    <a:pt x="2249140" y="628998"/>
                  </a:lnTo>
                  <a:lnTo>
                    <a:pt x="2239610" y="624233"/>
                  </a:lnTo>
                  <a:lnTo>
                    <a:pt x="2220550" y="648058"/>
                  </a:lnTo>
                  <a:lnTo>
                    <a:pt x="2206254" y="671884"/>
                  </a:lnTo>
                  <a:lnTo>
                    <a:pt x="2187194" y="700475"/>
                  </a:lnTo>
                  <a:lnTo>
                    <a:pt x="2187194" y="719535"/>
                  </a:lnTo>
                  <a:lnTo>
                    <a:pt x="2187194" y="729065"/>
                  </a:lnTo>
                  <a:lnTo>
                    <a:pt x="2130012" y="738596"/>
                  </a:lnTo>
                  <a:lnTo>
                    <a:pt x="2106186" y="748126"/>
                  </a:lnTo>
                  <a:lnTo>
                    <a:pt x="2082362" y="738596"/>
                  </a:lnTo>
                  <a:lnTo>
                    <a:pt x="2072832" y="719535"/>
                  </a:lnTo>
                  <a:lnTo>
                    <a:pt x="2077596" y="705240"/>
                  </a:lnTo>
                  <a:lnTo>
                    <a:pt x="2101422" y="705240"/>
                  </a:lnTo>
                  <a:lnTo>
                    <a:pt x="2101422" y="686179"/>
                  </a:lnTo>
                  <a:lnTo>
                    <a:pt x="2106186" y="671884"/>
                  </a:lnTo>
                  <a:lnTo>
                    <a:pt x="2110952" y="667119"/>
                  </a:lnTo>
                  <a:lnTo>
                    <a:pt x="2115718" y="643293"/>
                  </a:lnTo>
                  <a:lnTo>
                    <a:pt x="2125248" y="638528"/>
                  </a:lnTo>
                  <a:lnTo>
                    <a:pt x="2144308" y="643293"/>
                  </a:lnTo>
                  <a:lnTo>
                    <a:pt x="2153838" y="624233"/>
                  </a:lnTo>
                  <a:lnTo>
                    <a:pt x="2163368" y="624233"/>
                  </a:lnTo>
                  <a:lnTo>
                    <a:pt x="2168134" y="638528"/>
                  </a:lnTo>
                  <a:lnTo>
                    <a:pt x="2172898" y="619467"/>
                  </a:lnTo>
                  <a:lnTo>
                    <a:pt x="2168134" y="600407"/>
                  </a:lnTo>
                  <a:lnTo>
                    <a:pt x="2172898" y="586111"/>
                  </a:lnTo>
                  <a:lnTo>
                    <a:pt x="2191958" y="557521"/>
                  </a:lnTo>
                  <a:lnTo>
                    <a:pt x="2201490" y="533695"/>
                  </a:lnTo>
                  <a:lnTo>
                    <a:pt x="2215784" y="519400"/>
                  </a:lnTo>
                  <a:lnTo>
                    <a:pt x="2225314" y="519400"/>
                  </a:lnTo>
                  <a:lnTo>
                    <a:pt x="2230080" y="500339"/>
                  </a:lnTo>
                  <a:lnTo>
                    <a:pt x="2225314" y="476513"/>
                  </a:lnTo>
                  <a:lnTo>
                    <a:pt x="2230080" y="462218"/>
                  </a:lnTo>
                  <a:close/>
                  <a:moveTo>
                    <a:pt x="2311088" y="414567"/>
                  </a:moveTo>
                  <a:lnTo>
                    <a:pt x="2325382" y="414567"/>
                  </a:lnTo>
                  <a:lnTo>
                    <a:pt x="2339678" y="438393"/>
                  </a:lnTo>
                  <a:lnTo>
                    <a:pt x="2349208" y="443158"/>
                  </a:lnTo>
                  <a:lnTo>
                    <a:pt x="2353974" y="443158"/>
                  </a:lnTo>
                  <a:lnTo>
                    <a:pt x="2363504" y="447923"/>
                  </a:lnTo>
                  <a:lnTo>
                    <a:pt x="2373034" y="471748"/>
                  </a:lnTo>
                  <a:lnTo>
                    <a:pt x="2387328" y="481278"/>
                  </a:lnTo>
                  <a:lnTo>
                    <a:pt x="2387328" y="490809"/>
                  </a:lnTo>
                  <a:lnTo>
                    <a:pt x="2377798" y="505104"/>
                  </a:lnTo>
                  <a:lnTo>
                    <a:pt x="2358738" y="505104"/>
                  </a:lnTo>
                  <a:lnTo>
                    <a:pt x="2339678" y="505104"/>
                  </a:lnTo>
                  <a:lnTo>
                    <a:pt x="2334912" y="486044"/>
                  </a:lnTo>
                  <a:lnTo>
                    <a:pt x="2330148" y="462218"/>
                  </a:lnTo>
                  <a:lnTo>
                    <a:pt x="2315852" y="438393"/>
                  </a:lnTo>
                  <a:close/>
                  <a:moveTo>
                    <a:pt x="2930554" y="252552"/>
                  </a:moveTo>
                  <a:lnTo>
                    <a:pt x="2935318" y="262082"/>
                  </a:lnTo>
                  <a:lnTo>
                    <a:pt x="2940084" y="285908"/>
                  </a:lnTo>
                  <a:lnTo>
                    <a:pt x="2944848" y="304968"/>
                  </a:lnTo>
                  <a:lnTo>
                    <a:pt x="2944848" y="324029"/>
                  </a:lnTo>
                  <a:lnTo>
                    <a:pt x="2930554" y="347854"/>
                  </a:lnTo>
                  <a:lnTo>
                    <a:pt x="2897198" y="385975"/>
                  </a:lnTo>
                  <a:lnTo>
                    <a:pt x="2897198" y="395506"/>
                  </a:lnTo>
                  <a:lnTo>
                    <a:pt x="2887668" y="400271"/>
                  </a:lnTo>
                  <a:lnTo>
                    <a:pt x="2868608" y="409801"/>
                  </a:lnTo>
                  <a:lnTo>
                    <a:pt x="2859076" y="400271"/>
                  </a:lnTo>
                  <a:lnTo>
                    <a:pt x="2863842" y="371680"/>
                  </a:lnTo>
                  <a:lnTo>
                    <a:pt x="2859076" y="366915"/>
                  </a:lnTo>
                  <a:lnTo>
                    <a:pt x="2844782" y="376445"/>
                  </a:lnTo>
                  <a:lnTo>
                    <a:pt x="2830486" y="362150"/>
                  </a:lnTo>
                  <a:lnTo>
                    <a:pt x="2830486" y="347854"/>
                  </a:lnTo>
                  <a:lnTo>
                    <a:pt x="2835252" y="333559"/>
                  </a:lnTo>
                  <a:lnTo>
                    <a:pt x="2849546" y="314499"/>
                  </a:lnTo>
                  <a:lnTo>
                    <a:pt x="2868608" y="300203"/>
                  </a:lnTo>
                  <a:lnTo>
                    <a:pt x="2882902" y="304968"/>
                  </a:lnTo>
                  <a:close/>
                  <a:moveTo>
                    <a:pt x="2963910" y="190606"/>
                  </a:moveTo>
                  <a:lnTo>
                    <a:pt x="2973440" y="200136"/>
                  </a:lnTo>
                  <a:lnTo>
                    <a:pt x="2978204" y="204901"/>
                  </a:lnTo>
                  <a:lnTo>
                    <a:pt x="2992500" y="214432"/>
                  </a:lnTo>
                  <a:lnTo>
                    <a:pt x="3011560" y="238257"/>
                  </a:lnTo>
                  <a:lnTo>
                    <a:pt x="3002030" y="276378"/>
                  </a:lnTo>
                  <a:lnTo>
                    <a:pt x="2973440" y="295439"/>
                  </a:lnTo>
                  <a:lnTo>
                    <a:pt x="2954380" y="276378"/>
                  </a:lnTo>
                  <a:lnTo>
                    <a:pt x="2949614" y="262083"/>
                  </a:lnTo>
                  <a:lnTo>
                    <a:pt x="2949614" y="223962"/>
                  </a:lnTo>
                  <a:lnTo>
                    <a:pt x="2954380" y="204901"/>
                  </a:lnTo>
                  <a:close/>
                  <a:moveTo>
                    <a:pt x="2906728" y="147719"/>
                  </a:moveTo>
                  <a:lnTo>
                    <a:pt x="2911492" y="157249"/>
                  </a:lnTo>
                  <a:lnTo>
                    <a:pt x="2911492" y="171545"/>
                  </a:lnTo>
                  <a:lnTo>
                    <a:pt x="2906728" y="185840"/>
                  </a:lnTo>
                  <a:lnTo>
                    <a:pt x="2892432" y="204900"/>
                  </a:lnTo>
                  <a:lnTo>
                    <a:pt x="2854312" y="262082"/>
                  </a:lnTo>
                  <a:lnTo>
                    <a:pt x="2835250" y="271612"/>
                  </a:lnTo>
                  <a:lnTo>
                    <a:pt x="2825720" y="281142"/>
                  </a:lnTo>
                  <a:lnTo>
                    <a:pt x="2816190" y="285908"/>
                  </a:lnTo>
                  <a:lnTo>
                    <a:pt x="2792364" y="281142"/>
                  </a:lnTo>
                  <a:lnTo>
                    <a:pt x="2782834" y="290673"/>
                  </a:lnTo>
                  <a:lnTo>
                    <a:pt x="2773304" y="300203"/>
                  </a:lnTo>
                  <a:lnTo>
                    <a:pt x="2754244" y="304968"/>
                  </a:lnTo>
                  <a:lnTo>
                    <a:pt x="2744714" y="300203"/>
                  </a:lnTo>
                  <a:lnTo>
                    <a:pt x="2716122" y="276377"/>
                  </a:lnTo>
                  <a:lnTo>
                    <a:pt x="2697062" y="252552"/>
                  </a:lnTo>
                  <a:lnTo>
                    <a:pt x="2687532" y="233491"/>
                  </a:lnTo>
                  <a:lnTo>
                    <a:pt x="2716122" y="233491"/>
                  </a:lnTo>
                  <a:lnTo>
                    <a:pt x="2725654" y="228726"/>
                  </a:lnTo>
                  <a:lnTo>
                    <a:pt x="2744714" y="233491"/>
                  </a:lnTo>
                  <a:lnTo>
                    <a:pt x="2754244" y="214431"/>
                  </a:lnTo>
                  <a:lnTo>
                    <a:pt x="2778070" y="214431"/>
                  </a:lnTo>
                  <a:lnTo>
                    <a:pt x="2820956" y="200135"/>
                  </a:lnTo>
                  <a:lnTo>
                    <a:pt x="2840016" y="209666"/>
                  </a:lnTo>
                  <a:lnTo>
                    <a:pt x="2878138" y="157249"/>
                  </a:lnTo>
                  <a:lnTo>
                    <a:pt x="2887668" y="162014"/>
                  </a:lnTo>
                  <a:close/>
                  <a:moveTo>
                    <a:pt x="3564316" y="28591"/>
                  </a:moveTo>
                  <a:lnTo>
                    <a:pt x="3583376" y="33356"/>
                  </a:lnTo>
                  <a:lnTo>
                    <a:pt x="3597672" y="42886"/>
                  </a:lnTo>
                  <a:lnTo>
                    <a:pt x="3650088" y="52417"/>
                  </a:lnTo>
                  <a:lnTo>
                    <a:pt x="3688210" y="81007"/>
                  </a:lnTo>
                  <a:lnTo>
                    <a:pt x="3683444" y="133424"/>
                  </a:lnTo>
                  <a:lnTo>
                    <a:pt x="3678680" y="152484"/>
                  </a:lnTo>
                  <a:lnTo>
                    <a:pt x="3669148" y="166780"/>
                  </a:lnTo>
                  <a:lnTo>
                    <a:pt x="3616732" y="204901"/>
                  </a:lnTo>
                  <a:lnTo>
                    <a:pt x="3611968" y="223961"/>
                  </a:lnTo>
                  <a:lnTo>
                    <a:pt x="3626262" y="228726"/>
                  </a:lnTo>
                  <a:lnTo>
                    <a:pt x="3659618" y="209666"/>
                  </a:lnTo>
                  <a:lnTo>
                    <a:pt x="3669148" y="228726"/>
                  </a:lnTo>
                  <a:lnTo>
                    <a:pt x="3654854" y="271612"/>
                  </a:lnTo>
                  <a:lnTo>
                    <a:pt x="3654854" y="333559"/>
                  </a:lnTo>
                  <a:lnTo>
                    <a:pt x="3650088" y="371680"/>
                  </a:lnTo>
                  <a:lnTo>
                    <a:pt x="3650088" y="405036"/>
                  </a:lnTo>
                  <a:lnTo>
                    <a:pt x="3654854" y="424097"/>
                  </a:lnTo>
                  <a:lnTo>
                    <a:pt x="3669148" y="352620"/>
                  </a:lnTo>
                  <a:lnTo>
                    <a:pt x="3673914" y="333559"/>
                  </a:lnTo>
                  <a:lnTo>
                    <a:pt x="3692974" y="304968"/>
                  </a:lnTo>
                  <a:lnTo>
                    <a:pt x="3702504" y="252552"/>
                  </a:lnTo>
                  <a:lnTo>
                    <a:pt x="3721566" y="185840"/>
                  </a:lnTo>
                  <a:lnTo>
                    <a:pt x="3740626" y="147719"/>
                  </a:lnTo>
                  <a:lnTo>
                    <a:pt x="3754920" y="133424"/>
                  </a:lnTo>
                  <a:lnTo>
                    <a:pt x="3797808" y="138189"/>
                  </a:lnTo>
                  <a:lnTo>
                    <a:pt x="3816868" y="152484"/>
                  </a:lnTo>
                  <a:lnTo>
                    <a:pt x="3831164" y="185840"/>
                  </a:lnTo>
                  <a:lnTo>
                    <a:pt x="3845458" y="195370"/>
                  </a:lnTo>
                  <a:lnTo>
                    <a:pt x="3883580" y="209666"/>
                  </a:lnTo>
                  <a:lnTo>
                    <a:pt x="3893110" y="228726"/>
                  </a:lnTo>
                  <a:lnTo>
                    <a:pt x="3897876" y="238257"/>
                  </a:lnTo>
                  <a:lnTo>
                    <a:pt x="3907406" y="243022"/>
                  </a:lnTo>
                  <a:lnTo>
                    <a:pt x="3931230" y="214431"/>
                  </a:lnTo>
                  <a:lnTo>
                    <a:pt x="3950292" y="209666"/>
                  </a:lnTo>
                  <a:lnTo>
                    <a:pt x="3974116" y="247787"/>
                  </a:lnTo>
                  <a:lnTo>
                    <a:pt x="3969352" y="276378"/>
                  </a:lnTo>
                  <a:lnTo>
                    <a:pt x="3969352" y="285908"/>
                  </a:lnTo>
                  <a:lnTo>
                    <a:pt x="4002708" y="285908"/>
                  </a:lnTo>
                  <a:lnTo>
                    <a:pt x="4031298" y="295438"/>
                  </a:lnTo>
                  <a:lnTo>
                    <a:pt x="4083714" y="352620"/>
                  </a:lnTo>
                  <a:lnTo>
                    <a:pt x="4088480" y="381210"/>
                  </a:lnTo>
                  <a:lnTo>
                    <a:pt x="4083714" y="414566"/>
                  </a:lnTo>
                  <a:lnTo>
                    <a:pt x="4012238" y="447922"/>
                  </a:lnTo>
                  <a:lnTo>
                    <a:pt x="3978882" y="481278"/>
                  </a:lnTo>
                  <a:lnTo>
                    <a:pt x="3926466" y="495573"/>
                  </a:lnTo>
                  <a:lnTo>
                    <a:pt x="3745390" y="471748"/>
                  </a:lnTo>
                  <a:lnTo>
                    <a:pt x="3750156" y="495573"/>
                  </a:lnTo>
                  <a:lnTo>
                    <a:pt x="3874050" y="547990"/>
                  </a:lnTo>
                  <a:lnTo>
                    <a:pt x="3883580" y="562285"/>
                  </a:lnTo>
                  <a:lnTo>
                    <a:pt x="3878814" y="595641"/>
                  </a:lnTo>
                  <a:lnTo>
                    <a:pt x="3878814" y="619467"/>
                  </a:lnTo>
                  <a:lnTo>
                    <a:pt x="3883580" y="638527"/>
                  </a:lnTo>
                  <a:lnTo>
                    <a:pt x="3888344" y="652823"/>
                  </a:lnTo>
                  <a:lnTo>
                    <a:pt x="3907406" y="662353"/>
                  </a:lnTo>
                  <a:lnTo>
                    <a:pt x="3935996" y="657588"/>
                  </a:lnTo>
                  <a:lnTo>
                    <a:pt x="3950292" y="667118"/>
                  </a:lnTo>
                  <a:lnTo>
                    <a:pt x="3964586" y="652823"/>
                  </a:lnTo>
                  <a:lnTo>
                    <a:pt x="3964586" y="609936"/>
                  </a:lnTo>
                  <a:lnTo>
                    <a:pt x="3974116" y="600406"/>
                  </a:lnTo>
                  <a:lnTo>
                    <a:pt x="3993178" y="614702"/>
                  </a:lnTo>
                  <a:lnTo>
                    <a:pt x="3997942" y="657588"/>
                  </a:lnTo>
                  <a:lnTo>
                    <a:pt x="4002708" y="662353"/>
                  </a:lnTo>
                  <a:lnTo>
                    <a:pt x="4012238" y="633762"/>
                  </a:lnTo>
                  <a:lnTo>
                    <a:pt x="4031298" y="633762"/>
                  </a:lnTo>
                  <a:lnTo>
                    <a:pt x="4050360" y="628997"/>
                  </a:lnTo>
                  <a:lnTo>
                    <a:pt x="4074184" y="638527"/>
                  </a:lnTo>
                  <a:lnTo>
                    <a:pt x="4083714" y="695709"/>
                  </a:lnTo>
                  <a:lnTo>
                    <a:pt x="4083714" y="714769"/>
                  </a:lnTo>
                  <a:lnTo>
                    <a:pt x="4078950" y="738595"/>
                  </a:lnTo>
                  <a:lnTo>
                    <a:pt x="4074184" y="748125"/>
                  </a:lnTo>
                  <a:lnTo>
                    <a:pt x="4059890" y="752890"/>
                  </a:lnTo>
                  <a:lnTo>
                    <a:pt x="4036064" y="748125"/>
                  </a:lnTo>
                  <a:lnTo>
                    <a:pt x="3997942" y="729065"/>
                  </a:lnTo>
                  <a:lnTo>
                    <a:pt x="3974116" y="705239"/>
                  </a:lnTo>
                  <a:lnTo>
                    <a:pt x="3964586" y="705239"/>
                  </a:lnTo>
                  <a:lnTo>
                    <a:pt x="3969352" y="729065"/>
                  </a:lnTo>
                  <a:lnTo>
                    <a:pt x="3969352" y="743360"/>
                  </a:lnTo>
                  <a:lnTo>
                    <a:pt x="3964586" y="762421"/>
                  </a:lnTo>
                  <a:lnTo>
                    <a:pt x="3959822" y="781481"/>
                  </a:lnTo>
                  <a:lnTo>
                    <a:pt x="3950292" y="795776"/>
                  </a:lnTo>
                  <a:lnTo>
                    <a:pt x="3935996" y="810072"/>
                  </a:lnTo>
                  <a:lnTo>
                    <a:pt x="3912170" y="824367"/>
                  </a:lnTo>
                  <a:lnTo>
                    <a:pt x="3840694" y="852958"/>
                  </a:lnTo>
                  <a:lnTo>
                    <a:pt x="3835928" y="867253"/>
                  </a:lnTo>
                  <a:lnTo>
                    <a:pt x="3812102" y="943495"/>
                  </a:lnTo>
                  <a:lnTo>
                    <a:pt x="3807338" y="953026"/>
                  </a:lnTo>
                  <a:lnTo>
                    <a:pt x="3802572" y="962556"/>
                  </a:lnTo>
                  <a:lnTo>
                    <a:pt x="3773982" y="976851"/>
                  </a:lnTo>
                  <a:lnTo>
                    <a:pt x="3764452" y="957791"/>
                  </a:lnTo>
                  <a:lnTo>
                    <a:pt x="3754920" y="933965"/>
                  </a:lnTo>
                  <a:lnTo>
                    <a:pt x="3759686" y="905374"/>
                  </a:lnTo>
                  <a:lnTo>
                    <a:pt x="3783512" y="857723"/>
                  </a:lnTo>
                  <a:lnTo>
                    <a:pt x="3812102" y="824367"/>
                  </a:lnTo>
                  <a:lnTo>
                    <a:pt x="3816868" y="810072"/>
                  </a:lnTo>
                  <a:lnTo>
                    <a:pt x="3835928" y="776716"/>
                  </a:lnTo>
                  <a:lnTo>
                    <a:pt x="3802572" y="686179"/>
                  </a:lnTo>
                  <a:lnTo>
                    <a:pt x="3750156" y="662353"/>
                  </a:lnTo>
                  <a:lnTo>
                    <a:pt x="3688210" y="619467"/>
                  </a:lnTo>
                  <a:lnTo>
                    <a:pt x="3669148" y="595641"/>
                  </a:lnTo>
                  <a:lnTo>
                    <a:pt x="3631028" y="552755"/>
                  </a:lnTo>
                  <a:lnTo>
                    <a:pt x="3607202" y="509869"/>
                  </a:lnTo>
                  <a:lnTo>
                    <a:pt x="3588142" y="509869"/>
                  </a:lnTo>
                  <a:lnTo>
                    <a:pt x="3559550" y="519399"/>
                  </a:lnTo>
                  <a:lnTo>
                    <a:pt x="3521430" y="557520"/>
                  </a:lnTo>
                  <a:lnTo>
                    <a:pt x="3502370" y="576581"/>
                  </a:lnTo>
                  <a:lnTo>
                    <a:pt x="3488074" y="581346"/>
                  </a:lnTo>
                  <a:lnTo>
                    <a:pt x="3459484" y="571815"/>
                  </a:lnTo>
                  <a:lnTo>
                    <a:pt x="3426128" y="567050"/>
                  </a:lnTo>
                  <a:lnTo>
                    <a:pt x="3402302" y="571815"/>
                  </a:lnTo>
                  <a:lnTo>
                    <a:pt x="3397536" y="576581"/>
                  </a:lnTo>
                  <a:lnTo>
                    <a:pt x="3359416" y="638527"/>
                  </a:lnTo>
                  <a:lnTo>
                    <a:pt x="3335590" y="667118"/>
                  </a:lnTo>
                  <a:lnTo>
                    <a:pt x="3326060" y="676648"/>
                  </a:lnTo>
                  <a:lnTo>
                    <a:pt x="3316530" y="695709"/>
                  </a:lnTo>
                  <a:lnTo>
                    <a:pt x="3307000" y="724299"/>
                  </a:lnTo>
                  <a:lnTo>
                    <a:pt x="3287938" y="824367"/>
                  </a:lnTo>
                  <a:lnTo>
                    <a:pt x="3278408" y="862488"/>
                  </a:lnTo>
                  <a:lnTo>
                    <a:pt x="3273644" y="881549"/>
                  </a:lnTo>
                  <a:lnTo>
                    <a:pt x="3278408" y="953026"/>
                  </a:lnTo>
                  <a:lnTo>
                    <a:pt x="3273644" y="991147"/>
                  </a:lnTo>
                  <a:lnTo>
                    <a:pt x="3259348" y="1019737"/>
                  </a:lnTo>
                  <a:lnTo>
                    <a:pt x="3245052" y="1034033"/>
                  </a:lnTo>
                  <a:lnTo>
                    <a:pt x="3230756" y="1034033"/>
                  </a:lnTo>
                  <a:lnTo>
                    <a:pt x="3211696" y="1043563"/>
                  </a:lnTo>
                  <a:lnTo>
                    <a:pt x="3197402" y="1062623"/>
                  </a:lnTo>
                  <a:lnTo>
                    <a:pt x="3183106" y="1086449"/>
                  </a:lnTo>
                  <a:lnTo>
                    <a:pt x="3168810" y="1138865"/>
                  </a:lnTo>
                  <a:lnTo>
                    <a:pt x="3149750" y="1162691"/>
                  </a:lnTo>
                  <a:lnTo>
                    <a:pt x="3125924" y="1153161"/>
                  </a:lnTo>
                  <a:lnTo>
                    <a:pt x="3111628" y="1134100"/>
                  </a:lnTo>
                  <a:lnTo>
                    <a:pt x="3078272" y="1119805"/>
                  </a:lnTo>
                  <a:lnTo>
                    <a:pt x="3054448" y="1110275"/>
                  </a:lnTo>
                  <a:lnTo>
                    <a:pt x="3025856" y="1086449"/>
                  </a:lnTo>
                  <a:lnTo>
                    <a:pt x="3002032" y="1072154"/>
                  </a:lnTo>
                  <a:lnTo>
                    <a:pt x="2978206" y="1067389"/>
                  </a:lnTo>
                  <a:lnTo>
                    <a:pt x="2963910" y="1091214"/>
                  </a:lnTo>
                  <a:lnTo>
                    <a:pt x="2954380" y="1110275"/>
                  </a:lnTo>
                  <a:lnTo>
                    <a:pt x="2916258" y="1124570"/>
                  </a:lnTo>
                  <a:lnTo>
                    <a:pt x="2897198" y="1134100"/>
                  </a:lnTo>
                  <a:lnTo>
                    <a:pt x="2868608" y="1138865"/>
                  </a:lnTo>
                  <a:lnTo>
                    <a:pt x="2854312" y="1124570"/>
                  </a:lnTo>
                  <a:lnTo>
                    <a:pt x="2816192" y="1115040"/>
                  </a:lnTo>
                  <a:lnTo>
                    <a:pt x="2768540" y="1105510"/>
                  </a:lnTo>
                  <a:lnTo>
                    <a:pt x="2754244" y="1105510"/>
                  </a:lnTo>
                  <a:lnTo>
                    <a:pt x="2749480" y="1081684"/>
                  </a:lnTo>
                  <a:lnTo>
                    <a:pt x="2735184" y="1048328"/>
                  </a:lnTo>
                  <a:lnTo>
                    <a:pt x="2701828" y="986381"/>
                  </a:lnTo>
                  <a:lnTo>
                    <a:pt x="2687532" y="967321"/>
                  </a:lnTo>
                  <a:lnTo>
                    <a:pt x="2658942" y="914905"/>
                  </a:lnTo>
                  <a:lnTo>
                    <a:pt x="2630352" y="867253"/>
                  </a:lnTo>
                  <a:lnTo>
                    <a:pt x="2625586" y="862488"/>
                  </a:lnTo>
                  <a:lnTo>
                    <a:pt x="2601760" y="862488"/>
                  </a:lnTo>
                  <a:lnTo>
                    <a:pt x="2573170" y="862488"/>
                  </a:lnTo>
                  <a:lnTo>
                    <a:pt x="2554108" y="876784"/>
                  </a:lnTo>
                  <a:lnTo>
                    <a:pt x="2544578" y="891079"/>
                  </a:lnTo>
                  <a:lnTo>
                    <a:pt x="2539814" y="900609"/>
                  </a:lnTo>
                  <a:lnTo>
                    <a:pt x="2554108" y="948260"/>
                  </a:lnTo>
                  <a:lnTo>
                    <a:pt x="2549344" y="962556"/>
                  </a:lnTo>
                  <a:lnTo>
                    <a:pt x="2544578" y="967321"/>
                  </a:lnTo>
                  <a:lnTo>
                    <a:pt x="2515988" y="953026"/>
                  </a:lnTo>
                  <a:lnTo>
                    <a:pt x="2482632" y="953026"/>
                  </a:lnTo>
                  <a:lnTo>
                    <a:pt x="2473102" y="967321"/>
                  </a:lnTo>
                  <a:lnTo>
                    <a:pt x="2454042" y="972086"/>
                  </a:lnTo>
                  <a:lnTo>
                    <a:pt x="2392094" y="976851"/>
                  </a:lnTo>
                  <a:lnTo>
                    <a:pt x="2420686" y="1014972"/>
                  </a:lnTo>
                  <a:lnTo>
                    <a:pt x="2430216" y="1029268"/>
                  </a:lnTo>
                  <a:lnTo>
                    <a:pt x="2430216" y="1048328"/>
                  </a:lnTo>
                  <a:lnTo>
                    <a:pt x="2425450" y="1091214"/>
                  </a:lnTo>
                  <a:lnTo>
                    <a:pt x="2415920" y="1124570"/>
                  </a:lnTo>
                  <a:lnTo>
                    <a:pt x="2396860" y="1153161"/>
                  </a:lnTo>
                  <a:lnTo>
                    <a:pt x="2373034" y="1181752"/>
                  </a:lnTo>
                  <a:lnTo>
                    <a:pt x="2415920" y="1210342"/>
                  </a:lnTo>
                  <a:lnTo>
                    <a:pt x="2382564" y="1248463"/>
                  </a:lnTo>
                  <a:lnTo>
                    <a:pt x="2373034" y="1262759"/>
                  </a:lnTo>
                  <a:lnTo>
                    <a:pt x="2353974" y="1257994"/>
                  </a:lnTo>
                  <a:lnTo>
                    <a:pt x="2325382" y="1243698"/>
                  </a:lnTo>
                  <a:lnTo>
                    <a:pt x="2258672" y="1215107"/>
                  </a:lnTo>
                  <a:lnTo>
                    <a:pt x="2230080" y="1205577"/>
                  </a:lnTo>
                  <a:lnTo>
                    <a:pt x="2201490" y="1200812"/>
                  </a:lnTo>
                  <a:lnTo>
                    <a:pt x="2182428" y="1200812"/>
                  </a:lnTo>
                  <a:lnTo>
                    <a:pt x="2125248" y="1172221"/>
                  </a:lnTo>
                  <a:lnTo>
                    <a:pt x="2110952" y="1176987"/>
                  </a:lnTo>
                  <a:lnTo>
                    <a:pt x="2087126" y="1186517"/>
                  </a:lnTo>
                  <a:lnTo>
                    <a:pt x="2087126" y="1215107"/>
                  </a:lnTo>
                  <a:lnTo>
                    <a:pt x="2087126" y="1277054"/>
                  </a:lnTo>
                  <a:lnTo>
                    <a:pt x="2091892" y="1324705"/>
                  </a:lnTo>
                  <a:lnTo>
                    <a:pt x="2082362" y="1353296"/>
                  </a:lnTo>
                  <a:lnTo>
                    <a:pt x="2072832" y="1372357"/>
                  </a:lnTo>
                  <a:lnTo>
                    <a:pt x="2049006" y="1424773"/>
                  </a:lnTo>
                  <a:lnTo>
                    <a:pt x="1996588" y="1391417"/>
                  </a:lnTo>
                  <a:lnTo>
                    <a:pt x="1958468" y="1367592"/>
                  </a:lnTo>
                  <a:lnTo>
                    <a:pt x="1934642" y="1396182"/>
                  </a:lnTo>
                  <a:lnTo>
                    <a:pt x="1872696" y="1453364"/>
                  </a:lnTo>
                  <a:lnTo>
                    <a:pt x="1844104" y="1562962"/>
                  </a:lnTo>
                  <a:lnTo>
                    <a:pt x="1839340" y="1567727"/>
                  </a:lnTo>
                  <a:lnTo>
                    <a:pt x="1825044" y="1596318"/>
                  </a:lnTo>
                  <a:lnTo>
                    <a:pt x="1801218" y="1610613"/>
                  </a:lnTo>
                  <a:lnTo>
                    <a:pt x="1782158" y="1615378"/>
                  </a:lnTo>
                  <a:lnTo>
                    <a:pt x="1772628" y="1648734"/>
                  </a:lnTo>
                  <a:lnTo>
                    <a:pt x="1796454" y="1691620"/>
                  </a:lnTo>
                  <a:lnTo>
                    <a:pt x="1805984" y="1720211"/>
                  </a:lnTo>
                  <a:lnTo>
                    <a:pt x="1820280" y="1758332"/>
                  </a:lnTo>
                  <a:lnTo>
                    <a:pt x="1815514" y="1782158"/>
                  </a:lnTo>
                  <a:lnTo>
                    <a:pt x="1815514" y="1796453"/>
                  </a:lnTo>
                  <a:lnTo>
                    <a:pt x="1786924" y="1829809"/>
                  </a:lnTo>
                  <a:lnTo>
                    <a:pt x="1734508" y="1910816"/>
                  </a:lnTo>
                  <a:lnTo>
                    <a:pt x="1682090" y="1996588"/>
                  </a:lnTo>
                  <a:lnTo>
                    <a:pt x="1663030" y="2020414"/>
                  </a:lnTo>
                  <a:lnTo>
                    <a:pt x="1672560" y="2091891"/>
                  </a:lnTo>
                  <a:lnTo>
                    <a:pt x="1653500" y="2115717"/>
                  </a:lnTo>
                  <a:lnTo>
                    <a:pt x="1620144" y="2134777"/>
                  </a:lnTo>
                  <a:lnTo>
                    <a:pt x="1601084" y="2144307"/>
                  </a:lnTo>
                  <a:lnTo>
                    <a:pt x="1582022" y="2153837"/>
                  </a:lnTo>
                  <a:lnTo>
                    <a:pt x="1524842" y="2163368"/>
                  </a:lnTo>
                  <a:lnTo>
                    <a:pt x="1534372" y="2234845"/>
                  </a:lnTo>
                  <a:lnTo>
                    <a:pt x="1539136" y="2268201"/>
                  </a:lnTo>
                  <a:lnTo>
                    <a:pt x="1539136" y="2292026"/>
                  </a:lnTo>
                  <a:lnTo>
                    <a:pt x="1534372" y="2311087"/>
                  </a:lnTo>
                  <a:lnTo>
                    <a:pt x="1524842" y="2344443"/>
                  </a:lnTo>
                  <a:lnTo>
                    <a:pt x="1515312" y="2477866"/>
                  </a:lnTo>
                  <a:lnTo>
                    <a:pt x="1505780" y="2487396"/>
                  </a:lnTo>
                  <a:lnTo>
                    <a:pt x="1496250" y="2525517"/>
                  </a:lnTo>
                  <a:lnTo>
                    <a:pt x="1458130" y="2606525"/>
                  </a:lnTo>
                  <a:lnTo>
                    <a:pt x="1424774" y="2663706"/>
                  </a:lnTo>
                  <a:lnTo>
                    <a:pt x="1381888" y="2739948"/>
                  </a:lnTo>
                  <a:lnTo>
                    <a:pt x="1420008" y="2763774"/>
                  </a:lnTo>
                  <a:lnTo>
                    <a:pt x="1448600" y="2782834"/>
                  </a:lnTo>
                  <a:lnTo>
                    <a:pt x="1458130" y="2811425"/>
                  </a:lnTo>
                  <a:lnTo>
                    <a:pt x="1462894" y="2859076"/>
                  </a:lnTo>
                  <a:lnTo>
                    <a:pt x="1462894" y="2887667"/>
                  </a:lnTo>
                  <a:lnTo>
                    <a:pt x="1448600" y="2916258"/>
                  </a:lnTo>
                  <a:lnTo>
                    <a:pt x="1439068" y="2935318"/>
                  </a:lnTo>
                  <a:lnTo>
                    <a:pt x="1434304" y="2944849"/>
                  </a:lnTo>
                  <a:lnTo>
                    <a:pt x="1386652" y="2935318"/>
                  </a:lnTo>
                  <a:lnTo>
                    <a:pt x="1329472" y="2925788"/>
                  </a:lnTo>
                  <a:lnTo>
                    <a:pt x="1315176" y="2925788"/>
                  </a:lnTo>
                  <a:lnTo>
                    <a:pt x="1281820" y="2930553"/>
                  </a:lnTo>
                  <a:lnTo>
                    <a:pt x="1248464" y="2949613"/>
                  </a:lnTo>
                  <a:lnTo>
                    <a:pt x="1234168" y="2963909"/>
                  </a:lnTo>
                  <a:lnTo>
                    <a:pt x="1229404" y="2973439"/>
                  </a:lnTo>
                  <a:lnTo>
                    <a:pt x="1210342" y="3006795"/>
                  </a:lnTo>
                  <a:lnTo>
                    <a:pt x="1172222" y="3068742"/>
                  </a:lnTo>
                  <a:lnTo>
                    <a:pt x="1153162" y="3092567"/>
                  </a:lnTo>
                  <a:lnTo>
                    <a:pt x="1157926" y="3130689"/>
                  </a:lnTo>
                  <a:lnTo>
                    <a:pt x="1124570" y="3202165"/>
                  </a:lnTo>
                  <a:lnTo>
                    <a:pt x="1148396" y="3268877"/>
                  </a:lnTo>
                  <a:lnTo>
                    <a:pt x="1148396" y="3273642"/>
                  </a:lnTo>
                  <a:lnTo>
                    <a:pt x="1162692" y="3302233"/>
                  </a:lnTo>
                  <a:lnTo>
                    <a:pt x="1148396" y="3316528"/>
                  </a:lnTo>
                  <a:lnTo>
                    <a:pt x="1143632" y="3326059"/>
                  </a:lnTo>
                  <a:lnTo>
                    <a:pt x="1143632" y="3359415"/>
                  </a:lnTo>
                  <a:lnTo>
                    <a:pt x="1148396" y="3397535"/>
                  </a:lnTo>
                  <a:lnTo>
                    <a:pt x="1143632" y="3416596"/>
                  </a:lnTo>
                  <a:lnTo>
                    <a:pt x="1143632" y="3440422"/>
                  </a:lnTo>
                  <a:lnTo>
                    <a:pt x="1172222" y="3545255"/>
                  </a:lnTo>
                  <a:lnTo>
                    <a:pt x="1172222" y="3569080"/>
                  </a:lnTo>
                  <a:lnTo>
                    <a:pt x="1172222" y="3583375"/>
                  </a:lnTo>
                  <a:lnTo>
                    <a:pt x="1162692" y="3645322"/>
                  </a:lnTo>
                  <a:lnTo>
                    <a:pt x="1148396" y="3731094"/>
                  </a:lnTo>
                  <a:lnTo>
                    <a:pt x="1172222" y="3754920"/>
                  </a:lnTo>
                  <a:lnTo>
                    <a:pt x="1200812" y="3778746"/>
                  </a:lnTo>
                  <a:lnTo>
                    <a:pt x="1219874" y="3788276"/>
                  </a:lnTo>
                  <a:lnTo>
                    <a:pt x="1243698" y="3821632"/>
                  </a:lnTo>
                  <a:lnTo>
                    <a:pt x="1262760" y="3850223"/>
                  </a:lnTo>
                  <a:lnTo>
                    <a:pt x="1262760" y="3874048"/>
                  </a:lnTo>
                  <a:lnTo>
                    <a:pt x="1253228" y="3893109"/>
                  </a:lnTo>
                  <a:lnTo>
                    <a:pt x="1248464" y="3912169"/>
                  </a:lnTo>
                  <a:lnTo>
                    <a:pt x="1238934" y="3931230"/>
                  </a:lnTo>
                  <a:lnTo>
                    <a:pt x="1238934" y="3945525"/>
                  </a:lnTo>
                  <a:lnTo>
                    <a:pt x="1234168" y="3950290"/>
                  </a:lnTo>
                  <a:lnTo>
                    <a:pt x="1200812" y="3950290"/>
                  </a:lnTo>
                  <a:lnTo>
                    <a:pt x="1181752" y="3959821"/>
                  </a:lnTo>
                  <a:lnTo>
                    <a:pt x="1172222" y="3964585"/>
                  </a:lnTo>
                  <a:lnTo>
                    <a:pt x="1176988" y="4002707"/>
                  </a:lnTo>
                  <a:lnTo>
                    <a:pt x="1196048" y="4064653"/>
                  </a:lnTo>
                  <a:lnTo>
                    <a:pt x="1215108" y="4112305"/>
                  </a:lnTo>
                  <a:lnTo>
                    <a:pt x="1219874" y="4140895"/>
                  </a:lnTo>
                  <a:lnTo>
                    <a:pt x="1210342" y="4174251"/>
                  </a:lnTo>
                  <a:lnTo>
                    <a:pt x="1205578" y="4188547"/>
                  </a:lnTo>
                  <a:lnTo>
                    <a:pt x="1205578" y="4207607"/>
                  </a:lnTo>
                  <a:lnTo>
                    <a:pt x="1200812" y="4250493"/>
                  </a:lnTo>
                  <a:lnTo>
                    <a:pt x="1191282" y="4269553"/>
                  </a:lnTo>
                  <a:lnTo>
                    <a:pt x="1172222" y="4293379"/>
                  </a:lnTo>
                  <a:lnTo>
                    <a:pt x="1153162" y="4312440"/>
                  </a:lnTo>
                  <a:lnTo>
                    <a:pt x="1138866" y="4317205"/>
                  </a:lnTo>
                  <a:lnTo>
                    <a:pt x="1124570" y="4317205"/>
                  </a:lnTo>
                  <a:lnTo>
                    <a:pt x="1115040" y="4326735"/>
                  </a:lnTo>
                  <a:lnTo>
                    <a:pt x="1110276" y="4350561"/>
                  </a:lnTo>
                  <a:lnTo>
                    <a:pt x="1100744" y="4379151"/>
                  </a:lnTo>
                  <a:lnTo>
                    <a:pt x="1076920" y="4412507"/>
                  </a:lnTo>
                  <a:lnTo>
                    <a:pt x="1076920" y="4422037"/>
                  </a:lnTo>
                  <a:lnTo>
                    <a:pt x="1086450" y="4460159"/>
                  </a:lnTo>
                  <a:lnTo>
                    <a:pt x="1095980" y="4503045"/>
                  </a:lnTo>
                  <a:lnTo>
                    <a:pt x="1086450" y="4541166"/>
                  </a:lnTo>
                  <a:lnTo>
                    <a:pt x="1081684" y="4584052"/>
                  </a:lnTo>
                  <a:lnTo>
                    <a:pt x="1072154" y="4612643"/>
                  </a:lnTo>
                  <a:lnTo>
                    <a:pt x="1053094" y="4622173"/>
                  </a:lnTo>
                  <a:lnTo>
                    <a:pt x="1043564" y="4617408"/>
                  </a:lnTo>
                  <a:lnTo>
                    <a:pt x="1029268" y="4579287"/>
                  </a:lnTo>
                  <a:lnTo>
                    <a:pt x="1029268" y="4569757"/>
                  </a:lnTo>
                  <a:lnTo>
                    <a:pt x="1029268" y="4560227"/>
                  </a:lnTo>
                  <a:lnTo>
                    <a:pt x="991148" y="4545931"/>
                  </a:lnTo>
                  <a:lnTo>
                    <a:pt x="986382" y="4550696"/>
                  </a:lnTo>
                  <a:lnTo>
                    <a:pt x="972086" y="4541166"/>
                  </a:lnTo>
                  <a:lnTo>
                    <a:pt x="943496" y="4536401"/>
                  </a:lnTo>
                  <a:lnTo>
                    <a:pt x="929200" y="4503045"/>
                  </a:lnTo>
                  <a:lnTo>
                    <a:pt x="914904" y="4474454"/>
                  </a:lnTo>
                  <a:lnTo>
                    <a:pt x="914904" y="4460159"/>
                  </a:lnTo>
                  <a:lnTo>
                    <a:pt x="914904" y="4407743"/>
                  </a:lnTo>
                  <a:lnTo>
                    <a:pt x="910140" y="4383917"/>
                  </a:lnTo>
                  <a:lnTo>
                    <a:pt x="905374" y="4355326"/>
                  </a:lnTo>
                  <a:lnTo>
                    <a:pt x="895844" y="4379151"/>
                  </a:lnTo>
                  <a:lnTo>
                    <a:pt x="900610" y="4412507"/>
                  </a:lnTo>
                  <a:lnTo>
                    <a:pt x="891080" y="4426803"/>
                  </a:lnTo>
                  <a:lnTo>
                    <a:pt x="876784" y="4431568"/>
                  </a:lnTo>
                  <a:lnTo>
                    <a:pt x="876784" y="4450629"/>
                  </a:lnTo>
                  <a:lnTo>
                    <a:pt x="881550" y="4455393"/>
                  </a:lnTo>
                  <a:lnTo>
                    <a:pt x="886314" y="4474454"/>
                  </a:lnTo>
                  <a:lnTo>
                    <a:pt x="881550" y="4507810"/>
                  </a:lnTo>
                  <a:lnTo>
                    <a:pt x="852958" y="4574522"/>
                  </a:lnTo>
                  <a:lnTo>
                    <a:pt x="843428" y="4579287"/>
                  </a:lnTo>
                  <a:lnTo>
                    <a:pt x="843428" y="4588817"/>
                  </a:lnTo>
                  <a:lnTo>
                    <a:pt x="829132" y="4584052"/>
                  </a:lnTo>
                  <a:lnTo>
                    <a:pt x="805308" y="4603113"/>
                  </a:lnTo>
                  <a:lnTo>
                    <a:pt x="791012" y="4603113"/>
                  </a:lnTo>
                  <a:lnTo>
                    <a:pt x="781482" y="4584052"/>
                  </a:lnTo>
                  <a:lnTo>
                    <a:pt x="757656" y="4555461"/>
                  </a:lnTo>
                  <a:lnTo>
                    <a:pt x="743360" y="4555461"/>
                  </a:lnTo>
                  <a:lnTo>
                    <a:pt x="757656" y="4569757"/>
                  </a:lnTo>
                  <a:lnTo>
                    <a:pt x="767186" y="4588817"/>
                  </a:lnTo>
                  <a:lnTo>
                    <a:pt x="762420" y="4598347"/>
                  </a:lnTo>
                  <a:lnTo>
                    <a:pt x="752890" y="4607877"/>
                  </a:lnTo>
                  <a:lnTo>
                    <a:pt x="743360" y="4612643"/>
                  </a:lnTo>
                  <a:lnTo>
                    <a:pt x="705240" y="4636469"/>
                  </a:lnTo>
                  <a:lnTo>
                    <a:pt x="719534" y="4650764"/>
                  </a:lnTo>
                  <a:lnTo>
                    <a:pt x="710004" y="4669825"/>
                  </a:lnTo>
                  <a:lnTo>
                    <a:pt x="695710" y="4669825"/>
                  </a:lnTo>
                  <a:lnTo>
                    <a:pt x="686178" y="4679355"/>
                  </a:lnTo>
                  <a:lnTo>
                    <a:pt x="686178" y="4688885"/>
                  </a:lnTo>
                  <a:lnTo>
                    <a:pt x="648058" y="4722241"/>
                  </a:lnTo>
                  <a:lnTo>
                    <a:pt x="581346" y="4803248"/>
                  </a:lnTo>
                  <a:lnTo>
                    <a:pt x="547990" y="4822309"/>
                  </a:lnTo>
                  <a:lnTo>
                    <a:pt x="528930" y="4846134"/>
                  </a:lnTo>
                  <a:lnTo>
                    <a:pt x="505104" y="4846134"/>
                  </a:lnTo>
                  <a:lnTo>
                    <a:pt x="481278" y="4865195"/>
                  </a:lnTo>
                  <a:lnTo>
                    <a:pt x="419332" y="4884255"/>
                  </a:lnTo>
                  <a:lnTo>
                    <a:pt x="376446" y="4874725"/>
                  </a:lnTo>
                  <a:lnTo>
                    <a:pt x="347854" y="4884255"/>
                  </a:lnTo>
                  <a:lnTo>
                    <a:pt x="328794" y="4869959"/>
                  </a:lnTo>
                  <a:lnTo>
                    <a:pt x="328794" y="4860429"/>
                  </a:lnTo>
                  <a:lnTo>
                    <a:pt x="328794" y="4855664"/>
                  </a:lnTo>
                  <a:lnTo>
                    <a:pt x="333560" y="4846134"/>
                  </a:lnTo>
                  <a:lnTo>
                    <a:pt x="324030" y="4846134"/>
                  </a:lnTo>
                  <a:lnTo>
                    <a:pt x="314498" y="4846134"/>
                  </a:lnTo>
                  <a:lnTo>
                    <a:pt x="309734" y="4850899"/>
                  </a:lnTo>
                  <a:lnTo>
                    <a:pt x="309734" y="4865195"/>
                  </a:lnTo>
                  <a:lnTo>
                    <a:pt x="304968" y="4869959"/>
                  </a:lnTo>
                  <a:lnTo>
                    <a:pt x="281144" y="4860429"/>
                  </a:lnTo>
                  <a:lnTo>
                    <a:pt x="276378" y="4855664"/>
                  </a:lnTo>
                  <a:lnTo>
                    <a:pt x="285908" y="4836603"/>
                  </a:lnTo>
                  <a:lnTo>
                    <a:pt x="295438" y="4822309"/>
                  </a:lnTo>
                  <a:lnTo>
                    <a:pt x="290674" y="4812778"/>
                  </a:lnTo>
                  <a:lnTo>
                    <a:pt x="285908" y="4812778"/>
                  </a:lnTo>
                  <a:lnTo>
                    <a:pt x="266848" y="4812778"/>
                  </a:lnTo>
                  <a:lnTo>
                    <a:pt x="247788" y="4812778"/>
                  </a:lnTo>
                  <a:lnTo>
                    <a:pt x="195370" y="4779422"/>
                  </a:lnTo>
                  <a:lnTo>
                    <a:pt x="185840" y="4760361"/>
                  </a:lnTo>
                  <a:lnTo>
                    <a:pt x="142954" y="4736536"/>
                  </a:lnTo>
                  <a:lnTo>
                    <a:pt x="123894" y="4707945"/>
                  </a:lnTo>
                  <a:lnTo>
                    <a:pt x="114364" y="4674589"/>
                  </a:lnTo>
                  <a:lnTo>
                    <a:pt x="114364" y="4645999"/>
                  </a:lnTo>
                  <a:lnTo>
                    <a:pt x="119128" y="4598347"/>
                  </a:lnTo>
                  <a:lnTo>
                    <a:pt x="128658" y="4588817"/>
                  </a:lnTo>
                  <a:lnTo>
                    <a:pt x="166780" y="4603113"/>
                  </a:lnTo>
                  <a:lnTo>
                    <a:pt x="204900" y="4631703"/>
                  </a:lnTo>
                  <a:lnTo>
                    <a:pt x="209666" y="4626938"/>
                  </a:lnTo>
                  <a:lnTo>
                    <a:pt x="223962" y="4607877"/>
                  </a:lnTo>
                  <a:lnTo>
                    <a:pt x="247788" y="4588817"/>
                  </a:lnTo>
                  <a:lnTo>
                    <a:pt x="238256" y="4588817"/>
                  </a:lnTo>
                  <a:lnTo>
                    <a:pt x="204900" y="4607877"/>
                  </a:lnTo>
                  <a:lnTo>
                    <a:pt x="190606" y="4593583"/>
                  </a:lnTo>
                  <a:lnTo>
                    <a:pt x="171546" y="4574522"/>
                  </a:lnTo>
                  <a:lnTo>
                    <a:pt x="171546" y="4560227"/>
                  </a:lnTo>
                  <a:lnTo>
                    <a:pt x="181076" y="4550696"/>
                  </a:lnTo>
                  <a:lnTo>
                    <a:pt x="185840" y="4536401"/>
                  </a:lnTo>
                  <a:lnTo>
                    <a:pt x="181076" y="4522105"/>
                  </a:lnTo>
                  <a:lnTo>
                    <a:pt x="181076" y="4498279"/>
                  </a:lnTo>
                  <a:lnTo>
                    <a:pt x="195370" y="4479219"/>
                  </a:lnTo>
                  <a:lnTo>
                    <a:pt x="219196" y="4455393"/>
                  </a:lnTo>
                  <a:lnTo>
                    <a:pt x="238256" y="4436333"/>
                  </a:lnTo>
                  <a:lnTo>
                    <a:pt x="252552" y="4422037"/>
                  </a:lnTo>
                  <a:lnTo>
                    <a:pt x="252552" y="4417273"/>
                  </a:lnTo>
                  <a:lnTo>
                    <a:pt x="233492" y="4426803"/>
                  </a:lnTo>
                  <a:lnTo>
                    <a:pt x="214432" y="4441098"/>
                  </a:lnTo>
                  <a:lnTo>
                    <a:pt x="190606" y="4464924"/>
                  </a:lnTo>
                  <a:lnTo>
                    <a:pt x="166780" y="4483985"/>
                  </a:lnTo>
                  <a:lnTo>
                    <a:pt x="147720" y="4488749"/>
                  </a:lnTo>
                  <a:lnTo>
                    <a:pt x="133424" y="4498279"/>
                  </a:lnTo>
                  <a:lnTo>
                    <a:pt x="123894" y="4503045"/>
                  </a:lnTo>
                  <a:lnTo>
                    <a:pt x="104834" y="4531635"/>
                  </a:lnTo>
                  <a:lnTo>
                    <a:pt x="90538" y="4541166"/>
                  </a:lnTo>
                  <a:lnTo>
                    <a:pt x="61948" y="4541166"/>
                  </a:lnTo>
                  <a:lnTo>
                    <a:pt x="52416" y="4522105"/>
                  </a:lnTo>
                  <a:lnTo>
                    <a:pt x="61948" y="4450629"/>
                  </a:lnTo>
                  <a:lnTo>
                    <a:pt x="71478" y="4417273"/>
                  </a:lnTo>
                  <a:lnTo>
                    <a:pt x="81008" y="4393447"/>
                  </a:lnTo>
                  <a:lnTo>
                    <a:pt x="95304" y="4388682"/>
                  </a:lnTo>
                  <a:lnTo>
                    <a:pt x="104834" y="4374387"/>
                  </a:lnTo>
                  <a:lnTo>
                    <a:pt x="114364" y="4374387"/>
                  </a:lnTo>
                  <a:lnTo>
                    <a:pt x="123894" y="4379151"/>
                  </a:lnTo>
                  <a:lnTo>
                    <a:pt x="152484" y="4388682"/>
                  </a:lnTo>
                  <a:lnTo>
                    <a:pt x="166780" y="4364856"/>
                  </a:lnTo>
                  <a:lnTo>
                    <a:pt x="185840" y="4364856"/>
                  </a:lnTo>
                  <a:lnTo>
                    <a:pt x="223962" y="4341031"/>
                  </a:lnTo>
                  <a:lnTo>
                    <a:pt x="223962" y="4336265"/>
                  </a:lnTo>
                  <a:lnTo>
                    <a:pt x="200136" y="4341031"/>
                  </a:lnTo>
                  <a:lnTo>
                    <a:pt x="185840" y="4341031"/>
                  </a:lnTo>
                  <a:lnTo>
                    <a:pt x="162014" y="4345795"/>
                  </a:lnTo>
                  <a:lnTo>
                    <a:pt x="152484" y="4341031"/>
                  </a:lnTo>
                  <a:lnTo>
                    <a:pt x="147720" y="4326735"/>
                  </a:lnTo>
                  <a:lnTo>
                    <a:pt x="157250" y="4312440"/>
                  </a:lnTo>
                  <a:lnTo>
                    <a:pt x="190606" y="4274319"/>
                  </a:lnTo>
                  <a:lnTo>
                    <a:pt x="200136" y="4255259"/>
                  </a:lnTo>
                  <a:lnTo>
                    <a:pt x="204900" y="4240963"/>
                  </a:lnTo>
                  <a:lnTo>
                    <a:pt x="204900" y="4231433"/>
                  </a:lnTo>
                  <a:lnTo>
                    <a:pt x="209666" y="4212372"/>
                  </a:lnTo>
                  <a:lnTo>
                    <a:pt x="243022" y="4174251"/>
                  </a:lnTo>
                  <a:lnTo>
                    <a:pt x="271612" y="4155191"/>
                  </a:lnTo>
                  <a:lnTo>
                    <a:pt x="281144" y="4169486"/>
                  </a:lnTo>
                  <a:lnTo>
                    <a:pt x="271612" y="4217137"/>
                  </a:lnTo>
                  <a:lnTo>
                    <a:pt x="271612" y="4236198"/>
                  </a:lnTo>
                  <a:lnTo>
                    <a:pt x="290674" y="4169486"/>
                  </a:lnTo>
                  <a:lnTo>
                    <a:pt x="300204" y="4150425"/>
                  </a:lnTo>
                  <a:lnTo>
                    <a:pt x="309734" y="4140895"/>
                  </a:lnTo>
                  <a:lnTo>
                    <a:pt x="338324" y="4131365"/>
                  </a:lnTo>
                  <a:lnTo>
                    <a:pt x="343090" y="4121835"/>
                  </a:lnTo>
                  <a:lnTo>
                    <a:pt x="314498" y="4126600"/>
                  </a:lnTo>
                  <a:lnTo>
                    <a:pt x="243022" y="4150425"/>
                  </a:lnTo>
                  <a:lnTo>
                    <a:pt x="214432" y="4174251"/>
                  </a:lnTo>
                  <a:lnTo>
                    <a:pt x="204900" y="4193312"/>
                  </a:lnTo>
                  <a:lnTo>
                    <a:pt x="185840" y="4217137"/>
                  </a:lnTo>
                  <a:lnTo>
                    <a:pt x="176310" y="4236198"/>
                  </a:lnTo>
                  <a:lnTo>
                    <a:pt x="171546" y="4260023"/>
                  </a:lnTo>
                  <a:lnTo>
                    <a:pt x="157250" y="4274319"/>
                  </a:lnTo>
                  <a:lnTo>
                    <a:pt x="142954" y="4279084"/>
                  </a:lnTo>
                  <a:lnTo>
                    <a:pt x="119128" y="4312440"/>
                  </a:lnTo>
                  <a:lnTo>
                    <a:pt x="109598" y="4336265"/>
                  </a:lnTo>
                  <a:lnTo>
                    <a:pt x="90538" y="4360091"/>
                  </a:lnTo>
                  <a:lnTo>
                    <a:pt x="76242" y="4374387"/>
                  </a:lnTo>
                  <a:lnTo>
                    <a:pt x="71478" y="4379151"/>
                  </a:lnTo>
                  <a:lnTo>
                    <a:pt x="61948" y="4393447"/>
                  </a:lnTo>
                  <a:lnTo>
                    <a:pt x="57182" y="4393447"/>
                  </a:lnTo>
                  <a:lnTo>
                    <a:pt x="52416" y="4388682"/>
                  </a:lnTo>
                  <a:lnTo>
                    <a:pt x="47652" y="4369621"/>
                  </a:lnTo>
                  <a:lnTo>
                    <a:pt x="52416" y="4336265"/>
                  </a:lnTo>
                  <a:lnTo>
                    <a:pt x="61948" y="4312440"/>
                  </a:lnTo>
                  <a:lnTo>
                    <a:pt x="66712" y="4288614"/>
                  </a:lnTo>
                  <a:lnTo>
                    <a:pt x="61948" y="4269553"/>
                  </a:lnTo>
                  <a:lnTo>
                    <a:pt x="66712" y="4255259"/>
                  </a:lnTo>
                  <a:lnTo>
                    <a:pt x="76242" y="4255259"/>
                  </a:lnTo>
                  <a:lnTo>
                    <a:pt x="90538" y="4260023"/>
                  </a:lnTo>
                  <a:lnTo>
                    <a:pt x="109598" y="4260023"/>
                  </a:lnTo>
                  <a:lnTo>
                    <a:pt x="138190" y="4245728"/>
                  </a:lnTo>
                  <a:lnTo>
                    <a:pt x="133424" y="4236198"/>
                  </a:lnTo>
                  <a:lnTo>
                    <a:pt x="123894" y="4236198"/>
                  </a:lnTo>
                  <a:lnTo>
                    <a:pt x="100068" y="4236198"/>
                  </a:lnTo>
                  <a:lnTo>
                    <a:pt x="76242" y="4217137"/>
                  </a:lnTo>
                  <a:lnTo>
                    <a:pt x="61948" y="4188547"/>
                  </a:lnTo>
                  <a:lnTo>
                    <a:pt x="52416" y="4145661"/>
                  </a:lnTo>
                  <a:lnTo>
                    <a:pt x="57182" y="4131365"/>
                  </a:lnTo>
                  <a:lnTo>
                    <a:pt x="119128" y="4088479"/>
                  </a:lnTo>
                  <a:lnTo>
                    <a:pt x="133424" y="4064653"/>
                  </a:lnTo>
                  <a:lnTo>
                    <a:pt x="123894" y="4064653"/>
                  </a:lnTo>
                  <a:lnTo>
                    <a:pt x="104834" y="4088479"/>
                  </a:lnTo>
                  <a:lnTo>
                    <a:pt x="71478" y="4102774"/>
                  </a:lnTo>
                  <a:lnTo>
                    <a:pt x="52416" y="4083714"/>
                  </a:lnTo>
                  <a:lnTo>
                    <a:pt x="42886" y="4059888"/>
                  </a:lnTo>
                  <a:lnTo>
                    <a:pt x="33356" y="4012237"/>
                  </a:lnTo>
                  <a:lnTo>
                    <a:pt x="38122" y="3988411"/>
                  </a:lnTo>
                  <a:lnTo>
                    <a:pt x="33356" y="3955055"/>
                  </a:lnTo>
                  <a:lnTo>
                    <a:pt x="47652" y="3945525"/>
                  </a:lnTo>
                  <a:lnTo>
                    <a:pt x="61948" y="3950290"/>
                  </a:lnTo>
                  <a:lnTo>
                    <a:pt x="76242" y="3950290"/>
                  </a:lnTo>
                  <a:lnTo>
                    <a:pt x="114364" y="3950290"/>
                  </a:lnTo>
                  <a:lnTo>
                    <a:pt x="185840" y="3926465"/>
                  </a:lnTo>
                  <a:lnTo>
                    <a:pt x="233492" y="3940760"/>
                  </a:lnTo>
                  <a:lnTo>
                    <a:pt x="252552" y="3940760"/>
                  </a:lnTo>
                  <a:lnTo>
                    <a:pt x="285908" y="3921699"/>
                  </a:lnTo>
                  <a:lnTo>
                    <a:pt x="309734" y="3921699"/>
                  </a:lnTo>
                  <a:lnTo>
                    <a:pt x="328794" y="3931230"/>
                  </a:lnTo>
                  <a:lnTo>
                    <a:pt x="343090" y="3950290"/>
                  </a:lnTo>
                  <a:lnTo>
                    <a:pt x="343090" y="3969351"/>
                  </a:lnTo>
                  <a:lnTo>
                    <a:pt x="352620" y="3983646"/>
                  </a:lnTo>
                  <a:lnTo>
                    <a:pt x="357386" y="3978881"/>
                  </a:lnTo>
                  <a:lnTo>
                    <a:pt x="352620" y="3959821"/>
                  </a:lnTo>
                  <a:lnTo>
                    <a:pt x="352620" y="3935995"/>
                  </a:lnTo>
                  <a:lnTo>
                    <a:pt x="428862" y="3907404"/>
                  </a:lnTo>
                  <a:lnTo>
                    <a:pt x="438392" y="3897874"/>
                  </a:lnTo>
                  <a:lnTo>
                    <a:pt x="409802" y="3893109"/>
                  </a:lnTo>
                  <a:lnTo>
                    <a:pt x="400272" y="3869283"/>
                  </a:lnTo>
                  <a:lnTo>
                    <a:pt x="414566" y="3831162"/>
                  </a:lnTo>
                  <a:lnTo>
                    <a:pt x="414566" y="3826397"/>
                  </a:lnTo>
                  <a:lnTo>
                    <a:pt x="395506" y="3845457"/>
                  </a:lnTo>
                  <a:lnTo>
                    <a:pt x="390740" y="3874048"/>
                  </a:lnTo>
                  <a:lnTo>
                    <a:pt x="390740" y="3897874"/>
                  </a:lnTo>
                  <a:lnTo>
                    <a:pt x="390740" y="3907404"/>
                  </a:lnTo>
                  <a:lnTo>
                    <a:pt x="371680" y="3912169"/>
                  </a:lnTo>
                  <a:lnTo>
                    <a:pt x="338324" y="3912169"/>
                  </a:lnTo>
                  <a:lnTo>
                    <a:pt x="314498" y="3902639"/>
                  </a:lnTo>
                  <a:lnTo>
                    <a:pt x="290674" y="3897874"/>
                  </a:lnTo>
                  <a:lnTo>
                    <a:pt x="285908" y="3893109"/>
                  </a:lnTo>
                  <a:lnTo>
                    <a:pt x="285908" y="3874048"/>
                  </a:lnTo>
                  <a:lnTo>
                    <a:pt x="281144" y="3874048"/>
                  </a:lnTo>
                  <a:lnTo>
                    <a:pt x="271612" y="3888343"/>
                  </a:lnTo>
                  <a:lnTo>
                    <a:pt x="266848" y="3916934"/>
                  </a:lnTo>
                  <a:lnTo>
                    <a:pt x="247788" y="3921699"/>
                  </a:lnTo>
                  <a:lnTo>
                    <a:pt x="200136" y="3912169"/>
                  </a:lnTo>
                  <a:lnTo>
                    <a:pt x="133424" y="3916934"/>
                  </a:lnTo>
                  <a:lnTo>
                    <a:pt x="104834" y="3931230"/>
                  </a:lnTo>
                  <a:lnTo>
                    <a:pt x="85772" y="3931230"/>
                  </a:lnTo>
                  <a:lnTo>
                    <a:pt x="47652" y="3907404"/>
                  </a:lnTo>
                  <a:lnTo>
                    <a:pt x="38122" y="3883579"/>
                  </a:lnTo>
                  <a:lnTo>
                    <a:pt x="33356" y="3845457"/>
                  </a:lnTo>
                  <a:lnTo>
                    <a:pt x="33356" y="3826397"/>
                  </a:lnTo>
                  <a:lnTo>
                    <a:pt x="61948" y="3816867"/>
                  </a:lnTo>
                  <a:lnTo>
                    <a:pt x="71478" y="3816867"/>
                  </a:lnTo>
                  <a:lnTo>
                    <a:pt x="85772" y="3807337"/>
                  </a:lnTo>
                  <a:lnTo>
                    <a:pt x="76242" y="3802571"/>
                  </a:lnTo>
                  <a:lnTo>
                    <a:pt x="57182" y="3788276"/>
                  </a:lnTo>
                  <a:lnTo>
                    <a:pt x="47652" y="3764450"/>
                  </a:lnTo>
                  <a:lnTo>
                    <a:pt x="33356" y="3754920"/>
                  </a:lnTo>
                  <a:lnTo>
                    <a:pt x="23826" y="3735859"/>
                  </a:lnTo>
                  <a:lnTo>
                    <a:pt x="19060" y="3702503"/>
                  </a:lnTo>
                  <a:lnTo>
                    <a:pt x="23826" y="3678678"/>
                  </a:lnTo>
                  <a:lnTo>
                    <a:pt x="28592" y="3673913"/>
                  </a:lnTo>
                  <a:lnTo>
                    <a:pt x="52416" y="3678678"/>
                  </a:lnTo>
                  <a:lnTo>
                    <a:pt x="104834" y="3673913"/>
                  </a:lnTo>
                  <a:lnTo>
                    <a:pt x="157250" y="3697739"/>
                  </a:lnTo>
                  <a:lnTo>
                    <a:pt x="190606" y="3707269"/>
                  </a:lnTo>
                  <a:lnTo>
                    <a:pt x="262082" y="3702503"/>
                  </a:lnTo>
                  <a:lnTo>
                    <a:pt x="304968" y="3683443"/>
                  </a:lnTo>
                  <a:lnTo>
                    <a:pt x="295438" y="3673913"/>
                  </a:lnTo>
                  <a:lnTo>
                    <a:pt x="252552" y="3688208"/>
                  </a:lnTo>
                  <a:lnTo>
                    <a:pt x="209666" y="3688208"/>
                  </a:lnTo>
                  <a:lnTo>
                    <a:pt x="138190" y="3664383"/>
                  </a:lnTo>
                  <a:lnTo>
                    <a:pt x="104834" y="3654852"/>
                  </a:lnTo>
                  <a:lnTo>
                    <a:pt x="76242" y="3659617"/>
                  </a:lnTo>
                  <a:lnTo>
                    <a:pt x="57182" y="3654852"/>
                  </a:lnTo>
                  <a:lnTo>
                    <a:pt x="47652" y="3631027"/>
                  </a:lnTo>
                  <a:lnTo>
                    <a:pt x="57182" y="3588141"/>
                  </a:lnTo>
                  <a:lnTo>
                    <a:pt x="71478" y="3573845"/>
                  </a:lnTo>
                  <a:lnTo>
                    <a:pt x="81008" y="3588141"/>
                  </a:lnTo>
                  <a:lnTo>
                    <a:pt x="90538" y="3588141"/>
                  </a:lnTo>
                  <a:lnTo>
                    <a:pt x="100068" y="3569080"/>
                  </a:lnTo>
                  <a:lnTo>
                    <a:pt x="109598" y="3559550"/>
                  </a:lnTo>
                  <a:lnTo>
                    <a:pt x="114364" y="3535724"/>
                  </a:lnTo>
                  <a:lnTo>
                    <a:pt x="147720" y="3511899"/>
                  </a:lnTo>
                  <a:lnTo>
                    <a:pt x="157250" y="3511899"/>
                  </a:lnTo>
                  <a:lnTo>
                    <a:pt x="176310" y="3497603"/>
                  </a:lnTo>
                  <a:lnTo>
                    <a:pt x="185840" y="3502368"/>
                  </a:lnTo>
                  <a:lnTo>
                    <a:pt x="195370" y="3511899"/>
                  </a:lnTo>
                  <a:lnTo>
                    <a:pt x="204900" y="3521429"/>
                  </a:lnTo>
                  <a:lnTo>
                    <a:pt x="219196" y="3521429"/>
                  </a:lnTo>
                  <a:lnTo>
                    <a:pt x="281144" y="3502368"/>
                  </a:lnTo>
                  <a:lnTo>
                    <a:pt x="285908" y="3497603"/>
                  </a:lnTo>
                  <a:lnTo>
                    <a:pt x="295438" y="3483308"/>
                  </a:lnTo>
                  <a:lnTo>
                    <a:pt x="262082" y="3488073"/>
                  </a:lnTo>
                  <a:lnTo>
                    <a:pt x="228726" y="3497603"/>
                  </a:lnTo>
                  <a:lnTo>
                    <a:pt x="209666" y="3502368"/>
                  </a:lnTo>
                  <a:lnTo>
                    <a:pt x="209666" y="3488073"/>
                  </a:lnTo>
                  <a:lnTo>
                    <a:pt x="214432" y="3478543"/>
                  </a:lnTo>
                  <a:lnTo>
                    <a:pt x="228726" y="3464247"/>
                  </a:lnTo>
                  <a:lnTo>
                    <a:pt x="233492" y="3440422"/>
                  </a:lnTo>
                  <a:lnTo>
                    <a:pt x="243022" y="3435657"/>
                  </a:lnTo>
                  <a:lnTo>
                    <a:pt x="257318" y="3435657"/>
                  </a:lnTo>
                  <a:lnTo>
                    <a:pt x="285908" y="3430891"/>
                  </a:lnTo>
                  <a:lnTo>
                    <a:pt x="304968" y="3426126"/>
                  </a:lnTo>
                  <a:lnTo>
                    <a:pt x="338324" y="3426126"/>
                  </a:lnTo>
                  <a:lnTo>
                    <a:pt x="390740" y="3435657"/>
                  </a:lnTo>
                  <a:lnTo>
                    <a:pt x="424096" y="3454717"/>
                  </a:lnTo>
                  <a:lnTo>
                    <a:pt x="433628" y="3454717"/>
                  </a:lnTo>
                  <a:lnTo>
                    <a:pt x="447922" y="3449952"/>
                  </a:lnTo>
                  <a:lnTo>
                    <a:pt x="452688" y="3440422"/>
                  </a:lnTo>
                  <a:lnTo>
                    <a:pt x="428862" y="3435657"/>
                  </a:lnTo>
                  <a:lnTo>
                    <a:pt x="424096" y="3421361"/>
                  </a:lnTo>
                  <a:lnTo>
                    <a:pt x="428862" y="3411831"/>
                  </a:lnTo>
                  <a:lnTo>
                    <a:pt x="471748" y="3397535"/>
                  </a:lnTo>
                  <a:lnTo>
                    <a:pt x="514634" y="3392771"/>
                  </a:lnTo>
                  <a:lnTo>
                    <a:pt x="509870" y="3378475"/>
                  </a:lnTo>
                  <a:lnTo>
                    <a:pt x="409802" y="3397535"/>
                  </a:lnTo>
                  <a:lnTo>
                    <a:pt x="381210" y="3383240"/>
                  </a:lnTo>
                  <a:lnTo>
                    <a:pt x="362150" y="3383240"/>
                  </a:lnTo>
                  <a:lnTo>
                    <a:pt x="347854" y="3392771"/>
                  </a:lnTo>
                  <a:lnTo>
                    <a:pt x="309734" y="3402301"/>
                  </a:lnTo>
                  <a:lnTo>
                    <a:pt x="304968" y="3397535"/>
                  </a:lnTo>
                  <a:lnTo>
                    <a:pt x="309734" y="3373710"/>
                  </a:lnTo>
                  <a:lnTo>
                    <a:pt x="333560" y="3335589"/>
                  </a:lnTo>
                  <a:lnTo>
                    <a:pt x="333560" y="3326059"/>
                  </a:lnTo>
                  <a:lnTo>
                    <a:pt x="347854" y="3316528"/>
                  </a:lnTo>
                  <a:lnTo>
                    <a:pt x="405036" y="3292703"/>
                  </a:lnTo>
                  <a:lnTo>
                    <a:pt x="433628" y="3264112"/>
                  </a:lnTo>
                  <a:lnTo>
                    <a:pt x="447922" y="3264112"/>
                  </a:lnTo>
                  <a:lnTo>
                    <a:pt x="462218" y="3264112"/>
                  </a:lnTo>
                  <a:lnTo>
                    <a:pt x="481278" y="3259347"/>
                  </a:lnTo>
                  <a:lnTo>
                    <a:pt x="519400" y="3268877"/>
                  </a:lnTo>
                  <a:lnTo>
                    <a:pt x="533694" y="3302233"/>
                  </a:lnTo>
                  <a:lnTo>
                    <a:pt x="547990" y="3311763"/>
                  </a:lnTo>
                  <a:lnTo>
                    <a:pt x="600406" y="3354649"/>
                  </a:lnTo>
                  <a:lnTo>
                    <a:pt x="595642" y="3340354"/>
                  </a:lnTo>
                  <a:lnTo>
                    <a:pt x="552756" y="3287937"/>
                  </a:lnTo>
                  <a:lnTo>
                    <a:pt x="538460" y="3273642"/>
                  </a:lnTo>
                  <a:lnTo>
                    <a:pt x="524164" y="3245051"/>
                  </a:lnTo>
                  <a:lnTo>
                    <a:pt x="528930" y="3221226"/>
                  </a:lnTo>
                  <a:lnTo>
                    <a:pt x="543226" y="3202165"/>
                  </a:lnTo>
                  <a:lnTo>
                    <a:pt x="590876" y="3192635"/>
                  </a:lnTo>
                  <a:lnTo>
                    <a:pt x="600406" y="3183105"/>
                  </a:lnTo>
                  <a:lnTo>
                    <a:pt x="600406" y="3164044"/>
                  </a:lnTo>
                  <a:lnTo>
                    <a:pt x="595642" y="3154514"/>
                  </a:lnTo>
                  <a:lnTo>
                    <a:pt x="576580" y="3154514"/>
                  </a:lnTo>
                  <a:lnTo>
                    <a:pt x="562286" y="3144984"/>
                  </a:lnTo>
                  <a:lnTo>
                    <a:pt x="557520" y="3125923"/>
                  </a:lnTo>
                  <a:lnTo>
                    <a:pt x="562286" y="3116393"/>
                  </a:lnTo>
                  <a:lnTo>
                    <a:pt x="590876" y="3092567"/>
                  </a:lnTo>
                  <a:lnTo>
                    <a:pt x="605172" y="3083037"/>
                  </a:lnTo>
                  <a:lnTo>
                    <a:pt x="633762" y="3073507"/>
                  </a:lnTo>
                  <a:lnTo>
                    <a:pt x="681414" y="3092567"/>
                  </a:lnTo>
                  <a:lnTo>
                    <a:pt x="681414" y="3102098"/>
                  </a:lnTo>
                  <a:lnTo>
                    <a:pt x="671884" y="3125923"/>
                  </a:lnTo>
                  <a:lnTo>
                    <a:pt x="671884" y="3140219"/>
                  </a:lnTo>
                  <a:lnTo>
                    <a:pt x="681414" y="3140219"/>
                  </a:lnTo>
                  <a:lnTo>
                    <a:pt x="710004" y="3102098"/>
                  </a:lnTo>
                  <a:lnTo>
                    <a:pt x="738596" y="3097333"/>
                  </a:lnTo>
                  <a:lnTo>
                    <a:pt x="752890" y="3087802"/>
                  </a:lnTo>
                  <a:lnTo>
                    <a:pt x="767186" y="3083037"/>
                  </a:lnTo>
                  <a:lnTo>
                    <a:pt x="786246" y="3121158"/>
                  </a:lnTo>
                  <a:lnTo>
                    <a:pt x="795776" y="3130689"/>
                  </a:lnTo>
                  <a:lnTo>
                    <a:pt x="805308" y="3135453"/>
                  </a:lnTo>
                  <a:lnTo>
                    <a:pt x="810072" y="3164044"/>
                  </a:lnTo>
                  <a:lnTo>
                    <a:pt x="819602" y="3164044"/>
                  </a:lnTo>
                  <a:lnTo>
                    <a:pt x="829132" y="3149749"/>
                  </a:lnTo>
                  <a:lnTo>
                    <a:pt x="843428" y="3144984"/>
                  </a:lnTo>
                  <a:lnTo>
                    <a:pt x="867254" y="3140219"/>
                  </a:lnTo>
                  <a:lnTo>
                    <a:pt x="905374" y="3144984"/>
                  </a:lnTo>
                  <a:lnTo>
                    <a:pt x="924436" y="3140219"/>
                  </a:lnTo>
                  <a:lnTo>
                    <a:pt x="933966" y="3140219"/>
                  </a:lnTo>
                  <a:lnTo>
                    <a:pt x="924436" y="3116393"/>
                  </a:lnTo>
                  <a:lnTo>
                    <a:pt x="919670" y="3106863"/>
                  </a:lnTo>
                  <a:lnTo>
                    <a:pt x="929200" y="3083037"/>
                  </a:lnTo>
                  <a:lnTo>
                    <a:pt x="933966" y="3073507"/>
                  </a:lnTo>
                  <a:lnTo>
                    <a:pt x="962556" y="3059211"/>
                  </a:lnTo>
                  <a:lnTo>
                    <a:pt x="991148" y="3049681"/>
                  </a:lnTo>
                  <a:lnTo>
                    <a:pt x="1005442" y="3035386"/>
                  </a:lnTo>
                  <a:lnTo>
                    <a:pt x="1029268" y="3021091"/>
                  </a:lnTo>
                  <a:lnTo>
                    <a:pt x="1024502" y="3006795"/>
                  </a:lnTo>
                  <a:lnTo>
                    <a:pt x="1019738" y="2992500"/>
                  </a:lnTo>
                  <a:lnTo>
                    <a:pt x="1005442" y="2992500"/>
                  </a:lnTo>
                  <a:lnTo>
                    <a:pt x="995912" y="2987735"/>
                  </a:lnTo>
                  <a:lnTo>
                    <a:pt x="1014972" y="2968674"/>
                  </a:lnTo>
                  <a:lnTo>
                    <a:pt x="1043564" y="2949613"/>
                  </a:lnTo>
                  <a:lnTo>
                    <a:pt x="1038798" y="2940083"/>
                  </a:lnTo>
                  <a:lnTo>
                    <a:pt x="1019738" y="2930553"/>
                  </a:lnTo>
                  <a:lnTo>
                    <a:pt x="1005442" y="2940083"/>
                  </a:lnTo>
                  <a:lnTo>
                    <a:pt x="981616" y="2954379"/>
                  </a:lnTo>
                  <a:lnTo>
                    <a:pt x="957792" y="2978204"/>
                  </a:lnTo>
                  <a:lnTo>
                    <a:pt x="967322" y="2987735"/>
                  </a:lnTo>
                  <a:lnTo>
                    <a:pt x="976852" y="3006795"/>
                  </a:lnTo>
                  <a:lnTo>
                    <a:pt x="957792" y="3030621"/>
                  </a:lnTo>
                  <a:lnTo>
                    <a:pt x="867254" y="3102098"/>
                  </a:lnTo>
                  <a:lnTo>
                    <a:pt x="824368" y="3121158"/>
                  </a:lnTo>
                  <a:lnTo>
                    <a:pt x="800542" y="3121158"/>
                  </a:lnTo>
                  <a:lnTo>
                    <a:pt x="795776" y="3102098"/>
                  </a:lnTo>
                  <a:lnTo>
                    <a:pt x="786246" y="3087802"/>
                  </a:lnTo>
                  <a:lnTo>
                    <a:pt x="776716" y="3059211"/>
                  </a:lnTo>
                  <a:lnTo>
                    <a:pt x="762420" y="3059211"/>
                  </a:lnTo>
                  <a:lnTo>
                    <a:pt x="752890" y="3063977"/>
                  </a:lnTo>
                  <a:lnTo>
                    <a:pt x="748126" y="3054447"/>
                  </a:lnTo>
                  <a:lnTo>
                    <a:pt x="752890" y="3021091"/>
                  </a:lnTo>
                  <a:lnTo>
                    <a:pt x="767186" y="2997265"/>
                  </a:lnTo>
                  <a:lnTo>
                    <a:pt x="791012" y="2978204"/>
                  </a:lnTo>
                  <a:lnTo>
                    <a:pt x="805308" y="2954379"/>
                  </a:lnTo>
                  <a:lnTo>
                    <a:pt x="814838" y="2921023"/>
                  </a:lnTo>
                  <a:lnTo>
                    <a:pt x="852958" y="2887667"/>
                  </a:lnTo>
                  <a:lnTo>
                    <a:pt x="900610" y="2801895"/>
                  </a:lnTo>
                  <a:lnTo>
                    <a:pt x="943496" y="2773304"/>
                  </a:lnTo>
                  <a:lnTo>
                    <a:pt x="957792" y="2744713"/>
                  </a:lnTo>
                  <a:lnTo>
                    <a:pt x="986382" y="2730418"/>
                  </a:lnTo>
                  <a:lnTo>
                    <a:pt x="1005442" y="2706592"/>
                  </a:lnTo>
                  <a:lnTo>
                    <a:pt x="1024502" y="2701827"/>
                  </a:lnTo>
                  <a:lnTo>
                    <a:pt x="1053094" y="2682767"/>
                  </a:lnTo>
                  <a:lnTo>
                    <a:pt x="1067390" y="2654176"/>
                  </a:lnTo>
                  <a:lnTo>
                    <a:pt x="1057858" y="2654176"/>
                  </a:lnTo>
                  <a:lnTo>
                    <a:pt x="1029268" y="2673236"/>
                  </a:lnTo>
                  <a:lnTo>
                    <a:pt x="1014972" y="2678001"/>
                  </a:lnTo>
                  <a:lnTo>
                    <a:pt x="1019738" y="2649411"/>
                  </a:lnTo>
                  <a:lnTo>
                    <a:pt x="1024502" y="2620820"/>
                  </a:lnTo>
                  <a:lnTo>
                    <a:pt x="1048328" y="2596994"/>
                  </a:lnTo>
                  <a:lnTo>
                    <a:pt x="1153162" y="2520752"/>
                  </a:lnTo>
                  <a:lnTo>
                    <a:pt x="1162692" y="2535047"/>
                  </a:lnTo>
                  <a:lnTo>
                    <a:pt x="1172222" y="2554108"/>
                  </a:lnTo>
                  <a:lnTo>
                    <a:pt x="1205578" y="2549343"/>
                  </a:lnTo>
                  <a:lnTo>
                    <a:pt x="1243698" y="2506457"/>
                  </a:lnTo>
                  <a:lnTo>
                    <a:pt x="1267524" y="2463571"/>
                  </a:lnTo>
                  <a:lnTo>
                    <a:pt x="1253228" y="2468336"/>
                  </a:lnTo>
                  <a:lnTo>
                    <a:pt x="1238934" y="2487396"/>
                  </a:lnTo>
                  <a:lnTo>
                    <a:pt x="1205578" y="2515987"/>
                  </a:lnTo>
                  <a:lnTo>
                    <a:pt x="1191282" y="2520752"/>
                  </a:lnTo>
                  <a:lnTo>
                    <a:pt x="1181752" y="2515987"/>
                  </a:lnTo>
                  <a:lnTo>
                    <a:pt x="1176988" y="2496927"/>
                  </a:lnTo>
                  <a:lnTo>
                    <a:pt x="1167456" y="2492161"/>
                  </a:lnTo>
                  <a:lnTo>
                    <a:pt x="1157926" y="2496927"/>
                  </a:lnTo>
                  <a:lnTo>
                    <a:pt x="1148396" y="2482631"/>
                  </a:lnTo>
                  <a:lnTo>
                    <a:pt x="1143632" y="2454041"/>
                  </a:lnTo>
                  <a:lnTo>
                    <a:pt x="1157926" y="2406389"/>
                  </a:lnTo>
                  <a:lnTo>
                    <a:pt x="1167456" y="2377799"/>
                  </a:lnTo>
                  <a:lnTo>
                    <a:pt x="1181752" y="2353973"/>
                  </a:lnTo>
                  <a:lnTo>
                    <a:pt x="1224638" y="2287261"/>
                  </a:lnTo>
                  <a:lnTo>
                    <a:pt x="1234168" y="2249140"/>
                  </a:lnTo>
                  <a:lnTo>
                    <a:pt x="1253228" y="2230079"/>
                  </a:lnTo>
                  <a:lnTo>
                    <a:pt x="1281820" y="2234845"/>
                  </a:lnTo>
                  <a:lnTo>
                    <a:pt x="1286584" y="2225314"/>
                  </a:lnTo>
                  <a:lnTo>
                    <a:pt x="1277054" y="2201489"/>
                  </a:lnTo>
                  <a:lnTo>
                    <a:pt x="1248464" y="2182428"/>
                  </a:lnTo>
                  <a:lnTo>
                    <a:pt x="1248464" y="2172898"/>
                  </a:lnTo>
                  <a:lnTo>
                    <a:pt x="1343766" y="2139542"/>
                  </a:lnTo>
                  <a:lnTo>
                    <a:pt x="1386652" y="2139542"/>
                  </a:lnTo>
                  <a:lnTo>
                    <a:pt x="1400948" y="2125247"/>
                  </a:lnTo>
                  <a:lnTo>
                    <a:pt x="1424774" y="2115717"/>
                  </a:lnTo>
                  <a:lnTo>
                    <a:pt x="1443834" y="2096656"/>
                  </a:lnTo>
                  <a:lnTo>
                    <a:pt x="1434304" y="2087126"/>
                  </a:lnTo>
                  <a:lnTo>
                    <a:pt x="1386652" y="2106186"/>
                  </a:lnTo>
                  <a:lnTo>
                    <a:pt x="1362828" y="2115717"/>
                  </a:lnTo>
                  <a:lnTo>
                    <a:pt x="1348532" y="2110951"/>
                  </a:lnTo>
                  <a:lnTo>
                    <a:pt x="1339002" y="2120482"/>
                  </a:lnTo>
                  <a:lnTo>
                    <a:pt x="1300880" y="2120482"/>
                  </a:lnTo>
                  <a:lnTo>
                    <a:pt x="1291350" y="2044239"/>
                  </a:lnTo>
                  <a:lnTo>
                    <a:pt x="1300880" y="2001353"/>
                  </a:lnTo>
                  <a:lnTo>
                    <a:pt x="1310410" y="2001353"/>
                  </a:lnTo>
                  <a:lnTo>
                    <a:pt x="1315176" y="1963232"/>
                  </a:lnTo>
                  <a:lnTo>
                    <a:pt x="1329472" y="1939407"/>
                  </a:lnTo>
                  <a:lnTo>
                    <a:pt x="1353296" y="1929877"/>
                  </a:lnTo>
                  <a:lnTo>
                    <a:pt x="1362828" y="1920346"/>
                  </a:lnTo>
                  <a:lnTo>
                    <a:pt x="1381888" y="1901286"/>
                  </a:lnTo>
                  <a:lnTo>
                    <a:pt x="1405714" y="1906051"/>
                  </a:lnTo>
                  <a:lnTo>
                    <a:pt x="1434304" y="1901286"/>
                  </a:lnTo>
                  <a:lnTo>
                    <a:pt x="1424774" y="1891755"/>
                  </a:lnTo>
                  <a:lnTo>
                    <a:pt x="1391418" y="1877460"/>
                  </a:lnTo>
                  <a:lnTo>
                    <a:pt x="1386652" y="1858400"/>
                  </a:lnTo>
                  <a:lnTo>
                    <a:pt x="1396182" y="1844104"/>
                  </a:lnTo>
                  <a:lnTo>
                    <a:pt x="1410478" y="1834574"/>
                  </a:lnTo>
                  <a:lnTo>
                    <a:pt x="1420008" y="1834574"/>
                  </a:lnTo>
                  <a:lnTo>
                    <a:pt x="1443834" y="1791688"/>
                  </a:lnTo>
                  <a:lnTo>
                    <a:pt x="1458130" y="1772627"/>
                  </a:lnTo>
                  <a:lnTo>
                    <a:pt x="1472424" y="1772627"/>
                  </a:lnTo>
                  <a:lnTo>
                    <a:pt x="1491486" y="1753567"/>
                  </a:lnTo>
                  <a:lnTo>
                    <a:pt x="1510546" y="1763097"/>
                  </a:lnTo>
                  <a:lnTo>
                    <a:pt x="1534372" y="1748802"/>
                  </a:lnTo>
                  <a:lnTo>
                    <a:pt x="1558198" y="1739271"/>
                  </a:lnTo>
                  <a:lnTo>
                    <a:pt x="1658264" y="1739271"/>
                  </a:lnTo>
                  <a:lnTo>
                    <a:pt x="1663030" y="1720211"/>
                  </a:lnTo>
                  <a:lnTo>
                    <a:pt x="1643970" y="1715446"/>
                  </a:lnTo>
                  <a:lnTo>
                    <a:pt x="1567728" y="1710681"/>
                  </a:lnTo>
                  <a:lnTo>
                    <a:pt x="1529606" y="1710681"/>
                  </a:lnTo>
                  <a:lnTo>
                    <a:pt x="1515312" y="1715446"/>
                  </a:lnTo>
                  <a:lnTo>
                    <a:pt x="1505780" y="1710681"/>
                  </a:lnTo>
                  <a:lnTo>
                    <a:pt x="1510546" y="1701150"/>
                  </a:lnTo>
                  <a:lnTo>
                    <a:pt x="1524842" y="1682090"/>
                  </a:lnTo>
                  <a:lnTo>
                    <a:pt x="1529606" y="1663029"/>
                  </a:lnTo>
                  <a:lnTo>
                    <a:pt x="1558198" y="1615378"/>
                  </a:lnTo>
                  <a:lnTo>
                    <a:pt x="1591554" y="1586787"/>
                  </a:lnTo>
                  <a:lnTo>
                    <a:pt x="1615378" y="1596318"/>
                  </a:lnTo>
                  <a:lnTo>
                    <a:pt x="1639204" y="1624908"/>
                  </a:lnTo>
                  <a:lnTo>
                    <a:pt x="1658264" y="1629673"/>
                  </a:lnTo>
                  <a:lnTo>
                    <a:pt x="1667796" y="1639204"/>
                  </a:lnTo>
                  <a:lnTo>
                    <a:pt x="1682090" y="1677325"/>
                  </a:lnTo>
                  <a:lnTo>
                    <a:pt x="1686856" y="1677325"/>
                  </a:lnTo>
                  <a:lnTo>
                    <a:pt x="1686856" y="1639204"/>
                  </a:lnTo>
                  <a:lnTo>
                    <a:pt x="1701152" y="1605848"/>
                  </a:lnTo>
                  <a:lnTo>
                    <a:pt x="1696386" y="1601083"/>
                  </a:lnTo>
                  <a:lnTo>
                    <a:pt x="1672560" y="1610613"/>
                  </a:lnTo>
                  <a:lnTo>
                    <a:pt x="1648734" y="1601083"/>
                  </a:lnTo>
                  <a:lnTo>
                    <a:pt x="1634440" y="1577257"/>
                  </a:lnTo>
                  <a:lnTo>
                    <a:pt x="1629674" y="1553431"/>
                  </a:lnTo>
                  <a:lnTo>
                    <a:pt x="1639204" y="1534371"/>
                  </a:lnTo>
                  <a:lnTo>
                    <a:pt x="1648734" y="1520076"/>
                  </a:lnTo>
                  <a:lnTo>
                    <a:pt x="1643970" y="1505780"/>
                  </a:lnTo>
                  <a:lnTo>
                    <a:pt x="1601084" y="1543901"/>
                  </a:lnTo>
                  <a:lnTo>
                    <a:pt x="1572492" y="1548666"/>
                  </a:lnTo>
                  <a:lnTo>
                    <a:pt x="1562962" y="1543901"/>
                  </a:lnTo>
                  <a:lnTo>
                    <a:pt x="1567728" y="1515311"/>
                  </a:lnTo>
                  <a:lnTo>
                    <a:pt x="1562962" y="1491485"/>
                  </a:lnTo>
                  <a:lnTo>
                    <a:pt x="1601084" y="1429538"/>
                  </a:lnTo>
                  <a:lnTo>
                    <a:pt x="1615378" y="1420008"/>
                  </a:lnTo>
                  <a:lnTo>
                    <a:pt x="1639204" y="1424773"/>
                  </a:lnTo>
                  <a:lnTo>
                    <a:pt x="1658264" y="1443834"/>
                  </a:lnTo>
                  <a:lnTo>
                    <a:pt x="1672560" y="1443834"/>
                  </a:lnTo>
                  <a:lnTo>
                    <a:pt x="1691620" y="1434303"/>
                  </a:lnTo>
                  <a:lnTo>
                    <a:pt x="1691620" y="1415243"/>
                  </a:lnTo>
                  <a:lnTo>
                    <a:pt x="1648734" y="1410478"/>
                  </a:lnTo>
                  <a:lnTo>
                    <a:pt x="1639204" y="1396182"/>
                  </a:lnTo>
                  <a:lnTo>
                    <a:pt x="1643970" y="1381887"/>
                  </a:lnTo>
                  <a:lnTo>
                    <a:pt x="1672560" y="1367592"/>
                  </a:lnTo>
                  <a:lnTo>
                    <a:pt x="1696386" y="1343766"/>
                  </a:lnTo>
                  <a:lnTo>
                    <a:pt x="1729742" y="1334236"/>
                  </a:lnTo>
                  <a:lnTo>
                    <a:pt x="1753568" y="1315175"/>
                  </a:lnTo>
                  <a:lnTo>
                    <a:pt x="1758332" y="1319940"/>
                  </a:lnTo>
                  <a:lnTo>
                    <a:pt x="1763098" y="1329471"/>
                  </a:lnTo>
                  <a:lnTo>
                    <a:pt x="1772628" y="1400947"/>
                  </a:lnTo>
                  <a:lnTo>
                    <a:pt x="1791688" y="1458129"/>
                  </a:lnTo>
                  <a:lnTo>
                    <a:pt x="1801218" y="1458129"/>
                  </a:lnTo>
                  <a:lnTo>
                    <a:pt x="1791688" y="1410478"/>
                  </a:lnTo>
                  <a:lnTo>
                    <a:pt x="1801218" y="1396182"/>
                  </a:lnTo>
                  <a:lnTo>
                    <a:pt x="1810748" y="1386652"/>
                  </a:lnTo>
                  <a:lnTo>
                    <a:pt x="1810748" y="1372357"/>
                  </a:lnTo>
                  <a:lnTo>
                    <a:pt x="1801218" y="1367592"/>
                  </a:lnTo>
                  <a:lnTo>
                    <a:pt x="1791688" y="1348531"/>
                  </a:lnTo>
                  <a:lnTo>
                    <a:pt x="1777394" y="1291349"/>
                  </a:lnTo>
                  <a:lnTo>
                    <a:pt x="1782158" y="1277054"/>
                  </a:lnTo>
                  <a:lnTo>
                    <a:pt x="1810748" y="1248463"/>
                  </a:lnTo>
                  <a:lnTo>
                    <a:pt x="1848870" y="1238933"/>
                  </a:lnTo>
                  <a:lnTo>
                    <a:pt x="1886992" y="1262759"/>
                  </a:lnTo>
                  <a:lnTo>
                    <a:pt x="1901286" y="1262759"/>
                  </a:lnTo>
                  <a:lnTo>
                    <a:pt x="1920346" y="1257994"/>
                  </a:lnTo>
                  <a:lnTo>
                    <a:pt x="1958468" y="1238933"/>
                  </a:lnTo>
                  <a:lnTo>
                    <a:pt x="1982294" y="1229403"/>
                  </a:lnTo>
                  <a:lnTo>
                    <a:pt x="1991824" y="1229403"/>
                  </a:lnTo>
                  <a:lnTo>
                    <a:pt x="1996588" y="1224638"/>
                  </a:lnTo>
                  <a:lnTo>
                    <a:pt x="1987058" y="1215107"/>
                  </a:lnTo>
                  <a:lnTo>
                    <a:pt x="1982294" y="1210342"/>
                  </a:lnTo>
                  <a:lnTo>
                    <a:pt x="1972764" y="1205577"/>
                  </a:lnTo>
                  <a:lnTo>
                    <a:pt x="1939408" y="1215107"/>
                  </a:lnTo>
                  <a:lnTo>
                    <a:pt x="1844104" y="1215107"/>
                  </a:lnTo>
                  <a:lnTo>
                    <a:pt x="1834574" y="1205577"/>
                  </a:lnTo>
                  <a:lnTo>
                    <a:pt x="1829810" y="1186517"/>
                  </a:lnTo>
                  <a:lnTo>
                    <a:pt x="1839340" y="1162691"/>
                  </a:lnTo>
                  <a:lnTo>
                    <a:pt x="1853636" y="1148396"/>
                  </a:lnTo>
                  <a:lnTo>
                    <a:pt x="1891756" y="1119805"/>
                  </a:lnTo>
                  <a:lnTo>
                    <a:pt x="1929878" y="1115040"/>
                  </a:lnTo>
                  <a:lnTo>
                    <a:pt x="1967998" y="1072154"/>
                  </a:lnTo>
                  <a:lnTo>
                    <a:pt x="1982294" y="1038798"/>
                  </a:lnTo>
                  <a:lnTo>
                    <a:pt x="1991824" y="981616"/>
                  </a:lnTo>
                  <a:lnTo>
                    <a:pt x="2015650" y="938730"/>
                  </a:lnTo>
                  <a:lnTo>
                    <a:pt x="2077596" y="914905"/>
                  </a:lnTo>
                  <a:lnTo>
                    <a:pt x="2082362" y="905374"/>
                  </a:lnTo>
                  <a:lnTo>
                    <a:pt x="2072832" y="881549"/>
                  </a:lnTo>
                  <a:lnTo>
                    <a:pt x="2077596" y="843428"/>
                  </a:lnTo>
                  <a:lnTo>
                    <a:pt x="2091892" y="795776"/>
                  </a:lnTo>
                  <a:lnTo>
                    <a:pt x="2106186" y="776716"/>
                  </a:lnTo>
                  <a:lnTo>
                    <a:pt x="2110952" y="776716"/>
                  </a:lnTo>
                  <a:lnTo>
                    <a:pt x="2125248" y="791011"/>
                  </a:lnTo>
                  <a:lnTo>
                    <a:pt x="2139542" y="824367"/>
                  </a:lnTo>
                  <a:lnTo>
                    <a:pt x="2163368" y="843428"/>
                  </a:lnTo>
                  <a:lnTo>
                    <a:pt x="2196724" y="848193"/>
                  </a:lnTo>
                  <a:lnTo>
                    <a:pt x="2206254" y="838663"/>
                  </a:lnTo>
                  <a:lnTo>
                    <a:pt x="2182428" y="819602"/>
                  </a:lnTo>
                  <a:lnTo>
                    <a:pt x="2163368" y="795776"/>
                  </a:lnTo>
                  <a:lnTo>
                    <a:pt x="2158604" y="767186"/>
                  </a:lnTo>
                  <a:lnTo>
                    <a:pt x="2168134" y="752890"/>
                  </a:lnTo>
                  <a:lnTo>
                    <a:pt x="2182428" y="757655"/>
                  </a:lnTo>
                  <a:lnTo>
                    <a:pt x="2201490" y="752890"/>
                  </a:lnTo>
                  <a:lnTo>
                    <a:pt x="2220550" y="738595"/>
                  </a:lnTo>
                  <a:lnTo>
                    <a:pt x="2220550" y="724299"/>
                  </a:lnTo>
                  <a:lnTo>
                    <a:pt x="2220550" y="710004"/>
                  </a:lnTo>
                  <a:lnTo>
                    <a:pt x="2225316" y="690944"/>
                  </a:lnTo>
                  <a:lnTo>
                    <a:pt x="2249140" y="652823"/>
                  </a:lnTo>
                  <a:lnTo>
                    <a:pt x="2325382" y="628997"/>
                  </a:lnTo>
                  <a:lnTo>
                    <a:pt x="2334912" y="638527"/>
                  </a:lnTo>
                  <a:lnTo>
                    <a:pt x="2330148" y="714769"/>
                  </a:lnTo>
                  <a:lnTo>
                    <a:pt x="2320618" y="762421"/>
                  </a:lnTo>
                  <a:lnTo>
                    <a:pt x="2320618" y="795776"/>
                  </a:lnTo>
                  <a:lnTo>
                    <a:pt x="2334912" y="762421"/>
                  </a:lnTo>
                  <a:lnTo>
                    <a:pt x="2353974" y="662353"/>
                  </a:lnTo>
                  <a:lnTo>
                    <a:pt x="2368268" y="619467"/>
                  </a:lnTo>
                  <a:lnTo>
                    <a:pt x="2387330" y="590876"/>
                  </a:lnTo>
                  <a:lnTo>
                    <a:pt x="2396860" y="586111"/>
                  </a:lnTo>
                  <a:lnTo>
                    <a:pt x="2411156" y="571815"/>
                  </a:lnTo>
                  <a:lnTo>
                    <a:pt x="2425450" y="562285"/>
                  </a:lnTo>
                  <a:lnTo>
                    <a:pt x="2430216" y="576581"/>
                  </a:lnTo>
                  <a:lnTo>
                    <a:pt x="2434980" y="600406"/>
                  </a:lnTo>
                  <a:lnTo>
                    <a:pt x="2425450" y="686179"/>
                  </a:lnTo>
                  <a:lnTo>
                    <a:pt x="2430216" y="710004"/>
                  </a:lnTo>
                  <a:lnTo>
                    <a:pt x="2420686" y="748125"/>
                  </a:lnTo>
                  <a:lnTo>
                    <a:pt x="2382564" y="829132"/>
                  </a:lnTo>
                  <a:lnTo>
                    <a:pt x="2382564" y="838663"/>
                  </a:lnTo>
                  <a:lnTo>
                    <a:pt x="2392094" y="833897"/>
                  </a:lnTo>
                  <a:lnTo>
                    <a:pt x="2406390" y="819602"/>
                  </a:lnTo>
                  <a:lnTo>
                    <a:pt x="2454042" y="743360"/>
                  </a:lnTo>
                  <a:lnTo>
                    <a:pt x="2492162" y="752890"/>
                  </a:lnTo>
                  <a:lnTo>
                    <a:pt x="2492162" y="748125"/>
                  </a:lnTo>
                  <a:lnTo>
                    <a:pt x="2477866" y="729065"/>
                  </a:lnTo>
                  <a:lnTo>
                    <a:pt x="2463572" y="705239"/>
                  </a:lnTo>
                  <a:lnTo>
                    <a:pt x="2458806" y="676648"/>
                  </a:lnTo>
                  <a:lnTo>
                    <a:pt x="2463572" y="605171"/>
                  </a:lnTo>
                  <a:lnTo>
                    <a:pt x="2473102" y="576581"/>
                  </a:lnTo>
                  <a:lnTo>
                    <a:pt x="2506458" y="581346"/>
                  </a:lnTo>
                  <a:lnTo>
                    <a:pt x="2530284" y="576581"/>
                  </a:lnTo>
                  <a:lnTo>
                    <a:pt x="2535048" y="590876"/>
                  </a:lnTo>
                  <a:lnTo>
                    <a:pt x="2558874" y="590876"/>
                  </a:lnTo>
                  <a:lnTo>
                    <a:pt x="2573170" y="538460"/>
                  </a:lnTo>
                  <a:lnTo>
                    <a:pt x="2601760" y="533694"/>
                  </a:lnTo>
                  <a:lnTo>
                    <a:pt x="2625586" y="567050"/>
                  </a:lnTo>
                  <a:lnTo>
                    <a:pt x="2654176" y="590876"/>
                  </a:lnTo>
                  <a:lnTo>
                    <a:pt x="2678002" y="624232"/>
                  </a:lnTo>
                  <a:lnTo>
                    <a:pt x="2682768" y="614702"/>
                  </a:lnTo>
                  <a:lnTo>
                    <a:pt x="2673236" y="538460"/>
                  </a:lnTo>
                  <a:lnTo>
                    <a:pt x="2658942" y="509869"/>
                  </a:lnTo>
                  <a:lnTo>
                    <a:pt x="2625586" y="495573"/>
                  </a:lnTo>
                  <a:lnTo>
                    <a:pt x="2596996" y="457452"/>
                  </a:lnTo>
                  <a:lnTo>
                    <a:pt x="2587464" y="443157"/>
                  </a:lnTo>
                  <a:lnTo>
                    <a:pt x="2587464" y="428862"/>
                  </a:lnTo>
                  <a:lnTo>
                    <a:pt x="2616056" y="419331"/>
                  </a:lnTo>
                  <a:lnTo>
                    <a:pt x="2654176" y="433627"/>
                  </a:lnTo>
                  <a:lnTo>
                    <a:pt x="2687532" y="405036"/>
                  </a:lnTo>
                  <a:lnTo>
                    <a:pt x="2697062" y="409801"/>
                  </a:lnTo>
                  <a:lnTo>
                    <a:pt x="2720888" y="395506"/>
                  </a:lnTo>
                  <a:lnTo>
                    <a:pt x="2739948" y="419331"/>
                  </a:lnTo>
                  <a:lnTo>
                    <a:pt x="2749480" y="409801"/>
                  </a:lnTo>
                  <a:lnTo>
                    <a:pt x="2754244" y="381210"/>
                  </a:lnTo>
                  <a:lnTo>
                    <a:pt x="2797130" y="366915"/>
                  </a:lnTo>
                  <a:lnTo>
                    <a:pt x="2820956" y="381210"/>
                  </a:lnTo>
                  <a:lnTo>
                    <a:pt x="2835252" y="400271"/>
                  </a:lnTo>
                  <a:lnTo>
                    <a:pt x="2840016" y="428862"/>
                  </a:lnTo>
                  <a:lnTo>
                    <a:pt x="2849546" y="490808"/>
                  </a:lnTo>
                  <a:lnTo>
                    <a:pt x="2873372" y="524164"/>
                  </a:lnTo>
                  <a:lnTo>
                    <a:pt x="2882902" y="543225"/>
                  </a:lnTo>
                  <a:lnTo>
                    <a:pt x="2897198" y="547990"/>
                  </a:lnTo>
                  <a:lnTo>
                    <a:pt x="2906728" y="528929"/>
                  </a:lnTo>
                  <a:lnTo>
                    <a:pt x="2892432" y="509869"/>
                  </a:lnTo>
                  <a:lnTo>
                    <a:pt x="2887668" y="490808"/>
                  </a:lnTo>
                  <a:lnTo>
                    <a:pt x="2897198" y="443157"/>
                  </a:lnTo>
                  <a:lnTo>
                    <a:pt x="2901964" y="424097"/>
                  </a:lnTo>
                  <a:lnTo>
                    <a:pt x="2949614" y="352620"/>
                  </a:lnTo>
                  <a:lnTo>
                    <a:pt x="2982970" y="319264"/>
                  </a:lnTo>
                  <a:lnTo>
                    <a:pt x="3006796" y="314499"/>
                  </a:lnTo>
                  <a:lnTo>
                    <a:pt x="3044916" y="233491"/>
                  </a:lnTo>
                  <a:lnTo>
                    <a:pt x="3054448" y="214431"/>
                  </a:lnTo>
                  <a:lnTo>
                    <a:pt x="3068742" y="214431"/>
                  </a:lnTo>
                  <a:lnTo>
                    <a:pt x="3063978" y="190605"/>
                  </a:lnTo>
                  <a:lnTo>
                    <a:pt x="3044916" y="181075"/>
                  </a:lnTo>
                  <a:lnTo>
                    <a:pt x="3040152" y="152484"/>
                  </a:lnTo>
                  <a:lnTo>
                    <a:pt x="3068742" y="123894"/>
                  </a:lnTo>
                  <a:lnTo>
                    <a:pt x="3102098" y="71477"/>
                  </a:lnTo>
                  <a:lnTo>
                    <a:pt x="3121160" y="66712"/>
                  </a:lnTo>
                  <a:lnTo>
                    <a:pt x="3130690" y="81007"/>
                  </a:lnTo>
                  <a:lnTo>
                    <a:pt x="3164046" y="104833"/>
                  </a:lnTo>
                  <a:lnTo>
                    <a:pt x="3183106" y="133424"/>
                  </a:lnTo>
                  <a:lnTo>
                    <a:pt x="3197402" y="147719"/>
                  </a:lnTo>
                  <a:lnTo>
                    <a:pt x="3206932" y="142954"/>
                  </a:lnTo>
                  <a:lnTo>
                    <a:pt x="3216462" y="123894"/>
                  </a:lnTo>
                  <a:lnTo>
                    <a:pt x="3225992" y="114363"/>
                  </a:lnTo>
                  <a:lnTo>
                    <a:pt x="3245052" y="119128"/>
                  </a:lnTo>
                  <a:lnTo>
                    <a:pt x="3259348" y="133424"/>
                  </a:lnTo>
                  <a:lnTo>
                    <a:pt x="3268878" y="133424"/>
                  </a:lnTo>
                  <a:lnTo>
                    <a:pt x="3278408" y="142954"/>
                  </a:lnTo>
                  <a:lnTo>
                    <a:pt x="3278408" y="157249"/>
                  </a:lnTo>
                  <a:lnTo>
                    <a:pt x="3259348" y="176310"/>
                  </a:lnTo>
                  <a:lnTo>
                    <a:pt x="3230756" y="228726"/>
                  </a:lnTo>
                  <a:lnTo>
                    <a:pt x="3202166" y="281143"/>
                  </a:lnTo>
                  <a:lnTo>
                    <a:pt x="3187872" y="314499"/>
                  </a:lnTo>
                  <a:lnTo>
                    <a:pt x="3178340" y="390741"/>
                  </a:lnTo>
                  <a:lnTo>
                    <a:pt x="3154516" y="438392"/>
                  </a:lnTo>
                  <a:lnTo>
                    <a:pt x="3154516" y="471748"/>
                  </a:lnTo>
                  <a:lnTo>
                    <a:pt x="3164046" y="490808"/>
                  </a:lnTo>
                  <a:lnTo>
                    <a:pt x="3187872" y="476513"/>
                  </a:lnTo>
                  <a:lnTo>
                    <a:pt x="3221226" y="428862"/>
                  </a:lnTo>
                  <a:lnTo>
                    <a:pt x="3230756" y="381210"/>
                  </a:lnTo>
                  <a:lnTo>
                    <a:pt x="3311764" y="247787"/>
                  </a:lnTo>
                  <a:lnTo>
                    <a:pt x="3349886" y="176310"/>
                  </a:lnTo>
                  <a:lnTo>
                    <a:pt x="3392772" y="114363"/>
                  </a:lnTo>
                  <a:lnTo>
                    <a:pt x="3416596" y="100068"/>
                  </a:lnTo>
                  <a:lnTo>
                    <a:pt x="3426128" y="142954"/>
                  </a:lnTo>
                  <a:lnTo>
                    <a:pt x="3416596" y="195370"/>
                  </a:lnTo>
                  <a:lnTo>
                    <a:pt x="3402302" y="228726"/>
                  </a:lnTo>
                  <a:lnTo>
                    <a:pt x="3411832" y="243022"/>
                  </a:lnTo>
                  <a:lnTo>
                    <a:pt x="3411832" y="285908"/>
                  </a:lnTo>
                  <a:lnTo>
                    <a:pt x="3407066" y="304968"/>
                  </a:lnTo>
                  <a:lnTo>
                    <a:pt x="3402302" y="328794"/>
                  </a:lnTo>
                  <a:lnTo>
                    <a:pt x="3402302" y="347854"/>
                  </a:lnTo>
                  <a:lnTo>
                    <a:pt x="3416596" y="343089"/>
                  </a:lnTo>
                  <a:lnTo>
                    <a:pt x="3469014" y="300203"/>
                  </a:lnTo>
                  <a:lnTo>
                    <a:pt x="3478544" y="257317"/>
                  </a:lnTo>
                  <a:lnTo>
                    <a:pt x="3492840" y="223961"/>
                  </a:lnTo>
                  <a:lnTo>
                    <a:pt x="3497604" y="190605"/>
                  </a:lnTo>
                  <a:lnTo>
                    <a:pt x="3516664" y="166780"/>
                  </a:lnTo>
                  <a:lnTo>
                    <a:pt x="3554786" y="162015"/>
                  </a:lnTo>
                  <a:lnTo>
                    <a:pt x="3554786" y="152484"/>
                  </a:lnTo>
                  <a:lnTo>
                    <a:pt x="3511900" y="114363"/>
                  </a:lnTo>
                  <a:lnTo>
                    <a:pt x="3507134" y="95303"/>
                  </a:lnTo>
                  <a:lnTo>
                    <a:pt x="3521430" y="71477"/>
                  </a:lnTo>
                  <a:close/>
                  <a:moveTo>
                    <a:pt x="3249816" y="0"/>
                  </a:moveTo>
                  <a:lnTo>
                    <a:pt x="3287938" y="19060"/>
                  </a:lnTo>
                  <a:lnTo>
                    <a:pt x="3302234" y="19060"/>
                  </a:lnTo>
                  <a:lnTo>
                    <a:pt x="3326058" y="52416"/>
                  </a:lnTo>
                  <a:lnTo>
                    <a:pt x="3335588" y="52416"/>
                  </a:lnTo>
                  <a:lnTo>
                    <a:pt x="3335588" y="71477"/>
                  </a:lnTo>
                  <a:lnTo>
                    <a:pt x="3311764" y="81007"/>
                  </a:lnTo>
                  <a:lnTo>
                    <a:pt x="3278408" y="90537"/>
                  </a:lnTo>
                  <a:lnTo>
                    <a:pt x="3273642" y="90537"/>
                  </a:lnTo>
                  <a:lnTo>
                    <a:pt x="3249816" y="90537"/>
                  </a:lnTo>
                  <a:lnTo>
                    <a:pt x="3230756" y="61946"/>
                  </a:lnTo>
                  <a:lnTo>
                    <a:pt x="3206932" y="52416"/>
                  </a:lnTo>
                  <a:lnTo>
                    <a:pt x="3206932" y="47651"/>
                  </a:lnTo>
                  <a:lnTo>
                    <a:pt x="3221226" y="2382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3" name="Freeform 261">
              <a:extLst>
                <a:ext uri="{FF2B5EF4-FFF2-40B4-BE49-F238E27FC236}">
                  <a16:creationId xmlns:a16="http://schemas.microsoft.com/office/drawing/2014/main" id="{51780C69-701B-4813-9334-1CEC88E1C370}"/>
                </a:ext>
              </a:extLst>
            </p:cNvPr>
            <p:cNvSpPr/>
            <p:nvPr/>
          </p:nvSpPr>
          <p:spPr bwMode="auto">
            <a:xfrm>
              <a:off x="3458370" y="1234729"/>
              <a:ext cx="1638113" cy="2277555"/>
            </a:xfrm>
            <a:custGeom>
              <a:avLst/>
              <a:gdLst>
                <a:gd name="connsiteX0" fmla="*/ 4155192 w 10125896"/>
                <a:gd name="connsiteY0" fmla="*/ 13721183 h 14078567"/>
                <a:gd name="connsiteX1" fmla="*/ 4155192 w 10125896"/>
                <a:gd name="connsiteY1" fmla="*/ 13740243 h 14078567"/>
                <a:gd name="connsiteX2" fmla="*/ 4150424 w 10125896"/>
                <a:gd name="connsiteY2" fmla="*/ 13754539 h 14078567"/>
                <a:gd name="connsiteX3" fmla="*/ 4150424 w 10125896"/>
                <a:gd name="connsiteY3" fmla="*/ 13773599 h 14078567"/>
                <a:gd name="connsiteX4" fmla="*/ 4131364 w 10125896"/>
                <a:gd name="connsiteY4" fmla="*/ 13811720 h 14078567"/>
                <a:gd name="connsiteX5" fmla="*/ 4112304 w 10125896"/>
                <a:gd name="connsiteY5" fmla="*/ 13802190 h 14078567"/>
                <a:gd name="connsiteX6" fmla="*/ 4102772 w 10125896"/>
                <a:gd name="connsiteY6" fmla="*/ 13787894 h 14078567"/>
                <a:gd name="connsiteX7" fmla="*/ 4083712 w 10125896"/>
                <a:gd name="connsiteY7" fmla="*/ 13778364 h 14078567"/>
                <a:gd name="connsiteX8" fmla="*/ 4064652 w 10125896"/>
                <a:gd name="connsiteY8" fmla="*/ 13783129 h 14078567"/>
                <a:gd name="connsiteX9" fmla="*/ 4064652 w 10125896"/>
                <a:gd name="connsiteY9" fmla="*/ 13773599 h 14078567"/>
                <a:gd name="connsiteX10" fmla="*/ 4126600 w 10125896"/>
                <a:gd name="connsiteY10" fmla="*/ 13730713 h 14078567"/>
                <a:gd name="connsiteX11" fmla="*/ 5589492 w 10125896"/>
                <a:gd name="connsiteY11" fmla="*/ 12053388 h 14078567"/>
                <a:gd name="connsiteX12" fmla="*/ 5603788 w 10125896"/>
                <a:gd name="connsiteY12" fmla="*/ 12077214 h 14078567"/>
                <a:gd name="connsiteX13" fmla="*/ 5599024 w 10125896"/>
                <a:gd name="connsiteY13" fmla="*/ 12110570 h 14078567"/>
                <a:gd name="connsiteX14" fmla="*/ 5589492 w 10125896"/>
                <a:gd name="connsiteY14" fmla="*/ 12124865 h 14078567"/>
                <a:gd name="connsiteX15" fmla="*/ 5565668 w 10125896"/>
                <a:gd name="connsiteY15" fmla="*/ 12124865 h 14078567"/>
                <a:gd name="connsiteX16" fmla="*/ 5556140 w 10125896"/>
                <a:gd name="connsiteY16" fmla="*/ 12096274 h 14078567"/>
                <a:gd name="connsiteX17" fmla="*/ 5560904 w 10125896"/>
                <a:gd name="connsiteY17" fmla="*/ 12062918 h 14078567"/>
                <a:gd name="connsiteX18" fmla="*/ 3392772 w 10125896"/>
                <a:gd name="connsiteY18" fmla="*/ 10309352 h 14078567"/>
                <a:gd name="connsiteX19" fmla="*/ 3416596 w 10125896"/>
                <a:gd name="connsiteY19" fmla="*/ 10318882 h 14078567"/>
                <a:gd name="connsiteX20" fmla="*/ 3459484 w 10125896"/>
                <a:gd name="connsiteY20" fmla="*/ 10342708 h 14078567"/>
                <a:gd name="connsiteX21" fmla="*/ 3454716 w 10125896"/>
                <a:gd name="connsiteY21" fmla="*/ 10352238 h 14078567"/>
                <a:gd name="connsiteX22" fmla="*/ 3445188 w 10125896"/>
                <a:gd name="connsiteY22" fmla="*/ 10366534 h 14078567"/>
                <a:gd name="connsiteX23" fmla="*/ 3421360 w 10125896"/>
                <a:gd name="connsiteY23" fmla="*/ 10385594 h 14078567"/>
                <a:gd name="connsiteX24" fmla="*/ 3411832 w 10125896"/>
                <a:gd name="connsiteY24" fmla="*/ 10428480 h 14078567"/>
                <a:gd name="connsiteX25" fmla="*/ 3411832 w 10125896"/>
                <a:gd name="connsiteY25" fmla="*/ 10447541 h 14078567"/>
                <a:gd name="connsiteX26" fmla="*/ 3411832 w 10125896"/>
                <a:gd name="connsiteY26" fmla="*/ 10466601 h 14078567"/>
                <a:gd name="connsiteX27" fmla="*/ 3407064 w 10125896"/>
                <a:gd name="connsiteY27" fmla="*/ 10476131 h 14078567"/>
                <a:gd name="connsiteX28" fmla="*/ 3383240 w 10125896"/>
                <a:gd name="connsiteY28" fmla="*/ 10495192 h 14078567"/>
                <a:gd name="connsiteX29" fmla="*/ 3378476 w 10125896"/>
                <a:gd name="connsiteY29" fmla="*/ 10490427 h 14078567"/>
                <a:gd name="connsiteX30" fmla="*/ 3373708 w 10125896"/>
                <a:gd name="connsiteY30" fmla="*/ 10480897 h 14078567"/>
                <a:gd name="connsiteX31" fmla="*/ 3359416 w 10125896"/>
                <a:gd name="connsiteY31" fmla="*/ 10423715 h 14078567"/>
                <a:gd name="connsiteX32" fmla="*/ 3354648 w 10125896"/>
                <a:gd name="connsiteY32" fmla="*/ 10399889 h 14078567"/>
                <a:gd name="connsiteX33" fmla="*/ 3359416 w 10125896"/>
                <a:gd name="connsiteY33" fmla="*/ 10366534 h 14078567"/>
                <a:gd name="connsiteX34" fmla="*/ 3354648 w 10125896"/>
                <a:gd name="connsiteY34" fmla="*/ 10342708 h 14078567"/>
                <a:gd name="connsiteX35" fmla="*/ 3373708 w 10125896"/>
                <a:gd name="connsiteY35" fmla="*/ 10314117 h 14078567"/>
                <a:gd name="connsiteX36" fmla="*/ 2882900 w 10125896"/>
                <a:gd name="connsiteY36" fmla="*/ 10128277 h 14078567"/>
                <a:gd name="connsiteX37" fmla="*/ 2940084 w 10125896"/>
                <a:gd name="connsiteY37" fmla="*/ 10137807 h 14078567"/>
                <a:gd name="connsiteX38" fmla="*/ 3040152 w 10125896"/>
                <a:gd name="connsiteY38" fmla="*/ 10175928 h 14078567"/>
                <a:gd name="connsiteX39" fmla="*/ 3049680 w 10125896"/>
                <a:gd name="connsiteY39" fmla="*/ 10180693 h 14078567"/>
                <a:gd name="connsiteX40" fmla="*/ 3078272 w 10125896"/>
                <a:gd name="connsiteY40" fmla="*/ 10209284 h 14078567"/>
                <a:gd name="connsiteX41" fmla="*/ 3140220 w 10125896"/>
                <a:gd name="connsiteY41" fmla="*/ 10299822 h 14078567"/>
                <a:gd name="connsiteX42" fmla="*/ 3192636 w 10125896"/>
                <a:gd name="connsiteY42" fmla="*/ 10337943 h 14078567"/>
                <a:gd name="connsiteX43" fmla="*/ 3245052 w 10125896"/>
                <a:gd name="connsiteY43" fmla="*/ 10361768 h 14078567"/>
                <a:gd name="connsiteX44" fmla="*/ 3249816 w 10125896"/>
                <a:gd name="connsiteY44" fmla="*/ 10376064 h 14078567"/>
                <a:gd name="connsiteX45" fmla="*/ 3254580 w 10125896"/>
                <a:gd name="connsiteY45" fmla="*/ 10395124 h 14078567"/>
                <a:gd name="connsiteX46" fmla="*/ 3254580 w 10125896"/>
                <a:gd name="connsiteY46" fmla="*/ 10399889 h 14078567"/>
                <a:gd name="connsiteX47" fmla="*/ 3254580 w 10125896"/>
                <a:gd name="connsiteY47" fmla="*/ 10409420 h 14078567"/>
                <a:gd name="connsiteX48" fmla="*/ 3249816 w 10125896"/>
                <a:gd name="connsiteY48" fmla="*/ 10418950 h 14078567"/>
                <a:gd name="connsiteX49" fmla="*/ 3254580 w 10125896"/>
                <a:gd name="connsiteY49" fmla="*/ 10428480 h 14078567"/>
                <a:gd name="connsiteX50" fmla="*/ 3268876 w 10125896"/>
                <a:gd name="connsiteY50" fmla="*/ 10442775 h 14078567"/>
                <a:gd name="connsiteX51" fmla="*/ 3268876 w 10125896"/>
                <a:gd name="connsiteY51" fmla="*/ 10457071 h 14078567"/>
                <a:gd name="connsiteX52" fmla="*/ 3254580 w 10125896"/>
                <a:gd name="connsiteY52" fmla="*/ 10480897 h 14078567"/>
                <a:gd name="connsiteX53" fmla="*/ 3235520 w 10125896"/>
                <a:gd name="connsiteY53" fmla="*/ 10504722 h 14078567"/>
                <a:gd name="connsiteX54" fmla="*/ 3130688 w 10125896"/>
                <a:gd name="connsiteY54" fmla="*/ 10561904 h 14078567"/>
                <a:gd name="connsiteX55" fmla="*/ 3097332 w 10125896"/>
                <a:gd name="connsiteY55" fmla="*/ 10571434 h 14078567"/>
                <a:gd name="connsiteX56" fmla="*/ 3006796 w 10125896"/>
                <a:gd name="connsiteY56" fmla="*/ 10609555 h 14078567"/>
                <a:gd name="connsiteX57" fmla="*/ 2978204 w 10125896"/>
                <a:gd name="connsiteY57" fmla="*/ 10609555 h 14078567"/>
                <a:gd name="connsiteX58" fmla="*/ 2973440 w 10125896"/>
                <a:gd name="connsiteY58" fmla="*/ 10604790 h 14078567"/>
                <a:gd name="connsiteX59" fmla="*/ 2954380 w 10125896"/>
                <a:gd name="connsiteY59" fmla="*/ 10590495 h 14078567"/>
                <a:gd name="connsiteX60" fmla="*/ 2930552 w 10125896"/>
                <a:gd name="connsiteY60" fmla="*/ 10576199 h 14078567"/>
                <a:gd name="connsiteX61" fmla="*/ 2921024 w 10125896"/>
                <a:gd name="connsiteY61" fmla="*/ 10561904 h 14078567"/>
                <a:gd name="connsiteX62" fmla="*/ 2911492 w 10125896"/>
                <a:gd name="connsiteY62" fmla="*/ 10542843 h 14078567"/>
                <a:gd name="connsiteX63" fmla="*/ 2916256 w 10125896"/>
                <a:gd name="connsiteY63" fmla="*/ 10533313 h 14078567"/>
                <a:gd name="connsiteX64" fmla="*/ 2930552 w 10125896"/>
                <a:gd name="connsiteY64" fmla="*/ 10528548 h 14078567"/>
                <a:gd name="connsiteX65" fmla="*/ 2959144 w 10125896"/>
                <a:gd name="connsiteY65" fmla="*/ 10528548 h 14078567"/>
                <a:gd name="connsiteX66" fmla="*/ 2992500 w 10125896"/>
                <a:gd name="connsiteY66" fmla="*/ 10519018 h 14078567"/>
                <a:gd name="connsiteX67" fmla="*/ 2982968 w 10125896"/>
                <a:gd name="connsiteY67" fmla="*/ 10504722 h 14078567"/>
                <a:gd name="connsiteX68" fmla="*/ 2973440 w 10125896"/>
                <a:gd name="connsiteY68" fmla="*/ 10499957 h 14078567"/>
                <a:gd name="connsiteX69" fmla="*/ 2968672 w 10125896"/>
                <a:gd name="connsiteY69" fmla="*/ 10485662 h 14078567"/>
                <a:gd name="connsiteX70" fmla="*/ 2954380 w 10125896"/>
                <a:gd name="connsiteY70" fmla="*/ 10485662 h 14078567"/>
                <a:gd name="connsiteX71" fmla="*/ 2940084 w 10125896"/>
                <a:gd name="connsiteY71" fmla="*/ 10476131 h 14078567"/>
                <a:gd name="connsiteX72" fmla="*/ 2921024 w 10125896"/>
                <a:gd name="connsiteY72" fmla="*/ 10471366 h 14078567"/>
                <a:gd name="connsiteX73" fmla="*/ 2863840 w 10125896"/>
                <a:gd name="connsiteY73" fmla="*/ 10466601 h 14078567"/>
                <a:gd name="connsiteX74" fmla="*/ 2825720 w 10125896"/>
                <a:gd name="connsiteY74" fmla="*/ 10452306 h 14078567"/>
                <a:gd name="connsiteX75" fmla="*/ 2816188 w 10125896"/>
                <a:gd name="connsiteY75" fmla="*/ 10442775 h 14078567"/>
                <a:gd name="connsiteX76" fmla="*/ 2806660 w 10125896"/>
                <a:gd name="connsiteY76" fmla="*/ 10428480 h 14078567"/>
                <a:gd name="connsiteX77" fmla="*/ 2797128 w 10125896"/>
                <a:gd name="connsiteY77" fmla="*/ 10404654 h 14078567"/>
                <a:gd name="connsiteX78" fmla="*/ 2806660 w 10125896"/>
                <a:gd name="connsiteY78" fmla="*/ 10318882 h 14078567"/>
                <a:gd name="connsiteX79" fmla="*/ 2816188 w 10125896"/>
                <a:gd name="connsiteY79" fmla="*/ 10299822 h 14078567"/>
                <a:gd name="connsiteX80" fmla="*/ 2835252 w 10125896"/>
                <a:gd name="connsiteY80" fmla="*/ 10290291 h 14078567"/>
                <a:gd name="connsiteX81" fmla="*/ 2882900 w 10125896"/>
                <a:gd name="connsiteY81" fmla="*/ 10309352 h 14078567"/>
                <a:gd name="connsiteX82" fmla="*/ 2887668 w 10125896"/>
                <a:gd name="connsiteY82" fmla="*/ 10304587 h 14078567"/>
                <a:gd name="connsiteX83" fmla="*/ 2840016 w 10125896"/>
                <a:gd name="connsiteY83" fmla="*/ 10271231 h 14078567"/>
                <a:gd name="connsiteX84" fmla="*/ 2820956 w 10125896"/>
                <a:gd name="connsiteY84" fmla="*/ 10252170 h 14078567"/>
                <a:gd name="connsiteX85" fmla="*/ 2811424 w 10125896"/>
                <a:gd name="connsiteY85" fmla="*/ 10237875 h 14078567"/>
                <a:gd name="connsiteX86" fmla="*/ 2811424 w 10125896"/>
                <a:gd name="connsiteY86" fmla="*/ 10214049 h 14078567"/>
                <a:gd name="connsiteX87" fmla="*/ 2811424 w 10125896"/>
                <a:gd name="connsiteY87" fmla="*/ 10204519 h 14078567"/>
                <a:gd name="connsiteX88" fmla="*/ 2811424 w 10125896"/>
                <a:gd name="connsiteY88" fmla="*/ 10190224 h 14078567"/>
                <a:gd name="connsiteX89" fmla="*/ 2816188 w 10125896"/>
                <a:gd name="connsiteY89" fmla="*/ 10175928 h 14078567"/>
                <a:gd name="connsiteX90" fmla="*/ 2830484 w 10125896"/>
                <a:gd name="connsiteY90" fmla="*/ 10156868 h 14078567"/>
                <a:gd name="connsiteX91" fmla="*/ 3259348 w 10125896"/>
                <a:gd name="connsiteY91" fmla="*/ 9818544 h 14078567"/>
                <a:gd name="connsiteX92" fmla="*/ 3283172 w 10125896"/>
                <a:gd name="connsiteY92" fmla="*/ 9837605 h 14078567"/>
                <a:gd name="connsiteX93" fmla="*/ 3311764 w 10125896"/>
                <a:gd name="connsiteY93" fmla="*/ 9861430 h 14078567"/>
                <a:gd name="connsiteX94" fmla="*/ 3311764 w 10125896"/>
                <a:gd name="connsiteY94" fmla="*/ 9870961 h 14078567"/>
                <a:gd name="connsiteX95" fmla="*/ 3302232 w 10125896"/>
                <a:gd name="connsiteY95" fmla="*/ 9875726 h 14078567"/>
                <a:gd name="connsiteX96" fmla="*/ 3283172 w 10125896"/>
                <a:gd name="connsiteY96" fmla="*/ 9880491 h 14078567"/>
                <a:gd name="connsiteX97" fmla="*/ 3235520 w 10125896"/>
                <a:gd name="connsiteY97" fmla="*/ 9870961 h 14078567"/>
                <a:gd name="connsiteX98" fmla="*/ 3230756 w 10125896"/>
                <a:gd name="connsiteY98" fmla="*/ 9866196 h 14078567"/>
                <a:gd name="connsiteX99" fmla="*/ 3230756 w 10125896"/>
                <a:gd name="connsiteY99" fmla="*/ 9851900 h 14078567"/>
                <a:gd name="connsiteX100" fmla="*/ 3235520 w 10125896"/>
                <a:gd name="connsiteY100" fmla="*/ 9823309 h 14078567"/>
                <a:gd name="connsiteX101" fmla="*/ 7343060 w 10125896"/>
                <a:gd name="connsiteY101" fmla="*/ 9785188 h 14078567"/>
                <a:gd name="connsiteX102" fmla="*/ 7357356 w 10125896"/>
                <a:gd name="connsiteY102" fmla="*/ 9789953 h 14078567"/>
                <a:gd name="connsiteX103" fmla="*/ 7366884 w 10125896"/>
                <a:gd name="connsiteY103" fmla="*/ 9809014 h 14078567"/>
                <a:gd name="connsiteX104" fmla="*/ 7376416 w 10125896"/>
                <a:gd name="connsiteY104" fmla="*/ 9818544 h 14078567"/>
                <a:gd name="connsiteX105" fmla="*/ 7400240 w 10125896"/>
                <a:gd name="connsiteY105" fmla="*/ 9837604 h 14078567"/>
                <a:gd name="connsiteX106" fmla="*/ 7400240 w 10125896"/>
                <a:gd name="connsiteY106" fmla="*/ 9847135 h 14078567"/>
                <a:gd name="connsiteX107" fmla="*/ 7409772 w 10125896"/>
                <a:gd name="connsiteY107" fmla="*/ 9875725 h 14078567"/>
                <a:gd name="connsiteX108" fmla="*/ 7409772 w 10125896"/>
                <a:gd name="connsiteY108" fmla="*/ 9885255 h 14078567"/>
                <a:gd name="connsiteX109" fmla="*/ 7405008 w 10125896"/>
                <a:gd name="connsiteY109" fmla="*/ 9899551 h 14078567"/>
                <a:gd name="connsiteX110" fmla="*/ 7405008 w 10125896"/>
                <a:gd name="connsiteY110" fmla="*/ 9904316 h 14078567"/>
                <a:gd name="connsiteX111" fmla="*/ 7395476 w 10125896"/>
                <a:gd name="connsiteY111" fmla="*/ 9913846 h 14078567"/>
                <a:gd name="connsiteX112" fmla="*/ 7409772 w 10125896"/>
                <a:gd name="connsiteY112" fmla="*/ 9932907 h 14078567"/>
                <a:gd name="connsiteX113" fmla="*/ 7414536 w 10125896"/>
                <a:gd name="connsiteY113" fmla="*/ 9942437 h 14078567"/>
                <a:gd name="connsiteX114" fmla="*/ 7414536 w 10125896"/>
                <a:gd name="connsiteY114" fmla="*/ 9951967 h 14078567"/>
                <a:gd name="connsiteX115" fmla="*/ 7405008 w 10125896"/>
                <a:gd name="connsiteY115" fmla="*/ 9971028 h 14078567"/>
                <a:gd name="connsiteX116" fmla="*/ 7343060 w 10125896"/>
                <a:gd name="connsiteY116" fmla="*/ 9999618 h 14078567"/>
                <a:gd name="connsiteX117" fmla="*/ 7328764 w 10125896"/>
                <a:gd name="connsiteY117" fmla="*/ 10009149 h 14078567"/>
                <a:gd name="connsiteX118" fmla="*/ 7304940 w 10125896"/>
                <a:gd name="connsiteY118" fmla="*/ 10042504 h 14078567"/>
                <a:gd name="connsiteX119" fmla="*/ 7281112 w 10125896"/>
                <a:gd name="connsiteY119" fmla="*/ 10066330 h 14078567"/>
                <a:gd name="connsiteX120" fmla="*/ 7271584 w 10125896"/>
                <a:gd name="connsiteY120" fmla="*/ 10066330 h 14078567"/>
                <a:gd name="connsiteX121" fmla="*/ 7262052 w 10125896"/>
                <a:gd name="connsiteY121" fmla="*/ 10037739 h 14078567"/>
                <a:gd name="connsiteX122" fmla="*/ 7219168 w 10125896"/>
                <a:gd name="connsiteY122" fmla="*/ 10018679 h 14078567"/>
                <a:gd name="connsiteX123" fmla="*/ 7142924 w 10125896"/>
                <a:gd name="connsiteY123" fmla="*/ 10028209 h 14078567"/>
                <a:gd name="connsiteX124" fmla="*/ 7047624 w 10125896"/>
                <a:gd name="connsiteY124" fmla="*/ 10056800 h 14078567"/>
                <a:gd name="connsiteX125" fmla="*/ 7019032 w 10125896"/>
                <a:gd name="connsiteY125" fmla="*/ 10066330 h 14078567"/>
                <a:gd name="connsiteX126" fmla="*/ 6999972 w 10125896"/>
                <a:gd name="connsiteY126" fmla="*/ 10061565 h 14078567"/>
                <a:gd name="connsiteX127" fmla="*/ 6995208 w 10125896"/>
                <a:gd name="connsiteY127" fmla="*/ 10052035 h 14078567"/>
                <a:gd name="connsiteX128" fmla="*/ 6995208 w 10125896"/>
                <a:gd name="connsiteY128" fmla="*/ 10037739 h 14078567"/>
                <a:gd name="connsiteX129" fmla="*/ 7004736 w 10125896"/>
                <a:gd name="connsiteY129" fmla="*/ 9999618 h 14078567"/>
                <a:gd name="connsiteX130" fmla="*/ 7009500 w 10125896"/>
                <a:gd name="connsiteY130" fmla="*/ 9990088 h 14078567"/>
                <a:gd name="connsiteX131" fmla="*/ 7033328 w 10125896"/>
                <a:gd name="connsiteY131" fmla="*/ 9980558 h 14078567"/>
                <a:gd name="connsiteX132" fmla="*/ 7047624 w 10125896"/>
                <a:gd name="connsiteY132" fmla="*/ 9947202 h 14078567"/>
                <a:gd name="connsiteX133" fmla="*/ 7042856 w 10125896"/>
                <a:gd name="connsiteY133" fmla="*/ 9909081 h 14078567"/>
                <a:gd name="connsiteX134" fmla="*/ 7047624 w 10125896"/>
                <a:gd name="connsiteY134" fmla="*/ 9856665 h 14078567"/>
                <a:gd name="connsiteX135" fmla="*/ 7061916 w 10125896"/>
                <a:gd name="connsiteY135" fmla="*/ 9847135 h 14078567"/>
                <a:gd name="connsiteX136" fmla="*/ 7095272 w 10125896"/>
                <a:gd name="connsiteY136" fmla="*/ 9866195 h 14078567"/>
                <a:gd name="connsiteX137" fmla="*/ 7119100 w 10125896"/>
                <a:gd name="connsiteY137" fmla="*/ 9870960 h 14078567"/>
                <a:gd name="connsiteX138" fmla="*/ 7161984 w 10125896"/>
                <a:gd name="connsiteY138" fmla="*/ 9875725 h 14078567"/>
                <a:gd name="connsiteX139" fmla="*/ 7214400 w 10125896"/>
                <a:gd name="connsiteY139" fmla="*/ 9866195 h 14078567"/>
                <a:gd name="connsiteX140" fmla="*/ 7262052 w 10125896"/>
                <a:gd name="connsiteY140" fmla="*/ 9847135 h 14078567"/>
                <a:gd name="connsiteX141" fmla="*/ 10125896 w 10125896"/>
                <a:gd name="connsiteY141" fmla="*/ 9723241 h 14078567"/>
                <a:gd name="connsiteX142" fmla="*/ 10125896 w 10125896"/>
                <a:gd name="connsiteY142" fmla="*/ 9751832 h 14078567"/>
                <a:gd name="connsiteX143" fmla="*/ 10125896 w 10125896"/>
                <a:gd name="connsiteY143" fmla="*/ 9789953 h 14078567"/>
                <a:gd name="connsiteX144" fmla="*/ 10078244 w 10125896"/>
                <a:gd name="connsiteY144" fmla="*/ 9818543 h 14078567"/>
                <a:gd name="connsiteX145" fmla="*/ 10025828 w 10125896"/>
                <a:gd name="connsiteY145" fmla="*/ 9837604 h 14078567"/>
                <a:gd name="connsiteX146" fmla="*/ 9973412 w 10125896"/>
                <a:gd name="connsiteY146" fmla="*/ 9885255 h 14078567"/>
                <a:gd name="connsiteX147" fmla="*/ 9963880 w 10125896"/>
                <a:gd name="connsiteY147" fmla="*/ 9890020 h 14078567"/>
                <a:gd name="connsiteX148" fmla="*/ 9954352 w 10125896"/>
                <a:gd name="connsiteY148" fmla="*/ 9875725 h 14078567"/>
                <a:gd name="connsiteX149" fmla="*/ 9973412 w 10125896"/>
                <a:gd name="connsiteY149" fmla="*/ 9847134 h 14078567"/>
                <a:gd name="connsiteX150" fmla="*/ 10044888 w 10125896"/>
                <a:gd name="connsiteY150" fmla="*/ 9794718 h 14078567"/>
                <a:gd name="connsiteX151" fmla="*/ 10073480 w 10125896"/>
                <a:gd name="connsiteY151" fmla="*/ 9742301 h 14078567"/>
                <a:gd name="connsiteX152" fmla="*/ 3006796 w 10125896"/>
                <a:gd name="connsiteY152" fmla="*/ 9666060 h 14078567"/>
                <a:gd name="connsiteX153" fmla="*/ 3016324 w 10125896"/>
                <a:gd name="connsiteY153" fmla="*/ 9689886 h 14078567"/>
                <a:gd name="connsiteX154" fmla="*/ 3025856 w 10125896"/>
                <a:gd name="connsiteY154" fmla="*/ 9718476 h 14078567"/>
                <a:gd name="connsiteX155" fmla="*/ 3030620 w 10125896"/>
                <a:gd name="connsiteY155" fmla="*/ 9732772 h 14078567"/>
                <a:gd name="connsiteX156" fmla="*/ 3025856 w 10125896"/>
                <a:gd name="connsiteY156" fmla="*/ 9751832 h 14078567"/>
                <a:gd name="connsiteX157" fmla="*/ 3025856 w 10125896"/>
                <a:gd name="connsiteY157" fmla="*/ 9766127 h 14078567"/>
                <a:gd name="connsiteX158" fmla="*/ 3021088 w 10125896"/>
                <a:gd name="connsiteY158" fmla="*/ 9780423 h 14078567"/>
                <a:gd name="connsiteX159" fmla="*/ 3011560 w 10125896"/>
                <a:gd name="connsiteY159" fmla="*/ 9789953 h 14078567"/>
                <a:gd name="connsiteX160" fmla="*/ 2997264 w 10125896"/>
                <a:gd name="connsiteY160" fmla="*/ 9789953 h 14078567"/>
                <a:gd name="connsiteX161" fmla="*/ 2954380 w 10125896"/>
                <a:gd name="connsiteY161" fmla="*/ 9766127 h 14078567"/>
                <a:gd name="connsiteX162" fmla="*/ 2949612 w 10125896"/>
                <a:gd name="connsiteY162" fmla="*/ 9756597 h 14078567"/>
                <a:gd name="connsiteX163" fmla="*/ 2944848 w 10125896"/>
                <a:gd name="connsiteY163" fmla="*/ 9747067 h 14078567"/>
                <a:gd name="connsiteX164" fmla="*/ 2949612 w 10125896"/>
                <a:gd name="connsiteY164" fmla="*/ 9732772 h 14078567"/>
                <a:gd name="connsiteX165" fmla="*/ 2963908 w 10125896"/>
                <a:gd name="connsiteY165" fmla="*/ 9708946 h 14078567"/>
                <a:gd name="connsiteX166" fmla="*/ 2987736 w 10125896"/>
                <a:gd name="connsiteY166" fmla="*/ 9670825 h 14078567"/>
                <a:gd name="connsiteX167" fmla="*/ 2749480 w 10125896"/>
                <a:gd name="connsiteY167" fmla="*/ 8882195 h 14078567"/>
                <a:gd name="connsiteX168" fmla="*/ 2778068 w 10125896"/>
                <a:gd name="connsiteY168" fmla="*/ 8891725 h 14078567"/>
                <a:gd name="connsiteX169" fmla="*/ 2782836 w 10125896"/>
                <a:gd name="connsiteY169" fmla="*/ 8910786 h 14078567"/>
                <a:gd name="connsiteX170" fmla="*/ 2759008 w 10125896"/>
                <a:gd name="connsiteY170" fmla="*/ 8944142 h 14078567"/>
                <a:gd name="connsiteX171" fmla="*/ 2739948 w 10125896"/>
                <a:gd name="connsiteY171" fmla="*/ 8967967 h 14078567"/>
                <a:gd name="connsiteX172" fmla="*/ 2701828 w 10125896"/>
                <a:gd name="connsiteY172" fmla="*/ 9025149 h 14078567"/>
                <a:gd name="connsiteX173" fmla="*/ 2697060 w 10125896"/>
                <a:gd name="connsiteY173" fmla="*/ 9029914 h 14078567"/>
                <a:gd name="connsiteX174" fmla="*/ 2682768 w 10125896"/>
                <a:gd name="connsiteY174" fmla="*/ 9020384 h 14078567"/>
                <a:gd name="connsiteX175" fmla="*/ 2678000 w 10125896"/>
                <a:gd name="connsiteY175" fmla="*/ 9006088 h 14078567"/>
                <a:gd name="connsiteX176" fmla="*/ 2663704 w 10125896"/>
                <a:gd name="connsiteY176" fmla="*/ 9001323 h 14078567"/>
                <a:gd name="connsiteX177" fmla="*/ 2654176 w 10125896"/>
                <a:gd name="connsiteY177" fmla="*/ 8991793 h 14078567"/>
                <a:gd name="connsiteX178" fmla="*/ 2654176 w 10125896"/>
                <a:gd name="connsiteY178" fmla="*/ 8982263 h 14078567"/>
                <a:gd name="connsiteX179" fmla="*/ 2649412 w 10125896"/>
                <a:gd name="connsiteY179" fmla="*/ 8977498 h 14078567"/>
                <a:gd name="connsiteX180" fmla="*/ 2639880 w 10125896"/>
                <a:gd name="connsiteY180" fmla="*/ 8972732 h 14078567"/>
                <a:gd name="connsiteX181" fmla="*/ 2620820 w 10125896"/>
                <a:gd name="connsiteY181" fmla="*/ 8982263 h 14078567"/>
                <a:gd name="connsiteX182" fmla="*/ 2606524 w 10125896"/>
                <a:gd name="connsiteY182" fmla="*/ 8972732 h 14078567"/>
                <a:gd name="connsiteX183" fmla="*/ 2592228 w 10125896"/>
                <a:gd name="connsiteY183" fmla="*/ 8948907 h 14078567"/>
                <a:gd name="connsiteX184" fmla="*/ 2616056 w 10125896"/>
                <a:gd name="connsiteY184" fmla="*/ 8929846 h 14078567"/>
                <a:gd name="connsiteX185" fmla="*/ 2630352 w 10125896"/>
                <a:gd name="connsiteY185" fmla="*/ 8915551 h 14078567"/>
                <a:gd name="connsiteX186" fmla="*/ 2678000 w 10125896"/>
                <a:gd name="connsiteY186" fmla="*/ 8906021 h 14078567"/>
                <a:gd name="connsiteX187" fmla="*/ 2692296 w 10125896"/>
                <a:gd name="connsiteY187" fmla="*/ 8915551 h 14078567"/>
                <a:gd name="connsiteX188" fmla="*/ 2701828 w 10125896"/>
                <a:gd name="connsiteY188" fmla="*/ 8915551 h 14078567"/>
                <a:gd name="connsiteX189" fmla="*/ 2716124 w 10125896"/>
                <a:gd name="connsiteY189" fmla="*/ 8910786 h 14078567"/>
                <a:gd name="connsiteX190" fmla="*/ 2749480 w 10125896"/>
                <a:gd name="connsiteY190" fmla="*/ 8891725 h 14078567"/>
                <a:gd name="connsiteX191" fmla="*/ 8562932 w 10125896"/>
                <a:gd name="connsiteY191" fmla="*/ 7414536 h 14078567"/>
                <a:gd name="connsiteX192" fmla="*/ 8577228 w 10125896"/>
                <a:gd name="connsiteY192" fmla="*/ 7481248 h 14078567"/>
                <a:gd name="connsiteX193" fmla="*/ 8581996 w 10125896"/>
                <a:gd name="connsiteY193" fmla="*/ 7538429 h 14078567"/>
                <a:gd name="connsiteX194" fmla="*/ 8601056 w 10125896"/>
                <a:gd name="connsiteY194" fmla="*/ 7576550 h 14078567"/>
                <a:gd name="connsiteX195" fmla="*/ 8639176 w 10125896"/>
                <a:gd name="connsiteY195" fmla="*/ 7571785 h 14078567"/>
                <a:gd name="connsiteX196" fmla="*/ 8658236 w 10125896"/>
                <a:gd name="connsiteY196" fmla="*/ 7643262 h 14078567"/>
                <a:gd name="connsiteX197" fmla="*/ 8629644 w 10125896"/>
                <a:gd name="connsiteY197" fmla="*/ 7667088 h 14078567"/>
                <a:gd name="connsiteX198" fmla="*/ 8505752 w 10125896"/>
                <a:gd name="connsiteY198" fmla="*/ 7657558 h 14078567"/>
                <a:gd name="connsiteX199" fmla="*/ 8458100 w 10125896"/>
                <a:gd name="connsiteY199" fmla="*/ 7662323 h 14078567"/>
                <a:gd name="connsiteX200" fmla="*/ 8424744 w 10125896"/>
                <a:gd name="connsiteY200" fmla="*/ 7619437 h 14078567"/>
                <a:gd name="connsiteX201" fmla="*/ 8424744 w 10125896"/>
                <a:gd name="connsiteY201" fmla="*/ 7543195 h 14078567"/>
                <a:gd name="connsiteX202" fmla="*/ 8429512 w 10125896"/>
                <a:gd name="connsiteY202" fmla="*/ 7466952 h 14078567"/>
                <a:gd name="connsiteX203" fmla="*/ 8462864 w 10125896"/>
                <a:gd name="connsiteY203" fmla="*/ 7424066 h 14078567"/>
                <a:gd name="connsiteX204" fmla="*/ 8491456 w 10125896"/>
                <a:gd name="connsiteY204" fmla="*/ 7462187 h 14078567"/>
                <a:gd name="connsiteX205" fmla="*/ 8529576 w 10125896"/>
                <a:gd name="connsiteY205" fmla="*/ 7438362 h 14078567"/>
                <a:gd name="connsiteX206" fmla="*/ 8424744 w 10125896"/>
                <a:gd name="connsiteY206" fmla="*/ 6571110 h 14078567"/>
                <a:gd name="connsiteX207" fmla="*/ 8448572 w 10125896"/>
                <a:gd name="connsiteY207" fmla="*/ 6613996 h 14078567"/>
                <a:gd name="connsiteX208" fmla="*/ 8458100 w 10125896"/>
                <a:gd name="connsiteY208" fmla="*/ 6776010 h 14078567"/>
                <a:gd name="connsiteX209" fmla="*/ 8472396 w 10125896"/>
                <a:gd name="connsiteY209" fmla="*/ 7014267 h 14078567"/>
                <a:gd name="connsiteX210" fmla="*/ 8453336 w 10125896"/>
                <a:gd name="connsiteY210" fmla="*/ 7028562 h 14078567"/>
                <a:gd name="connsiteX211" fmla="*/ 8396156 w 10125896"/>
                <a:gd name="connsiteY211" fmla="*/ 6756950 h 14078567"/>
                <a:gd name="connsiteX212" fmla="*/ 8396156 w 10125896"/>
                <a:gd name="connsiteY212" fmla="*/ 6656882 h 14078567"/>
                <a:gd name="connsiteX213" fmla="*/ 8396156 w 10125896"/>
                <a:gd name="connsiteY213" fmla="*/ 6580640 h 14078567"/>
                <a:gd name="connsiteX214" fmla="*/ 90536 w 10125896"/>
                <a:gd name="connsiteY214" fmla="*/ 6042182 h 14078567"/>
                <a:gd name="connsiteX215" fmla="*/ 114364 w 10125896"/>
                <a:gd name="connsiteY215" fmla="*/ 6042182 h 14078567"/>
                <a:gd name="connsiteX216" fmla="*/ 133424 w 10125896"/>
                <a:gd name="connsiteY216" fmla="*/ 6046946 h 14078567"/>
                <a:gd name="connsiteX217" fmla="*/ 171544 w 10125896"/>
                <a:gd name="connsiteY217" fmla="*/ 6066007 h 14078567"/>
                <a:gd name="connsiteX218" fmla="*/ 200136 w 10125896"/>
                <a:gd name="connsiteY218" fmla="*/ 6085067 h 14078567"/>
                <a:gd name="connsiteX219" fmla="*/ 219196 w 10125896"/>
                <a:gd name="connsiteY219" fmla="*/ 6094597 h 14078567"/>
                <a:gd name="connsiteX220" fmla="*/ 209664 w 10125896"/>
                <a:gd name="connsiteY220" fmla="*/ 6123188 h 14078567"/>
                <a:gd name="connsiteX221" fmla="*/ 181076 w 10125896"/>
                <a:gd name="connsiteY221" fmla="*/ 6142250 h 14078567"/>
                <a:gd name="connsiteX222" fmla="*/ 123892 w 10125896"/>
                <a:gd name="connsiteY222" fmla="*/ 6147014 h 14078567"/>
                <a:gd name="connsiteX223" fmla="*/ 71476 w 10125896"/>
                <a:gd name="connsiteY223" fmla="*/ 6118423 h 14078567"/>
                <a:gd name="connsiteX224" fmla="*/ 52416 w 10125896"/>
                <a:gd name="connsiteY224" fmla="*/ 6099363 h 14078567"/>
                <a:gd name="connsiteX225" fmla="*/ 52416 w 10125896"/>
                <a:gd name="connsiteY225" fmla="*/ 6066007 h 14078567"/>
                <a:gd name="connsiteX226" fmla="*/ 61948 w 10125896"/>
                <a:gd name="connsiteY226" fmla="*/ 6056477 h 14078567"/>
                <a:gd name="connsiteX227" fmla="*/ 8591524 w 10125896"/>
                <a:gd name="connsiteY227" fmla="*/ 5741977 h 14078567"/>
                <a:gd name="connsiteX228" fmla="*/ 8610584 w 10125896"/>
                <a:gd name="connsiteY228" fmla="*/ 5756274 h 14078567"/>
                <a:gd name="connsiteX229" fmla="*/ 8620116 w 10125896"/>
                <a:gd name="connsiteY229" fmla="*/ 5808690 h 14078567"/>
                <a:gd name="connsiteX230" fmla="*/ 8605820 w 10125896"/>
                <a:gd name="connsiteY230" fmla="*/ 5865870 h 14078567"/>
                <a:gd name="connsiteX231" fmla="*/ 8572464 w 10125896"/>
                <a:gd name="connsiteY231" fmla="*/ 5913523 h 14078567"/>
                <a:gd name="connsiteX232" fmla="*/ 8539108 w 10125896"/>
                <a:gd name="connsiteY232" fmla="*/ 5913523 h 14078567"/>
                <a:gd name="connsiteX233" fmla="*/ 8529576 w 10125896"/>
                <a:gd name="connsiteY233" fmla="*/ 5894463 h 14078567"/>
                <a:gd name="connsiteX234" fmla="*/ 8534344 w 10125896"/>
                <a:gd name="connsiteY234" fmla="*/ 5861106 h 14078567"/>
                <a:gd name="connsiteX235" fmla="*/ 8577228 w 10125896"/>
                <a:gd name="connsiteY235" fmla="*/ 5751507 h 14078567"/>
                <a:gd name="connsiteX236" fmla="*/ 8405684 w 10125896"/>
                <a:gd name="connsiteY236" fmla="*/ 5313115 h 14078567"/>
                <a:gd name="connsiteX237" fmla="*/ 8415216 w 10125896"/>
                <a:gd name="connsiteY237" fmla="*/ 5322645 h 14078567"/>
                <a:gd name="connsiteX238" fmla="*/ 8415216 w 10125896"/>
                <a:gd name="connsiteY238" fmla="*/ 5379828 h 14078567"/>
                <a:gd name="connsiteX239" fmla="*/ 8415216 w 10125896"/>
                <a:gd name="connsiteY239" fmla="*/ 5489424 h 14078567"/>
                <a:gd name="connsiteX240" fmla="*/ 8424744 w 10125896"/>
                <a:gd name="connsiteY240" fmla="*/ 5560902 h 14078567"/>
                <a:gd name="connsiteX241" fmla="*/ 8405684 w 10125896"/>
                <a:gd name="connsiteY241" fmla="*/ 5665736 h 14078567"/>
                <a:gd name="connsiteX242" fmla="*/ 8386624 w 10125896"/>
                <a:gd name="connsiteY242" fmla="*/ 5694326 h 14078567"/>
                <a:gd name="connsiteX243" fmla="*/ 8372328 w 10125896"/>
                <a:gd name="connsiteY243" fmla="*/ 5613318 h 14078567"/>
                <a:gd name="connsiteX244" fmla="*/ 8362800 w 10125896"/>
                <a:gd name="connsiteY244" fmla="*/ 5508487 h 14078567"/>
                <a:gd name="connsiteX245" fmla="*/ 8358032 w 10125896"/>
                <a:gd name="connsiteY245" fmla="*/ 5384593 h 14078567"/>
                <a:gd name="connsiteX246" fmla="*/ 8391388 w 10125896"/>
                <a:gd name="connsiteY246" fmla="*/ 5322645 h 14078567"/>
                <a:gd name="connsiteX247" fmla="*/ 8567700 w 10125896"/>
                <a:gd name="connsiteY247" fmla="*/ 3955054 h 14078567"/>
                <a:gd name="connsiteX248" fmla="*/ 8643940 w 10125896"/>
                <a:gd name="connsiteY248" fmla="*/ 3978880 h 14078567"/>
                <a:gd name="connsiteX249" fmla="*/ 8658236 w 10125896"/>
                <a:gd name="connsiteY249" fmla="*/ 4059887 h 14078567"/>
                <a:gd name="connsiteX250" fmla="*/ 8624880 w 10125896"/>
                <a:gd name="connsiteY250" fmla="*/ 4159954 h 14078567"/>
                <a:gd name="connsiteX251" fmla="*/ 8558168 w 10125896"/>
                <a:gd name="connsiteY251" fmla="*/ 4264788 h 14078567"/>
                <a:gd name="connsiteX252" fmla="*/ 8458100 w 10125896"/>
                <a:gd name="connsiteY252" fmla="*/ 4255258 h 14078567"/>
                <a:gd name="connsiteX253" fmla="*/ 8400920 w 10125896"/>
                <a:gd name="connsiteY253" fmla="*/ 4207606 h 14078567"/>
                <a:gd name="connsiteX254" fmla="*/ 8386624 w 10125896"/>
                <a:gd name="connsiteY254" fmla="*/ 4136129 h 14078567"/>
                <a:gd name="connsiteX255" fmla="*/ 8405684 w 10125896"/>
                <a:gd name="connsiteY255" fmla="*/ 4059887 h 14078567"/>
                <a:gd name="connsiteX256" fmla="*/ 8477160 w 10125896"/>
                <a:gd name="connsiteY256" fmla="*/ 3997942 h 14078567"/>
                <a:gd name="connsiteX257" fmla="*/ 8358032 w 10125896"/>
                <a:gd name="connsiteY257" fmla="*/ 1863166 h 14078567"/>
                <a:gd name="connsiteX258" fmla="*/ 8396156 w 10125896"/>
                <a:gd name="connsiteY258" fmla="*/ 1944172 h 14078567"/>
                <a:gd name="connsiteX259" fmla="*/ 8434276 w 10125896"/>
                <a:gd name="connsiteY259" fmla="*/ 2058535 h 14078567"/>
                <a:gd name="connsiteX260" fmla="*/ 8458100 w 10125896"/>
                <a:gd name="connsiteY260" fmla="*/ 2172899 h 14078567"/>
                <a:gd name="connsiteX261" fmla="*/ 8443804 w 10125896"/>
                <a:gd name="connsiteY261" fmla="*/ 2206254 h 14078567"/>
                <a:gd name="connsiteX262" fmla="*/ 8400920 w 10125896"/>
                <a:gd name="connsiteY262" fmla="*/ 2191959 h 14078567"/>
                <a:gd name="connsiteX263" fmla="*/ 8348504 w 10125896"/>
                <a:gd name="connsiteY263" fmla="*/ 2091892 h 14078567"/>
                <a:gd name="connsiteX264" fmla="*/ 8315148 w 10125896"/>
                <a:gd name="connsiteY264" fmla="*/ 2010885 h 14078567"/>
                <a:gd name="connsiteX265" fmla="*/ 8310384 w 10125896"/>
                <a:gd name="connsiteY265" fmla="*/ 1910817 h 14078567"/>
                <a:gd name="connsiteX266" fmla="*/ 8329444 w 10125896"/>
                <a:gd name="connsiteY266" fmla="*/ 1867931 h 14078567"/>
                <a:gd name="connsiteX267" fmla="*/ 4126602 w 10125896"/>
                <a:gd name="connsiteY267" fmla="*/ 1191283 h 14078567"/>
                <a:gd name="connsiteX268" fmla="*/ 4279086 w 10125896"/>
                <a:gd name="connsiteY268" fmla="*/ 1329471 h 14078567"/>
                <a:gd name="connsiteX269" fmla="*/ 4360092 w 10125896"/>
                <a:gd name="connsiteY269" fmla="*/ 1443835 h 14078567"/>
                <a:gd name="connsiteX270" fmla="*/ 4383918 w 10125896"/>
                <a:gd name="connsiteY270" fmla="*/ 1539137 h 14078567"/>
                <a:gd name="connsiteX271" fmla="*/ 4379152 w 10125896"/>
                <a:gd name="connsiteY271" fmla="*/ 1724977 h 14078567"/>
                <a:gd name="connsiteX272" fmla="*/ 4364858 w 10125896"/>
                <a:gd name="connsiteY272" fmla="*/ 1906052 h 14078567"/>
                <a:gd name="connsiteX273" fmla="*/ 4336266 w 10125896"/>
                <a:gd name="connsiteY273" fmla="*/ 1925113 h 14078567"/>
                <a:gd name="connsiteX274" fmla="*/ 4269554 w 10125896"/>
                <a:gd name="connsiteY274" fmla="*/ 1805985 h 14078567"/>
                <a:gd name="connsiteX275" fmla="*/ 4164722 w 10125896"/>
                <a:gd name="connsiteY275" fmla="*/ 1686856 h 14078567"/>
                <a:gd name="connsiteX276" fmla="*/ 4074184 w 10125896"/>
                <a:gd name="connsiteY276" fmla="*/ 1601084 h 14078567"/>
                <a:gd name="connsiteX277" fmla="*/ 3983648 w 10125896"/>
                <a:gd name="connsiteY277" fmla="*/ 1381888 h 14078567"/>
                <a:gd name="connsiteX278" fmla="*/ 3978882 w 10125896"/>
                <a:gd name="connsiteY278" fmla="*/ 1300881 h 14078567"/>
                <a:gd name="connsiteX279" fmla="*/ 3993178 w 10125896"/>
                <a:gd name="connsiteY279" fmla="*/ 1234169 h 14078567"/>
                <a:gd name="connsiteX280" fmla="*/ 4069420 w 10125896"/>
                <a:gd name="connsiteY280" fmla="*/ 1219874 h 14078567"/>
                <a:gd name="connsiteX281" fmla="*/ 6223256 w 10125896"/>
                <a:gd name="connsiteY281" fmla="*/ 0 h 14078567"/>
                <a:gd name="connsiteX282" fmla="*/ 6580640 w 10125896"/>
                <a:gd name="connsiteY282" fmla="*/ 9530 h 14078567"/>
                <a:gd name="connsiteX283" fmla="*/ 6695004 w 10125896"/>
                <a:gd name="connsiteY283" fmla="*/ 47651 h 14078567"/>
                <a:gd name="connsiteX284" fmla="*/ 6847488 w 10125896"/>
                <a:gd name="connsiteY284" fmla="*/ 133424 h 14078567"/>
                <a:gd name="connsiteX285" fmla="*/ 6923732 w 10125896"/>
                <a:gd name="connsiteY285" fmla="*/ 228726 h 14078567"/>
                <a:gd name="connsiteX286" fmla="*/ 6942792 w 10125896"/>
                <a:gd name="connsiteY286" fmla="*/ 223961 h 14078567"/>
                <a:gd name="connsiteX287" fmla="*/ 7047624 w 10125896"/>
                <a:gd name="connsiteY287" fmla="*/ 262082 h 14078567"/>
                <a:gd name="connsiteX288" fmla="*/ 7152456 w 10125896"/>
                <a:gd name="connsiteY288" fmla="*/ 304968 h 14078567"/>
                <a:gd name="connsiteX289" fmla="*/ 7324000 w 10125896"/>
                <a:gd name="connsiteY289" fmla="*/ 424096 h 14078567"/>
                <a:gd name="connsiteX290" fmla="*/ 7347828 w 10125896"/>
                <a:gd name="connsiteY290" fmla="*/ 462217 h 14078567"/>
                <a:gd name="connsiteX291" fmla="*/ 7328764 w 10125896"/>
                <a:gd name="connsiteY291" fmla="*/ 495573 h 14078567"/>
                <a:gd name="connsiteX292" fmla="*/ 7285880 w 10125896"/>
                <a:gd name="connsiteY292" fmla="*/ 514634 h 14078567"/>
                <a:gd name="connsiteX293" fmla="*/ 7066684 w 10125896"/>
                <a:gd name="connsiteY293" fmla="*/ 552755 h 14078567"/>
                <a:gd name="connsiteX294" fmla="*/ 6675944 w 10125896"/>
                <a:gd name="connsiteY294" fmla="*/ 600406 h 14078567"/>
                <a:gd name="connsiteX295" fmla="*/ 6447216 w 10125896"/>
                <a:gd name="connsiteY295" fmla="*/ 690944 h 14078567"/>
                <a:gd name="connsiteX296" fmla="*/ 6375740 w 10125896"/>
                <a:gd name="connsiteY296" fmla="*/ 690944 h 14078567"/>
                <a:gd name="connsiteX297" fmla="*/ 6370976 w 10125896"/>
                <a:gd name="connsiteY297" fmla="*/ 824367 h 14078567"/>
                <a:gd name="connsiteX298" fmla="*/ 6404332 w 10125896"/>
                <a:gd name="connsiteY298" fmla="*/ 829132 h 14078567"/>
                <a:gd name="connsiteX299" fmla="*/ 6451984 w 10125896"/>
                <a:gd name="connsiteY299" fmla="*/ 814837 h 14078567"/>
                <a:gd name="connsiteX300" fmla="*/ 6628292 w 10125896"/>
                <a:gd name="connsiteY300" fmla="*/ 681413 h 14078567"/>
                <a:gd name="connsiteX301" fmla="*/ 6695004 w 10125896"/>
                <a:gd name="connsiteY301" fmla="*/ 662353 h 14078567"/>
                <a:gd name="connsiteX302" fmla="*/ 6818896 w 10125896"/>
                <a:gd name="connsiteY302" fmla="*/ 671883 h 14078567"/>
                <a:gd name="connsiteX303" fmla="*/ 6976148 w 10125896"/>
                <a:gd name="connsiteY303" fmla="*/ 719534 h 14078567"/>
                <a:gd name="connsiteX304" fmla="*/ 7042860 w 10125896"/>
                <a:gd name="connsiteY304" fmla="*/ 705239 h 14078567"/>
                <a:gd name="connsiteX305" fmla="*/ 7157220 w 10125896"/>
                <a:gd name="connsiteY305" fmla="*/ 714769 h 14078567"/>
                <a:gd name="connsiteX306" fmla="*/ 7290644 w 10125896"/>
                <a:gd name="connsiteY306" fmla="*/ 676648 h 14078567"/>
                <a:gd name="connsiteX307" fmla="*/ 7447896 w 10125896"/>
                <a:gd name="connsiteY307" fmla="*/ 595641 h 14078567"/>
                <a:gd name="connsiteX308" fmla="*/ 7495544 w 10125896"/>
                <a:gd name="connsiteY308" fmla="*/ 776716 h 14078567"/>
                <a:gd name="connsiteX309" fmla="*/ 7552728 w 10125896"/>
                <a:gd name="connsiteY309" fmla="*/ 957791 h 14078567"/>
                <a:gd name="connsiteX310" fmla="*/ 7600380 w 10125896"/>
                <a:gd name="connsiteY310" fmla="*/ 938730 h 14078567"/>
                <a:gd name="connsiteX311" fmla="*/ 7638500 w 10125896"/>
                <a:gd name="connsiteY311" fmla="*/ 948260 h 14078567"/>
                <a:gd name="connsiteX312" fmla="*/ 7652796 w 10125896"/>
                <a:gd name="connsiteY312" fmla="*/ 1005442 h 14078567"/>
                <a:gd name="connsiteX313" fmla="*/ 7671856 w 10125896"/>
                <a:gd name="connsiteY313" fmla="*/ 1034033 h 14078567"/>
                <a:gd name="connsiteX314" fmla="*/ 7719508 w 10125896"/>
                <a:gd name="connsiteY314" fmla="*/ 1019737 h 14078567"/>
                <a:gd name="connsiteX315" fmla="*/ 7857696 w 10125896"/>
                <a:gd name="connsiteY315" fmla="*/ 1067389 h 14078567"/>
                <a:gd name="connsiteX316" fmla="*/ 7952996 w 10125896"/>
                <a:gd name="connsiteY316" fmla="*/ 1157926 h 14078567"/>
                <a:gd name="connsiteX317" fmla="*/ 7986352 w 10125896"/>
                <a:gd name="connsiteY317" fmla="*/ 1200812 h 14078567"/>
                <a:gd name="connsiteX318" fmla="*/ 8005412 w 10125896"/>
                <a:gd name="connsiteY318" fmla="*/ 1257994 h 14078567"/>
                <a:gd name="connsiteX319" fmla="*/ 8014944 w 10125896"/>
                <a:gd name="connsiteY319" fmla="*/ 1305645 h 14078567"/>
                <a:gd name="connsiteX320" fmla="*/ 7995884 w 10125896"/>
                <a:gd name="connsiteY320" fmla="*/ 1362827 h 14078567"/>
                <a:gd name="connsiteX321" fmla="*/ 7938704 w 10125896"/>
                <a:gd name="connsiteY321" fmla="*/ 1467659 h 14078567"/>
                <a:gd name="connsiteX322" fmla="*/ 7862460 w 10125896"/>
                <a:gd name="connsiteY322" fmla="*/ 1558197 h 14078567"/>
                <a:gd name="connsiteX323" fmla="*/ 7762392 w 10125896"/>
                <a:gd name="connsiteY323" fmla="*/ 1629674 h 14078567"/>
                <a:gd name="connsiteX324" fmla="*/ 7648028 w 10125896"/>
                <a:gd name="connsiteY324" fmla="*/ 1672560 h 14078567"/>
                <a:gd name="connsiteX325" fmla="*/ 6752184 w 10125896"/>
                <a:gd name="connsiteY325" fmla="*/ 1820279 h 14078567"/>
                <a:gd name="connsiteX326" fmla="*/ 6723596 w 10125896"/>
                <a:gd name="connsiteY326" fmla="*/ 1853635 h 14078567"/>
                <a:gd name="connsiteX327" fmla="*/ 6704536 w 10125896"/>
                <a:gd name="connsiteY327" fmla="*/ 1939407 h 14078567"/>
                <a:gd name="connsiteX328" fmla="*/ 6718828 w 10125896"/>
                <a:gd name="connsiteY328" fmla="*/ 2049005 h 14078567"/>
                <a:gd name="connsiteX329" fmla="*/ 6761716 w 10125896"/>
                <a:gd name="connsiteY329" fmla="*/ 2068065 h 14078567"/>
                <a:gd name="connsiteX330" fmla="*/ 6857020 w 10125896"/>
                <a:gd name="connsiteY330" fmla="*/ 2006119 h 14078567"/>
                <a:gd name="connsiteX331" fmla="*/ 7028564 w 10125896"/>
                <a:gd name="connsiteY331" fmla="*/ 1944172 h 14078567"/>
                <a:gd name="connsiteX332" fmla="*/ 7152456 w 10125896"/>
                <a:gd name="connsiteY332" fmla="*/ 1948937 h 14078567"/>
                <a:gd name="connsiteX333" fmla="*/ 7447896 w 10125896"/>
                <a:gd name="connsiteY333" fmla="*/ 2001354 h 14078567"/>
                <a:gd name="connsiteX334" fmla="*/ 7533668 w 10125896"/>
                <a:gd name="connsiteY334" fmla="*/ 2130012 h 14078567"/>
                <a:gd name="connsiteX335" fmla="*/ 7581316 w 10125896"/>
                <a:gd name="connsiteY335" fmla="*/ 2330147 h 14078567"/>
                <a:gd name="connsiteX336" fmla="*/ 7681384 w 10125896"/>
                <a:gd name="connsiteY336" fmla="*/ 2287261 h 14078567"/>
                <a:gd name="connsiteX337" fmla="*/ 7705212 w 10125896"/>
                <a:gd name="connsiteY337" fmla="*/ 2253905 h 14078567"/>
                <a:gd name="connsiteX338" fmla="*/ 7719508 w 10125896"/>
                <a:gd name="connsiteY338" fmla="*/ 2191959 h 14078567"/>
                <a:gd name="connsiteX339" fmla="*/ 7733800 w 10125896"/>
                <a:gd name="connsiteY339" fmla="*/ 2130012 h 14078567"/>
                <a:gd name="connsiteX340" fmla="*/ 7743332 w 10125896"/>
                <a:gd name="connsiteY340" fmla="*/ 2058535 h 14078567"/>
                <a:gd name="connsiteX341" fmla="*/ 7752864 w 10125896"/>
                <a:gd name="connsiteY341" fmla="*/ 2010884 h 14078567"/>
                <a:gd name="connsiteX342" fmla="*/ 7767156 w 10125896"/>
                <a:gd name="connsiteY342" fmla="*/ 1987058 h 14078567"/>
                <a:gd name="connsiteX343" fmla="*/ 7790984 w 10125896"/>
                <a:gd name="connsiteY343" fmla="*/ 1967998 h 14078567"/>
                <a:gd name="connsiteX344" fmla="*/ 7848164 w 10125896"/>
                <a:gd name="connsiteY344" fmla="*/ 1944172 h 14078567"/>
                <a:gd name="connsiteX345" fmla="*/ 8005412 w 10125896"/>
                <a:gd name="connsiteY345" fmla="*/ 1915581 h 14078567"/>
                <a:gd name="connsiteX346" fmla="*/ 8043536 w 10125896"/>
                <a:gd name="connsiteY346" fmla="*/ 1925112 h 14078567"/>
                <a:gd name="connsiteX347" fmla="*/ 8067360 w 10125896"/>
                <a:gd name="connsiteY347" fmla="*/ 2020414 h 14078567"/>
                <a:gd name="connsiteX348" fmla="*/ 8072124 w 10125896"/>
                <a:gd name="connsiteY348" fmla="*/ 2072830 h 14078567"/>
                <a:gd name="connsiteX349" fmla="*/ 8076892 w 10125896"/>
                <a:gd name="connsiteY349" fmla="*/ 2144307 h 14078567"/>
                <a:gd name="connsiteX350" fmla="*/ 8076892 w 10125896"/>
                <a:gd name="connsiteY350" fmla="*/ 2234845 h 14078567"/>
                <a:gd name="connsiteX351" fmla="*/ 8072124 w 10125896"/>
                <a:gd name="connsiteY351" fmla="*/ 2339678 h 14078567"/>
                <a:gd name="connsiteX352" fmla="*/ 8057832 w 10125896"/>
                <a:gd name="connsiteY352" fmla="*/ 2439745 h 14078567"/>
                <a:gd name="connsiteX353" fmla="*/ 8014944 w 10125896"/>
                <a:gd name="connsiteY353" fmla="*/ 2611290 h 14078567"/>
                <a:gd name="connsiteX354" fmla="*/ 7981588 w 10125896"/>
                <a:gd name="connsiteY354" fmla="*/ 2706592 h 14078567"/>
                <a:gd name="connsiteX355" fmla="*/ 7943468 w 10125896"/>
                <a:gd name="connsiteY355" fmla="*/ 2773304 h 14078567"/>
                <a:gd name="connsiteX356" fmla="*/ 7871992 w 10125896"/>
                <a:gd name="connsiteY356" fmla="*/ 2921023 h 14078567"/>
                <a:gd name="connsiteX357" fmla="*/ 7848164 w 10125896"/>
                <a:gd name="connsiteY357" fmla="*/ 2959144 h 14078567"/>
                <a:gd name="connsiteX358" fmla="*/ 7771924 w 10125896"/>
                <a:gd name="connsiteY358" fmla="*/ 3130689 h 14078567"/>
                <a:gd name="connsiteX359" fmla="*/ 7752864 w 10125896"/>
                <a:gd name="connsiteY359" fmla="*/ 3211695 h 14078567"/>
                <a:gd name="connsiteX360" fmla="*/ 7748096 w 10125896"/>
                <a:gd name="connsiteY360" fmla="*/ 3268877 h 14078567"/>
                <a:gd name="connsiteX361" fmla="*/ 7762392 w 10125896"/>
                <a:gd name="connsiteY361" fmla="*/ 3278408 h 14078567"/>
                <a:gd name="connsiteX362" fmla="*/ 7786220 w 10125896"/>
                <a:gd name="connsiteY362" fmla="*/ 3225991 h 14078567"/>
                <a:gd name="connsiteX363" fmla="*/ 7795748 w 10125896"/>
                <a:gd name="connsiteY363" fmla="*/ 3187869 h 14078567"/>
                <a:gd name="connsiteX364" fmla="*/ 7810044 w 10125896"/>
                <a:gd name="connsiteY364" fmla="*/ 3144984 h 14078567"/>
                <a:gd name="connsiteX365" fmla="*/ 7924408 w 10125896"/>
                <a:gd name="connsiteY365" fmla="*/ 3040151 h 14078567"/>
                <a:gd name="connsiteX366" fmla="*/ 7948232 w 10125896"/>
                <a:gd name="connsiteY366" fmla="*/ 3006795 h 14078567"/>
                <a:gd name="connsiteX367" fmla="*/ 8024476 w 10125896"/>
                <a:gd name="connsiteY367" fmla="*/ 2878137 h 14078567"/>
                <a:gd name="connsiteX368" fmla="*/ 8072124 w 10125896"/>
                <a:gd name="connsiteY368" fmla="*/ 2830486 h 14078567"/>
                <a:gd name="connsiteX369" fmla="*/ 8110248 w 10125896"/>
                <a:gd name="connsiteY369" fmla="*/ 2778069 h 14078567"/>
                <a:gd name="connsiteX370" fmla="*/ 8134072 w 10125896"/>
                <a:gd name="connsiteY370" fmla="*/ 2739948 h 14078567"/>
                <a:gd name="connsiteX371" fmla="*/ 8248436 w 10125896"/>
                <a:gd name="connsiteY371" fmla="*/ 2477866 h 14078567"/>
                <a:gd name="connsiteX372" fmla="*/ 8310384 w 10125896"/>
                <a:gd name="connsiteY372" fmla="*/ 2396859 h 14078567"/>
                <a:gd name="connsiteX373" fmla="*/ 8372328 w 10125896"/>
                <a:gd name="connsiteY373" fmla="*/ 2396859 h 14078567"/>
                <a:gd name="connsiteX374" fmla="*/ 8381860 w 10125896"/>
                <a:gd name="connsiteY374" fmla="*/ 2535048 h 14078567"/>
                <a:gd name="connsiteX375" fmla="*/ 8458100 w 10125896"/>
                <a:gd name="connsiteY375" fmla="*/ 2554108 h 14078567"/>
                <a:gd name="connsiteX376" fmla="*/ 8491456 w 10125896"/>
                <a:gd name="connsiteY376" fmla="*/ 2549343 h 14078567"/>
                <a:gd name="connsiteX377" fmla="*/ 8543872 w 10125896"/>
                <a:gd name="connsiteY377" fmla="*/ 2582699 h 14078567"/>
                <a:gd name="connsiteX378" fmla="*/ 8567700 w 10125896"/>
                <a:gd name="connsiteY378" fmla="*/ 2606524 h 14078567"/>
                <a:gd name="connsiteX379" fmla="*/ 8605820 w 10125896"/>
                <a:gd name="connsiteY379" fmla="*/ 2620820 h 14078567"/>
                <a:gd name="connsiteX380" fmla="*/ 8648708 w 10125896"/>
                <a:gd name="connsiteY380" fmla="*/ 2654176 h 14078567"/>
                <a:gd name="connsiteX381" fmla="*/ 8682064 w 10125896"/>
                <a:gd name="connsiteY381" fmla="*/ 2620820 h 14078567"/>
                <a:gd name="connsiteX382" fmla="*/ 8696356 w 10125896"/>
                <a:gd name="connsiteY382" fmla="*/ 2596994 h 14078567"/>
                <a:gd name="connsiteX383" fmla="*/ 8729712 w 10125896"/>
                <a:gd name="connsiteY383" fmla="*/ 2496927 h 14078567"/>
                <a:gd name="connsiteX384" fmla="*/ 8777364 w 10125896"/>
                <a:gd name="connsiteY384" fmla="*/ 2411154 h 14078567"/>
                <a:gd name="connsiteX385" fmla="*/ 8820252 w 10125896"/>
                <a:gd name="connsiteY385" fmla="*/ 2301556 h 14078567"/>
                <a:gd name="connsiteX386" fmla="*/ 8834548 w 10125896"/>
                <a:gd name="connsiteY386" fmla="*/ 2272966 h 14078567"/>
                <a:gd name="connsiteX387" fmla="*/ 8858372 w 10125896"/>
                <a:gd name="connsiteY387" fmla="*/ 2249140 h 14078567"/>
                <a:gd name="connsiteX388" fmla="*/ 8882196 w 10125896"/>
                <a:gd name="connsiteY388" fmla="*/ 2239610 h 14078567"/>
                <a:gd name="connsiteX389" fmla="*/ 8944144 w 10125896"/>
                <a:gd name="connsiteY389" fmla="*/ 2187193 h 14078567"/>
                <a:gd name="connsiteX390" fmla="*/ 8963204 w 10125896"/>
                <a:gd name="connsiteY390" fmla="*/ 2182428 h 14078567"/>
                <a:gd name="connsiteX391" fmla="*/ 8996560 w 10125896"/>
                <a:gd name="connsiteY391" fmla="*/ 2201489 h 14078567"/>
                <a:gd name="connsiteX392" fmla="*/ 9149044 w 10125896"/>
                <a:gd name="connsiteY392" fmla="*/ 2206254 h 14078567"/>
                <a:gd name="connsiteX393" fmla="*/ 9234816 w 10125896"/>
                <a:gd name="connsiteY393" fmla="*/ 2234845 h 14078567"/>
                <a:gd name="connsiteX394" fmla="*/ 9349180 w 10125896"/>
                <a:gd name="connsiteY394" fmla="*/ 2311087 h 14078567"/>
                <a:gd name="connsiteX395" fmla="*/ 9430188 w 10125896"/>
                <a:gd name="connsiteY395" fmla="*/ 2349208 h 14078567"/>
                <a:gd name="connsiteX396" fmla="*/ 9468308 w 10125896"/>
                <a:gd name="connsiteY396" fmla="*/ 2387329 h 14078567"/>
                <a:gd name="connsiteX397" fmla="*/ 9525488 w 10125896"/>
                <a:gd name="connsiteY397" fmla="*/ 2463571 h 14078567"/>
                <a:gd name="connsiteX398" fmla="*/ 9568376 w 10125896"/>
                <a:gd name="connsiteY398" fmla="*/ 2544578 h 14078567"/>
                <a:gd name="connsiteX399" fmla="*/ 9592200 w 10125896"/>
                <a:gd name="connsiteY399" fmla="*/ 2568404 h 14078567"/>
                <a:gd name="connsiteX400" fmla="*/ 9587436 w 10125896"/>
                <a:gd name="connsiteY400" fmla="*/ 2592229 h 14078567"/>
                <a:gd name="connsiteX401" fmla="*/ 9573140 w 10125896"/>
                <a:gd name="connsiteY401" fmla="*/ 2625585 h 14078567"/>
                <a:gd name="connsiteX402" fmla="*/ 9463544 w 10125896"/>
                <a:gd name="connsiteY402" fmla="*/ 2744713 h 14078567"/>
                <a:gd name="connsiteX403" fmla="*/ 9430188 w 10125896"/>
                <a:gd name="connsiteY403" fmla="*/ 2825720 h 14078567"/>
                <a:gd name="connsiteX404" fmla="*/ 9325356 w 10125896"/>
                <a:gd name="connsiteY404" fmla="*/ 2973439 h 14078567"/>
                <a:gd name="connsiteX405" fmla="*/ 9272936 w 10125896"/>
                <a:gd name="connsiteY405" fmla="*/ 3021090 h 14078567"/>
                <a:gd name="connsiteX406" fmla="*/ 9220520 w 10125896"/>
                <a:gd name="connsiteY406" fmla="*/ 3040151 h 14078567"/>
                <a:gd name="connsiteX407" fmla="*/ 9158576 w 10125896"/>
                <a:gd name="connsiteY407" fmla="*/ 3044916 h 14078567"/>
                <a:gd name="connsiteX408" fmla="*/ 9115688 w 10125896"/>
                <a:gd name="connsiteY408" fmla="*/ 3063976 h 14078567"/>
                <a:gd name="connsiteX409" fmla="*/ 9110924 w 10125896"/>
                <a:gd name="connsiteY409" fmla="*/ 3087802 h 14078567"/>
                <a:gd name="connsiteX410" fmla="*/ 9139516 w 10125896"/>
                <a:gd name="connsiteY410" fmla="*/ 3144984 h 14078567"/>
                <a:gd name="connsiteX411" fmla="*/ 9153808 w 10125896"/>
                <a:gd name="connsiteY411" fmla="*/ 3187869 h 14078567"/>
                <a:gd name="connsiteX412" fmla="*/ 9149044 w 10125896"/>
                <a:gd name="connsiteY412" fmla="*/ 3225991 h 14078567"/>
                <a:gd name="connsiteX413" fmla="*/ 9120452 w 10125896"/>
                <a:gd name="connsiteY413" fmla="*/ 3278408 h 14078567"/>
                <a:gd name="connsiteX414" fmla="*/ 9110924 w 10125896"/>
                <a:gd name="connsiteY414" fmla="*/ 3292703 h 14078567"/>
                <a:gd name="connsiteX415" fmla="*/ 9001324 w 10125896"/>
                <a:gd name="connsiteY415" fmla="*/ 3335588 h 14078567"/>
                <a:gd name="connsiteX416" fmla="*/ 8948908 w 10125896"/>
                <a:gd name="connsiteY416" fmla="*/ 3402301 h 14078567"/>
                <a:gd name="connsiteX417" fmla="*/ 8877432 w 10125896"/>
                <a:gd name="connsiteY417" fmla="*/ 3411831 h 14078567"/>
                <a:gd name="connsiteX418" fmla="*/ 8825016 w 10125896"/>
                <a:gd name="connsiteY418" fmla="*/ 3402301 h 14078567"/>
                <a:gd name="connsiteX419" fmla="*/ 8758304 w 10125896"/>
                <a:gd name="connsiteY419" fmla="*/ 3473777 h 14078567"/>
                <a:gd name="connsiteX420" fmla="*/ 8782128 w 10125896"/>
                <a:gd name="connsiteY420" fmla="*/ 3535723 h 14078567"/>
                <a:gd name="connsiteX421" fmla="*/ 8810720 w 10125896"/>
                <a:gd name="connsiteY421" fmla="*/ 3559550 h 14078567"/>
                <a:gd name="connsiteX422" fmla="*/ 8886964 w 10125896"/>
                <a:gd name="connsiteY422" fmla="*/ 3611966 h 14078567"/>
                <a:gd name="connsiteX423" fmla="*/ 8886964 w 10125896"/>
                <a:gd name="connsiteY423" fmla="*/ 3645322 h 14078567"/>
                <a:gd name="connsiteX424" fmla="*/ 8848840 w 10125896"/>
                <a:gd name="connsiteY424" fmla="*/ 3707269 h 14078567"/>
                <a:gd name="connsiteX425" fmla="*/ 8801192 w 10125896"/>
                <a:gd name="connsiteY425" fmla="*/ 3778745 h 14078567"/>
                <a:gd name="connsiteX426" fmla="*/ 8739244 w 10125896"/>
                <a:gd name="connsiteY426" fmla="*/ 3826397 h 14078567"/>
                <a:gd name="connsiteX427" fmla="*/ 8715420 w 10125896"/>
                <a:gd name="connsiteY427" fmla="*/ 3835927 h 14078567"/>
                <a:gd name="connsiteX428" fmla="*/ 8691592 w 10125896"/>
                <a:gd name="connsiteY428" fmla="*/ 3821631 h 14078567"/>
                <a:gd name="connsiteX429" fmla="*/ 8663000 w 10125896"/>
                <a:gd name="connsiteY429" fmla="*/ 3826397 h 14078567"/>
                <a:gd name="connsiteX430" fmla="*/ 8605820 w 10125896"/>
                <a:gd name="connsiteY430" fmla="*/ 3845456 h 14078567"/>
                <a:gd name="connsiteX431" fmla="*/ 8553404 w 10125896"/>
                <a:gd name="connsiteY431" fmla="*/ 3850223 h 14078567"/>
                <a:gd name="connsiteX432" fmla="*/ 8453336 w 10125896"/>
                <a:gd name="connsiteY432" fmla="*/ 3816867 h 14078567"/>
                <a:gd name="connsiteX433" fmla="*/ 8400920 w 10125896"/>
                <a:gd name="connsiteY433" fmla="*/ 3783511 h 14078567"/>
                <a:gd name="connsiteX434" fmla="*/ 8377092 w 10125896"/>
                <a:gd name="connsiteY434" fmla="*/ 3769215 h 14078567"/>
                <a:gd name="connsiteX435" fmla="*/ 8338972 w 10125896"/>
                <a:gd name="connsiteY435" fmla="*/ 3773980 h 14078567"/>
                <a:gd name="connsiteX436" fmla="*/ 8324676 w 10125896"/>
                <a:gd name="connsiteY436" fmla="*/ 3788275 h 14078567"/>
                <a:gd name="connsiteX437" fmla="*/ 8272260 w 10125896"/>
                <a:gd name="connsiteY437" fmla="*/ 3874048 h 14078567"/>
                <a:gd name="connsiteX438" fmla="*/ 8243672 w 10125896"/>
                <a:gd name="connsiteY438" fmla="*/ 3935994 h 14078567"/>
                <a:gd name="connsiteX439" fmla="*/ 8229376 w 10125896"/>
                <a:gd name="connsiteY439" fmla="*/ 3997942 h 14078567"/>
                <a:gd name="connsiteX440" fmla="*/ 8219844 w 10125896"/>
                <a:gd name="connsiteY440" fmla="*/ 4064653 h 14078567"/>
                <a:gd name="connsiteX441" fmla="*/ 8224608 w 10125896"/>
                <a:gd name="connsiteY441" fmla="*/ 4131365 h 14078567"/>
                <a:gd name="connsiteX442" fmla="*/ 8229376 w 10125896"/>
                <a:gd name="connsiteY442" fmla="*/ 4183781 h 14078567"/>
                <a:gd name="connsiteX443" fmla="*/ 8238904 w 10125896"/>
                <a:gd name="connsiteY443" fmla="*/ 4207607 h 14078567"/>
                <a:gd name="connsiteX444" fmla="*/ 8253200 w 10125896"/>
                <a:gd name="connsiteY444" fmla="*/ 4221902 h 14078567"/>
                <a:gd name="connsiteX445" fmla="*/ 8277028 w 10125896"/>
                <a:gd name="connsiteY445" fmla="*/ 4231432 h 14078567"/>
                <a:gd name="connsiteX446" fmla="*/ 8324676 w 10125896"/>
                <a:gd name="connsiteY446" fmla="*/ 4221902 h 14078567"/>
                <a:gd name="connsiteX447" fmla="*/ 8343736 w 10125896"/>
                <a:gd name="connsiteY447" fmla="*/ 4226667 h 14078567"/>
                <a:gd name="connsiteX448" fmla="*/ 8353268 w 10125896"/>
                <a:gd name="connsiteY448" fmla="*/ 4240962 h 14078567"/>
                <a:gd name="connsiteX449" fmla="*/ 8362800 w 10125896"/>
                <a:gd name="connsiteY449" fmla="*/ 4288614 h 14078567"/>
                <a:gd name="connsiteX450" fmla="*/ 8362800 w 10125896"/>
                <a:gd name="connsiteY450" fmla="*/ 4331500 h 14078567"/>
                <a:gd name="connsiteX451" fmla="*/ 8353268 w 10125896"/>
                <a:gd name="connsiteY451" fmla="*/ 4388681 h 14078567"/>
                <a:gd name="connsiteX452" fmla="*/ 8343736 w 10125896"/>
                <a:gd name="connsiteY452" fmla="*/ 4455394 h 14078567"/>
                <a:gd name="connsiteX453" fmla="*/ 8338972 w 10125896"/>
                <a:gd name="connsiteY453" fmla="*/ 4531635 h 14078567"/>
                <a:gd name="connsiteX454" fmla="*/ 8343736 w 10125896"/>
                <a:gd name="connsiteY454" fmla="*/ 4574523 h 14078567"/>
                <a:gd name="connsiteX455" fmla="*/ 8362800 w 10125896"/>
                <a:gd name="connsiteY455" fmla="*/ 4584053 h 14078567"/>
                <a:gd name="connsiteX456" fmla="*/ 8372328 w 10125896"/>
                <a:gd name="connsiteY456" fmla="*/ 4579287 h 14078567"/>
                <a:gd name="connsiteX457" fmla="*/ 8381860 w 10125896"/>
                <a:gd name="connsiteY457" fmla="*/ 4593581 h 14078567"/>
                <a:gd name="connsiteX458" fmla="*/ 8396156 w 10125896"/>
                <a:gd name="connsiteY458" fmla="*/ 4622173 h 14078567"/>
                <a:gd name="connsiteX459" fmla="*/ 8405684 w 10125896"/>
                <a:gd name="connsiteY459" fmla="*/ 4655529 h 14078567"/>
                <a:gd name="connsiteX460" fmla="*/ 8410448 w 10125896"/>
                <a:gd name="connsiteY460" fmla="*/ 4688884 h 14078567"/>
                <a:gd name="connsiteX461" fmla="*/ 8410448 w 10125896"/>
                <a:gd name="connsiteY461" fmla="*/ 4717476 h 14078567"/>
                <a:gd name="connsiteX462" fmla="*/ 8396156 w 10125896"/>
                <a:gd name="connsiteY462" fmla="*/ 4741302 h 14078567"/>
                <a:gd name="connsiteX463" fmla="*/ 8367564 w 10125896"/>
                <a:gd name="connsiteY463" fmla="*/ 4765127 h 14078567"/>
                <a:gd name="connsiteX464" fmla="*/ 8296088 w 10125896"/>
                <a:gd name="connsiteY464" fmla="*/ 4812778 h 14078567"/>
                <a:gd name="connsiteX465" fmla="*/ 8286556 w 10125896"/>
                <a:gd name="connsiteY465" fmla="*/ 4827073 h 14078567"/>
                <a:gd name="connsiteX466" fmla="*/ 8281792 w 10125896"/>
                <a:gd name="connsiteY466" fmla="*/ 4855665 h 14078567"/>
                <a:gd name="connsiteX467" fmla="*/ 8277028 w 10125896"/>
                <a:gd name="connsiteY467" fmla="*/ 4898551 h 14078567"/>
                <a:gd name="connsiteX468" fmla="*/ 8267496 w 10125896"/>
                <a:gd name="connsiteY468" fmla="*/ 4936671 h 14078567"/>
                <a:gd name="connsiteX469" fmla="*/ 8253200 w 10125896"/>
                <a:gd name="connsiteY469" fmla="*/ 4970027 h 14078567"/>
                <a:gd name="connsiteX470" fmla="*/ 8243672 w 10125896"/>
                <a:gd name="connsiteY470" fmla="*/ 4993852 h 14078567"/>
                <a:gd name="connsiteX471" fmla="*/ 8219844 w 10125896"/>
                <a:gd name="connsiteY471" fmla="*/ 5003384 h 14078567"/>
                <a:gd name="connsiteX472" fmla="*/ 8186488 w 10125896"/>
                <a:gd name="connsiteY472" fmla="*/ 5003384 h 14078567"/>
                <a:gd name="connsiteX473" fmla="*/ 8153132 w 10125896"/>
                <a:gd name="connsiteY473" fmla="*/ 5022444 h 14078567"/>
                <a:gd name="connsiteX474" fmla="*/ 8072124 w 10125896"/>
                <a:gd name="connsiteY474" fmla="*/ 5141571 h 14078567"/>
                <a:gd name="connsiteX475" fmla="*/ 8072124 w 10125896"/>
                <a:gd name="connsiteY475" fmla="*/ 5151101 h 14078567"/>
                <a:gd name="connsiteX476" fmla="*/ 8100716 w 10125896"/>
                <a:gd name="connsiteY476" fmla="*/ 5189223 h 14078567"/>
                <a:gd name="connsiteX477" fmla="*/ 8100716 w 10125896"/>
                <a:gd name="connsiteY477" fmla="*/ 5222579 h 14078567"/>
                <a:gd name="connsiteX478" fmla="*/ 8062596 w 10125896"/>
                <a:gd name="connsiteY478" fmla="*/ 5356003 h 14078567"/>
                <a:gd name="connsiteX479" fmla="*/ 8053064 w 10125896"/>
                <a:gd name="connsiteY479" fmla="*/ 5427480 h 14078567"/>
                <a:gd name="connsiteX480" fmla="*/ 8043536 w 10125896"/>
                <a:gd name="connsiteY480" fmla="*/ 5518017 h 14078567"/>
                <a:gd name="connsiteX481" fmla="*/ 8034004 w 10125896"/>
                <a:gd name="connsiteY481" fmla="*/ 5594258 h 14078567"/>
                <a:gd name="connsiteX482" fmla="*/ 8014944 w 10125896"/>
                <a:gd name="connsiteY482" fmla="*/ 5656206 h 14078567"/>
                <a:gd name="connsiteX483" fmla="*/ 7995884 w 10125896"/>
                <a:gd name="connsiteY483" fmla="*/ 5722918 h 14078567"/>
                <a:gd name="connsiteX484" fmla="*/ 7976824 w 10125896"/>
                <a:gd name="connsiteY484" fmla="*/ 5803925 h 14078567"/>
                <a:gd name="connsiteX485" fmla="*/ 7981588 w 10125896"/>
                <a:gd name="connsiteY485" fmla="*/ 5865870 h 14078567"/>
                <a:gd name="connsiteX486" fmla="*/ 8005412 w 10125896"/>
                <a:gd name="connsiteY486" fmla="*/ 5903993 h 14078567"/>
                <a:gd name="connsiteX487" fmla="*/ 8034004 w 10125896"/>
                <a:gd name="connsiteY487" fmla="*/ 5870637 h 14078567"/>
                <a:gd name="connsiteX488" fmla="*/ 8072124 w 10125896"/>
                <a:gd name="connsiteY488" fmla="*/ 5761037 h 14078567"/>
                <a:gd name="connsiteX489" fmla="*/ 8115012 w 10125896"/>
                <a:gd name="connsiteY489" fmla="*/ 5713388 h 14078567"/>
                <a:gd name="connsiteX490" fmla="*/ 8162664 w 10125896"/>
                <a:gd name="connsiteY490" fmla="*/ 5727684 h 14078567"/>
                <a:gd name="connsiteX491" fmla="*/ 8200784 w 10125896"/>
                <a:gd name="connsiteY491" fmla="*/ 5751507 h 14078567"/>
                <a:gd name="connsiteX492" fmla="*/ 8253200 w 10125896"/>
                <a:gd name="connsiteY492" fmla="*/ 5794395 h 14078567"/>
                <a:gd name="connsiteX493" fmla="*/ 8296088 w 10125896"/>
                <a:gd name="connsiteY493" fmla="*/ 5822985 h 14078567"/>
                <a:gd name="connsiteX494" fmla="*/ 8329444 w 10125896"/>
                <a:gd name="connsiteY494" fmla="*/ 5856340 h 14078567"/>
                <a:gd name="connsiteX495" fmla="*/ 8343736 w 10125896"/>
                <a:gd name="connsiteY495" fmla="*/ 5884933 h 14078567"/>
                <a:gd name="connsiteX496" fmla="*/ 8362800 w 10125896"/>
                <a:gd name="connsiteY496" fmla="*/ 5927818 h 14078567"/>
                <a:gd name="connsiteX497" fmla="*/ 8362800 w 10125896"/>
                <a:gd name="connsiteY497" fmla="*/ 5956409 h 14078567"/>
                <a:gd name="connsiteX498" fmla="*/ 8334208 w 10125896"/>
                <a:gd name="connsiteY498" fmla="*/ 5970704 h 14078567"/>
                <a:gd name="connsiteX499" fmla="*/ 8324676 w 10125896"/>
                <a:gd name="connsiteY499" fmla="*/ 5965939 h 14078567"/>
                <a:gd name="connsiteX500" fmla="*/ 8257964 w 10125896"/>
                <a:gd name="connsiteY500" fmla="*/ 5894463 h 14078567"/>
                <a:gd name="connsiteX501" fmla="*/ 8224608 w 10125896"/>
                <a:gd name="connsiteY501" fmla="*/ 5880167 h 14078567"/>
                <a:gd name="connsiteX502" fmla="*/ 8181724 w 10125896"/>
                <a:gd name="connsiteY502" fmla="*/ 5899226 h 14078567"/>
                <a:gd name="connsiteX503" fmla="*/ 8143604 w 10125896"/>
                <a:gd name="connsiteY503" fmla="*/ 5932584 h 14078567"/>
                <a:gd name="connsiteX504" fmla="*/ 8176960 w 10125896"/>
                <a:gd name="connsiteY504" fmla="*/ 6056475 h 14078567"/>
                <a:gd name="connsiteX505" fmla="*/ 8215080 w 10125896"/>
                <a:gd name="connsiteY505" fmla="*/ 6108893 h 14078567"/>
                <a:gd name="connsiteX506" fmla="*/ 8281792 w 10125896"/>
                <a:gd name="connsiteY506" fmla="*/ 6137483 h 14078567"/>
                <a:gd name="connsiteX507" fmla="*/ 8315148 w 10125896"/>
                <a:gd name="connsiteY507" fmla="*/ 6166074 h 14078567"/>
                <a:gd name="connsiteX508" fmla="*/ 8338972 w 10125896"/>
                <a:gd name="connsiteY508" fmla="*/ 6199431 h 14078567"/>
                <a:gd name="connsiteX509" fmla="*/ 8358032 w 10125896"/>
                <a:gd name="connsiteY509" fmla="*/ 6213724 h 14078567"/>
                <a:gd name="connsiteX510" fmla="*/ 8386624 w 10125896"/>
                <a:gd name="connsiteY510" fmla="*/ 6208961 h 14078567"/>
                <a:gd name="connsiteX511" fmla="*/ 8419980 w 10125896"/>
                <a:gd name="connsiteY511" fmla="*/ 6175604 h 14078567"/>
                <a:gd name="connsiteX512" fmla="*/ 8472396 w 10125896"/>
                <a:gd name="connsiteY512" fmla="*/ 6170838 h 14078567"/>
                <a:gd name="connsiteX513" fmla="*/ 8496224 w 10125896"/>
                <a:gd name="connsiteY513" fmla="*/ 6189901 h 14078567"/>
                <a:gd name="connsiteX514" fmla="*/ 8510516 w 10125896"/>
                <a:gd name="connsiteY514" fmla="*/ 6218491 h 14078567"/>
                <a:gd name="connsiteX515" fmla="*/ 8515284 w 10125896"/>
                <a:gd name="connsiteY515" fmla="*/ 6275672 h 14078567"/>
                <a:gd name="connsiteX516" fmla="*/ 8515284 w 10125896"/>
                <a:gd name="connsiteY516" fmla="*/ 6361443 h 14078567"/>
                <a:gd name="connsiteX517" fmla="*/ 8510516 w 10125896"/>
                <a:gd name="connsiteY517" fmla="*/ 6423392 h 14078567"/>
                <a:gd name="connsiteX518" fmla="*/ 8500988 w 10125896"/>
                <a:gd name="connsiteY518" fmla="*/ 6466277 h 14078567"/>
                <a:gd name="connsiteX519" fmla="*/ 8481928 w 10125896"/>
                <a:gd name="connsiteY519" fmla="*/ 6523459 h 14078567"/>
                <a:gd name="connsiteX520" fmla="*/ 8467632 w 10125896"/>
                <a:gd name="connsiteY520" fmla="*/ 6532989 h 14078567"/>
                <a:gd name="connsiteX521" fmla="*/ 8448572 w 10125896"/>
                <a:gd name="connsiteY521" fmla="*/ 6528224 h 14078567"/>
                <a:gd name="connsiteX522" fmla="*/ 8429512 w 10125896"/>
                <a:gd name="connsiteY522" fmla="*/ 6518694 h 14078567"/>
                <a:gd name="connsiteX523" fmla="*/ 8410448 w 10125896"/>
                <a:gd name="connsiteY523" fmla="*/ 6499633 h 14078567"/>
                <a:gd name="connsiteX524" fmla="*/ 8381860 w 10125896"/>
                <a:gd name="connsiteY524" fmla="*/ 6485339 h 14078567"/>
                <a:gd name="connsiteX525" fmla="*/ 8329444 w 10125896"/>
                <a:gd name="connsiteY525" fmla="*/ 6466277 h 14078567"/>
                <a:gd name="connsiteX526" fmla="*/ 8272260 w 10125896"/>
                <a:gd name="connsiteY526" fmla="*/ 6428156 h 14078567"/>
                <a:gd name="connsiteX527" fmla="*/ 8238904 w 10125896"/>
                <a:gd name="connsiteY527" fmla="*/ 6418626 h 14078567"/>
                <a:gd name="connsiteX528" fmla="*/ 8176960 w 10125896"/>
                <a:gd name="connsiteY528" fmla="*/ 6423392 h 14078567"/>
                <a:gd name="connsiteX529" fmla="*/ 8105480 w 10125896"/>
                <a:gd name="connsiteY529" fmla="*/ 6447218 h 14078567"/>
                <a:gd name="connsiteX530" fmla="*/ 8100716 w 10125896"/>
                <a:gd name="connsiteY530" fmla="*/ 6480573 h 14078567"/>
                <a:gd name="connsiteX531" fmla="*/ 7995884 w 10125896"/>
                <a:gd name="connsiteY531" fmla="*/ 6585405 h 14078567"/>
                <a:gd name="connsiteX532" fmla="*/ 7976824 w 10125896"/>
                <a:gd name="connsiteY532" fmla="*/ 6585405 h 14078567"/>
                <a:gd name="connsiteX533" fmla="*/ 7948232 w 10125896"/>
                <a:gd name="connsiteY533" fmla="*/ 6547284 h 14078567"/>
                <a:gd name="connsiteX534" fmla="*/ 7910112 w 10125896"/>
                <a:gd name="connsiteY534" fmla="*/ 6513929 h 14078567"/>
                <a:gd name="connsiteX535" fmla="*/ 7886284 w 10125896"/>
                <a:gd name="connsiteY535" fmla="*/ 6513929 h 14078567"/>
                <a:gd name="connsiteX536" fmla="*/ 7852928 w 10125896"/>
                <a:gd name="connsiteY536" fmla="*/ 6556815 h 14078567"/>
                <a:gd name="connsiteX537" fmla="*/ 7843400 w 10125896"/>
                <a:gd name="connsiteY537" fmla="*/ 6571110 h 14078567"/>
                <a:gd name="connsiteX538" fmla="*/ 7843400 w 10125896"/>
                <a:gd name="connsiteY538" fmla="*/ 6590170 h 14078567"/>
                <a:gd name="connsiteX539" fmla="*/ 7867224 w 10125896"/>
                <a:gd name="connsiteY539" fmla="*/ 6628292 h 14078567"/>
                <a:gd name="connsiteX540" fmla="*/ 7876756 w 10125896"/>
                <a:gd name="connsiteY540" fmla="*/ 6637822 h 14078567"/>
                <a:gd name="connsiteX541" fmla="*/ 7891052 w 10125896"/>
                <a:gd name="connsiteY541" fmla="*/ 6642588 h 14078567"/>
                <a:gd name="connsiteX542" fmla="*/ 7938704 w 10125896"/>
                <a:gd name="connsiteY542" fmla="*/ 6652118 h 14078567"/>
                <a:gd name="connsiteX543" fmla="*/ 7957764 w 10125896"/>
                <a:gd name="connsiteY543" fmla="*/ 6661648 h 14078567"/>
                <a:gd name="connsiteX544" fmla="*/ 7976824 w 10125896"/>
                <a:gd name="connsiteY544" fmla="*/ 6776010 h 14078567"/>
                <a:gd name="connsiteX545" fmla="*/ 8005412 w 10125896"/>
                <a:gd name="connsiteY545" fmla="*/ 6847488 h 14078567"/>
                <a:gd name="connsiteX546" fmla="*/ 8019708 w 10125896"/>
                <a:gd name="connsiteY546" fmla="*/ 6861783 h 14078567"/>
                <a:gd name="connsiteX547" fmla="*/ 8029240 w 10125896"/>
                <a:gd name="connsiteY547" fmla="*/ 6866548 h 14078567"/>
                <a:gd name="connsiteX548" fmla="*/ 8067360 w 10125896"/>
                <a:gd name="connsiteY548" fmla="*/ 6866548 h 14078567"/>
                <a:gd name="connsiteX549" fmla="*/ 8110248 w 10125896"/>
                <a:gd name="connsiteY549" fmla="*/ 6842722 h 14078567"/>
                <a:gd name="connsiteX550" fmla="*/ 8129308 w 10125896"/>
                <a:gd name="connsiteY550" fmla="*/ 6861783 h 14078567"/>
                <a:gd name="connsiteX551" fmla="*/ 8162664 w 10125896"/>
                <a:gd name="connsiteY551" fmla="*/ 6885608 h 14078567"/>
                <a:gd name="connsiteX552" fmla="*/ 8181724 w 10125896"/>
                <a:gd name="connsiteY552" fmla="*/ 6890375 h 14078567"/>
                <a:gd name="connsiteX553" fmla="*/ 8205548 w 10125896"/>
                <a:gd name="connsiteY553" fmla="*/ 6890375 h 14078567"/>
                <a:gd name="connsiteX554" fmla="*/ 8234140 w 10125896"/>
                <a:gd name="connsiteY554" fmla="*/ 6895139 h 14078567"/>
                <a:gd name="connsiteX555" fmla="*/ 8272260 w 10125896"/>
                <a:gd name="connsiteY555" fmla="*/ 6961850 h 14078567"/>
                <a:gd name="connsiteX556" fmla="*/ 8257964 w 10125896"/>
                <a:gd name="connsiteY556" fmla="*/ 7042857 h 14078567"/>
                <a:gd name="connsiteX557" fmla="*/ 8281792 w 10125896"/>
                <a:gd name="connsiteY557" fmla="*/ 7104803 h 14078567"/>
                <a:gd name="connsiteX558" fmla="*/ 8319912 w 10125896"/>
                <a:gd name="connsiteY558" fmla="*/ 7171515 h 14078567"/>
                <a:gd name="connsiteX559" fmla="*/ 8329444 w 10125896"/>
                <a:gd name="connsiteY559" fmla="*/ 7195341 h 14078567"/>
                <a:gd name="connsiteX560" fmla="*/ 8329444 w 10125896"/>
                <a:gd name="connsiteY560" fmla="*/ 7238227 h 14078567"/>
                <a:gd name="connsiteX561" fmla="*/ 8334208 w 10125896"/>
                <a:gd name="connsiteY561" fmla="*/ 7266818 h 14078567"/>
                <a:gd name="connsiteX562" fmla="*/ 8334208 w 10125896"/>
                <a:gd name="connsiteY562" fmla="*/ 7290643 h 14078567"/>
                <a:gd name="connsiteX563" fmla="*/ 8338972 w 10125896"/>
                <a:gd name="connsiteY563" fmla="*/ 7314469 h 14078567"/>
                <a:gd name="connsiteX564" fmla="*/ 8343736 w 10125896"/>
                <a:gd name="connsiteY564" fmla="*/ 7362121 h 14078567"/>
                <a:gd name="connsiteX565" fmla="*/ 8348504 w 10125896"/>
                <a:gd name="connsiteY565" fmla="*/ 7428832 h 14078567"/>
                <a:gd name="connsiteX566" fmla="*/ 8348504 w 10125896"/>
                <a:gd name="connsiteY566" fmla="*/ 7481249 h 14078567"/>
                <a:gd name="connsiteX567" fmla="*/ 8338972 w 10125896"/>
                <a:gd name="connsiteY567" fmla="*/ 7524135 h 14078567"/>
                <a:gd name="connsiteX568" fmla="*/ 8324676 w 10125896"/>
                <a:gd name="connsiteY568" fmla="*/ 7552725 h 14078567"/>
                <a:gd name="connsiteX569" fmla="*/ 8300852 w 10125896"/>
                <a:gd name="connsiteY569" fmla="*/ 7571786 h 14078567"/>
                <a:gd name="connsiteX570" fmla="*/ 8281792 w 10125896"/>
                <a:gd name="connsiteY570" fmla="*/ 7567021 h 14078567"/>
                <a:gd name="connsiteX571" fmla="*/ 8267496 w 10125896"/>
                <a:gd name="connsiteY571" fmla="*/ 7538430 h 14078567"/>
                <a:gd name="connsiteX572" fmla="*/ 8248436 w 10125896"/>
                <a:gd name="connsiteY572" fmla="*/ 7509839 h 14078567"/>
                <a:gd name="connsiteX573" fmla="*/ 8219844 w 10125896"/>
                <a:gd name="connsiteY573" fmla="*/ 7476483 h 14078567"/>
                <a:gd name="connsiteX574" fmla="*/ 8176960 w 10125896"/>
                <a:gd name="connsiteY574" fmla="*/ 7471719 h 14078567"/>
                <a:gd name="connsiteX575" fmla="*/ 8110248 w 10125896"/>
                <a:gd name="connsiteY575" fmla="*/ 7567021 h 14078567"/>
                <a:gd name="connsiteX576" fmla="*/ 8081656 w 10125896"/>
                <a:gd name="connsiteY576" fmla="*/ 7571786 h 14078567"/>
                <a:gd name="connsiteX577" fmla="*/ 8057832 w 10125896"/>
                <a:gd name="connsiteY577" fmla="*/ 7581316 h 14078567"/>
                <a:gd name="connsiteX578" fmla="*/ 8029240 w 10125896"/>
                <a:gd name="connsiteY578" fmla="*/ 7624203 h 14078567"/>
                <a:gd name="connsiteX579" fmla="*/ 7991120 w 10125896"/>
                <a:gd name="connsiteY579" fmla="*/ 7648028 h 14078567"/>
                <a:gd name="connsiteX580" fmla="*/ 7957764 w 10125896"/>
                <a:gd name="connsiteY580" fmla="*/ 7638497 h 14078567"/>
                <a:gd name="connsiteX581" fmla="*/ 7900580 w 10125896"/>
                <a:gd name="connsiteY581" fmla="*/ 7590847 h 14078567"/>
                <a:gd name="connsiteX582" fmla="*/ 7924408 w 10125896"/>
                <a:gd name="connsiteY582" fmla="*/ 7624203 h 14078567"/>
                <a:gd name="connsiteX583" fmla="*/ 7952996 w 10125896"/>
                <a:gd name="connsiteY583" fmla="*/ 7662323 h 14078567"/>
                <a:gd name="connsiteX584" fmla="*/ 7972060 w 10125896"/>
                <a:gd name="connsiteY584" fmla="*/ 7681384 h 14078567"/>
                <a:gd name="connsiteX585" fmla="*/ 7986352 w 10125896"/>
                <a:gd name="connsiteY585" fmla="*/ 7686149 h 14078567"/>
                <a:gd name="connsiteX586" fmla="*/ 8000648 w 10125896"/>
                <a:gd name="connsiteY586" fmla="*/ 7681384 h 14078567"/>
                <a:gd name="connsiteX587" fmla="*/ 8024476 w 10125896"/>
                <a:gd name="connsiteY587" fmla="*/ 7667089 h 14078567"/>
                <a:gd name="connsiteX588" fmla="*/ 8072124 w 10125896"/>
                <a:gd name="connsiteY588" fmla="*/ 7624203 h 14078567"/>
                <a:gd name="connsiteX589" fmla="*/ 8086420 w 10125896"/>
                <a:gd name="connsiteY589" fmla="*/ 7614672 h 14078567"/>
                <a:gd name="connsiteX590" fmla="*/ 8095952 w 10125896"/>
                <a:gd name="connsiteY590" fmla="*/ 7619437 h 14078567"/>
                <a:gd name="connsiteX591" fmla="*/ 8105480 w 10125896"/>
                <a:gd name="connsiteY591" fmla="*/ 7628967 h 14078567"/>
                <a:gd name="connsiteX592" fmla="*/ 8115012 w 10125896"/>
                <a:gd name="connsiteY592" fmla="*/ 7667089 h 14078567"/>
                <a:gd name="connsiteX593" fmla="*/ 8129308 w 10125896"/>
                <a:gd name="connsiteY593" fmla="*/ 7729035 h 14078567"/>
                <a:gd name="connsiteX594" fmla="*/ 8124544 w 10125896"/>
                <a:gd name="connsiteY594" fmla="*/ 7781451 h 14078567"/>
                <a:gd name="connsiteX595" fmla="*/ 8110248 w 10125896"/>
                <a:gd name="connsiteY595" fmla="*/ 7824337 h 14078567"/>
                <a:gd name="connsiteX596" fmla="*/ 8100716 w 10125896"/>
                <a:gd name="connsiteY596" fmla="*/ 7848163 h 14078567"/>
                <a:gd name="connsiteX597" fmla="*/ 8086420 w 10125896"/>
                <a:gd name="connsiteY597" fmla="*/ 7862459 h 14078567"/>
                <a:gd name="connsiteX598" fmla="*/ 8086420 w 10125896"/>
                <a:gd name="connsiteY598" fmla="*/ 7871989 h 14078567"/>
                <a:gd name="connsiteX599" fmla="*/ 8115012 w 10125896"/>
                <a:gd name="connsiteY599" fmla="*/ 7881519 h 14078567"/>
                <a:gd name="connsiteX600" fmla="*/ 8153132 w 10125896"/>
                <a:gd name="connsiteY600" fmla="*/ 7824337 h 14078567"/>
                <a:gd name="connsiteX601" fmla="*/ 8167428 w 10125896"/>
                <a:gd name="connsiteY601" fmla="*/ 7757626 h 14078567"/>
                <a:gd name="connsiteX602" fmla="*/ 8186488 w 10125896"/>
                <a:gd name="connsiteY602" fmla="*/ 7676619 h 14078567"/>
                <a:gd name="connsiteX603" fmla="*/ 8219844 w 10125896"/>
                <a:gd name="connsiteY603" fmla="*/ 7652793 h 14078567"/>
                <a:gd name="connsiteX604" fmla="*/ 8253200 w 10125896"/>
                <a:gd name="connsiteY604" fmla="*/ 7676619 h 14078567"/>
                <a:gd name="connsiteX605" fmla="*/ 8281792 w 10125896"/>
                <a:gd name="connsiteY605" fmla="*/ 7752861 h 14078567"/>
                <a:gd name="connsiteX606" fmla="*/ 8324676 w 10125896"/>
                <a:gd name="connsiteY606" fmla="*/ 7886285 h 14078567"/>
                <a:gd name="connsiteX607" fmla="*/ 8338972 w 10125896"/>
                <a:gd name="connsiteY607" fmla="*/ 7900579 h 14078567"/>
                <a:gd name="connsiteX608" fmla="*/ 8362800 w 10125896"/>
                <a:gd name="connsiteY608" fmla="*/ 7933935 h 14078567"/>
                <a:gd name="connsiteX609" fmla="*/ 8372328 w 10125896"/>
                <a:gd name="connsiteY609" fmla="*/ 7972057 h 14078567"/>
                <a:gd name="connsiteX610" fmla="*/ 8367564 w 10125896"/>
                <a:gd name="connsiteY610" fmla="*/ 8019708 h 14078567"/>
                <a:gd name="connsiteX611" fmla="*/ 8362800 w 10125896"/>
                <a:gd name="connsiteY611" fmla="*/ 8053064 h 14078567"/>
                <a:gd name="connsiteX612" fmla="*/ 8358032 w 10125896"/>
                <a:gd name="connsiteY612" fmla="*/ 8072125 h 14078567"/>
                <a:gd name="connsiteX613" fmla="*/ 8348504 w 10125896"/>
                <a:gd name="connsiteY613" fmla="*/ 8086419 h 14078567"/>
                <a:gd name="connsiteX614" fmla="*/ 8334208 w 10125896"/>
                <a:gd name="connsiteY614" fmla="*/ 8095950 h 14078567"/>
                <a:gd name="connsiteX615" fmla="*/ 8305616 w 10125896"/>
                <a:gd name="connsiteY615" fmla="*/ 8100715 h 14078567"/>
                <a:gd name="connsiteX616" fmla="*/ 8243672 w 10125896"/>
                <a:gd name="connsiteY616" fmla="*/ 8086419 h 14078567"/>
                <a:gd name="connsiteX617" fmla="*/ 8210316 w 10125896"/>
                <a:gd name="connsiteY617" fmla="*/ 8086419 h 14078567"/>
                <a:gd name="connsiteX618" fmla="*/ 8215080 w 10125896"/>
                <a:gd name="connsiteY618" fmla="*/ 8134071 h 14078567"/>
                <a:gd name="connsiteX619" fmla="*/ 8148368 w 10125896"/>
                <a:gd name="connsiteY619" fmla="*/ 8172192 h 14078567"/>
                <a:gd name="connsiteX620" fmla="*/ 8072124 w 10125896"/>
                <a:gd name="connsiteY620" fmla="*/ 8186487 h 14078567"/>
                <a:gd name="connsiteX621" fmla="*/ 8005412 w 10125896"/>
                <a:gd name="connsiteY621" fmla="*/ 8153131 h 14078567"/>
                <a:gd name="connsiteX622" fmla="*/ 7943468 w 10125896"/>
                <a:gd name="connsiteY622" fmla="*/ 8110245 h 14078567"/>
                <a:gd name="connsiteX623" fmla="*/ 7962528 w 10125896"/>
                <a:gd name="connsiteY623" fmla="*/ 8043533 h 14078567"/>
                <a:gd name="connsiteX624" fmla="*/ 7976824 w 10125896"/>
                <a:gd name="connsiteY624" fmla="*/ 7972057 h 14078567"/>
                <a:gd name="connsiteX625" fmla="*/ 7948232 w 10125896"/>
                <a:gd name="connsiteY625" fmla="*/ 7919640 h 14078567"/>
                <a:gd name="connsiteX626" fmla="*/ 7943468 w 10125896"/>
                <a:gd name="connsiteY626" fmla="*/ 7919640 h 14078567"/>
                <a:gd name="connsiteX627" fmla="*/ 7952996 w 10125896"/>
                <a:gd name="connsiteY627" fmla="*/ 7995883 h 14078567"/>
                <a:gd name="connsiteX628" fmla="*/ 7943468 w 10125896"/>
                <a:gd name="connsiteY628" fmla="*/ 8024473 h 14078567"/>
                <a:gd name="connsiteX629" fmla="*/ 7910112 w 10125896"/>
                <a:gd name="connsiteY629" fmla="*/ 8057829 h 14078567"/>
                <a:gd name="connsiteX630" fmla="*/ 7886284 w 10125896"/>
                <a:gd name="connsiteY630" fmla="*/ 8076889 h 14078567"/>
                <a:gd name="connsiteX631" fmla="*/ 7886284 w 10125896"/>
                <a:gd name="connsiteY631" fmla="*/ 8086419 h 14078567"/>
                <a:gd name="connsiteX632" fmla="*/ 7895816 w 10125896"/>
                <a:gd name="connsiteY632" fmla="*/ 8091185 h 14078567"/>
                <a:gd name="connsiteX633" fmla="*/ 7905348 w 10125896"/>
                <a:gd name="connsiteY633" fmla="*/ 8110245 h 14078567"/>
                <a:gd name="connsiteX634" fmla="*/ 7910112 w 10125896"/>
                <a:gd name="connsiteY634" fmla="*/ 8129306 h 14078567"/>
                <a:gd name="connsiteX635" fmla="*/ 7905348 w 10125896"/>
                <a:gd name="connsiteY635" fmla="*/ 8153131 h 14078567"/>
                <a:gd name="connsiteX636" fmla="*/ 7891052 w 10125896"/>
                <a:gd name="connsiteY636" fmla="*/ 8176957 h 14078567"/>
                <a:gd name="connsiteX637" fmla="*/ 7886284 w 10125896"/>
                <a:gd name="connsiteY637" fmla="*/ 8196017 h 14078567"/>
                <a:gd name="connsiteX638" fmla="*/ 7886284 w 10125896"/>
                <a:gd name="connsiteY638" fmla="*/ 8210313 h 14078567"/>
                <a:gd name="connsiteX639" fmla="*/ 7895816 w 10125896"/>
                <a:gd name="connsiteY639" fmla="*/ 8229373 h 14078567"/>
                <a:gd name="connsiteX640" fmla="*/ 7914876 w 10125896"/>
                <a:gd name="connsiteY640" fmla="*/ 8253199 h 14078567"/>
                <a:gd name="connsiteX641" fmla="*/ 7938704 w 10125896"/>
                <a:gd name="connsiteY641" fmla="*/ 8262729 h 14078567"/>
                <a:gd name="connsiteX642" fmla="*/ 8048300 w 10125896"/>
                <a:gd name="connsiteY642" fmla="*/ 8267495 h 14078567"/>
                <a:gd name="connsiteX643" fmla="*/ 8091188 w 10125896"/>
                <a:gd name="connsiteY643" fmla="*/ 8281790 h 14078567"/>
                <a:gd name="connsiteX644" fmla="*/ 8191252 w 10125896"/>
                <a:gd name="connsiteY644" fmla="*/ 8334207 h 14078567"/>
                <a:gd name="connsiteX645" fmla="*/ 8196020 w 10125896"/>
                <a:gd name="connsiteY645" fmla="*/ 8348501 h 14078567"/>
                <a:gd name="connsiteX646" fmla="*/ 8181724 w 10125896"/>
                <a:gd name="connsiteY646" fmla="*/ 8443804 h 14078567"/>
                <a:gd name="connsiteX647" fmla="*/ 8172192 w 10125896"/>
                <a:gd name="connsiteY647" fmla="*/ 8529576 h 14078567"/>
                <a:gd name="connsiteX648" fmla="*/ 8153132 w 10125896"/>
                <a:gd name="connsiteY648" fmla="*/ 8548637 h 14078567"/>
                <a:gd name="connsiteX649" fmla="*/ 8043536 w 10125896"/>
                <a:gd name="connsiteY649" fmla="*/ 8548637 h 14078567"/>
                <a:gd name="connsiteX650" fmla="*/ 8010180 w 10125896"/>
                <a:gd name="connsiteY650" fmla="*/ 8562932 h 14078567"/>
                <a:gd name="connsiteX651" fmla="*/ 7957764 w 10125896"/>
                <a:gd name="connsiteY651" fmla="*/ 8605819 h 14078567"/>
                <a:gd name="connsiteX652" fmla="*/ 7910112 w 10125896"/>
                <a:gd name="connsiteY652" fmla="*/ 8653470 h 14078567"/>
                <a:gd name="connsiteX653" fmla="*/ 7886284 w 10125896"/>
                <a:gd name="connsiteY653" fmla="*/ 8653470 h 14078567"/>
                <a:gd name="connsiteX654" fmla="*/ 7786220 w 10125896"/>
                <a:gd name="connsiteY654" fmla="*/ 8610584 h 14078567"/>
                <a:gd name="connsiteX655" fmla="*/ 7748096 w 10125896"/>
                <a:gd name="connsiteY655" fmla="*/ 8581993 h 14078567"/>
                <a:gd name="connsiteX656" fmla="*/ 7662324 w 10125896"/>
                <a:gd name="connsiteY656" fmla="*/ 8505751 h 14078567"/>
                <a:gd name="connsiteX657" fmla="*/ 7600380 w 10125896"/>
                <a:gd name="connsiteY657" fmla="*/ 8381857 h 14078567"/>
                <a:gd name="connsiteX658" fmla="*/ 7571788 w 10125896"/>
                <a:gd name="connsiteY658" fmla="*/ 8434274 h 14078567"/>
                <a:gd name="connsiteX659" fmla="*/ 7557492 w 10125896"/>
                <a:gd name="connsiteY659" fmla="*/ 8458100 h 14078567"/>
                <a:gd name="connsiteX660" fmla="*/ 7538432 w 10125896"/>
                <a:gd name="connsiteY660" fmla="*/ 8467630 h 14078567"/>
                <a:gd name="connsiteX661" fmla="*/ 7519372 w 10125896"/>
                <a:gd name="connsiteY661" fmla="*/ 8472395 h 14078567"/>
                <a:gd name="connsiteX662" fmla="*/ 7505076 w 10125896"/>
                <a:gd name="connsiteY662" fmla="*/ 8462865 h 14078567"/>
                <a:gd name="connsiteX663" fmla="*/ 7486016 w 10125896"/>
                <a:gd name="connsiteY663" fmla="*/ 8443804 h 14078567"/>
                <a:gd name="connsiteX664" fmla="*/ 7452660 w 10125896"/>
                <a:gd name="connsiteY664" fmla="*/ 8396153 h 14078567"/>
                <a:gd name="connsiteX665" fmla="*/ 7414540 w 10125896"/>
                <a:gd name="connsiteY665" fmla="*/ 8353267 h 14078567"/>
                <a:gd name="connsiteX666" fmla="*/ 7385948 w 10125896"/>
                <a:gd name="connsiteY666" fmla="*/ 8334207 h 14078567"/>
                <a:gd name="connsiteX667" fmla="*/ 7385948 w 10125896"/>
                <a:gd name="connsiteY667" fmla="*/ 8338971 h 14078567"/>
                <a:gd name="connsiteX668" fmla="*/ 7405008 w 10125896"/>
                <a:gd name="connsiteY668" fmla="*/ 8362797 h 14078567"/>
                <a:gd name="connsiteX669" fmla="*/ 7424068 w 10125896"/>
                <a:gd name="connsiteY669" fmla="*/ 8396153 h 14078567"/>
                <a:gd name="connsiteX670" fmla="*/ 7486016 w 10125896"/>
                <a:gd name="connsiteY670" fmla="*/ 8481925 h 14078567"/>
                <a:gd name="connsiteX671" fmla="*/ 7505076 w 10125896"/>
                <a:gd name="connsiteY671" fmla="*/ 8505751 h 14078567"/>
                <a:gd name="connsiteX672" fmla="*/ 7500312 w 10125896"/>
                <a:gd name="connsiteY672" fmla="*/ 8520046 h 14078567"/>
                <a:gd name="connsiteX673" fmla="*/ 7466956 w 10125896"/>
                <a:gd name="connsiteY673" fmla="*/ 8534342 h 14078567"/>
                <a:gd name="connsiteX674" fmla="*/ 7419304 w 10125896"/>
                <a:gd name="connsiteY674" fmla="*/ 8562932 h 14078567"/>
                <a:gd name="connsiteX675" fmla="*/ 7400244 w 10125896"/>
                <a:gd name="connsiteY675" fmla="*/ 8586758 h 14078567"/>
                <a:gd name="connsiteX676" fmla="*/ 7366888 w 10125896"/>
                <a:gd name="connsiteY676" fmla="*/ 8639174 h 14078567"/>
                <a:gd name="connsiteX677" fmla="*/ 7352592 w 10125896"/>
                <a:gd name="connsiteY677" fmla="*/ 8648705 h 14078567"/>
                <a:gd name="connsiteX678" fmla="*/ 7304940 w 10125896"/>
                <a:gd name="connsiteY678" fmla="*/ 8663000 h 14078567"/>
                <a:gd name="connsiteX679" fmla="*/ 7285880 w 10125896"/>
                <a:gd name="connsiteY679" fmla="*/ 8658235 h 14078567"/>
                <a:gd name="connsiteX680" fmla="*/ 7247760 w 10125896"/>
                <a:gd name="connsiteY680" fmla="*/ 8629644 h 14078567"/>
                <a:gd name="connsiteX681" fmla="*/ 7195344 w 10125896"/>
                <a:gd name="connsiteY681" fmla="*/ 8610584 h 14078567"/>
                <a:gd name="connsiteX682" fmla="*/ 7161988 w 10125896"/>
                <a:gd name="connsiteY682" fmla="*/ 8591523 h 14078567"/>
                <a:gd name="connsiteX683" fmla="*/ 7114336 w 10125896"/>
                <a:gd name="connsiteY683" fmla="*/ 8562932 h 14078567"/>
                <a:gd name="connsiteX684" fmla="*/ 7128632 w 10125896"/>
                <a:gd name="connsiteY684" fmla="*/ 8596288 h 14078567"/>
                <a:gd name="connsiteX685" fmla="*/ 7219168 w 10125896"/>
                <a:gd name="connsiteY685" fmla="*/ 8648705 h 14078567"/>
                <a:gd name="connsiteX686" fmla="*/ 7228700 w 10125896"/>
                <a:gd name="connsiteY686" fmla="*/ 8663000 h 14078567"/>
                <a:gd name="connsiteX687" fmla="*/ 7209636 w 10125896"/>
                <a:gd name="connsiteY687" fmla="*/ 8696356 h 14078567"/>
                <a:gd name="connsiteX688" fmla="*/ 7200108 w 10125896"/>
                <a:gd name="connsiteY688" fmla="*/ 8705886 h 14078567"/>
                <a:gd name="connsiteX689" fmla="*/ 7181048 w 10125896"/>
                <a:gd name="connsiteY689" fmla="*/ 8710651 h 14078567"/>
                <a:gd name="connsiteX690" fmla="*/ 7147692 w 10125896"/>
                <a:gd name="connsiteY690" fmla="*/ 8701121 h 14078567"/>
                <a:gd name="connsiteX691" fmla="*/ 7114336 w 10125896"/>
                <a:gd name="connsiteY691" fmla="*/ 8705886 h 14078567"/>
                <a:gd name="connsiteX692" fmla="*/ 7085744 w 10125896"/>
                <a:gd name="connsiteY692" fmla="*/ 8710651 h 14078567"/>
                <a:gd name="connsiteX693" fmla="*/ 7071448 w 10125896"/>
                <a:gd name="connsiteY693" fmla="*/ 8724947 h 14078567"/>
                <a:gd name="connsiteX694" fmla="*/ 7076216 w 10125896"/>
                <a:gd name="connsiteY694" fmla="*/ 8739242 h 14078567"/>
                <a:gd name="connsiteX695" fmla="*/ 7080980 w 10125896"/>
                <a:gd name="connsiteY695" fmla="*/ 8748772 h 14078567"/>
                <a:gd name="connsiteX696" fmla="*/ 7090508 w 10125896"/>
                <a:gd name="connsiteY696" fmla="*/ 8763068 h 14078567"/>
                <a:gd name="connsiteX697" fmla="*/ 7104804 w 10125896"/>
                <a:gd name="connsiteY697" fmla="*/ 8763068 h 14078567"/>
                <a:gd name="connsiteX698" fmla="*/ 7128632 w 10125896"/>
                <a:gd name="connsiteY698" fmla="*/ 8729712 h 14078567"/>
                <a:gd name="connsiteX699" fmla="*/ 7147692 w 10125896"/>
                <a:gd name="connsiteY699" fmla="*/ 8724947 h 14078567"/>
                <a:gd name="connsiteX700" fmla="*/ 7195344 w 10125896"/>
                <a:gd name="connsiteY700" fmla="*/ 8734477 h 14078567"/>
                <a:gd name="connsiteX701" fmla="*/ 7247760 w 10125896"/>
                <a:gd name="connsiteY701" fmla="*/ 8705886 h 14078567"/>
                <a:gd name="connsiteX702" fmla="*/ 7281116 w 10125896"/>
                <a:gd name="connsiteY702" fmla="*/ 8696356 h 14078567"/>
                <a:gd name="connsiteX703" fmla="*/ 7309704 w 10125896"/>
                <a:gd name="connsiteY703" fmla="*/ 8691591 h 14078567"/>
                <a:gd name="connsiteX704" fmla="*/ 7405008 w 10125896"/>
                <a:gd name="connsiteY704" fmla="*/ 8648705 h 14078567"/>
                <a:gd name="connsiteX705" fmla="*/ 7428832 w 10125896"/>
                <a:gd name="connsiteY705" fmla="*/ 8601053 h 14078567"/>
                <a:gd name="connsiteX706" fmla="*/ 7462188 w 10125896"/>
                <a:gd name="connsiteY706" fmla="*/ 8581993 h 14078567"/>
                <a:gd name="connsiteX707" fmla="*/ 7533668 w 10125896"/>
                <a:gd name="connsiteY707" fmla="*/ 8572463 h 14078567"/>
                <a:gd name="connsiteX708" fmla="*/ 7605144 w 10125896"/>
                <a:gd name="connsiteY708" fmla="*/ 8577228 h 14078567"/>
                <a:gd name="connsiteX709" fmla="*/ 7643264 w 10125896"/>
                <a:gd name="connsiteY709" fmla="*/ 8581993 h 14078567"/>
                <a:gd name="connsiteX710" fmla="*/ 7671856 w 10125896"/>
                <a:gd name="connsiteY710" fmla="*/ 8629644 h 14078567"/>
                <a:gd name="connsiteX711" fmla="*/ 7709976 w 10125896"/>
                <a:gd name="connsiteY711" fmla="*/ 8658235 h 14078567"/>
                <a:gd name="connsiteX712" fmla="*/ 7743332 w 10125896"/>
                <a:gd name="connsiteY712" fmla="*/ 8696356 h 14078567"/>
                <a:gd name="connsiteX713" fmla="*/ 7781452 w 10125896"/>
                <a:gd name="connsiteY713" fmla="*/ 8705886 h 14078567"/>
                <a:gd name="connsiteX714" fmla="*/ 7805280 w 10125896"/>
                <a:gd name="connsiteY714" fmla="*/ 8753537 h 14078567"/>
                <a:gd name="connsiteX715" fmla="*/ 7867224 w 10125896"/>
                <a:gd name="connsiteY715" fmla="*/ 8805954 h 14078567"/>
                <a:gd name="connsiteX716" fmla="*/ 7910112 w 10125896"/>
                <a:gd name="connsiteY716" fmla="*/ 8815484 h 14078567"/>
                <a:gd name="connsiteX717" fmla="*/ 7933936 w 10125896"/>
                <a:gd name="connsiteY717" fmla="*/ 8844075 h 14078567"/>
                <a:gd name="connsiteX718" fmla="*/ 7933936 w 10125896"/>
                <a:gd name="connsiteY718" fmla="*/ 8948908 h 14078567"/>
                <a:gd name="connsiteX719" fmla="*/ 7938704 w 10125896"/>
                <a:gd name="connsiteY719" fmla="*/ 8991794 h 14078567"/>
                <a:gd name="connsiteX720" fmla="*/ 7924408 w 10125896"/>
                <a:gd name="connsiteY720" fmla="*/ 9115687 h 14078567"/>
                <a:gd name="connsiteX721" fmla="*/ 7895816 w 10125896"/>
                <a:gd name="connsiteY721" fmla="*/ 9144278 h 14078567"/>
                <a:gd name="connsiteX722" fmla="*/ 7900580 w 10125896"/>
                <a:gd name="connsiteY722" fmla="*/ 9206225 h 14078567"/>
                <a:gd name="connsiteX723" fmla="*/ 7891052 w 10125896"/>
                <a:gd name="connsiteY723" fmla="*/ 9258641 h 14078567"/>
                <a:gd name="connsiteX724" fmla="*/ 7862460 w 10125896"/>
                <a:gd name="connsiteY724" fmla="*/ 9239580 h 14078567"/>
                <a:gd name="connsiteX725" fmla="*/ 7829104 w 10125896"/>
                <a:gd name="connsiteY725" fmla="*/ 9206225 h 14078567"/>
                <a:gd name="connsiteX726" fmla="*/ 7748096 w 10125896"/>
                <a:gd name="connsiteY726" fmla="*/ 9153808 h 14078567"/>
                <a:gd name="connsiteX727" fmla="*/ 7676620 w 10125896"/>
                <a:gd name="connsiteY727" fmla="*/ 9115687 h 14078567"/>
                <a:gd name="connsiteX728" fmla="*/ 7648028 w 10125896"/>
                <a:gd name="connsiteY728" fmla="*/ 9087096 h 14078567"/>
                <a:gd name="connsiteX729" fmla="*/ 7614672 w 10125896"/>
                <a:gd name="connsiteY729" fmla="*/ 9063271 h 14078567"/>
                <a:gd name="connsiteX730" fmla="*/ 7571788 w 10125896"/>
                <a:gd name="connsiteY730" fmla="*/ 8963203 h 14078567"/>
                <a:gd name="connsiteX731" fmla="*/ 7538432 w 10125896"/>
                <a:gd name="connsiteY731" fmla="*/ 8839310 h 14078567"/>
                <a:gd name="connsiteX732" fmla="*/ 7528900 w 10125896"/>
                <a:gd name="connsiteY732" fmla="*/ 8777363 h 14078567"/>
                <a:gd name="connsiteX733" fmla="*/ 7500312 w 10125896"/>
                <a:gd name="connsiteY733" fmla="*/ 8777363 h 14078567"/>
                <a:gd name="connsiteX734" fmla="*/ 7471720 w 10125896"/>
                <a:gd name="connsiteY734" fmla="*/ 8791658 h 14078567"/>
                <a:gd name="connsiteX735" fmla="*/ 7443128 w 10125896"/>
                <a:gd name="connsiteY735" fmla="*/ 8810719 h 14078567"/>
                <a:gd name="connsiteX736" fmla="*/ 7428832 w 10125896"/>
                <a:gd name="connsiteY736" fmla="*/ 8839310 h 14078567"/>
                <a:gd name="connsiteX737" fmla="*/ 7333532 w 10125896"/>
                <a:gd name="connsiteY737" fmla="*/ 8877431 h 14078567"/>
                <a:gd name="connsiteX738" fmla="*/ 7300176 w 10125896"/>
                <a:gd name="connsiteY738" fmla="*/ 8906022 h 14078567"/>
                <a:gd name="connsiteX739" fmla="*/ 7281116 w 10125896"/>
                <a:gd name="connsiteY739" fmla="*/ 8906022 h 14078567"/>
                <a:gd name="connsiteX740" fmla="*/ 7209636 w 10125896"/>
                <a:gd name="connsiteY740" fmla="*/ 8948908 h 14078567"/>
                <a:gd name="connsiteX741" fmla="*/ 7238228 w 10125896"/>
                <a:gd name="connsiteY741" fmla="*/ 8967968 h 14078567"/>
                <a:gd name="connsiteX742" fmla="*/ 7252524 w 10125896"/>
                <a:gd name="connsiteY742" fmla="*/ 8972733 h 14078567"/>
                <a:gd name="connsiteX743" fmla="*/ 7281116 w 10125896"/>
                <a:gd name="connsiteY743" fmla="*/ 8958438 h 14078567"/>
                <a:gd name="connsiteX744" fmla="*/ 7300176 w 10125896"/>
                <a:gd name="connsiteY744" fmla="*/ 8944143 h 14078567"/>
                <a:gd name="connsiteX745" fmla="*/ 7362120 w 10125896"/>
                <a:gd name="connsiteY745" fmla="*/ 8906022 h 14078567"/>
                <a:gd name="connsiteX746" fmla="*/ 7414540 w 10125896"/>
                <a:gd name="connsiteY746" fmla="*/ 8901256 h 14078567"/>
                <a:gd name="connsiteX747" fmla="*/ 7433600 w 10125896"/>
                <a:gd name="connsiteY747" fmla="*/ 8882196 h 14078567"/>
                <a:gd name="connsiteX748" fmla="*/ 7471720 w 10125896"/>
                <a:gd name="connsiteY748" fmla="*/ 8858370 h 14078567"/>
                <a:gd name="connsiteX749" fmla="*/ 7500312 w 10125896"/>
                <a:gd name="connsiteY749" fmla="*/ 8848840 h 14078567"/>
                <a:gd name="connsiteX750" fmla="*/ 7500312 w 10125896"/>
                <a:gd name="connsiteY750" fmla="*/ 8858370 h 14078567"/>
                <a:gd name="connsiteX751" fmla="*/ 7505076 w 10125896"/>
                <a:gd name="connsiteY751" fmla="*/ 8867901 h 14078567"/>
                <a:gd name="connsiteX752" fmla="*/ 7524136 w 10125896"/>
                <a:gd name="connsiteY752" fmla="*/ 9020385 h 14078567"/>
                <a:gd name="connsiteX753" fmla="*/ 7514604 w 10125896"/>
                <a:gd name="connsiteY753" fmla="*/ 9058506 h 14078567"/>
                <a:gd name="connsiteX754" fmla="*/ 7495544 w 10125896"/>
                <a:gd name="connsiteY754" fmla="*/ 9077566 h 14078567"/>
                <a:gd name="connsiteX755" fmla="*/ 7447896 w 10125896"/>
                <a:gd name="connsiteY755" fmla="*/ 9106157 h 14078567"/>
                <a:gd name="connsiteX756" fmla="*/ 7438364 w 10125896"/>
                <a:gd name="connsiteY756" fmla="*/ 9115687 h 14078567"/>
                <a:gd name="connsiteX757" fmla="*/ 7452660 w 10125896"/>
                <a:gd name="connsiteY757" fmla="*/ 9139513 h 14078567"/>
                <a:gd name="connsiteX758" fmla="*/ 7495544 w 10125896"/>
                <a:gd name="connsiteY758" fmla="*/ 9120452 h 14078567"/>
                <a:gd name="connsiteX759" fmla="*/ 7519372 w 10125896"/>
                <a:gd name="connsiteY759" fmla="*/ 9091861 h 14078567"/>
                <a:gd name="connsiteX760" fmla="*/ 7538432 w 10125896"/>
                <a:gd name="connsiteY760" fmla="*/ 9101392 h 14078567"/>
                <a:gd name="connsiteX761" fmla="*/ 7562256 w 10125896"/>
                <a:gd name="connsiteY761" fmla="*/ 9139513 h 14078567"/>
                <a:gd name="connsiteX762" fmla="*/ 7586084 w 10125896"/>
                <a:gd name="connsiteY762" fmla="*/ 9158573 h 14078567"/>
                <a:gd name="connsiteX763" fmla="*/ 7657560 w 10125896"/>
                <a:gd name="connsiteY763" fmla="*/ 9215755 h 14078567"/>
                <a:gd name="connsiteX764" fmla="*/ 7690916 w 10125896"/>
                <a:gd name="connsiteY764" fmla="*/ 9249111 h 14078567"/>
                <a:gd name="connsiteX765" fmla="*/ 7738568 w 10125896"/>
                <a:gd name="connsiteY765" fmla="*/ 9277701 h 14078567"/>
                <a:gd name="connsiteX766" fmla="*/ 7790984 w 10125896"/>
                <a:gd name="connsiteY766" fmla="*/ 9318205 h 14078567"/>
                <a:gd name="connsiteX767" fmla="*/ 7800512 w 10125896"/>
                <a:gd name="connsiteY767" fmla="*/ 9332500 h 14078567"/>
                <a:gd name="connsiteX768" fmla="*/ 7852928 w 10125896"/>
                <a:gd name="connsiteY768" fmla="*/ 9351561 h 14078567"/>
                <a:gd name="connsiteX769" fmla="*/ 7862460 w 10125896"/>
                <a:gd name="connsiteY769" fmla="*/ 9361091 h 14078567"/>
                <a:gd name="connsiteX770" fmla="*/ 7881520 w 10125896"/>
                <a:gd name="connsiteY770" fmla="*/ 9432568 h 14078567"/>
                <a:gd name="connsiteX771" fmla="*/ 7895816 w 10125896"/>
                <a:gd name="connsiteY771" fmla="*/ 9437333 h 14078567"/>
                <a:gd name="connsiteX772" fmla="*/ 7943468 w 10125896"/>
                <a:gd name="connsiteY772" fmla="*/ 9442098 h 14078567"/>
                <a:gd name="connsiteX773" fmla="*/ 7933936 w 10125896"/>
                <a:gd name="connsiteY773" fmla="*/ 9470689 h 14078567"/>
                <a:gd name="connsiteX774" fmla="*/ 7891052 w 10125896"/>
                <a:gd name="connsiteY774" fmla="*/ 9532636 h 14078567"/>
                <a:gd name="connsiteX775" fmla="*/ 7867224 w 10125896"/>
                <a:gd name="connsiteY775" fmla="*/ 9551696 h 14078567"/>
                <a:gd name="connsiteX776" fmla="*/ 7857696 w 10125896"/>
                <a:gd name="connsiteY776" fmla="*/ 9565992 h 14078567"/>
                <a:gd name="connsiteX777" fmla="*/ 7862460 w 10125896"/>
                <a:gd name="connsiteY777" fmla="*/ 9585052 h 14078567"/>
                <a:gd name="connsiteX778" fmla="*/ 7862460 w 10125896"/>
                <a:gd name="connsiteY778" fmla="*/ 9623173 h 14078567"/>
                <a:gd name="connsiteX779" fmla="*/ 7871992 w 10125896"/>
                <a:gd name="connsiteY779" fmla="*/ 9689885 h 14078567"/>
                <a:gd name="connsiteX780" fmla="*/ 7886284 w 10125896"/>
                <a:gd name="connsiteY780" fmla="*/ 9627938 h 14078567"/>
                <a:gd name="connsiteX781" fmla="*/ 7891052 w 10125896"/>
                <a:gd name="connsiteY781" fmla="*/ 9599348 h 14078567"/>
                <a:gd name="connsiteX782" fmla="*/ 7900580 w 10125896"/>
                <a:gd name="connsiteY782" fmla="*/ 9589817 h 14078567"/>
                <a:gd name="connsiteX783" fmla="*/ 7910112 w 10125896"/>
                <a:gd name="connsiteY783" fmla="*/ 9589817 h 14078567"/>
                <a:gd name="connsiteX784" fmla="*/ 7943468 w 10125896"/>
                <a:gd name="connsiteY784" fmla="*/ 9561227 h 14078567"/>
                <a:gd name="connsiteX785" fmla="*/ 7976824 w 10125896"/>
                <a:gd name="connsiteY785" fmla="*/ 9575522 h 14078567"/>
                <a:gd name="connsiteX786" fmla="*/ 7986352 w 10125896"/>
                <a:gd name="connsiteY786" fmla="*/ 9646999 h 14078567"/>
                <a:gd name="connsiteX787" fmla="*/ 7991120 w 10125896"/>
                <a:gd name="connsiteY787" fmla="*/ 9708945 h 14078567"/>
                <a:gd name="connsiteX788" fmla="*/ 7986352 w 10125896"/>
                <a:gd name="connsiteY788" fmla="*/ 9766127 h 14078567"/>
                <a:gd name="connsiteX789" fmla="*/ 7991120 w 10125896"/>
                <a:gd name="connsiteY789" fmla="*/ 9847134 h 14078567"/>
                <a:gd name="connsiteX790" fmla="*/ 7991120 w 10125896"/>
                <a:gd name="connsiteY790" fmla="*/ 9875725 h 14078567"/>
                <a:gd name="connsiteX791" fmla="*/ 7995884 w 10125896"/>
                <a:gd name="connsiteY791" fmla="*/ 9899551 h 14078567"/>
                <a:gd name="connsiteX792" fmla="*/ 8005412 w 10125896"/>
                <a:gd name="connsiteY792" fmla="*/ 10004383 h 14078567"/>
                <a:gd name="connsiteX793" fmla="*/ 8014944 w 10125896"/>
                <a:gd name="connsiteY793" fmla="*/ 10032974 h 14078567"/>
                <a:gd name="connsiteX794" fmla="*/ 7995884 w 10125896"/>
                <a:gd name="connsiteY794" fmla="*/ 10061565 h 14078567"/>
                <a:gd name="connsiteX795" fmla="*/ 7948232 w 10125896"/>
                <a:gd name="connsiteY795" fmla="*/ 10071095 h 14078567"/>
                <a:gd name="connsiteX796" fmla="*/ 7929172 w 10125896"/>
                <a:gd name="connsiteY796" fmla="*/ 10056800 h 14078567"/>
                <a:gd name="connsiteX797" fmla="*/ 7876756 w 10125896"/>
                <a:gd name="connsiteY797" fmla="*/ 10061565 h 14078567"/>
                <a:gd name="connsiteX798" fmla="*/ 7876756 w 10125896"/>
                <a:gd name="connsiteY798" fmla="*/ 10037739 h 14078567"/>
                <a:gd name="connsiteX799" fmla="*/ 7876756 w 10125896"/>
                <a:gd name="connsiteY799" fmla="*/ 10009148 h 14078567"/>
                <a:gd name="connsiteX800" fmla="*/ 7876756 w 10125896"/>
                <a:gd name="connsiteY800" fmla="*/ 9990088 h 14078567"/>
                <a:gd name="connsiteX801" fmla="*/ 7871992 w 10125896"/>
                <a:gd name="connsiteY801" fmla="*/ 9975793 h 14078567"/>
                <a:gd name="connsiteX802" fmla="*/ 7871992 w 10125896"/>
                <a:gd name="connsiteY802" fmla="*/ 9875725 h 14078567"/>
                <a:gd name="connsiteX803" fmla="*/ 7857696 w 10125896"/>
                <a:gd name="connsiteY803" fmla="*/ 9899551 h 14078567"/>
                <a:gd name="connsiteX804" fmla="*/ 7852928 w 10125896"/>
                <a:gd name="connsiteY804" fmla="*/ 9918611 h 14078567"/>
                <a:gd name="connsiteX805" fmla="*/ 7852928 w 10125896"/>
                <a:gd name="connsiteY805" fmla="*/ 9942437 h 14078567"/>
                <a:gd name="connsiteX806" fmla="*/ 7843400 w 10125896"/>
                <a:gd name="connsiteY806" fmla="*/ 10047269 h 14078567"/>
                <a:gd name="connsiteX807" fmla="*/ 7829104 w 10125896"/>
                <a:gd name="connsiteY807" fmla="*/ 10075860 h 14078567"/>
                <a:gd name="connsiteX808" fmla="*/ 7790984 w 10125896"/>
                <a:gd name="connsiteY808" fmla="*/ 10066330 h 14078567"/>
                <a:gd name="connsiteX809" fmla="*/ 7752864 w 10125896"/>
                <a:gd name="connsiteY809" fmla="*/ 10071095 h 14078567"/>
                <a:gd name="connsiteX810" fmla="*/ 7729036 w 10125896"/>
                <a:gd name="connsiteY810" fmla="*/ 10066330 h 14078567"/>
                <a:gd name="connsiteX811" fmla="*/ 7657560 w 10125896"/>
                <a:gd name="connsiteY811" fmla="*/ 10018679 h 14078567"/>
                <a:gd name="connsiteX812" fmla="*/ 7628968 w 10125896"/>
                <a:gd name="connsiteY812" fmla="*/ 9975793 h 14078567"/>
                <a:gd name="connsiteX813" fmla="*/ 7605144 w 10125896"/>
                <a:gd name="connsiteY813" fmla="*/ 9909081 h 14078567"/>
                <a:gd name="connsiteX814" fmla="*/ 7590848 w 10125896"/>
                <a:gd name="connsiteY814" fmla="*/ 9847134 h 14078567"/>
                <a:gd name="connsiteX815" fmla="*/ 7586084 w 10125896"/>
                <a:gd name="connsiteY815" fmla="*/ 9785187 h 14078567"/>
                <a:gd name="connsiteX816" fmla="*/ 7567024 w 10125896"/>
                <a:gd name="connsiteY816" fmla="*/ 9737536 h 14078567"/>
                <a:gd name="connsiteX817" fmla="*/ 7538432 w 10125896"/>
                <a:gd name="connsiteY817" fmla="*/ 9699415 h 14078567"/>
                <a:gd name="connsiteX818" fmla="*/ 7505076 w 10125896"/>
                <a:gd name="connsiteY818" fmla="*/ 9670824 h 14078567"/>
                <a:gd name="connsiteX819" fmla="*/ 7462188 w 10125896"/>
                <a:gd name="connsiteY819" fmla="*/ 9646999 h 14078567"/>
                <a:gd name="connsiteX820" fmla="*/ 7428832 w 10125896"/>
                <a:gd name="connsiteY820" fmla="*/ 9618408 h 14078567"/>
                <a:gd name="connsiteX821" fmla="*/ 7400244 w 10125896"/>
                <a:gd name="connsiteY821" fmla="*/ 9580287 h 14078567"/>
                <a:gd name="connsiteX822" fmla="*/ 7366888 w 10125896"/>
                <a:gd name="connsiteY822" fmla="*/ 9551696 h 14078567"/>
                <a:gd name="connsiteX823" fmla="*/ 7333532 w 10125896"/>
                <a:gd name="connsiteY823" fmla="*/ 9527871 h 14078567"/>
                <a:gd name="connsiteX824" fmla="*/ 7281116 w 10125896"/>
                <a:gd name="connsiteY824" fmla="*/ 9518340 h 14078567"/>
                <a:gd name="connsiteX825" fmla="*/ 7204872 w 10125896"/>
                <a:gd name="connsiteY825" fmla="*/ 9523105 h 14078567"/>
                <a:gd name="connsiteX826" fmla="*/ 7157220 w 10125896"/>
                <a:gd name="connsiteY826" fmla="*/ 9499280 h 14078567"/>
                <a:gd name="connsiteX827" fmla="*/ 7142924 w 10125896"/>
                <a:gd name="connsiteY827" fmla="*/ 9504045 h 14078567"/>
                <a:gd name="connsiteX828" fmla="*/ 7133396 w 10125896"/>
                <a:gd name="connsiteY828" fmla="*/ 9513575 h 14078567"/>
                <a:gd name="connsiteX829" fmla="*/ 7142924 w 10125896"/>
                <a:gd name="connsiteY829" fmla="*/ 9546931 h 14078567"/>
                <a:gd name="connsiteX830" fmla="*/ 7200108 w 10125896"/>
                <a:gd name="connsiteY830" fmla="*/ 9565992 h 14078567"/>
                <a:gd name="connsiteX831" fmla="*/ 7242992 w 10125896"/>
                <a:gd name="connsiteY831" fmla="*/ 9570757 h 14078567"/>
                <a:gd name="connsiteX832" fmla="*/ 7300176 w 10125896"/>
                <a:gd name="connsiteY832" fmla="*/ 9565992 h 14078567"/>
                <a:gd name="connsiteX833" fmla="*/ 7338296 w 10125896"/>
                <a:gd name="connsiteY833" fmla="*/ 9575522 h 14078567"/>
                <a:gd name="connsiteX834" fmla="*/ 7352592 w 10125896"/>
                <a:gd name="connsiteY834" fmla="*/ 9594582 h 14078567"/>
                <a:gd name="connsiteX835" fmla="*/ 7362120 w 10125896"/>
                <a:gd name="connsiteY835" fmla="*/ 9627938 h 14078567"/>
                <a:gd name="connsiteX836" fmla="*/ 7366888 w 10125896"/>
                <a:gd name="connsiteY836" fmla="*/ 9680355 h 14078567"/>
                <a:gd name="connsiteX837" fmla="*/ 7352592 w 10125896"/>
                <a:gd name="connsiteY837" fmla="*/ 9718476 h 14078567"/>
                <a:gd name="connsiteX838" fmla="*/ 7309704 w 10125896"/>
                <a:gd name="connsiteY838" fmla="*/ 9766127 h 14078567"/>
                <a:gd name="connsiteX839" fmla="*/ 7290644 w 10125896"/>
                <a:gd name="connsiteY839" fmla="*/ 9785187 h 14078567"/>
                <a:gd name="connsiteX840" fmla="*/ 7223932 w 10125896"/>
                <a:gd name="connsiteY840" fmla="*/ 9823309 h 14078567"/>
                <a:gd name="connsiteX841" fmla="*/ 7200108 w 10125896"/>
                <a:gd name="connsiteY841" fmla="*/ 9832839 h 14078567"/>
                <a:gd name="connsiteX842" fmla="*/ 7147692 w 10125896"/>
                <a:gd name="connsiteY842" fmla="*/ 9832839 h 14078567"/>
                <a:gd name="connsiteX843" fmla="*/ 7104804 w 10125896"/>
                <a:gd name="connsiteY843" fmla="*/ 9832839 h 14078567"/>
                <a:gd name="connsiteX844" fmla="*/ 7047624 w 10125896"/>
                <a:gd name="connsiteY844" fmla="*/ 9809013 h 14078567"/>
                <a:gd name="connsiteX845" fmla="*/ 7019032 w 10125896"/>
                <a:gd name="connsiteY845" fmla="*/ 9809013 h 14078567"/>
                <a:gd name="connsiteX846" fmla="*/ 6952320 w 10125896"/>
                <a:gd name="connsiteY846" fmla="*/ 9804248 h 14078567"/>
                <a:gd name="connsiteX847" fmla="*/ 6938024 w 10125896"/>
                <a:gd name="connsiteY847" fmla="*/ 9813778 h 14078567"/>
                <a:gd name="connsiteX848" fmla="*/ 6957084 w 10125896"/>
                <a:gd name="connsiteY848" fmla="*/ 9832839 h 14078567"/>
                <a:gd name="connsiteX849" fmla="*/ 6985676 w 10125896"/>
                <a:gd name="connsiteY849" fmla="*/ 9842369 h 14078567"/>
                <a:gd name="connsiteX850" fmla="*/ 6999972 w 10125896"/>
                <a:gd name="connsiteY850" fmla="*/ 9856664 h 14078567"/>
                <a:gd name="connsiteX851" fmla="*/ 7004736 w 10125896"/>
                <a:gd name="connsiteY851" fmla="*/ 9885255 h 14078567"/>
                <a:gd name="connsiteX852" fmla="*/ 6995208 w 10125896"/>
                <a:gd name="connsiteY852" fmla="*/ 9923376 h 14078567"/>
                <a:gd name="connsiteX853" fmla="*/ 6990440 w 10125896"/>
                <a:gd name="connsiteY853" fmla="*/ 9951967 h 14078567"/>
                <a:gd name="connsiteX854" fmla="*/ 6976148 w 10125896"/>
                <a:gd name="connsiteY854" fmla="*/ 9971027 h 14078567"/>
                <a:gd name="connsiteX855" fmla="*/ 6938024 w 10125896"/>
                <a:gd name="connsiteY855" fmla="*/ 10009148 h 14078567"/>
                <a:gd name="connsiteX856" fmla="*/ 6918964 w 10125896"/>
                <a:gd name="connsiteY856" fmla="*/ 10023444 h 14078567"/>
                <a:gd name="connsiteX857" fmla="*/ 6837956 w 10125896"/>
                <a:gd name="connsiteY857" fmla="*/ 10061565 h 14078567"/>
                <a:gd name="connsiteX858" fmla="*/ 6833192 w 10125896"/>
                <a:gd name="connsiteY858" fmla="*/ 10071095 h 14078567"/>
                <a:gd name="connsiteX859" fmla="*/ 6852252 w 10125896"/>
                <a:gd name="connsiteY859" fmla="*/ 10071095 h 14078567"/>
                <a:gd name="connsiteX860" fmla="*/ 6899904 w 10125896"/>
                <a:gd name="connsiteY860" fmla="*/ 10056800 h 14078567"/>
                <a:gd name="connsiteX861" fmla="*/ 6914200 w 10125896"/>
                <a:gd name="connsiteY861" fmla="*/ 10056800 h 14078567"/>
                <a:gd name="connsiteX862" fmla="*/ 6999972 w 10125896"/>
                <a:gd name="connsiteY862" fmla="*/ 10090156 h 14078567"/>
                <a:gd name="connsiteX863" fmla="*/ 7066684 w 10125896"/>
                <a:gd name="connsiteY863" fmla="*/ 10090156 h 14078567"/>
                <a:gd name="connsiteX864" fmla="*/ 7195344 w 10125896"/>
                <a:gd name="connsiteY864" fmla="*/ 10056800 h 14078567"/>
                <a:gd name="connsiteX865" fmla="*/ 7209636 w 10125896"/>
                <a:gd name="connsiteY865" fmla="*/ 10056800 h 14078567"/>
                <a:gd name="connsiteX866" fmla="*/ 7214404 w 10125896"/>
                <a:gd name="connsiteY866" fmla="*/ 10061565 h 14078567"/>
                <a:gd name="connsiteX867" fmla="*/ 7223932 w 10125896"/>
                <a:gd name="connsiteY867" fmla="*/ 10075860 h 14078567"/>
                <a:gd name="connsiteX868" fmla="*/ 7233464 w 10125896"/>
                <a:gd name="connsiteY868" fmla="*/ 10094921 h 14078567"/>
                <a:gd name="connsiteX869" fmla="*/ 7223932 w 10125896"/>
                <a:gd name="connsiteY869" fmla="*/ 10109216 h 14078567"/>
                <a:gd name="connsiteX870" fmla="*/ 7195344 w 10125896"/>
                <a:gd name="connsiteY870" fmla="*/ 10128277 h 14078567"/>
                <a:gd name="connsiteX871" fmla="*/ 7147692 w 10125896"/>
                <a:gd name="connsiteY871" fmla="*/ 10147337 h 14078567"/>
                <a:gd name="connsiteX872" fmla="*/ 7123864 w 10125896"/>
                <a:gd name="connsiteY872" fmla="*/ 10156867 h 14078567"/>
                <a:gd name="connsiteX873" fmla="*/ 7104804 w 10125896"/>
                <a:gd name="connsiteY873" fmla="*/ 10175928 h 14078567"/>
                <a:gd name="connsiteX874" fmla="*/ 7071448 w 10125896"/>
                <a:gd name="connsiteY874" fmla="*/ 10218814 h 14078567"/>
                <a:gd name="connsiteX875" fmla="*/ 7057152 w 10125896"/>
                <a:gd name="connsiteY875" fmla="*/ 10261700 h 14078567"/>
                <a:gd name="connsiteX876" fmla="*/ 7095276 w 10125896"/>
                <a:gd name="connsiteY876" fmla="*/ 10280761 h 14078567"/>
                <a:gd name="connsiteX877" fmla="*/ 7114336 w 10125896"/>
                <a:gd name="connsiteY877" fmla="*/ 10256935 h 14078567"/>
                <a:gd name="connsiteX878" fmla="*/ 7133396 w 10125896"/>
                <a:gd name="connsiteY878" fmla="*/ 10209284 h 14078567"/>
                <a:gd name="connsiteX879" fmla="*/ 7152456 w 10125896"/>
                <a:gd name="connsiteY879" fmla="*/ 10185458 h 14078567"/>
                <a:gd name="connsiteX880" fmla="*/ 7195344 w 10125896"/>
                <a:gd name="connsiteY880" fmla="*/ 10166398 h 14078567"/>
                <a:gd name="connsiteX881" fmla="*/ 7247760 w 10125896"/>
                <a:gd name="connsiteY881" fmla="*/ 10175928 h 14078567"/>
                <a:gd name="connsiteX882" fmla="*/ 7290644 w 10125896"/>
                <a:gd name="connsiteY882" fmla="*/ 10161633 h 14078567"/>
                <a:gd name="connsiteX883" fmla="*/ 7371652 w 10125896"/>
                <a:gd name="connsiteY883" fmla="*/ 10118746 h 14078567"/>
                <a:gd name="connsiteX884" fmla="*/ 7385948 w 10125896"/>
                <a:gd name="connsiteY884" fmla="*/ 10113981 h 14078567"/>
                <a:gd name="connsiteX885" fmla="*/ 7509840 w 10125896"/>
                <a:gd name="connsiteY885" fmla="*/ 10142572 h 14078567"/>
                <a:gd name="connsiteX886" fmla="*/ 7619440 w 10125896"/>
                <a:gd name="connsiteY886" fmla="*/ 10194988 h 14078567"/>
                <a:gd name="connsiteX887" fmla="*/ 7676620 w 10125896"/>
                <a:gd name="connsiteY887" fmla="*/ 10214049 h 14078567"/>
                <a:gd name="connsiteX888" fmla="*/ 7752864 w 10125896"/>
                <a:gd name="connsiteY888" fmla="*/ 10223579 h 14078567"/>
                <a:gd name="connsiteX889" fmla="*/ 7895816 w 10125896"/>
                <a:gd name="connsiteY889" fmla="*/ 10218814 h 14078567"/>
                <a:gd name="connsiteX890" fmla="*/ 7905348 w 10125896"/>
                <a:gd name="connsiteY890" fmla="*/ 10228344 h 14078567"/>
                <a:gd name="connsiteX891" fmla="*/ 7900580 w 10125896"/>
                <a:gd name="connsiteY891" fmla="*/ 10247405 h 14078567"/>
                <a:gd name="connsiteX892" fmla="*/ 7891052 w 10125896"/>
                <a:gd name="connsiteY892" fmla="*/ 10261700 h 14078567"/>
                <a:gd name="connsiteX893" fmla="*/ 7871992 w 10125896"/>
                <a:gd name="connsiteY893" fmla="*/ 10280761 h 14078567"/>
                <a:gd name="connsiteX894" fmla="*/ 7843400 w 10125896"/>
                <a:gd name="connsiteY894" fmla="*/ 10295056 h 14078567"/>
                <a:gd name="connsiteX895" fmla="*/ 7824340 w 10125896"/>
                <a:gd name="connsiteY895" fmla="*/ 10299821 h 14078567"/>
                <a:gd name="connsiteX896" fmla="*/ 7810044 w 10125896"/>
                <a:gd name="connsiteY896" fmla="*/ 10309351 h 14078567"/>
                <a:gd name="connsiteX897" fmla="*/ 7776688 w 10125896"/>
                <a:gd name="connsiteY897" fmla="*/ 10318882 h 14078567"/>
                <a:gd name="connsiteX898" fmla="*/ 7767156 w 10125896"/>
                <a:gd name="connsiteY898" fmla="*/ 10328412 h 14078567"/>
                <a:gd name="connsiteX899" fmla="*/ 7781452 w 10125896"/>
                <a:gd name="connsiteY899" fmla="*/ 10366533 h 14078567"/>
                <a:gd name="connsiteX900" fmla="*/ 7776688 w 10125896"/>
                <a:gd name="connsiteY900" fmla="*/ 10371298 h 14078567"/>
                <a:gd name="connsiteX901" fmla="*/ 7743332 w 10125896"/>
                <a:gd name="connsiteY901" fmla="*/ 10371298 h 14078567"/>
                <a:gd name="connsiteX902" fmla="*/ 7695680 w 10125896"/>
                <a:gd name="connsiteY902" fmla="*/ 10395124 h 14078567"/>
                <a:gd name="connsiteX903" fmla="*/ 7657560 w 10125896"/>
                <a:gd name="connsiteY903" fmla="*/ 10390359 h 14078567"/>
                <a:gd name="connsiteX904" fmla="*/ 7648028 w 10125896"/>
                <a:gd name="connsiteY904" fmla="*/ 10395124 h 14078567"/>
                <a:gd name="connsiteX905" fmla="*/ 7652796 w 10125896"/>
                <a:gd name="connsiteY905" fmla="*/ 10404654 h 14078567"/>
                <a:gd name="connsiteX906" fmla="*/ 7662324 w 10125896"/>
                <a:gd name="connsiteY906" fmla="*/ 10418949 h 14078567"/>
                <a:gd name="connsiteX907" fmla="*/ 7671856 w 10125896"/>
                <a:gd name="connsiteY907" fmla="*/ 10442775 h 14078567"/>
                <a:gd name="connsiteX908" fmla="*/ 7667088 w 10125896"/>
                <a:gd name="connsiteY908" fmla="*/ 10461836 h 14078567"/>
                <a:gd name="connsiteX909" fmla="*/ 7648028 w 10125896"/>
                <a:gd name="connsiteY909" fmla="*/ 10471366 h 14078567"/>
                <a:gd name="connsiteX910" fmla="*/ 7633732 w 10125896"/>
                <a:gd name="connsiteY910" fmla="*/ 10476131 h 14078567"/>
                <a:gd name="connsiteX911" fmla="*/ 7586084 w 10125896"/>
                <a:gd name="connsiteY911" fmla="*/ 10461836 h 14078567"/>
                <a:gd name="connsiteX912" fmla="*/ 7581316 w 10125896"/>
                <a:gd name="connsiteY912" fmla="*/ 10461836 h 14078567"/>
                <a:gd name="connsiteX913" fmla="*/ 7586084 w 10125896"/>
                <a:gd name="connsiteY913" fmla="*/ 10476131 h 14078567"/>
                <a:gd name="connsiteX914" fmla="*/ 7590848 w 10125896"/>
                <a:gd name="connsiteY914" fmla="*/ 10490426 h 14078567"/>
                <a:gd name="connsiteX915" fmla="*/ 7590848 w 10125896"/>
                <a:gd name="connsiteY915" fmla="*/ 10509487 h 14078567"/>
                <a:gd name="connsiteX916" fmla="*/ 7581316 w 10125896"/>
                <a:gd name="connsiteY916" fmla="*/ 10528547 h 14078567"/>
                <a:gd name="connsiteX917" fmla="*/ 7557492 w 10125896"/>
                <a:gd name="connsiteY917" fmla="*/ 10542843 h 14078567"/>
                <a:gd name="connsiteX918" fmla="*/ 7509840 w 10125896"/>
                <a:gd name="connsiteY918" fmla="*/ 10580964 h 14078567"/>
                <a:gd name="connsiteX919" fmla="*/ 7490780 w 10125896"/>
                <a:gd name="connsiteY919" fmla="*/ 10595259 h 14078567"/>
                <a:gd name="connsiteX920" fmla="*/ 7447896 w 10125896"/>
                <a:gd name="connsiteY920" fmla="*/ 10604789 h 14078567"/>
                <a:gd name="connsiteX921" fmla="*/ 7438364 w 10125896"/>
                <a:gd name="connsiteY921" fmla="*/ 10609554 h 14078567"/>
                <a:gd name="connsiteX922" fmla="*/ 7457424 w 10125896"/>
                <a:gd name="connsiteY922" fmla="*/ 10638145 h 14078567"/>
                <a:gd name="connsiteX923" fmla="*/ 7457424 w 10125896"/>
                <a:gd name="connsiteY923" fmla="*/ 10647675 h 14078567"/>
                <a:gd name="connsiteX924" fmla="*/ 7428832 w 10125896"/>
                <a:gd name="connsiteY924" fmla="*/ 10681031 h 14078567"/>
                <a:gd name="connsiteX925" fmla="*/ 7385948 w 10125896"/>
                <a:gd name="connsiteY925" fmla="*/ 10704857 h 14078567"/>
                <a:gd name="connsiteX926" fmla="*/ 7381184 w 10125896"/>
                <a:gd name="connsiteY926" fmla="*/ 10714387 h 14078567"/>
                <a:gd name="connsiteX927" fmla="*/ 7376416 w 10125896"/>
                <a:gd name="connsiteY927" fmla="*/ 10742978 h 14078567"/>
                <a:gd name="connsiteX928" fmla="*/ 7371652 w 10125896"/>
                <a:gd name="connsiteY928" fmla="*/ 10752508 h 14078567"/>
                <a:gd name="connsiteX929" fmla="*/ 7362120 w 10125896"/>
                <a:gd name="connsiteY929" fmla="*/ 10771569 h 14078567"/>
                <a:gd name="connsiteX930" fmla="*/ 7319236 w 10125896"/>
                <a:gd name="connsiteY930" fmla="*/ 10800160 h 14078567"/>
                <a:gd name="connsiteX931" fmla="*/ 7290644 w 10125896"/>
                <a:gd name="connsiteY931" fmla="*/ 10814455 h 14078567"/>
                <a:gd name="connsiteX932" fmla="*/ 7276348 w 10125896"/>
                <a:gd name="connsiteY932" fmla="*/ 10828750 h 14078567"/>
                <a:gd name="connsiteX933" fmla="*/ 7262056 w 10125896"/>
                <a:gd name="connsiteY933" fmla="*/ 10852576 h 14078567"/>
                <a:gd name="connsiteX934" fmla="*/ 7238228 w 10125896"/>
                <a:gd name="connsiteY934" fmla="*/ 10862106 h 14078567"/>
                <a:gd name="connsiteX935" fmla="*/ 7209636 w 10125896"/>
                <a:gd name="connsiteY935" fmla="*/ 10862106 h 14078567"/>
                <a:gd name="connsiteX936" fmla="*/ 7185812 w 10125896"/>
                <a:gd name="connsiteY936" fmla="*/ 10871636 h 14078567"/>
                <a:gd name="connsiteX937" fmla="*/ 7142924 w 10125896"/>
                <a:gd name="connsiteY937" fmla="*/ 10895462 h 14078567"/>
                <a:gd name="connsiteX938" fmla="*/ 7114336 w 10125896"/>
                <a:gd name="connsiteY938" fmla="*/ 10900227 h 14078567"/>
                <a:gd name="connsiteX939" fmla="*/ 7023796 w 10125896"/>
                <a:gd name="connsiteY939" fmla="*/ 10938348 h 14078567"/>
                <a:gd name="connsiteX940" fmla="*/ 6980912 w 10125896"/>
                <a:gd name="connsiteY940" fmla="*/ 10947878 h 14078567"/>
                <a:gd name="connsiteX941" fmla="*/ 6942792 w 10125896"/>
                <a:gd name="connsiteY941" fmla="*/ 10962174 h 14078567"/>
                <a:gd name="connsiteX942" fmla="*/ 6866548 w 10125896"/>
                <a:gd name="connsiteY942" fmla="*/ 10995530 h 14078567"/>
                <a:gd name="connsiteX943" fmla="*/ 6833192 w 10125896"/>
                <a:gd name="connsiteY943" fmla="*/ 11009825 h 14078567"/>
                <a:gd name="connsiteX944" fmla="*/ 6804600 w 10125896"/>
                <a:gd name="connsiteY944" fmla="*/ 11024121 h 14078567"/>
                <a:gd name="connsiteX945" fmla="*/ 6776012 w 10125896"/>
                <a:gd name="connsiteY945" fmla="*/ 11028886 h 14078567"/>
                <a:gd name="connsiteX946" fmla="*/ 6733124 w 10125896"/>
                <a:gd name="connsiteY946" fmla="*/ 11019355 h 14078567"/>
                <a:gd name="connsiteX947" fmla="*/ 6709300 w 10125896"/>
                <a:gd name="connsiteY947" fmla="*/ 11019355 h 14078567"/>
                <a:gd name="connsiteX948" fmla="*/ 6695004 w 10125896"/>
                <a:gd name="connsiteY948" fmla="*/ 11024121 h 14078567"/>
                <a:gd name="connsiteX949" fmla="*/ 6680708 w 10125896"/>
                <a:gd name="connsiteY949" fmla="*/ 11033651 h 14078567"/>
                <a:gd name="connsiteX950" fmla="*/ 6656884 w 10125896"/>
                <a:gd name="connsiteY950" fmla="*/ 11067007 h 14078567"/>
                <a:gd name="connsiteX951" fmla="*/ 6637824 w 10125896"/>
                <a:gd name="connsiteY951" fmla="*/ 11067007 h 14078567"/>
                <a:gd name="connsiteX952" fmla="*/ 6575876 w 10125896"/>
                <a:gd name="connsiteY952" fmla="*/ 11043181 h 14078567"/>
                <a:gd name="connsiteX953" fmla="*/ 6575876 w 10125896"/>
                <a:gd name="connsiteY953" fmla="*/ 11052711 h 14078567"/>
                <a:gd name="connsiteX954" fmla="*/ 6594936 w 10125896"/>
                <a:gd name="connsiteY954" fmla="*/ 11081302 h 14078567"/>
                <a:gd name="connsiteX955" fmla="*/ 6594936 w 10125896"/>
                <a:gd name="connsiteY955" fmla="*/ 11100363 h 14078567"/>
                <a:gd name="connsiteX956" fmla="*/ 6556816 w 10125896"/>
                <a:gd name="connsiteY956" fmla="*/ 11119423 h 14078567"/>
                <a:gd name="connsiteX957" fmla="*/ 6537756 w 10125896"/>
                <a:gd name="connsiteY957" fmla="*/ 11124188 h 14078567"/>
                <a:gd name="connsiteX958" fmla="*/ 6504400 w 10125896"/>
                <a:gd name="connsiteY958" fmla="*/ 11114658 h 14078567"/>
                <a:gd name="connsiteX959" fmla="*/ 6466276 w 10125896"/>
                <a:gd name="connsiteY959" fmla="*/ 11095597 h 14078567"/>
                <a:gd name="connsiteX960" fmla="*/ 6418628 w 10125896"/>
                <a:gd name="connsiteY960" fmla="*/ 11052711 h 14078567"/>
                <a:gd name="connsiteX961" fmla="*/ 6356680 w 10125896"/>
                <a:gd name="connsiteY961" fmla="*/ 10986000 h 14078567"/>
                <a:gd name="connsiteX962" fmla="*/ 6323324 w 10125896"/>
                <a:gd name="connsiteY962" fmla="*/ 10962174 h 14078567"/>
                <a:gd name="connsiteX963" fmla="*/ 6328088 w 10125896"/>
                <a:gd name="connsiteY963" fmla="*/ 10986000 h 14078567"/>
                <a:gd name="connsiteX964" fmla="*/ 6332856 w 10125896"/>
                <a:gd name="connsiteY964" fmla="*/ 11005060 h 14078567"/>
                <a:gd name="connsiteX965" fmla="*/ 6347148 w 10125896"/>
                <a:gd name="connsiteY965" fmla="*/ 11024121 h 14078567"/>
                <a:gd name="connsiteX966" fmla="*/ 6347148 w 10125896"/>
                <a:gd name="connsiteY966" fmla="*/ 11038416 h 14078567"/>
                <a:gd name="connsiteX967" fmla="*/ 6342384 w 10125896"/>
                <a:gd name="connsiteY967" fmla="*/ 11047946 h 14078567"/>
                <a:gd name="connsiteX968" fmla="*/ 6332856 w 10125896"/>
                <a:gd name="connsiteY968" fmla="*/ 11052711 h 14078567"/>
                <a:gd name="connsiteX969" fmla="*/ 6323324 w 10125896"/>
                <a:gd name="connsiteY969" fmla="*/ 11052711 h 14078567"/>
                <a:gd name="connsiteX970" fmla="*/ 6318560 w 10125896"/>
                <a:gd name="connsiteY970" fmla="*/ 11057476 h 14078567"/>
                <a:gd name="connsiteX971" fmla="*/ 6337620 w 10125896"/>
                <a:gd name="connsiteY971" fmla="*/ 11090832 h 14078567"/>
                <a:gd name="connsiteX972" fmla="*/ 6351916 w 10125896"/>
                <a:gd name="connsiteY972" fmla="*/ 11124188 h 14078567"/>
                <a:gd name="connsiteX973" fmla="*/ 6351916 w 10125896"/>
                <a:gd name="connsiteY973" fmla="*/ 11152779 h 14078567"/>
                <a:gd name="connsiteX974" fmla="*/ 6332856 w 10125896"/>
                <a:gd name="connsiteY974" fmla="*/ 11181370 h 14078567"/>
                <a:gd name="connsiteX975" fmla="*/ 6318560 w 10125896"/>
                <a:gd name="connsiteY975" fmla="*/ 11195665 h 14078567"/>
                <a:gd name="connsiteX976" fmla="*/ 6304264 w 10125896"/>
                <a:gd name="connsiteY976" fmla="*/ 11200430 h 14078567"/>
                <a:gd name="connsiteX977" fmla="*/ 6232788 w 10125896"/>
                <a:gd name="connsiteY977" fmla="*/ 11271907 h 14078567"/>
                <a:gd name="connsiteX978" fmla="*/ 6213728 w 10125896"/>
                <a:gd name="connsiteY978" fmla="*/ 11281437 h 14078567"/>
                <a:gd name="connsiteX979" fmla="*/ 6204196 w 10125896"/>
                <a:gd name="connsiteY979" fmla="*/ 11290968 h 14078567"/>
                <a:gd name="connsiteX980" fmla="*/ 6194664 w 10125896"/>
                <a:gd name="connsiteY980" fmla="*/ 11300498 h 14078567"/>
                <a:gd name="connsiteX981" fmla="*/ 6175604 w 10125896"/>
                <a:gd name="connsiteY981" fmla="*/ 11362445 h 14078567"/>
                <a:gd name="connsiteX982" fmla="*/ 6166076 w 10125896"/>
                <a:gd name="connsiteY982" fmla="*/ 11376740 h 14078567"/>
                <a:gd name="connsiteX983" fmla="*/ 6147016 w 10125896"/>
                <a:gd name="connsiteY983" fmla="*/ 11400566 h 14078567"/>
                <a:gd name="connsiteX984" fmla="*/ 6142248 w 10125896"/>
                <a:gd name="connsiteY984" fmla="*/ 11405331 h 14078567"/>
                <a:gd name="connsiteX985" fmla="*/ 6137484 w 10125896"/>
                <a:gd name="connsiteY985" fmla="*/ 11414861 h 14078567"/>
                <a:gd name="connsiteX986" fmla="*/ 6142248 w 10125896"/>
                <a:gd name="connsiteY986" fmla="*/ 11429156 h 14078567"/>
                <a:gd name="connsiteX987" fmla="*/ 6137484 w 10125896"/>
                <a:gd name="connsiteY987" fmla="*/ 11452982 h 14078567"/>
                <a:gd name="connsiteX988" fmla="*/ 6123188 w 10125896"/>
                <a:gd name="connsiteY988" fmla="*/ 11486338 h 14078567"/>
                <a:gd name="connsiteX989" fmla="*/ 6085068 w 10125896"/>
                <a:gd name="connsiteY989" fmla="*/ 11581640 h 14078567"/>
                <a:gd name="connsiteX990" fmla="*/ 6046948 w 10125896"/>
                <a:gd name="connsiteY990" fmla="*/ 11667413 h 14078567"/>
                <a:gd name="connsiteX991" fmla="*/ 6032652 w 10125896"/>
                <a:gd name="connsiteY991" fmla="*/ 11691238 h 14078567"/>
                <a:gd name="connsiteX992" fmla="*/ 6023120 w 10125896"/>
                <a:gd name="connsiteY992" fmla="*/ 11705534 h 14078567"/>
                <a:gd name="connsiteX993" fmla="*/ 6013592 w 10125896"/>
                <a:gd name="connsiteY993" fmla="*/ 11700769 h 14078567"/>
                <a:gd name="connsiteX994" fmla="*/ 5999296 w 10125896"/>
                <a:gd name="connsiteY994" fmla="*/ 11705534 h 14078567"/>
                <a:gd name="connsiteX995" fmla="*/ 5989764 w 10125896"/>
                <a:gd name="connsiteY995" fmla="*/ 11719829 h 14078567"/>
                <a:gd name="connsiteX996" fmla="*/ 5980236 w 10125896"/>
                <a:gd name="connsiteY996" fmla="*/ 11743655 h 14078567"/>
                <a:gd name="connsiteX997" fmla="*/ 5975468 w 10125896"/>
                <a:gd name="connsiteY997" fmla="*/ 11767480 h 14078567"/>
                <a:gd name="connsiteX998" fmla="*/ 5965940 w 10125896"/>
                <a:gd name="connsiteY998" fmla="*/ 11781776 h 14078567"/>
                <a:gd name="connsiteX999" fmla="*/ 5894464 w 10125896"/>
                <a:gd name="connsiteY999" fmla="*/ 11838957 h 14078567"/>
                <a:gd name="connsiteX1000" fmla="*/ 5880168 w 10125896"/>
                <a:gd name="connsiteY1000" fmla="*/ 11853253 h 14078567"/>
                <a:gd name="connsiteX1001" fmla="*/ 5861108 w 10125896"/>
                <a:gd name="connsiteY1001" fmla="*/ 11843722 h 14078567"/>
                <a:gd name="connsiteX1002" fmla="*/ 5842048 w 10125896"/>
                <a:gd name="connsiteY1002" fmla="*/ 11848488 h 14078567"/>
                <a:gd name="connsiteX1003" fmla="*/ 5803924 w 10125896"/>
                <a:gd name="connsiteY1003" fmla="*/ 11815132 h 14078567"/>
                <a:gd name="connsiteX1004" fmla="*/ 5799160 w 10125896"/>
                <a:gd name="connsiteY1004" fmla="*/ 11805601 h 14078567"/>
                <a:gd name="connsiteX1005" fmla="*/ 5770568 w 10125896"/>
                <a:gd name="connsiteY1005" fmla="*/ 11777011 h 14078567"/>
                <a:gd name="connsiteX1006" fmla="*/ 5775336 w 10125896"/>
                <a:gd name="connsiteY1006" fmla="*/ 11791306 h 14078567"/>
                <a:gd name="connsiteX1007" fmla="*/ 5775336 w 10125896"/>
                <a:gd name="connsiteY1007" fmla="*/ 11800836 h 14078567"/>
                <a:gd name="connsiteX1008" fmla="*/ 5780100 w 10125896"/>
                <a:gd name="connsiteY1008" fmla="*/ 11810367 h 14078567"/>
                <a:gd name="connsiteX1009" fmla="*/ 5789628 w 10125896"/>
                <a:gd name="connsiteY1009" fmla="*/ 11824662 h 14078567"/>
                <a:gd name="connsiteX1010" fmla="*/ 5808692 w 10125896"/>
                <a:gd name="connsiteY1010" fmla="*/ 11896139 h 14078567"/>
                <a:gd name="connsiteX1011" fmla="*/ 5794396 w 10125896"/>
                <a:gd name="connsiteY1011" fmla="*/ 11910434 h 14078567"/>
                <a:gd name="connsiteX1012" fmla="*/ 5780100 w 10125896"/>
                <a:gd name="connsiteY1012" fmla="*/ 11924730 h 14078567"/>
                <a:gd name="connsiteX1013" fmla="*/ 5746744 w 10125896"/>
                <a:gd name="connsiteY1013" fmla="*/ 11953320 h 14078567"/>
                <a:gd name="connsiteX1014" fmla="*/ 5708624 w 10125896"/>
                <a:gd name="connsiteY1014" fmla="*/ 12000972 h 14078567"/>
                <a:gd name="connsiteX1015" fmla="*/ 5694328 w 10125896"/>
                <a:gd name="connsiteY1015" fmla="*/ 12015267 h 14078567"/>
                <a:gd name="connsiteX1016" fmla="*/ 5689564 w 10125896"/>
                <a:gd name="connsiteY1016" fmla="*/ 11977146 h 14078567"/>
                <a:gd name="connsiteX1017" fmla="*/ 5689564 w 10125896"/>
                <a:gd name="connsiteY1017" fmla="*/ 11962851 h 14078567"/>
                <a:gd name="connsiteX1018" fmla="*/ 5670500 w 10125896"/>
                <a:gd name="connsiteY1018" fmla="*/ 11943790 h 14078567"/>
                <a:gd name="connsiteX1019" fmla="*/ 5670500 w 10125896"/>
                <a:gd name="connsiteY1019" fmla="*/ 11958085 h 14078567"/>
                <a:gd name="connsiteX1020" fmla="*/ 5665736 w 10125896"/>
                <a:gd name="connsiteY1020" fmla="*/ 11972381 h 14078567"/>
                <a:gd name="connsiteX1021" fmla="*/ 5651440 w 10125896"/>
                <a:gd name="connsiteY1021" fmla="*/ 12020032 h 14078567"/>
                <a:gd name="connsiteX1022" fmla="*/ 5646676 w 10125896"/>
                <a:gd name="connsiteY1022" fmla="*/ 12029562 h 14078567"/>
                <a:gd name="connsiteX1023" fmla="*/ 5641912 w 10125896"/>
                <a:gd name="connsiteY1023" fmla="*/ 12024797 h 14078567"/>
                <a:gd name="connsiteX1024" fmla="*/ 5622852 w 10125896"/>
                <a:gd name="connsiteY1024" fmla="*/ 12034327 h 14078567"/>
                <a:gd name="connsiteX1025" fmla="*/ 5603788 w 10125896"/>
                <a:gd name="connsiteY1025" fmla="*/ 12029562 h 14078567"/>
                <a:gd name="connsiteX1026" fmla="*/ 5589496 w 10125896"/>
                <a:gd name="connsiteY1026" fmla="*/ 12010502 h 14078567"/>
                <a:gd name="connsiteX1027" fmla="*/ 5584728 w 10125896"/>
                <a:gd name="connsiteY1027" fmla="*/ 11996206 h 14078567"/>
                <a:gd name="connsiteX1028" fmla="*/ 5560904 w 10125896"/>
                <a:gd name="connsiteY1028" fmla="*/ 12029562 h 14078567"/>
                <a:gd name="connsiteX1029" fmla="*/ 5546608 w 10125896"/>
                <a:gd name="connsiteY1029" fmla="*/ 12029562 h 14078567"/>
                <a:gd name="connsiteX1030" fmla="*/ 5541844 w 10125896"/>
                <a:gd name="connsiteY1030" fmla="*/ 12053388 h 14078567"/>
                <a:gd name="connsiteX1031" fmla="*/ 5532312 w 10125896"/>
                <a:gd name="connsiteY1031" fmla="*/ 12077214 h 14078567"/>
                <a:gd name="connsiteX1032" fmla="*/ 5513252 w 10125896"/>
                <a:gd name="connsiteY1032" fmla="*/ 12091509 h 14078567"/>
                <a:gd name="connsiteX1033" fmla="*/ 5489428 w 10125896"/>
                <a:gd name="connsiteY1033" fmla="*/ 12091509 h 14078567"/>
                <a:gd name="connsiteX1034" fmla="*/ 5479896 w 10125896"/>
                <a:gd name="connsiteY1034" fmla="*/ 12101039 h 14078567"/>
                <a:gd name="connsiteX1035" fmla="*/ 5446540 w 10125896"/>
                <a:gd name="connsiteY1035" fmla="*/ 12086744 h 14078567"/>
                <a:gd name="connsiteX1036" fmla="*/ 5437012 w 10125896"/>
                <a:gd name="connsiteY1036" fmla="*/ 12058153 h 14078567"/>
                <a:gd name="connsiteX1037" fmla="*/ 5465600 w 10125896"/>
                <a:gd name="connsiteY1037" fmla="*/ 12020032 h 14078567"/>
                <a:gd name="connsiteX1038" fmla="*/ 5470368 w 10125896"/>
                <a:gd name="connsiteY1038" fmla="*/ 12000972 h 14078567"/>
                <a:gd name="connsiteX1039" fmla="*/ 5465600 w 10125896"/>
                <a:gd name="connsiteY1039" fmla="*/ 11981911 h 14078567"/>
                <a:gd name="connsiteX1040" fmla="*/ 5470368 w 10125896"/>
                <a:gd name="connsiteY1040" fmla="*/ 11958085 h 14078567"/>
                <a:gd name="connsiteX1041" fmla="*/ 5518016 w 10125896"/>
                <a:gd name="connsiteY1041" fmla="*/ 11872313 h 14078567"/>
                <a:gd name="connsiteX1042" fmla="*/ 5551372 w 10125896"/>
                <a:gd name="connsiteY1042" fmla="*/ 11829427 h 14078567"/>
                <a:gd name="connsiteX1043" fmla="*/ 5551372 w 10125896"/>
                <a:gd name="connsiteY1043" fmla="*/ 11824662 h 14078567"/>
                <a:gd name="connsiteX1044" fmla="*/ 5508488 w 10125896"/>
                <a:gd name="connsiteY1044" fmla="*/ 11815132 h 14078567"/>
                <a:gd name="connsiteX1045" fmla="*/ 5470368 w 10125896"/>
                <a:gd name="connsiteY1045" fmla="*/ 11800836 h 14078567"/>
                <a:gd name="connsiteX1046" fmla="*/ 5432244 w 10125896"/>
                <a:gd name="connsiteY1046" fmla="*/ 11796071 h 14078567"/>
                <a:gd name="connsiteX1047" fmla="*/ 5413184 w 10125896"/>
                <a:gd name="connsiteY1047" fmla="*/ 11800836 h 14078567"/>
                <a:gd name="connsiteX1048" fmla="*/ 5441776 w 10125896"/>
                <a:gd name="connsiteY1048" fmla="*/ 11824662 h 14078567"/>
                <a:gd name="connsiteX1049" fmla="*/ 5479896 w 10125896"/>
                <a:gd name="connsiteY1049" fmla="*/ 11848488 h 14078567"/>
                <a:gd name="connsiteX1050" fmla="*/ 5460836 w 10125896"/>
                <a:gd name="connsiteY1050" fmla="*/ 11872313 h 14078567"/>
                <a:gd name="connsiteX1051" fmla="*/ 5441776 w 10125896"/>
                <a:gd name="connsiteY1051" fmla="*/ 11896139 h 14078567"/>
                <a:gd name="connsiteX1052" fmla="*/ 5427480 w 10125896"/>
                <a:gd name="connsiteY1052" fmla="*/ 11958085 h 14078567"/>
                <a:gd name="connsiteX1053" fmla="*/ 5417948 w 10125896"/>
                <a:gd name="connsiteY1053" fmla="*/ 11986676 h 14078567"/>
                <a:gd name="connsiteX1054" fmla="*/ 5375064 w 10125896"/>
                <a:gd name="connsiteY1054" fmla="*/ 11953320 h 14078567"/>
                <a:gd name="connsiteX1055" fmla="*/ 5356004 w 10125896"/>
                <a:gd name="connsiteY1055" fmla="*/ 11943790 h 14078567"/>
                <a:gd name="connsiteX1056" fmla="*/ 5370300 w 10125896"/>
                <a:gd name="connsiteY1056" fmla="*/ 11977146 h 14078567"/>
                <a:gd name="connsiteX1057" fmla="*/ 5403656 w 10125896"/>
                <a:gd name="connsiteY1057" fmla="*/ 12010502 h 14078567"/>
                <a:gd name="connsiteX1058" fmla="*/ 5408420 w 10125896"/>
                <a:gd name="connsiteY1058" fmla="*/ 12020032 h 14078567"/>
                <a:gd name="connsiteX1059" fmla="*/ 5408420 w 10125896"/>
                <a:gd name="connsiteY1059" fmla="*/ 12058153 h 14078567"/>
                <a:gd name="connsiteX1060" fmla="*/ 5341708 w 10125896"/>
                <a:gd name="connsiteY1060" fmla="*/ 12091509 h 14078567"/>
                <a:gd name="connsiteX1061" fmla="*/ 5270232 w 10125896"/>
                <a:gd name="connsiteY1061" fmla="*/ 12096274 h 14078567"/>
                <a:gd name="connsiteX1062" fmla="*/ 5217816 w 10125896"/>
                <a:gd name="connsiteY1062" fmla="*/ 12105804 h 14078567"/>
                <a:gd name="connsiteX1063" fmla="*/ 5132044 w 10125896"/>
                <a:gd name="connsiteY1063" fmla="*/ 12115335 h 14078567"/>
                <a:gd name="connsiteX1064" fmla="*/ 5098688 w 10125896"/>
                <a:gd name="connsiteY1064" fmla="*/ 12115335 h 14078567"/>
                <a:gd name="connsiteX1065" fmla="*/ 5098688 w 10125896"/>
                <a:gd name="connsiteY1065" fmla="*/ 12129630 h 14078567"/>
                <a:gd name="connsiteX1066" fmla="*/ 5179692 w 10125896"/>
                <a:gd name="connsiteY1066" fmla="*/ 12186812 h 14078567"/>
                <a:gd name="connsiteX1067" fmla="*/ 5193988 w 10125896"/>
                <a:gd name="connsiteY1067" fmla="*/ 12196342 h 14078567"/>
                <a:gd name="connsiteX1068" fmla="*/ 5179692 w 10125896"/>
                <a:gd name="connsiteY1068" fmla="*/ 12220167 h 14078567"/>
                <a:gd name="connsiteX1069" fmla="*/ 5165400 w 10125896"/>
                <a:gd name="connsiteY1069" fmla="*/ 12229698 h 14078567"/>
                <a:gd name="connsiteX1070" fmla="*/ 5136808 w 10125896"/>
                <a:gd name="connsiteY1070" fmla="*/ 12272584 h 14078567"/>
                <a:gd name="connsiteX1071" fmla="*/ 5122512 w 10125896"/>
                <a:gd name="connsiteY1071" fmla="*/ 12286879 h 14078567"/>
                <a:gd name="connsiteX1072" fmla="*/ 5089156 w 10125896"/>
                <a:gd name="connsiteY1072" fmla="*/ 12305940 h 14078567"/>
                <a:gd name="connsiteX1073" fmla="*/ 5022444 w 10125896"/>
                <a:gd name="connsiteY1073" fmla="*/ 12286879 h 14078567"/>
                <a:gd name="connsiteX1074" fmla="*/ 4989088 w 10125896"/>
                <a:gd name="connsiteY1074" fmla="*/ 12296409 h 14078567"/>
                <a:gd name="connsiteX1075" fmla="*/ 4955732 w 10125896"/>
                <a:gd name="connsiteY1075" fmla="*/ 12286879 h 14078567"/>
                <a:gd name="connsiteX1076" fmla="*/ 4955732 w 10125896"/>
                <a:gd name="connsiteY1076" fmla="*/ 12310705 h 14078567"/>
                <a:gd name="connsiteX1077" fmla="*/ 4965264 w 10125896"/>
                <a:gd name="connsiteY1077" fmla="*/ 12329765 h 14078567"/>
                <a:gd name="connsiteX1078" fmla="*/ 4974792 w 10125896"/>
                <a:gd name="connsiteY1078" fmla="*/ 12372652 h 14078567"/>
                <a:gd name="connsiteX1079" fmla="*/ 4998620 w 10125896"/>
                <a:gd name="connsiteY1079" fmla="*/ 12367886 h 14078567"/>
                <a:gd name="connsiteX1080" fmla="*/ 5022444 w 10125896"/>
                <a:gd name="connsiteY1080" fmla="*/ 12358356 h 14078567"/>
                <a:gd name="connsiteX1081" fmla="*/ 5046268 w 10125896"/>
                <a:gd name="connsiteY1081" fmla="*/ 12391712 h 14078567"/>
                <a:gd name="connsiteX1082" fmla="*/ 5060564 w 10125896"/>
                <a:gd name="connsiteY1082" fmla="*/ 12444128 h 14078567"/>
                <a:gd name="connsiteX1083" fmla="*/ 5084392 w 10125896"/>
                <a:gd name="connsiteY1083" fmla="*/ 12472719 h 14078567"/>
                <a:gd name="connsiteX1084" fmla="*/ 5093920 w 10125896"/>
                <a:gd name="connsiteY1084" fmla="*/ 12496545 h 14078567"/>
                <a:gd name="connsiteX1085" fmla="*/ 5098688 w 10125896"/>
                <a:gd name="connsiteY1085" fmla="*/ 12515605 h 14078567"/>
                <a:gd name="connsiteX1086" fmla="*/ 5084392 w 10125896"/>
                <a:gd name="connsiteY1086" fmla="*/ 12534666 h 14078567"/>
                <a:gd name="connsiteX1087" fmla="*/ 5051036 w 10125896"/>
                <a:gd name="connsiteY1087" fmla="*/ 12563257 h 14078567"/>
                <a:gd name="connsiteX1088" fmla="*/ 5017680 w 10125896"/>
                <a:gd name="connsiteY1088" fmla="*/ 12568022 h 14078567"/>
                <a:gd name="connsiteX1089" fmla="*/ 5017680 w 10125896"/>
                <a:gd name="connsiteY1089" fmla="*/ 12591847 h 14078567"/>
                <a:gd name="connsiteX1090" fmla="*/ 5003384 w 10125896"/>
                <a:gd name="connsiteY1090" fmla="*/ 12610908 h 14078567"/>
                <a:gd name="connsiteX1091" fmla="*/ 4974792 w 10125896"/>
                <a:gd name="connsiteY1091" fmla="*/ 12606143 h 14078567"/>
                <a:gd name="connsiteX1092" fmla="*/ 4960496 w 10125896"/>
                <a:gd name="connsiteY1092" fmla="*/ 12591847 h 14078567"/>
                <a:gd name="connsiteX1093" fmla="*/ 4941436 w 10125896"/>
                <a:gd name="connsiteY1093" fmla="*/ 12587082 h 14078567"/>
                <a:gd name="connsiteX1094" fmla="*/ 4879492 w 10125896"/>
                <a:gd name="connsiteY1094" fmla="*/ 12582317 h 14078567"/>
                <a:gd name="connsiteX1095" fmla="*/ 4941436 w 10125896"/>
                <a:gd name="connsiteY1095" fmla="*/ 12625203 h 14078567"/>
                <a:gd name="connsiteX1096" fmla="*/ 4965264 w 10125896"/>
                <a:gd name="connsiteY1096" fmla="*/ 12644264 h 14078567"/>
                <a:gd name="connsiteX1097" fmla="*/ 4974792 w 10125896"/>
                <a:gd name="connsiteY1097" fmla="*/ 12634733 h 14078567"/>
                <a:gd name="connsiteX1098" fmla="*/ 4998620 w 10125896"/>
                <a:gd name="connsiteY1098" fmla="*/ 12629968 h 14078567"/>
                <a:gd name="connsiteX1099" fmla="*/ 5031976 w 10125896"/>
                <a:gd name="connsiteY1099" fmla="*/ 12639499 h 14078567"/>
                <a:gd name="connsiteX1100" fmla="*/ 5022444 w 10125896"/>
                <a:gd name="connsiteY1100" fmla="*/ 12715741 h 14078567"/>
                <a:gd name="connsiteX1101" fmla="*/ 5036740 w 10125896"/>
                <a:gd name="connsiteY1101" fmla="*/ 12772922 h 14078567"/>
                <a:gd name="connsiteX1102" fmla="*/ 5041504 w 10125896"/>
                <a:gd name="connsiteY1102" fmla="*/ 12787218 h 14078567"/>
                <a:gd name="connsiteX1103" fmla="*/ 5008148 w 10125896"/>
                <a:gd name="connsiteY1103" fmla="*/ 12820573 h 14078567"/>
                <a:gd name="connsiteX1104" fmla="*/ 5008148 w 10125896"/>
                <a:gd name="connsiteY1104" fmla="*/ 12853929 h 14078567"/>
                <a:gd name="connsiteX1105" fmla="*/ 4984324 w 10125896"/>
                <a:gd name="connsiteY1105" fmla="*/ 12863460 h 14078567"/>
                <a:gd name="connsiteX1106" fmla="*/ 4960496 w 10125896"/>
                <a:gd name="connsiteY1106" fmla="*/ 12858694 h 14078567"/>
                <a:gd name="connsiteX1107" fmla="*/ 4960496 w 10125896"/>
                <a:gd name="connsiteY1107" fmla="*/ 12896815 h 14078567"/>
                <a:gd name="connsiteX1108" fmla="*/ 4946204 w 10125896"/>
                <a:gd name="connsiteY1108" fmla="*/ 12915876 h 14078567"/>
                <a:gd name="connsiteX1109" fmla="*/ 4950968 w 10125896"/>
                <a:gd name="connsiteY1109" fmla="*/ 12930171 h 14078567"/>
                <a:gd name="connsiteX1110" fmla="*/ 4955732 w 10125896"/>
                <a:gd name="connsiteY1110" fmla="*/ 12944467 h 14078567"/>
                <a:gd name="connsiteX1111" fmla="*/ 4941436 w 10125896"/>
                <a:gd name="connsiteY1111" fmla="*/ 12963527 h 14078567"/>
                <a:gd name="connsiteX1112" fmla="*/ 4927140 w 10125896"/>
                <a:gd name="connsiteY1112" fmla="*/ 12992118 h 14078567"/>
                <a:gd name="connsiteX1113" fmla="*/ 4908080 w 10125896"/>
                <a:gd name="connsiteY1113" fmla="*/ 13015944 h 14078567"/>
                <a:gd name="connsiteX1114" fmla="*/ 4898552 w 10125896"/>
                <a:gd name="connsiteY1114" fmla="*/ 13015944 h 14078567"/>
                <a:gd name="connsiteX1115" fmla="*/ 4874724 w 10125896"/>
                <a:gd name="connsiteY1115" fmla="*/ 13015944 h 14078567"/>
                <a:gd name="connsiteX1116" fmla="*/ 4836604 w 10125896"/>
                <a:gd name="connsiteY1116" fmla="*/ 13015944 h 14078567"/>
                <a:gd name="connsiteX1117" fmla="*/ 4812780 w 10125896"/>
                <a:gd name="connsiteY1117" fmla="*/ 12982588 h 14078567"/>
                <a:gd name="connsiteX1118" fmla="*/ 4798484 w 10125896"/>
                <a:gd name="connsiteY1118" fmla="*/ 12973058 h 14078567"/>
                <a:gd name="connsiteX1119" fmla="*/ 4788952 w 10125896"/>
                <a:gd name="connsiteY1119" fmla="*/ 12963527 h 14078567"/>
                <a:gd name="connsiteX1120" fmla="*/ 4793720 w 10125896"/>
                <a:gd name="connsiteY1120" fmla="*/ 12987353 h 14078567"/>
                <a:gd name="connsiteX1121" fmla="*/ 4798484 w 10125896"/>
                <a:gd name="connsiteY1121" fmla="*/ 12996883 h 14078567"/>
                <a:gd name="connsiteX1122" fmla="*/ 4827076 w 10125896"/>
                <a:gd name="connsiteY1122" fmla="*/ 13020709 h 14078567"/>
                <a:gd name="connsiteX1123" fmla="*/ 4869960 w 10125896"/>
                <a:gd name="connsiteY1123" fmla="*/ 13049300 h 14078567"/>
                <a:gd name="connsiteX1124" fmla="*/ 4869960 w 10125896"/>
                <a:gd name="connsiteY1124" fmla="*/ 13068360 h 14078567"/>
                <a:gd name="connsiteX1125" fmla="*/ 4855664 w 10125896"/>
                <a:gd name="connsiteY1125" fmla="*/ 13077890 h 14078567"/>
                <a:gd name="connsiteX1126" fmla="*/ 4827076 w 10125896"/>
                <a:gd name="connsiteY1126" fmla="*/ 13130307 h 14078567"/>
                <a:gd name="connsiteX1127" fmla="*/ 4817544 w 10125896"/>
                <a:gd name="connsiteY1127" fmla="*/ 13130307 h 14078567"/>
                <a:gd name="connsiteX1128" fmla="*/ 4803248 w 10125896"/>
                <a:gd name="connsiteY1128" fmla="*/ 13144602 h 14078567"/>
                <a:gd name="connsiteX1129" fmla="*/ 4765128 w 10125896"/>
                <a:gd name="connsiteY1129" fmla="*/ 13139837 h 14078567"/>
                <a:gd name="connsiteX1130" fmla="*/ 4746068 w 10125896"/>
                <a:gd name="connsiteY1130" fmla="*/ 13135072 h 14078567"/>
                <a:gd name="connsiteX1131" fmla="*/ 4698416 w 10125896"/>
                <a:gd name="connsiteY1131" fmla="*/ 13135072 h 14078567"/>
                <a:gd name="connsiteX1132" fmla="*/ 4684120 w 10125896"/>
                <a:gd name="connsiteY1132" fmla="*/ 13130307 h 14078567"/>
                <a:gd name="connsiteX1133" fmla="*/ 4665060 w 10125896"/>
                <a:gd name="connsiteY1133" fmla="*/ 13135072 h 14078567"/>
                <a:gd name="connsiteX1134" fmla="*/ 4679356 w 10125896"/>
                <a:gd name="connsiteY1134" fmla="*/ 13149367 h 14078567"/>
                <a:gd name="connsiteX1135" fmla="*/ 4707944 w 10125896"/>
                <a:gd name="connsiteY1135" fmla="*/ 13163663 h 14078567"/>
                <a:gd name="connsiteX1136" fmla="*/ 4741300 w 10125896"/>
                <a:gd name="connsiteY1136" fmla="*/ 13173193 h 14078567"/>
                <a:gd name="connsiteX1137" fmla="*/ 4788952 w 10125896"/>
                <a:gd name="connsiteY1137" fmla="*/ 13187488 h 14078567"/>
                <a:gd name="connsiteX1138" fmla="*/ 4788952 w 10125896"/>
                <a:gd name="connsiteY1138" fmla="*/ 13206549 h 14078567"/>
                <a:gd name="connsiteX1139" fmla="*/ 4774656 w 10125896"/>
                <a:gd name="connsiteY1139" fmla="*/ 13220844 h 14078567"/>
                <a:gd name="connsiteX1140" fmla="*/ 4784188 w 10125896"/>
                <a:gd name="connsiteY1140" fmla="*/ 13244670 h 14078567"/>
                <a:gd name="connsiteX1141" fmla="*/ 4779424 w 10125896"/>
                <a:gd name="connsiteY1141" fmla="*/ 13258965 h 14078567"/>
                <a:gd name="connsiteX1142" fmla="*/ 4774656 w 10125896"/>
                <a:gd name="connsiteY1142" fmla="*/ 13278026 h 14078567"/>
                <a:gd name="connsiteX1143" fmla="*/ 4765128 w 10125896"/>
                <a:gd name="connsiteY1143" fmla="*/ 13325677 h 14078567"/>
                <a:gd name="connsiteX1144" fmla="*/ 4779424 w 10125896"/>
                <a:gd name="connsiteY1144" fmla="*/ 13354268 h 14078567"/>
                <a:gd name="connsiteX1145" fmla="*/ 4793720 w 10125896"/>
                <a:gd name="connsiteY1145" fmla="*/ 13373328 h 14078567"/>
                <a:gd name="connsiteX1146" fmla="*/ 4788952 w 10125896"/>
                <a:gd name="connsiteY1146" fmla="*/ 13392389 h 14078567"/>
                <a:gd name="connsiteX1147" fmla="*/ 4798484 w 10125896"/>
                <a:gd name="connsiteY1147" fmla="*/ 13425745 h 14078567"/>
                <a:gd name="connsiteX1148" fmla="*/ 4774656 w 10125896"/>
                <a:gd name="connsiteY1148" fmla="*/ 13454335 h 14078567"/>
                <a:gd name="connsiteX1149" fmla="*/ 4755596 w 10125896"/>
                <a:gd name="connsiteY1149" fmla="*/ 13449570 h 14078567"/>
                <a:gd name="connsiteX1150" fmla="*/ 4731772 w 10125896"/>
                <a:gd name="connsiteY1150" fmla="*/ 13459100 h 14078567"/>
                <a:gd name="connsiteX1151" fmla="*/ 4722240 w 10125896"/>
                <a:gd name="connsiteY1151" fmla="*/ 13468631 h 14078567"/>
                <a:gd name="connsiteX1152" fmla="*/ 4765128 w 10125896"/>
                <a:gd name="connsiteY1152" fmla="*/ 13482926 h 14078567"/>
                <a:gd name="connsiteX1153" fmla="*/ 4760364 w 10125896"/>
                <a:gd name="connsiteY1153" fmla="*/ 13501987 h 14078567"/>
                <a:gd name="connsiteX1154" fmla="*/ 4750832 w 10125896"/>
                <a:gd name="connsiteY1154" fmla="*/ 13530577 h 14078567"/>
                <a:gd name="connsiteX1155" fmla="*/ 4736536 w 10125896"/>
                <a:gd name="connsiteY1155" fmla="*/ 13587759 h 14078567"/>
                <a:gd name="connsiteX1156" fmla="*/ 4712712 w 10125896"/>
                <a:gd name="connsiteY1156" fmla="*/ 13683061 h 14078567"/>
                <a:gd name="connsiteX1157" fmla="*/ 4703180 w 10125896"/>
                <a:gd name="connsiteY1157" fmla="*/ 13778364 h 14078567"/>
                <a:gd name="connsiteX1158" fmla="*/ 4650764 w 10125896"/>
                <a:gd name="connsiteY1158" fmla="*/ 13854606 h 14078567"/>
                <a:gd name="connsiteX1159" fmla="*/ 4631704 w 10125896"/>
                <a:gd name="connsiteY1159" fmla="*/ 13859371 h 14078567"/>
                <a:gd name="connsiteX1160" fmla="*/ 4626940 w 10125896"/>
                <a:gd name="connsiteY1160" fmla="*/ 13859371 h 14078567"/>
                <a:gd name="connsiteX1161" fmla="*/ 4603112 w 10125896"/>
                <a:gd name="connsiteY1161" fmla="*/ 13859371 h 14078567"/>
                <a:gd name="connsiteX1162" fmla="*/ 4564992 w 10125896"/>
                <a:gd name="connsiteY1162" fmla="*/ 13840311 h 14078567"/>
                <a:gd name="connsiteX1163" fmla="*/ 4536400 w 10125896"/>
                <a:gd name="connsiteY1163" fmla="*/ 13835546 h 14078567"/>
                <a:gd name="connsiteX1164" fmla="*/ 4512576 w 10125896"/>
                <a:gd name="connsiteY1164" fmla="*/ 13835546 h 14078567"/>
                <a:gd name="connsiteX1165" fmla="*/ 4512576 w 10125896"/>
                <a:gd name="connsiteY1165" fmla="*/ 13840311 h 14078567"/>
                <a:gd name="connsiteX1166" fmla="*/ 4526872 w 10125896"/>
                <a:gd name="connsiteY1166" fmla="*/ 13854606 h 14078567"/>
                <a:gd name="connsiteX1167" fmla="*/ 4555460 w 10125896"/>
                <a:gd name="connsiteY1167" fmla="*/ 13864136 h 14078567"/>
                <a:gd name="connsiteX1168" fmla="*/ 4574524 w 10125896"/>
                <a:gd name="connsiteY1168" fmla="*/ 13873667 h 14078567"/>
                <a:gd name="connsiteX1169" fmla="*/ 4612644 w 10125896"/>
                <a:gd name="connsiteY1169" fmla="*/ 13883197 h 14078567"/>
                <a:gd name="connsiteX1170" fmla="*/ 4626940 w 10125896"/>
                <a:gd name="connsiteY1170" fmla="*/ 13897492 h 14078567"/>
                <a:gd name="connsiteX1171" fmla="*/ 4631704 w 10125896"/>
                <a:gd name="connsiteY1171" fmla="*/ 13916553 h 14078567"/>
                <a:gd name="connsiteX1172" fmla="*/ 4631704 w 10125896"/>
                <a:gd name="connsiteY1172" fmla="*/ 13926083 h 14078567"/>
                <a:gd name="connsiteX1173" fmla="*/ 4631704 w 10125896"/>
                <a:gd name="connsiteY1173" fmla="*/ 13940378 h 14078567"/>
                <a:gd name="connsiteX1174" fmla="*/ 4641236 w 10125896"/>
                <a:gd name="connsiteY1174" fmla="*/ 14002325 h 14078567"/>
                <a:gd name="connsiteX1175" fmla="*/ 4622172 w 10125896"/>
                <a:gd name="connsiteY1175" fmla="*/ 14021385 h 14078567"/>
                <a:gd name="connsiteX1176" fmla="*/ 4607880 w 10125896"/>
                <a:gd name="connsiteY1176" fmla="*/ 14045211 h 14078567"/>
                <a:gd name="connsiteX1177" fmla="*/ 4560228 w 10125896"/>
                <a:gd name="connsiteY1177" fmla="*/ 14040446 h 14078567"/>
                <a:gd name="connsiteX1178" fmla="*/ 4555460 w 10125896"/>
                <a:gd name="connsiteY1178" fmla="*/ 14035681 h 14078567"/>
                <a:gd name="connsiteX1179" fmla="*/ 4507812 w 10125896"/>
                <a:gd name="connsiteY1179" fmla="*/ 14011855 h 14078567"/>
                <a:gd name="connsiteX1180" fmla="*/ 4512576 w 10125896"/>
                <a:gd name="connsiteY1180" fmla="*/ 14021385 h 14078567"/>
                <a:gd name="connsiteX1181" fmla="*/ 4545932 w 10125896"/>
                <a:gd name="connsiteY1181" fmla="*/ 14049976 h 14078567"/>
                <a:gd name="connsiteX1182" fmla="*/ 4555460 w 10125896"/>
                <a:gd name="connsiteY1182" fmla="*/ 14064272 h 14078567"/>
                <a:gd name="connsiteX1183" fmla="*/ 4545932 w 10125896"/>
                <a:gd name="connsiteY1183" fmla="*/ 14069037 h 14078567"/>
                <a:gd name="connsiteX1184" fmla="*/ 4536400 w 10125896"/>
                <a:gd name="connsiteY1184" fmla="*/ 14069037 h 14078567"/>
                <a:gd name="connsiteX1185" fmla="*/ 4517340 w 10125896"/>
                <a:gd name="connsiteY1185" fmla="*/ 14078567 h 14078567"/>
                <a:gd name="connsiteX1186" fmla="*/ 4483984 w 10125896"/>
                <a:gd name="connsiteY1186" fmla="*/ 14073802 h 14078567"/>
                <a:gd name="connsiteX1187" fmla="*/ 4483984 w 10125896"/>
                <a:gd name="connsiteY1187" fmla="*/ 14059506 h 14078567"/>
                <a:gd name="connsiteX1188" fmla="*/ 4493516 w 10125896"/>
                <a:gd name="connsiteY1188" fmla="*/ 14045211 h 14078567"/>
                <a:gd name="connsiteX1189" fmla="*/ 4474456 w 10125896"/>
                <a:gd name="connsiteY1189" fmla="*/ 14045211 h 14078567"/>
                <a:gd name="connsiteX1190" fmla="*/ 4460160 w 10125896"/>
                <a:gd name="connsiteY1190" fmla="*/ 14054741 h 14078567"/>
                <a:gd name="connsiteX1191" fmla="*/ 4450628 w 10125896"/>
                <a:gd name="connsiteY1191" fmla="*/ 14049976 h 14078567"/>
                <a:gd name="connsiteX1192" fmla="*/ 4441100 w 10125896"/>
                <a:gd name="connsiteY1192" fmla="*/ 14054741 h 14078567"/>
                <a:gd name="connsiteX1193" fmla="*/ 4436332 w 10125896"/>
                <a:gd name="connsiteY1193" fmla="*/ 14045211 h 14078567"/>
                <a:gd name="connsiteX1194" fmla="*/ 4431568 w 10125896"/>
                <a:gd name="connsiteY1194" fmla="*/ 14016620 h 14078567"/>
                <a:gd name="connsiteX1195" fmla="*/ 4436332 w 10125896"/>
                <a:gd name="connsiteY1195" fmla="*/ 14002325 h 14078567"/>
                <a:gd name="connsiteX1196" fmla="*/ 4464924 w 10125896"/>
                <a:gd name="connsiteY1196" fmla="*/ 13964204 h 14078567"/>
                <a:gd name="connsiteX1197" fmla="*/ 4474456 w 10125896"/>
                <a:gd name="connsiteY1197" fmla="*/ 13945143 h 14078567"/>
                <a:gd name="connsiteX1198" fmla="*/ 4464924 w 10125896"/>
                <a:gd name="connsiteY1198" fmla="*/ 13935613 h 14078567"/>
                <a:gd name="connsiteX1199" fmla="*/ 4445864 w 10125896"/>
                <a:gd name="connsiteY1199" fmla="*/ 13954674 h 14078567"/>
                <a:gd name="connsiteX1200" fmla="*/ 4426804 w 10125896"/>
                <a:gd name="connsiteY1200" fmla="*/ 13992795 h 14078567"/>
                <a:gd name="connsiteX1201" fmla="*/ 4417272 w 10125896"/>
                <a:gd name="connsiteY1201" fmla="*/ 14011855 h 14078567"/>
                <a:gd name="connsiteX1202" fmla="*/ 4407744 w 10125896"/>
                <a:gd name="connsiteY1202" fmla="*/ 14016620 h 14078567"/>
                <a:gd name="connsiteX1203" fmla="*/ 4374388 w 10125896"/>
                <a:gd name="connsiteY1203" fmla="*/ 14007090 h 14078567"/>
                <a:gd name="connsiteX1204" fmla="*/ 4288616 w 10125896"/>
                <a:gd name="connsiteY1204" fmla="*/ 13959439 h 14078567"/>
                <a:gd name="connsiteX1205" fmla="*/ 4288616 w 10125896"/>
                <a:gd name="connsiteY1205" fmla="*/ 13926083 h 14078567"/>
                <a:gd name="connsiteX1206" fmla="*/ 4288616 w 10125896"/>
                <a:gd name="connsiteY1206" fmla="*/ 13902257 h 14078567"/>
                <a:gd name="connsiteX1207" fmla="*/ 4312440 w 10125896"/>
                <a:gd name="connsiteY1207" fmla="*/ 13902257 h 14078567"/>
                <a:gd name="connsiteX1208" fmla="*/ 4331500 w 10125896"/>
                <a:gd name="connsiteY1208" fmla="*/ 13887962 h 14078567"/>
                <a:gd name="connsiteX1209" fmla="*/ 4350560 w 10125896"/>
                <a:gd name="connsiteY1209" fmla="*/ 13878432 h 14078567"/>
                <a:gd name="connsiteX1210" fmla="*/ 4369620 w 10125896"/>
                <a:gd name="connsiteY1210" fmla="*/ 13854606 h 14078567"/>
                <a:gd name="connsiteX1211" fmla="*/ 4383916 w 10125896"/>
                <a:gd name="connsiteY1211" fmla="*/ 13816485 h 14078567"/>
                <a:gd name="connsiteX1212" fmla="*/ 4383916 w 10125896"/>
                <a:gd name="connsiteY1212" fmla="*/ 13811720 h 14078567"/>
                <a:gd name="connsiteX1213" fmla="*/ 4331500 w 10125896"/>
                <a:gd name="connsiteY1213" fmla="*/ 13859371 h 14078567"/>
                <a:gd name="connsiteX1214" fmla="*/ 4302912 w 10125896"/>
                <a:gd name="connsiteY1214" fmla="*/ 13878432 h 14078567"/>
                <a:gd name="connsiteX1215" fmla="*/ 4288616 w 10125896"/>
                <a:gd name="connsiteY1215" fmla="*/ 13883197 h 14078567"/>
                <a:gd name="connsiteX1216" fmla="*/ 4279084 w 10125896"/>
                <a:gd name="connsiteY1216" fmla="*/ 13873667 h 14078567"/>
                <a:gd name="connsiteX1217" fmla="*/ 4255260 w 10125896"/>
                <a:gd name="connsiteY1217" fmla="*/ 13859371 h 14078567"/>
                <a:gd name="connsiteX1218" fmla="*/ 4236200 w 10125896"/>
                <a:gd name="connsiteY1218" fmla="*/ 13849841 h 14078567"/>
                <a:gd name="connsiteX1219" fmla="*/ 4198076 w 10125896"/>
                <a:gd name="connsiteY1219" fmla="*/ 13840311 h 14078567"/>
                <a:gd name="connsiteX1220" fmla="*/ 4193312 w 10125896"/>
                <a:gd name="connsiteY1220" fmla="*/ 13830780 h 14078567"/>
                <a:gd name="connsiteX1221" fmla="*/ 4183780 w 10125896"/>
                <a:gd name="connsiteY1221" fmla="*/ 13826015 h 14078567"/>
                <a:gd name="connsiteX1222" fmla="*/ 4169488 w 10125896"/>
                <a:gd name="connsiteY1222" fmla="*/ 13773599 h 14078567"/>
                <a:gd name="connsiteX1223" fmla="*/ 4188548 w 10125896"/>
                <a:gd name="connsiteY1223" fmla="*/ 13711652 h 14078567"/>
                <a:gd name="connsiteX1224" fmla="*/ 4198076 w 10125896"/>
                <a:gd name="connsiteY1224" fmla="*/ 13692592 h 14078567"/>
                <a:gd name="connsiteX1225" fmla="*/ 4207608 w 10125896"/>
                <a:gd name="connsiteY1225" fmla="*/ 13673531 h 14078567"/>
                <a:gd name="connsiteX1226" fmla="*/ 4212372 w 10125896"/>
                <a:gd name="connsiteY1226" fmla="*/ 13644940 h 14078567"/>
                <a:gd name="connsiteX1227" fmla="*/ 4212372 w 10125896"/>
                <a:gd name="connsiteY1227" fmla="*/ 13630645 h 14078567"/>
                <a:gd name="connsiteX1228" fmla="*/ 4198076 w 10125896"/>
                <a:gd name="connsiteY1228" fmla="*/ 13635410 h 14078567"/>
                <a:gd name="connsiteX1229" fmla="*/ 4193312 w 10125896"/>
                <a:gd name="connsiteY1229" fmla="*/ 13644940 h 14078567"/>
                <a:gd name="connsiteX1230" fmla="*/ 4193312 w 10125896"/>
                <a:gd name="connsiteY1230" fmla="*/ 13664001 h 14078567"/>
                <a:gd name="connsiteX1231" fmla="*/ 4188548 w 10125896"/>
                <a:gd name="connsiteY1231" fmla="*/ 13673531 h 14078567"/>
                <a:gd name="connsiteX1232" fmla="*/ 4145660 w 10125896"/>
                <a:gd name="connsiteY1232" fmla="*/ 13697357 h 14078567"/>
                <a:gd name="connsiteX1233" fmla="*/ 4098008 w 10125896"/>
                <a:gd name="connsiteY1233" fmla="*/ 13716417 h 14078567"/>
                <a:gd name="connsiteX1234" fmla="*/ 4078948 w 10125896"/>
                <a:gd name="connsiteY1234" fmla="*/ 13735478 h 14078567"/>
                <a:gd name="connsiteX1235" fmla="*/ 4064652 w 10125896"/>
                <a:gd name="connsiteY1235" fmla="*/ 13749773 h 14078567"/>
                <a:gd name="connsiteX1236" fmla="*/ 4055124 w 10125896"/>
                <a:gd name="connsiteY1236" fmla="*/ 13764069 h 14078567"/>
                <a:gd name="connsiteX1237" fmla="*/ 4036064 w 10125896"/>
                <a:gd name="connsiteY1237" fmla="*/ 13759303 h 14078567"/>
                <a:gd name="connsiteX1238" fmla="*/ 4012236 w 10125896"/>
                <a:gd name="connsiteY1238" fmla="*/ 13764069 h 14078567"/>
                <a:gd name="connsiteX1239" fmla="*/ 3997940 w 10125896"/>
                <a:gd name="connsiteY1239" fmla="*/ 13773599 h 14078567"/>
                <a:gd name="connsiteX1240" fmla="*/ 3974116 w 10125896"/>
                <a:gd name="connsiteY1240" fmla="*/ 13768834 h 14078567"/>
                <a:gd name="connsiteX1241" fmla="*/ 3959820 w 10125896"/>
                <a:gd name="connsiteY1241" fmla="*/ 13754538 h 14078567"/>
                <a:gd name="connsiteX1242" fmla="*/ 3940760 w 10125896"/>
                <a:gd name="connsiteY1242" fmla="*/ 13754538 h 14078567"/>
                <a:gd name="connsiteX1243" fmla="*/ 3921700 w 10125896"/>
                <a:gd name="connsiteY1243" fmla="*/ 13759303 h 14078567"/>
                <a:gd name="connsiteX1244" fmla="*/ 3907404 w 10125896"/>
                <a:gd name="connsiteY1244" fmla="*/ 13759303 h 14078567"/>
                <a:gd name="connsiteX1245" fmla="*/ 3912168 w 10125896"/>
                <a:gd name="connsiteY1245" fmla="*/ 13768834 h 14078567"/>
                <a:gd name="connsiteX1246" fmla="*/ 3921700 w 10125896"/>
                <a:gd name="connsiteY1246" fmla="*/ 13787894 h 14078567"/>
                <a:gd name="connsiteX1247" fmla="*/ 3902640 w 10125896"/>
                <a:gd name="connsiteY1247" fmla="*/ 13792659 h 14078567"/>
                <a:gd name="connsiteX1248" fmla="*/ 3874048 w 10125896"/>
                <a:gd name="connsiteY1248" fmla="*/ 13792659 h 14078567"/>
                <a:gd name="connsiteX1249" fmla="*/ 3859752 w 10125896"/>
                <a:gd name="connsiteY1249" fmla="*/ 13787894 h 14078567"/>
                <a:gd name="connsiteX1250" fmla="*/ 3850224 w 10125896"/>
                <a:gd name="connsiteY1250" fmla="*/ 13778364 h 14078567"/>
                <a:gd name="connsiteX1251" fmla="*/ 3840692 w 10125896"/>
                <a:gd name="connsiteY1251" fmla="*/ 13764069 h 14078567"/>
                <a:gd name="connsiteX1252" fmla="*/ 3845456 w 10125896"/>
                <a:gd name="connsiteY1252" fmla="*/ 13749773 h 14078567"/>
                <a:gd name="connsiteX1253" fmla="*/ 3893108 w 10125896"/>
                <a:gd name="connsiteY1253" fmla="*/ 13721182 h 14078567"/>
                <a:gd name="connsiteX1254" fmla="*/ 3912168 w 10125896"/>
                <a:gd name="connsiteY1254" fmla="*/ 13702122 h 14078567"/>
                <a:gd name="connsiteX1255" fmla="*/ 3897876 w 10125896"/>
                <a:gd name="connsiteY1255" fmla="*/ 13697357 h 14078567"/>
                <a:gd name="connsiteX1256" fmla="*/ 3854988 w 10125896"/>
                <a:gd name="connsiteY1256" fmla="*/ 13702122 h 14078567"/>
                <a:gd name="connsiteX1257" fmla="*/ 3845456 w 10125896"/>
                <a:gd name="connsiteY1257" fmla="*/ 13702122 h 14078567"/>
                <a:gd name="connsiteX1258" fmla="*/ 3816868 w 10125896"/>
                <a:gd name="connsiteY1258" fmla="*/ 13702122 h 14078567"/>
                <a:gd name="connsiteX1259" fmla="*/ 3816868 w 10125896"/>
                <a:gd name="connsiteY1259" fmla="*/ 13659236 h 14078567"/>
                <a:gd name="connsiteX1260" fmla="*/ 3812100 w 10125896"/>
                <a:gd name="connsiteY1260" fmla="*/ 13649706 h 14078567"/>
                <a:gd name="connsiteX1261" fmla="*/ 3812100 w 10125896"/>
                <a:gd name="connsiteY1261" fmla="*/ 13644940 h 14078567"/>
                <a:gd name="connsiteX1262" fmla="*/ 3797808 w 10125896"/>
                <a:gd name="connsiteY1262" fmla="*/ 13630645 h 14078567"/>
                <a:gd name="connsiteX1263" fmla="*/ 3788276 w 10125896"/>
                <a:gd name="connsiteY1263" fmla="*/ 13625880 h 14078567"/>
                <a:gd name="connsiteX1264" fmla="*/ 3783512 w 10125896"/>
                <a:gd name="connsiteY1264" fmla="*/ 13625880 h 14078567"/>
                <a:gd name="connsiteX1265" fmla="*/ 3731096 w 10125896"/>
                <a:gd name="connsiteY1265" fmla="*/ 13611585 h 14078567"/>
                <a:gd name="connsiteX1266" fmla="*/ 3726328 w 10125896"/>
                <a:gd name="connsiteY1266" fmla="*/ 13587759 h 14078567"/>
                <a:gd name="connsiteX1267" fmla="*/ 3721564 w 10125896"/>
                <a:gd name="connsiteY1267" fmla="*/ 13563933 h 14078567"/>
                <a:gd name="connsiteX1268" fmla="*/ 3712036 w 10125896"/>
                <a:gd name="connsiteY1268" fmla="*/ 13535343 h 14078567"/>
                <a:gd name="connsiteX1269" fmla="*/ 3688208 w 10125896"/>
                <a:gd name="connsiteY1269" fmla="*/ 13525812 h 14078567"/>
                <a:gd name="connsiteX1270" fmla="*/ 3673912 w 10125896"/>
                <a:gd name="connsiteY1270" fmla="*/ 13511517 h 14078567"/>
                <a:gd name="connsiteX1271" fmla="*/ 3688208 w 10125896"/>
                <a:gd name="connsiteY1271" fmla="*/ 13497221 h 14078567"/>
                <a:gd name="connsiteX1272" fmla="*/ 3692972 w 10125896"/>
                <a:gd name="connsiteY1272" fmla="*/ 13482926 h 14078567"/>
                <a:gd name="connsiteX1273" fmla="*/ 3678680 w 10125896"/>
                <a:gd name="connsiteY1273" fmla="*/ 13473396 h 14078567"/>
                <a:gd name="connsiteX1274" fmla="*/ 3673912 w 10125896"/>
                <a:gd name="connsiteY1274" fmla="*/ 13459100 h 14078567"/>
                <a:gd name="connsiteX1275" fmla="*/ 3673912 w 10125896"/>
                <a:gd name="connsiteY1275" fmla="*/ 13449570 h 14078567"/>
                <a:gd name="connsiteX1276" fmla="*/ 3664384 w 10125896"/>
                <a:gd name="connsiteY1276" fmla="*/ 13430510 h 14078567"/>
                <a:gd name="connsiteX1277" fmla="*/ 3659616 w 10125896"/>
                <a:gd name="connsiteY1277" fmla="*/ 13411449 h 14078567"/>
                <a:gd name="connsiteX1278" fmla="*/ 3673912 w 10125896"/>
                <a:gd name="connsiteY1278" fmla="*/ 13397154 h 14078567"/>
                <a:gd name="connsiteX1279" fmla="*/ 3702504 w 10125896"/>
                <a:gd name="connsiteY1279" fmla="*/ 13378093 h 14078567"/>
                <a:gd name="connsiteX1280" fmla="*/ 3712036 w 10125896"/>
                <a:gd name="connsiteY1280" fmla="*/ 13373328 h 14078567"/>
                <a:gd name="connsiteX1281" fmla="*/ 3716800 w 10125896"/>
                <a:gd name="connsiteY1281" fmla="*/ 13363798 h 14078567"/>
                <a:gd name="connsiteX1282" fmla="*/ 3745392 w 10125896"/>
                <a:gd name="connsiteY1282" fmla="*/ 13349503 h 14078567"/>
                <a:gd name="connsiteX1283" fmla="*/ 3721564 w 10125896"/>
                <a:gd name="connsiteY1283" fmla="*/ 13339972 h 14078567"/>
                <a:gd name="connsiteX1284" fmla="*/ 3702504 w 10125896"/>
                <a:gd name="connsiteY1284" fmla="*/ 13339972 h 14078567"/>
                <a:gd name="connsiteX1285" fmla="*/ 3688208 w 10125896"/>
                <a:gd name="connsiteY1285" fmla="*/ 13344737 h 14078567"/>
                <a:gd name="connsiteX1286" fmla="*/ 3678680 w 10125896"/>
                <a:gd name="connsiteY1286" fmla="*/ 13359033 h 14078567"/>
                <a:gd name="connsiteX1287" fmla="*/ 3664384 w 10125896"/>
                <a:gd name="connsiteY1287" fmla="*/ 13373328 h 14078567"/>
                <a:gd name="connsiteX1288" fmla="*/ 3621496 w 10125896"/>
                <a:gd name="connsiteY1288" fmla="*/ 13378093 h 14078567"/>
                <a:gd name="connsiteX1289" fmla="*/ 3616732 w 10125896"/>
                <a:gd name="connsiteY1289" fmla="*/ 13368563 h 14078567"/>
                <a:gd name="connsiteX1290" fmla="*/ 3611968 w 10125896"/>
                <a:gd name="connsiteY1290" fmla="*/ 13344737 h 14078567"/>
                <a:gd name="connsiteX1291" fmla="*/ 3616732 w 10125896"/>
                <a:gd name="connsiteY1291" fmla="*/ 13325677 h 14078567"/>
                <a:gd name="connsiteX1292" fmla="*/ 3635792 w 10125896"/>
                <a:gd name="connsiteY1292" fmla="*/ 13297086 h 14078567"/>
                <a:gd name="connsiteX1293" fmla="*/ 3611968 w 10125896"/>
                <a:gd name="connsiteY1293" fmla="*/ 13287556 h 14078567"/>
                <a:gd name="connsiteX1294" fmla="*/ 3592908 w 10125896"/>
                <a:gd name="connsiteY1294" fmla="*/ 13278026 h 14078567"/>
                <a:gd name="connsiteX1295" fmla="*/ 3573844 w 10125896"/>
                <a:gd name="connsiteY1295" fmla="*/ 13268495 h 14078567"/>
                <a:gd name="connsiteX1296" fmla="*/ 3554784 w 10125896"/>
                <a:gd name="connsiteY1296" fmla="*/ 13254200 h 14078567"/>
                <a:gd name="connsiteX1297" fmla="*/ 3535724 w 10125896"/>
                <a:gd name="connsiteY1297" fmla="*/ 13239905 h 14078567"/>
                <a:gd name="connsiteX1298" fmla="*/ 3521428 w 10125896"/>
                <a:gd name="connsiteY1298" fmla="*/ 13220844 h 14078567"/>
                <a:gd name="connsiteX1299" fmla="*/ 3516664 w 10125896"/>
                <a:gd name="connsiteY1299" fmla="*/ 13216079 h 14078567"/>
                <a:gd name="connsiteX1300" fmla="*/ 3521428 w 10125896"/>
                <a:gd name="connsiteY1300" fmla="*/ 13197018 h 14078567"/>
                <a:gd name="connsiteX1301" fmla="*/ 3526196 w 10125896"/>
                <a:gd name="connsiteY1301" fmla="*/ 13182723 h 14078567"/>
                <a:gd name="connsiteX1302" fmla="*/ 3526196 w 10125896"/>
                <a:gd name="connsiteY1302" fmla="*/ 13149367 h 14078567"/>
                <a:gd name="connsiteX1303" fmla="*/ 3516664 w 10125896"/>
                <a:gd name="connsiteY1303" fmla="*/ 13135072 h 14078567"/>
                <a:gd name="connsiteX1304" fmla="*/ 3530960 w 10125896"/>
                <a:gd name="connsiteY1304" fmla="*/ 13101716 h 14078567"/>
                <a:gd name="connsiteX1305" fmla="*/ 3554784 w 10125896"/>
                <a:gd name="connsiteY1305" fmla="*/ 13073125 h 14078567"/>
                <a:gd name="connsiteX1306" fmla="*/ 3597672 w 10125896"/>
                <a:gd name="connsiteY1306" fmla="*/ 13020709 h 14078567"/>
                <a:gd name="connsiteX1307" fmla="*/ 3550020 w 10125896"/>
                <a:gd name="connsiteY1307" fmla="*/ 13044534 h 14078567"/>
                <a:gd name="connsiteX1308" fmla="*/ 3511900 w 10125896"/>
                <a:gd name="connsiteY1308" fmla="*/ 13096951 h 14078567"/>
                <a:gd name="connsiteX1309" fmla="*/ 3502368 w 10125896"/>
                <a:gd name="connsiteY1309" fmla="*/ 13096951 h 14078567"/>
                <a:gd name="connsiteX1310" fmla="*/ 3502368 w 10125896"/>
                <a:gd name="connsiteY1310" fmla="*/ 13092186 h 14078567"/>
                <a:gd name="connsiteX1311" fmla="*/ 3488072 w 10125896"/>
                <a:gd name="connsiteY1311" fmla="*/ 13058830 h 14078567"/>
                <a:gd name="connsiteX1312" fmla="*/ 3473776 w 10125896"/>
                <a:gd name="connsiteY1312" fmla="*/ 13049300 h 14078567"/>
                <a:gd name="connsiteX1313" fmla="*/ 3469012 w 10125896"/>
                <a:gd name="connsiteY1313" fmla="*/ 13039769 h 14078567"/>
                <a:gd name="connsiteX1314" fmla="*/ 3449952 w 10125896"/>
                <a:gd name="connsiteY1314" fmla="*/ 13020709 h 14078567"/>
                <a:gd name="connsiteX1315" fmla="*/ 3440420 w 10125896"/>
                <a:gd name="connsiteY1315" fmla="*/ 13006413 h 14078567"/>
                <a:gd name="connsiteX1316" fmla="*/ 3426128 w 10125896"/>
                <a:gd name="connsiteY1316" fmla="*/ 12982588 h 14078567"/>
                <a:gd name="connsiteX1317" fmla="*/ 3407068 w 10125896"/>
                <a:gd name="connsiteY1317" fmla="*/ 12949232 h 14078567"/>
                <a:gd name="connsiteX1318" fmla="*/ 3378476 w 10125896"/>
                <a:gd name="connsiteY1318" fmla="*/ 12887285 h 14078567"/>
                <a:gd name="connsiteX1319" fmla="*/ 3335588 w 10125896"/>
                <a:gd name="connsiteY1319" fmla="*/ 12815808 h 14078567"/>
                <a:gd name="connsiteX1320" fmla="*/ 3326060 w 10125896"/>
                <a:gd name="connsiteY1320" fmla="*/ 12772922 h 14078567"/>
                <a:gd name="connsiteX1321" fmla="*/ 3340356 w 10125896"/>
                <a:gd name="connsiteY1321" fmla="*/ 12720506 h 14078567"/>
                <a:gd name="connsiteX1322" fmla="*/ 3321292 w 10125896"/>
                <a:gd name="connsiteY1322" fmla="*/ 12687150 h 14078567"/>
                <a:gd name="connsiteX1323" fmla="*/ 3364180 w 10125896"/>
                <a:gd name="connsiteY1323" fmla="*/ 12668089 h 14078567"/>
                <a:gd name="connsiteX1324" fmla="*/ 3426128 w 10125896"/>
                <a:gd name="connsiteY1324" fmla="*/ 12649029 h 14078567"/>
                <a:gd name="connsiteX1325" fmla="*/ 3454716 w 10125896"/>
                <a:gd name="connsiteY1325" fmla="*/ 12634733 h 14078567"/>
                <a:gd name="connsiteX1326" fmla="*/ 3473776 w 10125896"/>
                <a:gd name="connsiteY1326" fmla="*/ 12629968 h 14078567"/>
                <a:gd name="connsiteX1327" fmla="*/ 3511900 w 10125896"/>
                <a:gd name="connsiteY1327" fmla="*/ 12625203 h 14078567"/>
                <a:gd name="connsiteX1328" fmla="*/ 3526196 w 10125896"/>
                <a:gd name="connsiteY1328" fmla="*/ 12610908 h 14078567"/>
                <a:gd name="connsiteX1329" fmla="*/ 3502368 w 10125896"/>
                <a:gd name="connsiteY1329" fmla="*/ 12615673 h 14078567"/>
                <a:gd name="connsiteX1330" fmla="*/ 3488072 w 10125896"/>
                <a:gd name="connsiteY1330" fmla="*/ 12610908 h 14078567"/>
                <a:gd name="connsiteX1331" fmla="*/ 3488072 w 10125896"/>
                <a:gd name="connsiteY1331" fmla="*/ 12606143 h 14078567"/>
                <a:gd name="connsiteX1332" fmla="*/ 3492840 w 10125896"/>
                <a:gd name="connsiteY1332" fmla="*/ 12591847 h 14078567"/>
                <a:gd name="connsiteX1333" fmla="*/ 3497604 w 10125896"/>
                <a:gd name="connsiteY1333" fmla="*/ 12577552 h 14078567"/>
                <a:gd name="connsiteX1334" fmla="*/ 3488072 w 10125896"/>
                <a:gd name="connsiteY1334" fmla="*/ 12577552 h 14078567"/>
                <a:gd name="connsiteX1335" fmla="*/ 3449952 w 10125896"/>
                <a:gd name="connsiteY1335" fmla="*/ 12606143 h 14078567"/>
                <a:gd name="connsiteX1336" fmla="*/ 3397536 w 10125896"/>
                <a:gd name="connsiteY1336" fmla="*/ 12629968 h 14078567"/>
                <a:gd name="connsiteX1337" fmla="*/ 3354648 w 10125896"/>
                <a:gd name="connsiteY1337" fmla="*/ 12644264 h 14078567"/>
                <a:gd name="connsiteX1338" fmla="*/ 3349884 w 10125896"/>
                <a:gd name="connsiteY1338" fmla="*/ 12644264 h 14078567"/>
                <a:gd name="connsiteX1339" fmla="*/ 3330824 w 10125896"/>
                <a:gd name="connsiteY1339" fmla="*/ 12649029 h 14078567"/>
                <a:gd name="connsiteX1340" fmla="*/ 3321292 w 10125896"/>
                <a:gd name="connsiteY1340" fmla="*/ 12653794 h 14078567"/>
                <a:gd name="connsiteX1341" fmla="*/ 3316528 w 10125896"/>
                <a:gd name="connsiteY1341" fmla="*/ 12649029 h 14078567"/>
                <a:gd name="connsiteX1342" fmla="*/ 3302232 w 10125896"/>
                <a:gd name="connsiteY1342" fmla="*/ 12629968 h 14078567"/>
                <a:gd name="connsiteX1343" fmla="*/ 3297468 w 10125896"/>
                <a:gd name="connsiteY1343" fmla="*/ 12615673 h 14078567"/>
                <a:gd name="connsiteX1344" fmla="*/ 3326060 w 10125896"/>
                <a:gd name="connsiteY1344" fmla="*/ 12577552 h 14078567"/>
                <a:gd name="connsiteX1345" fmla="*/ 3345120 w 10125896"/>
                <a:gd name="connsiteY1345" fmla="*/ 12520370 h 14078567"/>
                <a:gd name="connsiteX1346" fmla="*/ 3373712 w 10125896"/>
                <a:gd name="connsiteY1346" fmla="*/ 12487015 h 14078567"/>
                <a:gd name="connsiteX1347" fmla="*/ 3392772 w 10125896"/>
                <a:gd name="connsiteY1347" fmla="*/ 12482249 h 14078567"/>
                <a:gd name="connsiteX1348" fmla="*/ 3421360 w 10125896"/>
                <a:gd name="connsiteY1348" fmla="*/ 12482249 h 14078567"/>
                <a:gd name="connsiteX1349" fmla="*/ 3435656 w 10125896"/>
                <a:gd name="connsiteY1349" fmla="*/ 12487015 h 14078567"/>
                <a:gd name="connsiteX1350" fmla="*/ 3430892 w 10125896"/>
                <a:gd name="connsiteY1350" fmla="*/ 12467954 h 14078567"/>
                <a:gd name="connsiteX1351" fmla="*/ 3430892 w 10125896"/>
                <a:gd name="connsiteY1351" fmla="*/ 12453659 h 14078567"/>
                <a:gd name="connsiteX1352" fmla="*/ 3459484 w 10125896"/>
                <a:gd name="connsiteY1352" fmla="*/ 12444128 h 14078567"/>
                <a:gd name="connsiteX1353" fmla="*/ 3488072 w 10125896"/>
                <a:gd name="connsiteY1353" fmla="*/ 12439363 h 14078567"/>
                <a:gd name="connsiteX1354" fmla="*/ 3507132 w 10125896"/>
                <a:gd name="connsiteY1354" fmla="*/ 12444128 h 14078567"/>
                <a:gd name="connsiteX1355" fmla="*/ 3521428 w 10125896"/>
                <a:gd name="connsiteY1355" fmla="*/ 12467954 h 14078567"/>
                <a:gd name="connsiteX1356" fmla="*/ 3540488 w 10125896"/>
                <a:gd name="connsiteY1356" fmla="*/ 12510840 h 14078567"/>
                <a:gd name="connsiteX1357" fmla="*/ 3564316 w 10125896"/>
                <a:gd name="connsiteY1357" fmla="*/ 12525136 h 14078567"/>
                <a:gd name="connsiteX1358" fmla="*/ 3564316 w 10125896"/>
                <a:gd name="connsiteY1358" fmla="*/ 12506075 h 14078567"/>
                <a:gd name="connsiteX1359" fmla="*/ 3550020 w 10125896"/>
                <a:gd name="connsiteY1359" fmla="*/ 12477484 h 14078567"/>
                <a:gd name="connsiteX1360" fmla="*/ 3545256 w 10125896"/>
                <a:gd name="connsiteY1360" fmla="*/ 12434598 h 14078567"/>
                <a:gd name="connsiteX1361" fmla="*/ 3530960 w 10125896"/>
                <a:gd name="connsiteY1361" fmla="*/ 12415538 h 14078567"/>
                <a:gd name="connsiteX1362" fmla="*/ 3516664 w 10125896"/>
                <a:gd name="connsiteY1362" fmla="*/ 12406007 h 14078567"/>
                <a:gd name="connsiteX1363" fmla="*/ 3483308 w 10125896"/>
                <a:gd name="connsiteY1363" fmla="*/ 12410773 h 14078567"/>
                <a:gd name="connsiteX1364" fmla="*/ 3464248 w 10125896"/>
                <a:gd name="connsiteY1364" fmla="*/ 12377417 h 14078567"/>
                <a:gd name="connsiteX1365" fmla="*/ 3459484 w 10125896"/>
                <a:gd name="connsiteY1365" fmla="*/ 12367886 h 14078567"/>
                <a:gd name="connsiteX1366" fmla="*/ 3459484 w 10125896"/>
                <a:gd name="connsiteY1366" fmla="*/ 12353591 h 14078567"/>
                <a:gd name="connsiteX1367" fmla="*/ 3435656 w 10125896"/>
                <a:gd name="connsiteY1367" fmla="*/ 12305940 h 14078567"/>
                <a:gd name="connsiteX1368" fmla="*/ 3430892 w 10125896"/>
                <a:gd name="connsiteY1368" fmla="*/ 12282114 h 14078567"/>
                <a:gd name="connsiteX1369" fmla="*/ 3421360 w 10125896"/>
                <a:gd name="connsiteY1369" fmla="*/ 12253523 h 14078567"/>
                <a:gd name="connsiteX1370" fmla="*/ 3416596 w 10125896"/>
                <a:gd name="connsiteY1370" fmla="*/ 12248758 h 14078567"/>
                <a:gd name="connsiteX1371" fmla="*/ 3421360 w 10125896"/>
                <a:gd name="connsiteY1371" fmla="*/ 12291644 h 14078567"/>
                <a:gd name="connsiteX1372" fmla="*/ 3430892 w 10125896"/>
                <a:gd name="connsiteY1372" fmla="*/ 12315470 h 14078567"/>
                <a:gd name="connsiteX1373" fmla="*/ 3445188 w 10125896"/>
                <a:gd name="connsiteY1373" fmla="*/ 12377417 h 14078567"/>
                <a:gd name="connsiteX1374" fmla="*/ 3449952 w 10125896"/>
                <a:gd name="connsiteY1374" fmla="*/ 12401242 h 14078567"/>
                <a:gd name="connsiteX1375" fmla="*/ 3445188 w 10125896"/>
                <a:gd name="connsiteY1375" fmla="*/ 12420303 h 14078567"/>
                <a:gd name="connsiteX1376" fmla="*/ 3426128 w 10125896"/>
                <a:gd name="connsiteY1376" fmla="*/ 12439363 h 14078567"/>
                <a:gd name="connsiteX1377" fmla="*/ 3411832 w 10125896"/>
                <a:gd name="connsiteY1377" fmla="*/ 12448894 h 14078567"/>
                <a:gd name="connsiteX1378" fmla="*/ 3373712 w 10125896"/>
                <a:gd name="connsiteY1378" fmla="*/ 12463189 h 14078567"/>
                <a:gd name="connsiteX1379" fmla="*/ 3383240 w 10125896"/>
                <a:gd name="connsiteY1379" fmla="*/ 12434598 h 14078567"/>
                <a:gd name="connsiteX1380" fmla="*/ 3388004 w 10125896"/>
                <a:gd name="connsiteY1380" fmla="*/ 12406007 h 14078567"/>
                <a:gd name="connsiteX1381" fmla="*/ 3368944 w 10125896"/>
                <a:gd name="connsiteY1381" fmla="*/ 12415538 h 14078567"/>
                <a:gd name="connsiteX1382" fmla="*/ 3349884 w 10125896"/>
                <a:gd name="connsiteY1382" fmla="*/ 12434598 h 14078567"/>
                <a:gd name="connsiteX1383" fmla="*/ 3345120 w 10125896"/>
                <a:gd name="connsiteY1383" fmla="*/ 12463189 h 14078567"/>
                <a:gd name="connsiteX1384" fmla="*/ 3335588 w 10125896"/>
                <a:gd name="connsiteY1384" fmla="*/ 12491780 h 14078567"/>
                <a:gd name="connsiteX1385" fmla="*/ 3302232 w 10125896"/>
                <a:gd name="connsiteY1385" fmla="*/ 12553726 h 14078567"/>
                <a:gd name="connsiteX1386" fmla="*/ 3292704 w 10125896"/>
                <a:gd name="connsiteY1386" fmla="*/ 12587082 h 14078567"/>
                <a:gd name="connsiteX1387" fmla="*/ 3278408 w 10125896"/>
                <a:gd name="connsiteY1387" fmla="*/ 12606143 h 14078567"/>
                <a:gd name="connsiteX1388" fmla="*/ 3264112 w 10125896"/>
                <a:gd name="connsiteY1388" fmla="*/ 12610908 h 14078567"/>
                <a:gd name="connsiteX1389" fmla="*/ 3254580 w 10125896"/>
                <a:gd name="connsiteY1389" fmla="*/ 12596612 h 14078567"/>
                <a:gd name="connsiteX1390" fmla="*/ 3240288 w 10125896"/>
                <a:gd name="connsiteY1390" fmla="*/ 12563257 h 14078567"/>
                <a:gd name="connsiteX1391" fmla="*/ 3235520 w 10125896"/>
                <a:gd name="connsiteY1391" fmla="*/ 12539431 h 14078567"/>
                <a:gd name="connsiteX1392" fmla="*/ 3235520 w 10125896"/>
                <a:gd name="connsiteY1392" fmla="*/ 12472719 h 14078567"/>
                <a:gd name="connsiteX1393" fmla="*/ 3240288 w 10125896"/>
                <a:gd name="connsiteY1393" fmla="*/ 12444128 h 14078567"/>
                <a:gd name="connsiteX1394" fmla="*/ 3235520 w 10125896"/>
                <a:gd name="connsiteY1394" fmla="*/ 12401242 h 14078567"/>
                <a:gd name="connsiteX1395" fmla="*/ 3216460 w 10125896"/>
                <a:gd name="connsiteY1395" fmla="*/ 12301175 h 14078567"/>
                <a:gd name="connsiteX1396" fmla="*/ 3211696 w 10125896"/>
                <a:gd name="connsiteY1396" fmla="*/ 12267819 h 14078567"/>
                <a:gd name="connsiteX1397" fmla="*/ 3183104 w 10125896"/>
                <a:gd name="connsiteY1397" fmla="*/ 12248758 h 14078567"/>
                <a:gd name="connsiteX1398" fmla="*/ 3183104 w 10125896"/>
                <a:gd name="connsiteY1398" fmla="*/ 12243993 h 14078567"/>
                <a:gd name="connsiteX1399" fmla="*/ 3173576 w 10125896"/>
                <a:gd name="connsiteY1399" fmla="*/ 12224933 h 14078567"/>
                <a:gd name="connsiteX1400" fmla="*/ 3168808 w 10125896"/>
                <a:gd name="connsiteY1400" fmla="*/ 12201107 h 14078567"/>
                <a:gd name="connsiteX1401" fmla="*/ 3173576 w 10125896"/>
                <a:gd name="connsiteY1401" fmla="*/ 12196342 h 14078567"/>
                <a:gd name="connsiteX1402" fmla="*/ 3178340 w 10125896"/>
                <a:gd name="connsiteY1402" fmla="*/ 12191577 h 14078567"/>
                <a:gd name="connsiteX1403" fmla="*/ 3225992 w 10125896"/>
                <a:gd name="connsiteY1403" fmla="*/ 12158221 h 14078567"/>
                <a:gd name="connsiteX1404" fmla="*/ 3259348 w 10125896"/>
                <a:gd name="connsiteY1404" fmla="*/ 12129630 h 14078567"/>
                <a:gd name="connsiteX1405" fmla="*/ 3297468 w 10125896"/>
                <a:gd name="connsiteY1405" fmla="*/ 12072448 h 14078567"/>
                <a:gd name="connsiteX1406" fmla="*/ 3311764 w 10125896"/>
                <a:gd name="connsiteY1406" fmla="*/ 12058153 h 14078567"/>
                <a:gd name="connsiteX1407" fmla="*/ 3368944 w 10125896"/>
                <a:gd name="connsiteY1407" fmla="*/ 12043858 h 14078567"/>
                <a:gd name="connsiteX1408" fmla="*/ 3392772 w 10125896"/>
                <a:gd name="connsiteY1408" fmla="*/ 12043858 h 14078567"/>
                <a:gd name="connsiteX1409" fmla="*/ 3392772 w 10125896"/>
                <a:gd name="connsiteY1409" fmla="*/ 12034327 h 14078567"/>
                <a:gd name="connsiteX1410" fmla="*/ 3388004 w 10125896"/>
                <a:gd name="connsiteY1410" fmla="*/ 12029562 h 14078567"/>
                <a:gd name="connsiteX1411" fmla="*/ 3345120 w 10125896"/>
                <a:gd name="connsiteY1411" fmla="*/ 12034327 h 14078567"/>
                <a:gd name="connsiteX1412" fmla="*/ 3297468 w 10125896"/>
                <a:gd name="connsiteY1412" fmla="*/ 12053388 h 14078567"/>
                <a:gd name="connsiteX1413" fmla="*/ 3287936 w 10125896"/>
                <a:gd name="connsiteY1413" fmla="*/ 12062918 h 14078567"/>
                <a:gd name="connsiteX1414" fmla="*/ 3264112 w 10125896"/>
                <a:gd name="connsiteY1414" fmla="*/ 12096274 h 14078567"/>
                <a:gd name="connsiteX1415" fmla="*/ 3245052 w 10125896"/>
                <a:gd name="connsiteY1415" fmla="*/ 12110570 h 14078567"/>
                <a:gd name="connsiteX1416" fmla="*/ 3197400 w 10125896"/>
                <a:gd name="connsiteY1416" fmla="*/ 12153456 h 14078567"/>
                <a:gd name="connsiteX1417" fmla="*/ 3164044 w 10125896"/>
                <a:gd name="connsiteY1417" fmla="*/ 12153456 h 14078567"/>
                <a:gd name="connsiteX1418" fmla="*/ 3135452 w 10125896"/>
                <a:gd name="connsiteY1418" fmla="*/ 12105804 h 14078567"/>
                <a:gd name="connsiteX1419" fmla="*/ 3097332 w 10125896"/>
                <a:gd name="connsiteY1419" fmla="*/ 12115335 h 14078567"/>
                <a:gd name="connsiteX1420" fmla="*/ 3073508 w 10125896"/>
                <a:gd name="connsiteY1420" fmla="*/ 12110570 h 14078567"/>
                <a:gd name="connsiteX1421" fmla="*/ 3063976 w 10125896"/>
                <a:gd name="connsiteY1421" fmla="*/ 12101039 h 14078567"/>
                <a:gd name="connsiteX1422" fmla="*/ 3059212 w 10125896"/>
                <a:gd name="connsiteY1422" fmla="*/ 12034327 h 14078567"/>
                <a:gd name="connsiteX1423" fmla="*/ 3078272 w 10125896"/>
                <a:gd name="connsiteY1423" fmla="*/ 11958085 h 14078567"/>
                <a:gd name="connsiteX1424" fmla="*/ 3059212 w 10125896"/>
                <a:gd name="connsiteY1424" fmla="*/ 11958085 h 14078567"/>
                <a:gd name="connsiteX1425" fmla="*/ 3054448 w 10125896"/>
                <a:gd name="connsiteY1425" fmla="*/ 11953320 h 14078567"/>
                <a:gd name="connsiteX1426" fmla="*/ 3040152 w 10125896"/>
                <a:gd name="connsiteY1426" fmla="*/ 11934260 h 14078567"/>
                <a:gd name="connsiteX1427" fmla="*/ 3035388 w 10125896"/>
                <a:gd name="connsiteY1427" fmla="*/ 11929495 h 14078567"/>
                <a:gd name="connsiteX1428" fmla="*/ 3040152 w 10125896"/>
                <a:gd name="connsiteY1428" fmla="*/ 11919964 h 14078567"/>
                <a:gd name="connsiteX1429" fmla="*/ 3092568 w 10125896"/>
                <a:gd name="connsiteY1429" fmla="*/ 11881843 h 14078567"/>
                <a:gd name="connsiteX1430" fmla="*/ 3173576 w 10125896"/>
                <a:gd name="connsiteY1430" fmla="*/ 11810367 h 14078567"/>
                <a:gd name="connsiteX1431" fmla="*/ 3206932 w 10125896"/>
                <a:gd name="connsiteY1431" fmla="*/ 11777011 h 14078567"/>
                <a:gd name="connsiteX1432" fmla="*/ 3225992 w 10125896"/>
                <a:gd name="connsiteY1432" fmla="*/ 11767480 h 14078567"/>
                <a:gd name="connsiteX1433" fmla="*/ 3245052 w 10125896"/>
                <a:gd name="connsiteY1433" fmla="*/ 11753185 h 14078567"/>
                <a:gd name="connsiteX1434" fmla="*/ 3264112 w 10125896"/>
                <a:gd name="connsiteY1434" fmla="*/ 11719829 h 14078567"/>
                <a:gd name="connsiteX1435" fmla="*/ 3268876 w 10125896"/>
                <a:gd name="connsiteY1435" fmla="*/ 11705534 h 14078567"/>
                <a:gd name="connsiteX1436" fmla="*/ 3278408 w 10125896"/>
                <a:gd name="connsiteY1436" fmla="*/ 11696003 h 14078567"/>
                <a:gd name="connsiteX1437" fmla="*/ 3302232 w 10125896"/>
                <a:gd name="connsiteY1437" fmla="*/ 11681708 h 14078567"/>
                <a:gd name="connsiteX1438" fmla="*/ 3326060 w 10125896"/>
                <a:gd name="connsiteY1438" fmla="*/ 11662648 h 14078567"/>
                <a:gd name="connsiteX1439" fmla="*/ 3368944 w 10125896"/>
                <a:gd name="connsiteY1439" fmla="*/ 11619761 h 14078567"/>
                <a:gd name="connsiteX1440" fmla="*/ 3373712 w 10125896"/>
                <a:gd name="connsiteY1440" fmla="*/ 11605466 h 14078567"/>
                <a:gd name="connsiteX1441" fmla="*/ 3364180 w 10125896"/>
                <a:gd name="connsiteY1441" fmla="*/ 11600701 h 14078567"/>
                <a:gd name="connsiteX1442" fmla="*/ 3345120 w 10125896"/>
                <a:gd name="connsiteY1442" fmla="*/ 11614996 h 14078567"/>
                <a:gd name="connsiteX1443" fmla="*/ 3307000 w 10125896"/>
                <a:gd name="connsiteY1443" fmla="*/ 11653117 h 14078567"/>
                <a:gd name="connsiteX1444" fmla="*/ 3278408 w 10125896"/>
                <a:gd name="connsiteY1444" fmla="*/ 11676943 h 14078567"/>
                <a:gd name="connsiteX1445" fmla="*/ 3187872 w 10125896"/>
                <a:gd name="connsiteY1445" fmla="*/ 11777011 h 14078567"/>
                <a:gd name="connsiteX1446" fmla="*/ 3144984 w 10125896"/>
                <a:gd name="connsiteY1446" fmla="*/ 11810367 h 14078567"/>
                <a:gd name="connsiteX1447" fmla="*/ 3125924 w 10125896"/>
                <a:gd name="connsiteY1447" fmla="*/ 11834192 h 14078567"/>
                <a:gd name="connsiteX1448" fmla="*/ 3106864 w 10125896"/>
                <a:gd name="connsiteY1448" fmla="*/ 11858018 h 14078567"/>
                <a:gd name="connsiteX1449" fmla="*/ 3092568 w 10125896"/>
                <a:gd name="connsiteY1449" fmla="*/ 11872313 h 14078567"/>
                <a:gd name="connsiteX1450" fmla="*/ 3073508 w 10125896"/>
                <a:gd name="connsiteY1450" fmla="*/ 11881843 h 14078567"/>
                <a:gd name="connsiteX1451" fmla="*/ 3030620 w 10125896"/>
                <a:gd name="connsiteY1451" fmla="*/ 11886609 h 14078567"/>
                <a:gd name="connsiteX1452" fmla="*/ 3011560 w 10125896"/>
                <a:gd name="connsiteY1452" fmla="*/ 11896139 h 14078567"/>
                <a:gd name="connsiteX1453" fmla="*/ 3002032 w 10125896"/>
                <a:gd name="connsiteY1453" fmla="*/ 11886609 h 14078567"/>
                <a:gd name="connsiteX1454" fmla="*/ 2997264 w 10125896"/>
                <a:gd name="connsiteY1454" fmla="*/ 11843722 h 14078567"/>
                <a:gd name="connsiteX1455" fmla="*/ 2997264 w 10125896"/>
                <a:gd name="connsiteY1455" fmla="*/ 11815132 h 14078567"/>
                <a:gd name="connsiteX1456" fmla="*/ 2997264 w 10125896"/>
                <a:gd name="connsiteY1456" fmla="*/ 11786541 h 14078567"/>
                <a:gd name="connsiteX1457" fmla="*/ 3006796 w 10125896"/>
                <a:gd name="connsiteY1457" fmla="*/ 11748420 h 14078567"/>
                <a:gd name="connsiteX1458" fmla="*/ 3021092 w 10125896"/>
                <a:gd name="connsiteY1458" fmla="*/ 11719829 h 14078567"/>
                <a:gd name="connsiteX1459" fmla="*/ 3025856 w 10125896"/>
                <a:gd name="connsiteY1459" fmla="*/ 11705534 h 14078567"/>
                <a:gd name="connsiteX1460" fmla="*/ 3030620 w 10125896"/>
                <a:gd name="connsiteY1460" fmla="*/ 11696003 h 14078567"/>
                <a:gd name="connsiteX1461" fmla="*/ 3059212 w 10125896"/>
                <a:gd name="connsiteY1461" fmla="*/ 11667413 h 14078567"/>
                <a:gd name="connsiteX1462" fmla="*/ 3078272 w 10125896"/>
                <a:gd name="connsiteY1462" fmla="*/ 11653117 h 14078567"/>
                <a:gd name="connsiteX1463" fmla="*/ 3087804 w 10125896"/>
                <a:gd name="connsiteY1463" fmla="*/ 11624527 h 14078567"/>
                <a:gd name="connsiteX1464" fmla="*/ 3159280 w 10125896"/>
                <a:gd name="connsiteY1464" fmla="*/ 11614996 h 14078567"/>
                <a:gd name="connsiteX1465" fmla="*/ 3173576 w 10125896"/>
                <a:gd name="connsiteY1465" fmla="*/ 11614996 h 14078567"/>
                <a:gd name="connsiteX1466" fmla="*/ 3183104 w 10125896"/>
                <a:gd name="connsiteY1466" fmla="*/ 11610231 h 14078567"/>
                <a:gd name="connsiteX1467" fmla="*/ 3192636 w 10125896"/>
                <a:gd name="connsiteY1467" fmla="*/ 11605466 h 14078567"/>
                <a:gd name="connsiteX1468" fmla="*/ 3183104 w 10125896"/>
                <a:gd name="connsiteY1468" fmla="*/ 11595936 h 14078567"/>
                <a:gd name="connsiteX1469" fmla="*/ 3164044 w 10125896"/>
                <a:gd name="connsiteY1469" fmla="*/ 11591171 h 14078567"/>
                <a:gd name="connsiteX1470" fmla="*/ 3111628 w 10125896"/>
                <a:gd name="connsiteY1470" fmla="*/ 11595936 h 14078567"/>
                <a:gd name="connsiteX1471" fmla="*/ 3059212 w 10125896"/>
                <a:gd name="connsiteY1471" fmla="*/ 11591171 h 14078567"/>
                <a:gd name="connsiteX1472" fmla="*/ 3040152 w 10125896"/>
                <a:gd name="connsiteY1472" fmla="*/ 11586406 h 14078567"/>
                <a:gd name="connsiteX1473" fmla="*/ 3025856 w 10125896"/>
                <a:gd name="connsiteY1473" fmla="*/ 11586406 h 14078567"/>
                <a:gd name="connsiteX1474" fmla="*/ 3006796 w 10125896"/>
                <a:gd name="connsiteY1474" fmla="*/ 11576875 h 14078567"/>
                <a:gd name="connsiteX1475" fmla="*/ 2987736 w 10125896"/>
                <a:gd name="connsiteY1475" fmla="*/ 11562580 h 14078567"/>
                <a:gd name="connsiteX1476" fmla="*/ 2959144 w 10125896"/>
                <a:gd name="connsiteY1476" fmla="*/ 11500633 h 14078567"/>
                <a:gd name="connsiteX1477" fmla="*/ 2968676 w 10125896"/>
                <a:gd name="connsiteY1477" fmla="*/ 11424391 h 14078567"/>
                <a:gd name="connsiteX1478" fmla="*/ 2973440 w 10125896"/>
                <a:gd name="connsiteY1478" fmla="*/ 11386270 h 14078567"/>
                <a:gd name="connsiteX1479" fmla="*/ 3011560 w 10125896"/>
                <a:gd name="connsiteY1479" fmla="*/ 11357679 h 14078567"/>
                <a:gd name="connsiteX1480" fmla="*/ 3030620 w 10125896"/>
                <a:gd name="connsiteY1480" fmla="*/ 11343384 h 14078567"/>
                <a:gd name="connsiteX1481" fmla="*/ 3059212 w 10125896"/>
                <a:gd name="connsiteY1481" fmla="*/ 11319558 h 14078567"/>
                <a:gd name="connsiteX1482" fmla="*/ 3102096 w 10125896"/>
                <a:gd name="connsiteY1482" fmla="*/ 11276672 h 14078567"/>
                <a:gd name="connsiteX1483" fmla="*/ 3149748 w 10125896"/>
                <a:gd name="connsiteY1483" fmla="*/ 11252847 h 14078567"/>
                <a:gd name="connsiteX1484" fmla="*/ 3173576 w 10125896"/>
                <a:gd name="connsiteY1484" fmla="*/ 11248082 h 14078567"/>
                <a:gd name="connsiteX1485" fmla="*/ 3192636 w 10125896"/>
                <a:gd name="connsiteY1485" fmla="*/ 11252847 h 14078567"/>
                <a:gd name="connsiteX1486" fmla="*/ 3268876 w 10125896"/>
                <a:gd name="connsiteY1486" fmla="*/ 11286203 h 14078567"/>
                <a:gd name="connsiteX1487" fmla="*/ 3307000 w 10125896"/>
                <a:gd name="connsiteY1487" fmla="*/ 11295733 h 14078567"/>
                <a:gd name="connsiteX1488" fmla="*/ 3340356 w 10125896"/>
                <a:gd name="connsiteY1488" fmla="*/ 11286203 h 14078567"/>
                <a:gd name="connsiteX1489" fmla="*/ 3378476 w 10125896"/>
                <a:gd name="connsiteY1489" fmla="*/ 11300498 h 14078567"/>
                <a:gd name="connsiteX1490" fmla="*/ 3454716 w 10125896"/>
                <a:gd name="connsiteY1490" fmla="*/ 11352914 h 14078567"/>
                <a:gd name="connsiteX1491" fmla="*/ 3469012 w 10125896"/>
                <a:gd name="connsiteY1491" fmla="*/ 11343384 h 14078567"/>
                <a:gd name="connsiteX1492" fmla="*/ 3464248 w 10125896"/>
                <a:gd name="connsiteY1492" fmla="*/ 11329089 h 14078567"/>
                <a:gd name="connsiteX1493" fmla="*/ 3383240 w 10125896"/>
                <a:gd name="connsiteY1493" fmla="*/ 11276672 h 14078567"/>
                <a:gd name="connsiteX1494" fmla="*/ 3383240 w 10125896"/>
                <a:gd name="connsiteY1494" fmla="*/ 11257612 h 14078567"/>
                <a:gd name="connsiteX1495" fmla="*/ 3402300 w 10125896"/>
                <a:gd name="connsiteY1495" fmla="*/ 11252847 h 14078567"/>
                <a:gd name="connsiteX1496" fmla="*/ 3426128 w 10125896"/>
                <a:gd name="connsiteY1496" fmla="*/ 11238551 h 14078567"/>
                <a:gd name="connsiteX1497" fmla="*/ 3411832 w 10125896"/>
                <a:gd name="connsiteY1497" fmla="*/ 11229021 h 14078567"/>
                <a:gd name="connsiteX1498" fmla="*/ 3359416 w 10125896"/>
                <a:gd name="connsiteY1498" fmla="*/ 11238551 h 14078567"/>
                <a:gd name="connsiteX1499" fmla="*/ 3345120 w 10125896"/>
                <a:gd name="connsiteY1499" fmla="*/ 11252847 h 14078567"/>
                <a:gd name="connsiteX1500" fmla="*/ 3287936 w 10125896"/>
                <a:gd name="connsiteY1500" fmla="*/ 11257612 h 14078567"/>
                <a:gd name="connsiteX1501" fmla="*/ 3259348 w 10125896"/>
                <a:gd name="connsiteY1501" fmla="*/ 11243316 h 14078567"/>
                <a:gd name="connsiteX1502" fmla="*/ 3235520 w 10125896"/>
                <a:gd name="connsiteY1502" fmla="*/ 11238551 h 14078567"/>
                <a:gd name="connsiteX1503" fmla="*/ 3197400 w 10125896"/>
                <a:gd name="connsiteY1503" fmla="*/ 11214726 h 14078567"/>
                <a:gd name="connsiteX1504" fmla="*/ 3168808 w 10125896"/>
                <a:gd name="connsiteY1504" fmla="*/ 11224256 h 14078567"/>
                <a:gd name="connsiteX1505" fmla="*/ 3149748 w 10125896"/>
                <a:gd name="connsiteY1505" fmla="*/ 11233786 h 14078567"/>
                <a:gd name="connsiteX1506" fmla="*/ 3111628 w 10125896"/>
                <a:gd name="connsiteY1506" fmla="*/ 11243316 h 14078567"/>
                <a:gd name="connsiteX1507" fmla="*/ 3097332 w 10125896"/>
                <a:gd name="connsiteY1507" fmla="*/ 11248082 h 14078567"/>
                <a:gd name="connsiteX1508" fmla="*/ 3030620 w 10125896"/>
                <a:gd name="connsiteY1508" fmla="*/ 11324324 h 14078567"/>
                <a:gd name="connsiteX1509" fmla="*/ 3002032 w 10125896"/>
                <a:gd name="connsiteY1509" fmla="*/ 11338619 h 14078567"/>
                <a:gd name="connsiteX1510" fmla="*/ 2982968 w 10125896"/>
                <a:gd name="connsiteY1510" fmla="*/ 11333854 h 14078567"/>
                <a:gd name="connsiteX1511" fmla="*/ 2997264 w 10125896"/>
                <a:gd name="connsiteY1511" fmla="*/ 11286203 h 14078567"/>
                <a:gd name="connsiteX1512" fmla="*/ 3002032 w 10125896"/>
                <a:gd name="connsiteY1512" fmla="*/ 11267142 h 14078567"/>
                <a:gd name="connsiteX1513" fmla="*/ 3002032 w 10125896"/>
                <a:gd name="connsiteY1513" fmla="*/ 11243316 h 14078567"/>
                <a:gd name="connsiteX1514" fmla="*/ 3006796 w 10125896"/>
                <a:gd name="connsiteY1514" fmla="*/ 11214726 h 14078567"/>
                <a:gd name="connsiteX1515" fmla="*/ 3040152 w 10125896"/>
                <a:gd name="connsiteY1515" fmla="*/ 11162309 h 14078567"/>
                <a:gd name="connsiteX1516" fmla="*/ 3063976 w 10125896"/>
                <a:gd name="connsiteY1516" fmla="*/ 11100363 h 14078567"/>
                <a:gd name="connsiteX1517" fmla="*/ 3073508 w 10125896"/>
                <a:gd name="connsiteY1517" fmla="*/ 11062242 h 14078567"/>
                <a:gd name="connsiteX1518" fmla="*/ 3087804 w 10125896"/>
                <a:gd name="connsiteY1518" fmla="*/ 11057476 h 14078567"/>
                <a:gd name="connsiteX1519" fmla="*/ 3111628 w 10125896"/>
                <a:gd name="connsiteY1519" fmla="*/ 11062242 h 14078567"/>
                <a:gd name="connsiteX1520" fmla="*/ 3183104 w 10125896"/>
                <a:gd name="connsiteY1520" fmla="*/ 11086067 h 14078567"/>
                <a:gd name="connsiteX1521" fmla="*/ 3245052 w 10125896"/>
                <a:gd name="connsiteY1521" fmla="*/ 11119423 h 14078567"/>
                <a:gd name="connsiteX1522" fmla="*/ 3287936 w 10125896"/>
                <a:gd name="connsiteY1522" fmla="*/ 11124188 h 14078567"/>
                <a:gd name="connsiteX1523" fmla="*/ 3316528 w 10125896"/>
                <a:gd name="connsiteY1523" fmla="*/ 11124188 h 14078567"/>
                <a:gd name="connsiteX1524" fmla="*/ 3326060 w 10125896"/>
                <a:gd name="connsiteY1524" fmla="*/ 11114658 h 14078567"/>
                <a:gd name="connsiteX1525" fmla="*/ 3335588 w 10125896"/>
                <a:gd name="connsiteY1525" fmla="*/ 11100363 h 14078567"/>
                <a:gd name="connsiteX1526" fmla="*/ 3340356 w 10125896"/>
                <a:gd name="connsiteY1526" fmla="*/ 11086067 h 14078567"/>
                <a:gd name="connsiteX1527" fmla="*/ 3345120 w 10125896"/>
                <a:gd name="connsiteY1527" fmla="*/ 11067007 h 14078567"/>
                <a:gd name="connsiteX1528" fmla="*/ 3345120 w 10125896"/>
                <a:gd name="connsiteY1528" fmla="*/ 11057476 h 14078567"/>
                <a:gd name="connsiteX1529" fmla="*/ 3354648 w 10125896"/>
                <a:gd name="connsiteY1529" fmla="*/ 11047946 h 14078567"/>
                <a:gd name="connsiteX1530" fmla="*/ 3378476 w 10125896"/>
                <a:gd name="connsiteY1530" fmla="*/ 11009825 h 14078567"/>
                <a:gd name="connsiteX1531" fmla="*/ 3383240 w 10125896"/>
                <a:gd name="connsiteY1531" fmla="*/ 10986000 h 14078567"/>
                <a:gd name="connsiteX1532" fmla="*/ 3373712 w 10125896"/>
                <a:gd name="connsiteY1532" fmla="*/ 10971704 h 14078567"/>
                <a:gd name="connsiteX1533" fmla="*/ 3364180 w 10125896"/>
                <a:gd name="connsiteY1533" fmla="*/ 10971704 h 14078567"/>
                <a:gd name="connsiteX1534" fmla="*/ 3335588 w 10125896"/>
                <a:gd name="connsiteY1534" fmla="*/ 10981234 h 14078567"/>
                <a:gd name="connsiteX1535" fmla="*/ 3335588 w 10125896"/>
                <a:gd name="connsiteY1535" fmla="*/ 10986000 h 14078567"/>
                <a:gd name="connsiteX1536" fmla="*/ 3335588 w 10125896"/>
                <a:gd name="connsiteY1536" fmla="*/ 10995530 h 14078567"/>
                <a:gd name="connsiteX1537" fmla="*/ 3311764 w 10125896"/>
                <a:gd name="connsiteY1537" fmla="*/ 11033651 h 14078567"/>
                <a:gd name="connsiteX1538" fmla="*/ 3283172 w 10125896"/>
                <a:gd name="connsiteY1538" fmla="*/ 11043181 h 14078567"/>
                <a:gd name="connsiteX1539" fmla="*/ 3221228 w 10125896"/>
                <a:gd name="connsiteY1539" fmla="*/ 11057476 h 14078567"/>
                <a:gd name="connsiteX1540" fmla="*/ 3192636 w 10125896"/>
                <a:gd name="connsiteY1540" fmla="*/ 11057476 h 14078567"/>
                <a:gd name="connsiteX1541" fmla="*/ 3144984 w 10125896"/>
                <a:gd name="connsiteY1541" fmla="*/ 11038416 h 14078567"/>
                <a:gd name="connsiteX1542" fmla="*/ 3135452 w 10125896"/>
                <a:gd name="connsiteY1542" fmla="*/ 11033651 h 14078567"/>
                <a:gd name="connsiteX1543" fmla="*/ 3130688 w 10125896"/>
                <a:gd name="connsiteY1543" fmla="*/ 11019355 h 14078567"/>
                <a:gd name="connsiteX1544" fmla="*/ 3068744 w 10125896"/>
                <a:gd name="connsiteY1544" fmla="*/ 11019355 h 14078567"/>
                <a:gd name="connsiteX1545" fmla="*/ 3049680 w 10125896"/>
                <a:gd name="connsiteY1545" fmla="*/ 11024121 h 14078567"/>
                <a:gd name="connsiteX1546" fmla="*/ 3035388 w 10125896"/>
                <a:gd name="connsiteY1546" fmla="*/ 11024121 h 14078567"/>
                <a:gd name="connsiteX1547" fmla="*/ 3044916 w 10125896"/>
                <a:gd name="connsiteY1547" fmla="*/ 11000295 h 14078567"/>
                <a:gd name="connsiteX1548" fmla="*/ 3063976 w 10125896"/>
                <a:gd name="connsiteY1548" fmla="*/ 10976469 h 14078567"/>
                <a:gd name="connsiteX1549" fmla="*/ 3087804 w 10125896"/>
                <a:gd name="connsiteY1549" fmla="*/ 10890697 h 14078567"/>
                <a:gd name="connsiteX1550" fmla="*/ 3111628 w 10125896"/>
                <a:gd name="connsiteY1550" fmla="*/ 10866871 h 14078567"/>
                <a:gd name="connsiteX1551" fmla="*/ 3159280 w 10125896"/>
                <a:gd name="connsiteY1551" fmla="*/ 10847811 h 14078567"/>
                <a:gd name="connsiteX1552" fmla="*/ 3206932 w 10125896"/>
                <a:gd name="connsiteY1552" fmla="*/ 10852576 h 14078567"/>
                <a:gd name="connsiteX1553" fmla="*/ 3287936 w 10125896"/>
                <a:gd name="connsiteY1553" fmla="*/ 10914523 h 14078567"/>
                <a:gd name="connsiteX1554" fmla="*/ 3311764 w 10125896"/>
                <a:gd name="connsiteY1554" fmla="*/ 10924053 h 14078567"/>
                <a:gd name="connsiteX1555" fmla="*/ 3335588 w 10125896"/>
                <a:gd name="connsiteY1555" fmla="*/ 10919288 h 14078567"/>
                <a:gd name="connsiteX1556" fmla="*/ 3388004 w 10125896"/>
                <a:gd name="connsiteY1556" fmla="*/ 10895462 h 14078567"/>
                <a:gd name="connsiteX1557" fmla="*/ 3397536 w 10125896"/>
                <a:gd name="connsiteY1557" fmla="*/ 10885932 h 14078567"/>
                <a:gd name="connsiteX1558" fmla="*/ 3416596 w 10125896"/>
                <a:gd name="connsiteY1558" fmla="*/ 10862106 h 14078567"/>
                <a:gd name="connsiteX1559" fmla="*/ 3440420 w 10125896"/>
                <a:gd name="connsiteY1559" fmla="*/ 10814455 h 14078567"/>
                <a:gd name="connsiteX1560" fmla="*/ 3440420 w 10125896"/>
                <a:gd name="connsiteY1560" fmla="*/ 10800160 h 14078567"/>
                <a:gd name="connsiteX1561" fmla="*/ 3402300 w 10125896"/>
                <a:gd name="connsiteY1561" fmla="*/ 10828750 h 14078567"/>
                <a:gd name="connsiteX1562" fmla="*/ 3388004 w 10125896"/>
                <a:gd name="connsiteY1562" fmla="*/ 10833515 h 14078567"/>
                <a:gd name="connsiteX1563" fmla="*/ 3368944 w 10125896"/>
                <a:gd name="connsiteY1563" fmla="*/ 10833515 h 14078567"/>
                <a:gd name="connsiteX1564" fmla="*/ 3383240 w 10125896"/>
                <a:gd name="connsiteY1564" fmla="*/ 10747743 h 14078567"/>
                <a:gd name="connsiteX1565" fmla="*/ 3388004 w 10125896"/>
                <a:gd name="connsiteY1565" fmla="*/ 10681031 h 14078567"/>
                <a:gd name="connsiteX1566" fmla="*/ 3397536 w 10125896"/>
                <a:gd name="connsiteY1566" fmla="*/ 10666736 h 14078567"/>
                <a:gd name="connsiteX1567" fmla="*/ 3440420 w 10125896"/>
                <a:gd name="connsiteY1567" fmla="*/ 10671501 h 14078567"/>
                <a:gd name="connsiteX1568" fmla="*/ 3502368 w 10125896"/>
                <a:gd name="connsiteY1568" fmla="*/ 10661971 h 14078567"/>
                <a:gd name="connsiteX1569" fmla="*/ 3516664 w 10125896"/>
                <a:gd name="connsiteY1569" fmla="*/ 10647675 h 14078567"/>
                <a:gd name="connsiteX1570" fmla="*/ 3516664 w 10125896"/>
                <a:gd name="connsiteY1570" fmla="*/ 10642910 h 14078567"/>
                <a:gd name="connsiteX1571" fmla="*/ 3492840 w 10125896"/>
                <a:gd name="connsiteY1571" fmla="*/ 10633380 h 14078567"/>
                <a:gd name="connsiteX1572" fmla="*/ 3483308 w 10125896"/>
                <a:gd name="connsiteY1572" fmla="*/ 10614320 h 14078567"/>
                <a:gd name="connsiteX1573" fmla="*/ 3459484 w 10125896"/>
                <a:gd name="connsiteY1573" fmla="*/ 10619085 h 14078567"/>
                <a:gd name="connsiteX1574" fmla="*/ 3430892 w 10125896"/>
                <a:gd name="connsiteY1574" fmla="*/ 10633380 h 14078567"/>
                <a:gd name="connsiteX1575" fmla="*/ 3397536 w 10125896"/>
                <a:gd name="connsiteY1575" fmla="*/ 10628615 h 14078567"/>
                <a:gd name="connsiteX1576" fmla="*/ 3397536 w 10125896"/>
                <a:gd name="connsiteY1576" fmla="*/ 10600024 h 14078567"/>
                <a:gd name="connsiteX1577" fmla="*/ 3426128 w 10125896"/>
                <a:gd name="connsiteY1577" fmla="*/ 10542843 h 14078567"/>
                <a:gd name="connsiteX1578" fmla="*/ 3426128 w 10125896"/>
                <a:gd name="connsiteY1578" fmla="*/ 10514252 h 14078567"/>
                <a:gd name="connsiteX1579" fmla="*/ 3435656 w 10125896"/>
                <a:gd name="connsiteY1579" fmla="*/ 10457070 h 14078567"/>
                <a:gd name="connsiteX1580" fmla="*/ 3440420 w 10125896"/>
                <a:gd name="connsiteY1580" fmla="*/ 10428480 h 14078567"/>
                <a:gd name="connsiteX1581" fmla="*/ 3449952 w 10125896"/>
                <a:gd name="connsiteY1581" fmla="*/ 10399889 h 14078567"/>
                <a:gd name="connsiteX1582" fmla="*/ 3492840 w 10125896"/>
                <a:gd name="connsiteY1582" fmla="*/ 10380828 h 14078567"/>
                <a:gd name="connsiteX1583" fmla="*/ 3511900 w 10125896"/>
                <a:gd name="connsiteY1583" fmla="*/ 10366533 h 14078567"/>
                <a:gd name="connsiteX1584" fmla="*/ 3511900 w 10125896"/>
                <a:gd name="connsiteY1584" fmla="*/ 10357003 h 14078567"/>
                <a:gd name="connsiteX1585" fmla="*/ 3488072 w 10125896"/>
                <a:gd name="connsiteY1585" fmla="*/ 10304586 h 14078567"/>
                <a:gd name="connsiteX1586" fmla="*/ 3492840 w 10125896"/>
                <a:gd name="connsiteY1586" fmla="*/ 10290291 h 14078567"/>
                <a:gd name="connsiteX1587" fmla="*/ 3511900 w 10125896"/>
                <a:gd name="connsiteY1587" fmla="*/ 10280761 h 14078567"/>
                <a:gd name="connsiteX1588" fmla="*/ 3521428 w 10125896"/>
                <a:gd name="connsiteY1588" fmla="*/ 10271230 h 14078567"/>
                <a:gd name="connsiteX1589" fmla="*/ 3511900 w 10125896"/>
                <a:gd name="connsiteY1589" fmla="*/ 10261700 h 14078567"/>
                <a:gd name="connsiteX1590" fmla="*/ 3497604 w 10125896"/>
                <a:gd name="connsiteY1590" fmla="*/ 10256935 h 14078567"/>
                <a:gd name="connsiteX1591" fmla="*/ 3469012 w 10125896"/>
                <a:gd name="connsiteY1591" fmla="*/ 10271230 h 14078567"/>
                <a:gd name="connsiteX1592" fmla="*/ 3440420 w 10125896"/>
                <a:gd name="connsiteY1592" fmla="*/ 10275996 h 14078567"/>
                <a:gd name="connsiteX1593" fmla="*/ 3411832 w 10125896"/>
                <a:gd name="connsiteY1593" fmla="*/ 10256935 h 14078567"/>
                <a:gd name="connsiteX1594" fmla="*/ 3392772 w 10125896"/>
                <a:gd name="connsiteY1594" fmla="*/ 10247405 h 14078567"/>
                <a:gd name="connsiteX1595" fmla="*/ 3378476 w 10125896"/>
                <a:gd name="connsiteY1595" fmla="*/ 10252170 h 14078567"/>
                <a:gd name="connsiteX1596" fmla="*/ 3345120 w 10125896"/>
                <a:gd name="connsiteY1596" fmla="*/ 10280761 h 14078567"/>
                <a:gd name="connsiteX1597" fmla="*/ 3330824 w 10125896"/>
                <a:gd name="connsiteY1597" fmla="*/ 10280761 h 14078567"/>
                <a:gd name="connsiteX1598" fmla="*/ 3316528 w 10125896"/>
                <a:gd name="connsiteY1598" fmla="*/ 10275996 h 14078567"/>
                <a:gd name="connsiteX1599" fmla="*/ 3211696 w 10125896"/>
                <a:gd name="connsiteY1599" fmla="*/ 10247405 h 14078567"/>
                <a:gd name="connsiteX1600" fmla="*/ 3202164 w 10125896"/>
                <a:gd name="connsiteY1600" fmla="*/ 10242640 h 14078567"/>
                <a:gd name="connsiteX1601" fmla="*/ 3164044 w 10125896"/>
                <a:gd name="connsiteY1601" fmla="*/ 10194988 h 14078567"/>
                <a:gd name="connsiteX1602" fmla="*/ 3135452 w 10125896"/>
                <a:gd name="connsiteY1602" fmla="*/ 10166398 h 14078567"/>
                <a:gd name="connsiteX1603" fmla="*/ 3092568 w 10125896"/>
                <a:gd name="connsiteY1603" fmla="*/ 10137807 h 14078567"/>
                <a:gd name="connsiteX1604" fmla="*/ 3040152 w 10125896"/>
                <a:gd name="connsiteY1604" fmla="*/ 10113981 h 14078567"/>
                <a:gd name="connsiteX1605" fmla="*/ 2978204 w 10125896"/>
                <a:gd name="connsiteY1605" fmla="*/ 10094921 h 14078567"/>
                <a:gd name="connsiteX1606" fmla="*/ 2940084 w 10125896"/>
                <a:gd name="connsiteY1606" fmla="*/ 10080625 h 14078567"/>
                <a:gd name="connsiteX1607" fmla="*/ 2921024 w 10125896"/>
                <a:gd name="connsiteY1607" fmla="*/ 10061565 h 14078567"/>
                <a:gd name="connsiteX1608" fmla="*/ 2887668 w 10125896"/>
                <a:gd name="connsiteY1608" fmla="*/ 10009148 h 14078567"/>
                <a:gd name="connsiteX1609" fmla="*/ 2863840 w 10125896"/>
                <a:gd name="connsiteY1609" fmla="*/ 9971027 h 14078567"/>
                <a:gd name="connsiteX1610" fmla="*/ 2859076 w 10125896"/>
                <a:gd name="connsiteY1610" fmla="*/ 9951967 h 14078567"/>
                <a:gd name="connsiteX1611" fmla="*/ 2873372 w 10125896"/>
                <a:gd name="connsiteY1611" fmla="*/ 9928141 h 14078567"/>
                <a:gd name="connsiteX1612" fmla="*/ 2887668 w 10125896"/>
                <a:gd name="connsiteY1612" fmla="*/ 9909081 h 14078567"/>
                <a:gd name="connsiteX1613" fmla="*/ 2916256 w 10125896"/>
                <a:gd name="connsiteY1613" fmla="*/ 9894785 h 14078567"/>
                <a:gd name="connsiteX1614" fmla="*/ 2963908 w 10125896"/>
                <a:gd name="connsiteY1614" fmla="*/ 9899551 h 14078567"/>
                <a:gd name="connsiteX1615" fmla="*/ 2987736 w 10125896"/>
                <a:gd name="connsiteY1615" fmla="*/ 9904316 h 14078567"/>
                <a:gd name="connsiteX1616" fmla="*/ 3016324 w 10125896"/>
                <a:gd name="connsiteY1616" fmla="*/ 9918611 h 14078567"/>
                <a:gd name="connsiteX1617" fmla="*/ 3035388 w 10125896"/>
                <a:gd name="connsiteY1617" fmla="*/ 9923376 h 14078567"/>
                <a:gd name="connsiteX1618" fmla="*/ 3083036 w 10125896"/>
                <a:gd name="connsiteY1618" fmla="*/ 9918611 h 14078567"/>
                <a:gd name="connsiteX1619" fmla="*/ 3125924 w 10125896"/>
                <a:gd name="connsiteY1619" fmla="*/ 9928141 h 14078567"/>
                <a:gd name="connsiteX1620" fmla="*/ 3154516 w 10125896"/>
                <a:gd name="connsiteY1620" fmla="*/ 9937672 h 14078567"/>
                <a:gd name="connsiteX1621" fmla="*/ 3187872 w 10125896"/>
                <a:gd name="connsiteY1621" fmla="*/ 9956732 h 14078567"/>
                <a:gd name="connsiteX1622" fmla="*/ 3287936 w 10125896"/>
                <a:gd name="connsiteY1622" fmla="*/ 10042504 h 14078567"/>
                <a:gd name="connsiteX1623" fmla="*/ 3326060 w 10125896"/>
                <a:gd name="connsiteY1623" fmla="*/ 10075860 h 14078567"/>
                <a:gd name="connsiteX1624" fmla="*/ 3345120 w 10125896"/>
                <a:gd name="connsiteY1624" fmla="*/ 10075860 h 14078567"/>
                <a:gd name="connsiteX1625" fmla="*/ 3416596 w 10125896"/>
                <a:gd name="connsiteY1625" fmla="*/ 10109216 h 14078567"/>
                <a:gd name="connsiteX1626" fmla="*/ 3430892 w 10125896"/>
                <a:gd name="connsiteY1626" fmla="*/ 10109216 h 14078567"/>
                <a:gd name="connsiteX1627" fmla="*/ 3459484 w 10125896"/>
                <a:gd name="connsiteY1627" fmla="*/ 10094921 h 14078567"/>
                <a:gd name="connsiteX1628" fmla="*/ 3459484 w 10125896"/>
                <a:gd name="connsiteY1628" fmla="*/ 10085390 h 14078567"/>
                <a:gd name="connsiteX1629" fmla="*/ 3449952 w 10125896"/>
                <a:gd name="connsiteY1629" fmla="*/ 10075860 h 14078567"/>
                <a:gd name="connsiteX1630" fmla="*/ 3416596 w 10125896"/>
                <a:gd name="connsiteY1630" fmla="*/ 10066330 h 14078567"/>
                <a:gd name="connsiteX1631" fmla="*/ 3383240 w 10125896"/>
                <a:gd name="connsiteY1631" fmla="*/ 10032974 h 14078567"/>
                <a:gd name="connsiteX1632" fmla="*/ 3359416 w 10125896"/>
                <a:gd name="connsiteY1632" fmla="*/ 10004383 h 14078567"/>
                <a:gd name="connsiteX1633" fmla="*/ 3354648 w 10125896"/>
                <a:gd name="connsiteY1633" fmla="*/ 9956732 h 14078567"/>
                <a:gd name="connsiteX1634" fmla="*/ 3359416 w 10125896"/>
                <a:gd name="connsiteY1634" fmla="*/ 9932906 h 14078567"/>
                <a:gd name="connsiteX1635" fmla="*/ 3364180 w 10125896"/>
                <a:gd name="connsiteY1635" fmla="*/ 9918611 h 14078567"/>
                <a:gd name="connsiteX1636" fmla="*/ 3368944 w 10125896"/>
                <a:gd name="connsiteY1636" fmla="*/ 9880490 h 14078567"/>
                <a:gd name="connsiteX1637" fmla="*/ 3345120 w 10125896"/>
                <a:gd name="connsiteY1637" fmla="*/ 9856664 h 14078567"/>
                <a:gd name="connsiteX1638" fmla="*/ 3330824 w 10125896"/>
                <a:gd name="connsiteY1638" fmla="*/ 9847134 h 14078567"/>
                <a:gd name="connsiteX1639" fmla="*/ 3292704 w 10125896"/>
                <a:gd name="connsiteY1639" fmla="*/ 9813778 h 14078567"/>
                <a:gd name="connsiteX1640" fmla="*/ 3287936 w 10125896"/>
                <a:gd name="connsiteY1640" fmla="*/ 9804248 h 14078567"/>
                <a:gd name="connsiteX1641" fmla="*/ 3307000 w 10125896"/>
                <a:gd name="connsiteY1641" fmla="*/ 9799483 h 14078567"/>
                <a:gd name="connsiteX1642" fmla="*/ 3326060 w 10125896"/>
                <a:gd name="connsiteY1642" fmla="*/ 9799483 h 14078567"/>
                <a:gd name="connsiteX1643" fmla="*/ 3368944 w 10125896"/>
                <a:gd name="connsiteY1643" fmla="*/ 9818543 h 14078567"/>
                <a:gd name="connsiteX1644" fmla="*/ 3388004 w 10125896"/>
                <a:gd name="connsiteY1644" fmla="*/ 9823309 h 14078567"/>
                <a:gd name="connsiteX1645" fmla="*/ 3402300 w 10125896"/>
                <a:gd name="connsiteY1645" fmla="*/ 9813778 h 14078567"/>
                <a:gd name="connsiteX1646" fmla="*/ 3407068 w 10125896"/>
                <a:gd name="connsiteY1646" fmla="*/ 9809013 h 14078567"/>
                <a:gd name="connsiteX1647" fmla="*/ 3378476 w 10125896"/>
                <a:gd name="connsiteY1647" fmla="*/ 9785187 h 14078567"/>
                <a:gd name="connsiteX1648" fmla="*/ 3349884 w 10125896"/>
                <a:gd name="connsiteY1648" fmla="*/ 9751832 h 14078567"/>
                <a:gd name="connsiteX1649" fmla="*/ 3283172 w 10125896"/>
                <a:gd name="connsiteY1649" fmla="*/ 9747066 h 14078567"/>
                <a:gd name="connsiteX1650" fmla="*/ 3240288 w 10125896"/>
                <a:gd name="connsiteY1650" fmla="*/ 9751832 h 14078567"/>
                <a:gd name="connsiteX1651" fmla="*/ 3216460 w 10125896"/>
                <a:gd name="connsiteY1651" fmla="*/ 9737536 h 14078567"/>
                <a:gd name="connsiteX1652" fmla="*/ 3187872 w 10125896"/>
                <a:gd name="connsiteY1652" fmla="*/ 9718476 h 14078567"/>
                <a:gd name="connsiteX1653" fmla="*/ 3168808 w 10125896"/>
                <a:gd name="connsiteY1653" fmla="*/ 9713711 h 14078567"/>
                <a:gd name="connsiteX1654" fmla="*/ 3130688 w 10125896"/>
                <a:gd name="connsiteY1654" fmla="*/ 9723241 h 14078567"/>
                <a:gd name="connsiteX1655" fmla="*/ 3111628 w 10125896"/>
                <a:gd name="connsiteY1655" fmla="*/ 9728006 h 14078567"/>
                <a:gd name="connsiteX1656" fmla="*/ 3097332 w 10125896"/>
                <a:gd name="connsiteY1656" fmla="*/ 9723241 h 14078567"/>
                <a:gd name="connsiteX1657" fmla="*/ 3078272 w 10125896"/>
                <a:gd name="connsiteY1657" fmla="*/ 9656529 h 14078567"/>
                <a:gd name="connsiteX1658" fmla="*/ 3083036 w 10125896"/>
                <a:gd name="connsiteY1658" fmla="*/ 9637469 h 14078567"/>
                <a:gd name="connsiteX1659" fmla="*/ 3097332 w 10125896"/>
                <a:gd name="connsiteY1659" fmla="*/ 9627938 h 14078567"/>
                <a:gd name="connsiteX1660" fmla="*/ 3106864 w 10125896"/>
                <a:gd name="connsiteY1660" fmla="*/ 9608878 h 14078567"/>
                <a:gd name="connsiteX1661" fmla="*/ 3111628 w 10125896"/>
                <a:gd name="connsiteY1661" fmla="*/ 9585052 h 14078567"/>
                <a:gd name="connsiteX1662" fmla="*/ 3135452 w 10125896"/>
                <a:gd name="connsiteY1662" fmla="*/ 9565992 h 14078567"/>
                <a:gd name="connsiteX1663" fmla="*/ 3259348 w 10125896"/>
                <a:gd name="connsiteY1663" fmla="*/ 9518340 h 14078567"/>
                <a:gd name="connsiteX1664" fmla="*/ 3287936 w 10125896"/>
                <a:gd name="connsiteY1664" fmla="*/ 9480219 h 14078567"/>
                <a:gd name="connsiteX1665" fmla="*/ 3287936 w 10125896"/>
                <a:gd name="connsiteY1665" fmla="*/ 9475454 h 14078567"/>
                <a:gd name="connsiteX1666" fmla="*/ 3268876 w 10125896"/>
                <a:gd name="connsiteY1666" fmla="*/ 9480219 h 14078567"/>
                <a:gd name="connsiteX1667" fmla="*/ 3240288 w 10125896"/>
                <a:gd name="connsiteY1667" fmla="*/ 9499280 h 14078567"/>
                <a:gd name="connsiteX1668" fmla="*/ 3221228 w 10125896"/>
                <a:gd name="connsiteY1668" fmla="*/ 9499280 h 14078567"/>
                <a:gd name="connsiteX1669" fmla="*/ 3149748 w 10125896"/>
                <a:gd name="connsiteY1669" fmla="*/ 9480219 h 14078567"/>
                <a:gd name="connsiteX1670" fmla="*/ 3140220 w 10125896"/>
                <a:gd name="connsiteY1670" fmla="*/ 9484984 h 14078567"/>
                <a:gd name="connsiteX1671" fmla="*/ 3111628 w 10125896"/>
                <a:gd name="connsiteY1671" fmla="*/ 9513575 h 14078567"/>
                <a:gd name="connsiteX1672" fmla="*/ 3068744 w 10125896"/>
                <a:gd name="connsiteY1672" fmla="*/ 9546931 h 14078567"/>
                <a:gd name="connsiteX1673" fmla="*/ 3054448 w 10125896"/>
                <a:gd name="connsiteY1673" fmla="*/ 9546931 h 14078567"/>
                <a:gd name="connsiteX1674" fmla="*/ 3025856 w 10125896"/>
                <a:gd name="connsiteY1674" fmla="*/ 9527871 h 14078567"/>
                <a:gd name="connsiteX1675" fmla="*/ 3025856 w 10125896"/>
                <a:gd name="connsiteY1675" fmla="*/ 9513575 h 14078567"/>
                <a:gd name="connsiteX1676" fmla="*/ 3021092 w 10125896"/>
                <a:gd name="connsiteY1676" fmla="*/ 9494515 h 14078567"/>
                <a:gd name="connsiteX1677" fmla="*/ 3049680 w 10125896"/>
                <a:gd name="connsiteY1677" fmla="*/ 9475454 h 14078567"/>
                <a:gd name="connsiteX1678" fmla="*/ 3059212 w 10125896"/>
                <a:gd name="connsiteY1678" fmla="*/ 9461159 h 14078567"/>
                <a:gd name="connsiteX1679" fmla="*/ 3073508 w 10125896"/>
                <a:gd name="connsiteY1679" fmla="*/ 9427803 h 14078567"/>
                <a:gd name="connsiteX1680" fmla="*/ 3073508 w 10125896"/>
                <a:gd name="connsiteY1680" fmla="*/ 9413508 h 14078567"/>
                <a:gd name="connsiteX1681" fmla="*/ 3044916 w 10125896"/>
                <a:gd name="connsiteY1681" fmla="*/ 9423038 h 14078567"/>
                <a:gd name="connsiteX1682" fmla="*/ 3040152 w 10125896"/>
                <a:gd name="connsiteY1682" fmla="*/ 9403977 h 14078567"/>
                <a:gd name="connsiteX1683" fmla="*/ 3040152 w 10125896"/>
                <a:gd name="connsiteY1683" fmla="*/ 9380152 h 14078567"/>
                <a:gd name="connsiteX1684" fmla="*/ 3040152 w 10125896"/>
                <a:gd name="connsiteY1684" fmla="*/ 9346796 h 14078567"/>
                <a:gd name="connsiteX1685" fmla="*/ 3030620 w 10125896"/>
                <a:gd name="connsiteY1685" fmla="*/ 9318205 h 14078567"/>
                <a:gd name="connsiteX1686" fmla="*/ 3006796 w 10125896"/>
                <a:gd name="connsiteY1686" fmla="*/ 9268171 h 14078567"/>
                <a:gd name="connsiteX1687" fmla="*/ 2997264 w 10125896"/>
                <a:gd name="connsiteY1687" fmla="*/ 9253876 h 14078567"/>
                <a:gd name="connsiteX1688" fmla="*/ 2987736 w 10125896"/>
                <a:gd name="connsiteY1688" fmla="*/ 9239580 h 14078567"/>
                <a:gd name="connsiteX1689" fmla="*/ 2968676 w 10125896"/>
                <a:gd name="connsiteY1689" fmla="*/ 9168104 h 14078567"/>
                <a:gd name="connsiteX1690" fmla="*/ 2973440 w 10125896"/>
                <a:gd name="connsiteY1690" fmla="*/ 9153808 h 14078567"/>
                <a:gd name="connsiteX1691" fmla="*/ 2992500 w 10125896"/>
                <a:gd name="connsiteY1691" fmla="*/ 9139513 h 14078567"/>
                <a:gd name="connsiteX1692" fmla="*/ 2992500 w 10125896"/>
                <a:gd name="connsiteY1692" fmla="*/ 9134748 h 14078567"/>
                <a:gd name="connsiteX1693" fmla="*/ 2954380 w 10125896"/>
                <a:gd name="connsiteY1693" fmla="*/ 9144278 h 14078567"/>
                <a:gd name="connsiteX1694" fmla="*/ 2949612 w 10125896"/>
                <a:gd name="connsiteY1694" fmla="*/ 9153808 h 14078567"/>
                <a:gd name="connsiteX1695" fmla="*/ 2959144 w 10125896"/>
                <a:gd name="connsiteY1695" fmla="*/ 9172869 h 14078567"/>
                <a:gd name="connsiteX1696" fmla="*/ 2963908 w 10125896"/>
                <a:gd name="connsiteY1696" fmla="*/ 9196694 h 14078567"/>
                <a:gd name="connsiteX1697" fmla="*/ 2968676 w 10125896"/>
                <a:gd name="connsiteY1697" fmla="*/ 9225285 h 14078567"/>
                <a:gd name="connsiteX1698" fmla="*/ 2973440 w 10125896"/>
                <a:gd name="connsiteY1698" fmla="*/ 9249111 h 14078567"/>
                <a:gd name="connsiteX1699" fmla="*/ 2987736 w 10125896"/>
                <a:gd name="connsiteY1699" fmla="*/ 9277701 h 14078567"/>
                <a:gd name="connsiteX1700" fmla="*/ 2997264 w 10125896"/>
                <a:gd name="connsiteY1700" fmla="*/ 9289614 h 14078567"/>
                <a:gd name="connsiteX1701" fmla="*/ 3016324 w 10125896"/>
                <a:gd name="connsiteY1701" fmla="*/ 9327735 h 14078567"/>
                <a:gd name="connsiteX1702" fmla="*/ 3025856 w 10125896"/>
                <a:gd name="connsiteY1702" fmla="*/ 9370621 h 14078567"/>
                <a:gd name="connsiteX1703" fmla="*/ 3021092 w 10125896"/>
                <a:gd name="connsiteY1703" fmla="*/ 9389682 h 14078567"/>
                <a:gd name="connsiteX1704" fmla="*/ 3006796 w 10125896"/>
                <a:gd name="connsiteY1704" fmla="*/ 9413508 h 14078567"/>
                <a:gd name="connsiteX1705" fmla="*/ 2982968 w 10125896"/>
                <a:gd name="connsiteY1705" fmla="*/ 9437333 h 14078567"/>
                <a:gd name="connsiteX1706" fmla="*/ 2978204 w 10125896"/>
                <a:gd name="connsiteY1706" fmla="*/ 9456394 h 14078567"/>
                <a:gd name="connsiteX1707" fmla="*/ 2973440 w 10125896"/>
                <a:gd name="connsiteY1707" fmla="*/ 9475454 h 14078567"/>
                <a:gd name="connsiteX1708" fmla="*/ 2959144 w 10125896"/>
                <a:gd name="connsiteY1708" fmla="*/ 9494515 h 14078567"/>
                <a:gd name="connsiteX1709" fmla="*/ 2944848 w 10125896"/>
                <a:gd name="connsiteY1709" fmla="*/ 9489750 h 14078567"/>
                <a:gd name="connsiteX1710" fmla="*/ 2935320 w 10125896"/>
                <a:gd name="connsiteY1710" fmla="*/ 9484984 h 14078567"/>
                <a:gd name="connsiteX1711" fmla="*/ 2944848 w 10125896"/>
                <a:gd name="connsiteY1711" fmla="*/ 9518340 h 14078567"/>
                <a:gd name="connsiteX1712" fmla="*/ 2954380 w 10125896"/>
                <a:gd name="connsiteY1712" fmla="*/ 9551696 h 14078567"/>
                <a:gd name="connsiteX1713" fmla="*/ 2944848 w 10125896"/>
                <a:gd name="connsiteY1713" fmla="*/ 9585052 h 14078567"/>
                <a:gd name="connsiteX1714" fmla="*/ 2925788 w 10125896"/>
                <a:gd name="connsiteY1714" fmla="*/ 9604113 h 14078567"/>
                <a:gd name="connsiteX1715" fmla="*/ 2911492 w 10125896"/>
                <a:gd name="connsiteY1715" fmla="*/ 9604113 h 14078567"/>
                <a:gd name="connsiteX1716" fmla="*/ 2892432 w 10125896"/>
                <a:gd name="connsiteY1716" fmla="*/ 9623173 h 14078567"/>
                <a:gd name="connsiteX1717" fmla="*/ 2835252 w 10125896"/>
                <a:gd name="connsiteY1717" fmla="*/ 9632703 h 14078567"/>
                <a:gd name="connsiteX1718" fmla="*/ 2811424 w 10125896"/>
                <a:gd name="connsiteY1718" fmla="*/ 9627938 h 14078567"/>
                <a:gd name="connsiteX1719" fmla="*/ 2773304 w 10125896"/>
                <a:gd name="connsiteY1719" fmla="*/ 9608878 h 14078567"/>
                <a:gd name="connsiteX1720" fmla="*/ 2730416 w 10125896"/>
                <a:gd name="connsiteY1720" fmla="*/ 9599348 h 14078567"/>
                <a:gd name="connsiteX1721" fmla="*/ 2711356 w 10125896"/>
                <a:gd name="connsiteY1721" fmla="*/ 9580287 h 14078567"/>
                <a:gd name="connsiteX1722" fmla="*/ 2692296 w 10125896"/>
                <a:gd name="connsiteY1722" fmla="*/ 9537401 h 14078567"/>
                <a:gd name="connsiteX1723" fmla="*/ 2678000 w 10125896"/>
                <a:gd name="connsiteY1723" fmla="*/ 9504045 h 14078567"/>
                <a:gd name="connsiteX1724" fmla="*/ 2678000 w 10125896"/>
                <a:gd name="connsiteY1724" fmla="*/ 9470689 h 14078567"/>
                <a:gd name="connsiteX1725" fmla="*/ 2687532 w 10125896"/>
                <a:gd name="connsiteY1725" fmla="*/ 9446863 h 14078567"/>
                <a:gd name="connsiteX1726" fmla="*/ 2697064 w 10125896"/>
                <a:gd name="connsiteY1726" fmla="*/ 9432568 h 14078567"/>
                <a:gd name="connsiteX1727" fmla="*/ 2711356 w 10125896"/>
                <a:gd name="connsiteY1727" fmla="*/ 9337266 h 14078567"/>
                <a:gd name="connsiteX1728" fmla="*/ 2735184 w 10125896"/>
                <a:gd name="connsiteY1728" fmla="*/ 9263406 h 14078567"/>
                <a:gd name="connsiteX1729" fmla="*/ 2787600 w 10125896"/>
                <a:gd name="connsiteY1729" fmla="*/ 9182399 h 14078567"/>
                <a:gd name="connsiteX1730" fmla="*/ 2801896 w 10125896"/>
                <a:gd name="connsiteY1730" fmla="*/ 9153808 h 14078567"/>
                <a:gd name="connsiteX1731" fmla="*/ 2806660 w 10125896"/>
                <a:gd name="connsiteY1731" fmla="*/ 9134748 h 14078567"/>
                <a:gd name="connsiteX1732" fmla="*/ 2806660 w 10125896"/>
                <a:gd name="connsiteY1732" fmla="*/ 9125217 h 14078567"/>
                <a:gd name="connsiteX1733" fmla="*/ 2801896 w 10125896"/>
                <a:gd name="connsiteY1733" fmla="*/ 9115687 h 14078567"/>
                <a:gd name="connsiteX1734" fmla="*/ 2735184 w 10125896"/>
                <a:gd name="connsiteY1734" fmla="*/ 9215755 h 14078567"/>
                <a:gd name="connsiteX1735" fmla="*/ 2692296 w 10125896"/>
                <a:gd name="connsiteY1735" fmla="*/ 9225285 h 14078567"/>
                <a:gd name="connsiteX1736" fmla="*/ 2682768 w 10125896"/>
                <a:gd name="connsiteY1736" fmla="*/ 9206225 h 14078567"/>
                <a:gd name="connsiteX1737" fmla="*/ 2682768 w 10125896"/>
                <a:gd name="connsiteY1737" fmla="*/ 9163338 h 14078567"/>
                <a:gd name="connsiteX1738" fmla="*/ 2692296 w 10125896"/>
                <a:gd name="connsiteY1738" fmla="*/ 9153808 h 14078567"/>
                <a:gd name="connsiteX1739" fmla="*/ 2725652 w 10125896"/>
                <a:gd name="connsiteY1739" fmla="*/ 9158573 h 14078567"/>
                <a:gd name="connsiteX1740" fmla="*/ 2735184 w 10125896"/>
                <a:gd name="connsiteY1740" fmla="*/ 9134748 h 14078567"/>
                <a:gd name="connsiteX1741" fmla="*/ 2716124 w 10125896"/>
                <a:gd name="connsiteY1741" fmla="*/ 9101392 h 14078567"/>
                <a:gd name="connsiteX1742" fmla="*/ 2697064 w 10125896"/>
                <a:gd name="connsiteY1742" fmla="*/ 9096627 h 14078567"/>
                <a:gd name="connsiteX1743" fmla="*/ 2687532 w 10125896"/>
                <a:gd name="connsiteY1743" fmla="*/ 9087096 h 14078567"/>
                <a:gd name="connsiteX1744" fmla="*/ 2711356 w 10125896"/>
                <a:gd name="connsiteY1744" fmla="*/ 9058506 h 14078567"/>
                <a:gd name="connsiteX1745" fmla="*/ 2763772 w 10125896"/>
                <a:gd name="connsiteY1745" fmla="*/ 9063271 h 14078567"/>
                <a:gd name="connsiteX1746" fmla="*/ 2778068 w 10125896"/>
                <a:gd name="connsiteY1746" fmla="*/ 9044210 h 14078567"/>
                <a:gd name="connsiteX1747" fmla="*/ 2797128 w 10125896"/>
                <a:gd name="connsiteY1747" fmla="*/ 9025150 h 14078567"/>
                <a:gd name="connsiteX1748" fmla="*/ 2816192 w 10125896"/>
                <a:gd name="connsiteY1748" fmla="*/ 8987029 h 14078567"/>
                <a:gd name="connsiteX1749" fmla="*/ 2825720 w 10125896"/>
                <a:gd name="connsiteY1749" fmla="*/ 8958438 h 14078567"/>
                <a:gd name="connsiteX1750" fmla="*/ 2825720 w 10125896"/>
                <a:gd name="connsiteY1750" fmla="*/ 8929847 h 14078567"/>
                <a:gd name="connsiteX1751" fmla="*/ 2820956 w 10125896"/>
                <a:gd name="connsiteY1751" fmla="*/ 8910787 h 14078567"/>
                <a:gd name="connsiteX1752" fmla="*/ 2820956 w 10125896"/>
                <a:gd name="connsiteY1752" fmla="*/ 8886961 h 14078567"/>
                <a:gd name="connsiteX1753" fmla="*/ 2825720 w 10125896"/>
                <a:gd name="connsiteY1753" fmla="*/ 8867901 h 14078567"/>
                <a:gd name="connsiteX1754" fmla="*/ 2820956 w 10125896"/>
                <a:gd name="connsiteY1754" fmla="*/ 8844075 h 14078567"/>
                <a:gd name="connsiteX1755" fmla="*/ 2806660 w 10125896"/>
                <a:gd name="connsiteY1755" fmla="*/ 8815484 h 14078567"/>
                <a:gd name="connsiteX1756" fmla="*/ 2773304 w 10125896"/>
                <a:gd name="connsiteY1756" fmla="*/ 8791658 h 14078567"/>
                <a:gd name="connsiteX1757" fmla="*/ 2763772 w 10125896"/>
                <a:gd name="connsiteY1757" fmla="*/ 8820249 h 14078567"/>
                <a:gd name="connsiteX1758" fmla="*/ 2754244 w 10125896"/>
                <a:gd name="connsiteY1758" fmla="*/ 8829780 h 14078567"/>
                <a:gd name="connsiteX1759" fmla="*/ 2739948 w 10125896"/>
                <a:gd name="connsiteY1759" fmla="*/ 8834545 h 14078567"/>
                <a:gd name="connsiteX1760" fmla="*/ 2725652 w 10125896"/>
                <a:gd name="connsiteY1760" fmla="*/ 8820249 h 14078567"/>
                <a:gd name="connsiteX1761" fmla="*/ 2711356 w 10125896"/>
                <a:gd name="connsiteY1761" fmla="*/ 8815484 h 14078567"/>
                <a:gd name="connsiteX1762" fmla="*/ 2697064 w 10125896"/>
                <a:gd name="connsiteY1762" fmla="*/ 8805954 h 14078567"/>
                <a:gd name="connsiteX1763" fmla="*/ 2682768 w 10125896"/>
                <a:gd name="connsiteY1763" fmla="*/ 8801189 h 14078567"/>
                <a:gd name="connsiteX1764" fmla="*/ 2678000 w 10125896"/>
                <a:gd name="connsiteY1764" fmla="*/ 8796424 h 14078567"/>
                <a:gd name="connsiteX1765" fmla="*/ 2678000 w 10125896"/>
                <a:gd name="connsiteY1765" fmla="*/ 8767833 h 14078567"/>
                <a:gd name="connsiteX1766" fmla="*/ 2673236 w 10125896"/>
                <a:gd name="connsiteY1766" fmla="*/ 8739242 h 14078567"/>
                <a:gd name="connsiteX1767" fmla="*/ 2692296 w 10125896"/>
                <a:gd name="connsiteY1767" fmla="*/ 8724947 h 14078567"/>
                <a:gd name="connsiteX1768" fmla="*/ 2711356 w 10125896"/>
                <a:gd name="connsiteY1768" fmla="*/ 8710651 h 14078567"/>
                <a:gd name="connsiteX1769" fmla="*/ 2725652 w 10125896"/>
                <a:gd name="connsiteY1769" fmla="*/ 8691591 h 14078567"/>
                <a:gd name="connsiteX1770" fmla="*/ 2735184 w 10125896"/>
                <a:gd name="connsiteY1770" fmla="*/ 8658235 h 14078567"/>
                <a:gd name="connsiteX1771" fmla="*/ 2739948 w 10125896"/>
                <a:gd name="connsiteY1771" fmla="*/ 8620114 h 14078567"/>
                <a:gd name="connsiteX1772" fmla="*/ 2730416 w 10125896"/>
                <a:gd name="connsiteY1772" fmla="*/ 8581993 h 14078567"/>
                <a:gd name="connsiteX1773" fmla="*/ 2716124 w 10125896"/>
                <a:gd name="connsiteY1773" fmla="*/ 8548637 h 14078567"/>
                <a:gd name="connsiteX1774" fmla="*/ 2682768 w 10125896"/>
                <a:gd name="connsiteY1774" fmla="*/ 8581993 h 14078567"/>
                <a:gd name="connsiteX1775" fmla="*/ 2668472 w 10125896"/>
                <a:gd name="connsiteY1775" fmla="*/ 8591523 h 14078567"/>
                <a:gd name="connsiteX1776" fmla="*/ 2663708 w 10125896"/>
                <a:gd name="connsiteY1776" fmla="*/ 8567698 h 14078567"/>
                <a:gd name="connsiteX1777" fmla="*/ 2658940 w 10125896"/>
                <a:gd name="connsiteY1777" fmla="*/ 8548637 h 14078567"/>
                <a:gd name="connsiteX1778" fmla="*/ 2649412 w 10125896"/>
                <a:gd name="connsiteY1778" fmla="*/ 8524811 h 14078567"/>
                <a:gd name="connsiteX1779" fmla="*/ 2630352 w 10125896"/>
                <a:gd name="connsiteY1779" fmla="*/ 8505751 h 14078567"/>
                <a:gd name="connsiteX1780" fmla="*/ 2611288 w 10125896"/>
                <a:gd name="connsiteY1780" fmla="*/ 8496221 h 14078567"/>
                <a:gd name="connsiteX1781" fmla="*/ 2611288 w 10125896"/>
                <a:gd name="connsiteY1781" fmla="*/ 8477160 h 14078567"/>
                <a:gd name="connsiteX1782" fmla="*/ 2616056 w 10125896"/>
                <a:gd name="connsiteY1782" fmla="*/ 8458100 h 14078567"/>
                <a:gd name="connsiteX1783" fmla="*/ 2620820 w 10125896"/>
                <a:gd name="connsiteY1783" fmla="*/ 8434274 h 14078567"/>
                <a:gd name="connsiteX1784" fmla="*/ 2630352 w 10125896"/>
                <a:gd name="connsiteY1784" fmla="*/ 8381857 h 14078567"/>
                <a:gd name="connsiteX1785" fmla="*/ 2644644 w 10125896"/>
                <a:gd name="connsiteY1785" fmla="*/ 8386623 h 14078567"/>
                <a:gd name="connsiteX1786" fmla="*/ 2654176 w 10125896"/>
                <a:gd name="connsiteY1786" fmla="*/ 8381857 h 14078567"/>
                <a:gd name="connsiteX1787" fmla="*/ 2649412 w 10125896"/>
                <a:gd name="connsiteY1787" fmla="*/ 8343737 h 14078567"/>
                <a:gd name="connsiteX1788" fmla="*/ 2639880 w 10125896"/>
                <a:gd name="connsiteY1788" fmla="*/ 8305615 h 14078567"/>
                <a:gd name="connsiteX1789" fmla="*/ 2630352 w 10125896"/>
                <a:gd name="connsiteY1789" fmla="*/ 8286555 h 14078567"/>
                <a:gd name="connsiteX1790" fmla="*/ 2625584 w 10125896"/>
                <a:gd name="connsiteY1790" fmla="*/ 8277025 h 14078567"/>
                <a:gd name="connsiteX1791" fmla="*/ 2625584 w 10125896"/>
                <a:gd name="connsiteY1791" fmla="*/ 8267495 h 14078567"/>
                <a:gd name="connsiteX1792" fmla="*/ 2616056 w 10125896"/>
                <a:gd name="connsiteY1792" fmla="*/ 8243669 h 14078567"/>
                <a:gd name="connsiteX1793" fmla="*/ 2606524 w 10125896"/>
                <a:gd name="connsiteY1793" fmla="*/ 8224609 h 14078567"/>
                <a:gd name="connsiteX1794" fmla="*/ 2592228 w 10125896"/>
                <a:gd name="connsiteY1794" fmla="*/ 8176957 h 14078567"/>
                <a:gd name="connsiteX1795" fmla="*/ 2582700 w 10125896"/>
                <a:gd name="connsiteY1795" fmla="*/ 8153131 h 14078567"/>
                <a:gd name="connsiteX1796" fmla="*/ 2568404 w 10125896"/>
                <a:gd name="connsiteY1796" fmla="*/ 8143601 h 14078567"/>
                <a:gd name="connsiteX1797" fmla="*/ 2549344 w 10125896"/>
                <a:gd name="connsiteY1797" fmla="*/ 8143601 h 14078567"/>
                <a:gd name="connsiteX1798" fmla="*/ 2525516 w 10125896"/>
                <a:gd name="connsiteY1798" fmla="*/ 8157897 h 14078567"/>
                <a:gd name="connsiteX1799" fmla="*/ 2477868 w 10125896"/>
                <a:gd name="connsiteY1799" fmla="*/ 8172192 h 14078567"/>
                <a:gd name="connsiteX1800" fmla="*/ 2439744 w 10125896"/>
                <a:gd name="connsiteY1800" fmla="*/ 8181722 h 14078567"/>
                <a:gd name="connsiteX1801" fmla="*/ 2434980 w 10125896"/>
                <a:gd name="connsiteY1801" fmla="*/ 8176957 h 14078567"/>
                <a:gd name="connsiteX1802" fmla="*/ 2454040 w 10125896"/>
                <a:gd name="connsiteY1802" fmla="*/ 8157897 h 14078567"/>
                <a:gd name="connsiteX1803" fmla="*/ 2482632 w 10125896"/>
                <a:gd name="connsiteY1803" fmla="*/ 8138836 h 14078567"/>
                <a:gd name="connsiteX1804" fmla="*/ 2515988 w 10125896"/>
                <a:gd name="connsiteY1804" fmla="*/ 8124541 h 14078567"/>
                <a:gd name="connsiteX1805" fmla="*/ 2530284 w 10125896"/>
                <a:gd name="connsiteY1805" fmla="*/ 8091185 h 14078567"/>
                <a:gd name="connsiteX1806" fmla="*/ 2525516 w 10125896"/>
                <a:gd name="connsiteY1806" fmla="*/ 8057829 h 14078567"/>
                <a:gd name="connsiteX1807" fmla="*/ 2525516 w 10125896"/>
                <a:gd name="connsiteY1807" fmla="*/ 8034003 h 14078567"/>
                <a:gd name="connsiteX1808" fmla="*/ 2515988 w 10125896"/>
                <a:gd name="connsiteY1808" fmla="*/ 8000647 h 14078567"/>
                <a:gd name="connsiteX1809" fmla="*/ 2525516 w 10125896"/>
                <a:gd name="connsiteY1809" fmla="*/ 7986352 h 14078567"/>
                <a:gd name="connsiteX1810" fmla="*/ 2558872 w 10125896"/>
                <a:gd name="connsiteY1810" fmla="*/ 7967291 h 14078567"/>
                <a:gd name="connsiteX1811" fmla="*/ 2573168 w 10125896"/>
                <a:gd name="connsiteY1811" fmla="*/ 7967291 h 14078567"/>
                <a:gd name="connsiteX1812" fmla="*/ 2587464 w 10125896"/>
                <a:gd name="connsiteY1812" fmla="*/ 7943466 h 14078567"/>
                <a:gd name="connsiteX1813" fmla="*/ 2544580 w 10125896"/>
                <a:gd name="connsiteY1813" fmla="*/ 7895815 h 14078567"/>
                <a:gd name="connsiteX1814" fmla="*/ 2501692 w 10125896"/>
                <a:gd name="connsiteY1814" fmla="*/ 7857693 h 14078567"/>
                <a:gd name="connsiteX1815" fmla="*/ 2492160 w 10125896"/>
                <a:gd name="connsiteY1815" fmla="*/ 7843398 h 14078567"/>
                <a:gd name="connsiteX1816" fmla="*/ 2482632 w 10125896"/>
                <a:gd name="connsiteY1816" fmla="*/ 7824337 h 14078567"/>
                <a:gd name="connsiteX1817" fmla="*/ 2473100 w 10125896"/>
                <a:gd name="connsiteY1817" fmla="*/ 7790982 h 14078567"/>
                <a:gd name="connsiteX1818" fmla="*/ 2458804 w 10125896"/>
                <a:gd name="connsiteY1818" fmla="*/ 7757626 h 14078567"/>
                <a:gd name="connsiteX1819" fmla="*/ 2439744 w 10125896"/>
                <a:gd name="connsiteY1819" fmla="*/ 7729035 h 14078567"/>
                <a:gd name="connsiteX1820" fmla="*/ 2415920 w 10125896"/>
                <a:gd name="connsiteY1820" fmla="*/ 7695679 h 14078567"/>
                <a:gd name="connsiteX1821" fmla="*/ 2344444 w 10125896"/>
                <a:gd name="connsiteY1821" fmla="*/ 7638497 h 14078567"/>
                <a:gd name="connsiteX1822" fmla="*/ 2320616 w 10125896"/>
                <a:gd name="connsiteY1822" fmla="*/ 7600377 h 14078567"/>
                <a:gd name="connsiteX1823" fmla="*/ 2296792 w 10125896"/>
                <a:gd name="connsiteY1823" fmla="*/ 7538430 h 14078567"/>
                <a:gd name="connsiteX1824" fmla="*/ 2287260 w 10125896"/>
                <a:gd name="connsiteY1824" fmla="*/ 7514605 h 14078567"/>
                <a:gd name="connsiteX1825" fmla="*/ 2277732 w 10125896"/>
                <a:gd name="connsiteY1825" fmla="*/ 7495544 h 14078567"/>
                <a:gd name="connsiteX1826" fmla="*/ 2225316 w 10125896"/>
                <a:gd name="connsiteY1826" fmla="*/ 7447893 h 14078567"/>
                <a:gd name="connsiteX1827" fmla="*/ 2220548 w 10125896"/>
                <a:gd name="connsiteY1827" fmla="*/ 7428832 h 14078567"/>
                <a:gd name="connsiteX1828" fmla="*/ 2272964 w 10125896"/>
                <a:gd name="connsiteY1828" fmla="*/ 7376415 h 14078567"/>
                <a:gd name="connsiteX1829" fmla="*/ 2277732 w 10125896"/>
                <a:gd name="connsiteY1829" fmla="*/ 7352590 h 14078567"/>
                <a:gd name="connsiteX1830" fmla="*/ 2253904 w 10125896"/>
                <a:gd name="connsiteY1830" fmla="*/ 7285879 h 14078567"/>
                <a:gd name="connsiteX1831" fmla="*/ 2234844 w 10125896"/>
                <a:gd name="connsiteY1831" fmla="*/ 7238227 h 14078567"/>
                <a:gd name="connsiteX1832" fmla="*/ 2211020 w 10125896"/>
                <a:gd name="connsiteY1832" fmla="*/ 7219167 h 14078567"/>
                <a:gd name="connsiteX1833" fmla="*/ 2177664 w 10125896"/>
                <a:gd name="connsiteY1833" fmla="*/ 7214401 h 14078567"/>
                <a:gd name="connsiteX1834" fmla="*/ 2144308 w 10125896"/>
                <a:gd name="connsiteY1834" fmla="*/ 7190576 h 14078567"/>
                <a:gd name="connsiteX1835" fmla="*/ 2115716 w 10125896"/>
                <a:gd name="connsiteY1835" fmla="*/ 7157220 h 14078567"/>
                <a:gd name="connsiteX1836" fmla="*/ 2091892 w 10125896"/>
                <a:gd name="connsiteY1836" fmla="*/ 7128629 h 14078567"/>
                <a:gd name="connsiteX1837" fmla="*/ 2049004 w 10125896"/>
                <a:gd name="connsiteY1837" fmla="*/ 7104803 h 14078567"/>
                <a:gd name="connsiteX1838" fmla="*/ 1977528 w 10125896"/>
                <a:gd name="connsiteY1838" fmla="*/ 7042857 h 14078567"/>
                <a:gd name="connsiteX1839" fmla="*/ 1867928 w 10125896"/>
                <a:gd name="connsiteY1839" fmla="*/ 6976146 h 14078567"/>
                <a:gd name="connsiteX1840" fmla="*/ 1815512 w 10125896"/>
                <a:gd name="connsiteY1840" fmla="*/ 6938026 h 14078567"/>
                <a:gd name="connsiteX1841" fmla="*/ 1786924 w 10125896"/>
                <a:gd name="connsiteY1841" fmla="*/ 6923729 h 14078567"/>
                <a:gd name="connsiteX1842" fmla="*/ 1748800 w 10125896"/>
                <a:gd name="connsiteY1842" fmla="*/ 6918964 h 14078567"/>
                <a:gd name="connsiteX1843" fmla="*/ 1677324 w 10125896"/>
                <a:gd name="connsiteY1843" fmla="*/ 6880843 h 14078567"/>
                <a:gd name="connsiteX1844" fmla="*/ 1615380 w 10125896"/>
                <a:gd name="connsiteY1844" fmla="*/ 6871313 h 14078567"/>
                <a:gd name="connsiteX1845" fmla="*/ 1572492 w 10125896"/>
                <a:gd name="connsiteY1845" fmla="*/ 6876078 h 14078567"/>
                <a:gd name="connsiteX1846" fmla="*/ 1562960 w 10125896"/>
                <a:gd name="connsiteY1846" fmla="*/ 6871313 h 14078567"/>
                <a:gd name="connsiteX1847" fmla="*/ 1534372 w 10125896"/>
                <a:gd name="connsiteY1847" fmla="*/ 6833192 h 14078567"/>
                <a:gd name="connsiteX1848" fmla="*/ 1486720 w 10125896"/>
                <a:gd name="connsiteY1848" fmla="*/ 6809367 h 14078567"/>
                <a:gd name="connsiteX1849" fmla="*/ 1467660 w 10125896"/>
                <a:gd name="connsiteY1849" fmla="*/ 6818897 h 14078567"/>
                <a:gd name="connsiteX1850" fmla="*/ 1439068 w 10125896"/>
                <a:gd name="connsiteY1850" fmla="*/ 6857018 h 14078567"/>
                <a:gd name="connsiteX1851" fmla="*/ 1400948 w 10125896"/>
                <a:gd name="connsiteY1851" fmla="*/ 6899905 h 14078567"/>
                <a:gd name="connsiteX1852" fmla="*/ 1381888 w 10125896"/>
                <a:gd name="connsiteY1852" fmla="*/ 6904669 h 14078567"/>
                <a:gd name="connsiteX1853" fmla="*/ 1358060 w 10125896"/>
                <a:gd name="connsiteY1853" fmla="*/ 6866548 h 14078567"/>
                <a:gd name="connsiteX1854" fmla="*/ 1343764 w 10125896"/>
                <a:gd name="connsiteY1854" fmla="*/ 6842722 h 14078567"/>
                <a:gd name="connsiteX1855" fmla="*/ 1329472 w 10125896"/>
                <a:gd name="connsiteY1855" fmla="*/ 6833192 h 14078567"/>
                <a:gd name="connsiteX1856" fmla="*/ 1319940 w 10125896"/>
                <a:gd name="connsiteY1856" fmla="*/ 6842722 h 14078567"/>
                <a:gd name="connsiteX1857" fmla="*/ 1291348 w 10125896"/>
                <a:gd name="connsiteY1857" fmla="*/ 6876078 h 14078567"/>
                <a:gd name="connsiteX1858" fmla="*/ 1267524 w 10125896"/>
                <a:gd name="connsiteY1858" fmla="*/ 6899905 h 14078567"/>
                <a:gd name="connsiteX1859" fmla="*/ 1234168 w 10125896"/>
                <a:gd name="connsiteY1859" fmla="*/ 6928494 h 14078567"/>
                <a:gd name="connsiteX1860" fmla="*/ 1210344 w 10125896"/>
                <a:gd name="connsiteY1860" fmla="*/ 6942790 h 14078567"/>
                <a:gd name="connsiteX1861" fmla="*/ 1172220 w 10125896"/>
                <a:gd name="connsiteY1861" fmla="*/ 6942790 h 14078567"/>
                <a:gd name="connsiteX1862" fmla="*/ 1162692 w 10125896"/>
                <a:gd name="connsiteY1862" fmla="*/ 6957086 h 14078567"/>
                <a:gd name="connsiteX1863" fmla="*/ 1148396 w 10125896"/>
                <a:gd name="connsiteY1863" fmla="*/ 6957086 h 14078567"/>
                <a:gd name="connsiteX1864" fmla="*/ 1134100 w 10125896"/>
                <a:gd name="connsiteY1864" fmla="*/ 6947556 h 14078567"/>
                <a:gd name="connsiteX1865" fmla="*/ 1115040 w 10125896"/>
                <a:gd name="connsiteY1865" fmla="*/ 6928494 h 14078567"/>
                <a:gd name="connsiteX1866" fmla="*/ 1100744 w 10125896"/>
                <a:gd name="connsiteY1866" fmla="*/ 6899905 h 14078567"/>
                <a:gd name="connsiteX1867" fmla="*/ 1086448 w 10125896"/>
                <a:gd name="connsiteY1867" fmla="*/ 6885608 h 14078567"/>
                <a:gd name="connsiteX1868" fmla="*/ 1072152 w 10125896"/>
                <a:gd name="connsiteY1868" fmla="*/ 6880843 h 14078567"/>
                <a:gd name="connsiteX1869" fmla="*/ 1043564 w 10125896"/>
                <a:gd name="connsiteY1869" fmla="*/ 6895139 h 14078567"/>
                <a:gd name="connsiteX1870" fmla="*/ 1010208 w 10125896"/>
                <a:gd name="connsiteY1870" fmla="*/ 6938026 h 14078567"/>
                <a:gd name="connsiteX1871" fmla="*/ 991148 w 10125896"/>
                <a:gd name="connsiteY1871" fmla="*/ 6947556 h 14078567"/>
                <a:gd name="connsiteX1872" fmla="*/ 981616 w 10125896"/>
                <a:gd name="connsiteY1872" fmla="*/ 6942790 h 14078567"/>
                <a:gd name="connsiteX1873" fmla="*/ 962556 w 10125896"/>
                <a:gd name="connsiteY1873" fmla="*/ 6933260 h 14078567"/>
                <a:gd name="connsiteX1874" fmla="*/ 929200 w 10125896"/>
                <a:gd name="connsiteY1874" fmla="*/ 6899905 h 14078567"/>
                <a:gd name="connsiteX1875" fmla="*/ 910140 w 10125896"/>
                <a:gd name="connsiteY1875" fmla="*/ 6899905 h 14078567"/>
                <a:gd name="connsiteX1876" fmla="*/ 895844 w 10125896"/>
                <a:gd name="connsiteY1876" fmla="*/ 6914199 h 14078567"/>
                <a:gd name="connsiteX1877" fmla="*/ 900608 w 10125896"/>
                <a:gd name="connsiteY1877" fmla="*/ 6942790 h 14078567"/>
                <a:gd name="connsiteX1878" fmla="*/ 933964 w 10125896"/>
                <a:gd name="connsiteY1878" fmla="*/ 7004737 h 14078567"/>
                <a:gd name="connsiteX1879" fmla="*/ 962556 w 10125896"/>
                <a:gd name="connsiteY1879" fmla="*/ 7052387 h 14078567"/>
                <a:gd name="connsiteX1880" fmla="*/ 938732 w 10125896"/>
                <a:gd name="connsiteY1880" fmla="*/ 7061917 h 14078567"/>
                <a:gd name="connsiteX1881" fmla="*/ 729064 w 10125896"/>
                <a:gd name="connsiteY1881" fmla="*/ 6995207 h 14078567"/>
                <a:gd name="connsiteX1882" fmla="*/ 705240 w 10125896"/>
                <a:gd name="connsiteY1882" fmla="*/ 6980911 h 14078567"/>
                <a:gd name="connsiteX1883" fmla="*/ 667116 w 10125896"/>
                <a:gd name="connsiteY1883" fmla="*/ 6942790 h 14078567"/>
                <a:gd name="connsiteX1884" fmla="*/ 633760 w 10125896"/>
                <a:gd name="connsiteY1884" fmla="*/ 6918964 h 14078567"/>
                <a:gd name="connsiteX1885" fmla="*/ 581344 w 10125896"/>
                <a:gd name="connsiteY1885" fmla="*/ 6857018 h 14078567"/>
                <a:gd name="connsiteX1886" fmla="*/ 538460 w 10125896"/>
                <a:gd name="connsiteY1886" fmla="*/ 6823662 h 14078567"/>
                <a:gd name="connsiteX1887" fmla="*/ 524164 w 10125896"/>
                <a:gd name="connsiteY1887" fmla="*/ 6795071 h 14078567"/>
                <a:gd name="connsiteX1888" fmla="*/ 519400 w 10125896"/>
                <a:gd name="connsiteY1888" fmla="*/ 6776010 h 14078567"/>
                <a:gd name="connsiteX1889" fmla="*/ 533696 w 10125896"/>
                <a:gd name="connsiteY1889" fmla="*/ 6752186 h 14078567"/>
                <a:gd name="connsiteX1890" fmla="*/ 619468 w 10125896"/>
                <a:gd name="connsiteY1890" fmla="*/ 6671178 h 14078567"/>
                <a:gd name="connsiteX1891" fmla="*/ 648056 w 10125896"/>
                <a:gd name="connsiteY1891" fmla="*/ 6652118 h 14078567"/>
                <a:gd name="connsiteX1892" fmla="*/ 714768 w 10125896"/>
                <a:gd name="connsiteY1892" fmla="*/ 6633058 h 14078567"/>
                <a:gd name="connsiteX1893" fmla="*/ 729064 w 10125896"/>
                <a:gd name="connsiteY1893" fmla="*/ 6618761 h 14078567"/>
                <a:gd name="connsiteX1894" fmla="*/ 733828 w 10125896"/>
                <a:gd name="connsiteY1894" fmla="*/ 6609231 h 14078567"/>
                <a:gd name="connsiteX1895" fmla="*/ 719536 w 10125896"/>
                <a:gd name="connsiteY1895" fmla="*/ 6590170 h 14078567"/>
                <a:gd name="connsiteX1896" fmla="*/ 633760 w 10125896"/>
                <a:gd name="connsiteY1896" fmla="*/ 6599701 h 14078567"/>
                <a:gd name="connsiteX1897" fmla="*/ 557520 w 10125896"/>
                <a:gd name="connsiteY1897" fmla="*/ 6585405 h 14078567"/>
                <a:gd name="connsiteX1898" fmla="*/ 490808 w 10125896"/>
                <a:gd name="connsiteY1898" fmla="*/ 6552050 h 14078567"/>
                <a:gd name="connsiteX1899" fmla="*/ 481276 w 10125896"/>
                <a:gd name="connsiteY1899" fmla="*/ 6542520 h 14078567"/>
                <a:gd name="connsiteX1900" fmla="*/ 471748 w 10125896"/>
                <a:gd name="connsiteY1900" fmla="*/ 6518694 h 14078567"/>
                <a:gd name="connsiteX1901" fmla="*/ 457452 w 10125896"/>
                <a:gd name="connsiteY1901" fmla="*/ 6490103 h 14078567"/>
                <a:gd name="connsiteX1902" fmla="*/ 462216 w 10125896"/>
                <a:gd name="connsiteY1902" fmla="*/ 6456748 h 14078567"/>
                <a:gd name="connsiteX1903" fmla="*/ 476512 w 10125896"/>
                <a:gd name="connsiteY1903" fmla="*/ 6418626 h 14078567"/>
                <a:gd name="connsiteX1904" fmla="*/ 486044 w 10125896"/>
                <a:gd name="connsiteY1904" fmla="*/ 6390035 h 14078567"/>
                <a:gd name="connsiteX1905" fmla="*/ 490808 w 10125896"/>
                <a:gd name="connsiteY1905" fmla="*/ 6375740 h 14078567"/>
                <a:gd name="connsiteX1906" fmla="*/ 405036 w 10125896"/>
                <a:gd name="connsiteY1906" fmla="*/ 6471042 h 14078567"/>
                <a:gd name="connsiteX1907" fmla="*/ 371680 w 10125896"/>
                <a:gd name="connsiteY1907" fmla="*/ 6504399 h 14078567"/>
                <a:gd name="connsiteX1908" fmla="*/ 343088 w 10125896"/>
                <a:gd name="connsiteY1908" fmla="*/ 6494869 h 14078567"/>
                <a:gd name="connsiteX1909" fmla="*/ 324028 w 10125896"/>
                <a:gd name="connsiteY1909" fmla="*/ 6475807 h 14078567"/>
                <a:gd name="connsiteX1910" fmla="*/ 319264 w 10125896"/>
                <a:gd name="connsiteY1910" fmla="*/ 6461512 h 14078567"/>
                <a:gd name="connsiteX1911" fmla="*/ 319264 w 10125896"/>
                <a:gd name="connsiteY1911" fmla="*/ 6442451 h 14078567"/>
                <a:gd name="connsiteX1912" fmla="*/ 319264 w 10125896"/>
                <a:gd name="connsiteY1912" fmla="*/ 6428156 h 14078567"/>
                <a:gd name="connsiteX1913" fmla="*/ 324028 w 10125896"/>
                <a:gd name="connsiteY1913" fmla="*/ 6418626 h 14078567"/>
                <a:gd name="connsiteX1914" fmla="*/ 281144 w 10125896"/>
                <a:gd name="connsiteY1914" fmla="*/ 6380505 h 14078567"/>
                <a:gd name="connsiteX1915" fmla="*/ 262084 w 10125896"/>
                <a:gd name="connsiteY1915" fmla="*/ 6351914 h 14078567"/>
                <a:gd name="connsiteX1916" fmla="*/ 262084 w 10125896"/>
                <a:gd name="connsiteY1916" fmla="*/ 6318558 h 14078567"/>
                <a:gd name="connsiteX1917" fmla="*/ 276376 w 10125896"/>
                <a:gd name="connsiteY1917" fmla="*/ 6285202 h 14078567"/>
                <a:gd name="connsiteX1918" fmla="*/ 290672 w 10125896"/>
                <a:gd name="connsiteY1918" fmla="*/ 6261377 h 14078567"/>
                <a:gd name="connsiteX1919" fmla="*/ 304968 w 10125896"/>
                <a:gd name="connsiteY1919" fmla="*/ 6247082 h 14078567"/>
                <a:gd name="connsiteX1920" fmla="*/ 347856 w 10125896"/>
                <a:gd name="connsiteY1920" fmla="*/ 6232786 h 14078567"/>
                <a:gd name="connsiteX1921" fmla="*/ 495572 w 10125896"/>
                <a:gd name="connsiteY1921" fmla="*/ 6208961 h 14078567"/>
                <a:gd name="connsiteX1922" fmla="*/ 600408 w 10125896"/>
                <a:gd name="connsiteY1922" fmla="*/ 6232786 h 14078567"/>
                <a:gd name="connsiteX1923" fmla="*/ 638528 w 10125896"/>
                <a:gd name="connsiteY1923" fmla="*/ 6156544 h 14078567"/>
                <a:gd name="connsiteX1924" fmla="*/ 662352 w 10125896"/>
                <a:gd name="connsiteY1924" fmla="*/ 6127953 h 14078567"/>
                <a:gd name="connsiteX1925" fmla="*/ 733828 w 10125896"/>
                <a:gd name="connsiteY1925" fmla="*/ 6104127 h 14078567"/>
                <a:gd name="connsiteX1926" fmla="*/ 843428 w 10125896"/>
                <a:gd name="connsiteY1926" fmla="*/ 6099363 h 14078567"/>
                <a:gd name="connsiteX1927" fmla="*/ 919668 w 10125896"/>
                <a:gd name="connsiteY1927" fmla="*/ 6113658 h 14078567"/>
                <a:gd name="connsiteX1928" fmla="*/ 953024 w 10125896"/>
                <a:gd name="connsiteY1928" fmla="*/ 6132718 h 14078567"/>
                <a:gd name="connsiteX1929" fmla="*/ 1005440 w 10125896"/>
                <a:gd name="connsiteY1929" fmla="*/ 6175604 h 14078567"/>
                <a:gd name="connsiteX1930" fmla="*/ 1005440 w 10125896"/>
                <a:gd name="connsiteY1930" fmla="*/ 6161309 h 14078567"/>
                <a:gd name="connsiteX1931" fmla="*/ 995912 w 10125896"/>
                <a:gd name="connsiteY1931" fmla="*/ 6123188 h 14078567"/>
                <a:gd name="connsiteX1932" fmla="*/ 995912 w 10125896"/>
                <a:gd name="connsiteY1932" fmla="*/ 6094597 h 14078567"/>
                <a:gd name="connsiteX1933" fmla="*/ 1014972 w 10125896"/>
                <a:gd name="connsiteY1933" fmla="*/ 6037416 h 14078567"/>
                <a:gd name="connsiteX1934" fmla="*/ 1024504 w 10125896"/>
                <a:gd name="connsiteY1934" fmla="*/ 6004061 h 14078567"/>
                <a:gd name="connsiteX1935" fmla="*/ 1019736 w 10125896"/>
                <a:gd name="connsiteY1935" fmla="*/ 5970704 h 14078567"/>
                <a:gd name="connsiteX1936" fmla="*/ 995912 w 10125896"/>
                <a:gd name="connsiteY1936" fmla="*/ 5932584 h 14078567"/>
                <a:gd name="connsiteX1937" fmla="*/ 957792 w 10125896"/>
                <a:gd name="connsiteY1937" fmla="*/ 5884933 h 14078567"/>
                <a:gd name="connsiteX1938" fmla="*/ 938732 w 10125896"/>
                <a:gd name="connsiteY1938" fmla="*/ 5880167 h 14078567"/>
                <a:gd name="connsiteX1939" fmla="*/ 914904 w 10125896"/>
                <a:gd name="connsiteY1939" fmla="*/ 5894463 h 14078567"/>
                <a:gd name="connsiteX1940" fmla="*/ 886312 w 10125896"/>
                <a:gd name="connsiteY1940" fmla="*/ 5918288 h 14078567"/>
                <a:gd name="connsiteX1941" fmla="*/ 829132 w 10125896"/>
                <a:gd name="connsiteY1941" fmla="*/ 5984999 h 14078567"/>
                <a:gd name="connsiteX1942" fmla="*/ 800540 w 10125896"/>
                <a:gd name="connsiteY1942" fmla="*/ 5999295 h 14078567"/>
                <a:gd name="connsiteX1943" fmla="*/ 757656 w 10125896"/>
                <a:gd name="connsiteY1943" fmla="*/ 6004061 h 14078567"/>
                <a:gd name="connsiteX1944" fmla="*/ 733828 w 10125896"/>
                <a:gd name="connsiteY1944" fmla="*/ 5994531 h 14078567"/>
                <a:gd name="connsiteX1945" fmla="*/ 710004 w 10125896"/>
                <a:gd name="connsiteY1945" fmla="*/ 5984999 h 14078567"/>
                <a:gd name="connsiteX1946" fmla="*/ 671884 w 10125896"/>
                <a:gd name="connsiteY1946" fmla="*/ 5946878 h 14078567"/>
                <a:gd name="connsiteX1947" fmla="*/ 657588 w 10125896"/>
                <a:gd name="connsiteY1947" fmla="*/ 5942114 h 14078567"/>
                <a:gd name="connsiteX1948" fmla="*/ 638528 w 10125896"/>
                <a:gd name="connsiteY1948" fmla="*/ 5956409 h 14078567"/>
                <a:gd name="connsiteX1949" fmla="*/ 619468 w 10125896"/>
                <a:gd name="connsiteY1949" fmla="*/ 5994531 h 14078567"/>
                <a:gd name="connsiteX1950" fmla="*/ 600408 w 10125896"/>
                <a:gd name="connsiteY1950" fmla="*/ 6023119 h 14078567"/>
                <a:gd name="connsiteX1951" fmla="*/ 581344 w 10125896"/>
                <a:gd name="connsiteY1951" fmla="*/ 6037416 h 14078567"/>
                <a:gd name="connsiteX1952" fmla="*/ 567052 w 10125896"/>
                <a:gd name="connsiteY1952" fmla="*/ 6042182 h 14078567"/>
                <a:gd name="connsiteX1953" fmla="*/ 543224 w 10125896"/>
                <a:gd name="connsiteY1953" fmla="*/ 6042182 h 14078567"/>
                <a:gd name="connsiteX1954" fmla="*/ 443156 w 10125896"/>
                <a:gd name="connsiteY1954" fmla="*/ 5980234 h 14078567"/>
                <a:gd name="connsiteX1955" fmla="*/ 424096 w 10125896"/>
                <a:gd name="connsiteY1955" fmla="*/ 5956409 h 14078567"/>
                <a:gd name="connsiteX1956" fmla="*/ 419332 w 10125896"/>
                <a:gd name="connsiteY1956" fmla="*/ 5918288 h 14078567"/>
                <a:gd name="connsiteX1957" fmla="*/ 390740 w 10125896"/>
                <a:gd name="connsiteY1957" fmla="*/ 5880167 h 14078567"/>
                <a:gd name="connsiteX1958" fmla="*/ 357384 w 10125896"/>
                <a:gd name="connsiteY1958" fmla="*/ 5870637 h 14078567"/>
                <a:gd name="connsiteX1959" fmla="*/ 352620 w 10125896"/>
                <a:gd name="connsiteY1959" fmla="*/ 5856340 h 14078567"/>
                <a:gd name="connsiteX1960" fmla="*/ 395504 w 10125896"/>
                <a:gd name="connsiteY1960" fmla="*/ 5799159 h 14078567"/>
                <a:gd name="connsiteX1961" fmla="*/ 428860 w 10125896"/>
                <a:gd name="connsiteY1961" fmla="*/ 5775335 h 14078567"/>
                <a:gd name="connsiteX1962" fmla="*/ 424096 w 10125896"/>
                <a:gd name="connsiteY1962" fmla="*/ 5765805 h 14078567"/>
                <a:gd name="connsiteX1963" fmla="*/ 376444 w 10125896"/>
                <a:gd name="connsiteY1963" fmla="*/ 5765805 h 14078567"/>
                <a:gd name="connsiteX1964" fmla="*/ 343088 w 10125896"/>
                <a:gd name="connsiteY1964" fmla="*/ 5799159 h 14078567"/>
                <a:gd name="connsiteX1965" fmla="*/ 328792 w 10125896"/>
                <a:gd name="connsiteY1965" fmla="*/ 5803925 h 14078567"/>
                <a:gd name="connsiteX1966" fmla="*/ 285908 w 10125896"/>
                <a:gd name="connsiteY1966" fmla="*/ 5803925 h 14078567"/>
                <a:gd name="connsiteX1967" fmla="*/ 243020 w 10125896"/>
                <a:gd name="connsiteY1967" fmla="*/ 5789629 h 14078567"/>
                <a:gd name="connsiteX1968" fmla="*/ 223960 w 10125896"/>
                <a:gd name="connsiteY1968" fmla="*/ 5775335 h 14078567"/>
                <a:gd name="connsiteX1969" fmla="*/ 204900 w 10125896"/>
                <a:gd name="connsiteY1969" fmla="*/ 5741977 h 14078567"/>
                <a:gd name="connsiteX1970" fmla="*/ 181076 w 10125896"/>
                <a:gd name="connsiteY1970" fmla="*/ 5722918 h 14078567"/>
                <a:gd name="connsiteX1971" fmla="*/ 119128 w 10125896"/>
                <a:gd name="connsiteY1971" fmla="*/ 5694326 h 14078567"/>
                <a:gd name="connsiteX1972" fmla="*/ 104832 w 10125896"/>
                <a:gd name="connsiteY1972" fmla="*/ 5680031 h 14078567"/>
                <a:gd name="connsiteX1973" fmla="*/ 90536 w 10125896"/>
                <a:gd name="connsiteY1973" fmla="*/ 5656206 h 14078567"/>
                <a:gd name="connsiteX1974" fmla="*/ 38120 w 10125896"/>
                <a:gd name="connsiteY1974" fmla="*/ 5584729 h 14078567"/>
                <a:gd name="connsiteX1975" fmla="*/ 4764 w 10125896"/>
                <a:gd name="connsiteY1975" fmla="*/ 5532312 h 14078567"/>
                <a:gd name="connsiteX1976" fmla="*/ 0 w 10125896"/>
                <a:gd name="connsiteY1976" fmla="*/ 5503722 h 14078567"/>
                <a:gd name="connsiteX1977" fmla="*/ 38120 w 10125896"/>
                <a:gd name="connsiteY1977" fmla="*/ 5437009 h 14078567"/>
                <a:gd name="connsiteX1978" fmla="*/ 38120 w 10125896"/>
                <a:gd name="connsiteY1978" fmla="*/ 5422714 h 14078567"/>
                <a:gd name="connsiteX1979" fmla="*/ 23824 w 10125896"/>
                <a:gd name="connsiteY1979" fmla="*/ 5394123 h 14078567"/>
                <a:gd name="connsiteX1980" fmla="*/ 14296 w 10125896"/>
                <a:gd name="connsiteY1980" fmla="*/ 5370298 h 14078567"/>
                <a:gd name="connsiteX1981" fmla="*/ 23824 w 10125896"/>
                <a:gd name="connsiteY1981" fmla="*/ 5341708 h 14078567"/>
                <a:gd name="connsiteX1982" fmla="*/ 52416 w 10125896"/>
                <a:gd name="connsiteY1982" fmla="*/ 5279760 h 14078567"/>
                <a:gd name="connsiteX1983" fmla="*/ 66712 w 10125896"/>
                <a:gd name="connsiteY1983" fmla="*/ 5260701 h 14078567"/>
                <a:gd name="connsiteX1984" fmla="*/ 123892 w 10125896"/>
                <a:gd name="connsiteY1984" fmla="*/ 5222579 h 14078567"/>
                <a:gd name="connsiteX1985" fmla="*/ 181076 w 10125896"/>
                <a:gd name="connsiteY1985" fmla="*/ 5170163 h 14078567"/>
                <a:gd name="connsiteX1986" fmla="*/ 204900 w 10125896"/>
                <a:gd name="connsiteY1986" fmla="*/ 5155866 h 14078567"/>
                <a:gd name="connsiteX1987" fmla="*/ 223960 w 10125896"/>
                <a:gd name="connsiteY1987" fmla="*/ 5151101 h 14078567"/>
                <a:gd name="connsiteX1988" fmla="*/ 300204 w 10125896"/>
                <a:gd name="connsiteY1988" fmla="*/ 5155866 h 14078567"/>
                <a:gd name="connsiteX1989" fmla="*/ 324028 w 10125896"/>
                <a:gd name="connsiteY1989" fmla="*/ 5141571 h 14078567"/>
                <a:gd name="connsiteX1990" fmla="*/ 343088 w 10125896"/>
                <a:gd name="connsiteY1990" fmla="*/ 5112982 h 14078567"/>
                <a:gd name="connsiteX1991" fmla="*/ 376444 w 10125896"/>
                <a:gd name="connsiteY1991" fmla="*/ 5084390 h 14078567"/>
                <a:gd name="connsiteX1992" fmla="*/ 443156 w 10125896"/>
                <a:gd name="connsiteY1992" fmla="*/ 5046270 h 14078567"/>
                <a:gd name="connsiteX1993" fmla="*/ 600408 w 10125896"/>
                <a:gd name="connsiteY1993" fmla="*/ 4979559 h 14078567"/>
                <a:gd name="connsiteX1994" fmla="*/ 609936 w 10125896"/>
                <a:gd name="connsiteY1994" fmla="*/ 4974792 h 14078567"/>
                <a:gd name="connsiteX1995" fmla="*/ 609936 w 10125896"/>
                <a:gd name="connsiteY1995" fmla="*/ 4960497 h 14078567"/>
                <a:gd name="connsiteX1996" fmla="*/ 595640 w 10125896"/>
                <a:gd name="connsiteY1996" fmla="*/ 4927141 h 14078567"/>
                <a:gd name="connsiteX1997" fmla="*/ 590876 w 10125896"/>
                <a:gd name="connsiteY1997" fmla="*/ 4912846 h 14078567"/>
                <a:gd name="connsiteX1998" fmla="*/ 624232 w 10125896"/>
                <a:gd name="connsiteY1998" fmla="*/ 4879491 h 14078567"/>
                <a:gd name="connsiteX1999" fmla="*/ 695708 w 10125896"/>
                <a:gd name="connsiteY1999" fmla="*/ 4831838 h 14078567"/>
                <a:gd name="connsiteX2000" fmla="*/ 743360 w 10125896"/>
                <a:gd name="connsiteY2000" fmla="*/ 4808013 h 14078567"/>
                <a:gd name="connsiteX2001" fmla="*/ 771952 w 10125896"/>
                <a:gd name="connsiteY2001" fmla="*/ 4808013 h 14078567"/>
                <a:gd name="connsiteX2002" fmla="*/ 800540 w 10125896"/>
                <a:gd name="connsiteY2002" fmla="*/ 4798483 h 14078567"/>
                <a:gd name="connsiteX2003" fmla="*/ 833896 w 10125896"/>
                <a:gd name="connsiteY2003" fmla="*/ 4769892 h 14078567"/>
                <a:gd name="connsiteX2004" fmla="*/ 852956 w 10125896"/>
                <a:gd name="connsiteY2004" fmla="*/ 4765127 h 14078567"/>
                <a:gd name="connsiteX2005" fmla="*/ 972084 w 10125896"/>
                <a:gd name="connsiteY2005" fmla="*/ 4750830 h 14078567"/>
                <a:gd name="connsiteX2006" fmla="*/ 1029268 w 10125896"/>
                <a:gd name="connsiteY2006" fmla="*/ 4765127 h 14078567"/>
                <a:gd name="connsiteX2007" fmla="*/ 1053092 w 10125896"/>
                <a:gd name="connsiteY2007" fmla="*/ 4765127 h 14078567"/>
                <a:gd name="connsiteX2008" fmla="*/ 1072152 w 10125896"/>
                <a:gd name="connsiteY2008" fmla="*/ 4755597 h 14078567"/>
                <a:gd name="connsiteX2009" fmla="*/ 1091216 w 10125896"/>
                <a:gd name="connsiteY2009" fmla="*/ 4722242 h 14078567"/>
                <a:gd name="connsiteX2010" fmla="*/ 1134100 w 10125896"/>
                <a:gd name="connsiteY2010" fmla="*/ 4636468 h 14078567"/>
                <a:gd name="connsiteX2011" fmla="*/ 1157924 w 10125896"/>
                <a:gd name="connsiteY2011" fmla="*/ 4584053 h 14078567"/>
                <a:gd name="connsiteX2012" fmla="*/ 1176988 w 10125896"/>
                <a:gd name="connsiteY2012" fmla="*/ 4498280 h 14078567"/>
                <a:gd name="connsiteX2013" fmla="*/ 1205576 w 10125896"/>
                <a:gd name="connsiteY2013" fmla="*/ 4369621 h 14078567"/>
                <a:gd name="connsiteX2014" fmla="*/ 1224636 w 10125896"/>
                <a:gd name="connsiteY2014" fmla="*/ 4240962 h 14078567"/>
                <a:gd name="connsiteX2015" fmla="*/ 1238932 w 10125896"/>
                <a:gd name="connsiteY2015" fmla="*/ 4112305 h 14078567"/>
                <a:gd name="connsiteX2016" fmla="*/ 1248464 w 10125896"/>
                <a:gd name="connsiteY2016" fmla="*/ 4036063 h 14078567"/>
                <a:gd name="connsiteX2017" fmla="*/ 1253228 w 10125896"/>
                <a:gd name="connsiteY2017" fmla="*/ 4007472 h 14078567"/>
                <a:gd name="connsiteX2018" fmla="*/ 1277056 w 10125896"/>
                <a:gd name="connsiteY2018" fmla="*/ 3969351 h 14078567"/>
                <a:gd name="connsiteX2019" fmla="*/ 1305644 w 10125896"/>
                <a:gd name="connsiteY2019" fmla="*/ 3940760 h 14078567"/>
                <a:gd name="connsiteX2020" fmla="*/ 1348532 w 10125896"/>
                <a:gd name="connsiteY2020" fmla="*/ 3916934 h 14078567"/>
                <a:gd name="connsiteX2021" fmla="*/ 1343764 w 10125896"/>
                <a:gd name="connsiteY2021" fmla="*/ 3907404 h 14078567"/>
                <a:gd name="connsiteX2022" fmla="*/ 1324704 w 10125896"/>
                <a:gd name="connsiteY2022" fmla="*/ 3883578 h 14078567"/>
                <a:gd name="connsiteX2023" fmla="*/ 1310412 w 10125896"/>
                <a:gd name="connsiteY2023" fmla="*/ 3878813 h 14078567"/>
                <a:gd name="connsiteX2024" fmla="*/ 1291348 w 10125896"/>
                <a:gd name="connsiteY2024" fmla="*/ 3883578 h 14078567"/>
                <a:gd name="connsiteX2025" fmla="*/ 1262760 w 10125896"/>
                <a:gd name="connsiteY2025" fmla="*/ 3912169 h 14078567"/>
                <a:gd name="connsiteX2026" fmla="*/ 1224636 w 10125896"/>
                <a:gd name="connsiteY2026" fmla="*/ 3931229 h 14078567"/>
                <a:gd name="connsiteX2027" fmla="*/ 1186516 w 10125896"/>
                <a:gd name="connsiteY2027" fmla="*/ 3926464 h 14078567"/>
                <a:gd name="connsiteX2028" fmla="*/ 1162692 w 10125896"/>
                <a:gd name="connsiteY2028" fmla="*/ 3935994 h 14078567"/>
                <a:gd name="connsiteX2029" fmla="*/ 1134100 w 10125896"/>
                <a:gd name="connsiteY2029" fmla="*/ 3964586 h 14078567"/>
                <a:gd name="connsiteX2030" fmla="*/ 1095980 w 10125896"/>
                <a:gd name="connsiteY2030" fmla="*/ 3983646 h 14078567"/>
                <a:gd name="connsiteX2031" fmla="*/ 1067388 w 10125896"/>
                <a:gd name="connsiteY2031" fmla="*/ 3978880 h 14078567"/>
                <a:gd name="connsiteX2032" fmla="*/ 1019736 w 10125896"/>
                <a:gd name="connsiteY2032" fmla="*/ 3940760 h 14078567"/>
                <a:gd name="connsiteX2033" fmla="*/ 995912 w 10125896"/>
                <a:gd name="connsiteY2033" fmla="*/ 3935994 h 14078567"/>
                <a:gd name="connsiteX2034" fmla="*/ 933964 w 10125896"/>
                <a:gd name="connsiteY2034" fmla="*/ 3935994 h 14078567"/>
                <a:gd name="connsiteX2035" fmla="*/ 914904 w 10125896"/>
                <a:gd name="connsiteY2035" fmla="*/ 3921699 h 14078567"/>
                <a:gd name="connsiteX2036" fmla="*/ 900608 w 10125896"/>
                <a:gd name="connsiteY2036" fmla="*/ 3893109 h 14078567"/>
                <a:gd name="connsiteX2037" fmla="*/ 886312 w 10125896"/>
                <a:gd name="connsiteY2037" fmla="*/ 3854988 h 14078567"/>
                <a:gd name="connsiteX2038" fmla="*/ 876784 w 10125896"/>
                <a:gd name="connsiteY2038" fmla="*/ 3802572 h 14078567"/>
                <a:gd name="connsiteX2039" fmla="*/ 876784 w 10125896"/>
                <a:gd name="connsiteY2039" fmla="*/ 3750155 h 14078567"/>
                <a:gd name="connsiteX2040" fmla="*/ 900608 w 10125896"/>
                <a:gd name="connsiteY2040" fmla="*/ 3654853 h 14078567"/>
                <a:gd name="connsiteX2041" fmla="*/ 910140 w 10125896"/>
                <a:gd name="connsiteY2041" fmla="*/ 3626262 h 14078567"/>
                <a:gd name="connsiteX2042" fmla="*/ 972084 w 10125896"/>
                <a:gd name="connsiteY2042" fmla="*/ 3516663 h 14078567"/>
                <a:gd name="connsiteX2043" fmla="*/ 1005440 w 10125896"/>
                <a:gd name="connsiteY2043" fmla="*/ 3464247 h 14078567"/>
                <a:gd name="connsiteX2044" fmla="*/ 1043564 w 10125896"/>
                <a:gd name="connsiteY2044" fmla="*/ 3426127 h 14078567"/>
                <a:gd name="connsiteX2045" fmla="*/ 1072152 w 10125896"/>
                <a:gd name="connsiteY2045" fmla="*/ 3402301 h 14078567"/>
                <a:gd name="connsiteX2046" fmla="*/ 1095980 w 10125896"/>
                <a:gd name="connsiteY2046" fmla="*/ 3392770 h 14078567"/>
                <a:gd name="connsiteX2047" fmla="*/ 1119804 w 10125896"/>
                <a:gd name="connsiteY2047" fmla="*/ 3368944 h 14078567"/>
                <a:gd name="connsiteX2048" fmla="*/ 1167456 w 10125896"/>
                <a:gd name="connsiteY2048" fmla="*/ 3287938 h 14078567"/>
                <a:gd name="connsiteX2049" fmla="*/ 1210344 w 10125896"/>
                <a:gd name="connsiteY2049" fmla="*/ 3221225 h 14078567"/>
                <a:gd name="connsiteX2050" fmla="*/ 1267524 w 10125896"/>
                <a:gd name="connsiteY2050" fmla="*/ 3092568 h 14078567"/>
                <a:gd name="connsiteX2051" fmla="*/ 1296116 w 10125896"/>
                <a:gd name="connsiteY2051" fmla="*/ 3059211 h 14078567"/>
                <a:gd name="connsiteX2052" fmla="*/ 1396184 w 10125896"/>
                <a:gd name="connsiteY2052" fmla="*/ 3002030 h 14078567"/>
                <a:gd name="connsiteX2053" fmla="*/ 1420008 w 10125896"/>
                <a:gd name="connsiteY2053" fmla="*/ 3002030 h 14078567"/>
                <a:gd name="connsiteX2054" fmla="*/ 1443832 w 10125896"/>
                <a:gd name="connsiteY2054" fmla="*/ 3016325 h 14078567"/>
                <a:gd name="connsiteX2055" fmla="*/ 1462896 w 10125896"/>
                <a:gd name="connsiteY2055" fmla="*/ 3044916 h 14078567"/>
                <a:gd name="connsiteX2056" fmla="*/ 1524840 w 10125896"/>
                <a:gd name="connsiteY2056" fmla="*/ 3173575 h 14078567"/>
                <a:gd name="connsiteX2057" fmla="*/ 1529604 w 10125896"/>
                <a:gd name="connsiteY2057" fmla="*/ 3168809 h 14078567"/>
                <a:gd name="connsiteX2058" fmla="*/ 1520076 w 10125896"/>
                <a:gd name="connsiteY2058" fmla="*/ 3121158 h 14078567"/>
                <a:gd name="connsiteX2059" fmla="*/ 1496248 w 10125896"/>
                <a:gd name="connsiteY2059" fmla="*/ 2973439 h 14078567"/>
                <a:gd name="connsiteX2060" fmla="*/ 1501016 w 10125896"/>
                <a:gd name="connsiteY2060" fmla="*/ 2916258 h 14078567"/>
                <a:gd name="connsiteX2061" fmla="*/ 1534372 w 10125896"/>
                <a:gd name="connsiteY2061" fmla="*/ 2849546 h 14078567"/>
                <a:gd name="connsiteX2062" fmla="*/ 1548668 w 10125896"/>
                <a:gd name="connsiteY2062" fmla="*/ 2840016 h 14078567"/>
                <a:gd name="connsiteX2063" fmla="*/ 1586788 w 10125896"/>
                <a:gd name="connsiteY2063" fmla="*/ 2844781 h 14078567"/>
                <a:gd name="connsiteX2064" fmla="*/ 1643968 w 10125896"/>
                <a:gd name="connsiteY2064" fmla="*/ 2863841 h 14078567"/>
                <a:gd name="connsiteX2065" fmla="*/ 1682088 w 10125896"/>
                <a:gd name="connsiteY2065" fmla="*/ 2887667 h 14078567"/>
                <a:gd name="connsiteX2066" fmla="*/ 1710680 w 10125896"/>
                <a:gd name="connsiteY2066" fmla="*/ 2921023 h 14078567"/>
                <a:gd name="connsiteX2067" fmla="*/ 1748800 w 10125896"/>
                <a:gd name="connsiteY2067" fmla="*/ 2944849 h 14078567"/>
                <a:gd name="connsiteX2068" fmla="*/ 1767864 w 10125896"/>
                <a:gd name="connsiteY2068" fmla="*/ 2940084 h 14078567"/>
                <a:gd name="connsiteX2069" fmla="*/ 1777392 w 10125896"/>
                <a:gd name="connsiteY2069" fmla="*/ 2925788 h 14078567"/>
                <a:gd name="connsiteX2070" fmla="*/ 1796452 w 10125896"/>
                <a:gd name="connsiteY2070" fmla="*/ 2868607 h 14078567"/>
                <a:gd name="connsiteX2071" fmla="*/ 1820280 w 10125896"/>
                <a:gd name="connsiteY2071" fmla="*/ 2773304 h 14078567"/>
                <a:gd name="connsiteX2072" fmla="*/ 1829808 w 10125896"/>
                <a:gd name="connsiteY2072" fmla="*/ 2654176 h 14078567"/>
                <a:gd name="connsiteX2073" fmla="*/ 1825044 w 10125896"/>
                <a:gd name="connsiteY2073" fmla="*/ 2511222 h 14078567"/>
                <a:gd name="connsiteX2074" fmla="*/ 1820280 w 10125896"/>
                <a:gd name="connsiteY2074" fmla="*/ 2406389 h 14078567"/>
                <a:gd name="connsiteX2075" fmla="*/ 1810748 w 10125896"/>
                <a:gd name="connsiteY2075" fmla="*/ 2339678 h 14078567"/>
                <a:gd name="connsiteX2076" fmla="*/ 1815512 w 10125896"/>
                <a:gd name="connsiteY2076" fmla="*/ 2282496 h 14078567"/>
                <a:gd name="connsiteX2077" fmla="*/ 1844104 w 10125896"/>
                <a:gd name="connsiteY2077" fmla="*/ 2211019 h 14078567"/>
                <a:gd name="connsiteX2078" fmla="*/ 1872696 w 10125896"/>
                <a:gd name="connsiteY2078" fmla="*/ 2163368 h 14078567"/>
                <a:gd name="connsiteX2079" fmla="*/ 1934640 w 10125896"/>
                <a:gd name="connsiteY2079" fmla="*/ 2091891 h 14078567"/>
                <a:gd name="connsiteX2080" fmla="*/ 1987060 w 10125896"/>
                <a:gd name="connsiteY2080" fmla="*/ 2072830 h 14078567"/>
                <a:gd name="connsiteX2081" fmla="*/ 2020412 w 10125896"/>
                <a:gd name="connsiteY2081" fmla="*/ 2077596 h 14078567"/>
                <a:gd name="connsiteX2082" fmla="*/ 2058536 w 10125896"/>
                <a:gd name="connsiteY2082" fmla="*/ 2110951 h 14078567"/>
                <a:gd name="connsiteX2083" fmla="*/ 2115716 w 10125896"/>
                <a:gd name="connsiteY2083" fmla="*/ 2130012 h 14078567"/>
                <a:gd name="connsiteX2084" fmla="*/ 2163368 w 10125896"/>
                <a:gd name="connsiteY2084" fmla="*/ 2196724 h 14078567"/>
                <a:gd name="connsiteX2085" fmla="*/ 2249140 w 10125896"/>
                <a:gd name="connsiteY2085" fmla="*/ 2344443 h 14078567"/>
                <a:gd name="connsiteX2086" fmla="*/ 2301556 w 10125896"/>
                <a:gd name="connsiteY2086" fmla="*/ 2415920 h 14078567"/>
                <a:gd name="connsiteX2087" fmla="*/ 2349208 w 10125896"/>
                <a:gd name="connsiteY2087" fmla="*/ 2449275 h 14078567"/>
                <a:gd name="connsiteX2088" fmla="*/ 2392092 w 10125896"/>
                <a:gd name="connsiteY2088" fmla="*/ 2501692 h 14078567"/>
                <a:gd name="connsiteX2089" fmla="*/ 2458804 w 10125896"/>
                <a:gd name="connsiteY2089" fmla="*/ 2620820 h 14078567"/>
                <a:gd name="connsiteX2090" fmla="*/ 2492160 w 10125896"/>
                <a:gd name="connsiteY2090" fmla="*/ 2668471 h 14078567"/>
                <a:gd name="connsiteX2091" fmla="*/ 2511224 w 10125896"/>
                <a:gd name="connsiteY2091" fmla="*/ 2687532 h 14078567"/>
                <a:gd name="connsiteX2092" fmla="*/ 2530284 w 10125896"/>
                <a:gd name="connsiteY2092" fmla="*/ 2687532 h 14078567"/>
                <a:gd name="connsiteX2093" fmla="*/ 2525516 w 10125896"/>
                <a:gd name="connsiteY2093" fmla="*/ 2658941 h 14078567"/>
                <a:gd name="connsiteX2094" fmla="*/ 2492160 w 10125896"/>
                <a:gd name="connsiteY2094" fmla="*/ 2587464 h 14078567"/>
                <a:gd name="connsiteX2095" fmla="*/ 2444512 w 10125896"/>
                <a:gd name="connsiteY2095" fmla="*/ 2511222 h 14078567"/>
                <a:gd name="connsiteX2096" fmla="*/ 2339676 w 10125896"/>
                <a:gd name="connsiteY2096" fmla="*/ 2373033 h 14078567"/>
                <a:gd name="connsiteX2097" fmla="*/ 2277732 w 10125896"/>
                <a:gd name="connsiteY2097" fmla="*/ 2272966 h 14078567"/>
                <a:gd name="connsiteX2098" fmla="*/ 2225316 w 10125896"/>
                <a:gd name="connsiteY2098" fmla="*/ 2158603 h 14078567"/>
                <a:gd name="connsiteX2099" fmla="*/ 2187192 w 10125896"/>
                <a:gd name="connsiteY2099" fmla="*/ 2091891 h 14078567"/>
                <a:gd name="connsiteX2100" fmla="*/ 2115716 w 10125896"/>
                <a:gd name="connsiteY2100" fmla="*/ 2020414 h 14078567"/>
                <a:gd name="connsiteX2101" fmla="*/ 2120480 w 10125896"/>
                <a:gd name="connsiteY2101" fmla="*/ 1991823 h 14078567"/>
                <a:gd name="connsiteX2102" fmla="*/ 2201488 w 10125896"/>
                <a:gd name="connsiteY2102" fmla="*/ 1896520 h 14078567"/>
                <a:gd name="connsiteX2103" fmla="*/ 2358740 w 10125896"/>
                <a:gd name="connsiteY2103" fmla="*/ 1810748 h 14078567"/>
                <a:gd name="connsiteX2104" fmla="*/ 2535048 w 10125896"/>
                <a:gd name="connsiteY2104" fmla="*/ 1744037 h 14078567"/>
                <a:gd name="connsiteX2105" fmla="*/ 2592228 w 10125896"/>
                <a:gd name="connsiteY2105" fmla="*/ 1748801 h 14078567"/>
                <a:gd name="connsiteX2106" fmla="*/ 2697064 w 10125896"/>
                <a:gd name="connsiteY2106" fmla="*/ 1720211 h 14078567"/>
                <a:gd name="connsiteX2107" fmla="*/ 2706592 w 10125896"/>
                <a:gd name="connsiteY2107" fmla="*/ 1677325 h 14078567"/>
                <a:gd name="connsiteX2108" fmla="*/ 2730416 w 10125896"/>
                <a:gd name="connsiteY2108" fmla="*/ 1658264 h 14078567"/>
                <a:gd name="connsiteX2109" fmla="*/ 2825720 w 10125896"/>
                <a:gd name="connsiteY2109" fmla="*/ 1596318 h 14078567"/>
                <a:gd name="connsiteX2110" fmla="*/ 2854312 w 10125896"/>
                <a:gd name="connsiteY2110" fmla="*/ 1601083 h 14078567"/>
                <a:gd name="connsiteX2111" fmla="*/ 2897196 w 10125896"/>
                <a:gd name="connsiteY2111" fmla="*/ 1629674 h 14078567"/>
                <a:gd name="connsiteX2112" fmla="*/ 2940084 w 10125896"/>
                <a:gd name="connsiteY2112" fmla="*/ 1682090 h 14078567"/>
                <a:gd name="connsiteX2113" fmla="*/ 2963908 w 10125896"/>
                <a:gd name="connsiteY2113" fmla="*/ 1729741 h 14078567"/>
                <a:gd name="connsiteX2114" fmla="*/ 2992500 w 10125896"/>
                <a:gd name="connsiteY2114" fmla="*/ 1815514 h 14078567"/>
                <a:gd name="connsiteX2115" fmla="*/ 3006796 w 10125896"/>
                <a:gd name="connsiteY2115" fmla="*/ 1929877 h 14078567"/>
                <a:gd name="connsiteX2116" fmla="*/ 3002032 w 10125896"/>
                <a:gd name="connsiteY2116" fmla="*/ 2292026 h 14078567"/>
                <a:gd name="connsiteX2117" fmla="*/ 3002032 w 10125896"/>
                <a:gd name="connsiteY2117" fmla="*/ 2358738 h 14078567"/>
                <a:gd name="connsiteX2118" fmla="*/ 3011560 w 10125896"/>
                <a:gd name="connsiteY2118" fmla="*/ 2382564 h 14078567"/>
                <a:gd name="connsiteX2119" fmla="*/ 3030620 w 10125896"/>
                <a:gd name="connsiteY2119" fmla="*/ 2344443 h 14078567"/>
                <a:gd name="connsiteX2120" fmla="*/ 3054448 w 10125896"/>
                <a:gd name="connsiteY2120" fmla="*/ 2272966 h 14078567"/>
                <a:gd name="connsiteX2121" fmla="*/ 3073508 w 10125896"/>
                <a:gd name="connsiteY2121" fmla="*/ 2225314 h 14078567"/>
                <a:gd name="connsiteX2122" fmla="*/ 3087804 w 10125896"/>
                <a:gd name="connsiteY2122" fmla="*/ 2144307 h 14078567"/>
                <a:gd name="connsiteX2123" fmla="*/ 3102096 w 10125896"/>
                <a:gd name="connsiteY2123" fmla="*/ 2039475 h 14078567"/>
                <a:gd name="connsiteX2124" fmla="*/ 3106864 w 10125896"/>
                <a:gd name="connsiteY2124" fmla="*/ 1958467 h 14078567"/>
                <a:gd name="connsiteX2125" fmla="*/ 3078272 w 10125896"/>
                <a:gd name="connsiteY2125" fmla="*/ 1867930 h 14078567"/>
                <a:gd name="connsiteX2126" fmla="*/ 3078272 w 10125896"/>
                <a:gd name="connsiteY2126" fmla="*/ 1715446 h 14078567"/>
                <a:gd name="connsiteX2127" fmla="*/ 3092568 w 10125896"/>
                <a:gd name="connsiteY2127" fmla="*/ 1634439 h 14078567"/>
                <a:gd name="connsiteX2128" fmla="*/ 3130688 w 10125896"/>
                <a:gd name="connsiteY2128" fmla="*/ 1634439 h 14078567"/>
                <a:gd name="connsiteX2129" fmla="*/ 3292704 w 10125896"/>
                <a:gd name="connsiteY2129" fmla="*/ 1910816 h 14078567"/>
                <a:gd name="connsiteX2130" fmla="*/ 3354648 w 10125896"/>
                <a:gd name="connsiteY2130" fmla="*/ 1972763 h 14078567"/>
                <a:gd name="connsiteX2131" fmla="*/ 3426128 w 10125896"/>
                <a:gd name="connsiteY2131" fmla="*/ 2120482 h 14078567"/>
                <a:gd name="connsiteX2132" fmla="*/ 3507132 w 10125896"/>
                <a:gd name="connsiteY2132" fmla="*/ 2101421 h 14078567"/>
                <a:gd name="connsiteX2133" fmla="*/ 3583376 w 10125896"/>
                <a:gd name="connsiteY2133" fmla="*/ 2120482 h 14078567"/>
                <a:gd name="connsiteX2134" fmla="*/ 3621496 w 10125896"/>
                <a:gd name="connsiteY2134" fmla="*/ 2115717 h 14078567"/>
                <a:gd name="connsiteX2135" fmla="*/ 3635792 w 10125896"/>
                <a:gd name="connsiteY2135" fmla="*/ 2091891 h 14078567"/>
                <a:gd name="connsiteX2136" fmla="*/ 3611968 w 10125896"/>
                <a:gd name="connsiteY2136" fmla="*/ 2034709 h 14078567"/>
                <a:gd name="connsiteX2137" fmla="*/ 3502368 w 10125896"/>
                <a:gd name="connsiteY2137" fmla="*/ 1863165 h 14078567"/>
                <a:gd name="connsiteX2138" fmla="*/ 3454716 w 10125896"/>
                <a:gd name="connsiteY2138" fmla="*/ 1729741 h 14078567"/>
                <a:gd name="connsiteX2139" fmla="*/ 3416596 w 10125896"/>
                <a:gd name="connsiteY2139" fmla="*/ 1562962 h 14078567"/>
                <a:gd name="connsiteX2140" fmla="*/ 3411832 w 10125896"/>
                <a:gd name="connsiteY2140" fmla="*/ 1467659 h 14078567"/>
                <a:gd name="connsiteX2141" fmla="*/ 3435656 w 10125896"/>
                <a:gd name="connsiteY2141" fmla="*/ 1453364 h 14078567"/>
                <a:gd name="connsiteX2142" fmla="*/ 3559552 w 10125896"/>
                <a:gd name="connsiteY2142" fmla="*/ 1453364 h 14078567"/>
                <a:gd name="connsiteX2143" fmla="*/ 3740624 w 10125896"/>
                <a:gd name="connsiteY2143" fmla="*/ 1534371 h 14078567"/>
                <a:gd name="connsiteX2144" fmla="*/ 3978880 w 10125896"/>
                <a:gd name="connsiteY2144" fmla="*/ 1805983 h 14078567"/>
                <a:gd name="connsiteX2145" fmla="*/ 4093244 w 10125896"/>
                <a:gd name="connsiteY2145" fmla="*/ 1891756 h 14078567"/>
                <a:gd name="connsiteX2146" fmla="*/ 4302912 w 10125896"/>
                <a:gd name="connsiteY2146" fmla="*/ 2191959 h 14078567"/>
                <a:gd name="connsiteX2147" fmla="*/ 4364856 w 10125896"/>
                <a:gd name="connsiteY2147" fmla="*/ 2234845 h 14078567"/>
                <a:gd name="connsiteX2148" fmla="*/ 4388684 w 10125896"/>
                <a:gd name="connsiteY2148" fmla="*/ 2244375 h 14078567"/>
                <a:gd name="connsiteX2149" fmla="*/ 4407744 w 10125896"/>
                <a:gd name="connsiteY2149" fmla="*/ 2211019 h 14078567"/>
                <a:gd name="connsiteX2150" fmla="*/ 4417272 w 10125896"/>
                <a:gd name="connsiteY2150" fmla="*/ 2168133 h 14078567"/>
                <a:gd name="connsiteX2151" fmla="*/ 4422040 w 10125896"/>
                <a:gd name="connsiteY2151" fmla="*/ 2115717 h 14078567"/>
                <a:gd name="connsiteX2152" fmla="*/ 4407744 w 10125896"/>
                <a:gd name="connsiteY2152" fmla="*/ 2049005 h 14078567"/>
                <a:gd name="connsiteX2153" fmla="*/ 4402976 w 10125896"/>
                <a:gd name="connsiteY2153" fmla="*/ 1972763 h 14078567"/>
                <a:gd name="connsiteX2154" fmla="*/ 4402976 w 10125896"/>
                <a:gd name="connsiteY2154" fmla="*/ 1882225 h 14078567"/>
                <a:gd name="connsiteX2155" fmla="*/ 4417272 w 10125896"/>
                <a:gd name="connsiteY2155" fmla="*/ 1705916 h 14078567"/>
                <a:gd name="connsiteX2156" fmla="*/ 4450628 w 10125896"/>
                <a:gd name="connsiteY2156" fmla="*/ 1643969 h 14078567"/>
                <a:gd name="connsiteX2157" fmla="*/ 4464924 w 10125896"/>
                <a:gd name="connsiteY2157" fmla="*/ 1577257 h 14078567"/>
                <a:gd name="connsiteX2158" fmla="*/ 4450628 w 10125896"/>
                <a:gd name="connsiteY2158" fmla="*/ 1458129 h 14078567"/>
                <a:gd name="connsiteX2159" fmla="*/ 4412508 w 10125896"/>
                <a:gd name="connsiteY2159" fmla="*/ 1372357 h 14078567"/>
                <a:gd name="connsiteX2160" fmla="*/ 4260024 w 10125896"/>
                <a:gd name="connsiteY2160" fmla="*/ 1148396 h 14078567"/>
                <a:gd name="connsiteX2161" fmla="*/ 4260024 w 10125896"/>
                <a:gd name="connsiteY2161" fmla="*/ 1119805 h 14078567"/>
                <a:gd name="connsiteX2162" fmla="*/ 4288616 w 10125896"/>
                <a:gd name="connsiteY2162" fmla="*/ 1091214 h 14078567"/>
                <a:gd name="connsiteX2163" fmla="*/ 4336264 w 10125896"/>
                <a:gd name="connsiteY2163" fmla="*/ 1072154 h 14078567"/>
                <a:gd name="connsiteX2164" fmla="*/ 4712712 w 10125896"/>
                <a:gd name="connsiteY2164" fmla="*/ 1129335 h 14078567"/>
                <a:gd name="connsiteX2165" fmla="*/ 4779424 w 10125896"/>
                <a:gd name="connsiteY2165" fmla="*/ 1148396 h 14078567"/>
                <a:gd name="connsiteX2166" fmla="*/ 4808012 w 10125896"/>
                <a:gd name="connsiteY2166" fmla="*/ 1167456 h 14078567"/>
                <a:gd name="connsiteX2167" fmla="*/ 4817544 w 10125896"/>
                <a:gd name="connsiteY2167" fmla="*/ 1191282 h 14078567"/>
                <a:gd name="connsiteX2168" fmla="*/ 4831840 w 10125896"/>
                <a:gd name="connsiteY2168" fmla="*/ 1205577 h 14078567"/>
                <a:gd name="connsiteX2169" fmla="*/ 4912848 w 10125896"/>
                <a:gd name="connsiteY2169" fmla="*/ 1172221 h 14078567"/>
                <a:gd name="connsiteX2170" fmla="*/ 4912848 w 10125896"/>
                <a:gd name="connsiteY2170" fmla="*/ 1119805 h 14078567"/>
                <a:gd name="connsiteX2171" fmla="*/ 4903316 w 10125896"/>
                <a:gd name="connsiteY2171" fmla="*/ 1081684 h 14078567"/>
                <a:gd name="connsiteX2172" fmla="*/ 4464924 w 10125896"/>
                <a:gd name="connsiteY2172" fmla="*/ 986381 h 14078567"/>
                <a:gd name="connsiteX2173" fmla="*/ 4383916 w 10125896"/>
                <a:gd name="connsiteY2173" fmla="*/ 953026 h 14078567"/>
                <a:gd name="connsiteX2174" fmla="*/ 4341032 w 10125896"/>
                <a:gd name="connsiteY2174" fmla="*/ 948260 h 14078567"/>
                <a:gd name="connsiteX2175" fmla="*/ 4298144 w 10125896"/>
                <a:gd name="connsiteY2175" fmla="*/ 972086 h 14078567"/>
                <a:gd name="connsiteX2176" fmla="*/ 4207608 w 10125896"/>
                <a:gd name="connsiteY2176" fmla="*/ 986381 h 14078567"/>
                <a:gd name="connsiteX2177" fmla="*/ 4169488 w 10125896"/>
                <a:gd name="connsiteY2177" fmla="*/ 981616 h 14078567"/>
                <a:gd name="connsiteX2178" fmla="*/ 4117072 w 10125896"/>
                <a:gd name="connsiteY2178" fmla="*/ 862488 h 14078567"/>
                <a:gd name="connsiteX2179" fmla="*/ 4164720 w 10125896"/>
                <a:gd name="connsiteY2179" fmla="*/ 719534 h 14078567"/>
                <a:gd name="connsiteX2180" fmla="*/ 4202844 w 10125896"/>
                <a:gd name="connsiteY2180" fmla="*/ 724299 h 14078567"/>
                <a:gd name="connsiteX2181" fmla="*/ 4279084 w 10125896"/>
                <a:gd name="connsiteY2181" fmla="*/ 781481 h 14078567"/>
                <a:gd name="connsiteX2182" fmla="*/ 4326736 w 10125896"/>
                <a:gd name="connsiteY2182" fmla="*/ 700474 h 14078567"/>
                <a:gd name="connsiteX2183" fmla="*/ 4398212 w 10125896"/>
                <a:gd name="connsiteY2183" fmla="*/ 633762 h 14078567"/>
                <a:gd name="connsiteX2184" fmla="*/ 4469688 w 10125896"/>
                <a:gd name="connsiteY2184" fmla="*/ 614702 h 14078567"/>
                <a:gd name="connsiteX2185" fmla="*/ 4626940 w 10125896"/>
                <a:gd name="connsiteY2185" fmla="*/ 471748 h 14078567"/>
                <a:gd name="connsiteX2186" fmla="*/ 4655528 w 10125896"/>
                <a:gd name="connsiteY2186" fmla="*/ 457452 h 14078567"/>
                <a:gd name="connsiteX2187" fmla="*/ 4693652 w 10125896"/>
                <a:gd name="connsiteY2187" fmla="*/ 466983 h 14078567"/>
                <a:gd name="connsiteX2188" fmla="*/ 4774656 w 10125896"/>
                <a:gd name="connsiteY2188" fmla="*/ 500338 h 14078567"/>
                <a:gd name="connsiteX2189" fmla="*/ 4808012 w 10125896"/>
                <a:gd name="connsiteY2189" fmla="*/ 538460 h 14078567"/>
                <a:gd name="connsiteX2190" fmla="*/ 4841368 w 10125896"/>
                <a:gd name="connsiteY2190" fmla="*/ 609936 h 14078567"/>
                <a:gd name="connsiteX2191" fmla="*/ 4865196 w 10125896"/>
                <a:gd name="connsiteY2191" fmla="*/ 633762 h 14078567"/>
                <a:gd name="connsiteX2192" fmla="*/ 4889020 w 10125896"/>
                <a:gd name="connsiteY2192" fmla="*/ 638527 h 14078567"/>
                <a:gd name="connsiteX2193" fmla="*/ 4922376 w 10125896"/>
                <a:gd name="connsiteY2193" fmla="*/ 671883 h 14078567"/>
                <a:gd name="connsiteX2194" fmla="*/ 4974792 w 10125896"/>
                <a:gd name="connsiteY2194" fmla="*/ 562285 h 14078567"/>
                <a:gd name="connsiteX2195" fmla="*/ 5017680 w 10125896"/>
                <a:gd name="connsiteY2195" fmla="*/ 443157 h 14078567"/>
                <a:gd name="connsiteX2196" fmla="*/ 5070096 w 10125896"/>
                <a:gd name="connsiteY2196" fmla="*/ 366915 h 14078567"/>
                <a:gd name="connsiteX2197" fmla="*/ 5146336 w 10125896"/>
                <a:gd name="connsiteY2197" fmla="*/ 409801 h 14078567"/>
                <a:gd name="connsiteX2198" fmla="*/ 5189224 w 10125896"/>
                <a:gd name="connsiteY2198" fmla="*/ 471748 h 14078567"/>
                <a:gd name="connsiteX2199" fmla="*/ 5232108 w 10125896"/>
                <a:gd name="connsiteY2199" fmla="*/ 538460 h 14078567"/>
                <a:gd name="connsiteX2200" fmla="*/ 5294056 w 10125896"/>
                <a:gd name="connsiteY2200" fmla="*/ 576581 h 14078567"/>
                <a:gd name="connsiteX2201" fmla="*/ 5394124 w 10125896"/>
                <a:gd name="connsiteY2201" fmla="*/ 805307 h 14078567"/>
                <a:gd name="connsiteX2202" fmla="*/ 5413184 w 10125896"/>
                <a:gd name="connsiteY2202" fmla="*/ 805307 h 14078567"/>
                <a:gd name="connsiteX2203" fmla="*/ 5422716 w 10125896"/>
                <a:gd name="connsiteY2203" fmla="*/ 786246 h 14078567"/>
                <a:gd name="connsiteX2204" fmla="*/ 5432244 w 10125896"/>
                <a:gd name="connsiteY2204" fmla="*/ 743360 h 14078567"/>
                <a:gd name="connsiteX2205" fmla="*/ 5437012 w 10125896"/>
                <a:gd name="connsiteY2205" fmla="*/ 681413 h 14078567"/>
                <a:gd name="connsiteX2206" fmla="*/ 5451304 w 10125896"/>
                <a:gd name="connsiteY2206" fmla="*/ 595641 h 14078567"/>
                <a:gd name="connsiteX2207" fmla="*/ 5441776 w 10125896"/>
                <a:gd name="connsiteY2207" fmla="*/ 562285 h 14078567"/>
                <a:gd name="connsiteX2208" fmla="*/ 5356004 w 10125896"/>
                <a:gd name="connsiteY2208" fmla="*/ 466983 h 14078567"/>
                <a:gd name="connsiteX2209" fmla="*/ 5336944 w 10125896"/>
                <a:gd name="connsiteY2209" fmla="*/ 428862 h 14078567"/>
                <a:gd name="connsiteX2210" fmla="*/ 5322648 w 10125896"/>
                <a:gd name="connsiteY2210" fmla="*/ 366915 h 14078567"/>
                <a:gd name="connsiteX2211" fmla="*/ 5322648 w 10125896"/>
                <a:gd name="connsiteY2211" fmla="*/ 314498 h 14078567"/>
                <a:gd name="connsiteX2212" fmla="*/ 5336944 w 10125896"/>
                <a:gd name="connsiteY2212" fmla="*/ 271612 h 14078567"/>
                <a:gd name="connsiteX2213" fmla="*/ 5356004 w 10125896"/>
                <a:gd name="connsiteY2213" fmla="*/ 252552 h 14078567"/>
                <a:gd name="connsiteX2214" fmla="*/ 5408420 w 10125896"/>
                <a:gd name="connsiteY2214" fmla="*/ 271612 h 14078567"/>
                <a:gd name="connsiteX2215" fmla="*/ 5427480 w 10125896"/>
                <a:gd name="connsiteY2215" fmla="*/ 257317 h 14078567"/>
                <a:gd name="connsiteX2216" fmla="*/ 5446540 w 10125896"/>
                <a:gd name="connsiteY2216" fmla="*/ 223961 h 14078567"/>
                <a:gd name="connsiteX2217" fmla="*/ 5465600 w 10125896"/>
                <a:gd name="connsiteY2217" fmla="*/ 157249 h 14078567"/>
                <a:gd name="connsiteX2218" fmla="*/ 5484660 w 10125896"/>
                <a:gd name="connsiteY2218" fmla="*/ 142954 h 14078567"/>
                <a:gd name="connsiteX2219" fmla="*/ 5518016 w 10125896"/>
                <a:gd name="connsiteY2219" fmla="*/ 138189 h 14078567"/>
                <a:gd name="connsiteX2220" fmla="*/ 5575200 w 10125896"/>
                <a:gd name="connsiteY2220" fmla="*/ 181075 h 14078567"/>
                <a:gd name="connsiteX2221" fmla="*/ 5627616 w 10125896"/>
                <a:gd name="connsiteY2221" fmla="*/ 185840 h 14078567"/>
                <a:gd name="connsiteX2222" fmla="*/ 5641912 w 10125896"/>
                <a:gd name="connsiteY2222" fmla="*/ 166780 h 14078567"/>
                <a:gd name="connsiteX2223" fmla="*/ 5646676 w 10125896"/>
                <a:gd name="connsiteY2223" fmla="*/ 123893 h 14078567"/>
                <a:gd name="connsiteX2224" fmla="*/ 5651440 w 10125896"/>
                <a:gd name="connsiteY2224" fmla="*/ 100068 h 14078567"/>
                <a:gd name="connsiteX2225" fmla="*/ 5656208 w 10125896"/>
                <a:gd name="connsiteY2225" fmla="*/ 85772 h 14078567"/>
                <a:gd name="connsiteX2226" fmla="*/ 5837280 w 10125896"/>
                <a:gd name="connsiteY2226" fmla="*/ 85772 h 14078567"/>
                <a:gd name="connsiteX2227" fmla="*/ 5880168 w 10125896"/>
                <a:gd name="connsiteY2227" fmla="*/ 76242 h 14078567"/>
                <a:gd name="connsiteX2228" fmla="*/ 5918288 w 10125896"/>
                <a:gd name="connsiteY2228" fmla="*/ 42886 h 14078567"/>
                <a:gd name="connsiteX2229" fmla="*/ 5961176 w 10125896"/>
                <a:gd name="connsiteY2229" fmla="*/ 38121 h 14078567"/>
                <a:gd name="connsiteX2230" fmla="*/ 5999296 w 10125896"/>
                <a:gd name="connsiteY2230" fmla="*/ 57182 h 14078567"/>
                <a:gd name="connsiteX2231" fmla="*/ 6042180 w 10125896"/>
                <a:gd name="connsiteY2231" fmla="*/ 100068 h 14078567"/>
                <a:gd name="connsiteX2232" fmla="*/ 6089832 w 10125896"/>
                <a:gd name="connsiteY2232" fmla="*/ 95303 h 14078567"/>
                <a:gd name="connsiteX2233" fmla="*/ 6156544 w 10125896"/>
                <a:gd name="connsiteY2233" fmla="*/ 33356 h 14078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</a:cxnLst>
              <a:rect l="l" t="t" r="r" b="b"/>
              <a:pathLst>
                <a:path w="10125896" h="14078567">
                  <a:moveTo>
                    <a:pt x="4155192" y="13721183"/>
                  </a:moveTo>
                  <a:lnTo>
                    <a:pt x="4155192" y="13740243"/>
                  </a:lnTo>
                  <a:lnTo>
                    <a:pt x="4150424" y="13754539"/>
                  </a:lnTo>
                  <a:lnTo>
                    <a:pt x="4150424" y="13773599"/>
                  </a:lnTo>
                  <a:lnTo>
                    <a:pt x="4131364" y="13811720"/>
                  </a:lnTo>
                  <a:lnTo>
                    <a:pt x="4112304" y="13802190"/>
                  </a:lnTo>
                  <a:lnTo>
                    <a:pt x="4102772" y="13787894"/>
                  </a:lnTo>
                  <a:lnTo>
                    <a:pt x="4083712" y="13778364"/>
                  </a:lnTo>
                  <a:lnTo>
                    <a:pt x="4064652" y="13783129"/>
                  </a:lnTo>
                  <a:lnTo>
                    <a:pt x="4064652" y="13773599"/>
                  </a:lnTo>
                  <a:lnTo>
                    <a:pt x="4126600" y="13730713"/>
                  </a:lnTo>
                  <a:close/>
                  <a:moveTo>
                    <a:pt x="5589492" y="12053388"/>
                  </a:moveTo>
                  <a:lnTo>
                    <a:pt x="5603788" y="12077214"/>
                  </a:lnTo>
                  <a:lnTo>
                    <a:pt x="5599024" y="12110570"/>
                  </a:lnTo>
                  <a:lnTo>
                    <a:pt x="5589492" y="12124865"/>
                  </a:lnTo>
                  <a:lnTo>
                    <a:pt x="5565668" y="12124865"/>
                  </a:lnTo>
                  <a:lnTo>
                    <a:pt x="5556140" y="12096274"/>
                  </a:lnTo>
                  <a:lnTo>
                    <a:pt x="5560904" y="12062918"/>
                  </a:lnTo>
                  <a:close/>
                  <a:moveTo>
                    <a:pt x="3392772" y="10309352"/>
                  </a:moveTo>
                  <a:lnTo>
                    <a:pt x="3416596" y="10318882"/>
                  </a:lnTo>
                  <a:lnTo>
                    <a:pt x="3459484" y="10342708"/>
                  </a:lnTo>
                  <a:lnTo>
                    <a:pt x="3454716" y="10352238"/>
                  </a:lnTo>
                  <a:lnTo>
                    <a:pt x="3445188" y="10366534"/>
                  </a:lnTo>
                  <a:lnTo>
                    <a:pt x="3421360" y="10385594"/>
                  </a:lnTo>
                  <a:lnTo>
                    <a:pt x="3411832" y="10428480"/>
                  </a:lnTo>
                  <a:lnTo>
                    <a:pt x="3411832" y="10447541"/>
                  </a:lnTo>
                  <a:lnTo>
                    <a:pt x="3411832" y="10466601"/>
                  </a:lnTo>
                  <a:lnTo>
                    <a:pt x="3407064" y="10476131"/>
                  </a:lnTo>
                  <a:lnTo>
                    <a:pt x="3383240" y="10495192"/>
                  </a:lnTo>
                  <a:lnTo>
                    <a:pt x="3378476" y="10490427"/>
                  </a:lnTo>
                  <a:lnTo>
                    <a:pt x="3373708" y="10480897"/>
                  </a:lnTo>
                  <a:lnTo>
                    <a:pt x="3359416" y="10423715"/>
                  </a:lnTo>
                  <a:lnTo>
                    <a:pt x="3354648" y="10399889"/>
                  </a:lnTo>
                  <a:lnTo>
                    <a:pt x="3359416" y="10366534"/>
                  </a:lnTo>
                  <a:lnTo>
                    <a:pt x="3354648" y="10342708"/>
                  </a:lnTo>
                  <a:lnTo>
                    <a:pt x="3373708" y="10314117"/>
                  </a:lnTo>
                  <a:close/>
                  <a:moveTo>
                    <a:pt x="2882900" y="10128277"/>
                  </a:moveTo>
                  <a:lnTo>
                    <a:pt x="2940084" y="10137807"/>
                  </a:lnTo>
                  <a:lnTo>
                    <a:pt x="3040152" y="10175928"/>
                  </a:lnTo>
                  <a:lnTo>
                    <a:pt x="3049680" y="10180693"/>
                  </a:lnTo>
                  <a:lnTo>
                    <a:pt x="3078272" y="10209284"/>
                  </a:lnTo>
                  <a:lnTo>
                    <a:pt x="3140220" y="10299822"/>
                  </a:lnTo>
                  <a:lnTo>
                    <a:pt x="3192636" y="10337943"/>
                  </a:lnTo>
                  <a:lnTo>
                    <a:pt x="3245052" y="10361768"/>
                  </a:lnTo>
                  <a:lnTo>
                    <a:pt x="3249816" y="10376064"/>
                  </a:lnTo>
                  <a:lnTo>
                    <a:pt x="3254580" y="10395124"/>
                  </a:lnTo>
                  <a:lnTo>
                    <a:pt x="3254580" y="10399889"/>
                  </a:lnTo>
                  <a:lnTo>
                    <a:pt x="3254580" y="10409420"/>
                  </a:lnTo>
                  <a:lnTo>
                    <a:pt x="3249816" y="10418950"/>
                  </a:lnTo>
                  <a:lnTo>
                    <a:pt x="3254580" y="10428480"/>
                  </a:lnTo>
                  <a:lnTo>
                    <a:pt x="3268876" y="10442775"/>
                  </a:lnTo>
                  <a:lnTo>
                    <a:pt x="3268876" y="10457071"/>
                  </a:lnTo>
                  <a:lnTo>
                    <a:pt x="3254580" y="10480897"/>
                  </a:lnTo>
                  <a:lnTo>
                    <a:pt x="3235520" y="10504722"/>
                  </a:lnTo>
                  <a:lnTo>
                    <a:pt x="3130688" y="10561904"/>
                  </a:lnTo>
                  <a:lnTo>
                    <a:pt x="3097332" y="10571434"/>
                  </a:lnTo>
                  <a:lnTo>
                    <a:pt x="3006796" y="10609555"/>
                  </a:lnTo>
                  <a:lnTo>
                    <a:pt x="2978204" y="10609555"/>
                  </a:lnTo>
                  <a:lnTo>
                    <a:pt x="2973440" y="10604790"/>
                  </a:lnTo>
                  <a:lnTo>
                    <a:pt x="2954380" y="10590495"/>
                  </a:lnTo>
                  <a:lnTo>
                    <a:pt x="2930552" y="10576199"/>
                  </a:lnTo>
                  <a:lnTo>
                    <a:pt x="2921024" y="10561904"/>
                  </a:lnTo>
                  <a:lnTo>
                    <a:pt x="2911492" y="10542843"/>
                  </a:lnTo>
                  <a:lnTo>
                    <a:pt x="2916256" y="10533313"/>
                  </a:lnTo>
                  <a:lnTo>
                    <a:pt x="2930552" y="10528548"/>
                  </a:lnTo>
                  <a:lnTo>
                    <a:pt x="2959144" y="10528548"/>
                  </a:lnTo>
                  <a:lnTo>
                    <a:pt x="2992500" y="10519018"/>
                  </a:lnTo>
                  <a:lnTo>
                    <a:pt x="2982968" y="10504722"/>
                  </a:lnTo>
                  <a:lnTo>
                    <a:pt x="2973440" y="10499957"/>
                  </a:lnTo>
                  <a:lnTo>
                    <a:pt x="2968672" y="10485662"/>
                  </a:lnTo>
                  <a:lnTo>
                    <a:pt x="2954380" y="10485662"/>
                  </a:lnTo>
                  <a:lnTo>
                    <a:pt x="2940084" y="10476131"/>
                  </a:lnTo>
                  <a:lnTo>
                    <a:pt x="2921024" y="10471366"/>
                  </a:lnTo>
                  <a:lnTo>
                    <a:pt x="2863840" y="10466601"/>
                  </a:lnTo>
                  <a:lnTo>
                    <a:pt x="2825720" y="10452306"/>
                  </a:lnTo>
                  <a:lnTo>
                    <a:pt x="2816188" y="10442775"/>
                  </a:lnTo>
                  <a:lnTo>
                    <a:pt x="2806660" y="10428480"/>
                  </a:lnTo>
                  <a:lnTo>
                    <a:pt x="2797128" y="10404654"/>
                  </a:lnTo>
                  <a:lnTo>
                    <a:pt x="2806660" y="10318882"/>
                  </a:lnTo>
                  <a:lnTo>
                    <a:pt x="2816188" y="10299822"/>
                  </a:lnTo>
                  <a:lnTo>
                    <a:pt x="2835252" y="10290291"/>
                  </a:lnTo>
                  <a:lnTo>
                    <a:pt x="2882900" y="10309352"/>
                  </a:lnTo>
                  <a:lnTo>
                    <a:pt x="2887668" y="10304587"/>
                  </a:lnTo>
                  <a:lnTo>
                    <a:pt x="2840016" y="10271231"/>
                  </a:lnTo>
                  <a:lnTo>
                    <a:pt x="2820956" y="10252170"/>
                  </a:lnTo>
                  <a:lnTo>
                    <a:pt x="2811424" y="10237875"/>
                  </a:lnTo>
                  <a:lnTo>
                    <a:pt x="2811424" y="10214049"/>
                  </a:lnTo>
                  <a:lnTo>
                    <a:pt x="2811424" y="10204519"/>
                  </a:lnTo>
                  <a:lnTo>
                    <a:pt x="2811424" y="10190224"/>
                  </a:lnTo>
                  <a:lnTo>
                    <a:pt x="2816188" y="10175928"/>
                  </a:lnTo>
                  <a:lnTo>
                    <a:pt x="2830484" y="10156868"/>
                  </a:lnTo>
                  <a:close/>
                  <a:moveTo>
                    <a:pt x="3259348" y="9818544"/>
                  </a:moveTo>
                  <a:lnTo>
                    <a:pt x="3283172" y="9837605"/>
                  </a:lnTo>
                  <a:lnTo>
                    <a:pt x="3311764" y="9861430"/>
                  </a:lnTo>
                  <a:lnTo>
                    <a:pt x="3311764" y="9870961"/>
                  </a:lnTo>
                  <a:lnTo>
                    <a:pt x="3302232" y="9875726"/>
                  </a:lnTo>
                  <a:lnTo>
                    <a:pt x="3283172" y="9880491"/>
                  </a:lnTo>
                  <a:lnTo>
                    <a:pt x="3235520" y="9870961"/>
                  </a:lnTo>
                  <a:lnTo>
                    <a:pt x="3230756" y="9866196"/>
                  </a:lnTo>
                  <a:lnTo>
                    <a:pt x="3230756" y="9851900"/>
                  </a:lnTo>
                  <a:lnTo>
                    <a:pt x="3235520" y="9823309"/>
                  </a:lnTo>
                  <a:close/>
                  <a:moveTo>
                    <a:pt x="7343060" y="9785188"/>
                  </a:moveTo>
                  <a:lnTo>
                    <a:pt x="7357356" y="9789953"/>
                  </a:lnTo>
                  <a:lnTo>
                    <a:pt x="7366884" y="9809014"/>
                  </a:lnTo>
                  <a:lnTo>
                    <a:pt x="7376416" y="9818544"/>
                  </a:lnTo>
                  <a:lnTo>
                    <a:pt x="7400240" y="9837604"/>
                  </a:lnTo>
                  <a:lnTo>
                    <a:pt x="7400240" y="9847135"/>
                  </a:lnTo>
                  <a:lnTo>
                    <a:pt x="7409772" y="9875725"/>
                  </a:lnTo>
                  <a:lnTo>
                    <a:pt x="7409772" y="9885255"/>
                  </a:lnTo>
                  <a:lnTo>
                    <a:pt x="7405008" y="9899551"/>
                  </a:lnTo>
                  <a:lnTo>
                    <a:pt x="7405008" y="9904316"/>
                  </a:lnTo>
                  <a:lnTo>
                    <a:pt x="7395476" y="9913846"/>
                  </a:lnTo>
                  <a:lnTo>
                    <a:pt x="7409772" y="9932907"/>
                  </a:lnTo>
                  <a:lnTo>
                    <a:pt x="7414536" y="9942437"/>
                  </a:lnTo>
                  <a:lnTo>
                    <a:pt x="7414536" y="9951967"/>
                  </a:lnTo>
                  <a:lnTo>
                    <a:pt x="7405008" y="9971028"/>
                  </a:lnTo>
                  <a:lnTo>
                    <a:pt x="7343060" y="9999618"/>
                  </a:lnTo>
                  <a:lnTo>
                    <a:pt x="7328764" y="10009149"/>
                  </a:lnTo>
                  <a:lnTo>
                    <a:pt x="7304940" y="10042504"/>
                  </a:lnTo>
                  <a:lnTo>
                    <a:pt x="7281112" y="10066330"/>
                  </a:lnTo>
                  <a:lnTo>
                    <a:pt x="7271584" y="10066330"/>
                  </a:lnTo>
                  <a:lnTo>
                    <a:pt x="7262052" y="10037739"/>
                  </a:lnTo>
                  <a:lnTo>
                    <a:pt x="7219168" y="10018679"/>
                  </a:lnTo>
                  <a:lnTo>
                    <a:pt x="7142924" y="10028209"/>
                  </a:lnTo>
                  <a:lnTo>
                    <a:pt x="7047624" y="10056800"/>
                  </a:lnTo>
                  <a:lnTo>
                    <a:pt x="7019032" y="10066330"/>
                  </a:lnTo>
                  <a:lnTo>
                    <a:pt x="6999972" y="10061565"/>
                  </a:lnTo>
                  <a:lnTo>
                    <a:pt x="6995208" y="10052035"/>
                  </a:lnTo>
                  <a:lnTo>
                    <a:pt x="6995208" y="10037739"/>
                  </a:lnTo>
                  <a:lnTo>
                    <a:pt x="7004736" y="9999618"/>
                  </a:lnTo>
                  <a:lnTo>
                    <a:pt x="7009500" y="9990088"/>
                  </a:lnTo>
                  <a:lnTo>
                    <a:pt x="7033328" y="9980558"/>
                  </a:lnTo>
                  <a:lnTo>
                    <a:pt x="7047624" y="9947202"/>
                  </a:lnTo>
                  <a:lnTo>
                    <a:pt x="7042856" y="9909081"/>
                  </a:lnTo>
                  <a:lnTo>
                    <a:pt x="7047624" y="9856665"/>
                  </a:lnTo>
                  <a:lnTo>
                    <a:pt x="7061916" y="9847135"/>
                  </a:lnTo>
                  <a:lnTo>
                    <a:pt x="7095272" y="9866195"/>
                  </a:lnTo>
                  <a:lnTo>
                    <a:pt x="7119100" y="9870960"/>
                  </a:lnTo>
                  <a:lnTo>
                    <a:pt x="7161984" y="9875725"/>
                  </a:lnTo>
                  <a:lnTo>
                    <a:pt x="7214400" y="9866195"/>
                  </a:lnTo>
                  <a:lnTo>
                    <a:pt x="7262052" y="9847135"/>
                  </a:lnTo>
                  <a:close/>
                  <a:moveTo>
                    <a:pt x="10125896" y="9723241"/>
                  </a:moveTo>
                  <a:lnTo>
                    <a:pt x="10125896" y="9751832"/>
                  </a:lnTo>
                  <a:lnTo>
                    <a:pt x="10125896" y="9789953"/>
                  </a:lnTo>
                  <a:lnTo>
                    <a:pt x="10078244" y="9818543"/>
                  </a:lnTo>
                  <a:lnTo>
                    <a:pt x="10025828" y="9837604"/>
                  </a:lnTo>
                  <a:lnTo>
                    <a:pt x="9973412" y="9885255"/>
                  </a:lnTo>
                  <a:lnTo>
                    <a:pt x="9963880" y="9890020"/>
                  </a:lnTo>
                  <a:lnTo>
                    <a:pt x="9954352" y="9875725"/>
                  </a:lnTo>
                  <a:lnTo>
                    <a:pt x="9973412" y="9847134"/>
                  </a:lnTo>
                  <a:lnTo>
                    <a:pt x="10044888" y="9794718"/>
                  </a:lnTo>
                  <a:lnTo>
                    <a:pt x="10073480" y="9742301"/>
                  </a:lnTo>
                  <a:close/>
                  <a:moveTo>
                    <a:pt x="3006796" y="9666060"/>
                  </a:moveTo>
                  <a:lnTo>
                    <a:pt x="3016324" y="9689886"/>
                  </a:lnTo>
                  <a:lnTo>
                    <a:pt x="3025856" y="9718476"/>
                  </a:lnTo>
                  <a:lnTo>
                    <a:pt x="3030620" y="9732772"/>
                  </a:lnTo>
                  <a:lnTo>
                    <a:pt x="3025856" y="9751832"/>
                  </a:lnTo>
                  <a:lnTo>
                    <a:pt x="3025856" y="9766127"/>
                  </a:lnTo>
                  <a:lnTo>
                    <a:pt x="3021088" y="9780423"/>
                  </a:lnTo>
                  <a:lnTo>
                    <a:pt x="3011560" y="9789953"/>
                  </a:lnTo>
                  <a:lnTo>
                    <a:pt x="2997264" y="9789953"/>
                  </a:lnTo>
                  <a:lnTo>
                    <a:pt x="2954380" y="9766127"/>
                  </a:lnTo>
                  <a:lnTo>
                    <a:pt x="2949612" y="9756597"/>
                  </a:lnTo>
                  <a:lnTo>
                    <a:pt x="2944848" y="9747067"/>
                  </a:lnTo>
                  <a:lnTo>
                    <a:pt x="2949612" y="9732772"/>
                  </a:lnTo>
                  <a:lnTo>
                    <a:pt x="2963908" y="9708946"/>
                  </a:lnTo>
                  <a:lnTo>
                    <a:pt x="2987736" y="9670825"/>
                  </a:lnTo>
                  <a:close/>
                  <a:moveTo>
                    <a:pt x="2749480" y="8882195"/>
                  </a:moveTo>
                  <a:lnTo>
                    <a:pt x="2778068" y="8891725"/>
                  </a:lnTo>
                  <a:lnTo>
                    <a:pt x="2782836" y="8910786"/>
                  </a:lnTo>
                  <a:lnTo>
                    <a:pt x="2759008" y="8944142"/>
                  </a:lnTo>
                  <a:lnTo>
                    <a:pt x="2739948" y="8967967"/>
                  </a:lnTo>
                  <a:lnTo>
                    <a:pt x="2701828" y="9025149"/>
                  </a:lnTo>
                  <a:lnTo>
                    <a:pt x="2697060" y="9029914"/>
                  </a:lnTo>
                  <a:lnTo>
                    <a:pt x="2682768" y="9020384"/>
                  </a:lnTo>
                  <a:lnTo>
                    <a:pt x="2678000" y="9006088"/>
                  </a:lnTo>
                  <a:lnTo>
                    <a:pt x="2663704" y="9001323"/>
                  </a:lnTo>
                  <a:lnTo>
                    <a:pt x="2654176" y="8991793"/>
                  </a:lnTo>
                  <a:lnTo>
                    <a:pt x="2654176" y="8982263"/>
                  </a:lnTo>
                  <a:lnTo>
                    <a:pt x="2649412" y="8977498"/>
                  </a:lnTo>
                  <a:lnTo>
                    <a:pt x="2639880" y="8972732"/>
                  </a:lnTo>
                  <a:lnTo>
                    <a:pt x="2620820" y="8982263"/>
                  </a:lnTo>
                  <a:lnTo>
                    <a:pt x="2606524" y="8972732"/>
                  </a:lnTo>
                  <a:lnTo>
                    <a:pt x="2592228" y="8948907"/>
                  </a:lnTo>
                  <a:lnTo>
                    <a:pt x="2616056" y="8929846"/>
                  </a:lnTo>
                  <a:lnTo>
                    <a:pt x="2630352" y="8915551"/>
                  </a:lnTo>
                  <a:lnTo>
                    <a:pt x="2678000" y="8906021"/>
                  </a:lnTo>
                  <a:lnTo>
                    <a:pt x="2692296" y="8915551"/>
                  </a:lnTo>
                  <a:lnTo>
                    <a:pt x="2701828" y="8915551"/>
                  </a:lnTo>
                  <a:lnTo>
                    <a:pt x="2716124" y="8910786"/>
                  </a:lnTo>
                  <a:lnTo>
                    <a:pt x="2749480" y="8891725"/>
                  </a:lnTo>
                  <a:close/>
                  <a:moveTo>
                    <a:pt x="8562932" y="7414536"/>
                  </a:moveTo>
                  <a:lnTo>
                    <a:pt x="8577228" y="7481248"/>
                  </a:lnTo>
                  <a:lnTo>
                    <a:pt x="8581996" y="7538429"/>
                  </a:lnTo>
                  <a:lnTo>
                    <a:pt x="8601056" y="7576550"/>
                  </a:lnTo>
                  <a:lnTo>
                    <a:pt x="8639176" y="7571785"/>
                  </a:lnTo>
                  <a:lnTo>
                    <a:pt x="8658236" y="7643262"/>
                  </a:lnTo>
                  <a:lnTo>
                    <a:pt x="8629644" y="7667088"/>
                  </a:lnTo>
                  <a:lnTo>
                    <a:pt x="8505752" y="7657558"/>
                  </a:lnTo>
                  <a:lnTo>
                    <a:pt x="8458100" y="7662323"/>
                  </a:lnTo>
                  <a:lnTo>
                    <a:pt x="8424744" y="7619437"/>
                  </a:lnTo>
                  <a:lnTo>
                    <a:pt x="8424744" y="7543195"/>
                  </a:lnTo>
                  <a:lnTo>
                    <a:pt x="8429512" y="7466952"/>
                  </a:lnTo>
                  <a:lnTo>
                    <a:pt x="8462864" y="7424066"/>
                  </a:lnTo>
                  <a:lnTo>
                    <a:pt x="8491456" y="7462187"/>
                  </a:lnTo>
                  <a:lnTo>
                    <a:pt x="8529576" y="7438362"/>
                  </a:lnTo>
                  <a:close/>
                  <a:moveTo>
                    <a:pt x="8424744" y="6571110"/>
                  </a:moveTo>
                  <a:lnTo>
                    <a:pt x="8448572" y="6613996"/>
                  </a:lnTo>
                  <a:lnTo>
                    <a:pt x="8458100" y="6776010"/>
                  </a:lnTo>
                  <a:lnTo>
                    <a:pt x="8472396" y="7014267"/>
                  </a:lnTo>
                  <a:lnTo>
                    <a:pt x="8453336" y="7028562"/>
                  </a:lnTo>
                  <a:lnTo>
                    <a:pt x="8396156" y="6756950"/>
                  </a:lnTo>
                  <a:lnTo>
                    <a:pt x="8396156" y="6656882"/>
                  </a:lnTo>
                  <a:lnTo>
                    <a:pt x="8396156" y="6580640"/>
                  </a:lnTo>
                  <a:close/>
                  <a:moveTo>
                    <a:pt x="90536" y="6042182"/>
                  </a:moveTo>
                  <a:lnTo>
                    <a:pt x="114364" y="6042182"/>
                  </a:lnTo>
                  <a:lnTo>
                    <a:pt x="133424" y="6046946"/>
                  </a:lnTo>
                  <a:lnTo>
                    <a:pt x="171544" y="6066007"/>
                  </a:lnTo>
                  <a:lnTo>
                    <a:pt x="200136" y="6085067"/>
                  </a:lnTo>
                  <a:lnTo>
                    <a:pt x="219196" y="6094597"/>
                  </a:lnTo>
                  <a:lnTo>
                    <a:pt x="209664" y="6123188"/>
                  </a:lnTo>
                  <a:lnTo>
                    <a:pt x="181076" y="6142250"/>
                  </a:lnTo>
                  <a:lnTo>
                    <a:pt x="123892" y="6147014"/>
                  </a:lnTo>
                  <a:lnTo>
                    <a:pt x="71476" y="6118423"/>
                  </a:lnTo>
                  <a:lnTo>
                    <a:pt x="52416" y="6099363"/>
                  </a:lnTo>
                  <a:lnTo>
                    <a:pt x="52416" y="6066007"/>
                  </a:lnTo>
                  <a:lnTo>
                    <a:pt x="61948" y="6056477"/>
                  </a:lnTo>
                  <a:close/>
                  <a:moveTo>
                    <a:pt x="8591524" y="5741977"/>
                  </a:moveTo>
                  <a:lnTo>
                    <a:pt x="8610584" y="5756274"/>
                  </a:lnTo>
                  <a:lnTo>
                    <a:pt x="8620116" y="5808690"/>
                  </a:lnTo>
                  <a:lnTo>
                    <a:pt x="8605820" y="5865870"/>
                  </a:lnTo>
                  <a:lnTo>
                    <a:pt x="8572464" y="5913523"/>
                  </a:lnTo>
                  <a:lnTo>
                    <a:pt x="8539108" y="5913523"/>
                  </a:lnTo>
                  <a:lnTo>
                    <a:pt x="8529576" y="5894463"/>
                  </a:lnTo>
                  <a:lnTo>
                    <a:pt x="8534344" y="5861106"/>
                  </a:lnTo>
                  <a:lnTo>
                    <a:pt x="8577228" y="5751507"/>
                  </a:lnTo>
                  <a:close/>
                  <a:moveTo>
                    <a:pt x="8405684" y="5313115"/>
                  </a:moveTo>
                  <a:lnTo>
                    <a:pt x="8415216" y="5322645"/>
                  </a:lnTo>
                  <a:lnTo>
                    <a:pt x="8415216" y="5379828"/>
                  </a:lnTo>
                  <a:lnTo>
                    <a:pt x="8415216" y="5489424"/>
                  </a:lnTo>
                  <a:lnTo>
                    <a:pt x="8424744" y="5560902"/>
                  </a:lnTo>
                  <a:lnTo>
                    <a:pt x="8405684" y="5665736"/>
                  </a:lnTo>
                  <a:lnTo>
                    <a:pt x="8386624" y="5694326"/>
                  </a:lnTo>
                  <a:lnTo>
                    <a:pt x="8372328" y="5613318"/>
                  </a:lnTo>
                  <a:lnTo>
                    <a:pt x="8362800" y="5508487"/>
                  </a:lnTo>
                  <a:lnTo>
                    <a:pt x="8358032" y="5384593"/>
                  </a:lnTo>
                  <a:lnTo>
                    <a:pt x="8391388" y="5322645"/>
                  </a:lnTo>
                  <a:close/>
                  <a:moveTo>
                    <a:pt x="8567700" y="3955054"/>
                  </a:moveTo>
                  <a:lnTo>
                    <a:pt x="8643940" y="3978880"/>
                  </a:lnTo>
                  <a:lnTo>
                    <a:pt x="8658236" y="4059887"/>
                  </a:lnTo>
                  <a:lnTo>
                    <a:pt x="8624880" y="4159954"/>
                  </a:lnTo>
                  <a:lnTo>
                    <a:pt x="8558168" y="4264788"/>
                  </a:lnTo>
                  <a:lnTo>
                    <a:pt x="8458100" y="4255258"/>
                  </a:lnTo>
                  <a:lnTo>
                    <a:pt x="8400920" y="4207606"/>
                  </a:lnTo>
                  <a:lnTo>
                    <a:pt x="8386624" y="4136129"/>
                  </a:lnTo>
                  <a:lnTo>
                    <a:pt x="8405684" y="4059887"/>
                  </a:lnTo>
                  <a:lnTo>
                    <a:pt x="8477160" y="3997942"/>
                  </a:lnTo>
                  <a:close/>
                  <a:moveTo>
                    <a:pt x="8358032" y="1863166"/>
                  </a:moveTo>
                  <a:lnTo>
                    <a:pt x="8396156" y="1944172"/>
                  </a:lnTo>
                  <a:lnTo>
                    <a:pt x="8434276" y="2058535"/>
                  </a:lnTo>
                  <a:lnTo>
                    <a:pt x="8458100" y="2172899"/>
                  </a:lnTo>
                  <a:lnTo>
                    <a:pt x="8443804" y="2206254"/>
                  </a:lnTo>
                  <a:lnTo>
                    <a:pt x="8400920" y="2191959"/>
                  </a:lnTo>
                  <a:lnTo>
                    <a:pt x="8348504" y="2091892"/>
                  </a:lnTo>
                  <a:lnTo>
                    <a:pt x="8315148" y="2010885"/>
                  </a:lnTo>
                  <a:lnTo>
                    <a:pt x="8310384" y="1910817"/>
                  </a:lnTo>
                  <a:lnTo>
                    <a:pt x="8329444" y="1867931"/>
                  </a:lnTo>
                  <a:close/>
                  <a:moveTo>
                    <a:pt x="4126602" y="1191283"/>
                  </a:moveTo>
                  <a:lnTo>
                    <a:pt x="4279086" y="1329471"/>
                  </a:lnTo>
                  <a:lnTo>
                    <a:pt x="4360092" y="1443835"/>
                  </a:lnTo>
                  <a:lnTo>
                    <a:pt x="4383918" y="1539137"/>
                  </a:lnTo>
                  <a:lnTo>
                    <a:pt x="4379152" y="1724977"/>
                  </a:lnTo>
                  <a:lnTo>
                    <a:pt x="4364858" y="1906052"/>
                  </a:lnTo>
                  <a:lnTo>
                    <a:pt x="4336266" y="1925113"/>
                  </a:lnTo>
                  <a:lnTo>
                    <a:pt x="4269554" y="1805985"/>
                  </a:lnTo>
                  <a:lnTo>
                    <a:pt x="4164722" y="1686856"/>
                  </a:lnTo>
                  <a:lnTo>
                    <a:pt x="4074184" y="1601084"/>
                  </a:lnTo>
                  <a:lnTo>
                    <a:pt x="3983648" y="1381888"/>
                  </a:lnTo>
                  <a:lnTo>
                    <a:pt x="3978882" y="1300881"/>
                  </a:lnTo>
                  <a:lnTo>
                    <a:pt x="3993178" y="1234169"/>
                  </a:lnTo>
                  <a:lnTo>
                    <a:pt x="4069420" y="1219874"/>
                  </a:lnTo>
                  <a:close/>
                  <a:moveTo>
                    <a:pt x="6223256" y="0"/>
                  </a:moveTo>
                  <a:lnTo>
                    <a:pt x="6580640" y="9530"/>
                  </a:lnTo>
                  <a:lnTo>
                    <a:pt x="6695004" y="47651"/>
                  </a:lnTo>
                  <a:lnTo>
                    <a:pt x="6847488" y="133424"/>
                  </a:lnTo>
                  <a:lnTo>
                    <a:pt x="6923732" y="228726"/>
                  </a:lnTo>
                  <a:lnTo>
                    <a:pt x="6942792" y="223961"/>
                  </a:lnTo>
                  <a:lnTo>
                    <a:pt x="7047624" y="262082"/>
                  </a:lnTo>
                  <a:lnTo>
                    <a:pt x="7152456" y="304968"/>
                  </a:lnTo>
                  <a:lnTo>
                    <a:pt x="7324000" y="424096"/>
                  </a:lnTo>
                  <a:lnTo>
                    <a:pt x="7347828" y="462217"/>
                  </a:lnTo>
                  <a:lnTo>
                    <a:pt x="7328764" y="495573"/>
                  </a:lnTo>
                  <a:lnTo>
                    <a:pt x="7285880" y="514634"/>
                  </a:lnTo>
                  <a:lnTo>
                    <a:pt x="7066684" y="552755"/>
                  </a:lnTo>
                  <a:lnTo>
                    <a:pt x="6675944" y="600406"/>
                  </a:lnTo>
                  <a:lnTo>
                    <a:pt x="6447216" y="690944"/>
                  </a:lnTo>
                  <a:lnTo>
                    <a:pt x="6375740" y="690944"/>
                  </a:lnTo>
                  <a:lnTo>
                    <a:pt x="6370976" y="824367"/>
                  </a:lnTo>
                  <a:lnTo>
                    <a:pt x="6404332" y="829132"/>
                  </a:lnTo>
                  <a:lnTo>
                    <a:pt x="6451984" y="814837"/>
                  </a:lnTo>
                  <a:lnTo>
                    <a:pt x="6628292" y="681413"/>
                  </a:lnTo>
                  <a:lnTo>
                    <a:pt x="6695004" y="662353"/>
                  </a:lnTo>
                  <a:lnTo>
                    <a:pt x="6818896" y="671883"/>
                  </a:lnTo>
                  <a:lnTo>
                    <a:pt x="6976148" y="719534"/>
                  </a:lnTo>
                  <a:lnTo>
                    <a:pt x="7042860" y="705239"/>
                  </a:lnTo>
                  <a:lnTo>
                    <a:pt x="7157220" y="714769"/>
                  </a:lnTo>
                  <a:lnTo>
                    <a:pt x="7290644" y="676648"/>
                  </a:lnTo>
                  <a:lnTo>
                    <a:pt x="7447896" y="595641"/>
                  </a:lnTo>
                  <a:lnTo>
                    <a:pt x="7495544" y="776716"/>
                  </a:lnTo>
                  <a:lnTo>
                    <a:pt x="7552728" y="957791"/>
                  </a:lnTo>
                  <a:lnTo>
                    <a:pt x="7600380" y="938730"/>
                  </a:lnTo>
                  <a:lnTo>
                    <a:pt x="7638500" y="948260"/>
                  </a:lnTo>
                  <a:lnTo>
                    <a:pt x="7652796" y="1005442"/>
                  </a:lnTo>
                  <a:lnTo>
                    <a:pt x="7671856" y="1034033"/>
                  </a:lnTo>
                  <a:lnTo>
                    <a:pt x="7719508" y="1019737"/>
                  </a:lnTo>
                  <a:lnTo>
                    <a:pt x="7857696" y="1067389"/>
                  </a:lnTo>
                  <a:lnTo>
                    <a:pt x="7952996" y="1157926"/>
                  </a:lnTo>
                  <a:lnTo>
                    <a:pt x="7986352" y="1200812"/>
                  </a:lnTo>
                  <a:lnTo>
                    <a:pt x="8005412" y="1257994"/>
                  </a:lnTo>
                  <a:lnTo>
                    <a:pt x="8014944" y="1305645"/>
                  </a:lnTo>
                  <a:lnTo>
                    <a:pt x="7995884" y="1362827"/>
                  </a:lnTo>
                  <a:lnTo>
                    <a:pt x="7938704" y="1467659"/>
                  </a:lnTo>
                  <a:lnTo>
                    <a:pt x="7862460" y="1558197"/>
                  </a:lnTo>
                  <a:lnTo>
                    <a:pt x="7762392" y="1629674"/>
                  </a:lnTo>
                  <a:lnTo>
                    <a:pt x="7648028" y="1672560"/>
                  </a:lnTo>
                  <a:lnTo>
                    <a:pt x="6752184" y="1820279"/>
                  </a:lnTo>
                  <a:lnTo>
                    <a:pt x="6723596" y="1853635"/>
                  </a:lnTo>
                  <a:lnTo>
                    <a:pt x="6704536" y="1939407"/>
                  </a:lnTo>
                  <a:lnTo>
                    <a:pt x="6718828" y="2049005"/>
                  </a:lnTo>
                  <a:lnTo>
                    <a:pt x="6761716" y="2068065"/>
                  </a:lnTo>
                  <a:lnTo>
                    <a:pt x="6857020" y="2006119"/>
                  </a:lnTo>
                  <a:lnTo>
                    <a:pt x="7028564" y="1944172"/>
                  </a:lnTo>
                  <a:lnTo>
                    <a:pt x="7152456" y="1948937"/>
                  </a:lnTo>
                  <a:lnTo>
                    <a:pt x="7447896" y="2001354"/>
                  </a:lnTo>
                  <a:lnTo>
                    <a:pt x="7533668" y="2130012"/>
                  </a:lnTo>
                  <a:lnTo>
                    <a:pt x="7581316" y="2330147"/>
                  </a:lnTo>
                  <a:lnTo>
                    <a:pt x="7681384" y="2287261"/>
                  </a:lnTo>
                  <a:lnTo>
                    <a:pt x="7705212" y="2253905"/>
                  </a:lnTo>
                  <a:lnTo>
                    <a:pt x="7719508" y="2191959"/>
                  </a:lnTo>
                  <a:lnTo>
                    <a:pt x="7733800" y="2130012"/>
                  </a:lnTo>
                  <a:lnTo>
                    <a:pt x="7743332" y="2058535"/>
                  </a:lnTo>
                  <a:lnTo>
                    <a:pt x="7752864" y="2010884"/>
                  </a:lnTo>
                  <a:lnTo>
                    <a:pt x="7767156" y="1987058"/>
                  </a:lnTo>
                  <a:lnTo>
                    <a:pt x="7790984" y="1967998"/>
                  </a:lnTo>
                  <a:lnTo>
                    <a:pt x="7848164" y="1944172"/>
                  </a:lnTo>
                  <a:lnTo>
                    <a:pt x="8005412" y="1915581"/>
                  </a:lnTo>
                  <a:lnTo>
                    <a:pt x="8043536" y="1925112"/>
                  </a:lnTo>
                  <a:lnTo>
                    <a:pt x="8067360" y="2020414"/>
                  </a:lnTo>
                  <a:lnTo>
                    <a:pt x="8072124" y="2072830"/>
                  </a:lnTo>
                  <a:lnTo>
                    <a:pt x="8076892" y="2144307"/>
                  </a:lnTo>
                  <a:lnTo>
                    <a:pt x="8076892" y="2234845"/>
                  </a:lnTo>
                  <a:lnTo>
                    <a:pt x="8072124" y="2339678"/>
                  </a:lnTo>
                  <a:lnTo>
                    <a:pt x="8057832" y="2439745"/>
                  </a:lnTo>
                  <a:lnTo>
                    <a:pt x="8014944" y="2611290"/>
                  </a:lnTo>
                  <a:lnTo>
                    <a:pt x="7981588" y="2706592"/>
                  </a:lnTo>
                  <a:lnTo>
                    <a:pt x="7943468" y="2773304"/>
                  </a:lnTo>
                  <a:lnTo>
                    <a:pt x="7871992" y="2921023"/>
                  </a:lnTo>
                  <a:lnTo>
                    <a:pt x="7848164" y="2959144"/>
                  </a:lnTo>
                  <a:lnTo>
                    <a:pt x="7771924" y="3130689"/>
                  </a:lnTo>
                  <a:lnTo>
                    <a:pt x="7752864" y="3211695"/>
                  </a:lnTo>
                  <a:lnTo>
                    <a:pt x="7748096" y="3268877"/>
                  </a:lnTo>
                  <a:lnTo>
                    <a:pt x="7762392" y="3278408"/>
                  </a:lnTo>
                  <a:lnTo>
                    <a:pt x="7786220" y="3225991"/>
                  </a:lnTo>
                  <a:lnTo>
                    <a:pt x="7795748" y="3187869"/>
                  </a:lnTo>
                  <a:lnTo>
                    <a:pt x="7810044" y="3144984"/>
                  </a:lnTo>
                  <a:lnTo>
                    <a:pt x="7924408" y="3040151"/>
                  </a:lnTo>
                  <a:lnTo>
                    <a:pt x="7948232" y="3006795"/>
                  </a:lnTo>
                  <a:lnTo>
                    <a:pt x="8024476" y="2878137"/>
                  </a:lnTo>
                  <a:lnTo>
                    <a:pt x="8072124" y="2830486"/>
                  </a:lnTo>
                  <a:lnTo>
                    <a:pt x="8110248" y="2778069"/>
                  </a:lnTo>
                  <a:lnTo>
                    <a:pt x="8134072" y="2739948"/>
                  </a:lnTo>
                  <a:lnTo>
                    <a:pt x="8248436" y="2477866"/>
                  </a:lnTo>
                  <a:lnTo>
                    <a:pt x="8310384" y="2396859"/>
                  </a:lnTo>
                  <a:lnTo>
                    <a:pt x="8372328" y="2396859"/>
                  </a:lnTo>
                  <a:lnTo>
                    <a:pt x="8381860" y="2535048"/>
                  </a:lnTo>
                  <a:lnTo>
                    <a:pt x="8458100" y="2554108"/>
                  </a:lnTo>
                  <a:lnTo>
                    <a:pt x="8491456" y="2549343"/>
                  </a:lnTo>
                  <a:lnTo>
                    <a:pt x="8543872" y="2582699"/>
                  </a:lnTo>
                  <a:lnTo>
                    <a:pt x="8567700" y="2606524"/>
                  </a:lnTo>
                  <a:lnTo>
                    <a:pt x="8605820" y="2620820"/>
                  </a:lnTo>
                  <a:lnTo>
                    <a:pt x="8648708" y="2654176"/>
                  </a:lnTo>
                  <a:lnTo>
                    <a:pt x="8682064" y="2620820"/>
                  </a:lnTo>
                  <a:lnTo>
                    <a:pt x="8696356" y="2596994"/>
                  </a:lnTo>
                  <a:lnTo>
                    <a:pt x="8729712" y="2496927"/>
                  </a:lnTo>
                  <a:lnTo>
                    <a:pt x="8777364" y="2411154"/>
                  </a:lnTo>
                  <a:lnTo>
                    <a:pt x="8820252" y="2301556"/>
                  </a:lnTo>
                  <a:lnTo>
                    <a:pt x="8834548" y="2272966"/>
                  </a:lnTo>
                  <a:lnTo>
                    <a:pt x="8858372" y="2249140"/>
                  </a:lnTo>
                  <a:lnTo>
                    <a:pt x="8882196" y="2239610"/>
                  </a:lnTo>
                  <a:lnTo>
                    <a:pt x="8944144" y="2187193"/>
                  </a:lnTo>
                  <a:lnTo>
                    <a:pt x="8963204" y="2182428"/>
                  </a:lnTo>
                  <a:lnTo>
                    <a:pt x="8996560" y="2201489"/>
                  </a:lnTo>
                  <a:lnTo>
                    <a:pt x="9149044" y="2206254"/>
                  </a:lnTo>
                  <a:lnTo>
                    <a:pt x="9234816" y="2234845"/>
                  </a:lnTo>
                  <a:lnTo>
                    <a:pt x="9349180" y="2311087"/>
                  </a:lnTo>
                  <a:lnTo>
                    <a:pt x="9430188" y="2349208"/>
                  </a:lnTo>
                  <a:lnTo>
                    <a:pt x="9468308" y="2387329"/>
                  </a:lnTo>
                  <a:lnTo>
                    <a:pt x="9525488" y="2463571"/>
                  </a:lnTo>
                  <a:lnTo>
                    <a:pt x="9568376" y="2544578"/>
                  </a:lnTo>
                  <a:lnTo>
                    <a:pt x="9592200" y="2568404"/>
                  </a:lnTo>
                  <a:lnTo>
                    <a:pt x="9587436" y="2592229"/>
                  </a:lnTo>
                  <a:lnTo>
                    <a:pt x="9573140" y="2625585"/>
                  </a:lnTo>
                  <a:lnTo>
                    <a:pt x="9463544" y="2744713"/>
                  </a:lnTo>
                  <a:lnTo>
                    <a:pt x="9430188" y="2825720"/>
                  </a:lnTo>
                  <a:lnTo>
                    <a:pt x="9325356" y="2973439"/>
                  </a:lnTo>
                  <a:lnTo>
                    <a:pt x="9272936" y="3021090"/>
                  </a:lnTo>
                  <a:lnTo>
                    <a:pt x="9220520" y="3040151"/>
                  </a:lnTo>
                  <a:lnTo>
                    <a:pt x="9158576" y="3044916"/>
                  </a:lnTo>
                  <a:lnTo>
                    <a:pt x="9115688" y="3063976"/>
                  </a:lnTo>
                  <a:lnTo>
                    <a:pt x="9110924" y="3087802"/>
                  </a:lnTo>
                  <a:lnTo>
                    <a:pt x="9139516" y="3144984"/>
                  </a:lnTo>
                  <a:lnTo>
                    <a:pt x="9153808" y="3187869"/>
                  </a:lnTo>
                  <a:lnTo>
                    <a:pt x="9149044" y="3225991"/>
                  </a:lnTo>
                  <a:lnTo>
                    <a:pt x="9120452" y="3278408"/>
                  </a:lnTo>
                  <a:lnTo>
                    <a:pt x="9110924" y="3292703"/>
                  </a:lnTo>
                  <a:lnTo>
                    <a:pt x="9001324" y="3335588"/>
                  </a:lnTo>
                  <a:lnTo>
                    <a:pt x="8948908" y="3402301"/>
                  </a:lnTo>
                  <a:lnTo>
                    <a:pt x="8877432" y="3411831"/>
                  </a:lnTo>
                  <a:lnTo>
                    <a:pt x="8825016" y="3402301"/>
                  </a:lnTo>
                  <a:lnTo>
                    <a:pt x="8758304" y="3473777"/>
                  </a:lnTo>
                  <a:lnTo>
                    <a:pt x="8782128" y="3535723"/>
                  </a:lnTo>
                  <a:lnTo>
                    <a:pt x="8810720" y="3559550"/>
                  </a:lnTo>
                  <a:lnTo>
                    <a:pt x="8886964" y="3611966"/>
                  </a:lnTo>
                  <a:lnTo>
                    <a:pt x="8886964" y="3645322"/>
                  </a:lnTo>
                  <a:lnTo>
                    <a:pt x="8848840" y="3707269"/>
                  </a:lnTo>
                  <a:lnTo>
                    <a:pt x="8801192" y="3778745"/>
                  </a:lnTo>
                  <a:lnTo>
                    <a:pt x="8739244" y="3826397"/>
                  </a:lnTo>
                  <a:lnTo>
                    <a:pt x="8715420" y="3835927"/>
                  </a:lnTo>
                  <a:lnTo>
                    <a:pt x="8691592" y="3821631"/>
                  </a:lnTo>
                  <a:lnTo>
                    <a:pt x="8663000" y="3826397"/>
                  </a:lnTo>
                  <a:lnTo>
                    <a:pt x="8605820" y="3845456"/>
                  </a:lnTo>
                  <a:lnTo>
                    <a:pt x="8553404" y="3850223"/>
                  </a:lnTo>
                  <a:lnTo>
                    <a:pt x="8453336" y="3816867"/>
                  </a:lnTo>
                  <a:lnTo>
                    <a:pt x="8400920" y="3783511"/>
                  </a:lnTo>
                  <a:lnTo>
                    <a:pt x="8377092" y="3769215"/>
                  </a:lnTo>
                  <a:lnTo>
                    <a:pt x="8338972" y="3773980"/>
                  </a:lnTo>
                  <a:lnTo>
                    <a:pt x="8324676" y="3788275"/>
                  </a:lnTo>
                  <a:lnTo>
                    <a:pt x="8272260" y="3874048"/>
                  </a:lnTo>
                  <a:lnTo>
                    <a:pt x="8243672" y="3935994"/>
                  </a:lnTo>
                  <a:lnTo>
                    <a:pt x="8229376" y="3997942"/>
                  </a:lnTo>
                  <a:lnTo>
                    <a:pt x="8219844" y="4064653"/>
                  </a:lnTo>
                  <a:lnTo>
                    <a:pt x="8224608" y="4131365"/>
                  </a:lnTo>
                  <a:lnTo>
                    <a:pt x="8229376" y="4183781"/>
                  </a:lnTo>
                  <a:lnTo>
                    <a:pt x="8238904" y="4207607"/>
                  </a:lnTo>
                  <a:lnTo>
                    <a:pt x="8253200" y="4221902"/>
                  </a:lnTo>
                  <a:lnTo>
                    <a:pt x="8277028" y="4231432"/>
                  </a:lnTo>
                  <a:lnTo>
                    <a:pt x="8324676" y="4221902"/>
                  </a:lnTo>
                  <a:lnTo>
                    <a:pt x="8343736" y="4226667"/>
                  </a:lnTo>
                  <a:lnTo>
                    <a:pt x="8353268" y="4240962"/>
                  </a:lnTo>
                  <a:lnTo>
                    <a:pt x="8362800" y="4288614"/>
                  </a:lnTo>
                  <a:lnTo>
                    <a:pt x="8362800" y="4331500"/>
                  </a:lnTo>
                  <a:lnTo>
                    <a:pt x="8353268" y="4388681"/>
                  </a:lnTo>
                  <a:lnTo>
                    <a:pt x="8343736" y="4455394"/>
                  </a:lnTo>
                  <a:lnTo>
                    <a:pt x="8338972" y="4531635"/>
                  </a:lnTo>
                  <a:lnTo>
                    <a:pt x="8343736" y="4574523"/>
                  </a:lnTo>
                  <a:lnTo>
                    <a:pt x="8362800" y="4584053"/>
                  </a:lnTo>
                  <a:lnTo>
                    <a:pt x="8372328" y="4579287"/>
                  </a:lnTo>
                  <a:lnTo>
                    <a:pt x="8381860" y="4593581"/>
                  </a:lnTo>
                  <a:lnTo>
                    <a:pt x="8396156" y="4622173"/>
                  </a:lnTo>
                  <a:lnTo>
                    <a:pt x="8405684" y="4655529"/>
                  </a:lnTo>
                  <a:lnTo>
                    <a:pt x="8410448" y="4688884"/>
                  </a:lnTo>
                  <a:lnTo>
                    <a:pt x="8410448" y="4717476"/>
                  </a:lnTo>
                  <a:lnTo>
                    <a:pt x="8396156" y="4741302"/>
                  </a:lnTo>
                  <a:lnTo>
                    <a:pt x="8367564" y="4765127"/>
                  </a:lnTo>
                  <a:lnTo>
                    <a:pt x="8296088" y="4812778"/>
                  </a:lnTo>
                  <a:lnTo>
                    <a:pt x="8286556" y="4827073"/>
                  </a:lnTo>
                  <a:lnTo>
                    <a:pt x="8281792" y="4855665"/>
                  </a:lnTo>
                  <a:lnTo>
                    <a:pt x="8277028" y="4898551"/>
                  </a:lnTo>
                  <a:lnTo>
                    <a:pt x="8267496" y="4936671"/>
                  </a:lnTo>
                  <a:lnTo>
                    <a:pt x="8253200" y="4970027"/>
                  </a:lnTo>
                  <a:lnTo>
                    <a:pt x="8243672" y="4993852"/>
                  </a:lnTo>
                  <a:lnTo>
                    <a:pt x="8219844" y="5003384"/>
                  </a:lnTo>
                  <a:lnTo>
                    <a:pt x="8186488" y="5003384"/>
                  </a:lnTo>
                  <a:lnTo>
                    <a:pt x="8153132" y="5022444"/>
                  </a:lnTo>
                  <a:lnTo>
                    <a:pt x="8072124" y="5141571"/>
                  </a:lnTo>
                  <a:lnTo>
                    <a:pt x="8072124" y="5151101"/>
                  </a:lnTo>
                  <a:lnTo>
                    <a:pt x="8100716" y="5189223"/>
                  </a:lnTo>
                  <a:lnTo>
                    <a:pt x="8100716" y="5222579"/>
                  </a:lnTo>
                  <a:lnTo>
                    <a:pt x="8062596" y="5356003"/>
                  </a:lnTo>
                  <a:lnTo>
                    <a:pt x="8053064" y="5427480"/>
                  </a:lnTo>
                  <a:lnTo>
                    <a:pt x="8043536" y="5518017"/>
                  </a:lnTo>
                  <a:lnTo>
                    <a:pt x="8034004" y="5594258"/>
                  </a:lnTo>
                  <a:lnTo>
                    <a:pt x="8014944" y="5656206"/>
                  </a:lnTo>
                  <a:lnTo>
                    <a:pt x="7995884" y="5722918"/>
                  </a:lnTo>
                  <a:lnTo>
                    <a:pt x="7976824" y="5803925"/>
                  </a:lnTo>
                  <a:lnTo>
                    <a:pt x="7981588" y="5865870"/>
                  </a:lnTo>
                  <a:lnTo>
                    <a:pt x="8005412" y="5903993"/>
                  </a:lnTo>
                  <a:lnTo>
                    <a:pt x="8034004" y="5870637"/>
                  </a:lnTo>
                  <a:lnTo>
                    <a:pt x="8072124" y="5761037"/>
                  </a:lnTo>
                  <a:lnTo>
                    <a:pt x="8115012" y="5713388"/>
                  </a:lnTo>
                  <a:lnTo>
                    <a:pt x="8162664" y="5727684"/>
                  </a:lnTo>
                  <a:lnTo>
                    <a:pt x="8200784" y="5751507"/>
                  </a:lnTo>
                  <a:lnTo>
                    <a:pt x="8253200" y="5794395"/>
                  </a:lnTo>
                  <a:lnTo>
                    <a:pt x="8296088" y="5822985"/>
                  </a:lnTo>
                  <a:lnTo>
                    <a:pt x="8329444" y="5856340"/>
                  </a:lnTo>
                  <a:lnTo>
                    <a:pt x="8343736" y="5884933"/>
                  </a:lnTo>
                  <a:lnTo>
                    <a:pt x="8362800" y="5927818"/>
                  </a:lnTo>
                  <a:lnTo>
                    <a:pt x="8362800" y="5956409"/>
                  </a:lnTo>
                  <a:lnTo>
                    <a:pt x="8334208" y="5970704"/>
                  </a:lnTo>
                  <a:lnTo>
                    <a:pt x="8324676" y="5965939"/>
                  </a:lnTo>
                  <a:lnTo>
                    <a:pt x="8257964" y="5894463"/>
                  </a:lnTo>
                  <a:lnTo>
                    <a:pt x="8224608" y="5880167"/>
                  </a:lnTo>
                  <a:lnTo>
                    <a:pt x="8181724" y="5899226"/>
                  </a:lnTo>
                  <a:lnTo>
                    <a:pt x="8143604" y="5932584"/>
                  </a:lnTo>
                  <a:lnTo>
                    <a:pt x="8176960" y="6056475"/>
                  </a:lnTo>
                  <a:lnTo>
                    <a:pt x="8215080" y="6108893"/>
                  </a:lnTo>
                  <a:lnTo>
                    <a:pt x="8281792" y="6137483"/>
                  </a:lnTo>
                  <a:lnTo>
                    <a:pt x="8315148" y="6166074"/>
                  </a:lnTo>
                  <a:lnTo>
                    <a:pt x="8338972" y="6199431"/>
                  </a:lnTo>
                  <a:lnTo>
                    <a:pt x="8358032" y="6213724"/>
                  </a:lnTo>
                  <a:lnTo>
                    <a:pt x="8386624" y="6208961"/>
                  </a:lnTo>
                  <a:lnTo>
                    <a:pt x="8419980" y="6175604"/>
                  </a:lnTo>
                  <a:lnTo>
                    <a:pt x="8472396" y="6170838"/>
                  </a:lnTo>
                  <a:lnTo>
                    <a:pt x="8496224" y="6189901"/>
                  </a:lnTo>
                  <a:lnTo>
                    <a:pt x="8510516" y="6218491"/>
                  </a:lnTo>
                  <a:lnTo>
                    <a:pt x="8515284" y="6275672"/>
                  </a:lnTo>
                  <a:lnTo>
                    <a:pt x="8515284" y="6361443"/>
                  </a:lnTo>
                  <a:lnTo>
                    <a:pt x="8510516" y="6423392"/>
                  </a:lnTo>
                  <a:lnTo>
                    <a:pt x="8500988" y="6466277"/>
                  </a:lnTo>
                  <a:lnTo>
                    <a:pt x="8481928" y="6523459"/>
                  </a:lnTo>
                  <a:lnTo>
                    <a:pt x="8467632" y="6532989"/>
                  </a:lnTo>
                  <a:lnTo>
                    <a:pt x="8448572" y="6528224"/>
                  </a:lnTo>
                  <a:lnTo>
                    <a:pt x="8429512" y="6518694"/>
                  </a:lnTo>
                  <a:lnTo>
                    <a:pt x="8410448" y="6499633"/>
                  </a:lnTo>
                  <a:lnTo>
                    <a:pt x="8381860" y="6485339"/>
                  </a:lnTo>
                  <a:lnTo>
                    <a:pt x="8329444" y="6466277"/>
                  </a:lnTo>
                  <a:lnTo>
                    <a:pt x="8272260" y="6428156"/>
                  </a:lnTo>
                  <a:lnTo>
                    <a:pt x="8238904" y="6418626"/>
                  </a:lnTo>
                  <a:lnTo>
                    <a:pt x="8176960" y="6423392"/>
                  </a:lnTo>
                  <a:lnTo>
                    <a:pt x="8105480" y="6447218"/>
                  </a:lnTo>
                  <a:lnTo>
                    <a:pt x="8100716" y="6480573"/>
                  </a:lnTo>
                  <a:lnTo>
                    <a:pt x="7995884" y="6585405"/>
                  </a:lnTo>
                  <a:lnTo>
                    <a:pt x="7976824" y="6585405"/>
                  </a:lnTo>
                  <a:lnTo>
                    <a:pt x="7948232" y="6547284"/>
                  </a:lnTo>
                  <a:lnTo>
                    <a:pt x="7910112" y="6513929"/>
                  </a:lnTo>
                  <a:lnTo>
                    <a:pt x="7886284" y="6513929"/>
                  </a:lnTo>
                  <a:lnTo>
                    <a:pt x="7852928" y="6556815"/>
                  </a:lnTo>
                  <a:lnTo>
                    <a:pt x="7843400" y="6571110"/>
                  </a:lnTo>
                  <a:lnTo>
                    <a:pt x="7843400" y="6590170"/>
                  </a:lnTo>
                  <a:lnTo>
                    <a:pt x="7867224" y="6628292"/>
                  </a:lnTo>
                  <a:lnTo>
                    <a:pt x="7876756" y="6637822"/>
                  </a:lnTo>
                  <a:lnTo>
                    <a:pt x="7891052" y="6642588"/>
                  </a:lnTo>
                  <a:lnTo>
                    <a:pt x="7938704" y="6652118"/>
                  </a:lnTo>
                  <a:lnTo>
                    <a:pt x="7957764" y="6661648"/>
                  </a:lnTo>
                  <a:lnTo>
                    <a:pt x="7976824" y="6776010"/>
                  </a:lnTo>
                  <a:lnTo>
                    <a:pt x="8005412" y="6847488"/>
                  </a:lnTo>
                  <a:lnTo>
                    <a:pt x="8019708" y="6861783"/>
                  </a:lnTo>
                  <a:lnTo>
                    <a:pt x="8029240" y="6866548"/>
                  </a:lnTo>
                  <a:lnTo>
                    <a:pt x="8067360" y="6866548"/>
                  </a:lnTo>
                  <a:lnTo>
                    <a:pt x="8110248" y="6842722"/>
                  </a:lnTo>
                  <a:lnTo>
                    <a:pt x="8129308" y="6861783"/>
                  </a:lnTo>
                  <a:lnTo>
                    <a:pt x="8162664" y="6885608"/>
                  </a:lnTo>
                  <a:lnTo>
                    <a:pt x="8181724" y="6890375"/>
                  </a:lnTo>
                  <a:lnTo>
                    <a:pt x="8205548" y="6890375"/>
                  </a:lnTo>
                  <a:lnTo>
                    <a:pt x="8234140" y="6895139"/>
                  </a:lnTo>
                  <a:lnTo>
                    <a:pt x="8272260" y="6961850"/>
                  </a:lnTo>
                  <a:lnTo>
                    <a:pt x="8257964" y="7042857"/>
                  </a:lnTo>
                  <a:lnTo>
                    <a:pt x="8281792" y="7104803"/>
                  </a:lnTo>
                  <a:lnTo>
                    <a:pt x="8319912" y="7171515"/>
                  </a:lnTo>
                  <a:lnTo>
                    <a:pt x="8329444" y="7195341"/>
                  </a:lnTo>
                  <a:lnTo>
                    <a:pt x="8329444" y="7238227"/>
                  </a:lnTo>
                  <a:lnTo>
                    <a:pt x="8334208" y="7266818"/>
                  </a:lnTo>
                  <a:lnTo>
                    <a:pt x="8334208" y="7290643"/>
                  </a:lnTo>
                  <a:lnTo>
                    <a:pt x="8338972" y="7314469"/>
                  </a:lnTo>
                  <a:lnTo>
                    <a:pt x="8343736" y="7362121"/>
                  </a:lnTo>
                  <a:lnTo>
                    <a:pt x="8348504" y="7428832"/>
                  </a:lnTo>
                  <a:lnTo>
                    <a:pt x="8348504" y="7481249"/>
                  </a:lnTo>
                  <a:lnTo>
                    <a:pt x="8338972" y="7524135"/>
                  </a:lnTo>
                  <a:lnTo>
                    <a:pt x="8324676" y="7552725"/>
                  </a:lnTo>
                  <a:lnTo>
                    <a:pt x="8300852" y="7571786"/>
                  </a:lnTo>
                  <a:lnTo>
                    <a:pt x="8281792" y="7567021"/>
                  </a:lnTo>
                  <a:lnTo>
                    <a:pt x="8267496" y="7538430"/>
                  </a:lnTo>
                  <a:lnTo>
                    <a:pt x="8248436" y="7509839"/>
                  </a:lnTo>
                  <a:lnTo>
                    <a:pt x="8219844" y="7476483"/>
                  </a:lnTo>
                  <a:lnTo>
                    <a:pt x="8176960" y="7471719"/>
                  </a:lnTo>
                  <a:lnTo>
                    <a:pt x="8110248" y="7567021"/>
                  </a:lnTo>
                  <a:lnTo>
                    <a:pt x="8081656" y="7571786"/>
                  </a:lnTo>
                  <a:lnTo>
                    <a:pt x="8057832" y="7581316"/>
                  </a:lnTo>
                  <a:lnTo>
                    <a:pt x="8029240" y="7624203"/>
                  </a:lnTo>
                  <a:lnTo>
                    <a:pt x="7991120" y="7648028"/>
                  </a:lnTo>
                  <a:lnTo>
                    <a:pt x="7957764" y="7638497"/>
                  </a:lnTo>
                  <a:lnTo>
                    <a:pt x="7900580" y="7590847"/>
                  </a:lnTo>
                  <a:lnTo>
                    <a:pt x="7924408" y="7624203"/>
                  </a:lnTo>
                  <a:lnTo>
                    <a:pt x="7952996" y="7662323"/>
                  </a:lnTo>
                  <a:lnTo>
                    <a:pt x="7972060" y="7681384"/>
                  </a:lnTo>
                  <a:lnTo>
                    <a:pt x="7986352" y="7686149"/>
                  </a:lnTo>
                  <a:lnTo>
                    <a:pt x="8000648" y="7681384"/>
                  </a:lnTo>
                  <a:lnTo>
                    <a:pt x="8024476" y="7667089"/>
                  </a:lnTo>
                  <a:lnTo>
                    <a:pt x="8072124" y="7624203"/>
                  </a:lnTo>
                  <a:lnTo>
                    <a:pt x="8086420" y="7614672"/>
                  </a:lnTo>
                  <a:lnTo>
                    <a:pt x="8095952" y="7619437"/>
                  </a:lnTo>
                  <a:lnTo>
                    <a:pt x="8105480" y="7628967"/>
                  </a:lnTo>
                  <a:lnTo>
                    <a:pt x="8115012" y="7667089"/>
                  </a:lnTo>
                  <a:lnTo>
                    <a:pt x="8129308" y="7729035"/>
                  </a:lnTo>
                  <a:lnTo>
                    <a:pt x="8124544" y="7781451"/>
                  </a:lnTo>
                  <a:lnTo>
                    <a:pt x="8110248" y="7824337"/>
                  </a:lnTo>
                  <a:lnTo>
                    <a:pt x="8100716" y="7848163"/>
                  </a:lnTo>
                  <a:lnTo>
                    <a:pt x="8086420" y="7862459"/>
                  </a:lnTo>
                  <a:lnTo>
                    <a:pt x="8086420" y="7871989"/>
                  </a:lnTo>
                  <a:lnTo>
                    <a:pt x="8115012" y="7881519"/>
                  </a:lnTo>
                  <a:lnTo>
                    <a:pt x="8153132" y="7824337"/>
                  </a:lnTo>
                  <a:lnTo>
                    <a:pt x="8167428" y="7757626"/>
                  </a:lnTo>
                  <a:lnTo>
                    <a:pt x="8186488" y="7676619"/>
                  </a:lnTo>
                  <a:lnTo>
                    <a:pt x="8219844" y="7652793"/>
                  </a:lnTo>
                  <a:lnTo>
                    <a:pt x="8253200" y="7676619"/>
                  </a:lnTo>
                  <a:lnTo>
                    <a:pt x="8281792" y="7752861"/>
                  </a:lnTo>
                  <a:lnTo>
                    <a:pt x="8324676" y="7886285"/>
                  </a:lnTo>
                  <a:lnTo>
                    <a:pt x="8338972" y="7900579"/>
                  </a:lnTo>
                  <a:lnTo>
                    <a:pt x="8362800" y="7933935"/>
                  </a:lnTo>
                  <a:lnTo>
                    <a:pt x="8372328" y="7972057"/>
                  </a:lnTo>
                  <a:lnTo>
                    <a:pt x="8367564" y="8019708"/>
                  </a:lnTo>
                  <a:lnTo>
                    <a:pt x="8362800" y="8053064"/>
                  </a:lnTo>
                  <a:lnTo>
                    <a:pt x="8358032" y="8072125"/>
                  </a:lnTo>
                  <a:lnTo>
                    <a:pt x="8348504" y="8086419"/>
                  </a:lnTo>
                  <a:lnTo>
                    <a:pt x="8334208" y="8095950"/>
                  </a:lnTo>
                  <a:lnTo>
                    <a:pt x="8305616" y="8100715"/>
                  </a:lnTo>
                  <a:lnTo>
                    <a:pt x="8243672" y="8086419"/>
                  </a:lnTo>
                  <a:lnTo>
                    <a:pt x="8210316" y="8086419"/>
                  </a:lnTo>
                  <a:lnTo>
                    <a:pt x="8215080" y="8134071"/>
                  </a:lnTo>
                  <a:lnTo>
                    <a:pt x="8148368" y="8172192"/>
                  </a:lnTo>
                  <a:lnTo>
                    <a:pt x="8072124" y="8186487"/>
                  </a:lnTo>
                  <a:lnTo>
                    <a:pt x="8005412" y="8153131"/>
                  </a:lnTo>
                  <a:lnTo>
                    <a:pt x="7943468" y="8110245"/>
                  </a:lnTo>
                  <a:lnTo>
                    <a:pt x="7962528" y="8043533"/>
                  </a:lnTo>
                  <a:lnTo>
                    <a:pt x="7976824" y="7972057"/>
                  </a:lnTo>
                  <a:lnTo>
                    <a:pt x="7948232" y="7919640"/>
                  </a:lnTo>
                  <a:lnTo>
                    <a:pt x="7943468" y="7919640"/>
                  </a:lnTo>
                  <a:lnTo>
                    <a:pt x="7952996" y="7995883"/>
                  </a:lnTo>
                  <a:lnTo>
                    <a:pt x="7943468" y="8024473"/>
                  </a:lnTo>
                  <a:lnTo>
                    <a:pt x="7910112" y="8057829"/>
                  </a:lnTo>
                  <a:lnTo>
                    <a:pt x="7886284" y="8076889"/>
                  </a:lnTo>
                  <a:lnTo>
                    <a:pt x="7886284" y="8086419"/>
                  </a:lnTo>
                  <a:lnTo>
                    <a:pt x="7895816" y="8091185"/>
                  </a:lnTo>
                  <a:lnTo>
                    <a:pt x="7905348" y="8110245"/>
                  </a:lnTo>
                  <a:lnTo>
                    <a:pt x="7910112" y="8129306"/>
                  </a:lnTo>
                  <a:lnTo>
                    <a:pt x="7905348" y="8153131"/>
                  </a:lnTo>
                  <a:lnTo>
                    <a:pt x="7891052" y="8176957"/>
                  </a:lnTo>
                  <a:lnTo>
                    <a:pt x="7886284" y="8196017"/>
                  </a:lnTo>
                  <a:lnTo>
                    <a:pt x="7886284" y="8210313"/>
                  </a:lnTo>
                  <a:lnTo>
                    <a:pt x="7895816" y="8229373"/>
                  </a:lnTo>
                  <a:lnTo>
                    <a:pt x="7914876" y="8253199"/>
                  </a:lnTo>
                  <a:lnTo>
                    <a:pt x="7938704" y="8262729"/>
                  </a:lnTo>
                  <a:lnTo>
                    <a:pt x="8048300" y="8267495"/>
                  </a:lnTo>
                  <a:lnTo>
                    <a:pt x="8091188" y="8281790"/>
                  </a:lnTo>
                  <a:lnTo>
                    <a:pt x="8191252" y="8334207"/>
                  </a:lnTo>
                  <a:lnTo>
                    <a:pt x="8196020" y="8348501"/>
                  </a:lnTo>
                  <a:lnTo>
                    <a:pt x="8181724" y="8443804"/>
                  </a:lnTo>
                  <a:lnTo>
                    <a:pt x="8172192" y="8529576"/>
                  </a:lnTo>
                  <a:lnTo>
                    <a:pt x="8153132" y="8548637"/>
                  </a:lnTo>
                  <a:lnTo>
                    <a:pt x="8043536" y="8548637"/>
                  </a:lnTo>
                  <a:lnTo>
                    <a:pt x="8010180" y="8562932"/>
                  </a:lnTo>
                  <a:lnTo>
                    <a:pt x="7957764" y="8605819"/>
                  </a:lnTo>
                  <a:lnTo>
                    <a:pt x="7910112" y="8653470"/>
                  </a:lnTo>
                  <a:lnTo>
                    <a:pt x="7886284" y="8653470"/>
                  </a:lnTo>
                  <a:lnTo>
                    <a:pt x="7786220" y="8610584"/>
                  </a:lnTo>
                  <a:lnTo>
                    <a:pt x="7748096" y="8581993"/>
                  </a:lnTo>
                  <a:lnTo>
                    <a:pt x="7662324" y="8505751"/>
                  </a:lnTo>
                  <a:lnTo>
                    <a:pt x="7600380" y="8381857"/>
                  </a:lnTo>
                  <a:lnTo>
                    <a:pt x="7571788" y="8434274"/>
                  </a:lnTo>
                  <a:lnTo>
                    <a:pt x="7557492" y="8458100"/>
                  </a:lnTo>
                  <a:lnTo>
                    <a:pt x="7538432" y="8467630"/>
                  </a:lnTo>
                  <a:lnTo>
                    <a:pt x="7519372" y="8472395"/>
                  </a:lnTo>
                  <a:lnTo>
                    <a:pt x="7505076" y="8462865"/>
                  </a:lnTo>
                  <a:lnTo>
                    <a:pt x="7486016" y="8443804"/>
                  </a:lnTo>
                  <a:lnTo>
                    <a:pt x="7452660" y="8396153"/>
                  </a:lnTo>
                  <a:lnTo>
                    <a:pt x="7414540" y="8353267"/>
                  </a:lnTo>
                  <a:lnTo>
                    <a:pt x="7385948" y="8334207"/>
                  </a:lnTo>
                  <a:lnTo>
                    <a:pt x="7385948" y="8338971"/>
                  </a:lnTo>
                  <a:lnTo>
                    <a:pt x="7405008" y="8362797"/>
                  </a:lnTo>
                  <a:lnTo>
                    <a:pt x="7424068" y="8396153"/>
                  </a:lnTo>
                  <a:lnTo>
                    <a:pt x="7486016" y="8481925"/>
                  </a:lnTo>
                  <a:lnTo>
                    <a:pt x="7505076" y="8505751"/>
                  </a:lnTo>
                  <a:lnTo>
                    <a:pt x="7500312" y="8520046"/>
                  </a:lnTo>
                  <a:lnTo>
                    <a:pt x="7466956" y="8534342"/>
                  </a:lnTo>
                  <a:lnTo>
                    <a:pt x="7419304" y="8562932"/>
                  </a:lnTo>
                  <a:lnTo>
                    <a:pt x="7400244" y="8586758"/>
                  </a:lnTo>
                  <a:lnTo>
                    <a:pt x="7366888" y="8639174"/>
                  </a:lnTo>
                  <a:lnTo>
                    <a:pt x="7352592" y="8648705"/>
                  </a:lnTo>
                  <a:lnTo>
                    <a:pt x="7304940" y="8663000"/>
                  </a:lnTo>
                  <a:lnTo>
                    <a:pt x="7285880" y="8658235"/>
                  </a:lnTo>
                  <a:lnTo>
                    <a:pt x="7247760" y="8629644"/>
                  </a:lnTo>
                  <a:lnTo>
                    <a:pt x="7195344" y="8610584"/>
                  </a:lnTo>
                  <a:lnTo>
                    <a:pt x="7161988" y="8591523"/>
                  </a:lnTo>
                  <a:lnTo>
                    <a:pt x="7114336" y="8562932"/>
                  </a:lnTo>
                  <a:lnTo>
                    <a:pt x="7128632" y="8596288"/>
                  </a:lnTo>
                  <a:lnTo>
                    <a:pt x="7219168" y="8648705"/>
                  </a:lnTo>
                  <a:lnTo>
                    <a:pt x="7228700" y="8663000"/>
                  </a:lnTo>
                  <a:lnTo>
                    <a:pt x="7209636" y="8696356"/>
                  </a:lnTo>
                  <a:lnTo>
                    <a:pt x="7200108" y="8705886"/>
                  </a:lnTo>
                  <a:lnTo>
                    <a:pt x="7181048" y="8710651"/>
                  </a:lnTo>
                  <a:lnTo>
                    <a:pt x="7147692" y="8701121"/>
                  </a:lnTo>
                  <a:lnTo>
                    <a:pt x="7114336" y="8705886"/>
                  </a:lnTo>
                  <a:lnTo>
                    <a:pt x="7085744" y="8710651"/>
                  </a:lnTo>
                  <a:lnTo>
                    <a:pt x="7071448" y="8724947"/>
                  </a:lnTo>
                  <a:lnTo>
                    <a:pt x="7076216" y="8739242"/>
                  </a:lnTo>
                  <a:lnTo>
                    <a:pt x="7080980" y="8748772"/>
                  </a:lnTo>
                  <a:lnTo>
                    <a:pt x="7090508" y="8763068"/>
                  </a:lnTo>
                  <a:lnTo>
                    <a:pt x="7104804" y="8763068"/>
                  </a:lnTo>
                  <a:lnTo>
                    <a:pt x="7128632" y="8729712"/>
                  </a:lnTo>
                  <a:lnTo>
                    <a:pt x="7147692" y="8724947"/>
                  </a:lnTo>
                  <a:lnTo>
                    <a:pt x="7195344" y="8734477"/>
                  </a:lnTo>
                  <a:lnTo>
                    <a:pt x="7247760" y="8705886"/>
                  </a:lnTo>
                  <a:lnTo>
                    <a:pt x="7281116" y="8696356"/>
                  </a:lnTo>
                  <a:lnTo>
                    <a:pt x="7309704" y="8691591"/>
                  </a:lnTo>
                  <a:lnTo>
                    <a:pt x="7405008" y="8648705"/>
                  </a:lnTo>
                  <a:lnTo>
                    <a:pt x="7428832" y="8601053"/>
                  </a:lnTo>
                  <a:lnTo>
                    <a:pt x="7462188" y="8581993"/>
                  </a:lnTo>
                  <a:lnTo>
                    <a:pt x="7533668" y="8572463"/>
                  </a:lnTo>
                  <a:lnTo>
                    <a:pt x="7605144" y="8577228"/>
                  </a:lnTo>
                  <a:lnTo>
                    <a:pt x="7643264" y="8581993"/>
                  </a:lnTo>
                  <a:lnTo>
                    <a:pt x="7671856" y="8629644"/>
                  </a:lnTo>
                  <a:lnTo>
                    <a:pt x="7709976" y="8658235"/>
                  </a:lnTo>
                  <a:lnTo>
                    <a:pt x="7743332" y="8696356"/>
                  </a:lnTo>
                  <a:lnTo>
                    <a:pt x="7781452" y="8705886"/>
                  </a:lnTo>
                  <a:lnTo>
                    <a:pt x="7805280" y="8753537"/>
                  </a:lnTo>
                  <a:lnTo>
                    <a:pt x="7867224" y="8805954"/>
                  </a:lnTo>
                  <a:lnTo>
                    <a:pt x="7910112" y="8815484"/>
                  </a:lnTo>
                  <a:lnTo>
                    <a:pt x="7933936" y="8844075"/>
                  </a:lnTo>
                  <a:lnTo>
                    <a:pt x="7933936" y="8948908"/>
                  </a:lnTo>
                  <a:lnTo>
                    <a:pt x="7938704" y="8991794"/>
                  </a:lnTo>
                  <a:lnTo>
                    <a:pt x="7924408" y="9115687"/>
                  </a:lnTo>
                  <a:lnTo>
                    <a:pt x="7895816" y="9144278"/>
                  </a:lnTo>
                  <a:lnTo>
                    <a:pt x="7900580" y="9206225"/>
                  </a:lnTo>
                  <a:lnTo>
                    <a:pt x="7891052" y="9258641"/>
                  </a:lnTo>
                  <a:lnTo>
                    <a:pt x="7862460" y="9239580"/>
                  </a:lnTo>
                  <a:lnTo>
                    <a:pt x="7829104" y="9206225"/>
                  </a:lnTo>
                  <a:lnTo>
                    <a:pt x="7748096" y="9153808"/>
                  </a:lnTo>
                  <a:lnTo>
                    <a:pt x="7676620" y="9115687"/>
                  </a:lnTo>
                  <a:lnTo>
                    <a:pt x="7648028" y="9087096"/>
                  </a:lnTo>
                  <a:lnTo>
                    <a:pt x="7614672" y="9063271"/>
                  </a:lnTo>
                  <a:lnTo>
                    <a:pt x="7571788" y="8963203"/>
                  </a:lnTo>
                  <a:lnTo>
                    <a:pt x="7538432" y="8839310"/>
                  </a:lnTo>
                  <a:lnTo>
                    <a:pt x="7528900" y="8777363"/>
                  </a:lnTo>
                  <a:lnTo>
                    <a:pt x="7500312" y="8777363"/>
                  </a:lnTo>
                  <a:lnTo>
                    <a:pt x="7471720" y="8791658"/>
                  </a:lnTo>
                  <a:lnTo>
                    <a:pt x="7443128" y="8810719"/>
                  </a:lnTo>
                  <a:lnTo>
                    <a:pt x="7428832" y="8839310"/>
                  </a:lnTo>
                  <a:lnTo>
                    <a:pt x="7333532" y="8877431"/>
                  </a:lnTo>
                  <a:lnTo>
                    <a:pt x="7300176" y="8906022"/>
                  </a:lnTo>
                  <a:lnTo>
                    <a:pt x="7281116" y="8906022"/>
                  </a:lnTo>
                  <a:lnTo>
                    <a:pt x="7209636" y="8948908"/>
                  </a:lnTo>
                  <a:lnTo>
                    <a:pt x="7238228" y="8967968"/>
                  </a:lnTo>
                  <a:lnTo>
                    <a:pt x="7252524" y="8972733"/>
                  </a:lnTo>
                  <a:lnTo>
                    <a:pt x="7281116" y="8958438"/>
                  </a:lnTo>
                  <a:lnTo>
                    <a:pt x="7300176" y="8944143"/>
                  </a:lnTo>
                  <a:lnTo>
                    <a:pt x="7362120" y="8906022"/>
                  </a:lnTo>
                  <a:lnTo>
                    <a:pt x="7414540" y="8901256"/>
                  </a:lnTo>
                  <a:lnTo>
                    <a:pt x="7433600" y="8882196"/>
                  </a:lnTo>
                  <a:lnTo>
                    <a:pt x="7471720" y="8858370"/>
                  </a:lnTo>
                  <a:lnTo>
                    <a:pt x="7500312" y="8848840"/>
                  </a:lnTo>
                  <a:lnTo>
                    <a:pt x="7500312" y="8858370"/>
                  </a:lnTo>
                  <a:lnTo>
                    <a:pt x="7505076" y="8867901"/>
                  </a:lnTo>
                  <a:lnTo>
                    <a:pt x="7524136" y="9020385"/>
                  </a:lnTo>
                  <a:lnTo>
                    <a:pt x="7514604" y="9058506"/>
                  </a:lnTo>
                  <a:lnTo>
                    <a:pt x="7495544" y="9077566"/>
                  </a:lnTo>
                  <a:lnTo>
                    <a:pt x="7447896" y="9106157"/>
                  </a:lnTo>
                  <a:lnTo>
                    <a:pt x="7438364" y="9115687"/>
                  </a:lnTo>
                  <a:lnTo>
                    <a:pt x="7452660" y="9139513"/>
                  </a:lnTo>
                  <a:lnTo>
                    <a:pt x="7495544" y="9120452"/>
                  </a:lnTo>
                  <a:lnTo>
                    <a:pt x="7519372" y="9091861"/>
                  </a:lnTo>
                  <a:lnTo>
                    <a:pt x="7538432" y="9101392"/>
                  </a:lnTo>
                  <a:lnTo>
                    <a:pt x="7562256" y="9139513"/>
                  </a:lnTo>
                  <a:lnTo>
                    <a:pt x="7586084" y="9158573"/>
                  </a:lnTo>
                  <a:lnTo>
                    <a:pt x="7657560" y="9215755"/>
                  </a:lnTo>
                  <a:lnTo>
                    <a:pt x="7690916" y="9249111"/>
                  </a:lnTo>
                  <a:lnTo>
                    <a:pt x="7738568" y="9277701"/>
                  </a:lnTo>
                  <a:lnTo>
                    <a:pt x="7790984" y="9318205"/>
                  </a:lnTo>
                  <a:lnTo>
                    <a:pt x="7800512" y="9332500"/>
                  </a:lnTo>
                  <a:lnTo>
                    <a:pt x="7852928" y="9351561"/>
                  </a:lnTo>
                  <a:lnTo>
                    <a:pt x="7862460" y="9361091"/>
                  </a:lnTo>
                  <a:lnTo>
                    <a:pt x="7881520" y="9432568"/>
                  </a:lnTo>
                  <a:lnTo>
                    <a:pt x="7895816" y="9437333"/>
                  </a:lnTo>
                  <a:lnTo>
                    <a:pt x="7943468" y="9442098"/>
                  </a:lnTo>
                  <a:lnTo>
                    <a:pt x="7933936" y="9470689"/>
                  </a:lnTo>
                  <a:lnTo>
                    <a:pt x="7891052" y="9532636"/>
                  </a:lnTo>
                  <a:lnTo>
                    <a:pt x="7867224" y="9551696"/>
                  </a:lnTo>
                  <a:lnTo>
                    <a:pt x="7857696" y="9565992"/>
                  </a:lnTo>
                  <a:lnTo>
                    <a:pt x="7862460" y="9585052"/>
                  </a:lnTo>
                  <a:lnTo>
                    <a:pt x="7862460" y="9623173"/>
                  </a:lnTo>
                  <a:lnTo>
                    <a:pt x="7871992" y="9689885"/>
                  </a:lnTo>
                  <a:lnTo>
                    <a:pt x="7886284" y="9627938"/>
                  </a:lnTo>
                  <a:lnTo>
                    <a:pt x="7891052" y="9599348"/>
                  </a:lnTo>
                  <a:lnTo>
                    <a:pt x="7900580" y="9589817"/>
                  </a:lnTo>
                  <a:lnTo>
                    <a:pt x="7910112" y="9589817"/>
                  </a:lnTo>
                  <a:lnTo>
                    <a:pt x="7943468" y="9561227"/>
                  </a:lnTo>
                  <a:lnTo>
                    <a:pt x="7976824" y="9575522"/>
                  </a:lnTo>
                  <a:lnTo>
                    <a:pt x="7986352" y="9646999"/>
                  </a:lnTo>
                  <a:lnTo>
                    <a:pt x="7991120" y="9708945"/>
                  </a:lnTo>
                  <a:lnTo>
                    <a:pt x="7986352" y="9766127"/>
                  </a:lnTo>
                  <a:lnTo>
                    <a:pt x="7991120" y="9847134"/>
                  </a:lnTo>
                  <a:lnTo>
                    <a:pt x="7991120" y="9875725"/>
                  </a:lnTo>
                  <a:lnTo>
                    <a:pt x="7995884" y="9899551"/>
                  </a:lnTo>
                  <a:lnTo>
                    <a:pt x="8005412" y="10004383"/>
                  </a:lnTo>
                  <a:lnTo>
                    <a:pt x="8014944" y="10032974"/>
                  </a:lnTo>
                  <a:lnTo>
                    <a:pt x="7995884" y="10061565"/>
                  </a:lnTo>
                  <a:lnTo>
                    <a:pt x="7948232" y="10071095"/>
                  </a:lnTo>
                  <a:lnTo>
                    <a:pt x="7929172" y="10056800"/>
                  </a:lnTo>
                  <a:lnTo>
                    <a:pt x="7876756" y="10061565"/>
                  </a:lnTo>
                  <a:lnTo>
                    <a:pt x="7876756" y="10037739"/>
                  </a:lnTo>
                  <a:lnTo>
                    <a:pt x="7876756" y="10009148"/>
                  </a:lnTo>
                  <a:lnTo>
                    <a:pt x="7876756" y="9990088"/>
                  </a:lnTo>
                  <a:lnTo>
                    <a:pt x="7871992" y="9975793"/>
                  </a:lnTo>
                  <a:lnTo>
                    <a:pt x="7871992" y="9875725"/>
                  </a:lnTo>
                  <a:lnTo>
                    <a:pt x="7857696" y="9899551"/>
                  </a:lnTo>
                  <a:lnTo>
                    <a:pt x="7852928" y="9918611"/>
                  </a:lnTo>
                  <a:lnTo>
                    <a:pt x="7852928" y="9942437"/>
                  </a:lnTo>
                  <a:lnTo>
                    <a:pt x="7843400" y="10047269"/>
                  </a:lnTo>
                  <a:lnTo>
                    <a:pt x="7829104" y="10075860"/>
                  </a:lnTo>
                  <a:lnTo>
                    <a:pt x="7790984" y="10066330"/>
                  </a:lnTo>
                  <a:lnTo>
                    <a:pt x="7752864" y="10071095"/>
                  </a:lnTo>
                  <a:lnTo>
                    <a:pt x="7729036" y="10066330"/>
                  </a:lnTo>
                  <a:lnTo>
                    <a:pt x="7657560" y="10018679"/>
                  </a:lnTo>
                  <a:lnTo>
                    <a:pt x="7628968" y="9975793"/>
                  </a:lnTo>
                  <a:lnTo>
                    <a:pt x="7605144" y="9909081"/>
                  </a:lnTo>
                  <a:lnTo>
                    <a:pt x="7590848" y="9847134"/>
                  </a:lnTo>
                  <a:lnTo>
                    <a:pt x="7586084" y="9785187"/>
                  </a:lnTo>
                  <a:lnTo>
                    <a:pt x="7567024" y="9737536"/>
                  </a:lnTo>
                  <a:lnTo>
                    <a:pt x="7538432" y="9699415"/>
                  </a:lnTo>
                  <a:lnTo>
                    <a:pt x="7505076" y="9670824"/>
                  </a:lnTo>
                  <a:lnTo>
                    <a:pt x="7462188" y="9646999"/>
                  </a:lnTo>
                  <a:lnTo>
                    <a:pt x="7428832" y="9618408"/>
                  </a:lnTo>
                  <a:lnTo>
                    <a:pt x="7400244" y="9580287"/>
                  </a:lnTo>
                  <a:lnTo>
                    <a:pt x="7366888" y="9551696"/>
                  </a:lnTo>
                  <a:lnTo>
                    <a:pt x="7333532" y="9527871"/>
                  </a:lnTo>
                  <a:lnTo>
                    <a:pt x="7281116" y="9518340"/>
                  </a:lnTo>
                  <a:lnTo>
                    <a:pt x="7204872" y="9523105"/>
                  </a:lnTo>
                  <a:lnTo>
                    <a:pt x="7157220" y="9499280"/>
                  </a:lnTo>
                  <a:lnTo>
                    <a:pt x="7142924" y="9504045"/>
                  </a:lnTo>
                  <a:lnTo>
                    <a:pt x="7133396" y="9513575"/>
                  </a:lnTo>
                  <a:lnTo>
                    <a:pt x="7142924" y="9546931"/>
                  </a:lnTo>
                  <a:lnTo>
                    <a:pt x="7200108" y="9565992"/>
                  </a:lnTo>
                  <a:lnTo>
                    <a:pt x="7242992" y="9570757"/>
                  </a:lnTo>
                  <a:lnTo>
                    <a:pt x="7300176" y="9565992"/>
                  </a:lnTo>
                  <a:lnTo>
                    <a:pt x="7338296" y="9575522"/>
                  </a:lnTo>
                  <a:lnTo>
                    <a:pt x="7352592" y="9594582"/>
                  </a:lnTo>
                  <a:lnTo>
                    <a:pt x="7362120" y="9627938"/>
                  </a:lnTo>
                  <a:lnTo>
                    <a:pt x="7366888" y="9680355"/>
                  </a:lnTo>
                  <a:lnTo>
                    <a:pt x="7352592" y="9718476"/>
                  </a:lnTo>
                  <a:lnTo>
                    <a:pt x="7309704" y="9766127"/>
                  </a:lnTo>
                  <a:lnTo>
                    <a:pt x="7290644" y="9785187"/>
                  </a:lnTo>
                  <a:lnTo>
                    <a:pt x="7223932" y="9823309"/>
                  </a:lnTo>
                  <a:lnTo>
                    <a:pt x="7200108" y="9832839"/>
                  </a:lnTo>
                  <a:lnTo>
                    <a:pt x="7147692" y="9832839"/>
                  </a:lnTo>
                  <a:lnTo>
                    <a:pt x="7104804" y="9832839"/>
                  </a:lnTo>
                  <a:lnTo>
                    <a:pt x="7047624" y="9809013"/>
                  </a:lnTo>
                  <a:lnTo>
                    <a:pt x="7019032" y="9809013"/>
                  </a:lnTo>
                  <a:lnTo>
                    <a:pt x="6952320" y="9804248"/>
                  </a:lnTo>
                  <a:lnTo>
                    <a:pt x="6938024" y="9813778"/>
                  </a:lnTo>
                  <a:lnTo>
                    <a:pt x="6957084" y="9832839"/>
                  </a:lnTo>
                  <a:lnTo>
                    <a:pt x="6985676" y="9842369"/>
                  </a:lnTo>
                  <a:lnTo>
                    <a:pt x="6999972" y="9856664"/>
                  </a:lnTo>
                  <a:lnTo>
                    <a:pt x="7004736" y="9885255"/>
                  </a:lnTo>
                  <a:lnTo>
                    <a:pt x="6995208" y="9923376"/>
                  </a:lnTo>
                  <a:lnTo>
                    <a:pt x="6990440" y="9951967"/>
                  </a:lnTo>
                  <a:lnTo>
                    <a:pt x="6976148" y="9971027"/>
                  </a:lnTo>
                  <a:lnTo>
                    <a:pt x="6938024" y="10009148"/>
                  </a:lnTo>
                  <a:lnTo>
                    <a:pt x="6918964" y="10023444"/>
                  </a:lnTo>
                  <a:lnTo>
                    <a:pt x="6837956" y="10061565"/>
                  </a:lnTo>
                  <a:lnTo>
                    <a:pt x="6833192" y="10071095"/>
                  </a:lnTo>
                  <a:lnTo>
                    <a:pt x="6852252" y="10071095"/>
                  </a:lnTo>
                  <a:lnTo>
                    <a:pt x="6899904" y="10056800"/>
                  </a:lnTo>
                  <a:lnTo>
                    <a:pt x="6914200" y="10056800"/>
                  </a:lnTo>
                  <a:lnTo>
                    <a:pt x="6999972" y="10090156"/>
                  </a:lnTo>
                  <a:lnTo>
                    <a:pt x="7066684" y="10090156"/>
                  </a:lnTo>
                  <a:lnTo>
                    <a:pt x="7195344" y="10056800"/>
                  </a:lnTo>
                  <a:lnTo>
                    <a:pt x="7209636" y="10056800"/>
                  </a:lnTo>
                  <a:lnTo>
                    <a:pt x="7214404" y="10061565"/>
                  </a:lnTo>
                  <a:lnTo>
                    <a:pt x="7223932" y="10075860"/>
                  </a:lnTo>
                  <a:lnTo>
                    <a:pt x="7233464" y="10094921"/>
                  </a:lnTo>
                  <a:lnTo>
                    <a:pt x="7223932" y="10109216"/>
                  </a:lnTo>
                  <a:lnTo>
                    <a:pt x="7195344" y="10128277"/>
                  </a:lnTo>
                  <a:lnTo>
                    <a:pt x="7147692" y="10147337"/>
                  </a:lnTo>
                  <a:lnTo>
                    <a:pt x="7123864" y="10156867"/>
                  </a:lnTo>
                  <a:lnTo>
                    <a:pt x="7104804" y="10175928"/>
                  </a:lnTo>
                  <a:lnTo>
                    <a:pt x="7071448" y="10218814"/>
                  </a:lnTo>
                  <a:lnTo>
                    <a:pt x="7057152" y="10261700"/>
                  </a:lnTo>
                  <a:lnTo>
                    <a:pt x="7095276" y="10280761"/>
                  </a:lnTo>
                  <a:lnTo>
                    <a:pt x="7114336" y="10256935"/>
                  </a:lnTo>
                  <a:lnTo>
                    <a:pt x="7133396" y="10209284"/>
                  </a:lnTo>
                  <a:lnTo>
                    <a:pt x="7152456" y="10185458"/>
                  </a:lnTo>
                  <a:lnTo>
                    <a:pt x="7195344" y="10166398"/>
                  </a:lnTo>
                  <a:lnTo>
                    <a:pt x="7247760" y="10175928"/>
                  </a:lnTo>
                  <a:lnTo>
                    <a:pt x="7290644" y="10161633"/>
                  </a:lnTo>
                  <a:lnTo>
                    <a:pt x="7371652" y="10118746"/>
                  </a:lnTo>
                  <a:lnTo>
                    <a:pt x="7385948" y="10113981"/>
                  </a:lnTo>
                  <a:lnTo>
                    <a:pt x="7509840" y="10142572"/>
                  </a:lnTo>
                  <a:lnTo>
                    <a:pt x="7619440" y="10194988"/>
                  </a:lnTo>
                  <a:lnTo>
                    <a:pt x="7676620" y="10214049"/>
                  </a:lnTo>
                  <a:lnTo>
                    <a:pt x="7752864" y="10223579"/>
                  </a:lnTo>
                  <a:lnTo>
                    <a:pt x="7895816" y="10218814"/>
                  </a:lnTo>
                  <a:lnTo>
                    <a:pt x="7905348" y="10228344"/>
                  </a:lnTo>
                  <a:lnTo>
                    <a:pt x="7900580" y="10247405"/>
                  </a:lnTo>
                  <a:lnTo>
                    <a:pt x="7891052" y="10261700"/>
                  </a:lnTo>
                  <a:lnTo>
                    <a:pt x="7871992" y="10280761"/>
                  </a:lnTo>
                  <a:lnTo>
                    <a:pt x="7843400" y="10295056"/>
                  </a:lnTo>
                  <a:lnTo>
                    <a:pt x="7824340" y="10299821"/>
                  </a:lnTo>
                  <a:lnTo>
                    <a:pt x="7810044" y="10309351"/>
                  </a:lnTo>
                  <a:lnTo>
                    <a:pt x="7776688" y="10318882"/>
                  </a:lnTo>
                  <a:lnTo>
                    <a:pt x="7767156" y="10328412"/>
                  </a:lnTo>
                  <a:lnTo>
                    <a:pt x="7781452" y="10366533"/>
                  </a:lnTo>
                  <a:lnTo>
                    <a:pt x="7776688" y="10371298"/>
                  </a:lnTo>
                  <a:lnTo>
                    <a:pt x="7743332" y="10371298"/>
                  </a:lnTo>
                  <a:lnTo>
                    <a:pt x="7695680" y="10395124"/>
                  </a:lnTo>
                  <a:lnTo>
                    <a:pt x="7657560" y="10390359"/>
                  </a:lnTo>
                  <a:lnTo>
                    <a:pt x="7648028" y="10395124"/>
                  </a:lnTo>
                  <a:lnTo>
                    <a:pt x="7652796" y="10404654"/>
                  </a:lnTo>
                  <a:lnTo>
                    <a:pt x="7662324" y="10418949"/>
                  </a:lnTo>
                  <a:lnTo>
                    <a:pt x="7671856" y="10442775"/>
                  </a:lnTo>
                  <a:lnTo>
                    <a:pt x="7667088" y="10461836"/>
                  </a:lnTo>
                  <a:lnTo>
                    <a:pt x="7648028" y="10471366"/>
                  </a:lnTo>
                  <a:lnTo>
                    <a:pt x="7633732" y="10476131"/>
                  </a:lnTo>
                  <a:lnTo>
                    <a:pt x="7586084" y="10461836"/>
                  </a:lnTo>
                  <a:lnTo>
                    <a:pt x="7581316" y="10461836"/>
                  </a:lnTo>
                  <a:lnTo>
                    <a:pt x="7586084" y="10476131"/>
                  </a:lnTo>
                  <a:lnTo>
                    <a:pt x="7590848" y="10490426"/>
                  </a:lnTo>
                  <a:lnTo>
                    <a:pt x="7590848" y="10509487"/>
                  </a:lnTo>
                  <a:lnTo>
                    <a:pt x="7581316" y="10528547"/>
                  </a:lnTo>
                  <a:lnTo>
                    <a:pt x="7557492" y="10542843"/>
                  </a:lnTo>
                  <a:lnTo>
                    <a:pt x="7509840" y="10580964"/>
                  </a:lnTo>
                  <a:lnTo>
                    <a:pt x="7490780" y="10595259"/>
                  </a:lnTo>
                  <a:lnTo>
                    <a:pt x="7447896" y="10604789"/>
                  </a:lnTo>
                  <a:lnTo>
                    <a:pt x="7438364" y="10609554"/>
                  </a:lnTo>
                  <a:lnTo>
                    <a:pt x="7457424" y="10638145"/>
                  </a:lnTo>
                  <a:lnTo>
                    <a:pt x="7457424" y="10647675"/>
                  </a:lnTo>
                  <a:lnTo>
                    <a:pt x="7428832" y="10681031"/>
                  </a:lnTo>
                  <a:lnTo>
                    <a:pt x="7385948" y="10704857"/>
                  </a:lnTo>
                  <a:lnTo>
                    <a:pt x="7381184" y="10714387"/>
                  </a:lnTo>
                  <a:lnTo>
                    <a:pt x="7376416" y="10742978"/>
                  </a:lnTo>
                  <a:lnTo>
                    <a:pt x="7371652" y="10752508"/>
                  </a:lnTo>
                  <a:lnTo>
                    <a:pt x="7362120" y="10771569"/>
                  </a:lnTo>
                  <a:lnTo>
                    <a:pt x="7319236" y="10800160"/>
                  </a:lnTo>
                  <a:lnTo>
                    <a:pt x="7290644" y="10814455"/>
                  </a:lnTo>
                  <a:lnTo>
                    <a:pt x="7276348" y="10828750"/>
                  </a:lnTo>
                  <a:lnTo>
                    <a:pt x="7262056" y="10852576"/>
                  </a:lnTo>
                  <a:lnTo>
                    <a:pt x="7238228" y="10862106"/>
                  </a:lnTo>
                  <a:lnTo>
                    <a:pt x="7209636" y="10862106"/>
                  </a:lnTo>
                  <a:lnTo>
                    <a:pt x="7185812" y="10871636"/>
                  </a:lnTo>
                  <a:lnTo>
                    <a:pt x="7142924" y="10895462"/>
                  </a:lnTo>
                  <a:lnTo>
                    <a:pt x="7114336" y="10900227"/>
                  </a:lnTo>
                  <a:lnTo>
                    <a:pt x="7023796" y="10938348"/>
                  </a:lnTo>
                  <a:lnTo>
                    <a:pt x="6980912" y="10947878"/>
                  </a:lnTo>
                  <a:lnTo>
                    <a:pt x="6942792" y="10962174"/>
                  </a:lnTo>
                  <a:lnTo>
                    <a:pt x="6866548" y="10995530"/>
                  </a:lnTo>
                  <a:lnTo>
                    <a:pt x="6833192" y="11009825"/>
                  </a:lnTo>
                  <a:lnTo>
                    <a:pt x="6804600" y="11024121"/>
                  </a:lnTo>
                  <a:lnTo>
                    <a:pt x="6776012" y="11028886"/>
                  </a:lnTo>
                  <a:lnTo>
                    <a:pt x="6733124" y="11019355"/>
                  </a:lnTo>
                  <a:lnTo>
                    <a:pt x="6709300" y="11019355"/>
                  </a:lnTo>
                  <a:lnTo>
                    <a:pt x="6695004" y="11024121"/>
                  </a:lnTo>
                  <a:lnTo>
                    <a:pt x="6680708" y="11033651"/>
                  </a:lnTo>
                  <a:lnTo>
                    <a:pt x="6656884" y="11067007"/>
                  </a:lnTo>
                  <a:lnTo>
                    <a:pt x="6637824" y="11067007"/>
                  </a:lnTo>
                  <a:lnTo>
                    <a:pt x="6575876" y="11043181"/>
                  </a:lnTo>
                  <a:lnTo>
                    <a:pt x="6575876" y="11052711"/>
                  </a:lnTo>
                  <a:lnTo>
                    <a:pt x="6594936" y="11081302"/>
                  </a:lnTo>
                  <a:lnTo>
                    <a:pt x="6594936" y="11100363"/>
                  </a:lnTo>
                  <a:lnTo>
                    <a:pt x="6556816" y="11119423"/>
                  </a:lnTo>
                  <a:lnTo>
                    <a:pt x="6537756" y="11124188"/>
                  </a:lnTo>
                  <a:lnTo>
                    <a:pt x="6504400" y="11114658"/>
                  </a:lnTo>
                  <a:lnTo>
                    <a:pt x="6466276" y="11095597"/>
                  </a:lnTo>
                  <a:lnTo>
                    <a:pt x="6418628" y="11052711"/>
                  </a:lnTo>
                  <a:lnTo>
                    <a:pt x="6356680" y="10986000"/>
                  </a:lnTo>
                  <a:lnTo>
                    <a:pt x="6323324" y="10962174"/>
                  </a:lnTo>
                  <a:lnTo>
                    <a:pt x="6328088" y="10986000"/>
                  </a:lnTo>
                  <a:lnTo>
                    <a:pt x="6332856" y="11005060"/>
                  </a:lnTo>
                  <a:lnTo>
                    <a:pt x="6347148" y="11024121"/>
                  </a:lnTo>
                  <a:lnTo>
                    <a:pt x="6347148" y="11038416"/>
                  </a:lnTo>
                  <a:lnTo>
                    <a:pt x="6342384" y="11047946"/>
                  </a:lnTo>
                  <a:lnTo>
                    <a:pt x="6332856" y="11052711"/>
                  </a:lnTo>
                  <a:lnTo>
                    <a:pt x="6323324" y="11052711"/>
                  </a:lnTo>
                  <a:lnTo>
                    <a:pt x="6318560" y="11057476"/>
                  </a:lnTo>
                  <a:lnTo>
                    <a:pt x="6337620" y="11090832"/>
                  </a:lnTo>
                  <a:lnTo>
                    <a:pt x="6351916" y="11124188"/>
                  </a:lnTo>
                  <a:lnTo>
                    <a:pt x="6351916" y="11152779"/>
                  </a:lnTo>
                  <a:lnTo>
                    <a:pt x="6332856" y="11181370"/>
                  </a:lnTo>
                  <a:lnTo>
                    <a:pt x="6318560" y="11195665"/>
                  </a:lnTo>
                  <a:lnTo>
                    <a:pt x="6304264" y="11200430"/>
                  </a:lnTo>
                  <a:lnTo>
                    <a:pt x="6232788" y="11271907"/>
                  </a:lnTo>
                  <a:lnTo>
                    <a:pt x="6213728" y="11281437"/>
                  </a:lnTo>
                  <a:lnTo>
                    <a:pt x="6204196" y="11290968"/>
                  </a:lnTo>
                  <a:lnTo>
                    <a:pt x="6194664" y="11300498"/>
                  </a:lnTo>
                  <a:lnTo>
                    <a:pt x="6175604" y="11362445"/>
                  </a:lnTo>
                  <a:lnTo>
                    <a:pt x="6166076" y="11376740"/>
                  </a:lnTo>
                  <a:lnTo>
                    <a:pt x="6147016" y="11400566"/>
                  </a:lnTo>
                  <a:lnTo>
                    <a:pt x="6142248" y="11405331"/>
                  </a:lnTo>
                  <a:lnTo>
                    <a:pt x="6137484" y="11414861"/>
                  </a:lnTo>
                  <a:lnTo>
                    <a:pt x="6142248" y="11429156"/>
                  </a:lnTo>
                  <a:lnTo>
                    <a:pt x="6137484" y="11452982"/>
                  </a:lnTo>
                  <a:lnTo>
                    <a:pt x="6123188" y="11486338"/>
                  </a:lnTo>
                  <a:lnTo>
                    <a:pt x="6085068" y="11581640"/>
                  </a:lnTo>
                  <a:lnTo>
                    <a:pt x="6046948" y="11667413"/>
                  </a:lnTo>
                  <a:lnTo>
                    <a:pt x="6032652" y="11691238"/>
                  </a:lnTo>
                  <a:lnTo>
                    <a:pt x="6023120" y="11705534"/>
                  </a:lnTo>
                  <a:lnTo>
                    <a:pt x="6013592" y="11700769"/>
                  </a:lnTo>
                  <a:lnTo>
                    <a:pt x="5999296" y="11705534"/>
                  </a:lnTo>
                  <a:lnTo>
                    <a:pt x="5989764" y="11719829"/>
                  </a:lnTo>
                  <a:lnTo>
                    <a:pt x="5980236" y="11743655"/>
                  </a:lnTo>
                  <a:lnTo>
                    <a:pt x="5975468" y="11767480"/>
                  </a:lnTo>
                  <a:lnTo>
                    <a:pt x="5965940" y="11781776"/>
                  </a:lnTo>
                  <a:lnTo>
                    <a:pt x="5894464" y="11838957"/>
                  </a:lnTo>
                  <a:lnTo>
                    <a:pt x="5880168" y="11853253"/>
                  </a:lnTo>
                  <a:lnTo>
                    <a:pt x="5861108" y="11843722"/>
                  </a:lnTo>
                  <a:lnTo>
                    <a:pt x="5842048" y="11848488"/>
                  </a:lnTo>
                  <a:lnTo>
                    <a:pt x="5803924" y="11815132"/>
                  </a:lnTo>
                  <a:lnTo>
                    <a:pt x="5799160" y="11805601"/>
                  </a:lnTo>
                  <a:lnTo>
                    <a:pt x="5770568" y="11777011"/>
                  </a:lnTo>
                  <a:lnTo>
                    <a:pt x="5775336" y="11791306"/>
                  </a:lnTo>
                  <a:lnTo>
                    <a:pt x="5775336" y="11800836"/>
                  </a:lnTo>
                  <a:lnTo>
                    <a:pt x="5780100" y="11810367"/>
                  </a:lnTo>
                  <a:lnTo>
                    <a:pt x="5789628" y="11824662"/>
                  </a:lnTo>
                  <a:lnTo>
                    <a:pt x="5808692" y="11896139"/>
                  </a:lnTo>
                  <a:lnTo>
                    <a:pt x="5794396" y="11910434"/>
                  </a:lnTo>
                  <a:lnTo>
                    <a:pt x="5780100" y="11924730"/>
                  </a:lnTo>
                  <a:lnTo>
                    <a:pt x="5746744" y="11953320"/>
                  </a:lnTo>
                  <a:lnTo>
                    <a:pt x="5708624" y="12000972"/>
                  </a:lnTo>
                  <a:lnTo>
                    <a:pt x="5694328" y="12015267"/>
                  </a:lnTo>
                  <a:lnTo>
                    <a:pt x="5689564" y="11977146"/>
                  </a:lnTo>
                  <a:lnTo>
                    <a:pt x="5689564" y="11962851"/>
                  </a:lnTo>
                  <a:lnTo>
                    <a:pt x="5670500" y="11943790"/>
                  </a:lnTo>
                  <a:lnTo>
                    <a:pt x="5670500" y="11958085"/>
                  </a:lnTo>
                  <a:lnTo>
                    <a:pt x="5665736" y="11972381"/>
                  </a:lnTo>
                  <a:lnTo>
                    <a:pt x="5651440" y="12020032"/>
                  </a:lnTo>
                  <a:lnTo>
                    <a:pt x="5646676" y="12029562"/>
                  </a:lnTo>
                  <a:lnTo>
                    <a:pt x="5641912" y="12024797"/>
                  </a:lnTo>
                  <a:lnTo>
                    <a:pt x="5622852" y="12034327"/>
                  </a:lnTo>
                  <a:lnTo>
                    <a:pt x="5603788" y="12029562"/>
                  </a:lnTo>
                  <a:lnTo>
                    <a:pt x="5589496" y="12010502"/>
                  </a:lnTo>
                  <a:lnTo>
                    <a:pt x="5584728" y="11996206"/>
                  </a:lnTo>
                  <a:lnTo>
                    <a:pt x="5560904" y="12029562"/>
                  </a:lnTo>
                  <a:lnTo>
                    <a:pt x="5546608" y="12029562"/>
                  </a:lnTo>
                  <a:lnTo>
                    <a:pt x="5541844" y="12053388"/>
                  </a:lnTo>
                  <a:lnTo>
                    <a:pt x="5532312" y="12077214"/>
                  </a:lnTo>
                  <a:lnTo>
                    <a:pt x="5513252" y="12091509"/>
                  </a:lnTo>
                  <a:lnTo>
                    <a:pt x="5489428" y="12091509"/>
                  </a:lnTo>
                  <a:lnTo>
                    <a:pt x="5479896" y="12101039"/>
                  </a:lnTo>
                  <a:lnTo>
                    <a:pt x="5446540" y="12086744"/>
                  </a:lnTo>
                  <a:lnTo>
                    <a:pt x="5437012" y="12058153"/>
                  </a:lnTo>
                  <a:lnTo>
                    <a:pt x="5465600" y="12020032"/>
                  </a:lnTo>
                  <a:lnTo>
                    <a:pt x="5470368" y="12000972"/>
                  </a:lnTo>
                  <a:lnTo>
                    <a:pt x="5465600" y="11981911"/>
                  </a:lnTo>
                  <a:lnTo>
                    <a:pt x="5470368" y="11958085"/>
                  </a:lnTo>
                  <a:lnTo>
                    <a:pt x="5518016" y="11872313"/>
                  </a:lnTo>
                  <a:lnTo>
                    <a:pt x="5551372" y="11829427"/>
                  </a:lnTo>
                  <a:lnTo>
                    <a:pt x="5551372" y="11824662"/>
                  </a:lnTo>
                  <a:lnTo>
                    <a:pt x="5508488" y="11815132"/>
                  </a:lnTo>
                  <a:lnTo>
                    <a:pt x="5470368" y="11800836"/>
                  </a:lnTo>
                  <a:lnTo>
                    <a:pt x="5432244" y="11796071"/>
                  </a:lnTo>
                  <a:lnTo>
                    <a:pt x="5413184" y="11800836"/>
                  </a:lnTo>
                  <a:lnTo>
                    <a:pt x="5441776" y="11824662"/>
                  </a:lnTo>
                  <a:lnTo>
                    <a:pt x="5479896" y="11848488"/>
                  </a:lnTo>
                  <a:lnTo>
                    <a:pt x="5460836" y="11872313"/>
                  </a:lnTo>
                  <a:lnTo>
                    <a:pt x="5441776" y="11896139"/>
                  </a:lnTo>
                  <a:lnTo>
                    <a:pt x="5427480" y="11958085"/>
                  </a:lnTo>
                  <a:lnTo>
                    <a:pt x="5417948" y="11986676"/>
                  </a:lnTo>
                  <a:lnTo>
                    <a:pt x="5375064" y="11953320"/>
                  </a:lnTo>
                  <a:lnTo>
                    <a:pt x="5356004" y="11943790"/>
                  </a:lnTo>
                  <a:lnTo>
                    <a:pt x="5370300" y="11977146"/>
                  </a:lnTo>
                  <a:lnTo>
                    <a:pt x="5403656" y="12010502"/>
                  </a:lnTo>
                  <a:lnTo>
                    <a:pt x="5408420" y="12020032"/>
                  </a:lnTo>
                  <a:lnTo>
                    <a:pt x="5408420" y="12058153"/>
                  </a:lnTo>
                  <a:lnTo>
                    <a:pt x="5341708" y="12091509"/>
                  </a:lnTo>
                  <a:lnTo>
                    <a:pt x="5270232" y="12096274"/>
                  </a:lnTo>
                  <a:lnTo>
                    <a:pt x="5217816" y="12105804"/>
                  </a:lnTo>
                  <a:lnTo>
                    <a:pt x="5132044" y="12115335"/>
                  </a:lnTo>
                  <a:lnTo>
                    <a:pt x="5098688" y="12115335"/>
                  </a:lnTo>
                  <a:lnTo>
                    <a:pt x="5098688" y="12129630"/>
                  </a:lnTo>
                  <a:lnTo>
                    <a:pt x="5179692" y="12186812"/>
                  </a:lnTo>
                  <a:lnTo>
                    <a:pt x="5193988" y="12196342"/>
                  </a:lnTo>
                  <a:lnTo>
                    <a:pt x="5179692" y="12220167"/>
                  </a:lnTo>
                  <a:lnTo>
                    <a:pt x="5165400" y="12229698"/>
                  </a:lnTo>
                  <a:lnTo>
                    <a:pt x="5136808" y="12272584"/>
                  </a:lnTo>
                  <a:lnTo>
                    <a:pt x="5122512" y="12286879"/>
                  </a:lnTo>
                  <a:lnTo>
                    <a:pt x="5089156" y="12305940"/>
                  </a:lnTo>
                  <a:lnTo>
                    <a:pt x="5022444" y="12286879"/>
                  </a:lnTo>
                  <a:lnTo>
                    <a:pt x="4989088" y="12296409"/>
                  </a:lnTo>
                  <a:lnTo>
                    <a:pt x="4955732" y="12286879"/>
                  </a:lnTo>
                  <a:lnTo>
                    <a:pt x="4955732" y="12310705"/>
                  </a:lnTo>
                  <a:lnTo>
                    <a:pt x="4965264" y="12329765"/>
                  </a:lnTo>
                  <a:lnTo>
                    <a:pt x="4974792" y="12372652"/>
                  </a:lnTo>
                  <a:lnTo>
                    <a:pt x="4998620" y="12367886"/>
                  </a:lnTo>
                  <a:lnTo>
                    <a:pt x="5022444" y="12358356"/>
                  </a:lnTo>
                  <a:lnTo>
                    <a:pt x="5046268" y="12391712"/>
                  </a:lnTo>
                  <a:lnTo>
                    <a:pt x="5060564" y="12444128"/>
                  </a:lnTo>
                  <a:lnTo>
                    <a:pt x="5084392" y="12472719"/>
                  </a:lnTo>
                  <a:lnTo>
                    <a:pt x="5093920" y="12496545"/>
                  </a:lnTo>
                  <a:lnTo>
                    <a:pt x="5098688" y="12515605"/>
                  </a:lnTo>
                  <a:lnTo>
                    <a:pt x="5084392" y="12534666"/>
                  </a:lnTo>
                  <a:lnTo>
                    <a:pt x="5051036" y="12563257"/>
                  </a:lnTo>
                  <a:lnTo>
                    <a:pt x="5017680" y="12568022"/>
                  </a:lnTo>
                  <a:lnTo>
                    <a:pt x="5017680" y="12591847"/>
                  </a:lnTo>
                  <a:lnTo>
                    <a:pt x="5003384" y="12610908"/>
                  </a:lnTo>
                  <a:lnTo>
                    <a:pt x="4974792" y="12606143"/>
                  </a:lnTo>
                  <a:lnTo>
                    <a:pt x="4960496" y="12591847"/>
                  </a:lnTo>
                  <a:lnTo>
                    <a:pt x="4941436" y="12587082"/>
                  </a:lnTo>
                  <a:lnTo>
                    <a:pt x="4879492" y="12582317"/>
                  </a:lnTo>
                  <a:lnTo>
                    <a:pt x="4941436" y="12625203"/>
                  </a:lnTo>
                  <a:lnTo>
                    <a:pt x="4965264" y="12644264"/>
                  </a:lnTo>
                  <a:lnTo>
                    <a:pt x="4974792" y="12634733"/>
                  </a:lnTo>
                  <a:lnTo>
                    <a:pt x="4998620" y="12629968"/>
                  </a:lnTo>
                  <a:lnTo>
                    <a:pt x="5031976" y="12639499"/>
                  </a:lnTo>
                  <a:lnTo>
                    <a:pt x="5022444" y="12715741"/>
                  </a:lnTo>
                  <a:lnTo>
                    <a:pt x="5036740" y="12772922"/>
                  </a:lnTo>
                  <a:lnTo>
                    <a:pt x="5041504" y="12787218"/>
                  </a:lnTo>
                  <a:lnTo>
                    <a:pt x="5008148" y="12820573"/>
                  </a:lnTo>
                  <a:lnTo>
                    <a:pt x="5008148" y="12853929"/>
                  </a:lnTo>
                  <a:lnTo>
                    <a:pt x="4984324" y="12863460"/>
                  </a:lnTo>
                  <a:lnTo>
                    <a:pt x="4960496" y="12858694"/>
                  </a:lnTo>
                  <a:lnTo>
                    <a:pt x="4960496" y="12896815"/>
                  </a:lnTo>
                  <a:lnTo>
                    <a:pt x="4946204" y="12915876"/>
                  </a:lnTo>
                  <a:lnTo>
                    <a:pt x="4950968" y="12930171"/>
                  </a:lnTo>
                  <a:lnTo>
                    <a:pt x="4955732" y="12944467"/>
                  </a:lnTo>
                  <a:lnTo>
                    <a:pt x="4941436" y="12963527"/>
                  </a:lnTo>
                  <a:lnTo>
                    <a:pt x="4927140" y="12992118"/>
                  </a:lnTo>
                  <a:lnTo>
                    <a:pt x="4908080" y="13015944"/>
                  </a:lnTo>
                  <a:lnTo>
                    <a:pt x="4898552" y="13015944"/>
                  </a:lnTo>
                  <a:lnTo>
                    <a:pt x="4874724" y="13015944"/>
                  </a:lnTo>
                  <a:lnTo>
                    <a:pt x="4836604" y="13015944"/>
                  </a:lnTo>
                  <a:lnTo>
                    <a:pt x="4812780" y="12982588"/>
                  </a:lnTo>
                  <a:lnTo>
                    <a:pt x="4798484" y="12973058"/>
                  </a:lnTo>
                  <a:lnTo>
                    <a:pt x="4788952" y="12963527"/>
                  </a:lnTo>
                  <a:lnTo>
                    <a:pt x="4793720" y="12987353"/>
                  </a:lnTo>
                  <a:lnTo>
                    <a:pt x="4798484" y="12996883"/>
                  </a:lnTo>
                  <a:lnTo>
                    <a:pt x="4827076" y="13020709"/>
                  </a:lnTo>
                  <a:lnTo>
                    <a:pt x="4869960" y="13049300"/>
                  </a:lnTo>
                  <a:lnTo>
                    <a:pt x="4869960" y="13068360"/>
                  </a:lnTo>
                  <a:lnTo>
                    <a:pt x="4855664" y="13077890"/>
                  </a:lnTo>
                  <a:lnTo>
                    <a:pt x="4827076" y="13130307"/>
                  </a:lnTo>
                  <a:lnTo>
                    <a:pt x="4817544" y="13130307"/>
                  </a:lnTo>
                  <a:lnTo>
                    <a:pt x="4803248" y="13144602"/>
                  </a:lnTo>
                  <a:lnTo>
                    <a:pt x="4765128" y="13139837"/>
                  </a:lnTo>
                  <a:lnTo>
                    <a:pt x="4746068" y="13135072"/>
                  </a:lnTo>
                  <a:lnTo>
                    <a:pt x="4698416" y="13135072"/>
                  </a:lnTo>
                  <a:lnTo>
                    <a:pt x="4684120" y="13130307"/>
                  </a:lnTo>
                  <a:lnTo>
                    <a:pt x="4665060" y="13135072"/>
                  </a:lnTo>
                  <a:lnTo>
                    <a:pt x="4679356" y="13149367"/>
                  </a:lnTo>
                  <a:lnTo>
                    <a:pt x="4707944" y="13163663"/>
                  </a:lnTo>
                  <a:lnTo>
                    <a:pt x="4741300" y="13173193"/>
                  </a:lnTo>
                  <a:lnTo>
                    <a:pt x="4788952" y="13187488"/>
                  </a:lnTo>
                  <a:lnTo>
                    <a:pt x="4788952" y="13206549"/>
                  </a:lnTo>
                  <a:lnTo>
                    <a:pt x="4774656" y="13220844"/>
                  </a:lnTo>
                  <a:lnTo>
                    <a:pt x="4784188" y="13244670"/>
                  </a:lnTo>
                  <a:lnTo>
                    <a:pt x="4779424" y="13258965"/>
                  </a:lnTo>
                  <a:lnTo>
                    <a:pt x="4774656" y="13278026"/>
                  </a:lnTo>
                  <a:lnTo>
                    <a:pt x="4765128" y="13325677"/>
                  </a:lnTo>
                  <a:lnTo>
                    <a:pt x="4779424" y="13354268"/>
                  </a:lnTo>
                  <a:lnTo>
                    <a:pt x="4793720" y="13373328"/>
                  </a:lnTo>
                  <a:lnTo>
                    <a:pt x="4788952" y="13392389"/>
                  </a:lnTo>
                  <a:lnTo>
                    <a:pt x="4798484" y="13425745"/>
                  </a:lnTo>
                  <a:lnTo>
                    <a:pt x="4774656" y="13454335"/>
                  </a:lnTo>
                  <a:lnTo>
                    <a:pt x="4755596" y="13449570"/>
                  </a:lnTo>
                  <a:lnTo>
                    <a:pt x="4731772" y="13459100"/>
                  </a:lnTo>
                  <a:lnTo>
                    <a:pt x="4722240" y="13468631"/>
                  </a:lnTo>
                  <a:lnTo>
                    <a:pt x="4765128" y="13482926"/>
                  </a:lnTo>
                  <a:lnTo>
                    <a:pt x="4760364" y="13501987"/>
                  </a:lnTo>
                  <a:lnTo>
                    <a:pt x="4750832" y="13530577"/>
                  </a:lnTo>
                  <a:lnTo>
                    <a:pt x="4736536" y="13587759"/>
                  </a:lnTo>
                  <a:lnTo>
                    <a:pt x="4712712" y="13683061"/>
                  </a:lnTo>
                  <a:lnTo>
                    <a:pt x="4703180" y="13778364"/>
                  </a:lnTo>
                  <a:lnTo>
                    <a:pt x="4650764" y="13854606"/>
                  </a:lnTo>
                  <a:lnTo>
                    <a:pt x="4631704" y="13859371"/>
                  </a:lnTo>
                  <a:lnTo>
                    <a:pt x="4626940" y="13859371"/>
                  </a:lnTo>
                  <a:lnTo>
                    <a:pt x="4603112" y="13859371"/>
                  </a:lnTo>
                  <a:lnTo>
                    <a:pt x="4564992" y="13840311"/>
                  </a:lnTo>
                  <a:lnTo>
                    <a:pt x="4536400" y="13835546"/>
                  </a:lnTo>
                  <a:lnTo>
                    <a:pt x="4512576" y="13835546"/>
                  </a:lnTo>
                  <a:lnTo>
                    <a:pt x="4512576" y="13840311"/>
                  </a:lnTo>
                  <a:lnTo>
                    <a:pt x="4526872" y="13854606"/>
                  </a:lnTo>
                  <a:lnTo>
                    <a:pt x="4555460" y="13864136"/>
                  </a:lnTo>
                  <a:lnTo>
                    <a:pt x="4574524" y="13873667"/>
                  </a:lnTo>
                  <a:lnTo>
                    <a:pt x="4612644" y="13883197"/>
                  </a:lnTo>
                  <a:lnTo>
                    <a:pt x="4626940" y="13897492"/>
                  </a:lnTo>
                  <a:lnTo>
                    <a:pt x="4631704" y="13916553"/>
                  </a:lnTo>
                  <a:lnTo>
                    <a:pt x="4631704" y="13926083"/>
                  </a:lnTo>
                  <a:lnTo>
                    <a:pt x="4631704" y="13940378"/>
                  </a:lnTo>
                  <a:lnTo>
                    <a:pt x="4641236" y="14002325"/>
                  </a:lnTo>
                  <a:lnTo>
                    <a:pt x="4622172" y="14021385"/>
                  </a:lnTo>
                  <a:lnTo>
                    <a:pt x="4607880" y="14045211"/>
                  </a:lnTo>
                  <a:lnTo>
                    <a:pt x="4560228" y="14040446"/>
                  </a:lnTo>
                  <a:lnTo>
                    <a:pt x="4555460" y="14035681"/>
                  </a:lnTo>
                  <a:lnTo>
                    <a:pt x="4507812" y="14011855"/>
                  </a:lnTo>
                  <a:lnTo>
                    <a:pt x="4512576" y="14021385"/>
                  </a:lnTo>
                  <a:lnTo>
                    <a:pt x="4545932" y="14049976"/>
                  </a:lnTo>
                  <a:lnTo>
                    <a:pt x="4555460" y="14064272"/>
                  </a:lnTo>
                  <a:lnTo>
                    <a:pt x="4545932" y="14069037"/>
                  </a:lnTo>
                  <a:lnTo>
                    <a:pt x="4536400" y="14069037"/>
                  </a:lnTo>
                  <a:lnTo>
                    <a:pt x="4517340" y="14078567"/>
                  </a:lnTo>
                  <a:lnTo>
                    <a:pt x="4483984" y="14073802"/>
                  </a:lnTo>
                  <a:lnTo>
                    <a:pt x="4483984" y="14059506"/>
                  </a:lnTo>
                  <a:lnTo>
                    <a:pt x="4493516" y="14045211"/>
                  </a:lnTo>
                  <a:lnTo>
                    <a:pt x="4474456" y="14045211"/>
                  </a:lnTo>
                  <a:lnTo>
                    <a:pt x="4460160" y="14054741"/>
                  </a:lnTo>
                  <a:lnTo>
                    <a:pt x="4450628" y="14049976"/>
                  </a:lnTo>
                  <a:lnTo>
                    <a:pt x="4441100" y="14054741"/>
                  </a:lnTo>
                  <a:lnTo>
                    <a:pt x="4436332" y="14045211"/>
                  </a:lnTo>
                  <a:lnTo>
                    <a:pt x="4431568" y="14016620"/>
                  </a:lnTo>
                  <a:lnTo>
                    <a:pt x="4436332" y="14002325"/>
                  </a:lnTo>
                  <a:lnTo>
                    <a:pt x="4464924" y="13964204"/>
                  </a:lnTo>
                  <a:lnTo>
                    <a:pt x="4474456" y="13945143"/>
                  </a:lnTo>
                  <a:lnTo>
                    <a:pt x="4464924" y="13935613"/>
                  </a:lnTo>
                  <a:lnTo>
                    <a:pt x="4445864" y="13954674"/>
                  </a:lnTo>
                  <a:lnTo>
                    <a:pt x="4426804" y="13992795"/>
                  </a:lnTo>
                  <a:lnTo>
                    <a:pt x="4417272" y="14011855"/>
                  </a:lnTo>
                  <a:lnTo>
                    <a:pt x="4407744" y="14016620"/>
                  </a:lnTo>
                  <a:lnTo>
                    <a:pt x="4374388" y="14007090"/>
                  </a:lnTo>
                  <a:lnTo>
                    <a:pt x="4288616" y="13959439"/>
                  </a:lnTo>
                  <a:lnTo>
                    <a:pt x="4288616" y="13926083"/>
                  </a:lnTo>
                  <a:lnTo>
                    <a:pt x="4288616" y="13902257"/>
                  </a:lnTo>
                  <a:lnTo>
                    <a:pt x="4312440" y="13902257"/>
                  </a:lnTo>
                  <a:lnTo>
                    <a:pt x="4331500" y="13887962"/>
                  </a:lnTo>
                  <a:lnTo>
                    <a:pt x="4350560" y="13878432"/>
                  </a:lnTo>
                  <a:lnTo>
                    <a:pt x="4369620" y="13854606"/>
                  </a:lnTo>
                  <a:lnTo>
                    <a:pt x="4383916" y="13816485"/>
                  </a:lnTo>
                  <a:lnTo>
                    <a:pt x="4383916" y="13811720"/>
                  </a:lnTo>
                  <a:lnTo>
                    <a:pt x="4331500" y="13859371"/>
                  </a:lnTo>
                  <a:lnTo>
                    <a:pt x="4302912" y="13878432"/>
                  </a:lnTo>
                  <a:lnTo>
                    <a:pt x="4288616" y="13883197"/>
                  </a:lnTo>
                  <a:lnTo>
                    <a:pt x="4279084" y="13873667"/>
                  </a:lnTo>
                  <a:lnTo>
                    <a:pt x="4255260" y="13859371"/>
                  </a:lnTo>
                  <a:lnTo>
                    <a:pt x="4236200" y="13849841"/>
                  </a:lnTo>
                  <a:lnTo>
                    <a:pt x="4198076" y="13840311"/>
                  </a:lnTo>
                  <a:lnTo>
                    <a:pt x="4193312" y="13830780"/>
                  </a:lnTo>
                  <a:lnTo>
                    <a:pt x="4183780" y="13826015"/>
                  </a:lnTo>
                  <a:lnTo>
                    <a:pt x="4169488" y="13773599"/>
                  </a:lnTo>
                  <a:lnTo>
                    <a:pt x="4188548" y="13711652"/>
                  </a:lnTo>
                  <a:lnTo>
                    <a:pt x="4198076" y="13692592"/>
                  </a:lnTo>
                  <a:lnTo>
                    <a:pt x="4207608" y="13673531"/>
                  </a:lnTo>
                  <a:lnTo>
                    <a:pt x="4212372" y="13644940"/>
                  </a:lnTo>
                  <a:lnTo>
                    <a:pt x="4212372" y="13630645"/>
                  </a:lnTo>
                  <a:lnTo>
                    <a:pt x="4198076" y="13635410"/>
                  </a:lnTo>
                  <a:lnTo>
                    <a:pt x="4193312" y="13644940"/>
                  </a:lnTo>
                  <a:lnTo>
                    <a:pt x="4193312" y="13664001"/>
                  </a:lnTo>
                  <a:lnTo>
                    <a:pt x="4188548" y="13673531"/>
                  </a:lnTo>
                  <a:lnTo>
                    <a:pt x="4145660" y="13697357"/>
                  </a:lnTo>
                  <a:lnTo>
                    <a:pt x="4098008" y="13716417"/>
                  </a:lnTo>
                  <a:lnTo>
                    <a:pt x="4078948" y="13735478"/>
                  </a:lnTo>
                  <a:lnTo>
                    <a:pt x="4064652" y="13749773"/>
                  </a:lnTo>
                  <a:lnTo>
                    <a:pt x="4055124" y="13764069"/>
                  </a:lnTo>
                  <a:lnTo>
                    <a:pt x="4036064" y="13759303"/>
                  </a:lnTo>
                  <a:lnTo>
                    <a:pt x="4012236" y="13764069"/>
                  </a:lnTo>
                  <a:lnTo>
                    <a:pt x="3997940" y="13773599"/>
                  </a:lnTo>
                  <a:lnTo>
                    <a:pt x="3974116" y="13768834"/>
                  </a:lnTo>
                  <a:lnTo>
                    <a:pt x="3959820" y="13754538"/>
                  </a:lnTo>
                  <a:lnTo>
                    <a:pt x="3940760" y="13754538"/>
                  </a:lnTo>
                  <a:lnTo>
                    <a:pt x="3921700" y="13759303"/>
                  </a:lnTo>
                  <a:lnTo>
                    <a:pt x="3907404" y="13759303"/>
                  </a:lnTo>
                  <a:lnTo>
                    <a:pt x="3912168" y="13768834"/>
                  </a:lnTo>
                  <a:lnTo>
                    <a:pt x="3921700" y="13787894"/>
                  </a:lnTo>
                  <a:lnTo>
                    <a:pt x="3902640" y="13792659"/>
                  </a:lnTo>
                  <a:lnTo>
                    <a:pt x="3874048" y="13792659"/>
                  </a:lnTo>
                  <a:lnTo>
                    <a:pt x="3859752" y="13787894"/>
                  </a:lnTo>
                  <a:lnTo>
                    <a:pt x="3850224" y="13778364"/>
                  </a:lnTo>
                  <a:lnTo>
                    <a:pt x="3840692" y="13764069"/>
                  </a:lnTo>
                  <a:lnTo>
                    <a:pt x="3845456" y="13749773"/>
                  </a:lnTo>
                  <a:lnTo>
                    <a:pt x="3893108" y="13721182"/>
                  </a:lnTo>
                  <a:lnTo>
                    <a:pt x="3912168" y="13702122"/>
                  </a:lnTo>
                  <a:lnTo>
                    <a:pt x="3897876" y="13697357"/>
                  </a:lnTo>
                  <a:lnTo>
                    <a:pt x="3854988" y="13702122"/>
                  </a:lnTo>
                  <a:lnTo>
                    <a:pt x="3845456" y="13702122"/>
                  </a:lnTo>
                  <a:lnTo>
                    <a:pt x="3816868" y="13702122"/>
                  </a:lnTo>
                  <a:lnTo>
                    <a:pt x="3816868" y="13659236"/>
                  </a:lnTo>
                  <a:lnTo>
                    <a:pt x="3812100" y="13649706"/>
                  </a:lnTo>
                  <a:lnTo>
                    <a:pt x="3812100" y="13644940"/>
                  </a:lnTo>
                  <a:lnTo>
                    <a:pt x="3797808" y="13630645"/>
                  </a:lnTo>
                  <a:lnTo>
                    <a:pt x="3788276" y="13625880"/>
                  </a:lnTo>
                  <a:lnTo>
                    <a:pt x="3783512" y="13625880"/>
                  </a:lnTo>
                  <a:lnTo>
                    <a:pt x="3731096" y="13611585"/>
                  </a:lnTo>
                  <a:lnTo>
                    <a:pt x="3726328" y="13587759"/>
                  </a:lnTo>
                  <a:lnTo>
                    <a:pt x="3721564" y="13563933"/>
                  </a:lnTo>
                  <a:lnTo>
                    <a:pt x="3712036" y="13535343"/>
                  </a:lnTo>
                  <a:lnTo>
                    <a:pt x="3688208" y="13525812"/>
                  </a:lnTo>
                  <a:lnTo>
                    <a:pt x="3673912" y="13511517"/>
                  </a:lnTo>
                  <a:lnTo>
                    <a:pt x="3688208" y="13497221"/>
                  </a:lnTo>
                  <a:lnTo>
                    <a:pt x="3692972" y="13482926"/>
                  </a:lnTo>
                  <a:lnTo>
                    <a:pt x="3678680" y="13473396"/>
                  </a:lnTo>
                  <a:lnTo>
                    <a:pt x="3673912" y="13459100"/>
                  </a:lnTo>
                  <a:lnTo>
                    <a:pt x="3673912" y="13449570"/>
                  </a:lnTo>
                  <a:lnTo>
                    <a:pt x="3664384" y="13430510"/>
                  </a:lnTo>
                  <a:lnTo>
                    <a:pt x="3659616" y="13411449"/>
                  </a:lnTo>
                  <a:lnTo>
                    <a:pt x="3673912" y="13397154"/>
                  </a:lnTo>
                  <a:lnTo>
                    <a:pt x="3702504" y="13378093"/>
                  </a:lnTo>
                  <a:lnTo>
                    <a:pt x="3712036" y="13373328"/>
                  </a:lnTo>
                  <a:lnTo>
                    <a:pt x="3716800" y="13363798"/>
                  </a:lnTo>
                  <a:lnTo>
                    <a:pt x="3745392" y="13349503"/>
                  </a:lnTo>
                  <a:lnTo>
                    <a:pt x="3721564" y="13339972"/>
                  </a:lnTo>
                  <a:lnTo>
                    <a:pt x="3702504" y="13339972"/>
                  </a:lnTo>
                  <a:lnTo>
                    <a:pt x="3688208" y="13344737"/>
                  </a:lnTo>
                  <a:lnTo>
                    <a:pt x="3678680" y="13359033"/>
                  </a:lnTo>
                  <a:lnTo>
                    <a:pt x="3664384" y="13373328"/>
                  </a:lnTo>
                  <a:lnTo>
                    <a:pt x="3621496" y="13378093"/>
                  </a:lnTo>
                  <a:lnTo>
                    <a:pt x="3616732" y="13368563"/>
                  </a:lnTo>
                  <a:lnTo>
                    <a:pt x="3611968" y="13344737"/>
                  </a:lnTo>
                  <a:lnTo>
                    <a:pt x="3616732" y="13325677"/>
                  </a:lnTo>
                  <a:lnTo>
                    <a:pt x="3635792" y="13297086"/>
                  </a:lnTo>
                  <a:lnTo>
                    <a:pt x="3611968" y="13287556"/>
                  </a:lnTo>
                  <a:lnTo>
                    <a:pt x="3592908" y="13278026"/>
                  </a:lnTo>
                  <a:lnTo>
                    <a:pt x="3573844" y="13268495"/>
                  </a:lnTo>
                  <a:lnTo>
                    <a:pt x="3554784" y="13254200"/>
                  </a:lnTo>
                  <a:lnTo>
                    <a:pt x="3535724" y="13239905"/>
                  </a:lnTo>
                  <a:lnTo>
                    <a:pt x="3521428" y="13220844"/>
                  </a:lnTo>
                  <a:lnTo>
                    <a:pt x="3516664" y="13216079"/>
                  </a:lnTo>
                  <a:lnTo>
                    <a:pt x="3521428" y="13197018"/>
                  </a:lnTo>
                  <a:lnTo>
                    <a:pt x="3526196" y="13182723"/>
                  </a:lnTo>
                  <a:lnTo>
                    <a:pt x="3526196" y="13149367"/>
                  </a:lnTo>
                  <a:lnTo>
                    <a:pt x="3516664" y="13135072"/>
                  </a:lnTo>
                  <a:lnTo>
                    <a:pt x="3530960" y="13101716"/>
                  </a:lnTo>
                  <a:lnTo>
                    <a:pt x="3554784" y="13073125"/>
                  </a:lnTo>
                  <a:lnTo>
                    <a:pt x="3597672" y="13020709"/>
                  </a:lnTo>
                  <a:lnTo>
                    <a:pt x="3550020" y="13044534"/>
                  </a:lnTo>
                  <a:lnTo>
                    <a:pt x="3511900" y="13096951"/>
                  </a:lnTo>
                  <a:lnTo>
                    <a:pt x="3502368" y="13096951"/>
                  </a:lnTo>
                  <a:lnTo>
                    <a:pt x="3502368" y="13092186"/>
                  </a:lnTo>
                  <a:lnTo>
                    <a:pt x="3488072" y="13058830"/>
                  </a:lnTo>
                  <a:lnTo>
                    <a:pt x="3473776" y="13049300"/>
                  </a:lnTo>
                  <a:lnTo>
                    <a:pt x="3469012" y="13039769"/>
                  </a:lnTo>
                  <a:lnTo>
                    <a:pt x="3449952" y="13020709"/>
                  </a:lnTo>
                  <a:lnTo>
                    <a:pt x="3440420" y="13006413"/>
                  </a:lnTo>
                  <a:lnTo>
                    <a:pt x="3426128" y="12982588"/>
                  </a:lnTo>
                  <a:lnTo>
                    <a:pt x="3407068" y="12949232"/>
                  </a:lnTo>
                  <a:lnTo>
                    <a:pt x="3378476" y="12887285"/>
                  </a:lnTo>
                  <a:lnTo>
                    <a:pt x="3335588" y="12815808"/>
                  </a:lnTo>
                  <a:lnTo>
                    <a:pt x="3326060" y="12772922"/>
                  </a:lnTo>
                  <a:lnTo>
                    <a:pt x="3340356" y="12720506"/>
                  </a:lnTo>
                  <a:lnTo>
                    <a:pt x="3321292" y="12687150"/>
                  </a:lnTo>
                  <a:lnTo>
                    <a:pt x="3364180" y="12668089"/>
                  </a:lnTo>
                  <a:lnTo>
                    <a:pt x="3426128" y="12649029"/>
                  </a:lnTo>
                  <a:lnTo>
                    <a:pt x="3454716" y="12634733"/>
                  </a:lnTo>
                  <a:lnTo>
                    <a:pt x="3473776" y="12629968"/>
                  </a:lnTo>
                  <a:lnTo>
                    <a:pt x="3511900" y="12625203"/>
                  </a:lnTo>
                  <a:lnTo>
                    <a:pt x="3526196" y="12610908"/>
                  </a:lnTo>
                  <a:lnTo>
                    <a:pt x="3502368" y="12615673"/>
                  </a:lnTo>
                  <a:lnTo>
                    <a:pt x="3488072" y="12610908"/>
                  </a:lnTo>
                  <a:lnTo>
                    <a:pt x="3488072" y="12606143"/>
                  </a:lnTo>
                  <a:lnTo>
                    <a:pt x="3492840" y="12591847"/>
                  </a:lnTo>
                  <a:lnTo>
                    <a:pt x="3497604" y="12577552"/>
                  </a:lnTo>
                  <a:lnTo>
                    <a:pt x="3488072" y="12577552"/>
                  </a:lnTo>
                  <a:lnTo>
                    <a:pt x="3449952" y="12606143"/>
                  </a:lnTo>
                  <a:lnTo>
                    <a:pt x="3397536" y="12629968"/>
                  </a:lnTo>
                  <a:lnTo>
                    <a:pt x="3354648" y="12644264"/>
                  </a:lnTo>
                  <a:lnTo>
                    <a:pt x="3349884" y="12644264"/>
                  </a:lnTo>
                  <a:lnTo>
                    <a:pt x="3330824" y="12649029"/>
                  </a:lnTo>
                  <a:lnTo>
                    <a:pt x="3321292" y="12653794"/>
                  </a:lnTo>
                  <a:lnTo>
                    <a:pt x="3316528" y="12649029"/>
                  </a:lnTo>
                  <a:lnTo>
                    <a:pt x="3302232" y="12629968"/>
                  </a:lnTo>
                  <a:lnTo>
                    <a:pt x="3297468" y="12615673"/>
                  </a:lnTo>
                  <a:lnTo>
                    <a:pt x="3326060" y="12577552"/>
                  </a:lnTo>
                  <a:lnTo>
                    <a:pt x="3345120" y="12520370"/>
                  </a:lnTo>
                  <a:lnTo>
                    <a:pt x="3373712" y="12487015"/>
                  </a:lnTo>
                  <a:lnTo>
                    <a:pt x="3392772" y="12482249"/>
                  </a:lnTo>
                  <a:lnTo>
                    <a:pt x="3421360" y="12482249"/>
                  </a:lnTo>
                  <a:lnTo>
                    <a:pt x="3435656" y="12487015"/>
                  </a:lnTo>
                  <a:lnTo>
                    <a:pt x="3430892" y="12467954"/>
                  </a:lnTo>
                  <a:lnTo>
                    <a:pt x="3430892" y="12453659"/>
                  </a:lnTo>
                  <a:lnTo>
                    <a:pt x="3459484" y="12444128"/>
                  </a:lnTo>
                  <a:lnTo>
                    <a:pt x="3488072" y="12439363"/>
                  </a:lnTo>
                  <a:lnTo>
                    <a:pt x="3507132" y="12444128"/>
                  </a:lnTo>
                  <a:lnTo>
                    <a:pt x="3521428" y="12467954"/>
                  </a:lnTo>
                  <a:lnTo>
                    <a:pt x="3540488" y="12510840"/>
                  </a:lnTo>
                  <a:lnTo>
                    <a:pt x="3564316" y="12525136"/>
                  </a:lnTo>
                  <a:lnTo>
                    <a:pt x="3564316" y="12506075"/>
                  </a:lnTo>
                  <a:lnTo>
                    <a:pt x="3550020" y="12477484"/>
                  </a:lnTo>
                  <a:lnTo>
                    <a:pt x="3545256" y="12434598"/>
                  </a:lnTo>
                  <a:lnTo>
                    <a:pt x="3530960" y="12415538"/>
                  </a:lnTo>
                  <a:lnTo>
                    <a:pt x="3516664" y="12406007"/>
                  </a:lnTo>
                  <a:lnTo>
                    <a:pt x="3483308" y="12410773"/>
                  </a:lnTo>
                  <a:lnTo>
                    <a:pt x="3464248" y="12377417"/>
                  </a:lnTo>
                  <a:lnTo>
                    <a:pt x="3459484" y="12367886"/>
                  </a:lnTo>
                  <a:lnTo>
                    <a:pt x="3459484" y="12353591"/>
                  </a:lnTo>
                  <a:lnTo>
                    <a:pt x="3435656" y="12305940"/>
                  </a:lnTo>
                  <a:lnTo>
                    <a:pt x="3430892" y="12282114"/>
                  </a:lnTo>
                  <a:lnTo>
                    <a:pt x="3421360" y="12253523"/>
                  </a:lnTo>
                  <a:lnTo>
                    <a:pt x="3416596" y="12248758"/>
                  </a:lnTo>
                  <a:lnTo>
                    <a:pt x="3421360" y="12291644"/>
                  </a:lnTo>
                  <a:lnTo>
                    <a:pt x="3430892" y="12315470"/>
                  </a:lnTo>
                  <a:lnTo>
                    <a:pt x="3445188" y="12377417"/>
                  </a:lnTo>
                  <a:lnTo>
                    <a:pt x="3449952" y="12401242"/>
                  </a:lnTo>
                  <a:lnTo>
                    <a:pt x="3445188" y="12420303"/>
                  </a:lnTo>
                  <a:lnTo>
                    <a:pt x="3426128" y="12439363"/>
                  </a:lnTo>
                  <a:lnTo>
                    <a:pt x="3411832" y="12448894"/>
                  </a:lnTo>
                  <a:lnTo>
                    <a:pt x="3373712" y="12463189"/>
                  </a:lnTo>
                  <a:lnTo>
                    <a:pt x="3383240" y="12434598"/>
                  </a:lnTo>
                  <a:lnTo>
                    <a:pt x="3388004" y="12406007"/>
                  </a:lnTo>
                  <a:lnTo>
                    <a:pt x="3368944" y="12415538"/>
                  </a:lnTo>
                  <a:lnTo>
                    <a:pt x="3349884" y="12434598"/>
                  </a:lnTo>
                  <a:lnTo>
                    <a:pt x="3345120" y="12463189"/>
                  </a:lnTo>
                  <a:lnTo>
                    <a:pt x="3335588" y="12491780"/>
                  </a:lnTo>
                  <a:lnTo>
                    <a:pt x="3302232" y="12553726"/>
                  </a:lnTo>
                  <a:lnTo>
                    <a:pt x="3292704" y="12587082"/>
                  </a:lnTo>
                  <a:lnTo>
                    <a:pt x="3278408" y="12606143"/>
                  </a:lnTo>
                  <a:lnTo>
                    <a:pt x="3264112" y="12610908"/>
                  </a:lnTo>
                  <a:lnTo>
                    <a:pt x="3254580" y="12596612"/>
                  </a:lnTo>
                  <a:lnTo>
                    <a:pt x="3240288" y="12563257"/>
                  </a:lnTo>
                  <a:lnTo>
                    <a:pt x="3235520" y="12539431"/>
                  </a:lnTo>
                  <a:lnTo>
                    <a:pt x="3235520" y="12472719"/>
                  </a:lnTo>
                  <a:lnTo>
                    <a:pt x="3240288" y="12444128"/>
                  </a:lnTo>
                  <a:lnTo>
                    <a:pt x="3235520" y="12401242"/>
                  </a:lnTo>
                  <a:lnTo>
                    <a:pt x="3216460" y="12301175"/>
                  </a:lnTo>
                  <a:lnTo>
                    <a:pt x="3211696" y="12267819"/>
                  </a:lnTo>
                  <a:lnTo>
                    <a:pt x="3183104" y="12248758"/>
                  </a:lnTo>
                  <a:lnTo>
                    <a:pt x="3183104" y="12243993"/>
                  </a:lnTo>
                  <a:lnTo>
                    <a:pt x="3173576" y="12224933"/>
                  </a:lnTo>
                  <a:lnTo>
                    <a:pt x="3168808" y="12201107"/>
                  </a:lnTo>
                  <a:lnTo>
                    <a:pt x="3173576" y="12196342"/>
                  </a:lnTo>
                  <a:lnTo>
                    <a:pt x="3178340" y="12191577"/>
                  </a:lnTo>
                  <a:lnTo>
                    <a:pt x="3225992" y="12158221"/>
                  </a:lnTo>
                  <a:lnTo>
                    <a:pt x="3259348" y="12129630"/>
                  </a:lnTo>
                  <a:lnTo>
                    <a:pt x="3297468" y="12072448"/>
                  </a:lnTo>
                  <a:lnTo>
                    <a:pt x="3311764" y="12058153"/>
                  </a:lnTo>
                  <a:lnTo>
                    <a:pt x="3368944" y="12043858"/>
                  </a:lnTo>
                  <a:lnTo>
                    <a:pt x="3392772" y="12043858"/>
                  </a:lnTo>
                  <a:lnTo>
                    <a:pt x="3392772" y="12034327"/>
                  </a:lnTo>
                  <a:lnTo>
                    <a:pt x="3388004" y="12029562"/>
                  </a:lnTo>
                  <a:lnTo>
                    <a:pt x="3345120" y="12034327"/>
                  </a:lnTo>
                  <a:lnTo>
                    <a:pt x="3297468" y="12053388"/>
                  </a:lnTo>
                  <a:lnTo>
                    <a:pt x="3287936" y="12062918"/>
                  </a:lnTo>
                  <a:lnTo>
                    <a:pt x="3264112" y="12096274"/>
                  </a:lnTo>
                  <a:lnTo>
                    <a:pt x="3245052" y="12110570"/>
                  </a:lnTo>
                  <a:lnTo>
                    <a:pt x="3197400" y="12153456"/>
                  </a:lnTo>
                  <a:lnTo>
                    <a:pt x="3164044" y="12153456"/>
                  </a:lnTo>
                  <a:lnTo>
                    <a:pt x="3135452" y="12105804"/>
                  </a:lnTo>
                  <a:lnTo>
                    <a:pt x="3097332" y="12115335"/>
                  </a:lnTo>
                  <a:lnTo>
                    <a:pt x="3073508" y="12110570"/>
                  </a:lnTo>
                  <a:lnTo>
                    <a:pt x="3063976" y="12101039"/>
                  </a:lnTo>
                  <a:lnTo>
                    <a:pt x="3059212" y="12034327"/>
                  </a:lnTo>
                  <a:lnTo>
                    <a:pt x="3078272" y="11958085"/>
                  </a:lnTo>
                  <a:lnTo>
                    <a:pt x="3059212" y="11958085"/>
                  </a:lnTo>
                  <a:lnTo>
                    <a:pt x="3054448" y="11953320"/>
                  </a:lnTo>
                  <a:lnTo>
                    <a:pt x="3040152" y="11934260"/>
                  </a:lnTo>
                  <a:lnTo>
                    <a:pt x="3035388" y="11929495"/>
                  </a:lnTo>
                  <a:lnTo>
                    <a:pt x="3040152" y="11919964"/>
                  </a:lnTo>
                  <a:lnTo>
                    <a:pt x="3092568" y="11881843"/>
                  </a:lnTo>
                  <a:lnTo>
                    <a:pt x="3173576" y="11810367"/>
                  </a:lnTo>
                  <a:lnTo>
                    <a:pt x="3206932" y="11777011"/>
                  </a:lnTo>
                  <a:lnTo>
                    <a:pt x="3225992" y="11767480"/>
                  </a:lnTo>
                  <a:lnTo>
                    <a:pt x="3245052" y="11753185"/>
                  </a:lnTo>
                  <a:lnTo>
                    <a:pt x="3264112" y="11719829"/>
                  </a:lnTo>
                  <a:lnTo>
                    <a:pt x="3268876" y="11705534"/>
                  </a:lnTo>
                  <a:lnTo>
                    <a:pt x="3278408" y="11696003"/>
                  </a:lnTo>
                  <a:lnTo>
                    <a:pt x="3302232" y="11681708"/>
                  </a:lnTo>
                  <a:lnTo>
                    <a:pt x="3326060" y="11662648"/>
                  </a:lnTo>
                  <a:lnTo>
                    <a:pt x="3368944" y="11619761"/>
                  </a:lnTo>
                  <a:lnTo>
                    <a:pt x="3373712" y="11605466"/>
                  </a:lnTo>
                  <a:lnTo>
                    <a:pt x="3364180" y="11600701"/>
                  </a:lnTo>
                  <a:lnTo>
                    <a:pt x="3345120" y="11614996"/>
                  </a:lnTo>
                  <a:lnTo>
                    <a:pt x="3307000" y="11653117"/>
                  </a:lnTo>
                  <a:lnTo>
                    <a:pt x="3278408" y="11676943"/>
                  </a:lnTo>
                  <a:lnTo>
                    <a:pt x="3187872" y="11777011"/>
                  </a:lnTo>
                  <a:lnTo>
                    <a:pt x="3144984" y="11810367"/>
                  </a:lnTo>
                  <a:lnTo>
                    <a:pt x="3125924" y="11834192"/>
                  </a:lnTo>
                  <a:lnTo>
                    <a:pt x="3106864" y="11858018"/>
                  </a:lnTo>
                  <a:lnTo>
                    <a:pt x="3092568" y="11872313"/>
                  </a:lnTo>
                  <a:lnTo>
                    <a:pt x="3073508" y="11881843"/>
                  </a:lnTo>
                  <a:lnTo>
                    <a:pt x="3030620" y="11886609"/>
                  </a:lnTo>
                  <a:lnTo>
                    <a:pt x="3011560" y="11896139"/>
                  </a:lnTo>
                  <a:lnTo>
                    <a:pt x="3002032" y="11886609"/>
                  </a:lnTo>
                  <a:lnTo>
                    <a:pt x="2997264" y="11843722"/>
                  </a:lnTo>
                  <a:lnTo>
                    <a:pt x="2997264" y="11815132"/>
                  </a:lnTo>
                  <a:lnTo>
                    <a:pt x="2997264" y="11786541"/>
                  </a:lnTo>
                  <a:lnTo>
                    <a:pt x="3006796" y="11748420"/>
                  </a:lnTo>
                  <a:lnTo>
                    <a:pt x="3021092" y="11719829"/>
                  </a:lnTo>
                  <a:lnTo>
                    <a:pt x="3025856" y="11705534"/>
                  </a:lnTo>
                  <a:lnTo>
                    <a:pt x="3030620" y="11696003"/>
                  </a:lnTo>
                  <a:lnTo>
                    <a:pt x="3059212" y="11667413"/>
                  </a:lnTo>
                  <a:lnTo>
                    <a:pt x="3078272" y="11653117"/>
                  </a:lnTo>
                  <a:lnTo>
                    <a:pt x="3087804" y="11624527"/>
                  </a:lnTo>
                  <a:lnTo>
                    <a:pt x="3159280" y="11614996"/>
                  </a:lnTo>
                  <a:lnTo>
                    <a:pt x="3173576" y="11614996"/>
                  </a:lnTo>
                  <a:lnTo>
                    <a:pt x="3183104" y="11610231"/>
                  </a:lnTo>
                  <a:lnTo>
                    <a:pt x="3192636" y="11605466"/>
                  </a:lnTo>
                  <a:lnTo>
                    <a:pt x="3183104" y="11595936"/>
                  </a:lnTo>
                  <a:lnTo>
                    <a:pt x="3164044" y="11591171"/>
                  </a:lnTo>
                  <a:lnTo>
                    <a:pt x="3111628" y="11595936"/>
                  </a:lnTo>
                  <a:lnTo>
                    <a:pt x="3059212" y="11591171"/>
                  </a:lnTo>
                  <a:lnTo>
                    <a:pt x="3040152" y="11586406"/>
                  </a:lnTo>
                  <a:lnTo>
                    <a:pt x="3025856" y="11586406"/>
                  </a:lnTo>
                  <a:lnTo>
                    <a:pt x="3006796" y="11576875"/>
                  </a:lnTo>
                  <a:lnTo>
                    <a:pt x="2987736" y="11562580"/>
                  </a:lnTo>
                  <a:lnTo>
                    <a:pt x="2959144" y="11500633"/>
                  </a:lnTo>
                  <a:lnTo>
                    <a:pt x="2968676" y="11424391"/>
                  </a:lnTo>
                  <a:lnTo>
                    <a:pt x="2973440" y="11386270"/>
                  </a:lnTo>
                  <a:lnTo>
                    <a:pt x="3011560" y="11357679"/>
                  </a:lnTo>
                  <a:lnTo>
                    <a:pt x="3030620" y="11343384"/>
                  </a:lnTo>
                  <a:lnTo>
                    <a:pt x="3059212" y="11319558"/>
                  </a:lnTo>
                  <a:lnTo>
                    <a:pt x="3102096" y="11276672"/>
                  </a:lnTo>
                  <a:lnTo>
                    <a:pt x="3149748" y="11252847"/>
                  </a:lnTo>
                  <a:lnTo>
                    <a:pt x="3173576" y="11248082"/>
                  </a:lnTo>
                  <a:lnTo>
                    <a:pt x="3192636" y="11252847"/>
                  </a:lnTo>
                  <a:lnTo>
                    <a:pt x="3268876" y="11286203"/>
                  </a:lnTo>
                  <a:lnTo>
                    <a:pt x="3307000" y="11295733"/>
                  </a:lnTo>
                  <a:lnTo>
                    <a:pt x="3340356" y="11286203"/>
                  </a:lnTo>
                  <a:lnTo>
                    <a:pt x="3378476" y="11300498"/>
                  </a:lnTo>
                  <a:lnTo>
                    <a:pt x="3454716" y="11352914"/>
                  </a:lnTo>
                  <a:lnTo>
                    <a:pt x="3469012" y="11343384"/>
                  </a:lnTo>
                  <a:lnTo>
                    <a:pt x="3464248" y="11329089"/>
                  </a:lnTo>
                  <a:lnTo>
                    <a:pt x="3383240" y="11276672"/>
                  </a:lnTo>
                  <a:lnTo>
                    <a:pt x="3383240" y="11257612"/>
                  </a:lnTo>
                  <a:lnTo>
                    <a:pt x="3402300" y="11252847"/>
                  </a:lnTo>
                  <a:lnTo>
                    <a:pt x="3426128" y="11238551"/>
                  </a:lnTo>
                  <a:lnTo>
                    <a:pt x="3411832" y="11229021"/>
                  </a:lnTo>
                  <a:lnTo>
                    <a:pt x="3359416" y="11238551"/>
                  </a:lnTo>
                  <a:lnTo>
                    <a:pt x="3345120" y="11252847"/>
                  </a:lnTo>
                  <a:lnTo>
                    <a:pt x="3287936" y="11257612"/>
                  </a:lnTo>
                  <a:lnTo>
                    <a:pt x="3259348" y="11243316"/>
                  </a:lnTo>
                  <a:lnTo>
                    <a:pt x="3235520" y="11238551"/>
                  </a:lnTo>
                  <a:lnTo>
                    <a:pt x="3197400" y="11214726"/>
                  </a:lnTo>
                  <a:lnTo>
                    <a:pt x="3168808" y="11224256"/>
                  </a:lnTo>
                  <a:lnTo>
                    <a:pt x="3149748" y="11233786"/>
                  </a:lnTo>
                  <a:lnTo>
                    <a:pt x="3111628" y="11243316"/>
                  </a:lnTo>
                  <a:lnTo>
                    <a:pt x="3097332" y="11248082"/>
                  </a:lnTo>
                  <a:lnTo>
                    <a:pt x="3030620" y="11324324"/>
                  </a:lnTo>
                  <a:lnTo>
                    <a:pt x="3002032" y="11338619"/>
                  </a:lnTo>
                  <a:lnTo>
                    <a:pt x="2982968" y="11333854"/>
                  </a:lnTo>
                  <a:lnTo>
                    <a:pt x="2997264" y="11286203"/>
                  </a:lnTo>
                  <a:lnTo>
                    <a:pt x="3002032" y="11267142"/>
                  </a:lnTo>
                  <a:lnTo>
                    <a:pt x="3002032" y="11243316"/>
                  </a:lnTo>
                  <a:lnTo>
                    <a:pt x="3006796" y="11214726"/>
                  </a:lnTo>
                  <a:lnTo>
                    <a:pt x="3040152" y="11162309"/>
                  </a:lnTo>
                  <a:lnTo>
                    <a:pt x="3063976" y="11100363"/>
                  </a:lnTo>
                  <a:lnTo>
                    <a:pt x="3073508" y="11062242"/>
                  </a:lnTo>
                  <a:lnTo>
                    <a:pt x="3087804" y="11057476"/>
                  </a:lnTo>
                  <a:lnTo>
                    <a:pt x="3111628" y="11062242"/>
                  </a:lnTo>
                  <a:lnTo>
                    <a:pt x="3183104" y="11086067"/>
                  </a:lnTo>
                  <a:lnTo>
                    <a:pt x="3245052" y="11119423"/>
                  </a:lnTo>
                  <a:lnTo>
                    <a:pt x="3287936" y="11124188"/>
                  </a:lnTo>
                  <a:lnTo>
                    <a:pt x="3316528" y="11124188"/>
                  </a:lnTo>
                  <a:lnTo>
                    <a:pt x="3326060" y="11114658"/>
                  </a:lnTo>
                  <a:lnTo>
                    <a:pt x="3335588" y="11100363"/>
                  </a:lnTo>
                  <a:lnTo>
                    <a:pt x="3340356" y="11086067"/>
                  </a:lnTo>
                  <a:lnTo>
                    <a:pt x="3345120" y="11067007"/>
                  </a:lnTo>
                  <a:lnTo>
                    <a:pt x="3345120" y="11057476"/>
                  </a:lnTo>
                  <a:lnTo>
                    <a:pt x="3354648" y="11047946"/>
                  </a:lnTo>
                  <a:lnTo>
                    <a:pt x="3378476" y="11009825"/>
                  </a:lnTo>
                  <a:lnTo>
                    <a:pt x="3383240" y="10986000"/>
                  </a:lnTo>
                  <a:lnTo>
                    <a:pt x="3373712" y="10971704"/>
                  </a:lnTo>
                  <a:lnTo>
                    <a:pt x="3364180" y="10971704"/>
                  </a:lnTo>
                  <a:lnTo>
                    <a:pt x="3335588" y="10981234"/>
                  </a:lnTo>
                  <a:lnTo>
                    <a:pt x="3335588" y="10986000"/>
                  </a:lnTo>
                  <a:lnTo>
                    <a:pt x="3335588" y="10995530"/>
                  </a:lnTo>
                  <a:lnTo>
                    <a:pt x="3311764" y="11033651"/>
                  </a:lnTo>
                  <a:lnTo>
                    <a:pt x="3283172" y="11043181"/>
                  </a:lnTo>
                  <a:lnTo>
                    <a:pt x="3221228" y="11057476"/>
                  </a:lnTo>
                  <a:lnTo>
                    <a:pt x="3192636" y="11057476"/>
                  </a:lnTo>
                  <a:lnTo>
                    <a:pt x="3144984" y="11038416"/>
                  </a:lnTo>
                  <a:lnTo>
                    <a:pt x="3135452" y="11033651"/>
                  </a:lnTo>
                  <a:lnTo>
                    <a:pt x="3130688" y="11019355"/>
                  </a:lnTo>
                  <a:lnTo>
                    <a:pt x="3068744" y="11019355"/>
                  </a:lnTo>
                  <a:lnTo>
                    <a:pt x="3049680" y="11024121"/>
                  </a:lnTo>
                  <a:lnTo>
                    <a:pt x="3035388" y="11024121"/>
                  </a:lnTo>
                  <a:lnTo>
                    <a:pt x="3044916" y="11000295"/>
                  </a:lnTo>
                  <a:lnTo>
                    <a:pt x="3063976" y="10976469"/>
                  </a:lnTo>
                  <a:lnTo>
                    <a:pt x="3087804" y="10890697"/>
                  </a:lnTo>
                  <a:lnTo>
                    <a:pt x="3111628" y="10866871"/>
                  </a:lnTo>
                  <a:lnTo>
                    <a:pt x="3159280" y="10847811"/>
                  </a:lnTo>
                  <a:lnTo>
                    <a:pt x="3206932" y="10852576"/>
                  </a:lnTo>
                  <a:lnTo>
                    <a:pt x="3287936" y="10914523"/>
                  </a:lnTo>
                  <a:lnTo>
                    <a:pt x="3311764" y="10924053"/>
                  </a:lnTo>
                  <a:lnTo>
                    <a:pt x="3335588" y="10919288"/>
                  </a:lnTo>
                  <a:lnTo>
                    <a:pt x="3388004" y="10895462"/>
                  </a:lnTo>
                  <a:lnTo>
                    <a:pt x="3397536" y="10885932"/>
                  </a:lnTo>
                  <a:lnTo>
                    <a:pt x="3416596" y="10862106"/>
                  </a:lnTo>
                  <a:lnTo>
                    <a:pt x="3440420" y="10814455"/>
                  </a:lnTo>
                  <a:lnTo>
                    <a:pt x="3440420" y="10800160"/>
                  </a:lnTo>
                  <a:lnTo>
                    <a:pt x="3402300" y="10828750"/>
                  </a:lnTo>
                  <a:lnTo>
                    <a:pt x="3388004" y="10833515"/>
                  </a:lnTo>
                  <a:lnTo>
                    <a:pt x="3368944" y="10833515"/>
                  </a:lnTo>
                  <a:lnTo>
                    <a:pt x="3383240" y="10747743"/>
                  </a:lnTo>
                  <a:lnTo>
                    <a:pt x="3388004" y="10681031"/>
                  </a:lnTo>
                  <a:lnTo>
                    <a:pt x="3397536" y="10666736"/>
                  </a:lnTo>
                  <a:lnTo>
                    <a:pt x="3440420" y="10671501"/>
                  </a:lnTo>
                  <a:lnTo>
                    <a:pt x="3502368" y="10661971"/>
                  </a:lnTo>
                  <a:lnTo>
                    <a:pt x="3516664" y="10647675"/>
                  </a:lnTo>
                  <a:lnTo>
                    <a:pt x="3516664" y="10642910"/>
                  </a:lnTo>
                  <a:lnTo>
                    <a:pt x="3492840" y="10633380"/>
                  </a:lnTo>
                  <a:lnTo>
                    <a:pt x="3483308" y="10614320"/>
                  </a:lnTo>
                  <a:lnTo>
                    <a:pt x="3459484" y="10619085"/>
                  </a:lnTo>
                  <a:lnTo>
                    <a:pt x="3430892" y="10633380"/>
                  </a:lnTo>
                  <a:lnTo>
                    <a:pt x="3397536" y="10628615"/>
                  </a:lnTo>
                  <a:lnTo>
                    <a:pt x="3397536" y="10600024"/>
                  </a:lnTo>
                  <a:lnTo>
                    <a:pt x="3426128" y="10542843"/>
                  </a:lnTo>
                  <a:lnTo>
                    <a:pt x="3426128" y="10514252"/>
                  </a:lnTo>
                  <a:lnTo>
                    <a:pt x="3435656" y="10457070"/>
                  </a:lnTo>
                  <a:lnTo>
                    <a:pt x="3440420" y="10428480"/>
                  </a:lnTo>
                  <a:lnTo>
                    <a:pt x="3449952" y="10399889"/>
                  </a:lnTo>
                  <a:lnTo>
                    <a:pt x="3492840" y="10380828"/>
                  </a:lnTo>
                  <a:lnTo>
                    <a:pt x="3511900" y="10366533"/>
                  </a:lnTo>
                  <a:lnTo>
                    <a:pt x="3511900" y="10357003"/>
                  </a:lnTo>
                  <a:lnTo>
                    <a:pt x="3488072" y="10304586"/>
                  </a:lnTo>
                  <a:lnTo>
                    <a:pt x="3492840" y="10290291"/>
                  </a:lnTo>
                  <a:lnTo>
                    <a:pt x="3511900" y="10280761"/>
                  </a:lnTo>
                  <a:lnTo>
                    <a:pt x="3521428" y="10271230"/>
                  </a:lnTo>
                  <a:lnTo>
                    <a:pt x="3511900" y="10261700"/>
                  </a:lnTo>
                  <a:lnTo>
                    <a:pt x="3497604" y="10256935"/>
                  </a:lnTo>
                  <a:lnTo>
                    <a:pt x="3469012" y="10271230"/>
                  </a:lnTo>
                  <a:lnTo>
                    <a:pt x="3440420" y="10275996"/>
                  </a:lnTo>
                  <a:lnTo>
                    <a:pt x="3411832" y="10256935"/>
                  </a:lnTo>
                  <a:lnTo>
                    <a:pt x="3392772" y="10247405"/>
                  </a:lnTo>
                  <a:lnTo>
                    <a:pt x="3378476" y="10252170"/>
                  </a:lnTo>
                  <a:lnTo>
                    <a:pt x="3345120" y="10280761"/>
                  </a:lnTo>
                  <a:lnTo>
                    <a:pt x="3330824" y="10280761"/>
                  </a:lnTo>
                  <a:lnTo>
                    <a:pt x="3316528" y="10275996"/>
                  </a:lnTo>
                  <a:lnTo>
                    <a:pt x="3211696" y="10247405"/>
                  </a:lnTo>
                  <a:lnTo>
                    <a:pt x="3202164" y="10242640"/>
                  </a:lnTo>
                  <a:lnTo>
                    <a:pt x="3164044" y="10194988"/>
                  </a:lnTo>
                  <a:lnTo>
                    <a:pt x="3135452" y="10166398"/>
                  </a:lnTo>
                  <a:lnTo>
                    <a:pt x="3092568" y="10137807"/>
                  </a:lnTo>
                  <a:lnTo>
                    <a:pt x="3040152" y="10113981"/>
                  </a:lnTo>
                  <a:lnTo>
                    <a:pt x="2978204" y="10094921"/>
                  </a:lnTo>
                  <a:lnTo>
                    <a:pt x="2940084" y="10080625"/>
                  </a:lnTo>
                  <a:lnTo>
                    <a:pt x="2921024" y="10061565"/>
                  </a:lnTo>
                  <a:lnTo>
                    <a:pt x="2887668" y="10009148"/>
                  </a:lnTo>
                  <a:lnTo>
                    <a:pt x="2863840" y="9971027"/>
                  </a:lnTo>
                  <a:lnTo>
                    <a:pt x="2859076" y="9951967"/>
                  </a:lnTo>
                  <a:lnTo>
                    <a:pt x="2873372" y="9928141"/>
                  </a:lnTo>
                  <a:lnTo>
                    <a:pt x="2887668" y="9909081"/>
                  </a:lnTo>
                  <a:lnTo>
                    <a:pt x="2916256" y="9894785"/>
                  </a:lnTo>
                  <a:lnTo>
                    <a:pt x="2963908" y="9899551"/>
                  </a:lnTo>
                  <a:lnTo>
                    <a:pt x="2987736" y="9904316"/>
                  </a:lnTo>
                  <a:lnTo>
                    <a:pt x="3016324" y="9918611"/>
                  </a:lnTo>
                  <a:lnTo>
                    <a:pt x="3035388" y="9923376"/>
                  </a:lnTo>
                  <a:lnTo>
                    <a:pt x="3083036" y="9918611"/>
                  </a:lnTo>
                  <a:lnTo>
                    <a:pt x="3125924" y="9928141"/>
                  </a:lnTo>
                  <a:lnTo>
                    <a:pt x="3154516" y="9937672"/>
                  </a:lnTo>
                  <a:lnTo>
                    <a:pt x="3187872" y="9956732"/>
                  </a:lnTo>
                  <a:lnTo>
                    <a:pt x="3287936" y="10042504"/>
                  </a:lnTo>
                  <a:lnTo>
                    <a:pt x="3326060" y="10075860"/>
                  </a:lnTo>
                  <a:lnTo>
                    <a:pt x="3345120" y="10075860"/>
                  </a:lnTo>
                  <a:lnTo>
                    <a:pt x="3416596" y="10109216"/>
                  </a:lnTo>
                  <a:lnTo>
                    <a:pt x="3430892" y="10109216"/>
                  </a:lnTo>
                  <a:lnTo>
                    <a:pt x="3459484" y="10094921"/>
                  </a:lnTo>
                  <a:lnTo>
                    <a:pt x="3459484" y="10085390"/>
                  </a:lnTo>
                  <a:lnTo>
                    <a:pt x="3449952" y="10075860"/>
                  </a:lnTo>
                  <a:lnTo>
                    <a:pt x="3416596" y="10066330"/>
                  </a:lnTo>
                  <a:lnTo>
                    <a:pt x="3383240" y="10032974"/>
                  </a:lnTo>
                  <a:lnTo>
                    <a:pt x="3359416" y="10004383"/>
                  </a:lnTo>
                  <a:lnTo>
                    <a:pt x="3354648" y="9956732"/>
                  </a:lnTo>
                  <a:lnTo>
                    <a:pt x="3359416" y="9932906"/>
                  </a:lnTo>
                  <a:lnTo>
                    <a:pt x="3364180" y="9918611"/>
                  </a:lnTo>
                  <a:lnTo>
                    <a:pt x="3368944" y="9880490"/>
                  </a:lnTo>
                  <a:lnTo>
                    <a:pt x="3345120" y="9856664"/>
                  </a:lnTo>
                  <a:lnTo>
                    <a:pt x="3330824" y="9847134"/>
                  </a:lnTo>
                  <a:lnTo>
                    <a:pt x="3292704" y="9813778"/>
                  </a:lnTo>
                  <a:lnTo>
                    <a:pt x="3287936" y="9804248"/>
                  </a:lnTo>
                  <a:lnTo>
                    <a:pt x="3307000" y="9799483"/>
                  </a:lnTo>
                  <a:lnTo>
                    <a:pt x="3326060" y="9799483"/>
                  </a:lnTo>
                  <a:lnTo>
                    <a:pt x="3368944" y="9818543"/>
                  </a:lnTo>
                  <a:lnTo>
                    <a:pt x="3388004" y="9823309"/>
                  </a:lnTo>
                  <a:lnTo>
                    <a:pt x="3402300" y="9813778"/>
                  </a:lnTo>
                  <a:lnTo>
                    <a:pt x="3407068" y="9809013"/>
                  </a:lnTo>
                  <a:lnTo>
                    <a:pt x="3378476" y="9785187"/>
                  </a:lnTo>
                  <a:lnTo>
                    <a:pt x="3349884" y="9751832"/>
                  </a:lnTo>
                  <a:lnTo>
                    <a:pt x="3283172" y="9747066"/>
                  </a:lnTo>
                  <a:lnTo>
                    <a:pt x="3240288" y="9751832"/>
                  </a:lnTo>
                  <a:lnTo>
                    <a:pt x="3216460" y="9737536"/>
                  </a:lnTo>
                  <a:lnTo>
                    <a:pt x="3187872" y="9718476"/>
                  </a:lnTo>
                  <a:lnTo>
                    <a:pt x="3168808" y="9713711"/>
                  </a:lnTo>
                  <a:lnTo>
                    <a:pt x="3130688" y="9723241"/>
                  </a:lnTo>
                  <a:lnTo>
                    <a:pt x="3111628" y="9728006"/>
                  </a:lnTo>
                  <a:lnTo>
                    <a:pt x="3097332" y="9723241"/>
                  </a:lnTo>
                  <a:lnTo>
                    <a:pt x="3078272" y="9656529"/>
                  </a:lnTo>
                  <a:lnTo>
                    <a:pt x="3083036" y="9637469"/>
                  </a:lnTo>
                  <a:lnTo>
                    <a:pt x="3097332" y="9627938"/>
                  </a:lnTo>
                  <a:lnTo>
                    <a:pt x="3106864" y="9608878"/>
                  </a:lnTo>
                  <a:lnTo>
                    <a:pt x="3111628" y="9585052"/>
                  </a:lnTo>
                  <a:lnTo>
                    <a:pt x="3135452" y="9565992"/>
                  </a:lnTo>
                  <a:lnTo>
                    <a:pt x="3259348" y="9518340"/>
                  </a:lnTo>
                  <a:lnTo>
                    <a:pt x="3287936" y="9480219"/>
                  </a:lnTo>
                  <a:lnTo>
                    <a:pt x="3287936" y="9475454"/>
                  </a:lnTo>
                  <a:lnTo>
                    <a:pt x="3268876" y="9480219"/>
                  </a:lnTo>
                  <a:lnTo>
                    <a:pt x="3240288" y="9499280"/>
                  </a:lnTo>
                  <a:lnTo>
                    <a:pt x="3221228" y="9499280"/>
                  </a:lnTo>
                  <a:lnTo>
                    <a:pt x="3149748" y="9480219"/>
                  </a:lnTo>
                  <a:lnTo>
                    <a:pt x="3140220" y="9484984"/>
                  </a:lnTo>
                  <a:lnTo>
                    <a:pt x="3111628" y="9513575"/>
                  </a:lnTo>
                  <a:lnTo>
                    <a:pt x="3068744" y="9546931"/>
                  </a:lnTo>
                  <a:lnTo>
                    <a:pt x="3054448" y="9546931"/>
                  </a:lnTo>
                  <a:lnTo>
                    <a:pt x="3025856" y="9527871"/>
                  </a:lnTo>
                  <a:lnTo>
                    <a:pt x="3025856" y="9513575"/>
                  </a:lnTo>
                  <a:lnTo>
                    <a:pt x="3021092" y="9494515"/>
                  </a:lnTo>
                  <a:lnTo>
                    <a:pt x="3049680" y="9475454"/>
                  </a:lnTo>
                  <a:lnTo>
                    <a:pt x="3059212" y="9461159"/>
                  </a:lnTo>
                  <a:lnTo>
                    <a:pt x="3073508" y="9427803"/>
                  </a:lnTo>
                  <a:lnTo>
                    <a:pt x="3073508" y="9413508"/>
                  </a:lnTo>
                  <a:lnTo>
                    <a:pt x="3044916" y="9423038"/>
                  </a:lnTo>
                  <a:lnTo>
                    <a:pt x="3040152" y="9403977"/>
                  </a:lnTo>
                  <a:lnTo>
                    <a:pt x="3040152" y="9380152"/>
                  </a:lnTo>
                  <a:lnTo>
                    <a:pt x="3040152" y="9346796"/>
                  </a:lnTo>
                  <a:lnTo>
                    <a:pt x="3030620" y="9318205"/>
                  </a:lnTo>
                  <a:lnTo>
                    <a:pt x="3006796" y="9268171"/>
                  </a:lnTo>
                  <a:lnTo>
                    <a:pt x="2997264" y="9253876"/>
                  </a:lnTo>
                  <a:lnTo>
                    <a:pt x="2987736" y="9239580"/>
                  </a:lnTo>
                  <a:lnTo>
                    <a:pt x="2968676" y="9168104"/>
                  </a:lnTo>
                  <a:lnTo>
                    <a:pt x="2973440" y="9153808"/>
                  </a:lnTo>
                  <a:lnTo>
                    <a:pt x="2992500" y="9139513"/>
                  </a:lnTo>
                  <a:lnTo>
                    <a:pt x="2992500" y="9134748"/>
                  </a:lnTo>
                  <a:lnTo>
                    <a:pt x="2954380" y="9144278"/>
                  </a:lnTo>
                  <a:lnTo>
                    <a:pt x="2949612" y="9153808"/>
                  </a:lnTo>
                  <a:lnTo>
                    <a:pt x="2959144" y="9172869"/>
                  </a:lnTo>
                  <a:lnTo>
                    <a:pt x="2963908" y="9196694"/>
                  </a:lnTo>
                  <a:lnTo>
                    <a:pt x="2968676" y="9225285"/>
                  </a:lnTo>
                  <a:lnTo>
                    <a:pt x="2973440" y="9249111"/>
                  </a:lnTo>
                  <a:lnTo>
                    <a:pt x="2987736" y="9277701"/>
                  </a:lnTo>
                  <a:lnTo>
                    <a:pt x="2997264" y="9289614"/>
                  </a:lnTo>
                  <a:lnTo>
                    <a:pt x="3016324" y="9327735"/>
                  </a:lnTo>
                  <a:lnTo>
                    <a:pt x="3025856" y="9370621"/>
                  </a:lnTo>
                  <a:lnTo>
                    <a:pt x="3021092" y="9389682"/>
                  </a:lnTo>
                  <a:lnTo>
                    <a:pt x="3006796" y="9413508"/>
                  </a:lnTo>
                  <a:lnTo>
                    <a:pt x="2982968" y="9437333"/>
                  </a:lnTo>
                  <a:lnTo>
                    <a:pt x="2978204" y="9456394"/>
                  </a:lnTo>
                  <a:lnTo>
                    <a:pt x="2973440" y="9475454"/>
                  </a:lnTo>
                  <a:lnTo>
                    <a:pt x="2959144" y="9494515"/>
                  </a:lnTo>
                  <a:lnTo>
                    <a:pt x="2944848" y="9489750"/>
                  </a:lnTo>
                  <a:lnTo>
                    <a:pt x="2935320" y="9484984"/>
                  </a:lnTo>
                  <a:lnTo>
                    <a:pt x="2944848" y="9518340"/>
                  </a:lnTo>
                  <a:lnTo>
                    <a:pt x="2954380" y="9551696"/>
                  </a:lnTo>
                  <a:lnTo>
                    <a:pt x="2944848" y="9585052"/>
                  </a:lnTo>
                  <a:lnTo>
                    <a:pt x="2925788" y="9604113"/>
                  </a:lnTo>
                  <a:lnTo>
                    <a:pt x="2911492" y="9604113"/>
                  </a:lnTo>
                  <a:lnTo>
                    <a:pt x="2892432" y="9623173"/>
                  </a:lnTo>
                  <a:lnTo>
                    <a:pt x="2835252" y="9632703"/>
                  </a:lnTo>
                  <a:lnTo>
                    <a:pt x="2811424" y="9627938"/>
                  </a:lnTo>
                  <a:lnTo>
                    <a:pt x="2773304" y="9608878"/>
                  </a:lnTo>
                  <a:lnTo>
                    <a:pt x="2730416" y="9599348"/>
                  </a:lnTo>
                  <a:lnTo>
                    <a:pt x="2711356" y="9580287"/>
                  </a:lnTo>
                  <a:lnTo>
                    <a:pt x="2692296" y="9537401"/>
                  </a:lnTo>
                  <a:lnTo>
                    <a:pt x="2678000" y="9504045"/>
                  </a:lnTo>
                  <a:lnTo>
                    <a:pt x="2678000" y="9470689"/>
                  </a:lnTo>
                  <a:lnTo>
                    <a:pt x="2687532" y="9446863"/>
                  </a:lnTo>
                  <a:lnTo>
                    <a:pt x="2697064" y="9432568"/>
                  </a:lnTo>
                  <a:lnTo>
                    <a:pt x="2711356" y="9337266"/>
                  </a:lnTo>
                  <a:lnTo>
                    <a:pt x="2735184" y="9263406"/>
                  </a:lnTo>
                  <a:lnTo>
                    <a:pt x="2787600" y="9182399"/>
                  </a:lnTo>
                  <a:lnTo>
                    <a:pt x="2801896" y="9153808"/>
                  </a:lnTo>
                  <a:lnTo>
                    <a:pt x="2806660" y="9134748"/>
                  </a:lnTo>
                  <a:lnTo>
                    <a:pt x="2806660" y="9125217"/>
                  </a:lnTo>
                  <a:lnTo>
                    <a:pt x="2801896" y="9115687"/>
                  </a:lnTo>
                  <a:lnTo>
                    <a:pt x="2735184" y="9215755"/>
                  </a:lnTo>
                  <a:lnTo>
                    <a:pt x="2692296" y="9225285"/>
                  </a:lnTo>
                  <a:lnTo>
                    <a:pt x="2682768" y="9206225"/>
                  </a:lnTo>
                  <a:lnTo>
                    <a:pt x="2682768" y="9163338"/>
                  </a:lnTo>
                  <a:lnTo>
                    <a:pt x="2692296" y="9153808"/>
                  </a:lnTo>
                  <a:lnTo>
                    <a:pt x="2725652" y="9158573"/>
                  </a:lnTo>
                  <a:lnTo>
                    <a:pt x="2735184" y="9134748"/>
                  </a:lnTo>
                  <a:lnTo>
                    <a:pt x="2716124" y="9101392"/>
                  </a:lnTo>
                  <a:lnTo>
                    <a:pt x="2697064" y="9096627"/>
                  </a:lnTo>
                  <a:lnTo>
                    <a:pt x="2687532" y="9087096"/>
                  </a:lnTo>
                  <a:lnTo>
                    <a:pt x="2711356" y="9058506"/>
                  </a:lnTo>
                  <a:lnTo>
                    <a:pt x="2763772" y="9063271"/>
                  </a:lnTo>
                  <a:lnTo>
                    <a:pt x="2778068" y="9044210"/>
                  </a:lnTo>
                  <a:lnTo>
                    <a:pt x="2797128" y="9025150"/>
                  </a:lnTo>
                  <a:lnTo>
                    <a:pt x="2816192" y="8987029"/>
                  </a:lnTo>
                  <a:lnTo>
                    <a:pt x="2825720" y="8958438"/>
                  </a:lnTo>
                  <a:lnTo>
                    <a:pt x="2825720" y="8929847"/>
                  </a:lnTo>
                  <a:lnTo>
                    <a:pt x="2820956" y="8910787"/>
                  </a:lnTo>
                  <a:lnTo>
                    <a:pt x="2820956" y="8886961"/>
                  </a:lnTo>
                  <a:lnTo>
                    <a:pt x="2825720" y="8867901"/>
                  </a:lnTo>
                  <a:lnTo>
                    <a:pt x="2820956" y="8844075"/>
                  </a:lnTo>
                  <a:lnTo>
                    <a:pt x="2806660" y="8815484"/>
                  </a:lnTo>
                  <a:lnTo>
                    <a:pt x="2773304" y="8791658"/>
                  </a:lnTo>
                  <a:lnTo>
                    <a:pt x="2763772" y="8820249"/>
                  </a:lnTo>
                  <a:lnTo>
                    <a:pt x="2754244" y="8829780"/>
                  </a:lnTo>
                  <a:lnTo>
                    <a:pt x="2739948" y="8834545"/>
                  </a:lnTo>
                  <a:lnTo>
                    <a:pt x="2725652" y="8820249"/>
                  </a:lnTo>
                  <a:lnTo>
                    <a:pt x="2711356" y="8815484"/>
                  </a:lnTo>
                  <a:lnTo>
                    <a:pt x="2697064" y="8805954"/>
                  </a:lnTo>
                  <a:lnTo>
                    <a:pt x="2682768" y="8801189"/>
                  </a:lnTo>
                  <a:lnTo>
                    <a:pt x="2678000" y="8796424"/>
                  </a:lnTo>
                  <a:lnTo>
                    <a:pt x="2678000" y="8767833"/>
                  </a:lnTo>
                  <a:lnTo>
                    <a:pt x="2673236" y="8739242"/>
                  </a:lnTo>
                  <a:lnTo>
                    <a:pt x="2692296" y="8724947"/>
                  </a:lnTo>
                  <a:lnTo>
                    <a:pt x="2711356" y="8710651"/>
                  </a:lnTo>
                  <a:lnTo>
                    <a:pt x="2725652" y="8691591"/>
                  </a:lnTo>
                  <a:lnTo>
                    <a:pt x="2735184" y="8658235"/>
                  </a:lnTo>
                  <a:lnTo>
                    <a:pt x="2739948" y="8620114"/>
                  </a:lnTo>
                  <a:lnTo>
                    <a:pt x="2730416" y="8581993"/>
                  </a:lnTo>
                  <a:lnTo>
                    <a:pt x="2716124" y="8548637"/>
                  </a:lnTo>
                  <a:lnTo>
                    <a:pt x="2682768" y="8581993"/>
                  </a:lnTo>
                  <a:lnTo>
                    <a:pt x="2668472" y="8591523"/>
                  </a:lnTo>
                  <a:lnTo>
                    <a:pt x="2663708" y="8567698"/>
                  </a:lnTo>
                  <a:lnTo>
                    <a:pt x="2658940" y="8548637"/>
                  </a:lnTo>
                  <a:lnTo>
                    <a:pt x="2649412" y="8524811"/>
                  </a:lnTo>
                  <a:lnTo>
                    <a:pt x="2630352" y="8505751"/>
                  </a:lnTo>
                  <a:lnTo>
                    <a:pt x="2611288" y="8496221"/>
                  </a:lnTo>
                  <a:lnTo>
                    <a:pt x="2611288" y="8477160"/>
                  </a:lnTo>
                  <a:lnTo>
                    <a:pt x="2616056" y="8458100"/>
                  </a:lnTo>
                  <a:lnTo>
                    <a:pt x="2620820" y="8434274"/>
                  </a:lnTo>
                  <a:lnTo>
                    <a:pt x="2630352" y="8381857"/>
                  </a:lnTo>
                  <a:lnTo>
                    <a:pt x="2644644" y="8386623"/>
                  </a:lnTo>
                  <a:lnTo>
                    <a:pt x="2654176" y="8381857"/>
                  </a:lnTo>
                  <a:lnTo>
                    <a:pt x="2649412" y="8343737"/>
                  </a:lnTo>
                  <a:lnTo>
                    <a:pt x="2639880" y="8305615"/>
                  </a:lnTo>
                  <a:lnTo>
                    <a:pt x="2630352" y="8286555"/>
                  </a:lnTo>
                  <a:lnTo>
                    <a:pt x="2625584" y="8277025"/>
                  </a:lnTo>
                  <a:lnTo>
                    <a:pt x="2625584" y="8267495"/>
                  </a:lnTo>
                  <a:lnTo>
                    <a:pt x="2616056" y="8243669"/>
                  </a:lnTo>
                  <a:lnTo>
                    <a:pt x="2606524" y="8224609"/>
                  </a:lnTo>
                  <a:lnTo>
                    <a:pt x="2592228" y="8176957"/>
                  </a:lnTo>
                  <a:lnTo>
                    <a:pt x="2582700" y="8153131"/>
                  </a:lnTo>
                  <a:lnTo>
                    <a:pt x="2568404" y="8143601"/>
                  </a:lnTo>
                  <a:lnTo>
                    <a:pt x="2549344" y="8143601"/>
                  </a:lnTo>
                  <a:lnTo>
                    <a:pt x="2525516" y="8157897"/>
                  </a:lnTo>
                  <a:lnTo>
                    <a:pt x="2477868" y="8172192"/>
                  </a:lnTo>
                  <a:lnTo>
                    <a:pt x="2439744" y="8181722"/>
                  </a:lnTo>
                  <a:lnTo>
                    <a:pt x="2434980" y="8176957"/>
                  </a:lnTo>
                  <a:lnTo>
                    <a:pt x="2454040" y="8157897"/>
                  </a:lnTo>
                  <a:lnTo>
                    <a:pt x="2482632" y="8138836"/>
                  </a:lnTo>
                  <a:lnTo>
                    <a:pt x="2515988" y="8124541"/>
                  </a:lnTo>
                  <a:lnTo>
                    <a:pt x="2530284" y="8091185"/>
                  </a:lnTo>
                  <a:lnTo>
                    <a:pt x="2525516" y="8057829"/>
                  </a:lnTo>
                  <a:lnTo>
                    <a:pt x="2525516" y="8034003"/>
                  </a:lnTo>
                  <a:lnTo>
                    <a:pt x="2515988" y="8000647"/>
                  </a:lnTo>
                  <a:lnTo>
                    <a:pt x="2525516" y="7986352"/>
                  </a:lnTo>
                  <a:lnTo>
                    <a:pt x="2558872" y="7967291"/>
                  </a:lnTo>
                  <a:lnTo>
                    <a:pt x="2573168" y="7967291"/>
                  </a:lnTo>
                  <a:lnTo>
                    <a:pt x="2587464" y="7943466"/>
                  </a:lnTo>
                  <a:lnTo>
                    <a:pt x="2544580" y="7895815"/>
                  </a:lnTo>
                  <a:lnTo>
                    <a:pt x="2501692" y="7857693"/>
                  </a:lnTo>
                  <a:lnTo>
                    <a:pt x="2492160" y="7843398"/>
                  </a:lnTo>
                  <a:lnTo>
                    <a:pt x="2482632" y="7824337"/>
                  </a:lnTo>
                  <a:lnTo>
                    <a:pt x="2473100" y="7790982"/>
                  </a:lnTo>
                  <a:lnTo>
                    <a:pt x="2458804" y="7757626"/>
                  </a:lnTo>
                  <a:lnTo>
                    <a:pt x="2439744" y="7729035"/>
                  </a:lnTo>
                  <a:lnTo>
                    <a:pt x="2415920" y="7695679"/>
                  </a:lnTo>
                  <a:lnTo>
                    <a:pt x="2344444" y="7638497"/>
                  </a:lnTo>
                  <a:lnTo>
                    <a:pt x="2320616" y="7600377"/>
                  </a:lnTo>
                  <a:lnTo>
                    <a:pt x="2296792" y="7538430"/>
                  </a:lnTo>
                  <a:lnTo>
                    <a:pt x="2287260" y="7514605"/>
                  </a:lnTo>
                  <a:lnTo>
                    <a:pt x="2277732" y="7495544"/>
                  </a:lnTo>
                  <a:lnTo>
                    <a:pt x="2225316" y="7447893"/>
                  </a:lnTo>
                  <a:lnTo>
                    <a:pt x="2220548" y="7428832"/>
                  </a:lnTo>
                  <a:lnTo>
                    <a:pt x="2272964" y="7376415"/>
                  </a:lnTo>
                  <a:lnTo>
                    <a:pt x="2277732" y="7352590"/>
                  </a:lnTo>
                  <a:lnTo>
                    <a:pt x="2253904" y="7285879"/>
                  </a:lnTo>
                  <a:lnTo>
                    <a:pt x="2234844" y="7238227"/>
                  </a:lnTo>
                  <a:lnTo>
                    <a:pt x="2211020" y="7219167"/>
                  </a:lnTo>
                  <a:lnTo>
                    <a:pt x="2177664" y="7214401"/>
                  </a:lnTo>
                  <a:lnTo>
                    <a:pt x="2144308" y="7190576"/>
                  </a:lnTo>
                  <a:lnTo>
                    <a:pt x="2115716" y="7157220"/>
                  </a:lnTo>
                  <a:lnTo>
                    <a:pt x="2091892" y="7128629"/>
                  </a:lnTo>
                  <a:lnTo>
                    <a:pt x="2049004" y="7104803"/>
                  </a:lnTo>
                  <a:lnTo>
                    <a:pt x="1977528" y="7042857"/>
                  </a:lnTo>
                  <a:lnTo>
                    <a:pt x="1867928" y="6976146"/>
                  </a:lnTo>
                  <a:lnTo>
                    <a:pt x="1815512" y="6938026"/>
                  </a:lnTo>
                  <a:lnTo>
                    <a:pt x="1786924" y="6923729"/>
                  </a:lnTo>
                  <a:lnTo>
                    <a:pt x="1748800" y="6918964"/>
                  </a:lnTo>
                  <a:lnTo>
                    <a:pt x="1677324" y="6880843"/>
                  </a:lnTo>
                  <a:lnTo>
                    <a:pt x="1615380" y="6871313"/>
                  </a:lnTo>
                  <a:lnTo>
                    <a:pt x="1572492" y="6876078"/>
                  </a:lnTo>
                  <a:lnTo>
                    <a:pt x="1562960" y="6871313"/>
                  </a:lnTo>
                  <a:lnTo>
                    <a:pt x="1534372" y="6833192"/>
                  </a:lnTo>
                  <a:lnTo>
                    <a:pt x="1486720" y="6809367"/>
                  </a:lnTo>
                  <a:lnTo>
                    <a:pt x="1467660" y="6818897"/>
                  </a:lnTo>
                  <a:lnTo>
                    <a:pt x="1439068" y="6857018"/>
                  </a:lnTo>
                  <a:lnTo>
                    <a:pt x="1400948" y="6899905"/>
                  </a:lnTo>
                  <a:lnTo>
                    <a:pt x="1381888" y="6904669"/>
                  </a:lnTo>
                  <a:lnTo>
                    <a:pt x="1358060" y="6866548"/>
                  </a:lnTo>
                  <a:lnTo>
                    <a:pt x="1343764" y="6842722"/>
                  </a:lnTo>
                  <a:lnTo>
                    <a:pt x="1329472" y="6833192"/>
                  </a:lnTo>
                  <a:lnTo>
                    <a:pt x="1319940" y="6842722"/>
                  </a:lnTo>
                  <a:lnTo>
                    <a:pt x="1291348" y="6876078"/>
                  </a:lnTo>
                  <a:lnTo>
                    <a:pt x="1267524" y="6899905"/>
                  </a:lnTo>
                  <a:lnTo>
                    <a:pt x="1234168" y="6928494"/>
                  </a:lnTo>
                  <a:lnTo>
                    <a:pt x="1210344" y="6942790"/>
                  </a:lnTo>
                  <a:lnTo>
                    <a:pt x="1172220" y="6942790"/>
                  </a:lnTo>
                  <a:lnTo>
                    <a:pt x="1162692" y="6957086"/>
                  </a:lnTo>
                  <a:lnTo>
                    <a:pt x="1148396" y="6957086"/>
                  </a:lnTo>
                  <a:lnTo>
                    <a:pt x="1134100" y="6947556"/>
                  </a:lnTo>
                  <a:lnTo>
                    <a:pt x="1115040" y="6928494"/>
                  </a:lnTo>
                  <a:lnTo>
                    <a:pt x="1100744" y="6899905"/>
                  </a:lnTo>
                  <a:lnTo>
                    <a:pt x="1086448" y="6885608"/>
                  </a:lnTo>
                  <a:lnTo>
                    <a:pt x="1072152" y="6880843"/>
                  </a:lnTo>
                  <a:lnTo>
                    <a:pt x="1043564" y="6895139"/>
                  </a:lnTo>
                  <a:lnTo>
                    <a:pt x="1010208" y="6938026"/>
                  </a:lnTo>
                  <a:lnTo>
                    <a:pt x="991148" y="6947556"/>
                  </a:lnTo>
                  <a:lnTo>
                    <a:pt x="981616" y="6942790"/>
                  </a:lnTo>
                  <a:lnTo>
                    <a:pt x="962556" y="6933260"/>
                  </a:lnTo>
                  <a:lnTo>
                    <a:pt x="929200" y="6899905"/>
                  </a:lnTo>
                  <a:lnTo>
                    <a:pt x="910140" y="6899905"/>
                  </a:lnTo>
                  <a:lnTo>
                    <a:pt x="895844" y="6914199"/>
                  </a:lnTo>
                  <a:lnTo>
                    <a:pt x="900608" y="6942790"/>
                  </a:lnTo>
                  <a:lnTo>
                    <a:pt x="933964" y="7004737"/>
                  </a:lnTo>
                  <a:lnTo>
                    <a:pt x="962556" y="7052387"/>
                  </a:lnTo>
                  <a:lnTo>
                    <a:pt x="938732" y="7061917"/>
                  </a:lnTo>
                  <a:lnTo>
                    <a:pt x="729064" y="6995207"/>
                  </a:lnTo>
                  <a:lnTo>
                    <a:pt x="705240" y="6980911"/>
                  </a:lnTo>
                  <a:lnTo>
                    <a:pt x="667116" y="6942790"/>
                  </a:lnTo>
                  <a:lnTo>
                    <a:pt x="633760" y="6918964"/>
                  </a:lnTo>
                  <a:lnTo>
                    <a:pt x="581344" y="6857018"/>
                  </a:lnTo>
                  <a:lnTo>
                    <a:pt x="538460" y="6823662"/>
                  </a:lnTo>
                  <a:lnTo>
                    <a:pt x="524164" y="6795071"/>
                  </a:lnTo>
                  <a:lnTo>
                    <a:pt x="519400" y="6776010"/>
                  </a:lnTo>
                  <a:lnTo>
                    <a:pt x="533696" y="6752186"/>
                  </a:lnTo>
                  <a:lnTo>
                    <a:pt x="619468" y="6671178"/>
                  </a:lnTo>
                  <a:lnTo>
                    <a:pt x="648056" y="6652118"/>
                  </a:lnTo>
                  <a:lnTo>
                    <a:pt x="714768" y="6633058"/>
                  </a:lnTo>
                  <a:lnTo>
                    <a:pt x="729064" y="6618761"/>
                  </a:lnTo>
                  <a:lnTo>
                    <a:pt x="733828" y="6609231"/>
                  </a:lnTo>
                  <a:lnTo>
                    <a:pt x="719536" y="6590170"/>
                  </a:lnTo>
                  <a:lnTo>
                    <a:pt x="633760" y="6599701"/>
                  </a:lnTo>
                  <a:lnTo>
                    <a:pt x="557520" y="6585405"/>
                  </a:lnTo>
                  <a:lnTo>
                    <a:pt x="490808" y="6552050"/>
                  </a:lnTo>
                  <a:lnTo>
                    <a:pt x="481276" y="6542520"/>
                  </a:lnTo>
                  <a:lnTo>
                    <a:pt x="471748" y="6518694"/>
                  </a:lnTo>
                  <a:lnTo>
                    <a:pt x="457452" y="6490103"/>
                  </a:lnTo>
                  <a:lnTo>
                    <a:pt x="462216" y="6456748"/>
                  </a:lnTo>
                  <a:lnTo>
                    <a:pt x="476512" y="6418626"/>
                  </a:lnTo>
                  <a:lnTo>
                    <a:pt x="486044" y="6390035"/>
                  </a:lnTo>
                  <a:lnTo>
                    <a:pt x="490808" y="6375740"/>
                  </a:lnTo>
                  <a:lnTo>
                    <a:pt x="405036" y="6471042"/>
                  </a:lnTo>
                  <a:lnTo>
                    <a:pt x="371680" y="6504399"/>
                  </a:lnTo>
                  <a:lnTo>
                    <a:pt x="343088" y="6494869"/>
                  </a:lnTo>
                  <a:lnTo>
                    <a:pt x="324028" y="6475807"/>
                  </a:lnTo>
                  <a:lnTo>
                    <a:pt x="319264" y="6461512"/>
                  </a:lnTo>
                  <a:lnTo>
                    <a:pt x="319264" y="6442451"/>
                  </a:lnTo>
                  <a:lnTo>
                    <a:pt x="319264" y="6428156"/>
                  </a:lnTo>
                  <a:lnTo>
                    <a:pt x="324028" y="6418626"/>
                  </a:lnTo>
                  <a:lnTo>
                    <a:pt x="281144" y="6380505"/>
                  </a:lnTo>
                  <a:lnTo>
                    <a:pt x="262084" y="6351914"/>
                  </a:lnTo>
                  <a:lnTo>
                    <a:pt x="262084" y="6318558"/>
                  </a:lnTo>
                  <a:lnTo>
                    <a:pt x="276376" y="6285202"/>
                  </a:lnTo>
                  <a:lnTo>
                    <a:pt x="290672" y="6261377"/>
                  </a:lnTo>
                  <a:lnTo>
                    <a:pt x="304968" y="6247082"/>
                  </a:lnTo>
                  <a:lnTo>
                    <a:pt x="347856" y="6232786"/>
                  </a:lnTo>
                  <a:lnTo>
                    <a:pt x="495572" y="6208961"/>
                  </a:lnTo>
                  <a:lnTo>
                    <a:pt x="600408" y="6232786"/>
                  </a:lnTo>
                  <a:lnTo>
                    <a:pt x="638528" y="6156544"/>
                  </a:lnTo>
                  <a:lnTo>
                    <a:pt x="662352" y="6127953"/>
                  </a:lnTo>
                  <a:lnTo>
                    <a:pt x="733828" y="6104127"/>
                  </a:lnTo>
                  <a:lnTo>
                    <a:pt x="843428" y="6099363"/>
                  </a:lnTo>
                  <a:lnTo>
                    <a:pt x="919668" y="6113658"/>
                  </a:lnTo>
                  <a:lnTo>
                    <a:pt x="953024" y="6132718"/>
                  </a:lnTo>
                  <a:lnTo>
                    <a:pt x="1005440" y="6175604"/>
                  </a:lnTo>
                  <a:lnTo>
                    <a:pt x="1005440" y="6161309"/>
                  </a:lnTo>
                  <a:lnTo>
                    <a:pt x="995912" y="6123188"/>
                  </a:lnTo>
                  <a:lnTo>
                    <a:pt x="995912" y="6094597"/>
                  </a:lnTo>
                  <a:lnTo>
                    <a:pt x="1014972" y="6037416"/>
                  </a:lnTo>
                  <a:lnTo>
                    <a:pt x="1024504" y="6004061"/>
                  </a:lnTo>
                  <a:lnTo>
                    <a:pt x="1019736" y="5970704"/>
                  </a:lnTo>
                  <a:lnTo>
                    <a:pt x="995912" y="5932584"/>
                  </a:lnTo>
                  <a:lnTo>
                    <a:pt x="957792" y="5884933"/>
                  </a:lnTo>
                  <a:lnTo>
                    <a:pt x="938732" y="5880167"/>
                  </a:lnTo>
                  <a:lnTo>
                    <a:pt x="914904" y="5894463"/>
                  </a:lnTo>
                  <a:lnTo>
                    <a:pt x="886312" y="5918288"/>
                  </a:lnTo>
                  <a:lnTo>
                    <a:pt x="829132" y="5984999"/>
                  </a:lnTo>
                  <a:lnTo>
                    <a:pt x="800540" y="5999295"/>
                  </a:lnTo>
                  <a:lnTo>
                    <a:pt x="757656" y="6004061"/>
                  </a:lnTo>
                  <a:lnTo>
                    <a:pt x="733828" y="5994531"/>
                  </a:lnTo>
                  <a:lnTo>
                    <a:pt x="710004" y="5984999"/>
                  </a:lnTo>
                  <a:lnTo>
                    <a:pt x="671884" y="5946878"/>
                  </a:lnTo>
                  <a:lnTo>
                    <a:pt x="657588" y="5942114"/>
                  </a:lnTo>
                  <a:lnTo>
                    <a:pt x="638528" y="5956409"/>
                  </a:lnTo>
                  <a:lnTo>
                    <a:pt x="619468" y="5994531"/>
                  </a:lnTo>
                  <a:lnTo>
                    <a:pt x="600408" y="6023119"/>
                  </a:lnTo>
                  <a:lnTo>
                    <a:pt x="581344" y="6037416"/>
                  </a:lnTo>
                  <a:lnTo>
                    <a:pt x="567052" y="6042182"/>
                  </a:lnTo>
                  <a:lnTo>
                    <a:pt x="543224" y="6042182"/>
                  </a:lnTo>
                  <a:lnTo>
                    <a:pt x="443156" y="5980234"/>
                  </a:lnTo>
                  <a:lnTo>
                    <a:pt x="424096" y="5956409"/>
                  </a:lnTo>
                  <a:lnTo>
                    <a:pt x="419332" y="5918288"/>
                  </a:lnTo>
                  <a:lnTo>
                    <a:pt x="390740" y="5880167"/>
                  </a:lnTo>
                  <a:lnTo>
                    <a:pt x="357384" y="5870637"/>
                  </a:lnTo>
                  <a:lnTo>
                    <a:pt x="352620" y="5856340"/>
                  </a:lnTo>
                  <a:lnTo>
                    <a:pt x="395504" y="5799159"/>
                  </a:lnTo>
                  <a:lnTo>
                    <a:pt x="428860" y="5775335"/>
                  </a:lnTo>
                  <a:lnTo>
                    <a:pt x="424096" y="5765805"/>
                  </a:lnTo>
                  <a:lnTo>
                    <a:pt x="376444" y="5765805"/>
                  </a:lnTo>
                  <a:lnTo>
                    <a:pt x="343088" y="5799159"/>
                  </a:lnTo>
                  <a:lnTo>
                    <a:pt x="328792" y="5803925"/>
                  </a:lnTo>
                  <a:lnTo>
                    <a:pt x="285908" y="5803925"/>
                  </a:lnTo>
                  <a:lnTo>
                    <a:pt x="243020" y="5789629"/>
                  </a:lnTo>
                  <a:lnTo>
                    <a:pt x="223960" y="5775335"/>
                  </a:lnTo>
                  <a:lnTo>
                    <a:pt x="204900" y="5741977"/>
                  </a:lnTo>
                  <a:lnTo>
                    <a:pt x="181076" y="5722918"/>
                  </a:lnTo>
                  <a:lnTo>
                    <a:pt x="119128" y="5694326"/>
                  </a:lnTo>
                  <a:lnTo>
                    <a:pt x="104832" y="5680031"/>
                  </a:lnTo>
                  <a:lnTo>
                    <a:pt x="90536" y="5656206"/>
                  </a:lnTo>
                  <a:lnTo>
                    <a:pt x="38120" y="5584729"/>
                  </a:lnTo>
                  <a:lnTo>
                    <a:pt x="4764" y="5532312"/>
                  </a:lnTo>
                  <a:lnTo>
                    <a:pt x="0" y="5503722"/>
                  </a:lnTo>
                  <a:lnTo>
                    <a:pt x="38120" y="5437009"/>
                  </a:lnTo>
                  <a:lnTo>
                    <a:pt x="38120" y="5422714"/>
                  </a:lnTo>
                  <a:lnTo>
                    <a:pt x="23824" y="5394123"/>
                  </a:lnTo>
                  <a:lnTo>
                    <a:pt x="14296" y="5370298"/>
                  </a:lnTo>
                  <a:lnTo>
                    <a:pt x="23824" y="5341708"/>
                  </a:lnTo>
                  <a:lnTo>
                    <a:pt x="52416" y="5279760"/>
                  </a:lnTo>
                  <a:lnTo>
                    <a:pt x="66712" y="5260701"/>
                  </a:lnTo>
                  <a:lnTo>
                    <a:pt x="123892" y="5222579"/>
                  </a:lnTo>
                  <a:lnTo>
                    <a:pt x="181076" y="5170163"/>
                  </a:lnTo>
                  <a:lnTo>
                    <a:pt x="204900" y="5155866"/>
                  </a:lnTo>
                  <a:lnTo>
                    <a:pt x="223960" y="5151101"/>
                  </a:lnTo>
                  <a:lnTo>
                    <a:pt x="300204" y="5155866"/>
                  </a:lnTo>
                  <a:lnTo>
                    <a:pt x="324028" y="5141571"/>
                  </a:lnTo>
                  <a:lnTo>
                    <a:pt x="343088" y="5112982"/>
                  </a:lnTo>
                  <a:lnTo>
                    <a:pt x="376444" y="5084390"/>
                  </a:lnTo>
                  <a:lnTo>
                    <a:pt x="443156" y="5046270"/>
                  </a:lnTo>
                  <a:lnTo>
                    <a:pt x="600408" y="4979559"/>
                  </a:lnTo>
                  <a:lnTo>
                    <a:pt x="609936" y="4974792"/>
                  </a:lnTo>
                  <a:lnTo>
                    <a:pt x="609936" y="4960497"/>
                  </a:lnTo>
                  <a:lnTo>
                    <a:pt x="595640" y="4927141"/>
                  </a:lnTo>
                  <a:lnTo>
                    <a:pt x="590876" y="4912846"/>
                  </a:lnTo>
                  <a:lnTo>
                    <a:pt x="624232" y="4879491"/>
                  </a:lnTo>
                  <a:lnTo>
                    <a:pt x="695708" y="4831838"/>
                  </a:lnTo>
                  <a:lnTo>
                    <a:pt x="743360" y="4808013"/>
                  </a:lnTo>
                  <a:lnTo>
                    <a:pt x="771952" y="4808013"/>
                  </a:lnTo>
                  <a:lnTo>
                    <a:pt x="800540" y="4798483"/>
                  </a:lnTo>
                  <a:lnTo>
                    <a:pt x="833896" y="4769892"/>
                  </a:lnTo>
                  <a:lnTo>
                    <a:pt x="852956" y="4765127"/>
                  </a:lnTo>
                  <a:lnTo>
                    <a:pt x="972084" y="4750830"/>
                  </a:lnTo>
                  <a:lnTo>
                    <a:pt x="1029268" y="4765127"/>
                  </a:lnTo>
                  <a:lnTo>
                    <a:pt x="1053092" y="4765127"/>
                  </a:lnTo>
                  <a:lnTo>
                    <a:pt x="1072152" y="4755597"/>
                  </a:lnTo>
                  <a:lnTo>
                    <a:pt x="1091216" y="4722242"/>
                  </a:lnTo>
                  <a:lnTo>
                    <a:pt x="1134100" y="4636468"/>
                  </a:lnTo>
                  <a:lnTo>
                    <a:pt x="1157924" y="4584053"/>
                  </a:lnTo>
                  <a:lnTo>
                    <a:pt x="1176988" y="4498280"/>
                  </a:lnTo>
                  <a:lnTo>
                    <a:pt x="1205576" y="4369621"/>
                  </a:lnTo>
                  <a:lnTo>
                    <a:pt x="1224636" y="4240962"/>
                  </a:lnTo>
                  <a:lnTo>
                    <a:pt x="1238932" y="4112305"/>
                  </a:lnTo>
                  <a:lnTo>
                    <a:pt x="1248464" y="4036063"/>
                  </a:lnTo>
                  <a:lnTo>
                    <a:pt x="1253228" y="4007472"/>
                  </a:lnTo>
                  <a:lnTo>
                    <a:pt x="1277056" y="3969351"/>
                  </a:lnTo>
                  <a:lnTo>
                    <a:pt x="1305644" y="3940760"/>
                  </a:lnTo>
                  <a:lnTo>
                    <a:pt x="1348532" y="3916934"/>
                  </a:lnTo>
                  <a:lnTo>
                    <a:pt x="1343764" y="3907404"/>
                  </a:lnTo>
                  <a:lnTo>
                    <a:pt x="1324704" y="3883578"/>
                  </a:lnTo>
                  <a:lnTo>
                    <a:pt x="1310412" y="3878813"/>
                  </a:lnTo>
                  <a:lnTo>
                    <a:pt x="1291348" y="3883578"/>
                  </a:lnTo>
                  <a:lnTo>
                    <a:pt x="1262760" y="3912169"/>
                  </a:lnTo>
                  <a:lnTo>
                    <a:pt x="1224636" y="3931229"/>
                  </a:lnTo>
                  <a:lnTo>
                    <a:pt x="1186516" y="3926464"/>
                  </a:lnTo>
                  <a:lnTo>
                    <a:pt x="1162692" y="3935994"/>
                  </a:lnTo>
                  <a:lnTo>
                    <a:pt x="1134100" y="3964586"/>
                  </a:lnTo>
                  <a:lnTo>
                    <a:pt x="1095980" y="3983646"/>
                  </a:lnTo>
                  <a:lnTo>
                    <a:pt x="1067388" y="3978880"/>
                  </a:lnTo>
                  <a:lnTo>
                    <a:pt x="1019736" y="3940760"/>
                  </a:lnTo>
                  <a:lnTo>
                    <a:pt x="995912" y="3935994"/>
                  </a:lnTo>
                  <a:lnTo>
                    <a:pt x="933964" y="3935994"/>
                  </a:lnTo>
                  <a:lnTo>
                    <a:pt x="914904" y="3921699"/>
                  </a:lnTo>
                  <a:lnTo>
                    <a:pt x="900608" y="3893109"/>
                  </a:lnTo>
                  <a:lnTo>
                    <a:pt x="886312" y="3854988"/>
                  </a:lnTo>
                  <a:lnTo>
                    <a:pt x="876784" y="3802572"/>
                  </a:lnTo>
                  <a:lnTo>
                    <a:pt x="876784" y="3750155"/>
                  </a:lnTo>
                  <a:lnTo>
                    <a:pt x="900608" y="3654853"/>
                  </a:lnTo>
                  <a:lnTo>
                    <a:pt x="910140" y="3626262"/>
                  </a:lnTo>
                  <a:lnTo>
                    <a:pt x="972084" y="3516663"/>
                  </a:lnTo>
                  <a:lnTo>
                    <a:pt x="1005440" y="3464247"/>
                  </a:lnTo>
                  <a:lnTo>
                    <a:pt x="1043564" y="3426127"/>
                  </a:lnTo>
                  <a:lnTo>
                    <a:pt x="1072152" y="3402301"/>
                  </a:lnTo>
                  <a:lnTo>
                    <a:pt x="1095980" y="3392770"/>
                  </a:lnTo>
                  <a:lnTo>
                    <a:pt x="1119804" y="3368944"/>
                  </a:lnTo>
                  <a:lnTo>
                    <a:pt x="1167456" y="3287938"/>
                  </a:lnTo>
                  <a:lnTo>
                    <a:pt x="1210344" y="3221225"/>
                  </a:lnTo>
                  <a:lnTo>
                    <a:pt x="1267524" y="3092568"/>
                  </a:lnTo>
                  <a:lnTo>
                    <a:pt x="1296116" y="3059211"/>
                  </a:lnTo>
                  <a:lnTo>
                    <a:pt x="1396184" y="3002030"/>
                  </a:lnTo>
                  <a:lnTo>
                    <a:pt x="1420008" y="3002030"/>
                  </a:lnTo>
                  <a:lnTo>
                    <a:pt x="1443832" y="3016325"/>
                  </a:lnTo>
                  <a:lnTo>
                    <a:pt x="1462896" y="3044916"/>
                  </a:lnTo>
                  <a:lnTo>
                    <a:pt x="1524840" y="3173575"/>
                  </a:lnTo>
                  <a:lnTo>
                    <a:pt x="1529604" y="3168809"/>
                  </a:lnTo>
                  <a:lnTo>
                    <a:pt x="1520076" y="3121158"/>
                  </a:lnTo>
                  <a:lnTo>
                    <a:pt x="1496248" y="2973439"/>
                  </a:lnTo>
                  <a:lnTo>
                    <a:pt x="1501016" y="2916258"/>
                  </a:lnTo>
                  <a:lnTo>
                    <a:pt x="1534372" y="2849546"/>
                  </a:lnTo>
                  <a:lnTo>
                    <a:pt x="1548668" y="2840016"/>
                  </a:lnTo>
                  <a:lnTo>
                    <a:pt x="1586788" y="2844781"/>
                  </a:lnTo>
                  <a:lnTo>
                    <a:pt x="1643968" y="2863841"/>
                  </a:lnTo>
                  <a:lnTo>
                    <a:pt x="1682088" y="2887667"/>
                  </a:lnTo>
                  <a:lnTo>
                    <a:pt x="1710680" y="2921023"/>
                  </a:lnTo>
                  <a:lnTo>
                    <a:pt x="1748800" y="2944849"/>
                  </a:lnTo>
                  <a:lnTo>
                    <a:pt x="1767864" y="2940084"/>
                  </a:lnTo>
                  <a:lnTo>
                    <a:pt x="1777392" y="2925788"/>
                  </a:lnTo>
                  <a:lnTo>
                    <a:pt x="1796452" y="2868607"/>
                  </a:lnTo>
                  <a:lnTo>
                    <a:pt x="1820280" y="2773304"/>
                  </a:lnTo>
                  <a:lnTo>
                    <a:pt x="1829808" y="2654176"/>
                  </a:lnTo>
                  <a:lnTo>
                    <a:pt x="1825044" y="2511222"/>
                  </a:lnTo>
                  <a:lnTo>
                    <a:pt x="1820280" y="2406389"/>
                  </a:lnTo>
                  <a:lnTo>
                    <a:pt x="1810748" y="2339678"/>
                  </a:lnTo>
                  <a:lnTo>
                    <a:pt x="1815512" y="2282496"/>
                  </a:lnTo>
                  <a:lnTo>
                    <a:pt x="1844104" y="2211019"/>
                  </a:lnTo>
                  <a:lnTo>
                    <a:pt x="1872696" y="2163368"/>
                  </a:lnTo>
                  <a:lnTo>
                    <a:pt x="1934640" y="2091891"/>
                  </a:lnTo>
                  <a:lnTo>
                    <a:pt x="1987060" y="2072830"/>
                  </a:lnTo>
                  <a:lnTo>
                    <a:pt x="2020412" y="2077596"/>
                  </a:lnTo>
                  <a:lnTo>
                    <a:pt x="2058536" y="2110951"/>
                  </a:lnTo>
                  <a:lnTo>
                    <a:pt x="2115716" y="2130012"/>
                  </a:lnTo>
                  <a:lnTo>
                    <a:pt x="2163368" y="2196724"/>
                  </a:lnTo>
                  <a:lnTo>
                    <a:pt x="2249140" y="2344443"/>
                  </a:lnTo>
                  <a:lnTo>
                    <a:pt x="2301556" y="2415920"/>
                  </a:lnTo>
                  <a:lnTo>
                    <a:pt x="2349208" y="2449275"/>
                  </a:lnTo>
                  <a:lnTo>
                    <a:pt x="2392092" y="2501692"/>
                  </a:lnTo>
                  <a:lnTo>
                    <a:pt x="2458804" y="2620820"/>
                  </a:lnTo>
                  <a:lnTo>
                    <a:pt x="2492160" y="2668471"/>
                  </a:lnTo>
                  <a:lnTo>
                    <a:pt x="2511224" y="2687532"/>
                  </a:lnTo>
                  <a:lnTo>
                    <a:pt x="2530284" y="2687532"/>
                  </a:lnTo>
                  <a:lnTo>
                    <a:pt x="2525516" y="2658941"/>
                  </a:lnTo>
                  <a:lnTo>
                    <a:pt x="2492160" y="2587464"/>
                  </a:lnTo>
                  <a:lnTo>
                    <a:pt x="2444512" y="2511222"/>
                  </a:lnTo>
                  <a:lnTo>
                    <a:pt x="2339676" y="2373033"/>
                  </a:lnTo>
                  <a:lnTo>
                    <a:pt x="2277732" y="2272966"/>
                  </a:lnTo>
                  <a:lnTo>
                    <a:pt x="2225316" y="2158603"/>
                  </a:lnTo>
                  <a:lnTo>
                    <a:pt x="2187192" y="2091891"/>
                  </a:lnTo>
                  <a:lnTo>
                    <a:pt x="2115716" y="2020414"/>
                  </a:lnTo>
                  <a:lnTo>
                    <a:pt x="2120480" y="1991823"/>
                  </a:lnTo>
                  <a:lnTo>
                    <a:pt x="2201488" y="1896520"/>
                  </a:lnTo>
                  <a:lnTo>
                    <a:pt x="2358740" y="1810748"/>
                  </a:lnTo>
                  <a:lnTo>
                    <a:pt x="2535048" y="1744037"/>
                  </a:lnTo>
                  <a:lnTo>
                    <a:pt x="2592228" y="1748801"/>
                  </a:lnTo>
                  <a:lnTo>
                    <a:pt x="2697064" y="1720211"/>
                  </a:lnTo>
                  <a:lnTo>
                    <a:pt x="2706592" y="1677325"/>
                  </a:lnTo>
                  <a:lnTo>
                    <a:pt x="2730416" y="1658264"/>
                  </a:lnTo>
                  <a:lnTo>
                    <a:pt x="2825720" y="1596318"/>
                  </a:lnTo>
                  <a:lnTo>
                    <a:pt x="2854312" y="1601083"/>
                  </a:lnTo>
                  <a:lnTo>
                    <a:pt x="2897196" y="1629674"/>
                  </a:lnTo>
                  <a:lnTo>
                    <a:pt x="2940084" y="1682090"/>
                  </a:lnTo>
                  <a:lnTo>
                    <a:pt x="2963908" y="1729741"/>
                  </a:lnTo>
                  <a:lnTo>
                    <a:pt x="2992500" y="1815514"/>
                  </a:lnTo>
                  <a:lnTo>
                    <a:pt x="3006796" y="1929877"/>
                  </a:lnTo>
                  <a:lnTo>
                    <a:pt x="3002032" y="2292026"/>
                  </a:lnTo>
                  <a:lnTo>
                    <a:pt x="3002032" y="2358738"/>
                  </a:lnTo>
                  <a:lnTo>
                    <a:pt x="3011560" y="2382564"/>
                  </a:lnTo>
                  <a:lnTo>
                    <a:pt x="3030620" y="2344443"/>
                  </a:lnTo>
                  <a:lnTo>
                    <a:pt x="3054448" y="2272966"/>
                  </a:lnTo>
                  <a:lnTo>
                    <a:pt x="3073508" y="2225314"/>
                  </a:lnTo>
                  <a:lnTo>
                    <a:pt x="3087804" y="2144307"/>
                  </a:lnTo>
                  <a:lnTo>
                    <a:pt x="3102096" y="2039475"/>
                  </a:lnTo>
                  <a:lnTo>
                    <a:pt x="3106864" y="1958467"/>
                  </a:lnTo>
                  <a:lnTo>
                    <a:pt x="3078272" y="1867930"/>
                  </a:lnTo>
                  <a:lnTo>
                    <a:pt x="3078272" y="1715446"/>
                  </a:lnTo>
                  <a:lnTo>
                    <a:pt x="3092568" y="1634439"/>
                  </a:lnTo>
                  <a:lnTo>
                    <a:pt x="3130688" y="1634439"/>
                  </a:lnTo>
                  <a:lnTo>
                    <a:pt x="3292704" y="1910816"/>
                  </a:lnTo>
                  <a:lnTo>
                    <a:pt x="3354648" y="1972763"/>
                  </a:lnTo>
                  <a:lnTo>
                    <a:pt x="3426128" y="2120482"/>
                  </a:lnTo>
                  <a:lnTo>
                    <a:pt x="3507132" y="2101421"/>
                  </a:lnTo>
                  <a:lnTo>
                    <a:pt x="3583376" y="2120482"/>
                  </a:lnTo>
                  <a:lnTo>
                    <a:pt x="3621496" y="2115717"/>
                  </a:lnTo>
                  <a:lnTo>
                    <a:pt x="3635792" y="2091891"/>
                  </a:lnTo>
                  <a:lnTo>
                    <a:pt x="3611968" y="2034709"/>
                  </a:lnTo>
                  <a:lnTo>
                    <a:pt x="3502368" y="1863165"/>
                  </a:lnTo>
                  <a:lnTo>
                    <a:pt x="3454716" y="1729741"/>
                  </a:lnTo>
                  <a:lnTo>
                    <a:pt x="3416596" y="1562962"/>
                  </a:lnTo>
                  <a:lnTo>
                    <a:pt x="3411832" y="1467659"/>
                  </a:lnTo>
                  <a:lnTo>
                    <a:pt x="3435656" y="1453364"/>
                  </a:lnTo>
                  <a:lnTo>
                    <a:pt x="3559552" y="1453364"/>
                  </a:lnTo>
                  <a:lnTo>
                    <a:pt x="3740624" y="1534371"/>
                  </a:lnTo>
                  <a:lnTo>
                    <a:pt x="3978880" y="1805983"/>
                  </a:lnTo>
                  <a:lnTo>
                    <a:pt x="4093244" y="1891756"/>
                  </a:lnTo>
                  <a:lnTo>
                    <a:pt x="4302912" y="2191959"/>
                  </a:lnTo>
                  <a:lnTo>
                    <a:pt x="4364856" y="2234845"/>
                  </a:lnTo>
                  <a:lnTo>
                    <a:pt x="4388684" y="2244375"/>
                  </a:lnTo>
                  <a:lnTo>
                    <a:pt x="4407744" y="2211019"/>
                  </a:lnTo>
                  <a:lnTo>
                    <a:pt x="4417272" y="2168133"/>
                  </a:lnTo>
                  <a:lnTo>
                    <a:pt x="4422040" y="2115717"/>
                  </a:lnTo>
                  <a:lnTo>
                    <a:pt x="4407744" y="2049005"/>
                  </a:lnTo>
                  <a:lnTo>
                    <a:pt x="4402976" y="1972763"/>
                  </a:lnTo>
                  <a:lnTo>
                    <a:pt x="4402976" y="1882225"/>
                  </a:lnTo>
                  <a:lnTo>
                    <a:pt x="4417272" y="1705916"/>
                  </a:lnTo>
                  <a:lnTo>
                    <a:pt x="4450628" y="1643969"/>
                  </a:lnTo>
                  <a:lnTo>
                    <a:pt x="4464924" y="1577257"/>
                  </a:lnTo>
                  <a:lnTo>
                    <a:pt x="4450628" y="1458129"/>
                  </a:lnTo>
                  <a:lnTo>
                    <a:pt x="4412508" y="1372357"/>
                  </a:lnTo>
                  <a:lnTo>
                    <a:pt x="4260024" y="1148396"/>
                  </a:lnTo>
                  <a:lnTo>
                    <a:pt x="4260024" y="1119805"/>
                  </a:lnTo>
                  <a:lnTo>
                    <a:pt x="4288616" y="1091214"/>
                  </a:lnTo>
                  <a:lnTo>
                    <a:pt x="4336264" y="1072154"/>
                  </a:lnTo>
                  <a:lnTo>
                    <a:pt x="4712712" y="1129335"/>
                  </a:lnTo>
                  <a:lnTo>
                    <a:pt x="4779424" y="1148396"/>
                  </a:lnTo>
                  <a:lnTo>
                    <a:pt x="4808012" y="1167456"/>
                  </a:lnTo>
                  <a:lnTo>
                    <a:pt x="4817544" y="1191282"/>
                  </a:lnTo>
                  <a:lnTo>
                    <a:pt x="4831840" y="1205577"/>
                  </a:lnTo>
                  <a:lnTo>
                    <a:pt x="4912848" y="1172221"/>
                  </a:lnTo>
                  <a:lnTo>
                    <a:pt x="4912848" y="1119805"/>
                  </a:lnTo>
                  <a:lnTo>
                    <a:pt x="4903316" y="1081684"/>
                  </a:lnTo>
                  <a:lnTo>
                    <a:pt x="4464924" y="986381"/>
                  </a:lnTo>
                  <a:lnTo>
                    <a:pt x="4383916" y="953026"/>
                  </a:lnTo>
                  <a:lnTo>
                    <a:pt x="4341032" y="948260"/>
                  </a:lnTo>
                  <a:lnTo>
                    <a:pt x="4298144" y="972086"/>
                  </a:lnTo>
                  <a:lnTo>
                    <a:pt x="4207608" y="986381"/>
                  </a:lnTo>
                  <a:lnTo>
                    <a:pt x="4169488" y="981616"/>
                  </a:lnTo>
                  <a:lnTo>
                    <a:pt x="4117072" y="862488"/>
                  </a:lnTo>
                  <a:lnTo>
                    <a:pt x="4164720" y="719534"/>
                  </a:lnTo>
                  <a:lnTo>
                    <a:pt x="4202844" y="724299"/>
                  </a:lnTo>
                  <a:lnTo>
                    <a:pt x="4279084" y="781481"/>
                  </a:lnTo>
                  <a:lnTo>
                    <a:pt x="4326736" y="700474"/>
                  </a:lnTo>
                  <a:lnTo>
                    <a:pt x="4398212" y="633762"/>
                  </a:lnTo>
                  <a:lnTo>
                    <a:pt x="4469688" y="614702"/>
                  </a:lnTo>
                  <a:lnTo>
                    <a:pt x="4626940" y="471748"/>
                  </a:lnTo>
                  <a:lnTo>
                    <a:pt x="4655528" y="457452"/>
                  </a:lnTo>
                  <a:lnTo>
                    <a:pt x="4693652" y="466983"/>
                  </a:lnTo>
                  <a:lnTo>
                    <a:pt x="4774656" y="500338"/>
                  </a:lnTo>
                  <a:lnTo>
                    <a:pt x="4808012" y="538460"/>
                  </a:lnTo>
                  <a:lnTo>
                    <a:pt x="4841368" y="609936"/>
                  </a:lnTo>
                  <a:lnTo>
                    <a:pt x="4865196" y="633762"/>
                  </a:lnTo>
                  <a:lnTo>
                    <a:pt x="4889020" y="638527"/>
                  </a:lnTo>
                  <a:lnTo>
                    <a:pt x="4922376" y="671883"/>
                  </a:lnTo>
                  <a:lnTo>
                    <a:pt x="4974792" y="562285"/>
                  </a:lnTo>
                  <a:lnTo>
                    <a:pt x="5017680" y="443157"/>
                  </a:lnTo>
                  <a:lnTo>
                    <a:pt x="5070096" y="366915"/>
                  </a:lnTo>
                  <a:lnTo>
                    <a:pt x="5146336" y="409801"/>
                  </a:lnTo>
                  <a:lnTo>
                    <a:pt x="5189224" y="471748"/>
                  </a:lnTo>
                  <a:lnTo>
                    <a:pt x="5232108" y="538460"/>
                  </a:lnTo>
                  <a:lnTo>
                    <a:pt x="5294056" y="576581"/>
                  </a:lnTo>
                  <a:lnTo>
                    <a:pt x="5394124" y="805307"/>
                  </a:lnTo>
                  <a:lnTo>
                    <a:pt x="5413184" y="805307"/>
                  </a:lnTo>
                  <a:lnTo>
                    <a:pt x="5422716" y="786246"/>
                  </a:lnTo>
                  <a:lnTo>
                    <a:pt x="5432244" y="743360"/>
                  </a:lnTo>
                  <a:lnTo>
                    <a:pt x="5437012" y="681413"/>
                  </a:lnTo>
                  <a:lnTo>
                    <a:pt x="5451304" y="595641"/>
                  </a:lnTo>
                  <a:lnTo>
                    <a:pt x="5441776" y="562285"/>
                  </a:lnTo>
                  <a:lnTo>
                    <a:pt x="5356004" y="466983"/>
                  </a:lnTo>
                  <a:lnTo>
                    <a:pt x="5336944" y="428862"/>
                  </a:lnTo>
                  <a:lnTo>
                    <a:pt x="5322648" y="366915"/>
                  </a:lnTo>
                  <a:lnTo>
                    <a:pt x="5322648" y="314498"/>
                  </a:lnTo>
                  <a:lnTo>
                    <a:pt x="5336944" y="271612"/>
                  </a:lnTo>
                  <a:lnTo>
                    <a:pt x="5356004" y="252552"/>
                  </a:lnTo>
                  <a:lnTo>
                    <a:pt x="5408420" y="271612"/>
                  </a:lnTo>
                  <a:lnTo>
                    <a:pt x="5427480" y="257317"/>
                  </a:lnTo>
                  <a:lnTo>
                    <a:pt x="5446540" y="223961"/>
                  </a:lnTo>
                  <a:lnTo>
                    <a:pt x="5465600" y="157249"/>
                  </a:lnTo>
                  <a:lnTo>
                    <a:pt x="5484660" y="142954"/>
                  </a:lnTo>
                  <a:lnTo>
                    <a:pt x="5518016" y="138189"/>
                  </a:lnTo>
                  <a:lnTo>
                    <a:pt x="5575200" y="181075"/>
                  </a:lnTo>
                  <a:lnTo>
                    <a:pt x="5627616" y="185840"/>
                  </a:lnTo>
                  <a:lnTo>
                    <a:pt x="5641912" y="166780"/>
                  </a:lnTo>
                  <a:lnTo>
                    <a:pt x="5646676" y="123893"/>
                  </a:lnTo>
                  <a:lnTo>
                    <a:pt x="5651440" y="100068"/>
                  </a:lnTo>
                  <a:lnTo>
                    <a:pt x="5656208" y="85772"/>
                  </a:lnTo>
                  <a:lnTo>
                    <a:pt x="5837280" y="85772"/>
                  </a:lnTo>
                  <a:lnTo>
                    <a:pt x="5880168" y="76242"/>
                  </a:lnTo>
                  <a:lnTo>
                    <a:pt x="5918288" y="42886"/>
                  </a:lnTo>
                  <a:lnTo>
                    <a:pt x="5961176" y="38121"/>
                  </a:lnTo>
                  <a:lnTo>
                    <a:pt x="5999296" y="57182"/>
                  </a:lnTo>
                  <a:lnTo>
                    <a:pt x="6042180" y="100068"/>
                  </a:lnTo>
                  <a:lnTo>
                    <a:pt x="6089832" y="95303"/>
                  </a:lnTo>
                  <a:lnTo>
                    <a:pt x="6156544" y="3335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4" name="Freeform 5916">
              <a:extLst>
                <a:ext uri="{FF2B5EF4-FFF2-40B4-BE49-F238E27FC236}">
                  <a16:creationId xmlns:a16="http://schemas.microsoft.com/office/drawing/2014/main" id="{555776AA-0CF2-4A0E-8F36-2F7DC4F4CE8D}"/>
                </a:ext>
              </a:extLst>
            </p:cNvPr>
            <p:cNvSpPr/>
            <p:nvPr/>
          </p:nvSpPr>
          <p:spPr bwMode="auto">
            <a:xfrm>
              <a:off x="5773313" y="2520551"/>
              <a:ext cx="12334" cy="16188"/>
            </a:xfrm>
            <a:custGeom>
              <a:avLst/>
              <a:gdLst>
                <a:gd name="T0" fmla="*/ 28 w 32"/>
                <a:gd name="T1" fmla="*/ 32 h 42"/>
                <a:gd name="T2" fmla="*/ 32 w 32"/>
                <a:gd name="T3" fmla="*/ 16 h 42"/>
                <a:gd name="T4" fmla="*/ 30 w 32"/>
                <a:gd name="T5" fmla="*/ 10 h 42"/>
                <a:gd name="T6" fmla="*/ 26 w 32"/>
                <a:gd name="T7" fmla="*/ 0 h 42"/>
                <a:gd name="T8" fmla="*/ 4 w 32"/>
                <a:gd name="T9" fmla="*/ 2 h 42"/>
                <a:gd name="T10" fmla="*/ 0 w 32"/>
                <a:gd name="T11" fmla="*/ 8 h 42"/>
                <a:gd name="T12" fmla="*/ 8 w 32"/>
                <a:gd name="T13" fmla="*/ 28 h 42"/>
                <a:gd name="T14" fmla="*/ 20 w 32"/>
                <a:gd name="T15" fmla="*/ 42 h 42"/>
                <a:gd name="T16" fmla="*/ 28 w 32"/>
                <a:gd name="T17" fmla="*/ 3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28" y="32"/>
                  </a:moveTo>
                  <a:lnTo>
                    <a:pt x="32" y="16"/>
                  </a:lnTo>
                  <a:lnTo>
                    <a:pt x="30" y="10"/>
                  </a:lnTo>
                  <a:lnTo>
                    <a:pt x="26" y="0"/>
                  </a:lnTo>
                  <a:lnTo>
                    <a:pt x="4" y="2"/>
                  </a:lnTo>
                  <a:lnTo>
                    <a:pt x="0" y="8"/>
                  </a:lnTo>
                  <a:lnTo>
                    <a:pt x="8" y="28"/>
                  </a:lnTo>
                  <a:lnTo>
                    <a:pt x="20" y="42"/>
                  </a:lnTo>
                  <a:lnTo>
                    <a:pt x="28" y="3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315" name="Group 280">
              <a:extLst>
                <a:ext uri="{FF2B5EF4-FFF2-40B4-BE49-F238E27FC236}">
                  <a16:creationId xmlns:a16="http://schemas.microsoft.com/office/drawing/2014/main" id="{B00ADB1F-6F83-4961-81F5-66E34D1161F6}"/>
                </a:ext>
              </a:extLst>
            </p:cNvPr>
            <p:cNvGrpSpPr/>
            <p:nvPr/>
          </p:nvGrpSpPr>
          <p:grpSpPr>
            <a:xfrm>
              <a:off x="5565177" y="1811345"/>
              <a:ext cx="582783" cy="500299"/>
              <a:chOff x="30275606" y="4799043"/>
              <a:chExt cx="3602437" cy="3092567"/>
            </a:xfrm>
            <a:grpFill/>
          </p:grpSpPr>
          <p:sp>
            <p:nvSpPr>
              <p:cNvPr id="555" name="Freeform 5917">
                <a:extLst>
                  <a:ext uri="{FF2B5EF4-FFF2-40B4-BE49-F238E27FC236}">
                    <a16:creationId xmlns:a16="http://schemas.microsoft.com/office/drawing/2014/main" id="{4BE9D9BF-1167-4293-AFC2-9C204081A5C1}"/>
                  </a:ext>
                </a:extLst>
              </p:cNvPr>
              <p:cNvSpPr/>
              <p:nvPr/>
            </p:nvSpPr>
            <p:spPr bwMode="auto">
              <a:xfrm>
                <a:off x="31786150" y="6423951"/>
                <a:ext cx="729064" cy="995912"/>
              </a:xfrm>
              <a:custGeom>
                <a:avLst/>
                <a:gdLst>
                  <a:gd name="T0" fmla="*/ 80 w 306"/>
                  <a:gd name="T1" fmla="*/ 0 h 418"/>
                  <a:gd name="T2" fmla="*/ 8 w 306"/>
                  <a:gd name="T3" fmla="*/ 26 h 418"/>
                  <a:gd name="T4" fmla="*/ 10 w 306"/>
                  <a:gd name="T5" fmla="*/ 60 h 418"/>
                  <a:gd name="T6" fmla="*/ 20 w 306"/>
                  <a:gd name="T7" fmla="*/ 88 h 418"/>
                  <a:gd name="T8" fmla="*/ 40 w 306"/>
                  <a:gd name="T9" fmla="*/ 140 h 418"/>
                  <a:gd name="T10" fmla="*/ 64 w 306"/>
                  <a:gd name="T11" fmla="*/ 190 h 418"/>
                  <a:gd name="T12" fmla="*/ 90 w 306"/>
                  <a:gd name="T13" fmla="*/ 218 h 418"/>
                  <a:gd name="T14" fmla="*/ 72 w 306"/>
                  <a:gd name="T15" fmla="*/ 264 h 418"/>
                  <a:gd name="T16" fmla="*/ 64 w 306"/>
                  <a:gd name="T17" fmla="*/ 310 h 418"/>
                  <a:gd name="T18" fmla="*/ 46 w 306"/>
                  <a:gd name="T19" fmla="*/ 360 h 418"/>
                  <a:gd name="T20" fmla="*/ 106 w 306"/>
                  <a:gd name="T21" fmla="*/ 348 h 418"/>
                  <a:gd name="T22" fmla="*/ 134 w 306"/>
                  <a:gd name="T23" fmla="*/ 338 h 418"/>
                  <a:gd name="T24" fmla="*/ 146 w 306"/>
                  <a:gd name="T25" fmla="*/ 326 h 418"/>
                  <a:gd name="T26" fmla="*/ 162 w 306"/>
                  <a:gd name="T27" fmla="*/ 330 h 418"/>
                  <a:gd name="T28" fmla="*/ 160 w 306"/>
                  <a:gd name="T29" fmla="*/ 348 h 418"/>
                  <a:gd name="T30" fmla="*/ 148 w 306"/>
                  <a:gd name="T31" fmla="*/ 390 h 418"/>
                  <a:gd name="T32" fmla="*/ 144 w 306"/>
                  <a:gd name="T33" fmla="*/ 402 h 418"/>
                  <a:gd name="T34" fmla="*/ 168 w 306"/>
                  <a:gd name="T35" fmla="*/ 414 h 418"/>
                  <a:gd name="T36" fmla="*/ 182 w 306"/>
                  <a:gd name="T37" fmla="*/ 390 h 418"/>
                  <a:gd name="T38" fmla="*/ 206 w 306"/>
                  <a:gd name="T39" fmla="*/ 384 h 418"/>
                  <a:gd name="T40" fmla="*/ 230 w 306"/>
                  <a:gd name="T41" fmla="*/ 358 h 418"/>
                  <a:gd name="T42" fmla="*/ 244 w 306"/>
                  <a:gd name="T43" fmla="*/ 330 h 418"/>
                  <a:gd name="T44" fmla="*/ 256 w 306"/>
                  <a:gd name="T45" fmla="*/ 298 h 418"/>
                  <a:gd name="T46" fmla="*/ 284 w 306"/>
                  <a:gd name="T47" fmla="*/ 244 h 418"/>
                  <a:gd name="T48" fmla="*/ 240 w 306"/>
                  <a:gd name="T49" fmla="*/ 236 h 418"/>
                  <a:gd name="T50" fmla="*/ 204 w 306"/>
                  <a:gd name="T51" fmla="*/ 206 h 418"/>
                  <a:gd name="T52" fmla="*/ 192 w 306"/>
                  <a:gd name="T53" fmla="*/ 164 h 418"/>
                  <a:gd name="T54" fmla="*/ 212 w 306"/>
                  <a:gd name="T55" fmla="*/ 146 h 418"/>
                  <a:gd name="T56" fmla="*/ 190 w 306"/>
                  <a:gd name="T57" fmla="*/ 116 h 418"/>
                  <a:gd name="T58" fmla="*/ 164 w 306"/>
                  <a:gd name="T59" fmla="*/ 116 h 418"/>
                  <a:gd name="T60" fmla="*/ 136 w 306"/>
                  <a:gd name="T61" fmla="*/ 120 h 418"/>
                  <a:gd name="T62" fmla="*/ 120 w 306"/>
                  <a:gd name="T63" fmla="*/ 6 h 418"/>
                  <a:gd name="T64" fmla="*/ 90 w 306"/>
                  <a:gd name="T65" fmla="*/ 0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6" h="418">
                    <a:moveTo>
                      <a:pt x="90" y="0"/>
                    </a:moveTo>
                    <a:lnTo>
                      <a:pt x="80" y="0"/>
                    </a:lnTo>
                    <a:lnTo>
                      <a:pt x="54" y="12"/>
                    </a:lnTo>
                    <a:lnTo>
                      <a:pt x="8" y="26"/>
                    </a:lnTo>
                    <a:lnTo>
                      <a:pt x="0" y="38"/>
                    </a:lnTo>
                    <a:lnTo>
                      <a:pt x="10" y="60"/>
                    </a:lnTo>
                    <a:lnTo>
                      <a:pt x="22" y="58"/>
                    </a:lnTo>
                    <a:lnTo>
                      <a:pt x="20" y="88"/>
                    </a:lnTo>
                    <a:lnTo>
                      <a:pt x="36" y="112"/>
                    </a:lnTo>
                    <a:lnTo>
                      <a:pt x="40" y="140"/>
                    </a:lnTo>
                    <a:lnTo>
                      <a:pt x="54" y="174"/>
                    </a:lnTo>
                    <a:lnTo>
                      <a:pt x="64" y="190"/>
                    </a:lnTo>
                    <a:lnTo>
                      <a:pt x="94" y="216"/>
                    </a:lnTo>
                    <a:lnTo>
                      <a:pt x="90" y="218"/>
                    </a:lnTo>
                    <a:lnTo>
                      <a:pt x="80" y="252"/>
                    </a:lnTo>
                    <a:lnTo>
                      <a:pt x="72" y="264"/>
                    </a:lnTo>
                    <a:lnTo>
                      <a:pt x="68" y="282"/>
                    </a:lnTo>
                    <a:lnTo>
                      <a:pt x="64" y="310"/>
                    </a:lnTo>
                    <a:lnTo>
                      <a:pt x="42" y="328"/>
                    </a:lnTo>
                    <a:lnTo>
                      <a:pt x="46" y="360"/>
                    </a:lnTo>
                    <a:lnTo>
                      <a:pt x="54" y="364"/>
                    </a:lnTo>
                    <a:lnTo>
                      <a:pt x="106" y="348"/>
                    </a:lnTo>
                    <a:lnTo>
                      <a:pt x="120" y="346"/>
                    </a:lnTo>
                    <a:lnTo>
                      <a:pt x="134" y="338"/>
                    </a:lnTo>
                    <a:lnTo>
                      <a:pt x="142" y="326"/>
                    </a:lnTo>
                    <a:lnTo>
                      <a:pt x="146" y="326"/>
                    </a:lnTo>
                    <a:lnTo>
                      <a:pt x="158" y="332"/>
                    </a:lnTo>
                    <a:lnTo>
                      <a:pt x="162" y="330"/>
                    </a:lnTo>
                    <a:lnTo>
                      <a:pt x="164" y="336"/>
                    </a:lnTo>
                    <a:lnTo>
                      <a:pt x="160" y="348"/>
                    </a:lnTo>
                    <a:lnTo>
                      <a:pt x="146" y="368"/>
                    </a:lnTo>
                    <a:lnTo>
                      <a:pt x="148" y="390"/>
                    </a:lnTo>
                    <a:lnTo>
                      <a:pt x="146" y="398"/>
                    </a:lnTo>
                    <a:lnTo>
                      <a:pt x="144" y="402"/>
                    </a:lnTo>
                    <a:lnTo>
                      <a:pt x="152" y="418"/>
                    </a:lnTo>
                    <a:lnTo>
                      <a:pt x="168" y="414"/>
                    </a:lnTo>
                    <a:lnTo>
                      <a:pt x="176" y="404"/>
                    </a:lnTo>
                    <a:lnTo>
                      <a:pt x="182" y="390"/>
                    </a:lnTo>
                    <a:lnTo>
                      <a:pt x="188" y="382"/>
                    </a:lnTo>
                    <a:lnTo>
                      <a:pt x="206" y="384"/>
                    </a:lnTo>
                    <a:lnTo>
                      <a:pt x="216" y="378"/>
                    </a:lnTo>
                    <a:lnTo>
                      <a:pt x="230" y="358"/>
                    </a:lnTo>
                    <a:lnTo>
                      <a:pt x="236" y="348"/>
                    </a:lnTo>
                    <a:lnTo>
                      <a:pt x="244" y="330"/>
                    </a:lnTo>
                    <a:lnTo>
                      <a:pt x="252" y="308"/>
                    </a:lnTo>
                    <a:lnTo>
                      <a:pt x="256" y="298"/>
                    </a:lnTo>
                    <a:lnTo>
                      <a:pt x="306" y="268"/>
                    </a:lnTo>
                    <a:lnTo>
                      <a:pt x="284" y="244"/>
                    </a:lnTo>
                    <a:lnTo>
                      <a:pt x="264" y="224"/>
                    </a:lnTo>
                    <a:lnTo>
                      <a:pt x="240" y="236"/>
                    </a:lnTo>
                    <a:lnTo>
                      <a:pt x="226" y="232"/>
                    </a:lnTo>
                    <a:lnTo>
                      <a:pt x="204" y="206"/>
                    </a:lnTo>
                    <a:lnTo>
                      <a:pt x="190" y="196"/>
                    </a:lnTo>
                    <a:lnTo>
                      <a:pt x="192" y="164"/>
                    </a:lnTo>
                    <a:lnTo>
                      <a:pt x="206" y="154"/>
                    </a:lnTo>
                    <a:lnTo>
                      <a:pt x="212" y="146"/>
                    </a:lnTo>
                    <a:lnTo>
                      <a:pt x="204" y="134"/>
                    </a:lnTo>
                    <a:lnTo>
                      <a:pt x="190" y="116"/>
                    </a:lnTo>
                    <a:lnTo>
                      <a:pt x="182" y="112"/>
                    </a:lnTo>
                    <a:lnTo>
                      <a:pt x="164" y="116"/>
                    </a:lnTo>
                    <a:lnTo>
                      <a:pt x="146" y="124"/>
                    </a:lnTo>
                    <a:lnTo>
                      <a:pt x="136" y="120"/>
                    </a:lnTo>
                    <a:lnTo>
                      <a:pt x="130" y="62"/>
                    </a:lnTo>
                    <a:lnTo>
                      <a:pt x="120" y="6"/>
                    </a:lnTo>
                    <a:lnTo>
                      <a:pt x="100" y="8"/>
                    </a:lnTo>
                    <a:lnTo>
                      <a:pt x="9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6" name="Freeform 5918">
                <a:extLst>
                  <a:ext uri="{FF2B5EF4-FFF2-40B4-BE49-F238E27FC236}">
                    <a16:creationId xmlns:a16="http://schemas.microsoft.com/office/drawing/2014/main" id="{5DE920A9-4BDA-4790-BAA9-6542322697F5}"/>
                  </a:ext>
                </a:extLst>
              </p:cNvPr>
              <p:cNvSpPr/>
              <p:nvPr/>
            </p:nvSpPr>
            <p:spPr bwMode="auto">
              <a:xfrm>
                <a:off x="32753471" y="6252407"/>
                <a:ext cx="90537" cy="133424"/>
              </a:xfrm>
              <a:custGeom>
                <a:avLst/>
                <a:gdLst>
                  <a:gd name="T0" fmla="*/ 30 w 38"/>
                  <a:gd name="T1" fmla="*/ 54 h 56"/>
                  <a:gd name="T2" fmla="*/ 38 w 38"/>
                  <a:gd name="T3" fmla="*/ 38 h 56"/>
                  <a:gd name="T4" fmla="*/ 24 w 38"/>
                  <a:gd name="T5" fmla="*/ 30 h 56"/>
                  <a:gd name="T6" fmla="*/ 10 w 38"/>
                  <a:gd name="T7" fmla="*/ 0 h 56"/>
                  <a:gd name="T8" fmla="*/ 2 w 38"/>
                  <a:gd name="T9" fmla="*/ 0 h 56"/>
                  <a:gd name="T10" fmla="*/ 0 w 38"/>
                  <a:gd name="T11" fmla="*/ 10 h 56"/>
                  <a:gd name="T12" fmla="*/ 2 w 38"/>
                  <a:gd name="T13" fmla="*/ 30 h 56"/>
                  <a:gd name="T14" fmla="*/ 20 w 38"/>
                  <a:gd name="T15" fmla="*/ 56 h 56"/>
                  <a:gd name="T16" fmla="*/ 30 w 38"/>
                  <a:gd name="T17" fmla="*/ 5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56">
                    <a:moveTo>
                      <a:pt x="30" y="54"/>
                    </a:moveTo>
                    <a:lnTo>
                      <a:pt x="38" y="38"/>
                    </a:lnTo>
                    <a:lnTo>
                      <a:pt x="24" y="30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10"/>
                    </a:lnTo>
                    <a:lnTo>
                      <a:pt x="2" y="30"/>
                    </a:lnTo>
                    <a:lnTo>
                      <a:pt x="20" y="56"/>
                    </a:lnTo>
                    <a:lnTo>
                      <a:pt x="30" y="54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7" name="Freeform 5919">
                <a:extLst>
                  <a:ext uri="{FF2B5EF4-FFF2-40B4-BE49-F238E27FC236}">
                    <a16:creationId xmlns:a16="http://schemas.microsoft.com/office/drawing/2014/main" id="{BC4A9877-E0B1-4C49-A5C9-F8A1FB132C66}"/>
                  </a:ext>
                </a:extLst>
              </p:cNvPr>
              <p:cNvSpPr/>
              <p:nvPr/>
            </p:nvSpPr>
            <p:spPr bwMode="auto">
              <a:xfrm>
                <a:off x="30275606" y="6176165"/>
                <a:ext cx="243021" cy="533694"/>
              </a:xfrm>
              <a:custGeom>
                <a:avLst/>
                <a:gdLst>
                  <a:gd name="T0" fmla="*/ 46 w 102"/>
                  <a:gd name="T1" fmla="*/ 100 h 224"/>
                  <a:gd name="T2" fmla="*/ 40 w 102"/>
                  <a:gd name="T3" fmla="*/ 90 h 224"/>
                  <a:gd name="T4" fmla="*/ 34 w 102"/>
                  <a:gd name="T5" fmla="*/ 74 h 224"/>
                  <a:gd name="T6" fmla="*/ 40 w 102"/>
                  <a:gd name="T7" fmla="*/ 62 h 224"/>
                  <a:gd name="T8" fmla="*/ 38 w 102"/>
                  <a:gd name="T9" fmla="*/ 52 h 224"/>
                  <a:gd name="T10" fmla="*/ 26 w 102"/>
                  <a:gd name="T11" fmla="*/ 20 h 224"/>
                  <a:gd name="T12" fmla="*/ 14 w 102"/>
                  <a:gd name="T13" fmla="*/ 6 h 224"/>
                  <a:gd name="T14" fmla="*/ 0 w 102"/>
                  <a:gd name="T15" fmla="*/ 0 h 224"/>
                  <a:gd name="T16" fmla="*/ 0 w 102"/>
                  <a:gd name="T17" fmla="*/ 24 h 224"/>
                  <a:gd name="T18" fmla="*/ 4 w 102"/>
                  <a:gd name="T19" fmla="*/ 52 h 224"/>
                  <a:gd name="T20" fmla="*/ 16 w 102"/>
                  <a:gd name="T21" fmla="*/ 74 h 224"/>
                  <a:gd name="T22" fmla="*/ 18 w 102"/>
                  <a:gd name="T23" fmla="*/ 88 h 224"/>
                  <a:gd name="T24" fmla="*/ 38 w 102"/>
                  <a:gd name="T25" fmla="*/ 148 h 224"/>
                  <a:gd name="T26" fmla="*/ 42 w 102"/>
                  <a:gd name="T27" fmla="*/ 154 h 224"/>
                  <a:gd name="T28" fmla="*/ 54 w 102"/>
                  <a:gd name="T29" fmla="*/ 156 h 224"/>
                  <a:gd name="T30" fmla="*/ 68 w 102"/>
                  <a:gd name="T31" fmla="*/ 172 h 224"/>
                  <a:gd name="T32" fmla="*/ 78 w 102"/>
                  <a:gd name="T33" fmla="*/ 192 h 224"/>
                  <a:gd name="T34" fmla="*/ 92 w 102"/>
                  <a:gd name="T35" fmla="*/ 224 h 224"/>
                  <a:gd name="T36" fmla="*/ 102 w 102"/>
                  <a:gd name="T37" fmla="*/ 222 h 224"/>
                  <a:gd name="T38" fmla="*/ 98 w 102"/>
                  <a:gd name="T39" fmla="*/ 200 h 224"/>
                  <a:gd name="T40" fmla="*/ 90 w 102"/>
                  <a:gd name="T41" fmla="*/ 176 h 224"/>
                  <a:gd name="T42" fmla="*/ 88 w 102"/>
                  <a:gd name="T43" fmla="*/ 166 h 224"/>
                  <a:gd name="T44" fmla="*/ 84 w 102"/>
                  <a:gd name="T45" fmla="*/ 156 h 224"/>
                  <a:gd name="T46" fmla="*/ 70 w 102"/>
                  <a:gd name="T47" fmla="*/ 144 h 224"/>
                  <a:gd name="T48" fmla="*/ 56 w 102"/>
                  <a:gd name="T49" fmla="*/ 120 h 224"/>
                  <a:gd name="T50" fmla="*/ 46 w 102"/>
                  <a:gd name="T51" fmla="*/ 122 h 224"/>
                  <a:gd name="T52" fmla="*/ 46 w 102"/>
                  <a:gd name="T53" fmla="*/ 100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2" h="224">
                    <a:moveTo>
                      <a:pt x="46" y="100"/>
                    </a:moveTo>
                    <a:lnTo>
                      <a:pt x="40" y="90"/>
                    </a:lnTo>
                    <a:lnTo>
                      <a:pt x="34" y="74"/>
                    </a:lnTo>
                    <a:lnTo>
                      <a:pt x="40" y="62"/>
                    </a:lnTo>
                    <a:lnTo>
                      <a:pt x="38" y="52"/>
                    </a:lnTo>
                    <a:lnTo>
                      <a:pt x="26" y="20"/>
                    </a:lnTo>
                    <a:lnTo>
                      <a:pt x="14" y="6"/>
                    </a:lnTo>
                    <a:lnTo>
                      <a:pt x="0" y="0"/>
                    </a:lnTo>
                    <a:lnTo>
                      <a:pt x="0" y="24"/>
                    </a:lnTo>
                    <a:lnTo>
                      <a:pt x="4" y="52"/>
                    </a:lnTo>
                    <a:lnTo>
                      <a:pt x="16" y="74"/>
                    </a:lnTo>
                    <a:lnTo>
                      <a:pt x="18" y="88"/>
                    </a:lnTo>
                    <a:lnTo>
                      <a:pt x="38" y="148"/>
                    </a:lnTo>
                    <a:lnTo>
                      <a:pt x="42" y="154"/>
                    </a:lnTo>
                    <a:lnTo>
                      <a:pt x="54" y="156"/>
                    </a:lnTo>
                    <a:lnTo>
                      <a:pt x="68" y="172"/>
                    </a:lnTo>
                    <a:lnTo>
                      <a:pt x="78" y="192"/>
                    </a:lnTo>
                    <a:lnTo>
                      <a:pt x="92" y="224"/>
                    </a:lnTo>
                    <a:lnTo>
                      <a:pt x="102" y="222"/>
                    </a:lnTo>
                    <a:lnTo>
                      <a:pt x="98" y="200"/>
                    </a:lnTo>
                    <a:lnTo>
                      <a:pt x="90" y="176"/>
                    </a:lnTo>
                    <a:lnTo>
                      <a:pt x="88" y="166"/>
                    </a:lnTo>
                    <a:lnTo>
                      <a:pt x="84" y="156"/>
                    </a:lnTo>
                    <a:lnTo>
                      <a:pt x="70" y="144"/>
                    </a:lnTo>
                    <a:lnTo>
                      <a:pt x="56" y="120"/>
                    </a:lnTo>
                    <a:lnTo>
                      <a:pt x="46" y="122"/>
                    </a:lnTo>
                    <a:lnTo>
                      <a:pt x="46" y="10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8" name="Freeform 5920">
                <a:extLst>
                  <a:ext uri="{FF2B5EF4-FFF2-40B4-BE49-F238E27FC236}">
                    <a16:creationId xmlns:a16="http://schemas.microsoft.com/office/drawing/2014/main" id="{5E55E0BC-92E1-42BD-81F2-05EB9B6E0854}"/>
                  </a:ext>
                </a:extLst>
              </p:cNvPr>
              <p:cNvSpPr/>
              <p:nvPr/>
            </p:nvSpPr>
            <p:spPr bwMode="auto">
              <a:xfrm>
                <a:off x="32982198" y="6123748"/>
                <a:ext cx="281143" cy="114363"/>
              </a:xfrm>
              <a:custGeom>
                <a:avLst/>
                <a:gdLst>
                  <a:gd name="T0" fmla="*/ 76 w 118"/>
                  <a:gd name="T1" fmla="*/ 20 h 48"/>
                  <a:gd name="T2" fmla="*/ 64 w 118"/>
                  <a:gd name="T3" fmla="*/ 0 h 48"/>
                  <a:gd name="T4" fmla="*/ 42 w 118"/>
                  <a:gd name="T5" fmla="*/ 2 h 48"/>
                  <a:gd name="T6" fmla="*/ 34 w 118"/>
                  <a:gd name="T7" fmla="*/ 2 h 48"/>
                  <a:gd name="T8" fmla="*/ 32 w 118"/>
                  <a:gd name="T9" fmla="*/ 14 h 48"/>
                  <a:gd name="T10" fmla="*/ 16 w 118"/>
                  <a:gd name="T11" fmla="*/ 22 h 48"/>
                  <a:gd name="T12" fmla="*/ 0 w 118"/>
                  <a:gd name="T13" fmla="*/ 40 h 48"/>
                  <a:gd name="T14" fmla="*/ 10 w 118"/>
                  <a:gd name="T15" fmla="*/ 48 h 48"/>
                  <a:gd name="T16" fmla="*/ 40 w 118"/>
                  <a:gd name="T17" fmla="*/ 28 h 48"/>
                  <a:gd name="T18" fmla="*/ 66 w 118"/>
                  <a:gd name="T19" fmla="*/ 30 h 48"/>
                  <a:gd name="T20" fmla="*/ 94 w 118"/>
                  <a:gd name="T21" fmla="*/ 40 h 48"/>
                  <a:gd name="T22" fmla="*/ 118 w 118"/>
                  <a:gd name="T23" fmla="*/ 22 h 48"/>
                  <a:gd name="T24" fmla="*/ 116 w 118"/>
                  <a:gd name="T25" fmla="*/ 16 h 48"/>
                  <a:gd name="T26" fmla="*/ 96 w 118"/>
                  <a:gd name="T27" fmla="*/ 22 h 48"/>
                  <a:gd name="T28" fmla="*/ 76 w 118"/>
                  <a:gd name="T29" fmla="*/ 2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8" h="48">
                    <a:moveTo>
                      <a:pt x="76" y="20"/>
                    </a:moveTo>
                    <a:lnTo>
                      <a:pt x="64" y="0"/>
                    </a:lnTo>
                    <a:lnTo>
                      <a:pt x="42" y="2"/>
                    </a:lnTo>
                    <a:lnTo>
                      <a:pt x="34" y="2"/>
                    </a:lnTo>
                    <a:lnTo>
                      <a:pt x="32" y="14"/>
                    </a:lnTo>
                    <a:lnTo>
                      <a:pt x="16" y="22"/>
                    </a:lnTo>
                    <a:lnTo>
                      <a:pt x="0" y="40"/>
                    </a:lnTo>
                    <a:lnTo>
                      <a:pt x="10" y="48"/>
                    </a:lnTo>
                    <a:lnTo>
                      <a:pt x="40" y="28"/>
                    </a:lnTo>
                    <a:lnTo>
                      <a:pt x="66" y="30"/>
                    </a:lnTo>
                    <a:lnTo>
                      <a:pt x="94" y="40"/>
                    </a:lnTo>
                    <a:lnTo>
                      <a:pt x="118" y="22"/>
                    </a:lnTo>
                    <a:lnTo>
                      <a:pt x="116" y="16"/>
                    </a:lnTo>
                    <a:lnTo>
                      <a:pt x="96" y="22"/>
                    </a:lnTo>
                    <a:lnTo>
                      <a:pt x="76" y="2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9" name="Freeform 5921">
                <a:extLst>
                  <a:ext uri="{FF2B5EF4-FFF2-40B4-BE49-F238E27FC236}">
                    <a16:creationId xmlns:a16="http://schemas.microsoft.com/office/drawing/2014/main" id="{4123A312-CD0C-4E19-AE91-EEBF0D48B3FC}"/>
                  </a:ext>
                </a:extLst>
              </p:cNvPr>
              <p:cNvSpPr/>
              <p:nvPr/>
            </p:nvSpPr>
            <p:spPr bwMode="auto">
              <a:xfrm>
                <a:off x="30294666" y="5194548"/>
                <a:ext cx="1672560" cy="2697062"/>
              </a:xfrm>
              <a:custGeom>
                <a:avLst/>
                <a:gdLst>
                  <a:gd name="T0" fmla="*/ 356 w 702"/>
                  <a:gd name="T1" fmla="*/ 16 h 1132"/>
                  <a:gd name="T2" fmla="*/ 338 w 702"/>
                  <a:gd name="T3" fmla="*/ 128 h 1132"/>
                  <a:gd name="T4" fmla="*/ 366 w 702"/>
                  <a:gd name="T5" fmla="*/ 340 h 1132"/>
                  <a:gd name="T6" fmla="*/ 326 w 702"/>
                  <a:gd name="T7" fmla="*/ 298 h 1132"/>
                  <a:gd name="T8" fmla="*/ 256 w 702"/>
                  <a:gd name="T9" fmla="*/ 94 h 1132"/>
                  <a:gd name="T10" fmla="*/ 218 w 702"/>
                  <a:gd name="T11" fmla="*/ 210 h 1132"/>
                  <a:gd name="T12" fmla="*/ 206 w 702"/>
                  <a:gd name="T13" fmla="*/ 248 h 1132"/>
                  <a:gd name="T14" fmla="*/ 174 w 702"/>
                  <a:gd name="T15" fmla="*/ 176 h 1132"/>
                  <a:gd name="T16" fmla="*/ 212 w 702"/>
                  <a:gd name="T17" fmla="*/ 112 h 1132"/>
                  <a:gd name="T18" fmla="*/ 160 w 702"/>
                  <a:gd name="T19" fmla="*/ 82 h 1132"/>
                  <a:gd name="T20" fmla="*/ 102 w 702"/>
                  <a:gd name="T21" fmla="*/ 112 h 1132"/>
                  <a:gd name="T22" fmla="*/ 44 w 702"/>
                  <a:gd name="T23" fmla="*/ 94 h 1132"/>
                  <a:gd name="T24" fmla="*/ 12 w 702"/>
                  <a:gd name="T25" fmla="*/ 96 h 1132"/>
                  <a:gd name="T26" fmla="*/ 6 w 702"/>
                  <a:gd name="T27" fmla="*/ 134 h 1132"/>
                  <a:gd name="T28" fmla="*/ 10 w 702"/>
                  <a:gd name="T29" fmla="*/ 218 h 1132"/>
                  <a:gd name="T30" fmla="*/ 36 w 702"/>
                  <a:gd name="T31" fmla="*/ 334 h 1132"/>
                  <a:gd name="T32" fmla="*/ 66 w 702"/>
                  <a:gd name="T33" fmla="*/ 278 h 1132"/>
                  <a:gd name="T34" fmla="*/ 80 w 702"/>
                  <a:gd name="T35" fmla="*/ 340 h 1132"/>
                  <a:gd name="T36" fmla="*/ 104 w 702"/>
                  <a:gd name="T37" fmla="*/ 388 h 1132"/>
                  <a:gd name="T38" fmla="*/ 58 w 702"/>
                  <a:gd name="T39" fmla="*/ 386 h 1132"/>
                  <a:gd name="T40" fmla="*/ 70 w 702"/>
                  <a:gd name="T41" fmla="*/ 444 h 1132"/>
                  <a:gd name="T42" fmla="*/ 96 w 702"/>
                  <a:gd name="T43" fmla="*/ 512 h 1132"/>
                  <a:gd name="T44" fmla="*/ 144 w 702"/>
                  <a:gd name="T45" fmla="*/ 602 h 1132"/>
                  <a:gd name="T46" fmla="*/ 226 w 702"/>
                  <a:gd name="T47" fmla="*/ 622 h 1132"/>
                  <a:gd name="T48" fmla="*/ 254 w 702"/>
                  <a:gd name="T49" fmla="*/ 560 h 1132"/>
                  <a:gd name="T50" fmla="*/ 248 w 702"/>
                  <a:gd name="T51" fmla="*/ 490 h 1132"/>
                  <a:gd name="T52" fmla="*/ 272 w 702"/>
                  <a:gd name="T53" fmla="*/ 492 h 1132"/>
                  <a:gd name="T54" fmla="*/ 304 w 702"/>
                  <a:gd name="T55" fmla="*/ 454 h 1132"/>
                  <a:gd name="T56" fmla="*/ 300 w 702"/>
                  <a:gd name="T57" fmla="*/ 518 h 1132"/>
                  <a:gd name="T58" fmla="*/ 346 w 702"/>
                  <a:gd name="T59" fmla="*/ 550 h 1132"/>
                  <a:gd name="T60" fmla="*/ 394 w 702"/>
                  <a:gd name="T61" fmla="*/ 510 h 1132"/>
                  <a:gd name="T62" fmla="*/ 414 w 702"/>
                  <a:gd name="T63" fmla="*/ 580 h 1132"/>
                  <a:gd name="T64" fmla="*/ 340 w 702"/>
                  <a:gd name="T65" fmla="*/ 600 h 1132"/>
                  <a:gd name="T66" fmla="*/ 318 w 702"/>
                  <a:gd name="T67" fmla="*/ 634 h 1132"/>
                  <a:gd name="T68" fmla="*/ 220 w 702"/>
                  <a:gd name="T69" fmla="*/ 688 h 1132"/>
                  <a:gd name="T70" fmla="*/ 196 w 702"/>
                  <a:gd name="T71" fmla="*/ 700 h 1132"/>
                  <a:gd name="T72" fmla="*/ 224 w 702"/>
                  <a:gd name="T73" fmla="*/ 780 h 1132"/>
                  <a:gd name="T74" fmla="*/ 322 w 702"/>
                  <a:gd name="T75" fmla="*/ 750 h 1132"/>
                  <a:gd name="T76" fmla="*/ 408 w 702"/>
                  <a:gd name="T77" fmla="*/ 740 h 1132"/>
                  <a:gd name="T78" fmla="*/ 278 w 702"/>
                  <a:gd name="T79" fmla="*/ 806 h 1132"/>
                  <a:gd name="T80" fmla="*/ 222 w 702"/>
                  <a:gd name="T81" fmla="*/ 844 h 1132"/>
                  <a:gd name="T82" fmla="*/ 228 w 702"/>
                  <a:gd name="T83" fmla="*/ 912 h 1132"/>
                  <a:gd name="T84" fmla="*/ 292 w 702"/>
                  <a:gd name="T85" fmla="*/ 986 h 1132"/>
                  <a:gd name="T86" fmla="*/ 372 w 702"/>
                  <a:gd name="T87" fmla="*/ 1114 h 1132"/>
                  <a:gd name="T88" fmla="*/ 416 w 702"/>
                  <a:gd name="T89" fmla="*/ 1092 h 1132"/>
                  <a:gd name="T90" fmla="*/ 426 w 702"/>
                  <a:gd name="T91" fmla="*/ 1008 h 1132"/>
                  <a:gd name="T92" fmla="*/ 470 w 702"/>
                  <a:gd name="T93" fmla="*/ 864 h 1132"/>
                  <a:gd name="T94" fmla="*/ 506 w 702"/>
                  <a:gd name="T95" fmla="*/ 774 h 1132"/>
                  <a:gd name="T96" fmla="*/ 526 w 702"/>
                  <a:gd name="T97" fmla="*/ 696 h 1132"/>
                  <a:gd name="T98" fmla="*/ 544 w 702"/>
                  <a:gd name="T99" fmla="*/ 634 h 1132"/>
                  <a:gd name="T100" fmla="*/ 588 w 702"/>
                  <a:gd name="T101" fmla="*/ 516 h 1132"/>
                  <a:gd name="T102" fmla="*/ 682 w 702"/>
                  <a:gd name="T103" fmla="*/ 490 h 1132"/>
                  <a:gd name="T104" fmla="*/ 682 w 702"/>
                  <a:gd name="T105" fmla="*/ 430 h 1132"/>
                  <a:gd name="T106" fmla="*/ 642 w 702"/>
                  <a:gd name="T107" fmla="*/ 336 h 1132"/>
                  <a:gd name="T108" fmla="*/ 594 w 702"/>
                  <a:gd name="T109" fmla="*/ 328 h 1132"/>
                  <a:gd name="T110" fmla="*/ 530 w 702"/>
                  <a:gd name="T111" fmla="*/ 290 h 1132"/>
                  <a:gd name="T112" fmla="*/ 534 w 702"/>
                  <a:gd name="T113" fmla="*/ 246 h 1132"/>
                  <a:gd name="T114" fmla="*/ 506 w 702"/>
                  <a:gd name="T115" fmla="*/ 166 h 1132"/>
                  <a:gd name="T116" fmla="*/ 462 w 702"/>
                  <a:gd name="T117" fmla="*/ 228 h 1132"/>
                  <a:gd name="T118" fmla="*/ 478 w 702"/>
                  <a:gd name="T119" fmla="*/ 130 h 1132"/>
                  <a:gd name="T120" fmla="*/ 412 w 702"/>
                  <a:gd name="T121" fmla="*/ 36 h 1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02" h="1132">
                    <a:moveTo>
                      <a:pt x="400" y="54"/>
                    </a:moveTo>
                    <a:lnTo>
                      <a:pt x="384" y="12"/>
                    </a:lnTo>
                    <a:lnTo>
                      <a:pt x="374" y="0"/>
                    </a:lnTo>
                    <a:lnTo>
                      <a:pt x="366" y="0"/>
                    </a:lnTo>
                    <a:lnTo>
                      <a:pt x="356" y="16"/>
                    </a:lnTo>
                    <a:lnTo>
                      <a:pt x="352" y="36"/>
                    </a:lnTo>
                    <a:lnTo>
                      <a:pt x="356" y="64"/>
                    </a:lnTo>
                    <a:lnTo>
                      <a:pt x="346" y="82"/>
                    </a:lnTo>
                    <a:lnTo>
                      <a:pt x="338" y="118"/>
                    </a:lnTo>
                    <a:lnTo>
                      <a:pt x="338" y="128"/>
                    </a:lnTo>
                    <a:lnTo>
                      <a:pt x="336" y="138"/>
                    </a:lnTo>
                    <a:lnTo>
                      <a:pt x="338" y="172"/>
                    </a:lnTo>
                    <a:lnTo>
                      <a:pt x="340" y="198"/>
                    </a:lnTo>
                    <a:lnTo>
                      <a:pt x="350" y="260"/>
                    </a:lnTo>
                    <a:lnTo>
                      <a:pt x="366" y="340"/>
                    </a:lnTo>
                    <a:lnTo>
                      <a:pt x="372" y="388"/>
                    </a:lnTo>
                    <a:lnTo>
                      <a:pt x="368" y="386"/>
                    </a:lnTo>
                    <a:lnTo>
                      <a:pt x="340" y="324"/>
                    </a:lnTo>
                    <a:lnTo>
                      <a:pt x="334" y="320"/>
                    </a:lnTo>
                    <a:lnTo>
                      <a:pt x="326" y="298"/>
                    </a:lnTo>
                    <a:lnTo>
                      <a:pt x="312" y="238"/>
                    </a:lnTo>
                    <a:lnTo>
                      <a:pt x="300" y="188"/>
                    </a:lnTo>
                    <a:lnTo>
                      <a:pt x="286" y="140"/>
                    </a:lnTo>
                    <a:lnTo>
                      <a:pt x="272" y="106"/>
                    </a:lnTo>
                    <a:lnTo>
                      <a:pt x="256" y="94"/>
                    </a:lnTo>
                    <a:lnTo>
                      <a:pt x="242" y="122"/>
                    </a:lnTo>
                    <a:lnTo>
                      <a:pt x="230" y="162"/>
                    </a:lnTo>
                    <a:lnTo>
                      <a:pt x="220" y="172"/>
                    </a:lnTo>
                    <a:lnTo>
                      <a:pt x="220" y="190"/>
                    </a:lnTo>
                    <a:lnTo>
                      <a:pt x="218" y="210"/>
                    </a:lnTo>
                    <a:lnTo>
                      <a:pt x="220" y="230"/>
                    </a:lnTo>
                    <a:lnTo>
                      <a:pt x="222" y="246"/>
                    </a:lnTo>
                    <a:lnTo>
                      <a:pt x="220" y="260"/>
                    </a:lnTo>
                    <a:lnTo>
                      <a:pt x="216" y="262"/>
                    </a:lnTo>
                    <a:lnTo>
                      <a:pt x="206" y="248"/>
                    </a:lnTo>
                    <a:lnTo>
                      <a:pt x="200" y="230"/>
                    </a:lnTo>
                    <a:lnTo>
                      <a:pt x="192" y="220"/>
                    </a:lnTo>
                    <a:lnTo>
                      <a:pt x="180" y="214"/>
                    </a:lnTo>
                    <a:lnTo>
                      <a:pt x="178" y="210"/>
                    </a:lnTo>
                    <a:lnTo>
                      <a:pt x="174" y="176"/>
                    </a:lnTo>
                    <a:lnTo>
                      <a:pt x="166" y="172"/>
                    </a:lnTo>
                    <a:lnTo>
                      <a:pt x="124" y="178"/>
                    </a:lnTo>
                    <a:lnTo>
                      <a:pt x="154" y="136"/>
                    </a:lnTo>
                    <a:lnTo>
                      <a:pt x="204" y="126"/>
                    </a:lnTo>
                    <a:lnTo>
                      <a:pt x="212" y="112"/>
                    </a:lnTo>
                    <a:lnTo>
                      <a:pt x="212" y="108"/>
                    </a:lnTo>
                    <a:lnTo>
                      <a:pt x="212" y="96"/>
                    </a:lnTo>
                    <a:lnTo>
                      <a:pt x="212" y="88"/>
                    </a:lnTo>
                    <a:lnTo>
                      <a:pt x="198" y="72"/>
                    </a:lnTo>
                    <a:lnTo>
                      <a:pt x="160" y="82"/>
                    </a:lnTo>
                    <a:lnTo>
                      <a:pt x="136" y="104"/>
                    </a:lnTo>
                    <a:lnTo>
                      <a:pt x="126" y="104"/>
                    </a:lnTo>
                    <a:lnTo>
                      <a:pt x="106" y="88"/>
                    </a:lnTo>
                    <a:lnTo>
                      <a:pt x="102" y="96"/>
                    </a:lnTo>
                    <a:lnTo>
                      <a:pt x="102" y="112"/>
                    </a:lnTo>
                    <a:lnTo>
                      <a:pt x="106" y="126"/>
                    </a:lnTo>
                    <a:lnTo>
                      <a:pt x="100" y="124"/>
                    </a:lnTo>
                    <a:lnTo>
                      <a:pt x="94" y="118"/>
                    </a:lnTo>
                    <a:lnTo>
                      <a:pt x="68" y="86"/>
                    </a:lnTo>
                    <a:lnTo>
                      <a:pt x="44" y="94"/>
                    </a:lnTo>
                    <a:lnTo>
                      <a:pt x="38" y="100"/>
                    </a:lnTo>
                    <a:lnTo>
                      <a:pt x="34" y="124"/>
                    </a:lnTo>
                    <a:lnTo>
                      <a:pt x="32" y="124"/>
                    </a:lnTo>
                    <a:lnTo>
                      <a:pt x="24" y="110"/>
                    </a:lnTo>
                    <a:lnTo>
                      <a:pt x="12" y="96"/>
                    </a:lnTo>
                    <a:lnTo>
                      <a:pt x="8" y="94"/>
                    </a:lnTo>
                    <a:lnTo>
                      <a:pt x="4" y="98"/>
                    </a:lnTo>
                    <a:lnTo>
                      <a:pt x="0" y="110"/>
                    </a:lnTo>
                    <a:lnTo>
                      <a:pt x="0" y="118"/>
                    </a:lnTo>
                    <a:lnTo>
                      <a:pt x="6" y="134"/>
                    </a:lnTo>
                    <a:lnTo>
                      <a:pt x="8" y="152"/>
                    </a:lnTo>
                    <a:lnTo>
                      <a:pt x="4" y="174"/>
                    </a:lnTo>
                    <a:lnTo>
                      <a:pt x="4" y="184"/>
                    </a:lnTo>
                    <a:lnTo>
                      <a:pt x="4" y="196"/>
                    </a:lnTo>
                    <a:lnTo>
                      <a:pt x="10" y="218"/>
                    </a:lnTo>
                    <a:lnTo>
                      <a:pt x="14" y="234"/>
                    </a:lnTo>
                    <a:lnTo>
                      <a:pt x="16" y="258"/>
                    </a:lnTo>
                    <a:lnTo>
                      <a:pt x="20" y="274"/>
                    </a:lnTo>
                    <a:lnTo>
                      <a:pt x="28" y="298"/>
                    </a:lnTo>
                    <a:lnTo>
                      <a:pt x="36" y="334"/>
                    </a:lnTo>
                    <a:lnTo>
                      <a:pt x="44" y="342"/>
                    </a:lnTo>
                    <a:lnTo>
                      <a:pt x="56" y="328"/>
                    </a:lnTo>
                    <a:lnTo>
                      <a:pt x="62" y="308"/>
                    </a:lnTo>
                    <a:lnTo>
                      <a:pt x="60" y="280"/>
                    </a:lnTo>
                    <a:lnTo>
                      <a:pt x="66" y="278"/>
                    </a:lnTo>
                    <a:lnTo>
                      <a:pt x="86" y="278"/>
                    </a:lnTo>
                    <a:lnTo>
                      <a:pt x="92" y="286"/>
                    </a:lnTo>
                    <a:lnTo>
                      <a:pt x="88" y="306"/>
                    </a:lnTo>
                    <a:lnTo>
                      <a:pt x="80" y="328"/>
                    </a:lnTo>
                    <a:lnTo>
                      <a:pt x="80" y="340"/>
                    </a:lnTo>
                    <a:lnTo>
                      <a:pt x="82" y="354"/>
                    </a:lnTo>
                    <a:lnTo>
                      <a:pt x="86" y="370"/>
                    </a:lnTo>
                    <a:lnTo>
                      <a:pt x="90" y="386"/>
                    </a:lnTo>
                    <a:lnTo>
                      <a:pt x="92" y="388"/>
                    </a:lnTo>
                    <a:lnTo>
                      <a:pt x="104" y="388"/>
                    </a:lnTo>
                    <a:lnTo>
                      <a:pt x="112" y="392"/>
                    </a:lnTo>
                    <a:lnTo>
                      <a:pt x="114" y="396"/>
                    </a:lnTo>
                    <a:lnTo>
                      <a:pt x="108" y="410"/>
                    </a:lnTo>
                    <a:lnTo>
                      <a:pt x="104" y="412"/>
                    </a:lnTo>
                    <a:lnTo>
                      <a:pt x="58" y="386"/>
                    </a:lnTo>
                    <a:lnTo>
                      <a:pt x="50" y="388"/>
                    </a:lnTo>
                    <a:lnTo>
                      <a:pt x="46" y="396"/>
                    </a:lnTo>
                    <a:lnTo>
                      <a:pt x="62" y="420"/>
                    </a:lnTo>
                    <a:lnTo>
                      <a:pt x="78" y="436"/>
                    </a:lnTo>
                    <a:lnTo>
                      <a:pt x="70" y="444"/>
                    </a:lnTo>
                    <a:lnTo>
                      <a:pt x="70" y="460"/>
                    </a:lnTo>
                    <a:lnTo>
                      <a:pt x="72" y="476"/>
                    </a:lnTo>
                    <a:lnTo>
                      <a:pt x="78" y="490"/>
                    </a:lnTo>
                    <a:lnTo>
                      <a:pt x="84" y="500"/>
                    </a:lnTo>
                    <a:lnTo>
                      <a:pt x="96" y="512"/>
                    </a:lnTo>
                    <a:lnTo>
                      <a:pt x="104" y="516"/>
                    </a:lnTo>
                    <a:lnTo>
                      <a:pt x="116" y="554"/>
                    </a:lnTo>
                    <a:lnTo>
                      <a:pt x="130" y="586"/>
                    </a:lnTo>
                    <a:lnTo>
                      <a:pt x="140" y="596"/>
                    </a:lnTo>
                    <a:lnTo>
                      <a:pt x="144" y="602"/>
                    </a:lnTo>
                    <a:lnTo>
                      <a:pt x="146" y="612"/>
                    </a:lnTo>
                    <a:lnTo>
                      <a:pt x="162" y="634"/>
                    </a:lnTo>
                    <a:lnTo>
                      <a:pt x="196" y="630"/>
                    </a:lnTo>
                    <a:lnTo>
                      <a:pt x="212" y="624"/>
                    </a:lnTo>
                    <a:lnTo>
                      <a:pt x="226" y="622"/>
                    </a:lnTo>
                    <a:lnTo>
                      <a:pt x="234" y="610"/>
                    </a:lnTo>
                    <a:lnTo>
                      <a:pt x="242" y="594"/>
                    </a:lnTo>
                    <a:lnTo>
                      <a:pt x="250" y="582"/>
                    </a:lnTo>
                    <a:lnTo>
                      <a:pt x="260" y="576"/>
                    </a:lnTo>
                    <a:lnTo>
                      <a:pt x="254" y="560"/>
                    </a:lnTo>
                    <a:lnTo>
                      <a:pt x="246" y="550"/>
                    </a:lnTo>
                    <a:lnTo>
                      <a:pt x="248" y="534"/>
                    </a:lnTo>
                    <a:lnTo>
                      <a:pt x="252" y="522"/>
                    </a:lnTo>
                    <a:lnTo>
                      <a:pt x="252" y="504"/>
                    </a:lnTo>
                    <a:lnTo>
                      <a:pt x="248" y="490"/>
                    </a:lnTo>
                    <a:lnTo>
                      <a:pt x="256" y="480"/>
                    </a:lnTo>
                    <a:lnTo>
                      <a:pt x="262" y="474"/>
                    </a:lnTo>
                    <a:lnTo>
                      <a:pt x="266" y="474"/>
                    </a:lnTo>
                    <a:lnTo>
                      <a:pt x="270" y="480"/>
                    </a:lnTo>
                    <a:lnTo>
                      <a:pt x="272" y="492"/>
                    </a:lnTo>
                    <a:lnTo>
                      <a:pt x="276" y="502"/>
                    </a:lnTo>
                    <a:lnTo>
                      <a:pt x="284" y="504"/>
                    </a:lnTo>
                    <a:lnTo>
                      <a:pt x="292" y="494"/>
                    </a:lnTo>
                    <a:lnTo>
                      <a:pt x="298" y="470"/>
                    </a:lnTo>
                    <a:lnTo>
                      <a:pt x="304" y="454"/>
                    </a:lnTo>
                    <a:lnTo>
                      <a:pt x="308" y="458"/>
                    </a:lnTo>
                    <a:lnTo>
                      <a:pt x="310" y="474"/>
                    </a:lnTo>
                    <a:lnTo>
                      <a:pt x="306" y="494"/>
                    </a:lnTo>
                    <a:lnTo>
                      <a:pt x="300" y="512"/>
                    </a:lnTo>
                    <a:lnTo>
                      <a:pt x="300" y="518"/>
                    </a:lnTo>
                    <a:lnTo>
                      <a:pt x="302" y="530"/>
                    </a:lnTo>
                    <a:lnTo>
                      <a:pt x="308" y="552"/>
                    </a:lnTo>
                    <a:lnTo>
                      <a:pt x="310" y="556"/>
                    </a:lnTo>
                    <a:lnTo>
                      <a:pt x="328" y="558"/>
                    </a:lnTo>
                    <a:lnTo>
                      <a:pt x="346" y="550"/>
                    </a:lnTo>
                    <a:lnTo>
                      <a:pt x="360" y="536"/>
                    </a:lnTo>
                    <a:lnTo>
                      <a:pt x="378" y="502"/>
                    </a:lnTo>
                    <a:lnTo>
                      <a:pt x="384" y="496"/>
                    </a:lnTo>
                    <a:lnTo>
                      <a:pt x="400" y="494"/>
                    </a:lnTo>
                    <a:lnTo>
                      <a:pt x="394" y="510"/>
                    </a:lnTo>
                    <a:lnTo>
                      <a:pt x="378" y="546"/>
                    </a:lnTo>
                    <a:lnTo>
                      <a:pt x="384" y="564"/>
                    </a:lnTo>
                    <a:lnTo>
                      <a:pt x="396" y="578"/>
                    </a:lnTo>
                    <a:lnTo>
                      <a:pt x="402" y="582"/>
                    </a:lnTo>
                    <a:lnTo>
                      <a:pt x="414" y="580"/>
                    </a:lnTo>
                    <a:lnTo>
                      <a:pt x="426" y="574"/>
                    </a:lnTo>
                    <a:lnTo>
                      <a:pt x="414" y="590"/>
                    </a:lnTo>
                    <a:lnTo>
                      <a:pt x="400" y="596"/>
                    </a:lnTo>
                    <a:lnTo>
                      <a:pt x="358" y="596"/>
                    </a:lnTo>
                    <a:lnTo>
                      <a:pt x="340" y="600"/>
                    </a:lnTo>
                    <a:lnTo>
                      <a:pt x="334" y="604"/>
                    </a:lnTo>
                    <a:lnTo>
                      <a:pt x="326" y="614"/>
                    </a:lnTo>
                    <a:lnTo>
                      <a:pt x="326" y="624"/>
                    </a:lnTo>
                    <a:lnTo>
                      <a:pt x="330" y="636"/>
                    </a:lnTo>
                    <a:lnTo>
                      <a:pt x="318" y="634"/>
                    </a:lnTo>
                    <a:lnTo>
                      <a:pt x="306" y="638"/>
                    </a:lnTo>
                    <a:lnTo>
                      <a:pt x="284" y="660"/>
                    </a:lnTo>
                    <a:lnTo>
                      <a:pt x="234" y="686"/>
                    </a:lnTo>
                    <a:lnTo>
                      <a:pt x="238" y="708"/>
                    </a:lnTo>
                    <a:lnTo>
                      <a:pt x="220" y="688"/>
                    </a:lnTo>
                    <a:lnTo>
                      <a:pt x="214" y="682"/>
                    </a:lnTo>
                    <a:lnTo>
                      <a:pt x="206" y="682"/>
                    </a:lnTo>
                    <a:lnTo>
                      <a:pt x="202" y="686"/>
                    </a:lnTo>
                    <a:lnTo>
                      <a:pt x="200" y="690"/>
                    </a:lnTo>
                    <a:lnTo>
                      <a:pt x="196" y="700"/>
                    </a:lnTo>
                    <a:lnTo>
                      <a:pt x="200" y="734"/>
                    </a:lnTo>
                    <a:lnTo>
                      <a:pt x="202" y="746"/>
                    </a:lnTo>
                    <a:lnTo>
                      <a:pt x="204" y="754"/>
                    </a:lnTo>
                    <a:lnTo>
                      <a:pt x="216" y="772"/>
                    </a:lnTo>
                    <a:lnTo>
                      <a:pt x="224" y="780"/>
                    </a:lnTo>
                    <a:lnTo>
                      <a:pt x="258" y="782"/>
                    </a:lnTo>
                    <a:lnTo>
                      <a:pt x="274" y="778"/>
                    </a:lnTo>
                    <a:lnTo>
                      <a:pt x="290" y="768"/>
                    </a:lnTo>
                    <a:lnTo>
                      <a:pt x="306" y="754"/>
                    </a:lnTo>
                    <a:lnTo>
                      <a:pt x="322" y="750"/>
                    </a:lnTo>
                    <a:lnTo>
                      <a:pt x="338" y="756"/>
                    </a:lnTo>
                    <a:lnTo>
                      <a:pt x="352" y="756"/>
                    </a:lnTo>
                    <a:lnTo>
                      <a:pt x="384" y="746"/>
                    </a:lnTo>
                    <a:lnTo>
                      <a:pt x="406" y="736"/>
                    </a:lnTo>
                    <a:lnTo>
                      <a:pt x="408" y="740"/>
                    </a:lnTo>
                    <a:lnTo>
                      <a:pt x="412" y="758"/>
                    </a:lnTo>
                    <a:lnTo>
                      <a:pt x="416" y="772"/>
                    </a:lnTo>
                    <a:lnTo>
                      <a:pt x="390" y="772"/>
                    </a:lnTo>
                    <a:lnTo>
                      <a:pt x="362" y="776"/>
                    </a:lnTo>
                    <a:lnTo>
                      <a:pt x="278" y="806"/>
                    </a:lnTo>
                    <a:lnTo>
                      <a:pt x="264" y="856"/>
                    </a:lnTo>
                    <a:lnTo>
                      <a:pt x="258" y="852"/>
                    </a:lnTo>
                    <a:lnTo>
                      <a:pt x="250" y="842"/>
                    </a:lnTo>
                    <a:lnTo>
                      <a:pt x="242" y="838"/>
                    </a:lnTo>
                    <a:lnTo>
                      <a:pt x="222" y="844"/>
                    </a:lnTo>
                    <a:lnTo>
                      <a:pt x="220" y="850"/>
                    </a:lnTo>
                    <a:lnTo>
                      <a:pt x="218" y="860"/>
                    </a:lnTo>
                    <a:lnTo>
                      <a:pt x="218" y="880"/>
                    </a:lnTo>
                    <a:lnTo>
                      <a:pt x="222" y="892"/>
                    </a:lnTo>
                    <a:lnTo>
                      <a:pt x="228" y="912"/>
                    </a:lnTo>
                    <a:lnTo>
                      <a:pt x="234" y="928"/>
                    </a:lnTo>
                    <a:lnTo>
                      <a:pt x="242" y="942"/>
                    </a:lnTo>
                    <a:lnTo>
                      <a:pt x="250" y="954"/>
                    </a:lnTo>
                    <a:lnTo>
                      <a:pt x="266" y="964"/>
                    </a:lnTo>
                    <a:lnTo>
                      <a:pt x="292" y="986"/>
                    </a:lnTo>
                    <a:lnTo>
                      <a:pt x="320" y="1044"/>
                    </a:lnTo>
                    <a:lnTo>
                      <a:pt x="350" y="1080"/>
                    </a:lnTo>
                    <a:lnTo>
                      <a:pt x="358" y="1088"/>
                    </a:lnTo>
                    <a:lnTo>
                      <a:pt x="364" y="1098"/>
                    </a:lnTo>
                    <a:lnTo>
                      <a:pt x="372" y="1114"/>
                    </a:lnTo>
                    <a:lnTo>
                      <a:pt x="380" y="1124"/>
                    </a:lnTo>
                    <a:lnTo>
                      <a:pt x="394" y="1132"/>
                    </a:lnTo>
                    <a:lnTo>
                      <a:pt x="410" y="1124"/>
                    </a:lnTo>
                    <a:lnTo>
                      <a:pt x="418" y="1110"/>
                    </a:lnTo>
                    <a:lnTo>
                      <a:pt x="416" y="1092"/>
                    </a:lnTo>
                    <a:lnTo>
                      <a:pt x="414" y="1076"/>
                    </a:lnTo>
                    <a:lnTo>
                      <a:pt x="414" y="1066"/>
                    </a:lnTo>
                    <a:lnTo>
                      <a:pt x="424" y="1042"/>
                    </a:lnTo>
                    <a:lnTo>
                      <a:pt x="430" y="1020"/>
                    </a:lnTo>
                    <a:lnTo>
                      <a:pt x="426" y="1008"/>
                    </a:lnTo>
                    <a:lnTo>
                      <a:pt x="424" y="998"/>
                    </a:lnTo>
                    <a:lnTo>
                      <a:pt x="438" y="966"/>
                    </a:lnTo>
                    <a:lnTo>
                      <a:pt x="444" y="946"/>
                    </a:lnTo>
                    <a:lnTo>
                      <a:pt x="456" y="894"/>
                    </a:lnTo>
                    <a:lnTo>
                      <a:pt x="470" y="864"/>
                    </a:lnTo>
                    <a:lnTo>
                      <a:pt x="490" y="862"/>
                    </a:lnTo>
                    <a:lnTo>
                      <a:pt x="496" y="856"/>
                    </a:lnTo>
                    <a:lnTo>
                      <a:pt x="500" y="840"/>
                    </a:lnTo>
                    <a:lnTo>
                      <a:pt x="504" y="808"/>
                    </a:lnTo>
                    <a:lnTo>
                      <a:pt x="506" y="774"/>
                    </a:lnTo>
                    <a:lnTo>
                      <a:pt x="508" y="726"/>
                    </a:lnTo>
                    <a:lnTo>
                      <a:pt x="508" y="712"/>
                    </a:lnTo>
                    <a:lnTo>
                      <a:pt x="508" y="700"/>
                    </a:lnTo>
                    <a:lnTo>
                      <a:pt x="518" y="694"/>
                    </a:lnTo>
                    <a:lnTo>
                      <a:pt x="526" y="696"/>
                    </a:lnTo>
                    <a:lnTo>
                      <a:pt x="534" y="696"/>
                    </a:lnTo>
                    <a:lnTo>
                      <a:pt x="546" y="682"/>
                    </a:lnTo>
                    <a:lnTo>
                      <a:pt x="546" y="666"/>
                    </a:lnTo>
                    <a:lnTo>
                      <a:pt x="542" y="650"/>
                    </a:lnTo>
                    <a:lnTo>
                      <a:pt x="544" y="634"/>
                    </a:lnTo>
                    <a:lnTo>
                      <a:pt x="550" y="606"/>
                    </a:lnTo>
                    <a:lnTo>
                      <a:pt x="556" y="588"/>
                    </a:lnTo>
                    <a:lnTo>
                      <a:pt x="570" y="554"/>
                    </a:lnTo>
                    <a:lnTo>
                      <a:pt x="586" y="528"/>
                    </a:lnTo>
                    <a:lnTo>
                      <a:pt x="588" y="516"/>
                    </a:lnTo>
                    <a:lnTo>
                      <a:pt x="590" y="512"/>
                    </a:lnTo>
                    <a:lnTo>
                      <a:pt x="596" y="508"/>
                    </a:lnTo>
                    <a:lnTo>
                      <a:pt x="636" y="500"/>
                    </a:lnTo>
                    <a:lnTo>
                      <a:pt x="658" y="490"/>
                    </a:lnTo>
                    <a:lnTo>
                      <a:pt x="682" y="490"/>
                    </a:lnTo>
                    <a:lnTo>
                      <a:pt x="692" y="482"/>
                    </a:lnTo>
                    <a:lnTo>
                      <a:pt x="702" y="468"/>
                    </a:lnTo>
                    <a:lnTo>
                      <a:pt x="700" y="458"/>
                    </a:lnTo>
                    <a:lnTo>
                      <a:pt x="698" y="448"/>
                    </a:lnTo>
                    <a:lnTo>
                      <a:pt x="682" y="430"/>
                    </a:lnTo>
                    <a:lnTo>
                      <a:pt x="658" y="412"/>
                    </a:lnTo>
                    <a:lnTo>
                      <a:pt x="644" y="386"/>
                    </a:lnTo>
                    <a:lnTo>
                      <a:pt x="662" y="360"/>
                    </a:lnTo>
                    <a:lnTo>
                      <a:pt x="652" y="342"/>
                    </a:lnTo>
                    <a:lnTo>
                      <a:pt x="642" y="336"/>
                    </a:lnTo>
                    <a:lnTo>
                      <a:pt x="622" y="330"/>
                    </a:lnTo>
                    <a:lnTo>
                      <a:pt x="618" y="336"/>
                    </a:lnTo>
                    <a:lnTo>
                      <a:pt x="618" y="354"/>
                    </a:lnTo>
                    <a:lnTo>
                      <a:pt x="604" y="360"/>
                    </a:lnTo>
                    <a:lnTo>
                      <a:pt x="594" y="328"/>
                    </a:lnTo>
                    <a:lnTo>
                      <a:pt x="578" y="318"/>
                    </a:lnTo>
                    <a:lnTo>
                      <a:pt x="552" y="326"/>
                    </a:lnTo>
                    <a:lnTo>
                      <a:pt x="544" y="318"/>
                    </a:lnTo>
                    <a:lnTo>
                      <a:pt x="538" y="298"/>
                    </a:lnTo>
                    <a:lnTo>
                      <a:pt x="530" y="290"/>
                    </a:lnTo>
                    <a:lnTo>
                      <a:pt x="524" y="288"/>
                    </a:lnTo>
                    <a:lnTo>
                      <a:pt x="528" y="282"/>
                    </a:lnTo>
                    <a:lnTo>
                      <a:pt x="534" y="274"/>
                    </a:lnTo>
                    <a:lnTo>
                      <a:pt x="534" y="262"/>
                    </a:lnTo>
                    <a:lnTo>
                      <a:pt x="534" y="246"/>
                    </a:lnTo>
                    <a:lnTo>
                      <a:pt x="534" y="230"/>
                    </a:lnTo>
                    <a:lnTo>
                      <a:pt x="532" y="218"/>
                    </a:lnTo>
                    <a:lnTo>
                      <a:pt x="530" y="208"/>
                    </a:lnTo>
                    <a:lnTo>
                      <a:pt x="518" y="178"/>
                    </a:lnTo>
                    <a:lnTo>
                      <a:pt x="506" y="166"/>
                    </a:lnTo>
                    <a:lnTo>
                      <a:pt x="502" y="164"/>
                    </a:lnTo>
                    <a:lnTo>
                      <a:pt x="498" y="168"/>
                    </a:lnTo>
                    <a:lnTo>
                      <a:pt x="472" y="226"/>
                    </a:lnTo>
                    <a:lnTo>
                      <a:pt x="458" y="244"/>
                    </a:lnTo>
                    <a:lnTo>
                      <a:pt x="462" y="228"/>
                    </a:lnTo>
                    <a:lnTo>
                      <a:pt x="462" y="210"/>
                    </a:lnTo>
                    <a:lnTo>
                      <a:pt x="460" y="192"/>
                    </a:lnTo>
                    <a:lnTo>
                      <a:pt x="462" y="178"/>
                    </a:lnTo>
                    <a:lnTo>
                      <a:pt x="472" y="156"/>
                    </a:lnTo>
                    <a:lnTo>
                      <a:pt x="478" y="130"/>
                    </a:lnTo>
                    <a:lnTo>
                      <a:pt x="470" y="94"/>
                    </a:lnTo>
                    <a:lnTo>
                      <a:pt x="460" y="74"/>
                    </a:lnTo>
                    <a:lnTo>
                      <a:pt x="452" y="64"/>
                    </a:lnTo>
                    <a:lnTo>
                      <a:pt x="430" y="42"/>
                    </a:lnTo>
                    <a:lnTo>
                      <a:pt x="412" y="36"/>
                    </a:lnTo>
                    <a:lnTo>
                      <a:pt x="410" y="40"/>
                    </a:lnTo>
                    <a:lnTo>
                      <a:pt x="408" y="52"/>
                    </a:lnTo>
                    <a:lnTo>
                      <a:pt x="404" y="56"/>
                    </a:lnTo>
                    <a:lnTo>
                      <a:pt x="400" y="54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0" name="Freeform 5922">
                <a:extLst>
                  <a:ext uri="{FF2B5EF4-FFF2-40B4-BE49-F238E27FC236}">
                    <a16:creationId xmlns:a16="http://schemas.microsoft.com/office/drawing/2014/main" id="{4B0B81B9-7A73-420D-B74E-BAF08E8DC00B}"/>
                  </a:ext>
                </a:extLst>
              </p:cNvPr>
              <p:cNvSpPr/>
              <p:nvPr/>
            </p:nvSpPr>
            <p:spPr bwMode="auto">
              <a:xfrm>
                <a:off x="33544483" y="5023004"/>
                <a:ext cx="333559" cy="142954"/>
              </a:xfrm>
              <a:custGeom>
                <a:avLst/>
                <a:gdLst>
                  <a:gd name="T0" fmla="*/ 68 w 140"/>
                  <a:gd name="T1" fmla="*/ 46 h 60"/>
                  <a:gd name="T2" fmla="*/ 136 w 140"/>
                  <a:gd name="T3" fmla="*/ 16 h 60"/>
                  <a:gd name="T4" fmla="*/ 140 w 140"/>
                  <a:gd name="T5" fmla="*/ 8 h 60"/>
                  <a:gd name="T6" fmla="*/ 124 w 140"/>
                  <a:gd name="T7" fmla="*/ 0 h 60"/>
                  <a:gd name="T8" fmla="*/ 106 w 140"/>
                  <a:gd name="T9" fmla="*/ 4 h 60"/>
                  <a:gd name="T10" fmla="*/ 100 w 140"/>
                  <a:gd name="T11" fmla="*/ 8 h 60"/>
                  <a:gd name="T12" fmla="*/ 0 w 140"/>
                  <a:gd name="T13" fmla="*/ 50 h 60"/>
                  <a:gd name="T14" fmla="*/ 6 w 140"/>
                  <a:gd name="T15" fmla="*/ 60 h 60"/>
                  <a:gd name="T16" fmla="*/ 68 w 140"/>
                  <a:gd name="T17" fmla="*/ 4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0" h="60">
                    <a:moveTo>
                      <a:pt x="68" y="46"/>
                    </a:moveTo>
                    <a:lnTo>
                      <a:pt x="136" y="16"/>
                    </a:lnTo>
                    <a:lnTo>
                      <a:pt x="140" y="8"/>
                    </a:lnTo>
                    <a:lnTo>
                      <a:pt x="124" y="0"/>
                    </a:lnTo>
                    <a:lnTo>
                      <a:pt x="106" y="4"/>
                    </a:lnTo>
                    <a:lnTo>
                      <a:pt x="100" y="8"/>
                    </a:lnTo>
                    <a:lnTo>
                      <a:pt x="0" y="50"/>
                    </a:lnTo>
                    <a:lnTo>
                      <a:pt x="6" y="60"/>
                    </a:lnTo>
                    <a:lnTo>
                      <a:pt x="68" y="4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1" name="Freeform 5923">
                <a:extLst>
                  <a:ext uri="{FF2B5EF4-FFF2-40B4-BE49-F238E27FC236}">
                    <a16:creationId xmlns:a16="http://schemas.microsoft.com/office/drawing/2014/main" id="{5058804D-5008-4BFD-A476-4EF384ADD6D6}"/>
                  </a:ext>
                </a:extLst>
              </p:cNvPr>
              <p:cNvSpPr/>
              <p:nvPr/>
            </p:nvSpPr>
            <p:spPr bwMode="auto">
              <a:xfrm>
                <a:off x="31462123" y="4913406"/>
                <a:ext cx="90537" cy="104833"/>
              </a:xfrm>
              <a:custGeom>
                <a:avLst/>
                <a:gdLst>
                  <a:gd name="T0" fmla="*/ 38 w 38"/>
                  <a:gd name="T1" fmla="*/ 22 h 44"/>
                  <a:gd name="T2" fmla="*/ 24 w 38"/>
                  <a:gd name="T3" fmla="*/ 4 h 44"/>
                  <a:gd name="T4" fmla="*/ 10 w 38"/>
                  <a:gd name="T5" fmla="*/ 0 h 44"/>
                  <a:gd name="T6" fmla="*/ 4 w 38"/>
                  <a:gd name="T7" fmla="*/ 10 h 44"/>
                  <a:gd name="T8" fmla="*/ 0 w 38"/>
                  <a:gd name="T9" fmla="*/ 28 h 44"/>
                  <a:gd name="T10" fmla="*/ 24 w 38"/>
                  <a:gd name="T11" fmla="*/ 44 h 44"/>
                  <a:gd name="T12" fmla="*/ 38 w 38"/>
                  <a:gd name="T13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44">
                    <a:moveTo>
                      <a:pt x="38" y="22"/>
                    </a:moveTo>
                    <a:lnTo>
                      <a:pt x="24" y="4"/>
                    </a:lnTo>
                    <a:lnTo>
                      <a:pt x="10" y="0"/>
                    </a:lnTo>
                    <a:lnTo>
                      <a:pt x="4" y="10"/>
                    </a:lnTo>
                    <a:lnTo>
                      <a:pt x="0" y="28"/>
                    </a:lnTo>
                    <a:lnTo>
                      <a:pt x="24" y="44"/>
                    </a:lnTo>
                    <a:lnTo>
                      <a:pt x="38" y="2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2" name="Freeform 5924">
                <a:extLst>
                  <a:ext uri="{FF2B5EF4-FFF2-40B4-BE49-F238E27FC236}">
                    <a16:creationId xmlns:a16="http://schemas.microsoft.com/office/drawing/2014/main" id="{DA9B41F3-C056-404D-8A92-D4961F6C0E48}"/>
                  </a:ext>
                </a:extLst>
              </p:cNvPr>
              <p:cNvSpPr/>
              <p:nvPr/>
            </p:nvSpPr>
            <p:spPr bwMode="auto">
              <a:xfrm>
                <a:off x="31424001" y="4799043"/>
                <a:ext cx="1453364" cy="1138865"/>
              </a:xfrm>
              <a:custGeom>
                <a:avLst/>
                <a:gdLst>
                  <a:gd name="T0" fmla="*/ 182 w 610"/>
                  <a:gd name="T1" fmla="*/ 72 h 478"/>
                  <a:gd name="T2" fmla="*/ 160 w 610"/>
                  <a:gd name="T3" fmla="*/ 32 h 478"/>
                  <a:gd name="T4" fmla="*/ 128 w 610"/>
                  <a:gd name="T5" fmla="*/ 4 h 478"/>
                  <a:gd name="T6" fmla="*/ 112 w 610"/>
                  <a:gd name="T7" fmla="*/ 6 h 478"/>
                  <a:gd name="T8" fmla="*/ 122 w 610"/>
                  <a:gd name="T9" fmla="*/ 50 h 478"/>
                  <a:gd name="T10" fmla="*/ 124 w 610"/>
                  <a:gd name="T11" fmla="*/ 72 h 478"/>
                  <a:gd name="T12" fmla="*/ 108 w 610"/>
                  <a:gd name="T13" fmla="*/ 90 h 478"/>
                  <a:gd name="T14" fmla="*/ 90 w 610"/>
                  <a:gd name="T15" fmla="*/ 56 h 478"/>
                  <a:gd name="T16" fmla="*/ 82 w 610"/>
                  <a:gd name="T17" fmla="*/ 70 h 478"/>
                  <a:gd name="T18" fmla="*/ 94 w 610"/>
                  <a:gd name="T19" fmla="*/ 116 h 478"/>
                  <a:gd name="T20" fmla="*/ 94 w 610"/>
                  <a:gd name="T21" fmla="*/ 142 h 478"/>
                  <a:gd name="T22" fmla="*/ 70 w 610"/>
                  <a:gd name="T23" fmla="*/ 120 h 478"/>
                  <a:gd name="T24" fmla="*/ 12 w 610"/>
                  <a:gd name="T25" fmla="*/ 120 h 478"/>
                  <a:gd name="T26" fmla="*/ 14 w 610"/>
                  <a:gd name="T27" fmla="*/ 150 h 478"/>
                  <a:gd name="T28" fmla="*/ 62 w 610"/>
                  <a:gd name="T29" fmla="*/ 172 h 478"/>
                  <a:gd name="T30" fmla="*/ 44 w 610"/>
                  <a:gd name="T31" fmla="*/ 198 h 478"/>
                  <a:gd name="T32" fmla="*/ 24 w 610"/>
                  <a:gd name="T33" fmla="*/ 228 h 478"/>
                  <a:gd name="T34" fmla="*/ 34 w 610"/>
                  <a:gd name="T35" fmla="*/ 252 h 478"/>
                  <a:gd name="T36" fmla="*/ 68 w 610"/>
                  <a:gd name="T37" fmla="*/ 284 h 478"/>
                  <a:gd name="T38" fmla="*/ 114 w 610"/>
                  <a:gd name="T39" fmla="*/ 286 h 478"/>
                  <a:gd name="T40" fmla="*/ 146 w 610"/>
                  <a:gd name="T41" fmla="*/ 268 h 478"/>
                  <a:gd name="T42" fmla="*/ 188 w 610"/>
                  <a:gd name="T43" fmla="*/ 280 h 478"/>
                  <a:gd name="T44" fmla="*/ 174 w 610"/>
                  <a:gd name="T45" fmla="*/ 300 h 478"/>
                  <a:gd name="T46" fmla="*/ 150 w 610"/>
                  <a:gd name="T47" fmla="*/ 322 h 478"/>
                  <a:gd name="T48" fmla="*/ 126 w 610"/>
                  <a:gd name="T49" fmla="*/ 322 h 478"/>
                  <a:gd name="T50" fmla="*/ 116 w 610"/>
                  <a:gd name="T51" fmla="*/ 338 h 478"/>
                  <a:gd name="T52" fmla="*/ 146 w 610"/>
                  <a:gd name="T53" fmla="*/ 374 h 478"/>
                  <a:gd name="T54" fmla="*/ 188 w 610"/>
                  <a:gd name="T55" fmla="*/ 390 h 478"/>
                  <a:gd name="T56" fmla="*/ 194 w 610"/>
                  <a:gd name="T57" fmla="*/ 406 h 478"/>
                  <a:gd name="T58" fmla="*/ 326 w 610"/>
                  <a:gd name="T59" fmla="*/ 402 h 478"/>
                  <a:gd name="T60" fmla="*/ 320 w 610"/>
                  <a:gd name="T61" fmla="*/ 454 h 478"/>
                  <a:gd name="T62" fmla="*/ 384 w 610"/>
                  <a:gd name="T63" fmla="*/ 474 h 478"/>
                  <a:gd name="T64" fmla="*/ 408 w 610"/>
                  <a:gd name="T65" fmla="*/ 470 h 478"/>
                  <a:gd name="T66" fmla="*/ 424 w 610"/>
                  <a:gd name="T67" fmla="*/ 440 h 478"/>
                  <a:gd name="T68" fmla="*/ 454 w 610"/>
                  <a:gd name="T69" fmla="*/ 418 h 478"/>
                  <a:gd name="T70" fmla="*/ 480 w 610"/>
                  <a:gd name="T71" fmla="*/ 426 h 478"/>
                  <a:gd name="T72" fmla="*/ 512 w 610"/>
                  <a:gd name="T73" fmla="*/ 392 h 478"/>
                  <a:gd name="T74" fmla="*/ 532 w 610"/>
                  <a:gd name="T75" fmla="*/ 328 h 478"/>
                  <a:gd name="T76" fmla="*/ 602 w 610"/>
                  <a:gd name="T77" fmla="*/ 236 h 478"/>
                  <a:gd name="T78" fmla="*/ 606 w 610"/>
                  <a:gd name="T79" fmla="*/ 164 h 478"/>
                  <a:gd name="T80" fmla="*/ 588 w 610"/>
                  <a:gd name="T81" fmla="*/ 124 h 478"/>
                  <a:gd name="T82" fmla="*/ 520 w 610"/>
                  <a:gd name="T83" fmla="*/ 118 h 478"/>
                  <a:gd name="T84" fmla="*/ 508 w 610"/>
                  <a:gd name="T85" fmla="*/ 106 h 478"/>
                  <a:gd name="T86" fmla="*/ 458 w 610"/>
                  <a:gd name="T87" fmla="*/ 80 h 478"/>
                  <a:gd name="T88" fmla="*/ 448 w 610"/>
                  <a:gd name="T89" fmla="*/ 70 h 478"/>
                  <a:gd name="T90" fmla="*/ 436 w 610"/>
                  <a:gd name="T91" fmla="*/ 72 h 478"/>
                  <a:gd name="T92" fmla="*/ 418 w 610"/>
                  <a:gd name="T93" fmla="*/ 46 h 478"/>
                  <a:gd name="T94" fmla="*/ 414 w 610"/>
                  <a:gd name="T95" fmla="*/ 70 h 478"/>
                  <a:gd name="T96" fmla="*/ 396 w 610"/>
                  <a:gd name="T97" fmla="*/ 68 h 478"/>
                  <a:gd name="T98" fmla="*/ 378 w 610"/>
                  <a:gd name="T99" fmla="*/ 106 h 478"/>
                  <a:gd name="T100" fmla="*/ 342 w 610"/>
                  <a:gd name="T101" fmla="*/ 114 h 478"/>
                  <a:gd name="T102" fmla="*/ 350 w 610"/>
                  <a:gd name="T103" fmla="*/ 38 h 478"/>
                  <a:gd name="T104" fmla="*/ 350 w 610"/>
                  <a:gd name="T105" fmla="*/ 14 h 478"/>
                  <a:gd name="T106" fmla="*/ 328 w 610"/>
                  <a:gd name="T107" fmla="*/ 4 h 478"/>
                  <a:gd name="T108" fmla="*/ 312 w 610"/>
                  <a:gd name="T109" fmla="*/ 26 h 478"/>
                  <a:gd name="T110" fmla="*/ 298 w 610"/>
                  <a:gd name="T111" fmla="*/ 30 h 478"/>
                  <a:gd name="T112" fmla="*/ 298 w 610"/>
                  <a:gd name="T113" fmla="*/ 68 h 478"/>
                  <a:gd name="T114" fmla="*/ 294 w 610"/>
                  <a:gd name="T115" fmla="*/ 152 h 478"/>
                  <a:gd name="T116" fmla="*/ 280 w 610"/>
                  <a:gd name="T117" fmla="*/ 162 h 478"/>
                  <a:gd name="T118" fmla="*/ 254 w 610"/>
                  <a:gd name="T119" fmla="*/ 132 h 478"/>
                  <a:gd name="T120" fmla="*/ 246 w 610"/>
                  <a:gd name="T121" fmla="*/ 102 h 478"/>
                  <a:gd name="T122" fmla="*/ 202 w 610"/>
                  <a:gd name="T123" fmla="*/ 94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10" h="478">
                    <a:moveTo>
                      <a:pt x="196" y="90"/>
                    </a:moveTo>
                    <a:lnTo>
                      <a:pt x="182" y="72"/>
                    </a:lnTo>
                    <a:lnTo>
                      <a:pt x="168" y="42"/>
                    </a:lnTo>
                    <a:lnTo>
                      <a:pt x="160" y="32"/>
                    </a:lnTo>
                    <a:lnTo>
                      <a:pt x="144" y="20"/>
                    </a:lnTo>
                    <a:lnTo>
                      <a:pt x="128" y="4"/>
                    </a:lnTo>
                    <a:lnTo>
                      <a:pt x="120" y="0"/>
                    </a:lnTo>
                    <a:lnTo>
                      <a:pt x="112" y="6"/>
                    </a:lnTo>
                    <a:lnTo>
                      <a:pt x="116" y="30"/>
                    </a:lnTo>
                    <a:lnTo>
                      <a:pt x="122" y="50"/>
                    </a:lnTo>
                    <a:lnTo>
                      <a:pt x="124" y="60"/>
                    </a:lnTo>
                    <a:lnTo>
                      <a:pt x="124" y="72"/>
                    </a:lnTo>
                    <a:lnTo>
                      <a:pt x="120" y="98"/>
                    </a:lnTo>
                    <a:lnTo>
                      <a:pt x="108" y="90"/>
                    </a:lnTo>
                    <a:lnTo>
                      <a:pt x="94" y="62"/>
                    </a:lnTo>
                    <a:lnTo>
                      <a:pt x="90" y="56"/>
                    </a:lnTo>
                    <a:lnTo>
                      <a:pt x="84" y="58"/>
                    </a:lnTo>
                    <a:lnTo>
                      <a:pt x="82" y="70"/>
                    </a:lnTo>
                    <a:lnTo>
                      <a:pt x="84" y="84"/>
                    </a:lnTo>
                    <a:lnTo>
                      <a:pt x="94" y="116"/>
                    </a:lnTo>
                    <a:lnTo>
                      <a:pt x="106" y="124"/>
                    </a:lnTo>
                    <a:lnTo>
                      <a:pt x="94" y="142"/>
                    </a:lnTo>
                    <a:lnTo>
                      <a:pt x="82" y="132"/>
                    </a:lnTo>
                    <a:lnTo>
                      <a:pt x="70" y="120"/>
                    </a:lnTo>
                    <a:lnTo>
                      <a:pt x="58" y="112"/>
                    </a:lnTo>
                    <a:lnTo>
                      <a:pt x="12" y="120"/>
                    </a:lnTo>
                    <a:lnTo>
                      <a:pt x="0" y="132"/>
                    </a:lnTo>
                    <a:lnTo>
                      <a:pt x="14" y="150"/>
                    </a:lnTo>
                    <a:lnTo>
                      <a:pt x="28" y="162"/>
                    </a:lnTo>
                    <a:lnTo>
                      <a:pt x="62" y="172"/>
                    </a:lnTo>
                    <a:lnTo>
                      <a:pt x="54" y="186"/>
                    </a:lnTo>
                    <a:lnTo>
                      <a:pt x="44" y="198"/>
                    </a:lnTo>
                    <a:lnTo>
                      <a:pt x="22" y="212"/>
                    </a:lnTo>
                    <a:lnTo>
                      <a:pt x="24" y="228"/>
                    </a:lnTo>
                    <a:lnTo>
                      <a:pt x="28" y="238"/>
                    </a:lnTo>
                    <a:lnTo>
                      <a:pt x="34" y="252"/>
                    </a:lnTo>
                    <a:lnTo>
                      <a:pt x="54" y="274"/>
                    </a:lnTo>
                    <a:lnTo>
                      <a:pt x="68" y="284"/>
                    </a:lnTo>
                    <a:lnTo>
                      <a:pt x="98" y="288"/>
                    </a:lnTo>
                    <a:lnTo>
                      <a:pt x="114" y="286"/>
                    </a:lnTo>
                    <a:lnTo>
                      <a:pt x="130" y="282"/>
                    </a:lnTo>
                    <a:lnTo>
                      <a:pt x="146" y="268"/>
                    </a:lnTo>
                    <a:lnTo>
                      <a:pt x="168" y="270"/>
                    </a:lnTo>
                    <a:lnTo>
                      <a:pt x="188" y="280"/>
                    </a:lnTo>
                    <a:lnTo>
                      <a:pt x="182" y="294"/>
                    </a:lnTo>
                    <a:lnTo>
                      <a:pt x="174" y="300"/>
                    </a:lnTo>
                    <a:lnTo>
                      <a:pt x="170" y="322"/>
                    </a:lnTo>
                    <a:lnTo>
                      <a:pt x="150" y="322"/>
                    </a:lnTo>
                    <a:lnTo>
                      <a:pt x="138" y="318"/>
                    </a:lnTo>
                    <a:lnTo>
                      <a:pt x="126" y="322"/>
                    </a:lnTo>
                    <a:lnTo>
                      <a:pt x="120" y="328"/>
                    </a:lnTo>
                    <a:lnTo>
                      <a:pt x="116" y="338"/>
                    </a:lnTo>
                    <a:lnTo>
                      <a:pt x="130" y="358"/>
                    </a:lnTo>
                    <a:lnTo>
                      <a:pt x="146" y="374"/>
                    </a:lnTo>
                    <a:lnTo>
                      <a:pt x="164" y="382"/>
                    </a:lnTo>
                    <a:lnTo>
                      <a:pt x="188" y="390"/>
                    </a:lnTo>
                    <a:lnTo>
                      <a:pt x="190" y="402"/>
                    </a:lnTo>
                    <a:lnTo>
                      <a:pt x="194" y="406"/>
                    </a:lnTo>
                    <a:lnTo>
                      <a:pt x="262" y="412"/>
                    </a:lnTo>
                    <a:lnTo>
                      <a:pt x="326" y="402"/>
                    </a:lnTo>
                    <a:lnTo>
                      <a:pt x="314" y="430"/>
                    </a:lnTo>
                    <a:lnTo>
                      <a:pt x="320" y="454"/>
                    </a:lnTo>
                    <a:lnTo>
                      <a:pt x="328" y="466"/>
                    </a:lnTo>
                    <a:lnTo>
                      <a:pt x="384" y="474"/>
                    </a:lnTo>
                    <a:lnTo>
                      <a:pt x="396" y="478"/>
                    </a:lnTo>
                    <a:lnTo>
                      <a:pt x="408" y="470"/>
                    </a:lnTo>
                    <a:lnTo>
                      <a:pt x="416" y="454"/>
                    </a:lnTo>
                    <a:lnTo>
                      <a:pt x="424" y="440"/>
                    </a:lnTo>
                    <a:lnTo>
                      <a:pt x="448" y="418"/>
                    </a:lnTo>
                    <a:lnTo>
                      <a:pt x="454" y="418"/>
                    </a:lnTo>
                    <a:lnTo>
                      <a:pt x="474" y="428"/>
                    </a:lnTo>
                    <a:lnTo>
                      <a:pt x="480" y="426"/>
                    </a:lnTo>
                    <a:lnTo>
                      <a:pt x="508" y="404"/>
                    </a:lnTo>
                    <a:lnTo>
                      <a:pt x="512" y="392"/>
                    </a:lnTo>
                    <a:lnTo>
                      <a:pt x="524" y="348"/>
                    </a:lnTo>
                    <a:lnTo>
                      <a:pt x="532" y="328"/>
                    </a:lnTo>
                    <a:lnTo>
                      <a:pt x="544" y="306"/>
                    </a:lnTo>
                    <a:lnTo>
                      <a:pt x="602" y="236"/>
                    </a:lnTo>
                    <a:lnTo>
                      <a:pt x="610" y="220"/>
                    </a:lnTo>
                    <a:lnTo>
                      <a:pt x="606" y="164"/>
                    </a:lnTo>
                    <a:lnTo>
                      <a:pt x="598" y="138"/>
                    </a:lnTo>
                    <a:lnTo>
                      <a:pt x="588" y="124"/>
                    </a:lnTo>
                    <a:lnTo>
                      <a:pt x="560" y="118"/>
                    </a:lnTo>
                    <a:lnTo>
                      <a:pt x="520" y="118"/>
                    </a:lnTo>
                    <a:lnTo>
                      <a:pt x="514" y="114"/>
                    </a:lnTo>
                    <a:lnTo>
                      <a:pt x="508" y="106"/>
                    </a:lnTo>
                    <a:lnTo>
                      <a:pt x="496" y="96"/>
                    </a:lnTo>
                    <a:lnTo>
                      <a:pt x="458" y="80"/>
                    </a:lnTo>
                    <a:lnTo>
                      <a:pt x="452" y="70"/>
                    </a:lnTo>
                    <a:lnTo>
                      <a:pt x="448" y="70"/>
                    </a:lnTo>
                    <a:lnTo>
                      <a:pt x="440" y="76"/>
                    </a:lnTo>
                    <a:lnTo>
                      <a:pt x="436" y="72"/>
                    </a:lnTo>
                    <a:lnTo>
                      <a:pt x="426" y="50"/>
                    </a:lnTo>
                    <a:lnTo>
                      <a:pt x="418" y="46"/>
                    </a:lnTo>
                    <a:lnTo>
                      <a:pt x="418" y="60"/>
                    </a:lnTo>
                    <a:lnTo>
                      <a:pt x="414" y="70"/>
                    </a:lnTo>
                    <a:lnTo>
                      <a:pt x="408" y="72"/>
                    </a:lnTo>
                    <a:lnTo>
                      <a:pt x="396" y="68"/>
                    </a:lnTo>
                    <a:lnTo>
                      <a:pt x="384" y="92"/>
                    </a:lnTo>
                    <a:lnTo>
                      <a:pt x="378" y="106"/>
                    </a:lnTo>
                    <a:lnTo>
                      <a:pt x="356" y="118"/>
                    </a:lnTo>
                    <a:lnTo>
                      <a:pt x="342" y="114"/>
                    </a:lnTo>
                    <a:lnTo>
                      <a:pt x="348" y="64"/>
                    </a:lnTo>
                    <a:lnTo>
                      <a:pt x="350" y="38"/>
                    </a:lnTo>
                    <a:lnTo>
                      <a:pt x="354" y="22"/>
                    </a:lnTo>
                    <a:lnTo>
                      <a:pt x="350" y="14"/>
                    </a:lnTo>
                    <a:lnTo>
                      <a:pt x="334" y="2"/>
                    </a:lnTo>
                    <a:lnTo>
                      <a:pt x="328" y="4"/>
                    </a:lnTo>
                    <a:lnTo>
                      <a:pt x="320" y="18"/>
                    </a:lnTo>
                    <a:lnTo>
                      <a:pt x="312" y="26"/>
                    </a:lnTo>
                    <a:lnTo>
                      <a:pt x="304" y="26"/>
                    </a:lnTo>
                    <a:lnTo>
                      <a:pt x="298" y="30"/>
                    </a:lnTo>
                    <a:lnTo>
                      <a:pt x="296" y="46"/>
                    </a:lnTo>
                    <a:lnTo>
                      <a:pt x="298" y="68"/>
                    </a:lnTo>
                    <a:lnTo>
                      <a:pt x="298" y="114"/>
                    </a:lnTo>
                    <a:lnTo>
                      <a:pt x="294" y="152"/>
                    </a:lnTo>
                    <a:lnTo>
                      <a:pt x="288" y="168"/>
                    </a:lnTo>
                    <a:lnTo>
                      <a:pt x="280" y="162"/>
                    </a:lnTo>
                    <a:lnTo>
                      <a:pt x="262" y="136"/>
                    </a:lnTo>
                    <a:lnTo>
                      <a:pt x="254" y="132"/>
                    </a:lnTo>
                    <a:lnTo>
                      <a:pt x="248" y="126"/>
                    </a:lnTo>
                    <a:lnTo>
                      <a:pt x="246" y="102"/>
                    </a:lnTo>
                    <a:lnTo>
                      <a:pt x="238" y="92"/>
                    </a:lnTo>
                    <a:lnTo>
                      <a:pt x="202" y="94"/>
                    </a:lnTo>
                    <a:lnTo>
                      <a:pt x="196" y="9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3" name="Line 5925">
                <a:extLst>
                  <a:ext uri="{FF2B5EF4-FFF2-40B4-BE49-F238E27FC236}">
                    <a16:creationId xmlns:a16="http://schemas.microsoft.com/office/drawing/2014/main" id="{A925D81D-DDC3-461C-9CE2-7C8F8266BD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1890984" y="5013474"/>
                <a:ext cx="0" cy="0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4" name="Line 5959">
                <a:extLst>
                  <a:ext uri="{FF2B5EF4-FFF2-40B4-BE49-F238E27FC236}">
                    <a16:creationId xmlns:a16="http://schemas.microsoft.com/office/drawing/2014/main" id="{643D3539-28DC-4F04-882A-EDE9EA38A6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1890984" y="5013474"/>
                <a:ext cx="0" cy="0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316" name="Freeform 5960">
              <a:extLst>
                <a:ext uri="{FF2B5EF4-FFF2-40B4-BE49-F238E27FC236}">
                  <a16:creationId xmlns:a16="http://schemas.microsoft.com/office/drawing/2014/main" id="{CDBAE1AE-F7AF-49B7-836A-6CCAC99270FC}"/>
                </a:ext>
              </a:extLst>
            </p:cNvPr>
            <p:cNvSpPr/>
            <p:nvPr/>
          </p:nvSpPr>
          <p:spPr bwMode="auto">
            <a:xfrm>
              <a:off x="7321234" y="4603075"/>
              <a:ext cx="205053" cy="115631"/>
            </a:xfrm>
            <a:custGeom>
              <a:avLst/>
              <a:gdLst>
                <a:gd name="T0" fmla="*/ 512 w 532"/>
                <a:gd name="T1" fmla="*/ 188 h 300"/>
                <a:gd name="T2" fmla="*/ 474 w 532"/>
                <a:gd name="T3" fmla="*/ 192 h 300"/>
                <a:gd name="T4" fmla="*/ 446 w 532"/>
                <a:gd name="T5" fmla="*/ 180 h 300"/>
                <a:gd name="T6" fmla="*/ 430 w 532"/>
                <a:gd name="T7" fmla="*/ 172 h 300"/>
                <a:gd name="T8" fmla="*/ 416 w 532"/>
                <a:gd name="T9" fmla="*/ 184 h 300"/>
                <a:gd name="T10" fmla="*/ 400 w 532"/>
                <a:gd name="T11" fmla="*/ 170 h 300"/>
                <a:gd name="T12" fmla="*/ 390 w 532"/>
                <a:gd name="T13" fmla="*/ 186 h 300"/>
                <a:gd name="T14" fmla="*/ 374 w 532"/>
                <a:gd name="T15" fmla="*/ 162 h 300"/>
                <a:gd name="T16" fmla="*/ 332 w 532"/>
                <a:gd name="T17" fmla="*/ 156 h 300"/>
                <a:gd name="T18" fmla="*/ 334 w 532"/>
                <a:gd name="T19" fmla="*/ 136 h 300"/>
                <a:gd name="T20" fmla="*/ 312 w 532"/>
                <a:gd name="T21" fmla="*/ 138 h 300"/>
                <a:gd name="T22" fmla="*/ 302 w 532"/>
                <a:gd name="T23" fmla="*/ 130 h 300"/>
                <a:gd name="T24" fmla="*/ 274 w 532"/>
                <a:gd name="T25" fmla="*/ 112 h 300"/>
                <a:gd name="T26" fmla="*/ 260 w 532"/>
                <a:gd name="T27" fmla="*/ 86 h 300"/>
                <a:gd name="T28" fmla="*/ 232 w 532"/>
                <a:gd name="T29" fmla="*/ 90 h 300"/>
                <a:gd name="T30" fmla="*/ 204 w 532"/>
                <a:gd name="T31" fmla="*/ 58 h 300"/>
                <a:gd name="T32" fmla="*/ 160 w 532"/>
                <a:gd name="T33" fmla="*/ 34 h 300"/>
                <a:gd name="T34" fmla="*/ 134 w 532"/>
                <a:gd name="T35" fmla="*/ 10 h 300"/>
                <a:gd name="T36" fmla="*/ 90 w 532"/>
                <a:gd name="T37" fmla="*/ 4 h 300"/>
                <a:gd name="T38" fmla="*/ 66 w 532"/>
                <a:gd name="T39" fmla="*/ 22 h 300"/>
                <a:gd name="T40" fmla="*/ 52 w 532"/>
                <a:gd name="T41" fmla="*/ 18 h 300"/>
                <a:gd name="T42" fmla="*/ 32 w 532"/>
                <a:gd name="T43" fmla="*/ 36 h 300"/>
                <a:gd name="T44" fmla="*/ 14 w 532"/>
                <a:gd name="T45" fmla="*/ 80 h 300"/>
                <a:gd name="T46" fmla="*/ 2 w 532"/>
                <a:gd name="T47" fmla="*/ 106 h 300"/>
                <a:gd name="T48" fmla="*/ 12 w 532"/>
                <a:gd name="T49" fmla="*/ 126 h 300"/>
                <a:gd name="T50" fmla="*/ 30 w 532"/>
                <a:gd name="T51" fmla="*/ 132 h 300"/>
                <a:gd name="T52" fmla="*/ 44 w 532"/>
                <a:gd name="T53" fmla="*/ 138 h 300"/>
                <a:gd name="T54" fmla="*/ 74 w 532"/>
                <a:gd name="T55" fmla="*/ 154 h 300"/>
                <a:gd name="T56" fmla="*/ 94 w 532"/>
                <a:gd name="T57" fmla="*/ 174 h 300"/>
                <a:gd name="T58" fmla="*/ 122 w 532"/>
                <a:gd name="T59" fmla="*/ 188 h 300"/>
                <a:gd name="T60" fmla="*/ 134 w 532"/>
                <a:gd name="T61" fmla="*/ 190 h 300"/>
                <a:gd name="T62" fmla="*/ 172 w 532"/>
                <a:gd name="T63" fmla="*/ 204 h 300"/>
                <a:gd name="T64" fmla="*/ 198 w 532"/>
                <a:gd name="T65" fmla="*/ 220 h 300"/>
                <a:gd name="T66" fmla="*/ 218 w 532"/>
                <a:gd name="T67" fmla="*/ 220 h 300"/>
                <a:gd name="T68" fmla="*/ 248 w 532"/>
                <a:gd name="T69" fmla="*/ 226 h 300"/>
                <a:gd name="T70" fmla="*/ 274 w 532"/>
                <a:gd name="T71" fmla="*/ 222 h 300"/>
                <a:gd name="T72" fmla="*/ 302 w 532"/>
                <a:gd name="T73" fmla="*/ 238 h 300"/>
                <a:gd name="T74" fmla="*/ 326 w 532"/>
                <a:gd name="T75" fmla="*/ 262 h 300"/>
                <a:gd name="T76" fmla="*/ 336 w 532"/>
                <a:gd name="T77" fmla="*/ 270 h 300"/>
                <a:gd name="T78" fmla="*/ 354 w 532"/>
                <a:gd name="T79" fmla="*/ 268 h 300"/>
                <a:gd name="T80" fmla="*/ 370 w 532"/>
                <a:gd name="T81" fmla="*/ 274 h 300"/>
                <a:gd name="T82" fmla="*/ 390 w 532"/>
                <a:gd name="T83" fmla="*/ 278 h 300"/>
                <a:gd name="T84" fmla="*/ 418 w 532"/>
                <a:gd name="T85" fmla="*/ 286 h 300"/>
                <a:gd name="T86" fmla="*/ 456 w 532"/>
                <a:gd name="T87" fmla="*/ 286 h 300"/>
                <a:gd name="T88" fmla="*/ 474 w 532"/>
                <a:gd name="T89" fmla="*/ 300 h 300"/>
                <a:gd name="T90" fmla="*/ 504 w 532"/>
                <a:gd name="T91" fmla="*/ 296 h 300"/>
                <a:gd name="T92" fmla="*/ 524 w 532"/>
                <a:gd name="T93" fmla="*/ 294 h 300"/>
                <a:gd name="T94" fmla="*/ 528 w 532"/>
                <a:gd name="T95" fmla="*/ 258 h 300"/>
                <a:gd name="T96" fmla="*/ 526 w 532"/>
                <a:gd name="T97" fmla="*/ 212 h 300"/>
                <a:gd name="T98" fmla="*/ 532 w 532"/>
                <a:gd name="T99" fmla="*/ 19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32" h="300">
                  <a:moveTo>
                    <a:pt x="528" y="188"/>
                  </a:moveTo>
                  <a:lnTo>
                    <a:pt x="522" y="188"/>
                  </a:lnTo>
                  <a:lnTo>
                    <a:pt x="516" y="188"/>
                  </a:lnTo>
                  <a:lnTo>
                    <a:pt x="512" y="188"/>
                  </a:lnTo>
                  <a:lnTo>
                    <a:pt x="500" y="192"/>
                  </a:lnTo>
                  <a:lnTo>
                    <a:pt x="496" y="192"/>
                  </a:lnTo>
                  <a:lnTo>
                    <a:pt x="492" y="192"/>
                  </a:lnTo>
                  <a:lnTo>
                    <a:pt x="474" y="192"/>
                  </a:lnTo>
                  <a:lnTo>
                    <a:pt x="464" y="192"/>
                  </a:lnTo>
                  <a:lnTo>
                    <a:pt x="456" y="184"/>
                  </a:lnTo>
                  <a:lnTo>
                    <a:pt x="452" y="182"/>
                  </a:lnTo>
                  <a:lnTo>
                    <a:pt x="446" y="180"/>
                  </a:lnTo>
                  <a:lnTo>
                    <a:pt x="440" y="178"/>
                  </a:lnTo>
                  <a:lnTo>
                    <a:pt x="438" y="174"/>
                  </a:lnTo>
                  <a:lnTo>
                    <a:pt x="436" y="172"/>
                  </a:lnTo>
                  <a:lnTo>
                    <a:pt x="430" y="172"/>
                  </a:lnTo>
                  <a:lnTo>
                    <a:pt x="426" y="172"/>
                  </a:lnTo>
                  <a:lnTo>
                    <a:pt x="424" y="182"/>
                  </a:lnTo>
                  <a:lnTo>
                    <a:pt x="422" y="184"/>
                  </a:lnTo>
                  <a:lnTo>
                    <a:pt x="416" y="184"/>
                  </a:lnTo>
                  <a:lnTo>
                    <a:pt x="412" y="182"/>
                  </a:lnTo>
                  <a:lnTo>
                    <a:pt x="404" y="178"/>
                  </a:lnTo>
                  <a:lnTo>
                    <a:pt x="402" y="172"/>
                  </a:lnTo>
                  <a:lnTo>
                    <a:pt x="400" y="170"/>
                  </a:lnTo>
                  <a:lnTo>
                    <a:pt x="396" y="174"/>
                  </a:lnTo>
                  <a:lnTo>
                    <a:pt x="394" y="180"/>
                  </a:lnTo>
                  <a:lnTo>
                    <a:pt x="394" y="184"/>
                  </a:lnTo>
                  <a:lnTo>
                    <a:pt x="390" y="186"/>
                  </a:lnTo>
                  <a:lnTo>
                    <a:pt x="386" y="184"/>
                  </a:lnTo>
                  <a:lnTo>
                    <a:pt x="384" y="180"/>
                  </a:lnTo>
                  <a:lnTo>
                    <a:pt x="380" y="170"/>
                  </a:lnTo>
                  <a:lnTo>
                    <a:pt x="374" y="162"/>
                  </a:lnTo>
                  <a:lnTo>
                    <a:pt x="368" y="158"/>
                  </a:lnTo>
                  <a:lnTo>
                    <a:pt x="352" y="158"/>
                  </a:lnTo>
                  <a:lnTo>
                    <a:pt x="338" y="158"/>
                  </a:lnTo>
                  <a:lnTo>
                    <a:pt x="332" y="156"/>
                  </a:lnTo>
                  <a:lnTo>
                    <a:pt x="330" y="152"/>
                  </a:lnTo>
                  <a:lnTo>
                    <a:pt x="332" y="144"/>
                  </a:lnTo>
                  <a:lnTo>
                    <a:pt x="334" y="136"/>
                  </a:lnTo>
                  <a:lnTo>
                    <a:pt x="334" y="136"/>
                  </a:lnTo>
                  <a:lnTo>
                    <a:pt x="332" y="134"/>
                  </a:lnTo>
                  <a:lnTo>
                    <a:pt x="328" y="134"/>
                  </a:lnTo>
                  <a:lnTo>
                    <a:pt x="314" y="138"/>
                  </a:lnTo>
                  <a:lnTo>
                    <a:pt x="312" y="138"/>
                  </a:lnTo>
                  <a:lnTo>
                    <a:pt x="308" y="136"/>
                  </a:lnTo>
                  <a:lnTo>
                    <a:pt x="306" y="134"/>
                  </a:lnTo>
                  <a:lnTo>
                    <a:pt x="304" y="132"/>
                  </a:lnTo>
                  <a:lnTo>
                    <a:pt x="302" y="130"/>
                  </a:lnTo>
                  <a:lnTo>
                    <a:pt x="290" y="124"/>
                  </a:lnTo>
                  <a:lnTo>
                    <a:pt x="286" y="120"/>
                  </a:lnTo>
                  <a:lnTo>
                    <a:pt x="280" y="114"/>
                  </a:lnTo>
                  <a:lnTo>
                    <a:pt x="274" y="112"/>
                  </a:lnTo>
                  <a:lnTo>
                    <a:pt x="270" y="102"/>
                  </a:lnTo>
                  <a:lnTo>
                    <a:pt x="268" y="92"/>
                  </a:lnTo>
                  <a:lnTo>
                    <a:pt x="266" y="88"/>
                  </a:lnTo>
                  <a:lnTo>
                    <a:pt x="260" y="86"/>
                  </a:lnTo>
                  <a:lnTo>
                    <a:pt x="254" y="84"/>
                  </a:lnTo>
                  <a:lnTo>
                    <a:pt x="246" y="88"/>
                  </a:lnTo>
                  <a:lnTo>
                    <a:pt x="238" y="90"/>
                  </a:lnTo>
                  <a:lnTo>
                    <a:pt x="232" y="90"/>
                  </a:lnTo>
                  <a:lnTo>
                    <a:pt x="224" y="82"/>
                  </a:lnTo>
                  <a:lnTo>
                    <a:pt x="216" y="72"/>
                  </a:lnTo>
                  <a:lnTo>
                    <a:pt x="208" y="62"/>
                  </a:lnTo>
                  <a:lnTo>
                    <a:pt x="204" y="58"/>
                  </a:lnTo>
                  <a:lnTo>
                    <a:pt x="194" y="58"/>
                  </a:lnTo>
                  <a:lnTo>
                    <a:pt x="184" y="54"/>
                  </a:lnTo>
                  <a:lnTo>
                    <a:pt x="170" y="42"/>
                  </a:lnTo>
                  <a:lnTo>
                    <a:pt x="160" y="34"/>
                  </a:lnTo>
                  <a:lnTo>
                    <a:pt x="142" y="24"/>
                  </a:lnTo>
                  <a:lnTo>
                    <a:pt x="138" y="20"/>
                  </a:lnTo>
                  <a:lnTo>
                    <a:pt x="136" y="18"/>
                  </a:lnTo>
                  <a:lnTo>
                    <a:pt x="134" y="10"/>
                  </a:lnTo>
                  <a:lnTo>
                    <a:pt x="130" y="4"/>
                  </a:lnTo>
                  <a:lnTo>
                    <a:pt x="118" y="2"/>
                  </a:lnTo>
                  <a:lnTo>
                    <a:pt x="104" y="0"/>
                  </a:lnTo>
                  <a:lnTo>
                    <a:pt x="90" y="4"/>
                  </a:lnTo>
                  <a:lnTo>
                    <a:pt x="80" y="22"/>
                  </a:lnTo>
                  <a:lnTo>
                    <a:pt x="74" y="26"/>
                  </a:lnTo>
                  <a:lnTo>
                    <a:pt x="70" y="26"/>
                  </a:lnTo>
                  <a:lnTo>
                    <a:pt x="66" y="22"/>
                  </a:lnTo>
                  <a:lnTo>
                    <a:pt x="62" y="16"/>
                  </a:lnTo>
                  <a:lnTo>
                    <a:pt x="60" y="16"/>
                  </a:lnTo>
                  <a:lnTo>
                    <a:pt x="56" y="16"/>
                  </a:lnTo>
                  <a:lnTo>
                    <a:pt x="52" y="18"/>
                  </a:lnTo>
                  <a:lnTo>
                    <a:pt x="50" y="20"/>
                  </a:lnTo>
                  <a:lnTo>
                    <a:pt x="42" y="30"/>
                  </a:lnTo>
                  <a:lnTo>
                    <a:pt x="36" y="32"/>
                  </a:lnTo>
                  <a:lnTo>
                    <a:pt x="32" y="36"/>
                  </a:lnTo>
                  <a:lnTo>
                    <a:pt x="24" y="50"/>
                  </a:lnTo>
                  <a:lnTo>
                    <a:pt x="18" y="62"/>
                  </a:lnTo>
                  <a:lnTo>
                    <a:pt x="14" y="72"/>
                  </a:lnTo>
                  <a:lnTo>
                    <a:pt x="14" y="80"/>
                  </a:lnTo>
                  <a:lnTo>
                    <a:pt x="12" y="90"/>
                  </a:lnTo>
                  <a:lnTo>
                    <a:pt x="8" y="96"/>
                  </a:lnTo>
                  <a:lnTo>
                    <a:pt x="6" y="98"/>
                  </a:lnTo>
                  <a:lnTo>
                    <a:pt x="2" y="106"/>
                  </a:lnTo>
                  <a:lnTo>
                    <a:pt x="0" y="114"/>
                  </a:lnTo>
                  <a:lnTo>
                    <a:pt x="2" y="118"/>
                  </a:lnTo>
                  <a:lnTo>
                    <a:pt x="6" y="122"/>
                  </a:lnTo>
                  <a:lnTo>
                    <a:pt x="12" y="126"/>
                  </a:lnTo>
                  <a:lnTo>
                    <a:pt x="18" y="130"/>
                  </a:lnTo>
                  <a:lnTo>
                    <a:pt x="24" y="134"/>
                  </a:lnTo>
                  <a:lnTo>
                    <a:pt x="28" y="134"/>
                  </a:lnTo>
                  <a:lnTo>
                    <a:pt x="30" y="132"/>
                  </a:lnTo>
                  <a:lnTo>
                    <a:pt x="30" y="130"/>
                  </a:lnTo>
                  <a:lnTo>
                    <a:pt x="36" y="130"/>
                  </a:lnTo>
                  <a:lnTo>
                    <a:pt x="40" y="134"/>
                  </a:lnTo>
                  <a:lnTo>
                    <a:pt x="44" y="138"/>
                  </a:lnTo>
                  <a:lnTo>
                    <a:pt x="46" y="140"/>
                  </a:lnTo>
                  <a:lnTo>
                    <a:pt x="56" y="144"/>
                  </a:lnTo>
                  <a:lnTo>
                    <a:pt x="64" y="148"/>
                  </a:lnTo>
                  <a:lnTo>
                    <a:pt x="74" y="154"/>
                  </a:lnTo>
                  <a:lnTo>
                    <a:pt x="76" y="158"/>
                  </a:lnTo>
                  <a:lnTo>
                    <a:pt x="78" y="162"/>
                  </a:lnTo>
                  <a:lnTo>
                    <a:pt x="82" y="166"/>
                  </a:lnTo>
                  <a:lnTo>
                    <a:pt x="94" y="174"/>
                  </a:lnTo>
                  <a:lnTo>
                    <a:pt x="104" y="180"/>
                  </a:lnTo>
                  <a:lnTo>
                    <a:pt x="112" y="186"/>
                  </a:lnTo>
                  <a:lnTo>
                    <a:pt x="118" y="190"/>
                  </a:lnTo>
                  <a:lnTo>
                    <a:pt x="122" y="188"/>
                  </a:lnTo>
                  <a:lnTo>
                    <a:pt x="124" y="186"/>
                  </a:lnTo>
                  <a:lnTo>
                    <a:pt x="128" y="186"/>
                  </a:lnTo>
                  <a:lnTo>
                    <a:pt x="130" y="186"/>
                  </a:lnTo>
                  <a:lnTo>
                    <a:pt x="134" y="190"/>
                  </a:lnTo>
                  <a:lnTo>
                    <a:pt x="146" y="198"/>
                  </a:lnTo>
                  <a:lnTo>
                    <a:pt x="158" y="204"/>
                  </a:lnTo>
                  <a:lnTo>
                    <a:pt x="170" y="202"/>
                  </a:lnTo>
                  <a:lnTo>
                    <a:pt x="172" y="204"/>
                  </a:lnTo>
                  <a:lnTo>
                    <a:pt x="174" y="208"/>
                  </a:lnTo>
                  <a:lnTo>
                    <a:pt x="176" y="214"/>
                  </a:lnTo>
                  <a:lnTo>
                    <a:pt x="188" y="218"/>
                  </a:lnTo>
                  <a:lnTo>
                    <a:pt x="198" y="220"/>
                  </a:lnTo>
                  <a:lnTo>
                    <a:pt x="208" y="224"/>
                  </a:lnTo>
                  <a:lnTo>
                    <a:pt x="212" y="226"/>
                  </a:lnTo>
                  <a:lnTo>
                    <a:pt x="218" y="222"/>
                  </a:lnTo>
                  <a:lnTo>
                    <a:pt x="218" y="220"/>
                  </a:lnTo>
                  <a:lnTo>
                    <a:pt x="222" y="218"/>
                  </a:lnTo>
                  <a:lnTo>
                    <a:pt x="230" y="220"/>
                  </a:lnTo>
                  <a:lnTo>
                    <a:pt x="242" y="224"/>
                  </a:lnTo>
                  <a:lnTo>
                    <a:pt x="248" y="226"/>
                  </a:lnTo>
                  <a:lnTo>
                    <a:pt x="252" y="222"/>
                  </a:lnTo>
                  <a:lnTo>
                    <a:pt x="260" y="220"/>
                  </a:lnTo>
                  <a:lnTo>
                    <a:pt x="264" y="216"/>
                  </a:lnTo>
                  <a:lnTo>
                    <a:pt x="274" y="222"/>
                  </a:lnTo>
                  <a:lnTo>
                    <a:pt x="290" y="228"/>
                  </a:lnTo>
                  <a:lnTo>
                    <a:pt x="300" y="232"/>
                  </a:lnTo>
                  <a:lnTo>
                    <a:pt x="300" y="234"/>
                  </a:lnTo>
                  <a:lnTo>
                    <a:pt x="302" y="238"/>
                  </a:lnTo>
                  <a:lnTo>
                    <a:pt x="302" y="246"/>
                  </a:lnTo>
                  <a:lnTo>
                    <a:pt x="304" y="250"/>
                  </a:lnTo>
                  <a:lnTo>
                    <a:pt x="320" y="258"/>
                  </a:lnTo>
                  <a:lnTo>
                    <a:pt x="326" y="262"/>
                  </a:lnTo>
                  <a:lnTo>
                    <a:pt x="330" y="264"/>
                  </a:lnTo>
                  <a:lnTo>
                    <a:pt x="332" y="264"/>
                  </a:lnTo>
                  <a:lnTo>
                    <a:pt x="334" y="264"/>
                  </a:lnTo>
                  <a:lnTo>
                    <a:pt x="336" y="270"/>
                  </a:lnTo>
                  <a:lnTo>
                    <a:pt x="336" y="270"/>
                  </a:lnTo>
                  <a:lnTo>
                    <a:pt x="340" y="272"/>
                  </a:lnTo>
                  <a:lnTo>
                    <a:pt x="344" y="272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8" y="266"/>
                  </a:lnTo>
                  <a:lnTo>
                    <a:pt x="370" y="270"/>
                  </a:lnTo>
                  <a:lnTo>
                    <a:pt x="370" y="274"/>
                  </a:lnTo>
                  <a:lnTo>
                    <a:pt x="372" y="280"/>
                  </a:lnTo>
                  <a:lnTo>
                    <a:pt x="376" y="282"/>
                  </a:lnTo>
                  <a:lnTo>
                    <a:pt x="380" y="282"/>
                  </a:lnTo>
                  <a:lnTo>
                    <a:pt x="390" y="278"/>
                  </a:lnTo>
                  <a:lnTo>
                    <a:pt x="398" y="282"/>
                  </a:lnTo>
                  <a:lnTo>
                    <a:pt x="406" y="282"/>
                  </a:lnTo>
                  <a:lnTo>
                    <a:pt x="414" y="284"/>
                  </a:lnTo>
                  <a:lnTo>
                    <a:pt x="418" y="286"/>
                  </a:lnTo>
                  <a:lnTo>
                    <a:pt x="426" y="290"/>
                  </a:lnTo>
                  <a:lnTo>
                    <a:pt x="436" y="294"/>
                  </a:lnTo>
                  <a:lnTo>
                    <a:pt x="440" y="294"/>
                  </a:lnTo>
                  <a:lnTo>
                    <a:pt x="456" y="286"/>
                  </a:lnTo>
                  <a:lnTo>
                    <a:pt x="458" y="286"/>
                  </a:lnTo>
                  <a:lnTo>
                    <a:pt x="462" y="294"/>
                  </a:lnTo>
                  <a:lnTo>
                    <a:pt x="466" y="298"/>
                  </a:lnTo>
                  <a:lnTo>
                    <a:pt x="474" y="300"/>
                  </a:lnTo>
                  <a:lnTo>
                    <a:pt x="482" y="296"/>
                  </a:lnTo>
                  <a:lnTo>
                    <a:pt x="490" y="296"/>
                  </a:lnTo>
                  <a:lnTo>
                    <a:pt x="498" y="298"/>
                  </a:lnTo>
                  <a:lnTo>
                    <a:pt x="504" y="296"/>
                  </a:lnTo>
                  <a:lnTo>
                    <a:pt x="512" y="294"/>
                  </a:lnTo>
                  <a:lnTo>
                    <a:pt x="520" y="298"/>
                  </a:lnTo>
                  <a:lnTo>
                    <a:pt x="522" y="298"/>
                  </a:lnTo>
                  <a:lnTo>
                    <a:pt x="524" y="294"/>
                  </a:lnTo>
                  <a:lnTo>
                    <a:pt x="528" y="284"/>
                  </a:lnTo>
                  <a:lnTo>
                    <a:pt x="532" y="274"/>
                  </a:lnTo>
                  <a:lnTo>
                    <a:pt x="532" y="268"/>
                  </a:lnTo>
                  <a:lnTo>
                    <a:pt x="528" y="258"/>
                  </a:lnTo>
                  <a:lnTo>
                    <a:pt x="520" y="246"/>
                  </a:lnTo>
                  <a:lnTo>
                    <a:pt x="520" y="244"/>
                  </a:lnTo>
                  <a:lnTo>
                    <a:pt x="522" y="222"/>
                  </a:lnTo>
                  <a:lnTo>
                    <a:pt x="526" y="212"/>
                  </a:lnTo>
                  <a:lnTo>
                    <a:pt x="528" y="206"/>
                  </a:lnTo>
                  <a:lnTo>
                    <a:pt x="530" y="198"/>
                  </a:lnTo>
                  <a:lnTo>
                    <a:pt x="532" y="194"/>
                  </a:lnTo>
                  <a:lnTo>
                    <a:pt x="532" y="190"/>
                  </a:lnTo>
                  <a:lnTo>
                    <a:pt x="528" y="18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7" name="Freeform 5964">
              <a:extLst>
                <a:ext uri="{FF2B5EF4-FFF2-40B4-BE49-F238E27FC236}">
                  <a16:creationId xmlns:a16="http://schemas.microsoft.com/office/drawing/2014/main" id="{B4C0419C-6833-47B1-BDF0-43B5F637CEFC}"/>
                </a:ext>
              </a:extLst>
            </p:cNvPr>
            <p:cNvSpPr/>
            <p:nvPr/>
          </p:nvSpPr>
          <p:spPr bwMode="auto">
            <a:xfrm>
              <a:off x="9515534" y="5421745"/>
              <a:ext cx="1542" cy="1542"/>
            </a:xfrm>
            <a:custGeom>
              <a:avLst/>
              <a:gdLst>
                <a:gd name="T0" fmla="*/ 4 w 4"/>
                <a:gd name="T1" fmla="*/ 2 h 4"/>
                <a:gd name="T2" fmla="*/ 4 w 4"/>
                <a:gd name="T3" fmla="*/ 2 h 4"/>
                <a:gd name="T4" fmla="*/ 2 w 4"/>
                <a:gd name="T5" fmla="*/ 0 h 4"/>
                <a:gd name="T6" fmla="*/ 0 w 4"/>
                <a:gd name="T7" fmla="*/ 2 h 4"/>
                <a:gd name="T8" fmla="*/ 0 w 4"/>
                <a:gd name="T9" fmla="*/ 2 h 4"/>
                <a:gd name="T10" fmla="*/ 0 w 4"/>
                <a:gd name="T11" fmla="*/ 4 h 4"/>
                <a:gd name="T12" fmla="*/ 2 w 4"/>
                <a:gd name="T13" fmla="*/ 4 h 4"/>
                <a:gd name="T14" fmla="*/ 4 w 4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lnTo>
                    <a:pt x="4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8" name="Line 5965">
              <a:extLst>
                <a:ext uri="{FF2B5EF4-FFF2-40B4-BE49-F238E27FC236}">
                  <a16:creationId xmlns:a16="http://schemas.microsoft.com/office/drawing/2014/main" id="{080DDBFF-3874-465C-9C0F-781BD4D1336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517076" y="5422516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9" name="Line 5967">
              <a:extLst>
                <a:ext uri="{FF2B5EF4-FFF2-40B4-BE49-F238E27FC236}">
                  <a16:creationId xmlns:a16="http://schemas.microsoft.com/office/drawing/2014/main" id="{986BBFDA-6AA5-4F41-81FE-CE50507E9F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517076" y="5422516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0" name="Freeform 268">
              <a:extLst>
                <a:ext uri="{FF2B5EF4-FFF2-40B4-BE49-F238E27FC236}">
                  <a16:creationId xmlns:a16="http://schemas.microsoft.com/office/drawing/2014/main" id="{F517BC73-B1FB-4ECF-92F3-4EBD7C0E8ED1}"/>
                </a:ext>
              </a:extLst>
            </p:cNvPr>
            <p:cNvSpPr/>
            <p:nvPr/>
          </p:nvSpPr>
          <p:spPr bwMode="auto">
            <a:xfrm>
              <a:off x="6612027" y="4718706"/>
              <a:ext cx="198116" cy="264410"/>
            </a:xfrm>
            <a:custGeom>
              <a:avLst/>
              <a:gdLst>
                <a:gd name="connsiteX0" fmla="*/ 1076920 w 1224640"/>
                <a:gd name="connsiteY0" fmla="*/ 967320 h 1634436"/>
                <a:gd name="connsiteX1" fmla="*/ 1086448 w 1224640"/>
                <a:gd name="connsiteY1" fmla="*/ 995908 h 1634436"/>
                <a:gd name="connsiteX2" fmla="*/ 1072152 w 1224640"/>
                <a:gd name="connsiteY2" fmla="*/ 1010204 h 1634436"/>
                <a:gd name="connsiteX3" fmla="*/ 1057860 w 1224640"/>
                <a:gd name="connsiteY3" fmla="*/ 1038796 h 1634436"/>
                <a:gd name="connsiteX4" fmla="*/ 1053092 w 1224640"/>
                <a:gd name="connsiteY4" fmla="*/ 1043560 h 1634436"/>
                <a:gd name="connsiteX5" fmla="*/ 1043564 w 1224640"/>
                <a:gd name="connsiteY5" fmla="*/ 1048328 h 1634436"/>
                <a:gd name="connsiteX6" fmla="*/ 1038800 w 1224640"/>
                <a:gd name="connsiteY6" fmla="*/ 1048328 h 1634436"/>
                <a:gd name="connsiteX7" fmla="*/ 1038800 w 1224640"/>
                <a:gd name="connsiteY7" fmla="*/ 1024500 h 1634436"/>
                <a:gd name="connsiteX8" fmla="*/ 1062624 w 1224640"/>
                <a:gd name="connsiteY8" fmla="*/ 1000676 h 1634436"/>
                <a:gd name="connsiteX9" fmla="*/ 686180 w 1224640"/>
                <a:gd name="connsiteY9" fmla="*/ 238256 h 1634436"/>
                <a:gd name="connsiteX10" fmla="*/ 705240 w 1224640"/>
                <a:gd name="connsiteY10" fmla="*/ 285908 h 1634436"/>
                <a:gd name="connsiteX11" fmla="*/ 729064 w 1224640"/>
                <a:gd name="connsiteY11" fmla="*/ 328792 h 1634436"/>
                <a:gd name="connsiteX12" fmla="*/ 748124 w 1224640"/>
                <a:gd name="connsiteY12" fmla="*/ 347852 h 1634436"/>
                <a:gd name="connsiteX13" fmla="*/ 767184 w 1224640"/>
                <a:gd name="connsiteY13" fmla="*/ 381208 h 1634436"/>
                <a:gd name="connsiteX14" fmla="*/ 800540 w 1224640"/>
                <a:gd name="connsiteY14" fmla="*/ 409800 h 1634436"/>
                <a:gd name="connsiteX15" fmla="*/ 819604 w 1224640"/>
                <a:gd name="connsiteY15" fmla="*/ 419328 h 1634436"/>
                <a:gd name="connsiteX16" fmla="*/ 876784 w 1224640"/>
                <a:gd name="connsiteY16" fmla="*/ 443156 h 1634436"/>
                <a:gd name="connsiteX17" fmla="*/ 914904 w 1224640"/>
                <a:gd name="connsiteY17" fmla="*/ 447920 h 1634436"/>
                <a:gd name="connsiteX18" fmla="*/ 957792 w 1224640"/>
                <a:gd name="connsiteY18" fmla="*/ 457452 h 1634436"/>
                <a:gd name="connsiteX19" fmla="*/ 991148 w 1224640"/>
                <a:gd name="connsiteY19" fmla="*/ 471748 h 1634436"/>
                <a:gd name="connsiteX20" fmla="*/ 1000676 w 1224640"/>
                <a:gd name="connsiteY20" fmla="*/ 471748 h 1634436"/>
                <a:gd name="connsiteX21" fmla="*/ 1019736 w 1224640"/>
                <a:gd name="connsiteY21" fmla="*/ 466980 h 1634436"/>
                <a:gd name="connsiteX22" fmla="*/ 1029268 w 1224640"/>
                <a:gd name="connsiteY22" fmla="*/ 466980 h 1634436"/>
                <a:gd name="connsiteX23" fmla="*/ 1062624 w 1224640"/>
                <a:gd name="connsiteY23" fmla="*/ 490808 h 1634436"/>
                <a:gd name="connsiteX24" fmla="*/ 1067388 w 1224640"/>
                <a:gd name="connsiteY24" fmla="*/ 509868 h 1634436"/>
                <a:gd name="connsiteX25" fmla="*/ 1081684 w 1224640"/>
                <a:gd name="connsiteY25" fmla="*/ 519396 h 1634436"/>
                <a:gd name="connsiteX26" fmla="*/ 1091216 w 1224640"/>
                <a:gd name="connsiteY26" fmla="*/ 538456 h 1634436"/>
                <a:gd name="connsiteX27" fmla="*/ 1100744 w 1224640"/>
                <a:gd name="connsiteY27" fmla="*/ 557520 h 1634436"/>
                <a:gd name="connsiteX28" fmla="*/ 1124572 w 1224640"/>
                <a:gd name="connsiteY28" fmla="*/ 581344 h 1634436"/>
                <a:gd name="connsiteX29" fmla="*/ 1143632 w 1224640"/>
                <a:gd name="connsiteY29" fmla="*/ 614700 h 1634436"/>
                <a:gd name="connsiteX30" fmla="*/ 1162692 w 1224640"/>
                <a:gd name="connsiteY30" fmla="*/ 633760 h 1634436"/>
                <a:gd name="connsiteX31" fmla="*/ 1176988 w 1224640"/>
                <a:gd name="connsiteY31" fmla="*/ 648056 h 1634436"/>
                <a:gd name="connsiteX32" fmla="*/ 1205576 w 1224640"/>
                <a:gd name="connsiteY32" fmla="*/ 652820 h 1634436"/>
                <a:gd name="connsiteX33" fmla="*/ 1224640 w 1224640"/>
                <a:gd name="connsiteY33" fmla="*/ 662352 h 1634436"/>
                <a:gd name="connsiteX34" fmla="*/ 1224640 w 1224640"/>
                <a:gd name="connsiteY34" fmla="*/ 676648 h 1634436"/>
                <a:gd name="connsiteX35" fmla="*/ 1224640 w 1224640"/>
                <a:gd name="connsiteY35" fmla="*/ 695708 h 1634436"/>
                <a:gd name="connsiteX36" fmla="*/ 1219872 w 1224640"/>
                <a:gd name="connsiteY36" fmla="*/ 710004 h 1634436"/>
                <a:gd name="connsiteX37" fmla="*/ 1200812 w 1224640"/>
                <a:gd name="connsiteY37" fmla="*/ 738592 h 1634436"/>
                <a:gd name="connsiteX38" fmla="*/ 1196048 w 1224640"/>
                <a:gd name="connsiteY38" fmla="*/ 752888 h 1634436"/>
                <a:gd name="connsiteX39" fmla="*/ 1176988 w 1224640"/>
                <a:gd name="connsiteY39" fmla="*/ 781480 h 1634436"/>
                <a:gd name="connsiteX40" fmla="*/ 1153160 w 1224640"/>
                <a:gd name="connsiteY40" fmla="*/ 829132 h 1634436"/>
                <a:gd name="connsiteX41" fmla="*/ 1143632 w 1224640"/>
                <a:gd name="connsiteY41" fmla="*/ 843428 h 1634436"/>
                <a:gd name="connsiteX42" fmla="*/ 1105508 w 1224640"/>
                <a:gd name="connsiteY42" fmla="*/ 867252 h 1634436"/>
                <a:gd name="connsiteX43" fmla="*/ 1081684 w 1224640"/>
                <a:gd name="connsiteY43" fmla="*/ 895844 h 1634436"/>
                <a:gd name="connsiteX44" fmla="*/ 1048328 w 1224640"/>
                <a:gd name="connsiteY44" fmla="*/ 948260 h 1634436"/>
                <a:gd name="connsiteX45" fmla="*/ 1024504 w 1224640"/>
                <a:gd name="connsiteY45" fmla="*/ 995912 h 1634436"/>
                <a:gd name="connsiteX46" fmla="*/ 1014972 w 1224640"/>
                <a:gd name="connsiteY46" fmla="*/ 1014972 h 1634436"/>
                <a:gd name="connsiteX47" fmla="*/ 995912 w 1224640"/>
                <a:gd name="connsiteY47" fmla="*/ 1014972 h 1634436"/>
                <a:gd name="connsiteX48" fmla="*/ 981616 w 1224640"/>
                <a:gd name="connsiteY48" fmla="*/ 1014972 h 1634436"/>
                <a:gd name="connsiteX49" fmla="*/ 972088 w 1224640"/>
                <a:gd name="connsiteY49" fmla="*/ 1010204 h 1634436"/>
                <a:gd name="connsiteX50" fmla="*/ 976852 w 1224640"/>
                <a:gd name="connsiteY50" fmla="*/ 995912 h 1634436"/>
                <a:gd name="connsiteX51" fmla="*/ 976852 w 1224640"/>
                <a:gd name="connsiteY51" fmla="*/ 981616 h 1634436"/>
                <a:gd name="connsiteX52" fmla="*/ 967320 w 1224640"/>
                <a:gd name="connsiteY52" fmla="*/ 981616 h 1634436"/>
                <a:gd name="connsiteX53" fmla="*/ 957792 w 1224640"/>
                <a:gd name="connsiteY53" fmla="*/ 986380 h 1634436"/>
                <a:gd name="connsiteX54" fmla="*/ 933964 w 1224640"/>
                <a:gd name="connsiteY54" fmla="*/ 1024500 h 1634436"/>
                <a:gd name="connsiteX55" fmla="*/ 919668 w 1224640"/>
                <a:gd name="connsiteY55" fmla="*/ 1038796 h 1634436"/>
                <a:gd name="connsiteX56" fmla="*/ 914904 w 1224640"/>
                <a:gd name="connsiteY56" fmla="*/ 1062620 h 1634436"/>
                <a:gd name="connsiteX57" fmla="*/ 910140 w 1224640"/>
                <a:gd name="connsiteY57" fmla="*/ 1091212 h 1634436"/>
                <a:gd name="connsiteX58" fmla="*/ 900608 w 1224640"/>
                <a:gd name="connsiteY58" fmla="*/ 1115040 h 1634436"/>
                <a:gd name="connsiteX59" fmla="*/ 895844 w 1224640"/>
                <a:gd name="connsiteY59" fmla="*/ 1134100 h 1634436"/>
                <a:gd name="connsiteX60" fmla="*/ 895844 w 1224640"/>
                <a:gd name="connsiteY60" fmla="*/ 1148396 h 1634436"/>
                <a:gd name="connsiteX61" fmla="*/ 900608 w 1224640"/>
                <a:gd name="connsiteY61" fmla="*/ 1176984 h 1634436"/>
                <a:gd name="connsiteX62" fmla="*/ 900608 w 1224640"/>
                <a:gd name="connsiteY62" fmla="*/ 1205576 h 1634436"/>
                <a:gd name="connsiteX63" fmla="*/ 905376 w 1224640"/>
                <a:gd name="connsiteY63" fmla="*/ 1224636 h 1634436"/>
                <a:gd name="connsiteX64" fmla="*/ 910140 w 1224640"/>
                <a:gd name="connsiteY64" fmla="*/ 1243696 h 1634436"/>
                <a:gd name="connsiteX65" fmla="*/ 900608 w 1224640"/>
                <a:gd name="connsiteY65" fmla="*/ 1248460 h 1634436"/>
                <a:gd name="connsiteX66" fmla="*/ 891080 w 1224640"/>
                <a:gd name="connsiteY66" fmla="*/ 1253228 h 1634436"/>
                <a:gd name="connsiteX67" fmla="*/ 852960 w 1224640"/>
                <a:gd name="connsiteY67" fmla="*/ 1257992 h 1634436"/>
                <a:gd name="connsiteX68" fmla="*/ 810072 w 1224640"/>
                <a:gd name="connsiteY68" fmla="*/ 1262756 h 1634436"/>
                <a:gd name="connsiteX69" fmla="*/ 776716 w 1224640"/>
                <a:gd name="connsiteY69" fmla="*/ 1277052 h 1634436"/>
                <a:gd name="connsiteX70" fmla="*/ 757656 w 1224640"/>
                <a:gd name="connsiteY70" fmla="*/ 1286584 h 1634436"/>
                <a:gd name="connsiteX71" fmla="*/ 729064 w 1224640"/>
                <a:gd name="connsiteY71" fmla="*/ 1315172 h 1634436"/>
                <a:gd name="connsiteX72" fmla="*/ 714768 w 1224640"/>
                <a:gd name="connsiteY72" fmla="*/ 1386652 h 1634436"/>
                <a:gd name="connsiteX73" fmla="*/ 686180 w 1224640"/>
                <a:gd name="connsiteY73" fmla="*/ 1415240 h 1634436"/>
                <a:gd name="connsiteX74" fmla="*/ 667120 w 1224640"/>
                <a:gd name="connsiteY74" fmla="*/ 1420008 h 1634436"/>
                <a:gd name="connsiteX75" fmla="*/ 628996 w 1224640"/>
                <a:gd name="connsiteY75" fmla="*/ 1424772 h 1634436"/>
                <a:gd name="connsiteX76" fmla="*/ 567052 w 1224640"/>
                <a:gd name="connsiteY76" fmla="*/ 1429536 h 1634436"/>
                <a:gd name="connsiteX77" fmla="*/ 547988 w 1224640"/>
                <a:gd name="connsiteY77" fmla="*/ 1439068 h 1634436"/>
                <a:gd name="connsiteX78" fmla="*/ 509868 w 1224640"/>
                <a:gd name="connsiteY78" fmla="*/ 1481952 h 1634436"/>
                <a:gd name="connsiteX79" fmla="*/ 509868 w 1224640"/>
                <a:gd name="connsiteY79" fmla="*/ 1491484 h 1634436"/>
                <a:gd name="connsiteX80" fmla="*/ 514632 w 1224640"/>
                <a:gd name="connsiteY80" fmla="*/ 1501012 h 1634436"/>
                <a:gd name="connsiteX81" fmla="*/ 514632 w 1224640"/>
                <a:gd name="connsiteY81" fmla="*/ 1515308 h 1634436"/>
                <a:gd name="connsiteX82" fmla="*/ 514632 w 1224640"/>
                <a:gd name="connsiteY82" fmla="*/ 1524840 h 1634436"/>
                <a:gd name="connsiteX83" fmla="*/ 500340 w 1224640"/>
                <a:gd name="connsiteY83" fmla="*/ 1548664 h 1634436"/>
                <a:gd name="connsiteX84" fmla="*/ 481276 w 1224640"/>
                <a:gd name="connsiteY84" fmla="*/ 1567724 h 1634436"/>
                <a:gd name="connsiteX85" fmla="*/ 433628 w 1224640"/>
                <a:gd name="connsiteY85" fmla="*/ 1582020 h 1634436"/>
                <a:gd name="connsiteX86" fmla="*/ 419332 w 1224640"/>
                <a:gd name="connsiteY86" fmla="*/ 1572492 h 1634436"/>
                <a:gd name="connsiteX87" fmla="*/ 405036 w 1224640"/>
                <a:gd name="connsiteY87" fmla="*/ 1572492 h 1634436"/>
                <a:gd name="connsiteX88" fmla="*/ 371680 w 1224640"/>
                <a:gd name="connsiteY88" fmla="*/ 1572492 h 1634436"/>
                <a:gd name="connsiteX89" fmla="*/ 324028 w 1224640"/>
                <a:gd name="connsiteY89" fmla="*/ 1577256 h 1634436"/>
                <a:gd name="connsiteX90" fmla="*/ 309732 w 1224640"/>
                <a:gd name="connsiteY90" fmla="*/ 1591552 h 1634436"/>
                <a:gd name="connsiteX91" fmla="*/ 281144 w 1224640"/>
                <a:gd name="connsiteY91" fmla="*/ 1601080 h 1634436"/>
                <a:gd name="connsiteX92" fmla="*/ 252552 w 1224640"/>
                <a:gd name="connsiteY92" fmla="*/ 1615376 h 1634436"/>
                <a:gd name="connsiteX93" fmla="*/ 204900 w 1224640"/>
                <a:gd name="connsiteY93" fmla="*/ 1620140 h 1634436"/>
                <a:gd name="connsiteX94" fmla="*/ 171544 w 1224640"/>
                <a:gd name="connsiteY94" fmla="*/ 1634436 h 1634436"/>
                <a:gd name="connsiteX95" fmla="*/ 162016 w 1224640"/>
                <a:gd name="connsiteY95" fmla="*/ 1610612 h 1634436"/>
                <a:gd name="connsiteX96" fmla="*/ 152484 w 1224640"/>
                <a:gd name="connsiteY96" fmla="*/ 1591552 h 1634436"/>
                <a:gd name="connsiteX97" fmla="*/ 142952 w 1224640"/>
                <a:gd name="connsiteY97" fmla="*/ 1567724 h 1634436"/>
                <a:gd name="connsiteX98" fmla="*/ 133424 w 1224640"/>
                <a:gd name="connsiteY98" fmla="*/ 1548664 h 1634436"/>
                <a:gd name="connsiteX99" fmla="*/ 128660 w 1224640"/>
                <a:gd name="connsiteY99" fmla="*/ 1534368 h 1634436"/>
                <a:gd name="connsiteX100" fmla="*/ 114364 w 1224640"/>
                <a:gd name="connsiteY100" fmla="*/ 1524840 h 1634436"/>
                <a:gd name="connsiteX101" fmla="*/ 109596 w 1224640"/>
                <a:gd name="connsiteY101" fmla="*/ 1510544 h 1634436"/>
                <a:gd name="connsiteX102" fmla="*/ 104832 w 1224640"/>
                <a:gd name="connsiteY102" fmla="*/ 1496248 h 1634436"/>
                <a:gd name="connsiteX103" fmla="*/ 81008 w 1224640"/>
                <a:gd name="connsiteY103" fmla="*/ 1443832 h 1634436"/>
                <a:gd name="connsiteX104" fmla="*/ 76244 w 1224640"/>
                <a:gd name="connsiteY104" fmla="*/ 1429536 h 1634436"/>
                <a:gd name="connsiteX105" fmla="*/ 66712 w 1224640"/>
                <a:gd name="connsiteY105" fmla="*/ 1410476 h 1634436"/>
                <a:gd name="connsiteX106" fmla="*/ 52416 w 1224640"/>
                <a:gd name="connsiteY106" fmla="*/ 1381884 h 1634436"/>
                <a:gd name="connsiteX107" fmla="*/ 47652 w 1224640"/>
                <a:gd name="connsiteY107" fmla="*/ 1362824 h 1634436"/>
                <a:gd name="connsiteX108" fmla="*/ 38120 w 1224640"/>
                <a:gd name="connsiteY108" fmla="*/ 1348528 h 1634436"/>
                <a:gd name="connsiteX109" fmla="*/ 33356 w 1224640"/>
                <a:gd name="connsiteY109" fmla="*/ 1329468 h 1634436"/>
                <a:gd name="connsiteX110" fmla="*/ 28592 w 1224640"/>
                <a:gd name="connsiteY110" fmla="*/ 1315172 h 1634436"/>
                <a:gd name="connsiteX111" fmla="*/ 14296 w 1224640"/>
                <a:gd name="connsiteY111" fmla="*/ 1281816 h 1634436"/>
                <a:gd name="connsiteX112" fmla="*/ 4764 w 1224640"/>
                <a:gd name="connsiteY112" fmla="*/ 1262756 h 1634436"/>
                <a:gd name="connsiteX113" fmla="*/ 0 w 1224640"/>
                <a:gd name="connsiteY113" fmla="*/ 1248460 h 1634436"/>
                <a:gd name="connsiteX114" fmla="*/ 19060 w 1224640"/>
                <a:gd name="connsiteY114" fmla="*/ 1238932 h 1634436"/>
                <a:gd name="connsiteX115" fmla="*/ 47652 w 1224640"/>
                <a:gd name="connsiteY115" fmla="*/ 1229400 h 1634436"/>
                <a:gd name="connsiteX116" fmla="*/ 100068 w 1224640"/>
                <a:gd name="connsiteY116" fmla="*/ 1210340 h 1634436"/>
                <a:gd name="connsiteX117" fmla="*/ 128660 w 1224640"/>
                <a:gd name="connsiteY117" fmla="*/ 1200812 h 1634436"/>
                <a:gd name="connsiteX118" fmla="*/ 157248 w 1224640"/>
                <a:gd name="connsiteY118" fmla="*/ 1191280 h 1634436"/>
                <a:gd name="connsiteX119" fmla="*/ 181076 w 1224640"/>
                <a:gd name="connsiteY119" fmla="*/ 1181752 h 1634436"/>
                <a:gd name="connsiteX120" fmla="*/ 209664 w 1224640"/>
                <a:gd name="connsiteY120" fmla="*/ 1172220 h 1634436"/>
                <a:gd name="connsiteX121" fmla="*/ 238256 w 1224640"/>
                <a:gd name="connsiteY121" fmla="*/ 1162688 h 1634436"/>
                <a:gd name="connsiteX122" fmla="*/ 262084 w 1224640"/>
                <a:gd name="connsiteY122" fmla="*/ 1153160 h 1634436"/>
                <a:gd name="connsiteX123" fmla="*/ 290672 w 1224640"/>
                <a:gd name="connsiteY123" fmla="*/ 1143628 h 1634436"/>
                <a:gd name="connsiteX124" fmla="*/ 314500 w 1224640"/>
                <a:gd name="connsiteY124" fmla="*/ 1134100 h 1634436"/>
                <a:gd name="connsiteX125" fmla="*/ 343088 w 1224640"/>
                <a:gd name="connsiteY125" fmla="*/ 1124568 h 1634436"/>
                <a:gd name="connsiteX126" fmla="*/ 371680 w 1224640"/>
                <a:gd name="connsiteY126" fmla="*/ 1115040 h 1634436"/>
                <a:gd name="connsiteX127" fmla="*/ 395504 w 1224640"/>
                <a:gd name="connsiteY127" fmla="*/ 1105508 h 1634436"/>
                <a:gd name="connsiteX128" fmla="*/ 424096 w 1224640"/>
                <a:gd name="connsiteY128" fmla="*/ 1095976 h 1634436"/>
                <a:gd name="connsiteX129" fmla="*/ 452688 w 1224640"/>
                <a:gd name="connsiteY129" fmla="*/ 1086448 h 1634436"/>
                <a:gd name="connsiteX130" fmla="*/ 466984 w 1224640"/>
                <a:gd name="connsiteY130" fmla="*/ 1081684 h 1634436"/>
                <a:gd name="connsiteX131" fmla="*/ 476512 w 1224640"/>
                <a:gd name="connsiteY131" fmla="*/ 1062620 h 1634436"/>
                <a:gd name="connsiteX132" fmla="*/ 481276 w 1224640"/>
                <a:gd name="connsiteY132" fmla="*/ 1043560 h 1634436"/>
                <a:gd name="connsiteX133" fmla="*/ 486044 w 1224640"/>
                <a:gd name="connsiteY133" fmla="*/ 1024500 h 1634436"/>
                <a:gd name="connsiteX134" fmla="*/ 509868 w 1224640"/>
                <a:gd name="connsiteY134" fmla="*/ 948260 h 1634436"/>
                <a:gd name="connsiteX135" fmla="*/ 514632 w 1224640"/>
                <a:gd name="connsiteY135" fmla="*/ 929200 h 1634436"/>
                <a:gd name="connsiteX136" fmla="*/ 519400 w 1224640"/>
                <a:gd name="connsiteY136" fmla="*/ 910136 h 1634436"/>
                <a:gd name="connsiteX137" fmla="*/ 533696 w 1224640"/>
                <a:gd name="connsiteY137" fmla="*/ 876780 h 1634436"/>
                <a:gd name="connsiteX138" fmla="*/ 538460 w 1224640"/>
                <a:gd name="connsiteY138" fmla="*/ 857720 h 1634436"/>
                <a:gd name="connsiteX139" fmla="*/ 547988 w 1224640"/>
                <a:gd name="connsiteY139" fmla="*/ 819600 h 1634436"/>
                <a:gd name="connsiteX140" fmla="*/ 552756 w 1224640"/>
                <a:gd name="connsiteY140" fmla="*/ 800540 h 1634436"/>
                <a:gd name="connsiteX141" fmla="*/ 562284 w 1224640"/>
                <a:gd name="connsiteY141" fmla="*/ 781480 h 1634436"/>
                <a:gd name="connsiteX142" fmla="*/ 567052 w 1224640"/>
                <a:gd name="connsiteY142" fmla="*/ 762420 h 1634436"/>
                <a:gd name="connsiteX143" fmla="*/ 571816 w 1224640"/>
                <a:gd name="connsiteY143" fmla="*/ 748124 h 1634436"/>
                <a:gd name="connsiteX144" fmla="*/ 562284 w 1224640"/>
                <a:gd name="connsiteY144" fmla="*/ 729064 h 1634436"/>
                <a:gd name="connsiteX145" fmla="*/ 547988 w 1224640"/>
                <a:gd name="connsiteY145" fmla="*/ 710004 h 1634436"/>
                <a:gd name="connsiteX146" fmla="*/ 533696 w 1224640"/>
                <a:gd name="connsiteY146" fmla="*/ 686176 h 1634436"/>
                <a:gd name="connsiteX147" fmla="*/ 519400 w 1224640"/>
                <a:gd name="connsiteY147" fmla="*/ 662352 h 1634436"/>
                <a:gd name="connsiteX148" fmla="*/ 509868 w 1224640"/>
                <a:gd name="connsiteY148" fmla="*/ 648056 h 1634436"/>
                <a:gd name="connsiteX149" fmla="*/ 500340 w 1224640"/>
                <a:gd name="connsiteY149" fmla="*/ 628996 h 1634436"/>
                <a:gd name="connsiteX150" fmla="*/ 500340 w 1224640"/>
                <a:gd name="connsiteY150" fmla="*/ 605168 h 1634436"/>
                <a:gd name="connsiteX151" fmla="*/ 500340 w 1224640"/>
                <a:gd name="connsiteY151" fmla="*/ 590876 h 1634436"/>
                <a:gd name="connsiteX152" fmla="*/ 500340 w 1224640"/>
                <a:gd name="connsiteY152" fmla="*/ 571812 h 1634436"/>
                <a:gd name="connsiteX153" fmla="*/ 514632 w 1224640"/>
                <a:gd name="connsiteY153" fmla="*/ 543224 h 1634436"/>
                <a:gd name="connsiteX154" fmla="*/ 524164 w 1224640"/>
                <a:gd name="connsiteY154" fmla="*/ 514632 h 1634436"/>
                <a:gd name="connsiteX155" fmla="*/ 538460 w 1224640"/>
                <a:gd name="connsiteY155" fmla="*/ 490808 h 1634436"/>
                <a:gd name="connsiteX156" fmla="*/ 543224 w 1224640"/>
                <a:gd name="connsiteY156" fmla="*/ 471748 h 1634436"/>
                <a:gd name="connsiteX157" fmla="*/ 552756 w 1224640"/>
                <a:gd name="connsiteY157" fmla="*/ 452684 h 1634436"/>
                <a:gd name="connsiteX158" fmla="*/ 552756 w 1224640"/>
                <a:gd name="connsiteY158" fmla="*/ 438392 h 1634436"/>
                <a:gd name="connsiteX159" fmla="*/ 552756 w 1224640"/>
                <a:gd name="connsiteY159" fmla="*/ 428860 h 1634436"/>
                <a:gd name="connsiteX160" fmla="*/ 547988 w 1224640"/>
                <a:gd name="connsiteY160" fmla="*/ 424096 h 1634436"/>
                <a:gd name="connsiteX161" fmla="*/ 543224 w 1224640"/>
                <a:gd name="connsiteY161" fmla="*/ 419328 h 1634436"/>
                <a:gd name="connsiteX162" fmla="*/ 557520 w 1224640"/>
                <a:gd name="connsiteY162" fmla="*/ 409800 h 1634436"/>
                <a:gd name="connsiteX163" fmla="*/ 581344 w 1224640"/>
                <a:gd name="connsiteY163" fmla="*/ 405036 h 1634436"/>
                <a:gd name="connsiteX164" fmla="*/ 590876 w 1224640"/>
                <a:gd name="connsiteY164" fmla="*/ 405036 h 1634436"/>
                <a:gd name="connsiteX165" fmla="*/ 609936 w 1224640"/>
                <a:gd name="connsiteY165" fmla="*/ 400268 h 1634436"/>
                <a:gd name="connsiteX166" fmla="*/ 624232 w 1224640"/>
                <a:gd name="connsiteY166" fmla="*/ 395504 h 1634436"/>
                <a:gd name="connsiteX167" fmla="*/ 624232 w 1224640"/>
                <a:gd name="connsiteY167" fmla="*/ 390740 h 1634436"/>
                <a:gd name="connsiteX168" fmla="*/ 624232 w 1224640"/>
                <a:gd name="connsiteY168" fmla="*/ 381208 h 1634436"/>
                <a:gd name="connsiteX169" fmla="*/ 614700 w 1224640"/>
                <a:gd name="connsiteY169" fmla="*/ 371680 h 1634436"/>
                <a:gd name="connsiteX170" fmla="*/ 595640 w 1224640"/>
                <a:gd name="connsiteY170" fmla="*/ 366912 h 1634436"/>
                <a:gd name="connsiteX171" fmla="*/ 590876 w 1224640"/>
                <a:gd name="connsiteY171" fmla="*/ 366912 h 1634436"/>
                <a:gd name="connsiteX172" fmla="*/ 595640 w 1224640"/>
                <a:gd name="connsiteY172" fmla="*/ 347852 h 1634436"/>
                <a:gd name="connsiteX173" fmla="*/ 595640 w 1224640"/>
                <a:gd name="connsiteY173" fmla="*/ 343088 h 1634436"/>
                <a:gd name="connsiteX174" fmla="*/ 595640 w 1224640"/>
                <a:gd name="connsiteY174" fmla="*/ 333556 h 1634436"/>
                <a:gd name="connsiteX175" fmla="*/ 590876 w 1224640"/>
                <a:gd name="connsiteY175" fmla="*/ 324028 h 1634436"/>
                <a:gd name="connsiteX176" fmla="*/ 590876 w 1224640"/>
                <a:gd name="connsiteY176" fmla="*/ 309732 h 1634436"/>
                <a:gd name="connsiteX177" fmla="*/ 595640 w 1224640"/>
                <a:gd name="connsiteY177" fmla="*/ 300200 h 1634436"/>
                <a:gd name="connsiteX178" fmla="*/ 595640 w 1224640"/>
                <a:gd name="connsiteY178" fmla="*/ 290672 h 1634436"/>
                <a:gd name="connsiteX179" fmla="*/ 595640 w 1224640"/>
                <a:gd name="connsiteY179" fmla="*/ 271612 h 1634436"/>
                <a:gd name="connsiteX180" fmla="*/ 595640 w 1224640"/>
                <a:gd name="connsiteY180" fmla="*/ 257316 h 1634436"/>
                <a:gd name="connsiteX181" fmla="*/ 600408 w 1224640"/>
                <a:gd name="connsiteY181" fmla="*/ 252552 h 1634436"/>
                <a:gd name="connsiteX182" fmla="*/ 605172 w 1224640"/>
                <a:gd name="connsiteY182" fmla="*/ 243020 h 1634436"/>
                <a:gd name="connsiteX183" fmla="*/ 614700 w 1224640"/>
                <a:gd name="connsiteY183" fmla="*/ 243020 h 1634436"/>
                <a:gd name="connsiteX184" fmla="*/ 619468 w 1224640"/>
                <a:gd name="connsiteY184" fmla="*/ 243020 h 1634436"/>
                <a:gd name="connsiteX185" fmla="*/ 628996 w 1224640"/>
                <a:gd name="connsiteY185" fmla="*/ 243020 h 1634436"/>
                <a:gd name="connsiteX186" fmla="*/ 628996 w 1224640"/>
                <a:gd name="connsiteY186" fmla="*/ 252552 h 1634436"/>
                <a:gd name="connsiteX187" fmla="*/ 628996 w 1224640"/>
                <a:gd name="connsiteY187" fmla="*/ 257316 h 1634436"/>
                <a:gd name="connsiteX188" fmla="*/ 624232 w 1224640"/>
                <a:gd name="connsiteY188" fmla="*/ 257316 h 1634436"/>
                <a:gd name="connsiteX189" fmla="*/ 624232 w 1224640"/>
                <a:gd name="connsiteY189" fmla="*/ 262080 h 1634436"/>
                <a:gd name="connsiteX190" fmla="*/ 628996 w 1224640"/>
                <a:gd name="connsiteY190" fmla="*/ 271612 h 1634436"/>
                <a:gd name="connsiteX191" fmla="*/ 638528 w 1224640"/>
                <a:gd name="connsiteY191" fmla="*/ 281140 h 1634436"/>
                <a:gd name="connsiteX192" fmla="*/ 643292 w 1224640"/>
                <a:gd name="connsiteY192" fmla="*/ 281140 h 1634436"/>
                <a:gd name="connsiteX193" fmla="*/ 652824 w 1224640"/>
                <a:gd name="connsiteY193" fmla="*/ 271612 h 1634436"/>
                <a:gd name="connsiteX194" fmla="*/ 657588 w 1224640"/>
                <a:gd name="connsiteY194" fmla="*/ 266844 h 1634436"/>
                <a:gd name="connsiteX195" fmla="*/ 667120 w 1224640"/>
                <a:gd name="connsiteY195" fmla="*/ 257316 h 1634436"/>
                <a:gd name="connsiteX196" fmla="*/ 676648 w 1224640"/>
                <a:gd name="connsiteY196" fmla="*/ 247784 h 1634436"/>
                <a:gd name="connsiteX197" fmla="*/ 681412 w 1224640"/>
                <a:gd name="connsiteY197" fmla="*/ 243020 h 1634436"/>
                <a:gd name="connsiteX198" fmla="*/ 662352 w 1224640"/>
                <a:gd name="connsiteY198" fmla="*/ 185840 h 1634436"/>
                <a:gd name="connsiteX199" fmla="*/ 671884 w 1224640"/>
                <a:gd name="connsiteY199" fmla="*/ 185840 h 1634436"/>
                <a:gd name="connsiteX200" fmla="*/ 671884 w 1224640"/>
                <a:gd name="connsiteY200" fmla="*/ 195370 h 1634436"/>
                <a:gd name="connsiteX201" fmla="*/ 667120 w 1224640"/>
                <a:gd name="connsiteY201" fmla="*/ 200136 h 1634436"/>
                <a:gd name="connsiteX202" fmla="*/ 662352 w 1224640"/>
                <a:gd name="connsiteY202" fmla="*/ 200136 h 1634436"/>
                <a:gd name="connsiteX203" fmla="*/ 662352 w 1224640"/>
                <a:gd name="connsiteY203" fmla="*/ 190604 h 1634436"/>
                <a:gd name="connsiteX204" fmla="*/ 686180 w 1224640"/>
                <a:gd name="connsiteY204" fmla="*/ 0 h 1634436"/>
                <a:gd name="connsiteX205" fmla="*/ 690944 w 1224640"/>
                <a:gd name="connsiteY205" fmla="*/ 0 h 1634436"/>
                <a:gd name="connsiteX206" fmla="*/ 695708 w 1224640"/>
                <a:gd name="connsiteY206" fmla="*/ 4766 h 1634436"/>
                <a:gd name="connsiteX207" fmla="*/ 690944 w 1224640"/>
                <a:gd name="connsiteY207" fmla="*/ 28590 h 1634436"/>
                <a:gd name="connsiteX208" fmla="*/ 690944 w 1224640"/>
                <a:gd name="connsiteY208" fmla="*/ 42886 h 1634436"/>
                <a:gd name="connsiteX209" fmla="*/ 686180 w 1224640"/>
                <a:gd name="connsiteY209" fmla="*/ 95302 h 1634436"/>
                <a:gd name="connsiteX210" fmla="*/ 676648 w 1224640"/>
                <a:gd name="connsiteY210" fmla="*/ 104832 h 1634436"/>
                <a:gd name="connsiteX211" fmla="*/ 676648 w 1224640"/>
                <a:gd name="connsiteY211" fmla="*/ 114362 h 1634436"/>
                <a:gd name="connsiteX212" fmla="*/ 671884 w 1224640"/>
                <a:gd name="connsiteY212" fmla="*/ 123892 h 1634436"/>
                <a:gd name="connsiteX213" fmla="*/ 671884 w 1224640"/>
                <a:gd name="connsiteY213" fmla="*/ 128658 h 1634436"/>
                <a:gd name="connsiteX214" fmla="*/ 667120 w 1224640"/>
                <a:gd name="connsiteY214" fmla="*/ 128658 h 1634436"/>
                <a:gd name="connsiteX215" fmla="*/ 657588 w 1224640"/>
                <a:gd name="connsiteY215" fmla="*/ 123892 h 1634436"/>
                <a:gd name="connsiteX216" fmla="*/ 648056 w 1224640"/>
                <a:gd name="connsiteY216" fmla="*/ 114362 h 1634436"/>
                <a:gd name="connsiteX217" fmla="*/ 652824 w 1224640"/>
                <a:gd name="connsiteY217" fmla="*/ 104832 h 1634436"/>
                <a:gd name="connsiteX218" fmla="*/ 652824 w 1224640"/>
                <a:gd name="connsiteY218" fmla="*/ 90538 h 1634436"/>
                <a:gd name="connsiteX219" fmla="*/ 652824 w 1224640"/>
                <a:gd name="connsiteY219" fmla="*/ 71476 h 1634436"/>
                <a:gd name="connsiteX220" fmla="*/ 652824 w 1224640"/>
                <a:gd name="connsiteY220" fmla="*/ 52416 h 1634436"/>
                <a:gd name="connsiteX221" fmla="*/ 643292 w 1224640"/>
                <a:gd name="connsiteY221" fmla="*/ 52416 h 1634436"/>
                <a:gd name="connsiteX222" fmla="*/ 638528 w 1224640"/>
                <a:gd name="connsiteY222" fmla="*/ 52416 h 1634436"/>
                <a:gd name="connsiteX223" fmla="*/ 652824 w 1224640"/>
                <a:gd name="connsiteY223" fmla="*/ 28590 h 1634436"/>
                <a:gd name="connsiteX224" fmla="*/ 657588 w 1224640"/>
                <a:gd name="connsiteY224" fmla="*/ 23826 h 1634436"/>
                <a:gd name="connsiteX225" fmla="*/ 662352 w 1224640"/>
                <a:gd name="connsiteY225" fmla="*/ 23826 h 1634436"/>
                <a:gd name="connsiteX226" fmla="*/ 676648 w 1224640"/>
                <a:gd name="connsiteY226" fmla="*/ 23826 h 1634436"/>
                <a:gd name="connsiteX227" fmla="*/ 681412 w 1224640"/>
                <a:gd name="connsiteY227" fmla="*/ 9530 h 1634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</a:cxnLst>
              <a:rect l="l" t="t" r="r" b="b"/>
              <a:pathLst>
                <a:path w="1224640" h="1634436">
                  <a:moveTo>
                    <a:pt x="1076920" y="967320"/>
                  </a:moveTo>
                  <a:lnTo>
                    <a:pt x="1086448" y="995908"/>
                  </a:lnTo>
                  <a:lnTo>
                    <a:pt x="1072152" y="1010204"/>
                  </a:lnTo>
                  <a:lnTo>
                    <a:pt x="1057860" y="1038796"/>
                  </a:lnTo>
                  <a:lnTo>
                    <a:pt x="1053092" y="1043560"/>
                  </a:lnTo>
                  <a:lnTo>
                    <a:pt x="1043564" y="1048328"/>
                  </a:lnTo>
                  <a:lnTo>
                    <a:pt x="1038800" y="1048328"/>
                  </a:lnTo>
                  <a:lnTo>
                    <a:pt x="1038800" y="1024500"/>
                  </a:lnTo>
                  <a:lnTo>
                    <a:pt x="1062624" y="1000676"/>
                  </a:lnTo>
                  <a:close/>
                  <a:moveTo>
                    <a:pt x="686180" y="238256"/>
                  </a:moveTo>
                  <a:lnTo>
                    <a:pt x="705240" y="285908"/>
                  </a:lnTo>
                  <a:lnTo>
                    <a:pt x="729064" y="328792"/>
                  </a:lnTo>
                  <a:lnTo>
                    <a:pt x="748124" y="347852"/>
                  </a:lnTo>
                  <a:lnTo>
                    <a:pt x="767184" y="381208"/>
                  </a:lnTo>
                  <a:lnTo>
                    <a:pt x="800540" y="409800"/>
                  </a:lnTo>
                  <a:lnTo>
                    <a:pt x="819604" y="419328"/>
                  </a:lnTo>
                  <a:lnTo>
                    <a:pt x="876784" y="443156"/>
                  </a:lnTo>
                  <a:lnTo>
                    <a:pt x="914904" y="447920"/>
                  </a:lnTo>
                  <a:lnTo>
                    <a:pt x="957792" y="457452"/>
                  </a:lnTo>
                  <a:lnTo>
                    <a:pt x="991148" y="471748"/>
                  </a:lnTo>
                  <a:lnTo>
                    <a:pt x="1000676" y="471748"/>
                  </a:lnTo>
                  <a:lnTo>
                    <a:pt x="1019736" y="466980"/>
                  </a:lnTo>
                  <a:lnTo>
                    <a:pt x="1029268" y="466980"/>
                  </a:lnTo>
                  <a:lnTo>
                    <a:pt x="1062624" y="490808"/>
                  </a:lnTo>
                  <a:lnTo>
                    <a:pt x="1067388" y="509868"/>
                  </a:lnTo>
                  <a:lnTo>
                    <a:pt x="1081684" y="519396"/>
                  </a:lnTo>
                  <a:lnTo>
                    <a:pt x="1091216" y="538456"/>
                  </a:lnTo>
                  <a:lnTo>
                    <a:pt x="1100744" y="557520"/>
                  </a:lnTo>
                  <a:lnTo>
                    <a:pt x="1124572" y="581344"/>
                  </a:lnTo>
                  <a:lnTo>
                    <a:pt x="1143632" y="614700"/>
                  </a:lnTo>
                  <a:lnTo>
                    <a:pt x="1162692" y="633760"/>
                  </a:lnTo>
                  <a:lnTo>
                    <a:pt x="1176988" y="648056"/>
                  </a:lnTo>
                  <a:lnTo>
                    <a:pt x="1205576" y="652820"/>
                  </a:lnTo>
                  <a:lnTo>
                    <a:pt x="1224640" y="662352"/>
                  </a:lnTo>
                  <a:lnTo>
                    <a:pt x="1224640" y="676648"/>
                  </a:lnTo>
                  <a:lnTo>
                    <a:pt x="1224640" y="695708"/>
                  </a:lnTo>
                  <a:lnTo>
                    <a:pt x="1219872" y="710004"/>
                  </a:lnTo>
                  <a:lnTo>
                    <a:pt x="1200812" y="738592"/>
                  </a:lnTo>
                  <a:lnTo>
                    <a:pt x="1196048" y="752888"/>
                  </a:lnTo>
                  <a:lnTo>
                    <a:pt x="1176988" y="781480"/>
                  </a:lnTo>
                  <a:lnTo>
                    <a:pt x="1153160" y="829132"/>
                  </a:lnTo>
                  <a:lnTo>
                    <a:pt x="1143632" y="843428"/>
                  </a:lnTo>
                  <a:lnTo>
                    <a:pt x="1105508" y="867252"/>
                  </a:lnTo>
                  <a:lnTo>
                    <a:pt x="1081684" y="895844"/>
                  </a:lnTo>
                  <a:lnTo>
                    <a:pt x="1048328" y="948260"/>
                  </a:lnTo>
                  <a:lnTo>
                    <a:pt x="1024504" y="995912"/>
                  </a:lnTo>
                  <a:lnTo>
                    <a:pt x="1014972" y="1014972"/>
                  </a:lnTo>
                  <a:lnTo>
                    <a:pt x="995912" y="1014972"/>
                  </a:lnTo>
                  <a:lnTo>
                    <a:pt x="981616" y="1014972"/>
                  </a:lnTo>
                  <a:lnTo>
                    <a:pt x="972088" y="1010204"/>
                  </a:lnTo>
                  <a:lnTo>
                    <a:pt x="976852" y="995912"/>
                  </a:lnTo>
                  <a:lnTo>
                    <a:pt x="976852" y="981616"/>
                  </a:lnTo>
                  <a:lnTo>
                    <a:pt x="967320" y="981616"/>
                  </a:lnTo>
                  <a:lnTo>
                    <a:pt x="957792" y="986380"/>
                  </a:lnTo>
                  <a:lnTo>
                    <a:pt x="933964" y="1024500"/>
                  </a:lnTo>
                  <a:lnTo>
                    <a:pt x="919668" y="1038796"/>
                  </a:lnTo>
                  <a:lnTo>
                    <a:pt x="914904" y="1062620"/>
                  </a:lnTo>
                  <a:lnTo>
                    <a:pt x="910140" y="1091212"/>
                  </a:lnTo>
                  <a:lnTo>
                    <a:pt x="900608" y="1115040"/>
                  </a:lnTo>
                  <a:lnTo>
                    <a:pt x="895844" y="1134100"/>
                  </a:lnTo>
                  <a:lnTo>
                    <a:pt x="895844" y="1148396"/>
                  </a:lnTo>
                  <a:lnTo>
                    <a:pt x="900608" y="1176984"/>
                  </a:lnTo>
                  <a:lnTo>
                    <a:pt x="900608" y="1205576"/>
                  </a:lnTo>
                  <a:lnTo>
                    <a:pt x="905376" y="1224636"/>
                  </a:lnTo>
                  <a:lnTo>
                    <a:pt x="910140" y="1243696"/>
                  </a:lnTo>
                  <a:lnTo>
                    <a:pt x="900608" y="1248460"/>
                  </a:lnTo>
                  <a:lnTo>
                    <a:pt x="891080" y="1253228"/>
                  </a:lnTo>
                  <a:lnTo>
                    <a:pt x="852960" y="1257992"/>
                  </a:lnTo>
                  <a:lnTo>
                    <a:pt x="810072" y="1262756"/>
                  </a:lnTo>
                  <a:lnTo>
                    <a:pt x="776716" y="1277052"/>
                  </a:lnTo>
                  <a:lnTo>
                    <a:pt x="757656" y="1286584"/>
                  </a:lnTo>
                  <a:lnTo>
                    <a:pt x="729064" y="1315172"/>
                  </a:lnTo>
                  <a:lnTo>
                    <a:pt x="714768" y="1386652"/>
                  </a:lnTo>
                  <a:lnTo>
                    <a:pt x="686180" y="1415240"/>
                  </a:lnTo>
                  <a:lnTo>
                    <a:pt x="667120" y="1420008"/>
                  </a:lnTo>
                  <a:lnTo>
                    <a:pt x="628996" y="1424772"/>
                  </a:lnTo>
                  <a:lnTo>
                    <a:pt x="567052" y="1429536"/>
                  </a:lnTo>
                  <a:lnTo>
                    <a:pt x="547988" y="1439068"/>
                  </a:lnTo>
                  <a:lnTo>
                    <a:pt x="509868" y="1481952"/>
                  </a:lnTo>
                  <a:lnTo>
                    <a:pt x="509868" y="1491484"/>
                  </a:lnTo>
                  <a:lnTo>
                    <a:pt x="514632" y="1501012"/>
                  </a:lnTo>
                  <a:lnTo>
                    <a:pt x="514632" y="1515308"/>
                  </a:lnTo>
                  <a:lnTo>
                    <a:pt x="514632" y="1524840"/>
                  </a:lnTo>
                  <a:lnTo>
                    <a:pt x="500340" y="1548664"/>
                  </a:lnTo>
                  <a:lnTo>
                    <a:pt x="481276" y="1567724"/>
                  </a:lnTo>
                  <a:lnTo>
                    <a:pt x="433628" y="1582020"/>
                  </a:lnTo>
                  <a:lnTo>
                    <a:pt x="419332" y="1572492"/>
                  </a:lnTo>
                  <a:lnTo>
                    <a:pt x="405036" y="1572492"/>
                  </a:lnTo>
                  <a:lnTo>
                    <a:pt x="371680" y="1572492"/>
                  </a:lnTo>
                  <a:lnTo>
                    <a:pt x="324028" y="1577256"/>
                  </a:lnTo>
                  <a:lnTo>
                    <a:pt x="309732" y="1591552"/>
                  </a:lnTo>
                  <a:lnTo>
                    <a:pt x="281144" y="1601080"/>
                  </a:lnTo>
                  <a:lnTo>
                    <a:pt x="252552" y="1615376"/>
                  </a:lnTo>
                  <a:lnTo>
                    <a:pt x="204900" y="1620140"/>
                  </a:lnTo>
                  <a:lnTo>
                    <a:pt x="171544" y="1634436"/>
                  </a:lnTo>
                  <a:lnTo>
                    <a:pt x="162016" y="1610612"/>
                  </a:lnTo>
                  <a:lnTo>
                    <a:pt x="152484" y="1591552"/>
                  </a:lnTo>
                  <a:lnTo>
                    <a:pt x="142952" y="1567724"/>
                  </a:lnTo>
                  <a:lnTo>
                    <a:pt x="133424" y="1548664"/>
                  </a:lnTo>
                  <a:lnTo>
                    <a:pt x="128660" y="1534368"/>
                  </a:lnTo>
                  <a:lnTo>
                    <a:pt x="114364" y="1524840"/>
                  </a:lnTo>
                  <a:lnTo>
                    <a:pt x="109596" y="1510544"/>
                  </a:lnTo>
                  <a:lnTo>
                    <a:pt x="104832" y="1496248"/>
                  </a:lnTo>
                  <a:lnTo>
                    <a:pt x="81008" y="1443832"/>
                  </a:lnTo>
                  <a:lnTo>
                    <a:pt x="76244" y="1429536"/>
                  </a:lnTo>
                  <a:lnTo>
                    <a:pt x="66712" y="1410476"/>
                  </a:lnTo>
                  <a:lnTo>
                    <a:pt x="52416" y="1381884"/>
                  </a:lnTo>
                  <a:lnTo>
                    <a:pt x="47652" y="1362824"/>
                  </a:lnTo>
                  <a:lnTo>
                    <a:pt x="38120" y="1348528"/>
                  </a:lnTo>
                  <a:lnTo>
                    <a:pt x="33356" y="1329468"/>
                  </a:lnTo>
                  <a:lnTo>
                    <a:pt x="28592" y="1315172"/>
                  </a:lnTo>
                  <a:lnTo>
                    <a:pt x="14296" y="1281816"/>
                  </a:lnTo>
                  <a:lnTo>
                    <a:pt x="4764" y="1262756"/>
                  </a:lnTo>
                  <a:lnTo>
                    <a:pt x="0" y="1248460"/>
                  </a:lnTo>
                  <a:lnTo>
                    <a:pt x="19060" y="1238932"/>
                  </a:lnTo>
                  <a:lnTo>
                    <a:pt x="47652" y="1229400"/>
                  </a:lnTo>
                  <a:lnTo>
                    <a:pt x="100068" y="1210340"/>
                  </a:lnTo>
                  <a:lnTo>
                    <a:pt x="128660" y="1200812"/>
                  </a:lnTo>
                  <a:lnTo>
                    <a:pt x="157248" y="1191280"/>
                  </a:lnTo>
                  <a:lnTo>
                    <a:pt x="181076" y="1181752"/>
                  </a:lnTo>
                  <a:lnTo>
                    <a:pt x="209664" y="1172220"/>
                  </a:lnTo>
                  <a:lnTo>
                    <a:pt x="238256" y="1162688"/>
                  </a:lnTo>
                  <a:lnTo>
                    <a:pt x="262084" y="1153160"/>
                  </a:lnTo>
                  <a:lnTo>
                    <a:pt x="290672" y="1143628"/>
                  </a:lnTo>
                  <a:lnTo>
                    <a:pt x="314500" y="1134100"/>
                  </a:lnTo>
                  <a:lnTo>
                    <a:pt x="343088" y="1124568"/>
                  </a:lnTo>
                  <a:lnTo>
                    <a:pt x="371680" y="1115040"/>
                  </a:lnTo>
                  <a:lnTo>
                    <a:pt x="395504" y="1105508"/>
                  </a:lnTo>
                  <a:lnTo>
                    <a:pt x="424096" y="1095976"/>
                  </a:lnTo>
                  <a:lnTo>
                    <a:pt x="452688" y="1086448"/>
                  </a:lnTo>
                  <a:lnTo>
                    <a:pt x="466984" y="1081684"/>
                  </a:lnTo>
                  <a:lnTo>
                    <a:pt x="476512" y="1062620"/>
                  </a:lnTo>
                  <a:lnTo>
                    <a:pt x="481276" y="1043560"/>
                  </a:lnTo>
                  <a:lnTo>
                    <a:pt x="486044" y="1024500"/>
                  </a:lnTo>
                  <a:lnTo>
                    <a:pt x="509868" y="948260"/>
                  </a:lnTo>
                  <a:lnTo>
                    <a:pt x="514632" y="929200"/>
                  </a:lnTo>
                  <a:lnTo>
                    <a:pt x="519400" y="910136"/>
                  </a:lnTo>
                  <a:lnTo>
                    <a:pt x="533696" y="876780"/>
                  </a:lnTo>
                  <a:lnTo>
                    <a:pt x="538460" y="857720"/>
                  </a:lnTo>
                  <a:lnTo>
                    <a:pt x="547988" y="819600"/>
                  </a:lnTo>
                  <a:lnTo>
                    <a:pt x="552756" y="800540"/>
                  </a:lnTo>
                  <a:lnTo>
                    <a:pt x="562284" y="781480"/>
                  </a:lnTo>
                  <a:lnTo>
                    <a:pt x="567052" y="762420"/>
                  </a:lnTo>
                  <a:lnTo>
                    <a:pt x="571816" y="748124"/>
                  </a:lnTo>
                  <a:lnTo>
                    <a:pt x="562284" y="729064"/>
                  </a:lnTo>
                  <a:lnTo>
                    <a:pt x="547988" y="710004"/>
                  </a:lnTo>
                  <a:lnTo>
                    <a:pt x="533696" y="686176"/>
                  </a:lnTo>
                  <a:lnTo>
                    <a:pt x="519400" y="662352"/>
                  </a:lnTo>
                  <a:lnTo>
                    <a:pt x="509868" y="648056"/>
                  </a:lnTo>
                  <a:lnTo>
                    <a:pt x="500340" y="628996"/>
                  </a:lnTo>
                  <a:lnTo>
                    <a:pt x="500340" y="605168"/>
                  </a:lnTo>
                  <a:lnTo>
                    <a:pt x="500340" y="590876"/>
                  </a:lnTo>
                  <a:lnTo>
                    <a:pt x="500340" y="571812"/>
                  </a:lnTo>
                  <a:lnTo>
                    <a:pt x="514632" y="543224"/>
                  </a:lnTo>
                  <a:lnTo>
                    <a:pt x="524164" y="514632"/>
                  </a:lnTo>
                  <a:lnTo>
                    <a:pt x="538460" y="490808"/>
                  </a:lnTo>
                  <a:lnTo>
                    <a:pt x="543224" y="471748"/>
                  </a:lnTo>
                  <a:lnTo>
                    <a:pt x="552756" y="452684"/>
                  </a:lnTo>
                  <a:lnTo>
                    <a:pt x="552756" y="438392"/>
                  </a:lnTo>
                  <a:lnTo>
                    <a:pt x="552756" y="428860"/>
                  </a:lnTo>
                  <a:lnTo>
                    <a:pt x="547988" y="424096"/>
                  </a:lnTo>
                  <a:lnTo>
                    <a:pt x="543224" y="419328"/>
                  </a:lnTo>
                  <a:lnTo>
                    <a:pt x="557520" y="409800"/>
                  </a:lnTo>
                  <a:lnTo>
                    <a:pt x="581344" y="405036"/>
                  </a:lnTo>
                  <a:lnTo>
                    <a:pt x="590876" y="405036"/>
                  </a:lnTo>
                  <a:lnTo>
                    <a:pt x="609936" y="400268"/>
                  </a:lnTo>
                  <a:lnTo>
                    <a:pt x="624232" y="395504"/>
                  </a:lnTo>
                  <a:lnTo>
                    <a:pt x="624232" y="390740"/>
                  </a:lnTo>
                  <a:lnTo>
                    <a:pt x="624232" y="381208"/>
                  </a:lnTo>
                  <a:lnTo>
                    <a:pt x="614700" y="371680"/>
                  </a:lnTo>
                  <a:lnTo>
                    <a:pt x="595640" y="366912"/>
                  </a:lnTo>
                  <a:lnTo>
                    <a:pt x="590876" y="366912"/>
                  </a:lnTo>
                  <a:lnTo>
                    <a:pt x="595640" y="347852"/>
                  </a:lnTo>
                  <a:lnTo>
                    <a:pt x="595640" y="343088"/>
                  </a:lnTo>
                  <a:lnTo>
                    <a:pt x="595640" y="333556"/>
                  </a:lnTo>
                  <a:lnTo>
                    <a:pt x="590876" y="324028"/>
                  </a:lnTo>
                  <a:lnTo>
                    <a:pt x="590876" y="309732"/>
                  </a:lnTo>
                  <a:lnTo>
                    <a:pt x="595640" y="300200"/>
                  </a:lnTo>
                  <a:lnTo>
                    <a:pt x="595640" y="290672"/>
                  </a:lnTo>
                  <a:lnTo>
                    <a:pt x="595640" y="271612"/>
                  </a:lnTo>
                  <a:lnTo>
                    <a:pt x="595640" y="257316"/>
                  </a:lnTo>
                  <a:lnTo>
                    <a:pt x="600408" y="252552"/>
                  </a:lnTo>
                  <a:lnTo>
                    <a:pt x="605172" y="243020"/>
                  </a:lnTo>
                  <a:lnTo>
                    <a:pt x="614700" y="243020"/>
                  </a:lnTo>
                  <a:lnTo>
                    <a:pt x="619468" y="243020"/>
                  </a:lnTo>
                  <a:lnTo>
                    <a:pt x="628996" y="243020"/>
                  </a:lnTo>
                  <a:lnTo>
                    <a:pt x="628996" y="252552"/>
                  </a:lnTo>
                  <a:lnTo>
                    <a:pt x="628996" y="257316"/>
                  </a:lnTo>
                  <a:lnTo>
                    <a:pt x="624232" y="257316"/>
                  </a:lnTo>
                  <a:lnTo>
                    <a:pt x="624232" y="262080"/>
                  </a:lnTo>
                  <a:lnTo>
                    <a:pt x="628996" y="271612"/>
                  </a:lnTo>
                  <a:lnTo>
                    <a:pt x="638528" y="281140"/>
                  </a:lnTo>
                  <a:lnTo>
                    <a:pt x="643292" y="281140"/>
                  </a:lnTo>
                  <a:lnTo>
                    <a:pt x="652824" y="271612"/>
                  </a:lnTo>
                  <a:lnTo>
                    <a:pt x="657588" y="266844"/>
                  </a:lnTo>
                  <a:lnTo>
                    <a:pt x="667120" y="257316"/>
                  </a:lnTo>
                  <a:lnTo>
                    <a:pt x="676648" y="247784"/>
                  </a:lnTo>
                  <a:lnTo>
                    <a:pt x="681412" y="243020"/>
                  </a:lnTo>
                  <a:close/>
                  <a:moveTo>
                    <a:pt x="662352" y="185840"/>
                  </a:moveTo>
                  <a:lnTo>
                    <a:pt x="671884" y="185840"/>
                  </a:lnTo>
                  <a:lnTo>
                    <a:pt x="671884" y="195370"/>
                  </a:lnTo>
                  <a:lnTo>
                    <a:pt x="667120" y="200136"/>
                  </a:lnTo>
                  <a:lnTo>
                    <a:pt x="662352" y="200136"/>
                  </a:lnTo>
                  <a:lnTo>
                    <a:pt x="662352" y="190604"/>
                  </a:lnTo>
                  <a:close/>
                  <a:moveTo>
                    <a:pt x="686180" y="0"/>
                  </a:moveTo>
                  <a:lnTo>
                    <a:pt x="690944" y="0"/>
                  </a:lnTo>
                  <a:lnTo>
                    <a:pt x="695708" y="4766"/>
                  </a:lnTo>
                  <a:lnTo>
                    <a:pt x="690944" y="28590"/>
                  </a:lnTo>
                  <a:lnTo>
                    <a:pt x="690944" y="42886"/>
                  </a:lnTo>
                  <a:lnTo>
                    <a:pt x="686180" y="95302"/>
                  </a:lnTo>
                  <a:lnTo>
                    <a:pt x="676648" y="104832"/>
                  </a:lnTo>
                  <a:lnTo>
                    <a:pt x="676648" y="114362"/>
                  </a:lnTo>
                  <a:lnTo>
                    <a:pt x="671884" y="123892"/>
                  </a:lnTo>
                  <a:lnTo>
                    <a:pt x="671884" y="128658"/>
                  </a:lnTo>
                  <a:lnTo>
                    <a:pt x="667120" y="128658"/>
                  </a:lnTo>
                  <a:lnTo>
                    <a:pt x="657588" y="123892"/>
                  </a:lnTo>
                  <a:lnTo>
                    <a:pt x="648056" y="114362"/>
                  </a:lnTo>
                  <a:lnTo>
                    <a:pt x="652824" y="104832"/>
                  </a:lnTo>
                  <a:lnTo>
                    <a:pt x="652824" y="90538"/>
                  </a:lnTo>
                  <a:lnTo>
                    <a:pt x="652824" y="71476"/>
                  </a:lnTo>
                  <a:lnTo>
                    <a:pt x="652824" y="52416"/>
                  </a:lnTo>
                  <a:lnTo>
                    <a:pt x="643292" y="52416"/>
                  </a:lnTo>
                  <a:lnTo>
                    <a:pt x="638528" y="52416"/>
                  </a:lnTo>
                  <a:lnTo>
                    <a:pt x="652824" y="28590"/>
                  </a:lnTo>
                  <a:lnTo>
                    <a:pt x="657588" y="23826"/>
                  </a:lnTo>
                  <a:lnTo>
                    <a:pt x="662352" y="23826"/>
                  </a:lnTo>
                  <a:lnTo>
                    <a:pt x="676648" y="23826"/>
                  </a:lnTo>
                  <a:lnTo>
                    <a:pt x="681412" y="953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1" name="Line 5972">
              <a:extLst>
                <a:ext uri="{FF2B5EF4-FFF2-40B4-BE49-F238E27FC236}">
                  <a16:creationId xmlns:a16="http://schemas.microsoft.com/office/drawing/2014/main" id="{F419CFE2-0FB3-4329-A38E-C53FEAE24F6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724575" y="4719477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2" name="Line 5977">
              <a:extLst>
                <a:ext uri="{FF2B5EF4-FFF2-40B4-BE49-F238E27FC236}">
                  <a16:creationId xmlns:a16="http://schemas.microsoft.com/office/drawing/2014/main" id="{91C9EE1B-0E7E-4ED3-9D29-83FD7476D7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724575" y="4719477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3" name="Freeform 5978">
              <a:extLst>
                <a:ext uri="{FF2B5EF4-FFF2-40B4-BE49-F238E27FC236}">
                  <a16:creationId xmlns:a16="http://schemas.microsoft.com/office/drawing/2014/main" id="{6867935E-FDE3-4B37-BEB7-4103A0AF9D2A}"/>
                </a:ext>
              </a:extLst>
            </p:cNvPr>
            <p:cNvSpPr/>
            <p:nvPr/>
          </p:nvSpPr>
          <p:spPr bwMode="auto">
            <a:xfrm>
              <a:off x="6835581" y="4401105"/>
              <a:ext cx="410106" cy="390064"/>
            </a:xfrm>
            <a:custGeom>
              <a:avLst/>
              <a:gdLst>
                <a:gd name="T0" fmla="*/ 1006 w 1064"/>
                <a:gd name="T1" fmla="*/ 100 h 1012"/>
                <a:gd name="T2" fmla="*/ 992 w 1064"/>
                <a:gd name="T3" fmla="*/ 70 h 1012"/>
                <a:gd name="T4" fmla="*/ 960 w 1064"/>
                <a:gd name="T5" fmla="*/ 24 h 1012"/>
                <a:gd name="T6" fmla="*/ 914 w 1064"/>
                <a:gd name="T7" fmla="*/ 2 h 1012"/>
                <a:gd name="T8" fmla="*/ 848 w 1064"/>
                <a:gd name="T9" fmla="*/ 12 h 1012"/>
                <a:gd name="T10" fmla="*/ 754 w 1064"/>
                <a:gd name="T11" fmla="*/ 24 h 1012"/>
                <a:gd name="T12" fmla="*/ 702 w 1064"/>
                <a:gd name="T13" fmla="*/ 54 h 1012"/>
                <a:gd name="T14" fmla="*/ 698 w 1064"/>
                <a:gd name="T15" fmla="*/ 106 h 1012"/>
                <a:gd name="T16" fmla="*/ 706 w 1064"/>
                <a:gd name="T17" fmla="*/ 148 h 1012"/>
                <a:gd name="T18" fmla="*/ 674 w 1064"/>
                <a:gd name="T19" fmla="*/ 190 h 1012"/>
                <a:gd name="T20" fmla="*/ 672 w 1064"/>
                <a:gd name="T21" fmla="*/ 234 h 1012"/>
                <a:gd name="T22" fmla="*/ 592 w 1064"/>
                <a:gd name="T23" fmla="*/ 252 h 1012"/>
                <a:gd name="T24" fmla="*/ 572 w 1064"/>
                <a:gd name="T25" fmla="*/ 318 h 1012"/>
                <a:gd name="T26" fmla="*/ 554 w 1064"/>
                <a:gd name="T27" fmla="*/ 406 h 1012"/>
                <a:gd name="T28" fmla="*/ 504 w 1064"/>
                <a:gd name="T29" fmla="*/ 416 h 1012"/>
                <a:gd name="T30" fmla="*/ 442 w 1064"/>
                <a:gd name="T31" fmla="*/ 438 h 1012"/>
                <a:gd name="T32" fmla="*/ 412 w 1064"/>
                <a:gd name="T33" fmla="*/ 458 h 1012"/>
                <a:gd name="T34" fmla="*/ 364 w 1064"/>
                <a:gd name="T35" fmla="*/ 484 h 1012"/>
                <a:gd name="T36" fmla="*/ 358 w 1064"/>
                <a:gd name="T37" fmla="*/ 560 h 1012"/>
                <a:gd name="T38" fmla="*/ 262 w 1064"/>
                <a:gd name="T39" fmla="*/ 586 h 1012"/>
                <a:gd name="T40" fmla="*/ 180 w 1064"/>
                <a:gd name="T41" fmla="*/ 592 h 1012"/>
                <a:gd name="T42" fmla="*/ 32 w 1064"/>
                <a:gd name="T43" fmla="*/ 600 h 1012"/>
                <a:gd name="T44" fmla="*/ 86 w 1064"/>
                <a:gd name="T45" fmla="*/ 668 h 1012"/>
                <a:gd name="T46" fmla="*/ 128 w 1064"/>
                <a:gd name="T47" fmla="*/ 718 h 1012"/>
                <a:gd name="T48" fmla="*/ 154 w 1064"/>
                <a:gd name="T49" fmla="*/ 758 h 1012"/>
                <a:gd name="T50" fmla="*/ 154 w 1064"/>
                <a:gd name="T51" fmla="*/ 790 h 1012"/>
                <a:gd name="T52" fmla="*/ 98 w 1064"/>
                <a:gd name="T53" fmla="*/ 814 h 1012"/>
                <a:gd name="T54" fmla="*/ 62 w 1064"/>
                <a:gd name="T55" fmla="*/ 850 h 1012"/>
                <a:gd name="T56" fmla="*/ 48 w 1064"/>
                <a:gd name="T57" fmla="*/ 910 h 1012"/>
                <a:gd name="T58" fmla="*/ 106 w 1064"/>
                <a:gd name="T59" fmla="*/ 908 h 1012"/>
                <a:gd name="T60" fmla="*/ 190 w 1064"/>
                <a:gd name="T61" fmla="*/ 896 h 1012"/>
                <a:gd name="T62" fmla="*/ 258 w 1064"/>
                <a:gd name="T63" fmla="*/ 900 h 1012"/>
                <a:gd name="T64" fmla="*/ 366 w 1064"/>
                <a:gd name="T65" fmla="*/ 888 h 1012"/>
                <a:gd name="T66" fmla="*/ 384 w 1064"/>
                <a:gd name="T67" fmla="*/ 906 h 1012"/>
                <a:gd name="T68" fmla="*/ 428 w 1064"/>
                <a:gd name="T69" fmla="*/ 988 h 1012"/>
                <a:gd name="T70" fmla="*/ 460 w 1064"/>
                <a:gd name="T71" fmla="*/ 1002 h 1012"/>
                <a:gd name="T72" fmla="*/ 488 w 1064"/>
                <a:gd name="T73" fmla="*/ 1000 h 1012"/>
                <a:gd name="T74" fmla="*/ 522 w 1064"/>
                <a:gd name="T75" fmla="*/ 972 h 1012"/>
                <a:gd name="T76" fmla="*/ 572 w 1064"/>
                <a:gd name="T77" fmla="*/ 976 h 1012"/>
                <a:gd name="T78" fmla="*/ 634 w 1064"/>
                <a:gd name="T79" fmla="*/ 966 h 1012"/>
                <a:gd name="T80" fmla="*/ 660 w 1064"/>
                <a:gd name="T81" fmla="*/ 970 h 1012"/>
                <a:gd name="T82" fmla="*/ 666 w 1064"/>
                <a:gd name="T83" fmla="*/ 950 h 1012"/>
                <a:gd name="T84" fmla="*/ 644 w 1064"/>
                <a:gd name="T85" fmla="*/ 878 h 1012"/>
                <a:gd name="T86" fmla="*/ 606 w 1064"/>
                <a:gd name="T87" fmla="*/ 852 h 1012"/>
                <a:gd name="T88" fmla="*/ 584 w 1064"/>
                <a:gd name="T89" fmla="*/ 804 h 1012"/>
                <a:gd name="T90" fmla="*/ 578 w 1064"/>
                <a:gd name="T91" fmla="*/ 758 h 1012"/>
                <a:gd name="T92" fmla="*/ 634 w 1064"/>
                <a:gd name="T93" fmla="*/ 702 h 1012"/>
                <a:gd name="T94" fmla="*/ 686 w 1064"/>
                <a:gd name="T95" fmla="*/ 714 h 1012"/>
                <a:gd name="T96" fmla="*/ 752 w 1064"/>
                <a:gd name="T97" fmla="*/ 652 h 1012"/>
                <a:gd name="T98" fmla="*/ 828 w 1064"/>
                <a:gd name="T99" fmla="*/ 556 h 1012"/>
                <a:gd name="T100" fmla="*/ 864 w 1064"/>
                <a:gd name="T101" fmla="*/ 514 h 1012"/>
                <a:gd name="T102" fmla="*/ 898 w 1064"/>
                <a:gd name="T103" fmla="*/ 462 h 1012"/>
                <a:gd name="T104" fmla="*/ 934 w 1064"/>
                <a:gd name="T105" fmla="*/ 394 h 1012"/>
                <a:gd name="T106" fmla="*/ 914 w 1064"/>
                <a:gd name="T107" fmla="*/ 364 h 1012"/>
                <a:gd name="T108" fmla="*/ 884 w 1064"/>
                <a:gd name="T109" fmla="*/ 338 h 1012"/>
                <a:gd name="T110" fmla="*/ 862 w 1064"/>
                <a:gd name="T111" fmla="*/ 306 h 1012"/>
                <a:gd name="T112" fmla="*/ 862 w 1064"/>
                <a:gd name="T113" fmla="*/ 270 h 1012"/>
                <a:gd name="T114" fmla="*/ 860 w 1064"/>
                <a:gd name="T115" fmla="*/ 242 h 1012"/>
                <a:gd name="T116" fmla="*/ 850 w 1064"/>
                <a:gd name="T117" fmla="*/ 214 h 1012"/>
                <a:gd name="T118" fmla="*/ 902 w 1064"/>
                <a:gd name="T119" fmla="*/ 188 h 1012"/>
                <a:gd name="T120" fmla="*/ 986 w 1064"/>
                <a:gd name="T121" fmla="*/ 200 h 1012"/>
                <a:gd name="T122" fmla="*/ 1044 w 1064"/>
                <a:gd name="T123" fmla="*/ 174 h 1012"/>
                <a:gd name="T124" fmla="*/ 1052 w 1064"/>
                <a:gd name="T125" fmla="*/ 130 h 1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4" h="1012">
                  <a:moveTo>
                    <a:pt x="1044" y="112"/>
                  </a:moveTo>
                  <a:lnTo>
                    <a:pt x="1042" y="110"/>
                  </a:lnTo>
                  <a:lnTo>
                    <a:pt x="1036" y="106"/>
                  </a:lnTo>
                  <a:lnTo>
                    <a:pt x="1032" y="102"/>
                  </a:lnTo>
                  <a:lnTo>
                    <a:pt x="1030" y="92"/>
                  </a:lnTo>
                  <a:lnTo>
                    <a:pt x="1028" y="94"/>
                  </a:lnTo>
                  <a:lnTo>
                    <a:pt x="1020" y="98"/>
                  </a:lnTo>
                  <a:lnTo>
                    <a:pt x="1010" y="100"/>
                  </a:lnTo>
                  <a:lnTo>
                    <a:pt x="1006" y="100"/>
                  </a:lnTo>
                  <a:lnTo>
                    <a:pt x="1004" y="98"/>
                  </a:lnTo>
                  <a:lnTo>
                    <a:pt x="1002" y="88"/>
                  </a:lnTo>
                  <a:lnTo>
                    <a:pt x="998" y="86"/>
                  </a:lnTo>
                  <a:lnTo>
                    <a:pt x="996" y="84"/>
                  </a:lnTo>
                  <a:lnTo>
                    <a:pt x="990" y="82"/>
                  </a:lnTo>
                  <a:lnTo>
                    <a:pt x="988" y="80"/>
                  </a:lnTo>
                  <a:lnTo>
                    <a:pt x="988" y="76"/>
                  </a:lnTo>
                  <a:lnTo>
                    <a:pt x="990" y="74"/>
                  </a:lnTo>
                  <a:lnTo>
                    <a:pt x="992" y="70"/>
                  </a:lnTo>
                  <a:lnTo>
                    <a:pt x="992" y="52"/>
                  </a:lnTo>
                  <a:lnTo>
                    <a:pt x="992" y="46"/>
                  </a:lnTo>
                  <a:lnTo>
                    <a:pt x="990" y="42"/>
                  </a:lnTo>
                  <a:lnTo>
                    <a:pt x="986" y="34"/>
                  </a:lnTo>
                  <a:lnTo>
                    <a:pt x="984" y="32"/>
                  </a:lnTo>
                  <a:lnTo>
                    <a:pt x="980" y="28"/>
                  </a:lnTo>
                  <a:lnTo>
                    <a:pt x="972" y="24"/>
                  </a:lnTo>
                  <a:lnTo>
                    <a:pt x="966" y="22"/>
                  </a:lnTo>
                  <a:lnTo>
                    <a:pt x="960" y="24"/>
                  </a:lnTo>
                  <a:lnTo>
                    <a:pt x="956" y="24"/>
                  </a:lnTo>
                  <a:lnTo>
                    <a:pt x="954" y="12"/>
                  </a:lnTo>
                  <a:lnTo>
                    <a:pt x="952" y="10"/>
                  </a:lnTo>
                  <a:lnTo>
                    <a:pt x="938" y="4"/>
                  </a:lnTo>
                  <a:lnTo>
                    <a:pt x="932" y="4"/>
                  </a:lnTo>
                  <a:lnTo>
                    <a:pt x="926" y="6"/>
                  </a:lnTo>
                  <a:lnTo>
                    <a:pt x="922" y="6"/>
                  </a:lnTo>
                  <a:lnTo>
                    <a:pt x="918" y="4"/>
                  </a:lnTo>
                  <a:lnTo>
                    <a:pt x="914" y="2"/>
                  </a:lnTo>
                  <a:lnTo>
                    <a:pt x="908" y="0"/>
                  </a:lnTo>
                  <a:lnTo>
                    <a:pt x="902" y="0"/>
                  </a:lnTo>
                  <a:lnTo>
                    <a:pt x="898" y="0"/>
                  </a:lnTo>
                  <a:lnTo>
                    <a:pt x="892" y="4"/>
                  </a:lnTo>
                  <a:lnTo>
                    <a:pt x="876" y="10"/>
                  </a:lnTo>
                  <a:lnTo>
                    <a:pt x="866" y="16"/>
                  </a:lnTo>
                  <a:lnTo>
                    <a:pt x="864" y="16"/>
                  </a:lnTo>
                  <a:lnTo>
                    <a:pt x="858" y="14"/>
                  </a:lnTo>
                  <a:lnTo>
                    <a:pt x="848" y="12"/>
                  </a:lnTo>
                  <a:lnTo>
                    <a:pt x="846" y="12"/>
                  </a:lnTo>
                  <a:lnTo>
                    <a:pt x="824" y="12"/>
                  </a:lnTo>
                  <a:lnTo>
                    <a:pt x="806" y="14"/>
                  </a:lnTo>
                  <a:lnTo>
                    <a:pt x="798" y="14"/>
                  </a:lnTo>
                  <a:lnTo>
                    <a:pt x="782" y="16"/>
                  </a:lnTo>
                  <a:lnTo>
                    <a:pt x="774" y="16"/>
                  </a:lnTo>
                  <a:lnTo>
                    <a:pt x="768" y="18"/>
                  </a:lnTo>
                  <a:lnTo>
                    <a:pt x="760" y="22"/>
                  </a:lnTo>
                  <a:lnTo>
                    <a:pt x="754" y="24"/>
                  </a:lnTo>
                  <a:lnTo>
                    <a:pt x="748" y="24"/>
                  </a:lnTo>
                  <a:lnTo>
                    <a:pt x="742" y="26"/>
                  </a:lnTo>
                  <a:lnTo>
                    <a:pt x="738" y="32"/>
                  </a:lnTo>
                  <a:lnTo>
                    <a:pt x="726" y="40"/>
                  </a:lnTo>
                  <a:lnTo>
                    <a:pt x="720" y="44"/>
                  </a:lnTo>
                  <a:lnTo>
                    <a:pt x="718" y="48"/>
                  </a:lnTo>
                  <a:lnTo>
                    <a:pt x="714" y="50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8" y="60"/>
                  </a:lnTo>
                  <a:lnTo>
                    <a:pt x="688" y="70"/>
                  </a:lnTo>
                  <a:lnTo>
                    <a:pt x="682" y="74"/>
                  </a:lnTo>
                  <a:lnTo>
                    <a:pt x="678" y="80"/>
                  </a:lnTo>
                  <a:lnTo>
                    <a:pt x="682" y="84"/>
                  </a:lnTo>
                  <a:lnTo>
                    <a:pt x="690" y="88"/>
                  </a:lnTo>
                  <a:lnTo>
                    <a:pt x="692" y="94"/>
                  </a:lnTo>
                  <a:lnTo>
                    <a:pt x="694" y="98"/>
                  </a:lnTo>
                  <a:lnTo>
                    <a:pt x="698" y="106"/>
                  </a:lnTo>
                  <a:lnTo>
                    <a:pt x="700" y="116"/>
                  </a:lnTo>
                  <a:lnTo>
                    <a:pt x="704" y="120"/>
                  </a:lnTo>
                  <a:lnTo>
                    <a:pt x="706" y="128"/>
                  </a:lnTo>
                  <a:lnTo>
                    <a:pt x="706" y="132"/>
                  </a:lnTo>
                  <a:lnTo>
                    <a:pt x="704" y="134"/>
                  </a:lnTo>
                  <a:lnTo>
                    <a:pt x="702" y="138"/>
                  </a:lnTo>
                  <a:lnTo>
                    <a:pt x="702" y="142"/>
                  </a:lnTo>
                  <a:lnTo>
                    <a:pt x="704" y="144"/>
                  </a:lnTo>
                  <a:lnTo>
                    <a:pt x="706" y="148"/>
                  </a:lnTo>
                  <a:lnTo>
                    <a:pt x="708" y="150"/>
                  </a:lnTo>
                  <a:lnTo>
                    <a:pt x="706" y="152"/>
                  </a:lnTo>
                  <a:lnTo>
                    <a:pt x="702" y="156"/>
                  </a:lnTo>
                  <a:lnTo>
                    <a:pt x="700" y="160"/>
                  </a:lnTo>
                  <a:lnTo>
                    <a:pt x="696" y="166"/>
                  </a:lnTo>
                  <a:lnTo>
                    <a:pt x="690" y="172"/>
                  </a:lnTo>
                  <a:lnTo>
                    <a:pt x="686" y="174"/>
                  </a:lnTo>
                  <a:lnTo>
                    <a:pt x="682" y="182"/>
                  </a:lnTo>
                  <a:lnTo>
                    <a:pt x="674" y="190"/>
                  </a:lnTo>
                  <a:lnTo>
                    <a:pt x="670" y="196"/>
                  </a:lnTo>
                  <a:lnTo>
                    <a:pt x="668" y="200"/>
                  </a:lnTo>
                  <a:lnTo>
                    <a:pt x="664" y="202"/>
                  </a:lnTo>
                  <a:lnTo>
                    <a:pt x="666" y="206"/>
                  </a:lnTo>
                  <a:lnTo>
                    <a:pt x="668" y="210"/>
                  </a:lnTo>
                  <a:lnTo>
                    <a:pt x="674" y="214"/>
                  </a:lnTo>
                  <a:lnTo>
                    <a:pt x="672" y="222"/>
                  </a:lnTo>
                  <a:lnTo>
                    <a:pt x="672" y="228"/>
                  </a:lnTo>
                  <a:lnTo>
                    <a:pt x="672" y="234"/>
                  </a:lnTo>
                  <a:lnTo>
                    <a:pt x="670" y="240"/>
                  </a:lnTo>
                  <a:lnTo>
                    <a:pt x="656" y="246"/>
                  </a:lnTo>
                  <a:lnTo>
                    <a:pt x="644" y="248"/>
                  </a:lnTo>
                  <a:lnTo>
                    <a:pt x="628" y="248"/>
                  </a:lnTo>
                  <a:lnTo>
                    <a:pt x="622" y="246"/>
                  </a:lnTo>
                  <a:lnTo>
                    <a:pt x="618" y="246"/>
                  </a:lnTo>
                  <a:lnTo>
                    <a:pt x="600" y="240"/>
                  </a:lnTo>
                  <a:lnTo>
                    <a:pt x="594" y="244"/>
                  </a:lnTo>
                  <a:lnTo>
                    <a:pt x="592" y="252"/>
                  </a:lnTo>
                  <a:lnTo>
                    <a:pt x="604" y="266"/>
                  </a:lnTo>
                  <a:lnTo>
                    <a:pt x="610" y="274"/>
                  </a:lnTo>
                  <a:lnTo>
                    <a:pt x="616" y="286"/>
                  </a:lnTo>
                  <a:lnTo>
                    <a:pt x="620" y="294"/>
                  </a:lnTo>
                  <a:lnTo>
                    <a:pt x="618" y="300"/>
                  </a:lnTo>
                  <a:lnTo>
                    <a:pt x="608" y="306"/>
                  </a:lnTo>
                  <a:lnTo>
                    <a:pt x="596" y="314"/>
                  </a:lnTo>
                  <a:lnTo>
                    <a:pt x="582" y="316"/>
                  </a:lnTo>
                  <a:lnTo>
                    <a:pt x="572" y="318"/>
                  </a:lnTo>
                  <a:lnTo>
                    <a:pt x="568" y="320"/>
                  </a:lnTo>
                  <a:lnTo>
                    <a:pt x="566" y="336"/>
                  </a:lnTo>
                  <a:lnTo>
                    <a:pt x="562" y="342"/>
                  </a:lnTo>
                  <a:lnTo>
                    <a:pt x="562" y="348"/>
                  </a:lnTo>
                  <a:lnTo>
                    <a:pt x="560" y="354"/>
                  </a:lnTo>
                  <a:lnTo>
                    <a:pt x="554" y="360"/>
                  </a:lnTo>
                  <a:lnTo>
                    <a:pt x="552" y="366"/>
                  </a:lnTo>
                  <a:lnTo>
                    <a:pt x="552" y="380"/>
                  </a:lnTo>
                  <a:lnTo>
                    <a:pt x="554" y="406"/>
                  </a:lnTo>
                  <a:lnTo>
                    <a:pt x="548" y="412"/>
                  </a:lnTo>
                  <a:lnTo>
                    <a:pt x="542" y="420"/>
                  </a:lnTo>
                  <a:lnTo>
                    <a:pt x="534" y="426"/>
                  </a:lnTo>
                  <a:lnTo>
                    <a:pt x="526" y="428"/>
                  </a:lnTo>
                  <a:lnTo>
                    <a:pt x="522" y="428"/>
                  </a:lnTo>
                  <a:lnTo>
                    <a:pt x="516" y="422"/>
                  </a:lnTo>
                  <a:lnTo>
                    <a:pt x="514" y="418"/>
                  </a:lnTo>
                  <a:lnTo>
                    <a:pt x="510" y="416"/>
                  </a:lnTo>
                  <a:lnTo>
                    <a:pt x="504" y="416"/>
                  </a:lnTo>
                  <a:lnTo>
                    <a:pt x="498" y="420"/>
                  </a:lnTo>
                  <a:lnTo>
                    <a:pt x="492" y="418"/>
                  </a:lnTo>
                  <a:lnTo>
                    <a:pt x="484" y="414"/>
                  </a:lnTo>
                  <a:lnTo>
                    <a:pt x="480" y="416"/>
                  </a:lnTo>
                  <a:lnTo>
                    <a:pt x="478" y="418"/>
                  </a:lnTo>
                  <a:lnTo>
                    <a:pt x="472" y="426"/>
                  </a:lnTo>
                  <a:lnTo>
                    <a:pt x="452" y="436"/>
                  </a:lnTo>
                  <a:lnTo>
                    <a:pt x="446" y="436"/>
                  </a:lnTo>
                  <a:lnTo>
                    <a:pt x="442" y="438"/>
                  </a:lnTo>
                  <a:lnTo>
                    <a:pt x="444" y="442"/>
                  </a:lnTo>
                  <a:lnTo>
                    <a:pt x="446" y="446"/>
                  </a:lnTo>
                  <a:lnTo>
                    <a:pt x="452" y="448"/>
                  </a:lnTo>
                  <a:lnTo>
                    <a:pt x="452" y="450"/>
                  </a:lnTo>
                  <a:lnTo>
                    <a:pt x="448" y="454"/>
                  </a:lnTo>
                  <a:lnTo>
                    <a:pt x="444" y="456"/>
                  </a:lnTo>
                  <a:lnTo>
                    <a:pt x="434" y="460"/>
                  </a:lnTo>
                  <a:lnTo>
                    <a:pt x="424" y="460"/>
                  </a:lnTo>
                  <a:lnTo>
                    <a:pt x="412" y="458"/>
                  </a:lnTo>
                  <a:lnTo>
                    <a:pt x="406" y="454"/>
                  </a:lnTo>
                  <a:lnTo>
                    <a:pt x="400" y="454"/>
                  </a:lnTo>
                  <a:lnTo>
                    <a:pt x="394" y="458"/>
                  </a:lnTo>
                  <a:lnTo>
                    <a:pt x="386" y="462"/>
                  </a:lnTo>
                  <a:lnTo>
                    <a:pt x="380" y="474"/>
                  </a:lnTo>
                  <a:lnTo>
                    <a:pt x="378" y="476"/>
                  </a:lnTo>
                  <a:lnTo>
                    <a:pt x="376" y="478"/>
                  </a:lnTo>
                  <a:lnTo>
                    <a:pt x="372" y="480"/>
                  </a:lnTo>
                  <a:lnTo>
                    <a:pt x="364" y="484"/>
                  </a:lnTo>
                  <a:lnTo>
                    <a:pt x="362" y="492"/>
                  </a:lnTo>
                  <a:lnTo>
                    <a:pt x="358" y="508"/>
                  </a:lnTo>
                  <a:lnTo>
                    <a:pt x="358" y="516"/>
                  </a:lnTo>
                  <a:lnTo>
                    <a:pt x="360" y="528"/>
                  </a:lnTo>
                  <a:lnTo>
                    <a:pt x="358" y="538"/>
                  </a:lnTo>
                  <a:lnTo>
                    <a:pt x="354" y="544"/>
                  </a:lnTo>
                  <a:lnTo>
                    <a:pt x="356" y="550"/>
                  </a:lnTo>
                  <a:lnTo>
                    <a:pt x="360" y="556"/>
                  </a:lnTo>
                  <a:lnTo>
                    <a:pt x="358" y="560"/>
                  </a:lnTo>
                  <a:lnTo>
                    <a:pt x="354" y="564"/>
                  </a:lnTo>
                  <a:lnTo>
                    <a:pt x="350" y="566"/>
                  </a:lnTo>
                  <a:lnTo>
                    <a:pt x="336" y="570"/>
                  </a:lnTo>
                  <a:lnTo>
                    <a:pt x="316" y="576"/>
                  </a:lnTo>
                  <a:lnTo>
                    <a:pt x="304" y="580"/>
                  </a:lnTo>
                  <a:lnTo>
                    <a:pt x="286" y="586"/>
                  </a:lnTo>
                  <a:lnTo>
                    <a:pt x="280" y="586"/>
                  </a:lnTo>
                  <a:lnTo>
                    <a:pt x="268" y="586"/>
                  </a:lnTo>
                  <a:lnTo>
                    <a:pt x="262" y="586"/>
                  </a:lnTo>
                  <a:lnTo>
                    <a:pt x="254" y="586"/>
                  </a:lnTo>
                  <a:lnTo>
                    <a:pt x="242" y="586"/>
                  </a:lnTo>
                  <a:lnTo>
                    <a:pt x="234" y="588"/>
                  </a:lnTo>
                  <a:lnTo>
                    <a:pt x="226" y="590"/>
                  </a:lnTo>
                  <a:lnTo>
                    <a:pt x="218" y="594"/>
                  </a:lnTo>
                  <a:lnTo>
                    <a:pt x="216" y="598"/>
                  </a:lnTo>
                  <a:lnTo>
                    <a:pt x="214" y="600"/>
                  </a:lnTo>
                  <a:lnTo>
                    <a:pt x="206" y="596"/>
                  </a:lnTo>
                  <a:lnTo>
                    <a:pt x="180" y="592"/>
                  </a:lnTo>
                  <a:lnTo>
                    <a:pt x="108" y="598"/>
                  </a:lnTo>
                  <a:lnTo>
                    <a:pt x="102" y="596"/>
                  </a:lnTo>
                  <a:lnTo>
                    <a:pt x="76" y="588"/>
                  </a:lnTo>
                  <a:lnTo>
                    <a:pt x="46" y="578"/>
                  </a:lnTo>
                  <a:lnTo>
                    <a:pt x="26" y="572"/>
                  </a:lnTo>
                  <a:lnTo>
                    <a:pt x="0" y="564"/>
                  </a:lnTo>
                  <a:lnTo>
                    <a:pt x="14" y="578"/>
                  </a:lnTo>
                  <a:lnTo>
                    <a:pt x="20" y="588"/>
                  </a:lnTo>
                  <a:lnTo>
                    <a:pt x="32" y="600"/>
                  </a:lnTo>
                  <a:lnTo>
                    <a:pt x="34" y="604"/>
                  </a:lnTo>
                  <a:lnTo>
                    <a:pt x="34" y="608"/>
                  </a:lnTo>
                  <a:lnTo>
                    <a:pt x="44" y="628"/>
                  </a:lnTo>
                  <a:lnTo>
                    <a:pt x="48" y="638"/>
                  </a:lnTo>
                  <a:lnTo>
                    <a:pt x="52" y="644"/>
                  </a:lnTo>
                  <a:lnTo>
                    <a:pt x="60" y="654"/>
                  </a:lnTo>
                  <a:lnTo>
                    <a:pt x="70" y="662"/>
                  </a:lnTo>
                  <a:lnTo>
                    <a:pt x="78" y="666"/>
                  </a:lnTo>
                  <a:lnTo>
                    <a:pt x="86" y="668"/>
                  </a:lnTo>
                  <a:lnTo>
                    <a:pt x="100" y="672"/>
                  </a:lnTo>
                  <a:lnTo>
                    <a:pt x="104" y="676"/>
                  </a:lnTo>
                  <a:lnTo>
                    <a:pt x="114" y="686"/>
                  </a:lnTo>
                  <a:lnTo>
                    <a:pt x="124" y="684"/>
                  </a:lnTo>
                  <a:lnTo>
                    <a:pt x="126" y="684"/>
                  </a:lnTo>
                  <a:lnTo>
                    <a:pt x="126" y="684"/>
                  </a:lnTo>
                  <a:lnTo>
                    <a:pt x="126" y="688"/>
                  </a:lnTo>
                  <a:lnTo>
                    <a:pt x="126" y="704"/>
                  </a:lnTo>
                  <a:lnTo>
                    <a:pt x="128" y="718"/>
                  </a:lnTo>
                  <a:lnTo>
                    <a:pt x="130" y="740"/>
                  </a:lnTo>
                  <a:lnTo>
                    <a:pt x="130" y="744"/>
                  </a:lnTo>
                  <a:lnTo>
                    <a:pt x="126" y="750"/>
                  </a:lnTo>
                  <a:lnTo>
                    <a:pt x="126" y="754"/>
                  </a:lnTo>
                  <a:lnTo>
                    <a:pt x="126" y="758"/>
                  </a:lnTo>
                  <a:lnTo>
                    <a:pt x="126" y="758"/>
                  </a:lnTo>
                  <a:lnTo>
                    <a:pt x="130" y="760"/>
                  </a:lnTo>
                  <a:lnTo>
                    <a:pt x="136" y="762"/>
                  </a:lnTo>
                  <a:lnTo>
                    <a:pt x="154" y="758"/>
                  </a:lnTo>
                  <a:lnTo>
                    <a:pt x="156" y="758"/>
                  </a:lnTo>
                  <a:lnTo>
                    <a:pt x="158" y="762"/>
                  </a:lnTo>
                  <a:lnTo>
                    <a:pt x="162" y="766"/>
                  </a:lnTo>
                  <a:lnTo>
                    <a:pt x="162" y="768"/>
                  </a:lnTo>
                  <a:lnTo>
                    <a:pt x="158" y="772"/>
                  </a:lnTo>
                  <a:lnTo>
                    <a:pt x="158" y="778"/>
                  </a:lnTo>
                  <a:lnTo>
                    <a:pt x="158" y="786"/>
                  </a:lnTo>
                  <a:lnTo>
                    <a:pt x="158" y="788"/>
                  </a:lnTo>
                  <a:lnTo>
                    <a:pt x="154" y="790"/>
                  </a:lnTo>
                  <a:lnTo>
                    <a:pt x="154" y="802"/>
                  </a:lnTo>
                  <a:lnTo>
                    <a:pt x="152" y="802"/>
                  </a:lnTo>
                  <a:lnTo>
                    <a:pt x="148" y="804"/>
                  </a:lnTo>
                  <a:lnTo>
                    <a:pt x="128" y="804"/>
                  </a:lnTo>
                  <a:lnTo>
                    <a:pt x="126" y="804"/>
                  </a:lnTo>
                  <a:lnTo>
                    <a:pt x="118" y="806"/>
                  </a:lnTo>
                  <a:lnTo>
                    <a:pt x="106" y="810"/>
                  </a:lnTo>
                  <a:lnTo>
                    <a:pt x="102" y="810"/>
                  </a:lnTo>
                  <a:lnTo>
                    <a:pt x="98" y="814"/>
                  </a:lnTo>
                  <a:lnTo>
                    <a:pt x="94" y="820"/>
                  </a:lnTo>
                  <a:lnTo>
                    <a:pt x="92" y="824"/>
                  </a:lnTo>
                  <a:lnTo>
                    <a:pt x="92" y="824"/>
                  </a:lnTo>
                  <a:lnTo>
                    <a:pt x="84" y="824"/>
                  </a:lnTo>
                  <a:lnTo>
                    <a:pt x="82" y="828"/>
                  </a:lnTo>
                  <a:lnTo>
                    <a:pt x="68" y="832"/>
                  </a:lnTo>
                  <a:lnTo>
                    <a:pt x="66" y="834"/>
                  </a:lnTo>
                  <a:lnTo>
                    <a:pt x="64" y="838"/>
                  </a:lnTo>
                  <a:lnTo>
                    <a:pt x="62" y="850"/>
                  </a:lnTo>
                  <a:lnTo>
                    <a:pt x="60" y="862"/>
                  </a:lnTo>
                  <a:lnTo>
                    <a:pt x="60" y="864"/>
                  </a:lnTo>
                  <a:lnTo>
                    <a:pt x="54" y="868"/>
                  </a:lnTo>
                  <a:lnTo>
                    <a:pt x="54" y="868"/>
                  </a:lnTo>
                  <a:lnTo>
                    <a:pt x="54" y="872"/>
                  </a:lnTo>
                  <a:lnTo>
                    <a:pt x="52" y="880"/>
                  </a:lnTo>
                  <a:lnTo>
                    <a:pt x="52" y="902"/>
                  </a:lnTo>
                  <a:lnTo>
                    <a:pt x="50" y="908"/>
                  </a:lnTo>
                  <a:lnTo>
                    <a:pt x="48" y="910"/>
                  </a:lnTo>
                  <a:lnTo>
                    <a:pt x="60" y="912"/>
                  </a:lnTo>
                  <a:lnTo>
                    <a:pt x="70" y="914"/>
                  </a:lnTo>
                  <a:lnTo>
                    <a:pt x="82" y="912"/>
                  </a:lnTo>
                  <a:lnTo>
                    <a:pt x="86" y="908"/>
                  </a:lnTo>
                  <a:lnTo>
                    <a:pt x="90" y="906"/>
                  </a:lnTo>
                  <a:lnTo>
                    <a:pt x="92" y="908"/>
                  </a:lnTo>
                  <a:lnTo>
                    <a:pt x="98" y="914"/>
                  </a:lnTo>
                  <a:lnTo>
                    <a:pt x="102" y="912"/>
                  </a:lnTo>
                  <a:lnTo>
                    <a:pt x="106" y="908"/>
                  </a:lnTo>
                  <a:lnTo>
                    <a:pt x="114" y="904"/>
                  </a:lnTo>
                  <a:lnTo>
                    <a:pt x="120" y="904"/>
                  </a:lnTo>
                  <a:lnTo>
                    <a:pt x="144" y="906"/>
                  </a:lnTo>
                  <a:lnTo>
                    <a:pt x="154" y="904"/>
                  </a:lnTo>
                  <a:lnTo>
                    <a:pt x="160" y="906"/>
                  </a:lnTo>
                  <a:lnTo>
                    <a:pt x="174" y="908"/>
                  </a:lnTo>
                  <a:lnTo>
                    <a:pt x="174" y="902"/>
                  </a:lnTo>
                  <a:lnTo>
                    <a:pt x="178" y="898"/>
                  </a:lnTo>
                  <a:lnTo>
                    <a:pt x="190" y="896"/>
                  </a:lnTo>
                  <a:lnTo>
                    <a:pt x="204" y="898"/>
                  </a:lnTo>
                  <a:lnTo>
                    <a:pt x="206" y="898"/>
                  </a:lnTo>
                  <a:lnTo>
                    <a:pt x="212" y="894"/>
                  </a:lnTo>
                  <a:lnTo>
                    <a:pt x="216" y="896"/>
                  </a:lnTo>
                  <a:lnTo>
                    <a:pt x="218" y="898"/>
                  </a:lnTo>
                  <a:lnTo>
                    <a:pt x="244" y="906"/>
                  </a:lnTo>
                  <a:lnTo>
                    <a:pt x="246" y="908"/>
                  </a:lnTo>
                  <a:lnTo>
                    <a:pt x="250" y="910"/>
                  </a:lnTo>
                  <a:lnTo>
                    <a:pt x="258" y="900"/>
                  </a:lnTo>
                  <a:lnTo>
                    <a:pt x="278" y="900"/>
                  </a:lnTo>
                  <a:lnTo>
                    <a:pt x="300" y="896"/>
                  </a:lnTo>
                  <a:lnTo>
                    <a:pt x="318" y="898"/>
                  </a:lnTo>
                  <a:lnTo>
                    <a:pt x="332" y="892"/>
                  </a:lnTo>
                  <a:lnTo>
                    <a:pt x="354" y="890"/>
                  </a:lnTo>
                  <a:lnTo>
                    <a:pt x="360" y="890"/>
                  </a:lnTo>
                  <a:lnTo>
                    <a:pt x="366" y="890"/>
                  </a:lnTo>
                  <a:lnTo>
                    <a:pt x="370" y="890"/>
                  </a:lnTo>
                  <a:lnTo>
                    <a:pt x="366" y="888"/>
                  </a:lnTo>
                  <a:lnTo>
                    <a:pt x="362" y="886"/>
                  </a:lnTo>
                  <a:lnTo>
                    <a:pt x="348" y="888"/>
                  </a:lnTo>
                  <a:lnTo>
                    <a:pt x="350" y="882"/>
                  </a:lnTo>
                  <a:lnTo>
                    <a:pt x="354" y="880"/>
                  </a:lnTo>
                  <a:lnTo>
                    <a:pt x="360" y="880"/>
                  </a:lnTo>
                  <a:lnTo>
                    <a:pt x="366" y="882"/>
                  </a:lnTo>
                  <a:lnTo>
                    <a:pt x="374" y="888"/>
                  </a:lnTo>
                  <a:lnTo>
                    <a:pt x="376" y="896"/>
                  </a:lnTo>
                  <a:lnTo>
                    <a:pt x="384" y="906"/>
                  </a:lnTo>
                  <a:lnTo>
                    <a:pt x="386" y="914"/>
                  </a:lnTo>
                  <a:lnTo>
                    <a:pt x="384" y="928"/>
                  </a:lnTo>
                  <a:lnTo>
                    <a:pt x="384" y="934"/>
                  </a:lnTo>
                  <a:lnTo>
                    <a:pt x="412" y="938"/>
                  </a:lnTo>
                  <a:lnTo>
                    <a:pt x="416" y="940"/>
                  </a:lnTo>
                  <a:lnTo>
                    <a:pt x="424" y="968"/>
                  </a:lnTo>
                  <a:lnTo>
                    <a:pt x="424" y="976"/>
                  </a:lnTo>
                  <a:lnTo>
                    <a:pt x="424" y="982"/>
                  </a:lnTo>
                  <a:lnTo>
                    <a:pt x="428" y="988"/>
                  </a:lnTo>
                  <a:lnTo>
                    <a:pt x="432" y="990"/>
                  </a:lnTo>
                  <a:lnTo>
                    <a:pt x="436" y="994"/>
                  </a:lnTo>
                  <a:lnTo>
                    <a:pt x="438" y="1000"/>
                  </a:lnTo>
                  <a:lnTo>
                    <a:pt x="442" y="1004"/>
                  </a:lnTo>
                  <a:lnTo>
                    <a:pt x="446" y="1000"/>
                  </a:lnTo>
                  <a:lnTo>
                    <a:pt x="446" y="1004"/>
                  </a:lnTo>
                  <a:lnTo>
                    <a:pt x="448" y="1008"/>
                  </a:lnTo>
                  <a:lnTo>
                    <a:pt x="458" y="1008"/>
                  </a:lnTo>
                  <a:lnTo>
                    <a:pt x="460" y="1002"/>
                  </a:lnTo>
                  <a:lnTo>
                    <a:pt x="466" y="1008"/>
                  </a:lnTo>
                  <a:lnTo>
                    <a:pt x="470" y="1008"/>
                  </a:lnTo>
                  <a:lnTo>
                    <a:pt x="472" y="1006"/>
                  </a:lnTo>
                  <a:lnTo>
                    <a:pt x="474" y="1008"/>
                  </a:lnTo>
                  <a:lnTo>
                    <a:pt x="478" y="1012"/>
                  </a:lnTo>
                  <a:lnTo>
                    <a:pt x="480" y="1010"/>
                  </a:lnTo>
                  <a:lnTo>
                    <a:pt x="480" y="1006"/>
                  </a:lnTo>
                  <a:lnTo>
                    <a:pt x="486" y="1002"/>
                  </a:lnTo>
                  <a:lnTo>
                    <a:pt x="488" y="1000"/>
                  </a:lnTo>
                  <a:lnTo>
                    <a:pt x="494" y="998"/>
                  </a:lnTo>
                  <a:lnTo>
                    <a:pt x="502" y="998"/>
                  </a:lnTo>
                  <a:lnTo>
                    <a:pt x="508" y="998"/>
                  </a:lnTo>
                  <a:lnTo>
                    <a:pt x="518" y="998"/>
                  </a:lnTo>
                  <a:lnTo>
                    <a:pt x="518" y="976"/>
                  </a:lnTo>
                  <a:lnTo>
                    <a:pt x="518" y="974"/>
                  </a:lnTo>
                  <a:lnTo>
                    <a:pt x="520" y="974"/>
                  </a:lnTo>
                  <a:lnTo>
                    <a:pt x="522" y="972"/>
                  </a:lnTo>
                  <a:lnTo>
                    <a:pt x="522" y="972"/>
                  </a:lnTo>
                  <a:lnTo>
                    <a:pt x="524" y="976"/>
                  </a:lnTo>
                  <a:lnTo>
                    <a:pt x="526" y="976"/>
                  </a:lnTo>
                  <a:lnTo>
                    <a:pt x="528" y="974"/>
                  </a:lnTo>
                  <a:lnTo>
                    <a:pt x="534" y="976"/>
                  </a:lnTo>
                  <a:lnTo>
                    <a:pt x="538" y="974"/>
                  </a:lnTo>
                  <a:lnTo>
                    <a:pt x="544" y="976"/>
                  </a:lnTo>
                  <a:lnTo>
                    <a:pt x="552" y="976"/>
                  </a:lnTo>
                  <a:lnTo>
                    <a:pt x="564" y="976"/>
                  </a:lnTo>
                  <a:lnTo>
                    <a:pt x="572" y="976"/>
                  </a:lnTo>
                  <a:lnTo>
                    <a:pt x="578" y="978"/>
                  </a:lnTo>
                  <a:lnTo>
                    <a:pt x="582" y="982"/>
                  </a:lnTo>
                  <a:lnTo>
                    <a:pt x="588" y="984"/>
                  </a:lnTo>
                  <a:lnTo>
                    <a:pt x="596" y="982"/>
                  </a:lnTo>
                  <a:lnTo>
                    <a:pt x="602" y="982"/>
                  </a:lnTo>
                  <a:lnTo>
                    <a:pt x="606" y="978"/>
                  </a:lnTo>
                  <a:lnTo>
                    <a:pt x="608" y="974"/>
                  </a:lnTo>
                  <a:lnTo>
                    <a:pt x="620" y="970"/>
                  </a:lnTo>
                  <a:lnTo>
                    <a:pt x="634" y="966"/>
                  </a:lnTo>
                  <a:lnTo>
                    <a:pt x="636" y="964"/>
                  </a:lnTo>
                  <a:lnTo>
                    <a:pt x="638" y="968"/>
                  </a:lnTo>
                  <a:lnTo>
                    <a:pt x="638" y="972"/>
                  </a:lnTo>
                  <a:lnTo>
                    <a:pt x="640" y="976"/>
                  </a:lnTo>
                  <a:lnTo>
                    <a:pt x="644" y="978"/>
                  </a:lnTo>
                  <a:lnTo>
                    <a:pt x="648" y="978"/>
                  </a:lnTo>
                  <a:lnTo>
                    <a:pt x="652" y="978"/>
                  </a:lnTo>
                  <a:lnTo>
                    <a:pt x="654" y="976"/>
                  </a:lnTo>
                  <a:lnTo>
                    <a:pt x="660" y="970"/>
                  </a:lnTo>
                  <a:lnTo>
                    <a:pt x="662" y="968"/>
                  </a:lnTo>
                  <a:lnTo>
                    <a:pt x="666" y="970"/>
                  </a:lnTo>
                  <a:lnTo>
                    <a:pt x="670" y="966"/>
                  </a:lnTo>
                  <a:lnTo>
                    <a:pt x="670" y="964"/>
                  </a:lnTo>
                  <a:lnTo>
                    <a:pt x="668" y="962"/>
                  </a:lnTo>
                  <a:lnTo>
                    <a:pt x="664" y="960"/>
                  </a:lnTo>
                  <a:lnTo>
                    <a:pt x="666" y="958"/>
                  </a:lnTo>
                  <a:lnTo>
                    <a:pt x="664" y="954"/>
                  </a:lnTo>
                  <a:lnTo>
                    <a:pt x="666" y="950"/>
                  </a:lnTo>
                  <a:lnTo>
                    <a:pt x="666" y="948"/>
                  </a:lnTo>
                  <a:lnTo>
                    <a:pt x="670" y="946"/>
                  </a:lnTo>
                  <a:lnTo>
                    <a:pt x="668" y="940"/>
                  </a:lnTo>
                  <a:lnTo>
                    <a:pt x="664" y="930"/>
                  </a:lnTo>
                  <a:lnTo>
                    <a:pt x="658" y="918"/>
                  </a:lnTo>
                  <a:lnTo>
                    <a:pt x="654" y="908"/>
                  </a:lnTo>
                  <a:lnTo>
                    <a:pt x="648" y="898"/>
                  </a:lnTo>
                  <a:lnTo>
                    <a:pt x="644" y="892"/>
                  </a:lnTo>
                  <a:lnTo>
                    <a:pt x="644" y="878"/>
                  </a:lnTo>
                  <a:lnTo>
                    <a:pt x="644" y="874"/>
                  </a:lnTo>
                  <a:lnTo>
                    <a:pt x="642" y="872"/>
                  </a:lnTo>
                  <a:lnTo>
                    <a:pt x="638" y="872"/>
                  </a:lnTo>
                  <a:lnTo>
                    <a:pt x="634" y="874"/>
                  </a:lnTo>
                  <a:lnTo>
                    <a:pt x="630" y="874"/>
                  </a:lnTo>
                  <a:lnTo>
                    <a:pt x="622" y="874"/>
                  </a:lnTo>
                  <a:lnTo>
                    <a:pt x="618" y="872"/>
                  </a:lnTo>
                  <a:lnTo>
                    <a:pt x="608" y="856"/>
                  </a:lnTo>
                  <a:lnTo>
                    <a:pt x="606" y="852"/>
                  </a:lnTo>
                  <a:lnTo>
                    <a:pt x="606" y="846"/>
                  </a:lnTo>
                  <a:lnTo>
                    <a:pt x="610" y="834"/>
                  </a:lnTo>
                  <a:lnTo>
                    <a:pt x="610" y="826"/>
                  </a:lnTo>
                  <a:lnTo>
                    <a:pt x="612" y="816"/>
                  </a:lnTo>
                  <a:lnTo>
                    <a:pt x="610" y="814"/>
                  </a:lnTo>
                  <a:lnTo>
                    <a:pt x="608" y="810"/>
                  </a:lnTo>
                  <a:lnTo>
                    <a:pt x="604" y="808"/>
                  </a:lnTo>
                  <a:lnTo>
                    <a:pt x="596" y="808"/>
                  </a:lnTo>
                  <a:lnTo>
                    <a:pt x="584" y="804"/>
                  </a:lnTo>
                  <a:lnTo>
                    <a:pt x="574" y="800"/>
                  </a:lnTo>
                  <a:lnTo>
                    <a:pt x="568" y="796"/>
                  </a:lnTo>
                  <a:lnTo>
                    <a:pt x="568" y="794"/>
                  </a:lnTo>
                  <a:lnTo>
                    <a:pt x="566" y="792"/>
                  </a:lnTo>
                  <a:lnTo>
                    <a:pt x="568" y="780"/>
                  </a:lnTo>
                  <a:lnTo>
                    <a:pt x="570" y="768"/>
                  </a:lnTo>
                  <a:lnTo>
                    <a:pt x="572" y="764"/>
                  </a:lnTo>
                  <a:lnTo>
                    <a:pt x="576" y="760"/>
                  </a:lnTo>
                  <a:lnTo>
                    <a:pt x="578" y="758"/>
                  </a:lnTo>
                  <a:lnTo>
                    <a:pt x="584" y="754"/>
                  </a:lnTo>
                  <a:lnTo>
                    <a:pt x="594" y="742"/>
                  </a:lnTo>
                  <a:lnTo>
                    <a:pt x="604" y="726"/>
                  </a:lnTo>
                  <a:lnTo>
                    <a:pt x="610" y="714"/>
                  </a:lnTo>
                  <a:lnTo>
                    <a:pt x="614" y="712"/>
                  </a:lnTo>
                  <a:lnTo>
                    <a:pt x="618" y="708"/>
                  </a:lnTo>
                  <a:lnTo>
                    <a:pt x="622" y="704"/>
                  </a:lnTo>
                  <a:lnTo>
                    <a:pt x="628" y="702"/>
                  </a:lnTo>
                  <a:lnTo>
                    <a:pt x="634" y="702"/>
                  </a:lnTo>
                  <a:lnTo>
                    <a:pt x="638" y="704"/>
                  </a:lnTo>
                  <a:lnTo>
                    <a:pt x="642" y="708"/>
                  </a:lnTo>
                  <a:lnTo>
                    <a:pt x="644" y="716"/>
                  </a:lnTo>
                  <a:lnTo>
                    <a:pt x="646" y="720"/>
                  </a:lnTo>
                  <a:lnTo>
                    <a:pt x="650" y="724"/>
                  </a:lnTo>
                  <a:lnTo>
                    <a:pt x="654" y="724"/>
                  </a:lnTo>
                  <a:lnTo>
                    <a:pt x="658" y="724"/>
                  </a:lnTo>
                  <a:lnTo>
                    <a:pt x="678" y="716"/>
                  </a:lnTo>
                  <a:lnTo>
                    <a:pt x="686" y="714"/>
                  </a:lnTo>
                  <a:lnTo>
                    <a:pt x="702" y="712"/>
                  </a:lnTo>
                  <a:lnTo>
                    <a:pt x="714" y="710"/>
                  </a:lnTo>
                  <a:lnTo>
                    <a:pt x="724" y="706"/>
                  </a:lnTo>
                  <a:lnTo>
                    <a:pt x="724" y="700"/>
                  </a:lnTo>
                  <a:lnTo>
                    <a:pt x="728" y="690"/>
                  </a:lnTo>
                  <a:lnTo>
                    <a:pt x="740" y="678"/>
                  </a:lnTo>
                  <a:lnTo>
                    <a:pt x="744" y="672"/>
                  </a:lnTo>
                  <a:lnTo>
                    <a:pt x="748" y="660"/>
                  </a:lnTo>
                  <a:lnTo>
                    <a:pt x="752" y="652"/>
                  </a:lnTo>
                  <a:lnTo>
                    <a:pt x="754" y="648"/>
                  </a:lnTo>
                  <a:lnTo>
                    <a:pt x="774" y="636"/>
                  </a:lnTo>
                  <a:lnTo>
                    <a:pt x="792" y="626"/>
                  </a:lnTo>
                  <a:lnTo>
                    <a:pt x="794" y="622"/>
                  </a:lnTo>
                  <a:lnTo>
                    <a:pt x="806" y="602"/>
                  </a:lnTo>
                  <a:lnTo>
                    <a:pt x="814" y="588"/>
                  </a:lnTo>
                  <a:lnTo>
                    <a:pt x="814" y="582"/>
                  </a:lnTo>
                  <a:lnTo>
                    <a:pt x="822" y="558"/>
                  </a:lnTo>
                  <a:lnTo>
                    <a:pt x="828" y="556"/>
                  </a:lnTo>
                  <a:lnTo>
                    <a:pt x="840" y="550"/>
                  </a:lnTo>
                  <a:lnTo>
                    <a:pt x="850" y="546"/>
                  </a:lnTo>
                  <a:lnTo>
                    <a:pt x="856" y="542"/>
                  </a:lnTo>
                  <a:lnTo>
                    <a:pt x="858" y="536"/>
                  </a:lnTo>
                  <a:lnTo>
                    <a:pt x="858" y="532"/>
                  </a:lnTo>
                  <a:lnTo>
                    <a:pt x="856" y="526"/>
                  </a:lnTo>
                  <a:lnTo>
                    <a:pt x="856" y="524"/>
                  </a:lnTo>
                  <a:lnTo>
                    <a:pt x="856" y="520"/>
                  </a:lnTo>
                  <a:lnTo>
                    <a:pt x="864" y="514"/>
                  </a:lnTo>
                  <a:lnTo>
                    <a:pt x="878" y="494"/>
                  </a:lnTo>
                  <a:lnTo>
                    <a:pt x="886" y="486"/>
                  </a:lnTo>
                  <a:lnTo>
                    <a:pt x="888" y="486"/>
                  </a:lnTo>
                  <a:lnTo>
                    <a:pt x="896" y="480"/>
                  </a:lnTo>
                  <a:lnTo>
                    <a:pt x="904" y="474"/>
                  </a:lnTo>
                  <a:lnTo>
                    <a:pt x="904" y="472"/>
                  </a:lnTo>
                  <a:lnTo>
                    <a:pt x="904" y="468"/>
                  </a:lnTo>
                  <a:lnTo>
                    <a:pt x="898" y="468"/>
                  </a:lnTo>
                  <a:lnTo>
                    <a:pt x="898" y="462"/>
                  </a:lnTo>
                  <a:lnTo>
                    <a:pt x="898" y="458"/>
                  </a:lnTo>
                  <a:lnTo>
                    <a:pt x="902" y="442"/>
                  </a:lnTo>
                  <a:lnTo>
                    <a:pt x="902" y="436"/>
                  </a:lnTo>
                  <a:lnTo>
                    <a:pt x="896" y="422"/>
                  </a:lnTo>
                  <a:lnTo>
                    <a:pt x="898" y="418"/>
                  </a:lnTo>
                  <a:lnTo>
                    <a:pt x="900" y="414"/>
                  </a:lnTo>
                  <a:lnTo>
                    <a:pt x="906" y="408"/>
                  </a:lnTo>
                  <a:lnTo>
                    <a:pt x="912" y="404"/>
                  </a:lnTo>
                  <a:lnTo>
                    <a:pt x="934" y="394"/>
                  </a:lnTo>
                  <a:lnTo>
                    <a:pt x="938" y="392"/>
                  </a:lnTo>
                  <a:lnTo>
                    <a:pt x="946" y="390"/>
                  </a:lnTo>
                  <a:lnTo>
                    <a:pt x="950" y="384"/>
                  </a:lnTo>
                  <a:lnTo>
                    <a:pt x="950" y="378"/>
                  </a:lnTo>
                  <a:lnTo>
                    <a:pt x="948" y="376"/>
                  </a:lnTo>
                  <a:lnTo>
                    <a:pt x="944" y="372"/>
                  </a:lnTo>
                  <a:lnTo>
                    <a:pt x="936" y="368"/>
                  </a:lnTo>
                  <a:lnTo>
                    <a:pt x="928" y="364"/>
                  </a:lnTo>
                  <a:lnTo>
                    <a:pt x="914" y="364"/>
                  </a:lnTo>
                  <a:lnTo>
                    <a:pt x="908" y="362"/>
                  </a:lnTo>
                  <a:lnTo>
                    <a:pt x="906" y="360"/>
                  </a:lnTo>
                  <a:lnTo>
                    <a:pt x="906" y="354"/>
                  </a:lnTo>
                  <a:lnTo>
                    <a:pt x="906" y="342"/>
                  </a:lnTo>
                  <a:lnTo>
                    <a:pt x="904" y="340"/>
                  </a:lnTo>
                  <a:lnTo>
                    <a:pt x="902" y="342"/>
                  </a:lnTo>
                  <a:lnTo>
                    <a:pt x="896" y="340"/>
                  </a:lnTo>
                  <a:lnTo>
                    <a:pt x="886" y="340"/>
                  </a:lnTo>
                  <a:lnTo>
                    <a:pt x="884" y="338"/>
                  </a:lnTo>
                  <a:lnTo>
                    <a:pt x="884" y="334"/>
                  </a:lnTo>
                  <a:lnTo>
                    <a:pt x="884" y="328"/>
                  </a:lnTo>
                  <a:lnTo>
                    <a:pt x="884" y="324"/>
                  </a:lnTo>
                  <a:lnTo>
                    <a:pt x="882" y="322"/>
                  </a:lnTo>
                  <a:lnTo>
                    <a:pt x="878" y="320"/>
                  </a:lnTo>
                  <a:lnTo>
                    <a:pt x="872" y="316"/>
                  </a:lnTo>
                  <a:lnTo>
                    <a:pt x="866" y="312"/>
                  </a:lnTo>
                  <a:lnTo>
                    <a:pt x="864" y="308"/>
                  </a:lnTo>
                  <a:lnTo>
                    <a:pt x="862" y="306"/>
                  </a:lnTo>
                  <a:lnTo>
                    <a:pt x="864" y="304"/>
                  </a:lnTo>
                  <a:lnTo>
                    <a:pt x="866" y="298"/>
                  </a:lnTo>
                  <a:lnTo>
                    <a:pt x="872" y="292"/>
                  </a:lnTo>
                  <a:lnTo>
                    <a:pt x="872" y="286"/>
                  </a:lnTo>
                  <a:lnTo>
                    <a:pt x="874" y="282"/>
                  </a:lnTo>
                  <a:lnTo>
                    <a:pt x="872" y="280"/>
                  </a:lnTo>
                  <a:lnTo>
                    <a:pt x="868" y="276"/>
                  </a:lnTo>
                  <a:lnTo>
                    <a:pt x="864" y="272"/>
                  </a:lnTo>
                  <a:lnTo>
                    <a:pt x="862" y="270"/>
                  </a:lnTo>
                  <a:lnTo>
                    <a:pt x="862" y="266"/>
                  </a:lnTo>
                  <a:lnTo>
                    <a:pt x="864" y="260"/>
                  </a:lnTo>
                  <a:lnTo>
                    <a:pt x="868" y="256"/>
                  </a:lnTo>
                  <a:lnTo>
                    <a:pt x="878" y="252"/>
                  </a:lnTo>
                  <a:lnTo>
                    <a:pt x="880" y="248"/>
                  </a:lnTo>
                  <a:lnTo>
                    <a:pt x="880" y="244"/>
                  </a:lnTo>
                  <a:lnTo>
                    <a:pt x="878" y="244"/>
                  </a:lnTo>
                  <a:lnTo>
                    <a:pt x="870" y="244"/>
                  </a:lnTo>
                  <a:lnTo>
                    <a:pt x="860" y="242"/>
                  </a:lnTo>
                  <a:lnTo>
                    <a:pt x="858" y="240"/>
                  </a:lnTo>
                  <a:lnTo>
                    <a:pt x="858" y="238"/>
                  </a:lnTo>
                  <a:lnTo>
                    <a:pt x="858" y="236"/>
                  </a:lnTo>
                  <a:lnTo>
                    <a:pt x="860" y="232"/>
                  </a:lnTo>
                  <a:lnTo>
                    <a:pt x="862" y="228"/>
                  </a:lnTo>
                  <a:lnTo>
                    <a:pt x="862" y="226"/>
                  </a:lnTo>
                  <a:lnTo>
                    <a:pt x="858" y="222"/>
                  </a:lnTo>
                  <a:lnTo>
                    <a:pt x="850" y="218"/>
                  </a:lnTo>
                  <a:lnTo>
                    <a:pt x="850" y="214"/>
                  </a:lnTo>
                  <a:lnTo>
                    <a:pt x="850" y="210"/>
                  </a:lnTo>
                  <a:lnTo>
                    <a:pt x="854" y="206"/>
                  </a:lnTo>
                  <a:lnTo>
                    <a:pt x="856" y="202"/>
                  </a:lnTo>
                  <a:lnTo>
                    <a:pt x="860" y="192"/>
                  </a:lnTo>
                  <a:lnTo>
                    <a:pt x="866" y="190"/>
                  </a:lnTo>
                  <a:lnTo>
                    <a:pt x="874" y="186"/>
                  </a:lnTo>
                  <a:lnTo>
                    <a:pt x="882" y="184"/>
                  </a:lnTo>
                  <a:lnTo>
                    <a:pt x="896" y="186"/>
                  </a:lnTo>
                  <a:lnTo>
                    <a:pt x="902" y="188"/>
                  </a:lnTo>
                  <a:lnTo>
                    <a:pt x="914" y="190"/>
                  </a:lnTo>
                  <a:lnTo>
                    <a:pt x="926" y="192"/>
                  </a:lnTo>
                  <a:lnTo>
                    <a:pt x="936" y="194"/>
                  </a:lnTo>
                  <a:lnTo>
                    <a:pt x="942" y="194"/>
                  </a:lnTo>
                  <a:lnTo>
                    <a:pt x="946" y="196"/>
                  </a:lnTo>
                  <a:lnTo>
                    <a:pt x="958" y="202"/>
                  </a:lnTo>
                  <a:lnTo>
                    <a:pt x="968" y="204"/>
                  </a:lnTo>
                  <a:lnTo>
                    <a:pt x="976" y="204"/>
                  </a:lnTo>
                  <a:lnTo>
                    <a:pt x="986" y="200"/>
                  </a:lnTo>
                  <a:lnTo>
                    <a:pt x="990" y="196"/>
                  </a:lnTo>
                  <a:lnTo>
                    <a:pt x="998" y="190"/>
                  </a:lnTo>
                  <a:lnTo>
                    <a:pt x="1006" y="190"/>
                  </a:lnTo>
                  <a:lnTo>
                    <a:pt x="1024" y="184"/>
                  </a:lnTo>
                  <a:lnTo>
                    <a:pt x="1028" y="184"/>
                  </a:lnTo>
                  <a:lnTo>
                    <a:pt x="1034" y="186"/>
                  </a:lnTo>
                  <a:lnTo>
                    <a:pt x="1040" y="182"/>
                  </a:lnTo>
                  <a:lnTo>
                    <a:pt x="1044" y="176"/>
                  </a:lnTo>
                  <a:lnTo>
                    <a:pt x="1044" y="174"/>
                  </a:lnTo>
                  <a:lnTo>
                    <a:pt x="1046" y="172"/>
                  </a:lnTo>
                  <a:lnTo>
                    <a:pt x="1052" y="170"/>
                  </a:lnTo>
                  <a:lnTo>
                    <a:pt x="1060" y="164"/>
                  </a:lnTo>
                  <a:lnTo>
                    <a:pt x="1062" y="160"/>
                  </a:lnTo>
                  <a:lnTo>
                    <a:pt x="1064" y="156"/>
                  </a:lnTo>
                  <a:lnTo>
                    <a:pt x="1060" y="148"/>
                  </a:lnTo>
                  <a:lnTo>
                    <a:pt x="1058" y="144"/>
                  </a:lnTo>
                  <a:lnTo>
                    <a:pt x="1056" y="136"/>
                  </a:lnTo>
                  <a:lnTo>
                    <a:pt x="1052" y="130"/>
                  </a:lnTo>
                  <a:lnTo>
                    <a:pt x="1048" y="118"/>
                  </a:lnTo>
                  <a:lnTo>
                    <a:pt x="1044" y="112"/>
                  </a:lnTo>
                </a:path>
              </a:pathLst>
            </a:custGeom>
            <a:solidFill>
              <a:schemeClr val="bg1"/>
            </a:solidFill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4" name="Line 5979">
              <a:extLst>
                <a:ext uri="{FF2B5EF4-FFF2-40B4-BE49-F238E27FC236}">
                  <a16:creationId xmlns:a16="http://schemas.microsoft.com/office/drawing/2014/main" id="{808771F4-9F54-49F0-92E6-CE755BF21C4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237979" y="4444274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5" name="Line 5981">
              <a:extLst>
                <a:ext uri="{FF2B5EF4-FFF2-40B4-BE49-F238E27FC236}">
                  <a16:creationId xmlns:a16="http://schemas.microsoft.com/office/drawing/2014/main" id="{2B57D893-A57A-4571-BFA6-643BB290CB4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237979" y="4444274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6" name="Freeform 274">
              <a:extLst>
                <a:ext uri="{FF2B5EF4-FFF2-40B4-BE49-F238E27FC236}">
                  <a16:creationId xmlns:a16="http://schemas.microsoft.com/office/drawing/2014/main" id="{B1DD3CEA-331A-4C30-AEC2-5D4024CFA3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00898" y="5165814"/>
              <a:ext cx="147237" cy="60899"/>
            </a:xfrm>
            <a:custGeom>
              <a:avLst/>
              <a:gdLst>
                <a:gd name="connsiteX0" fmla="*/ 195370 w 910139"/>
                <a:gd name="connsiteY0" fmla="*/ 314500 h 376446"/>
                <a:gd name="connsiteX1" fmla="*/ 200136 w 910139"/>
                <a:gd name="connsiteY1" fmla="*/ 314500 h 376446"/>
                <a:gd name="connsiteX2" fmla="*/ 209666 w 910139"/>
                <a:gd name="connsiteY2" fmla="*/ 328796 h 376446"/>
                <a:gd name="connsiteX3" fmla="*/ 204901 w 910139"/>
                <a:gd name="connsiteY3" fmla="*/ 333560 h 376446"/>
                <a:gd name="connsiteX4" fmla="*/ 204901 w 910139"/>
                <a:gd name="connsiteY4" fmla="*/ 343090 h 376446"/>
                <a:gd name="connsiteX5" fmla="*/ 219196 w 910139"/>
                <a:gd name="connsiteY5" fmla="*/ 352620 h 376446"/>
                <a:gd name="connsiteX6" fmla="*/ 219196 w 910139"/>
                <a:gd name="connsiteY6" fmla="*/ 357386 h 376446"/>
                <a:gd name="connsiteX7" fmla="*/ 209666 w 910139"/>
                <a:gd name="connsiteY7" fmla="*/ 357386 h 376446"/>
                <a:gd name="connsiteX8" fmla="*/ 195370 w 910139"/>
                <a:gd name="connsiteY8" fmla="*/ 352620 h 376446"/>
                <a:gd name="connsiteX9" fmla="*/ 181075 w 910139"/>
                <a:gd name="connsiteY9" fmla="*/ 338326 h 376446"/>
                <a:gd name="connsiteX10" fmla="*/ 181075 w 910139"/>
                <a:gd name="connsiteY10" fmla="*/ 333560 h 376446"/>
                <a:gd name="connsiteX11" fmla="*/ 181075 w 910139"/>
                <a:gd name="connsiteY11" fmla="*/ 328796 h 376446"/>
                <a:gd name="connsiteX12" fmla="*/ 185840 w 910139"/>
                <a:gd name="connsiteY12" fmla="*/ 319266 h 376446"/>
                <a:gd name="connsiteX13" fmla="*/ 609936 w 910139"/>
                <a:gd name="connsiteY13" fmla="*/ 204902 h 376446"/>
                <a:gd name="connsiteX14" fmla="*/ 614701 w 910139"/>
                <a:gd name="connsiteY14" fmla="*/ 204902 h 376446"/>
                <a:gd name="connsiteX15" fmla="*/ 614701 w 910139"/>
                <a:gd name="connsiteY15" fmla="*/ 214432 h 376446"/>
                <a:gd name="connsiteX16" fmla="*/ 609936 w 910139"/>
                <a:gd name="connsiteY16" fmla="*/ 219196 h 376446"/>
                <a:gd name="connsiteX17" fmla="*/ 605171 w 910139"/>
                <a:gd name="connsiteY17" fmla="*/ 214432 h 376446"/>
                <a:gd name="connsiteX18" fmla="*/ 638527 w 910139"/>
                <a:gd name="connsiteY18" fmla="*/ 181076 h 376446"/>
                <a:gd name="connsiteX19" fmla="*/ 643292 w 910139"/>
                <a:gd name="connsiteY19" fmla="*/ 181076 h 376446"/>
                <a:gd name="connsiteX20" fmla="*/ 648058 w 910139"/>
                <a:gd name="connsiteY20" fmla="*/ 181076 h 376446"/>
                <a:gd name="connsiteX21" fmla="*/ 652823 w 910139"/>
                <a:gd name="connsiteY21" fmla="*/ 200136 h 376446"/>
                <a:gd name="connsiteX22" fmla="*/ 648058 w 910139"/>
                <a:gd name="connsiteY22" fmla="*/ 204902 h 376446"/>
                <a:gd name="connsiteX23" fmla="*/ 643292 w 910139"/>
                <a:gd name="connsiteY23" fmla="*/ 209666 h 376446"/>
                <a:gd name="connsiteX24" fmla="*/ 638527 w 910139"/>
                <a:gd name="connsiteY24" fmla="*/ 219196 h 376446"/>
                <a:gd name="connsiteX25" fmla="*/ 633762 w 910139"/>
                <a:gd name="connsiteY25" fmla="*/ 200136 h 376446"/>
                <a:gd name="connsiteX26" fmla="*/ 633762 w 910139"/>
                <a:gd name="connsiteY26" fmla="*/ 185842 h 376446"/>
                <a:gd name="connsiteX27" fmla="*/ 109598 w 910139"/>
                <a:gd name="connsiteY27" fmla="*/ 28592 h 376446"/>
                <a:gd name="connsiteX28" fmla="*/ 114363 w 910139"/>
                <a:gd name="connsiteY28" fmla="*/ 28592 h 376446"/>
                <a:gd name="connsiteX29" fmla="*/ 119128 w 910139"/>
                <a:gd name="connsiteY29" fmla="*/ 28592 h 376446"/>
                <a:gd name="connsiteX30" fmla="*/ 123893 w 910139"/>
                <a:gd name="connsiteY30" fmla="*/ 33356 h 376446"/>
                <a:gd name="connsiteX31" fmla="*/ 119128 w 910139"/>
                <a:gd name="connsiteY31" fmla="*/ 42888 h 376446"/>
                <a:gd name="connsiteX32" fmla="*/ 33356 w 910139"/>
                <a:gd name="connsiteY32" fmla="*/ 0 h 376446"/>
                <a:gd name="connsiteX33" fmla="*/ 47651 w 910139"/>
                <a:gd name="connsiteY33" fmla="*/ 9532 h 376446"/>
                <a:gd name="connsiteX34" fmla="*/ 57182 w 910139"/>
                <a:gd name="connsiteY34" fmla="*/ 14296 h 376446"/>
                <a:gd name="connsiteX35" fmla="*/ 61947 w 910139"/>
                <a:gd name="connsiteY35" fmla="*/ 14296 h 376446"/>
                <a:gd name="connsiteX36" fmla="*/ 66712 w 910139"/>
                <a:gd name="connsiteY36" fmla="*/ 9532 h 376446"/>
                <a:gd name="connsiteX37" fmla="*/ 71477 w 910139"/>
                <a:gd name="connsiteY37" fmla="*/ 9532 h 376446"/>
                <a:gd name="connsiteX38" fmla="*/ 71477 w 910139"/>
                <a:gd name="connsiteY38" fmla="*/ 4766 h 376446"/>
                <a:gd name="connsiteX39" fmla="*/ 81007 w 910139"/>
                <a:gd name="connsiteY39" fmla="*/ 14296 h 376446"/>
                <a:gd name="connsiteX40" fmla="*/ 100068 w 910139"/>
                <a:gd name="connsiteY40" fmla="*/ 28592 h 376446"/>
                <a:gd name="connsiteX41" fmla="*/ 100068 w 910139"/>
                <a:gd name="connsiteY41" fmla="*/ 33356 h 376446"/>
                <a:gd name="connsiteX42" fmla="*/ 100068 w 910139"/>
                <a:gd name="connsiteY42" fmla="*/ 42888 h 376446"/>
                <a:gd name="connsiteX43" fmla="*/ 104833 w 910139"/>
                <a:gd name="connsiteY43" fmla="*/ 61948 h 376446"/>
                <a:gd name="connsiteX44" fmla="*/ 114363 w 910139"/>
                <a:gd name="connsiteY44" fmla="*/ 66712 h 376446"/>
                <a:gd name="connsiteX45" fmla="*/ 128658 w 910139"/>
                <a:gd name="connsiteY45" fmla="*/ 61948 h 376446"/>
                <a:gd name="connsiteX46" fmla="*/ 128658 w 910139"/>
                <a:gd name="connsiteY46" fmla="*/ 66712 h 376446"/>
                <a:gd name="connsiteX47" fmla="*/ 123893 w 910139"/>
                <a:gd name="connsiteY47" fmla="*/ 71478 h 376446"/>
                <a:gd name="connsiteX48" fmla="*/ 119128 w 910139"/>
                <a:gd name="connsiteY48" fmla="*/ 90538 h 376446"/>
                <a:gd name="connsiteX49" fmla="*/ 138189 w 910139"/>
                <a:gd name="connsiteY49" fmla="*/ 100068 h 376446"/>
                <a:gd name="connsiteX50" fmla="*/ 147719 w 910139"/>
                <a:gd name="connsiteY50" fmla="*/ 104834 h 376446"/>
                <a:gd name="connsiteX51" fmla="*/ 176310 w 910139"/>
                <a:gd name="connsiteY51" fmla="*/ 104834 h 376446"/>
                <a:gd name="connsiteX52" fmla="*/ 185840 w 910139"/>
                <a:gd name="connsiteY52" fmla="*/ 104834 h 376446"/>
                <a:gd name="connsiteX53" fmla="*/ 190605 w 910139"/>
                <a:gd name="connsiteY53" fmla="*/ 100068 h 376446"/>
                <a:gd name="connsiteX54" fmla="*/ 185840 w 910139"/>
                <a:gd name="connsiteY54" fmla="*/ 90538 h 376446"/>
                <a:gd name="connsiteX55" fmla="*/ 171545 w 910139"/>
                <a:gd name="connsiteY55" fmla="*/ 76244 h 376446"/>
                <a:gd name="connsiteX56" fmla="*/ 176310 w 910139"/>
                <a:gd name="connsiteY56" fmla="*/ 71478 h 376446"/>
                <a:gd name="connsiteX57" fmla="*/ 181075 w 910139"/>
                <a:gd name="connsiteY57" fmla="*/ 76244 h 376446"/>
                <a:gd name="connsiteX58" fmla="*/ 190605 w 910139"/>
                <a:gd name="connsiteY58" fmla="*/ 85774 h 376446"/>
                <a:gd name="connsiteX59" fmla="*/ 204900 w 910139"/>
                <a:gd name="connsiteY59" fmla="*/ 90538 h 376446"/>
                <a:gd name="connsiteX60" fmla="*/ 228726 w 910139"/>
                <a:gd name="connsiteY60" fmla="*/ 123894 h 376446"/>
                <a:gd name="connsiteX61" fmla="*/ 257317 w 910139"/>
                <a:gd name="connsiteY61" fmla="*/ 128660 h 376446"/>
                <a:gd name="connsiteX62" fmla="*/ 281142 w 910139"/>
                <a:gd name="connsiteY62" fmla="*/ 128660 h 376446"/>
                <a:gd name="connsiteX63" fmla="*/ 304968 w 910139"/>
                <a:gd name="connsiteY63" fmla="*/ 123894 h 376446"/>
                <a:gd name="connsiteX64" fmla="*/ 338324 w 910139"/>
                <a:gd name="connsiteY64" fmla="*/ 114364 h 376446"/>
                <a:gd name="connsiteX65" fmla="*/ 366915 w 910139"/>
                <a:gd name="connsiteY65" fmla="*/ 90538 h 376446"/>
                <a:gd name="connsiteX66" fmla="*/ 385975 w 910139"/>
                <a:gd name="connsiteY66" fmla="*/ 81008 h 376446"/>
                <a:gd name="connsiteX67" fmla="*/ 452687 w 910139"/>
                <a:gd name="connsiteY67" fmla="*/ 61948 h 376446"/>
                <a:gd name="connsiteX68" fmla="*/ 476513 w 910139"/>
                <a:gd name="connsiteY68" fmla="*/ 42888 h 376446"/>
                <a:gd name="connsiteX69" fmla="*/ 486043 w 910139"/>
                <a:gd name="connsiteY69" fmla="*/ 38122 h 376446"/>
                <a:gd name="connsiteX70" fmla="*/ 490808 w 910139"/>
                <a:gd name="connsiteY70" fmla="*/ 33356 h 376446"/>
                <a:gd name="connsiteX71" fmla="*/ 514634 w 910139"/>
                <a:gd name="connsiteY71" fmla="*/ 19062 h 376446"/>
                <a:gd name="connsiteX72" fmla="*/ 524164 w 910139"/>
                <a:gd name="connsiteY72" fmla="*/ 9532 h 376446"/>
                <a:gd name="connsiteX73" fmla="*/ 538459 w 910139"/>
                <a:gd name="connsiteY73" fmla="*/ 0 h 376446"/>
                <a:gd name="connsiteX74" fmla="*/ 571815 w 910139"/>
                <a:gd name="connsiteY74" fmla="*/ 4766 h 376446"/>
                <a:gd name="connsiteX75" fmla="*/ 595641 w 910139"/>
                <a:gd name="connsiteY75" fmla="*/ 9532 h 376446"/>
                <a:gd name="connsiteX76" fmla="*/ 609936 w 910139"/>
                <a:gd name="connsiteY76" fmla="*/ 9532 h 376446"/>
                <a:gd name="connsiteX77" fmla="*/ 624231 w 910139"/>
                <a:gd name="connsiteY77" fmla="*/ 14296 h 376446"/>
                <a:gd name="connsiteX78" fmla="*/ 628997 w 910139"/>
                <a:gd name="connsiteY78" fmla="*/ 23826 h 376446"/>
                <a:gd name="connsiteX79" fmla="*/ 638527 w 910139"/>
                <a:gd name="connsiteY79" fmla="*/ 28592 h 376446"/>
                <a:gd name="connsiteX80" fmla="*/ 676648 w 910139"/>
                <a:gd name="connsiteY80" fmla="*/ 28592 h 376446"/>
                <a:gd name="connsiteX81" fmla="*/ 705239 w 910139"/>
                <a:gd name="connsiteY81" fmla="*/ 33356 h 376446"/>
                <a:gd name="connsiteX82" fmla="*/ 771950 w 910139"/>
                <a:gd name="connsiteY82" fmla="*/ 57182 h 376446"/>
                <a:gd name="connsiteX83" fmla="*/ 810071 w 910139"/>
                <a:gd name="connsiteY83" fmla="*/ 85774 h 376446"/>
                <a:gd name="connsiteX84" fmla="*/ 829132 w 910139"/>
                <a:gd name="connsiteY84" fmla="*/ 114364 h 376446"/>
                <a:gd name="connsiteX85" fmla="*/ 881548 w 910139"/>
                <a:gd name="connsiteY85" fmla="*/ 147720 h 376446"/>
                <a:gd name="connsiteX86" fmla="*/ 876783 w 910139"/>
                <a:gd name="connsiteY86" fmla="*/ 152486 h 376446"/>
                <a:gd name="connsiteX87" fmla="*/ 867253 w 910139"/>
                <a:gd name="connsiteY87" fmla="*/ 162016 h 376446"/>
                <a:gd name="connsiteX88" fmla="*/ 862488 w 910139"/>
                <a:gd name="connsiteY88" fmla="*/ 176310 h 376446"/>
                <a:gd name="connsiteX89" fmla="*/ 876783 w 910139"/>
                <a:gd name="connsiteY89" fmla="*/ 185840 h 376446"/>
                <a:gd name="connsiteX90" fmla="*/ 876783 w 910139"/>
                <a:gd name="connsiteY90" fmla="*/ 200136 h 376446"/>
                <a:gd name="connsiteX91" fmla="*/ 886313 w 910139"/>
                <a:gd name="connsiteY91" fmla="*/ 209666 h 376446"/>
                <a:gd name="connsiteX92" fmla="*/ 895844 w 910139"/>
                <a:gd name="connsiteY92" fmla="*/ 223962 h 376446"/>
                <a:gd name="connsiteX93" fmla="*/ 905374 w 910139"/>
                <a:gd name="connsiteY93" fmla="*/ 247788 h 376446"/>
                <a:gd name="connsiteX94" fmla="*/ 910139 w 910139"/>
                <a:gd name="connsiteY94" fmla="*/ 257318 h 376446"/>
                <a:gd name="connsiteX95" fmla="*/ 905374 w 910139"/>
                <a:gd name="connsiteY95" fmla="*/ 262082 h 376446"/>
                <a:gd name="connsiteX96" fmla="*/ 895844 w 910139"/>
                <a:gd name="connsiteY96" fmla="*/ 266848 h 376446"/>
                <a:gd name="connsiteX97" fmla="*/ 886313 w 910139"/>
                <a:gd name="connsiteY97" fmla="*/ 281144 h 376446"/>
                <a:gd name="connsiteX98" fmla="*/ 881548 w 910139"/>
                <a:gd name="connsiteY98" fmla="*/ 295438 h 376446"/>
                <a:gd name="connsiteX99" fmla="*/ 886313 w 910139"/>
                <a:gd name="connsiteY99" fmla="*/ 300204 h 376446"/>
                <a:gd name="connsiteX100" fmla="*/ 852958 w 910139"/>
                <a:gd name="connsiteY100" fmla="*/ 324030 h 376446"/>
                <a:gd name="connsiteX101" fmla="*/ 848192 w 910139"/>
                <a:gd name="connsiteY101" fmla="*/ 324030 h 376446"/>
                <a:gd name="connsiteX102" fmla="*/ 843427 w 910139"/>
                <a:gd name="connsiteY102" fmla="*/ 324030 h 376446"/>
                <a:gd name="connsiteX103" fmla="*/ 838662 w 910139"/>
                <a:gd name="connsiteY103" fmla="*/ 309734 h 376446"/>
                <a:gd name="connsiteX104" fmla="*/ 829132 w 910139"/>
                <a:gd name="connsiteY104" fmla="*/ 300204 h 376446"/>
                <a:gd name="connsiteX105" fmla="*/ 824367 w 910139"/>
                <a:gd name="connsiteY105" fmla="*/ 300204 h 376446"/>
                <a:gd name="connsiteX106" fmla="*/ 819602 w 910139"/>
                <a:gd name="connsiteY106" fmla="*/ 300204 h 376446"/>
                <a:gd name="connsiteX107" fmla="*/ 819602 w 910139"/>
                <a:gd name="connsiteY107" fmla="*/ 304970 h 376446"/>
                <a:gd name="connsiteX108" fmla="*/ 824367 w 910139"/>
                <a:gd name="connsiteY108" fmla="*/ 324030 h 376446"/>
                <a:gd name="connsiteX109" fmla="*/ 819602 w 910139"/>
                <a:gd name="connsiteY109" fmla="*/ 333560 h 376446"/>
                <a:gd name="connsiteX110" fmla="*/ 810071 w 910139"/>
                <a:gd name="connsiteY110" fmla="*/ 343090 h 376446"/>
                <a:gd name="connsiteX111" fmla="*/ 800541 w 910139"/>
                <a:gd name="connsiteY111" fmla="*/ 376446 h 376446"/>
                <a:gd name="connsiteX112" fmla="*/ 795776 w 910139"/>
                <a:gd name="connsiteY112" fmla="*/ 371680 h 376446"/>
                <a:gd name="connsiteX113" fmla="*/ 757655 w 910139"/>
                <a:gd name="connsiteY113" fmla="*/ 324030 h 376446"/>
                <a:gd name="connsiteX114" fmla="*/ 724299 w 910139"/>
                <a:gd name="connsiteY114" fmla="*/ 266848 h 376446"/>
                <a:gd name="connsiteX115" fmla="*/ 719534 w 910139"/>
                <a:gd name="connsiteY115" fmla="*/ 243022 h 376446"/>
                <a:gd name="connsiteX116" fmla="*/ 724299 w 910139"/>
                <a:gd name="connsiteY116" fmla="*/ 243022 h 376446"/>
                <a:gd name="connsiteX117" fmla="*/ 733829 w 910139"/>
                <a:gd name="connsiteY117" fmla="*/ 243022 h 376446"/>
                <a:gd name="connsiteX118" fmla="*/ 738594 w 910139"/>
                <a:gd name="connsiteY118" fmla="*/ 238258 h 376446"/>
                <a:gd name="connsiteX119" fmla="*/ 743360 w 910139"/>
                <a:gd name="connsiteY119" fmla="*/ 233492 h 376446"/>
                <a:gd name="connsiteX120" fmla="*/ 738594 w 910139"/>
                <a:gd name="connsiteY120" fmla="*/ 214432 h 376446"/>
                <a:gd name="connsiteX121" fmla="*/ 752890 w 910139"/>
                <a:gd name="connsiteY121" fmla="*/ 200136 h 376446"/>
                <a:gd name="connsiteX122" fmla="*/ 762420 w 910139"/>
                <a:gd name="connsiteY122" fmla="*/ 190606 h 376446"/>
                <a:gd name="connsiteX123" fmla="*/ 767185 w 910139"/>
                <a:gd name="connsiteY123" fmla="*/ 195372 h 376446"/>
                <a:gd name="connsiteX124" fmla="*/ 776716 w 910139"/>
                <a:gd name="connsiteY124" fmla="*/ 209666 h 376446"/>
                <a:gd name="connsiteX125" fmla="*/ 791011 w 910139"/>
                <a:gd name="connsiteY125" fmla="*/ 219196 h 376446"/>
                <a:gd name="connsiteX126" fmla="*/ 810071 w 910139"/>
                <a:gd name="connsiteY126" fmla="*/ 228728 h 376446"/>
                <a:gd name="connsiteX127" fmla="*/ 819602 w 910139"/>
                <a:gd name="connsiteY127" fmla="*/ 233492 h 376446"/>
                <a:gd name="connsiteX128" fmla="*/ 805306 w 910139"/>
                <a:gd name="connsiteY128" fmla="*/ 219196 h 376446"/>
                <a:gd name="connsiteX129" fmla="*/ 781481 w 910139"/>
                <a:gd name="connsiteY129" fmla="*/ 200136 h 376446"/>
                <a:gd name="connsiteX130" fmla="*/ 771950 w 910139"/>
                <a:gd name="connsiteY130" fmla="*/ 190606 h 376446"/>
                <a:gd name="connsiteX131" fmla="*/ 767185 w 910139"/>
                <a:gd name="connsiteY131" fmla="*/ 176310 h 376446"/>
                <a:gd name="connsiteX132" fmla="*/ 757655 w 910139"/>
                <a:gd name="connsiteY132" fmla="*/ 181076 h 376446"/>
                <a:gd name="connsiteX133" fmla="*/ 752890 w 910139"/>
                <a:gd name="connsiteY133" fmla="*/ 185840 h 376446"/>
                <a:gd name="connsiteX134" fmla="*/ 748125 w 910139"/>
                <a:gd name="connsiteY134" fmla="*/ 190606 h 376446"/>
                <a:gd name="connsiteX135" fmla="*/ 743360 w 910139"/>
                <a:gd name="connsiteY135" fmla="*/ 185840 h 376446"/>
                <a:gd name="connsiteX136" fmla="*/ 743360 w 910139"/>
                <a:gd name="connsiteY136" fmla="*/ 181076 h 376446"/>
                <a:gd name="connsiteX137" fmla="*/ 729064 w 910139"/>
                <a:gd name="connsiteY137" fmla="*/ 181076 h 376446"/>
                <a:gd name="connsiteX138" fmla="*/ 724299 w 910139"/>
                <a:gd name="connsiteY138" fmla="*/ 176310 h 376446"/>
                <a:gd name="connsiteX139" fmla="*/ 719534 w 910139"/>
                <a:gd name="connsiteY139" fmla="*/ 171546 h 376446"/>
                <a:gd name="connsiteX140" fmla="*/ 724299 w 910139"/>
                <a:gd name="connsiteY140" fmla="*/ 181076 h 376446"/>
                <a:gd name="connsiteX141" fmla="*/ 724299 w 910139"/>
                <a:gd name="connsiteY141" fmla="*/ 190606 h 376446"/>
                <a:gd name="connsiteX142" fmla="*/ 724299 w 910139"/>
                <a:gd name="connsiteY142" fmla="*/ 195372 h 376446"/>
                <a:gd name="connsiteX143" fmla="*/ 719534 w 910139"/>
                <a:gd name="connsiteY143" fmla="*/ 195372 h 376446"/>
                <a:gd name="connsiteX144" fmla="*/ 714769 w 910139"/>
                <a:gd name="connsiteY144" fmla="*/ 190606 h 376446"/>
                <a:gd name="connsiteX145" fmla="*/ 710004 w 910139"/>
                <a:gd name="connsiteY145" fmla="*/ 181076 h 376446"/>
                <a:gd name="connsiteX146" fmla="*/ 700474 w 910139"/>
                <a:gd name="connsiteY146" fmla="*/ 152486 h 376446"/>
                <a:gd name="connsiteX147" fmla="*/ 686178 w 910139"/>
                <a:gd name="connsiteY147" fmla="*/ 142954 h 376446"/>
                <a:gd name="connsiteX148" fmla="*/ 676648 w 910139"/>
                <a:gd name="connsiteY148" fmla="*/ 138190 h 376446"/>
                <a:gd name="connsiteX149" fmla="*/ 671883 w 910139"/>
                <a:gd name="connsiteY149" fmla="*/ 133424 h 376446"/>
                <a:gd name="connsiteX150" fmla="*/ 662352 w 910139"/>
                <a:gd name="connsiteY150" fmla="*/ 123894 h 376446"/>
                <a:gd name="connsiteX151" fmla="*/ 648057 w 910139"/>
                <a:gd name="connsiteY151" fmla="*/ 119130 h 376446"/>
                <a:gd name="connsiteX152" fmla="*/ 633762 w 910139"/>
                <a:gd name="connsiteY152" fmla="*/ 104834 h 376446"/>
                <a:gd name="connsiteX153" fmla="*/ 614701 w 910139"/>
                <a:gd name="connsiteY153" fmla="*/ 95304 h 376446"/>
                <a:gd name="connsiteX154" fmla="*/ 586110 w 910139"/>
                <a:gd name="connsiteY154" fmla="*/ 90538 h 376446"/>
                <a:gd name="connsiteX155" fmla="*/ 557520 w 910139"/>
                <a:gd name="connsiteY155" fmla="*/ 95304 h 376446"/>
                <a:gd name="connsiteX156" fmla="*/ 547989 w 910139"/>
                <a:gd name="connsiteY156" fmla="*/ 100068 h 376446"/>
                <a:gd name="connsiteX157" fmla="*/ 538459 w 910139"/>
                <a:gd name="connsiteY157" fmla="*/ 109598 h 376446"/>
                <a:gd name="connsiteX158" fmla="*/ 519399 w 910139"/>
                <a:gd name="connsiteY158" fmla="*/ 119130 h 376446"/>
                <a:gd name="connsiteX159" fmla="*/ 514634 w 910139"/>
                <a:gd name="connsiteY159" fmla="*/ 128660 h 376446"/>
                <a:gd name="connsiteX160" fmla="*/ 509868 w 910139"/>
                <a:gd name="connsiteY160" fmla="*/ 142954 h 376446"/>
                <a:gd name="connsiteX161" fmla="*/ 500338 w 910139"/>
                <a:gd name="connsiteY161" fmla="*/ 152486 h 376446"/>
                <a:gd name="connsiteX162" fmla="*/ 509868 w 910139"/>
                <a:gd name="connsiteY162" fmla="*/ 157250 h 376446"/>
                <a:gd name="connsiteX163" fmla="*/ 452687 w 910139"/>
                <a:gd name="connsiteY163" fmla="*/ 200136 h 376446"/>
                <a:gd name="connsiteX164" fmla="*/ 438392 w 910139"/>
                <a:gd name="connsiteY164" fmla="*/ 204902 h 376446"/>
                <a:gd name="connsiteX165" fmla="*/ 414566 w 910139"/>
                <a:gd name="connsiteY165" fmla="*/ 209666 h 376446"/>
                <a:gd name="connsiteX166" fmla="*/ 405036 w 910139"/>
                <a:gd name="connsiteY166" fmla="*/ 209666 h 376446"/>
                <a:gd name="connsiteX167" fmla="*/ 400271 w 910139"/>
                <a:gd name="connsiteY167" fmla="*/ 219196 h 376446"/>
                <a:gd name="connsiteX168" fmla="*/ 400271 w 910139"/>
                <a:gd name="connsiteY168" fmla="*/ 228728 h 376446"/>
                <a:gd name="connsiteX169" fmla="*/ 400271 w 910139"/>
                <a:gd name="connsiteY169" fmla="*/ 243022 h 376446"/>
                <a:gd name="connsiteX170" fmla="*/ 405036 w 910139"/>
                <a:gd name="connsiteY170" fmla="*/ 247788 h 376446"/>
                <a:gd name="connsiteX171" fmla="*/ 414566 w 910139"/>
                <a:gd name="connsiteY171" fmla="*/ 252552 h 376446"/>
                <a:gd name="connsiteX172" fmla="*/ 428861 w 910139"/>
                <a:gd name="connsiteY172" fmla="*/ 276378 h 376446"/>
                <a:gd name="connsiteX173" fmla="*/ 457452 w 910139"/>
                <a:gd name="connsiteY173" fmla="*/ 304970 h 376446"/>
                <a:gd name="connsiteX174" fmla="*/ 462217 w 910139"/>
                <a:gd name="connsiteY174" fmla="*/ 314500 h 376446"/>
                <a:gd name="connsiteX175" fmla="*/ 466982 w 910139"/>
                <a:gd name="connsiteY175" fmla="*/ 333560 h 376446"/>
                <a:gd name="connsiteX176" fmla="*/ 462217 w 910139"/>
                <a:gd name="connsiteY176" fmla="*/ 338324 h 376446"/>
                <a:gd name="connsiteX177" fmla="*/ 452687 w 910139"/>
                <a:gd name="connsiteY177" fmla="*/ 343090 h 376446"/>
                <a:gd name="connsiteX178" fmla="*/ 424096 w 910139"/>
                <a:gd name="connsiteY178" fmla="*/ 343090 h 376446"/>
                <a:gd name="connsiteX179" fmla="*/ 414566 w 910139"/>
                <a:gd name="connsiteY179" fmla="*/ 352620 h 376446"/>
                <a:gd name="connsiteX180" fmla="*/ 409801 w 910139"/>
                <a:gd name="connsiteY180" fmla="*/ 362150 h 376446"/>
                <a:gd name="connsiteX181" fmla="*/ 400271 w 910139"/>
                <a:gd name="connsiteY181" fmla="*/ 366916 h 376446"/>
                <a:gd name="connsiteX182" fmla="*/ 366915 w 910139"/>
                <a:gd name="connsiteY182" fmla="*/ 376446 h 376446"/>
                <a:gd name="connsiteX183" fmla="*/ 338324 w 910139"/>
                <a:gd name="connsiteY183" fmla="*/ 376446 h 376446"/>
                <a:gd name="connsiteX184" fmla="*/ 328794 w 910139"/>
                <a:gd name="connsiteY184" fmla="*/ 366916 h 376446"/>
                <a:gd name="connsiteX185" fmla="*/ 328794 w 910139"/>
                <a:gd name="connsiteY185" fmla="*/ 343090 h 376446"/>
                <a:gd name="connsiteX186" fmla="*/ 309733 w 910139"/>
                <a:gd name="connsiteY186" fmla="*/ 300204 h 376446"/>
                <a:gd name="connsiteX187" fmla="*/ 304968 w 910139"/>
                <a:gd name="connsiteY187" fmla="*/ 266848 h 376446"/>
                <a:gd name="connsiteX188" fmla="*/ 300203 w 910139"/>
                <a:gd name="connsiteY188" fmla="*/ 271614 h 376446"/>
                <a:gd name="connsiteX189" fmla="*/ 290673 w 910139"/>
                <a:gd name="connsiteY189" fmla="*/ 276378 h 376446"/>
                <a:gd name="connsiteX190" fmla="*/ 285908 w 910139"/>
                <a:gd name="connsiteY190" fmla="*/ 285908 h 376446"/>
                <a:gd name="connsiteX191" fmla="*/ 285908 w 910139"/>
                <a:gd name="connsiteY191" fmla="*/ 304970 h 376446"/>
                <a:gd name="connsiteX192" fmla="*/ 281142 w 910139"/>
                <a:gd name="connsiteY192" fmla="*/ 314500 h 376446"/>
                <a:gd name="connsiteX193" fmla="*/ 271612 w 910139"/>
                <a:gd name="connsiteY193" fmla="*/ 314500 h 376446"/>
                <a:gd name="connsiteX194" fmla="*/ 257317 w 910139"/>
                <a:gd name="connsiteY194" fmla="*/ 304970 h 376446"/>
                <a:gd name="connsiteX195" fmla="*/ 233491 w 910139"/>
                <a:gd name="connsiteY195" fmla="*/ 295438 h 376446"/>
                <a:gd name="connsiteX196" fmla="*/ 209666 w 910139"/>
                <a:gd name="connsiteY196" fmla="*/ 252552 h 376446"/>
                <a:gd name="connsiteX197" fmla="*/ 204900 w 910139"/>
                <a:gd name="connsiteY197" fmla="*/ 243022 h 376446"/>
                <a:gd name="connsiteX198" fmla="*/ 200135 w 910139"/>
                <a:gd name="connsiteY198" fmla="*/ 233492 h 376446"/>
                <a:gd name="connsiteX199" fmla="*/ 181075 w 910139"/>
                <a:gd name="connsiteY199" fmla="*/ 228728 h 376446"/>
                <a:gd name="connsiteX200" fmla="*/ 162014 w 910139"/>
                <a:gd name="connsiteY200" fmla="*/ 219196 h 376446"/>
                <a:gd name="connsiteX201" fmla="*/ 142954 w 910139"/>
                <a:gd name="connsiteY201" fmla="*/ 219196 h 376446"/>
                <a:gd name="connsiteX202" fmla="*/ 133424 w 910139"/>
                <a:gd name="connsiteY202" fmla="*/ 223962 h 376446"/>
                <a:gd name="connsiteX203" fmla="*/ 123893 w 910139"/>
                <a:gd name="connsiteY203" fmla="*/ 219196 h 376446"/>
                <a:gd name="connsiteX204" fmla="*/ 123893 w 910139"/>
                <a:gd name="connsiteY204" fmla="*/ 204902 h 376446"/>
                <a:gd name="connsiteX205" fmla="*/ 100068 w 910139"/>
                <a:gd name="connsiteY205" fmla="*/ 209666 h 376446"/>
                <a:gd name="connsiteX206" fmla="*/ 76242 w 910139"/>
                <a:gd name="connsiteY206" fmla="*/ 209666 h 376446"/>
                <a:gd name="connsiteX207" fmla="*/ 52416 w 910139"/>
                <a:gd name="connsiteY207" fmla="*/ 204902 h 376446"/>
                <a:gd name="connsiteX208" fmla="*/ 38121 w 910139"/>
                <a:gd name="connsiteY208" fmla="*/ 204902 h 376446"/>
                <a:gd name="connsiteX209" fmla="*/ 23826 w 910139"/>
                <a:gd name="connsiteY209" fmla="*/ 214432 h 376446"/>
                <a:gd name="connsiteX210" fmla="*/ 23826 w 910139"/>
                <a:gd name="connsiteY210" fmla="*/ 238258 h 376446"/>
                <a:gd name="connsiteX211" fmla="*/ 19061 w 910139"/>
                <a:gd name="connsiteY211" fmla="*/ 243022 h 376446"/>
                <a:gd name="connsiteX212" fmla="*/ 19061 w 910139"/>
                <a:gd name="connsiteY212" fmla="*/ 233492 h 376446"/>
                <a:gd name="connsiteX213" fmla="*/ 14295 w 910139"/>
                <a:gd name="connsiteY213" fmla="*/ 223962 h 376446"/>
                <a:gd name="connsiteX214" fmla="*/ 9530 w 910139"/>
                <a:gd name="connsiteY214" fmla="*/ 214432 h 376446"/>
                <a:gd name="connsiteX215" fmla="*/ 0 w 910139"/>
                <a:gd name="connsiteY215" fmla="*/ 204902 h 376446"/>
                <a:gd name="connsiteX216" fmla="*/ 0 w 910139"/>
                <a:gd name="connsiteY216" fmla="*/ 200136 h 376446"/>
                <a:gd name="connsiteX217" fmla="*/ 4765 w 910139"/>
                <a:gd name="connsiteY217" fmla="*/ 195372 h 376446"/>
                <a:gd name="connsiteX218" fmla="*/ 23826 w 910139"/>
                <a:gd name="connsiteY218" fmla="*/ 181076 h 376446"/>
                <a:gd name="connsiteX219" fmla="*/ 28591 w 910139"/>
                <a:gd name="connsiteY219" fmla="*/ 176310 h 376446"/>
                <a:gd name="connsiteX220" fmla="*/ 28591 w 910139"/>
                <a:gd name="connsiteY220" fmla="*/ 162016 h 376446"/>
                <a:gd name="connsiteX221" fmla="*/ 23826 w 910139"/>
                <a:gd name="connsiteY221" fmla="*/ 152486 h 376446"/>
                <a:gd name="connsiteX222" fmla="*/ 14295 w 910139"/>
                <a:gd name="connsiteY222" fmla="*/ 138190 h 376446"/>
                <a:gd name="connsiteX223" fmla="*/ 19061 w 910139"/>
                <a:gd name="connsiteY223" fmla="*/ 123894 h 376446"/>
                <a:gd name="connsiteX224" fmla="*/ 33356 w 910139"/>
                <a:gd name="connsiteY224" fmla="*/ 119130 h 376446"/>
                <a:gd name="connsiteX225" fmla="*/ 42886 w 910139"/>
                <a:gd name="connsiteY225" fmla="*/ 109598 h 376446"/>
                <a:gd name="connsiteX226" fmla="*/ 42886 w 910139"/>
                <a:gd name="connsiteY226" fmla="*/ 104834 h 376446"/>
                <a:gd name="connsiteX227" fmla="*/ 38121 w 910139"/>
                <a:gd name="connsiteY227" fmla="*/ 95304 h 376446"/>
                <a:gd name="connsiteX228" fmla="*/ 19061 w 910139"/>
                <a:gd name="connsiteY228" fmla="*/ 85774 h 376446"/>
                <a:gd name="connsiteX229" fmla="*/ 9530 w 910139"/>
                <a:gd name="connsiteY229" fmla="*/ 85774 h 376446"/>
                <a:gd name="connsiteX230" fmla="*/ 9530 w 910139"/>
                <a:gd name="connsiteY230" fmla="*/ 57182 h 376446"/>
                <a:gd name="connsiteX231" fmla="*/ 9530 w 910139"/>
                <a:gd name="connsiteY231" fmla="*/ 23826 h 376446"/>
                <a:gd name="connsiteX232" fmla="*/ 14295 w 910139"/>
                <a:gd name="connsiteY232" fmla="*/ 23826 h 376446"/>
                <a:gd name="connsiteX233" fmla="*/ 19061 w 910139"/>
                <a:gd name="connsiteY233" fmla="*/ 19062 h 376446"/>
                <a:gd name="connsiteX234" fmla="*/ 23826 w 910139"/>
                <a:gd name="connsiteY234" fmla="*/ 14296 h 376446"/>
                <a:gd name="connsiteX235" fmla="*/ 28591 w 910139"/>
                <a:gd name="connsiteY235" fmla="*/ 4766 h 376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</a:cxnLst>
              <a:rect l="l" t="t" r="r" b="b"/>
              <a:pathLst>
                <a:path w="910139" h="376446">
                  <a:moveTo>
                    <a:pt x="195370" y="314500"/>
                  </a:moveTo>
                  <a:lnTo>
                    <a:pt x="200136" y="314500"/>
                  </a:lnTo>
                  <a:lnTo>
                    <a:pt x="209666" y="328796"/>
                  </a:lnTo>
                  <a:lnTo>
                    <a:pt x="204901" y="333560"/>
                  </a:lnTo>
                  <a:lnTo>
                    <a:pt x="204901" y="343090"/>
                  </a:lnTo>
                  <a:lnTo>
                    <a:pt x="219196" y="352620"/>
                  </a:lnTo>
                  <a:lnTo>
                    <a:pt x="219196" y="357386"/>
                  </a:lnTo>
                  <a:lnTo>
                    <a:pt x="209666" y="357386"/>
                  </a:lnTo>
                  <a:lnTo>
                    <a:pt x="195370" y="352620"/>
                  </a:lnTo>
                  <a:lnTo>
                    <a:pt x="181075" y="338326"/>
                  </a:lnTo>
                  <a:lnTo>
                    <a:pt x="181075" y="333560"/>
                  </a:lnTo>
                  <a:lnTo>
                    <a:pt x="181075" y="328796"/>
                  </a:lnTo>
                  <a:lnTo>
                    <a:pt x="185840" y="319266"/>
                  </a:lnTo>
                  <a:close/>
                  <a:moveTo>
                    <a:pt x="609936" y="204902"/>
                  </a:moveTo>
                  <a:lnTo>
                    <a:pt x="614701" y="204902"/>
                  </a:lnTo>
                  <a:lnTo>
                    <a:pt x="614701" y="214432"/>
                  </a:lnTo>
                  <a:lnTo>
                    <a:pt x="609936" y="219196"/>
                  </a:lnTo>
                  <a:lnTo>
                    <a:pt x="605171" y="214432"/>
                  </a:lnTo>
                  <a:close/>
                  <a:moveTo>
                    <a:pt x="638527" y="181076"/>
                  </a:moveTo>
                  <a:lnTo>
                    <a:pt x="643292" y="181076"/>
                  </a:lnTo>
                  <a:lnTo>
                    <a:pt x="648058" y="181076"/>
                  </a:lnTo>
                  <a:lnTo>
                    <a:pt x="652823" y="200136"/>
                  </a:lnTo>
                  <a:lnTo>
                    <a:pt x="648058" y="204902"/>
                  </a:lnTo>
                  <a:lnTo>
                    <a:pt x="643292" y="209666"/>
                  </a:lnTo>
                  <a:lnTo>
                    <a:pt x="638527" y="219196"/>
                  </a:lnTo>
                  <a:lnTo>
                    <a:pt x="633762" y="200136"/>
                  </a:lnTo>
                  <a:lnTo>
                    <a:pt x="633762" y="185842"/>
                  </a:lnTo>
                  <a:close/>
                  <a:moveTo>
                    <a:pt x="109598" y="28592"/>
                  </a:moveTo>
                  <a:lnTo>
                    <a:pt x="114363" y="28592"/>
                  </a:lnTo>
                  <a:lnTo>
                    <a:pt x="119128" y="28592"/>
                  </a:lnTo>
                  <a:lnTo>
                    <a:pt x="123893" y="33356"/>
                  </a:lnTo>
                  <a:lnTo>
                    <a:pt x="119128" y="42888"/>
                  </a:lnTo>
                  <a:close/>
                  <a:moveTo>
                    <a:pt x="33356" y="0"/>
                  </a:moveTo>
                  <a:lnTo>
                    <a:pt x="47651" y="9532"/>
                  </a:lnTo>
                  <a:lnTo>
                    <a:pt x="57182" y="14296"/>
                  </a:lnTo>
                  <a:lnTo>
                    <a:pt x="61947" y="14296"/>
                  </a:lnTo>
                  <a:lnTo>
                    <a:pt x="66712" y="9532"/>
                  </a:lnTo>
                  <a:lnTo>
                    <a:pt x="71477" y="9532"/>
                  </a:lnTo>
                  <a:lnTo>
                    <a:pt x="71477" y="4766"/>
                  </a:lnTo>
                  <a:lnTo>
                    <a:pt x="81007" y="14296"/>
                  </a:lnTo>
                  <a:lnTo>
                    <a:pt x="100068" y="28592"/>
                  </a:lnTo>
                  <a:lnTo>
                    <a:pt x="100068" y="33356"/>
                  </a:lnTo>
                  <a:lnTo>
                    <a:pt x="100068" y="42888"/>
                  </a:lnTo>
                  <a:lnTo>
                    <a:pt x="104833" y="61948"/>
                  </a:lnTo>
                  <a:lnTo>
                    <a:pt x="114363" y="66712"/>
                  </a:lnTo>
                  <a:lnTo>
                    <a:pt x="128658" y="61948"/>
                  </a:lnTo>
                  <a:lnTo>
                    <a:pt x="128658" y="66712"/>
                  </a:lnTo>
                  <a:lnTo>
                    <a:pt x="123893" y="71478"/>
                  </a:lnTo>
                  <a:lnTo>
                    <a:pt x="119128" y="90538"/>
                  </a:lnTo>
                  <a:lnTo>
                    <a:pt x="138189" y="100068"/>
                  </a:lnTo>
                  <a:lnTo>
                    <a:pt x="147719" y="104834"/>
                  </a:lnTo>
                  <a:lnTo>
                    <a:pt x="176310" y="104834"/>
                  </a:lnTo>
                  <a:lnTo>
                    <a:pt x="185840" y="104834"/>
                  </a:lnTo>
                  <a:lnTo>
                    <a:pt x="190605" y="100068"/>
                  </a:lnTo>
                  <a:lnTo>
                    <a:pt x="185840" y="90538"/>
                  </a:lnTo>
                  <a:lnTo>
                    <a:pt x="171545" y="76244"/>
                  </a:lnTo>
                  <a:lnTo>
                    <a:pt x="176310" y="71478"/>
                  </a:lnTo>
                  <a:lnTo>
                    <a:pt x="181075" y="76244"/>
                  </a:lnTo>
                  <a:lnTo>
                    <a:pt x="190605" y="85774"/>
                  </a:lnTo>
                  <a:lnTo>
                    <a:pt x="204900" y="90538"/>
                  </a:lnTo>
                  <a:lnTo>
                    <a:pt x="228726" y="123894"/>
                  </a:lnTo>
                  <a:lnTo>
                    <a:pt x="257317" y="128660"/>
                  </a:lnTo>
                  <a:lnTo>
                    <a:pt x="281142" y="128660"/>
                  </a:lnTo>
                  <a:lnTo>
                    <a:pt x="304968" y="123894"/>
                  </a:lnTo>
                  <a:lnTo>
                    <a:pt x="338324" y="114364"/>
                  </a:lnTo>
                  <a:lnTo>
                    <a:pt x="366915" y="90538"/>
                  </a:lnTo>
                  <a:lnTo>
                    <a:pt x="385975" y="81008"/>
                  </a:lnTo>
                  <a:lnTo>
                    <a:pt x="452687" y="61948"/>
                  </a:lnTo>
                  <a:lnTo>
                    <a:pt x="476513" y="42888"/>
                  </a:lnTo>
                  <a:lnTo>
                    <a:pt x="486043" y="38122"/>
                  </a:lnTo>
                  <a:lnTo>
                    <a:pt x="490808" y="33356"/>
                  </a:lnTo>
                  <a:lnTo>
                    <a:pt x="514634" y="19062"/>
                  </a:lnTo>
                  <a:lnTo>
                    <a:pt x="524164" y="9532"/>
                  </a:lnTo>
                  <a:lnTo>
                    <a:pt x="538459" y="0"/>
                  </a:lnTo>
                  <a:lnTo>
                    <a:pt x="571815" y="4766"/>
                  </a:lnTo>
                  <a:lnTo>
                    <a:pt x="595641" y="9532"/>
                  </a:lnTo>
                  <a:lnTo>
                    <a:pt x="609936" y="9532"/>
                  </a:lnTo>
                  <a:lnTo>
                    <a:pt x="624231" y="14296"/>
                  </a:lnTo>
                  <a:lnTo>
                    <a:pt x="628997" y="23826"/>
                  </a:lnTo>
                  <a:lnTo>
                    <a:pt x="638527" y="28592"/>
                  </a:lnTo>
                  <a:lnTo>
                    <a:pt x="676648" y="28592"/>
                  </a:lnTo>
                  <a:lnTo>
                    <a:pt x="705239" y="33356"/>
                  </a:lnTo>
                  <a:lnTo>
                    <a:pt x="771950" y="57182"/>
                  </a:lnTo>
                  <a:lnTo>
                    <a:pt x="810071" y="85774"/>
                  </a:lnTo>
                  <a:lnTo>
                    <a:pt x="829132" y="114364"/>
                  </a:lnTo>
                  <a:lnTo>
                    <a:pt x="881548" y="147720"/>
                  </a:lnTo>
                  <a:lnTo>
                    <a:pt x="876783" y="152486"/>
                  </a:lnTo>
                  <a:lnTo>
                    <a:pt x="867253" y="162016"/>
                  </a:lnTo>
                  <a:lnTo>
                    <a:pt x="862488" y="176310"/>
                  </a:lnTo>
                  <a:lnTo>
                    <a:pt x="876783" y="185840"/>
                  </a:lnTo>
                  <a:lnTo>
                    <a:pt x="876783" y="200136"/>
                  </a:lnTo>
                  <a:lnTo>
                    <a:pt x="886313" y="209666"/>
                  </a:lnTo>
                  <a:lnTo>
                    <a:pt x="895844" y="223962"/>
                  </a:lnTo>
                  <a:lnTo>
                    <a:pt x="905374" y="247788"/>
                  </a:lnTo>
                  <a:lnTo>
                    <a:pt x="910139" y="257318"/>
                  </a:lnTo>
                  <a:lnTo>
                    <a:pt x="905374" y="262082"/>
                  </a:lnTo>
                  <a:lnTo>
                    <a:pt x="895844" y="266848"/>
                  </a:lnTo>
                  <a:lnTo>
                    <a:pt x="886313" y="281144"/>
                  </a:lnTo>
                  <a:lnTo>
                    <a:pt x="881548" y="295438"/>
                  </a:lnTo>
                  <a:lnTo>
                    <a:pt x="886313" y="300204"/>
                  </a:lnTo>
                  <a:lnTo>
                    <a:pt x="852958" y="324030"/>
                  </a:lnTo>
                  <a:lnTo>
                    <a:pt x="848192" y="324030"/>
                  </a:lnTo>
                  <a:lnTo>
                    <a:pt x="843427" y="324030"/>
                  </a:lnTo>
                  <a:lnTo>
                    <a:pt x="838662" y="309734"/>
                  </a:lnTo>
                  <a:lnTo>
                    <a:pt x="829132" y="300204"/>
                  </a:lnTo>
                  <a:lnTo>
                    <a:pt x="824367" y="300204"/>
                  </a:lnTo>
                  <a:lnTo>
                    <a:pt x="819602" y="300204"/>
                  </a:lnTo>
                  <a:lnTo>
                    <a:pt x="819602" y="304970"/>
                  </a:lnTo>
                  <a:lnTo>
                    <a:pt x="824367" y="324030"/>
                  </a:lnTo>
                  <a:lnTo>
                    <a:pt x="819602" y="333560"/>
                  </a:lnTo>
                  <a:lnTo>
                    <a:pt x="810071" y="343090"/>
                  </a:lnTo>
                  <a:lnTo>
                    <a:pt x="800541" y="376446"/>
                  </a:lnTo>
                  <a:lnTo>
                    <a:pt x="795776" y="371680"/>
                  </a:lnTo>
                  <a:lnTo>
                    <a:pt x="757655" y="324030"/>
                  </a:lnTo>
                  <a:lnTo>
                    <a:pt x="724299" y="266848"/>
                  </a:lnTo>
                  <a:lnTo>
                    <a:pt x="719534" y="243022"/>
                  </a:lnTo>
                  <a:lnTo>
                    <a:pt x="724299" y="243022"/>
                  </a:lnTo>
                  <a:lnTo>
                    <a:pt x="733829" y="243022"/>
                  </a:lnTo>
                  <a:lnTo>
                    <a:pt x="738594" y="238258"/>
                  </a:lnTo>
                  <a:lnTo>
                    <a:pt x="743360" y="233492"/>
                  </a:lnTo>
                  <a:lnTo>
                    <a:pt x="738594" y="214432"/>
                  </a:lnTo>
                  <a:lnTo>
                    <a:pt x="752890" y="200136"/>
                  </a:lnTo>
                  <a:lnTo>
                    <a:pt x="762420" y="190606"/>
                  </a:lnTo>
                  <a:lnTo>
                    <a:pt x="767185" y="195372"/>
                  </a:lnTo>
                  <a:lnTo>
                    <a:pt x="776716" y="209666"/>
                  </a:lnTo>
                  <a:lnTo>
                    <a:pt x="791011" y="219196"/>
                  </a:lnTo>
                  <a:lnTo>
                    <a:pt x="810071" y="228728"/>
                  </a:lnTo>
                  <a:lnTo>
                    <a:pt x="819602" y="233492"/>
                  </a:lnTo>
                  <a:lnTo>
                    <a:pt x="805306" y="219196"/>
                  </a:lnTo>
                  <a:lnTo>
                    <a:pt x="781481" y="200136"/>
                  </a:lnTo>
                  <a:lnTo>
                    <a:pt x="771950" y="190606"/>
                  </a:lnTo>
                  <a:lnTo>
                    <a:pt x="767185" y="176310"/>
                  </a:lnTo>
                  <a:lnTo>
                    <a:pt x="757655" y="181076"/>
                  </a:lnTo>
                  <a:lnTo>
                    <a:pt x="752890" y="185840"/>
                  </a:lnTo>
                  <a:lnTo>
                    <a:pt x="748125" y="190606"/>
                  </a:lnTo>
                  <a:lnTo>
                    <a:pt x="743360" y="185840"/>
                  </a:lnTo>
                  <a:lnTo>
                    <a:pt x="743360" y="181076"/>
                  </a:lnTo>
                  <a:lnTo>
                    <a:pt x="729064" y="181076"/>
                  </a:lnTo>
                  <a:lnTo>
                    <a:pt x="724299" y="176310"/>
                  </a:lnTo>
                  <a:lnTo>
                    <a:pt x="719534" y="171546"/>
                  </a:lnTo>
                  <a:lnTo>
                    <a:pt x="724299" y="181076"/>
                  </a:lnTo>
                  <a:lnTo>
                    <a:pt x="724299" y="190606"/>
                  </a:lnTo>
                  <a:lnTo>
                    <a:pt x="724299" y="195372"/>
                  </a:lnTo>
                  <a:lnTo>
                    <a:pt x="719534" y="195372"/>
                  </a:lnTo>
                  <a:lnTo>
                    <a:pt x="714769" y="190606"/>
                  </a:lnTo>
                  <a:lnTo>
                    <a:pt x="710004" y="181076"/>
                  </a:lnTo>
                  <a:lnTo>
                    <a:pt x="700474" y="152486"/>
                  </a:lnTo>
                  <a:lnTo>
                    <a:pt x="686178" y="142954"/>
                  </a:lnTo>
                  <a:lnTo>
                    <a:pt x="676648" y="138190"/>
                  </a:lnTo>
                  <a:lnTo>
                    <a:pt x="671883" y="133424"/>
                  </a:lnTo>
                  <a:lnTo>
                    <a:pt x="662352" y="123894"/>
                  </a:lnTo>
                  <a:lnTo>
                    <a:pt x="648057" y="119130"/>
                  </a:lnTo>
                  <a:lnTo>
                    <a:pt x="633762" y="104834"/>
                  </a:lnTo>
                  <a:lnTo>
                    <a:pt x="614701" y="95304"/>
                  </a:lnTo>
                  <a:lnTo>
                    <a:pt x="586110" y="90538"/>
                  </a:lnTo>
                  <a:lnTo>
                    <a:pt x="557520" y="95304"/>
                  </a:lnTo>
                  <a:lnTo>
                    <a:pt x="547989" y="100068"/>
                  </a:lnTo>
                  <a:lnTo>
                    <a:pt x="538459" y="109598"/>
                  </a:lnTo>
                  <a:lnTo>
                    <a:pt x="519399" y="119130"/>
                  </a:lnTo>
                  <a:lnTo>
                    <a:pt x="514634" y="128660"/>
                  </a:lnTo>
                  <a:lnTo>
                    <a:pt x="509868" y="142954"/>
                  </a:lnTo>
                  <a:lnTo>
                    <a:pt x="500338" y="152486"/>
                  </a:lnTo>
                  <a:lnTo>
                    <a:pt x="509868" y="157250"/>
                  </a:lnTo>
                  <a:lnTo>
                    <a:pt x="452687" y="200136"/>
                  </a:lnTo>
                  <a:lnTo>
                    <a:pt x="438392" y="204902"/>
                  </a:lnTo>
                  <a:lnTo>
                    <a:pt x="414566" y="209666"/>
                  </a:lnTo>
                  <a:lnTo>
                    <a:pt x="405036" y="209666"/>
                  </a:lnTo>
                  <a:lnTo>
                    <a:pt x="400271" y="219196"/>
                  </a:lnTo>
                  <a:lnTo>
                    <a:pt x="400271" y="228728"/>
                  </a:lnTo>
                  <a:lnTo>
                    <a:pt x="400271" y="243022"/>
                  </a:lnTo>
                  <a:lnTo>
                    <a:pt x="405036" y="247788"/>
                  </a:lnTo>
                  <a:lnTo>
                    <a:pt x="414566" y="252552"/>
                  </a:lnTo>
                  <a:lnTo>
                    <a:pt x="428861" y="276378"/>
                  </a:lnTo>
                  <a:lnTo>
                    <a:pt x="457452" y="304970"/>
                  </a:lnTo>
                  <a:lnTo>
                    <a:pt x="462217" y="314500"/>
                  </a:lnTo>
                  <a:lnTo>
                    <a:pt x="466982" y="333560"/>
                  </a:lnTo>
                  <a:lnTo>
                    <a:pt x="462217" y="338324"/>
                  </a:lnTo>
                  <a:lnTo>
                    <a:pt x="452687" y="343090"/>
                  </a:lnTo>
                  <a:lnTo>
                    <a:pt x="424096" y="343090"/>
                  </a:lnTo>
                  <a:lnTo>
                    <a:pt x="414566" y="352620"/>
                  </a:lnTo>
                  <a:lnTo>
                    <a:pt x="409801" y="362150"/>
                  </a:lnTo>
                  <a:lnTo>
                    <a:pt x="400271" y="366916"/>
                  </a:lnTo>
                  <a:lnTo>
                    <a:pt x="366915" y="376446"/>
                  </a:lnTo>
                  <a:lnTo>
                    <a:pt x="338324" y="376446"/>
                  </a:lnTo>
                  <a:lnTo>
                    <a:pt x="328794" y="366916"/>
                  </a:lnTo>
                  <a:lnTo>
                    <a:pt x="328794" y="343090"/>
                  </a:lnTo>
                  <a:lnTo>
                    <a:pt x="309733" y="300204"/>
                  </a:lnTo>
                  <a:lnTo>
                    <a:pt x="304968" y="266848"/>
                  </a:lnTo>
                  <a:lnTo>
                    <a:pt x="300203" y="271614"/>
                  </a:lnTo>
                  <a:lnTo>
                    <a:pt x="290673" y="276378"/>
                  </a:lnTo>
                  <a:lnTo>
                    <a:pt x="285908" y="285908"/>
                  </a:lnTo>
                  <a:lnTo>
                    <a:pt x="285908" y="304970"/>
                  </a:lnTo>
                  <a:lnTo>
                    <a:pt x="281142" y="314500"/>
                  </a:lnTo>
                  <a:lnTo>
                    <a:pt x="271612" y="314500"/>
                  </a:lnTo>
                  <a:lnTo>
                    <a:pt x="257317" y="304970"/>
                  </a:lnTo>
                  <a:lnTo>
                    <a:pt x="233491" y="295438"/>
                  </a:lnTo>
                  <a:lnTo>
                    <a:pt x="209666" y="252552"/>
                  </a:lnTo>
                  <a:lnTo>
                    <a:pt x="204900" y="243022"/>
                  </a:lnTo>
                  <a:lnTo>
                    <a:pt x="200135" y="233492"/>
                  </a:lnTo>
                  <a:lnTo>
                    <a:pt x="181075" y="228728"/>
                  </a:lnTo>
                  <a:lnTo>
                    <a:pt x="162014" y="219196"/>
                  </a:lnTo>
                  <a:lnTo>
                    <a:pt x="142954" y="219196"/>
                  </a:lnTo>
                  <a:lnTo>
                    <a:pt x="133424" y="223962"/>
                  </a:lnTo>
                  <a:lnTo>
                    <a:pt x="123893" y="219196"/>
                  </a:lnTo>
                  <a:lnTo>
                    <a:pt x="123893" y="204902"/>
                  </a:lnTo>
                  <a:lnTo>
                    <a:pt x="100068" y="209666"/>
                  </a:lnTo>
                  <a:lnTo>
                    <a:pt x="76242" y="209666"/>
                  </a:lnTo>
                  <a:lnTo>
                    <a:pt x="52416" y="204902"/>
                  </a:lnTo>
                  <a:lnTo>
                    <a:pt x="38121" y="204902"/>
                  </a:lnTo>
                  <a:lnTo>
                    <a:pt x="23826" y="214432"/>
                  </a:lnTo>
                  <a:lnTo>
                    <a:pt x="23826" y="238258"/>
                  </a:lnTo>
                  <a:lnTo>
                    <a:pt x="19061" y="243022"/>
                  </a:lnTo>
                  <a:lnTo>
                    <a:pt x="19061" y="233492"/>
                  </a:lnTo>
                  <a:lnTo>
                    <a:pt x="14295" y="223962"/>
                  </a:lnTo>
                  <a:lnTo>
                    <a:pt x="9530" y="214432"/>
                  </a:lnTo>
                  <a:lnTo>
                    <a:pt x="0" y="204902"/>
                  </a:lnTo>
                  <a:lnTo>
                    <a:pt x="0" y="200136"/>
                  </a:lnTo>
                  <a:lnTo>
                    <a:pt x="4765" y="195372"/>
                  </a:lnTo>
                  <a:lnTo>
                    <a:pt x="23826" y="181076"/>
                  </a:lnTo>
                  <a:lnTo>
                    <a:pt x="28591" y="176310"/>
                  </a:lnTo>
                  <a:lnTo>
                    <a:pt x="28591" y="162016"/>
                  </a:lnTo>
                  <a:lnTo>
                    <a:pt x="23826" y="152486"/>
                  </a:lnTo>
                  <a:lnTo>
                    <a:pt x="14295" y="138190"/>
                  </a:lnTo>
                  <a:lnTo>
                    <a:pt x="19061" y="123894"/>
                  </a:lnTo>
                  <a:lnTo>
                    <a:pt x="33356" y="119130"/>
                  </a:lnTo>
                  <a:lnTo>
                    <a:pt x="42886" y="109598"/>
                  </a:lnTo>
                  <a:lnTo>
                    <a:pt x="42886" y="104834"/>
                  </a:lnTo>
                  <a:lnTo>
                    <a:pt x="38121" y="95304"/>
                  </a:lnTo>
                  <a:lnTo>
                    <a:pt x="19061" y="85774"/>
                  </a:lnTo>
                  <a:lnTo>
                    <a:pt x="9530" y="85774"/>
                  </a:lnTo>
                  <a:lnTo>
                    <a:pt x="9530" y="57182"/>
                  </a:lnTo>
                  <a:lnTo>
                    <a:pt x="9530" y="23826"/>
                  </a:lnTo>
                  <a:lnTo>
                    <a:pt x="14295" y="23826"/>
                  </a:lnTo>
                  <a:lnTo>
                    <a:pt x="19061" y="19062"/>
                  </a:lnTo>
                  <a:lnTo>
                    <a:pt x="23826" y="14296"/>
                  </a:lnTo>
                  <a:lnTo>
                    <a:pt x="28591" y="476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7" name="Freeform 5998">
              <a:extLst>
                <a:ext uri="{FF2B5EF4-FFF2-40B4-BE49-F238E27FC236}">
                  <a16:creationId xmlns:a16="http://schemas.microsoft.com/office/drawing/2014/main" id="{AA835193-D505-4D5C-B632-0DED83D43344}"/>
                </a:ext>
              </a:extLst>
            </p:cNvPr>
            <p:cNvSpPr/>
            <p:nvPr/>
          </p:nvSpPr>
          <p:spPr bwMode="auto">
            <a:xfrm>
              <a:off x="3243296" y="5410953"/>
              <a:ext cx="319914" cy="469850"/>
            </a:xfrm>
            <a:custGeom>
              <a:avLst/>
              <a:gdLst>
                <a:gd name="T0" fmla="*/ 712 w 830"/>
                <a:gd name="T1" fmla="*/ 250 h 1219"/>
                <a:gd name="T2" fmla="*/ 736 w 830"/>
                <a:gd name="T3" fmla="*/ 170 h 1219"/>
                <a:gd name="T4" fmla="*/ 680 w 830"/>
                <a:gd name="T5" fmla="*/ 142 h 1219"/>
                <a:gd name="T6" fmla="*/ 624 w 830"/>
                <a:gd name="T7" fmla="*/ 138 h 1219"/>
                <a:gd name="T8" fmla="*/ 570 w 830"/>
                <a:gd name="T9" fmla="*/ 150 h 1219"/>
                <a:gd name="T10" fmla="*/ 538 w 830"/>
                <a:gd name="T11" fmla="*/ 132 h 1219"/>
                <a:gd name="T12" fmla="*/ 512 w 830"/>
                <a:gd name="T13" fmla="*/ 92 h 1219"/>
                <a:gd name="T14" fmla="*/ 464 w 830"/>
                <a:gd name="T15" fmla="*/ 60 h 1219"/>
                <a:gd name="T16" fmla="*/ 432 w 830"/>
                <a:gd name="T17" fmla="*/ 16 h 1219"/>
                <a:gd name="T18" fmla="*/ 396 w 830"/>
                <a:gd name="T19" fmla="*/ 4 h 1219"/>
                <a:gd name="T20" fmla="*/ 398 w 830"/>
                <a:gd name="T21" fmla="*/ 32 h 1219"/>
                <a:gd name="T22" fmla="*/ 386 w 830"/>
                <a:gd name="T23" fmla="*/ 66 h 1219"/>
                <a:gd name="T24" fmla="*/ 292 w 830"/>
                <a:gd name="T25" fmla="*/ 170 h 1219"/>
                <a:gd name="T26" fmla="*/ 206 w 830"/>
                <a:gd name="T27" fmla="*/ 220 h 1219"/>
                <a:gd name="T28" fmla="*/ 192 w 830"/>
                <a:gd name="T29" fmla="*/ 232 h 1219"/>
                <a:gd name="T30" fmla="*/ 174 w 830"/>
                <a:gd name="T31" fmla="*/ 280 h 1219"/>
                <a:gd name="T32" fmla="*/ 158 w 830"/>
                <a:gd name="T33" fmla="*/ 316 h 1219"/>
                <a:gd name="T34" fmla="*/ 116 w 830"/>
                <a:gd name="T35" fmla="*/ 292 h 1219"/>
                <a:gd name="T36" fmla="*/ 62 w 830"/>
                <a:gd name="T37" fmla="*/ 290 h 1219"/>
                <a:gd name="T38" fmla="*/ 58 w 830"/>
                <a:gd name="T39" fmla="*/ 258 h 1219"/>
                <a:gd name="T40" fmla="*/ 74 w 830"/>
                <a:gd name="T41" fmla="*/ 234 h 1219"/>
                <a:gd name="T42" fmla="*/ 28 w 830"/>
                <a:gd name="T43" fmla="*/ 252 h 1219"/>
                <a:gd name="T44" fmla="*/ 30 w 830"/>
                <a:gd name="T45" fmla="*/ 374 h 1219"/>
                <a:gd name="T46" fmla="*/ 94 w 830"/>
                <a:gd name="T47" fmla="*/ 450 h 1219"/>
                <a:gd name="T48" fmla="*/ 176 w 830"/>
                <a:gd name="T49" fmla="*/ 586 h 1219"/>
                <a:gd name="T50" fmla="*/ 264 w 830"/>
                <a:gd name="T51" fmla="*/ 758 h 1219"/>
                <a:gd name="T52" fmla="*/ 316 w 830"/>
                <a:gd name="T53" fmla="*/ 855 h 1219"/>
                <a:gd name="T54" fmla="*/ 350 w 830"/>
                <a:gd name="T55" fmla="*/ 957 h 1219"/>
                <a:gd name="T56" fmla="*/ 492 w 830"/>
                <a:gd name="T57" fmla="*/ 1069 h 1219"/>
                <a:gd name="T58" fmla="*/ 620 w 830"/>
                <a:gd name="T59" fmla="*/ 1137 h 1219"/>
                <a:gd name="T60" fmla="*/ 716 w 830"/>
                <a:gd name="T61" fmla="*/ 1219 h 1219"/>
                <a:gd name="T62" fmla="*/ 756 w 830"/>
                <a:gd name="T63" fmla="*/ 1173 h 1219"/>
                <a:gd name="T64" fmla="*/ 780 w 830"/>
                <a:gd name="T65" fmla="*/ 1133 h 1219"/>
                <a:gd name="T66" fmla="*/ 804 w 830"/>
                <a:gd name="T67" fmla="*/ 1093 h 1219"/>
                <a:gd name="T68" fmla="*/ 798 w 830"/>
                <a:gd name="T69" fmla="*/ 1075 h 1219"/>
                <a:gd name="T70" fmla="*/ 780 w 830"/>
                <a:gd name="T71" fmla="*/ 1061 h 1219"/>
                <a:gd name="T72" fmla="*/ 754 w 830"/>
                <a:gd name="T73" fmla="*/ 1047 h 1219"/>
                <a:gd name="T74" fmla="*/ 746 w 830"/>
                <a:gd name="T75" fmla="*/ 1049 h 1219"/>
                <a:gd name="T76" fmla="*/ 756 w 830"/>
                <a:gd name="T77" fmla="*/ 1037 h 1219"/>
                <a:gd name="T78" fmla="*/ 758 w 830"/>
                <a:gd name="T79" fmla="*/ 1009 h 1219"/>
                <a:gd name="T80" fmla="*/ 788 w 830"/>
                <a:gd name="T81" fmla="*/ 993 h 1219"/>
                <a:gd name="T82" fmla="*/ 808 w 830"/>
                <a:gd name="T83" fmla="*/ 947 h 1219"/>
                <a:gd name="T84" fmla="*/ 808 w 830"/>
                <a:gd name="T85" fmla="*/ 895 h 1219"/>
                <a:gd name="T86" fmla="*/ 830 w 830"/>
                <a:gd name="T87" fmla="*/ 822 h 1219"/>
                <a:gd name="T88" fmla="*/ 738 w 830"/>
                <a:gd name="T89" fmla="*/ 720 h 1219"/>
                <a:gd name="T90" fmla="*/ 702 w 830"/>
                <a:gd name="T91" fmla="*/ 644 h 1219"/>
                <a:gd name="T92" fmla="*/ 690 w 830"/>
                <a:gd name="T93" fmla="*/ 630 h 1219"/>
                <a:gd name="T94" fmla="*/ 600 w 830"/>
                <a:gd name="T95" fmla="*/ 646 h 1219"/>
                <a:gd name="T96" fmla="*/ 540 w 830"/>
                <a:gd name="T97" fmla="*/ 606 h 1219"/>
                <a:gd name="T98" fmla="*/ 518 w 830"/>
                <a:gd name="T99" fmla="*/ 550 h 1219"/>
                <a:gd name="T100" fmla="*/ 496 w 830"/>
                <a:gd name="T101" fmla="*/ 516 h 1219"/>
                <a:gd name="T102" fmla="*/ 484 w 830"/>
                <a:gd name="T103" fmla="*/ 490 h 1219"/>
                <a:gd name="T104" fmla="*/ 496 w 830"/>
                <a:gd name="T105" fmla="*/ 468 h 1219"/>
                <a:gd name="T106" fmla="*/ 538 w 830"/>
                <a:gd name="T107" fmla="*/ 418 h 1219"/>
                <a:gd name="T108" fmla="*/ 552 w 830"/>
                <a:gd name="T109" fmla="*/ 344 h 1219"/>
                <a:gd name="T110" fmla="*/ 614 w 830"/>
                <a:gd name="T111" fmla="*/ 296 h 1219"/>
                <a:gd name="T112" fmla="*/ 690 w 830"/>
                <a:gd name="T113" fmla="*/ 270 h 1219"/>
                <a:gd name="T114" fmla="*/ 742 w 830"/>
                <a:gd name="T115" fmla="*/ 280 h 1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30" h="1219">
                  <a:moveTo>
                    <a:pt x="746" y="274"/>
                  </a:moveTo>
                  <a:lnTo>
                    <a:pt x="742" y="270"/>
                  </a:lnTo>
                  <a:lnTo>
                    <a:pt x="738" y="264"/>
                  </a:lnTo>
                  <a:lnTo>
                    <a:pt x="732" y="262"/>
                  </a:lnTo>
                  <a:lnTo>
                    <a:pt x="730" y="258"/>
                  </a:lnTo>
                  <a:lnTo>
                    <a:pt x="728" y="252"/>
                  </a:lnTo>
                  <a:lnTo>
                    <a:pt x="724" y="248"/>
                  </a:lnTo>
                  <a:lnTo>
                    <a:pt x="720" y="246"/>
                  </a:lnTo>
                  <a:lnTo>
                    <a:pt x="718" y="248"/>
                  </a:lnTo>
                  <a:lnTo>
                    <a:pt x="716" y="248"/>
                  </a:lnTo>
                  <a:lnTo>
                    <a:pt x="712" y="250"/>
                  </a:lnTo>
                  <a:lnTo>
                    <a:pt x="708" y="250"/>
                  </a:lnTo>
                  <a:lnTo>
                    <a:pt x="696" y="246"/>
                  </a:lnTo>
                  <a:lnTo>
                    <a:pt x="694" y="244"/>
                  </a:lnTo>
                  <a:lnTo>
                    <a:pt x="702" y="232"/>
                  </a:lnTo>
                  <a:lnTo>
                    <a:pt x="716" y="212"/>
                  </a:lnTo>
                  <a:lnTo>
                    <a:pt x="724" y="198"/>
                  </a:lnTo>
                  <a:lnTo>
                    <a:pt x="734" y="184"/>
                  </a:lnTo>
                  <a:lnTo>
                    <a:pt x="738" y="178"/>
                  </a:lnTo>
                  <a:lnTo>
                    <a:pt x="738" y="176"/>
                  </a:lnTo>
                  <a:lnTo>
                    <a:pt x="738" y="174"/>
                  </a:lnTo>
                  <a:lnTo>
                    <a:pt x="736" y="170"/>
                  </a:lnTo>
                  <a:lnTo>
                    <a:pt x="732" y="170"/>
                  </a:lnTo>
                  <a:lnTo>
                    <a:pt x="728" y="168"/>
                  </a:lnTo>
                  <a:lnTo>
                    <a:pt x="724" y="164"/>
                  </a:lnTo>
                  <a:lnTo>
                    <a:pt x="720" y="162"/>
                  </a:lnTo>
                  <a:lnTo>
                    <a:pt x="716" y="160"/>
                  </a:lnTo>
                  <a:lnTo>
                    <a:pt x="710" y="158"/>
                  </a:lnTo>
                  <a:lnTo>
                    <a:pt x="706" y="156"/>
                  </a:lnTo>
                  <a:lnTo>
                    <a:pt x="700" y="154"/>
                  </a:lnTo>
                  <a:lnTo>
                    <a:pt x="696" y="150"/>
                  </a:lnTo>
                  <a:lnTo>
                    <a:pt x="684" y="142"/>
                  </a:lnTo>
                  <a:lnTo>
                    <a:pt x="680" y="142"/>
                  </a:lnTo>
                  <a:lnTo>
                    <a:pt x="676" y="142"/>
                  </a:lnTo>
                  <a:lnTo>
                    <a:pt x="670" y="144"/>
                  </a:lnTo>
                  <a:lnTo>
                    <a:pt x="664" y="148"/>
                  </a:lnTo>
                  <a:lnTo>
                    <a:pt x="658" y="150"/>
                  </a:lnTo>
                  <a:lnTo>
                    <a:pt x="652" y="150"/>
                  </a:lnTo>
                  <a:lnTo>
                    <a:pt x="648" y="146"/>
                  </a:lnTo>
                  <a:lnTo>
                    <a:pt x="644" y="146"/>
                  </a:lnTo>
                  <a:lnTo>
                    <a:pt x="640" y="142"/>
                  </a:lnTo>
                  <a:lnTo>
                    <a:pt x="634" y="140"/>
                  </a:lnTo>
                  <a:lnTo>
                    <a:pt x="628" y="138"/>
                  </a:lnTo>
                  <a:lnTo>
                    <a:pt x="624" y="138"/>
                  </a:lnTo>
                  <a:lnTo>
                    <a:pt x="620" y="142"/>
                  </a:lnTo>
                  <a:lnTo>
                    <a:pt x="616" y="146"/>
                  </a:lnTo>
                  <a:lnTo>
                    <a:pt x="612" y="150"/>
                  </a:lnTo>
                  <a:lnTo>
                    <a:pt x="608" y="148"/>
                  </a:lnTo>
                  <a:lnTo>
                    <a:pt x="602" y="152"/>
                  </a:lnTo>
                  <a:lnTo>
                    <a:pt x="598" y="154"/>
                  </a:lnTo>
                  <a:lnTo>
                    <a:pt x="592" y="154"/>
                  </a:lnTo>
                  <a:lnTo>
                    <a:pt x="586" y="156"/>
                  </a:lnTo>
                  <a:lnTo>
                    <a:pt x="580" y="154"/>
                  </a:lnTo>
                  <a:lnTo>
                    <a:pt x="574" y="152"/>
                  </a:lnTo>
                  <a:lnTo>
                    <a:pt x="570" y="150"/>
                  </a:lnTo>
                  <a:lnTo>
                    <a:pt x="568" y="152"/>
                  </a:lnTo>
                  <a:lnTo>
                    <a:pt x="566" y="154"/>
                  </a:lnTo>
                  <a:lnTo>
                    <a:pt x="558" y="154"/>
                  </a:lnTo>
                  <a:lnTo>
                    <a:pt x="554" y="154"/>
                  </a:lnTo>
                  <a:lnTo>
                    <a:pt x="550" y="154"/>
                  </a:lnTo>
                  <a:lnTo>
                    <a:pt x="548" y="150"/>
                  </a:lnTo>
                  <a:lnTo>
                    <a:pt x="542" y="148"/>
                  </a:lnTo>
                  <a:lnTo>
                    <a:pt x="536" y="146"/>
                  </a:lnTo>
                  <a:lnTo>
                    <a:pt x="536" y="142"/>
                  </a:lnTo>
                  <a:lnTo>
                    <a:pt x="536" y="138"/>
                  </a:lnTo>
                  <a:lnTo>
                    <a:pt x="538" y="132"/>
                  </a:lnTo>
                  <a:lnTo>
                    <a:pt x="536" y="128"/>
                  </a:lnTo>
                  <a:lnTo>
                    <a:pt x="534" y="120"/>
                  </a:lnTo>
                  <a:lnTo>
                    <a:pt x="534" y="116"/>
                  </a:lnTo>
                  <a:lnTo>
                    <a:pt x="532" y="114"/>
                  </a:lnTo>
                  <a:lnTo>
                    <a:pt x="528" y="112"/>
                  </a:lnTo>
                  <a:lnTo>
                    <a:pt x="524" y="114"/>
                  </a:lnTo>
                  <a:lnTo>
                    <a:pt x="518" y="110"/>
                  </a:lnTo>
                  <a:lnTo>
                    <a:pt x="514" y="108"/>
                  </a:lnTo>
                  <a:lnTo>
                    <a:pt x="512" y="104"/>
                  </a:lnTo>
                  <a:lnTo>
                    <a:pt x="514" y="98"/>
                  </a:lnTo>
                  <a:lnTo>
                    <a:pt x="512" y="92"/>
                  </a:lnTo>
                  <a:lnTo>
                    <a:pt x="508" y="88"/>
                  </a:lnTo>
                  <a:lnTo>
                    <a:pt x="506" y="82"/>
                  </a:lnTo>
                  <a:lnTo>
                    <a:pt x="502" y="78"/>
                  </a:lnTo>
                  <a:lnTo>
                    <a:pt x="498" y="76"/>
                  </a:lnTo>
                  <a:lnTo>
                    <a:pt x="494" y="76"/>
                  </a:lnTo>
                  <a:lnTo>
                    <a:pt x="490" y="74"/>
                  </a:lnTo>
                  <a:lnTo>
                    <a:pt x="486" y="70"/>
                  </a:lnTo>
                  <a:lnTo>
                    <a:pt x="482" y="68"/>
                  </a:lnTo>
                  <a:lnTo>
                    <a:pt x="478" y="64"/>
                  </a:lnTo>
                  <a:lnTo>
                    <a:pt x="470" y="62"/>
                  </a:lnTo>
                  <a:lnTo>
                    <a:pt x="464" y="60"/>
                  </a:lnTo>
                  <a:lnTo>
                    <a:pt x="462" y="58"/>
                  </a:lnTo>
                  <a:lnTo>
                    <a:pt x="460" y="52"/>
                  </a:lnTo>
                  <a:lnTo>
                    <a:pt x="460" y="50"/>
                  </a:lnTo>
                  <a:lnTo>
                    <a:pt x="458" y="46"/>
                  </a:lnTo>
                  <a:lnTo>
                    <a:pt x="456" y="42"/>
                  </a:lnTo>
                  <a:lnTo>
                    <a:pt x="454" y="34"/>
                  </a:lnTo>
                  <a:lnTo>
                    <a:pt x="450" y="30"/>
                  </a:lnTo>
                  <a:lnTo>
                    <a:pt x="444" y="24"/>
                  </a:lnTo>
                  <a:lnTo>
                    <a:pt x="440" y="20"/>
                  </a:lnTo>
                  <a:lnTo>
                    <a:pt x="436" y="18"/>
                  </a:lnTo>
                  <a:lnTo>
                    <a:pt x="432" y="16"/>
                  </a:lnTo>
                  <a:lnTo>
                    <a:pt x="430" y="12"/>
                  </a:lnTo>
                  <a:lnTo>
                    <a:pt x="428" y="10"/>
                  </a:lnTo>
                  <a:lnTo>
                    <a:pt x="426" y="10"/>
                  </a:lnTo>
                  <a:lnTo>
                    <a:pt x="422" y="10"/>
                  </a:lnTo>
                  <a:lnTo>
                    <a:pt x="418" y="8"/>
                  </a:lnTo>
                  <a:lnTo>
                    <a:pt x="414" y="6"/>
                  </a:lnTo>
                  <a:lnTo>
                    <a:pt x="412" y="4"/>
                  </a:lnTo>
                  <a:lnTo>
                    <a:pt x="406" y="0"/>
                  </a:lnTo>
                  <a:lnTo>
                    <a:pt x="404" y="0"/>
                  </a:lnTo>
                  <a:lnTo>
                    <a:pt x="400" y="0"/>
                  </a:lnTo>
                  <a:lnTo>
                    <a:pt x="396" y="4"/>
                  </a:lnTo>
                  <a:lnTo>
                    <a:pt x="394" y="6"/>
                  </a:lnTo>
                  <a:lnTo>
                    <a:pt x="390" y="6"/>
                  </a:lnTo>
                  <a:lnTo>
                    <a:pt x="384" y="6"/>
                  </a:lnTo>
                  <a:lnTo>
                    <a:pt x="378" y="4"/>
                  </a:lnTo>
                  <a:lnTo>
                    <a:pt x="374" y="4"/>
                  </a:lnTo>
                  <a:lnTo>
                    <a:pt x="374" y="6"/>
                  </a:lnTo>
                  <a:lnTo>
                    <a:pt x="384" y="12"/>
                  </a:lnTo>
                  <a:lnTo>
                    <a:pt x="384" y="18"/>
                  </a:lnTo>
                  <a:lnTo>
                    <a:pt x="388" y="24"/>
                  </a:lnTo>
                  <a:lnTo>
                    <a:pt x="394" y="30"/>
                  </a:lnTo>
                  <a:lnTo>
                    <a:pt x="398" y="32"/>
                  </a:lnTo>
                  <a:lnTo>
                    <a:pt x="398" y="36"/>
                  </a:lnTo>
                  <a:lnTo>
                    <a:pt x="398" y="40"/>
                  </a:lnTo>
                  <a:lnTo>
                    <a:pt x="396" y="42"/>
                  </a:lnTo>
                  <a:lnTo>
                    <a:pt x="398" y="58"/>
                  </a:lnTo>
                  <a:lnTo>
                    <a:pt x="398" y="60"/>
                  </a:lnTo>
                  <a:lnTo>
                    <a:pt x="396" y="60"/>
                  </a:lnTo>
                  <a:lnTo>
                    <a:pt x="392" y="60"/>
                  </a:lnTo>
                  <a:lnTo>
                    <a:pt x="390" y="58"/>
                  </a:lnTo>
                  <a:lnTo>
                    <a:pt x="388" y="58"/>
                  </a:lnTo>
                  <a:lnTo>
                    <a:pt x="388" y="60"/>
                  </a:lnTo>
                  <a:lnTo>
                    <a:pt x="386" y="66"/>
                  </a:lnTo>
                  <a:lnTo>
                    <a:pt x="382" y="82"/>
                  </a:lnTo>
                  <a:lnTo>
                    <a:pt x="378" y="96"/>
                  </a:lnTo>
                  <a:lnTo>
                    <a:pt x="374" y="102"/>
                  </a:lnTo>
                  <a:lnTo>
                    <a:pt x="366" y="110"/>
                  </a:lnTo>
                  <a:lnTo>
                    <a:pt x="358" y="120"/>
                  </a:lnTo>
                  <a:lnTo>
                    <a:pt x="344" y="136"/>
                  </a:lnTo>
                  <a:lnTo>
                    <a:pt x="334" y="144"/>
                  </a:lnTo>
                  <a:lnTo>
                    <a:pt x="326" y="150"/>
                  </a:lnTo>
                  <a:lnTo>
                    <a:pt x="316" y="156"/>
                  </a:lnTo>
                  <a:lnTo>
                    <a:pt x="306" y="164"/>
                  </a:lnTo>
                  <a:lnTo>
                    <a:pt x="292" y="170"/>
                  </a:lnTo>
                  <a:lnTo>
                    <a:pt x="274" y="176"/>
                  </a:lnTo>
                  <a:lnTo>
                    <a:pt x="260" y="180"/>
                  </a:lnTo>
                  <a:lnTo>
                    <a:pt x="250" y="184"/>
                  </a:lnTo>
                  <a:lnTo>
                    <a:pt x="240" y="188"/>
                  </a:lnTo>
                  <a:lnTo>
                    <a:pt x="228" y="192"/>
                  </a:lnTo>
                  <a:lnTo>
                    <a:pt x="222" y="196"/>
                  </a:lnTo>
                  <a:lnTo>
                    <a:pt x="214" y="206"/>
                  </a:lnTo>
                  <a:lnTo>
                    <a:pt x="210" y="212"/>
                  </a:lnTo>
                  <a:lnTo>
                    <a:pt x="206" y="216"/>
                  </a:lnTo>
                  <a:lnTo>
                    <a:pt x="206" y="218"/>
                  </a:lnTo>
                  <a:lnTo>
                    <a:pt x="206" y="220"/>
                  </a:lnTo>
                  <a:lnTo>
                    <a:pt x="208" y="222"/>
                  </a:lnTo>
                  <a:lnTo>
                    <a:pt x="208" y="224"/>
                  </a:lnTo>
                  <a:lnTo>
                    <a:pt x="206" y="226"/>
                  </a:lnTo>
                  <a:lnTo>
                    <a:pt x="204" y="226"/>
                  </a:lnTo>
                  <a:lnTo>
                    <a:pt x="202" y="224"/>
                  </a:lnTo>
                  <a:lnTo>
                    <a:pt x="202" y="222"/>
                  </a:lnTo>
                  <a:lnTo>
                    <a:pt x="200" y="220"/>
                  </a:lnTo>
                  <a:lnTo>
                    <a:pt x="198" y="218"/>
                  </a:lnTo>
                  <a:lnTo>
                    <a:pt x="196" y="220"/>
                  </a:lnTo>
                  <a:lnTo>
                    <a:pt x="196" y="222"/>
                  </a:lnTo>
                  <a:lnTo>
                    <a:pt x="192" y="232"/>
                  </a:lnTo>
                  <a:lnTo>
                    <a:pt x="192" y="238"/>
                  </a:lnTo>
                  <a:lnTo>
                    <a:pt x="192" y="240"/>
                  </a:lnTo>
                  <a:lnTo>
                    <a:pt x="192" y="244"/>
                  </a:lnTo>
                  <a:lnTo>
                    <a:pt x="188" y="248"/>
                  </a:lnTo>
                  <a:lnTo>
                    <a:pt x="186" y="252"/>
                  </a:lnTo>
                  <a:lnTo>
                    <a:pt x="186" y="256"/>
                  </a:lnTo>
                  <a:lnTo>
                    <a:pt x="182" y="258"/>
                  </a:lnTo>
                  <a:lnTo>
                    <a:pt x="182" y="262"/>
                  </a:lnTo>
                  <a:lnTo>
                    <a:pt x="178" y="270"/>
                  </a:lnTo>
                  <a:lnTo>
                    <a:pt x="176" y="276"/>
                  </a:lnTo>
                  <a:lnTo>
                    <a:pt x="174" y="280"/>
                  </a:lnTo>
                  <a:lnTo>
                    <a:pt x="174" y="284"/>
                  </a:lnTo>
                  <a:lnTo>
                    <a:pt x="176" y="286"/>
                  </a:lnTo>
                  <a:lnTo>
                    <a:pt x="176" y="290"/>
                  </a:lnTo>
                  <a:lnTo>
                    <a:pt x="174" y="294"/>
                  </a:lnTo>
                  <a:lnTo>
                    <a:pt x="174" y="296"/>
                  </a:lnTo>
                  <a:lnTo>
                    <a:pt x="170" y="298"/>
                  </a:lnTo>
                  <a:lnTo>
                    <a:pt x="162" y="302"/>
                  </a:lnTo>
                  <a:lnTo>
                    <a:pt x="160" y="306"/>
                  </a:lnTo>
                  <a:lnTo>
                    <a:pt x="158" y="310"/>
                  </a:lnTo>
                  <a:lnTo>
                    <a:pt x="158" y="312"/>
                  </a:lnTo>
                  <a:lnTo>
                    <a:pt x="158" y="316"/>
                  </a:lnTo>
                  <a:lnTo>
                    <a:pt x="154" y="316"/>
                  </a:lnTo>
                  <a:lnTo>
                    <a:pt x="154" y="318"/>
                  </a:lnTo>
                  <a:lnTo>
                    <a:pt x="150" y="322"/>
                  </a:lnTo>
                  <a:lnTo>
                    <a:pt x="148" y="324"/>
                  </a:lnTo>
                  <a:lnTo>
                    <a:pt x="140" y="322"/>
                  </a:lnTo>
                  <a:lnTo>
                    <a:pt x="136" y="322"/>
                  </a:lnTo>
                  <a:lnTo>
                    <a:pt x="132" y="320"/>
                  </a:lnTo>
                  <a:lnTo>
                    <a:pt x="124" y="310"/>
                  </a:lnTo>
                  <a:lnTo>
                    <a:pt x="120" y="304"/>
                  </a:lnTo>
                  <a:lnTo>
                    <a:pt x="120" y="294"/>
                  </a:lnTo>
                  <a:lnTo>
                    <a:pt x="116" y="292"/>
                  </a:lnTo>
                  <a:lnTo>
                    <a:pt x="112" y="288"/>
                  </a:lnTo>
                  <a:lnTo>
                    <a:pt x="106" y="290"/>
                  </a:lnTo>
                  <a:lnTo>
                    <a:pt x="100" y="290"/>
                  </a:lnTo>
                  <a:lnTo>
                    <a:pt x="98" y="288"/>
                  </a:lnTo>
                  <a:lnTo>
                    <a:pt x="90" y="284"/>
                  </a:lnTo>
                  <a:lnTo>
                    <a:pt x="84" y="280"/>
                  </a:lnTo>
                  <a:lnTo>
                    <a:pt x="78" y="278"/>
                  </a:lnTo>
                  <a:lnTo>
                    <a:pt x="74" y="280"/>
                  </a:lnTo>
                  <a:lnTo>
                    <a:pt x="72" y="282"/>
                  </a:lnTo>
                  <a:lnTo>
                    <a:pt x="68" y="286"/>
                  </a:lnTo>
                  <a:lnTo>
                    <a:pt x="62" y="290"/>
                  </a:lnTo>
                  <a:lnTo>
                    <a:pt x="60" y="290"/>
                  </a:lnTo>
                  <a:lnTo>
                    <a:pt x="56" y="288"/>
                  </a:lnTo>
                  <a:lnTo>
                    <a:pt x="56" y="284"/>
                  </a:lnTo>
                  <a:lnTo>
                    <a:pt x="58" y="280"/>
                  </a:lnTo>
                  <a:lnTo>
                    <a:pt x="64" y="272"/>
                  </a:lnTo>
                  <a:lnTo>
                    <a:pt x="58" y="272"/>
                  </a:lnTo>
                  <a:lnTo>
                    <a:pt x="56" y="270"/>
                  </a:lnTo>
                  <a:lnTo>
                    <a:pt x="56" y="266"/>
                  </a:lnTo>
                  <a:lnTo>
                    <a:pt x="54" y="264"/>
                  </a:lnTo>
                  <a:lnTo>
                    <a:pt x="56" y="260"/>
                  </a:lnTo>
                  <a:lnTo>
                    <a:pt x="58" y="258"/>
                  </a:lnTo>
                  <a:lnTo>
                    <a:pt x="64" y="260"/>
                  </a:lnTo>
                  <a:lnTo>
                    <a:pt x="68" y="260"/>
                  </a:lnTo>
                  <a:lnTo>
                    <a:pt x="70" y="256"/>
                  </a:lnTo>
                  <a:lnTo>
                    <a:pt x="72" y="254"/>
                  </a:lnTo>
                  <a:lnTo>
                    <a:pt x="74" y="252"/>
                  </a:lnTo>
                  <a:lnTo>
                    <a:pt x="76" y="252"/>
                  </a:lnTo>
                  <a:lnTo>
                    <a:pt x="74" y="246"/>
                  </a:lnTo>
                  <a:lnTo>
                    <a:pt x="72" y="242"/>
                  </a:lnTo>
                  <a:lnTo>
                    <a:pt x="74" y="240"/>
                  </a:lnTo>
                  <a:lnTo>
                    <a:pt x="74" y="236"/>
                  </a:lnTo>
                  <a:lnTo>
                    <a:pt x="74" y="234"/>
                  </a:lnTo>
                  <a:lnTo>
                    <a:pt x="72" y="232"/>
                  </a:lnTo>
                  <a:lnTo>
                    <a:pt x="72" y="228"/>
                  </a:lnTo>
                  <a:lnTo>
                    <a:pt x="70" y="226"/>
                  </a:lnTo>
                  <a:lnTo>
                    <a:pt x="70" y="224"/>
                  </a:lnTo>
                  <a:lnTo>
                    <a:pt x="70" y="222"/>
                  </a:lnTo>
                  <a:lnTo>
                    <a:pt x="68" y="220"/>
                  </a:lnTo>
                  <a:lnTo>
                    <a:pt x="66" y="218"/>
                  </a:lnTo>
                  <a:lnTo>
                    <a:pt x="54" y="226"/>
                  </a:lnTo>
                  <a:lnTo>
                    <a:pt x="44" y="236"/>
                  </a:lnTo>
                  <a:lnTo>
                    <a:pt x="36" y="242"/>
                  </a:lnTo>
                  <a:lnTo>
                    <a:pt x="28" y="252"/>
                  </a:lnTo>
                  <a:lnTo>
                    <a:pt x="6" y="274"/>
                  </a:lnTo>
                  <a:lnTo>
                    <a:pt x="4" y="280"/>
                  </a:lnTo>
                  <a:lnTo>
                    <a:pt x="0" y="302"/>
                  </a:lnTo>
                  <a:lnTo>
                    <a:pt x="2" y="310"/>
                  </a:lnTo>
                  <a:lnTo>
                    <a:pt x="10" y="316"/>
                  </a:lnTo>
                  <a:lnTo>
                    <a:pt x="14" y="326"/>
                  </a:lnTo>
                  <a:lnTo>
                    <a:pt x="12" y="332"/>
                  </a:lnTo>
                  <a:lnTo>
                    <a:pt x="10" y="336"/>
                  </a:lnTo>
                  <a:lnTo>
                    <a:pt x="26" y="356"/>
                  </a:lnTo>
                  <a:lnTo>
                    <a:pt x="30" y="366"/>
                  </a:lnTo>
                  <a:lnTo>
                    <a:pt x="30" y="374"/>
                  </a:lnTo>
                  <a:lnTo>
                    <a:pt x="26" y="380"/>
                  </a:lnTo>
                  <a:lnTo>
                    <a:pt x="22" y="382"/>
                  </a:lnTo>
                  <a:lnTo>
                    <a:pt x="16" y="378"/>
                  </a:lnTo>
                  <a:lnTo>
                    <a:pt x="12" y="382"/>
                  </a:lnTo>
                  <a:lnTo>
                    <a:pt x="10" y="386"/>
                  </a:lnTo>
                  <a:lnTo>
                    <a:pt x="12" y="394"/>
                  </a:lnTo>
                  <a:lnTo>
                    <a:pt x="18" y="400"/>
                  </a:lnTo>
                  <a:lnTo>
                    <a:pt x="34" y="410"/>
                  </a:lnTo>
                  <a:lnTo>
                    <a:pt x="80" y="434"/>
                  </a:lnTo>
                  <a:lnTo>
                    <a:pt x="88" y="442"/>
                  </a:lnTo>
                  <a:lnTo>
                    <a:pt x="94" y="450"/>
                  </a:lnTo>
                  <a:lnTo>
                    <a:pt x="104" y="460"/>
                  </a:lnTo>
                  <a:lnTo>
                    <a:pt x="112" y="476"/>
                  </a:lnTo>
                  <a:lnTo>
                    <a:pt x="114" y="484"/>
                  </a:lnTo>
                  <a:lnTo>
                    <a:pt x="128" y="512"/>
                  </a:lnTo>
                  <a:lnTo>
                    <a:pt x="132" y="518"/>
                  </a:lnTo>
                  <a:lnTo>
                    <a:pt x="142" y="526"/>
                  </a:lnTo>
                  <a:lnTo>
                    <a:pt x="152" y="536"/>
                  </a:lnTo>
                  <a:lnTo>
                    <a:pt x="158" y="550"/>
                  </a:lnTo>
                  <a:lnTo>
                    <a:pt x="168" y="564"/>
                  </a:lnTo>
                  <a:lnTo>
                    <a:pt x="170" y="572"/>
                  </a:lnTo>
                  <a:lnTo>
                    <a:pt x="176" y="586"/>
                  </a:lnTo>
                  <a:lnTo>
                    <a:pt x="180" y="600"/>
                  </a:lnTo>
                  <a:lnTo>
                    <a:pt x="190" y="614"/>
                  </a:lnTo>
                  <a:lnTo>
                    <a:pt x="196" y="632"/>
                  </a:lnTo>
                  <a:lnTo>
                    <a:pt x="200" y="642"/>
                  </a:lnTo>
                  <a:lnTo>
                    <a:pt x="206" y="662"/>
                  </a:lnTo>
                  <a:lnTo>
                    <a:pt x="212" y="672"/>
                  </a:lnTo>
                  <a:lnTo>
                    <a:pt x="236" y="712"/>
                  </a:lnTo>
                  <a:lnTo>
                    <a:pt x="240" y="724"/>
                  </a:lnTo>
                  <a:lnTo>
                    <a:pt x="242" y="736"/>
                  </a:lnTo>
                  <a:lnTo>
                    <a:pt x="242" y="742"/>
                  </a:lnTo>
                  <a:lnTo>
                    <a:pt x="264" y="758"/>
                  </a:lnTo>
                  <a:lnTo>
                    <a:pt x="270" y="766"/>
                  </a:lnTo>
                  <a:lnTo>
                    <a:pt x="274" y="784"/>
                  </a:lnTo>
                  <a:lnTo>
                    <a:pt x="274" y="794"/>
                  </a:lnTo>
                  <a:lnTo>
                    <a:pt x="280" y="796"/>
                  </a:lnTo>
                  <a:lnTo>
                    <a:pt x="282" y="800"/>
                  </a:lnTo>
                  <a:lnTo>
                    <a:pt x="284" y="804"/>
                  </a:lnTo>
                  <a:lnTo>
                    <a:pt x="296" y="812"/>
                  </a:lnTo>
                  <a:lnTo>
                    <a:pt x="300" y="824"/>
                  </a:lnTo>
                  <a:lnTo>
                    <a:pt x="308" y="838"/>
                  </a:lnTo>
                  <a:lnTo>
                    <a:pt x="314" y="844"/>
                  </a:lnTo>
                  <a:lnTo>
                    <a:pt x="316" y="855"/>
                  </a:lnTo>
                  <a:lnTo>
                    <a:pt x="322" y="863"/>
                  </a:lnTo>
                  <a:lnTo>
                    <a:pt x="334" y="881"/>
                  </a:lnTo>
                  <a:lnTo>
                    <a:pt x="338" y="891"/>
                  </a:lnTo>
                  <a:lnTo>
                    <a:pt x="332" y="909"/>
                  </a:lnTo>
                  <a:lnTo>
                    <a:pt x="328" y="911"/>
                  </a:lnTo>
                  <a:lnTo>
                    <a:pt x="324" y="913"/>
                  </a:lnTo>
                  <a:lnTo>
                    <a:pt x="330" y="919"/>
                  </a:lnTo>
                  <a:lnTo>
                    <a:pt x="330" y="931"/>
                  </a:lnTo>
                  <a:lnTo>
                    <a:pt x="338" y="937"/>
                  </a:lnTo>
                  <a:lnTo>
                    <a:pt x="340" y="945"/>
                  </a:lnTo>
                  <a:lnTo>
                    <a:pt x="350" y="957"/>
                  </a:lnTo>
                  <a:lnTo>
                    <a:pt x="354" y="965"/>
                  </a:lnTo>
                  <a:lnTo>
                    <a:pt x="366" y="975"/>
                  </a:lnTo>
                  <a:lnTo>
                    <a:pt x="380" y="983"/>
                  </a:lnTo>
                  <a:lnTo>
                    <a:pt x="390" y="997"/>
                  </a:lnTo>
                  <a:lnTo>
                    <a:pt x="398" y="1003"/>
                  </a:lnTo>
                  <a:lnTo>
                    <a:pt x="402" y="1011"/>
                  </a:lnTo>
                  <a:lnTo>
                    <a:pt x="408" y="1019"/>
                  </a:lnTo>
                  <a:lnTo>
                    <a:pt x="444" y="1037"/>
                  </a:lnTo>
                  <a:lnTo>
                    <a:pt x="456" y="1047"/>
                  </a:lnTo>
                  <a:lnTo>
                    <a:pt x="472" y="1053"/>
                  </a:lnTo>
                  <a:lnTo>
                    <a:pt x="492" y="1069"/>
                  </a:lnTo>
                  <a:lnTo>
                    <a:pt x="498" y="1073"/>
                  </a:lnTo>
                  <a:lnTo>
                    <a:pt x="520" y="1079"/>
                  </a:lnTo>
                  <a:lnTo>
                    <a:pt x="530" y="1085"/>
                  </a:lnTo>
                  <a:lnTo>
                    <a:pt x="550" y="1093"/>
                  </a:lnTo>
                  <a:lnTo>
                    <a:pt x="560" y="1101"/>
                  </a:lnTo>
                  <a:lnTo>
                    <a:pt x="582" y="1107"/>
                  </a:lnTo>
                  <a:lnTo>
                    <a:pt x="588" y="1111"/>
                  </a:lnTo>
                  <a:lnTo>
                    <a:pt x="594" y="1119"/>
                  </a:lnTo>
                  <a:lnTo>
                    <a:pt x="604" y="1127"/>
                  </a:lnTo>
                  <a:lnTo>
                    <a:pt x="614" y="1131"/>
                  </a:lnTo>
                  <a:lnTo>
                    <a:pt x="620" y="1137"/>
                  </a:lnTo>
                  <a:lnTo>
                    <a:pt x="626" y="1141"/>
                  </a:lnTo>
                  <a:lnTo>
                    <a:pt x="642" y="1147"/>
                  </a:lnTo>
                  <a:lnTo>
                    <a:pt x="650" y="1151"/>
                  </a:lnTo>
                  <a:lnTo>
                    <a:pt x="652" y="1155"/>
                  </a:lnTo>
                  <a:lnTo>
                    <a:pt x="654" y="1169"/>
                  </a:lnTo>
                  <a:lnTo>
                    <a:pt x="656" y="1173"/>
                  </a:lnTo>
                  <a:lnTo>
                    <a:pt x="674" y="1187"/>
                  </a:lnTo>
                  <a:lnTo>
                    <a:pt x="682" y="1191"/>
                  </a:lnTo>
                  <a:lnTo>
                    <a:pt x="690" y="1199"/>
                  </a:lnTo>
                  <a:lnTo>
                    <a:pt x="710" y="1215"/>
                  </a:lnTo>
                  <a:lnTo>
                    <a:pt x="716" y="1219"/>
                  </a:lnTo>
                  <a:lnTo>
                    <a:pt x="718" y="1219"/>
                  </a:lnTo>
                  <a:lnTo>
                    <a:pt x="724" y="1219"/>
                  </a:lnTo>
                  <a:lnTo>
                    <a:pt x="732" y="1219"/>
                  </a:lnTo>
                  <a:lnTo>
                    <a:pt x="740" y="1215"/>
                  </a:lnTo>
                  <a:lnTo>
                    <a:pt x="748" y="1209"/>
                  </a:lnTo>
                  <a:lnTo>
                    <a:pt x="754" y="1203"/>
                  </a:lnTo>
                  <a:lnTo>
                    <a:pt x="756" y="1195"/>
                  </a:lnTo>
                  <a:lnTo>
                    <a:pt x="756" y="1189"/>
                  </a:lnTo>
                  <a:lnTo>
                    <a:pt x="754" y="1181"/>
                  </a:lnTo>
                  <a:lnTo>
                    <a:pt x="752" y="1175"/>
                  </a:lnTo>
                  <a:lnTo>
                    <a:pt x="756" y="1173"/>
                  </a:lnTo>
                  <a:lnTo>
                    <a:pt x="764" y="1171"/>
                  </a:lnTo>
                  <a:lnTo>
                    <a:pt x="770" y="1167"/>
                  </a:lnTo>
                  <a:lnTo>
                    <a:pt x="776" y="1161"/>
                  </a:lnTo>
                  <a:lnTo>
                    <a:pt x="776" y="1159"/>
                  </a:lnTo>
                  <a:lnTo>
                    <a:pt x="774" y="1153"/>
                  </a:lnTo>
                  <a:lnTo>
                    <a:pt x="772" y="1149"/>
                  </a:lnTo>
                  <a:lnTo>
                    <a:pt x="768" y="1147"/>
                  </a:lnTo>
                  <a:lnTo>
                    <a:pt x="766" y="1143"/>
                  </a:lnTo>
                  <a:lnTo>
                    <a:pt x="768" y="1141"/>
                  </a:lnTo>
                  <a:lnTo>
                    <a:pt x="776" y="1133"/>
                  </a:lnTo>
                  <a:lnTo>
                    <a:pt x="780" y="1133"/>
                  </a:lnTo>
                  <a:lnTo>
                    <a:pt x="782" y="1129"/>
                  </a:lnTo>
                  <a:lnTo>
                    <a:pt x="784" y="1127"/>
                  </a:lnTo>
                  <a:lnTo>
                    <a:pt x="792" y="1117"/>
                  </a:lnTo>
                  <a:lnTo>
                    <a:pt x="796" y="1111"/>
                  </a:lnTo>
                  <a:lnTo>
                    <a:pt x="800" y="1107"/>
                  </a:lnTo>
                  <a:lnTo>
                    <a:pt x="806" y="1105"/>
                  </a:lnTo>
                  <a:lnTo>
                    <a:pt x="808" y="1103"/>
                  </a:lnTo>
                  <a:lnTo>
                    <a:pt x="806" y="1095"/>
                  </a:lnTo>
                  <a:lnTo>
                    <a:pt x="806" y="1095"/>
                  </a:lnTo>
                  <a:lnTo>
                    <a:pt x="806" y="1095"/>
                  </a:lnTo>
                  <a:lnTo>
                    <a:pt x="804" y="1093"/>
                  </a:lnTo>
                  <a:lnTo>
                    <a:pt x="802" y="1091"/>
                  </a:lnTo>
                  <a:lnTo>
                    <a:pt x="806" y="1087"/>
                  </a:lnTo>
                  <a:lnTo>
                    <a:pt x="806" y="1083"/>
                  </a:lnTo>
                  <a:lnTo>
                    <a:pt x="806" y="1081"/>
                  </a:lnTo>
                  <a:lnTo>
                    <a:pt x="806" y="1077"/>
                  </a:lnTo>
                  <a:lnTo>
                    <a:pt x="808" y="1075"/>
                  </a:lnTo>
                  <a:lnTo>
                    <a:pt x="810" y="1075"/>
                  </a:lnTo>
                  <a:lnTo>
                    <a:pt x="806" y="1073"/>
                  </a:lnTo>
                  <a:lnTo>
                    <a:pt x="800" y="1073"/>
                  </a:lnTo>
                  <a:lnTo>
                    <a:pt x="800" y="1075"/>
                  </a:lnTo>
                  <a:lnTo>
                    <a:pt x="798" y="1075"/>
                  </a:lnTo>
                  <a:lnTo>
                    <a:pt x="794" y="1075"/>
                  </a:lnTo>
                  <a:lnTo>
                    <a:pt x="792" y="1075"/>
                  </a:lnTo>
                  <a:lnTo>
                    <a:pt x="788" y="1075"/>
                  </a:lnTo>
                  <a:lnTo>
                    <a:pt x="784" y="1073"/>
                  </a:lnTo>
                  <a:lnTo>
                    <a:pt x="782" y="1073"/>
                  </a:lnTo>
                  <a:lnTo>
                    <a:pt x="780" y="1071"/>
                  </a:lnTo>
                  <a:lnTo>
                    <a:pt x="776" y="1071"/>
                  </a:lnTo>
                  <a:lnTo>
                    <a:pt x="776" y="1069"/>
                  </a:lnTo>
                  <a:lnTo>
                    <a:pt x="780" y="1065"/>
                  </a:lnTo>
                  <a:lnTo>
                    <a:pt x="780" y="1063"/>
                  </a:lnTo>
                  <a:lnTo>
                    <a:pt x="780" y="1061"/>
                  </a:lnTo>
                  <a:lnTo>
                    <a:pt x="776" y="1059"/>
                  </a:lnTo>
                  <a:lnTo>
                    <a:pt x="772" y="1057"/>
                  </a:lnTo>
                  <a:lnTo>
                    <a:pt x="768" y="1057"/>
                  </a:lnTo>
                  <a:lnTo>
                    <a:pt x="764" y="1055"/>
                  </a:lnTo>
                  <a:lnTo>
                    <a:pt x="764" y="1053"/>
                  </a:lnTo>
                  <a:lnTo>
                    <a:pt x="762" y="1051"/>
                  </a:lnTo>
                  <a:lnTo>
                    <a:pt x="760" y="1051"/>
                  </a:lnTo>
                  <a:lnTo>
                    <a:pt x="758" y="1049"/>
                  </a:lnTo>
                  <a:lnTo>
                    <a:pt x="756" y="1047"/>
                  </a:lnTo>
                  <a:lnTo>
                    <a:pt x="754" y="1045"/>
                  </a:lnTo>
                  <a:lnTo>
                    <a:pt x="754" y="1047"/>
                  </a:lnTo>
                  <a:lnTo>
                    <a:pt x="752" y="1047"/>
                  </a:lnTo>
                  <a:lnTo>
                    <a:pt x="752" y="1049"/>
                  </a:lnTo>
                  <a:lnTo>
                    <a:pt x="754" y="1051"/>
                  </a:lnTo>
                  <a:lnTo>
                    <a:pt x="754" y="1051"/>
                  </a:lnTo>
                  <a:lnTo>
                    <a:pt x="754" y="1053"/>
                  </a:lnTo>
                  <a:lnTo>
                    <a:pt x="754" y="1053"/>
                  </a:lnTo>
                  <a:lnTo>
                    <a:pt x="752" y="1053"/>
                  </a:lnTo>
                  <a:lnTo>
                    <a:pt x="752" y="1053"/>
                  </a:lnTo>
                  <a:lnTo>
                    <a:pt x="750" y="1051"/>
                  </a:lnTo>
                  <a:lnTo>
                    <a:pt x="748" y="1051"/>
                  </a:lnTo>
                  <a:lnTo>
                    <a:pt x="746" y="1049"/>
                  </a:lnTo>
                  <a:lnTo>
                    <a:pt x="744" y="1047"/>
                  </a:lnTo>
                  <a:lnTo>
                    <a:pt x="742" y="1047"/>
                  </a:lnTo>
                  <a:lnTo>
                    <a:pt x="742" y="1045"/>
                  </a:lnTo>
                  <a:lnTo>
                    <a:pt x="742" y="1043"/>
                  </a:lnTo>
                  <a:lnTo>
                    <a:pt x="742" y="1041"/>
                  </a:lnTo>
                  <a:lnTo>
                    <a:pt x="742" y="1039"/>
                  </a:lnTo>
                  <a:lnTo>
                    <a:pt x="744" y="1037"/>
                  </a:lnTo>
                  <a:lnTo>
                    <a:pt x="746" y="1035"/>
                  </a:lnTo>
                  <a:lnTo>
                    <a:pt x="748" y="1033"/>
                  </a:lnTo>
                  <a:lnTo>
                    <a:pt x="752" y="1035"/>
                  </a:lnTo>
                  <a:lnTo>
                    <a:pt x="756" y="1037"/>
                  </a:lnTo>
                  <a:lnTo>
                    <a:pt x="756" y="1037"/>
                  </a:lnTo>
                  <a:lnTo>
                    <a:pt x="756" y="1033"/>
                  </a:lnTo>
                  <a:lnTo>
                    <a:pt x="752" y="1027"/>
                  </a:lnTo>
                  <a:lnTo>
                    <a:pt x="748" y="1019"/>
                  </a:lnTo>
                  <a:lnTo>
                    <a:pt x="748" y="1017"/>
                  </a:lnTo>
                  <a:lnTo>
                    <a:pt x="748" y="1015"/>
                  </a:lnTo>
                  <a:lnTo>
                    <a:pt x="752" y="1013"/>
                  </a:lnTo>
                  <a:lnTo>
                    <a:pt x="754" y="1013"/>
                  </a:lnTo>
                  <a:lnTo>
                    <a:pt x="754" y="1011"/>
                  </a:lnTo>
                  <a:lnTo>
                    <a:pt x="756" y="1011"/>
                  </a:lnTo>
                  <a:lnTo>
                    <a:pt x="758" y="1009"/>
                  </a:lnTo>
                  <a:lnTo>
                    <a:pt x="760" y="1009"/>
                  </a:lnTo>
                  <a:lnTo>
                    <a:pt x="764" y="1009"/>
                  </a:lnTo>
                  <a:lnTo>
                    <a:pt x="768" y="1013"/>
                  </a:lnTo>
                  <a:lnTo>
                    <a:pt x="774" y="1015"/>
                  </a:lnTo>
                  <a:lnTo>
                    <a:pt x="780" y="1023"/>
                  </a:lnTo>
                  <a:lnTo>
                    <a:pt x="784" y="1025"/>
                  </a:lnTo>
                  <a:lnTo>
                    <a:pt x="788" y="1017"/>
                  </a:lnTo>
                  <a:lnTo>
                    <a:pt x="792" y="1013"/>
                  </a:lnTo>
                  <a:lnTo>
                    <a:pt x="798" y="1007"/>
                  </a:lnTo>
                  <a:lnTo>
                    <a:pt x="796" y="1003"/>
                  </a:lnTo>
                  <a:lnTo>
                    <a:pt x="788" y="993"/>
                  </a:lnTo>
                  <a:lnTo>
                    <a:pt x="784" y="987"/>
                  </a:lnTo>
                  <a:lnTo>
                    <a:pt x="784" y="983"/>
                  </a:lnTo>
                  <a:lnTo>
                    <a:pt x="786" y="977"/>
                  </a:lnTo>
                  <a:lnTo>
                    <a:pt x="790" y="973"/>
                  </a:lnTo>
                  <a:lnTo>
                    <a:pt x="792" y="967"/>
                  </a:lnTo>
                  <a:lnTo>
                    <a:pt x="794" y="963"/>
                  </a:lnTo>
                  <a:lnTo>
                    <a:pt x="796" y="961"/>
                  </a:lnTo>
                  <a:lnTo>
                    <a:pt x="798" y="959"/>
                  </a:lnTo>
                  <a:lnTo>
                    <a:pt x="800" y="955"/>
                  </a:lnTo>
                  <a:lnTo>
                    <a:pt x="806" y="951"/>
                  </a:lnTo>
                  <a:lnTo>
                    <a:pt x="808" y="947"/>
                  </a:lnTo>
                  <a:lnTo>
                    <a:pt x="808" y="941"/>
                  </a:lnTo>
                  <a:lnTo>
                    <a:pt x="810" y="939"/>
                  </a:lnTo>
                  <a:lnTo>
                    <a:pt x="816" y="935"/>
                  </a:lnTo>
                  <a:lnTo>
                    <a:pt x="818" y="935"/>
                  </a:lnTo>
                  <a:lnTo>
                    <a:pt x="816" y="929"/>
                  </a:lnTo>
                  <a:lnTo>
                    <a:pt x="812" y="923"/>
                  </a:lnTo>
                  <a:lnTo>
                    <a:pt x="810" y="921"/>
                  </a:lnTo>
                  <a:lnTo>
                    <a:pt x="808" y="907"/>
                  </a:lnTo>
                  <a:lnTo>
                    <a:pt x="804" y="901"/>
                  </a:lnTo>
                  <a:lnTo>
                    <a:pt x="806" y="899"/>
                  </a:lnTo>
                  <a:lnTo>
                    <a:pt x="808" y="895"/>
                  </a:lnTo>
                  <a:lnTo>
                    <a:pt x="810" y="889"/>
                  </a:lnTo>
                  <a:lnTo>
                    <a:pt x="810" y="881"/>
                  </a:lnTo>
                  <a:lnTo>
                    <a:pt x="810" y="854"/>
                  </a:lnTo>
                  <a:lnTo>
                    <a:pt x="810" y="848"/>
                  </a:lnTo>
                  <a:lnTo>
                    <a:pt x="814" y="844"/>
                  </a:lnTo>
                  <a:lnTo>
                    <a:pt x="818" y="840"/>
                  </a:lnTo>
                  <a:lnTo>
                    <a:pt x="822" y="838"/>
                  </a:lnTo>
                  <a:lnTo>
                    <a:pt x="824" y="836"/>
                  </a:lnTo>
                  <a:lnTo>
                    <a:pt x="824" y="830"/>
                  </a:lnTo>
                  <a:lnTo>
                    <a:pt x="826" y="826"/>
                  </a:lnTo>
                  <a:lnTo>
                    <a:pt x="830" y="822"/>
                  </a:lnTo>
                  <a:lnTo>
                    <a:pt x="820" y="808"/>
                  </a:lnTo>
                  <a:lnTo>
                    <a:pt x="812" y="794"/>
                  </a:lnTo>
                  <a:lnTo>
                    <a:pt x="806" y="780"/>
                  </a:lnTo>
                  <a:lnTo>
                    <a:pt x="798" y="766"/>
                  </a:lnTo>
                  <a:lnTo>
                    <a:pt x="792" y="756"/>
                  </a:lnTo>
                  <a:lnTo>
                    <a:pt x="784" y="744"/>
                  </a:lnTo>
                  <a:lnTo>
                    <a:pt x="770" y="720"/>
                  </a:lnTo>
                  <a:lnTo>
                    <a:pt x="764" y="720"/>
                  </a:lnTo>
                  <a:lnTo>
                    <a:pt x="754" y="718"/>
                  </a:lnTo>
                  <a:lnTo>
                    <a:pt x="746" y="718"/>
                  </a:lnTo>
                  <a:lnTo>
                    <a:pt x="738" y="720"/>
                  </a:lnTo>
                  <a:lnTo>
                    <a:pt x="728" y="726"/>
                  </a:lnTo>
                  <a:lnTo>
                    <a:pt x="724" y="726"/>
                  </a:lnTo>
                  <a:lnTo>
                    <a:pt x="720" y="726"/>
                  </a:lnTo>
                  <a:lnTo>
                    <a:pt x="718" y="726"/>
                  </a:lnTo>
                  <a:lnTo>
                    <a:pt x="714" y="724"/>
                  </a:lnTo>
                  <a:lnTo>
                    <a:pt x="708" y="718"/>
                  </a:lnTo>
                  <a:lnTo>
                    <a:pt x="704" y="720"/>
                  </a:lnTo>
                  <a:lnTo>
                    <a:pt x="700" y="722"/>
                  </a:lnTo>
                  <a:lnTo>
                    <a:pt x="702" y="712"/>
                  </a:lnTo>
                  <a:lnTo>
                    <a:pt x="702" y="654"/>
                  </a:lnTo>
                  <a:lnTo>
                    <a:pt x="702" y="644"/>
                  </a:lnTo>
                  <a:lnTo>
                    <a:pt x="704" y="640"/>
                  </a:lnTo>
                  <a:lnTo>
                    <a:pt x="706" y="636"/>
                  </a:lnTo>
                  <a:lnTo>
                    <a:pt x="704" y="630"/>
                  </a:lnTo>
                  <a:lnTo>
                    <a:pt x="704" y="626"/>
                  </a:lnTo>
                  <a:lnTo>
                    <a:pt x="706" y="622"/>
                  </a:lnTo>
                  <a:lnTo>
                    <a:pt x="708" y="618"/>
                  </a:lnTo>
                  <a:lnTo>
                    <a:pt x="704" y="620"/>
                  </a:lnTo>
                  <a:lnTo>
                    <a:pt x="702" y="620"/>
                  </a:lnTo>
                  <a:lnTo>
                    <a:pt x="700" y="624"/>
                  </a:lnTo>
                  <a:lnTo>
                    <a:pt x="694" y="626"/>
                  </a:lnTo>
                  <a:lnTo>
                    <a:pt x="690" y="630"/>
                  </a:lnTo>
                  <a:lnTo>
                    <a:pt x="686" y="634"/>
                  </a:lnTo>
                  <a:lnTo>
                    <a:pt x="680" y="640"/>
                  </a:lnTo>
                  <a:lnTo>
                    <a:pt x="674" y="644"/>
                  </a:lnTo>
                  <a:lnTo>
                    <a:pt x="670" y="646"/>
                  </a:lnTo>
                  <a:lnTo>
                    <a:pt x="662" y="654"/>
                  </a:lnTo>
                  <a:lnTo>
                    <a:pt x="656" y="654"/>
                  </a:lnTo>
                  <a:lnTo>
                    <a:pt x="638" y="656"/>
                  </a:lnTo>
                  <a:lnTo>
                    <a:pt x="620" y="656"/>
                  </a:lnTo>
                  <a:lnTo>
                    <a:pt x="600" y="656"/>
                  </a:lnTo>
                  <a:lnTo>
                    <a:pt x="600" y="650"/>
                  </a:lnTo>
                  <a:lnTo>
                    <a:pt x="600" y="646"/>
                  </a:lnTo>
                  <a:lnTo>
                    <a:pt x="594" y="640"/>
                  </a:lnTo>
                  <a:lnTo>
                    <a:pt x="594" y="634"/>
                  </a:lnTo>
                  <a:lnTo>
                    <a:pt x="594" y="630"/>
                  </a:lnTo>
                  <a:lnTo>
                    <a:pt x="592" y="626"/>
                  </a:lnTo>
                  <a:lnTo>
                    <a:pt x="588" y="622"/>
                  </a:lnTo>
                  <a:lnTo>
                    <a:pt x="582" y="622"/>
                  </a:lnTo>
                  <a:lnTo>
                    <a:pt x="572" y="618"/>
                  </a:lnTo>
                  <a:lnTo>
                    <a:pt x="558" y="616"/>
                  </a:lnTo>
                  <a:lnTo>
                    <a:pt x="546" y="616"/>
                  </a:lnTo>
                  <a:lnTo>
                    <a:pt x="532" y="616"/>
                  </a:lnTo>
                  <a:lnTo>
                    <a:pt x="540" y="606"/>
                  </a:lnTo>
                  <a:lnTo>
                    <a:pt x="548" y="598"/>
                  </a:lnTo>
                  <a:lnTo>
                    <a:pt x="548" y="588"/>
                  </a:lnTo>
                  <a:lnTo>
                    <a:pt x="542" y="582"/>
                  </a:lnTo>
                  <a:lnTo>
                    <a:pt x="538" y="576"/>
                  </a:lnTo>
                  <a:lnTo>
                    <a:pt x="534" y="570"/>
                  </a:lnTo>
                  <a:lnTo>
                    <a:pt x="526" y="566"/>
                  </a:lnTo>
                  <a:lnTo>
                    <a:pt x="522" y="560"/>
                  </a:lnTo>
                  <a:lnTo>
                    <a:pt x="524" y="556"/>
                  </a:lnTo>
                  <a:lnTo>
                    <a:pt x="522" y="554"/>
                  </a:lnTo>
                  <a:lnTo>
                    <a:pt x="520" y="552"/>
                  </a:lnTo>
                  <a:lnTo>
                    <a:pt x="518" y="550"/>
                  </a:lnTo>
                  <a:lnTo>
                    <a:pt x="514" y="548"/>
                  </a:lnTo>
                  <a:lnTo>
                    <a:pt x="510" y="546"/>
                  </a:lnTo>
                  <a:lnTo>
                    <a:pt x="510" y="542"/>
                  </a:lnTo>
                  <a:lnTo>
                    <a:pt x="510" y="540"/>
                  </a:lnTo>
                  <a:lnTo>
                    <a:pt x="506" y="536"/>
                  </a:lnTo>
                  <a:lnTo>
                    <a:pt x="506" y="532"/>
                  </a:lnTo>
                  <a:lnTo>
                    <a:pt x="504" y="528"/>
                  </a:lnTo>
                  <a:lnTo>
                    <a:pt x="502" y="524"/>
                  </a:lnTo>
                  <a:lnTo>
                    <a:pt x="500" y="522"/>
                  </a:lnTo>
                  <a:lnTo>
                    <a:pt x="496" y="518"/>
                  </a:lnTo>
                  <a:lnTo>
                    <a:pt x="496" y="516"/>
                  </a:lnTo>
                  <a:lnTo>
                    <a:pt x="498" y="514"/>
                  </a:lnTo>
                  <a:lnTo>
                    <a:pt x="500" y="512"/>
                  </a:lnTo>
                  <a:lnTo>
                    <a:pt x="500" y="508"/>
                  </a:lnTo>
                  <a:lnTo>
                    <a:pt x="496" y="506"/>
                  </a:lnTo>
                  <a:lnTo>
                    <a:pt x="492" y="506"/>
                  </a:lnTo>
                  <a:lnTo>
                    <a:pt x="488" y="500"/>
                  </a:lnTo>
                  <a:lnTo>
                    <a:pt x="484" y="498"/>
                  </a:lnTo>
                  <a:lnTo>
                    <a:pt x="482" y="496"/>
                  </a:lnTo>
                  <a:lnTo>
                    <a:pt x="480" y="494"/>
                  </a:lnTo>
                  <a:lnTo>
                    <a:pt x="482" y="492"/>
                  </a:lnTo>
                  <a:lnTo>
                    <a:pt x="484" y="490"/>
                  </a:lnTo>
                  <a:lnTo>
                    <a:pt x="484" y="486"/>
                  </a:lnTo>
                  <a:lnTo>
                    <a:pt x="484" y="484"/>
                  </a:lnTo>
                  <a:lnTo>
                    <a:pt x="484" y="482"/>
                  </a:lnTo>
                  <a:lnTo>
                    <a:pt x="486" y="480"/>
                  </a:lnTo>
                  <a:lnTo>
                    <a:pt x="488" y="482"/>
                  </a:lnTo>
                  <a:lnTo>
                    <a:pt x="490" y="480"/>
                  </a:lnTo>
                  <a:lnTo>
                    <a:pt x="494" y="480"/>
                  </a:lnTo>
                  <a:lnTo>
                    <a:pt x="498" y="478"/>
                  </a:lnTo>
                  <a:lnTo>
                    <a:pt x="500" y="476"/>
                  </a:lnTo>
                  <a:lnTo>
                    <a:pt x="498" y="474"/>
                  </a:lnTo>
                  <a:lnTo>
                    <a:pt x="496" y="468"/>
                  </a:lnTo>
                  <a:lnTo>
                    <a:pt x="494" y="466"/>
                  </a:lnTo>
                  <a:lnTo>
                    <a:pt x="494" y="462"/>
                  </a:lnTo>
                  <a:lnTo>
                    <a:pt x="496" y="454"/>
                  </a:lnTo>
                  <a:lnTo>
                    <a:pt x="496" y="450"/>
                  </a:lnTo>
                  <a:lnTo>
                    <a:pt x="500" y="446"/>
                  </a:lnTo>
                  <a:lnTo>
                    <a:pt x="514" y="436"/>
                  </a:lnTo>
                  <a:lnTo>
                    <a:pt x="526" y="428"/>
                  </a:lnTo>
                  <a:lnTo>
                    <a:pt x="530" y="428"/>
                  </a:lnTo>
                  <a:lnTo>
                    <a:pt x="534" y="426"/>
                  </a:lnTo>
                  <a:lnTo>
                    <a:pt x="538" y="422"/>
                  </a:lnTo>
                  <a:lnTo>
                    <a:pt x="538" y="418"/>
                  </a:lnTo>
                  <a:lnTo>
                    <a:pt x="538" y="414"/>
                  </a:lnTo>
                  <a:lnTo>
                    <a:pt x="536" y="408"/>
                  </a:lnTo>
                  <a:lnTo>
                    <a:pt x="534" y="400"/>
                  </a:lnTo>
                  <a:lnTo>
                    <a:pt x="530" y="396"/>
                  </a:lnTo>
                  <a:lnTo>
                    <a:pt x="532" y="392"/>
                  </a:lnTo>
                  <a:lnTo>
                    <a:pt x="536" y="386"/>
                  </a:lnTo>
                  <a:lnTo>
                    <a:pt x="542" y="376"/>
                  </a:lnTo>
                  <a:lnTo>
                    <a:pt x="548" y="366"/>
                  </a:lnTo>
                  <a:lnTo>
                    <a:pt x="548" y="364"/>
                  </a:lnTo>
                  <a:lnTo>
                    <a:pt x="550" y="358"/>
                  </a:lnTo>
                  <a:lnTo>
                    <a:pt x="552" y="344"/>
                  </a:lnTo>
                  <a:lnTo>
                    <a:pt x="554" y="338"/>
                  </a:lnTo>
                  <a:lnTo>
                    <a:pt x="552" y="336"/>
                  </a:lnTo>
                  <a:lnTo>
                    <a:pt x="554" y="332"/>
                  </a:lnTo>
                  <a:lnTo>
                    <a:pt x="558" y="330"/>
                  </a:lnTo>
                  <a:lnTo>
                    <a:pt x="566" y="330"/>
                  </a:lnTo>
                  <a:lnTo>
                    <a:pt x="572" y="326"/>
                  </a:lnTo>
                  <a:lnTo>
                    <a:pt x="582" y="318"/>
                  </a:lnTo>
                  <a:lnTo>
                    <a:pt x="588" y="310"/>
                  </a:lnTo>
                  <a:lnTo>
                    <a:pt x="596" y="308"/>
                  </a:lnTo>
                  <a:lnTo>
                    <a:pt x="606" y="302"/>
                  </a:lnTo>
                  <a:lnTo>
                    <a:pt x="614" y="296"/>
                  </a:lnTo>
                  <a:lnTo>
                    <a:pt x="622" y="292"/>
                  </a:lnTo>
                  <a:lnTo>
                    <a:pt x="634" y="292"/>
                  </a:lnTo>
                  <a:lnTo>
                    <a:pt x="644" y="290"/>
                  </a:lnTo>
                  <a:lnTo>
                    <a:pt x="648" y="288"/>
                  </a:lnTo>
                  <a:lnTo>
                    <a:pt x="656" y="286"/>
                  </a:lnTo>
                  <a:lnTo>
                    <a:pt x="662" y="284"/>
                  </a:lnTo>
                  <a:lnTo>
                    <a:pt x="668" y="284"/>
                  </a:lnTo>
                  <a:lnTo>
                    <a:pt x="680" y="282"/>
                  </a:lnTo>
                  <a:lnTo>
                    <a:pt x="684" y="278"/>
                  </a:lnTo>
                  <a:lnTo>
                    <a:pt x="686" y="274"/>
                  </a:lnTo>
                  <a:lnTo>
                    <a:pt x="690" y="270"/>
                  </a:lnTo>
                  <a:lnTo>
                    <a:pt x="696" y="270"/>
                  </a:lnTo>
                  <a:lnTo>
                    <a:pt x="702" y="270"/>
                  </a:lnTo>
                  <a:lnTo>
                    <a:pt x="708" y="270"/>
                  </a:lnTo>
                  <a:lnTo>
                    <a:pt x="716" y="268"/>
                  </a:lnTo>
                  <a:lnTo>
                    <a:pt x="720" y="272"/>
                  </a:lnTo>
                  <a:lnTo>
                    <a:pt x="722" y="276"/>
                  </a:lnTo>
                  <a:lnTo>
                    <a:pt x="728" y="278"/>
                  </a:lnTo>
                  <a:lnTo>
                    <a:pt x="732" y="278"/>
                  </a:lnTo>
                  <a:lnTo>
                    <a:pt x="734" y="278"/>
                  </a:lnTo>
                  <a:lnTo>
                    <a:pt x="740" y="280"/>
                  </a:lnTo>
                  <a:lnTo>
                    <a:pt x="742" y="280"/>
                  </a:lnTo>
                  <a:lnTo>
                    <a:pt x="744" y="278"/>
                  </a:lnTo>
                  <a:lnTo>
                    <a:pt x="746" y="27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8" name="Freeform 276">
              <a:extLst>
                <a:ext uri="{FF2B5EF4-FFF2-40B4-BE49-F238E27FC236}">
                  <a16:creationId xmlns:a16="http://schemas.microsoft.com/office/drawing/2014/main" id="{E4E36FB2-59F8-4967-BB4E-88504548D4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253609" y="4870569"/>
              <a:ext cx="243598" cy="410877"/>
            </a:xfrm>
            <a:custGeom>
              <a:avLst/>
              <a:gdLst>
                <a:gd name="connsiteX0" fmla="*/ 500340 w 1505784"/>
                <a:gd name="connsiteY0" fmla="*/ 2496926 h 2539810"/>
                <a:gd name="connsiteX1" fmla="*/ 505104 w 1505784"/>
                <a:gd name="connsiteY1" fmla="*/ 2496926 h 2539810"/>
                <a:gd name="connsiteX2" fmla="*/ 509872 w 1505784"/>
                <a:gd name="connsiteY2" fmla="*/ 2506454 h 2539810"/>
                <a:gd name="connsiteX3" fmla="*/ 514636 w 1505784"/>
                <a:gd name="connsiteY3" fmla="*/ 2511222 h 2539810"/>
                <a:gd name="connsiteX4" fmla="*/ 509872 w 1505784"/>
                <a:gd name="connsiteY4" fmla="*/ 2520750 h 2539810"/>
                <a:gd name="connsiteX5" fmla="*/ 505104 w 1505784"/>
                <a:gd name="connsiteY5" fmla="*/ 2525514 h 2539810"/>
                <a:gd name="connsiteX6" fmla="*/ 495576 w 1505784"/>
                <a:gd name="connsiteY6" fmla="*/ 2520750 h 2539810"/>
                <a:gd name="connsiteX7" fmla="*/ 490812 w 1505784"/>
                <a:gd name="connsiteY7" fmla="*/ 2515986 h 2539810"/>
                <a:gd name="connsiteX8" fmla="*/ 490812 w 1505784"/>
                <a:gd name="connsiteY8" fmla="*/ 2525514 h 2539810"/>
                <a:gd name="connsiteX9" fmla="*/ 476516 w 1505784"/>
                <a:gd name="connsiteY9" fmla="*/ 2525514 h 2539810"/>
                <a:gd name="connsiteX10" fmla="*/ 466984 w 1505784"/>
                <a:gd name="connsiteY10" fmla="*/ 2539810 h 2539810"/>
                <a:gd name="connsiteX11" fmla="*/ 452688 w 1505784"/>
                <a:gd name="connsiteY11" fmla="*/ 2539810 h 2539810"/>
                <a:gd name="connsiteX12" fmla="*/ 447924 w 1505784"/>
                <a:gd name="connsiteY12" fmla="*/ 2539810 h 2539810"/>
                <a:gd name="connsiteX13" fmla="*/ 447924 w 1505784"/>
                <a:gd name="connsiteY13" fmla="*/ 2530282 h 2539810"/>
                <a:gd name="connsiteX14" fmla="*/ 471748 w 1505784"/>
                <a:gd name="connsiteY14" fmla="*/ 2515986 h 2539810"/>
                <a:gd name="connsiteX15" fmla="*/ 486044 w 1505784"/>
                <a:gd name="connsiteY15" fmla="*/ 2511222 h 2539810"/>
                <a:gd name="connsiteX16" fmla="*/ 633764 w 1505784"/>
                <a:gd name="connsiteY16" fmla="*/ 2377798 h 2539810"/>
                <a:gd name="connsiteX17" fmla="*/ 652824 w 1505784"/>
                <a:gd name="connsiteY17" fmla="*/ 2382562 h 2539810"/>
                <a:gd name="connsiteX18" fmla="*/ 662356 w 1505784"/>
                <a:gd name="connsiteY18" fmla="*/ 2392094 h 2539810"/>
                <a:gd name="connsiteX19" fmla="*/ 671884 w 1505784"/>
                <a:gd name="connsiteY19" fmla="*/ 2387326 h 2539810"/>
                <a:gd name="connsiteX20" fmla="*/ 690944 w 1505784"/>
                <a:gd name="connsiteY20" fmla="*/ 2392094 h 2539810"/>
                <a:gd name="connsiteX21" fmla="*/ 695712 w 1505784"/>
                <a:gd name="connsiteY21" fmla="*/ 2396858 h 2539810"/>
                <a:gd name="connsiteX22" fmla="*/ 695712 w 1505784"/>
                <a:gd name="connsiteY22" fmla="*/ 2401622 h 2539810"/>
                <a:gd name="connsiteX23" fmla="*/ 676648 w 1505784"/>
                <a:gd name="connsiteY23" fmla="*/ 2415918 h 2539810"/>
                <a:gd name="connsiteX24" fmla="*/ 662356 w 1505784"/>
                <a:gd name="connsiteY24" fmla="*/ 2401622 h 2539810"/>
                <a:gd name="connsiteX25" fmla="*/ 643292 w 1505784"/>
                <a:gd name="connsiteY25" fmla="*/ 2411154 h 2539810"/>
                <a:gd name="connsiteX26" fmla="*/ 633764 w 1505784"/>
                <a:gd name="connsiteY26" fmla="*/ 2406386 h 2539810"/>
                <a:gd name="connsiteX27" fmla="*/ 619468 w 1505784"/>
                <a:gd name="connsiteY27" fmla="*/ 2411154 h 2539810"/>
                <a:gd name="connsiteX28" fmla="*/ 609936 w 1505784"/>
                <a:gd name="connsiteY28" fmla="*/ 2401622 h 2539810"/>
                <a:gd name="connsiteX29" fmla="*/ 614704 w 1505784"/>
                <a:gd name="connsiteY29" fmla="*/ 2392094 h 2539810"/>
                <a:gd name="connsiteX30" fmla="*/ 795776 w 1505784"/>
                <a:gd name="connsiteY30" fmla="*/ 2277730 h 2539810"/>
                <a:gd name="connsiteX31" fmla="*/ 829132 w 1505784"/>
                <a:gd name="connsiteY31" fmla="*/ 2292026 h 2539810"/>
                <a:gd name="connsiteX32" fmla="*/ 838664 w 1505784"/>
                <a:gd name="connsiteY32" fmla="*/ 2296790 h 2539810"/>
                <a:gd name="connsiteX33" fmla="*/ 824368 w 1505784"/>
                <a:gd name="connsiteY33" fmla="*/ 2301554 h 2539810"/>
                <a:gd name="connsiteX34" fmla="*/ 819604 w 1505784"/>
                <a:gd name="connsiteY34" fmla="*/ 2315850 h 2539810"/>
                <a:gd name="connsiteX35" fmla="*/ 800544 w 1505784"/>
                <a:gd name="connsiteY35" fmla="*/ 2325378 h 2539810"/>
                <a:gd name="connsiteX36" fmla="*/ 786248 w 1505784"/>
                <a:gd name="connsiteY36" fmla="*/ 2330146 h 2539810"/>
                <a:gd name="connsiteX37" fmla="*/ 781484 w 1505784"/>
                <a:gd name="connsiteY37" fmla="*/ 2325378 h 2539810"/>
                <a:gd name="connsiteX38" fmla="*/ 767188 w 1505784"/>
                <a:gd name="connsiteY38" fmla="*/ 2311086 h 2539810"/>
                <a:gd name="connsiteX39" fmla="*/ 767188 w 1505784"/>
                <a:gd name="connsiteY39" fmla="*/ 2306318 h 2539810"/>
                <a:gd name="connsiteX40" fmla="*/ 757656 w 1505784"/>
                <a:gd name="connsiteY40" fmla="*/ 2296790 h 2539810"/>
                <a:gd name="connsiteX41" fmla="*/ 762424 w 1505784"/>
                <a:gd name="connsiteY41" fmla="*/ 2287258 h 2539810"/>
                <a:gd name="connsiteX42" fmla="*/ 771952 w 1505784"/>
                <a:gd name="connsiteY42" fmla="*/ 2287258 h 2539810"/>
                <a:gd name="connsiteX43" fmla="*/ 1367592 w 1505784"/>
                <a:gd name="connsiteY43" fmla="*/ 2206254 h 2539810"/>
                <a:gd name="connsiteX44" fmla="*/ 1377124 w 1505784"/>
                <a:gd name="connsiteY44" fmla="*/ 2215782 h 2539810"/>
                <a:gd name="connsiteX45" fmla="*/ 1377124 w 1505784"/>
                <a:gd name="connsiteY45" fmla="*/ 2239606 h 2539810"/>
                <a:gd name="connsiteX46" fmla="*/ 1377124 w 1505784"/>
                <a:gd name="connsiteY46" fmla="*/ 2249138 h 2539810"/>
                <a:gd name="connsiteX47" fmla="*/ 1367592 w 1505784"/>
                <a:gd name="connsiteY47" fmla="*/ 2230078 h 2539810"/>
                <a:gd name="connsiteX48" fmla="*/ 1362828 w 1505784"/>
                <a:gd name="connsiteY48" fmla="*/ 2225314 h 2539810"/>
                <a:gd name="connsiteX49" fmla="*/ 914908 w 1505784"/>
                <a:gd name="connsiteY49" fmla="*/ 2168130 h 2539810"/>
                <a:gd name="connsiteX50" fmla="*/ 924436 w 1505784"/>
                <a:gd name="connsiteY50" fmla="*/ 2172898 h 2539810"/>
                <a:gd name="connsiteX51" fmla="*/ 929200 w 1505784"/>
                <a:gd name="connsiteY51" fmla="*/ 2168130 h 2539810"/>
                <a:gd name="connsiteX52" fmla="*/ 933968 w 1505784"/>
                <a:gd name="connsiteY52" fmla="*/ 2172898 h 2539810"/>
                <a:gd name="connsiteX53" fmla="*/ 933968 w 1505784"/>
                <a:gd name="connsiteY53" fmla="*/ 2177662 h 2539810"/>
                <a:gd name="connsiteX54" fmla="*/ 919672 w 1505784"/>
                <a:gd name="connsiteY54" fmla="*/ 2187194 h 2539810"/>
                <a:gd name="connsiteX55" fmla="*/ 910140 w 1505784"/>
                <a:gd name="connsiteY55" fmla="*/ 2187194 h 2539810"/>
                <a:gd name="connsiteX56" fmla="*/ 910140 w 1505784"/>
                <a:gd name="connsiteY56" fmla="*/ 2172898 h 2539810"/>
                <a:gd name="connsiteX57" fmla="*/ 4768 w 1505784"/>
                <a:gd name="connsiteY57" fmla="*/ 2068066 h 2539810"/>
                <a:gd name="connsiteX58" fmla="*/ 19064 w 1505784"/>
                <a:gd name="connsiteY58" fmla="*/ 2068066 h 2539810"/>
                <a:gd name="connsiteX59" fmla="*/ 19064 w 1505784"/>
                <a:gd name="connsiteY59" fmla="*/ 2096654 h 2539810"/>
                <a:gd name="connsiteX60" fmla="*/ 9532 w 1505784"/>
                <a:gd name="connsiteY60" fmla="*/ 2110950 h 2539810"/>
                <a:gd name="connsiteX61" fmla="*/ 0 w 1505784"/>
                <a:gd name="connsiteY61" fmla="*/ 2096654 h 2539810"/>
                <a:gd name="connsiteX62" fmla="*/ 0 w 1505784"/>
                <a:gd name="connsiteY62" fmla="*/ 2077594 h 2539810"/>
                <a:gd name="connsiteX63" fmla="*/ 47652 w 1505784"/>
                <a:gd name="connsiteY63" fmla="*/ 2029942 h 2539810"/>
                <a:gd name="connsiteX64" fmla="*/ 57184 w 1505784"/>
                <a:gd name="connsiteY64" fmla="*/ 2029942 h 2539810"/>
                <a:gd name="connsiteX65" fmla="*/ 61948 w 1505784"/>
                <a:gd name="connsiteY65" fmla="*/ 2034710 h 2539810"/>
                <a:gd name="connsiteX66" fmla="*/ 61948 w 1505784"/>
                <a:gd name="connsiteY66" fmla="*/ 2044238 h 2539810"/>
                <a:gd name="connsiteX67" fmla="*/ 47652 w 1505784"/>
                <a:gd name="connsiteY67" fmla="*/ 2049006 h 2539810"/>
                <a:gd name="connsiteX68" fmla="*/ 47652 w 1505784"/>
                <a:gd name="connsiteY68" fmla="*/ 2039474 h 2539810"/>
                <a:gd name="connsiteX69" fmla="*/ 1210344 w 1505784"/>
                <a:gd name="connsiteY69" fmla="*/ 1882226 h 2539810"/>
                <a:gd name="connsiteX70" fmla="*/ 1215108 w 1505784"/>
                <a:gd name="connsiteY70" fmla="*/ 1882226 h 2539810"/>
                <a:gd name="connsiteX71" fmla="*/ 1219876 w 1505784"/>
                <a:gd name="connsiteY71" fmla="*/ 1891754 h 2539810"/>
                <a:gd name="connsiteX72" fmla="*/ 1224640 w 1505784"/>
                <a:gd name="connsiteY72" fmla="*/ 1896518 h 2539810"/>
                <a:gd name="connsiteX73" fmla="*/ 1219876 w 1505784"/>
                <a:gd name="connsiteY73" fmla="*/ 1906050 h 2539810"/>
                <a:gd name="connsiteX74" fmla="*/ 1200816 w 1505784"/>
                <a:gd name="connsiteY74" fmla="*/ 1901286 h 2539810"/>
                <a:gd name="connsiteX75" fmla="*/ 1200816 w 1505784"/>
                <a:gd name="connsiteY75" fmla="*/ 1891754 h 2539810"/>
                <a:gd name="connsiteX76" fmla="*/ 1200816 w 1505784"/>
                <a:gd name="connsiteY76" fmla="*/ 1886990 h 2539810"/>
                <a:gd name="connsiteX77" fmla="*/ 1038800 w 1505784"/>
                <a:gd name="connsiteY77" fmla="*/ 1877458 h 2539810"/>
                <a:gd name="connsiteX78" fmla="*/ 1043564 w 1505784"/>
                <a:gd name="connsiteY78" fmla="*/ 1877458 h 2539810"/>
                <a:gd name="connsiteX79" fmla="*/ 1053096 w 1505784"/>
                <a:gd name="connsiteY79" fmla="*/ 1882226 h 2539810"/>
                <a:gd name="connsiteX80" fmla="*/ 1053096 w 1505784"/>
                <a:gd name="connsiteY80" fmla="*/ 1901286 h 2539810"/>
                <a:gd name="connsiteX81" fmla="*/ 1038800 w 1505784"/>
                <a:gd name="connsiteY81" fmla="*/ 1906050 h 2539810"/>
                <a:gd name="connsiteX82" fmla="*/ 1024504 w 1505784"/>
                <a:gd name="connsiteY82" fmla="*/ 1901286 h 2539810"/>
                <a:gd name="connsiteX83" fmla="*/ 1019740 w 1505784"/>
                <a:gd name="connsiteY83" fmla="*/ 1891754 h 2539810"/>
                <a:gd name="connsiteX84" fmla="*/ 1019740 w 1505784"/>
                <a:gd name="connsiteY84" fmla="*/ 1886990 h 2539810"/>
                <a:gd name="connsiteX85" fmla="*/ 1024504 w 1505784"/>
                <a:gd name="connsiteY85" fmla="*/ 1886990 h 2539810"/>
                <a:gd name="connsiteX86" fmla="*/ 1405712 w 1505784"/>
                <a:gd name="connsiteY86" fmla="*/ 1801218 h 2539810"/>
                <a:gd name="connsiteX87" fmla="*/ 1410480 w 1505784"/>
                <a:gd name="connsiteY87" fmla="*/ 1810746 h 2539810"/>
                <a:gd name="connsiteX88" fmla="*/ 1405712 w 1505784"/>
                <a:gd name="connsiteY88" fmla="*/ 1825042 h 2539810"/>
                <a:gd name="connsiteX89" fmla="*/ 1405712 w 1505784"/>
                <a:gd name="connsiteY89" fmla="*/ 1829810 h 2539810"/>
                <a:gd name="connsiteX90" fmla="*/ 1400948 w 1505784"/>
                <a:gd name="connsiteY90" fmla="*/ 1820278 h 2539810"/>
                <a:gd name="connsiteX91" fmla="*/ 1329472 w 1505784"/>
                <a:gd name="connsiteY91" fmla="*/ 1801218 h 2539810"/>
                <a:gd name="connsiteX92" fmla="*/ 1334236 w 1505784"/>
                <a:gd name="connsiteY92" fmla="*/ 1801218 h 2539810"/>
                <a:gd name="connsiteX93" fmla="*/ 1353296 w 1505784"/>
                <a:gd name="connsiteY93" fmla="*/ 1815514 h 2539810"/>
                <a:gd name="connsiteX94" fmla="*/ 1391420 w 1505784"/>
                <a:gd name="connsiteY94" fmla="*/ 1839338 h 2539810"/>
                <a:gd name="connsiteX95" fmla="*/ 1405716 w 1505784"/>
                <a:gd name="connsiteY95" fmla="*/ 1853634 h 2539810"/>
                <a:gd name="connsiteX96" fmla="*/ 1410480 w 1505784"/>
                <a:gd name="connsiteY96" fmla="*/ 1867930 h 2539810"/>
                <a:gd name="connsiteX97" fmla="*/ 1424776 w 1505784"/>
                <a:gd name="connsiteY97" fmla="*/ 1877458 h 2539810"/>
                <a:gd name="connsiteX98" fmla="*/ 1439072 w 1505784"/>
                <a:gd name="connsiteY98" fmla="*/ 1877458 h 2539810"/>
                <a:gd name="connsiteX99" fmla="*/ 1439072 w 1505784"/>
                <a:gd name="connsiteY99" fmla="*/ 1901286 h 2539810"/>
                <a:gd name="connsiteX100" fmla="*/ 1443836 w 1505784"/>
                <a:gd name="connsiteY100" fmla="*/ 1906050 h 2539810"/>
                <a:gd name="connsiteX101" fmla="*/ 1458132 w 1505784"/>
                <a:gd name="connsiteY101" fmla="*/ 1929874 h 2539810"/>
                <a:gd name="connsiteX102" fmla="*/ 1462896 w 1505784"/>
                <a:gd name="connsiteY102" fmla="*/ 1944170 h 2539810"/>
                <a:gd name="connsiteX103" fmla="*/ 1453364 w 1505784"/>
                <a:gd name="connsiteY103" fmla="*/ 1958466 h 2539810"/>
                <a:gd name="connsiteX104" fmla="*/ 1443836 w 1505784"/>
                <a:gd name="connsiteY104" fmla="*/ 1967998 h 2539810"/>
                <a:gd name="connsiteX105" fmla="*/ 1434304 w 1505784"/>
                <a:gd name="connsiteY105" fmla="*/ 1977526 h 2539810"/>
                <a:gd name="connsiteX106" fmla="*/ 1434304 w 1505784"/>
                <a:gd name="connsiteY106" fmla="*/ 1982290 h 2539810"/>
                <a:gd name="connsiteX107" fmla="*/ 1439072 w 1505784"/>
                <a:gd name="connsiteY107" fmla="*/ 1991822 h 2539810"/>
                <a:gd name="connsiteX108" fmla="*/ 1453364 w 1505784"/>
                <a:gd name="connsiteY108" fmla="*/ 1991822 h 2539810"/>
                <a:gd name="connsiteX109" fmla="*/ 1467660 w 1505784"/>
                <a:gd name="connsiteY109" fmla="*/ 2001354 h 2539810"/>
                <a:gd name="connsiteX110" fmla="*/ 1472428 w 1505784"/>
                <a:gd name="connsiteY110" fmla="*/ 2025178 h 2539810"/>
                <a:gd name="connsiteX111" fmla="*/ 1481956 w 1505784"/>
                <a:gd name="connsiteY111" fmla="*/ 2044238 h 2539810"/>
                <a:gd name="connsiteX112" fmla="*/ 1481956 w 1505784"/>
                <a:gd name="connsiteY112" fmla="*/ 2053770 h 2539810"/>
                <a:gd name="connsiteX113" fmla="*/ 1477192 w 1505784"/>
                <a:gd name="connsiteY113" fmla="*/ 2091890 h 2539810"/>
                <a:gd name="connsiteX114" fmla="*/ 1477192 w 1505784"/>
                <a:gd name="connsiteY114" fmla="*/ 2106186 h 2539810"/>
                <a:gd name="connsiteX115" fmla="*/ 1486720 w 1505784"/>
                <a:gd name="connsiteY115" fmla="*/ 2115714 h 2539810"/>
                <a:gd name="connsiteX116" fmla="*/ 1496252 w 1505784"/>
                <a:gd name="connsiteY116" fmla="*/ 2120482 h 2539810"/>
                <a:gd name="connsiteX117" fmla="*/ 1501016 w 1505784"/>
                <a:gd name="connsiteY117" fmla="*/ 2130010 h 2539810"/>
                <a:gd name="connsiteX118" fmla="*/ 1505784 w 1505784"/>
                <a:gd name="connsiteY118" fmla="*/ 2149070 h 2539810"/>
                <a:gd name="connsiteX119" fmla="*/ 1505784 w 1505784"/>
                <a:gd name="connsiteY119" fmla="*/ 2182426 h 2539810"/>
                <a:gd name="connsiteX120" fmla="*/ 1501016 w 1505784"/>
                <a:gd name="connsiteY120" fmla="*/ 2196722 h 2539810"/>
                <a:gd name="connsiteX121" fmla="*/ 1496252 w 1505784"/>
                <a:gd name="connsiteY121" fmla="*/ 2206254 h 2539810"/>
                <a:gd name="connsiteX122" fmla="*/ 1477192 w 1505784"/>
                <a:gd name="connsiteY122" fmla="*/ 2234842 h 2539810"/>
                <a:gd name="connsiteX123" fmla="*/ 1458132 w 1505784"/>
                <a:gd name="connsiteY123" fmla="*/ 2253902 h 2539810"/>
                <a:gd name="connsiteX124" fmla="*/ 1443836 w 1505784"/>
                <a:gd name="connsiteY124" fmla="*/ 2253902 h 2539810"/>
                <a:gd name="connsiteX125" fmla="*/ 1439072 w 1505784"/>
                <a:gd name="connsiteY125" fmla="*/ 2258670 h 2539810"/>
                <a:gd name="connsiteX126" fmla="*/ 1448600 w 1505784"/>
                <a:gd name="connsiteY126" fmla="*/ 2277730 h 2539810"/>
                <a:gd name="connsiteX127" fmla="*/ 1443836 w 1505784"/>
                <a:gd name="connsiteY127" fmla="*/ 2315850 h 2539810"/>
                <a:gd name="connsiteX128" fmla="*/ 1439072 w 1505784"/>
                <a:gd name="connsiteY128" fmla="*/ 2344442 h 2539810"/>
                <a:gd name="connsiteX129" fmla="*/ 1434304 w 1505784"/>
                <a:gd name="connsiteY129" fmla="*/ 2330146 h 2539810"/>
                <a:gd name="connsiteX130" fmla="*/ 1429540 w 1505784"/>
                <a:gd name="connsiteY130" fmla="*/ 2315850 h 2539810"/>
                <a:gd name="connsiteX131" fmla="*/ 1424776 w 1505784"/>
                <a:gd name="connsiteY131" fmla="*/ 2277730 h 2539810"/>
                <a:gd name="connsiteX132" fmla="*/ 1420008 w 1505784"/>
                <a:gd name="connsiteY132" fmla="*/ 2258670 h 2539810"/>
                <a:gd name="connsiteX133" fmla="*/ 1410480 w 1505784"/>
                <a:gd name="connsiteY133" fmla="*/ 2244374 h 2539810"/>
                <a:gd name="connsiteX134" fmla="*/ 1405716 w 1505784"/>
                <a:gd name="connsiteY134" fmla="*/ 2230078 h 2539810"/>
                <a:gd name="connsiteX135" fmla="*/ 1396184 w 1505784"/>
                <a:gd name="connsiteY135" fmla="*/ 2215782 h 2539810"/>
                <a:gd name="connsiteX136" fmla="*/ 1381888 w 1505784"/>
                <a:gd name="connsiteY136" fmla="*/ 2182426 h 2539810"/>
                <a:gd name="connsiteX137" fmla="*/ 1377124 w 1505784"/>
                <a:gd name="connsiteY137" fmla="*/ 2187194 h 2539810"/>
                <a:gd name="connsiteX138" fmla="*/ 1362828 w 1505784"/>
                <a:gd name="connsiteY138" fmla="*/ 2191958 h 2539810"/>
                <a:gd name="connsiteX139" fmla="*/ 1358064 w 1505784"/>
                <a:gd name="connsiteY139" fmla="*/ 2201486 h 2539810"/>
                <a:gd name="connsiteX140" fmla="*/ 1358064 w 1505784"/>
                <a:gd name="connsiteY140" fmla="*/ 2211018 h 2539810"/>
                <a:gd name="connsiteX141" fmla="*/ 1353296 w 1505784"/>
                <a:gd name="connsiteY141" fmla="*/ 2220546 h 2539810"/>
                <a:gd name="connsiteX142" fmla="*/ 1339004 w 1505784"/>
                <a:gd name="connsiteY142" fmla="*/ 2234842 h 2539810"/>
                <a:gd name="connsiteX143" fmla="*/ 1329472 w 1505784"/>
                <a:gd name="connsiteY143" fmla="*/ 2249138 h 2539810"/>
                <a:gd name="connsiteX144" fmla="*/ 1315176 w 1505784"/>
                <a:gd name="connsiteY144" fmla="*/ 2268198 h 2539810"/>
                <a:gd name="connsiteX145" fmla="*/ 1315176 w 1505784"/>
                <a:gd name="connsiteY145" fmla="*/ 2282494 h 2539810"/>
                <a:gd name="connsiteX146" fmla="*/ 1319940 w 1505784"/>
                <a:gd name="connsiteY146" fmla="*/ 2296790 h 2539810"/>
                <a:gd name="connsiteX147" fmla="*/ 1329472 w 1505784"/>
                <a:gd name="connsiteY147" fmla="*/ 2301554 h 2539810"/>
                <a:gd name="connsiteX148" fmla="*/ 1343768 w 1505784"/>
                <a:gd name="connsiteY148" fmla="*/ 2315850 h 2539810"/>
                <a:gd name="connsiteX149" fmla="*/ 1348532 w 1505784"/>
                <a:gd name="connsiteY149" fmla="*/ 2320614 h 2539810"/>
                <a:gd name="connsiteX150" fmla="*/ 1358064 w 1505784"/>
                <a:gd name="connsiteY150" fmla="*/ 2358738 h 2539810"/>
                <a:gd name="connsiteX151" fmla="*/ 1358064 w 1505784"/>
                <a:gd name="connsiteY151" fmla="*/ 2396858 h 2539810"/>
                <a:gd name="connsiteX152" fmla="*/ 1348532 w 1505784"/>
                <a:gd name="connsiteY152" fmla="*/ 2415918 h 2539810"/>
                <a:gd name="connsiteX153" fmla="*/ 1324708 w 1505784"/>
                <a:gd name="connsiteY153" fmla="*/ 2444510 h 2539810"/>
                <a:gd name="connsiteX154" fmla="*/ 1310412 w 1505784"/>
                <a:gd name="connsiteY154" fmla="*/ 2454038 h 2539810"/>
                <a:gd name="connsiteX155" fmla="*/ 1300880 w 1505784"/>
                <a:gd name="connsiteY155" fmla="*/ 2449274 h 2539810"/>
                <a:gd name="connsiteX156" fmla="*/ 1291352 w 1505784"/>
                <a:gd name="connsiteY156" fmla="*/ 2430214 h 2539810"/>
                <a:gd name="connsiteX157" fmla="*/ 1291352 w 1505784"/>
                <a:gd name="connsiteY157" fmla="*/ 2425450 h 2539810"/>
                <a:gd name="connsiteX158" fmla="*/ 1296116 w 1505784"/>
                <a:gd name="connsiteY158" fmla="*/ 2406386 h 2539810"/>
                <a:gd name="connsiteX159" fmla="*/ 1296116 w 1505784"/>
                <a:gd name="connsiteY159" fmla="*/ 2387326 h 2539810"/>
                <a:gd name="connsiteX160" fmla="*/ 1291352 w 1505784"/>
                <a:gd name="connsiteY160" fmla="*/ 2382562 h 2539810"/>
                <a:gd name="connsiteX161" fmla="*/ 1286588 w 1505784"/>
                <a:gd name="connsiteY161" fmla="*/ 2382562 h 2539810"/>
                <a:gd name="connsiteX162" fmla="*/ 1281820 w 1505784"/>
                <a:gd name="connsiteY162" fmla="*/ 2387326 h 2539810"/>
                <a:gd name="connsiteX163" fmla="*/ 1267524 w 1505784"/>
                <a:gd name="connsiteY163" fmla="*/ 2406386 h 2539810"/>
                <a:gd name="connsiteX164" fmla="*/ 1257996 w 1505784"/>
                <a:gd name="connsiteY164" fmla="*/ 2415918 h 2539810"/>
                <a:gd name="connsiteX165" fmla="*/ 1253232 w 1505784"/>
                <a:gd name="connsiteY165" fmla="*/ 2415918 h 2539810"/>
                <a:gd name="connsiteX166" fmla="*/ 1243700 w 1505784"/>
                <a:gd name="connsiteY166" fmla="*/ 2411154 h 2539810"/>
                <a:gd name="connsiteX167" fmla="*/ 1196048 w 1505784"/>
                <a:gd name="connsiteY167" fmla="*/ 2392094 h 2539810"/>
                <a:gd name="connsiteX168" fmla="*/ 1162692 w 1505784"/>
                <a:gd name="connsiteY168" fmla="*/ 2373030 h 2539810"/>
                <a:gd name="connsiteX169" fmla="*/ 1134100 w 1505784"/>
                <a:gd name="connsiteY169" fmla="*/ 2358738 h 2539810"/>
                <a:gd name="connsiteX170" fmla="*/ 1110276 w 1505784"/>
                <a:gd name="connsiteY170" fmla="*/ 2330146 h 2539810"/>
                <a:gd name="connsiteX171" fmla="*/ 1105512 w 1505784"/>
                <a:gd name="connsiteY171" fmla="*/ 2311086 h 2539810"/>
                <a:gd name="connsiteX172" fmla="*/ 1105512 w 1505784"/>
                <a:gd name="connsiteY172" fmla="*/ 2287258 h 2539810"/>
                <a:gd name="connsiteX173" fmla="*/ 1095980 w 1505784"/>
                <a:gd name="connsiteY173" fmla="*/ 2258670 h 2539810"/>
                <a:gd name="connsiteX174" fmla="*/ 1095980 w 1505784"/>
                <a:gd name="connsiteY174" fmla="*/ 2249138 h 2539810"/>
                <a:gd name="connsiteX175" fmla="*/ 1095980 w 1505784"/>
                <a:gd name="connsiteY175" fmla="*/ 2234842 h 2539810"/>
                <a:gd name="connsiteX176" fmla="*/ 1105512 w 1505784"/>
                <a:gd name="connsiteY176" fmla="*/ 2220546 h 2539810"/>
                <a:gd name="connsiteX177" fmla="*/ 1115040 w 1505784"/>
                <a:gd name="connsiteY177" fmla="*/ 2206254 h 2539810"/>
                <a:gd name="connsiteX178" fmla="*/ 1124572 w 1505784"/>
                <a:gd name="connsiteY178" fmla="*/ 2201486 h 2539810"/>
                <a:gd name="connsiteX179" fmla="*/ 1129336 w 1505784"/>
                <a:gd name="connsiteY179" fmla="*/ 2191958 h 2539810"/>
                <a:gd name="connsiteX180" fmla="*/ 1134100 w 1505784"/>
                <a:gd name="connsiteY180" fmla="*/ 2182426 h 2539810"/>
                <a:gd name="connsiteX181" fmla="*/ 1129336 w 1505784"/>
                <a:gd name="connsiteY181" fmla="*/ 2172898 h 2539810"/>
                <a:gd name="connsiteX182" fmla="*/ 1124572 w 1505784"/>
                <a:gd name="connsiteY182" fmla="*/ 2168130 h 2539810"/>
                <a:gd name="connsiteX183" fmla="*/ 1110276 w 1505784"/>
                <a:gd name="connsiteY183" fmla="*/ 2144306 h 2539810"/>
                <a:gd name="connsiteX184" fmla="*/ 1095980 w 1505784"/>
                <a:gd name="connsiteY184" fmla="*/ 2130010 h 2539810"/>
                <a:gd name="connsiteX185" fmla="*/ 1062624 w 1505784"/>
                <a:gd name="connsiteY185" fmla="*/ 2120482 h 2539810"/>
                <a:gd name="connsiteX186" fmla="*/ 1053096 w 1505784"/>
                <a:gd name="connsiteY186" fmla="*/ 2110950 h 2539810"/>
                <a:gd name="connsiteX187" fmla="*/ 1048328 w 1505784"/>
                <a:gd name="connsiteY187" fmla="*/ 2106186 h 2539810"/>
                <a:gd name="connsiteX188" fmla="*/ 1038800 w 1505784"/>
                <a:gd name="connsiteY188" fmla="*/ 2106186 h 2539810"/>
                <a:gd name="connsiteX189" fmla="*/ 1029268 w 1505784"/>
                <a:gd name="connsiteY189" fmla="*/ 2106186 h 2539810"/>
                <a:gd name="connsiteX190" fmla="*/ 1019740 w 1505784"/>
                <a:gd name="connsiteY190" fmla="*/ 2110950 h 2539810"/>
                <a:gd name="connsiteX191" fmla="*/ 1014972 w 1505784"/>
                <a:gd name="connsiteY191" fmla="*/ 2115714 h 2539810"/>
                <a:gd name="connsiteX192" fmla="*/ 1019740 w 1505784"/>
                <a:gd name="connsiteY192" fmla="*/ 2125246 h 2539810"/>
                <a:gd name="connsiteX193" fmla="*/ 1014972 w 1505784"/>
                <a:gd name="connsiteY193" fmla="*/ 2130010 h 2539810"/>
                <a:gd name="connsiteX194" fmla="*/ 1005444 w 1505784"/>
                <a:gd name="connsiteY194" fmla="*/ 2172898 h 2539810"/>
                <a:gd name="connsiteX195" fmla="*/ 986384 w 1505784"/>
                <a:gd name="connsiteY195" fmla="*/ 2163366 h 2539810"/>
                <a:gd name="connsiteX196" fmla="*/ 972088 w 1505784"/>
                <a:gd name="connsiteY196" fmla="*/ 2153838 h 2539810"/>
                <a:gd name="connsiteX197" fmla="*/ 967324 w 1505784"/>
                <a:gd name="connsiteY197" fmla="*/ 2144306 h 2539810"/>
                <a:gd name="connsiteX198" fmla="*/ 962556 w 1505784"/>
                <a:gd name="connsiteY198" fmla="*/ 2134774 h 2539810"/>
                <a:gd name="connsiteX199" fmla="*/ 962556 w 1505784"/>
                <a:gd name="connsiteY199" fmla="*/ 2130010 h 2539810"/>
                <a:gd name="connsiteX200" fmla="*/ 957792 w 1505784"/>
                <a:gd name="connsiteY200" fmla="*/ 2125246 h 2539810"/>
                <a:gd name="connsiteX201" fmla="*/ 948260 w 1505784"/>
                <a:gd name="connsiteY201" fmla="*/ 2139542 h 2539810"/>
                <a:gd name="connsiteX202" fmla="*/ 938732 w 1505784"/>
                <a:gd name="connsiteY202" fmla="*/ 2149070 h 2539810"/>
                <a:gd name="connsiteX203" fmla="*/ 929200 w 1505784"/>
                <a:gd name="connsiteY203" fmla="*/ 2153838 h 2539810"/>
                <a:gd name="connsiteX204" fmla="*/ 919672 w 1505784"/>
                <a:gd name="connsiteY204" fmla="*/ 2153838 h 2539810"/>
                <a:gd name="connsiteX205" fmla="*/ 914904 w 1505784"/>
                <a:gd name="connsiteY205" fmla="*/ 2149070 h 2539810"/>
                <a:gd name="connsiteX206" fmla="*/ 910140 w 1505784"/>
                <a:gd name="connsiteY206" fmla="*/ 2120482 h 2539810"/>
                <a:gd name="connsiteX207" fmla="*/ 895844 w 1505784"/>
                <a:gd name="connsiteY207" fmla="*/ 2115714 h 2539810"/>
                <a:gd name="connsiteX208" fmla="*/ 881548 w 1505784"/>
                <a:gd name="connsiteY208" fmla="*/ 2115714 h 2539810"/>
                <a:gd name="connsiteX209" fmla="*/ 862488 w 1505784"/>
                <a:gd name="connsiteY209" fmla="*/ 2130010 h 2539810"/>
                <a:gd name="connsiteX210" fmla="*/ 862488 w 1505784"/>
                <a:gd name="connsiteY210" fmla="*/ 2134774 h 2539810"/>
                <a:gd name="connsiteX211" fmla="*/ 857724 w 1505784"/>
                <a:gd name="connsiteY211" fmla="*/ 2149070 h 2539810"/>
                <a:gd name="connsiteX212" fmla="*/ 838664 w 1505784"/>
                <a:gd name="connsiteY212" fmla="*/ 2182426 h 2539810"/>
                <a:gd name="connsiteX213" fmla="*/ 824368 w 1505784"/>
                <a:gd name="connsiteY213" fmla="*/ 2211018 h 2539810"/>
                <a:gd name="connsiteX214" fmla="*/ 814840 w 1505784"/>
                <a:gd name="connsiteY214" fmla="*/ 2234842 h 2539810"/>
                <a:gd name="connsiteX215" fmla="*/ 810072 w 1505784"/>
                <a:gd name="connsiteY215" fmla="*/ 2244374 h 2539810"/>
                <a:gd name="connsiteX216" fmla="*/ 800544 w 1505784"/>
                <a:gd name="connsiteY216" fmla="*/ 2249138 h 2539810"/>
                <a:gd name="connsiteX217" fmla="*/ 791012 w 1505784"/>
                <a:gd name="connsiteY217" fmla="*/ 2249138 h 2539810"/>
                <a:gd name="connsiteX218" fmla="*/ 781484 w 1505784"/>
                <a:gd name="connsiteY218" fmla="*/ 2239610 h 2539810"/>
                <a:gd name="connsiteX219" fmla="*/ 771952 w 1505784"/>
                <a:gd name="connsiteY219" fmla="*/ 2225314 h 2539810"/>
                <a:gd name="connsiteX220" fmla="*/ 771952 w 1505784"/>
                <a:gd name="connsiteY220" fmla="*/ 2206254 h 2539810"/>
                <a:gd name="connsiteX221" fmla="*/ 786248 w 1505784"/>
                <a:gd name="connsiteY221" fmla="*/ 2191958 h 2539810"/>
                <a:gd name="connsiteX222" fmla="*/ 795776 w 1505784"/>
                <a:gd name="connsiteY222" fmla="*/ 2177662 h 2539810"/>
                <a:gd name="connsiteX223" fmla="*/ 805308 w 1505784"/>
                <a:gd name="connsiteY223" fmla="*/ 2130010 h 2539810"/>
                <a:gd name="connsiteX224" fmla="*/ 805308 w 1505784"/>
                <a:gd name="connsiteY224" fmla="*/ 2115714 h 2539810"/>
                <a:gd name="connsiteX225" fmla="*/ 805308 w 1505784"/>
                <a:gd name="connsiteY225" fmla="*/ 2106186 h 2539810"/>
                <a:gd name="connsiteX226" fmla="*/ 824368 w 1505784"/>
                <a:gd name="connsiteY226" fmla="*/ 2087126 h 2539810"/>
                <a:gd name="connsiteX227" fmla="*/ 838664 w 1505784"/>
                <a:gd name="connsiteY227" fmla="*/ 2072830 h 2539810"/>
                <a:gd name="connsiteX228" fmla="*/ 848196 w 1505784"/>
                <a:gd name="connsiteY228" fmla="*/ 2072830 h 2539810"/>
                <a:gd name="connsiteX229" fmla="*/ 876784 w 1505784"/>
                <a:gd name="connsiteY229" fmla="*/ 2063298 h 2539810"/>
                <a:gd name="connsiteX230" fmla="*/ 891080 w 1505784"/>
                <a:gd name="connsiteY230" fmla="*/ 2058534 h 2539810"/>
                <a:gd name="connsiteX231" fmla="*/ 910140 w 1505784"/>
                <a:gd name="connsiteY231" fmla="*/ 2058534 h 2539810"/>
                <a:gd name="connsiteX232" fmla="*/ 929200 w 1505784"/>
                <a:gd name="connsiteY232" fmla="*/ 2053770 h 2539810"/>
                <a:gd name="connsiteX233" fmla="*/ 943496 w 1505784"/>
                <a:gd name="connsiteY233" fmla="*/ 2044238 h 2539810"/>
                <a:gd name="connsiteX234" fmla="*/ 943496 w 1505784"/>
                <a:gd name="connsiteY234" fmla="*/ 2034710 h 2539810"/>
                <a:gd name="connsiteX235" fmla="*/ 943496 w 1505784"/>
                <a:gd name="connsiteY235" fmla="*/ 2020414 h 2539810"/>
                <a:gd name="connsiteX236" fmla="*/ 943496 w 1505784"/>
                <a:gd name="connsiteY236" fmla="*/ 2015646 h 2539810"/>
                <a:gd name="connsiteX237" fmla="*/ 948260 w 1505784"/>
                <a:gd name="connsiteY237" fmla="*/ 2010882 h 2539810"/>
                <a:gd name="connsiteX238" fmla="*/ 957792 w 1505784"/>
                <a:gd name="connsiteY238" fmla="*/ 2001354 h 2539810"/>
                <a:gd name="connsiteX239" fmla="*/ 967324 w 1505784"/>
                <a:gd name="connsiteY239" fmla="*/ 1996586 h 2539810"/>
                <a:gd name="connsiteX240" fmla="*/ 986384 w 1505784"/>
                <a:gd name="connsiteY240" fmla="*/ 1991822 h 2539810"/>
                <a:gd name="connsiteX241" fmla="*/ 995912 w 1505784"/>
                <a:gd name="connsiteY241" fmla="*/ 1987058 h 2539810"/>
                <a:gd name="connsiteX242" fmla="*/ 1000680 w 1505784"/>
                <a:gd name="connsiteY242" fmla="*/ 1982290 h 2539810"/>
                <a:gd name="connsiteX243" fmla="*/ 1010208 w 1505784"/>
                <a:gd name="connsiteY243" fmla="*/ 1967998 h 2539810"/>
                <a:gd name="connsiteX244" fmla="*/ 1019740 w 1505784"/>
                <a:gd name="connsiteY244" fmla="*/ 1972762 h 2539810"/>
                <a:gd name="connsiteX245" fmla="*/ 1029268 w 1505784"/>
                <a:gd name="connsiteY245" fmla="*/ 1977526 h 2539810"/>
                <a:gd name="connsiteX246" fmla="*/ 1048328 w 1505784"/>
                <a:gd name="connsiteY246" fmla="*/ 1982290 h 2539810"/>
                <a:gd name="connsiteX247" fmla="*/ 1062624 w 1505784"/>
                <a:gd name="connsiteY247" fmla="*/ 1991822 h 2539810"/>
                <a:gd name="connsiteX248" fmla="*/ 1076920 w 1505784"/>
                <a:gd name="connsiteY248" fmla="*/ 2010882 h 2539810"/>
                <a:gd name="connsiteX249" fmla="*/ 1076920 w 1505784"/>
                <a:gd name="connsiteY249" fmla="*/ 2020414 h 2539810"/>
                <a:gd name="connsiteX250" fmla="*/ 1081684 w 1505784"/>
                <a:gd name="connsiteY250" fmla="*/ 2049002 h 2539810"/>
                <a:gd name="connsiteX251" fmla="*/ 1076920 w 1505784"/>
                <a:gd name="connsiteY251" fmla="*/ 2053770 h 2539810"/>
                <a:gd name="connsiteX252" fmla="*/ 1057860 w 1505784"/>
                <a:gd name="connsiteY252" fmla="*/ 2068062 h 2539810"/>
                <a:gd name="connsiteX253" fmla="*/ 1067392 w 1505784"/>
                <a:gd name="connsiteY253" fmla="*/ 2072830 h 2539810"/>
                <a:gd name="connsiteX254" fmla="*/ 1086452 w 1505784"/>
                <a:gd name="connsiteY254" fmla="*/ 2058534 h 2539810"/>
                <a:gd name="connsiteX255" fmla="*/ 1095980 w 1505784"/>
                <a:gd name="connsiteY255" fmla="*/ 2053770 h 2539810"/>
                <a:gd name="connsiteX256" fmla="*/ 1124572 w 1505784"/>
                <a:gd name="connsiteY256" fmla="*/ 2049002 h 2539810"/>
                <a:gd name="connsiteX257" fmla="*/ 1129336 w 1505784"/>
                <a:gd name="connsiteY257" fmla="*/ 2044238 h 2539810"/>
                <a:gd name="connsiteX258" fmla="*/ 1134100 w 1505784"/>
                <a:gd name="connsiteY258" fmla="*/ 2034710 h 2539810"/>
                <a:gd name="connsiteX259" fmla="*/ 1143632 w 1505784"/>
                <a:gd name="connsiteY259" fmla="*/ 2015646 h 2539810"/>
                <a:gd name="connsiteX260" fmla="*/ 1148396 w 1505784"/>
                <a:gd name="connsiteY260" fmla="*/ 1996586 h 2539810"/>
                <a:gd name="connsiteX261" fmla="*/ 1153164 w 1505784"/>
                <a:gd name="connsiteY261" fmla="*/ 1991822 h 2539810"/>
                <a:gd name="connsiteX262" fmla="*/ 1162692 w 1505784"/>
                <a:gd name="connsiteY262" fmla="*/ 1982290 h 2539810"/>
                <a:gd name="connsiteX263" fmla="*/ 1167456 w 1505784"/>
                <a:gd name="connsiteY263" fmla="*/ 1982290 h 2539810"/>
                <a:gd name="connsiteX264" fmla="*/ 1196048 w 1505784"/>
                <a:gd name="connsiteY264" fmla="*/ 1996586 h 2539810"/>
                <a:gd name="connsiteX265" fmla="*/ 1215108 w 1505784"/>
                <a:gd name="connsiteY265" fmla="*/ 1991822 h 2539810"/>
                <a:gd name="connsiteX266" fmla="*/ 1219876 w 1505784"/>
                <a:gd name="connsiteY266" fmla="*/ 1967998 h 2539810"/>
                <a:gd name="connsiteX267" fmla="*/ 1219876 w 1505784"/>
                <a:gd name="connsiteY267" fmla="*/ 1939406 h 2539810"/>
                <a:gd name="connsiteX268" fmla="*/ 1224640 w 1505784"/>
                <a:gd name="connsiteY268" fmla="*/ 1934642 h 2539810"/>
                <a:gd name="connsiteX269" fmla="*/ 1234168 w 1505784"/>
                <a:gd name="connsiteY269" fmla="*/ 1925110 h 2539810"/>
                <a:gd name="connsiteX270" fmla="*/ 1248464 w 1505784"/>
                <a:gd name="connsiteY270" fmla="*/ 1925110 h 2539810"/>
                <a:gd name="connsiteX271" fmla="*/ 1262760 w 1505784"/>
                <a:gd name="connsiteY271" fmla="*/ 1939406 h 2539810"/>
                <a:gd name="connsiteX272" fmla="*/ 1277056 w 1505784"/>
                <a:gd name="connsiteY272" fmla="*/ 1939406 h 2539810"/>
                <a:gd name="connsiteX273" fmla="*/ 1281820 w 1505784"/>
                <a:gd name="connsiteY273" fmla="*/ 1934642 h 2539810"/>
                <a:gd name="connsiteX274" fmla="*/ 1286588 w 1505784"/>
                <a:gd name="connsiteY274" fmla="*/ 1915578 h 2539810"/>
                <a:gd name="connsiteX275" fmla="*/ 1291352 w 1505784"/>
                <a:gd name="connsiteY275" fmla="*/ 1915578 h 2539810"/>
                <a:gd name="connsiteX276" fmla="*/ 1315176 w 1505784"/>
                <a:gd name="connsiteY276" fmla="*/ 1920346 h 2539810"/>
                <a:gd name="connsiteX277" fmla="*/ 1334236 w 1505784"/>
                <a:gd name="connsiteY277" fmla="*/ 1915578 h 2539810"/>
                <a:gd name="connsiteX278" fmla="*/ 1339004 w 1505784"/>
                <a:gd name="connsiteY278" fmla="*/ 1896518 h 2539810"/>
                <a:gd name="connsiteX279" fmla="*/ 1334236 w 1505784"/>
                <a:gd name="connsiteY279" fmla="*/ 1877458 h 2539810"/>
                <a:gd name="connsiteX280" fmla="*/ 1319940 w 1505784"/>
                <a:gd name="connsiteY280" fmla="*/ 1815514 h 2539810"/>
                <a:gd name="connsiteX281" fmla="*/ 1424776 w 1505784"/>
                <a:gd name="connsiteY281" fmla="*/ 1753566 h 2539810"/>
                <a:gd name="connsiteX282" fmla="*/ 1429540 w 1505784"/>
                <a:gd name="connsiteY282" fmla="*/ 1772626 h 2539810"/>
                <a:gd name="connsiteX283" fmla="*/ 1429540 w 1505784"/>
                <a:gd name="connsiteY283" fmla="*/ 1777390 h 2539810"/>
                <a:gd name="connsiteX284" fmla="*/ 1429540 w 1505784"/>
                <a:gd name="connsiteY284" fmla="*/ 1782154 h 2539810"/>
                <a:gd name="connsiteX285" fmla="*/ 1439072 w 1505784"/>
                <a:gd name="connsiteY285" fmla="*/ 1791686 h 2539810"/>
                <a:gd name="connsiteX286" fmla="*/ 1434304 w 1505784"/>
                <a:gd name="connsiteY286" fmla="*/ 1796450 h 2539810"/>
                <a:gd name="connsiteX287" fmla="*/ 1420008 w 1505784"/>
                <a:gd name="connsiteY287" fmla="*/ 1801218 h 2539810"/>
                <a:gd name="connsiteX288" fmla="*/ 1410480 w 1505784"/>
                <a:gd name="connsiteY288" fmla="*/ 1786922 h 2539810"/>
                <a:gd name="connsiteX289" fmla="*/ 1410480 w 1505784"/>
                <a:gd name="connsiteY289" fmla="*/ 1772626 h 2539810"/>
                <a:gd name="connsiteX290" fmla="*/ 1277056 w 1505784"/>
                <a:gd name="connsiteY290" fmla="*/ 1739270 h 2539810"/>
                <a:gd name="connsiteX291" fmla="*/ 1281820 w 1505784"/>
                <a:gd name="connsiteY291" fmla="*/ 1739270 h 2539810"/>
                <a:gd name="connsiteX292" fmla="*/ 1291352 w 1505784"/>
                <a:gd name="connsiteY292" fmla="*/ 1744034 h 2539810"/>
                <a:gd name="connsiteX293" fmla="*/ 1300880 w 1505784"/>
                <a:gd name="connsiteY293" fmla="*/ 1763094 h 2539810"/>
                <a:gd name="connsiteX294" fmla="*/ 1300880 w 1505784"/>
                <a:gd name="connsiteY294" fmla="*/ 1772626 h 2539810"/>
                <a:gd name="connsiteX295" fmla="*/ 1281820 w 1505784"/>
                <a:gd name="connsiteY295" fmla="*/ 1753566 h 2539810"/>
                <a:gd name="connsiteX296" fmla="*/ 1153164 w 1505784"/>
                <a:gd name="connsiteY296" fmla="*/ 1734506 h 2539810"/>
                <a:gd name="connsiteX297" fmla="*/ 1153164 w 1505784"/>
                <a:gd name="connsiteY297" fmla="*/ 1739270 h 2539810"/>
                <a:gd name="connsiteX298" fmla="*/ 1157928 w 1505784"/>
                <a:gd name="connsiteY298" fmla="*/ 1739270 h 2539810"/>
                <a:gd name="connsiteX299" fmla="*/ 1162692 w 1505784"/>
                <a:gd name="connsiteY299" fmla="*/ 1744034 h 2539810"/>
                <a:gd name="connsiteX300" fmla="*/ 1176988 w 1505784"/>
                <a:gd name="connsiteY300" fmla="*/ 1753566 h 2539810"/>
                <a:gd name="connsiteX301" fmla="*/ 1191284 w 1505784"/>
                <a:gd name="connsiteY301" fmla="*/ 1758330 h 2539810"/>
                <a:gd name="connsiteX302" fmla="*/ 1186516 w 1505784"/>
                <a:gd name="connsiteY302" fmla="*/ 1782158 h 2539810"/>
                <a:gd name="connsiteX303" fmla="*/ 1191284 w 1505784"/>
                <a:gd name="connsiteY303" fmla="*/ 1791686 h 2539810"/>
                <a:gd name="connsiteX304" fmla="*/ 1191284 w 1505784"/>
                <a:gd name="connsiteY304" fmla="*/ 1796450 h 2539810"/>
                <a:gd name="connsiteX305" fmla="*/ 1191284 w 1505784"/>
                <a:gd name="connsiteY305" fmla="*/ 1801218 h 2539810"/>
                <a:gd name="connsiteX306" fmla="*/ 1176988 w 1505784"/>
                <a:gd name="connsiteY306" fmla="*/ 1801218 h 2539810"/>
                <a:gd name="connsiteX307" fmla="*/ 1172224 w 1505784"/>
                <a:gd name="connsiteY307" fmla="*/ 1801218 h 2539810"/>
                <a:gd name="connsiteX308" fmla="*/ 1162692 w 1505784"/>
                <a:gd name="connsiteY308" fmla="*/ 1815510 h 2539810"/>
                <a:gd name="connsiteX309" fmla="*/ 1153164 w 1505784"/>
                <a:gd name="connsiteY309" fmla="*/ 1820278 h 2539810"/>
                <a:gd name="connsiteX310" fmla="*/ 1119808 w 1505784"/>
                <a:gd name="connsiteY310" fmla="*/ 1825042 h 2539810"/>
                <a:gd name="connsiteX311" fmla="*/ 1086452 w 1505784"/>
                <a:gd name="connsiteY311" fmla="*/ 1820278 h 2539810"/>
                <a:gd name="connsiteX312" fmla="*/ 1076920 w 1505784"/>
                <a:gd name="connsiteY312" fmla="*/ 1815510 h 2539810"/>
                <a:gd name="connsiteX313" fmla="*/ 1072156 w 1505784"/>
                <a:gd name="connsiteY313" fmla="*/ 1801218 h 2539810"/>
                <a:gd name="connsiteX314" fmla="*/ 1072156 w 1505784"/>
                <a:gd name="connsiteY314" fmla="*/ 1791686 h 2539810"/>
                <a:gd name="connsiteX315" fmla="*/ 1076920 w 1505784"/>
                <a:gd name="connsiteY315" fmla="*/ 1782158 h 2539810"/>
                <a:gd name="connsiteX316" fmla="*/ 1086452 w 1505784"/>
                <a:gd name="connsiteY316" fmla="*/ 1772626 h 2539810"/>
                <a:gd name="connsiteX317" fmla="*/ 1110276 w 1505784"/>
                <a:gd name="connsiteY317" fmla="*/ 1763094 h 2539810"/>
                <a:gd name="connsiteX318" fmla="*/ 1115040 w 1505784"/>
                <a:gd name="connsiteY318" fmla="*/ 1753566 h 2539810"/>
                <a:gd name="connsiteX319" fmla="*/ 1124572 w 1505784"/>
                <a:gd name="connsiteY319" fmla="*/ 1739270 h 2539810"/>
                <a:gd name="connsiteX320" fmla="*/ 1358064 w 1505784"/>
                <a:gd name="connsiteY320" fmla="*/ 1691618 h 2539810"/>
                <a:gd name="connsiteX321" fmla="*/ 1362828 w 1505784"/>
                <a:gd name="connsiteY321" fmla="*/ 1701150 h 2539810"/>
                <a:gd name="connsiteX322" fmla="*/ 1358064 w 1505784"/>
                <a:gd name="connsiteY322" fmla="*/ 1724974 h 2539810"/>
                <a:gd name="connsiteX323" fmla="*/ 1362828 w 1505784"/>
                <a:gd name="connsiteY323" fmla="*/ 1748802 h 2539810"/>
                <a:gd name="connsiteX324" fmla="*/ 1362828 w 1505784"/>
                <a:gd name="connsiteY324" fmla="*/ 1767862 h 2539810"/>
                <a:gd name="connsiteX325" fmla="*/ 1362828 w 1505784"/>
                <a:gd name="connsiteY325" fmla="*/ 1772626 h 2539810"/>
                <a:gd name="connsiteX326" fmla="*/ 1362828 w 1505784"/>
                <a:gd name="connsiteY326" fmla="*/ 1777390 h 2539810"/>
                <a:gd name="connsiteX327" fmla="*/ 1358064 w 1505784"/>
                <a:gd name="connsiteY327" fmla="*/ 1782158 h 2539810"/>
                <a:gd name="connsiteX328" fmla="*/ 1358064 w 1505784"/>
                <a:gd name="connsiteY328" fmla="*/ 1772626 h 2539810"/>
                <a:gd name="connsiteX329" fmla="*/ 1348532 w 1505784"/>
                <a:gd name="connsiteY329" fmla="*/ 1763094 h 2539810"/>
                <a:gd name="connsiteX330" fmla="*/ 1339004 w 1505784"/>
                <a:gd name="connsiteY330" fmla="*/ 1748802 h 2539810"/>
                <a:gd name="connsiteX331" fmla="*/ 1334236 w 1505784"/>
                <a:gd name="connsiteY331" fmla="*/ 1744034 h 2539810"/>
                <a:gd name="connsiteX332" fmla="*/ 1334236 w 1505784"/>
                <a:gd name="connsiteY332" fmla="*/ 1729738 h 2539810"/>
                <a:gd name="connsiteX333" fmla="*/ 1339004 w 1505784"/>
                <a:gd name="connsiteY333" fmla="*/ 1715446 h 2539810"/>
                <a:gd name="connsiteX334" fmla="*/ 1343768 w 1505784"/>
                <a:gd name="connsiteY334" fmla="*/ 1705914 h 2539810"/>
                <a:gd name="connsiteX335" fmla="*/ 1348532 w 1505784"/>
                <a:gd name="connsiteY335" fmla="*/ 1701150 h 2539810"/>
                <a:gd name="connsiteX336" fmla="*/ 452688 w 1505784"/>
                <a:gd name="connsiteY336" fmla="*/ 1658262 h 2539810"/>
                <a:gd name="connsiteX337" fmla="*/ 466984 w 1505784"/>
                <a:gd name="connsiteY337" fmla="*/ 1667794 h 2539810"/>
                <a:gd name="connsiteX338" fmla="*/ 476512 w 1505784"/>
                <a:gd name="connsiteY338" fmla="*/ 1672558 h 2539810"/>
                <a:gd name="connsiteX339" fmla="*/ 471748 w 1505784"/>
                <a:gd name="connsiteY339" fmla="*/ 1677322 h 2539810"/>
                <a:gd name="connsiteX340" fmla="*/ 462220 w 1505784"/>
                <a:gd name="connsiteY340" fmla="*/ 1686854 h 2539810"/>
                <a:gd name="connsiteX341" fmla="*/ 443160 w 1505784"/>
                <a:gd name="connsiteY341" fmla="*/ 1691618 h 2539810"/>
                <a:gd name="connsiteX342" fmla="*/ 438392 w 1505784"/>
                <a:gd name="connsiteY342" fmla="*/ 1672558 h 2539810"/>
                <a:gd name="connsiteX343" fmla="*/ 1153160 w 1505784"/>
                <a:gd name="connsiteY343" fmla="*/ 1648734 h 2539810"/>
                <a:gd name="connsiteX344" fmla="*/ 1157928 w 1505784"/>
                <a:gd name="connsiteY344" fmla="*/ 1653498 h 2539810"/>
                <a:gd name="connsiteX345" fmla="*/ 1157928 w 1505784"/>
                <a:gd name="connsiteY345" fmla="*/ 1663026 h 2539810"/>
                <a:gd name="connsiteX346" fmla="*/ 1148396 w 1505784"/>
                <a:gd name="connsiteY346" fmla="*/ 1667794 h 2539810"/>
                <a:gd name="connsiteX347" fmla="*/ 1143632 w 1505784"/>
                <a:gd name="connsiteY347" fmla="*/ 1667794 h 2539810"/>
                <a:gd name="connsiteX348" fmla="*/ 891080 w 1505784"/>
                <a:gd name="connsiteY348" fmla="*/ 1643966 h 2539810"/>
                <a:gd name="connsiteX349" fmla="*/ 895844 w 1505784"/>
                <a:gd name="connsiteY349" fmla="*/ 1643966 h 2539810"/>
                <a:gd name="connsiteX350" fmla="*/ 900612 w 1505784"/>
                <a:gd name="connsiteY350" fmla="*/ 1648734 h 2539810"/>
                <a:gd name="connsiteX351" fmla="*/ 900612 w 1505784"/>
                <a:gd name="connsiteY351" fmla="*/ 1658262 h 2539810"/>
                <a:gd name="connsiteX352" fmla="*/ 891080 w 1505784"/>
                <a:gd name="connsiteY352" fmla="*/ 1682086 h 2539810"/>
                <a:gd name="connsiteX353" fmla="*/ 886316 w 1505784"/>
                <a:gd name="connsiteY353" fmla="*/ 1686854 h 2539810"/>
                <a:gd name="connsiteX354" fmla="*/ 881552 w 1505784"/>
                <a:gd name="connsiteY354" fmla="*/ 1691618 h 2539810"/>
                <a:gd name="connsiteX355" fmla="*/ 881552 w 1505784"/>
                <a:gd name="connsiteY355" fmla="*/ 1686854 h 2539810"/>
                <a:gd name="connsiteX356" fmla="*/ 872020 w 1505784"/>
                <a:gd name="connsiteY356" fmla="*/ 1696382 h 2539810"/>
                <a:gd name="connsiteX357" fmla="*/ 867256 w 1505784"/>
                <a:gd name="connsiteY357" fmla="*/ 1682086 h 2539810"/>
                <a:gd name="connsiteX358" fmla="*/ 872020 w 1505784"/>
                <a:gd name="connsiteY358" fmla="*/ 1667794 h 2539810"/>
                <a:gd name="connsiteX359" fmla="*/ 886316 w 1505784"/>
                <a:gd name="connsiteY359" fmla="*/ 1653498 h 2539810"/>
                <a:gd name="connsiteX360" fmla="*/ 886316 w 1505784"/>
                <a:gd name="connsiteY360" fmla="*/ 1648734 h 2539810"/>
                <a:gd name="connsiteX361" fmla="*/ 976852 w 1505784"/>
                <a:gd name="connsiteY361" fmla="*/ 1605846 h 2539810"/>
                <a:gd name="connsiteX362" fmla="*/ 981616 w 1505784"/>
                <a:gd name="connsiteY362" fmla="*/ 1605846 h 2539810"/>
                <a:gd name="connsiteX363" fmla="*/ 1024504 w 1505784"/>
                <a:gd name="connsiteY363" fmla="*/ 1615378 h 2539810"/>
                <a:gd name="connsiteX364" fmla="*/ 1029268 w 1505784"/>
                <a:gd name="connsiteY364" fmla="*/ 1634438 h 2539810"/>
                <a:gd name="connsiteX365" fmla="*/ 1029268 w 1505784"/>
                <a:gd name="connsiteY365" fmla="*/ 1639202 h 2539810"/>
                <a:gd name="connsiteX366" fmla="*/ 1024504 w 1505784"/>
                <a:gd name="connsiteY366" fmla="*/ 1658262 h 2539810"/>
                <a:gd name="connsiteX367" fmla="*/ 1019740 w 1505784"/>
                <a:gd name="connsiteY367" fmla="*/ 1667794 h 2539810"/>
                <a:gd name="connsiteX368" fmla="*/ 1005444 w 1505784"/>
                <a:gd name="connsiteY368" fmla="*/ 1691618 h 2539810"/>
                <a:gd name="connsiteX369" fmla="*/ 995912 w 1505784"/>
                <a:gd name="connsiteY369" fmla="*/ 1710678 h 2539810"/>
                <a:gd name="connsiteX370" fmla="*/ 986384 w 1505784"/>
                <a:gd name="connsiteY370" fmla="*/ 1744034 h 2539810"/>
                <a:gd name="connsiteX371" fmla="*/ 986384 w 1505784"/>
                <a:gd name="connsiteY371" fmla="*/ 1753566 h 2539810"/>
                <a:gd name="connsiteX372" fmla="*/ 972088 w 1505784"/>
                <a:gd name="connsiteY372" fmla="*/ 1772626 h 2539810"/>
                <a:gd name="connsiteX373" fmla="*/ 967324 w 1505784"/>
                <a:gd name="connsiteY373" fmla="*/ 1782154 h 2539810"/>
                <a:gd name="connsiteX374" fmla="*/ 967324 w 1505784"/>
                <a:gd name="connsiteY374" fmla="*/ 1805982 h 2539810"/>
                <a:gd name="connsiteX375" fmla="*/ 967324 w 1505784"/>
                <a:gd name="connsiteY375" fmla="*/ 1815510 h 2539810"/>
                <a:gd name="connsiteX376" fmla="*/ 967324 w 1505784"/>
                <a:gd name="connsiteY376" fmla="*/ 1825042 h 2539810"/>
                <a:gd name="connsiteX377" fmla="*/ 991148 w 1505784"/>
                <a:gd name="connsiteY377" fmla="*/ 1863162 h 2539810"/>
                <a:gd name="connsiteX378" fmla="*/ 991148 w 1505784"/>
                <a:gd name="connsiteY378" fmla="*/ 1872694 h 2539810"/>
                <a:gd name="connsiteX379" fmla="*/ 991148 w 1505784"/>
                <a:gd name="connsiteY379" fmla="*/ 1877458 h 2539810"/>
                <a:gd name="connsiteX380" fmla="*/ 986384 w 1505784"/>
                <a:gd name="connsiteY380" fmla="*/ 1886990 h 2539810"/>
                <a:gd name="connsiteX381" fmla="*/ 976852 w 1505784"/>
                <a:gd name="connsiteY381" fmla="*/ 1901282 h 2539810"/>
                <a:gd name="connsiteX382" fmla="*/ 972088 w 1505784"/>
                <a:gd name="connsiteY382" fmla="*/ 1906050 h 2539810"/>
                <a:gd name="connsiteX383" fmla="*/ 962556 w 1505784"/>
                <a:gd name="connsiteY383" fmla="*/ 1910814 h 2539810"/>
                <a:gd name="connsiteX384" fmla="*/ 953028 w 1505784"/>
                <a:gd name="connsiteY384" fmla="*/ 1910814 h 2539810"/>
                <a:gd name="connsiteX385" fmla="*/ 943496 w 1505784"/>
                <a:gd name="connsiteY385" fmla="*/ 1910814 h 2539810"/>
                <a:gd name="connsiteX386" fmla="*/ 933968 w 1505784"/>
                <a:gd name="connsiteY386" fmla="*/ 1906050 h 2539810"/>
                <a:gd name="connsiteX387" fmla="*/ 919672 w 1505784"/>
                <a:gd name="connsiteY387" fmla="*/ 1867926 h 2539810"/>
                <a:gd name="connsiteX388" fmla="*/ 905376 w 1505784"/>
                <a:gd name="connsiteY388" fmla="*/ 1863162 h 2539810"/>
                <a:gd name="connsiteX389" fmla="*/ 891080 w 1505784"/>
                <a:gd name="connsiteY389" fmla="*/ 1853634 h 2539810"/>
                <a:gd name="connsiteX390" fmla="*/ 881548 w 1505784"/>
                <a:gd name="connsiteY390" fmla="*/ 1848866 h 2539810"/>
                <a:gd name="connsiteX391" fmla="*/ 876784 w 1505784"/>
                <a:gd name="connsiteY391" fmla="*/ 1844102 h 2539810"/>
                <a:gd name="connsiteX392" fmla="*/ 848192 w 1505784"/>
                <a:gd name="connsiteY392" fmla="*/ 1810746 h 2539810"/>
                <a:gd name="connsiteX393" fmla="*/ 848192 w 1505784"/>
                <a:gd name="connsiteY393" fmla="*/ 1791686 h 2539810"/>
                <a:gd name="connsiteX394" fmla="*/ 852960 w 1505784"/>
                <a:gd name="connsiteY394" fmla="*/ 1777390 h 2539810"/>
                <a:gd name="connsiteX395" fmla="*/ 862488 w 1505784"/>
                <a:gd name="connsiteY395" fmla="*/ 1767862 h 2539810"/>
                <a:gd name="connsiteX396" fmla="*/ 867256 w 1505784"/>
                <a:gd name="connsiteY396" fmla="*/ 1763094 h 2539810"/>
                <a:gd name="connsiteX397" fmla="*/ 886316 w 1505784"/>
                <a:gd name="connsiteY397" fmla="*/ 1763094 h 2539810"/>
                <a:gd name="connsiteX398" fmla="*/ 895844 w 1505784"/>
                <a:gd name="connsiteY398" fmla="*/ 1763094 h 2539810"/>
                <a:gd name="connsiteX399" fmla="*/ 919672 w 1505784"/>
                <a:gd name="connsiteY399" fmla="*/ 1748798 h 2539810"/>
                <a:gd name="connsiteX400" fmla="*/ 919672 w 1505784"/>
                <a:gd name="connsiteY400" fmla="*/ 1744034 h 2539810"/>
                <a:gd name="connsiteX401" fmla="*/ 919672 w 1505784"/>
                <a:gd name="connsiteY401" fmla="*/ 1715442 h 2539810"/>
                <a:gd name="connsiteX402" fmla="*/ 919672 w 1505784"/>
                <a:gd name="connsiteY402" fmla="*/ 1701150 h 2539810"/>
                <a:gd name="connsiteX403" fmla="*/ 914904 w 1505784"/>
                <a:gd name="connsiteY403" fmla="*/ 1682090 h 2539810"/>
                <a:gd name="connsiteX404" fmla="*/ 919672 w 1505784"/>
                <a:gd name="connsiteY404" fmla="*/ 1672558 h 2539810"/>
                <a:gd name="connsiteX405" fmla="*/ 929200 w 1505784"/>
                <a:gd name="connsiteY405" fmla="*/ 1667794 h 2539810"/>
                <a:gd name="connsiteX406" fmla="*/ 933968 w 1505784"/>
                <a:gd name="connsiteY406" fmla="*/ 1653498 h 2539810"/>
                <a:gd name="connsiteX407" fmla="*/ 938732 w 1505784"/>
                <a:gd name="connsiteY407" fmla="*/ 1639202 h 2539810"/>
                <a:gd name="connsiteX408" fmla="*/ 938732 w 1505784"/>
                <a:gd name="connsiteY408" fmla="*/ 1629670 h 2539810"/>
                <a:gd name="connsiteX409" fmla="*/ 938732 w 1505784"/>
                <a:gd name="connsiteY409" fmla="*/ 1620142 h 2539810"/>
                <a:gd name="connsiteX410" fmla="*/ 948260 w 1505784"/>
                <a:gd name="connsiteY410" fmla="*/ 1615378 h 2539810"/>
                <a:gd name="connsiteX411" fmla="*/ 1105512 w 1505784"/>
                <a:gd name="connsiteY411" fmla="*/ 1558194 h 2539810"/>
                <a:gd name="connsiteX412" fmla="*/ 1110276 w 1505784"/>
                <a:gd name="connsiteY412" fmla="*/ 1567726 h 2539810"/>
                <a:gd name="connsiteX413" fmla="*/ 1105512 w 1505784"/>
                <a:gd name="connsiteY413" fmla="*/ 1586786 h 2539810"/>
                <a:gd name="connsiteX414" fmla="*/ 1105512 w 1505784"/>
                <a:gd name="connsiteY414" fmla="*/ 1596318 h 2539810"/>
                <a:gd name="connsiteX415" fmla="*/ 1105512 w 1505784"/>
                <a:gd name="connsiteY415" fmla="*/ 1615378 h 2539810"/>
                <a:gd name="connsiteX416" fmla="*/ 1100744 w 1505784"/>
                <a:gd name="connsiteY416" fmla="*/ 1639202 h 2539810"/>
                <a:gd name="connsiteX417" fmla="*/ 1105512 w 1505784"/>
                <a:gd name="connsiteY417" fmla="*/ 1667794 h 2539810"/>
                <a:gd name="connsiteX418" fmla="*/ 1100744 w 1505784"/>
                <a:gd name="connsiteY418" fmla="*/ 1696382 h 2539810"/>
                <a:gd name="connsiteX419" fmla="*/ 1091216 w 1505784"/>
                <a:gd name="connsiteY419" fmla="*/ 1710678 h 2539810"/>
                <a:gd name="connsiteX420" fmla="*/ 1076920 w 1505784"/>
                <a:gd name="connsiteY420" fmla="*/ 1720210 h 2539810"/>
                <a:gd name="connsiteX421" fmla="*/ 1067388 w 1505784"/>
                <a:gd name="connsiteY421" fmla="*/ 1724974 h 2539810"/>
                <a:gd name="connsiteX422" fmla="*/ 1053096 w 1505784"/>
                <a:gd name="connsiteY422" fmla="*/ 1739270 h 2539810"/>
                <a:gd name="connsiteX423" fmla="*/ 1043564 w 1505784"/>
                <a:gd name="connsiteY423" fmla="*/ 1758330 h 2539810"/>
                <a:gd name="connsiteX424" fmla="*/ 1043564 w 1505784"/>
                <a:gd name="connsiteY424" fmla="*/ 1772626 h 2539810"/>
                <a:gd name="connsiteX425" fmla="*/ 1019740 w 1505784"/>
                <a:gd name="connsiteY425" fmla="*/ 1829806 h 2539810"/>
                <a:gd name="connsiteX426" fmla="*/ 1000680 w 1505784"/>
                <a:gd name="connsiteY426" fmla="*/ 1848866 h 2539810"/>
                <a:gd name="connsiteX427" fmla="*/ 995912 w 1505784"/>
                <a:gd name="connsiteY427" fmla="*/ 1853634 h 2539810"/>
                <a:gd name="connsiteX428" fmla="*/ 991148 w 1505784"/>
                <a:gd name="connsiteY428" fmla="*/ 1844102 h 2539810"/>
                <a:gd name="connsiteX429" fmla="*/ 995912 w 1505784"/>
                <a:gd name="connsiteY429" fmla="*/ 1829806 h 2539810"/>
                <a:gd name="connsiteX430" fmla="*/ 1005444 w 1505784"/>
                <a:gd name="connsiteY430" fmla="*/ 1777390 h 2539810"/>
                <a:gd name="connsiteX431" fmla="*/ 1000680 w 1505784"/>
                <a:gd name="connsiteY431" fmla="*/ 1767862 h 2539810"/>
                <a:gd name="connsiteX432" fmla="*/ 1024504 w 1505784"/>
                <a:gd name="connsiteY432" fmla="*/ 1739270 h 2539810"/>
                <a:gd name="connsiteX433" fmla="*/ 1034036 w 1505784"/>
                <a:gd name="connsiteY433" fmla="*/ 1715446 h 2539810"/>
                <a:gd name="connsiteX434" fmla="*/ 1053096 w 1505784"/>
                <a:gd name="connsiteY434" fmla="*/ 1686854 h 2539810"/>
                <a:gd name="connsiteX435" fmla="*/ 1057860 w 1505784"/>
                <a:gd name="connsiteY435" fmla="*/ 1672558 h 2539810"/>
                <a:gd name="connsiteX436" fmla="*/ 1072156 w 1505784"/>
                <a:gd name="connsiteY436" fmla="*/ 1643966 h 2539810"/>
                <a:gd name="connsiteX437" fmla="*/ 1086452 w 1505784"/>
                <a:gd name="connsiteY437" fmla="*/ 1610610 h 2539810"/>
                <a:gd name="connsiteX438" fmla="*/ 1086452 w 1505784"/>
                <a:gd name="connsiteY438" fmla="*/ 1596318 h 2539810"/>
                <a:gd name="connsiteX439" fmla="*/ 1091216 w 1505784"/>
                <a:gd name="connsiteY439" fmla="*/ 1591550 h 2539810"/>
                <a:gd name="connsiteX440" fmla="*/ 1091216 w 1505784"/>
                <a:gd name="connsiteY440" fmla="*/ 1582022 h 2539810"/>
                <a:gd name="connsiteX441" fmla="*/ 1095980 w 1505784"/>
                <a:gd name="connsiteY441" fmla="*/ 1572490 h 2539810"/>
                <a:gd name="connsiteX442" fmla="*/ 1057860 w 1505784"/>
                <a:gd name="connsiteY442" fmla="*/ 1558194 h 2539810"/>
                <a:gd name="connsiteX443" fmla="*/ 1062624 w 1505784"/>
                <a:gd name="connsiteY443" fmla="*/ 1558194 h 2539810"/>
                <a:gd name="connsiteX444" fmla="*/ 1072156 w 1505784"/>
                <a:gd name="connsiteY444" fmla="*/ 1577258 h 2539810"/>
                <a:gd name="connsiteX445" fmla="*/ 1057860 w 1505784"/>
                <a:gd name="connsiteY445" fmla="*/ 1577258 h 2539810"/>
                <a:gd name="connsiteX446" fmla="*/ 1053096 w 1505784"/>
                <a:gd name="connsiteY446" fmla="*/ 1562962 h 2539810"/>
                <a:gd name="connsiteX447" fmla="*/ 395508 w 1505784"/>
                <a:gd name="connsiteY447" fmla="*/ 1548666 h 2539810"/>
                <a:gd name="connsiteX448" fmla="*/ 405036 w 1505784"/>
                <a:gd name="connsiteY448" fmla="*/ 1553430 h 2539810"/>
                <a:gd name="connsiteX449" fmla="*/ 405036 w 1505784"/>
                <a:gd name="connsiteY449" fmla="*/ 1562962 h 2539810"/>
                <a:gd name="connsiteX450" fmla="*/ 400272 w 1505784"/>
                <a:gd name="connsiteY450" fmla="*/ 1577254 h 2539810"/>
                <a:gd name="connsiteX451" fmla="*/ 400272 w 1505784"/>
                <a:gd name="connsiteY451" fmla="*/ 1586786 h 2539810"/>
                <a:gd name="connsiteX452" fmla="*/ 405036 w 1505784"/>
                <a:gd name="connsiteY452" fmla="*/ 1596318 h 2539810"/>
                <a:gd name="connsiteX453" fmla="*/ 400272 w 1505784"/>
                <a:gd name="connsiteY453" fmla="*/ 1610610 h 2539810"/>
                <a:gd name="connsiteX454" fmla="*/ 414568 w 1505784"/>
                <a:gd name="connsiteY454" fmla="*/ 1648734 h 2539810"/>
                <a:gd name="connsiteX455" fmla="*/ 424096 w 1505784"/>
                <a:gd name="connsiteY455" fmla="*/ 1672558 h 2539810"/>
                <a:gd name="connsiteX456" fmla="*/ 424096 w 1505784"/>
                <a:gd name="connsiteY456" fmla="*/ 1682090 h 2539810"/>
                <a:gd name="connsiteX457" fmla="*/ 409804 w 1505784"/>
                <a:gd name="connsiteY457" fmla="*/ 1696386 h 2539810"/>
                <a:gd name="connsiteX458" fmla="*/ 400272 w 1505784"/>
                <a:gd name="connsiteY458" fmla="*/ 1701150 h 2539810"/>
                <a:gd name="connsiteX459" fmla="*/ 385976 w 1505784"/>
                <a:gd name="connsiteY459" fmla="*/ 1705914 h 2539810"/>
                <a:gd name="connsiteX460" fmla="*/ 376448 w 1505784"/>
                <a:gd name="connsiteY460" fmla="*/ 1710678 h 2539810"/>
                <a:gd name="connsiteX461" fmla="*/ 362152 w 1505784"/>
                <a:gd name="connsiteY461" fmla="*/ 1720210 h 2539810"/>
                <a:gd name="connsiteX462" fmla="*/ 352620 w 1505784"/>
                <a:gd name="connsiteY462" fmla="*/ 1739270 h 2539810"/>
                <a:gd name="connsiteX463" fmla="*/ 352620 w 1505784"/>
                <a:gd name="connsiteY463" fmla="*/ 1748802 h 2539810"/>
                <a:gd name="connsiteX464" fmla="*/ 347856 w 1505784"/>
                <a:gd name="connsiteY464" fmla="*/ 1753566 h 2539810"/>
                <a:gd name="connsiteX465" fmla="*/ 309736 w 1505784"/>
                <a:gd name="connsiteY465" fmla="*/ 1763094 h 2539810"/>
                <a:gd name="connsiteX466" fmla="*/ 290676 w 1505784"/>
                <a:gd name="connsiteY466" fmla="*/ 1772626 h 2539810"/>
                <a:gd name="connsiteX467" fmla="*/ 285908 w 1505784"/>
                <a:gd name="connsiteY467" fmla="*/ 1777390 h 2539810"/>
                <a:gd name="connsiteX468" fmla="*/ 281144 w 1505784"/>
                <a:gd name="connsiteY468" fmla="*/ 1782158 h 2539810"/>
                <a:gd name="connsiteX469" fmla="*/ 281144 w 1505784"/>
                <a:gd name="connsiteY469" fmla="*/ 1801218 h 2539810"/>
                <a:gd name="connsiteX470" fmla="*/ 252552 w 1505784"/>
                <a:gd name="connsiteY470" fmla="*/ 1853634 h 2539810"/>
                <a:gd name="connsiteX471" fmla="*/ 238260 w 1505784"/>
                <a:gd name="connsiteY471" fmla="*/ 1867930 h 2539810"/>
                <a:gd name="connsiteX472" fmla="*/ 228728 w 1505784"/>
                <a:gd name="connsiteY472" fmla="*/ 1877458 h 2539810"/>
                <a:gd name="connsiteX473" fmla="*/ 214432 w 1505784"/>
                <a:gd name="connsiteY473" fmla="*/ 1886990 h 2539810"/>
                <a:gd name="connsiteX474" fmla="*/ 195372 w 1505784"/>
                <a:gd name="connsiteY474" fmla="*/ 1891754 h 2539810"/>
                <a:gd name="connsiteX475" fmla="*/ 181076 w 1505784"/>
                <a:gd name="connsiteY475" fmla="*/ 1906050 h 2539810"/>
                <a:gd name="connsiteX476" fmla="*/ 171548 w 1505784"/>
                <a:gd name="connsiteY476" fmla="*/ 1920346 h 2539810"/>
                <a:gd name="connsiteX477" fmla="*/ 162016 w 1505784"/>
                <a:gd name="connsiteY477" fmla="*/ 1939406 h 2539810"/>
                <a:gd name="connsiteX478" fmla="*/ 142956 w 1505784"/>
                <a:gd name="connsiteY478" fmla="*/ 1953702 h 2539810"/>
                <a:gd name="connsiteX479" fmla="*/ 128660 w 1505784"/>
                <a:gd name="connsiteY479" fmla="*/ 1963230 h 2539810"/>
                <a:gd name="connsiteX480" fmla="*/ 109600 w 1505784"/>
                <a:gd name="connsiteY480" fmla="*/ 1972762 h 2539810"/>
                <a:gd name="connsiteX481" fmla="*/ 95304 w 1505784"/>
                <a:gd name="connsiteY481" fmla="*/ 1977526 h 2539810"/>
                <a:gd name="connsiteX482" fmla="*/ 90540 w 1505784"/>
                <a:gd name="connsiteY482" fmla="*/ 1982290 h 2539810"/>
                <a:gd name="connsiteX483" fmla="*/ 85776 w 1505784"/>
                <a:gd name="connsiteY483" fmla="*/ 1991822 h 2539810"/>
                <a:gd name="connsiteX484" fmla="*/ 81008 w 1505784"/>
                <a:gd name="connsiteY484" fmla="*/ 1996586 h 2539810"/>
                <a:gd name="connsiteX485" fmla="*/ 71480 w 1505784"/>
                <a:gd name="connsiteY485" fmla="*/ 2001354 h 2539810"/>
                <a:gd name="connsiteX486" fmla="*/ 52420 w 1505784"/>
                <a:gd name="connsiteY486" fmla="*/ 2010882 h 2539810"/>
                <a:gd name="connsiteX487" fmla="*/ 38124 w 1505784"/>
                <a:gd name="connsiteY487" fmla="*/ 2020414 h 2539810"/>
                <a:gd name="connsiteX488" fmla="*/ 42888 w 1505784"/>
                <a:gd name="connsiteY488" fmla="*/ 2006118 h 2539810"/>
                <a:gd name="connsiteX489" fmla="*/ 42888 w 1505784"/>
                <a:gd name="connsiteY489" fmla="*/ 1991822 h 2539810"/>
                <a:gd name="connsiteX490" fmla="*/ 61948 w 1505784"/>
                <a:gd name="connsiteY490" fmla="*/ 1967998 h 2539810"/>
                <a:gd name="connsiteX491" fmla="*/ 71480 w 1505784"/>
                <a:gd name="connsiteY491" fmla="*/ 1958466 h 2539810"/>
                <a:gd name="connsiteX492" fmla="*/ 85776 w 1505784"/>
                <a:gd name="connsiteY492" fmla="*/ 1934642 h 2539810"/>
                <a:gd name="connsiteX493" fmla="*/ 100068 w 1505784"/>
                <a:gd name="connsiteY493" fmla="*/ 1925110 h 2539810"/>
                <a:gd name="connsiteX494" fmla="*/ 123896 w 1505784"/>
                <a:gd name="connsiteY494" fmla="*/ 1906050 h 2539810"/>
                <a:gd name="connsiteX495" fmla="*/ 142956 w 1505784"/>
                <a:gd name="connsiteY495" fmla="*/ 1882226 h 2539810"/>
                <a:gd name="connsiteX496" fmla="*/ 152484 w 1505784"/>
                <a:gd name="connsiteY496" fmla="*/ 1882226 h 2539810"/>
                <a:gd name="connsiteX497" fmla="*/ 157252 w 1505784"/>
                <a:gd name="connsiteY497" fmla="*/ 1882226 h 2539810"/>
                <a:gd name="connsiteX498" fmla="*/ 166780 w 1505784"/>
                <a:gd name="connsiteY498" fmla="*/ 1877458 h 2539810"/>
                <a:gd name="connsiteX499" fmla="*/ 181076 w 1505784"/>
                <a:gd name="connsiteY499" fmla="*/ 1867930 h 2539810"/>
                <a:gd name="connsiteX500" fmla="*/ 214432 w 1505784"/>
                <a:gd name="connsiteY500" fmla="*/ 1825042 h 2539810"/>
                <a:gd name="connsiteX501" fmla="*/ 243024 w 1505784"/>
                <a:gd name="connsiteY501" fmla="*/ 1796450 h 2539810"/>
                <a:gd name="connsiteX502" fmla="*/ 276380 w 1505784"/>
                <a:gd name="connsiteY502" fmla="*/ 1758330 h 2539810"/>
                <a:gd name="connsiteX503" fmla="*/ 290676 w 1505784"/>
                <a:gd name="connsiteY503" fmla="*/ 1744034 h 2539810"/>
                <a:gd name="connsiteX504" fmla="*/ 295440 w 1505784"/>
                <a:gd name="connsiteY504" fmla="*/ 1739270 h 2539810"/>
                <a:gd name="connsiteX505" fmla="*/ 319264 w 1505784"/>
                <a:gd name="connsiteY505" fmla="*/ 1705914 h 2539810"/>
                <a:gd name="connsiteX506" fmla="*/ 328796 w 1505784"/>
                <a:gd name="connsiteY506" fmla="*/ 1701150 h 2539810"/>
                <a:gd name="connsiteX507" fmla="*/ 338324 w 1505784"/>
                <a:gd name="connsiteY507" fmla="*/ 1696386 h 2539810"/>
                <a:gd name="connsiteX508" fmla="*/ 347856 w 1505784"/>
                <a:gd name="connsiteY508" fmla="*/ 1691618 h 2539810"/>
                <a:gd name="connsiteX509" fmla="*/ 352620 w 1505784"/>
                <a:gd name="connsiteY509" fmla="*/ 1686854 h 2539810"/>
                <a:gd name="connsiteX510" fmla="*/ 362152 w 1505784"/>
                <a:gd name="connsiteY510" fmla="*/ 1672558 h 2539810"/>
                <a:gd name="connsiteX511" fmla="*/ 366916 w 1505784"/>
                <a:gd name="connsiteY511" fmla="*/ 1653498 h 2539810"/>
                <a:gd name="connsiteX512" fmla="*/ 362152 w 1505784"/>
                <a:gd name="connsiteY512" fmla="*/ 1643966 h 2539810"/>
                <a:gd name="connsiteX513" fmla="*/ 357388 w 1505784"/>
                <a:gd name="connsiteY513" fmla="*/ 1629674 h 2539810"/>
                <a:gd name="connsiteX514" fmla="*/ 366916 w 1505784"/>
                <a:gd name="connsiteY514" fmla="*/ 1605846 h 2539810"/>
                <a:gd name="connsiteX515" fmla="*/ 371680 w 1505784"/>
                <a:gd name="connsiteY515" fmla="*/ 1596318 h 2539810"/>
                <a:gd name="connsiteX516" fmla="*/ 390744 w 1505784"/>
                <a:gd name="connsiteY516" fmla="*/ 1558194 h 2539810"/>
                <a:gd name="connsiteX517" fmla="*/ 1148396 w 1505784"/>
                <a:gd name="connsiteY517" fmla="*/ 1520074 h 2539810"/>
                <a:gd name="connsiteX518" fmla="*/ 1157928 w 1505784"/>
                <a:gd name="connsiteY518" fmla="*/ 1520074 h 2539810"/>
                <a:gd name="connsiteX519" fmla="*/ 1167456 w 1505784"/>
                <a:gd name="connsiteY519" fmla="*/ 1529606 h 2539810"/>
                <a:gd name="connsiteX520" fmla="*/ 1176988 w 1505784"/>
                <a:gd name="connsiteY520" fmla="*/ 1534370 h 2539810"/>
                <a:gd name="connsiteX521" fmla="*/ 1186520 w 1505784"/>
                <a:gd name="connsiteY521" fmla="*/ 1539134 h 2539810"/>
                <a:gd name="connsiteX522" fmla="*/ 1186520 w 1505784"/>
                <a:gd name="connsiteY522" fmla="*/ 1548666 h 2539810"/>
                <a:gd name="connsiteX523" fmla="*/ 1200812 w 1505784"/>
                <a:gd name="connsiteY523" fmla="*/ 1553430 h 2539810"/>
                <a:gd name="connsiteX524" fmla="*/ 1210344 w 1505784"/>
                <a:gd name="connsiteY524" fmla="*/ 1553430 h 2539810"/>
                <a:gd name="connsiteX525" fmla="*/ 1229404 w 1505784"/>
                <a:gd name="connsiteY525" fmla="*/ 1539134 h 2539810"/>
                <a:gd name="connsiteX526" fmla="*/ 1243700 w 1505784"/>
                <a:gd name="connsiteY526" fmla="*/ 1543898 h 2539810"/>
                <a:gd name="connsiteX527" fmla="*/ 1253228 w 1505784"/>
                <a:gd name="connsiteY527" fmla="*/ 1562962 h 2539810"/>
                <a:gd name="connsiteX528" fmla="*/ 1257996 w 1505784"/>
                <a:gd name="connsiteY528" fmla="*/ 1567726 h 2539810"/>
                <a:gd name="connsiteX529" fmla="*/ 1262760 w 1505784"/>
                <a:gd name="connsiteY529" fmla="*/ 1582022 h 2539810"/>
                <a:gd name="connsiteX530" fmla="*/ 1262760 w 1505784"/>
                <a:gd name="connsiteY530" fmla="*/ 1610610 h 2539810"/>
                <a:gd name="connsiteX531" fmla="*/ 1257996 w 1505784"/>
                <a:gd name="connsiteY531" fmla="*/ 1639202 h 2539810"/>
                <a:gd name="connsiteX532" fmla="*/ 1257996 w 1505784"/>
                <a:gd name="connsiteY532" fmla="*/ 1643966 h 2539810"/>
                <a:gd name="connsiteX533" fmla="*/ 1267524 w 1505784"/>
                <a:gd name="connsiteY533" fmla="*/ 1648734 h 2539810"/>
                <a:gd name="connsiteX534" fmla="*/ 1277056 w 1505784"/>
                <a:gd name="connsiteY534" fmla="*/ 1653498 h 2539810"/>
                <a:gd name="connsiteX535" fmla="*/ 1281820 w 1505784"/>
                <a:gd name="connsiteY535" fmla="*/ 1663026 h 2539810"/>
                <a:gd name="connsiteX536" fmla="*/ 1281820 w 1505784"/>
                <a:gd name="connsiteY536" fmla="*/ 1667794 h 2539810"/>
                <a:gd name="connsiteX537" fmla="*/ 1286584 w 1505784"/>
                <a:gd name="connsiteY537" fmla="*/ 1691618 h 2539810"/>
                <a:gd name="connsiteX538" fmla="*/ 1296116 w 1505784"/>
                <a:gd name="connsiteY538" fmla="*/ 1705914 h 2539810"/>
                <a:gd name="connsiteX539" fmla="*/ 1296116 w 1505784"/>
                <a:gd name="connsiteY539" fmla="*/ 1715442 h 2539810"/>
                <a:gd name="connsiteX540" fmla="*/ 1296116 w 1505784"/>
                <a:gd name="connsiteY540" fmla="*/ 1720210 h 2539810"/>
                <a:gd name="connsiteX541" fmla="*/ 1277056 w 1505784"/>
                <a:gd name="connsiteY541" fmla="*/ 1720210 h 2539810"/>
                <a:gd name="connsiteX542" fmla="*/ 1277056 w 1505784"/>
                <a:gd name="connsiteY542" fmla="*/ 1724974 h 2539810"/>
                <a:gd name="connsiteX543" fmla="*/ 1277056 w 1505784"/>
                <a:gd name="connsiteY543" fmla="*/ 1734506 h 2539810"/>
                <a:gd name="connsiteX544" fmla="*/ 1272292 w 1505784"/>
                <a:gd name="connsiteY544" fmla="*/ 1724974 h 2539810"/>
                <a:gd name="connsiteX545" fmla="*/ 1262760 w 1505784"/>
                <a:gd name="connsiteY545" fmla="*/ 1710678 h 2539810"/>
                <a:gd name="connsiteX546" fmla="*/ 1253228 w 1505784"/>
                <a:gd name="connsiteY546" fmla="*/ 1705914 h 2539810"/>
                <a:gd name="connsiteX547" fmla="*/ 1257996 w 1505784"/>
                <a:gd name="connsiteY547" fmla="*/ 1729738 h 2539810"/>
                <a:gd name="connsiteX548" fmla="*/ 1257996 w 1505784"/>
                <a:gd name="connsiteY548" fmla="*/ 1744034 h 2539810"/>
                <a:gd name="connsiteX549" fmla="*/ 1257996 w 1505784"/>
                <a:gd name="connsiteY549" fmla="*/ 1758330 h 2539810"/>
                <a:gd name="connsiteX550" fmla="*/ 1243700 w 1505784"/>
                <a:gd name="connsiteY550" fmla="*/ 1748798 h 2539810"/>
                <a:gd name="connsiteX551" fmla="*/ 1224640 w 1505784"/>
                <a:gd name="connsiteY551" fmla="*/ 1739270 h 2539810"/>
                <a:gd name="connsiteX552" fmla="*/ 1219872 w 1505784"/>
                <a:gd name="connsiteY552" fmla="*/ 1734506 h 2539810"/>
                <a:gd name="connsiteX553" fmla="*/ 1219872 w 1505784"/>
                <a:gd name="connsiteY553" fmla="*/ 1720210 h 2539810"/>
                <a:gd name="connsiteX554" fmla="*/ 1219872 w 1505784"/>
                <a:gd name="connsiteY554" fmla="*/ 1710678 h 2539810"/>
                <a:gd name="connsiteX555" fmla="*/ 1215108 w 1505784"/>
                <a:gd name="connsiteY555" fmla="*/ 1691618 h 2539810"/>
                <a:gd name="connsiteX556" fmla="*/ 1224640 w 1505784"/>
                <a:gd name="connsiteY556" fmla="*/ 1653498 h 2539810"/>
                <a:gd name="connsiteX557" fmla="*/ 1224640 w 1505784"/>
                <a:gd name="connsiteY557" fmla="*/ 1643966 h 2539810"/>
                <a:gd name="connsiteX558" fmla="*/ 1219872 w 1505784"/>
                <a:gd name="connsiteY558" fmla="*/ 1639202 h 2539810"/>
                <a:gd name="connsiteX559" fmla="*/ 1215108 w 1505784"/>
                <a:gd name="connsiteY559" fmla="*/ 1620142 h 2539810"/>
                <a:gd name="connsiteX560" fmla="*/ 1200812 w 1505784"/>
                <a:gd name="connsiteY560" fmla="*/ 1610610 h 2539810"/>
                <a:gd name="connsiteX561" fmla="*/ 1196048 w 1505784"/>
                <a:gd name="connsiteY561" fmla="*/ 1610610 h 2539810"/>
                <a:gd name="connsiteX562" fmla="*/ 1176988 w 1505784"/>
                <a:gd name="connsiteY562" fmla="*/ 1620142 h 2539810"/>
                <a:gd name="connsiteX563" fmla="*/ 1167456 w 1505784"/>
                <a:gd name="connsiteY563" fmla="*/ 1615378 h 2539810"/>
                <a:gd name="connsiteX564" fmla="*/ 1162692 w 1505784"/>
                <a:gd name="connsiteY564" fmla="*/ 1577254 h 2539810"/>
                <a:gd name="connsiteX565" fmla="*/ 1157928 w 1505784"/>
                <a:gd name="connsiteY565" fmla="*/ 1543898 h 2539810"/>
                <a:gd name="connsiteX566" fmla="*/ 1148396 w 1505784"/>
                <a:gd name="connsiteY566" fmla="*/ 1534370 h 2539810"/>
                <a:gd name="connsiteX567" fmla="*/ 1148396 w 1505784"/>
                <a:gd name="connsiteY567" fmla="*/ 1524838 h 2539810"/>
                <a:gd name="connsiteX568" fmla="*/ 447924 w 1505784"/>
                <a:gd name="connsiteY568" fmla="*/ 1520074 h 2539810"/>
                <a:gd name="connsiteX569" fmla="*/ 452688 w 1505784"/>
                <a:gd name="connsiteY569" fmla="*/ 1520074 h 2539810"/>
                <a:gd name="connsiteX570" fmla="*/ 457456 w 1505784"/>
                <a:gd name="connsiteY570" fmla="*/ 1529606 h 2539810"/>
                <a:gd name="connsiteX571" fmla="*/ 452688 w 1505784"/>
                <a:gd name="connsiteY571" fmla="*/ 1539134 h 2539810"/>
                <a:gd name="connsiteX572" fmla="*/ 447924 w 1505784"/>
                <a:gd name="connsiteY572" fmla="*/ 1543902 h 2539810"/>
                <a:gd name="connsiteX573" fmla="*/ 443160 w 1505784"/>
                <a:gd name="connsiteY573" fmla="*/ 1539134 h 2539810"/>
                <a:gd name="connsiteX574" fmla="*/ 433628 w 1505784"/>
                <a:gd name="connsiteY574" fmla="*/ 1534370 h 2539810"/>
                <a:gd name="connsiteX575" fmla="*/ 428864 w 1505784"/>
                <a:gd name="connsiteY575" fmla="*/ 1529606 h 2539810"/>
                <a:gd name="connsiteX576" fmla="*/ 438392 w 1505784"/>
                <a:gd name="connsiteY576" fmla="*/ 1529606 h 2539810"/>
                <a:gd name="connsiteX577" fmla="*/ 1167460 w 1505784"/>
                <a:gd name="connsiteY577" fmla="*/ 1491482 h 2539810"/>
                <a:gd name="connsiteX578" fmla="*/ 1176988 w 1505784"/>
                <a:gd name="connsiteY578" fmla="*/ 1496250 h 2539810"/>
                <a:gd name="connsiteX579" fmla="*/ 1186520 w 1505784"/>
                <a:gd name="connsiteY579" fmla="*/ 1501014 h 2539810"/>
                <a:gd name="connsiteX580" fmla="*/ 1196048 w 1505784"/>
                <a:gd name="connsiteY580" fmla="*/ 1515310 h 2539810"/>
                <a:gd name="connsiteX581" fmla="*/ 1196048 w 1505784"/>
                <a:gd name="connsiteY581" fmla="*/ 1524838 h 2539810"/>
                <a:gd name="connsiteX582" fmla="*/ 1172224 w 1505784"/>
                <a:gd name="connsiteY582" fmla="*/ 1524838 h 2539810"/>
                <a:gd name="connsiteX583" fmla="*/ 1167460 w 1505784"/>
                <a:gd name="connsiteY583" fmla="*/ 1520074 h 2539810"/>
                <a:gd name="connsiteX584" fmla="*/ 1153164 w 1505784"/>
                <a:gd name="connsiteY584" fmla="*/ 1496250 h 2539810"/>
                <a:gd name="connsiteX585" fmla="*/ 1215108 w 1505784"/>
                <a:gd name="connsiteY585" fmla="*/ 1486718 h 2539810"/>
                <a:gd name="connsiteX586" fmla="*/ 1219876 w 1505784"/>
                <a:gd name="connsiteY586" fmla="*/ 1496250 h 2539810"/>
                <a:gd name="connsiteX587" fmla="*/ 1229404 w 1505784"/>
                <a:gd name="connsiteY587" fmla="*/ 1501014 h 2539810"/>
                <a:gd name="connsiteX588" fmla="*/ 1234168 w 1505784"/>
                <a:gd name="connsiteY588" fmla="*/ 1510542 h 2539810"/>
                <a:gd name="connsiteX589" fmla="*/ 1229404 w 1505784"/>
                <a:gd name="connsiteY589" fmla="*/ 1515310 h 2539810"/>
                <a:gd name="connsiteX590" fmla="*/ 1224640 w 1505784"/>
                <a:gd name="connsiteY590" fmla="*/ 1515310 h 2539810"/>
                <a:gd name="connsiteX591" fmla="*/ 1219876 w 1505784"/>
                <a:gd name="connsiteY591" fmla="*/ 1510542 h 2539810"/>
                <a:gd name="connsiteX592" fmla="*/ 1215108 w 1505784"/>
                <a:gd name="connsiteY592" fmla="*/ 1496250 h 2539810"/>
                <a:gd name="connsiteX593" fmla="*/ 781484 w 1505784"/>
                <a:gd name="connsiteY593" fmla="*/ 1458126 h 2539810"/>
                <a:gd name="connsiteX594" fmla="*/ 791012 w 1505784"/>
                <a:gd name="connsiteY594" fmla="*/ 1462894 h 2539810"/>
                <a:gd name="connsiteX595" fmla="*/ 800544 w 1505784"/>
                <a:gd name="connsiteY595" fmla="*/ 1467658 h 2539810"/>
                <a:gd name="connsiteX596" fmla="*/ 833900 w 1505784"/>
                <a:gd name="connsiteY596" fmla="*/ 1481954 h 2539810"/>
                <a:gd name="connsiteX597" fmla="*/ 848196 w 1505784"/>
                <a:gd name="connsiteY597" fmla="*/ 1491482 h 2539810"/>
                <a:gd name="connsiteX598" fmla="*/ 862488 w 1505784"/>
                <a:gd name="connsiteY598" fmla="*/ 1505778 h 2539810"/>
                <a:gd name="connsiteX599" fmla="*/ 881548 w 1505784"/>
                <a:gd name="connsiteY599" fmla="*/ 1515310 h 2539810"/>
                <a:gd name="connsiteX600" fmla="*/ 900612 w 1505784"/>
                <a:gd name="connsiteY600" fmla="*/ 1505778 h 2539810"/>
                <a:gd name="connsiteX601" fmla="*/ 919672 w 1505784"/>
                <a:gd name="connsiteY601" fmla="*/ 1510542 h 2539810"/>
                <a:gd name="connsiteX602" fmla="*/ 929200 w 1505784"/>
                <a:gd name="connsiteY602" fmla="*/ 1520074 h 2539810"/>
                <a:gd name="connsiteX603" fmla="*/ 929200 w 1505784"/>
                <a:gd name="connsiteY603" fmla="*/ 1524838 h 2539810"/>
                <a:gd name="connsiteX604" fmla="*/ 924436 w 1505784"/>
                <a:gd name="connsiteY604" fmla="*/ 1534370 h 2539810"/>
                <a:gd name="connsiteX605" fmla="*/ 957792 w 1505784"/>
                <a:gd name="connsiteY605" fmla="*/ 1515310 h 2539810"/>
                <a:gd name="connsiteX606" fmla="*/ 967320 w 1505784"/>
                <a:gd name="connsiteY606" fmla="*/ 1520074 h 2539810"/>
                <a:gd name="connsiteX607" fmla="*/ 967320 w 1505784"/>
                <a:gd name="connsiteY607" fmla="*/ 1534370 h 2539810"/>
                <a:gd name="connsiteX608" fmla="*/ 967320 w 1505784"/>
                <a:gd name="connsiteY608" fmla="*/ 1543898 h 2539810"/>
                <a:gd name="connsiteX609" fmla="*/ 962556 w 1505784"/>
                <a:gd name="connsiteY609" fmla="*/ 1558194 h 2539810"/>
                <a:gd name="connsiteX610" fmla="*/ 953028 w 1505784"/>
                <a:gd name="connsiteY610" fmla="*/ 1572490 h 2539810"/>
                <a:gd name="connsiteX611" fmla="*/ 943496 w 1505784"/>
                <a:gd name="connsiteY611" fmla="*/ 1586786 h 2539810"/>
                <a:gd name="connsiteX612" fmla="*/ 933968 w 1505784"/>
                <a:gd name="connsiteY612" fmla="*/ 1596314 h 2539810"/>
                <a:gd name="connsiteX613" fmla="*/ 919672 w 1505784"/>
                <a:gd name="connsiteY613" fmla="*/ 1601082 h 2539810"/>
                <a:gd name="connsiteX614" fmla="*/ 910140 w 1505784"/>
                <a:gd name="connsiteY614" fmla="*/ 1605846 h 2539810"/>
                <a:gd name="connsiteX615" fmla="*/ 910140 w 1505784"/>
                <a:gd name="connsiteY615" fmla="*/ 1610610 h 2539810"/>
                <a:gd name="connsiteX616" fmla="*/ 910140 w 1505784"/>
                <a:gd name="connsiteY616" fmla="*/ 1620142 h 2539810"/>
                <a:gd name="connsiteX617" fmla="*/ 905376 w 1505784"/>
                <a:gd name="connsiteY617" fmla="*/ 1629670 h 2539810"/>
                <a:gd name="connsiteX618" fmla="*/ 891080 w 1505784"/>
                <a:gd name="connsiteY618" fmla="*/ 1634438 h 2539810"/>
                <a:gd name="connsiteX619" fmla="*/ 867256 w 1505784"/>
                <a:gd name="connsiteY619" fmla="*/ 1653498 h 2539810"/>
                <a:gd name="connsiteX620" fmla="*/ 819604 w 1505784"/>
                <a:gd name="connsiteY620" fmla="*/ 1663026 h 2539810"/>
                <a:gd name="connsiteX621" fmla="*/ 805308 w 1505784"/>
                <a:gd name="connsiteY621" fmla="*/ 1672558 h 2539810"/>
                <a:gd name="connsiteX622" fmla="*/ 795776 w 1505784"/>
                <a:gd name="connsiteY622" fmla="*/ 1682086 h 2539810"/>
                <a:gd name="connsiteX623" fmla="*/ 786248 w 1505784"/>
                <a:gd name="connsiteY623" fmla="*/ 1691618 h 2539810"/>
                <a:gd name="connsiteX624" fmla="*/ 781484 w 1505784"/>
                <a:gd name="connsiteY624" fmla="*/ 1691618 h 2539810"/>
                <a:gd name="connsiteX625" fmla="*/ 776716 w 1505784"/>
                <a:gd name="connsiteY625" fmla="*/ 1686854 h 2539810"/>
                <a:gd name="connsiteX626" fmla="*/ 776716 w 1505784"/>
                <a:gd name="connsiteY626" fmla="*/ 1682086 h 2539810"/>
                <a:gd name="connsiteX627" fmla="*/ 781484 w 1505784"/>
                <a:gd name="connsiteY627" fmla="*/ 1658262 h 2539810"/>
                <a:gd name="connsiteX628" fmla="*/ 781484 w 1505784"/>
                <a:gd name="connsiteY628" fmla="*/ 1653498 h 2539810"/>
                <a:gd name="connsiteX629" fmla="*/ 776716 w 1505784"/>
                <a:gd name="connsiteY629" fmla="*/ 1643966 h 2539810"/>
                <a:gd name="connsiteX630" fmla="*/ 781484 w 1505784"/>
                <a:gd name="connsiteY630" fmla="*/ 1624906 h 2539810"/>
                <a:gd name="connsiteX631" fmla="*/ 791012 w 1505784"/>
                <a:gd name="connsiteY631" fmla="*/ 1605846 h 2539810"/>
                <a:gd name="connsiteX632" fmla="*/ 795776 w 1505784"/>
                <a:gd name="connsiteY632" fmla="*/ 1586786 h 2539810"/>
                <a:gd name="connsiteX633" fmla="*/ 795776 w 1505784"/>
                <a:gd name="connsiteY633" fmla="*/ 1553430 h 2539810"/>
                <a:gd name="connsiteX634" fmla="*/ 800544 w 1505784"/>
                <a:gd name="connsiteY634" fmla="*/ 1501014 h 2539810"/>
                <a:gd name="connsiteX635" fmla="*/ 800544 w 1505784"/>
                <a:gd name="connsiteY635" fmla="*/ 1496246 h 2539810"/>
                <a:gd name="connsiteX636" fmla="*/ 795776 w 1505784"/>
                <a:gd name="connsiteY636" fmla="*/ 1486718 h 2539810"/>
                <a:gd name="connsiteX637" fmla="*/ 776716 w 1505784"/>
                <a:gd name="connsiteY637" fmla="*/ 1481954 h 2539810"/>
                <a:gd name="connsiteX638" fmla="*/ 767188 w 1505784"/>
                <a:gd name="connsiteY638" fmla="*/ 1477186 h 2539810"/>
                <a:gd name="connsiteX639" fmla="*/ 771952 w 1505784"/>
                <a:gd name="connsiteY639" fmla="*/ 1467658 h 2539810"/>
                <a:gd name="connsiteX640" fmla="*/ 452688 w 1505784"/>
                <a:gd name="connsiteY640" fmla="*/ 1448598 h 2539810"/>
                <a:gd name="connsiteX641" fmla="*/ 462220 w 1505784"/>
                <a:gd name="connsiteY641" fmla="*/ 1448598 h 2539810"/>
                <a:gd name="connsiteX642" fmla="*/ 466984 w 1505784"/>
                <a:gd name="connsiteY642" fmla="*/ 1448598 h 2539810"/>
                <a:gd name="connsiteX643" fmla="*/ 471748 w 1505784"/>
                <a:gd name="connsiteY643" fmla="*/ 1453362 h 2539810"/>
                <a:gd name="connsiteX644" fmla="*/ 481280 w 1505784"/>
                <a:gd name="connsiteY644" fmla="*/ 1458126 h 2539810"/>
                <a:gd name="connsiteX645" fmla="*/ 486044 w 1505784"/>
                <a:gd name="connsiteY645" fmla="*/ 1467658 h 2539810"/>
                <a:gd name="connsiteX646" fmla="*/ 481280 w 1505784"/>
                <a:gd name="connsiteY646" fmla="*/ 1472422 h 2539810"/>
                <a:gd name="connsiteX647" fmla="*/ 486044 w 1505784"/>
                <a:gd name="connsiteY647" fmla="*/ 1477186 h 2539810"/>
                <a:gd name="connsiteX648" fmla="*/ 481280 w 1505784"/>
                <a:gd name="connsiteY648" fmla="*/ 1491482 h 2539810"/>
                <a:gd name="connsiteX649" fmla="*/ 466984 w 1505784"/>
                <a:gd name="connsiteY649" fmla="*/ 1496250 h 2539810"/>
                <a:gd name="connsiteX650" fmla="*/ 466984 w 1505784"/>
                <a:gd name="connsiteY650" fmla="*/ 1491482 h 2539810"/>
                <a:gd name="connsiteX651" fmla="*/ 462220 w 1505784"/>
                <a:gd name="connsiteY651" fmla="*/ 1486718 h 2539810"/>
                <a:gd name="connsiteX652" fmla="*/ 462220 w 1505784"/>
                <a:gd name="connsiteY652" fmla="*/ 1481954 h 2539810"/>
                <a:gd name="connsiteX653" fmla="*/ 462220 w 1505784"/>
                <a:gd name="connsiteY653" fmla="*/ 1391418 h 2539810"/>
                <a:gd name="connsiteX654" fmla="*/ 466984 w 1505784"/>
                <a:gd name="connsiteY654" fmla="*/ 1400946 h 2539810"/>
                <a:gd name="connsiteX655" fmla="*/ 486044 w 1505784"/>
                <a:gd name="connsiteY655" fmla="*/ 1410478 h 2539810"/>
                <a:gd name="connsiteX656" fmla="*/ 490808 w 1505784"/>
                <a:gd name="connsiteY656" fmla="*/ 1415242 h 2539810"/>
                <a:gd name="connsiteX657" fmla="*/ 495576 w 1505784"/>
                <a:gd name="connsiteY657" fmla="*/ 1420006 h 2539810"/>
                <a:gd name="connsiteX658" fmla="*/ 505104 w 1505784"/>
                <a:gd name="connsiteY658" fmla="*/ 1415242 h 2539810"/>
                <a:gd name="connsiteX659" fmla="*/ 509872 w 1505784"/>
                <a:gd name="connsiteY659" fmla="*/ 1410478 h 2539810"/>
                <a:gd name="connsiteX660" fmla="*/ 514636 w 1505784"/>
                <a:gd name="connsiteY660" fmla="*/ 1420006 h 2539810"/>
                <a:gd name="connsiteX661" fmla="*/ 528932 w 1505784"/>
                <a:gd name="connsiteY661" fmla="*/ 1429538 h 2539810"/>
                <a:gd name="connsiteX662" fmla="*/ 524164 w 1505784"/>
                <a:gd name="connsiteY662" fmla="*/ 1443834 h 2539810"/>
                <a:gd name="connsiteX663" fmla="*/ 509872 w 1505784"/>
                <a:gd name="connsiteY663" fmla="*/ 1443834 h 2539810"/>
                <a:gd name="connsiteX664" fmla="*/ 500340 w 1505784"/>
                <a:gd name="connsiteY664" fmla="*/ 1439066 h 2539810"/>
                <a:gd name="connsiteX665" fmla="*/ 490808 w 1505784"/>
                <a:gd name="connsiteY665" fmla="*/ 1443834 h 2539810"/>
                <a:gd name="connsiteX666" fmla="*/ 476516 w 1505784"/>
                <a:gd name="connsiteY666" fmla="*/ 1443834 h 2539810"/>
                <a:gd name="connsiteX667" fmla="*/ 466984 w 1505784"/>
                <a:gd name="connsiteY667" fmla="*/ 1434302 h 2539810"/>
                <a:gd name="connsiteX668" fmla="*/ 457456 w 1505784"/>
                <a:gd name="connsiteY668" fmla="*/ 1415242 h 2539810"/>
                <a:gd name="connsiteX669" fmla="*/ 452688 w 1505784"/>
                <a:gd name="connsiteY669" fmla="*/ 1410478 h 2539810"/>
                <a:gd name="connsiteX670" fmla="*/ 452688 w 1505784"/>
                <a:gd name="connsiteY670" fmla="*/ 1405710 h 2539810"/>
                <a:gd name="connsiteX671" fmla="*/ 457456 w 1505784"/>
                <a:gd name="connsiteY671" fmla="*/ 1400946 h 2539810"/>
                <a:gd name="connsiteX672" fmla="*/ 457456 w 1505784"/>
                <a:gd name="connsiteY672" fmla="*/ 1396182 h 2539810"/>
                <a:gd name="connsiteX673" fmla="*/ 862492 w 1505784"/>
                <a:gd name="connsiteY673" fmla="*/ 1362826 h 2539810"/>
                <a:gd name="connsiteX674" fmla="*/ 881552 w 1505784"/>
                <a:gd name="connsiteY674" fmla="*/ 1367590 h 2539810"/>
                <a:gd name="connsiteX675" fmla="*/ 891080 w 1505784"/>
                <a:gd name="connsiteY675" fmla="*/ 1377122 h 2539810"/>
                <a:gd name="connsiteX676" fmla="*/ 891080 w 1505784"/>
                <a:gd name="connsiteY676" fmla="*/ 1381886 h 2539810"/>
                <a:gd name="connsiteX677" fmla="*/ 886316 w 1505784"/>
                <a:gd name="connsiteY677" fmla="*/ 1396182 h 2539810"/>
                <a:gd name="connsiteX678" fmla="*/ 881552 w 1505784"/>
                <a:gd name="connsiteY678" fmla="*/ 1396182 h 2539810"/>
                <a:gd name="connsiteX679" fmla="*/ 862492 w 1505784"/>
                <a:gd name="connsiteY679" fmla="*/ 1381886 h 2539810"/>
                <a:gd name="connsiteX680" fmla="*/ 852960 w 1505784"/>
                <a:gd name="connsiteY680" fmla="*/ 1377122 h 2539810"/>
                <a:gd name="connsiteX681" fmla="*/ 852960 w 1505784"/>
                <a:gd name="connsiteY681" fmla="*/ 1372354 h 2539810"/>
                <a:gd name="connsiteX682" fmla="*/ 1143632 w 1505784"/>
                <a:gd name="connsiteY682" fmla="*/ 1353294 h 2539810"/>
                <a:gd name="connsiteX683" fmla="*/ 1186520 w 1505784"/>
                <a:gd name="connsiteY683" fmla="*/ 1358062 h 2539810"/>
                <a:gd name="connsiteX684" fmla="*/ 1229404 w 1505784"/>
                <a:gd name="connsiteY684" fmla="*/ 1358062 h 2539810"/>
                <a:gd name="connsiteX685" fmla="*/ 1277056 w 1505784"/>
                <a:gd name="connsiteY685" fmla="*/ 1353294 h 2539810"/>
                <a:gd name="connsiteX686" fmla="*/ 1291352 w 1505784"/>
                <a:gd name="connsiteY686" fmla="*/ 1358062 h 2539810"/>
                <a:gd name="connsiteX687" fmla="*/ 1305648 w 1505784"/>
                <a:gd name="connsiteY687" fmla="*/ 1372354 h 2539810"/>
                <a:gd name="connsiteX688" fmla="*/ 1305648 w 1505784"/>
                <a:gd name="connsiteY688" fmla="*/ 1381886 h 2539810"/>
                <a:gd name="connsiteX689" fmla="*/ 1305648 w 1505784"/>
                <a:gd name="connsiteY689" fmla="*/ 1391414 h 2539810"/>
                <a:gd name="connsiteX690" fmla="*/ 1310412 w 1505784"/>
                <a:gd name="connsiteY690" fmla="*/ 1396182 h 2539810"/>
                <a:gd name="connsiteX691" fmla="*/ 1319940 w 1505784"/>
                <a:gd name="connsiteY691" fmla="*/ 1396182 h 2539810"/>
                <a:gd name="connsiteX692" fmla="*/ 1329472 w 1505784"/>
                <a:gd name="connsiteY692" fmla="*/ 1405710 h 2539810"/>
                <a:gd name="connsiteX693" fmla="*/ 1339004 w 1505784"/>
                <a:gd name="connsiteY693" fmla="*/ 1415242 h 2539810"/>
                <a:gd name="connsiteX694" fmla="*/ 1334236 w 1505784"/>
                <a:gd name="connsiteY694" fmla="*/ 1420006 h 2539810"/>
                <a:gd name="connsiteX695" fmla="*/ 1334236 w 1505784"/>
                <a:gd name="connsiteY695" fmla="*/ 1434302 h 2539810"/>
                <a:gd name="connsiteX696" fmla="*/ 1324708 w 1505784"/>
                <a:gd name="connsiteY696" fmla="*/ 1453362 h 2539810"/>
                <a:gd name="connsiteX697" fmla="*/ 1329472 w 1505784"/>
                <a:gd name="connsiteY697" fmla="*/ 1481954 h 2539810"/>
                <a:gd name="connsiteX698" fmla="*/ 1334236 w 1505784"/>
                <a:gd name="connsiteY698" fmla="*/ 1491482 h 2539810"/>
                <a:gd name="connsiteX699" fmla="*/ 1334236 w 1505784"/>
                <a:gd name="connsiteY699" fmla="*/ 1501014 h 2539810"/>
                <a:gd name="connsiteX700" fmla="*/ 1329472 w 1505784"/>
                <a:gd name="connsiteY700" fmla="*/ 1510542 h 2539810"/>
                <a:gd name="connsiteX701" fmla="*/ 1334236 w 1505784"/>
                <a:gd name="connsiteY701" fmla="*/ 1515310 h 2539810"/>
                <a:gd name="connsiteX702" fmla="*/ 1348532 w 1505784"/>
                <a:gd name="connsiteY702" fmla="*/ 1543898 h 2539810"/>
                <a:gd name="connsiteX703" fmla="*/ 1348532 w 1505784"/>
                <a:gd name="connsiteY703" fmla="*/ 1553430 h 2539810"/>
                <a:gd name="connsiteX704" fmla="*/ 1348532 w 1505784"/>
                <a:gd name="connsiteY704" fmla="*/ 1558194 h 2539810"/>
                <a:gd name="connsiteX705" fmla="*/ 1343768 w 1505784"/>
                <a:gd name="connsiteY705" fmla="*/ 1562962 h 2539810"/>
                <a:gd name="connsiteX706" fmla="*/ 1353296 w 1505784"/>
                <a:gd name="connsiteY706" fmla="*/ 1567726 h 2539810"/>
                <a:gd name="connsiteX707" fmla="*/ 1362828 w 1505784"/>
                <a:gd name="connsiteY707" fmla="*/ 1577254 h 2539810"/>
                <a:gd name="connsiteX708" fmla="*/ 1372360 w 1505784"/>
                <a:gd name="connsiteY708" fmla="*/ 1591550 h 2539810"/>
                <a:gd name="connsiteX709" fmla="*/ 1367592 w 1505784"/>
                <a:gd name="connsiteY709" fmla="*/ 1596318 h 2539810"/>
                <a:gd name="connsiteX710" fmla="*/ 1358064 w 1505784"/>
                <a:gd name="connsiteY710" fmla="*/ 1582022 h 2539810"/>
                <a:gd name="connsiteX711" fmla="*/ 1353296 w 1505784"/>
                <a:gd name="connsiteY711" fmla="*/ 1582022 h 2539810"/>
                <a:gd name="connsiteX712" fmla="*/ 1319940 w 1505784"/>
                <a:gd name="connsiteY712" fmla="*/ 1586786 h 2539810"/>
                <a:gd name="connsiteX713" fmla="*/ 1305648 w 1505784"/>
                <a:gd name="connsiteY713" fmla="*/ 1582022 h 2539810"/>
                <a:gd name="connsiteX714" fmla="*/ 1291352 w 1505784"/>
                <a:gd name="connsiteY714" fmla="*/ 1582022 h 2539810"/>
                <a:gd name="connsiteX715" fmla="*/ 1277056 w 1505784"/>
                <a:gd name="connsiteY715" fmla="*/ 1562962 h 2539810"/>
                <a:gd name="connsiteX716" fmla="*/ 1267524 w 1505784"/>
                <a:gd name="connsiteY716" fmla="*/ 1558194 h 2539810"/>
                <a:gd name="connsiteX717" fmla="*/ 1257996 w 1505784"/>
                <a:gd name="connsiteY717" fmla="*/ 1548666 h 2539810"/>
                <a:gd name="connsiteX718" fmla="*/ 1248464 w 1505784"/>
                <a:gd name="connsiteY718" fmla="*/ 1524838 h 2539810"/>
                <a:gd name="connsiteX719" fmla="*/ 1243700 w 1505784"/>
                <a:gd name="connsiteY719" fmla="*/ 1515310 h 2539810"/>
                <a:gd name="connsiteX720" fmla="*/ 1253228 w 1505784"/>
                <a:gd name="connsiteY720" fmla="*/ 1501014 h 2539810"/>
                <a:gd name="connsiteX721" fmla="*/ 1253228 w 1505784"/>
                <a:gd name="connsiteY721" fmla="*/ 1491482 h 2539810"/>
                <a:gd name="connsiteX722" fmla="*/ 1253228 w 1505784"/>
                <a:gd name="connsiteY722" fmla="*/ 1481954 h 2539810"/>
                <a:gd name="connsiteX723" fmla="*/ 1243700 w 1505784"/>
                <a:gd name="connsiteY723" fmla="*/ 1481954 h 2539810"/>
                <a:gd name="connsiteX724" fmla="*/ 1238936 w 1505784"/>
                <a:gd name="connsiteY724" fmla="*/ 1481954 h 2539810"/>
                <a:gd name="connsiteX725" fmla="*/ 1229404 w 1505784"/>
                <a:gd name="connsiteY725" fmla="*/ 1467658 h 2539810"/>
                <a:gd name="connsiteX726" fmla="*/ 1224640 w 1505784"/>
                <a:gd name="connsiteY726" fmla="*/ 1458126 h 2539810"/>
                <a:gd name="connsiteX727" fmla="*/ 1215108 w 1505784"/>
                <a:gd name="connsiteY727" fmla="*/ 1453362 h 2539810"/>
                <a:gd name="connsiteX728" fmla="*/ 1205580 w 1505784"/>
                <a:gd name="connsiteY728" fmla="*/ 1439066 h 2539810"/>
                <a:gd name="connsiteX729" fmla="*/ 1186520 w 1505784"/>
                <a:gd name="connsiteY729" fmla="*/ 1434302 h 2539810"/>
                <a:gd name="connsiteX730" fmla="*/ 1181752 w 1505784"/>
                <a:gd name="connsiteY730" fmla="*/ 1429538 h 2539810"/>
                <a:gd name="connsiteX731" fmla="*/ 1167456 w 1505784"/>
                <a:gd name="connsiteY731" fmla="*/ 1420006 h 2539810"/>
                <a:gd name="connsiteX732" fmla="*/ 1157928 w 1505784"/>
                <a:gd name="connsiteY732" fmla="*/ 1405710 h 2539810"/>
                <a:gd name="connsiteX733" fmla="*/ 1148396 w 1505784"/>
                <a:gd name="connsiteY733" fmla="*/ 1377122 h 2539810"/>
                <a:gd name="connsiteX734" fmla="*/ 981620 w 1505784"/>
                <a:gd name="connsiteY734" fmla="*/ 1348530 h 2539810"/>
                <a:gd name="connsiteX735" fmla="*/ 995912 w 1505784"/>
                <a:gd name="connsiteY735" fmla="*/ 1358058 h 2539810"/>
                <a:gd name="connsiteX736" fmla="*/ 1014976 w 1505784"/>
                <a:gd name="connsiteY736" fmla="*/ 1362826 h 2539810"/>
                <a:gd name="connsiteX737" fmla="*/ 1029268 w 1505784"/>
                <a:gd name="connsiteY737" fmla="*/ 1372354 h 2539810"/>
                <a:gd name="connsiteX738" fmla="*/ 1034036 w 1505784"/>
                <a:gd name="connsiteY738" fmla="*/ 1377118 h 2539810"/>
                <a:gd name="connsiteX739" fmla="*/ 1053096 w 1505784"/>
                <a:gd name="connsiteY739" fmla="*/ 1396182 h 2539810"/>
                <a:gd name="connsiteX740" fmla="*/ 1086452 w 1505784"/>
                <a:gd name="connsiteY740" fmla="*/ 1415242 h 2539810"/>
                <a:gd name="connsiteX741" fmla="*/ 1105512 w 1505784"/>
                <a:gd name="connsiteY741" fmla="*/ 1448598 h 2539810"/>
                <a:gd name="connsiteX742" fmla="*/ 1105512 w 1505784"/>
                <a:gd name="connsiteY742" fmla="*/ 1472422 h 2539810"/>
                <a:gd name="connsiteX743" fmla="*/ 1105512 w 1505784"/>
                <a:gd name="connsiteY743" fmla="*/ 1481954 h 2539810"/>
                <a:gd name="connsiteX744" fmla="*/ 1095980 w 1505784"/>
                <a:gd name="connsiteY744" fmla="*/ 1472422 h 2539810"/>
                <a:gd name="connsiteX745" fmla="*/ 1076920 w 1505784"/>
                <a:gd name="connsiteY745" fmla="*/ 1458126 h 2539810"/>
                <a:gd name="connsiteX746" fmla="*/ 1062624 w 1505784"/>
                <a:gd name="connsiteY746" fmla="*/ 1453362 h 2539810"/>
                <a:gd name="connsiteX747" fmla="*/ 1057860 w 1505784"/>
                <a:gd name="connsiteY747" fmla="*/ 1453362 h 2539810"/>
                <a:gd name="connsiteX748" fmla="*/ 1057860 w 1505784"/>
                <a:gd name="connsiteY748" fmla="*/ 1443830 h 2539810"/>
                <a:gd name="connsiteX749" fmla="*/ 1048332 w 1505784"/>
                <a:gd name="connsiteY749" fmla="*/ 1434302 h 2539810"/>
                <a:gd name="connsiteX750" fmla="*/ 1038800 w 1505784"/>
                <a:gd name="connsiteY750" fmla="*/ 1429538 h 2539810"/>
                <a:gd name="connsiteX751" fmla="*/ 1024504 w 1505784"/>
                <a:gd name="connsiteY751" fmla="*/ 1410474 h 2539810"/>
                <a:gd name="connsiteX752" fmla="*/ 1014976 w 1505784"/>
                <a:gd name="connsiteY752" fmla="*/ 1410474 h 2539810"/>
                <a:gd name="connsiteX753" fmla="*/ 1005444 w 1505784"/>
                <a:gd name="connsiteY753" fmla="*/ 1410474 h 2539810"/>
                <a:gd name="connsiteX754" fmla="*/ 986384 w 1505784"/>
                <a:gd name="connsiteY754" fmla="*/ 1439066 h 2539810"/>
                <a:gd name="connsiteX755" fmla="*/ 967324 w 1505784"/>
                <a:gd name="connsiteY755" fmla="*/ 1458126 h 2539810"/>
                <a:gd name="connsiteX756" fmla="*/ 967324 w 1505784"/>
                <a:gd name="connsiteY756" fmla="*/ 1448598 h 2539810"/>
                <a:gd name="connsiteX757" fmla="*/ 976852 w 1505784"/>
                <a:gd name="connsiteY757" fmla="*/ 1424770 h 2539810"/>
                <a:gd name="connsiteX758" fmla="*/ 981620 w 1505784"/>
                <a:gd name="connsiteY758" fmla="*/ 1391414 h 2539810"/>
                <a:gd name="connsiteX759" fmla="*/ 986384 w 1505784"/>
                <a:gd name="connsiteY759" fmla="*/ 1381886 h 2539810"/>
                <a:gd name="connsiteX760" fmla="*/ 981620 w 1505784"/>
                <a:gd name="connsiteY760" fmla="*/ 1362826 h 2539810"/>
                <a:gd name="connsiteX761" fmla="*/ 829136 w 1505784"/>
                <a:gd name="connsiteY761" fmla="*/ 1348530 h 2539810"/>
                <a:gd name="connsiteX762" fmla="*/ 833900 w 1505784"/>
                <a:gd name="connsiteY762" fmla="*/ 1358058 h 2539810"/>
                <a:gd name="connsiteX763" fmla="*/ 829136 w 1505784"/>
                <a:gd name="connsiteY763" fmla="*/ 1362826 h 2539810"/>
                <a:gd name="connsiteX764" fmla="*/ 824368 w 1505784"/>
                <a:gd name="connsiteY764" fmla="*/ 1353294 h 2539810"/>
                <a:gd name="connsiteX765" fmla="*/ 800544 w 1505784"/>
                <a:gd name="connsiteY765" fmla="*/ 1338998 h 2539810"/>
                <a:gd name="connsiteX766" fmla="*/ 810072 w 1505784"/>
                <a:gd name="connsiteY766" fmla="*/ 1338998 h 2539810"/>
                <a:gd name="connsiteX767" fmla="*/ 805308 w 1505784"/>
                <a:gd name="connsiteY767" fmla="*/ 1343766 h 2539810"/>
                <a:gd name="connsiteX768" fmla="*/ 805308 w 1505784"/>
                <a:gd name="connsiteY768" fmla="*/ 1358058 h 2539810"/>
                <a:gd name="connsiteX769" fmla="*/ 800544 w 1505784"/>
                <a:gd name="connsiteY769" fmla="*/ 1386650 h 2539810"/>
                <a:gd name="connsiteX770" fmla="*/ 786248 w 1505784"/>
                <a:gd name="connsiteY770" fmla="*/ 1424770 h 2539810"/>
                <a:gd name="connsiteX771" fmla="*/ 781484 w 1505784"/>
                <a:gd name="connsiteY771" fmla="*/ 1415242 h 2539810"/>
                <a:gd name="connsiteX772" fmla="*/ 781484 w 1505784"/>
                <a:gd name="connsiteY772" fmla="*/ 1405710 h 2539810"/>
                <a:gd name="connsiteX773" fmla="*/ 776716 w 1505784"/>
                <a:gd name="connsiteY773" fmla="*/ 1396182 h 2539810"/>
                <a:gd name="connsiteX774" fmla="*/ 771952 w 1505784"/>
                <a:gd name="connsiteY774" fmla="*/ 1391414 h 2539810"/>
                <a:gd name="connsiteX775" fmla="*/ 776716 w 1505784"/>
                <a:gd name="connsiteY775" fmla="*/ 1381886 h 2539810"/>
                <a:gd name="connsiteX776" fmla="*/ 786248 w 1505784"/>
                <a:gd name="connsiteY776" fmla="*/ 1372354 h 2539810"/>
                <a:gd name="connsiteX777" fmla="*/ 786248 w 1505784"/>
                <a:gd name="connsiteY777" fmla="*/ 1348530 h 2539810"/>
                <a:gd name="connsiteX778" fmla="*/ 1038800 w 1505784"/>
                <a:gd name="connsiteY778" fmla="*/ 1334234 h 2539810"/>
                <a:gd name="connsiteX779" fmla="*/ 1053096 w 1505784"/>
                <a:gd name="connsiteY779" fmla="*/ 1348530 h 2539810"/>
                <a:gd name="connsiteX780" fmla="*/ 1062624 w 1505784"/>
                <a:gd name="connsiteY780" fmla="*/ 1372354 h 2539810"/>
                <a:gd name="connsiteX781" fmla="*/ 1062624 w 1505784"/>
                <a:gd name="connsiteY781" fmla="*/ 1386650 h 2539810"/>
                <a:gd name="connsiteX782" fmla="*/ 1057860 w 1505784"/>
                <a:gd name="connsiteY782" fmla="*/ 1381886 h 2539810"/>
                <a:gd name="connsiteX783" fmla="*/ 1038800 w 1505784"/>
                <a:gd name="connsiteY783" fmla="*/ 1353294 h 2539810"/>
                <a:gd name="connsiteX784" fmla="*/ 1034032 w 1505784"/>
                <a:gd name="connsiteY784" fmla="*/ 1343766 h 2539810"/>
                <a:gd name="connsiteX785" fmla="*/ 933968 w 1505784"/>
                <a:gd name="connsiteY785" fmla="*/ 1267522 h 2539810"/>
                <a:gd name="connsiteX786" fmla="*/ 943496 w 1505784"/>
                <a:gd name="connsiteY786" fmla="*/ 1267522 h 2539810"/>
                <a:gd name="connsiteX787" fmla="*/ 948264 w 1505784"/>
                <a:gd name="connsiteY787" fmla="*/ 1267522 h 2539810"/>
                <a:gd name="connsiteX788" fmla="*/ 976852 w 1505784"/>
                <a:gd name="connsiteY788" fmla="*/ 1300878 h 2539810"/>
                <a:gd name="connsiteX789" fmla="*/ 986384 w 1505784"/>
                <a:gd name="connsiteY789" fmla="*/ 1305642 h 2539810"/>
                <a:gd name="connsiteX790" fmla="*/ 1000680 w 1505784"/>
                <a:gd name="connsiteY790" fmla="*/ 1329470 h 2539810"/>
                <a:gd name="connsiteX791" fmla="*/ 986384 w 1505784"/>
                <a:gd name="connsiteY791" fmla="*/ 1315174 h 2539810"/>
                <a:gd name="connsiteX792" fmla="*/ 967324 w 1505784"/>
                <a:gd name="connsiteY792" fmla="*/ 1305642 h 2539810"/>
                <a:gd name="connsiteX793" fmla="*/ 953028 w 1505784"/>
                <a:gd name="connsiteY793" fmla="*/ 1286582 h 2539810"/>
                <a:gd name="connsiteX794" fmla="*/ 938732 w 1505784"/>
                <a:gd name="connsiteY794" fmla="*/ 1277054 h 2539810"/>
                <a:gd name="connsiteX795" fmla="*/ 933968 w 1505784"/>
                <a:gd name="connsiteY795" fmla="*/ 1277054 h 2539810"/>
                <a:gd name="connsiteX796" fmla="*/ 538460 w 1505784"/>
                <a:gd name="connsiteY796" fmla="*/ 1200810 h 2539810"/>
                <a:gd name="connsiteX797" fmla="*/ 547992 w 1505784"/>
                <a:gd name="connsiteY797" fmla="*/ 1200810 h 2539810"/>
                <a:gd name="connsiteX798" fmla="*/ 576584 w 1505784"/>
                <a:gd name="connsiteY798" fmla="*/ 1205578 h 2539810"/>
                <a:gd name="connsiteX799" fmla="*/ 586112 w 1505784"/>
                <a:gd name="connsiteY799" fmla="*/ 1205578 h 2539810"/>
                <a:gd name="connsiteX800" fmla="*/ 590876 w 1505784"/>
                <a:gd name="connsiteY800" fmla="*/ 1210342 h 2539810"/>
                <a:gd name="connsiteX801" fmla="*/ 614704 w 1505784"/>
                <a:gd name="connsiteY801" fmla="*/ 1205578 h 2539810"/>
                <a:gd name="connsiteX802" fmla="*/ 629000 w 1505784"/>
                <a:gd name="connsiteY802" fmla="*/ 1205578 h 2539810"/>
                <a:gd name="connsiteX803" fmla="*/ 633764 w 1505784"/>
                <a:gd name="connsiteY803" fmla="*/ 1215106 h 2539810"/>
                <a:gd name="connsiteX804" fmla="*/ 643296 w 1505784"/>
                <a:gd name="connsiteY804" fmla="*/ 1219870 h 2539810"/>
                <a:gd name="connsiteX805" fmla="*/ 648060 w 1505784"/>
                <a:gd name="connsiteY805" fmla="*/ 1224638 h 2539810"/>
                <a:gd name="connsiteX806" fmla="*/ 662356 w 1505784"/>
                <a:gd name="connsiteY806" fmla="*/ 1215106 h 2539810"/>
                <a:gd name="connsiteX807" fmla="*/ 676648 w 1505784"/>
                <a:gd name="connsiteY807" fmla="*/ 1224638 h 2539810"/>
                <a:gd name="connsiteX808" fmla="*/ 686180 w 1505784"/>
                <a:gd name="connsiteY808" fmla="*/ 1243698 h 2539810"/>
                <a:gd name="connsiteX809" fmla="*/ 700476 w 1505784"/>
                <a:gd name="connsiteY809" fmla="*/ 1253226 h 2539810"/>
                <a:gd name="connsiteX810" fmla="*/ 710004 w 1505784"/>
                <a:gd name="connsiteY810" fmla="*/ 1262758 h 2539810"/>
                <a:gd name="connsiteX811" fmla="*/ 714772 w 1505784"/>
                <a:gd name="connsiteY811" fmla="*/ 1267522 h 2539810"/>
                <a:gd name="connsiteX812" fmla="*/ 705240 w 1505784"/>
                <a:gd name="connsiteY812" fmla="*/ 1281818 h 2539810"/>
                <a:gd name="connsiteX813" fmla="*/ 705240 w 1505784"/>
                <a:gd name="connsiteY813" fmla="*/ 1296114 h 2539810"/>
                <a:gd name="connsiteX814" fmla="*/ 705240 w 1505784"/>
                <a:gd name="connsiteY814" fmla="*/ 1310410 h 2539810"/>
                <a:gd name="connsiteX815" fmla="*/ 714772 w 1505784"/>
                <a:gd name="connsiteY815" fmla="*/ 1343766 h 2539810"/>
                <a:gd name="connsiteX816" fmla="*/ 710004 w 1505784"/>
                <a:gd name="connsiteY816" fmla="*/ 1348530 h 2539810"/>
                <a:gd name="connsiteX817" fmla="*/ 700476 w 1505784"/>
                <a:gd name="connsiteY817" fmla="*/ 1362826 h 2539810"/>
                <a:gd name="connsiteX818" fmla="*/ 695712 w 1505784"/>
                <a:gd name="connsiteY818" fmla="*/ 1377122 h 2539810"/>
                <a:gd name="connsiteX819" fmla="*/ 695712 w 1505784"/>
                <a:gd name="connsiteY819" fmla="*/ 1381886 h 2539810"/>
                <a:gd name="connsiteX820" fmla="*/ 690944 w 1505784"/>
                <a:gd name="connsiteY820" fmla="*/ 1386650 h 2539810"/>
                <a:gd name="connsiteX821" fmla="*/ 690944 w 1505784"/>
                <a:gd name="connsiteY821" fmla="*/ 1396182 h 2539810"/>
                <a:gd name="connsiteX822" fmla="*/ 686180 w 1505784"/>
                <a:gd name="connsiteY822" fmla="*/ 1396182 h 2539810"/>
                <a:gd name="connsiteX823" fmla="*/ 681416 w 1505784"/>
                <a:gd name="connsiteY823" fmla="*/ 1396182 h 2539810"/>
                <a:gd name="connsiteX824" fmla="*/ 676648 w 1505784"/>
                <a:gd name="connsiteY824" fmla="*/ 1400946 h 2539810"/>
                <a:gd name="connsiteX825" fmla="*/ 667120 w 1505784"/>
                <a:gd name="connsiteY825" fmla="*/ 1410478 h 2539810"/>
                <a:gd name="connsiteX826" fmla="*/ 652824 w 1505784"/>
                <a:gd name="connsiteY826" fmla="*/ 1405710 h 2539810"/>
                <a:gd name="connsiteX827" fmla="*/ 648060 w 1505784"/>
                <a:gd name="connsiteY827" fmla="*/ 1405710 h 2539810"/>
                <a:gd name="connsiteX828" fmla="*/ 648060 w 1505784"/>
                <a:gd name="connsiteY828" fmla="*/ 1396182 h 2539810"/>
                <a:gd name="connsiteX829" fmla="*/ 643296 w 1505784"/>
                <a:gd name="connsiteY829" fmla="*/ 1391418 h 2539810"/>
                <a:gd name="connsiteX830" fmla="*/ 638528 w 1505784"/>
                <a:gd name="connsiteY830" fmla="*/ 1386650 h 2539810"/>
                <a:gd name="connsiteX831" fmla="*/ 624232 w 1505784"/>
                <a:gd name="connsiteY831" fmla="*/ 1372354 h 2539810"/>
                <a:gd name="connsiteX832" fmla="*/ 619468 w 1505784"/>
                <a:gd name="connsiteY832" fmla="*/ 1362826 h 2539810"/>
                <a:gd name="connsiteX833" fmla="*/ 619468 w 1505784"/>
                <a:gd name="connsiteY833" fmla="*/ 1348530 h 2539810"/>
                <a:gd name="connsiteX834" fmla="*/ 614704 w 1505784"/>
                <a:gd name="connsiteY834" fmla="*/ 1338998 h 2539810"/>
                <a:gd name="connsiteX835" fmla="*/ 609940 w 1505784"/>
                <a:gd name="connsiteY835" fmla="*/ 1329470 h 2539810"/>
                <a:gd name="connsiteX836" fmla="*/ 600408 w 1505784"/>
                <a:gd name="connsiteY836" fmla="*/ 1324706 h 2539810"/>
                <a:gd name="connsiteX837" fmla="*/ 595644 w 1505784"/>
                <a:gd name="connsiteY837" fmla="*/ 1319938 h 2539810"/>
                <a:gd name="connsiteX838" fmla="*/ 595644 w 1505784"/>
                <a:gd name="connsiteY838" fmla="*/ 1310410 h 2539810"/>
                <a:gd name="connsiteX839" fmla="*/ 590876 w 1505784"/>
                <a:gd name="connsiteY839" fmla="*/ 1286582 h 2539810"/>
                <a:gd name="connsiteX840" fmla="*/ 581348 w 1505784"/>
                <a:gd name="connsiteY840" fmla="*/ 1262758 h 2539810"/>
                <a:gd name="connsiteX841" fmla="*/ 576584 w 1505784"/>
                <a:gd name="connsiteY841" fmla="*/ 1257994 h 2539810"/>
                <a:gd name="connsiteX842" fmla="*/ 562288 w 1505784"/>
                <a:gd name="connsiteY842" fmla="*/ 1248462 h 2539810"/>
                <a:gd name="connsiteX843" fmla="*/ 552756 w 1505784"/>
                <a:gd name="connsiteY843" fmla="*/ 1243698 h 2539810"/>
                <a:gd name="connsiteX844" fmla="*/ 547992 w 1505784"/>
                <a:gd name="connsiteY844" fmla="*/ 1234166 h 2539810"/>
                <a:gd name="connsiteX845" fmla="*/ 543228 w 1505784"/>
                <a:gd name="connsiteY845" fmla="*/ 1219870 h 2539810"/>
                <a:gd name="connsiteX846" fmla="*/ 533696 w 1505784"/>
                <a:gd name="connsiteY846" fmla="*/ 1219870 h 2539810"/>
                <a:gd name="connsiteX847" fmla="*/ 528932 w 1505784"/>
                <a:gd name="connsiteY847" fmla="*/ 1215106 h 2539810"/>
                <a:gd name="connsiteX848" fmla="*/ 528932 w 1505784"/>
                <a:gd name="connsiteY848" fmla="*/ 1210342 h 2539810"/>
                <a:gd name="connsiteX849" fmla="*/ 767188 w 1505784"/>
                <a:gd name="connsiteY849" fmla="*/ 1191282 h 2539810"/>
                <a:gd name="connsiteX850" fmla="*/ 771952 w 1505784"/>
                <a:gd name="connsiteY850" fmla="*/ 1196046 h 2539810"/>
                <a:gd name="connsiteX851" fmla="*/ 781484 w 1505784"/>
                <a:gd name="connsiteY851" fmla="*/ 1196046 h 2539810"/>
                <a:gd name="connsiteX852" fmla="*/ 786248 w 1505784"/>
                <a:gd name="connsiteY852" fmla="*/ 1196046 h 2539810"/>
                <a:gd name="connsiteX853" fmla="*/ 805308 w 1505784"/>
                <a:gd name="connsiteY853" fmla="*/ 1210342 h 2539810"/>
                <a:gd name="connsiteX854" fmla="*/ 805308 w 1505784"/>
                <a:gd name="connsiteY854" fmla="*/ 1215106 h 2539810"/>
                <a:gd name="connsiteX855" fmla="*/ 805308 w 1505784"/>
                <a:gd name="connsiteY855" fmla="*/ 1224638 h 2539810"/>
                <a:gd name="connsiteX856" fmla="*/ 795776 w 1505784"/>
                <a:gd name="connsiteY856" fmla="*/ 1238930 h 2539810"/>
                <a:gd name="connsiteX857" fmla="*/ 791012 w 1505784"/>
                <a:gd name="connsiteY857" fmla="*/ 1243698 h 2539810"/>
                <a:gd name="connsiteX858" fmla="*/ 786248 w 1505784"/>
                <a:gd name="connsiteY858" fmla="*/ 1253226 h 2539810"/>
                <a:gd name="connsiteX859" fmla="*/ 767188 w 1505784"/>
                <a:gd name="connsiteY859" fmla="*/ 1238930 h 2539810"/>
                <a:gd name="connsiteX860" fmla="*/ 757656 w 1505784"/>
                <a:gd name="connsiteY860" fmla="*/ 1229402 h 2539810"/>
                <a:gd name="connsiteX861" fmla="*/ 757656 w 1505784"/>
                <a:gd name="connsiteY861" fmla="*/ 1215106 h 2539810"/>
                <a:gd name="connsiteX862" fmla="*/ 490808 w 1505784"/>
                <a:gd name="connsiteY862" fmla="*/ 1148394 h 2539810"/>
                <a:gd name="connsiteX863" fmla="*/ 505104 w 1505784"/>
                <a:gd name="connsiteY863" fmla="*/ 1153158 h 2539810"/>
                <a:gd name="connsiteX864" fmla="*/ 514636 w 1505784"/>
                <a:gd name="connsiteY864" fmla="*/ 1162690 h 2539810"/>
                <a:gd name="connsiteX865" fmla="*/ 514636 w 1505784"/>
                <a:gd name="connsiteY865" fmla="*/ 1172222 h 2539810"/>
                <a:gd name="connsiteX866" fmla="*/ 490808 w 1505784"/>
                <a:gd name="connsiteY866" fmla="*/ 1157926 h 2539810"/>
                <a:gd name="connsiteX867" fmla="*/ 490808 w 1505784"/>
                <a:gd name="connsiteY867" fmla="*/ 1153158 h 2539810"/>
                <a:gd name="connsiteX868" fmla="*/ 1134104 w 1505784"/>
                <a:gd name="connsiteY868" fmla="*/ 1110274 h 2539810"/>
                <a:gd name="connsiteX869" fmla="*/ 1148396 w 1505784"/>
                <a:gd name="connsiteY869" fmla="*/ 1129334 h 2539810"/>
                <a:gd name="connsiteX870" fmla="*/ 1153164 w 1505784"/>
                <a:gd name="connsiteY870" fmla="*/ 1134098 h 2539810"/>
                <a:gd name="connsiteX871" fmla="*/ 1162692 w 1505784"/>
                <a:gd name="connsiteY871" fmla="*/ 1143630 h 2539810"/>
                <a:gd name="connsiteX872" fmla="*/ 1162692 w 1505784"/>
                <a:gd name="connsiteY872" fmla="*/ 1162690 h 2539810"/>
                <a:gd name="connsiteX873" fmla="*/ 1162692 w 1505784"/>
                <a:gd name="connsiteY873" fmla="*/ 1172218 h 2539810"/>
                <a:gd name="connsiteX874" fmla="*/ 1153164 w 1505784"/>
                <a:gd name="connsiteY874" fmla="*/ 1181750 h 2539810"/>
                <a:gd name="connsiteX875" fmla="*/ 1148396 w 1505784"/>
                <a:gd name="connsiteY875" fmla="*/ 1191278 h 2539810"/>
                <a:gd name="connsiteX876" fmla="*/ 1143632 w 1505784"/>
                <a:gd name="connsiteY876" fmla="*/ 1191278 h 2539810"/>
                <a:gd name="connsiteX877" fmla="*/ 1138868 w 1505784"/>
                <a:gd name="connsiteY877" fmla="*/ 1191278 h 2539810"/>
                <a:gd name="connsiteX878" fmla="*/ 1124572 w 1505784"/>
                <a:gd name="connsiteY878" fmla="*/ 1200810 h 2539810"/>
                <a:gd name="connsiteX879" fmla="*/ 1110276 w 1505784"/>
                <a:gd name="connsiteY879" fmla="*/ 1186514 h 2539810"/>
                <a:gd name="connsiteX880" fmla="*/ 1105512 w 1505784"/>
                <a:gd name="connsiteY880" fmla="*/ 1176986 h 2539810"/>
                <a:gd name="connsiteX881" fmla="*/ 1119808 w 1505784"/>
                <a:gd name="connsiteY881" fmla="*/ 1157926 h 2539810"/>
                <a:gd name="connsiteX882" fmla="*/ 1119808 w 1505784"/>
                <a:gd name="connsiteY882" fmla="*/ 1124570 h 2539810"/>
                <a:gd name="connsiteX883" fmla="*/ 1124572 w 1505784"/>
                <a:gd name="connsiteY883" fmla="*/ 1119802 h 2539810"/>
                <a:gd name="connsiteX884" fmla="*/ 1129336 w 1505784"/>
                <a:gd name="connsiteY884" fmla="*/ 1115038 h 2539810"/>
                <a:gd name="connsiteX885" fmla="*/ 781484 w 1505784"/>
                <a:gd name="connsiteY885" fmla="*/ 1086450 h 2539810"/>
                <a:gd name="connsiteX886" fmla="*/ 814840 w 1505784"/>
                <a:gd name="connsiteY886" fmla="*/ 1115038 h 2539810"/>
                <a:gd name="connsiteX887" fmla="*/ 814840 w 1505784"/>
                <a:gd name="connsiteY887" fmla="*/ 1124570 h 2539810"/>
                <a:gd name="connsiteX888" fmla="*/ 781484 w 1505784"/>
                <a:gd name="connsiteY888" fmla="*/ 1095978 h 2539810"/>
                <a:gd name="connsiteX889" fmla="*/ 776720 w 1505784"/>
                <a:gd name="connsiteY889" fmla="*/ 1095978 h 2539810"/>
                <a:gd name="connsiteX890" fmla="*/ 776720 w 1505784"/>
                <a:gd name="connsiteY890" fmla="*/ 1091214 h 2539810"/>
                <a:gd name="connsiteX891" fmla="*/ 781484 w 1505784"/>
                <a:gd name="connsiteY891" fmla="*/ 953026 h 2539810"/>
                <a:gd name="connsiteX892" fmla="*/ 791012 w 1505784"/>
                <a:gd name="connsiteY892" fmla="*/ 962554 h 2539810"/>
                <a:gd name="connsiteX893" fmla="*/ 795776 w 1505784"/>
                <a:gd name="connsiteY893" fmla="*/ 967318 h 2539810"/>
                <a:gd name="connsiteX894" fmla="*/ 791012 w 1505784"/>
                <a:gd name="connsiteY894" fmla="*/ 967318 h 2539810"/>
                <a:gd name="connsiteX895" fmla="*/ 781484 w 1505784"/>
                <a:gd name="connsiteY895" fmla="*/ 976850 h 2539810"/>
                <a:gd name="connsiteX896" fmla="*/ 791012 w 1505784"/>
                <a:gd name="connsiteY896" fmla="*/ 1000674 h 2539810"/>
                <a:gd name="connsiteX897" fmla="*/ 786248 w 1505784"/>
                <a:gd name="connsiteY897" fmla="*/ 1014970 h 2539810"/>
                <a:gd name="connsiteX898" fmla="*/ 776716 w 1505784"/>
                <a:gd name="connsiteY898" fmla="*/ 1014970 h 2539810"/>
                <a:gd name="connsiteX899" fmla="*/ 771952 w 1505784"/>
                <a:gd name="connsiteY899" fmla="*/ 1014970 h 2539810"/>
                <a:gd name="connsiteX900" fmla="*/ 771952 w 1505784"/>
                <a:gd name="connsiteY900" fmla="*/ 1010206 h 2539810"/>
                <a:gd name="connsiteX901" fmla="*/ 776716 w 1505784"/>
                <a:gd name="connsiteY901" fmla="*/ 1005442 h 2539810"/>
                <a:gd name="connsiteX902" fmla="*/ 771952 w 1505784"/>
                <a:gd name="connsiteY902" fmla="*/ 995910 h 2539810"/>
                <a:gd name="connsiteX903" fmla="*/ 767188 w 1505784"/>
                <a:gd name="connsiteY903" fmla="*/ 986382 h 2539810"/>
                <a:gd name="connsiteX904" fmla="*/ 767188 w 1505784"/>
                <a:gd name="connsiteY904" fmla="*/ 976850 h 2539810"/>
                <a:gd name="connsiteX905" fmla="*/ 757656 w 1505784"/>
                <a:gd name="connsiteY905" fmla="*/ 967318 h 2539810"/>
                <a:gd name="connsiteX906" fmla="*/ 762424 w 1505784"/>
                <a:gd name="connsiteY906" fmla="*/ 957790 h 2539810"/>
                <a:gd name="connsiteX907" fmla="*/ 600408 w 1505784"/>
                <a:gd name="connsiteY907" fmla="*/ 371678 h 2539810"/>
                <a:gd name="connsiteX908" fmla="*/ 609936 w 1505784"/>
                <a:gd name="connsiteY908" fmla="*/ 376442 h 2539810"/>
                <a:gd name="connsiteX909" fmla="*/ 619468 w 1505784"/>
                <a:gd name="connsiteY909" fmla="*/ 376442 h 2539810"/>
                <a:gd name="connsiteX910" fmla="*/ 638528 w 1505784"/>
                <a:gd name="connsiteY910" fmla="*/ 371678 h 2539810"/>
                <a:gd name="connsiteX911" fmla="*/ 648060 w 1505784"/>
                <a:gd name="connsiteY911" fmla="*/ 371678 h 2539810"/>
                <a:gd name="connsiteX912" fmla="*/ 671884 w 1505784"/>
                <a:gd name="connsiteY912" fmla="*/ 381210 h 2539810"/>
                <a:gd name="connsiteX913" fmla="*/ 724300 w 1505784"/>
                <a:gd name="connsiteY913" fmla="*/ 409798 h 2539810"/>
                <a:gd name="connsiteX914" fmla="*/ 743360 w 1505784"/>
                <a:gd name="connsiteY914" fmla="*/ 419330 h 2539810"/>
                <a:gd name="connsiteX915" fmla="*/ 762420 w 1505784"/>
                <a:gd name="connsiteY915" fmla="*/ 424094 h 2539810"/>
                <a:gd name="connsiteX916" fmla="*/ 776716 w 1505784"/>
                <a:gd name="connsiteY916" fmla="*/ 424094 h 2539810"/>
                <a:gd name="connsiteX917" fmla="*/ 791012 w 1505784"/>
                <a:gd name="connsiteY917" fmla="*/ 419330 h 2539810"/>
                <a:gd name="connsiteX918" fmla="*/ 800544 w 1505784"/>
                <a:gd name="connsiteY918" fmla="*/ 409798 h 2539810"/>
                <a:gd name="connsiteX919" fmla="*/ 810072 w 1505784"/>
                <a:gd name="connsiteY919" fmla="*/ 390738 h 2539810"/>
                <a:gd name="connsiteX920" fmla="*/ 819604 w 1505784"/>
                <a:gd name="connsiteY920" fmla="*/ 390738 h 2539810"/>
                <a:gd name="connsiteX921" fmla="*/ 829132 w 1505784"/>
                <a:gd name="connsiteY921" fmla="*/ 400270 h 2539810"/>
                <a:gd name="connsiteX922" fmla="*/ 833900 w 1505784"/>
                <a:gd name="connsiteY922" fmla="*/ 405034 h 2539810"/>
                <a:gd name="connsiteX923" fmla="*/ 833900 w 1505784"/>
                <a:gd name="connsiteY923" fmla="*/ 419330 h 2539810"/>
                <a:gd name="connsiteX924" fmla="*/ 833900 w 1505784"/>
                <a:gd name="connsiteY924" fmla="*/ 433626 h 2539810"/>
                <a:gd name="connsiteX925" fmla="*/ 819604 w 1505784"/>
                <a:gd name="connsiteY925" fmla="*/ 447922 h 2539810"/>
                <a:gd name="connsiteX926" fmla="*/ 814836 w 1505784"/>
                <a:gd name="connsiteY926" fmla="*/ 462214 h 2539810"/>
                <a:gd name="connsiteX927" fmla="*/ 810072 w 1505784"/>
                <a:gd name="connsiteY927" fmla="*/ 514630 h 2539810"/>
                <a:gd name="connsiteX928" fmla="*/ 810072 w 1505784"/>
                <a:gd name="connsiteY928" fmla="*/ 528926 h 2539810"/>
                <a:gd name="connsiteX929" fmla="*/ 814836 w 1505784"/>
                <a:gd name="connsiteY929" fmla="*/ 543222 h 2539810"/>
                <a:gd name="connsiteX930" fmla="*/ 824368 w 1505784"/>
                <a:gd name="connsiteY930" fmla="*/ 567050 h 2539810"/>
                <a:gd name="connsiteX931" fmla="*/ 829132 w 1505784"/>
                <a:gd name="connsiteY931" fmla="*/ 571814 h 2539810"/>
                <a:gd name="connsiteX932" fmla="*/ 843428 w 1505784"/>
                <a:gd name="connsiteY932" fmla="*/ 581342 h 2539810"/>
                <a:gd name="connsiteX933" fmla="*/ 848192 w 1505784"/>
                <a:gd name="connsiteY933" fmla="*/ 586110 h 2539810"/>
                <a:gd name="connsiteX934" fmla="*/ 848192 w 1505784"/>
                <a:gd name="connsiteY934" fmla="*/ 600406 h 2539810"/>
                <a:gd name="connsiteX935" fmla="*/ 848192 w 1505784"/>
                <a:gd name="connsiteY935" fmla="*/ 609934 h 2539810"/>
                <a:gd name="connsiteX936" fmla="*/ 857724 w 1505784"/>
                <a:gd name="connsiteY936" fmla="*/ 609934 h 2539810"/>
                <a:gd name="connsiteX937" fmla="*/ 867256 w 1505784"/>
                <a:gd name="connsiteY937" fmla="*/ 614698 h 2539810"/>
                <a:gd name="connsiteX938" fmla="*/ 862488 w 1505784"/>
                <a:gd name="connsiteY938" fmla="*/ 628994 h 2539810"/>
                <a:gd name="connsiteX939" fmla="*/ 857724 w 1505784"/>
                <a:gd name="connsiteY939" fmla="*/ 638526 h 2539810"/>
                <a:gd name="connsiteX940" fmla="*/ 852960 w 1505784"/>
                <a:gd name="connsiteY940" fmla="*/ 667114 h 2539810"/>
                <a:gd name="connsiteX941" fmla="*/ 819604 w 1505784"/>
                <a:gd name="connsiteY941" fmla="*/ 729062 h 2539810"/>
                <a:gd name="connsiteX942" fmla="*/ 819604 w 1505784"/>
                <a:gd name="connsiteY942" fmla="*/ 743358 h 2539810"/>
                <a:gd name="connsiteX943" fmla="*/ 805308 w 1505784"/>
                <a:gd name="connsiteY943" fmla="*/ 771950 h 2539810"/>
                <a:gd name="connsiteX944" fmla="*/ 781484 w 1505784"/>
                <a:gd name="connsiteY944" fmla="*/ 771950 h 2539810"/>
                <a:gd name="connsiteX945" fmla="*/ 752892 w 1505784"/>
                <a:gd name="connsiteY945" fmla="*/ 786242 h 2539810"/>
                <a:gd name="connsiteX946" fmla="*/ 738596 w 1505784"/>
                <a:gd name="connsiteY946" fmla="*/ 795774 h 2539810"/>
                <a:gd name="connsiteX947" fmla="*/ 724300 w 1505784"/>
                <a:gd name="connsiteY947" fmla="*/ 810070 h 2539810"/>
                <a:gd name="connsiteX948" fmla="*/ 719536 w 1505784"/>
                <a:gd name="connsiteY948" fmla="*/ 829130 h 2539810"/>
                <a:gd name="connsiteX949" fmla="*/ 724300 w 1505784"/>
                <a:gd name="connsiteY949" fmla="*/ 833894 h 2539810"/>
                <a:gd name="connsiteX950" fmla="*/ 724300 w 1505784"/>
                <a:gd name="connsiteY950" fmla="*/ 843426 h 2539810"/>
                <a:gd name="connsiteX951" fmla="*/ 724300 w 1505784"/>
                <a:gd name="connsiteY951" fmla="*/ 852954 h 2539810"/>
                <a:gd name="connsiteX952" fmla="*/ 719536 w 1505784"/>
                <a:gd name="connsiteY952" fmla="*/ 862486 h 2539810"/>
                <a:gd name="connsiteX953" fmla="*/ 705240 w 1505784"/>
                <a:gd name="connsiteY953" fmla="*/ 881546 h 2539810"/>
                <a:gd name="connsiteX954" fmla="*/ 700476 w 1505784"/>
                <a:gd name="connsiteY954" fmla="*/ 895842 h 2539810"/>
                <a:gd name="connsiteX955" fmla="*/ 695708 w 1505784"/>
                <a:gd name="connsiteY955" fmla="*/ 900606 h 2539810"/>
                <a:gd name="connsiteX956" fmla="*/ 690944 w 1505784"/>
                <a:gd name="connsiteY956" fmla="*/ 910138 h 2539810"/>
                <a:gd name="connsiteX957" fmla="*/ 690944 w 1505784"/>
                <a:gd name="connsiteY957" fmla="*/ 919666 h 2539810"/>
                <a:gd name="connsiteX958" fmla="*/ 700476 w 1505784"/>
                <a:gd name="connsiteY958" fmla="*/ 929198 h 2539810"/>
                <a:gd name="connsiteX959" fmla="*/ 714772 w 1505784"/>
                <a:gd name="connsiteY959" fmla="*/ 962554 h 2539810"/>
                <a:gd name="connsiteX960" fmla="*/ 733832 w 1505784"/>
                <a:gd name="connsiteY960" fmla="*/ 995910 h 2539810"/>
                <a:gd name="connsiteX961" fmla="*/ 738596 w 1505784"/>
                <a:gd name="connsiteY961" fmla="*/ 1000674 h 2539810"/>
                <a:gd name="connsiteX962" fmla="*/ 738596 w 1505784"/>
                <a:gd name="connsiteY962" fmla="*/ 1005438 h 2539810"/>
                <a:gd name="connsiteX963" fmla="*/ 729064 w 1505784"/>
                <a:gd name="connsiteY963" fmla="*/ 1014970 h 2539810"/>
                <a:gd name="connsiteX964" fmla="*/ 729064 w 1505784"/>
                <a:gd name="connsiteY964" fmla="*/ 1029266 h 2539810"/>
                <a:gd name="connsiteX965" fmla="*/ 729064 w 1505784"/>
                <a:gd name="connsiteY965" fmla="*/ 1043562 h 2539810"/>
                <a:gd name="connsiteX966" fmla="*/ 748128 w 1505784"/>
                <a:gd name="connsiteY966" fmla="*/ 1086446 h 2539810"/>
                <a:gd name="connsiteX967" fmla="*/ 748128 w 1505784"/>
                <a:gd name="connsiteY967" fmla="*/ 1095978 h 2539810"/>
                <a:gd name="connsiteX968" fmla="*/ 752892 w 1505784"/>
                <a:gd name="connsiteY968" fmla="*/ 1105506 h 2539810"/>
                <a:gd name="connsiteX969" fmla="*/ 762420 w 1505784"/>
                <a:gd name="connsiteY969" fmla="*/ 1115038 h 2539810"/>
                <a:gd name="connsiteX970" fmla="*/ 771952 w 1505784"/>
                <a:gd name="connsiteY970" fmla="*/ 1119802 h 2539810"/>
                <a:gd name="connsiteX971" fmla="*/ 800544 w 1505784"/>
                <a:gd name="connsiteY971" fmla="*/ 1129334 h 2539810"/>
                <a:gd name="connsiteX972" fmla="*/ 810072 w 1505784"/>
                <a:gd name="connsiteY972" fmla="*/ 1134098 h 2539810"/>
                <a:gd name="connsiteX973" fmla="*/ 819604 w 1505784"/>
                <a:gd name="connsiteY973" fmla="*/ 1134098 h 2539810"/>
                <a:gd name="connsiteX974" fmla="*/ 824368 w 1505784"/>
                <a:gd name="connsiteY974" fmla="*/ 1124566 h 2539810"/>
                <a:gd name="connsiteX975" fmla="*/ 829132 w 1505784"/>
                <a:gd name="connsiteY975" fmla="*/ 1124566 h 2539810"/>
                <a:gd name="connsiteX976" fmla="*/ 829132 w 1505784"/>
                <a:gd name="connsiteY976" fmla="*/ 1115038 h 2539810"/>
                <a:gd name="connsiteX977" fmla="*/ 819604 w 1505784"/>
                <a:gd name="connsiteY977" fmla="*/ 1105506 h 2539810"/>
                <a:gd name="connsiteX978" fmla="*/ 819604 w 1505784"/>
                <a:gd name="connsiteY978" fmla="*/ 1100742 h 2539810"/>
                <a:gd name="connsiteX979" fmla="*/ 824368 w 1505784"/>
                <a:gd name="connsiteY979" fmla="*/ 1095978 h 2539810"/>
                <a:gd name="connsiteX980" fmla="*/ 829132 w 1505784"/>
                <a:gd name="connsiteY980" fmla="*/ 1091214 h 2539810"/>
                <a:gd name="connsiteX981" fmla="*/ 848192 w 1505784"/>
                <a:gd name="connsiteY981" fmla="*/ 1081682 h 2539810"/>
                <a:gd name="connsiteX982" fmla="*/ 862488 w 1505784"/>
                <a:gd name="connsiteY982" fmla="*/ 1072150 h 2539810"/>
                <a:gd name="connsiteX983" fmla="*/ 886316 w 1505784"/>
                <a:gd name="connsiteY983" fmla="*/ 1072150 h 2539810"/>
                <a:gd name="connsiteX984" fmla="*/ 905376 w 1505784"/>
                <a:gd name="connsiteY984" fmla="*/ 1076918 h 2539810"/>
                <a:gd name="connsiteX985" fmla="*/ 919672 w 1505784"/>
                <a:gd name="connsiteY985" fmla="*/ 1081682 h 2539810"/>
                <a:gd name="connsiteX986" fmla="*/ 933968 w 1505784"/>
                <a:gd name="connsiteY986" fmla="*/ 1091214 h 2539810"/>
                <a:gd name="connsiteX987" fmla="*/ 943496 w 1505784"/>
                <a:gd name="connsiteY987" fmla="*/ 1110274 h 2539810"/>
                <a:gd name="connsiteX988" fmla="*/ 953028 w 1505784"/>
                <a:gd name="connsiteY988" fmla="*/ 1129334 h 2539810"/>
                <a:gd name="connsiteX989" fmla="*/ 953028 w 1505784"/>
                <a:gd name="connsiteY989" fmla="*/ 1138862 h 2539810"/>
                <a:gd name="connsiteX990" fmla="*/ 953028 w 1505784"/>
                <a:gd name="connsiteY990" fmla="*/ 1148394 h 2539810"/>
                <a:gd name="connsiteX991" fmla="*/ 953028 w 1505784"/>
                <a:gd name="connsiteY991" fmla="*/ 1157922 h 2539810"/>
                <a:gd name="connsiteX992" fmla="*/ 957792 w 1505784"/>
                <a:gd name="connsiteY992" fmla="*/ 1162690 h 2539810"/>
                <a:gd name="connsiteX993" fmla="*/ 976852 w 1505784"/>
                <a:gd name="connsiteY993" fmla="*/ 1162690 h 2539810"/>
                <a:gd name="connsiteX994" fmla="*/ 986384 w 1505784"/>
                <a:gd name="connsiteY994" fmla="*/ 1148394 h 2539810"/>
                <a:gd name="connsiteX995" fmla="*/ 991148 w 1505784"/>
                <a:gd name="connsiteY995" fmla="*/ 1134098 h 2539810"/>
                <a:gd name="connsiteX996" fmla="*/ 981616 w 1505784"/>
                <a:gd name="connsiteY996" fmla="*/ 1129334 h 2539810"/>
                <a:gd name="connsiteX997" fmla="*/ 986384 w 1505784"/>
                <a:gd name="connsiteY997" fmla="*/ 1119802 h 2539810"/>
                <a:gd name="connsiteX998" fmla="*/ 991148 w 1505784"/>
                <a:gd name="connsiteY998" fmla="*/ 1115038 h 2539810"/>
                <a:gd name="connsiteX999" fmla="*/ 1000676 w 1505784"/>
                <a:gd name="connsiteY999" fmla="*/ 1119802 h 2539810"/>
                <a:gd name="connsiteX1000" fmla="*/ 1010208 w 1505784"/>
                <a:gd name="connsiteY1000" fmla="*/ 1129334 h 2539810"/>
                <a:gd name="connsiteX1001" fmla="*/ 1043564 w 1505784"/>
                <a:gd name="connsiteY1001" fmla="*/ 1138862 h 2539810"/>
                <a:gd name="connsiteX1002" fmla="*/ 1048328 w 1505784"/>
                <a:gd name="connsiteY1002" fmla="*/ 1138862 h 2539810"/>
                <a:gd name="connsiteX1003" fmla="*/ 1057860 w 1505784"/>
                <a:gd name="connsiteY1003" fmla="*/ 1143630 h 2539810"/>
                <a:gd name="connsiteX1004" fmla="*/ 1072156 w 1505784"/>
                <a:gd name="connsiteY1004" fmla="*/ 1148394 h 2539810"/>
                <a:gd name="connsiteX1005" fmla="*/ 1076920 w 1505784"/>
                <a:gd name="connsiteY1005" fmla="*/ 1153158 h 2539810"/>
                <a:gd name="connsiteX1006" fmla="*/ 1067388 w 1505784"/>
                <a:gd name="connsiteY1006" fmla="*/ 1167454 h 2539810"/>
                <a:gd name="connsiteX1007" fmla="*/ 1038800 w 1505784"/>
                <a:gd name="connsiteY1007" fmla="*/ 1172218 h 2539810"/>
                <a:gd name="connsiteX1008" fmla="*/ 1029268 w 1505784"/>
                <a:gd name="connsiteY1008" fmla="*/ 1181750 h 2539810"/>
                <a:gd name="connsiteX1009" fmla="*/ 1038800 w 1505784"/>
                <a:gd name="connsiteY1009" fmla="*/ 1200810 h 2539810"/>
                <a:gd name="connsiteX1010" fmla="*/ 1053096 w 1505784"/>
                <a:gd name="connsiteY1010" fmla="*/ 1215106 h 2539810"/>
                <a:gd name="connsiteX1011" fmla="*/ 1062624 w 1505784"/>
                <a:gd name="connsiteY1011" fmla="*/ 1229402 h 2539810"/>
                <a:gd name="connsiteX1012" fmla="*/ 1072156 w 1505784"/>
                <a:gd name="connsiteY1012" fmla="*/ 1238930 h 2539810"/>
                <a:gd name="connsiteX1013" fmla="*/ 1072156 w 1505784"/>
                <a:gd name="connsiteY1013" fmla="*/ 1253226 h 2539810"/>
                <a:gd name="connsiteX1014" fmla="*/ 1067388 w 1505784"/>
                <a:gd name="connsiteY1014" fmla="*/ 1267522 h 2539810"/>
                <a:gd name="connsiteX1015" fmla="*/ 1076920 w 1505784"/>
                <a:gd name="connsiteY1015" fmla="*/ 1267522 h 2539810"/>
                <a:gd name="connsiteX1016" fmla="*/ 1091216 w 1505784"/>
                <a:gd name="connsiteY1016" fmla="*/ 1267522 h 2539810"/>
                <a:gd name="connsiteX1017" fmla="*/ 1110276 w 1505784"/>
                <a:gd name="connsiteY1017" fmla="*/ 1277054 h 2539810"/>
                <a:gd name="connsiteX1018" fmla="*/ 1115040 w 1505784"/>
                <a:gd name="connsiteY1018" fmla="*/ 1281818 h 2539810"/>
                <a:gd name="connsiteX1019" fmla="*/ 1119808 w 1505784"/>
                <a:gd name="connsiteY1019" fmla="*/ 1277054 h 2539810"/>
                <a:gd name="connsiteX1020" fmla="*/ 1119808 w 1505784"/>
                <a:gd name="connsiteY1020" fmla="*/ 1319938 h 2539810"/>
                <a:gd name="connsiteX1021" fmla="*/ 1110276 w 1505784"/>
                <a:gd name="connsiteY1021" fmla="*/ 1353294 h 2539810"/>
                <a:gd name="connsiteX1022" fmla="*/ 1091216 w 1505784"/>
                <a:gd name="connsiteY1022" fmla="*/ 1348530 h 2539810"/>
                <a:gd name="connsiteX1023" fmla="*/ 1081684 w 1505784"/>
                <a:gd name="connsiteY1023" fmla="*/ 1334234 h 2539810"/>
                <a:gd name="connsiteX1024" fmla="*/ 1081684 w 1505784"/>
                <a:gd name="connsiteY1024" fmla="*/ 1315174 h 2539810"/>
                <a:gd name="connsiteX1025" fmla="*/ 1091216 w 1505784"/>
                <a:gd name="connsiteY1025" fmla="*/ 1296114 h 2539810"/>
                <a:gd name="connsiteX1026" fmla="*/ 1086452 w 1505784"/>
                <a:gd name="connsiteY1026" fmla="*/ 1291346 h 2539810"/>
                <a:gd name="connsiteX1027" fmla="*/ 1076920 w 1505784"/>
                <a:gd name="connsiteY1027" fmla="*/ 1296114 h 2539810"/>
                <a:gd name="connsiteX1028" fmla="*/ 1067388 w 1505784"/>
                <a:gd name="connsiteY1028" fmla="*/ 1300878 h 2539810"/>
                <a:gd name="connsiteX1029" fmla="*/ 1057860 w 1505784"/>
                <a:gd name="connsiteY1029" fmla="*/ 1300878 h 2539810"/>
                <a:gd name="connsiteX1030" fmla="*/ 1038800 w 1505784"/>
                <a:gd name="connsiteY1030" fmla="*/ 1296114 h 2539810"/>
                <a:gd name="connsiteX1031" fmla="*/ 1005444 w 1505784"/>
                <a:gd name="connsiteY1031" fmla="*/ 1277054 h 2539810"/>
                <a:gd name="connsiteX1032" fmla="*/ 991148 w 1505784"/>
                <a:gd name="connsiteY1032" fmla="*/ 1277054 h 2539810"/>
                <a:gd name="connsiteX1033" fmla="*/ 986384 w 1505784"/>
                <a:gd name="connsiteY1033" fmla="*/ 1267522 h 2539810"/>
                <a:gd name="connsiteX1034" fmla="*/ 986384 w 1505784"/>
                <a:gd name="connsiteY1034" fmla="*/ 1248462 h 2539810"/>
                <a:gd name="connsiteX1035" fmla="*/ 976852 w 1505784"/>
                <a:gd name="connsiteY1035" fmla="*/ 1229402 h 2539810"/>
                <a:gd name="connsiteX1036" fmla="*/ 972088 w 1505784"/>
                <a:gd name="connsiteY1036" fmla="*/ 1219870 h 2539810"/>
                <a:gd name="connsiteX1037" fmla="*/ 967320 w 1505784"/>
                <a:gd name="connsiteY1037" fmla="*/ 1215106 h 2539810"/>
                <a:gd name="connsiteX1038" fmla="*/ 924436 w 1505784"/>
                <a:gd name="connsiteY1038" fmla="*/ 1186514 h 2539810"/>
                <a:gd name="connsiteX1039" fmla="*/ 919672 w 1505784"/>
                <a:gd name="connsiteY1039" fmla="*/ 1186514 h 2539810"/>
                <a:gd name="connsiteX1040" fmla="*/ 910140 w 1505784"/>
                <a:gd name="connsiteY1040" fmla="*/ 1167454 h 2539810"/>
                <a:gd name="connsiteX1041" fmla="*/ 881548 w 1505784"/>
                <a:gd name="connsiteY1041" fmla="*/ 1138862 h 2539810"/>
                <a:gd name="connsiteX1042" fmla="*/ 872020 w 1505784"/>
                <a:gd name="connsiteY1042" fmla="*/ 1134098 h 2539810"/>
                <a:gd name="connsiteX1043" fmla="*/ 862488 w 1505784"/>
                <a:gd name="connsiteY1043" fmla="*/ 1134098 h 2539810"/>
                <a:gd name="connsiteX1044" fmla="*/ 857724 w 1505784"/>
                <a:gd name="connsiteY1044" fmla="*/ 1143630 h 2539810"/>
                <a:gd name="connsiteX1045" fmla="*/ 862488 w 1505784"/>
                <a:gd name="connsiteY1045" fmla="*/ 1153158 h 2539810"/>
                <a:gd name="connsiteX1046" fmla="*/ 867256 w 1505784"/>
                <a:gd name="connsiteY1046" fmla="*/ 1162690 h 2539810"/>
                <a:gd name="connsiteX1047" fmla="*/ 862488 w 1505784"/>
                <a:gd name="connsiteY1047" fmla="*/ 1172218 h 2539810"/>
                <a:gd name="connsiteX1048" fmla="*/ 867256 w 1505784"/>
                <a:gd name="connsiteY1048" fmla="*/ 1176986 h 2539810"/>
                <a:gd name="connsiteX1049" fmla="*/ 881548 w 1505784"/>
                <a:gd name="connsiteY1049" fmla="*/ 1191278 h 2539810"/>
                <a:gd name="connsiteX1050" fmla="*/ 881548 w 1505784"/>
                <a:gd name="connsiteY1050" fmla="*/ 1200810 h 2539810"/>
                <a:gd name="connsiteX1051" fmla="*/ 891080 w 1505784"/>
                <a:gd name="connsiteY1051" fmla="*/ 1219870 h 2539810"/>
                <a:gd name="connsiteX1052" fmla="*/ 891080 w 1505784"/>
                <a:gd name="connsiteY1052" fmla="*/ 1243698 h 2539810"/>
                <a:gd name="connsiteX1053" fmla="*/ 881548 w 1505784"/>
                <a:gd name="connsiteY1053" fmla="*/ 1253226 h 2539810"/>
                <a:gd name="connsiteX1054" fmla="*/ 867256 w 1505784"/>
                <a:gd name="connsiteY1054" fmla="*/ 1243698 h 2539810"/>
                <a:gd name="connsiteX1055" fmla="*/ 867256 w 1505784"/>
                <a:gd name="connsiteY1055" fmla="*/ 1234166 h 2539810"/>
                <a:gd name="connsiteX1056" fmla="*/ 862488 w 1505784"/>
                <a:gd name="connsiteY1056" fmla="*/ 1224634 h 2539810"/>
                <a:gd name="connsiteX1057" fmla="*/ 848192 w 1505784"/>
                <a:gd name="connsiteY1057" fmla="*/ 1205574 h 2539810"/>
                <a:gd name="connsiteX1058" fmla="*/ 843428 w 1505784"/>
                <a:gd name="connsiteY1058" fmla="*/ 1200810 h 2539810"/>
                <a:gd name="connsiteX1059" fmla="*/ 819604 w 1505784"/>
                <a:gd name="connsiteY1059" fmla="*/ 1181750 h 2539810"/>
                <a:gd name="connsiteX1060" fmla="*/ 795776 w 1505784"/>
                <a:gd name="connsiteY1060" fmla="*/ 1157922 h 2539810"/>
                <a:gd name="connsiteX1061" fmla="*/ 752892 w 1505784"/>
                <a:gd name="connsiteY1061" fmla="*/ 1134098 h 2539810"/>
                <a:gd name="connsiteX1062" fmla="*/ 748128 w 1505784"/>
                <a:gd name="connsiteY1062" fmla="*/ 1134098 h 2539810"/>
                <a:gd name="connsiteX1063" fmla="*/ 738596 w 1505784"/>
                <a:gd name="connsiteY1063" fmla="*/ 1134098 h 2539810"/>
                <a:gd name="connsiteX1064" fmla="*/ 729064 w 1505784"/>
                <a:gd name="connsiteY1064" fmla="*/ 1138862 h 2539810"/>
                <a:gd name="connsiteX1065" fmla="*/ 710004 w 1505784"/>
                <a:gd name="connsiteY1065" fmla="*/ 1148394 h 2539810"/>
                <a:gd name="connsiteX1066" fmla="*/ 700476 w 1505784"/>
                <a:gd name="connsiteY1066" fmla="*/ 1157922 h 2539810"/>
                <a:gd name="connsiteX1067" fmla="*/ 700476 w 1505784"/>
                <a:gd name="connsiteY1067" fmla="*/ 1167454 h 2539810"/>
                <a:gd name="connsiteX1068" fmla="*/ 686180 w 1505784"/>
                <a:gd name="connsiteY1068" fmla="*/ 1181750 h 2539810"/>
                <a:gd name="connsiteX1069" fmla="*/ 662352 w 1505784"/>
                <a:gd name="connsiteY1069" fmla="*/ 1181750 h 2539810"/>
                <a:gd name="connsiteX1070" fmla="*/ 643292 w 1505784"/>
                <a:gd name="connsiteY1070" fmla="*/ 1172218 h 2539810"/>
                <a:gd name="connsiteX1071" fmla="*/ 629000 w 1505784"/>
                <a:gd name="connsiteY1071" fmla="*/ 1162690 h 2539810"/>
                <a:gd name="connsiteX1072" fmla="*/ 619468 w 1505784"/>
                <a:gd name="connsiteY1072" fmla="*/ 1162690 h 2539810"/>
                <a:gd name="connsiteX1073" fmla="*/ 605172 w 1505784"/>
                <a:gd name="connsiteY1073" fmla="*/ 1143630 h 2539810"/>
                <a:gd name="connsiteX1074" fmla="*/ 586112 w 1505784"/>
                <a:gd name="connsiteY1074" fmla="*/ 1138862 h 2539810"/>
                <a:gd name="connsiteX1075" fmla="*/ 571816 w 1505784"/>
                <a:gd name="connsiteY1075" fmla="*/ 1153158 h 2539810"/>
                <a:gd name="connsiteX1076" fmla="*/ 571816 w 1505784"/>
                <a:gd name="connsiteY1076" fmla="*/ 1124566 h 2539810"/>
                <a:gd name="connsiteX1077" fmla="*/ 571816 w 1505784"/>
                <a:gd name="connsiteY1077" fmla="*/ 1091214 h 2539810"/>
                <a:gd name="connsiteX1078" fmla="*/ 576580 w 1505784"/>
                <a:gd name="connsiteY1078" fmla="*/ 1086446 h 2539810"/>
                <a:gd name="connsiteX1079" fmla="*/ 581348 w 1505784"/>
                <a:gd name="connsiteY1079" fmla="*/ 1076918 h 2539810"/>
                <a:gd name="connsiteX1080" fmla="*/ 619468 w 1505784"/>
                <a:gd name="connsiteY1080" fmla="*/ 1043562 h 2539810"/>
                <a:gd name="connsiteX1081" fmla="*/ 624232 w 1505784"/>
                <a:gd name="connsiteY1081" fmla="*/ 1034030 h 2539810"/>
                <a:gd name="connsiteX1082" fmla="*/ 619468 w 1505784"/>
                <a:gd name="connsiteY1082" fmla="*/ 1019734 h 2539810"/>
                <a:gd name="connsiteX1083" fmla="*/ 614704 w 1505784"/>
                <a:gd name="connsiteY1083" fmla="*/ 1010206 h 2539810"/>
                <a:gd name="connsiteX1084" fmla="*/ 600408 w 1505784"/>
                <a:gd name="connsiteY1084" fmla="*/ 1000674 h 2539810"/>
                <a:gd name="connsiteX1085" fmla="*/ 586112 w 1505784"/>
                <a:gd name="connsiteY1085" fmla="*/ 995910 h 2539810"/>
                <a:gd name="connsiteX1086" fmla="*/ 571816 w 1505784"/>
                <a:gd name="connsiteY1086" fmla="*/ 991146 h 2539810"/>
                <a:gd name="connsiteX1087" fmla="*/ 567052 w 1505784"/>
                <a:gd name="connsiteY1087" fmla="*/ 981614 h 2539810"/>
                <a:gd name="connsiteX1088" fmla="*/ 557520 w 1505784"/>
                <a:gd name="connsiteY1088" fmla="*/ 1000674 h 2539810"/>
                <a:gd name="connsiteX1089" fmla="*/ 567052 w 1505784"/>
                <a:gd name="connsiteY1089" fmla="*/ 1029266 h 2539810"/>
                <a:gd name="connsiteX1090" fmla="*/ 567052 w 1505784"/>
                <a:gd name="connsiteY1090" fmla="*/ 1043562 h 2539810"/>
                <a:gd name="connsiteX1091" fmla="*/ 562288 w 1505784"/>
                <a:gd name="connsiteY1091" fmla="*/ 1053090 h 2539810"/>
                <a:gd name="connsiteX1092" fmla="*/ 552756 w 1505784"/>
                <a:gd name="connsiteY1092" fmla="*/ 1053090 h 2539810"/>
                <a:gd name="connsiteX1093" fmla="*/ 543224 w 1505784"/>
                <a:gd name="connsiteY1093" fmla="*/ 1048326 h 2539810"/>
                <a:gd name="connsiteX1094" fmla="*/ 533696 w 1505784"/>
                <a:gd name="connsiteY1094" fmla="*/ 1043562 h 2539810"/>
                <a:gd name="connsiteX1095" fmla="*/ 528932 w 1505784"/>
                <a:gd name="connsiteY1095" fmla="*/ 1024502 h 2539810"/>
                <a:gd name="connsiteX1096" fmla="*/ 519400 w 1505784"/>
                <a:gd name="connsiteY1096" fmla="*/ 1014970 h 2539810"/>
                <a:gd name="connsiteX1097" fmla="*/ 514636 w 1505784"/>
                <a:gd name="connsiteY1097" fmla="*/ 995910 h 2539810"/>
                <a:gd name="connsiteX1098" fmla="*/ 509868 w 1505784"/>
                <a:gd name="connsiteY1098" fmla="*/ 991146 h 2539810"/>
                <a:gd name="connsiteX1099" fmla="*/ 495576 w 1505784"/>
                <a:gd name="connsiteY1099" fmla="*/ 995910 h 2539810"/>
                <a:gd name="connsiteX1100" fmla="*/ 486044 w 1505784"/>
                <a:gd name="connsiteY1100" fmla="*/ 986378 h 2539810"/>
                <a:gd name="connsiteX1101" fmla="*/ 481280 w 1505784"/>
                <a:gd name="connsiteY1101" fmla="*/ 967318 h 2539810"/>
                <a:gd name="connsiteX1102" fmla="*/ 481280 w 1505784"/>
                <a:gd name="connsiteY1102" fmla="*/ 943494 h 2539810"/>
                <a:gd name="connsiteX1103" fmla="*/ 476516 w 1505784"/>
                <a:gd name="connsiteY1103" fmla="*/ 924434 h 2539810"/>
                <a:gd name="connsiteX1104" fmla="*/ 466984 w 1505784"/>
                <a:gd name="connsiteY1104" fmla="*/ 905374 h 2539810"/>
                <a:gd name="connsiteX1105" fmla="*/ 462220 w 1505784"/>
                <a:gd name="connsiteY1105" fmla="*/ 891078 h 2539810"/>
                <a:gd name="connsiteX1106" fmla="*/ 457452 w 1505784"/>
                <a:gd name="connsiteY1106" fmla="*/ 824366 h 2539810"/>
                <a:gd name="connsiteX1107" fmla="*/ 457452 w 1505784"/>
                <a:gd name="connsiteY1107" fmla="*/ 819598 h 2539810"/>
                <a:gd name="connsiteX1108" fmla="*/ 452688 w 1505784"/>
                <a:gd name="connsiteY1108" fmla="*/ 814834 h 2539810"/>
                <a:gd name="connsiteX1109" fmla="*/ 443160 w 1505784"/>
                <a:gd name="connsiteY1109" fmla="*/ 810070 h 2539810"/>
                <a:gd name="connsiteX1110" fmla="*/ 438392 w 1505784"/>
                <a:gd name="connsiteY1110" fmla="*/ 800538 h 2539810"/>
                <a:gd name="connsiteX1111" fmla="*/ 438392 w 1505784"/>
                <a:gd name="connsiteY1111" fmla="*/ 791010 h 2539810"/>
                <a:gd name="connsiteX1112" fmla="*/ 438392 w 1505784"/>
                <a:gd name="connsiteY1112" fmla="*/ 757654 h 2539810"/>
                <a:gd name="connsiteX1113" fmla="*/ 443160 w 1505784"/>
                <a:gd name="connsiteY1113" fmla="*/ 752890 h 2539810"/>
                <a:gd name="connsiteX1114" fmla="*/ 447924 w 1505784"/>
                <a:gd name="connsiteY1114" fmla="*/ 748122 h 2539810"/>
                <a:gd name="connsiteX1115" fmla="*/ 457452 w 1505784"/>
                <a:gd name="connsiteY1115" fmla="*/ 752890 h 2539810"/>
                <a:gd name="connsiteX1116" fmla="*/ 462220 w 1505784"/>
                <a:gd name="connsiteY1116" fmla="*/ 762418 h 2539810"/>
                <a:gd name="connsiteX1117" fmla="*/ 471748 w 1505784"/>
                <a:gd name="connsiteY1117" fmla="*/ 762418 h 2539810"/>
                <a:gd name="connsiteX1118" fmla="*/ 481280 w 1505784"/>
                <a:gd name="connsiteY1118" fmla="*/ 771950 h 2539810"/>
                <a:gd name="connsiteX1119" fmla="*/ 495576 w 1505784"/>
                <a:gd name="connsiteY1119" fmla="*/ 791010 h 2539810"/>
                <a:gd name="connsiteX1120" fmla="*/ 500340 w 1505784"/>
                <a:gd name="connsiteY1120" fmla="*/ 791010 h 2539810"/>
                <a:gd name="connsiteX1121" fmla="*/ 514636 w 1505784"/>
                <a:gd name="connsiteY1121" fmla="*/ 791010 h 2539810"/>
                <a:gd name="connsiteX1122" fmla="*/ 528932 w 1505784"/>
                <a:gd name="connsiteY1122" fmla="*/ 791010 h 2539810"/>
                <a:gd name="connsiteX1123" fmla="*/ 533696 w 1505784"/>
                <a:gd name="connsiteY1123" fmla="*/ 781478 h 2539810"/>
                <a:gd name="connsiteX1124" fmla="*/ 533696 w 1505784"/>
                <a:gd name="connsiteY1124" fmla="*/ 771950 h 2539810"/>
                <a:gd name="connsiteX1125" fmla="*/ 533696 w 1505784"/>
                <a:gd name="connsiteY1125" fmla="*/ 762418 h 2539810"/>
                <a:gd name="connsiteX1126" fmla="*/ 524164 w 1505784"/>
                <a:gd name="connsiteY1126" fmla="*/ 733826 h 2539810"/>
                <a:gd name="connsiteX1127" fmla="*/ 519400 w 1505784"/>
                <a:gd name="connsiteY1127" fmla="*/ 714766 h 2539810"/>
                <a:gd name="connsiteX1128" fmla="*/ 519400 w 1505784"/>
                <a:gd name="connsiteY1128" fmla="*/ 695706 h 2539810"/>
                <a:gd name="connsiteX1129" fmla="*/ 524164 w 1505784"/>
                <a:gd name="connsiteY1129" fmla="*/ 676646 h 2539810"/>
                <a:gd name="connsiteX1130" fmla="*/ 538460 w 1505784"/>
                <a:gd name="connsiteY1130" fmla="*/ 643290 h 2539810"/>
                <a:gd name="connsiteX1131" fmla="*/ 538460 w 1505784"/>
                <a:gd name="connsiteY1131" fmla="*/ 624230 h 2539810"/>
                <a:gd name="connsiteX1132" fmla="*/ 538460 w 1505784"/>
                <a:gd name="connsiteY1132" fmla="*/ 590874 h 2539810"/>
                <a:gd name="connsiteX1133" fmla="*/ 543224 w 1505784"/>
                <a:gd name="connsiteY1133" fmla="*/ 576578 h 2539810"/>
                <a:gd name="connsiteX1134" fmla="*/ 538460 w 1505784"/>
                <a:gd name="connsiteY1134" fmla="*/ 567050 h 2539810"/>
                <a:gd name="connsiteX1135" fmla="*/ 533696 w 1505784"/>
                <a:gd name="connsiteY1135" fmla="*/ 547986 h 2539810"/>
                <a:gd name="connsiteX1136" fmla="*/ 528932 w 1505784"/>
                <a:gd name="connsiteY1136" fmla="*/ 533694 h 2539810"/>
                <a:gd name="connsiteX1137" fmla="*/ 552756 w 1505784"/>
                <a:gd name="connsiteY1137" fmla="*/ 447922 h 2539810"/>
                <a:gd name="connsiteX1138" fmla="*/ 557520 w 1505784"/>
                <a:gd name="connsiteY1138" fmla="*/ 428858 h 2539810"/>
                <a:gd name="connsiteX1139" fmla="*/ 567052 w 1505784"/>
                <a:gd name="connsiteY1139" fmla="*/ 414566 h 2539810"/>
                <a:gd name="connsiteX1140" fmla="*/ 567052 w 1505784"/>
                <a:gd name="connsiteY1140" fmla="*/ 390738 h 2539810"/>
                <a:gd name="connsiteX1141" fmla="*/ 586112 w 1505784"/>
                <a:gd name="connsiteY1141" fmla="*/ 381210 h 2539810"/>
                <a:gd name="connsiteX1142" fmla="*/ 776716 w 1505784"/>
                <a:gd name="connsiteY1142" fmla="*/ 304966 h 2539810"/>
                <a:gd name="connsiteX1143" fmla="*/ 786248 w 1505784"/>
                <a:gd name="connsiteY1143" fmla="*/ 314498 h 2539810"/>
                <a:gd name="connsiteX1144" fmla="*/ 771952 w 1505784"/>
                <a:gd name="connsiteY1144" fmla="*/ 324026 h 2539810"/>
                <a:gd name="connsiteX1145" fmla="*/ 762424 w 1505784"/>
                <a:gd name="connsiteY1145" fmla="*/ 338322 h 2539810"/>
                <a:gd name="connsiteX1146" fmla="*/ 757656 w 1505784"/>
                <a:gd name="connsiteY1146" fmla="*/ 333558 h 2539810"/>
                <a:gd name="connsiteX1147" fmla="*/ 762424 w 1505784"/>
                <a:gd name="connsiteY1147" fmla="*/ 324026 h 2539810"/>
                <a:gd name="connsiteX1148" fmla="*/ 762424 w 1505784"/>
                <a:gd name="connsiteY1148" fmla="*/ 319262 h 2539810"/>
                <a:gd name="connsiteX1149" fmla="*/ 767188 w 1505784"/>
                <a:gd name="connsiteY1149" fmla="*/ 309734 h 2539810"/>
                <a:gd name="connsiteX1150" fmla="*/ 662352 w 1505784"/>
                <a:gd name="connsiteY1150" fmla="*/ 276378 h 2539810"/>
                <a:gd name="connsiteX1151" fmla="*/ 667120 w 1505784"/>
                <a:gd name="connsiteY1151" fmla="*/ 285906 h 2539810"/>
                <a:gd name="connsiteX1152" fmla="*/ 671884 w 1505784"/>
                <a:gd name="connsiteY1152" fmla="*/ 295438 h 2539810"/>
                <a:gd name="connsiteX1153" fmla="*/ 667120 w 1505784"/>
                <a:gd name="connsiteY1153" fmla="*/ 304966 h 2539810"/>
                <a:gd name="connsiteX1154" fmla="*/ 662352 w 1505784"/>
                <a:gd name="connsiteY1154" fmla="*/ 300202 h 2539810"/>
                <a:gd name="connsiteX1155" fmla="*/ 657588 w 1505784"/>
                <a:gd name="connsiteY1155" fmla="*/ 290670 h 2539810"/>
                <a:gd name="connsiteX1156" fmla="*/ 662352 w 1505784"/>
                <a:gd name="connsiteY1156" fmla="*/ 285906 h 2539810"/>
                <a:gd name="connsiteX1157" fmla="*/ 690944 w 1505784"/>
                <a:gd name="connsiteY1157" fmla="*/ 243022 h 2539810"/>
                <a:gd name="connsiteX1158" fmla="*/ 710004 w 1505784"/>
                <a:gd name="connsiteY1158" fmla="*/ 247786 h 2539810"/>
                <a:gd name="connsiteX1159" fmla="*/ 714772 w 1505784"/>
                <a:gd name="connsiteY1159" fmla="*/ 262082 h 2539810"/>
                <a:gd name="connsiteX1160" fmla="*/ 705240 w 1505784"/>
                <a:gd name="connsiteY1160" fmla="*/ 262082 h 2539810"/>
                <a:gd name="connsiteX1161" fmla="*/ 690944 w 1505784"/>
                <a:gd name="connsiteY1161" fmla="*/ 252550 h 2539810"/>
                <a:gd name="connsiteX1162" fmla="*/ 690944 w 1505784"/>
                <a:gd name="connsiteY1162" fmla="*/ 247786 h 2539810"/>
                <a:gd name="connsiteX1163" fmla="*/ 786248 w 1505784"/>
                <a:gd name="connsiteY1163" fmla="*/ 61946 h 2539810"/>
                <a:gd name="connsiteX1164" fmla="*/ 791012 w 1505784"/>
                <a:gd name="connsiteY1164" fmla="*/ 66712 h 2539810"/>
                <a:gd name="connsiteX1165" fmla="*/ 781484 w 1505784"/>
                <a:gd name="connsiteY1165" fmla="*/ 81006 h 2539810"/>
                <a:gd name="connsiteX1166" fmla="*/ 776716 w 1505784"/>
                <a:gd name="connsiteY1166" fmla="*/ 85772 h 2539810"/>
                <a:gd name="connsiteX1167" fmla="*/ 771952 w 1505784"/>
                <a:gd name="connsiteY1167" fmla="*/ 81006 h 2539810"/>
                <a:gd name="connsiteX1168" fmla="*/ 776716 w 1505784"/>
                <a:gd name="connsiteY1168" fmla="*/ 66712 h 2539810"/>
                <a:gd name="connsiteX1169" fmla="*/ 762424 w 1505784"/>
                <a:gd name="connsiteY1169" fmla="*/ 0 h 2539810"/>
                <a:gd name="connsiteX1170" fmla="*/ 767188 w 1505784"/>
                <a:gd name="connsiteY1170" fmla="*/ 4766 h 2539810"/>
                <a:gd name="connsiteX1171" fmla="*/ 767188 w 1505784"/>
                <a:gd name="connsiteY1171" fmla="*/ 14294 h 2539810"/>
                <a:gd name="connsiteX1172" fmla="*/ 767188 w 1505784"/>
                <a:gd name="connsiteY1172" fmla="*/ 14296 h 2539810"/>
                <a:gd name="connsiteX1173" fmla="*/ 757656 w 1505784"/>
                <a:gd name="connsiteY1173" fmla="*/ 28590 h 2539810"/>
                <a:gd name="connsiteX1174" fmla="*/ 752892 w 1505784"/>
                <a:gd name="connsiteY1174" fmla="*/ 23826 h 2539810"/>
                <a:gd name="connsiteX1175" fmla="*/ 752892 w 1505784"/>
                <a:gd name="connsiteY1175" fmla="*/ 19060 h 2539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</a:cxnLst>
              <a:rect l="l" t="t" r="r" b="b"/>
              <a:pathLst>
                <a:path w="1505784" h="2539810">
                  <a:moveTo>
                    <a:pt x="500340" y="2496926"/>
                  </a:moveTo>
                  <a:lnTo>
                    <a:pt x="505104" y="2496926"/>
                  </a:lnTo>
                  <a:lnTo>
                    <a:pt x="509872" y="2506454"/>
                  </a:lnTo>
                  <a:lnTo>
                    <a:pt x="514636" y="2511222"/>
                  </a:lnTo>
                  <a:lnTo>
                    <a:pt x="509872" y="2520750"/>
                  </a:lnTo>
                  <a:lnTo>
                    <a:pt x="505104" y="2525514"/>
                  </a:lnTo>
                  <a:lnTo>
                    <a:pt x="495576" y="2520750"/>
                  </a:lnTo>
                  <a:lnTo>
                    <a:pt x="490812" y="2515986"/>
                  </a:lnTo>
                  <a:lnTo>
                    <a:pt x="490812" y="2525514"/>
                  </a:lnTo>
                  <a:lnTo>
                    <a:pt x="476516" y="2525514"/>
                  </a:lnTo>
                  <a:lnTo>
                    <a:pt x="466984" y="2539810"/>
                  </a:lnTo>
                  <a:lnTo>
                    <a:pt x="452688" y="2539810"/>
                  </a:lnTo>
                  <a:lnTo>
                    <a:pt x="447924" y="2539810"/>
                  </a:lnTo>
                  <a:lnTo>
                    <a:pt x="447924" y="2530282"/>
                  </a:lnTo>
                  <a:lnTo>
                    <a:pt x="471748" y="2515986"/>
                  </a:lnTo>
                  <a:lnTo>
                    <a:pt x="486044" y="2511222"/>
                  </a:lnTo>
                  <a:close/>
                  <a:moveTo>
                    <a:pt x="633764" y="2377798"/>
                  </a:moveTo>
                  <a:lnTo>
                    <a:pt x="652824" y="2382562"/>
                  </a:lnTo>
                  <a:lnTo>
                    <a:pt x="662356" y="2392094"/>
                  </a:lnTo>
                  <a:lnTo>
                    <a:pt x="671884" y="2387326"/>
                  </a:lnTo>
                  <a:lnTo>
                    <a:pt x="690944" y="2392094"/>
                  </a:lnTo>
                  <a:lnTo>
                    <a:pt x="695712" y="2396858"/>
                  </a:lnTo>
                  <a:lnTo>
                    <a:pt x="695712" y="2401622"/>
                  </a:lnTo>
                  <a:lnTo>
                    <a:pt x="676648" y="2415918"/>
                  </a:lnTo>
                  <a:lnTo>
                    <a:pt x="662356" y="2401622"/>
                  </a:lnTo>
                  <a:lnTo>
                    <a:pt x="643292" y="2411154"/>
                  </a:lnTo>
                  <a:lnTo>
                    <a:pt x="633764" y="2406386"/>
                  </a:lnTo>
                  <a:lnTo>
                    <a:pt x="619468" y="2411154"/>
                  </a:lnTo>
                  <a:lnTo>
                    <a:pt x="609936" y="2401622"/>
                  </a:lnTo>
                  <a:lnTo>
                    <a:pt x="614704" y="2392094"/>
                  </a:lnTo>
                  <a:close/>
                  <a:moveTo>
                    <a:pt x="795776" y="2277730"/>
                  </a:moveTo>
                  <a:lnTo>
                    <a:pt x="829132" y="2292026"/>
                  </a:lnTo>
                  <a:lnTo>
                    <a:pt x="838664" y="2296790"/>
                  </a:lnTo>
                  <a:lnTo>
                    <a:pt x="824368" y="2301554"/>
                  </a:lnTo>
                  <a:lnTo>
                    <a:pt x="819604" y="2315850"/>
                  </a:lnTo>
                  <a:lnTo>
                    <a:pt x="800544" y="2325378"/>
                  </a:lnTo>
                  <a:lnTo>
                    <a:pt x="786248" y="2330146"/>
                  </a:lnTo>
                  <a:lnTo>
                    <a:pt x="781484" y="2325378"/>
                  </a:lnTo>
                  <a:lnTo>
                    <a:pt x="767188" y="2311086"/>
                  </a:lnTo>
                  <a:lnTo>
                    <a:pt x="767188" y="2306318"/>
                  </a:lnTo>
                  <a:lnTo>
                    <a:pt x="757656" y="2296790"/>
                  </a:lnTo>
                  <a:lnTo>
                    <a:pt x="762424" y="2287258"/>
                  </a:lnTo>
                  <a:lnTo>
                    <a:pt x="771952" y="2287258"/>
                  </a:lnTo>
                  <a:close/>
                  <a:moveTo>
                    <a:pt x="1367592" y="2206254"/>
                  </a:moveTo>
                  <a:lnTo>
                    <a:pt x="1377124" y="2215782"/>
                  </a:lnTo>
                  <a:lnTo>
                    <a:pt x="1377124" y="2239606"/>
                  </a:lnTo>
                  <a:lnTo>
                    <a:pt x="1377124" y="2249138"/>
                  </a:lnTo>
                  <a:lnTo>
                    <a:pt x="1367592" y="2230078"/>
                  </a:lnTo>
                  <a:lnTo>
                    <a:pt x="1362828" y="2225314"/>
                  </a:lnTo>
                  <a:close/>
                  <a:moveTo>
                    <a:pt x="914908" y="2168130"/>
                  </a:moveTo>
                  <a:lnTo>
                    <a:pt x="924436" y="2172898"/>
                  </a:lnTo>
                  <a:lnTo>
                    <a:pt x="929200" y="2168130"/>
                  </a:lnTo>
                  <a:lnTo>
                    <a:pt x="933968" y="2172898"/>
                  </a:lnTo>
                  <a:lnTo>
                    <a:pt x="933968" y="2177662"/>
                  </a:lnTo>
                  <a:lnTo>
                    <a:pt x="919672" y="2187194"/>
                  </a:lnTo>
                  <a:lnTo>
                    <a:pt x="910140" y="2187194"/>
                  </a:lnTo>
                  <a:lnTo>
                    <a:pt x="910140" y="2172898"/>
                  </a:lnTo>
                  <a:close/>
                  <a:moveTo>
                    <a:pt x="4768" y="2068066"/>
                  </a:moveTo>
                  <a:lnTo>
                    <a:pt x="19064" y="2068066"/>
                  </a:lnTo>
                  <a:lnTo>
                    <a:pt x="19064" y="2096654"/>
                  </a:lnTo>
                  <a:lnTo>
                    <a:pt x="9532" y="2110950"/>
                  </a:lnTo>
                  <a:lnTo>
                    <a:pt x="0" y="2096654"/>
                  </a:lnTo>
                  <a:lnTo>
                    <a:pt x="0" y="2077594"/>
                  </a:lnTo>
                  <a:close/>
                  <a:moveTo>
                    <a:pt x="47652" y="2029942"/>
                  </a:moveTo>
                  <a:lnTo>
                    <a:pt x="57184" y="2029942"/>
                  </a:lnTo>
                  <a:lnTo>
                    <a:pt x="61948" y="2034710"/>
                  </a:lnTo>
                  <a:lnTo>
                    <a:pt x="61948" y="2044238"/>
                  </a:lnTo>
                  <a:lnTo>
                    <a:pt x="47652" y="2049006"/>
                  </a:lnTo>
                  <a:lnTo>
                    <a:pt x="47652" y="2039474"/>
                  </a:lnTo>
                  <a:close/>
                  <a:moveTo>
                    <a:pt x="1210344" y="1882226"/>
                  </a:moveTo>
                  <a:lnTo>
                    <a:pt x="1215108" y="1882226"/>
                  </a:lnTo>
                  <a:lnTo>
                    <a:pt x="1219876" y="1891754"/>
                  </a:lnTo>
                  <a:lnTo>
                    <a:pt x="1224640" y="1896518"/>
                  </a:lnTo>
                  <a:lnTo>
                    <a:pt x="1219876" y="1906050"/>
                  </a:lnTo>
                  <a:lnTo>
                    <a:pt x="1200816" y="1901286"/>
                  </a:lnTo>
                  <a:lnTo>
                    <a:pt x="1200816" y="1891754"/>
                  </a:lnTo>
                  <a:lnTo>
                    <a:pt x="1200816" y="1886990"/>
                  </a:lnTo>
                  <a:close/>
                  <a:moveTo>
                    <a:pt x="1038800" y="1877458"/>
                  </a:moveTo>
                  <a:lnTo>
                    <a:pt x="1043564" y="1877458"/>
                  </a:lnTo>
                  <a:lnTo>
                    <a:pt x="1053096" y="1882226"/>
                  </a:lnTo>
                  <a:lnTo>
                    <a:pt x="1053096" y="1901286"/>
                  </a:lnTo>
                  <a:lnTo>
                    <a:pt x="1038800" y="1906050"/>
                  </a:lnTo>
                  <a:lnTo>
                    <a:pt x="1024504" y="1901286"/>
                  </a:lnTo>
                  <a:lnTo>
                    <a:pt x="1019740" y="1891754"/>
                  </a:lnTo>
                  <a:lnTo>
                    <a:pt x="1019740" y="1886990"/>
                  </a:lnTo>
                  <a:lnTo>
                    <a:pt x="1024504" y="1886990"/>
                  </a:lnTo>
                  <a:close/>
                  <a:moveTo>
                    <a:pt x="1405712" y="1801218"/>
                  </a:moveTo>
                  <a:lnTo>
                    <a:pt x="1410480" y="1810746"/>
                  </a:lnTo>
                  <a:lnTo>
                    <a:pt x="1405712" y="1825042"/>
                  </a:lnTo>
                  <a:lnTo>
                    <a:pt x="1405712" y="1829810"/>
                  </a:lnTo>
                  <a:lnTo>
                    <a:pt x="1400948" y="1820278"/>
                  </a:lnTo>
                  <a:close/>
                  <a:moveTo>
                    <a:pt x="1329472" y="1801218"/>
                  </a:moveTo>
                  <a:lnTo>
                    <a:pt x="1334236" y="1801218"/>
                  </a:lnTo>
                  <a:lnTo>
                    <a:pt x="1353296" y="1815514"/>
                  </a:lnTo>
                  <a:lnTo>
                    <a:pt x="1391420" y="1839338"/>
                  </a:lnTo>
                  <a:lnTo>
                    <a:pt x="1405716" y="1853634"/>
                  </a:lnTo>
                  <a:lnTo>
                    <a:pt x="1410480" y="1867930"/>
                  </a:lnTo>
                  <a:lnTo>
                    <a:pt x="1424776" y="1877458"/>
                  </a:lnTo>
                  <a:lnTo>
                    <a:pt x="1439072" y="1877458"/>
                  </a:lnTo>
                  <a:lnTo>
                    <a:pt x="1439072" y="1901286"/>
                  </a:lnTo>
                  <a:lnTo>
                    <a:pt x="1443836" y="1906050"/>
                  </a:lnTo>
                  <a:lnTo>
                    <a:pt x="1458132" y="1929874"/>
                  </a:lnTo>
                  <a:lnTo>
                    <a:pt x="1462896" y="1944170"/>
                  </a:lnTo>
                  <a:lnTo>
                    <a:pt x="1453364" y="1958466"/>
                  </a:lnTo>
                  <a:lnTo>
                    <a:pt x="1443836" y="1967998"/>
                  </a:lnTo>
                  <a:lnTo>
                    <a:pt x="1434304" y="1977526"/>
                  </a:lnTo>
                  <a:lnTo>
                    <a:pt x="1434304" y="1982290"/>
                  </a:lnTo>
                  <a:lnTo>
                    <a:pt x="1439072" y="1991822"/>
                  </a:lnTo>
                  <a:lnTo>
                    <a:pt x="1453364" y="1991822"/>
                  </a:lnTo>
                  <a:lnTo>
                    <a:pt x="1467660" y="2001354"/>
                  </a:lnTo>
                  <a:lnTo>
                    <a:pt x="1472428" y="2025178"/>
                  </a:lnTo>
                  <a:lnTo>
                    <a:pt x="1481956" y="2044238"/>
                  </a:lnTo>
                  <a:lnTo>
                    <a:pt x="1481956" y="2053770"/>
                  </a:lnTo>
                  <a:lnTo>
                    <a:pt x="1477192" y="2091890"/>
                  </a:lnTo>
                  <a:lnTo>
                    <a:pt x="1477192" y="2106186"/>
                  </a:lnTo>
                  <a:lnTo>
                    <a:pt x="1486720" y="2115714"/>
                  </a:lnTo>
                  <a:lnTo>
                    <a:pt x="1496252" y="2120482"/>
                  </a:lnTo>
                  <a:lnTo>
                    <a:pt x="1501016" y="2130010"/>
                  </a:lnTo>
                  <a:lnTo>
                    <a:pt x="1505784" y="2149070"/>
                  </a:lnTo>
                  <a:lnTo>
                    <a:pt x="1505784" y="2182426"/>
                  </a:lnTo>
                  <a:lnTo>
                    <a:pt x="1501016" y="2196722"/>
                  </a:lnTo>
                  <a:lnTo>
                    <a:pt x="1496252" y="2206254"/>
                  </a:lnTo>
                  <a:lnTo>
                    <a:pt x="1477192" y="2234842"/>
                  </a:lnTo>
                  <a:lnTo>
                    <a:pt x="1458132" y="2253902"/>
                  </a:lnTo>
                  <a:lnTo>
                    <a:pt x="1443836" y="2253902"/>
                  </a:lnTo>
                  <a:lnTo>
                    <a:pt x="1439072" y="2258670"/>
                  </a:lnTo>
                  <a:lnTo>
                    <a:pt x="1448600" y="2277730"/>
                  </a:lnTo>
                  <a:lnTo>
                    <a:pt x="1443836" y="2315850"/>
                  </a:lnTo>
                  <a:lnTo>
                    <a:pt x="1439072" y="2344442"/>
                  </a:lnTo>
                  <a:lnTo>
                    <a:pt x="1434304" y="2330146"/>
                  </a:lnTo>
                  <a:lnTo>
                    <a:pt x="1429540" y="2315850"/>
                  </a:lnTo>
                  <a:lnTo>
                    <a:pt x="1424776" y="2277730"/>
                  </a:lnTo>
                  <a:lnTo>
                    <a:pt x="1420008" y="2258670"/>
                  </a:lnTo>
                  <a:lnTo>
                    <a:pt x="1410480" y="2244374"/>
                  </a:lnTo>
                  <a:lnTo>
                    <a:pt x="1405716" y="2230078"/>
                  </a:lnTo>
                  <a:lnTo>
                    <a:pt x="1396184" y="2215782"/>
                  </a:lnTo>
                  <a:lnTo>
                    <a:pt x="1381888" y="2182426"/>
                  </a:lnTo>
                  <a:lnTo>
                    <a:pt x="1377124" y="2187194"/>
                  </a:lnTo>
                  <a:lnTo>
                    <a:pt x="1362828" y="2191958"/>
                  </a:lnTo>
                  <a:lnTo>
                    <a:pt x="1358064" y="2201486"/>
                  </a:lnTo>
                  <a:lnTo>
                    <a:pt x="1358064" y="2211018"/>
                  </a:lnTo>
                  <a:lnTo>
                    <a:pt x="1353296" y="2220546"/>
                  </a:lnTo>
                  <a:lnTo>
                    <a:pt x="1339004" y="2234842"/>
                  </a:lnTo>
                  <a:lnTo>
                    <a:pt x="1329472" y="2249138"/>
                  </a:lnTo>
                  <a:lnTo>
                    <a:pt x="1315176" y="2268198"/>
                  </a:lnTo>
                  <a:lnTo>
                    <a:pt x="1315176" y="2282494"/>
                  </a:lnTo>
                  <a:lnTo>
                    <a:pt x="1319940" y="2296790"/>
                  </a:lnTo>
                  <a:lnTo>
                    <a:pt x="1329472" y="2301554"/>
                  </a:lnTo>
                  <a:lnTo>
                    <a:pt x="1343768" y="2315850"/>
                  </a:lnTo>
                  <a:lnTo>
                    <a:pt x="1348532" y="2320614"/>
                  </a:lnTo>
                  <a:lnTo>
                    <a:pt x="1358064" y="2358738"/>
                  </a:lnTo>
                  <a:lnTo>
                    <a:pt x="1358064" y="2396858"/>
                  </a:lnTo>
                  <a:lnTo>
                    <a:pt x="1348532" y="2415918"/>
                  </a:lnTo>
                  <a:lnTo>
                    <a:pt x="1324708" y="2444510"/>
                  </a:lnTo>
                  <a:lnTo>
                    <a:pt x="1310412" y="2454038"/>
                  </a:lnTo>
                  <a:lnTo>
                    <a:pt x="1300880" y="2449274"/>
                  </a:lnTo>
                  <a:lnTo>
                    <a:pt x="1291352" y="2430214"/>
                  </a:lnTo>
                  <a:lnTo>
                    <a:pt x="1291352" y="2425450"/>
                  </a:lnTo>
                  <a:lnTo>
                    <a:pt x="1296116" y="2406386"/>
                  </a:lnTo>
                  <a:lnTo>
                    <a:pt x="1296116" y="2387326"/>
                  </a:lnTo>
                  <a:lnTo>
                    <a:pt x="1291352" y="2382562"/>
                  </a:lnTo>
                  <a:lnTo>
                    <a:pt x="1286588" y="2382562"/>
                  </a:lnTo>
                  <a:lnTo>
                    <a:pt x="1281820" y="2387326"/>
                  </a:lnTo>
                  <a:lnTo>
                    <a:pt x="1267524" y="2406386"/>
                  </a:lnTo>
                  <a:lnTo>
                    <a:pt x="1257996" y="2415918"/>
                  </a:lnTo>
                  <a:lnTo>
                    <a:pt x="1253232" y="2415918"/>
                  </a:lnTo>
                  <a:lnTo>
                    <a:pt x="1243700" y="2411154"/>
                  </a:lnTo>
                  <a:lnTo>
                    <a:pt x="1196048" y="2392094"/>
                  </a:lnTo>
                  <a:lnTo>
                    <a:pt x="1162692" y="2373030"/>
                  </a:lnTo>
                  <a:lnTo>
                    <a:pt x="1134100" y="2358738"/>
                  </a:lnTo>
                  <a:lnTo>
                    <a:pt x="1110276" y="2330146"/>
                  </a:lnTo>
                  <a:lnTo>
                    <a:pt x="1105512" y="2311086"/>
                  </a:lnTo>
                  <a:lnTo>
                    <a:pt x="1105512" y="2287258"/>
                  </a:lnTo>
                  <a:lnTo>
                    <a:pt x="1095980" y="2258670"/>
                  </a:lnTo>
                  <a:lnTo>
                    <a:pt x="1095980" y="2249138"/>
                  </a:lnTo>
                  <a:lnTo>
                    <a:pt x="1095980" y="2234842"/>
                  </a:lnTo>
                  <a:lnTo>
                    <a:pt x="1105512" y="2220546"/>
                  </a:lnTo>
                  <a:lnTo>
                    <a:pt x="1115040" y="2206254"/>
                  </a:lnTo>
                  <a:lnTo>
                    <a:pt x="1124572" y="2201486"/>
                  </a:lnTo>
                  <a:lnTo>
                    <a:pt x="1129336" y="2191958"/>
                  </a:lnTo>
                  <a:lnTo>
                    <a:pt x="1134100" y="2182426"/>
                  </a:lnTo>
                  <a:lnTo>
                    <a:pt x="1129336" y="2172898"/>
                  </a:lnTo>
                  <a:lnTo>
                    <a:pt x="1124572" y="2168130"/>
                  </a:lnTo>
                  <a:lnTo>
                    <a:pt x="1110276" y="2144306"/>
                  </a:lnTo>
                  <a:lnTo>
                    <a:pt x="1095980" y="2130010"/>
                  </a:lnTo>
                  <a:lnTo>
                    <a:pt x="1062624" y="2120482"/>
                  </a:lnTo>
                  <a:lnTo>
                    <a:pt x="1053096" y="2110950"/>
                  </a:lnTo>
                  <a:lnTo>
                    <a:pt x="1048328" y="2106186"/>
                  </a:lnTo>
                  <a:lnTo>
                    <a:pt x="1038800" y="2106186"/>
                  </a:lnTo>
                  <a:lnTo>
                    <a:pt x="1029268" y="2106186"/>
                  </a:lnTo>
                  <a:lnTo>
                    <a:pt x="1019740" y="2110950"/>
                  </a:lnTo>
                  <a:lnTo>
                    <a:pt x="1014972" y="2115714"/>
                  </a:lnTo>
                  <a:lnTo>
                    <a:pt x="1019740" y="2125246"/>
                  </a:lnTo>
                  <a:lnTo>
                    <a:pt x="1014972" y="2130010"/>
                  </a:lnTo>
                  <a:lnTo>
                    <a:pt x="1005444" y="2172898"/>
                  </a:lnTo>
                  <a:lnTo>
                    <a:pt x="986384" y="2163366"/>
                  </a:lnTo>
                  <a:lnTo>
                    <a:pt x="972088" y="2153838"/>
                  </a:lnTo>
                  <a:lnTo>
                    <a:pt x="967324" y="2144306"/>
                  </a:lnTo>
                  <a:lnTo>
                    <a:pt x="962556" y="2134774"/>
                  </a:lnTo>
                  <a:lnTo>
                    <a:pt x="962556" y="2130010"/>
                  </a:lnTo>
                  <a:lnTo>
                    <a:pt x="957792" y="2125246"/>
                  </a:lnTo>
                  <a:lnTo>
                    <a:pt x="948260" y="2139542"/>
                  </a:lnTo>
                  <a:lnTo>
                    <a:pt x="938732" y="2149070"/>
                  </a:lnTo>
                  <a:lnTo>
                    <a:pt x="929200" y="2153838"/>
                  </a:lnTo>
                  <a:lnTo>
                    <a:pt x="919672" y="2153838"/>
                  </a:lnTo>
                  <a:lnTo>
                    <a:pt x="914904" y="2149070"/>
                  </a:lnTo>
                  <a:lnTo>
                    <a:pt x="910140" y="2120482"/>
                  </a:lnTo>
                  <a:lnTo>
                    <a:pt x="895844" y="2115714"/>
                  </a:lnTo>
                  <a:lnTo>
                    <a:pt x="881548" y="2115714"/>
                  </a:lnTo>
                  <a:lnTo>
                    <a:pt x="862488" y="2130010"/>
                  </a:lnTo>
                  <a:lnTo>
                    <a:pt x="862488" y="2134774"/>
                  </a:lnTo>
                  <a:lnTo>
                    <a:pt x="857724" y="2149070"/>
                  </a:lnTo>
                  <a:lnTo>
                    <a:pt x="838664" y="2182426"/>
                  </a:lnTo>
                  <a:lnTo>
                    <a:pt x="824368" y="2211018"/>
                  </a:lnTo>
                  <a:lnTo>
                    <a:pt x="814840" y="2234842"/>
                  </a:lnTo>
                  <a:lnTo>
                    <a:pt x="810072" y="2244374"/>
                  </a:lnTo>
                  <a:lnTo>
                    <a:pt x="800544" y="2249138"/>
                  </a:lnTo>
                  <a:lnTo>
                    <a:pt x="791012" y="2249138"/>
                  </a:lnTo>
                  <a:lnTo>
                    <a:pt x="781484" y="2239610"/>
                  </a:lnTo>
                  <a:lnTo>
                    <a:pt x="771952" y="2225314"/>
                  </a:lnTo>
                  <a:lnTo>
                    <a:pt x="771952" y="2206254"/>
                  </a:lnTo>
                  <a:lnTo>
                    <a:pt x="786248" y="2191958"/>
                  </a:lnTo>
                  <a:lnTo>
                    <a:pt x="795776" y="2177662"/>
                  </a:lnTo>
                  <a:lnTo>
                    <a:pt x="805308" y="2130010"/>
                  </a:lnTo>
                  <a:lnTo>
                    <a:pt x="805308" y="2115714"/>
                  </a:lnTo>
                  <a:lnTo>
                    <a:pt x="805308" y="2106186"/>
                  </a:lnTo>
                  <a:lnTo>
                    <a:pt x="824368" y="2087126"/>
                  </a:lnTo>
                  <a:lnTo>
                    <a:pt x="838664" y="2072830"/>
                  </a:lnTo>
                  <a:lnTo>
                    <a:pt x="848196" y="2072830"/>
                  </a:lnTo>
                  <a:lnTo>
                    <a:pt x="876784" y="2063298"/>
                  </a:lnTo>
                  <a:lnTo>
                    <a:pt x="891080" y="2058534"/>
                  </a:lnTo>
                  <a:lnTo>
                    <a:pt x="910140" y="2058534"/>
                  </a:lnTo>
                  <a:lnTo>
                    <a:pt x="929200" y="2053770"/>
                  </a:lnTo>
                  <a:lnTo>
                    <a:pt x="943496" y="2044238"/>
                  </a:lnTo>
                  <a:lnTo>
                    <a:pt x="943496" y="2034710"/>
                  </a:lnTo>
                  <a:lnTo>
                    <a:pt x="943496" y="2020414"/>
                  </a:lnTo>
                  <a:lnTo>
                    <a:pt x="943496" y="2015646"/>
                  </a:lnTo>
                  <a:lnTo>
                    <a:pt x="948260" y="2010882"/>
                  </a:lnTo>
                  <a:lnTo>
                    <a:pt x="957792" y="2001354"/>
                  </a:lnTo>
                  <a:lnTo>
                    <a:pt x="967324" y="1996586"/>
                  </a:lnTo>
                  <a:lnTo>
                    <a:pt x="986384" y="1991822"/>
                  </a:lnTo>
                  <a:lnTo>
                    <a:pt x="995912" y="1987058"/>
                  </a:lnTo>
                  <a:lnTo>
                    <a:pt x="1000680" y="1982290"/>
                  </a:lnTo>
                  <a:lnTo>
                    <a:pt x="1010208" y="1967998"/>
                  </a:lnTo>
                  <a:lnTo>
                    <a:pt x="1019740" y="1972762"/>
                  </a:lnTo>
                  <a:lnTo>
                    <a:pt x="1029268" y="1977526"/>
                  </a:lnTo>
                  <a:lnTo>
                    <a:pt x="1048328" y="1982290"/>
                  </a:lnTo>
                  <a:lnTo>
                    <a:pt x="1062624" y="1991822"/>
                  </a:lnTo>
                  <a:lnTo>
                    <a:pt x="1076920" y="2010882"/>
                  </a:lnTo>
                  <a:lnTo>
                    <a:pt x="1076920" y="2020414"/>
                  </a:lnTo>
                  <a:lnTo>
                    <a:pt x="1081684" y="2049002"/>
                  </a:lnTo>
                  <a:lnTo>
                    <a:pt x="1076920" y="2053770"/>
                  </a:lnTo>
                  <a:lnTo>
                    <a:pt x="1057860" y="2068062"/>
                  </a:lnTo>
                  <a:lnTo>
                    <a:pt x="1067392" y="2072830"/>
                  </a:lnTo>
                  <a:lnTo>
                    <a:pt x="1086452" y="2058534"/>
                  </a:lnTo>
                  <a:lnTo>
                    <a:pt x="1095980" y="2053770"/>
                  </a:lnTo>
                  <a:lnTo>
                    <a:pt x="1124572" y="2049002"/>
                  </a:lnTo>
                  <a:lnTo>
                    <a:pt x="1129336" y="2044238"/>
                  </a:lnTo>
                  <a:lnTo>
                    <a:pt x="1134100" y="2034710"/>
                  </a:lnTo>
                  <a:lnTo>
                    <a:pt x="1143632" y="2015646"/>
                  </a:lnTo>
                  <a:lnTo>
                    <a:pt x="1148396" y="1996586"/>
                  </a:lnTo>
                  <a:lnTo>
                    <a:pt x="1153164" y="1991822"/>
                  </a:lnTo>
                  <a:lnTo>
                    <a:pt x="1162692" y="1982290"/>
                  </a:lnTo>
                  <a:lnTo>
                    <a:pt x="1167456" y="1982290"/>
                  </a:lnTo>
                  <a:lnTo>
                    <a:pt x="1196048" y="1996586"/>
                  </a:lnTo>
                  <a:lnTo>
                    <a:pt x="1215108" y="1991822"/>
                  </a:lnTo>
                  <a:lnTo>
                    <a:pt x="1219876" y="1967998"/>
                  </a:lnTo>
                  <a:lnTo>
                    <a:pt x="1219876" y="1939406"/>
                  </a:lnTo>
                  <a:lnTo>
                    <a:pt x="1224640" y="1934642"/>
                  </a:lnTo>
                  <a:lnTo>
                    <a:pt x="1234168" y="1925110"/>
                  </a:lnTo>
                  <a:lnTo>
                    <a:pt x="1248464" y="1925110"/>
                  </a:lnTo>
                  <a:lnTo>
                    <a:pt x="1262760" y="1939406"/>
                  </a:lnTo>
                  <a:lnTo>
                    <a:pt x="1277056" y="1939406"/>
                  </a:lnTo>
                  <a:lnTo>
                    <a:pt x="1281820" y="1934642"/>
                  </a:lnTo>
                  <a:lnTo>
                    <a:pt x="1286588" y="1915578"/>
                  </a:lnTo>
                  <a:lnTo>
                    <a:pt x="1291352" y="1915578"/>
                  </a:lnTo>
                  <a:lnTo>
                    <a:pt x="1315176" y="1920346"/>
                  </a:lnTo>
                  <a:lnTo>
                    <a:pt x="1334236" y="1915578"/>
                  </a:lnTo>
                  <a:lnTo>
                    <a:pt x="1339004" y="1896518"/>
                  </a:lnTo>
                  <a:lnTo>
                    <a:pt x="1334236" y="1877458"/>
                  </a:lnTo>
                  <a:lnTo>
                    <a:pt x="1319940" y="1815514"/>
                  </a:lnTo>
                  <a:close/>
                  <a:moveTo>
                    <a:pt x="1424776" y="1753566"/>
                  </a:moveTo>
                  <a:lnTo>
                    <a:pt x="1429540" y="1772626"/>
                  </a:lnTo>
                  <a:lnTo>
                    <a:pt x="1429540" y="1777390"/>
                  </a:lnTo>
                  <a:lnTo>
                    <a:pt x="1429540" y="1782154"/>
                  </a:lnTo>
                  <a:lnTo>
                    <a:pt x="1439072" y="1791686"/>
                  </a:lnTo>
                  <a:lnTo>
                    <a:pt x="1434304" y="1796450"/>
                  </a:lnTo>
                  <a:lnTo>
                    <a:pt x="1420008" y="1801218"/>
                  </a:lnTo>
                  <a:lnTo>
                    <a:pt x="1410480" y="1786922"/>
                  </a:lnTo>
                  <a:lnTo>
                    <a:pt x="1410480" y="1772626"/>
                  </a:lnTo>
                  <a:close/>
                  <a:moveTo>
                    <a:pt x="1277056" y="1739270"/>
                  </a:moveTo>
                  <a:lnTo>
                    <a:pt x="1281820" y="1739270"/>
                  </a:lnTo>
                  <a:lnTo>
                    <a:pt x="1291352" y="1744034"/>
                  </a:lnTo>
                  <a:lnTo>
                    <a:pt x="1300880" y="1763094"/>
                  </a:lnTo>
                  <a:lnTo>
                    <a:pt x="1300880" y="1772626"/>
                  </a:lnTo>
                  <a:lnTo>
                    <a:pt x="1281820" y="1753566"/>
                  </a:lnTo>
                  <a:close/>
                  <a:moveTo>
                    <a:pt x="1153164" y="1734506"/>
                  </a:moveTo>
                  <a:lnTo>
                    <a:pt x="1153164" y="1739270"/>
                  </a:lnTo>
                  <a:lnTo>
                    <a:pt x="1157928" y="1739270"/>
                  </a:lnTo>
                  <a:lnTo>
                    <a:pt x="1162692" y="1744034"/>
                  </a:lnTo>
                  <a:lnTo>
                    <a:pt x="1176988" y="1753566"/>
                  </a:lnTo>
                  <a:lnTo>
                    <a:pt x="1191284" y="1758330"/>
                  </a:lnTo>
                  <a:lnTo>
                    <a:pt x="1186516" y="1782158"/>
                  </a:lnTo>
                  <a:lnTo>
                    <a:pt x="1191284" y="1791686"/>
                  </a:lnTo>
                  <a:lnTo>
                    <a:pt x="1191284" y="1796450"/>
                  </a:lnTo>
                  <a:lnTo>
                    <a:pt x="1191284" y="1801218"/>
                  </a:lnTo>
                  <a:lnTo>
                    <a:pt x="1176988" y="1801218"/>
                  </a:lnTo>
                  <a:lnTo>
                    <a:pt x="1172224" y="1801218"/>
                  </a:lnTo>
                  <a:lnTo>
                    <a:pt x="1162692" y="1815510"/>
                  </a:lnTo>
                  <a:lnTo>
                    <a:pt x="1153164" y="1820278"/>
                  </a:lnTo>
                  <a:lnTo>
                    <a:pt x="1119808" y="1825042"/>
                  </a:lnTo>
                  <a:lnTo>
                    <a:pt x="1086452" y="1820278"/>
                  </a:lnTo>
                  <a:lnTo>
                    <a:pt x="1076920" y="1815510"/>
                  </a:lnTo>
                  <a:lnTo>
                    <a:pt x="1072156" y="1801218"/>
                  </a:lnTo>
                  <a:lnTo>
                    <a:pt x="1072156" y="1791686"/>
                  </a:lnTo>
                  <a:lnTo>
                    <a:pt x="1076920" y="1782158"/>
                  </a:lnTo>
                  <a:lnTo>
                    <a:pt x="1086452" y="1772626"/>
                  </a:lnTo>
                  <a:lnTo>
                    <a:pt x="1110276" y="1763094"/>
                  </a:lnTo>
                  <a:lnTo>
                    <a:pt x="1115040" y="1753566"/>
                  </a:lnTo>
                  <a:lnTo>
                    <a:pt x="1124572" y="1739270"/>
                  </a:lnTo>
                  <a:close/>
                  <a:moveTo>
                    <a:pt x="1358064" y="1691618"/>
                  </a:moveTo>
                  <a:lnTo>
                    <a:pt x="1362828" y="1701150"/>
                  </a:lnTo>
                  <a:lnTo>
                    <a:pt x="1358064" y="1724974"/>
                  </a:lnTo>
                  <a:lnTo>
                    <a:pt x="1362828" y="1748802"/>
                  </a:lnTo>
                  <a:lnTo>
                    <a:pt x="1362828" y="1767862"/>
                  </a:lnTo>
                  <a:lnTo>
                    <a:pt x="1362828" y="1772626"/>
                  </a:lnTo>
                  <a:lnTo>
                    <a:pt x="1362828" y="1777390"/>
                  </a:lnTo>
                  <a:lnTo>
                    <a:pt x="1358064" y="1782158"/>
                  </a:lnTo>
                  <a:lnTo>
                    <a:pt x="1358064" y="1772626"/>
                  </a:lnTo>
                  <a:lnTo>
                    <a:pt x="1348532" y="1763094"/>
                  </a:lnTo>
                  <a:lnTo>
                    <a:pt x="1339004" y="1748802"/>
                  </a:lnTo>
                  <a:lnTo>
                    <a:pt x="1334236" y="1744034"/>
                  </a:lnTo>
                  <a:lnTo>
                    <a:pt x="1334236" y="1729738"/>
                  </a:lnTo>
                  <a:lnTo>
                    <a:pt x="1339004" y="1715446"/>
                  </a:lnTo>
                  <a:lnTo>
                    <a:pt x="1343768" y="1705914"/>
                  </a:lnTo>
                  <a:lnTo>
                    <a:pt x="1348532" y="1701150"/>
                  </a:lnTo>
                  <a:close/>
                  <a:moveTo>
                    <a:pt x="452688" y="1658262"/>
                  </a:moveTo>
                  <a:lnTo>
                    <a:pt x="466984" y="1667794"/>
                  </a:lnTo>
                  <a:lnTo>
                    <a:pt x="476512" y="1672558"/>
                  </a:lnTo>
                  <a:lnTo>
                    <a:pt x="471748" y="1677322"/>
                  </a:lnTo>
                  <a:lnTo>
                    <a:pt x="462220" y="1686854"/>
                  </a:lnTo>
                  <a:lnTo>
                    <a:pt x="443160" y="1691618"/>
                  </a:lnTo>
                  <a:lnTo>
                    <a:pt x="438392" y="1672558"/>
                  </a:lnTo>
                  <a:close/>
                  <a:moveTo>
                    <a:pt x="1153160" y="1648734"/>
                  </a:moveTo>
                  <a:lnTo>
                    <a:pt x="1157928" y="1653498"/>
                  </a:lnTo>
                  <a:lnTo>
                    <a:pt x="1157928" y="1663026"/>
                  </a:lnTo>
                  <a:lnTo>
                    <a:pt x="1148396" y="1667794"/>
                  </a:lnTo>
                  <a:lnTo>
                    <a:pt x="1143632" y="1667794"/>
                  </a:lnTo>
                  <a:close/>
                  <a:moveTo>
                    <a:pt x="891080" y="1643966"/>
                  </a:moveTo>
                  <a:lnTo>
                    <a:pt x="895844" y="1643966"/>
                  </a:lnTo>
                  <a:lnTo>
                    <a:pt x="900612" y="1648734"/>
                  </a:lnTo>
                  <a:lnTo>
                    <a:pt x="900612" y="1658262"/>
                  </a:lnTo>
                  <a:lnTo>
                    <a:pt x="891080" y="1682086"/>
                  </a:lnTo>
                  <a:lnTo>
                    <a:pt x="886316" y="1686854"/>
                  </a:lnTo>
                  <a:lnTo>
                    <a:pt x="881552" y="1691618"/>
                  </a:lnTo>
                  <a:lnTo>
                    <a:pt x="881552" y="1686854"/>
                  </a:lnTo>
                  <a:lnTo>
                    <a:pt x="872020" y="1696382"/>
                  </a:lnTo>
                  <a:lnTo>
                    <a:pt x="867256" y="1682086"/>
                  </a:lnTo>
                  <a:lnTo>
                    <a:pt x="872020" y="1667794"/>
                  </a:lnTo>
                  <a:lnTo>
                    <a:pt x="886316" y="1653498"/>
                  </a:lnTo>
                  <a:lnTo>
                    <a:pt x="886316" y="1648734"/>
                  </a:lnTo>
                  <a:close/>
                  <a:moveTo>
                    <a:pt x="976852" y="1605846"/>
                  </a:moveTo>
                  <a:lnTo>
                    <a:pt x="981616" y="1605846"/>
                  </a:lnTo>
                  <a:lnTo>
                    <a:pt x="1024504" y="1615378"/>
                  </a:lnTo>
                  <a:lnTo>
                    <a:pt x="1029268" y="1634438"/>
                  </a:lnTo>
                  <a:lnTo>
                    <a:pt x="1029268" y="1639202"/>
                  </a:lnTo>
                  <a:lnTo>
                    <a:pt x="1024504" y="1658262"/>
                  </a:lnTo>
                  <a:lnTo>
                    <a:pt x="1019740" y="1667794"/>
                  </a:lnTo>
                  <a:lnTo>
                    <a:pt x="1005444" y="1691618"/>
                  </a:lnTo>
                  <a:lnTo>
                    <a:pt x="995912" y="1710678"/>
                  </a:lnTo>
                  <a:lnTo>
                    <a:pt x="986384" y="1744034"/>
                  </a:lnTo>
                  <a:lnTo>
                    <a:pt x="986384" y="1753566"/>
                  </a:lnTo>
                  <a:lnTo>
                    <a:pt x="972088" y="1772626"/>
                  </a:lnTo>
                  <a:lnTo>
                    <a:pt x="967324" y="1782154"/>
                  </a:lnTo>
                  <a:lnTo>
                    <a:pt x="967324" y="1805982"/>
                  </a:lnTo>
                  <a:lnTo>
                    <a:pt x="967324" y="1815510"/>
                  </a:lnTo>
                  <a:lnTo>
                    <a:pt x="967324" y="1825042"/>
                  </a:lnTo>
                  <a:lnTo>
                    <a:pt x="991148" y="1863162"/>
                  </a:lnTo>
                  <a:lnTo>
                    <a:pt x="991148" y="1872694"/>
                  </a:lnTo>
                  <a:lnTo>
                    <a:pt x="991148" y="1877458"/>
                  </a:lnTo>
                  <a:lnTo>
                    <a:pt x="986384" y="1886990"/>
                  </a:lnTo>
                  <a:lnTo>
                    <a:pt x="976852" y="1901282"/>
                  </a:lnTo>
                  <a:lnTo>
                    <a:pt x="972088" y="1906050"/>
                  </a:lnTo>
                  <a:lnTo>
                    <a:pt x="962556" y="1910814"/>
                  </a:lnTo>
                  <a:lnTo>
                    <a:pt x="953028" y="1910814"/>
                  </a:lnTo>
                  <a:lnTo>
                    <a:pt x="943496" y="1910814"/>
                  </a:lnTo>
                  <a:lnTo>
                    <a:pt x="933968" y="1906050"/>
                  </a:lnTo>
                  <a:lnTo>
                    <a:pt x="919672" y="1867926"/>
                  </a:lnTo>
                  <a:lnTo>
                    <a:pt x="905376" y="1863162"/>
                  </a:lnTo>
                  <a:lnTo>
                    <a:pt x="891080" y="1853634"/>
                  </a:lnTo>
                  <a:lnTo>
                    <a:pt x="881548" y="1848866"/>
                  </a:lnTo>
                  <a:lnTo>
                    <a:pt x="876784" y="1844102"/>
                  </a:lnTo>
                  <a:lnTo>
                    <a:pt x="848192" y="1810746"/>
                  </a:lnTo>
                  <a:lnTo>
                    <a:pt x="848192" y="1791686"/>
                  </a:lnTo>
                  <a:lnTo>
                    <a:pt x="852960" y="1777390"/>
                  </a:lnTo>
                  <a:lnTo>
                    <a:pt x="862488" y="1767862"/>
                  </a:lnTo>
                  <a:lnTo>
                    <a:pt x="867256" y="1763094"/>
                  </a:lnTo>
                  <a:lnTo>
                    <a:pt x="886316" y="1763094"/>
                  </a:lnTo>
                  <a:lnTo>
                    <a:pt x="895844" y="1763094"/>
                  </a:lnTo>
                  <a:lnTo>
                    <a:pt x="919672" y="1748798"/>
                  </a:lnTo>
                  <a:lnTo>
                    <a:pt x="919672" y="1744034"/>
                  </a:lnTo>
                  <a:lnTo>
                    <a:pt x="919672" y="1715442"/>
                  </a:lnTo>
                  <a:lnTo>
                    <a:pt x="919672" y="1701150"/>
                  </a:lnTo>
                  <a:lnTo>
                    <a:pt x="914904" y="1682090"/>
                  </a:lnTo>
                  <a:lnTo>
                    <a:pt x="919672" y="1672558"/>
                  </a:lnTo>
                  <a:lnTo>
                    <a:pt x="929200" y="1667794"/>
                  </a:lnTo>
                  <a:lnTo>
                    <a:pt x="933968" y="1653498"/>
                  </a:lnTo>
                  <a:lnTo>
                    <a:pt x="938732" y="1639202"/>
                  </a:lnTo>
                  <a:lnTo>
                    <a:pt x="938732" y="1629670"/>
                  </a:lnTo>
                  <a:lnTo>
                    <a:pt x="938732" y="1620142"/>
                  </a:lnTo>
                  <a:lnTo>
                    <a:pt x="948260" y="1615378"/>
                  </a:lnTo>
                  <a:close/>
                  <a:moveTo>
                    <a:pt x="1105512" y="1558194"/>
                  </a:moveTo>
                  <a:lnTo>
                    <a:pt x="1110276" y="1567726"/>
                  </a:lnTo>
                  <a:lnTo>
                    <a:pt x="1105512" y="1586786"/>
                  </a:lnTo>
                  <a:lnTo>
                    <a:pt x="1105512" y="1596318"/>
                  </a:lnTo>
                  <a:lnTo>
                    <a:pt x="1105512" y="1615378"/>
                  </a:lnTo>
                  <a:lnTo>
                    <a:pt x="1100744" y="1639202"/>
                  </a:lnTo>
                  <a:lnTo>
                    <a:pt x="1105512" y="1667794"/>
                  </a:lnTo>
                  <a:lnTo>
                    <a:pt x="1100744" y="1696382"/>
                  </a:lnTo>
                  <a:lnTo>
                    <a:pt x="1091216" y="1710678"/>
                  </a:lnTo>
                  <a:lnTo>
                    <a:pt x="1076920" y="1720210"/>
                  </a:lnTo>
                  <a:lnTo>
                    <a:pt x="1067388" y="1724974"/>
                  </a:lnTo>
                  <a:lnTo>
                    <a:pt x="1053096" y="1739270"/>
                  </a:lnTo>
                  <a:lnTo>
                    <a:pt x="1043564" y="1758330"/>
                  </a:lnTo>
                  <a:lnTo>
                    <a:pt x="1043564" y="1772626"/>
                  </a:lnTo>
                  <a:lnTo>
                    <a:pt x="1019740" y="1829806"/>
                  </a:lnTo>
                  <a:lnTo>
                    <a:pt x="1000680" y="1848866"/>
                  </a:lnTo>
                  <a:lnTo>
                    <a:pt x="995912" y="1853634"/>
                  </a:lnTo>
                  <a:lnTo>
                    <a:pt x="991148" y="1844102"/>
                  </a:lnTo>
                  <a:lnTo>
                    <a:pt x="995912" y="1829806"/>
                  </a:lnTo>
                  <a:lnTo>
                    <a:pt x="1005444" y="1777390"/>
                  </a:lnTo>
                  <a:lnTo>
                    <a:pt x="1000680" y="1767862"/>
                  </a:lnTo>
                  <a:lnTo>
                    <a:pt x="1024504" y="1739270"/>
                  </a:lnTo>
                  <a:lnTo>
                    <a:pt x="1034036" y="1715446"/>
                  </a:lnTo>
                  <a:lnTo>
                    <a:pt x="1053096" y="1686854"/>
                  </a:lnTo>
                  <a:lnTo>
                    <a:pt x="1057860" y="1672558"/>
                  </a:lnTo>
                  <a:lnTo>
                    <a:pt x="1072156" y="1643966"/>
                  </a:lnTo>
                  <a:lnTo>
                    <a:pt x="1086452" y="1610610"/>
                  </a:lnTo>
                  <a:lnTo>
                    <a:pt x="1086452" y="1596318"/>
                  </a:lnTo>
                  <a:lnTo>
                    <a:pt x="1091216" y="1591550"/>
                  </a:lnTo>
                  <a:lnTo>
                    <a:pt x="1091216" y="1582022"/>
                  </a:lnTo>
                  <a:lnTo>
                    <a:pt x="1095980" y="1572490"/>
                  </a:lnTo>
                  <a:close/>
                  <a:moveTo>
                    <a:pt x="1057860" y="1558194"/>
                  </a:moveTo>
                  <a:lnTo>
                    <a:pt x="1062624" y="1558194"/>
                  </a:lnTo>
                  <a:lnTo>
                    <a:pt x="1072156" y="1577258"/>
                  </a:lnTo>
                  <a:lnTo>
                    <a:pt x="1057860" y="1577258"/>
                  </a:lnTo>
                  <a:lnTo>
                    <a:pt x="1053096" y="1562962"/>
                  </a:lnTo>
                  <a:close/>
                  <a:moveTo>
                    <a:pt x="395508" y="1548666"/>
                  </a:moveTo>
                  <a:lnTo>
                    <a:pt x="405036" y="1553430"/>
                  </a:lnTo>
                  <a:lnTo>
                    <a:pt x="405036" y="1562962"/>
                  </a:lnTo>
                  <a:lnTo>
                    <a:pt x="400272" y="1577254"/>
                  </a:lnTo>
                  <a:lnTo>
                    <a:pt x="400272" y="1586786"/>
                  </a:lnTo>
                  <a:lnTo>
                    <a:pt x="405036" y="1596318"/>
                  </a:lnTo>
                  <a:lnTo>
                    <a:pt x="400272" y="1610610"/>
                  </a:lnTo>
                  <a:lnTo>
                    <a:pt x="414568" y="1648734"/>
                  </a:lnTo>
                  <a:lnTo>
                    <a:pt x="424096" y="1672558"/>
                  </a:lnTo>
                  <a:lnTo>
                    <a:pt x="424096" y="1682090"/>
                  </a:lnTo>
                  <a:lnTo>
                    <a:pt x="409804" y="1696386"/>
                  </a:lnTo>
                  <a:lnTo>
                    <a:pt x="400272" y="1701150"/>
                  </a:lnTo>
                  <a:lnTo>
                    <a:pt x="385976" y="1705914"/>
                  </a:lnTo>
                  <a:lnTo>
                    <a:pt x="376448" y="1710678"/>
                  </a:lnTo>
                  <a:lnTo>
                    <a:pt x="362152" y="1720210"/>
                  </a:lnTo>
                  <a:lnTo>
                    <a:pt x="352620" y="1739270"/>
                  </a:lnTo>
                  <a:lnTo>
                    <a:pt x="352620" y="1748802"/>
                  </a:lnTo>
                  <a:lnTo>
                    <a:pt x="347856" y="1753566"/>
                  </a:lnTo>
                  <a:lnTo>
                    <a:pt x="309736" y="1763094"/>
                  </a:lnTo>
                  <a:lnTo>
                    <a:pt x="290676" y="1772626"/>
                  </a:lnTo>
                  <a:lnTo>
                    <a:pt x="285908" y="1777390"/>
                  </a:lnTo>
                  <a:lnTo>
                    <a:pt x="281144" y="1782158"/>
                  </a:lnTo>
                  <a:lnTo>
                    <a:pt x="281144" y="1801218"/>
                  </a:lnTo>
                  <a:lnTo>
                    <a:pt x="252552" y="1853634"/>
                  </a:lnTo>
                  <a:lnTo>
                    <a:pt x="238260" y="1867930"/>
                  </a:lnTo>
                  <a:lnTo>
                    <a:pt x="228728" y="1877458"/>
                  </a:lnTo>
                  <a:lnTo>
                    <a:pt x="214432" y="1886990"/>
                  </a:lnTo>
                  <a:lnTo>
                    <a:pt x="195372" y="1891754"/>
                  </a:lnTo>
                  <a:lnTo>
                    <a:pt x="181076" y="1906050"/>
                  </a:lnTo>
                  <a:lnTo>
                    <a:pt x="171548" y="1920346"/>
                  </a:lnTo>
                  <a:lnTo>
                    <a:pt x="162016" y="1939406"/>
                  </a:lnTo>
                  <a:lnTo>
                    <a:pt x="142956" y="1953702"/>
                  </a:lnTo>
                  <a:lnTo>
                    <a:pt x="128660" y="1963230"/>
                  </a:lnTo>
                  <a:lnTo>
                    <a:pt x="109600" y="1972762"/>
                  </a:lnTo>
                  <a:lnTo>
                    <a:pt x="95304" y="1977526"/>
                  </a:lnTo>
                  <a:lnTo>
                    <a:pt x="90540" y="1982290"/>
                  </a:lnTo>
                  <a:lnTo>
                    <a:pt x="85776" y="1991822"/>
                  </a:lnTo>
                  <a:lnTo>
                    <a:pt x="81008" y="1996586"/>
                  </a:lnTo>
                  <a:lnTo>
                    <a:pt x="71480" y="2001354"/>
                  </a:lnTo>
                  <a:lnTo>
                    <a:pt x="52420" y="2010882"/>
                  </a:lnTo>
                  <a:lnTo>
                    <a:pt x="38124" y="2020414"/>
                  </a:lnTo>
                  <a:lnTo>
                    <a:pt x="42888" y="2006118"/>
                  </a:lnTo>
                  <a:lnTo>
                    <a:pt x="42888" y="1991822"/>
                  </a:lnTo>
                  <a:lnTo>
                    <a:pt x="61948" y="1967998"/>
                  </a:lnTo>
                  <a:lnTo>
                    <a:pt x="71480" y="1958466"/>
                  </a:lnTo>
                  <a:lnTo>
                    <a:pt x="85776" y="1934642"/>
                  </a:lnTo>
                  <a:lnTo>
                    <a:pt x="100068" y="1925110"/>
                  </a:lnTo>
                  <a:lnTo>
                    <a:pt x="123896" y="1906050"/>
                  </a:lnTo>
                  <a:lnTo>
                    <a:pt x="142956" y="1882226"/>
                  </a:lnTo>
                  <a:lnTo>
                    <a:pt x="152484" y="1882226"/>
                  </a:lnTo>
                  <a:lnTo>
                    <a:pt x="157252" y="1882226"/>
                  </a:lnTo>
                  <a:lnTo>
                    <a:pt x="166780" y="1877458"/>
                  </a:lnTo>
                  <a:lnTo>
                    <a:pt x="181076" y="1867930"/>
                  </a:lnTo>
                  <a:lnTo>
                    <a:pt x="214432" y="1825042"/>
                  </a:lnTo>
                  <a:lnTo>
                    <a:pt x="243024" y="1796450"/>
                  </a:lnTo>
                  <a:lnTo>
                    <a:pt x="276380" y="1758330"/>
                  </a:lnTo>
                  <a:lnTo>
                    <a:pt x="290676" y="1744034"/>
                  </a:lnTo>
                  <a:lnTo>
                    <a:pt x="295440" y="1739270"/>
                  </a:lnTo>
                  <a:lnTo>
                    <a:pt x="319264" y="1705914"/>
                  </a:lnTo>
                  <a:lnTo>
                    <a:pt x="328796" y="1701150"/>
                  </a:lnTo>
                  <a:lnTo>
                    <a:pt x="338324" y="1696386"/>
                  </a:lnTo>
                  <a:lnTo>
                    <a:pt x="347856" y="1691618"/>
                  </a:lnTo>
                  <a:lnTo>
                    <a:pt x="352620" y="1686854"/>
                  </a:lnTo>
                  <a:lnTo>
                    <a:pt x="362152" y="1672558"/>
                  </a:lnTo>
                  <a:lnTo>
                    <a:pt x="366916" y="1653498"/>
                  </a:lnTo>
                  <a:lnTo>
                    <a:pt x="362152" y="1643966"/>
                  </a:lnTo>
                  <a:lnTo>
                    <a:pt x="357388" y="1629674"/>
                  </a:lnTo>
                  <a:lnTo>
                    <a:pt x="366916" y="1605846"/>
                  </a:lnTo>
                  <a:lnTo>
                    <a:pt x="371680" y="1596318"/>
                  </a:lnTo>
                  <a:lnTo>
                    <a:pt x="390744" y="1558194"/>
                  </a:lnTo>
                  <a:close/>
                  <a:moveTo>
                    <a:pt x="1148396" y="1520074"/>
                  </a:moveTo>
                  <a:lnTo>
                    <a:pt x="1157928" y="1520074"/>
                  </a:lnTo>
                  <a:lnTo>
                    <a:pt x="1167456" y="1529606"/>
                  </a:lnTo>
                  <a:lnTo>
                    <a:pt x="1176988" y="1534370"/>
                  </a:lnTo>
                  <a:lnTo>
                    <a:pt x="1186520" y="1539134"/>
                  </a:lnTo>
                  <a:lnTo>
                    <a:pt x="1186520" y="1548666"/>
                  </a:lnTo>
                  <a:lnTo>
                    <a:pt x="1200812" y="1553430"/>
                  </a:lnTo>
                  <a:lnTo>
                    <a:pt x="1210344" y="1553430"/>
                  </a:lnTo>
                  <a:lnTo>
                    <a:pt x="1229404" y="1539134"/>
                  </a:lnTo>
                  <a:lnTo>
                    <a:pt x="1243700" y="1543898"/>
                  </a:lnTo>
                  <a:lnTo>
                    <a:pt x="1253228" y="1562962"/>
                  </a:lnTo>
                  <a:lnTo>
                    <a:pt x="1257996" y="1567726"/>
                  </a:lnTo>
                  <a:lnTo>
                    <a:pt x="1262760" y="1582022"/>
                  </a:lnTo>
                  <a:lnTo>
                    <a:pt x="1262760" y="1610610"/>
                  </a:lnTo>
                  <a:lnTo>
                    <a:pt x="1257996" y="1639202"/>
                  </a:lnTo>
                  <a:lnTo>
                    <a:pt x="1257996" y="1643966"/>
                  </a:lnTo>
                  <a:lnTo>
                    <a:pt x="1267524" y="1648734"/>
                  </a:lnTo>
                  <a:lnTo>
                    <a:pt x="1277056" y="1653498"/>
                  </a:lnTo>
                  <a:lnTo>
                    <a:pt x="1281820" y="1663026"/>
                  </a:lnTo>
                  <a:lnTo>
                    <a:pt x="1281820" y="1667794"/>
                  </a:lnTo>
                  <a:lnTo>
                    <a:pt x="1286584" y="1691618"/>
                  </a:lnTo>
                  <a:lnTo>
                    <a:pt x="1296116" y="1705914"/>
                  </a:lnTo>
                  <a:lnTo>
                    <a:pt x="1296116" y="1715442"/>
                  </a:lnTo>
                  <a:lnTo>
                    <a:pt x="1296116" y="1720210"/>
                  </a:lnTo>
                  <a:lnTo>
                    <a:pt x="1277056" y="1720210"/>
                  </a:lnTo>
                  <a:lnTo>
                    <a:pt x="1277056" y="1724974"/>
                  </a:lnTo>
                  <a:lnTo>
                    <a:pt x="1277056" y="1734506"/>
                  </a:lnTo>
                  <a:lnTo>
                    <a:pt x="1272292" y="1724974"/>
                  </a:lnTo>
                  <a:lnTo>
                    <a:pt x="1262760" y="1710678"/>
                  </a:lnTo>
                  <a:lnTo>
                    <a:pt x="1253228" y="1705914"/>
                  </a:lnTo>
                  <a:lnTo>
                    <a:pt x="1257996" y="1729738"/>
                  </a:lnTo>
                  <a:lnTo>
                    <a:pt x="1257996" y="1744034"/>
                  </a:lnTo>
                  <a:lnTo>
                    <a:pt x="1257996" y="1758330"/>
                  </a:lnTo>
                  <a:lnTo>
                    <a:pt x="1243700" y="1748798"/>
                  </a:lnTo>
                  <a:lnTo>
                    <a:pt x="1224640" y="1739270"/>
                  </a:lnTo>
                  <a:lnTo>
                    <a:pt x="1219872" y="1734506"/>
                  </a:lnTo>
                  <a:lnTo>
                    <a:pt x="1219872" y="1720210"/>
                  </a:lnTo>
                  <a:lnTo>
                    <a:pt x="1219872" y="1710678"/>
                  </a:lnTo>
                  <a:lnTo>
                    <a:pt x="1215108" y="1691618"/>
                  </a:lnTo>
                  <a:lnTo>
                    <a:pt x="1224640" y="1653498"/>
                  </a:lnTo>
                  <a:lnTo>
                    <a:pt x="1224640" y="1643966"/>
                  </a:lnTo>
                  <a:lnTo>
                    <a:pt x="1219872" y="1639202"/>
                  </a:lnTo>
                  <a:lnTo>
                    <a:pt x="1215108" y="1620142"/>
                  </a:lnTo>
                  <a:lnTo>
                    <a:pt x="1200812" y="1610610"/>
                  </a:lnTo>
                  <a:lnTo>
                    <a:pt x="1196048" y="1610610"/>
                  </a:lnTo>
                  <a:lnTo>
                    <a:pt x="1176988" y="1620142"/>
                  </a:lnTo>
                  <a:lnTo>
                    <a:pt x="1167456" y="1615378"/>
                  </a:lnTo>
                  <a:lnTo>
                    <a:pt x="1162692" y="1577254"/>
                  </a:lnTo>
                  <a:lnTo>
                    <a:pt x="1157928" y="1543898"/>
                  </a:lnTo>
                  <a:lnTo>
                    <a:pt x="1148396" y="1534370"/>
                  </a:lnTo>
                  <a:lnTo>
                    <a:pt x="1148396" y="1524838"/>
                  </a:lnTo>
                  <a:close/>
                  <a:moveTo>
                    <a:pt x="447924" y="1520074"/>
                  </a:moveTo>
                  <a:lnTo>
                    <a:pt x="452688" y="1520074"/>
                  </a:lnTo>
                  <a:lnTo>
                    <a:pt x="457456" y="1529606"/>
                  </a:lnTo>
                  <a:lnTo>
                    <a:pt x="452688" y="1539134"/>
                  </a:lnTo>
                  <a:lnTo>
                    <a:pt x="447924" y="1543902"/>
                  </a:lnTo>
                  <a:lnTo>
                    <a:pt x="443160" y="1539134"/>
                  </a:lnTo>
                  <a:lnTo>
                    <a:pt x="433628" y="1534370"/>
                  </a:lnTo>
                  <a:lnTo>
                    <a:pt x="428864" y="1529606"/>
                  </a:lnTo>
                  <a:lnTo>
                    <a:pt x="438392" y="1529606"/>
                  </a:lnTo>
                  <a:close/>
                  <a:moveTo>
                    <a:pt x="1167460" y="1491482"/>
                  </a:moveTo>
                  <a:lnTo>
                    <a:pt x="1176988" y="1496250"/>
                  </a:lnTo>
                  <a:lnTo>
                    <a:pt x="1186520" y="1501014"/>
                  </a:lnTo>
                  <a:lnTo>
                    <a:pt x="1196048" y="1515310"/>
                  </a:lnTo>
                  <a:lnTo>
                    <a:pt x="1196048" y="1524838"/>
                  </a:lnTo>
                  <a:lnTo>
                    <a:pt x="1172224" y="1524838"/>
                  </a:lnTo>
                  <a:lnTo>
                    <a:pt x="1167460" y="1520074"/>
                  </a:lnTo>
                  <a:lnTo>
                    <a:pt x="1153164" y="1496250"/>
                  </a:lnTo>
                  <a:close/>
                  <a:moveTo>
                    <a:pt x="1215108" y="1486718"/>
                  </a:moveTo>
                  <a:lnTo>
                    <a:pt x="1219876" y="1496250"/>
                  </a:lnTo>
                  <a:lnTo>
                    <a:pt x="1229404" y="1501014"/>
                  </a:lnTo>
                  <a:lnTo>
                    <a:pt x="1234168" y="1510542"/>
                  </a:lnTo>
                  <a:lnTo>
                    <a:pt x="1229404" y="1515310"/>
                  </a:lnTo>
                  <a:lnTo>
                    <a:pt x="1224640" y="1515310"/>
                  </a:lnTo>
                  <a:lnTo>
                    <a:pt x="1219876" y="1510542"/>
                  </a:lnTo>
                  <a:lnTo>
                    <a:pt x="1215108" y="1496250"/>
                  </a:lnTo>
                  <a:close/>
                  <a:moveTo>
                    <a:pt x="781484" y="1458126"/>
                  </a:moveTo>
                  <a:lnTo>
                    <a:pt x="791012" y="1462894"/>
                  </a:lnTo>
                  <a:lnTo>
                    <a:pt x="800544" y="1467658"/>
                  </a:lnTo>
                  <a:lnTo>
                    <a:pt x="833900" y="1481954"/>
                  </a:lnTo>
                  <a:lnTo>
                    <a:pt x="848196" y="1491482"/>
                  </a:lnTo>
                  <a:lnTo>
                    <a:pt x="862488" y="1505778"/>
                  </a:lnTo>
                  <a:lnTo>
                    <a:pt x="881548" y="1515310"/>
                  </a:lnTo>
                  <a:lnTo>
                    <a:pt x="900612" y="1505778"/>
                  </a:lnTo>
                  <a:lnTo>
                    <a:pt x="919672" y="1510542"/>
                  </a:lnTo>
                  <a:lnTo>
                    <a:pt x="929200" y="1520074"/>
                  </a:lnTo>
                  <a:lnTo>
                    <a:pt x="929200" y="1524838"/>
                  </a:lnTo>
                  <a:lnTo>
                    <a:pt x="924436" y="1534370"/>
                  </a:lnTo>
                  <a:lnTo>
                    <a:pt x="957792" y="1515310"/>
                  </a:lnTo>
                  <a:lnTo>
                    <a:pt x="967320" y="1520074"/>
                  </a:lnTo>
                  <a:lnTo>
                    <a:pt x="967320" y="1534370"/>
                  </a:lnTo>
                  <a:lnTo>
                    <a:pt x="967320" y="1543898"/>
                  </a:lnTo>
                  <a:lnTo>
                    <a:pt x="962556" y="1558194"/>
                  </a:lnTo>
                  <a:lnTo>
                    <a:pt x="953028" y="1572490"/>
                  </a:lnTo>
                  <a:lnTo>
                    <a:pt x="943496" y="1586786"/>
                  </a:lnTo>
                  <a:lnTo>
                    <a:pt x="933968" y="1596314"/>
                  </a:lnTo>
                  <a:lnTo>
                    <a:pt x="919672" y="1601082"/>
                  </a:lnTo>
                  <a:lnTo>
                    <a:pt x="910140" y="1605846"/>
                  </a:lnTo>
                  <a:lnTo>
                    <a:pt x="910140" y="1610610"/>
                  </a:lnTo>
                  <a:lnTo>
                    <a:pt x="910140" y="1620142"/>
                  </a:lnTo>
                  <a:lnTo>
                    <a:pt x="905376" y="1629670"/>
                  </a:lnTo>
                  <a:lnTo>
                    <a:pt x="891080" y="1634438"/>
                  </a:lnTo>
                  <a:lnTo>
                    <a:pt x="867256" y="1653498"/>
                  </a:lnTo>
                  <a:lnTo>
                    <a:pt x="819604" y="1663026"/>
                  </a:lnTo>
                  <a:lnTo>
                    <a:pt x="805308" y="1672558"/>
                  </a:lnTo>
                  <a:lnTo>
                    <a:pt x="795776" y="1682086"/>
                  </a:lnTo>
                  <a:lnTo>
                    <a:pt x="786248" y="1691618"/>
                  </a:lnTo>
                  <a:lnTo>
                    <a:pt x="781484" y="1691618"/>
                  </a:lnTo>
                  <a:lnTo>
                    <a:pt x="776716" y="1686854"/>
                  </a:lnTo>
                  <a:lnTo>
                    <a:pt x="776716" y="1682086"/>
                  </a:lnTo>
                  <a:lnTo>
                    <a:pt x="781484" y="1658262"/>
                  </a:lnTo>
                  <a:lnTo>
                    <a:pt x="781484" y="1653498"/>
                  </a:lnTo>
                  <a:lnTo>
                    <a:pt x="776716" y="1643966"/>
                  </a:lnTo>
                  <a:lnTo>
                    <a:pt x="781484" y="1624906"/>
                  </a:lnTo>
                  <a:lnTo>
                    <a:pt x="791012" y="1605846"/>
                  </a:lnTo>
                  <a:lnTo>
                    <a:pt x="795776" y="1586786"/>
                  </a:lnTo>
                  <a:lnTo>
                    <a:pt x="795776" y="1553430"/>
                  </a:lnTo>
                  <a:lnTo>
                    <a:pt x="800544" y="1501014"/>
                  </a:lnTo>
                  <a:lnTo>
                    <a:pt x="800544" y="1496246"/>
                  </a:lnTo>
                  <a:lnTo>
                    <a:pt x="795776" y="1486718"/>
                  </a:lnTo>
                  <a:lnTo>
                    <a:pt x="776716" y="1481954"/>
                  </a:lnTo>
                  <a:lnTo>
                    <a:pt x="767188" y="1477186"/>
                  </a:lnTo>
                  <a:lnTo>
                    <a:pt x="771952" y="1467658"/>
                  </a:lnTo>
                  <a:close/>
                  <a:moveTo>
                    <a:pt x="452688" y="1448598"/>
                  </a:moveTo>
                  <a:lnTo>
                    <a:pt x="462220" y="1448598"/>
                  </a:lnTo>
                  <a:lnTo>
                    <a:pt x="466984" y="1448598"/>
                  </a:lnTo>
                  <a:lnTo>
                    <a:pt x="471748" y="1453362"/>
                  </a:lnTo>
                  <a:lnTo>
                    <a:pt x="481280" y="1458126"/>
                  </a:lnTo>
                  <a:lnTo>
                    <a:pt x="486044" y="1467658"/>
                  </a:lnTo>
                  <a:lnTo>
                    <a:pt x="481280" y="1472422"/>
                  </a:lnTo>
                  <a:lnTo>
                    <a:pt x="486044" y="1477186"/>
                  </a:lnTo>
                  <a:lnTo>
                    <a:pt x="481280" y="1491482"/>
                  </a:lnTo>
                  <a:lnTo>
                    <a:pt x="466984" y="1496250"/>
                  </a:lnTo>
                  <a:lnTo>
                    <a:pt x="466984" y="1491482"/>
                  </a:lnTo>
                  <a:lnTo>
                    <a:pt x="462220" y="1486718"/>
                  </a:lnTo>
                  <a:lnTo>
                    <a:pt x="462220" y="1481954"/>
                  </a:lnTo>
                  <a:close/>
                  <a:moveTo>
                    <a:pt x="462220" y="1391418"/>
                  </a:moveTo>
                  <a:lnTo>
                    <a:pt x="466984" y="1400946"/>
                  </a:lnTo>
                  <a:lnTo>
                    <a:pt x="486044" y="1410478"/>
                  </a:lnTo>
                  <a:lnTo>
                    <a:pt x="490808" y="1415242"/>
                  </a:lnTo>
                  <a:lnTo>
                    <a:pt x="495576" y="1420006"/>
                  </a:lnTo>
                  <a:lnTo>
                    <a:pt x="505104" y="1415242"/>
                  </a:lnTo>
                  <a:lnTo>
                    <a:pt x="509872" y="1410478"/>
                  </a:lnTo>
                  <a:lnTo>
                    <a:pt x="514636" y="1420006"/>
                  </a:lnTo>
                  <a:lnTo>
                    <a:pt x="528932" y="1429538"/>
                  </a:lnTo>
                  <a:lnTo>
                    <a:pt x="524164" y="1443834"/>
                  </a:lnTo>
                  <a:lnTo>
                    <a:pt x="509872" y="1443834"/>
                  </a:lnTo>
                  <a:lnTo>
                    <a:pt x="500340" y="1439066"/>
                  </a:lnTo>
                  <a:lnTo>
                    <a:pt x="490808" y="1443834"/>
                  </a:lnTo>
                  <a:lnTo>
                    <a:pt x="476516" y="1443834"/>
                  </a:lnTo>
                  <a:lnTo>
                    <a:pt x="466984" y="1434302"/>
                  </a:lnTo>
                  <a:lnTo>
                    <a:pt x="457456" y="1415242"/>
                  </a:lnTo>
                  <a:lnTo>
                    <a:pt x="452688" y="1410478"/>
                  </a:lnTo>
                  <a:lnTo>
                    <a:pt x="452688" y="1405710"/>
                  </a:lnTo>
                  <a:lnTo>
                    <a:pt x="457456" y="1400946"/>
                  </a:lnTo>
                  <a:lnTo>
                    <a:pt x="457456" y="1396182"/>
                  </a:lnTo>
                  <a:close/>
                  <a:moveTo>
                    <a:pt x="862492" y="1362826"/>
                  </a:moveTo>
                  <a:lnTo>
                    <a:pt x="881552" y="1367590"/>
                  </a:lnTo>
                  <a:lnTo>
                    <a:pt x="891080" y="1377122"/>
                  </a:lnTo>
                  <a:lnTo>
                    <a:pt x="891080" y="1381886"/>
                  </a:lnTo>
                  <a:lnTo>
                    <a:pt x="886316" y="1396182"/>
                  </a:lnTo>
                  <a:lnTo>
                    <a:pt x="881552" y="1396182"/>
                  </a:lnTo>
                  <a:lnTo>
                    <a:pt x="862492" y="1381886"/>
                  </a:lnTo>
                  <a:lnTo>
                    <a:pt x="852960" y="1377122"/>
                  </a:lnTo>
                  <a:lnTo>
                    <a:pt x="852960" y="1372354"/>
                  </a:lnTo>
                  <a:close/>
                  <a:moveTo>
                    <a:pt x="1143632" y="1353294"/>
                  </a:moveTo>
                  <a:lnTo>
                    <a:pt x="1186520" y="1358062"/>
                  </a:lnTo>
                  <a:lnTo>
                    <a:pt x="1229404" y="1358062"/>
                  </a:lnTo>
                  <a:lnTo>
                    <a:pt x="1277056" y="1353294"/>
                  </a:lnTo>
                  <a:lnTo>
                    <a:pt x="1291352" y="1358062"/>
                  </a:lnTo>
                  <a:lnTo>
                    <a:pt x="1305648" y="1372354"/>
                  </a:lnTo>
                  <a:lnTo>
                    <a:pt x="1305648" y="1381886"/>
                  </a:lnTo>
                  <a:lnTo>
                    <a:pt x="1305648" y="1391414"/>
                  </a:lnTo>
                  <a:lnTo>
                    <a:pt x="1310412" y="1396182"/>
                  </a:lnTo>
                  <a:lnTo>
                    <a:pt x="1319940" y="1396182"/>
                  </a:lnTo>
                  <a:lnTo>
                    <a:pt x="1329472" y="1405710"/>
                  </a:lnTo>
                  <a:lnTo>
                    <a:pt x="1339004" y="1415242"/>
                  </a:lnTo>
                  <a:lnTo>
                    <a:pt x="1334236" y="1420006"/>
                  </a:lnTo>
                  <a:lnTo>
                    <a:pt x="1334236" y="1434302"/>
                  </a:lnTo>
                  <a:lnTo>
                    <a:pt x="1324708" y="1453362"/>
                  </a:lnTo>
                  <a:lnTo>
                    <a:pt x="1329472" y="1481954"/>
                  </a:lnTo>
                  <a:lnTo>
                    <a:pt x="1334236" y="1491482"/>
                  </a:lnTo>
                  <a:lnTo>
                    <a:pt x="1334236" y="1501014"/>
                  </a:lnTo>
                  <a:lnTo>
                    <a:pt x="1329472" y="1510542"/>
                  </a:lnTo>
                  <a:lnTo>
                    <a:pt x="1334236" y="1515310"/>
                  </a:lnTo>
                  <a:lnTo>
                    <a:pt x="1348532" y="1543898"/>
                  </a:lnTo>
                  <a:lnTo>
                    <a:pt x="1348532" y="1553430"/>
                  </a:lnTo>
                  <a:lnTo>
                    <a:pt x="1348532" y="1558194"/>
                  </a:lnTo>
                  <a:lnTo>
                    <a:pt x="1343768" y="1562962"/>
                  </a:lnTo>
                  <a:lnTo>
                    <a:pt x="1353296" y="1567726"/>
                  </a:lnTo>
                  <a:lnTo>
                    <a:pt x="1362828" y="1577254"/>
                  </a:lnTo>
                  <a:lnTo>
                    <a:pt x="1372360" y="1591550"/>
                  </a:lnTo>
                  <a:lnTo>
                    <a:pt x="1367592" y="1596318"/>
                  </a:lnTo>
                  <a:lnTo>
                    <a:pt x="1358064" y="1582022"/>
                  </a:lnTo>
                  <a:lnTo>
                    <a:pt x="1353296" y="1582022"/>
                  </a:lnTo>
                  <a:lnTo>
                    <a:pt x="1319940" y="1586786"/>
                  </a:lnTo>
                  <a:lnTo>
                    <a:pt x="1305648" y="1582022"/>
                  </a:lnTo>
                  <a:lnTo>
                    <a:pt x="1291352" y="1582022"/>
                  </a:lnTo>
                  <a:lnTo>
                    <a:pt x="1277056" y="1562962"/>
                  </a:lnTo>
                  <a:lnTo>
                    <a:pt x="1267524" y="1558194"/>
                  </a:lnTo>
                  <a:lnTo>
                    <a:pt x="1257996" y="1548666"/>
                  </a:lnTo>
                  <a:lnTo>
                    <a:pt x="1248464" y="1524838"/>
                  </a:lnTo>
                  <a:lnTo>
                    <a:pt x="1243700" y="1515310"/>
                  </a:lnTo>
                  <a:lnTo>
                    <a:pt x="1253228" y="1501014"/>
                  </a:lnTo>
                  <a:lnTo>
                    <a:pt x="1253228" y="1491482"/>
                  </a:lnTo>
                  <a:lnTo>
                    <a:pt x="1253228" y="1481954"/>
                  </a:lnTo>
                  <a:lnTo>
                    <a:pt x="1243700" y="1481954"/>
                  </a:lnTo>
                  <a:lnTo>
                    <a:pt x="1238936" y="1481954"/>
                  </a:lnTo>
                  <a:lnTo>
                    <a:pt x="1229404" y="1467658"/>
                  </a:lnTo>
                  <a:lnTo>
                    <a:pt x="1224640" y="1458126"/>
                  </a:lnTo>
                  <a:lnTo>
                    <a:pt x="1215108" y="1453362"/>
                  </a:lnTo>
                  <a:lnTo>
                    <a:pt x="1205580" y="1439066"/>
                  </a:lnTo>
                  <a:lnTo>
                    <a:pt x="1186520" y="1434302"/>
                  </a:lnTo>
                  <a:lnTo>
                    <a:pt x="1181752" y="1429538"/>
                  </a:lnTo>
                  <a:lnTo>
                    <a:pt x="1167456" y="1420006"/>
                  </a:lnTo>
                  <a:lnTo>
                    <a:pt x="1157928" y="1405710"/>
                  </a:lnTo>
                  <a:lnTo>
                    <a:pt x="1148396" y="1377122"/>
                  </a:lnTo>
                  <a:close/>
                  <a:moveTo>
                    <a:pt x="981620" y="1348530"/>
                  </a:moveTo>
                  <a:lnTo>
                    <a:pt x="995912" y="1358058"/>
                  </a:lnTo>
                  <a:lnTo>
                    <a:pt x="1014976" y="1362826"/>
                  </a:lnTo>
                  <a:lnTo>
                    <a:pt x="1029268" y="1372354"/>
                  </a:lnTo>
                  <a:lnTo>
                    <a:pt x="1034036" y="1377118"/>
                  </a:lnTo>
                  <a:lnTo>
                    <a:pt x="1053096" y="1396182"/>
                  </a:lnTo>
                  <a:lnTo>
                    <a:pt x="1086452" y="1415242"/>
                  </a:lnTo>
                  <a:lnTo>
                    <a:pt x="1105512" y="1448598"/>
                  </a:lnTo>
                  <a:lnTo>
                    <a:pt x="1105512" y="1472422"/>
                  </a:lnTo>
                  <a:lnTo>
                    <a:pt x="1105512" y="1481954"/>
                  </a:lnTo>
                  <a:lnTo>
                    <a:pt x="1095980" y="1472422"/>
                  </a:lnTo>
                  <a:lnTo>
                    <a:pt x="1076920" y="1458126"/>
                  </a:lnTo>
                  <a:lnTo>
                    <a:pt x="1062624" y="1453362"/>
                  </a:lnTo>
                  <a:lnTo>
                    <a:pt x="1057860" y="1453362"/>
                  </a:lnTo>
                  <a:lnTo>
                    <a:pt x="1057860" y="1443830"/>
                  </a:lnTo>
                  <a:lnTo>
                    <a:pt x="1048332" y="1434302"/>
                  </a:lnTo>
                  <a:lnTo>
                    <a:pt x="1038800" y="1429538"/>
                  </a:lnTo>
                  <a:lnTo>
                    <a:pt x="1024504" y="1410474"/>
                  </a:lnTo>
                  <a:lnTo>
                    <a:pt x="1014976" y="1410474"/>
                  </a:lnTo>
                  <a:lnTo>
                    <a:pt x="1005444" y="1410474"/>
                  </a:lnTo>
                  <a:lnTo>
                    <a:pt x="986384" y="1439066"/>
                  </a:lnTo>
                  <a:lnTo>
                    <a:pt x="967324" y="1458126"/>
                  </a:lnTo>
                  <a:lnTo>
                    <a:pt x="967324" y="1448598"/>
                  </a:lnTo>
                  <a:lnTo>
                    <a:pt x="976852" y="1424770"/>
                  </a:lnTo>
                  <a:lnTo>
                    <a:pt x="981620" y="1391414"/>
                  </a:lnTo>
                  <a:lnTo>
                    <a:pt x="986384" y="1381886"/>
                  </a:lnTo>
                  <a:lnTo>
                    <a:pt x="981620" y="1362826"/>
                  </a:lnTo>
                  <a:close/>
                  <a:moveTo>
                    <a:pt x="829136" y="1348530"/>
                  </a:moveTo>
                  <a:lnTo>
                    <a:pt x="833900" y="1358058"/>
                  </a:lnTo>
                  <a:lnTo>
                    <a:pt x="829136" y="1362826"/>
                  </a:lnTo>
                  <a:lnTo>
                    <a:pt x="824368" y="1353294"/>
                  </a:lnTo>
                  <a:close/>
                  <a:moveTo>
                    <a:pt x="800544" y="1338998"/>
                  </a:moveTo>
                  <a:lnTo>
                    <a:pt x="810072" y="1338998"/>
                  </a:lnTo>
                  <a:lnTo>
                    <a:pt x="805308" y="1343766"/>
                  </a:lnTo>
                  <a:lnTo>
                    <a:pt x="805308" y="1358058"/>
                  </a:lnTo>
                  <a:lnTo>
                    <a:pt x="800544" y="1386650"/>
                  </a:lnTo>
                  <a:lnTo>
                    <a:pt x="786248" y="1424770"/>
                  </a:lnTo>
                  <a:lnTo>
                    <a:pt x="781484" y="1415242"/>
                  </a:lnTo>
                  <a:lnTo>
                    <a:pt x="781484" y="1405710"/>
                  </a:lnTo>
                  <a:lnTo>
                    <a:pt x="776716" y="1396182"/>
                  </a:lnTo>
                  <a:lnTo>
                    <a:pt x="771952" y="1391414"/>
                  </a:lnTo>
                  <a:lnTo>
                    <a:pt x="776716" y="1381886"/>
                  </a:lnTo>
                  <a:lnTo>
                    <a:pt x="786248" y="1372354"/>
                  </a:lnTo>
                  <a:lnTo>
                    <a:pt x="786248" y="1348530"/>
                  </a:lnTo>
                  <a:close/>
                  <a:moveTo>
                    <a:pt x="1038800" y="1334234"/>
                  </a:moveTo>
                  <a:lnTo>
                    <a:pt x="1053096" y="1348530"/>
                  </a:lnTo>
                  <a:lnTo>
                    <a:pt x="1062624" y="1372354"/>
                  </a:lnTo>
                  <a:lnTo>
                    <a:pt x="1062624" y="1386650"/>
                  </a:lnTo>
                  <a:lnTo>
                    <a:pt x="1057860" y="1381886"/>
                  </a:lnTo>
                  <a:lnTo>
                    <a:pt x="1038800" y="1353294"/>
                  </a:lnTo>
                  <a:lnTo>
                    <a:pt x="1034032" y="1343766"/>
                  </a:lnTo>
                  <a:close/>
                  <a:moveTo>
                    <a:pt x="933968" y="1267522"/>
                  </a:moveTo>
                  <a:lnTo>
                    <a:pt x="943496" y="1267522"/>
                  </a:lnTo>
                  <a:lnTo>
                    <a:pt x="948264" y="1267522"/>
                  </a:lnTo>
                  <a:lnTo>
                    <a:pt x="976852" y="1300878"/>
                  </a:lnTo>
                  <a:lnTo>
                    <a:pt x="986384" y="1305642"/>
                  </a:lnTo>
                  <a:lnTo>
                    <a:pt x="1000680" y="1329470"/>
                  </a:lnTo>
                  <a:lnTo>
                    <a:pt x="986384" y="1315174"/>
                  </a:lnTo>
                  <a:lnTo>
                    <a:pt x="967324" y="1305642"/>
                  </a:lnTo>
                  <a:lnTo>
                    <a:pt x="953028" y="1286582"/>
                  </a:lnTo>
                  <a:lnTo>
                    <a:pt x="938732" y="1277054"/>
                  </a:lnTo>
                  <a:lnTo>
                    <a:pt x="933968" y="1277054"/>
                  </a:lnTo>
                  <a:close/>
                  <a:moveTo>
                    <a:pt x="538460" y="1200810"/>
                  </a:moveTo>
                  <a:lnTo>
                    <a:pt x="547992" y="1200810"/>
                  </a:lnTo>
                  <a:lnTo>
                    <a:pt x="576584" y="1205578"/>
                  </a:lnTo>
                  <a:lnTo>
                    <a:pt x="586112" y="1205578"/>
                  </a:lnTo>
                  <a:lnTo>
                    <a:pt x="590876" y="1210342"/>
                  </a:lnTo>
                  <a:lnTo>
                    <a:pt x="614704" y="1205578"/>
                  </a:lnTo>
                  <a:lnTo>
                    <a:pt x="629000" y="1205578"/>
                  </a:lnTo>
                  <a:lnTo>
                    <a:pt x="633764" y="1215106"/>
                  </a:lnTo>
                  <a:lnTo>
                    <a:pt x="643296" y="1219870"/>
                  </a:lnTo>
                  <a:lnTo>
                    <a:pt x="648060" y="1224638"/>
                  </a:lnTo>
                  <a:lnTo>
                    <a:pt x="662356" y="1215106"/>
                  </a:lnTo>
                  <a:lnTo>
                    <a:pt x="676648" y="1224638"/>
                  </a:lnTo>
                  <a:lnTo>
                    <a:pt x="686180" y="1243698"/>
                  </a:lnTo>
                  <a:lnTo>
                    <a:pt x="700476" y="1253226"/>
                  </a:lnTo>
                  <a:lnTo>
                    <a:pt x="710004" y="1262758"/>
                  </a:lnTo>
                  <a:lnTo>
                    <a:pt x="714772" y="1267522"/>
                  </a:lnTo>
                  <a:lnTo>
                    <a:pt x="705240" y="1281818"/>
                  </a:lnTo>
                  <a:lnTo>
                    <a:pt x="705240" y="1296114"/>
                  </a:lnTo>
                  <a:lnTo>
                    <a:pt x="705240" y="1310410"/>
                  </a:lnTo>
                  <a:lnTo>
                    <a:pt x="714772" y="1343766"/>
                  </a:lnTo>
                  <a:lnTo>
                    <a:pt x="710004" y="1348530"/>
                  </a:lnTo>
                  <a:lnTo>
                    <a:pt x="700476" y="1362826"/>
                  </a:lnTo>
                  <a:lnTo>
                    <a:pt x="695712" y="1377122"/>
                  </a:lnTo>
                  <a:lnTo>
                    <a:pt x="695712" y="1381886"/>
                  </a:lnTo>
                  <a:lnTo>
                    <a:pt x="690944" y="1386650"/>
                  </a:lnTo>
                  <a:lnTo>
                    <a:pt x="690944" y="1396182"/>
                  </a:lnTo>
                  <a:lnTo>
                    <a:pt x="686180" y="1396182"/>
                  </a:lnTo>
                  <a:lnTo>
                    <a:pt x="681416" y="1396182"/>
                  </a:lnTo>
                  <a:lnTo>
                    <a:pt x="676648" y="1400946"/>
                  </a:lnTo>
                  <a:lnTo>
                    <a:pt x="667120" y="1410478"/>
                  </a:lnTo>
                  <a:lnTo>
                    <a:pt x="652824" y="1405710"/>
                  </a:lnTo>
                  <a:lnTo>
                    <a:pt x="648060" y="1405710"/>
                  </a:lnTo>
                  <a:lnTo>
                    <a:pt x="648060" y="1396182"/>
                  </a:lnTo>
                  <a:lnTo>
                    <a:pt x="643296" y="1391418"/>
                  </a:lnTo>
                  <a:lnTo>
                    <a:pt x="638528" y="1386650"/>
                  </a:lnTo>
                  <a:lnTo>
                    <a:pt x="624232" y="1372354"/>
                  </a:lnTo>
                  <a:lnTo>
                    <a:pt x="619468" y="1362826"/>
                  </a:lnTo>
                  <a:lnTo>
                    <a:pt x="619468" y="1348530"/>
                  </a:lnTo>
                  <a:lnTo>
                    <a:pt x="614704" y="1338998"/>
                  </a:lnTo>
                  <a:lnTo>
                    <a:pt x="609940" y="1329470"/>
                  </a:lnTo>
                  <a:lnTo>
                    <a:pt x="600408" y="1324706"/>
                  </a:lnTo>
                  <a:lnTo>
                    <a:pt x="595644" y="1319938"/>
                  </a:lnTo>
                  <a:lnTo>
                    <a:pt x="595644" y="1310410"/>
                  </a:lnTo>
                  <a:lnTo>
                    <a:pt x="590876" y="1286582"/>
                  </a:lnTo>
                  <a:lnTo>
                    <a:pt x="581348" y="1262758"/>
                  </a:lnTo>
                  <a:lnTo>
                    <a:pt x="576584" y="1257994"/>
                  </a:lnTo>
                  <a:lnTo>
                    <a:pt x="562288" y="1248462"/>
                  </a:lnTo>
                  <a:lnTo>
                    <a:pt x="552756" y="1243698"/>
                  </a:lnTo>
                  <a:lnTo>
                    <a:pt x="547992" y="1234166"/>
                  </a:lnTo>
                  <a:lnTo>
                    <a:pt x="543228" y="1219870"/>
                  </a:lnTo>
                  <a:lnTo>
                    <a:pt x="533696" y="1219870"/>
                  </a:lnTo>
                  <a:lnTo>
                    <a:pt x="528932" y="1215106"/>
                  </a:lnTo>
                  <a:lnTo>
                    <a:pt x="528932" y="1210342"/>
                  </a:lnTo>
                  <a:close/>
                  <a:moveTo>
                    <a:pt x="767188" y="1191282"/>
                  </a:moveTo>
                  <a:lnTo>
                    <a:pt x="771952" y="1196046"/>
                  </a:lnTo>
                  <a:lnTo>
                    <a:pt x="781484" y="1196046"/>
                  </a:lnTo>
                  <a:lnTo>
                    <a:pt x="786248" y="1196046"/>
                  </a:lnTo>
                  <a:lnTo>
                    <a:pt x="805308" y="1210342"/>
                  </a:lnTo>
                  <a:lnTo>
                    <a:pt x="805308" y="1215106"/>
                  </a:lnTo>
                  <a:lnTo>
                    <a:pt x="805308" y="1224638"/>
                  </a:lnTo>
                  <a:lnTo>
                    <a:pt x="795776" y="1238930"/>
                  </a:lnTo>
                  <a:lnTo>
                    <a:pt x="791012" y="1243698"/>
                  </a:lnTo>
                  <a:lnTo>
                    <a:pt x="786248" y="1253226"/>
                  </a:lnTo>
                  <a:lnTo>
                    <a:pt x="767188" y="1238930"/>
                  </a:lnTo>
                  <a:lnTo>
                    <a:pt x="757656" y="1229402"/>
                  </a:lnTo>
                  <a:lnTo>
                    <a:pt x="757656" y="1215106"/>
                  </a:lnTo>
                  <a:close/>
                  <a:moveTo>
                    <a:pt x="490808" y="1148394"/>
                  </a:moveTo>
                  <a:lnTo>
                    <a:pt x="505104" y="1153158"/>
                  </a:lnTo>
                  <a:lnTo>
                    <a:pt x="514636" y="1162690"/>
                  </a:lnTo>
                  <a:lnTo>
                    <a:pt x="514636" y="1172222"/>
                  </a:lnTo>
                  <a:lnTo>
                    <a:pt x="490808" y="1157926"/>
                  </a:lnTo>
                  <a:lnTo>
                    <a:pt x="490808" y="1153158"/>
                  </a:lnTo>
                  <a:close/>
                  <a:moveTo>
                    <a:pt x="1134104" y="1110274"/>
                  </a:moveTo>
                  <a:lnTo>
                    <a:pt x="1148396" y="1129334"/>
                  </a:lnTo>
                  <a:lnTo>
                    <a:pt x="1153164" y="1134098"/>
                  </a:lnTo>
                  <a:lnTo>
                    <a:pt x="1162692" y="1143630"/>
                  </a:lnTo>
                  <a:lnTo>
                    <a:pt x="1162692" y="1162690"/>
                  </a:lnTo>
                  <a:lnTo>
                    <a:pt x="1162692" y="1172218"/>
                  </a:lnTo>
                  <a:lnTo>
                    <a:pt x="1153164" y="1181750"/>
                  </a:lnTo>
                  <a:lnTo>
                    <a:pt x="1148396" y="1191278"/>
                  </a:lnTo>
                  <a:lnTo>
                    <a:pt x="1143632" y="1191278"/>
                  </a:lnTo>
                  <a:lnTo>
                    <a:pt x="1138868" y="1191278"/>
                  </a:lnTo>
                  <a:lnTo>
                    <a:pt x="1124572" y="1200810"/>
                  </a:lnTo>
                  <a:lnTo>
                    <a:pt x="1110276" y="1186514"/>
                  </a:lnTo>
                  <a:lnTo>
                    <a:pt x="1105512" y="1176986"/>
                  </a:lnTo>
                  <a:lnTo>
                    <a:pt x="1119808" y="1157926"/>
                  </a:lnTo>
                  <a:lnTo>
                    <a:pt x="1119808" y="1124570"/>
                  </a:lnTo>
                  <a:lnTo>
                    <a:pt x="1124572" y="1119802"/>
                  </a:lnTo>
                  <a:lnTo>
                    <a:pt x="1129336" y="1115038"/>
                  </a:lnTo>
                  <a:close/>
                  <a:moveTo>
                    <a:pt x="781484" y="1086450"/>
                  </a:moveTo>
                  <a:lnTo>
                    <a:pt x="814840" y="1115038"/>
                  </a:lnTo>
                  <a:lnTo>
                    <a:pt x="814840" y="1124570"/>
                  </a:lnTo>
                  <a:lnTo>
                    <a:pt x="781484" y="1095978"/>
                  </a:lnTo>
                  <a:lnTo>
                    <a:pt x="776720" y="1095978"/>
                  </a:lnTo>
                  <a:lnTo>
                    <a:pt x="776720" y="1091214"/>
                  </a:lnTo>
                  <a:close/>
                  <a:moveTo>
                    <a:pt x="781484" y="953026"/>
                  </a:moveTo>
                  <a:lnTo>
                    <a:pt x="791012" y="962554"/>
                  </a:lnTo>
                  <a:lnTo>
                    <a:pt x="795776" y="967318"/>
                  </a:lnTo>
                  <a:lnTo>
                    <a:pt x="791012" y="967318"/>
                  </a:lnTo>
                  <a:lnTo>
                    <a:pt x="781484" y="976850"/>
                  </a:lnTo>
                  <a:lnTo>
                    <a:pt x="791012" y="1000674"/>
                  </a:lnTo>
                  <a:lnTo>
                    <a:pt x="786248" y="1014970"/>
                  </a:lnTo>
                  <a:lnTo>
                    <a:pt x="776716" y="1014970"/>
                  </a:lnTo>
                  <a:lnTo>
                    <a:pt x="771952" y="1014970"/>
                  </a:lnTo>
                  <a:lnTo>
                    <a:pt x="771952" y="1010206"/>
                  </a:lnTo>
                  <a:lnTo>
                    <a:pt x="776716" y="1005442"/>
                  </a:lnTo>
                  <a:lnTo>
                    <a:pt x="771952" y="995910"/>
                  </a:lnTo>
                  <a:lnTo>
                    <a:pt x="767188" y="986382"/>
                  </a:lnTo>
                  <a:lnTo>
                    <a:pt x="767188" y="976850"/>
                  </a:lnTo>
                  <a:lnTo>
                    <a:pt x="757656" y="967318"/>
                  </a:lnTo>
                  <a:lnTo>
                    <a:pt x="762424" y="957790"/>
                  </a:lnTo>
                  <a:close/>
                  <a:moveTo>
                    <a:pt x="600408" y="371678"/>
                  </a:moveTo>
                  <a:lnTo>
                    <a:pt x="609936" y="376442"/>
                  </a:lnTo>
                  <a:lnTo>
                    <a:pt x="619468" y="376442"/>
                  </a:lnTo>
                  <a:lnTo>
                    <a:pt x="638528" y="371678"/>
                  </a:lnTo>
                  <a:lnTo>
                    <a:pt x="648060" y="371678"/>
                  </a:lnTo>
                  <a:lnTo>
                    <a:pt x="671884" y="381210"/>
                  </a:lnTo>
                  <a:lnTo>
                    <a:pt x="724300" y="409798"/>
                  </a:lnTo>
                  <a:lnTo>
                    <a:pt x="743360" y="419330"/>
                  </a:lnTo>
                  <a:lnTo>
                    <a:pt x="762420" y="424094"/>
                  </a:lnTo>
                  <a:lnTo>
                    <a:pt x="776716" y="424094"/>
                  </a:lnTo>
                  <a:lnTo>
                    <a:pt x="791012" y="419330"/>
                  </a:lnTo>
                  <a:lnTo>
                    <a:pt x="800544" y="409798"/>
                  </a:lnTo>
                  <a:lnTo>
                    <a:pt x="810072" y="390738"/>
                  </a:lnTo>
                  <a:lnTo>
                    <a:pt x="819604" y="390738"/>
                  </a:lnTo>
                  <a:lnTo>
                    <a:pt x="829132" y="400270"/>
                  </a:lnTo>
                  <a:lnTo>
                    <a:pt x="833900" y="405034"/>
                  </a:lnTo>
                  <a:lnTo>
                    <a:pt x="833900" y="419330"/>
                  </a:lnTo>
                  <a:lnTo>
                    <a:pt x="833900" y="433626"/>
                  </a:lnTo>
                  <a:lnTo>
                    <a:pt x="819604" y="447922"/>
                  </a:lnTo>
                  <a:lnTo>
                    <a:pt x="814836" y="462214"/>
                  </a:lnTo>
                  <a:lnTo>
                    <a:pt x="810072" y="514630"/>
                  </a:lnTo>
                  <a:lnTo>
                    <a:pt x="810072" y="528926"/>
                  </a:lnTo>
                  <a:lnTo>
                    <a:pt x="814836" y="543222"/>
                  </a:lnTo>
                  <a:lnTo>
                    <a:pt x="824368" y="567050"/>
                  </a:lnTo>
                  <a:lnTo>
                    <a:pt x="829132" y="571814"/>
                  </a:lnTo>
                  <a:lnTo>
                    <a:pt x="843428" y="581342"/>
                  </a:lnTo>
                  <a:lnTo>
                    <a:pt x="848192" y="586110"/>
                  </a:lnTo>
                  <a:lnTo>
                    <a:pt x="848192" y="600406"/>
                  </a:lnTo>
                  <a:lnTo>
                    <a:pt x="848192" y="609934"/>
                  </a:lnTo>
                  <a:lnTo>
                    <a:pt x="857724" y="609934"/>
                  </a:lnTo>
                  <a:lnTo>
                    <a:pt x="867256" y="614698"/>
                  </a:lnTo>
                  <a:lnTo>
                    <a:pt x="862488" y="628994"/>
                  </a:lnTo>
                  <a:lnTo>
                    <a:pt x="857724" y="638526"/>
                  </a:lnTo>
                  <a:lnTo>
                    <a:pt x="852960" y="667114"/>
                  </a:lnTo>
                  <a:lnTo>
                    <a:pt x="819604" y="729062"/>
                  </a:lnTo>
                  <a:lnTo>
                    <a:pt x="819604" y="743358"/>
                  </a:lnTo>
                  <a:lnTo>
                    <a:pt x="805308" y="771950"/>
                  </a:lnTo>
                  <a:lnTo>
                    <a:pt x="781484" y="771950"/>
                  </a:lnTo>
                  <a:lnTo>
                    <a:pt x="752892" y="786242"/>
                  </a:lnTo>
                  <a:lnTo>
                    <a:pt x="738596" y="795774"/>
                  </a:lnTo>
                  <a:lnTo>
                    <a:pt x="724300" y="810070"/>
                  </a:lnTo>
                  <a:lnTo>
                    <a:pt x="719536" y="829130"/>
                  </a:lnTo>
                  <a:lnTo>
                    <a:pt x="724300" y="833894"/>
                  </a:lnTo>
                  <a:lnTo>
                    <a:pt x="724300" y="843426"/>
                  </a:lnTo>
                  <a:lnTo>
                    <a:pt x="724300" y="852954"/>
                  </a:lnTo>
                  <a:lnTo>
                    <a:pt x="719536" y="862486"/>
                  </a:lnTo>
                  <a:lnTo>
                    <a:pt x="705240" y="881546"/>
                  </a:lnTo>
                  <a:lnTo>
                    <a:pt x="700476" y="895842"/>
                  </a:lnTo>
                  <a:lnTo>
                    <a:pt x="695708" y="900606"/>
                  </a:lnTo>
                  <a:lnTo>
                    <a:pt x="690944" y="910138"/>
                  </a:lnTo>
                  <a:lnTo>
                    <a:pt x="690944" y="919666"/>
                  </a:lnTo>
                  <a:lnTo>
                    <a:pt x="700476" y="929198"/>
                  </a:lnTo>
                  <a:lnTo>
                    <a:pt x="714772" y="962554"/>
                  </a:lnTo>
                  <a:lnTo>
                    <a:pt x="733832" y="995910"/>
                  </a:lnTo>
                  <a:lnTo>
                    <a:pt x="738596" y="1000674"/>
                  </a:lnTo>
                  <a:lnTo>
                    <a:pt x="738596" y="1005438"/>
                  </a:lnTo>
                  <a:lnTo>
                    <a:pt x="729064" y="1014970"/>
                  </a:lnTo>
                  <a:lnTo>
                    <a:pt x="729064" y="1029266"/>
                  </a:lnTo>
                  <a:lnTo>
                    <a:pt x="729064" y="1043562"/>
                  </a:lnTo>
                  <a:lnTo>
                    <a:pt x="748128" y="1086446"/>
                  </a:lnTo>
                  <a:lnTo>
                    <a:pt x="748128" y="1095978"/>
                  </a:lnTo>
                  <a:lnTo>
                    <a:pt x="752892" y="1105506"/>
                  </a:lnTo>
                  <a:lnTo>
                    <a:pt x="762420" y="1115038"/>
                  </a:lnTo>
                  <a:lnTo>
                    <a:pt x="771952" y="1119802"/>
                  </a:lnTo>
                  <a:lnTo>
                    <a:pt x="800544" y="1129334"/>
                  </a:lnTo>
                  <a:lnTo>
                    <a:pt x="810072" y="1134098"/>
                  </a:lnTo>
                  <a:lnTo>
                    <a:pt x="819604" y="1134098"/>
                  </a:lnTo>
                  <a:lnTo>
                    <a:pt x="824368" y="1124566"/>
                  </a:lnTo>
                  <a:lnTo>
                    <a:pt x="829132" y="1124566"/>
                  </a:lnTo>
                  <a:lnTo>
                    <a:pt x="829132" y="1115038"/>
                  </a:lnTo>
                  <a:lnTo>
                    <a:pt x="819604" y="1105506"/>
                  </a:lnTo>
                  <a:lnTo>
                    <a:pt x="819604" y="1100742"/>
                  </a:lnTo>
                  <a:lnTo>
                    <a:pt x="824368" y="1095978"/>
                  </a:lnTo>
                  <a:lnTo>
                    <a:pt x="829132" y="1091214"/>
                  </a:lnTo>
                  <a:lnTo>
                    <a:pt x="848192" y="1081682"/>
                  </a:lnTo>
                  <a:lnTo>
                    <a:pt x="862488" y="1072150"/>
                  </a:lnTo>
                  <a:lnTo>
                    <a:pt x="886316" y="1072150"/>
                  </a:lnTo>
                  <a:lnTo>
                    <a:pt x="905376" y="1076918"/>
                  </a:lnTo>
                  <a:lnTo>
                    <a:pt x="919672" y="1081682"/>
                  </a:lnTo>
                  <a:lnTo>
                    <a:pt x="933968" y="1091214"/>
                  </a:lnTo>
                  <a:lnTo>
                    <a:pt x="943496" y="1110274"/>
                  </a:lnTo>
                  <a:lnTo>
                    <a:pt x="953028" y="1129334"/>
                  </a:lnTo>
                  <a:lnTo>
                    <a:pt x="953028" y="1138862"/>
                  </a:lnTo>
                  <a:lnTo>
                    <a:pt x="953028" y="1148394"/>
                  </a:lnTo>
                  <a:lnTo>
                    <a:pt x="953028" y="1157922"/>
                  </a:lnTo>
                  <a:lnTo>
                    <a:pt x="957792" y="1162690"/>
                  </a:lnTo>
                  <a:lnTo>
                    <a:pt x="976852" y="1162690"/>
                  </a:lnTo>
                  <a:lnTo>
                    <a:pt x="986384" y="1148394"/>
                  </a:lnTo>
                  <a:lnTo>
                    <a:pt x="991148" y="1134098"/>
                  </a:lnTo>
                  <a:lnTo>
                    <a:pt x="981616" y="1129334"/>
                  </a:lnTo>
                  <a:lnTo>
                    <a:pt x="986384" y="1119802"/>
                  </a:lnTo>
                  <a:lnTo>
                    <a:pt x="991148" y="1115038"/>
                  </a:lnTo>
                  <a:lnTo>
                    <a:pt x="1000676" y="1119802"/>
                  </a:lnTo>
                  <a:lnTo>
                    <a:pt x="1010208" y="1129334"/>
                  </a:lnTo>
                  <a:lnTo>
                    <a:pt x="1043564" y="1138862"/>
                  </a:lnTo>
                  <a:lnTo>
                    <a:pt x="1048328" y="1138862"/>
                  </a:lnTo>
                  <a:lnTo>
                    <a:pt x="1057860" y="1143630"/>
                  </a:lnTo>
                  <a:lnTo>
                    <a:pt x="1072156" y="1148394"/>
                  </a:lnTo>
                  <a:lnTo>
                    <a:pt x="1076920" y="1153158"/>
                  </a:lnTo>
                  <a:lnTo>
                    <a:pt x="1067388" y="1167454"/>
                  </a:lnTo>
                  <a:lnTo>
                    <a:pt x="1038800" y="1172218"/>
                  </a:lnTo>
                  <a:lnTo>
                    <a:pt x="1029268" y="1181750"/>
                  </a:lnTo>
                  <a:lnTo>
                    <a:pt x="1038800" y="1200810"/>
                  </a:lnTo>
                  <a:lnTo>
                    <a:pt x="1053096" y="1215106"/>
                  </a:lnTo>
                  <a:lnTo>
                    <a:pt x="1062624" y="1229402"/>
                  </a:lnTo>
                  <a:lnTo>
                    <a:pt x="1072156" y="1238930"/>
                  </a:lnTo>
                  <a:lnTo>
                    <a:pt x="1072156" y="1253226"/>
                  </a:lnTo>
                  <a:lnTo>
                    <a:pt x="1067388" y="1267522"/>
                  </a:lnTo>
                  <a:lnTo>
                    <a:pt x="1076920" y="1267522"/>
                  </a:lnTo>
                  <a:lnTo>
                    <a:pt x="1091216" y="1267522"/>
                  </a:lnTo>
                  <a:lnTo>
                    <a:pt x="1110276" y="1277054"/>
                  </a:lnTo>
                  <a:lnTo>
                    <a:pt x="1115040" y="1281818"/>
                  </a:lnTo>
                  <a:lnTo>
                    <a:pt x="1119808" y="1277054"/>
                  </a:lnTo>
                  <a:lnTo>
                    <a:pt x="1119808" y="1319938"/>
                  </a:lnTo>
                  <a:lnTo>
                    <a:pt x="1110276" y="1353294"/>
                  </a:lnTo>
                  <a:lnTo>
                    <a:pt x="1091216" y="1348530"/>
                  </a:lnTo>
                  <a:lnTo>
                    <a:pt x="1081684" y="1334234"/>
                  </a:lnTo>
                  <a:lnTo>
                    <a:pt x="1081684" y="1315174"/>
                  </a:lnTo>
                  <a:lnTo>
                    <a:pt x="1091216" y="1296114"/>
                  </a:lnTo>
                  <a:lnTo>
                    <a:pt x="1086452" y="1291346"/>
                  </a:lnTo>
                  <a:lnTo>
                    <a:pt x="1076920" y="1296114"/>
                  </a:lnTo>
                  <a:lnTo>
                    <a:pt x="1067388" y="1300878"/>
                  </a:lnTo>
                  <a:lnTo>
                    <a:pt x="1057860" y="1300878"/>
                  </a:lnTo>
                  <a:lnTo>
                    <a:pt x="1038800" y="1296114"/>
                  </a:lnTo>
                  <a:lnTo>
                    <a:pt x="1005444" y="1277054"/>
                  </a:lnTo>
                  <a:lnTo>
                    <a:pt x="991148" y="1277054"/>
                  </a:lnTo>
                  <a:lnTo>
                    <a:pt x="986384" y="1267522"/>
                  </a:lnTo>
                  <a:lnTo>
                    <a:pt x="986384" y="1248462"/>
                  </a:lnTo>
                  <a:lnTo>
                    <a:pt x="976852" y="1229402"/>
                  </a:lnTo>
                  <a:lnTo>
                    <a:pt x="972088" y="1219870"/>
                  </a:lnTo>
                  <a:lnTo>
                    <a:pt x="967320" y="1215106"/>
                  </a:lnTo>
                  <a:lnTo>
                    <a:pt x="924436" y="1186514"/>
                  </a:lnTo>
                  <a:lnTo>
                    <a:pt x="919672" y="1186514"/>
                  </a:lnTo>
                  <a:lnTo>
                    <a:pt x="910140" y="1167454"/>
                  </a:lnTo>
                  <a:lnTo>
                    <a:pt x="881548" y="1138862"/>
                  </a:lnTo>
                  <a:lnTo>
                    <a:pt x="872020" y="1134098"/>
                  </a:lnTo>
                  <a:lnTo>
                    <a:pt x="862488" y="1134098"/>
                  </a:lnTo>
                  <a:lnTo>
                    <a:pt x="857724" y="1143630"/>
                  </a:lnTo>
                  <a:lnTo>
                    <a:pt x="862488" y="1153158"/>
                  </a:lnTo>
                  <a:lnTo>
                    <a:pt x="867256" y="1162690"/>
                  </a:lnTo>
                  <a:lnTo>
                    <a:pt x="862488" y="1172218"/>
                  </a:lnTo>
                  <a:lnTo>
                    <a:pt x="867256" y="1176986"/>
                  </a:lnTo>
                  <a:lnTo>
                    <a:pt x="881548" y="1191278"/>
                  </a:lnTo>
                  <a:lnTo>
                    <a:pt x="881548" y="1200810"/>
                  </a:lnTo>
                  <a:lnTo>
                    <a:pt x="891080" y="1219870"/>
                  </a:lnTo>
                  <a:lnTo>
                    <a:pt x="891080" y="1243698"/>
                  </a:lnTo>
                  <a:lnTo>
                    <a:pt x="881548" y="1253226"/>
                  </a:lnTo>
                  <a:lnTo>
                    <a:pt x="867256" y="1243698"/>
                  </a:lnTo>
                  <a:lnTo>
                    <a:pt x="867256" y="1234166"/>
                  </a:lnTo>
                  <a:lnTo>
                    <a:pt x="862488" y="1224634"/>
                  </a:lnTo>
                  <a:lnTo>
                    <a:pt x="848192" y="1205574"/>
                  </a:lnTo>
                  <a:lnTo>
                    <a:pt x="843428" y="1200810"/>
                  </a:lnTo>
                  <a:lnTo>
                    <a:pt x="819604" y="1181750"/>
                  </a:lnTo>
                  <a:lnTo>
                    <a:pt x="795776" y="1157922"/>
                  </a:lnTo>
                  <a:lnTo>
                    <a:pt x="752892" y="1134098"/>
                  </a:lnTo>
                  <a:lnTo>
                    <a:pt x="748128" y="1134098"/>
                  </a:lnTo>
                  <a:lnTo>
                    <a:pt x="738596" y="1134098"/>
                  </a:lnTo>
                  <a:lnTo>
                    <a:pt x="729064" y="1138862"/>
                  </a:lnTo>
                  <a:lnTo>
                    <a:pt x="710004" y="1148394"/>
                  </a:lnTo>
                  <a:lnTo>
                    <a:pt x="700476" y="1157922"/>
                  </a:lnTo>
                  <a:lnTo>
                    <a:pt x="700476" y="1167454"/>
                  </a:lnTo>
                  <a:lnTo>
                    <a:pt x="686180" y="1181750"/>
                  </a:lnTo>
                  <a:lnTo>
                    <a:pt x="662352" y="1181750"/>
                  </a:lnTo>
                  <a:lnTo>
                    <a:pt x="643292" y="1172218"/>
                  </a:lnTo>
                  <a:lnTo>
                    <a:pt x="629000" y="1162690"/>
                  </a:lnTo>
                  <a:lnTo>
                    <a:pt x="619468" y="1162690"/>
                  </a:lnTo>
                  <a:lnTo>
                    <a:pt x="605172" y="1143630"/>
                  </a:lnTo>
                  <a:lnTo>
                    <a:pt x="586112" y="1138862"/>
                  </a:lnTo>
                  <a:lnTo>
                    <a:pt x="571816" y="1153158"/>
                  </a:lnTo>
                  <a:lnTo>
                    <a:pt x="571816" y="1124566"/>
                  </a:lnTo>
                  <a:lnTo>
                    <a:pt x="571816" y="1091214"/>
                  </a:lnTo>
                  <a:lnTo>
                    <a:pt x="576580" y="1086446"/>
                  </a:lnTo>
                  <a:lnTo>
                    <a:pt x="581348" y="1076918"/>
                  </a:lnTo>
                  <a:lnTo>
                    <a:pt x="619468" y="1043562"/>
                  </a:lnTo>
                  <a:lnTo>
                    <a:pt x="624232" y="1034030"/>
                  </a:lnTo>
                  <a:lnTo>
                    <a:pt x="619468" y="1019734"/>
                  </a:lnTo>
                  <a:lnTo>
                    <a:pt x="614704" y="1010206"/>
                  </a:lnTo>
                  <a:lnTo>
                    <a:pt x="600408" y="1000674"/>
                  </a:lnTo>
                  <a:lnTo>
                    <a:pt x="586112" y="995910"/>
                  </a:lnTo>
                  <a:lnTo>
                    <a:pt x="571816" y="991146"/>
                  </a:lnTo>
                  <a:lnTo>
                    <a:pt x="567052" y="981614"/>
                  </a:lnTo>
                  <a:lnTo>
                    <a:pt x="557520" y="1000674"/>
                  </a:lnTo>
                  <a:lnTo>
                    <a:pt x="567052" y="1029266"/>
                  </a:lnTo>
                  <a:lnTo>
                    <a:pt x="567052" y="1043562"/>
                  </a:lnTo>
                  <a:lnTo>
                    <a:pt x="562288" y="1053090"/>
                  </a:lnTo>
                  <a:lnTo>
                    <a:pt x="552756" y="1053090"/>
                  </a:lnTo>
                  <a:lnTo>
                    <a:pt x="543224" y="1048326"/>
                  </a:lnTo>
                  <a:lnTo>
                    <a:pt x="533696" y="1043562"/>
                  </a:lnTo>
                  <a:lnTo>
                    <a:pt x="528932" y="1024502"/>
                  </a:lnTo>
                  <a:lnTo>
                    <a:pt x="519400" y="1014970"/>
                  </a:lnTo>
                  <a:lnTo>
                    <a:pt x="514636" y="995910"/>
                  </a:lnTo>
                  <a:lnTo>
                    <a:pt x="509868" y="991146"/>
                  </a:lnTo>
                  <a:lnTo>
                    <a:pt x="495576" y="995910"/>
                  </a:lnTo>
                  <a:lnTo>
                    <a:pt x="486044" y="986378"/>
                  </a:lnTo>
                  <a:lnTo>
                    <a:pt x="481280" y="967318"/>
                  </a:lnTo>
                  <a:lnTo>
                    <a:pt x="481280" y="943494"/>
                  </a:lnTo>
                  <a:lnTo>
                    <a:pt x="476516" y="924434"/>
                  </a:lnTo>
                  <a:lnTo>
                    <a:pt x="466984" y="905374"/>
                  </a:lnTo>
                  <a:lnTo>
                    <a:pt x="462220" y="891078"/>
                  </a:lnTo>
                  <a:lnTo>
                    <a:pt x="457452" y="824366"/>
                  </a:lnTo>
                  <a:lnTo>
                    <a:pt x="457452" y="819598"/>
                  </a:lnTo>
                  <a:lnTo>
                    <a:pt x="452688" y="814834"/>
                  </a:lnTo>
                  <a:lnTo>
                    <a:pt x="443160" y="810070"/>
                  </a:lnTo>
                  <a:lnTo>
                    <a:pt x="438392" y="800538"/>
                  </a:lnTo>
                  <a:lnTo>
                    <a:pt x="438392" y="791010"/>
                  </a:lnTo>
                  <a:lnTo>
                    <a:pt x="438392" y="757654"/>
                  </a:lnTo>
                  <a:lnTo>
                    <a:pt x="443160" y="752890"/>
                  </a:lnTo>
                  <a:lnTo>
                    <a:pt x="447924" y="748122"/>
                  </a:lnTo>
                  <a:lnTo>
                    <a:pt x="457452" y="752890"/>
                  </a:lnTo>
                  <a:lnTo>
                    <a:pt x="462220" y="762418"/>
                  </a:lnTo>
                  <a:lnTo>
                    <a:pt x="471748" y="762418"/>
                  </a:lnTo>
                  <a:lnTo>
                    <a:pt x="481280" y="771950"/>
                  </a:lnTo>
                  <a:lnTo>
                    <a:pt x="495576" y="791010"/>
                  </a:lnTo>
                  <a:lnTo>
                    <a:pt x="500340" y="791010"/>
                  </a:lnTo>
                  <a:lnTo>
                    <a:pt x="514636" y="791010"/>
                  </a:lnTo>
                  <a:lnTo>
                    <a:pt x="528932" y="791010"/>
                  </a:lnTo>
                  <a:lnTo>
                    <a:pt x="533696" y="781478"/>
                  </a:lnTo>
                  <a:lnTo>
                    <a:pt x="533696" y="771950"/>
                  </a:lnTo>
                  <a:lnTo>
                    <a:pt x="533696" y="762418"/>
                  </a:lnTo>
                  <a:lnTo>
                    <a:pt x="524164" y="733826"/>
                  </a:lnTo>
                  <a:lnTo>
                    <a:pt x="519400" y="714766"/>
                  </a:lnTo>
                  <a:lnTo>
                    <a:pt x="519400" y="695706"/>
                  </a:lnTo>
                  <a:lnTo>
                    <a:pt x="524164" y="676646"/>
                  </a:lnTo>
                  <a:lnTo>
                    <a:pt x="538460" y="643290"/>
                  </a:lnTo>
                  <a:lnTo>
                    <a:pt x="538460" y="624230"/>
                  </a:lnTo>
                  <a:lnTo>
                    <a:pt x="538460" y="590874"/>
                  </a:lnTo>
                  <a:lnTo>
                    <a:pt x="543224" y="576578"/>
                  </a:lnTo>
                  <a:lnTo>
                    <a:pt x="538460" y="567050"/>
                  </a:lnTo>
                  <a:lnTo>
                    <a:pt x="533696" y="547986"/>
                  </a:lnTo>
                  <a:lnTo>
                    <a:pt x="528932" y="533694"/>
                  </a:lnTo>
                  <a:lnTo>
                    <a:pt x="552756" y="447922"/>
                  </a:lnTo>
                  <a:lnTo>
                    <a:pt x="557520" y="428858"/>
                  </a:lnTo>
                  <a:lnTo>
                    <a:pt x="567052" y="414566"/>
                  </a:lnTo>
                  <a:lnTo>
                    <a:pt x="567052" y="390738"/>
                  </a:lnTo>
                  <a:lnTo>
                    <a:pt x="586112" y="381210"/>
                  </a:lnTo>
                  <a:close/>
                  <a:moveTo>
                    <a:pt x="776716" y="304966"/>
                  </a:moveTo>
                  <a:lnTo>
                    <a:pt x="786248" y="314498"/>
                  </a:lnTo>
                  <a:lnTo>
                    <a:pt x="771952" y="324026"/>
                  </a:lnTo>
                  <a:lnTo>
                    <a:pt x="762424" y="338322"/>
                  </a:lnTo>
                  <a:lnTo>
                    <a:pt x="757656" y="333558"/>
                  </a:lnTo>
                  <a:lnTo>
                    <a:pt x="762424" y="324026"/>
                  </a:lnTo>
                  <a:lnTo>
                    <a:pt x="762424" y="319262"/>
                  </a:lnTo>
                  <a:lnTo>
                    <a:pt x="767188" y="309734"/>
                  </a:lnTo>
                  <a:close/>
                  <a:moveTo>
                    <a:pt x="662352" y="276378"/>
                  </a:moveTo>
                  <a:lnTo>
                    <a:pt x="667120" y="285906"/>
                  </a:lnTo>
                  <a:lnTo>
                    <a:pt x="671884" y="295438"/>
                  </a:lnTo>
                  <a:lnTo>
                    <a:pt x="667120" y="304966"/>
                  </a:lnTo>
                  <a:lnTo>
                    <a:pt x="662352" y="300202"/>
                  </a:lnTo>
                  <a:lnTo>
                    <a:pt x="657588" y="290670"/>
                  </a:lnTo>
                  <a:lnTo>
                    <a:pt x="662352" y="285906"/>
                  </a:lnTo>
                  <a:close/>
                  <a:moveTo>
                    <a:pt x="690944" y="243022"/>
                  </a:moveTo>
                  <a:lnTo>
                    <a:pt x="710004" y="247786"/>
                  </a:lnTo>
                  <a:lnTo>
                    <a:pt x="714772" y="262082"/>
                  </a:lnTo>
                  <a:lnTo>
                    <a:pt x="705240" y="262082"/>
                  </a:lnTo>
                  <a:lnTo>
                    <a:pt x="690944" y="252550"/>
                  </a:lnTo>
                  <a:lnTo>
                    <a:pt x="690944" y="247786"/>
                  </a:lnTo>
                  <a:close/>
                  <a:moveTo>
                    <a:pt x="786248" y="61946"/>
                  </a:moveTo>
                  <a:lnTo>
                    <a:pt x="791012" y="66712"/>
                  </a:lnTo>
                  <a:lnTo>
                    <a:pt x="781484" y="81006"/>
                  </a:lnTo>
                  <a:lnTo>
                    <a:pt x="776716" y="85772"/>
                  </a:lnTo>
                  <a:lnTo>
                    <a:pt x="771952" y="81006"/>
                  </a:lnTo>
                  <a:lnTo>
                    <a:pt x="776716" y="66712"/>
                  </a:lnTo>
                  <a:close/>
                  <a:moveTo>
                    <a:pt x="762424" y="0"/>
                  </a:moveTo>
                  <a:lnTo>
                    <a:pt x="767188" y="4766"/>
                  </a:lnTo>
                  <a:lnTo>
                    <a:pt x="767188" y="14294"/>
                  </a:lnTo>
                  <a:lnTo>
                    <a:pt x="767188" y="14296"/>
                  </a:lnTo>
                  <a:lnTo>
                    <a:pt x="757656" y="28590"/>
                  </a:lnTo>
                  <a:lnTo>
                    <a:pt x="752892" y="23826"/>
                  </a:lnTo>
                  <a:lnTo>
                    <a:pt x="752892" y="1906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9" name="Freeform 6101">
              <a:extLst>
                <a:ext uri="{FF2B5EF4-FFF2-40B4-BE49-F238E27FC236}">
                  <a16:creationId xmlns:a16="http://schemas.microsoft.com/office/drawing/2014/main" id="{02A0C8E9-D119-40BD-8283-E01600167842}"/>
                </a:ext>
              </a:extLst>
            </p:cNvPr>
            <p:cNvSpPr/>
            <p:nvPr/>
          </p:nvSpPr>
          <p:spPr bwMode="auto">
            <a:xfrm>
              <a:off x="8696863" y="5214380"/>
              <a:ext cx="3854" cy="8480"/>
            </a:xfrm>
            <a:custGeom>
              <a:avLst/>
              <a:gdLst>
                <a:gd name="T0" fmla="*/ 6 w 10"/>
                <a:gd name="T1" fmla="*/ 22 h 22"/>
                <a:gd name="T2" fmla="*/ 6 w 10"/>
                <a:gd name="T3" fmla="*/ 18 h 22"/>
                <a:gd name="T4" fmla="*/ 8 w 10"/>
                <a:gd name="T5" fmla="*/ 14 h 22"/>
                <a:gd name="T6" fmla="*/ 10 w 10"/>
                <a:gd name="T7" fmla="*/ 2 h 22"/>
                <a:gd name="T8" fmla="*/ 10 w 10"/>
                <a:gd name="T9" fmla="*/ 0 h 22"/>
                <a:gd name="T10" fmla="*/ 6 w 10"/>
                <a:gd name="T11" fmla="*/ 6 h 22"/>
                <a:gd name="T12" fmla="*/ 6 w 10"/>
                <a:gd name="T13" fmla="*/ 6 h 22"/>
                <a:gd name="T14" fmla="*/ 4 w 10"/>
                <a:gd name="T15" fmla="*/ 8 h 22"/>
                <a:gd name="T16" fmla="*/ 0 w 10"/>
                <a:gd name="T17" fmla="*/ 12 h 22"/>
                <a:gd name="T18" fmla="*/ 0 w 10"/>
                <a:gd name="T19" fmla="*/ 18 h 22"/>
                <a:gd name="T20" fmla="*/ 2 w 10"/>
                <a:gd name="T21" fmla="*/ 22 h 22"/>
                <a:gd name="T22" fmla="*/ 6 w 10"/>
                <a:gd name="T2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2">
                  <a:moveTo>
                    <a:pt x="6" y="22"/>
                  </a:moveTo>
                  <a:lnTo>
                    <a:pt x="6" y="18"/>
                  </a:lnTo>
                  <a:lnTo>
                    <a:pt x="8" y="14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6" y="6"/>
                  </a:lnTo>
                  <a:lnTo>
                    <a:pt x="6" y="6"/>
                  </a:lnTo>
                  <a:lnTo>
                    <a:pt x="4" y="8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2" y="22"/>
                  </a:lnTo>
                  <a:lnTo>
                    <a:pt x="6" y="2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0" name="Line 6102">
              <a:extLst>
                <a:ext uri="{FF2B5EF4-FFF2-40B4-BE49-F238E27FC236}">
                  <a16:creationId xmlns:a16="http://schemas.microsoft.com/office/drawing/2014/main" id="{33F86940-B0CF-46D5-AF82-8F149A1D915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699176" y="5222859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1" name="Freeform 6161">
              <a:extLst>
                <a:ext uri="{FF2B5EF4-FFF2-40B4-BE49-F238E27FC236}">
                  <a16:creationId xmlns:a16="http://schemas.microsoft.com/office/drawing/2014/main" id="{8AD166A1-10C6-4073-8BC0-52904B29194F}"/>
                </a:ext>
              </a:extLst>
            </p:cNvPr>
            <p:cNvSpPr/>
            <p:nvPr/>
          </p:nvSpPr>
          <p:spPr bwMode="auto">
            <a:xfrm>
              <a:off x="5655369" y="3745860"/>
              <a:ext cx="252077" cy="238972"/>
            </a:xfrm>
            <a:custGeom>
              <a:avLst/>
              <a:gdLst>
                <a:gd name="T0" fmla="*/ 308 w 654"/>
                <a:gd name="T1" fmla="*/ 52 h 620"/>
                <a:gd name="T2" fmla="*/ 298 w 654"/>
                <a:gd name="T3" fmla="*/ 20 h 620"/>
                <a:gd name="T4" fmla="*/ 260 w 654"/>
                <a:gd name="T5" fmla="*/ 0 h 620"/>
                <a:gd name="T6" fmla="*/ 160 w 654"/>
                <a:gd name="T7" fmla="*/ 32 h 620"/>
                <a:gd name="T8" fmla="*/ 126 w 654"/>
                <a:gd name="T9" fmla="*/ 64 h 620"/>
                <a:gd name="T10" fmla="*/ 8 w 654"/>
                <a:gd name="T11" fmla="*/ 102 h 620"/>
                <a:gd name="T12" fmla="*/ 28 w 654"/>
                <a:gd name="T13" fmla="*/ 114 h 620"/>
                <a:gd name="T14" fmla="*/ 24 w 654"/>
                <a:gd name="T15" fmla="*/ 130 h 620"/>
                <a:gd name="T16" fmla="*/ 20 w 654"/>
                <a:gd name="T17" fmla="*/ 174 h 620"/>
                <a:gd name="T18" fmla="*/ 4 w 654"/>
                <a:gd name="T19" fmla="*/ 206 h 620"/>
                <a:gd name="T20" fmla="*/ 32 w 654"/>
                <a:gd name="T21" fmla="*/ 256 h 620"/>
                <a:gd name="T22" fmla="*/ 36 w 654"/>
                <a:gd name="T23" fmla="*/ 286 h 620"/>
                <a:gd name="T24" fmla="*/ 42 w 654"/>
                <a:gd name="T25" fmla="*/ 304 h 620"/>
                <a:gd name="T26" fmla="*/ 32 w 654"/>
                <a:gd name="T27" fmla="*/ 336 h 620"/>
                <a:gd name="T28" fmla="*/ 40 w 654"/>
                <a:gd name="T29" fmla="*/ 362 h 620"/>
                <a:gd name="T30" fmla="*/ 56 w 654"/>
                <a:gd name="T31" fmla="*/ 408 h 620"/>
                <a:gd name="T32" fmla="*/ 56 w 654"/>
                <a:gd name="T33" fmla="*/ 428 h 620"/>
                <a:gd name="T34" fmla="*/ 74 w 654"/>
                <a:gd name="T35" fmla="*/ 422 h 620"/>
                <a:gd name="T36" fmla="*/ 88 w 654"/>
                <a:gd name="T37" fmla="*/ 438 h 620"/>
                <a:gd name="T38" fmla="*/ 120 w 654"/>
                <a:gd name="T39" fmla="*/ 452 h 620"/>
                <a:gd name="T40" fmla="*/ 146 w 654"/>
                <a:gd name="T41" fmla="*/ 456 h 620"/>
                <a:gd name="T42" fmla="*/ 146 w 654"/>
                <a:gd name="T43" fmla="*/ 468 h 620"/>
                <a:gd name="T44" fmla="*/ 142 w 654"/>
                <a:gd name="T45" fmla="*/ 482 h 620"/>
                <a:gd name="T46" fmla="*/ 164 w 654"/>
                <a:gd name="T47" fmla="*/ 510 h 620"/>
                <a:gd name="T48" fmla="*/ 182 w 654"/>
                <a:gd name="T49" fmla="*/ 500 h 620"/>
                <a:gd name="T50" fmla="*/ 180 w 654"/>
                <a:gd name="T51" fmla="*/ 476 h 620"/>
                <a:gd name="T52" fmla="*/ 224 w 654"/>
                <a:gd name="T53" fmla="*/ 494 h 620"/>
                <a:gd name="T54" fmla="*/ 236 w 654"/>
                <a:gd name="T55" fmla="*/ 500 h 620"/>
                <a:gd name="T56" fmla="*/ 238 w 654"/>
                <a:gd name="T57" fmla="*/ 514 h 620"/>
                <a:gd name="T58" fmla="*/ 256 w 654"/>
                <a:gd name="T59" fmla="*/ 518 h 620"/>
                <a:gd name="T60" fmla="*/ 268 w 654"/>
                <a:gd name="T61" fmla="*/ 524 h 620"/>
                <a:gd name="T62" fmla="*/ 290 w 654"/>
                <a:gd name="T63" fmla="*/ 532 h 620"/>
                <a:gd name="T64" fmla="*/ 308 w 654"/>
                <a:gd name="T65" fmla="*/ 566 h 620"/>
                <a:gd name="T66" fmla="*/ 330 w 654"/>
                <a:gd name="T67" fmla="*/ 582 h 620"/>
                <a:gd name="T68" fmla="*/ 352 w 654"/>
                <a:gd name="T69" fmla="*/ 564 h 620"/>
                <a:gd name="T70" fmla="*/ 364 w 654"/>
                <a:gd name="T71" fmla="*/ 582 h 620"/>
                <a:gd name="T72" fmla="*/ 370 w 654"/>
                <a:gd name="T73" fmla="*/ 598 h 620"/>
                <a:gd name="T74" fmla="*/ 388 w 654"/>
                <a:gd name="T75" fmla="*/ 602 h 620"/>
                <a:gd name="T76" fmla="*/ 408 w 654"/>
                <a:gd name="T77" fmla="*/ 582 h 620"/>
                <a:gd name="T78" fmla="*/ 426 w 654"/>
                <a:gd name="T79" fmla="*/ 582 h 620"/>
                <a:gd name="T80" fmla="*/ 450 w 654"/>
                <a:gd name="T81" fmla="*/ 586 h 620"/>
                <a:gd name="T82" fmla="*/ 492 w 654"/>
                <a:gd name="T83" fmla="*/ 580 h 620"/>
                <a:gd name="T84" fmla="*/ 518 w 654"/>
                <a:gd name="T85" fmla="*/ 600 h 620"/>
                <a:gd name="T86" fmla="*/ 562 w 654"/>
                <a:gd name="T87" fmla="*/ 618 h 620"/>
                <a:gd name="T88" fmla="*/ 566 w 654"/>
                <a:gd name="T89" fmla="*/ 608 h 620"/>
                <a:gd name="T90" fmla="*/ 564 w 654"/>
                <a:gd name="T91" fmla="*/ 586 h 620"/>
                <a:gd name="T92" fmla="*/ 578 w 654"/>
                <a:gd name="T93" fmla="*/ 538 h 620"/>
                <a:gd name="T94" fmla="*/ 624 w 654"/>
                <a:gd name="T95" fmla="*/ 486 h 620"/>
                <a:gd name="T96" fmla="*/ 654 w 654"/>
                <a:gd name="T97" fmla="*/ 466 h 620"/>
                <a:gd name="T98" fmla="*/ 648 w 654"/>
                <a:gd name="T99" fmla="*/ 436 h 620"/>
                <a:gd name="T100" fmla="*/ 646 w 654"/>
                <a:gd name="T101" fmla="*/ 424 h 620"/>
                <a:gd name="T102" fmla="*/ 626 w 654"/>
                <a:gd name="T103" fmla="*/ 380 h 620"/>
                <a:gd name="T104" fmla="*/ 618 w 654"/>
                <a:gd name="T105" fmla="*/ 342 h 620"/>
                <a:gd name="T106" fmla="*/ 624 w 654"/>
                <a:gd name="T107" fmla="*/ 308 h 620"/>
                <a:gd name="T108" fmla="*/ 604 w 654"/>
                <a:gd name="T109" fmla="*/ 290 h 620"/>
                <a:gd name="T110" fmla="*/ 602 w 654"/>
                <a:gd name="T111" fmla="*/ 266 h 620"/>
                <a:gd name="T112" fmla="*/ 642 w 654"/>
                <a:gd name="T113" fmla="*/ 230 h 620"/>
                <a:gd name="T114" fmla="*/ 634 w 654"/>
                <a:gd name="T115" fmla="*/ 174 h 620"/>
                <a:gd name="T116" fmla="*/ 614 w 654"/>
                <a:gd name="T117" fmla="*/ 86 h 620"/>
                <a:gd name="T118" fmla="*/ 588 w 654"/>
                <a:gd name="T119" fmla="*/ 60 h 620"/>
                <a:gd name="T120" fmla="*/ 576 w 654"/>
                <a:gd name="T121" fmla="*/ 50 h 620"/>
                <a:gd name="T122" fmla="*/ 492 w 654"/>
                <a:gd name="T123" fmla="*/ 52 h 620"/>
                <a:gd name="T124" fmla="*/ 362 w 654"/>
                <a:gd name="T125" fmla="*/ 44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54" h="620">
                  <a:moveTo>
                    <a:pt x="360" y="42"/>
                  </a:moveTo>
                  <a:lnTo>
                    <a:pt x="356" y="46"/>
                  </a:lnTo>
                  <a:lnTo>
                    <a:pt x="346" y="50"/>
                  </a:lnTo>
                  <a:lnTo>
                    <a:pt x="318" y="54"/>
                  </a:lnTo>
                  <a:lnTo>
                    <a:pt x="308" y="52"/>
                  </a:lnTo>
                  <a:lnTo>
                    <a:pt x="298" y="46"/>
                  </a:lnTo>
                  <a:lnTo>
                    <a:pt x="292" y="36"/>
                  </a:lnTo>
                  <a:lnTo>
                    <a:pt x="282" y="10"/>
                  </a:lnTo>
                  <a:lnTo>
                    <a:pt x="288" y="10"/>
                  </a:lnTo>
                  <a:lnTo>
                    <a:pt x="298" y="20"/>
                  </a:lnTo>
                  <a:lnTo>
                    <a:pt x="306" y="22"/>
                  </a:lnTo>
                  <a:lnTo>
                    <a:pt x="304" y="16"/>
                  </a:lnTo>
                  <a:lnTo>
                    <a:pt x="290" y="8"/>
                  </a:lnTo>
                  <a:lnTo>
                    <a:pt x="276" y="0"/>
                  </a:lnTo>
                  <a:lnTo>
                    <a:pt x="260" y="0"/>
                  </a:lnTo>
                  <a:lnTo>
                    <a:pt x="244" y="2"/>
                  </a:lnTo>
                  <a:lnTo>
                    <a:pt x="206" y="12"/>
                  </a:lnTo>
                  <a:lnTo>
                    <a:pt x="190" y="20"/>
                  </a:lnTo>
                  <a:lnTo>
                    <a:pt x="182" y="26"/>
                  </a:lnTo>
                  <a:lnTo>
                    <a:pt x="160" y="32"/>
                  </a:lnTo>
                  <a:lnTo>
                    <a:pt x="148" y="44"/>
                  </a:lnTo>
                  <a:lnTo>
                    <a:pt x="142" y="54"/>
                  </a:lnTo>
                  <a:lnTo>
                    <a:pt x="138" y="56"/>
                  </a:lnTo>
                  <a:lnTo>
                    <a:pt x="136" y="62"/>
                  </a:lnTo>
                  <a:lnTo>
                    <a:pt x="126" y="64"/>
                  </a:lnTo>
                  <a:lnTo>
                    <a:pt x="116" y="66"/>
                  </a:lnTo>
                  <a:lnTo>
                    <a:pt x="76" y="78"/>
                  </a:lnTo>
                  <a:lnTo>
                    <a:pt x="38" y="92"/>
                  </a:lnTo>
                  <a:lnTo>
                    <a:pt x="18" y="102"/>
                  </a:lnTo>
                  <a:lnTo>
                    <a:pt x="8" y="102"/>
                  </a:lnTo>
                  <a:lnTo>
                    <a:pt x="6" y="100"/>
                  </a:lnTo>
                  <a:lnTo>
                    <a:pt x="4" y="104"/>
                  </a:lnTo>
                  <a:lnTo>
                    <a:pt x="6" y="108"/>
                  </a:lnTo>
                  <a:lnTo>
                    <a:pt x="16" y="110"/>
                  </a:lnTo>
                  <a:lnTo>
                    <a:pt x="28" y="114"/>
                  </a:lnTo>
                  <a:lnTo>
                    <a:pt x="28" y="122"/>
                  </a:lnTo>
                  <a:lnTo>
                    <a:pt x="28" y="126"/>
                  </a:lnTo>
                  <a:lnTo>
                    <a:pt x="30" y="130"/>
                  </a:lnTo>
                  <a:lnTo>
                    <a:pt x="30" y="134"/>
                  </a:lnTo>
                  <a:lnTo>
                    <a:pt x="24" y="130"/>
                  </a:lnTo>
                  <a:lnTo>
                    <a:pt x="8" y="124"/>
                  </a:lnTo>
                  <a:lnTo>
                    <a:pt x="10" y="126"/>
                  </a:lnTo>
                  <a:lnTo>
                    <a:pt x="10" y="136"/>
                  </a:lnTo>
                  <a:lnTo>
                    <a:pt x="12" y="144"/>
                  </a:lnTo>
                  <a:lnTo>
                    <a:pt x="20" y="174"/>
                  </a:lnTo>
                  <a:lnTo>
                    <a:pt x="18" y="180"/>
                  </a:lnTo>
                  <a:lnTo>
                    <a:pt x="18" y="182"/>
                  </a:lnTo>
                  <a:lnTo>
                    <a:pt x="16" y="192"/>
                  </a:lnTo>
                  <a:lnTo>
                    <a:pt x="12" y="202"/>
                  </a:lnTo>
                  <a:lnTo>
                    <a:pt x="4" y="206"/>
                  </a:lnTo>
                  <a:lnTo>
                    <a:pt x="2" y="212"/>
                  </a:lnTo>
                  <a:lnTo>
                    <a:pt x="0" y="218"/>
                  </a:lnTo>
                  <a:lnTo>
                    <a:pt x="8" y="228"/>
                  </a:lnTo>
                  <a:lnTo>
                    <a:pt x="26" y="242"/>
                  </a:lnTo>
                  <a:lnTo>
                    <a:pt x="32" y="256"/>
                  </a:lnTo>
                  <a:lnTo>
                    <a:pt x="30" y="266"/>
                  </a:lnTo>
                  <a:lnTo>
                    <a:pt x="28" y="274"/>
                  </a:lnTo>
                  <a:lnTo>
                    <a:pt x="30" y="278"/>
                  </a:lnTo>
                  <a:lnTo>
                    <a:pt x="32" y="282"/>
                  </a:lnTo>
                  <a:lnTo>
                    <a:pt x="36" y="286"/>
                  </a:lnTo>
                  <a:lnTo>
                    <a:pt x="38" y="290"/>
                  </a:lnTo>
                  <a:lnTo>
                    <a:pt x="38" y="296"/>
                  </a:lnTo>
                  <a:lnTo>
                    <a:pt x="38" y="300"/>
                  </a:lnTo>
                  <a:lnTo>
                    <a:pt x="42" y="304"/>
                  </a:lnTo>
                  <a:lnTo>
                    <a:pt x="42" y="304"/>
                  </a:lnTo>
                  <a:lnTo>
                    <a:pt x="40" y="308"/>
                  </a:lnTo>
                  <a:lnTo>
                    <a:pt x="38" y="316"/>
                  </a:lnTo>
                  <a:lnTo>
                    <a:pt x="36" y="322"/>
                  </a:lnTo>
                  <a:lnTo>
                    <a:pt x="32" y="330"/>
                  </a:lnTo>
                  <a:lnTo>
                    <a:pt x="32" y="336"/>
                  </a:lnTo>
                  <a:lnTo>
                    <a:pt x="36" y="344"/>
                  </a:lnTo>
                  <a:lnTo>
                    <a:pt x="40" y="348"/>
                  </a:lnTo>
                  <a:lnTo>
                    <a:pt x="40" y="352"/>
                  </a:lnTo>
                  <a:lnTo>
                    <a:pt x="38" y="360"/>
                  </a:lnTo>
                  <a:lnTo>
                    <a:pt x="40" y="362"/>
                  </a:lnTo>
                  <a:lnTo>
                    <a:pt x="52" y="368"/>
                  </a:lnTo>
                  <a:lnTo>
                    <a:pt x="54" y="372"/>
                  </a:lnTo>
                  <a:lnTo>
                    <a:pt x="54" y="378"/>
                  </a:lnTo>
                  <a:lnTo>
                    <a:pt x="58" y="390"/>
                  </a:lnTo>
                  <a:lnTo>
                    <a:pt x="56" y="408"/>
                  </a:lnTo>
                  <a:lnTo>
                    <a:pt x="52" y="416"/>
                  </a:lnTo>
                  <a:lnTo>
                    <a:pt x="46" y="430"/>
                  </a:lnTo>
                  <a:lnTo>
                    <a:pt x="44" y="432"/>
                  </a:lnTo>
                  <a:lnTo>
                    <a:pt x="50" y="432"/>
                  </a:lnTo>
                  <a:lnTo>
                    <a:pt x="56" y="428"/>
                  </a:lnTo>
                  <a:lnTo>
                    <a:pt x="56" y="424"/>
                  </a:lnTo>
                  <a:lnTo>
                    <a:pt x="56" y="416"/>
                  </a:lnTo>
                  <a:lnTo>
                    <a:pt x="58" y="416"/>
                  </a:lnTo>
                  <a:lnTo>
                    <a:pt x="66" y="418"/>
                  </a:lnTo>
                  <a:lnTo>
                    <a:pt x="74" y="422"/>
                  </a:lnTo>
                  <a:lnTo>
                    <a:pt x="76" y="430"/>
                  </a:lnTo>
                  <a:lnTo>
                    <a:pt x="78" y="434"/>
                  </a:lnTo>
                  <a:lnTo>
                    <a:pt x="80" y="436"/>
                  </a:lnTo>
                  <a:lnTo>
                    <a:pt x="84" y="438"/>
                  </a:lnTo>
                  <a:lnTo>
                    <a:pt x="88" y="438"/>
                  </a:lnTo>
                  <a:lnTo>
                    <a:pt x="100" y="444"/>
                  </a:lnTo>
                  <a:lnTo>
                    <a:pt x="106" y="444"/>
                  </a:lnTo>
                  <a:lnTo>
                    <a:pt x="112" y="448"/>
                  </a:lnTo>
                  <a:lnTo>
                    <a:pt x="116" y="450"/>
                  </a:lnTo>
                  <a:lnTo>
                    <a:pt x="120" y="452"/>
                  </a:lnTo>
                  <a:lnTo>
                    <a:pt x="122" y="454"/>
                  </a:lnTo>
                  <a:lnTo>
                    <a:pt x="124" y="458"/>
                  </a:lnTo>
                  <a:lnTo>
                    <a:pt x="128" y="456"/>
                  </a:lnTo>
                  <a:lnTo>
                    <a:pt x="142" y="452"/>
                  </a:lnTo>
                  <a:lnTo>
                    <a:pt x="146" y="456"/>
                  </a:lnTo>
                  <a:lnTo>
                    <a:pt x="150" y="460"/>
                  </a:lnTo>
                  <a:lnTo>
                    <a:pt x="150" y="462"/>
                  </a:lnTo>
                  <a:lnTo>
                    <a:pt x="148" y="464"/>
                  </a:lnTo>
                  <a:lnTo>
                    <a:pt x="148" y="468"/>
                  </a:lnTo>
                  <a:lnTo>
                    <a:pt x="146" y="468"/>
                  </a:lnTo>
                  <a:lnTo>
                    <a:pt x="142" y="470"/>
                  </a:lnTo>
                  <a:lnTo>
                    <a:pt x="138" y="474"/>
                  </a:lnTo>
                  <a:lnTo>
                    <a:pt x="136" y="476"/>
                  </a:lnTo>
                  <a:lnTo>
                    <a:pt x="138" y="480"/>
                  </a:lnTo>
                  <a:lnTo>
                    <a:pt x="142" y="482"/>
                  </a:lnTo>
                  <a:lnTo>
                    <a:pt x="144" y="482"/>
                  </a:lnTo>
                  <a:lnTo>
                    <a:pt x="146" y="484"/>
                  </a:lnTo>
                  <a:lnTo>
                    <a:pt x="156" y="494"/>
                  </a:lnTo>
                  <a:lnTo>
                    <a:pt x="162" y="508"/>
                  </a:lnTo>
                  <a:lnTo>
                    <a:pt x="164" y="510"/>
                  </a:lnTo>
                  <a:lnTo>
                    <a:pt x="168" y="510"/>
                  </a:lnTo>
                  <a:lnTo>
                    <a:pt x="170" y="508"/>
                  </a:lnTo>
                  <a:lnTo>
                    <a:pt x="174" y="504"/>
                  </a:lnTo>
                  <a:lnTo>
                    <a:pt x="178" y="502"/>
                  </a:lnTo>
                  <a:lnTo>
                    <a:pt x="182" y="500"/>
                  </a:lnTo>
                  <a:lnTo>
                    <a:pt x="188" y="496"/>
                  </a:lnTo>
                  <a:lnTo>
                    <a:pt x="188" y="494"/>
                  </a:lnTo>
                  <a:lnTo>
                    <a:pt x="182" y="484"/>
                  </a:lnTo>
                  <a:lnTo>
                    <a:pt x="180" y="478"/>
                  </a:lnTo>
                  <a:lnTo>
                    <a:pt x="180" y="476"/>
                  </a:lnTo>
                  <a:lnTo>
                    <a:pt x="188" y="478"/>
                  </a:lnTo>
                  <a:lnTo>
                    <a:pt x="198" y="482"/>
                  </a:lnTo>
                  <a:lnTo>
                    <a:pt x="216" y="494"/>
                  </a:lnTo>
                  <a:lnTo>
                    <a:pt x="220" y="494"/>
                  </a:lnTo>
                  <a:lnTo>
                    <a:pt x="224" y="494"/>
                  </a:lnTo>
                  <a:lnTo>
                    <a:pt x="232" y="492"/>
                  </a:lnTo>
                  <a:lnTo>
                    <a:pt x="234" y="488"/>
                  </a:lnTo>
                  <a:lnTo>
                    <a:pt x="236" y="490"/>
                  </a:lnTo>
                  <a:lnTo>
                    <a:pt x="236" y="496"/>
                  </a:lnTo>
                  <a:lnTo>
                    <a:pt x="236" y="500"/>
                  </a:lnTo>
                  <a:lnTo>
                    <a:pt x="228" y="504"/>
                  </a:lnTo>
                  <a:lnTo>
                    <a:pt x="228" y="506"/>
                  </a:lnTo>
                  <a:lnTo>
                    <a:pt x="230" y="508"/>
                  </a:lnTo>
                  <a:lnTo>
                    <a:pt x="234" y="510"/>
                  </a:lnTo>
                  <a:lnTo>
                    <a:pt x="238" y="514"/>
                  </a:lnTo>
                  <a:lnTo>
                    <a:pt x="240" y="520"/>
                  </a:lnTo>
                  <a:lnTo>
                    <a:pt x="242" y="522"/>
                  </a:lnTo>
                  <a:lnTo>
                    <a:pt x="246" y="524"/>
                  </a:lnTo>
                  <a:lnTo>
                    <a:pt x="254" y="520"/>
                  </a:lnTo>
                  <a:lnTo>
                    <a:pt x="256" y="518"/>
                  </a:lnTo>
                  <a:lnTo>
                    <a:pt x="256" y="516"/>
                  </a:lnTo>
                  <a:lnTo>
                    <a:pt x="258" y="518"/>
                  </a:lnTo>
                  <a:lnTo>
                    <a:pt x="260" y="520"/>
                  </a:lnTo>
                  <a:lnTo>
                    <a:pt x="260" y="520"/>
                  </a:lnTo>
                  <a:lnTo>
                    <a:pt x="268" y="524"/>
                  </a:lnTo>
                  <a:lnTo>
                    <a:pt x="272" y="528"/>
                  </a:lnTo>
                  <a:lnTo>
                    <a:pt x="274" y="528"/>
                  </a:lnTo>
                  <a:lnTo>
                    <a:pt x="276" y="528"/>
                  </a:lnTo>
                  <a:lnTo>
                    <a:pt x="288" y="530"/>
                  </a:lnTo>
                  <a:lnTo>
                    <a:pt x="290" y="532"/>
                  </a:lnTo>
                  <a:lnTo>
                    <a:pt x="292" y="536"/>
                  </a:lnTo>
                  <a:lnTo>
                    <a:pt x="292" y="538"/>
                  </a:lnTo>
                  <a:lnTo>
                    <a:pt x="292" y="544"/>
                  </a:lnTo>
                  <a:lnTo>
                    <a:pt x="306" y="560"/>
                  </a:lnTo>
                  <a:lnTo>
                    <a:pt x="308" y="566"/>
                  </a:lnTo>
                  <a:lnTo>
                    <a:pt x="308" y="570"/>
                  </a:lnTo>
                  <a:lnTo>
                    <a:pt x="316" y="572"/>
                  </a:lnTo>
                  <a:lnTo>
                    <a:pt x="316" y="576"/>
                  </a:lnTo>
                  <a:lnTo>
                    <a:pt x="318" y="582"/>
                  </a:lnTo>
                  <a:lnTo>
                    <a:pt x="330" y="582"/>
                  </a:lnTo>
                  <a:lnTo>
                    <a:pt x="336" y="570"/>
                  </a:lnTo>
                  <a:lnTo>
                    <a:pt x="340" y="568"/>
                  </a:lnTo>
                  <a:lnTo>
                    <a:pt x="346" y="564"/>
                  </a:lnTo>
                  <a:lnTo>
                    <a:pt x="348" y="562"/>
                  </a:lnTo>
                  <a:lnTo>
                    <a:pt x="352" y="564"/>
                  </a:lnTo>
                  <a:lnTo>
                    <a:pt x="354" y="570"/>
                  </a:lnTo>
                  <a:lnTo>
                    <a:pt x="358" y="576"/>
                  </a:lnTo>
                  <a:lnTo>
                    <a:pt x="360" y="578"/>
                  </a:lnTo>
                  <a:lnTo>
                    <a:pt x="362" y="580"/>
                  </a:lnTo>
                  <a:lnTo>
                    <a:pt x="364" y="582"/>
                  </a:lnTo>
                  <a:lnTo>
                    <a:pt x="368" y="582"/>
                  </a:lnTo>
                  <a:lnTo>
                    <a:pt x="370" y="584"/>
                  </a:lnTo>
                  <a:lnTo>
                    <a:pt x="372" y="590"/>
                  </a:lnTo>
                  <a:lnTo>
                    <a:pt x="372" y="594"/>
                  </a:lnTo>
                  <a:lnTo>
                    <a:pt x="370" y="598"/>
                  </a:lnTo>
                  <a:lnTo>
                    <a:pt x="370" y="600"/>
                  </a:lnTo>
                  <a:lnTo>
                    <a:pt x="372" y="602"/>
                  </a:lnTo>
                  <a:lnTo>
                    <a:pt x="376" y="600"/>
                  </a:lnTo>
                  <a:lnTo>
                    <a:pt x="380" y="600"/>
                  </a:lnTo>
                  <a:lnTo>
                    <a:pt x="388" y="602"/>
                  </a:lnTo>
                  <a:lnTo>
                    <a:pt x="392" y="594"/>
                  </a:lnTo>
                  <a:lnTo>
                    <a:pt x="396" y="590"/>
                  </a:lnTo>
                  <a:lnTo>
                    <a:pt x="400" y="588"/>
                  </a:lnTo>
                  <a:lnTo>
                    <a:pt x="406" y="584"/>
                  </a:lnTo>
                  <a:lnTo>
                    <a:pt x="408" y="582"/>
                  </a:lnTo>
                  <a:lnTo>
                    <a:pt x="412" y="582"/>
                  </a:lnTo>
                  <a:lnTo>
                    <a:pt x="412" y="582"/>
                  </a:lnTo>
                  <a:lnTo>
                    <a:pt x="416" y="582"/>
                  </a:lnTo>
                  <a:lnTo>
                    <a:pt x="420" y="582"/>
                  </a:lnTo>
                  <a:lnTo>
                    <a:pt x="426" y="582"/>
                  </a:lnTo>
                  <a:lnTo>
                    <a:pt x="434" y="584"/>
                  </a:lnTo>
                  <a:lnTo>
                    <a:pt x="438" y="588"/>
                  </a:lnTo>
                  <a:lnTo>
                    <a:pt x="442" y="590"/>
                  </a:lnTo>
                  <a:lnTo>
                    <a:pt x="448" y="590"/>
                  </a:lnTo>
                  <a:lnTo>
                    <a:pt x="450" y="586"/>
                  </a:lnTo>
                  <a:lnTo>
                    <a:pt x="456" y="580"/>
                  </a:lnTo>
                  <a:lnTo>
                    <a:pt x="460" y="580"/>
                  </a:lnTo>
                  <a:lnTo>
                    <a:pt x="466" y="578"/>
                  </a:lnTo>
                  <a:lnTo>
                    <a:pt x="474" y="578"/>
                  </a:lnTo>
                  <a:lnTo>
                    <a:pt x="492" y="580"/>
                  </a:lnTo>
                  <a:lnTo>
                    <a:pt x="498" y="582"/>
                  </a:lnTo>
                  <a:lnTo>
                    <a:pt x="510" y="586"/>
                  </a:lnTo>
                  <a:lnTo>
                    <a:pt x="514" y="592"/>
                  </a:lnTo>
                  <a:lnTo>
                    <a:pt x="516" y="596"/>
                  </a:lnTo>
                  <a:lnTo>
                    <a:pt x="518" y="600"/>
                  </a:lnTo>
                  <a:lnTo>
                    <a:pt x="530" y="606"/>
                  </a:lnTo>
                  <a:lnTo>
                    <a:pt x="548" y="614"/>
                  </a:lnTo>
                  <a:lnTo>
                    <a:pt x="552" y="614"/>
                  </a:lnTo>
                  <a:lnTo>
                    <a:pt x="554" y="614"/>
                  </a:lnTo>
                  <a:lnTo>
                    <a:pt x="562" y="618"/>
                  </a:lnTo>
                  <a:lnTo>
                    <a:pt x="570" y="620"/>
                  </a:lnTo>
                  <a:lnTo>
                    <a:pt x="572" y="618"/>
                  </a:lnTo>
                  <a:lnTo>
                    <a:pt x="572" y="614"/>
                  </a:lnTo>
                  <a:lnTo>
                    <a:pt x="572" y="614"/>
                  </a:lnTo>
                  <a:lnTo>
                    <a:pt x="566" y="608"/>
                  </a:lnTo>
                  <a:lnTo>
                    <a:pt x="562" y="604"/>
                  </a:lnTo>
                  <a:lnTo>
                    <a:pt x="562" y="602"/>
                  </a:lnTo>
                  <a:lnTo>
                    <a:pt x="564" y="598"/>
                  </a:lnTo>
                  <a:lnTo>
                    <a:pt x="564" y="592"/>
                  </a:lnTo>
                  <a:lnTo>
                    <a:pt x="564" y="586"/>
                  </a:lnTo>
                  <a:lnTo>
                    <a:pt x="560" y="572"/>
                  </a:lnTo>
                  <a:lnTo>
                    <a:pt x="558" y="568"/>
                  </a:lnTo>
                  <a:lnTo>
                    <a:pt x="562" y="560"/>
                  </a:lnTo>
                  <a:lnTo>
                    <a:pt x="574" y="544"/>
                  </a:lnTo>
                  <a:lnTo>
                    <a:pt x="578" y="538"/>
                  </a:lnTo>
                  <a:lnTo>
                    <a:pt x="584" y="530"/>
                  </a:lnTo>
                  <a:lnTo>
                    <a:pt x="600" y="512"/>
                  </a:lnTo>
                  <a:lnTo>
                    <a:pt x="608" y="502"/>
                  </a:lnTo>
                  <a:lnTo>
                    <a:pt x="616" y="496"/>
                  </a:lnTo>
                  <a:lnTo>
                    <a:pt x="624" y="486"/>
                  </a:lnTo>
                  <a:lnTo>
                    <a:pt x="628" y="482"/>
                  </a:lnTo>
                  <a:lnTo>
                    <a:pt x="646" y="478"/>
                  </a:lnTo>
                  <a:lnTo>
                    <a:pt x="648" y="474"/>
                  </a:lnTo>
                  <a:lnTo>
                    <a:pt x="650" y="468"/>
                  </a:lnTo>
                  <a:lnTo>
                    <a:pt x="654" y="466"/>
                  </a:lnTo>
                  <a:lnTo>
                    <a:pt x="654" y="456"/>
                  </a:lnTo>
                  <a:lnTo>
                    <a:pt x="650" y="446"/>
                  </a:lnTo>
                  <a:lnTo>
                    <a:pt x="648" y="442"/>
                  </a:lnTo>
                  <a:lnTo>
                    <a:pt x="646" y="440"/>
                  </a:lnTo>
                  <a:lnTo>
                    <a:pt x="648" y="436"/>
                  </a:lnTo>
                  <a:lnTo>
                    <a:pt x="650" y="436"/>
                  </a:lnTo>
                  <a:lnTo>
                    <a:pt x="652" y="436"/>
                  </a:lnTo>
                  <a:lnTo>
                    <a:pt x="654" y="434"/>
                  </a:lnTo>
                  <a:lnTo>
                    <a:pt x="654" y="430"/>
                  </a:lnTo>
                  <a:lnTo>
                    <a:pt x="646" y="424"/>
                  </a:lnTo>
                  <a:lnTo>
                    <a:pt x="644" y="418"/>
                  </a:lnTo>
                  <a:lnTo>
                    <a:pt x="638" y="404"/>
                  </a:lnTo>
                  <a:lnTo>
                    <a:pt x="628" y="390"/>
                  </a:lnTo>
                  <a:lnTo>
                    <a:pt x="626" y="384"/>
                  </a:lnTo>
                  <a:lnTo>
                    <a:pt x="626" y="380"/>
                  </a:lnTo>
                  <a:lnTo>
                    <a:pt x="626" y="376"/>
                  </a:lnTo>
                  <a:lnTo>
                    <a:pt x="626" y="370"/>
                  </a:lnTo>
                  <a:lnTo>
                    <a:pt x="622" y="362"/>
                  </a:lnTo>
                  <a:lnTo>
                    <a:pt x="618" y="352"/>
                  </a:lnTo>
                  <a:lnTo>
                    <a:pt x="618" y="342"/>
                  </a:lnTo>
                  <a:lnTo>
                    <a:pt x="620" y="338"/>
                  </a:lnTo>
                  <a:lnTo>
                    <a:pt x="624" y="332"/>
                  </a:lnTo>
                  <a:lnTo>
                    <a:pt x="622" y="324"/>
                  </a:lnTo>
                  <a:lnTo>
                    <a:pt x="624" y="314"/>
                  </a:lnTo>
                  <a:lnTo>
                    <a:pt x="624" y="308"/>
                  </a:lnTo>
                  <a:lnTo>
                    <a:pt x="624" y="304"/>
                  </a:lnTo>
                  <a:lnTo>
                    <a:pt x="620" y="300"/>
                  </a:lnTo>
                  <a:lnTo>
                    <a:pt x="614" y="296"/>
                  </a:lnTo>
                  <a:lnTo>
                    <a:pt x="612" y="294"/>
                  </a:lnTo>
                  <a:lnTo>
                    <a:pt x="604" y="290"/>
                  </a:lnTo>
                  <a:lnTo>
                    <a:pt x="594" y="284"/>
                  </a:lnTo>
                  <a:lnTo>
                    <a:pt x="594" y="282"/>
                  </a:lnTo>
                  <a:lnTo>
                    <a:pt x="594" y="280"/>
                  </a:lnTo>
                  <a:lnTo>
                    <a:pt x="596" y="276"/>
                  </a:lnTo>
                  <a:lnTo>
                    <a:pt x="602" y="266"/>
                  </a:lnTo>
                  <a:lnTo>
                    <a:pt x="608" y="256"/>
                  </a:lnTo>
                  <a:lnTo>
                    <a:pt x="614" y="252"/>
                  </a:lnTo>
                  <a:lnTo>
                    <a:pt x="638" y="240"/>
                  </a:lnTo>
                  <a:lnTo>
                    <a:pt x="642" y="236"/>
                  </a:lnTo>
                  <a:lnTo>
                    <a:pt x="642" y="230"/>
                  </a:lnTo>
                  <a:lnTo>
                    <a:pt x="642" y="224"/>
                  </a:lnTo>
                  <a:lnTo>
                    <a:pt x="642" y="214"/>
                  </a:lnTo>
                  <a:lnTo>
                    <a:pt x="640" y="202"/>
                  </a:lnTo>
                  <a:lnTo>
                    <a:pt x="638" y="192"/>
                  </a:lnTo>
                  <a:lnTo>
                    <a:pt x="634" y="174"/>
                  </a:lnTo>
                  <a:lnTo>
                    <a:pt x="622" y="138"/>
                  </a:lnTo>
                  <a:lnTo>
                    <a:pt x="614" y="100"/>
                  </a:lnTo>
                  <a:lnTo>
                    <a:pt x="614" y="98"/>
                  </a:lnTo>
                  <a:lnTo>
                    <a:pt x="614" y="94"/>
                  </a:lnTo>
                  <a:lnTo>
                    <a:pt x="614" y="86"/>
                  </a:lnTo>
                  <a:lnTo>
                    <a:pt x="612" y="78"/>
                  </a:lnTo>
                  <a:lnTo>
                    <a:pt x="606" y="72"/>
                  </a:lnTo>
                  <a:lnTo>
                    <a:pt x="600" y="68"/>
                  </a:lnTo>
                  <a:lnTo>
                    <a:pt x="594" y="62"/>
                  </a:lnTo>
                  <a:lnTo>
                    <a:pt x="588" y="60"/>
                  </a:lnTo>
                  <a:lnTo>
                    <a:pt x="584" y="60"/>
                  </a:lnTo>
                  <a:lnTo>
                    <a:pt x="584" y="58"/>
                  </a:lnTo>
                  <a:lnTo>
                    <a:pt x="582" y="56"/>
                  </a:lnTo>
                  <a:lnTo>
                    <a:pt x="580" y="52"/>
                  </a:lnTo>
                  <a:lnTo>
                    <a:pt x="576" y="50"/>
                  </a:lnTo>
                  <a:lnTo>
                    <a:pt x="570" y="50"/>
                  </a:lnTo>
                  <a:lnTo>
                    <a:pt x="566" y="54"/>
                  </a:lnTo>
                  <a:lnTo>
                    <a:pt x="564" y="54"/>
                  </a:lnTo>
                  <a:lnTo>
                    <a:pt x="528" y="54"/>
                  </a:lnTo>
                  <a:lnTo>
                    <a:pt x="492" y="52"/>
                  </a:lnTo>
                  <a:lnTo>
                    <a:pt x="460" y="50"/>
                  </a:lnTo>
                  <a:lnTo>
                    <a:pt x="428" y="48"/>
                  </a:lnTo>
                  <a:lnTo>
                    <a:pt x="398" y="46"/>
                  </a:lnTo>
                  <a:lnTo>
                    <a:pt x="380" y="46"/>
                  </a:lnTo>
                  <a:lnTo>
                    <a:pt x="362" y="44"/>
                  </a:lnTo>
                  <a:lnTo>
                    <a:pt x="360" y="42"/>
                  </a:lnTo>
                </a:path>
              </a:pathLst>
            </a:custGeom>
            <a:solidFill>
              <a:schemeClr val="bg1"/>
            </a:solidFill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2" name="Freeform 280">
              <a:extLst>
                <a:ext uri="{FF2B5EF4-FFF2-40B4-BE49-F238E27FC236}">
                  <a16:creationId xmlns:a16="http://schemas.microsoft.com/office/drawing/2014/main" id="{A031B531-A3FC-4AF5-946D-EAE2361930A2}"/>
                </a:ext>
              </a:extLst>
            </p:cNvPr>
            <p:cNvSpPr/>
            <p:nvPr/>
          </p:nvSpPr>
          <p:spPr bwMode="auto">
            <a:xfrm>
              <a:off x="3581710" y="4933010"/>
              <a:ext cx="67067" cy="15418"/>
            </a:xfrm>
            <a:custGeom>
              <a:avLst/>
              <a:gdLst>
                <a:gd name="connsiteX0" fmla="*/ 0 w 414568"/>
                <a:gd name="connsiteY0" fmla="*/ 66712 h 95304"/>
                <a:gd name="connsiteX1" fmla="*/ 4766 w 414568"/>
                <a:gd name="connsiteY1" fmla="*/ 66712 h 95304"/>
                <a:gd name="connsiteX2" fmla="*/ 14296 w 414568"/>
                <a:gd name="connsiteY2" fmla="*/ 66712 h 95304"/>
                <a:gd name="connsiteX3" fmla="*/ 14296 w 414568"/>
                <a:gd name="connsiteY3" fmla="*/ 71478 h 95304"/>
                <a:gd name="connsiteX4" fmla="*/ 14296 w 414568"/>
                <a:gd name="connsiteY4" fmla="*/ 76244 h 95304"/>
                <a:gd name="connsiteX5" fmla="*/ 9532 w 414568"/>
                <a:gd name="connsiteY5" fmla="*/ 76244 h 95304"/>
                <a:gd name="connsiteX6" fmla="*/ 4766 w 414568"/>
                <a:gd name="connsiteY6" fmla="*/ 76244 h 95304"/>
                <a:gd name="connsiteX7" fmla="*/ 0 w 414568"/>
                <a:gd name="connsiteY7" fmla="*/ 71478 h 95304"/>
                <a:gd name="connsiteX8" fmla="*/ 385976 w 414568"/>
                <a:gd name="connsiteY8" fmla="*/ 61948 h 95304"/>
                <a:gd name="connsiteX9" fmla="*/ 400272 w 414568"/>
                <a:gd name="connsiteY9" fmla="*/ 61948 h 95304"/>
                <a:gd name="connsiteX10" fmla="*/ 414568 w 414568"/>
                <a:gd name="connsiteY10" fmla="*/ 61948 h 95304"/>
                <a:gd name="connsiteX11" fmla="*/ 414568 w 414568"/>
                <a:gd name="connsiteY11" fmla="*/ 66712 h 95304"/>
                <a:gd name="connsiteX12" fmla="*/ 395504 w 414568"/>
                <a:gd name="connsiteY12" fmla="*/ 71476 h 95304"/>
                <a:gd name="connsiteX13" fmla="*/ 381212 w 414568"/>
                <a:gd name="connsiteY13" fmla="*/ 71476 h 95304"/>
                <a:gd name="connsiteX14" fmla="*/ 371680 w 414568"/>
                <a:gd name="connsiteY14" fmla="*/ 71476 h 95304"/>
                <a:gd name="connsiteX15" fmla="*/ 371680 w 414568"/>
                <a:gd name="connsiteY15" fmla="*/ 66712 h 95304"/>
                <a:gd name="connsiteX16" fmla="*/ 138188 w 414568"/>
                <a:gd name="connsiteY16" fmla="*/ 0 h 95304"/>
                <a:gd name="connsiteX17" fmla="*/ 176308 w 414568"/>
                <a:gd name="connsiteY17" fmla="*/ 4764 h 95304"/>
                <a:gd name="connsiteX18" fmla="*/ 276376 w 414568"/>
                <a:gd name="connsiteY18" fmla="*/ 9532 h 95304"/>
                <a:gd name="connsiteX19" fmla="*/ 281144 w 414568"/>
                <a:gd name="connsiteY19" fmla="*/ 9532 h 95304"/>
                <a:gd name="connsiteX20" fmla="*/ 281144 w 414568"/>
                <a:gd name="connsiteY20" fmla="*/ 14296 h 95304"/>
                <a:gd name="connsiteX21" fmla="*/ 285908 w 414568"/>
                <a:gd name="connsiteY21" fmla="*/ 19060 h 95304"/>
                <a:gd name="connsiteX22" fmla="*/ 290672 w 414568"/>
                <a:gd name="connsiteY22" fmla="*/ 19060 h 95304"/>
                <a:gd name="connsiteX23" fmla="*/ 290672 w 414568"/>
                <a:gd name="connsiteY23" fmla="*/ 9532 h 95304"/>
                <a:gd name="connsiteX24" fmla="*/ 324028 w 414568"/>
                <a:gd name="connsiteY24" fmla="*/ 14296 h 95304"/>
                <a:gd name="connsiteX25" fmla="*/ 343088 w 414568"/>
                <a:gd name="connsiteY25" fmla="*/ 19060 h 95304"/>
                <a:gd name="connsiteX26" fmla="*/ 362152 w 414568"/>
                <a:gd name="connsiteY26" fmla="*/ 23824 h 95304"/>
                <a:gd name="connsiteX27" fmla="*/ 362152 w 414568"/>
                <a:gd name="connsiteY27" fmla="*/ 47652 h 95304"/>
                <a:gd name="connsiteX28" fmla="*/ 347856 w 414568"/>
                <a:gd name="connsiteY28" fmla="*/ 57180 h 95304"/>
                <a:gd name="connsiteX29" fmla="*/ 338324 w 414568"/>
                <a:gd name="connsiteY29" fmla="*/ 66712 h 95304"/>
                <a:gd name="connsiteX30" fmla="*/ 328796 w 414568"/>
                <a:gd name="connsiteY30" fmla="*/ 76244 h 95304"/>
                <a:gd name="connsiteX31" fmla="*/ 309732 w 414568"/>
                <a:gd name="connsiteY31" fmla="*/ 90536 h 95304"/>
                <a:gd name="connsiteX32" fmla="*/ 281144 w 414568"/>
                <a:gd name="connsiteY32" fmla="*/ 95304 h 95304"/>
                <a:gd name="connsiteX33" fmla="*/ 266848 w 414568"/>
                <a:gd name="connsiteY33" fmla="*/ 95304 h 95304"/>
                <a:gd name="connsiteX34" fmla="*/ 257316 w 414568"/>
                <a:gd name="connsiteY34" fmla="*/ 95304 h 95304"/>
                <a:gd name="connsiteX35" fmla="*/ 252552 w 414568"/>
                <a:gd name="connsiteY35" fmla="*/ 95304 h 95304"/>
                <a:gd name="connsiteX36" fmla="*/ 238256 w 414568"/>
                <a:gd name="connsiteY36" fmla="*/ 95304 h 95304"/>
                <a:gd name="connsiteX37" fmla="*/ 223960 w 414568"/>
                <a:gd name="connsiteY37" fmla="*/ 90536 h 95304"/>
                <a:gd name="connsiteX38" fmla="*/ 209664 w 414568"/>
                <a:gd name="connsiteY38" fmla="*/ 90536 h 95304"/>
                <a:gd name="connsiteX39" fmla="*/ 181076 w 414568"/>
                <a:gd name="connsiteY39" fmla="*/ 90536 h 95304"/>
                <a:gd name="connsiteX40" fmla="*/ 171544 w 414568"/>
                <a:gd name="connsiteY40" fmla="*/ 95304 h 95304"/>
                <a:gd name="connsiteX41" fmla="*/ 162016 w 414568"/>
                <a:gd name="connsiteY41" fmla="*/ 95304 h 95304"/>
                <a:gd name="connsiteX42" fmla="*/ 152484 w 414568"/>
                <a:gd name="connsiteY42" fmla="*/ 95304 h 95304"/>
                <a:gd name="connsiteX43" fmla="*/ 142956 w 414568"/>
                <a:gd name="connsiteY43" fmla="*/ 90536 h 95304"/>
                <a:gd name="connsiteX44" fmla="*/ 123892 w 414568"/>
                <a:gd name="connsiteY44" fmla="*/ 90536 h 95304"/>
                <a:gd name="connsiteX45" fmla="*/ 114364 w 414568"/>
                <a:gd name="connsiteY45" fmla="*/ 90536 h 95304"/>
                <a:gd name="connsiteX46" fmla="*/ 119128 w 414568"/>
                <a:gd name="connsiteY46" fmla="*/ 61948 h 95304"/>
                <a:gd name="connsiteX47" fmla="*/ 119128 w 414568"/>
                <a:gd name="connsiteY47" fmla="*/ 52416 h 95304"/>
                <a:gd name="connsiteX48" fmla="*/ 114364 w 414568"/>
                <a:gd name="connsiteY48" fmla="*/ 42888 h 95304"/>
                <a:gd name="connsiteX49" fmla="*/ 109600 w 414568"/>
                <a:gd name="connsiteY49" fmla="*/ 33356 h 95304"/>
                <a:gd name="connsiteX50" fmla="*/ 104832 w 414568"/>
                <a:gd name="connsiteY50" fmla="*/ 28592 h 95304"/>
                <a:gd name="connsiteX51" fmla="*/ 114364 w 414568"/>
                <a:gd name="connsiteY51" fmla="*/ 23824 h 95304"/>
                <a:gd name="connsiteX52" fmla="*/ 119128 w 414568"/>
                <a:gd name="connsiteY52" fmla="*/ 14296 h 95304"/>
                <a:gd name="connsiteX53" fmla="*/ 123892 w 414568"/>
                <a:gd name="connsiteY53" fmla="*/ 4764 h 95304"/>
                <a:gd name="connsiteX54" fmla="*/ 128660 w 414568"/>
                <a:gd name="connsiteY54" fmla="*/ 4764 h 95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414568" h="95304">
                  <a:moveTo>
                    <a:pt x="0" y="66712"/>
                  </a:moveTo>
                  <a:lnTo>
                    <a:pt x="4766" y="66712"/>
                  </a:lnTo>
                  <a:lnTo>
                    <a:pt x="14296" y="66712"/>
                  </a:lnTo>
                  <a:lnTo>
                    <a:pt x="14296" y="71478"/>
                  </a:lnTo>
                  <a:lnTo>
                    <a:pt x="14296" y="76244"/>
                  </a:lnTo>
                  <a:lnTo>
                    <a:pt x="9532" y="76244"/>
                  </a:lnTo>
                  <a:lnTo>
                    <a:pt x="4766" y="76244"/>
                  </a:lnTo>
                  <a:lnTo>
                    <a:pt x="0" y="71478"/>
                  </a:lnTo>
                  <a:close/>
                  <a:moveTo>
                    <a:pt x="385976" y="61948"/>
                  </a:moveTo>
                  <a:lnTo>
                    <a:pt x="400272" y="61948"/>
                  </a:lnTo>
                  <a:lnTo>
                    <a:pt x="414568" y="61948"/>
                  </a:lnTo>
                  <a:lnTo>
                    <a:pt x="414568" y="66712"/>
                  </a:lnTo>
                  <a:lnTo>
                    <a:pt x="395504" y="71476"/>
                  </a:lnTo>
                  <a:lnTo>
                    <a:pt x="381212" y="71476"/>
                  </a:lnTo>
                  <a:lnTo>
                    <a:pt x="371680" y="71476"/>
                  </a:lnTo>
                  <a:lnTo>
                    <a:pt x="371680" y="66712"/>
                  </a:lnTo>
                  <a:close/>
                  <a:moveTo>
                    <a:pt x="138188" y="0"/>
                  </a:moveTo>
                  <a:lnTo>
                    <a:pt x="176308" y="4764"/>
                  </a:lnTo>
                  <a:lnTo>
                    <a:pt x="276376" y="9532"/>
                  </a:lnTo>
                  <a:lnTo>
                    <a:pt x="281144" y="9532"/>
                  </a:lnTo>
                  <a:lnTo>
                    <a:pt x="281144" y="14296"/>
                  </a:lnTo>
                  <a:lnTo>
                    <a:pt x="285908" y="19060"/>
                  </a:lnTo>
                  <a:lnTo>
                    <a:pt x="290672" y="19060"/>
                  </a:lnTo>
                  <a:lnTo>
                    <a:pt x="290672" y="9532"/>
                  </a:lnTo>
                  <a:lnTo>
                    <a:pt x="324028" y="14296"/>
                  </a:lnTo>
                  <a:lnTo>
                    <a:pt x="343088" y="19060"/>
                  </a:lnTo>
                  <a:lnTo>
                    <a:pt x="362152" y="23824"/>
                  </a:lnTo>
                  <a:lnTo>
                    <a:pt x="362152" y="47652"/>
                  </a:lnTo>
                  <a:lnTo>
                    <a:pt x="347856" y="57180"/>
                  </a:lnTo>
                  <a:lnTo>
                    <a:pt x="338324" y="66712"/>
                  </a:lnTo>
                  <a:lnTo>
                    <a:pt x="328796" y="76244"/>
                  </a:lnTo>
                  <a:lnTo>
                    <a:pt x="309732" y="90536"/>
                  </a:lnTo>
                  <a:lnTo>
                    <a:pt x="281144" y="95304"/>
                  </a:lnTo>
                  <a:lnTo>
                    <a:pt x="266848" y="95304"/>
                  </a:lnTo>
                  <a:lnTo>
                    <a:pt x="257316" y="95304"/>
                  </a:lnTo>
                  <a:lnTo>
                    <a:pt x="252552" y="95304"/>
                  </a:lnTo>
                  <a:lnTo>
                    <a:pt x="238256" y="95304"/>
                  </a:lnTo>
                  <a:lnTo>
                    <a:pt x="223960" y="90536"/>
                  </a:lnTo>
                  <a:lnTo>
                    <a:pt x="209664" y="90536"/>
                  </a:lnTo>
                  <a:lnTo>
                    <a:pt x="181076" y="90536"/>
                  </a:lnTo>
                  <a:lnTo>
                    <a:pt x="171544" y="95304"/>
                  </a:lnTo>
                  <a:lnTo>
                    <a:pt x="162016" y="95304"/>
                  </a:lnTo>
                  <a:lnTo>
                    <a:pt x="152484" y="95304"/>
                  </a:lnTo>
                  <a:lnTo>
                    <a:pt x="142956" y="90536"/>
                  </a:lnTo>
                  <a:lnTo>
                    <a:pt x="123892" y="90536"/>
                  </a:lnTo>
                  <a:lnTo>
                    <a:pt x="114364" y="90536"/>
                  </a:lnTo>
                  <a:lnTo>
                    <a:pt x="119128" y="61948"/>
                  </a:lnTo>
                  <a:lnTo>
                    <a:pt x="119128" y="52416"/>
                  </a:lnTo>
                  <a:lnTo>
                    <a:pt x="114364" y="42888"/>
                  </a:lnTo>
                  <a:lnTo>
                    <a:pt x="109600" y="33356"/>
                  </a:lnTo>
                  <a:lnTo>
                    <a:pt x="104832" y="28592"/>
                  </a:lnTo>
                  <a:lnTo>
                    <a:pt x="114364" y="23824"/>
                  </a:lnTo>
                  <a:lnTo>
                    <a:pt x="119128" y="14296"/>
                  </a:lnTo>
                  <a:lnTo>
                    <a:pt x="123892" y="4764"/>
                  </a:lnTo>
                  <a:lnTo>
                    <a:pt x="128660" y="476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3" name="Line 6168">
              <a:extLst>
                <a:ext uri="{FF2B5EF4-FFF2-40B4-BE49-F238E27FC236}">
                  <a16:creationId xmlns:a16="http://schemas.microsoft.com/office/drawing/2014/main" id="{BBAF368B-174D-45F9-BBE5-1D74334233C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27192" y="4935322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4" name="Line 6172">
              <a:extLst>
                <a:ext uri="{FF2B5EF4-FFF2-40B4-BE49-F238E27FC236}">
                  <a16:creationId xmlns:a16="http://schemas.microsoft.com/office/drawing/2014/main" id="{06AD253A-2BBE-4BE3-8FD2-27EC510B60C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627192" y="4935322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5" name="Freeform 283">
              <a:extLst>
                <a:ext uri="{FF2B5EF4-FFF2-40B4-BE49-F238E27FC236}">
                  <a16:creationId xmlns:a16="http://schemas.microsoft.com/office/drawing/2014/main" id="{205335EE-A804-42F5-BFBB-6890D1E3C5C8}"/>
                </a:ext>
              </a:extLst>
            </p:cNvPr>
            <p:cNvSpPr/>
            <p:nvPr/>
          </p:nvSpPr>
          <p:spPr bwMode="auto">
            <a:xfrm>
              <a:off x="8440161" y="4203761"/>
              <a:ext cx="160342" cy="174989"/>
            </a:xfrm>
            <a:custGeom>
              <a:avLst/>
              <a:gdLst>
                <a:gd name="connsiteX0" fmla="*/ 85772 w 991144"/>
                <a:gd name="connsiteY0" fmla="*/ 705238 h 1081684"/>
                <a:gd name="connsiteX1" fmla="*/ 90536 w 991144"/>
                <a:gd name="connsiteY1" fmla="*/ 705238 h 1081684"/>
                <a:gd name="connsiteX2" fmla="*/ 85772 w 991144"/>
                <a:gd name="connsiteY2" fmla="*/ 719534 h 1081684"/>
                <a:gd name="connsiteX3" fmla="*/ 76240 w 991144"/>
                <a:gd name="connsiteY3" fmla="*/ 724300 h 1081684"/>
                <a:gd name="connsiteX4" fmla="*/ 76240 w 991144"/>
                <a:gd name="connsiteY4" fmla="*/ 714768 h 1081684"/>
                <a:gd name="connsiteX5" fmla="*/ 867252 w 991144"/>
                <a:gd name="connsiteY5" fmla="*/ 0 h 1081684"/>
                <a:gd name="connsiteX6" fmla="*/ 872016 w 991144"/>
                <a:gd name="connsiteY6" fmla="*/ 0 h 1081684"/>
                <a:gd name="connsiteX7" fmla="*/ 881548 w 991144"/>
                <a:gd name="connsiteY7" fmla="*/ 4764 h 1081684"/>
                <a:gd name="connsiteX8" fmla="*/ 886312 w 991144"/>
                <a:gd name="connsiteY8" fmla="*/ 9530 h 1081684"/>
                <a:gd name="connsiteX9" fmla="*/ 895844 w 991144"/>
                <a:gd name="connsiteY9" fmla="*/ 4764 h 1081684"/>
                <a:gd name="connsiteX10" fmla="*/ 900608 w 991144"/>
                <a:gd name="connsiteY10" fmla="*/ 9530 h 1081684"/>
                <a:gd name="connsiteX11" fmla="*/ 905372 w 991144"/>
                <a:gd name="connsiteY11" fmla="*/ 19060 h 1081684"/>
                <a:gd name="connsiteX12" fmla="*/ 919668 w 991144"/>
                <a:gd name="connsiteY12" fmla="*/ 23824 h 1081684"/>
                <a:gd name="connsiteX13" fmla="*/ 919668 w 991144"/>
                <a:gd name="connsiteY13" fmla="*/ 28590 h 1081684"/>
                <a:gd name="connsiteX14" fmla="*/ 919668 w 991144"/>
                <a:gd name="connsiteY14" fmla="*/ 57180 h 1081684"/>
                <a:gd name="connsiteX15" fmla="*/ 929200 w 991144"/>
                <a:gd name="connsiteY15" fmla="*/ 66710 h 1081684"/>
                <a:gd name="connsiteX16" fmla="*/ 938728 w 991144"/>
                <a:gd name="connsiteY16" fmla="*/ 81006 h 1081684"/>
                <a:gd name="connsiteX17" fmla="*/ 953024 w 991144"/>
                <a:gd name="connsiteY17" fmla="*/ 90536 h 1081684"/>
                <a:gd name="connsiteX18" fmla="*/ 962556 w 991144"/>
                <a:gd name="connsiteY18" fmla="*/ 90536 h 1081684"/>
                <a:gd name="connsiteX19" fmla="*/ 967320 w 991144"/>
                <a:gd name="connsiteY19" fmla="*/ 100066 h 1081684"/>
                <a:gd name="connsiteX20" fmla="*/ 967320 w 991144"/>
                <a:gd name="connsiteY20" fmla="*/ 114362 h 1081684"/>
                <a:gd name="connsiteX21" fmla="*/ 981616 w 991144"/>
                <a:gd name="connsiteY21" fmla="*/ 123892 h 1081684"/>
                <a:gd name="connsiteX22" fmla="*/ 986380 w 991144"/>
                <a:gd name="connsiteY22" fmla="*/ 133422 h 1081684"/>
                <a:gd name="connsiteX23" fmla="*/ 986380 w 991144"/>
                <a:gd name="connsiteY23" fmla="*/ 142952 h 1081684"/>
                <a:gd name="connsiteX24" fmla="*/ 991144 w 991144"/>
                <a:gd name="connsiteY24" fmla="*/ 147718 h 1081684"/>
                <a:gd name="connsiteX25" fmla="*/ 981616 w 991144"/>
                <a:gd name="connsiteY25" fmla="*/ 152484 h 1081684"/>
                <a:gd name="connsiteX26" fmla="*/ 972084 w 991144"/>
                <a:gd name="connsiteY26" fmla="*/ 152484 h 1081684"/>
                <a:gd name="connsiteX27" fmla="*/ 953024 w 991144"/>
                <a:gd name="connsiteY27" fmla="*/ 147718 h 1081684"/>
                <a:gd name="connsiteX28" fmla="*/ 933964 w 991144"/>
                <a:gd name="connsiteY28" fmla="*/ 166778 h 1081684"/>
                <a:gd name="connsiteX29" fmla="*/ 919668 w 991144"/>
                <a:gd name="connsiteY29" fmla="*/ 176308 h 1081684"/>
                <a:gd name="connsiteX30" fmla="*/ 910136 w 991144"/>
                <a:gd name="connsiteY30" fmla="*/ 190604 h 1081684"/>
                <a:gd name="connsiteX31" fmla="*/ 895844 w 991144"/>
                <a:gd name="connsiteY31" fmla="*/ 204900 h 1081684"/>
                <a:gd name="connsiteX32" fmla="*/ 886312 w 991144"/>
                <a:gd name="connsiteY32" fmla="*/ 214430 h 1081684"/>
                <a:gd name="connsiteX33" fmla="*/ 872016 w 991144"/>
                <a:gd name="connsiteY33" fmla="*/ 233490 h 1081684"/>
                <a:gd name="connsiteX34" fmla="*/ 862488 w 991144"/>
                <a:gd name="connsiteY34" fmla="*/ 252550 h 1081684"/>
                <a:gd name="connsiteX35" fmla="*/ 843428 w 991144"/>
                <a:gd name="connsiteY35" fmla="*/ 271612 h 1081684"/>
                <a:gd name="connsiteX36" fmla="*/ 833896 w 991144"/>
                <a:gd name="connsiteY36" fmla="*/ 295436 h 1081684"/>
                <a:gd name="connsiteX37" fmla="*/ 833896 w 991144"/>
                <a:gd name="connsiteY37" fmla="*/ 319262 h 1081684"/>
                <a:gd name="connsiteX38" fmla="*/ 843428 w 991144"/>
                <a:gd name="connsiteY38" fmla="*/ 338324 h 1081684"/>
                <a:gd name="connsiteX39" fmla="*/ 848192 w 991144"/>
                <a:gd name="connsiteY39" fmla="*/ 357384 h 1081684"/>
                <a:gd name="connsiteX40" fmla="*/ 838660 w 991144"/>
                <a:gd name="connsiteY40" fmla="*/ 395504 h 1081684"/>
                <a:gd name="connsiteX41" fmla="*/ 843428 w 991144"/>
                <a:gd name="connsiteY41" fmla="*/ 433626 h 1081684"/>
                <a:gd name="connsiteX42" fmla="*/ 838660 w 991144"/>
                <a:gd name="connsiteY42" fmla="*/ 452686 h 1081684"/>
                <a:gd name="connsiteX43" fmla="*/ 781480 w 991144"/>
                <a:gd name="connsiteY43" fmla="*/ 476512 h 1081684"/>
                <a:gd name="connsiteX44" fmla="*/ 767184 w 991144"/>
                <a:gd name="connsiteY44" fmla="*/ 490808 h 1081684"/>
                <a:gd name="connsiteX45" fmla="*/ 743360 w 991144"/>
                <a:gd name="connsiteY45" fmla="*/ 524164 h 1081684"/>
                <a:gd name="connsiteX46" fmla="*/ 719532 w 991144"/>
                <a:gd name="connsiteY46" fmla="*/ 538458 h 1081684"/>
                <a:gd name="connsiteX47" fmla="*/ 700472 w 991144"/>
                <a:gd name="connsiteY47" fmla="*/ 552754 h 1081684"/>
                <a:gd name="connsiteX48" fmla="*/ 681412 w 991144"/>
                <a:gd name="connsiteY48" fmla="*/ 562284 h 1081684"/>
                <a:gd name="connsiteX49" fmla="*/ 667116 w 991144"/>
                <a:gd name="connsiteY49" fmla="*/ 586110 h 1081684"/>
                <a:gd name="connsiteX50" fmla="*/ 648056 w 991144"/>
                <a:gd name="connsiteY50" fmla="*/ 600406 h 1081684"/>
                <a:gd name="connsiteX51" fmla="*/ 633760 w 991144"/>
                <a:gd name="connsiteY51" fmla="*/ 609936 h 1081684"/>
                <a:gd name="connsiteX52" fmla="*/ 619464 w 991144"/>
                <a:gd name="connsiteY52" fmla="*/ 619466 h 1081684"/>
                <a:gd name="connsiteX53" fmla="*/ 586108 w 991144"/>
                <a:gd name="connsiteY53" fmla="*/ 619466 h 1081684"/>
                <a:gd name="connsiteX54" fmla="*/ 567048 w 991144"/>
                <a:gd name="connsiteY54" fmla="*/ 628996 h 1081684"/>
                <a:gd name="connsiteX55" fmla="*/ 547988 w 991144"/>
                <a:gd name="connsiteY55" fmla="*/ 648056 h 1081684"/>
                <a:gd name="connsiteX56" fmla="*/ 505104 w 991144"/>
                <a:gd name="connsiteY56" fmla="*/ 671882 h 1081684"/>
                <a:gd name="connsiteX57" fmla="*/ 495572 w 991144"/>
                <a:gd name="connsiteY57" fmla="*/ 686178 h 1081684"/>
                <a:gd name="connsiteX58" fmla="*/ 500336 w 991144"/>
                <a:gd name="connsiteY58" fmla="*/ 714768 h 1081684"/>
                <a:gd name="connsiteX59" fmla="*/ 500336 w 991144"/>
                <a:gd name="connsiteY59" fmla="*/ 733828 h 1081684"/>
                <a:gd name="connsiteX60" fmla="*/ 495572 w 991144"/>
                <a:gd name="connsiteY60" fmla="*/ 752890 h 1081684"/>
                <a:gd name="connsiteX61" fmla="*/ 486040 w 991144"/>
                <a:gd name="connsiteY61" fmla="*/ 748124 h 1081684"/>
                <a:gd name="connsiteX62" fmla="*/ 481276 w 991144"/>
                <a:gd name="connsiteY62" fmla="*/ 752890 h 1081684"/>
                <a:gd name="connsiteX63" fmla="*/ 471748 w 991144"/>
                <a:gd name="connsiteY63" fmla="*/ 767184 h 1081684"/>
                <a:gd name="connsiteX64" fmla="*/ 476512 w 991144"/>
                <a:gd name="connsiteY64" fmla="*/ 786246 h 1081684"/>
                <a:gd name="connsiteX65" fmla="*/ 490808 w 991144"/>
                <a:gd name="connsiteY65" fmla="*/ 791010 h 1081684"/>
                <a:gd name="connsiteX66" fmla="*/ 505104 w 991144"/>
                <a:gd name="connsiteY66" fmla="*/ 800540 h 1081684"/>
                <a:gd name="connsiteX67" fmla="*/ 524164 w 991144"/>
                <a:gd name="connsiteY67" fmla="*/ 805306 h 1081684"/>
                <a:gd name="connsiteX68" fmla="*/ 538460 w 991144"/>
                <a:gd name="connsiteY68" fmla="*/ 810070 h 1081684"/>
                <a:gd name="connsiteX69" fmla="*/ 567048 w 991144"/>
                <a:gd name="connsiteY69" fmla="*/ 848192 h 1081684"/>
                <a:gd name="connsiteX70" fmla="*/ 590876 w 991144"/>
                <a:gd name="connsiteY70" fmla="*/ 867252 h 1081684"/>
                <a:gd name="connsiteX71" fmla="*/ 595640 w 991144"/>
                <a:gd name="connsiteY71" fmla="*/ 872018 h 1081684"/>
                <a:gd name="connsiteX72" fmla="*/ 609936 w 991144"/>
                <a:gd name="connsiteY72" fmla="*/ 881548 h 1081684"/>
                <a:gd name="connsiteX73" fmla="*/ 624232 w 991144"/>
                <a:gd name="connsiteY73" fmla="*/ 891078 h 1081684"/>
                <a:gd name="connsiteX74" fmla="*/ 628996 w 991144"/>
                <a:gd name="connsiteY74" fmla="*/ 905374 h 1081684"/>
                <a:gd name="connsiteX75" fmla="*/ 624232 w 991144"/>
                <a:gd name="connsiteY75" fmla="*/ 905374 h 1081684"/>
                <a:gd name="connsiteX76" fmla="*/ 614700 w 991144"/>
                <a:gd name="connsiteY76" fmla="*/ 924434 h 1081684"/>
                <a:gd name="connsiteX77" fmla="*/ 605168 w 991144"/>
                <a:gd name="connsiteY77" fmla="*/ 943494 h 1081684"/>
                <a:gd name="connsiteX78" fmla="*/ 595640 w 991144"/>
                <a:gd name="connsiteY78" fmla="*/ 957790 h 1081684"/>
                <a:gd name="connsiteX79" fmla="*/ 586108 w 991144"/>
                <a:gd name="connsiteY79" fmla="*/ 962554 h 1081684"/>
                <a:gd name="connsiteX80" fmla="*/ 576580 w 991144"/>
                <a:gd name="connsiteY80" fmla="*/ 967320 h 1081684"/>
                <a:gd name="connsiteX81" fmla="*/ 557520 w 991144"/>
                <a:gd name="connsiteY81" fmla="*/ 967320 h 1081684"/>
                <a:gd name="connsiteX82" fmla="*/ 538460 w 991144"/>
                <a:gd name="connsiteY82" fmla="*/ 967320 h 1081684"/>
                <a:gd name="connsiteX83" fmla="*/ 528928 w 991144"/>
                <a:gd name="connsiteY83" fmla="*/ 967320 h 1081684"/>
                <a:gd name="connsiteX84" fmla="*/ 505104 w 991144"/>
                <a:gd name="connsiteY84" fmla="*/ 967320 h 1081684"/>
                <a:gd name="connsiteX85" fmla="*/ 495572 w 991144"/>
                <a:gd name="connsiteY85" fmla="*/ 967320 h 1081684"/>
                <a:gd name="connsiteX86" fmla="*/ 462216 w 991144"/>
                <a:gd name="connsiteY86" fmla="*/ 967320 h 1081684"/>
                <a:gd name="connsiteX87" fmla="*/ 438392 w 991144"/>
                <a:gd name="connsiteY87" fmla="*/ 967320 h 1081684"/>
                <a:gd name="connsiteX88" fmla="*/ 428860 w 991144"/>
                <a:gd name="connsiteY88" fmla="*/ 972086 h 1081684"/>
                <a:gd name="connsiteX89" fmla="*/ 414564 w 991144"/>
                <a:gd name="connsiteY89" fmla="*/ 981616 h 1081684"/>
                <a:gd name="connsiteX90" fmla="*/ 405036 w 991144"/>
                <a:gd name="connsiteY90" fmla="*/ 991146 h 1081684"/>
                <a:gd name="connsiteX91" fmla="*/ 395504 w 991144"/>
                <a:gd name="connsiteY91" fmla="*/ 1005440 h 1081684"/>
                <a:gd name="connsiteX92" fmla="*/ 376444 w 991144"/>
                <a:gd name="connsiteY92" fmla="*/ 1034032 h 1081684"/>
                <a:gd name="connsiteX93" fmla="*/ 362148 w 991144"/>
                <a:gd name="connsiteY93" fmla="*/ 1043562 h 1081684"/>
                <a:gd name="connsiteX94" fmla="*/ 362148 w 991144"/>
                <a:gd name="connsiteY94" fmla="*/ 1062622 h 1081684"/>
                <a:gd name="connsiteX95" fmla="*/ 362148 w 991144"/>
                <a:gd name="connsiteY95" fmla="*/ 1067388 h 1081684"/>
                <a:gd name="connsiteX96" fmla="*/ 357384 w 991144"/>
                <a:gd name="connsiteY96" fmla="*/ 1072152 h 1081684"/>
                <a:gd name="connsiteX97" fmla="*/ 357384 w 991144"/>
                <a:gd name="connsiteY97" fmla="*/ 1067388 h 1081684"/>
                <a:gd name="connsiteX98" fmla="*/ 347852 w 991144"/>
                <a:gd name="connsiteY98" fmla="*/ 1067388 h 1081684"/>
                <a:gd name="connsiteX99" fmla="*/ 314496 w 991144"/>
                <a:gd name="connsiteY99" fmla="*/ 1053092 h 1081684"/>
                <a:gd name="connsiteX100" fmla="*/ 290672 w 991144"/>
                <a:gd name="connsiteY100" fmla="*/ 1062622 h 1081684"/>
                <a:gd name="connsiteX101" fmla="*/ 281140 w 991144"/>
                <a:gd name="connsiteY101" fmla="*/ 1076918 h 1081684"/>
                <a:gd name="connsiteX102" fmla="*/ 276376 w 991144"/>
                <a:gd name="connsiteY102" fmla="*/ 1081684 h 1081684"/>
                <a:gd name="connsiteX103" fmla="*/ 266844 w 991144"/>
                <a:gd name="connsiteY103" fmla="*/ 1053092 h 1081684"/>
                <a:gd name="connsiteX104" fmla="*/ 247784 w 991144"/>
                <a:gd name="connsiteY104" fmla="*/ 1053092 h 1081684"/>
                <a:gd name="connsiteX105" fmla="*/ 223960 w 991144"/>
                <a:gd name="connsiteY105" fmla="*/ 1029266 h 1081684"/>
                <a:gd name="connsiteX106" fmla="*/ 209664 w 991144"/>
                <a:gd name="connsiteY106" fmla="*/ 1034032 h 1081684"/>
                <a:gd name="connsiteX107" fmla="*/ 204900 w 991144"/>
                <a:gd name="connsiteY107" fmla="*/ 1043562 h 1081684"/>
                <a:gd name="connsiteX108" fmla="*/ 190604 w 991144"/>
                <a:gd name="connsiteY108" fmla="*/ 1067388 h 1081684"/>
                <a:gd name="connsiteX109" fmla="*/ 171544 w 991144"/>
                <a:gd name="connsiteY109" fmla="*/ 1081684 h 1081684"/>
                <a:gd name="connsiteX110" fmla="*/ 166780 w 991144"/>
                <a:gd name="connsiteY110" fmla="*/ 1081684 h 1081684"/>
                <a:gd name="connsiteX111" fmla="*/ 157248 w 991144"/>
                <a:gd name="connsiteY111" fmla="*/ 1081684 h 1081684"/>
                <a:gd name="connsiteX112" fmla="*/ 157248 w 991144"/>
                <a:gd name="connsiteY112" fmla="*/ 1076918 h 1081684"/>
                <a:gd name="connsiteX113" fmla="*/ 152484 w 991144"/>
                <a:gd name="connsiteY113" fmla="*/ 1057858 h 1081684"/>
                <a:gd name="connsiteX114" fmla="*/ 119128 w 991144"/>
                <a:gd name="connsiteY114" fmla="*/ 1053092 h 1081684"/>
                <a:gd name="connsiteX115" fmla="*/ 104832 w 991144"/>
                <a:gd name="connsiteY115" fmla="*/ 1043562 h 1081684"/>
                <a:gd name="connsiteX116" fmla="*/ 100068 w 991144"/>
                <a:gd name="connsiteY116" fmla="*/ 1043562 h 1081684"/>
                <a:gd name="connsiteX117" fmla="*/ 133424 w 991144"/>
                <a:gd name="connsiteY117" fmla="*/ 1019736 h 1081684"/>
                <a:gd name="connsiteX118" fmla="*/ 138188 w 991144"/>
                <a:gd name="connsiteY118" fmla="*/ 1019736 h 1081684"/>
                <a:gd name="connsiteX119" fmla="*/ 133424 w 991144"/>
                <a:gd name="connsiteY119" fmla="*/ 1010206 h 1081684"/>
                <a:gd name="connsiteX120" fmla="*/ 128656 w 991144"/>
                <a:gd name="connsiteY120" fmla="*/ 1010206 h 1081684"/>
                <a:gd name="connsiteX121" fmla="*/ 100068 w 991144"/>
                <a:gd name="connsiteY121" fmla="*/ 1014972 h 1081684"/>
                <a:gd name="connsiteX122" fmla="*/ 85772 w 991144"/>
                <a:gd name="connsiteY122" fmla="*/ 1005440 h 1081684"/>
                <a:gd name="connsiteX123" fmla="*/ 66712 w 991144"/>
                <a:gd name="connsiteY123" fmla="*/ 1010206 h 1081684"/>
                <a:gd name="connsiteX124" fmla="*/ 52416 w 991144"/>
                <a:gd name="connsiteY124" fmla="*/ 1000676 h 1081684"/>
                <a:gd name="connsiteX125" fmla="*/ 81008 w 991144"/>
                <a:gd name="connsiteY125" fmla="*/ 981616 h 1081684"/>
                <a:gd name="connsiteX126" fmla="*/ 85772 w 991144"/>
                <a:gd name="connsiteY126" fmla="*/ 972086 h 1081684"/>
                <a:gd name="connsiteX127" fmla="*/ 81008 w 991144"/>
                <a:gd name="connsiteY127" fmla="*/ 962554 h 1081684"/>
                <a:gd name="connsiteX128" fmla="*/ 100068 w 991144"/>
                <a:gd name="connsiteY128" fmla="*/ 933964 h 1081684"/>
                <a:gd name="connsiteX129" fmla="*/ 114364 w 991144"/>
                <a:gd name="connsiteY129" fmla="*/ 919668 h 1081684"/>
                <a:gd name="connsiteX130" fmla="*/ 152484 w 991144"/>
                <a:gd name="connsiteY130" fmla="*/ 895844 h 1081684"/>
                <a:gd name="connsiteX131" fmla="*/ 166780 w 991144"/>
                <a:gd name="connsiteY131" fmla="*/ 891078 h 1081684"/>
                <a:gd name="connsiteX132" fmla="*/ 176308 w 991144"/>
                <a:gd name="connsiteY132" fmla="*/ 895844 h 1081684"/>
                <a:gd name="connsiteX133" fmla="*/ 185840 w 991144"/>
                <a:gd name="connsiteY133" fmla="*/ 891078 h 1081684"/>
                <a:gd name="connsiteX134" fmla="*/ 176308 w 991144"/>
                <a:gd name="connsiteY134" fmla="*/ 881548 h 1081684"/>
                <a:gd name="connsiteX135" fmla="*/ 166780 w 991144"/>
                <a:gd name="connsiteY135" fmla="*/ 881548 h 1081684"/>
                <a:gd name="connsiteX136" fmla="*/ 147716 w 991144"/>
                <a:gd name="connsiteY136" fmla="*/ 881548 h 1081684"/>
                <a:gd name="connsiteX137" fmla="*/ 128656 w 991144"/>
                <a:gd name="connsiteY137" fmla="*/ 867252 h 1081684"/>
                <a:gd name="connsiteX138" fmla="*/ 123892 w 991144"/>
                <a:gd name="connsiteY138" fmla="*/ 852956 h 1081684"/>
                <a:gd name="connsiteX139" fmla="*/ 166780 w 991144"/>
                <a:gd name="connsiteY139" fmla="*/ 771950 h 1081684"/>
                <a:gd name="connsiteX140" fmla="*/ 166780 w 991144"/>
                <a:gd name="connsiteY140" fmla="*/ 762420 h 1081684"/>
                <a:gd name="connsiteX141" fmla="*/ 162012 w 991144"/>
                <a:gd name="connsiteY141" fmla="*/ 743358 h 1081684"/>
                <a:gd name="connsiteX142" fmla="*/ 157248 w 991144"/>
                <a:gd name="connsiteY142" fmla="*/ 724298 h 1081684"/>
                <a:gd name="connsiteX143" fmla="*/ 128656 w 991144"/>
                <a:gd name="connsiteY143" fmla="*/ 710004 h 1081684"/>
                <a:gd name="connsiteX144" fmla="*/ 119128 w 991144"/>
                <a:gd name="connsiteY144" fmla="*/ 710004 h 1081684"/>
                <a:gd name="connsiteX145" fmla="*/ 81008 w 991144"/>
                <a:gd name="connsiteY145" fmla="*/ 686178 h 1081684"/>
                <a:gd name="connsiteX146" fmla="*/ 66712 w 991144"/>
                <a:gd name="connsiteY146" fmla="*/ 676648 h 1081684"/>
                <a:gd name="connsiteX147" fmla="*/ 61944 w 991144"/>
                <a:gd name="connsiteY147" fmla="*/ 676648 h 1081684"/>
                <a:gd name="connsiteX148" fmla="*/ 61944 w 991144"/>
                <a:gd name="connsiteY148" fmla="*/ 695708 h 1081684"/>
                <a:gd name="connsiteX149" fmla="*/ 57180 w 991144"/>
                <a:gd name="connsiteY149" fmla="*/ 700472 h 1081684"/>
                <a:gd name="connsiteX150" fmla="*/ 42884 w 991144"/>
                <a:gd name="connsiteY150" fmla="*/ 705238 h 1081684"/>
                <a:gd name="connsiteX151" fmla="*/ 42884 w 991144"/>
                <a:gd name="connsiteY151" fmla="*/ 686178 h 1081684"/>
                <a:gd name="connsiteX152" fmla="*/ 33356 w 991144"/>
                <a:gd name="connsiteY152" fmla="*/ 667116 h 1081684"/>
                <a:gd name="connsiteX153" fmla="*/ 9528 w 991144"/>
                <a:gd name="connsiteY153" fmla="*/ 652822 h 1081684"/>
                <a:gd name="connsiteX154" fmla="*/ 0 w 991144"/>
                <a:gd name="connsiteY154" fmla="*/ 643292 h 1081684"/>
                <a:gd name="connsiteX155" fmla="*/ 4764 w 991144"/>
                <a:gd name="connsiteY155" fmla="*/ 628996 h 1081684"/>
                <a:gd name="connsiteX156" fmla="*/ 0 w 991144"/>
                <a:gd name="connsiteY156" fmla="*/ 624230 h 1081684"/>
                <a:gd name="connsiteX157" fmla="*/ 4764 w 991144"/>
                <a:gd name="connsiteY157" fmla="*/ 605170 h 1081684"/>
                <a:gd name="connsiteX158" fmla="*/ 19060 w 991144"/>
                <a:gd name="connsiteY158" fmla="*/ 590874 h 1081684"/>
                <a:gd name="connsiteX159" fmla="*/ 57180 w 991144"/>
                <a:gd name="connsiteY159" fmla="*/ 562284 h 1081684"/>
                <a:gd name="connsiteX160" fmla="*/ 66712 w 991144"/>
                <a:gd name="connsiteY160" fmla="*/ 547988 h 1081684"/>
                <a:gd name="connsiteX161" fmla="*/ 85772 w 991144"/>
                <a:gd name="connsiteY161" fmla="*/ 533694 h 1081684"/>
                <a:gd name="connsiteX162" fmla="*/ 95300 w 991144"/>
                <a:gd name="connsiteY162" fmla="*/ 533694 h 1081684"/>
                <a:gd name="connsiteX163" fmla="*/ 100068 w 991144"/>
                <a:gd name="connsiteY163" fmla="*/ 533694 h 1081684"/>
                <a:gd name="connsiteX164" fmla="*/ 104832 w 991144"/>
                <a:gd name="connsiteY164" fmla="*/ 524164 h 1081684"/>
                <a:gd name="connsiteX165" fmla="*/ 104832 w 991144"/>
                <a:gd name="connsiteY165" fmla="*/ 519398 h 1081684"/>
                <a:gd name="connsiteX166" fmla="*/ 114364 w 991144"/>
                <a:gd name="connsiteY166" fmla="*/ 514632 h 1081684"/>
                <a:gd name="connsiteX167" fmla="*/ 128656 w 991144"/>
                <a:gd name="connsiteY167" fmla="*/ 505102 h 1081684"/>
                <a:gd name="connsiteX168" fmla="*/ 152484 w 991144"/>
                <a:gd name="connsiteY168" fmla="*/ 495572 h 1081684"/>
                <a:gd name="connsiteX169" fmla="*/ 166780 w 991144"/>
                <a:gd name="connsiteY169" fmla="*/ 490808 h 1081684"/>
                <a:gd name="connsiteX170" fmla="*/ 185840 w 991144"/>
                <a:gd name="connsiteY170" fmla="*/ 476512 h 1081684"/>
                <a:gd name="connsiteX171" fmla="*/ 195368 w 991144"/>
                <a:gd name="connsiteY171" fmla="*/ 466982 h 1081684"/>
                <a:gd name="connsiteX172" fmla="*/ 200136 w 991144"/>
                <a:gd name="connsiteY172" fmla="*/ 466982 h 1081684"/>
                <a:gd name="connsiteX173" fmla="*/ 204900 w 991144"/>
                <a:gd name="connsiteY173" fmla="*/ 462216 h 1081684"/>
                <a:gd name="connsiteX174" fmla="*/ 209664 w 991144"/>
                <a:gd name="connsiteY174" fmla="*/ 452686 h 1081684"/>
                <a:gd name="connsiteX175" fmla="*/ 214428 w 991144"/>
                <a:gd name="connsiteY175" fmla="*/ 447920 h 1081684"/>
                <a:gd name="connsiteX176" fmla="*/ 223960 w 991144"/>
                <a:gd name="connsiteY176" fmla="*/ 447920 h 1081684"/>
                <a:gd name="connsiteX177" fmla="*/ 238256 w 991144"/>
                <a:gd name="connsiteY177" fmla="*/ 443156 h 1081684"/>
                <a:gd name="connsiteX178" fmla="*/ 257316 w 991144"/>
                <a:gd name="connsiteY178" fmla="*/ 438390 h 1081684"/>
                <a:gd name="connsiteX179" fmla="*/ 266844 w 991144"/>
                <a:gd name="connsiteY179" fmla="*/ 424096 h 1081684"/>
                <a:gd name="connsiteX180" fmla="*/ 271612 w 991144"/>
                <a:gd name="connsiteY180" fmla="*/ 414566 h 1081684"/>
                <a:gd name="connsiteX181" fmla="*/ 281140 w 991144"/>
                <a:gd name="connsiteY181" fmla="*/ 405034 h 1081684"/>
                <a:gd name="connsiteX182" fmla="*/ 295436 w 991144"/>
                <a:gd name="connsiteY182" fmla="*/ 390740 h 1081684"/>
                <a:gd name="connsiteX183" fmla="*/ 309732 w 991144"/>
                <a:gd name="connsiteY183" fmla="*/ 376444 h 1081684"/>
                <a:gd name="connsiteX184" fmla="*/ 324028 w 991144"/>
                <a:gd name="connsiteY184" fmla="*/ 352618 h 1081684"/>
                <a:gd name="connsiteX185" fmla="*/ 328792 w 991144"/>
                <a:gd name="connsiteY185" fmla="*/ 347854 h 1081684"/>
                <a:gd name="connsiteX186" fmla="*/ 333556 w 991144"/>
                <a:gd name="connsiteY186" fmla="*/ 347854 h 1081684"/>
                <a:gd name="connsiteX187" fmla="*/ 338324 w 991144"/>
                <a:gd name="connsiteY187" fmla="*/ 338324 h 1081684"/>
                <a:gd name="connsiteX188" fmla="*/ 343088 w 991144"/>
                <a:gd name="connsiteY188" fmla="*/ 319262 h 1081684"/>
                <a:gd name="connsiteX189" fmla="*/ 347852 w 991144"/>
                <a:gd name="connsiteY189" fmla="*/ 295436 h 1081684"/>
                <a:gd name="connsiteX190" fmla="*/ 352620 w 991144"/>
                <a:gd name="connsiteY190" fmla="*/ 285906 h 1081684"/>
                <a:gd name="connsiteX191" fmla="*/ 366912 w 991144"/>
                <a:gd name="connsiteY191" fmla="*/ 276376 h 1081684"/>
                <a:gd name="connsiteX192" fmla="*/ 371680 w 991144"/>
                <a:gd name="connsiteY192" fmla="*/ 271612 h 1081684"/>
                <a:gd name="connsiteX193" fmla="*/ 376444 w 991144"/>
                <a:gd name="connsiteY193" fmla="*/ 271612 h 1081684"/>
                <a:gd name="connsiteX194" fmla="*/ 381208 w 991144"/>
                <a:gd name="connsiteY194" fmla="*/ 271612 h 1081684"/>
                <a:gd name="connsiteX195" fmla="*/ 390740 w 991144"/>
                <a:gd name="connsiteY195" fmla="*/ 266846 h 1081684"/>
                <a:gd name="connsiteX196" fmla="*/ 400268 w 991144"/>
                <a:gd name="connsiteY196" fmla="*/ 257316 h 1081684"/>
                <a:gd name="connsiteX197" fmla="*/ 405036 w 991144"/>
                <a:gd name="connsiteY197" fmla="*/ 262082 h 1081684"/>
                <a:gd name="connsiteX198" fmla="*/ 414564 w 991144"/>
                <a:gd name="connsiteY198" fmla="*/ 266846 h 1081684"/>
                <a:gd name="connsiteX199" fmla="*/ 424096 w 991144"/>
                <a:gd name="connsiteY199" fmla="*/ 276376 h 1081684"/>
                <a:gd name="connsiteX200" fmla="*/ 428860 w 991144"/>
                <a:gd name="connsiteY200" fmla="*/ 285906 h 1081684"/>
                <a:gd name="connsiteX201" fmla="*/ 433624 w 991144"/>
                <a:gd name="connsiteY201" fmla="*/ 295436 h 1081684"/>
                <a:gd name="connsiteX202" fmla="*/ 433624 w 991144"/>
                <a:gd name="connsiteY202" fmla="*/ 304968 h 1081684"/>
                <a:gd name="connsiteX203" fmla="*/ 443156 w 991144"/>
                <a:gd name="connsiteY203" fmla="*/ 309732 h 1081684"/>
                <a:gd name="connsiteX204" fmla="*/ 457452 w 991144"/>
                <a:gd name="connsiteY204" fmla="*/ 314498 h 1081684"/>
                <a:gd name="connsiteX205" fmla="*/ 481276 w 991144"/>
                <a:gd name="connsiteY205" fmla="*/ 319262 h 1081684"/>
                <a:gd name="connsiteX206" fmla="*/ 495572 w 991144"/>
                <a:gd name="connsiteY206" fmla="*/ 319262 h 1081684"/>
                <a:gd name="connsiteX207" fmla="*/ 505104 w 991144"/>
                <a:gd name="connsiteY207" fmla="*/ 324028 h 1081684"/>
                <a:gd name="connsiteX208" fmla="*/ 519396 w 991144"/>
                <a:gd name="connsiteY208" fmla="*/ 328792 h 1081684"/>
                <a:gd name="connsiteX209" fmla="*/ 557520 w 991144"/>
                <a:gd name="connsiteY209" fmla="*/ 324028 h 1081684"/>
                <a:gd name="connsiteX210" fmla="*/ 571812 w 991144"/>
                <a:gd name="connsiteY210" fmla="*/ 328792 h 1081684"/>
                <a:gd name="connsiteX211" fmla="*/ 581344 w 991144"/>
                <a:gd name="connsiteY211" fmla="*/ 333558 h 1081684"/>
                <a:gd name="connsiteX212" fmla="*/ 586108 w 991144"/>
                <a:gd name="connsiteY212" fmla="*/ 338324 h 1081684"/>
                <a:gd name="connsiteX213" fmla="*/ 595640 w 991144"/>
                <a:gd name="connsiteY213" fmla="*/ 338324 h 1081684"/>
                <a:gd name="connsiteX214" fmla="*/ 600404 w 991144"/>
                <a:gd name="connsiteY214" fmla="*/ 333558 h 1081684"/>
                <a:gd name="connsiteX215" fmla="*/ 609936 w 991144"/>
                <a:gd name="connsiteY215" fmla="*/ 314498 h 1081684"/>
                <a:gd name="connsiteX216" fmla="*/ 614700 w 991144"/>
                <a:gd name="connsiteY216" fmla="*/ 304968 h 1081684"/>
                <a:gd name="connsiteX217" fmla="*/ 614700 w 991144"/>
                <a:gd name="connsiteY217" fmla="*/ 295436 h 1081684"/>
                <a:gd name="connsiteX218" fmla="*/ 609936 w 991144"/>
                <a:gd name="connsiteY218" fmla="*/ 285906 h 1081684"/>
                <a:gd name="connsiteX219" fmla="*/ 600404 w 991144"/>
                <a:gd name="connsiteY219" fmla="*/ 276376 h 1081684"/>
                <a:gd name="connsiteX220" fmla="*/ 590876 w 991144"/>
                <a:gd name="connsiteY220" fmla="*/ 262082 h 1081684"/>
                <a:gd name="connsiteX221" fmla="*/ 586108 w 991144"/>
                <a:gd name="connsiteY221" fmla="*/ 247786 h 1081684"/>
                <a:gd name="connsiteX222" fmla="*/ 581344 w 991144"/>
                <a:gd name="connsiteY222" fmla="*/ 243020 h 1081684"/>
                <a:gd name="connsiteX223" fmla="*/ 576580 w 991144"/>
                <a:gd name="connsiteY223" fmla="*/ 233490 h 1081684"/>
                <a:gd name="connsiteX224" fmla="*/ 576580 w 991144"/>
                <a:gd name="connsiteY224" fmla="*/ 223960 h 1081684"/>
                <a:gd name="connsiteX225" fmla="*/ 576580 w 991144"/>
                <a:gd name="connsiteY225" fmla="*/ 214430 h 1081684"/>
                <a:gd name="connsiteX226" fmla="*/ 595640 w 991144"/>
                <a:gd name="connsiteY226" fmla="*/ 209664 h 1081684"/>
                <a:gd name="connsiteX227" fmla="*/ 619464 w 991144"/>
                <a:gd name="connsiteY227" fmla="*/ 204900 h 1081684"/>
                <a:gd name="connsiteX228" fmla="*/ 638524 w 991144"/>
                <a:gd name="connsiteY228" fmla="*/ 209664 h 1081684"/>
                <a:gd name="connsiteX229" fmla="*/ 667116 w 991144"/>
                <a:gd name="connsiteY229" fmla="*/ 209664 h 1081684"/>
                <a:gd name="connsiteX230" fmla="*/ 686176 w 991144"/>
                <a:gd name="connsiteY230" fmla="*/ 204900 h 1081684"/>
                <a:gd name="connsiteX231" fmla="*/ 714768 w 991144"/>
                <a:gd name="connsiteY231" fmla="*/ 204900 h 1081684"/>
                <a:gd name="connsiteX232" fmla="*/ 719532 w 991144"/>
                <a:gd name="connsiteY232" fmla="*/ 200134 h 1081684"/>
                <a:gd name="connsiteX233" fmla="*/ 738592 w 991144"/>
                <a:gd name="connsiteY233" fmla="*/ 181074 h 1081684"/>
                <a:gd name="connsiteX234" fmla="*/ 748124 w 991144"/>
                <a:gd name="connsiteY234" fmla="*/ 176308 h 1081684"/>
                <a:gd name="connsiteX235" fmla="*/ 757652 w 991144"/>
                <a:gd name="connsiteY235" fmla="*/ 166778 h 1081684"/>
                <a:gd name="connsiteX236" fmla="*/ 757652 w 991144"/>
                <a:gd name="connsiteY236" fmla="*/ 157248 h 1081684"/>
                <a:gd name="connsiteX237" fmla="*/ 762420 w 991144"/>
                <a:gd name="connsiteY237" fmla="*/ 147718 h 1081684"/>
                <a:gd name="connsiteX238" fmla="*/ 767184 w 991144"/>
                <a:gd name="connsiteY238" fmla="*/ 138188 h 1081684"/>
                <a:gd name="connsiteX239" fmla="*/ 776716 w 991144"/>
                <a:gd name="connsiteY239" fmla="*/ 123892 h 1081684"/>
                <a:gd name="connsiteX240" fmla="*/ 781480 w 991144"/>
                <a:gd name="connsiteY240" fmla="*/ 119128 h 1081684"/>
                <a:gd name="connsiteX241" fmla="*/ 791008 w 991144"/>
                <a:gd name="connsiteY241" fmla="*/ 119128 h 1081684"/>
                <a:gd name="connsiteX242" fmla="*/ 800540 w 991144"/>
                <a:gd name="connsiteY242" fmla="*/ 123892 h 1081684"/>
                <a:gd name="connsiteX243" fmla="*/ 810072 w 991144"/>
                <a:gd name="connsiteY243" fmla="*/ 133422 h 1081684"/>
                <a:gd name="connsiteX244" fmla="*/ 814836 w 991144"/>
                <a:gd name="connsiteY244" fmla="*/ 128658 h 1081684"/>
                <a:gd name="connsiteX245" fmla="*/ 819600 w 991144"/>
                <a:gd name="connsiteY245" fmla="*/ 119128 h 1081684"/>
                <a:gd name="connsiteX246" fmla="*/ 824364 w 991144"/>
                <a:gd name="connsiteY246" fmla="*/ 119128 h 1081684"/>
                <a:gd name="connsiteX247" fmla="*/ 833896 w 991144"/>
                <a:gd name="connsiteY247" fmla="*/ 119128 h 1081684"/>
                <a:gd name="connsiteX248" fmla="*/ 838660 w 991144"/>
                <a:gd name="connsiteY248" fmla="*/ 114362 h 1081684"/>
                <a:gd name="connsiteX249" fmla="*/ 843428 w 991144"/>
                <a:gd name="connsiteY249" fmla="*/ 85772 h 1081684"/>
                <a:gd name="connsiteX250" fmla="*/ 848192 w 991144"/>
                <a:gd name="connsiteY250" fmla="*/ 61946 h 1081684"/>
                <a:gd name="connsiteX251" fmla="*/ 848192 w 991144"/>
                <a:gd name="connsiteY251" fmla="*/ 47650 h 1081684"/>
                <a:gd name="connsiteX252" fmla="*/ 857720 w 991144"/>
                <a:gd name="connsiteY252" fmla="*/ 23824 h 1081684"/>
                <a:gd name="connsiteX253" fmla="*/ 862488 w 991144"/>
                <a:gd name="connsiteY253" fmla="*/ 9530 h 1081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</a:cxnLst>
              <a:rect l="l" t="t" r="r" b="b"/>
              <a:pathLst>
                <a:path w="991144" h="1081684">
                  <a:moveTo>
                    <a:pt x="85772" y="705238"/>
                  </a:moveTo>
                  <a:lnTo>
                    <a:pt x="90536" y="705238"/>
                  </a:lnTo>
                  <a:lnTo>
                    <a:pt x="85772" y="719534"/>
                  </a:lnTo>
                  <a:lnTo>
                    <a:pt x="76240" y="724300"/>
                  </a:lnTo>
                  <a:lnTo>
                    <a:pt x="76240" y="714768"/>
                  </a:lnTo>
                  <a:close/>
                  <a:moveTo>
                    <a:pt x="867252" y="0"/>
                  </a:moveTo>
                  <a:lnTo>
                    <a:pt x="872016" y="0"/>
                  </a:lnTo>
                  <a:lnTo>
                    <a:pt x="881548" y="4764"/>
                  </a:lnTo>
                  <a:lnTo>
                    <a:pt x="886312" y="9530"/>
                  </a:lnTo>
                  <a:lnTo>
                    <a:pt x="895844" y="4764"/>
                  </a:lnTo>
                  <a:lnTo>
                    <a:pt x="900608" y="9530"/>
                  </a:lnTo>
                  <a:lnTo>
                    <a:pt x="905372" y="19060"/>
                  </a:lnTo>
                  <a:lnTo>
                    <a:pt x="919668" y="23824"/>
                  </a:lnTo>
                  <a:lnTo>
                    <a:pt x="919668" y="28590"/>
                  </a:lnTo>
                  <a:lnTo>
                    <a:pt x="919668" y="57180"/>
                  </a:lnTo>
                  <a:lnTo>
                    <a:pt x="929200" y="66710"/>
                  </a:lnTo>
                  <a:lnTo>
                    <a:pt x="938728" y="81006"/>
                  </a:lnTo>
                  <a:lnTo>
                    <a:pt x="953024" y="90536"/>
                  </a:lnTo>
                  <a:lnTo>
                    <a:pt x="962556" y="90536"/>
                  </a:lnTo>
                  <a:lnTo>
                    <a:pt x="967320" y="100066"/>
                  </a:lnTo>
                  <a:lnTo>
                    <a:pt x="967320" y="114362"/>
                  </a:lnTo>
                  <a:lnTo>
                    <a:pt x="981616" y="123892"/>
                  </a:lnTo>
                  <a:lnTo>
                    <a:pt x="986380" y="133422"/>
                  </a:lnTo>
                  <a:lnTo>
                    <a:pt x="986380" y="142952"/>
                  </a:lnTo>
                  <a:lnTo>
                    <a:pt x="991144" y="147718"/>
                  </a:lnTo>
                  <a:lnTo>
                    <a:pt x="981616" y="152484"/>
                  </a:lnTo>
                  <a:lnTo>
                    <a:pt x="972084" y="152484"/>
                  </a:lnTo>
                  <a:lnTo>
                    <a:pt x="953024" y="147718"/>
                  </a:lnTo>
                  <a:lnTo>
                    <a:pt x="933964" y="166778"/>
                  </a:lnTo>
                  <a:lnTo>
                    <a:pt x="919668" y="176308"/>
                  </a:lnTo>
                  <a:lnTo>
                    <a:pt x="910136" y="190604"/>
                  </a:lnTo>
                  <a:lnTo>
                    <a:pt x="895844" y="204900"/>
                  </a:lnTo>
                  <a:lnTo>
                    <a:pt x="886312" y="214430"/>
                  </a:lnTo>
                  <a:lnTo>
                    <a:pt x="872016" y="233490"/>
                  </a:lnTo>
                  <a:lnTo>
                    <a:pt x="862488" y="252550"/>
                  </a:lnTo>
                  <a:lnTo>
                    <a:pt x="843428" y="271612"/>
                  </a:lnTo>
                  <a:lnTo>
                    <a:pt x="833896" y="295436"/>
                  </a:lnTo>
                  <a:lnTo>
                    <a:pt x="833896" y="319262"/>
                  </a:lnTo>
                  <a:lnTo>
                    <a:pt x="843428" y="338324"/>
                  </a:lnTo>
                  <a:lnTo>
                    <a:pt x="848192" y="357384"/>
                  </a:lnTo>
                  <a:lnTo>
                    <a:pt x="838660" y="395504"/>
                  </a:lnTo>
                  <a:lnTo>
                    <a:pt x="843428" y="433626"/>
                  </a:lnTo>
                  <a:lnTo>
                    <a:pt x="838660" y="452686"/>
                  </a:lnTo>
                  <a:lnTo>
                    <a:pt x="781480" y="476512"/>
                  </a:lnTo>
                  <a:lnTo>
                    <a:pt x="767184" y="490808"/>
                  </a:lnTo>
                  <a:lnTo>
                    <a:pt x="743360" y="524164"/>
                  </a:lnTo>
                  <a:lnTo>
                    <a:pt x="719532" y="538458"/>
                  </a:lnTo>
                  <a:lnTo>
                    <a:pt x="700472" y="552754"/>
                  </a:lnTo>
                  <a:lnTo>
                    <a:pt x="681412" y="562284"/>
                  </a:lnTo>
                  <a:lnTo>
                    <a:pt x="667116" y="586110"/>
                  </a:lnTo>
                  <a:lnTo>
                    <a:pt x="648056" y="600406"/>
                  </a:lnTo>
                  <a:lnTo>
                    <a:pt x="633760" y="609936"/>
                  </a:lnTo>
                  <a:lnTo>
                    <a:pt x="619464" y="619466"/>
                  </a:lnTo>
                  <a:lnTo>
                    <a:pt x="586108" y="619466"/>
                  </a:lnTo>
                  <a:lnTo>
                    <a:pt x="567048" y="628996"/>
                  </a:lnTo>
                  <a:lnTo>
                    <a:pt x="547988" y="648056"/>
                  </a:lnTo>
                  <a:lnTo>
                    <a:pt x="505104" y="671882"/>
                  </a:lnTo>
                  <a:lnTo>
                    <a:pt x="495572" y="686178"/>
                  </a:lnTo>
                  <a:lnTo>
                    <a:pt x="500336" y="714768"/>
                  </a:lnTo>
                  <a:lnTo>
                    <a:pt x="500336" y="733828"/>
                  </a:lnTo>
                  <a:lnTo>
                    <a:pt x="495572" y="752890"/>
                  </a:lnTo>
                  <a:lnTo>
                    <a:pt x="486040" y="748124"/>
                  </a:lnTo>
                  <a:lnTo>
                    <a:pt x="481276" y="752890"/>
                  </a:lnTo>
                  <a:lnTo>
                    <a:pt x="471748" y="767184"/>
                  </a:lnTo>
                  <a:lnTo>
                    <a:pt x="476512" y="786246"/>
                  </a:lnTo>
                  <a:lnTo>
                    <a:pt x="490808" y="791010"/>
                  </a:lnTo>
                  <a:lnTo>
                    <a:pt x="505104" y="800540"/>
                  </a:lnTo>
                  <a:lnTo>
                    <a:pt x="524164" y="805306"/>
                  </a:lnTo>
                  <a:lnTo>
                    <a:pt x="538460" y="810070"/>
                  </a:lnTo>
                  <a:lnTo>
                    <a:pt x="567048" y="848192"/>
                  </a:lnTo>
                  <a:lnTo>
                    <a:pt x="590876" y="867252"/>
                  </a:lnTo>
                  <a:lnTo>
                    <a:pt x="595640" y="872018"/>
                  </a:lnTo>
                  <a:lnTo>
                    <a:pt x="609936" y="881548"/>
                  </a:lnTo>
                  <a:lnTo>
                    <a:pt x="624232" y="891078"/>
                  </a:lnTo>
                  <a:lnTo>
                    <a:pt x="628996" y="905374"/>
                  </a:lnTo>
                  <a:lnTo>
                    <a:pt x="624232" y="905374"/>
                  </a:lnTo>
                  <a:lnTo>
                    <a:pt x="614700" y="924434"/>
                  </a:lnTo>
                  <a:lnTo>
                    <a:pt x="605168" y="943494"/>
                  </a:lnTo>
                  <a:lnTo>
                    <a:pt x="595640" y="957790"/>
                  </a:lnTo>
                  <a:lnTo>
                    <a:pt x="586108" y="962554"/>
                  </a:lnTo>
                  <a:lnTo>
                    <a:pt x="576580" y="967320"/>
                  </a:lnTo>
                  <a:lnTo>
                    <a:pt x="557520" y="967320"/>
                  </a:lnTo>
                  <a:lnTo>
                    <a:pt x="538460" y="967320"/>
                  </a:lnTo>
                  <a:lnTo>
                    <a:pt x="528928" y="967320"/>
                  </a:lnTo>
                  <a:lnTo>
                    <a:pt x="505104" y="967320"/>
                  </a:lnTo>
                  <a:lnTo>
                    <a:pt x="495572" y="967320"/>
                  </a:lnTo>
                  <a:lnTo>
                    <a:pt x="462216" y="967320"/>
                  </a:lnTo>
                  <a:lnTo>
                    <a:pt x="438392" y="967320"/>
                  </a:lnTo>
                  <a:lnTo>
                    <a:pt x="428860" y="972086"/>
                  </a:lnTo>
                  <a:lnTo>
                    <a:pt x="414564" y="981616"/>
                  </a:lnTo>
                  <a:lnTo>
                    <a:pt x="405036" y="991146"/>
                  </a:lnTo>
                  <a:lnTo>
                    <a:pt x="395504" y="1005440"/>
                  </a:lnTo>
                  <a:lnTo>
                    <a:pt x="376444" y="1034032"/>
                  </a:lnTo>
                  <a:lnTo>
                    <a:pt x="362148" y="1043562"/>
                  </a:lnTo>
                  <a:lnTo>
                    <a:pt x="362148" y="1062622"/>
                  </a:lnTo>
                  <a:lnTo>
                    <a:pt x="362148" y="1067388"/>
                  </a:lnTo>
                  <a:lnTo>
                    <a:pt x="357384" y="1072152"/>
                  </a:lnTo>
                  <a:lnTo>
                    <a:pt x="357384" y="1067388"/>
                  </a:lnTo>
                  <a:lnTo>
                    <a:pt x="347852" y="1067388"/>
                  </a:lnTo>
                  <a:lnTo>
                    <a:pt x="314496" y="1053092"/>
                  </a:lnTo>
                  <a:lnTo>
                    <a:pt x="290672" y="1062622"/>
                  </a:lnTo>
                  <a:lnTo>
                    <a:pt x="281140" y="1076918"/>
                  </a:lnTo>
                  <a:lnTo>
                    <a:pt x="276376" y="1081684"/>
                  </a:lnTo>
                  <a:lnTo>
                    <a:pt x="266844" y="1053092"/>
                  </a:lnTo>
                  <a:lnTo>
                    <a:pt x="247784" y="1053092"/>
                  </a:lnTo>
                  <a:lnTo>
                    <a:pt x="223960" y="1029266"/>
                  </a:lnTo>
                  <a:lnTo>
                    <a:pt x="209664" y="1034032"/>
                  </a:lnTo>
                  <a:lnTo>
                    <a:pt x="204900" y="1043562"/>
                  </a:lnTo>
                  <a:lnTo>
                    <a:pt x="190604" y="1067388"/>
                  </a:lnTo>
                  <a:lnTo>
                    <a:pt x="171544" y="1081684"/>
                  </a:lnTo>
                  <a:lnTo>
                    <a:pt x="166780" y="1081684"/>
                  </a:lnTo>
                  <a:lnTo>
                    <a:pt x="157248" y="1081684"/>
                  </a:lnTo>
                  <a:lnTo>
                    <a:pt x="157248" y="1076918"/>
                  </a:lnTo>
                  <a:lnTo>
                    <a:pt x="152484" y="1057858"/>
                  </a:lnTo>
                  <a:lnTo>
                    <a:pt x="119128" y="1053092"/>
                  </a:lnTo>
                  <a:lnTo>
                    <a:pt x="104832" y="1043562"/>
                  </a:lnTo>
                  <a:lnTo>
                    <a:pt x="100068" y="1043562"/>
                  </a:lnTo>
                  <a:lnTo>
                    <a:pt x="133424" y="1019736"/>
                  </a:lnTo>
                  <a:lnTo>
                    <a:pt x="138188" y="1019736"/>
                  </a:lnTo>
                  <a:lnTo>
                    <a:pt x="133424" y="1010206"/>
                  </a:lnTo>
                  <a:lnTo>
                    <a:pt x="128656" y="1010206"/>
                  </a:lnTo>
                  <a:lnTo>
                    <a:pt x="100068" y="1014972"/>
                  </a:lnTo>
                  <a:lnTo>
                    <a:pt x="85772" y="1005440"/>
                  </a:lnTo>
                  <a:lnTo>
                    <a:pt x="66712" y="1010206"/>
                  </a:lnTo>
                  <a:lnTo>
                    <a:pt x="52416" y="1000676"/>
                  </a:lnTo>
                  <a:lnTo>
                    <a:pt x="81008" y="981616"/>
                  </a:lnTo>
                  <a:lnTo>
                    <a:pt x="85772" y="972086"/>
                  </a:lnTo>
                  <a:lnTo>
                    <a:pt x="81008" y="962554"/>
                  </a:lnTo>
                  <a:lnTo>
                    <a:pt x="100068" y="933964"/>
                  </a:lnTo>
                  <a:lnTo>
                    <a:pt x="114364" y="919668"/>
                  </a:lnTo>
                  <a:lnTo>
                    <a:pt x="152484" y="895844"/>
                  </a:lnTo>
                  <a:lnTo>
                    <a:pt x="166780" y="891078"/>
                  </a:lnTo>
                  <a:lnTo>
                    <a:pt x="176308" y="895844"/>
                  </a:lnTo>
                  <a:lnTo>
                    <a:pt x="185840" y="891078"/>
                  </a:lnTo>
                  <a:lnTo>
                    <a:pt x="176308" y="881548"/>
                  </a:lnTo>
                  <a:lnTo>
                    <a:pt x="166780" y="881548"/>
                  </a:lnTo>
                  <a:lnTo>
                    <a:pt x="147716" y="881548"/>
                  </a:lnTo>
                  <a:lnTo>
                    <a:pt x="128656" y="867252"/>
                  </a:lnTo>
                  <a:lnTo>
                    <a:pt x="123892" y="852956"/>
                  </a:lnTo>
                  <a:lnTo>
                    <a:pt x="166780" y="771950"/>
                  </a:lnTo>
                  <a:lnTo>
                    <a:pt x="166780" y="762420"/>
                  </a:lnTo>
                  <a:lnTo>
                    <a:pt x="162012" y="743358"/>
                  </a:lnTo>
                  <a:lnTo>
                    <a:pt x="157248" y="724298"/>
                  </a:lnTo>
                  <a:lnTo>
                    <a:pt x="128656" y="710004"/>
                  </a:lnTo>
                  <a:lnTo>
                    <a:pt x="119128" y="710004"/>
                  </a:lnTo>
                  <a:lnTo>
                    <a:pt x="81008" y="686178"/>
                  </a:lnTo>
                  <a:lnTo>
                    <a:pt x="66712" y="676648"/>
                  </a:lnTo>
                  <a:lnTo>
                    <a:pt x="61944" y="676648"/>
                  </a:lnTo>
                  <a:lnTo>
                    <a:pt x="61944" y="695708"/>
                  </a:lnTo>
                  <a:lnTo>
                    <a:pt x="57180" y="700472"/>
                  </a:lnTo>
                  <a:lnTo>
                    <a:pt x="42884" y="705238"/>
                  </a:lnTo>
                  <a:lnTo>
                    <a:pt x="42884" y="686178"/>
                  </a:lnTo>
                  <a:lnTo>
                    <a:pt x="33356" y="667116"/>
                  </a:lnTo>
                  <a:lnTo>
                    <a:pt x="9528" y="652822"/>
                  </a:lnTo>
                  <a:lnTo>
                    <a:pt x="0" y="643292"/>
                  </a:lnTo>
                  <a:lnTo>
                    <a:pt x="4764" y="628996"/>
                  </a:lnTo>
                  <a:lnTo>
                    <a:pt x="0" y="624230"/>
                  </a:lnTo>
                  <a:lnTo>
                    <a:pt x="4764" y="605170"/>
                  </a:lnTo>
                  <a:lnTo>
                    <a:pt x="19060" y="590874"/>
                  </a:lnTo>
                  <a:lnTo>
                    <a:pt x="57180" y="562284"/>
                  </a:lnTo>
                  <a:lnTo>
                    <a:pt x="66712" y="547988"/>
                  </a:lnTo>
                  <a:lnTo>
                    <a:pt x="85772" y="533694"/>
                  </a:lnTo>
                  <a:lnTo>
                    <a:pt x="95300" y="533694"/>
                  </a:lnTo>
                  <a:lnTo>
                    <a:pt x="100068" y="533694"/>
                  </a:lnTo>
                  <a:lnTo>
                    <a:pt x="104832" y="524164"/>
                  </a:lnTo>
                  <a:lnTo>
                    <a:pt x="104832" y="519398"/>
                  </a:lnTo>
                  <a:lnTo>
                    <a:pt x="114364" y="514632"/>
                  </a:lnTo>
                  <a:lnTo>
                    <a:pt x="128656" y="505102"/>
                  </a:lnTo>
                  <a:lnTo>
                    <a:pt x="152484" y="495572"/>
                  </a:lnTo>
                  <a:lnTo>
                    <a:pt x="166780" y="490808"/>
                  </a:lnTo>
                  <a:lnTo>
                    <a:pt x="185840" y="476512"/>
                  </a:lnTo>
                  <a:lnTo>
                    <a:pt x="195368" y="466982"/>
                  </a:lnTo>
                  <a:lnTo>
                    <a:pt x="200136" y="466982"/>
                  </a:lnTo>
                  <a:lnTo>
                    <a:pt x="204900" y="462216"/>
                  </a:lnTo>
                  <a:lnTo>
                    <a:pt x="209664" y="452686"/>
                  </a:lnTo>
                  <a:lnTo>
                    <a:pt x="214428" y="447920"/>
                  </a:lnTo>
                  <a:lnTo>
                    <a:pt x="223960" y="447920"/>
                  </a:lnTo>
                  <a:lnTo>
                    <a:pt x="238256" y="443156"/>
                  </a:lnTo>
                  <a:lnTo>
                    <a:pt x="257316" y="438390"/>
                  </a:lnTo>
                  <a:lnTo>
                    <a:pt x="266844" y="424096"/>
                  </a:lnTo>
                  <a:lnTo>
                    <a:pt x="271612" y="414566"/>
                  </a:lnTo>
                  <a:lnTo>
                    <a:pt x="281140" y="405034"/>
                  </a:lnTo>
                  <a:lnTo>
                    <a:pt x="295436" y="390740"/>
                  </a:lnTo>
                  <a:lnTo>
                    <a:pt x="309732" y="376444"/>
                  </a:lnTo>
                  <a:lnTo>
                    <a:pt x="324028" y="352618"/>
                  </a:lnTo>
                  <a:lnTo>
                    <a:pt x="328792" y="347854"/>
                  </a:lnTo>
                  <a:lnTo>
                    <a:pt x="333556" y="347854"/>
                  </a:lnTo>
                  <a:lnTo>
                    <a:pt x="338324" y="338324"/>
                  </a:lnTo>
                  <a:lnTo>
                    <a:pt x="343088" y="319262"/>
                  </a:lnTo>
                  <a:lnTo>
                    <a:pt x="347852" y="295436"/>
                  </a:lnTo>
                  <a:lnTo>
                    <a:pt x="352620" y="285906"/>
                  </a:lnTo>
                  <a:lnTo>
                    <a:pt x="366912" y="276376"/>
                  </a:lnTo>
                  <a:lnTo>
                    <a:pt x="371680" y="271612"/>
                  </a:lnTo>
                  <a:lnTo>
                    <a:pt x="376444" y="271612"/>
                  </a:lnTo>
                  <a:lnTo>
                    <a:pt x="381208" y="271612"/>
                  </a:lnTo>
                  <a:lnTo>
                    <a:pt x="390740" y="266846"/>
                  </a:lnTo>
                  <a:lnTo>
                    <a:pt x="400268" y="257316"/>
                  </a:lnTo>
                  <a:lnTo>
                    <a:pt x="405036" y="262082"/>
                  </a:lnTo>
                  <a:lnTo>
                    <a:pt x="414564" y="266846"/>
                  </a:lnTo>
                  <a:lnTo>
                    <a:pt x="424096" y="276376"/>
                  </a:lnTo>
                  <a:lnTo>
                    <a:pt x="428860" y="285906"/>
                  </a:lnTo>
                  <a:lnTo>
                    <a:pt x="433624" y="295436"/>
                  </a:lnTo>
                  <a:lnTo>
                    <a:pt x="433624" y="304968"/>
                  </a:lnTo>
                  <a:lnTo>
                    <a:pt x="443156" y="309732"/>
                  </a:lnTo>
                  <a:lnTo>
                    <a:pt x="457452" y="314498"/>
                  </a:lnTo>
                  <a:lnTo>
                    <a:pt x="481276" y="319262"/>
                  </a:lnTo>
                  <a:lnTo>
                    <a:pt x="495572" y="319262"/>
                  </a:lnTo>
                  <a:lnTo>
                    <a:pt x="505104" y="324028"/>
                  </a:lnTo>
                  <a:lnTo>
                    <a:pt x="519396" y="328792"/>
                  </a:lnTo>
                  <a:lnTo>
                    <a:pt x="557520" y="324028"/>
                  </a:lnTo>
                  <a:lnTo>
                    <a:pt x="571812" y="328792"/>
                  </a:lnTo>
                  <a:lnTo>
                    <a:pt x="581344" y="333558"/>
                  </a:lnTo>
                  <a:lnTo>
                    <a:pt x="586108" y="338324"/>
                  </a:lnTo>
                  <a:lnTo>
                    <a:pt x="595640" y="338324"/>
                  </a:lnTo>
                  <a:lnTo>
                    <a:pt x="600404" y="333558"/>
                  </a:lnTo>
                  <a:lnTo>
                    <a:pt x="609936" y="314498"/>
                  </a:lnTo>
                  <a:lnTo>
                    <a:pt x="614700" y="304968"/>
                  </a:lnTo>
                  <a:lnTo>
                    <a:pt x="614700" y="295436"/>
                  </a:lnTo>
                  <a:lnTo>
                    <a:pt x="609936" y="285906"/>
                  </a:lnTo>
                  <a:lnTo>
                    <a:pt x="600404" y="276376"/>
                  </a:lnTo>
                  <a:lnTo>
                    <a:pt x="590876" y="262082"/>
                  </a:lnTo>
                  <a:lnTo>
                    <a:pt x="586108" y="247786"/>
                  </a:lnTo>
                  <a:lnTo>
                    <a:pt x="581344" y="243020"/>
                  </a:lnTo>
                  <a:lnTo>
                    <a:pt x="576580" y="233490"/>
                  </a:lnTo>
                  <a:lnTo>
                    <a:pt x="576580" y="223960"/>
                  </a:lnTo>
                  <a:lnTo>
                    <a:pt x="576580" y="214430"/>
                  </a:lnTo>
                  <a:lnTo>
                    <a:pt x="595640" y="209664"/>
                  </a:lnTo>
                  <a:lnTo>
                    <a:pt x="619464" y="204900"/>
                  </a:lnTo>
                  <a:lnTo>
                    <a:pt x="638524" y="209664"/>
                  </a:lnTo>
                  <a:lnTo>
                    <a:pt x="667116" y="209664"/>
                  </a:lnTo>
                  <a:lnTo>
                    <a:pt x="686176" y="204900"/>
                  </a:lnTo>
                  <a:lnTo>
                    <a:pt x="714768" y="204900"/>
                  </a:lnTo>
                  <a:lnTo>
                    <a:pt x="719532" y="200134"/>
                  </a:lnTo>
                  <a:lnTo>
                    <a:pt x="738592" y="181074"/>
                  </a:lnTo>
                  <a:lnTo>
                    <a:pt x="748124" y="176308"/>
                  </a:lnTo>
                  <a:lnTo>
                    <a:pt x="757652" y="166778"/>
                  </a:lnTo>
                  <a:lnTo>
                    <a:pt x="757652" y="157248"/>
                  </a:lnTo>
                  <a:lnTo>
                    <a:pt x="762420" y="147718"/>
                  </a:lnTo>
                  <a:lnTo>
                    <a:pt x="767184" y="138188"/>
                  </a:lnTo>
                  <a:lnTo>
                    <a:pt x="776716" y="123892"/>
                  </a:lnTo>
                  <a:lnTo>
                    <a:pt x="781480" y="119128"/>
                  </a:lnTo>
                  <a:lnTo>
                    <a:pt x="791008" y="119128"/>
                  </a:lnTo>
                  <a:lnTo>
                    <a:pt x="800540" y="123892"/>
                  </a:lnTo>
                  <a:lnTo>
                    <a:pt x="810072" y="133422"/>
                  </a:lnTo>
                  <a:lnTo>
                    <a:pt x="814836" y="128658"/>
                  </a:lnTo>
                  <a:lnTo>
                    <a:pt x="819600" y="119128"/>
                  </a:lnTo>
                  <a:lnTo>
                    <a:pt x="824364" y="119128"/>
                  </a:lnTo>
                  <a:lnTo>
                    <a:pt x="833896" y="119128"/>
                  </a:lnTo>
                  <a:lnTo>
                    <a:pt x="838660" y="114362"/>
                  </a:lnTo>
                  <a:lnTo>
                    <a:pt x="843428" y="85772"/>
                  </a:lnTo>
                  <a:lnTo>
                    <a:pt x="848192" y="61946"/>
                  </a:lnTo>
                  <a:lnTo>
                    <a:pt x="848192" y="47650"/>
                  </a:lnTo>
                  <a:lnTo>
                    <a:pt x="857720" y="23824"/>
                  </a:lnTo>
                  <a:lnTo>
                    <a:pt x="862488" y="953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336" name="Group 301">
              <a:extLst>
                <a:ext uri="{FF2B5EF4-FFF2-40B4-BE49-F238E27FC236}">
                  <a16:creationId xmlns:a16="http://schemas.microsoft.com/office/drawing/2014/main" id="{B1203205-F81C-46DD-BD4E-CA9A611CB09B}"/>
                </a:ext>
              </a:extLst>
            </p:cNvPr>
            <p:cNvGrpSpPr/>
            <p:nvPr/>
          </p:nvGrpSpPr>
          <p:grpSpPr>
            <a:xfrm>
              <a:off x="4508305" y="4320934"/>
              <a:ext cx="158030" cy="83255"/>
              <a:chOff x="23742616" y="20311914"/>
              <a:chExt cx="976851" cy="514634"/>
            </a:xfrm>
            <a:grpFill/>
          </p:grpSpPr>
          <p:sp>
            <p:nvSpPr>
              <p:cNvPr id="548" name="Freeform 6180">
                <a:extLst>
                  <a:ext uri="{FF2B5EF4-FFF2-40B4-BE49-F238E27FC236}">
                    <a16:creationId xmlns:a16="http://schemas.microsoft.com/office/drawing/2014/main" id="{777D804B-1C01-49BD-9C93-41D6243BE1AD}"/>
                  </a:ext>
                </a:extLst>
              </p:cNvPr>
              <p:cNvSpPr/>
              <p:nvPr/>
            </p:nvSpPr>
            <p:spPr bwMode="auto">
              <a:xfrm>
                <a:off x="24690876" y="20807487"/>
                <a:ext cx="28591" cy="19061"/>
              </a:xfrm>
              <a:custGeom>
                <a:avLst/>
                <a:gdLst>
                  <a:gd name="T0" fmla="*/ 12 w 12"/>
                  <a:gd name="T1" fmla="*/ 6 h 8"/>
                  <a:gd name="T2" fmla="*/ 10 w 12"/>
                  <a:gd name="T3" fmla="*/ 2 h 8"/>
                  <a:gd name="T4" fmla="*/ 8 w 12"/>
                  <a:gd name="T5" fmla="*/ 0 h 8"/>
                  <a:gd name="T6" fmla="*/ 2 w 12"/>
                  <a:gd name="T7" fmla="*/ 0 h 8"/>
                  <a:gd name="T8" fmla="*/ 0 w 12"/>
                  <a:gd name="T9" fmla="*/ 2 h 8"/>
                  <a:gd name="T10" fmla="*/ 2 w 12"/>
                  <a:gd name="T11" fmla="*/ 6 h 8"/>
                  <a:gd name="T12" fmla="*/ 8 w 12"/>
                  <a:gd name="T13" fmla="*/ 6 h 8"/>
                  <a:gd name="T14" fmla="*/ 12 w 12"/>
                  <a:gd name="T15" fmla="*/ 8 h 8"/>
                  <a:gd name="T16" fmla="*/ 12 w 12"/>
                  <a:gd name="T17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8">
                    <a:moveTo>
                      <a:pt x="12" y="6"/>
                    </a:moveTo>
                    <a:lnTo>
                      <a:pt x="10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6"/>
                    </a:lnTo>
                    <a:lnTo>
                      <a:pt x="8" y="6"/>
                    </a:lnTo>
                    <a:lnTo>
                      <a:pt x="12" y="8"/>
                    </a:lnTo>
                    <a:lnTo>
                      <a:pt x="12" y="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9" name="Freeform 6181">
                <a:extLst>
                  <a:ext uri="{FF2B5EF4-FFF2-40B4-BE49-F238E27FC236}">
                    <a16:creationId xmlns:a16="http://schemas.microsoft.com/office/drawing/2014/main" id="{082644DC-B2FF-46EA-8FB0-76A4F4D388C0}"/>
                  </a:ext>
                </a:extLst>
              </p:cNvPr>
              <p:cNvSpPr/>
              <p:nvPr/>
            </p:nvSpPr>
            <p:spPr bwMode="auto">
              <a:xfrm>
                <a:off x="24590809" y="20635944"/>
                <a:ext cx="104833" cy="38121"/>
              </a:xfrm>
              <a:custGeom>
                <a:avLst/>
                <a:gdLst>
                  <a:gd name="T0" fmla="*/ 12 w 44"/>
                  <a:gd name="T1" fmla="*/ 4 h 16"/>
                  <a:gd name="T2" fmla="*/ 4 w 44"/>
                  <a:gd name="T3" fmla="*/ 0 h 16"/>
                  <a:gd name="T4" fmla="*/ 0 w 44"/>
                  <a:gd name="T5" fmla="*/ 0 h 16"/>
                  <a:gd name="T6" fmla="*/ 0 w 44"/>
                  <a:gd name="T7" fmla="*/ 2 h 16"/>
                  <a:gd name="T8" fmla="*/ 0 w 44"/>
                  <a:gd name="T9" fmla="*/ 6 h 16"/>
                  <a:gd name="T10" fmla="*/ 8 w 44"/>
                  <a:gd name="T11" fmla="*/ 12 h 16"/>
                  <a:gd name="T12" fmla="*/ 26 w 44"/>
                  <a:gd name="T13" fmla="*/ 16 h 16"/>
                  <a:gd name="T14" fmla="*/ 38 w 44"/>
                  <a:gd name="T15" fmla="*/ 14 h 16"/>
                  <a:gd name="T16" fmla="*/ 42 w 44"/>
                  <a:gd name="T17" fmla="*/ 12 h 16"/>
                  <a:gd name="T18" fmla="*/ 44 w 44"/>
                  <a:gd name="T19" fmla="*/ 6 h 16"/>
                  <a:gd name="T20" fmla="*/ 38 w 44"/>
                  <a:gd name="T21" fmla="*/ 4 h 16"/>
                  <a:gd name="T22" fmla="*/ 16 w 44"/>
                  <a:gd name="T23" fmla="*/ 6 h 16"/>
                  <a:gd name="T24" fmla="*/ 12 w 44"/>
                  <a:gd name="T25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4" h="16">
                    <a:moveTo>
                      <a:pt x="12" y="4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8" y="12"/>
                    </a:lnTo>
                    <a:lnTo>
                      <a:pt x="26" y="16"/>
                    </a:lnTo>
                    <a:lnTo>
                      <a:pt x="38" y="14"/>
                    </a:lnTo>
                    <a:lnTo>
                      <a:pt x="42" y="12"/>
                    </a:lnTo>
                    <a:lnTo>
                      <a:pt x="44" y="6"/>
                    </a:lnTo>
                    <a:lnTo>
                      <a:pt x="38" y="4"/>
                    </a:lnTo>
                    <a:lnTo>
                      <a:pt x="16" y="6"/>
                    </a:lnTo>
                    <a:lnTo>
                      <a:pt x="12" y="4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0" name="Freeform 6182">
                <a:extLst>
                  <a:ext uri="{FF2B5EF4-FFF2-40B4-BE49-F238E27FC236}">
                    <a16:creationId xmlns:a16="http://schemas.microsoft.com/office/drawing/2014/main" id="{654C54E7-3D8E-4334-BB60-05BF9192D499}"/>
                  </a:ext>
                </a:extLst>
              </p:cNvPr>
              <p:cNvSpPr/>
              <p:nvPr/>
            </p:nvSpPr>
            <p:spPr bwMode="auto">
              <a:xfrm>
                <a:off x="24166712" y="20507285"/>
                <a:ext cx="76242" cy="33356"/>
              </a:xfrm>
              <a:custGeom>
                <a:avLst/>
                <a:gdLst>
                  <a:gd name="T0" fmla="*/ 26 w 32"/>
                  <a:gd name="T1" fmla="*/ 8 h 14"/>
                  <a:gd name="T2" fmla="*/ 10 w 32"/>
                  <a:gd name="T3" fmla="*/ 0 h 14"/>
                  <a:gd name="T4" fmla="*/ 2 w 32"/>
                  <a:gd name="T5" fmla="*/ 0 h 14"/>
                  <a:gd name="T6" fmla="*/ 0 w 32"/>
                  <a:gd name="T7" fmla="*/ 2 h 14"/>
                  <a:gd name="T8" fmla="*/ 2 w 32"/>
                  <a:gd name="T9" fmla="*/ 8 h 14"/>
                  <a:gd name="T10" fmla="*/ 6 w 32"/>
                  <a:gd name="T11" fmla="*/ 12 h 14"/>
                  <a:gd name="T12" fmla="*/ 14 w 32"/>
                  <a:gd name="T13" fmla="*/ 12 h 14"/>
                  <a:gd name="T14" fmla="*/ 22 w 32"/>
                  <a:gd name="T15" fmla="*/ 14 h 14"/>
                  <a:gd name="T16" fmla="*/ 24 w 32"/>
                  <a:gd name="T17" fmla="*/ 12 h 14"/>
                  <a:gd name="T18" fmla="*/ 32 w 32"/>
                  <a:gd name="T19" fmla="*/ 12 h 14"/>
                  <a:gd name="T20" fmla="*/ 26 w 32"/>
                  <a:gd name="T21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2" h="14">
                    <a:moveTo>
                      <a:pt x="26" y="8"/>
                    </a:moveTo>
                    <a:lnTo>
                      <a:pt x="10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8"/>
                    </a:lnTo>
                    <a:lnTo>
                      <a:pt x="6" y="12"/>
                    </a:lnTo>
                    <a:lnTo>
                      <a:pt x="14" y="12"/>
                    </a:lnTo>
                    <a:lnTo>
                      <a:pt x="22" y="14"/>
                    </a:lnTo>
                    <a:lnTo>
                      <a:pt x="24" y="12"/>
                    </a:lnTo>
                    <a:lnTo>
                      <a:pt x="32" y="12"/>
                    </a:lnTo>
                    <a:lnTo>
                      <a:pt x="26" y="8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1" name="Freeform 6183">
                <a:extLst>
                  <a:ext uri="{FF2B5EF4-FFF2-40B4-BE49-F238E27FC236}">
                    <a16:creationId xmlns:a16="http://schemas.microsoft.com/office/drawing/2014/main" id="{79A61665-2C28-4AD8-9ACE-B27A1A5308C8}"/>
                  </a:ext>
                </a:extLst>
              </p:cNvPr>
              <p:cNvSpPr/>
              <p:nvPr/>
            </p:nvSpPr>
            <p:spPr bwMode="auto">
              <a:xfrm>
                <a:off x="24123827" y="20488224"/>
                <a:ext cx="33356" cy="23826"/>
              </a:xfrm>
              <a:custGeom>
                <a:avLst/>
                <a:gdLst>
                  <a:gd name="T0" fmla="*/ 12 w 14"/>
                  <a:gd name="T1" fmla="*/ 10 h 10"/>
                  <a:gd name="T2" fmla="*/ 14 w 14"/>
                  <a:gd name="T3" fmla="*/ 8 h 10"/>
                  <a:gd name="T4" fmla="*/ 14 w 14"/>
                  <a:gd name="T5" fmla="*/ 4 h 10"/>
                  <a:gd name="T6" fmla="*/ 12 w 14"/>
                  <a:gd name="T7" fmla="*/ 2 h 10"/>
                  <a:gd name="T8" fmla="*/ 8 w 14"/>
                  <a:gd name="T9" fmla="*/ 0 h 10"/>
                  <a:gd name="T10" fmla="*/ 0 w 14"/>
                  <a:gd name="T11" fmla="*/ 4 h 10"/>
                  <a:gd name="T12" fmla="*/ 6 w 14"/>
                  <a:gd name="T13" fmla="*/ 10 h 10"/>
                  <a:gd name="T14" fmla="*/ 12 w 14"/>
                  <a:gd name="T1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0">
                    <a:moveTo>
                      <a:pt x="12" y="10"/>
                    </a:moveTo>
                    <a:lnTo>
                      <a:pt x="14" y="8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0" y="4"/>
                    </a:lnTo>
                    <a:lnTo>
                      <a:pt x="6" y="10"/>
                    </a:lnTo>
                    <a:lnTo>
                      <a:pt x="12" y="1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2" name="Freeform 6184">
                <a:extLst>
                  <a:ext uri="{FF2B5EF4-FFF2-40B4-BE49-F238E27FC236}">
                    <a16:creationId xmlns:a16="http://schemas.microsoft.com/office/drawing/2014/main" id="{56FB9580-18E5-4B7B-A121-BC7ABB24A135}"/>
                  </a:ext>
                </a:extLst>
              </p:cNvPr>
              <p:cNvSpPr/>
              <p:nvPr/>
            </p:nvSpPr>
            <p:spPr bwMode="auto">
              <a:xfrm>
                <a:off x="24204833" y="20469163"/>
                <a:ext cx="81007" cy="38121"/>
              </a:xfrm>
              <a:custGeom>
                <a:avLst/>
                <a:gdLst>
                  <a:gd name="T0" fmla="*/ 34 w 34"/>
                  <a:gd name="T1" fmla="*/ 16 h 16"/>
                  <a:gd name="T2" fmla="*/ 24 w 34"/>
                  <a:gd name="T3" fmla="*/ 8 h 16"/>
                  <a:gd name="T4" fmla="*/ 0 w 34"/>
                  <a:gd name="T5" fmla="*/ 0 h 16"/>
                  <a:gd name="T6" fmla="*/ 8 w 34"/>
                  <a:gd name="T7" fmla="*/ 8 h 16"/>
                  <a:gd name="T8" fmla="*/ 14 w 34"/>
                  <a:gd name="T9" fmla="*/ 10 h 16"/>
                  <a:gd name="T10" fmla="*/ 32 w 34"/>
                  <a:gd name="T11" fmla="*/ 16 h 16"/>
                  <a:gd name="T12" fmla="*/ 34 w 34"/>
                  <a:gd name="T13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6">
                    <a:moveTo>
                      <a:pt x="34" y="16"/>
                    </a:moveTo>
                    <a:lnTo>
                      <a:pt x="24" y="8"/>
                    </a:lnTo>
                    <a:lnTo>
                      <a:pt x="0" y="0"/>
                    </a:lnTo>
                    <a:lnTo>
                      <a:pt x="8" y="8"/>
                    </a:lnTo>
                    <a:lnTo>
                      <a:pt x="14" y="10"/>
                    </a:lnTo>
                    <a:lnTo>
                      <a:pt x="32" y="16"/>
                    </a:lnTo>
                    <a:lnTo>
                      <a:pt x="34" y="1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3" name="Freeform 6185">
                <a:extLst>
                  <a:ext uri="{FF2B5EF4-FFF2-40B4-BE49-F238E27FC236}">
                    <a16:creationId xmlns:a16="http://schemas.microsoft.com/office/drawing/2014/main" id="{B7694C21-9608-49AC-864F-1FD667AEDC7C}"/>
                  </a:ext>
                </a:extLst>
              </p:cNvPr>
              <p:cNvSpPr/>
              <p:nvPr/>
            </p:nvSpPr>
            <p:spPr bwMode="auto">
              <a:xfrm>
                <a:off x="24347787" y="20454868"/>
                <a:ext cx="57182" cy="33356"/>
              </a:xfrm>
              <a:custGeom>
                <a:avLst/>
                <a:gdLst>
                  <a:gd name="T0" fmla="*/ 22 w 24"/>
                  <a:gd name="T1" fmla="*/ 14 h 14"/>
                  <a:gd name="T2" fmla="*/ 24 w 24"/>
                  <a:gd name="T3" fmla="*/ 10 h 14"/>
                  <a:gd name="T4" fmla="*/ 24 w 24"/>
                  <a:gd name="T5" fmla="*/ 6 h 14"/>
                  <a:gd name="T6" fmla="*/ 18 w 24"/>
                  <a:gd name="T7" fmla="*/ 2 h 14"/>
                  <a:gd name="T8" fmla="*/ 8 w 24"/>
                  <a:gd name="T9" fmla="*/ 0 h 14"/>
                  <a:gd name="T10" fmla="*/ 4 w 24"/>
                  <a:gd name="T11" fmla="*/ 2 h 14"/>
                  <a:gd name="T12" fmla="*/ 0 w 24"/>
                  <a:gd name="T13" fmla="*/ 4 h 14"/>
                  <a:gd name="T14" fmla="*/ 2 w 24"/>
                  <a:gd name="T15" fmla="*/ 10 h 14"/>
                  <a:gd name="T16" fmla="*/ 6 w 24"/>
                  <a:gd name="T17" fmla="*/ 12 h 14"/>
                  <a:gd name="T18" fmla="*/ 20 w 24"/>
                  <a:gd name="T19" fmla="*/ 14 h 14"/>
                  <a:gd name="T20" fmla="*/ 22 w 24"/>
                  <a:gd name="T2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14">
                    <a:moveTo>
                      <a:pt x="22" y="14"/>
                    </a:moveTo>
                    <a:lnTo>
                      <a:pt x="24" y="10"/>
                    </a:lnTo>
                    <a:lnTo>
                      <a:pt x="24" y="6"/>
                    </a:lnTo>
                    <a:lnTo>
                      <a:pt x="18" y="2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20" y="14"/>
                    </a:lnTo>
                    <a:lnTo>
                      <a:pt x="22" y="14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4" name="Freeform 6186">
                <a:extLst>
                  <a:ext uri="{FF2B5EF4-FFF2-40B4-BE49-F238E27FC236}">
                    <a16:creationId xmlns:a16="http://schemas.microsoft.com/office/drawing/2014/main" id="{63FC7F22-BFE3-4FA4-9E1E-EEF57D7A6169}"/>
                  </a:ext>
                </a:extLst>
              </p:cNvPr>
              <p:cNvSpPr/>
              <p:nvPr/>
            </p:nvSpPr>
            <p:spPr bwMode="auto">
              <a:xfrm>
                <a:off x="23742616" y="20311914"/>
                <a:ext cx="19061" cy="33356"/>
              </a:xfrm>
              <a:custGeom>
                <a:avLst/>
                <a:gdLst>
                  <a:gd name="T0" fmla="*/ 8 w 8"/>
                  <a:gd name="T1" fmla="*/ 10 h 14"/>
                  <a:gd name="T2" fmla="*/ 8 w 8"/>
                  <a:gd name="T3" fmla="*/ 4 h 14"/>
                  <a:gd name="T4" fmla="*/ 4 w 8"/>
                  <a:gd name="T5" fmla="*/ 0 h 14"/>
                  <a:gd name="T6" fmla="*/ 0 w 8"/>
                  <a:gd name="T7" fmla="*/ 2 h 14"/>
                  <a:gd name="T8" fmla="*/ 0 w 8"/>
                  <a:gd name="T9" fmla="*/ 10 h 14"/>
                  <a:gd name="T10" fmla="*/ 0 w 8"/>
                  <a:gd name="T11" fmla="*/ 12 h 14"/>
                  <a:gd name="T12" fmla="*/ 6 w 8"/>
                  <a:gd name="T13" fmla="*/ 14 h 14"/>
                  <a:gd name="T14" fmla="*/ 8 w 8"/>
                  <a:gd name="T15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4">
                    <a:moveTo>
                      <a:pt x="8" y="10"/>
                    </a:moveTo>
                    <a:lnTo>
                      <a:pt x="8" y="4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6" y="14"/>
                    </a:lnTo>
                    <a:lnTo>
                      <a:pt x="8" y="1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37" name="Group 302">
              <a:extLst>
                <a:ext uri="{FF2B5EF4-FFF2-40B4-BE49-F238E27FC236}">
                  <a16:creationId xmlns:a16="http://schemas.microsoft.com/office/drawing/2014/main" id="{BCB52B2F-D8D0-47B6-907A-50BAE35543C2}"/>
                </a:ext>
              </a:extLst>
            </p:cNvPr>
            <p:cNvGrpSpPr/>
            <p:nvPr/>
          </p:nvGrpSpPr>
          <p:grpSpPr>
            <a:xfrm>
              <a:off x="4862908" y="4233825"/>
              <a:ext cx="278287" cy="302184"/>
              <a:chOff x="25934574" y="19773455"/>
              <a:chExt cx="1720212" cy="1867929"/>
            </a:xfrm>
            <a:grpFill/>
          </p:grpSpPr>
          <p:sp>
            <p:nvSpPr>
              <p:cNvPr id="546" name="Freeform 6179">
                <a:extLst>
                  <a:ext uri="{FF2B5EF4-FFF2-40B4-BE49-F238E27FC236}">
                    <a16:creationId xmlns:a16="http://schemas.microsoft.com/office/drawing/2014/main" id="{21C8E9BD-41AB-48A2-8D4E-41662BA27996}"/>
                  </a:ext>
                </a:extLst>
              </p:cNvPr>
              <p:cNvSpPr/>
              <p:nvPr/>
            </p:nvSpPr>
            <p:spPr bwMode="auto">
              <a:xfrm>
                <a:off x="25934574" y="21598499"/>
                <a:ext cx="85772" cy="42886"/>
              </a:xfrm>
              <a:custGeom>
                <a:avLst/>
                <a:gdLst>
                  <a:gd name="T0" fmla="*/ 4 w 36"/>
                  <a:gd name="T1" fmla="*/ 0 h 18"/>
                  <a:gd name="T2" fmla="*/ 0 w 36"/>
                  <a:gd name="T3" fmla="*/ 6 h 18"/>
                  <a:gd name="T4" fmla="*/ 0 w 36"/>
                  <a:gd name="T5" fmla="*/ 8 h 18"/>
                  <a:gd name="T6" fmla="*/ 4 w 36"/>
                  <a:gd name="T7" fmla="*/ 12 h 18"/>
                  <a:gd name="T8" fmla="*/ 14 w 36"/>
                  <a:gd name="T9" fmla="*/ 16 h 18"/>
                  <a:gd name="T10" fmla="*/ 26 w 36"/>
                  <a:gd name="T11" fmla="*/ 18 h 18"/>
                  <a:gd name="T12" fmla="*/ 30 w 36"/>
                  <a:gd name="T13" fmla="*/ 14 h 18"/>
                  <a:gd name="T14" fmla="*/ 36 w 36"/>
                  <a:gd name="T15" fmla="*/ 10 h 18"/>
                  <a:gd name="T16" fmla="*/ 30 w 36"/>
                  <a:gd name="T17" fmla="*/ 8 h 18"/>
                  <a:gd name="T18" fmla="*/ 20 w 36"/>
                  <a:gd name="T19" fmla="*/ 2 h 18"/>
                  <a:gd name="T20" fmla="*/ 12 w 36"/>
                  <a:gd name="T21" fmla="*/ 4 h 18"/>
                  <a:gd name="T22" fmla="*/ 4 w 36"/>
                  <a:gd name="T2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18">
                    <a:moveTo>
                      <a:pt x="4" y="0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4" y="12"/>
                    </a:lnTo>
                    <a:lnTo>
                      <a:pt x="14" y="16"/>
                    </a:lnTo>
                    <a:lnTo>
                      <a:pt x="26" y="18"/>
                    </a:lnTo>
                    <a:lnTo>
                      <a:pt x="30" y="14"/>
                    </a:lnTo>
                    <a:lnTo>
                      <a:pt x="36" y="10"/>
                    </a:lnTo>
                    <a:lnTo>
                      <a:pt x="30" y="8"/>
                    </a:lnTo>
                    <a:lnTo>
                      <a:pt x="20" y="2"/>
                    </a:lnTo>
                    <a:lnTo>
                      <a:pt x="12" y="4"/>
                    </a:lnTo>
                    <a:lnTo>
                      <a:pt x="4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7" name="Freeform 6187">
                <a:extLst>
                  <a:ext uri="{FF2B5EF4-FFF2-40B4-BE49-F238E27FC236}">
                    <a16:creationId xmlns:a16="http://schemas.microsoft.com/office/drawing/2014/main" id="{BE8DC6D0-6EC4-423F-9535-7C5C148ADA58}"/>
                  </a:ext>
                </a:extLst>
              </p:cNvPr>
              <p:cNvSpPr/>
              <p:nvPr/>
            </p:nvSpPr>
            <p:spPr bwMode="auto">
              <a:xfrm>
                <a:off x="27144917" y="19773455"/>
                <a:ext cx="509869" cy="1038798"/>
              </a:xfrm>
              <a:custGeom>
                <a:avLst/>
                <a:gdLst>
                  <a:gd name="T0" fmla="*/ 82 w 214"/>
                  <a:gd name="T1" fmla="*/ 20 h 436"/>
                  <a:gd name="T2" fmla="*/ 88 w 214"/>
                  <a:gd name="T3" fmla="*/ 8 h 436"/>
                  <a:gd name="T4" fmla="*/ 84 w 214"/>
                  <a:gd name="T5" fmla="*/ 0 h 436"/>
                  <a:gd name="T6" fmla="*/ 62 w 214"/>
                  <a:gd name="T7" fmla="*/ 6 h 436"/>
                  <a:gd name="T8" fmla="*/ 46 w 214"/>
                  <a:gd name="T9" fmla="*/ 16 h 436"/>
                  <a:gd name="T10" fmla="*/ 42 w 214"/>
                  <a:gd name="T11" fmla="*/ 38 h 436"/>
                  <a:gd name="T12" fmla="*/ 44 w 214"/>
                  <a:gd name="T13" fmla="*/ 50 h 436"/>
                  <a:gd name="T14" fmla="*/ 54 w 214"/>
                  <a:gd name="T15" fmla="*/ 92 h 436"/>
                  <a:gd name="T16" fmla="*/ 52 w 214"/>
                  <a:gd name="T17" fmla="*/ 120 h 436"/>
                  <a:gd name="T18" fmla="*/ 40 w 214"/>
                  <a:gd name="T19" fmla="*/ 162 h 436"/>
                  <a:gd name="T20" fmla="*/ 42 w 214"/>
                  <a:gd name="T21" fmla="*/ 174 h 436"/>
                  <a:gd name="T22" fmla="*/ 16 w 214"/>
                  <a:gd name="T23" fmla="*/ 234 h 436"/>
                  <a:gd name="T24" fmla="*/ 8 w 214"/>
                  <a:gd name="T25" fmla="*/ 246 h 436"/>
                  <a:gd name="T26" fmla="*/ 4 w 214"/>
                  <a:gd name="T27" fmla="*/ 274 h 436"/>
                  <a:gd name="T28" fmla="*/ 0 w 214"/>
                  <a:gd name="T29" fmla="*/ 292 h 436"/>
                  <a:gd name="T30" fmla="*/ 16 w 214"/>
                  <a:gd name="T31" fmla="*/ 294 h 436"/>
                  <a:gd name="T32" fmla="*/ 34 w 214"/>
                  <a:gd name="T33" fmla="*/ 268 h 436"/>
                  <a:gd name="T34" fmla="*/ 36 w 214"/>
                  <a:gd name="T35" fmla="*/ 270 h 436"/>
                  <a:gd name="T36" fmla="*/ 30 w 214"/>
                  <a:gd name="T37" fmla="*/ 292 h 436"/>
                  <a:gd name="T38" fmla="*/ 16 w 214"/>
                  <a:gd name="T39" fmla="*/ 298 h 436"/>
                  <a:gd name="T40" fmla="*/ 20 w 214"/>
                  <a:gd name="T41" fmla="*/ 318 h 436"/>
                  <a:gd name="T42" fmla="*/ 42 w 214"/>
                  <a:gd name="T43" fmla="*/ 312 h 436"/>
                  <a:gd name="T44" fmla="*/ 54 w 214"/>
                  <a:gd name="T45" fmla="*/ 318 h 436"/>
                  <a:gd name="T46" fmla="*/ 46 w 214"/>
                  <a:gd name="T47" fmla="*/ 338 h 436"/>
                  <a:gd name="T48" fmla="*/ 46 w 214"/>
                  <a:gd name="T49" fmla="*/ 376 h 436"/>
                  <a:gd name="T50" fmla="*/ 36 w 214"/>
                  <a:gd name="T51" fmla="*/ 422 h 436"/>
                  <a:gd name="T52" fmla="*/ 42 w 214"/>
                  <a:gd name="T53" fmla="*/ 430 h 436"/>
                  <a:gd name="T54" fmla="*/ 66 w 214"/>
                  <a:gd name="T55" fmla="*/ 428 h 436"/>
                  <a:gd name="T56" fmla="*/ 108 w 214"/>
                  <a:gd name="T57" fmla="*/ 436 h 436"/>
                  <a:gd name="T58" fmla="*/ 132 w 214"/>
                  <a:gd name="T59" fmla="*/ 402 h 436"/>
                  <a:gd name="T60" fmla="*/ 134 w 214"/>
                  <a:gd name="T61" fmla="*/ 376 h 436"/>
                  <a:gd name="T62" fmla="*/ 152 w 214"/>
                  <a:gd name="T63" fmla="*/ 354 h 436"/>
                  <a:gd name="T64" fmla="*/ 164 w 214"/>
                  <a:gd name="T65" fmla="*/ 344 h 436"/>
                  <a:gd name="T66" fmla="*/ 156 w 214"/>
                  <a:gd name="T67" fmla="*/ 338 h 436"/>
                  <a:gd name="T68" fmla="*/ 144 w 214"/>
                  <a:gd name="T69" fmla="*/ 306 h 436"/>
                  <a:gd name="T70" fmla="*/ 148 w 214"/>
                  <a:gd name="T71" fmla="*/ 290 h 436"/>
                  <a:gd name="T72" fmla="*/ 162 w 214"/>
                  <a:gd name="T73" fmla="*/ 272 h 436"/>
                  <a:gd name="T74" fmla="*/ 152 w 214"/>
                  <a:gd name="T75" fmla="*/ 258 h 436"/>
                  <a:gd name="T76" fmla="*/ 140 w 214"/>
                  <a:gd name="T77" fmla="*/ 230 h 436"/>
                  <a:gd name="T78" fmla="*/ 128 w 214"/>
                  <a:gd name="T79" fmla="*/ 214 h 436"/>
                  <a:gd name="T80" fmla="*/ 160 w 214"/>
                  <a:gd name="T81" fmla="*/ 210 h 436"/>
                  <a:gd name="T82" fmla="*/ 170 w 214"/>
                  <a:gd name="T83" fmla="*/ 190 h 436"/>
                  <a:gd name="T84" fmla="*/ 162 w 214"/>
                  <a:gd name="T85" fmla="*/ 172 h 436"/>
                  <a:gd name="T86" fmla="*/ 166 w 214"/>
                  <a:gd name="T87" fmla="*/ 164 h 436"/>
                  <a:gd name="T88" fmla="*/ 176 w 214"/>
                  <a:gd name="T89" fmla="*/ 152 h 436"/>
                  <a:gd name="T90" fmla="*/ 174 w 214"/>
                  <a:gd name="T91" fmla="*/ 144 h 436"/>
                  <a:gd name="T92" fmla="*/ 174 w 214"/>
                  <a:gd name="T93" fmla="*/ 118 h 436"/>
                  <a:gd name="T94" fmla="*/ 168 w 214"/>
                  <a:gd name="T95" fmla="*/ 96 h 436"/>
                  <a:gd name="T96" fmla="*/ 184 w 214"/>
                  <a:gd name="T97" fmla="*/ 80 h 436"/>
                  <a:gd name="T98" fmla="*/ 210 w 214"/>
                  <a:gd name="T99" fmla="*/ 58 h 436"/>
                  <a:gd name="T100" fmla="*/ 214 w 214"/>
                  <a:gd name="T101" fmla="*/ 50 h 436"/>
                  <a:gd name="T102" fmla="*/ 204 w 214"/>
                  <a:gd name="T103" fmla="*/ 40 h 436"/>
                  <a:gd name="T104" fmla="*/ 192 w 214"/>
                  <a:gd name="T105" fmla="*/ 38 h 436"/>
                  <a:gd name="T106" fmla="*/ 192 w 214"/>
                  <a:gd name="T107" fmla="*/ 18 h 436"/>
                  <a:gd name="T108" fmla="*/ 178 w 214"/>
                  <a:gd name="T109" fmla="*/ 14 h 436"/>
                  <a:gd name="T110" fmla="*/ 162 w 214"/>
                  <a:gd name="T111" fmla="*/ 16 h 436"/>
                  <a:gd name="T112" fmla="*/ 152 w 214"/>
                  <a:gd name="T113" fmla="*/ 14 h 436"/>
                  <a:gd name="T114" fmla="*/ 150 w 214"/>
                  <a:gd name="T115" fmla="*/ 20 h 436"/>
                  <a:gd name="T116" fmla="*/ 130 w 214"/>
                  <a:gd name="T117" fmla="*/ 26 h 436"/>
                  <a:gd name="T118" fmla="*/ 118 w 214"/>
                  <a:gd name="T119" fmla="*/ 22 h 436"/>
                  <a:gd name="T120" fmla="*/ 98 w 214"/>
                  <a:gd name="T121" fmla="*/ 24 h 436"/>
                  <a:gd name="T122" fmla="*/ 86 w 214"/>
                  <a:gd name="T123" fmla="*/ 26 h 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14" h="436">
                    <a:moveTo>
                      <a:pt x="86" y="26"/>
                    </a:moveTo>
                    <a:lnTo>
                      <a:pt x="86" y="26"/>
                    </a:lnTo>
                    <a:lnTo>
                      <a:pt x="82" y="20"/>
                    </a:lnTo>
                    <a:lnTo>
                      <a:pt x="84" y="18"/>
                    </a:lnTo>
                    <a:lnTo>
                      <a:pt x="90" y="10"/>
                    </a:lnTo>
                    <a:lnTo>
                      <a:pt x="88" y="8"/>
                    </a:lnTo>
                    <a:lnTo>
                      <a:pt x="86" y="6"/>
                    </a:lnTo>
                    <a:lnTo>
                      <a:pt x="84" y="2"/>
                    </a:lnTo>
                    <a:lnTo>
                      <a:pt x="84" y="0"/>
                    </a:lnTo>
                    <a:lnTo>
                      <a:pt x="80" y="0"/>
                    </a:lnTo>
                    <a:lnTo>
                      <a:pt x="76" y="0"/>
                    </a:lnTo>
                    <a:lnTo>
                      <a:pt x="62" y="6"/>
                    </a:lnTo>
                    <a:lnTo>
                      <a:pt x="60" y="6"/>
                    </a:lnTo>
                    <a:lnTo>
                      <a:pt x="52" y="10"/>
                    </a:lnTo>
                    <a:lnTo>
                      <a:pt x="46" y="16"/>
                    </a:lnTo>
                    <a:lnTo>
                      <a:pt x="40" y="26"/>
                    </a:lnTo>
                    <a:lnTo>
                      <a:pt x="40" y="32"/>
                    </a:lnTo>
                    <a:lnTo>
                      <a:pt x="42" y="38"/>
                    </a:lnTo>
                    <a:lnTo>
                      <a:pt x="48" y="38"/>
                    </a:lnTo>
                    <a:lnTo>
                      <a:pt x="44" y="42"/>
                    </a:lnTo>
                    <a:lnTo>
                      <a:pt x="44" y="50"/>
                    </a:lnTo>
                    <a:lnTo>
                      <a:pt x="50" y="74"/>
                    </a:lnTo>
                    <a:lnTo>
                      <a:pt x="54" y="86"/>
                    </a:lnTo>
                    <a:lnTo>
                      <a:pt x="54" y="92"/>
                    </a:lnTo>
                    <a:lnTo>
                      <a:pt x="54" y="96"/>
                    </a:lnTo>
                    <a:lnTo>
                      <a:pt x="54" y="106"/>
                    </a:lnTo>
                    <a:lnTo>
                      <a:pt x="52" y="120"/>
                    </a:lnTo>
                    <a:lnTo>
                      <a:pt x="50" y="128"/>
                    </a:lnTo>
                    <a:lnTo>
                      <a:pt x="48" y="132"/>
                    </a:lnTo>
                    <a:lnTo>
                      <a:pt x="40" y="162"/>
                    </a:lnTo>
                    <a:lnTo>
                      <a:pt x="40" y="170"/>
                    </a:lnTo>
                    <a:lnTo>
                      <a:pt x="42" y="172"/>
                    </a:lnTo>
                    <a:lnTo>
                      <a:pt x="42" y="174"/>
                    </a:lnTo>
                    <a:lnTo>
                      <a:pt x="32" y="200"/>
                    </a:lnTo>
                    <a:lnTo>
                      <a:pt x="22" y="224"/>
                    </a:lnTo>
                    <a:lnTo>
                      <a:pt x="16" y="234"/>
                    </a:lnTo>
                    <a:lnTo>
                      <a:pt x="12" y="236"/>
                    </a:lnTo>
                    <a:lnTo>
                      <a:pt x="8" y="242"/>
                    </a:lnTo>
                    <a:lnTo>
                      <a:pt x="8" y="246"/>
                    </a:lnTo>
                    <a:lnTo>
                      <a:pt x="8" y="248"/>
                    </a:lnTo>
                    <a:lnTo>
                      <a:pt x="4" y="260"/>
                    </a:lnTo>
                    <a:lnTo>
                      <a:pt x="4" y="274"/>
                    </a:lnTo>
                    <a:lnTo>
                      <a:pt x="0" y="282"/>
                    </a:lnTo>
                    <a:lnTo>
                      <a:pt x="0" y="286"/>
                    </a:lnTo>
                    <a:lnTo>
                      <a:pt x="0" y="292"/>
                    </a:lnTo>
                    <a:lnTo>
                      <a:pt x="6" y="294"/>
                    </a:lnTo>
                    <a:lnTo>
                      <a:pt x="8" y="296"/>
                    </a:lnTo>
                    <a:lnTo>
                      <a:pt x="16" y="294"/>
                    </a:lnTo>
                    <a:lnTo>
                      <a:pt x="24" y="292"/>
                    </a:lnTo>
                    <a:lnTo>
                      <a:pt x="26" y="284"/>
                    </a:lnTo>
                    <a:lnTo>
                      <a:pt x="34" y="268"/>
                    </a:lnTo>
                    <a:lnTo>
                      <a:pt x="40" y="264"/>
                    </a:lnTo>
                    <a:lnTo>
                      <a:pt x="46" y="264"/>
                    </a:lnTo>
                    <a:lnTo>
                      <a:pt x="36" y="270"/>
                    </a:lnTo>
                    <a:lnTo>
                      <a:pt x="32" y="278"/>
                    </a:lnTo>
                    <a:lnTo>
                      <a:pt x="34" y="286"/>
                    </a:lnTo>
                    <a:lnTo>
                      <a:pt x="30" y="292"/>
                    </a:lnTo>
                    <a:lnTo>
                      <a:pt x="26" y="296"/>
                    </a:lnTo>
                    <a:lnTo>
                      <a:pt x="20" y="296"/>
                    </a:lnTo>
                    <a:lnTo>
                      <a:pt x="16" y="298"/>
                    </a:lnTo>
                    <a:lnTo>
                      <a:pt x="18" y="308"/>
                    </a:lnTo>
                    <a:lnTo>
                      <a:pt x="18" y="316"/>
                    </a:lnTo>
                    <a:lnTo>
                      <a:pt x="20" y="318"/>
                    </a:lnTo>
                    <a:lnTo>
                      <a:pt x="26" y="316"/>
                    </a:lnTo>
                    <a:lnTo>
                      <a:pt x="38" y="310"/>
                    </a:lnTo>
                    <a:lnTo>
                      <a:pt x="42" y="312"/>
                    </a:lnTo>
                    <a:lnTo>
                      <a:pt x="46" y="310"/>
                    </a:lnTo>
                    <a:lnTo>
                      <a:pt x="50" y="314"/>
                    </a:lnTo>
                    <a:lnTo>
                      <a:pt x="54" y="318"/>
                    </a:lnTo>
                    <a:lnTo>
                      <a:pt x="40" y="316"/>
                    </a:lnTo>
                    <a:lnTo>
                      <a:pt x="44" y="328"/>
                    </a:lnTo>
                    <a:lnTo>
                      <a:pt x="46" y="338"/>
                    </a:lnTo>
                    <a:lnTo>
                      <a:pt x="40" y="358"/>
                    </a:lnTo>
                    <a:lnTo>
                      <a:pt x="44" y="364"/>
                    </a:lnTo>
                    <a:lnTo>
                      <a:pt x="46" y="376"/>
                    </a:lnTo>
                    <a:lnTo>
                      <a:pt x="44" y="388"/>
                    </a:lnTo>
                    <a:lnTo>
                      <a:pt x="44" y="400"/>
                    </a:lnTo>
                    <a:lnTo>
                      <a:pt x="36" y="422"/>
                    </a:lnTo>
                    <a:lnTo>
                      <a:pt x="32" y="434"/>
                    </a:lnTo>
                    <a:lnTo>
                      <a:pt x="36" y="434"/>
                    </a:lnTo>
                    <a:lnTo>
                      <a:pt x="42" y="430"/>
                    </a:lnTo>
                    <a:lnTo>
                      <a:pt x="50" y="430"/>
                    </a:lnTo>
                    <a:lnTo>
                      <a:pt x="58" y="426"/>
                    </a:lnTo>
                    <a:lnTo>
                      <a:pt x="66" y="428"/>
                    </a:lnTo>
                    <a:lnTo>
                      <a:pt x="88" y="430"/>
                    </a:lnTo>
                    <a:lnTo>
                      <a:pt x="102" y="436"/>
                    </a:lnTo>
                    <a:lnTo>
                      <a:pt x="108" y="436"/>
                    </a:lnTo>
                    <a:lnTo>
                      <a:pt x="130" y="422"/>
                    </a:lnTo>
                    <a:lnTo>
                      <a:pt x="136" y="422"/>
                    </a:lnTo>
                    <a:lnTo>
                      <a:pt x="132" y="402"/>
                    </a:lnTo>
                    <a:lnTo>
                      <a:pt x="130" y="394"/>
                    </a:lnTo>
                    <a:lnTo>
                      <a:pt x="130" y="388"/>
                    </a:lnTo>
                    <a:lnTo>
                      <a:pt x="134" y="376"/>
                    </a:lnTo>
                    <a:lnTo>
                      <a:pt x="138" y="372"/>
                    </a:lnTo>
                    <a:lnTo>
                      <a:pt x="144" y="362"/>
                    </a:lnTo>
                    <a:lnTo>
                      <a:pt x="152" y="354"/>
                    </a:lnTo>
                    <a:lnTo>
                      <a:pt x="158" y="352"/>
                    </a:lnTo>
                    <a:lnTo>
                      <a:pt x="162" y="350"/>
                    </a:lnTo>
                    <a:lnTo>
                      <a:pt x="164" y="344"/>
                    </a:lnTo>
                    <a:lnTo>
                      <a:pt x="166" y="338"/>
                    </a:lnTo>
                    <a:lnTo>
                      <a:pt x="164" y="338"/>
                    </a:lnTo>
                    <a:lnTo>
                      <a:pt x="156" y="338"/>
                    </a:lnTo>
                    <a:lnTo>
                      <a:pt x="140" y="316"/>
                    </a:lnTo>
                    <a:lnTo>
                      <a:pt x="142" y="312"/>
                    </a:lnTo>
                    <a:lnTo>
                      <a:pt x="144" y="306"/>
                    </a:lnTo>
                    <a:lnTo>
                      <a:pt x="144" y="300"/>
                    </a:lnTo>
                    <a:lnTo>
                      <a:pt x="144" y="294"/>
                    </a:lnTo>
                    <a:lnTo>
                      <a:pt x="148" y="290"/>
                    </a:lnTo>
                    <a:lnTo>
                      <a:pt x="154" y="284"/>
                    </a:lnTo>
                    <a:lnTo>
                      <a:pt x="160" y="278"/>
                    </a:lnTo>
                    <a:lnTo>
                      <a:pt x="162" y="272"/>
                    </a:lnTo>
                    <a:lnTo>
                      <a:pt x="164" y="266"/>
                    </a:lnTo>
                    <a:lnTo>
                      <a:pt x="160" y="260"/>
                    </a:lnTo>
                    <a:lnTo>
                      <a:pt x="152" y="258"/>
                    </a:lnTo>
                    <a:lnTo>
                      <a:pt x="144" y="242"/>
                    </a:lnTo>
                    <a:lnTo>
                      <a:pt x="142" y="230"/>
                    </a:lnTo>
                    <a:lnTo>
                      <a:pt x="140" y="230"/>
                    </a:lnTo>
                    <a:lnTo>
                      <a:pt x="134" y="224"/>
                    </a:lnTo>
                    <a:lnTo>
                      <a:pt x="128" y="216"/>
                    </a:lnTo>
                    <a:lnTo>
                      <a:pt x="128" y="214"/>
                    </a:lnTo>
                    <a:lnTo>
                      <a:pt x="134" y="212"/>
                    </a:lnTo>
                    <a:lnTo>
                      <a:pt x="156" y="212"/>
                    </a:lnTo>
                    <a:lnTo>
                      <a:pt x="160" y="210"/>
                    </a:lnTo>
                    <a:lnTo>
                      <a:pt x="160" y="210"/>
                    </a:lnTo>
                    <a:lnTo>
                      <a:pt x="164" y="202"/>
                    </a:lnTo>
                    <a:lnTo>
                      <a:pt x="170" y="190"/>
                    </a:lnTo>
                    <a:lnTo>
                      <a:pt x="170" y="182"/>
                    </a:lnTo>
                    <a:lnTo>
                      <a:pt x="168" y="180"/>
                    </a:lnTo>
                    <a:lnTo>
                      <a:pt x="162" y="172"/>
                    </a:lnTo>
                    <a:lnTo>
                      <a:pt x="162" y="170"/>
                    </a:lnTo>
                    <a:lnTo>
                      <a:pt x="162" y="166"/>
                    </a:lnTo>
                    <a:lnTo>
                      <a:pt x="166" y="164"/>
                    </a:lnTo>
                    <a:lnTo>
                      <a:pt x="172" y="160"/>
                    </a:lnTo>
                    <a:lnTo>
                      <a:pt x="176" y="156"/>
                    </a:lnTo>
                    <a:lnTo>
                      <a:pt x="176" y="152"/>
                    </a:lnTo>
                    <a:lnTo>
                      <a:pt x="174" y="150"/>
                    </a:lnTo>
                    <a:lnTo>
                      <a:pt x="172" y="146"/>
                    </a:lnTo>
                    <a:lnTo>
                      <a:pt x="174" y="144"/>
                    </a:lnTo>
                    <a:lnTo>
                      <a:pt x="174" y="132"/>
                    </a:lnTo>
                    <a:lnTo>
                      <a:pt x="176" y="128"/>
                    </a:lnTo>
                    <a:lnTo>
                      <a:pt x="174" y="118"/>
                    </a:lnTo>
                    <a:lnTo>
                      <a:pt x="172" y="110"/>
                    </a:lnTo>
                    <a:lnTo>
                      <a:pt x="168" y="98"/>
                    </a:lnTo>
                    <a:lnTo>
                      <a:pt x="168" y="96"/>
                    </a:lnTo>
                    <a:lnTo>
                      <a:pt x="170" y="94"/>
                    </a:lnTo>
                    <a:lnTo>
                      <a:pt x="178" y="90"/>
                    </a:lnTo>
                    <a:lnTo>
                      <a:pt x="184" y="80"/>
                    </a:lnTo>
                    <a:lnTo>
                      <a:pt x="192" y="72"/>
                    </a:lnTo>
                    <a:lnTo>
                      <a:pt x="202" y="66"/>
                    </a:lnTo>
                    <a:lnTo>
                      <a:pt x="210" y="58"/>
                    </a:lnTo>
                    <a:lnTo>
                      <a:pt x="212" y="54"/>
                    </a:lnTo>
                    <a:lnTo>
                      <a:pt x="214" y="52"/>
                    </a:lnTo>
                    <a:lnTo>
                      <a:pt x="214" y="50"/>
                    </a:lnTo>
                    <a:lnTo>
                      <a:pt x="212" y="46"/>
                    </a:lnTo>
                    <a:lnTo>
                      <a:pt x="208" y="42"/>
                    </a:lnTo>
                    <a:lnTo>
                      <a:pt x="204" y="40"/>
                    </a:lnTo>
                    <a:lnTo>
                      <a:pt x="196" y="40"/>
                    </a:lnTo>
                    <a:lnTo>
                      <a:pt x="194" y="40"/>
                    </a:lnTo>
                    <a:lnTo>
                      <a:pt x="192" y="38"/>
                    </a:lnTo>
                    <a:lnTo>
                      <a:pt x="192" y="30"/>
                    </a:lnTo>
                    <a:lnTo>
                      <a:pt x="192" y="22"/>
                    </a:lnTo>
                    <a:lnTo>
                      <a:pt x="192" y="18"/>
                    </a:lnTo>
                    <a:lnTo>
                      <a:pt x="188" y="16"/>
                    </a:lnTo>
                    <a:lnTo>
                      <a:pt x="182" y="16"/>
                    </a:lnTo>
                    <a:lnTo>
                      <a:pt x="178" y="14"/>
                    </a:lnTo>
                    <a:lnTo>
                      <a:pt x="174" y="14"/>
                    </a:lnTo>
                    <a:lnTo>
                      <a:pt x="172" y="16"/>
                    </a:lnTo>
                    <a:lnTo>
                      <a:pt x="162" y="16"/>
                    </a:lnTo>
                    <a:lnTo>
                      <a:pt x="156" y="14"/>
                    </a:lnTo>
                    <a:lnTo>
                      <a:pt x="154" y="12"/>
                    </a:lnTo>
                    <a:lnTo>
                      <a:pt x="152" y="14"/>
                    </a:lnTo>
                    <a:lnTo>
                      <a:pt x="150" y="16"/>
                    </a:lnTo>
                    <a:lnTo>
                      <a:pt x="150" y="18"/>
                    </a:lnTo>
                    <a:lnTo>
                      <a:pt x="150" y="20"/>
                    </a:lnTo>
                    <a:lnTo>
                      <a:pt x="146" y="24"/>
                    </a:lnTo>
                    <a:lnTo>
                      <a:pt x="136" y="26"/>
                    </a:lnTo>
                    <a:lnTo>
                      <a:pt x="130" y="26"/>
                    </a:lnTo>
                    <a:lnTo>
                      <a:pt x="122" y="24"/>
                    </a:lnTo>
                    <a:lnTo>
                      <a:pt x="120" y="22"/>
                    </a:lnTo>
                    <a:lnTo>
                      <a:pt x="118" y="22"/>
                    </a:lnTo>
                    <a:lnTo>
                      <a:pt x="104" y="22"/>
                    </a:lnTo>
                    <a:lnTo>
                      <a:pt x="102" y="22"/>
                    </a:lnTo>
                    <a:lnTo>
                      <a:pt x="98" y="24"/>
                    </a:lnTo>
                    <a:lnTo>
                      <a:pt x="92" y="28"/>
                    </a:lnTo>
                    <a:lnTo>
                      <a:pt x="88" y="28"/>
                    </a:lnTo>
                    <a:lnTo>
                      <a:pt x="86" y="2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338" name="Freeform 286">
              <a:extLst>
                <a:ext uri="{FF2B5EF4-FFF2-40B4-BE49-F238E27FC236}">
                  <a16:creationId xmlns:a16="http://schemas.microsoft.com/office/drawing/2014/main" id="{DAE19B80-F436-4B32-A2CF-566154BF51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15072" y="5906242"/>
              <a:ext cx="212762" cy="227409"/>
            </a:xfrm>
            <a:custGeom>
              <a:avLst/>
              <a:gdLst>
                <a:gd name="connsiteX0" fmla="*/ 414566 w 1315176"/>
                <a:gd name="connsiteY0" fmla="*/ 0 h 1405712"/>
                <a:gd name="connsiteX1" fmla="*/ 486042 w 1315176"/>
                <a:gd name="connsiteY1" fmla="*/ 0 h 1405712"/>
                <a:gd name="connsiteX2" fmla="*/ 557520 w 1315176"/>
                <a:gd name="connsiteY2" fmla="*/ 0 h 1405712"/>
                <a:gd name="connsiteX3" fmla="*/ 614702 w 1315176"/>
                <a:gd name="connsiteY3" fmla="*/ 33356 h 1405712"/>
                <a:gd name="connsiteX4" fmla="*/ 652822 w 1315176"/>
                <a:gd name="connsiteY4" fmla="*/ 57182 h 1405712"/>
                <a:gd name="connsiteX5" fmla="*/ 700474 w 1315176"/>
                <a:gd name="connsiteY5" fmla="*/ 85772 h 1405712"/>
                <a:gd name="connsiteX6" fmla="*/ 705238 w 1315176"/>
                <a:gd name="connsiteY6" fmla="*/ 90538 h 1405712"/>
                <a:gd name="connsiteX7" fmla="*/ 705238 w 1315176"/>
                <a:gd name="connsiteY7" fmla="*/ 119128 h 1405712"/>
                <a:gd name="connsiteX8" fmla="*/ 705238 w 1315176"/>
                <a:gd name="connsiteY8" fmla="*/ 142954 h 1405712"/>
                <a:gd name="connsiteX9" fmla="*/ 705238 w 1315176"/>
                <a:gd name="connsiteY9" fmla="*/ 157250 h 1405712"/>
                <a:gd name="connsiteX10" fmla="*/ 710004 w 1315176"/>
                <a:gd name="connsiteY10" fmla="*/ 166780 h 1405712"/>
                <a:gd name="connsiteX11" fmla="*/ 714768 w 1315176"/>
                <a:gd name="connsiteY11" fmla="*/ 171544 h 1405712"/>
                <a:gd name="connsiteX12" fmla="*/ 719534 w 1315176"/>
                <a:gd name="connsiteY12" fmla="*/ 181074 h 1405712"/>
                <a:gd name="connsiteX13" fmla="*/ 724300 w 1315176"/>
                <a:gd name="connsiteY13" fmla="*/ 185840 h 1405712"/>
                <a:gd name="connsiteX14" fmla="*/ 729064 w 1315176"/>
                <a:gd name="connsiteY14" fmla="*/ 195370 h 1405712"/>
                <a:gd name="connsiteX15" fmla="*/ 729064 w 1315176"/>
                <a:gd name="connsiteY15" fmla="*/ 204900 h 1405712"/>
                <a:gd name="connsiteX16" fmla="*/ 729064 w 1315176"/>
                <a:gd name="connsiteY16" fmla="*/ 214430 h 1405712"/>
                <a:gd name="connsiteX17" fmla="*/ 733830 w 1315176"/>
                <a:gd name="connsiteY17" fmla="*/ 228726 h 1405712"/>
                <a:gd name="connsiteX18" fmla="*/ 743360 w 1315176"/>
                <a:gd name="connsiteY18" fmla="*/ 233492 h 1405712"/>
                <a:gd name="connsiteX19" fmla="*/ 743360 w 1315176"/>
                <a:gd name="connsiteY19" fmla="*/ 243022 h 1405712"/>
                <a:gd name="connsiteX20" fmla="*/ 743360 w 1315176"/>
                <a:gd name="connsiteY20" fmla="*/ 247786 h 1405712"/>
                <a:gd name="connsiteX21" fmla="*/ 743360 w 1315176"/>
                <a:gd name="connsiteY21" fmla="*/ 252552 h 1405712"/>
                <a:gd name="connsiteX22" fmla="*/ 748124 w 1315176"/>
                <a:gd name="connsiteY22" fmla="*/ 257316 h 1405712"/>
                <a:gd name="connsiteX23" fmla="*/ 743360 w 1315176"/>
                <a:gd name="connsiteY23" fmla="*/ 262082 h 1405712"/>
                <a:gd name="connsiteX24" fmla="*/ 743360 w 1315176"/>
                <a:gd name="connsiteY24" fmla="*/ 266848 h 1405712"/>
                <a:gd name="connsiteX25" fmla="*/ 748124 w 1315176"/>
                <a:gd name="connsiteY25" fmla="*/ 271612 h 1405712"/>
                <a:gd name="connsiteX26" fmla="*/ 752890 w 1315176"/>
                <a:gd name="connsiteY26" fmla="*/ 281142 h 1405712"/>
                <a:gd name="connsiteX27" fmla="*/ 757656 w 1315176"/>
                <a:gd name="connsiteY27" fmla="*/ 304968 h 1405712"/>
                <a:gd name="connsiteX28" fmla="*/ 748124 w 1315176"/>
                <a:gd name="connsiteY28" fmla="*/ 319264 h 1405712"/>
                <a:gd name="connsiteX29" fmla="*/ 748124 w 1315176"/>
                <a:gd name="connsiteY29" fmla="*/ 328794 h 1405712"/>
                <a:gd name="connsiteX30" fmla="*/ 743360 w 1315176"/>
                <a:gd name="connsiteY30" fmla="*/ 333558 h 1405712"/>
                <a:gd name="connsiteX31" fmla="*/ 748124 w 1315176"/>
                <a:gd name="connsiteY31" fmla="*/ 343090 h 1405712"/>
                <a:gd name="connsiteX32" fmla="*/ 743360 w 1315176"/>
                <a:gd name="connsiteY32" fmla="*/ 352620 h 1405712"/>
                <a:gd name="connsiteX33" fmla="*/ 738594 w 1315176"/>
                <a:gd name="connsiteY33" fmla="*/ 366914 h 1405712"/>
                <a:gd name="connsiteX34" fmla="*/ 738594 w 1315176"/>
                <a:gd name="connsiteY34" fmla="*/ 376444 h 1405712"/>
                <a:gd name="connsiteX35" fmla="*/ 738594 w 1315176"/>
                <a:gd name="connsiteY35" fmla="*/ 385976 h 1405712"/>
                <a:gd name="connsiteX36" fmla="*/ 738594 w 1315176"/>
                <a:gd name="connsiteY36" fmla="*/ 390740 h 1405712"/>
                <a:gd name="connsiteX37" fmla="*/ 743360 w 1315176"/>
                <a:gd name="connsiteY37" fmla="*/ 400270 h 1405712"/>
                <a:gd name="connsiteX38" fmla="*/ 738594 w 1315176"/>
                <a:gd name="connsiteY38" fmla="*/ 409800 h 1405712"/>
                <a:gd name="connsiteX39" fmla="*/ 738594 w 1315176"/>
                <a:gd name="connsiteY39" fmla="*/ 419332 h 1405712"/>
                <a:gd name="connsiteX40" fmla="*/ 733830 w 1315176"/>
                <a:gd name="connsiteY40" fmla="*/ 424096 h 1405712"/>
                <a:gd name="connsiteX41" fmla="*/ 738594 w 1315176"/>
                <a:gd name="connsiteY41" fmla="*/ 438392 h 1405712"/>
                <a:gd name="connsiteX42" fmla="*/ 733830 w 1315176"/>
                <a:gd name="connsiteY42" fmla="*/ 447922 h 1405712"/>
                <a:gd name="connsiteX43" fmla="*/ 733830 w 1315176"/>
                <a:gd name="connsiteY43" fmla="*/ 452686 h 1405712"/>
                <a:gd name="connsiteX44" fmla="*/ 729064 w 1315176"/>
                <a:gd name="connsiteY44" fmla="*/ 457452 h 1405712"/>
                <a:gd name="connsiteX45" fmla="*/ 733830 w 1315176"/>
                <a:gd name="connsiteY45" fmla="*/ 471748 h 1405712"/>
                <a:gd name="connsiteX46" fmla="*/ 748124 w 1315176"/>
                <a:gd name="connsiteY46" fmla="*/ 476512 h 1405712"/>
                <a:gd name="connsiteX47" fmla="*/ 757656 w 1315176"/>
                <a:gd name="connsiteY47" fmla="*/ 476512 h 1405712"/>
                <a:gd name="connsiteX48" fmla="*/ 767186 w 1315176"/>
                <a:gd name="connsiteY48" fmla="*/ 471748 h 1405712"/>
                <a:gd name="connsiteX49" fmla="*/ 771950 w 1315176"/>
                <a:gd name="connsiteY49" fmla="*/ 466982 h 1405712"/>
                <a:gd name="connsiteX50" fmla="*/ 786246 w 1315176"/>
                <a:gd name="connsiteY50" fmla="*/ 471748 h 1405712"/>
                <a:gd name="connsiteX51" fmla="*/ 795776 w 1315176"/>
                <a:gd name="connsiteY51" fmla="*/ 481278 h 1405712"/>
                <a:gd name="connsiteX52" fmla="*/ 810072 w 1315176"/>
                <a:gd name="connsiteY52" fmla="*/ 481278 h 1405712"/>
                <a:gd name="connsiteX53" fmla="*/ 824366 w 1315176"/>
                <a:gd name="connsiteY53" fmla="*/ 486042 h 1405712"/>
                <a:gd name="connsiteX54" fmla="*/ 833898 w 1315176"/>
                <a:gd name="connsiteY54" fmla="*/ 486042 h 1405712"/>
                <a:gd name="connsiteX55" fmla="*/ 848192 w 1315176"/>
                <a:gd name="connsiteY55" fmla="*/ 486042 h 1405712"/>
                <a:gd name="connsiteX56" fmla="*/ 862488 w 1315176"/>
                <a:gd name="connsiteY56" fmla="*/ 486042 h 1405712"/>
                <a:gd name="connsiteX57" fmla="*/ 881548 w 1315176"/>
                <a:gd name="connsiteY57" fmla="*/ 490808 h 1405712"/>
                <a:gd name="connsiteX58" fmla="*/ 895844 w 1315176"/>
                <a:gd name="connsiteY58" fmla="*/ 495574 h 1405712"/>
                <a:gd name="connsiteX59" fmla="*/ 910140 w 1315176"/>
                <a:gd name="connsiteY59" fmla="*/ 495574 h 1405712"/>
                <a:gd name="connsiteX60" fmla="*/ 919670 w 1315176"/>
                <a:gd name="connsiteY60" fmla="*/ 495574 h 1405712"/>
                <a:gd name="connsiteX61" fmla="*/ 929200 w 1315176"/>
                <a:gd name="connsiteY61" fmla="*/ 490808 h 1405712"/>
                <a:gd name="connsiteX62" fmla="*/ 943496 w 1315176"/>
                <a:gd name="connsiteY62" fmla="*/ 490808 h 1405712"/>
                <a:gd name="connsiteX63" fmla="*/ 948260 w 1315176"/>
                <a:gd name="connsiteY63" fmla="*/ 481278 h 1405712"/>
                <a:gd name="connsiteX64" fmla="*/ 953026 w 1315176"/>
                <a:gd name="connsiteY64" fmla="*/ 476512 h 1405712"/>
                <a:gd name="connsiteX65" fmla="*/ 957790 w 1315176"/>
                <a:gd name="connsiteY65" fmla="*/ 466982 h 1405712"/>
                <a:gd name="connsiteX66" fmla="*/ 972086 w 1315176"/>
                <a:gd name="connsiteY66" fmla="*/ 462218 h 1405712"/>
                <a:gd name="connsiteX67" fmla="*/ 981616 w 1315176"/>
                <a:gd name="connsiteY67" fmla="*/ 466982 h 1405712"/>
                <a:gd name="connsiteX68" fmla="*/ 986382 w 1315176"/>
                <a:gd name="connsiteY68" fmla="*/ 481278 h 1405712"/>
                <a:gd name="connsiteX69" fmla="*/ 995912 w 1315176"/>
                <a:gd name="connsiteY69" fmla="*/ 490808 h 1405712"/>
                <a:gd name="connsiteX70" fmla="*/ 1000676 w 1315176"/>
                <a:gd name="connsiteY70" fmla="*/ 495574 h 1405712"/>
                <a:gd name="connsiteX71" fmla="*/ 1010206 w 1315176"/>
                <a:gd name="connsiteY71" fmla="*/ 500338 h 1405712"/>
                <a:gd name="connsiteX72" fmla="*/ 1029268 w 1315176"/>
                <a:gd name="connsiteY72" fmla="*/ 500338 h 1405712"/>
                <a:gd name="connsiteX73" fmla="*/ 1043562 w 1315176"/>
                <a:gd name="connsiteY73" fmla="*/ 500338 h 1405712"/>
                <a:gd name="connsiteX74" fmla="*/ 1057858 w 1315176"/>
                <a:gd name="connsiteY74" fmla="*/ 505104 h 1405712"/>
                <a:gd name="connsiteX75" fmla="*/ 1062624 w 1315176"/>
                <a:gd name="connsiteY75" fmla="*/ 505104 h 1405712"/>
                <a:gd name="connsiteX76" fmla="*/ 1072154 w 1315176"/>
                <a:gd name="connsiteY76" fmla="*/ 509868 h 1405712"/>
                <a:gd name="connsiteX77" fmla="*/ 1081684 w 1315176"/>
                <a:gd name="connsiteY77" fmla="*/ 519398 h 1405712"/>
                <a:gd name="connsiteX78" fmla="*/ 1081684 w 1315176"/>
                <a:gd name="connsiteY78" fmla="*/ 538460 h 1405712"/>
                <a:gd name="connsiteX79" fmla="*/ 1086448 w 1315176"/>
                <a:gd name="connsiteY79" fmla="*/ 552754 h 1405712"/>
                <a:gd name="connsiteX80" fmla="*/ 1095980 w 1315176"/>
                <a:gd name="connsiteY80" fmla="*/ 557520 h 1405712"/>
                <a:gd name="connsiteX81" fmla="*/ 1100744 w 1315176"/>
                <a:gd name="connsiteY81" fmla="*/ 567050 h 1405712"/>
                <a:gd name="connsiteX82" fmla="*/ 1100744 w 1315176"/>
                <a:gd name="connsiteY82" fmla="*/ 576580 h 1405712"/>
                <a:gd name="connsiteX83" fmla="*/ 1095980 w 1315176"/>
                <a:gd name="connsiteY83" fmla="*/ 590876 h 1405712"/>
                <a:gd name="connsiteX84" fmla="*/ 1095980 w 1315176"/>
                <a:gd name="connsiteY84" fmla="*/ 600406 h 1405712"/>
                <a:gd name="connsiteX85" fmla="*/ 1100744 w 1315176"/>
                <a:gd name="connsiteY85" fmla="*/ 614702 h 1405712"/>
                <a:gd name="connsiteX86" fmla="*/ 1100744 w 1315176"/>
                <a:gd name="connsiteY86" fmla="*/ 624232 h 1405712"/>
                <a:gd name="connsiteX87" fmla="*/ 1105510 w 1315176"/>
                <a:gd name="connsiteY87" fmla="*/ 638526 h 1405712"/>
                <a:gd name="connsiteX88" fmla="*/ 1110274 w 1315176"/>
                <a:gd name="connsiteY88" fmla="*/ 648058 h 1405712"/>
                <a:gd name="connsiteX89" fmla="*/ 1110274 w 1315176"/>
                <a:gd name="connsiteY89" fmla="*/ 662352 h 1405712"/>
                <a:gd name="connsiteX90" fmla="*/ 1110274 w 1315176"/>
                <a:gd name="connsiteY90" fmla="*/ 676648 h 1405712"/>
                <a:gd name="connsiteX91" fmla="*/ 1115040 w 1315176"/>
                <a:gd name="connsiteY91" fmla="*/ 681412 h 1405712"/>
                <a:gd name="connsiteX92" fmla="*/ 1115040 w 1315176"/>
                <a:gd name="connsiteY92" fmla="*/ 690944 h 1405712"/>
                <a:gd name="connsiteX93" fmla="*/ 1115040 w 1315176"/>
                <a:gd name="connsiteY93" fmla="*/ 700474 h 1405712"/>
                <a:gd name="connsiteX94" fmla="*/ 1110274 w 1315176"/>
                <a:gd name="connsiteY94" fmla="*/ 710004 h 1405712"/>
                <a:gd name="connsiteX95" fmla="*/ 1110274 w 1315176"/>
                <a:gd name="connsiteY95" fmla="*/ 719534 h 1405712"/>
                <a:gd name="connsiteX96" fmla="*/ 1115040 w 1315176"/>
                <a:gd name="connsiteY96" fmla="*/ 729064 h 1405712"/>
                <a:gd name="connsiteX97" fmla="*/ 1124570 w 1315176"/>
                <a:gd name="connsiteY97" fmla="*/ 738594 h 1405712"/>
                <a:gd name="connsiteX98" fmla="*/ 1129336 w 1315176"/>
                <a:gd name="connsiteY98" fmla="*/ 757654 h 1405712"/>
                <a:gd name="connsiteX99" fmla="*/ 1129336 w 1315176"/>
                <a:gd name="connsiteY99" fmla="*/ 767186 h 1405712"/>
                <a:gd name="connsiteX100" fmla="*/ 1134100 w 1315176"/>
                <a:gd name="connsiteY100" fmla="*/ 781480 h 1405712"/>
                <a:gd name="connsiteX101" fmla="*/ 1138866 w 1315176"/>
                <a:gd name="connsiteY101" fmla="*/ 791010 h 1405712"/>
                <a:gd name="connsiteX102" fmla="*/ 1153160 w 1315176"/>
                <a:gd name="connsiteY102" fmla="*/ 791010 h 1405712"/>
                <a:gd name="connsiteX103" fmla="*/ 1167456 w 1315176"/>
                <a:gd name="connsiteY103" fmla="*/ 795776 h 1405712"/>
                <a:gd name="connsiteX104" fmla="*/ 1186516 w 1315176"/>
                <a:gd name="connsiteY104" fmla="*/ 791010 h 1405712"/>
                <a:gd name="connsiteX105" fmla="*/ 1200812 w 1315176"/>
                <a:gd name="connsiteY105" fmla="*/ 786246 h 1405712"/>
                <a:gd name="connsiteX106" fmla="*/ 1210342 w 1315176"/>
                <a:gd name="connsiteY106" fmla="*/ 781480 h 1405712"/>
                <a:gd name="connsiteX107" fmla="*/ 1224638 w 1315176"/>
                <a:gd name="connsiteY107" fmla="*/ 771950 h 1405712"/>
                <a:gd name="connsiteX108" fmla="*/ 1238932 w 1315176"/>
                <a:gd name="connsiteY108" fmla="*/ 767186 h 1405712"/>
                <a:gd name="connsiteX109" fmla="*/ 1248464 w 1315176"/>
                <a:gd name="connsiteY109" fmla="*/ 762420 h 1405712"/>
                <a:gd name="connsiteX110" fmla="*/ 1257994 w 1315176"/>
                <a:gd name="connsiteY110" fmla="*/ 757654 h 1405712"/>
                <a:gd name="connsiteX111" fmla="*/ 1272288 w 1315176"/>
                <a:gd name="connsiteY111" fmla="*/ 767186 h 1405712"/>
                <a:gd name="connsiteX112" fmla="*/ 1286584 w 1315176"/>
                <a:gd name="connsiteY112" fmla="*/ 771950 h 1405712"/>
                <a:gd name="connsiteX113" fmla="*/ 1296114 w 1315176"/>
                <a:gd name="connsiteY113" fmla="*/ 786246 h 1405712"/>
                <a:gd name="connsiteX114" fmla="*/ 1315176 w 1315176"/>
                <a:gd name="connsiteY114" fmla="*/ 800542 h 1405712"/>
                <a:gd name="connsiteX115" fmla="*/ 1310410 w 1315176"/>
                <a:gd name="connsiteY115" fmla="*/ 800542 h 1405712"/>
                <a:gd name="connsiteX116" fmla="*/ 1305644 w 1315176"/>
                <a:gd name="connsiteY116" fmla="*/ 814836 h 1405712"/>
                <a:gd name="connsiteX117" fmla="*/ 1305644 w 1315176"/>
                <a:gd name="connsiteY117" fmla="*/ 824366 h 1405712"/>
                <a:gd name="connsiteX118" fmla="*/ 1310410 w 1315176"/>
                <a:gd name="connsiteY118" fmla="*/ 843428 h 1405712"/>
                <a:gd name="connsiteX119" fmla="*/ 1305644 w 1315176"/>
                <a:gd name="connsiteY119" fmla="*/ 881548 h 1405712"/>
                <a:gd name="connsiteX120" fmla="*/ 1291350 w 1315176"/>
                <a:gd name="connsiteY120" fmla="*/ 938730 h 1405712"/>
                <a:gd name="connsiteX121" fmla="*/ 1281820 w 1315176"/>
                <a:gd name="connsiteY121" fmla="*/ 972086 h 1405712"/>
                <a:gd name="connsiteX122" fmla="*/ 1286584 w 1315176"/>
                <a:gd name="connsiteY122" fmla="*/ 981616 h 1405712"/>
                <a:gd name="connsiteX123" fmla="*/ 1277054 w 1315176"/>
                <a:gd name="connsiteY123" fmla="*/ 1000676 h 1405712"/>
                <a:gd name="connsiteX124" fmla="*/ 1257994 w 1315176"/>
                <a:gd name="connsiteY124" fmla="*/ 1038798 h 1405712"/>
                <a:gd name="connsiteX125" fmla="*/ 1257994 w 1315176"/>
                <a:gd name="connsiteY125" fmla="*/ 1062622 h 1405712"/>
                <a:gd name="connsiteX126" fmla="*/ 1253228 w 1315176"/>
                <a:gd name="connsiteY126" fmla="*/ 1138866 h 1405712"/>
                <a:gd name="connsiteX127" fmla="*/ 1248464 w 1315176"/>
                <a:gd name="connsiteY127" fmla="*/ 1191282 h 1405712"/>
                <a:gd name="connsiteX128" fmla="*/ 1234168 w 1315176"/>
                <a:gd name="connsiteY128" fmla="*/ 1229402 h 1405712"/>
                <a:gd name="connsiteX129" fmla="*/ 1224638 w 1315176"/>
                <a:gd name="connsiteY129" fmla="*/ 1248462 h 1405712"/>
                <a:gd name="connsiteX130" fmla="*/ 1215108 w 1315176"/>
                <a:gd name="connsiteY130" fmla="*/ 1253228 h 1405712"/>
                <a:gd name="connsiteX131" fmla="*/ 1205578 w 1315176"/>
                <a:gd name="connsiteY131" fmla="*/ 1257994 h 1405712"/>
                <a:gd name="connsiteX132" fmla="*/ 1200812 w 1315176"/>
                <a:gd name="connsiteY132" fmla="*/ 1267524 h 1405712"/>
                <a:gd name="connsiteX133" fmla="*/ 1196046 w 1315176"/>
                <a:gd name="connsiteY133" fmla="*/ 1277054 h 1405712"/>
                <a:gd name="connsiteX134" fmla="*/ 1181752 w 1315176"/>
                <a:gd name="connsiteY134" fmla="*/ 1281818 h 1405712"/>
                <a:gd name="connsiteX135" fmla="*/ 1176986 w 1315176"/>
                <a:gd name="connsiteY135" fmla="*/ 1291350 h 1405712"/>
                <a:gd name="connsiteX136" fmla="*/ 1176986 w 1315176"/>
                <a:gd name="connsiteY136" fmla="*/ 1296114 h 1405712"/>
                <a:gd name="connsiteX137" fmla="*/ 1162692 w 1315176"/>
                <a:gd name="connsiteY137" fmla="*/ 1300880 h 1405712"/>
                <a:gd name="connsiteX138" fmla="*/ 1143630 w 1315176"/>
                <a:gd name="connsiteY138" fmla="*/ 1305644 h 1405712"/>
                <a:gd name="connsiteX139" fmla="*/ 1129336 w 1315176"/>
                <a:gd name="connsiteY139" fmla="*/ 1310410 h 1405712"/>
                <a:gd name="connsiteX140" fmla="*/ 1124570 w 1315176"/>
                <a:gd name="connsiteY140" fmla="*/ 1319940 h 1405712"/>
                <a:gd name="connsiteX141" fmla="*/ 1119804 w 1315176"/>
                <a:gd name="connsiteY141" fmla="*/ 1329470 h 1405712"/>
                <a:gd name="connsiteX142" fmla="*/ 1110274 w 1315176"/>
                <a:gd name="connsiteY142" fmla="*/ 1339000 h 1405712"/>
                <a:gd name="connsiteX143" fmla="*/ 1105510 w 1315176"/>
                <a:gd name="connsiteY143" fmla="*/ 1348530 h 1405712"/>
                <a:gd name="connsiteX144" fmla="*/ 1105510 w 1315176"/>
                <a:gd name="connsiteY144" fmla="*/ 1362826 h 1405712"/>
                <a:gd name="connsiteX145" fmla="*/ 1095980 w 1315176"/>
                <a:gd name="connsiteY145" fmla="*/ 1372356 h 1405712"/>
                <a:gd name="connsiteX146" fmla="*/ 1086448 w 1315176"/>
                <a:gd name="connsiteY146" fmla="*/ 1381886 h 1405712"/>
                <a:gd name="connsiteX147" fmla="*/ 1072154 w 1315176"/>
                <a:gd name="connsiteY147" fmla="*/ 1381886 h 1405712"/>
                <a:gd name="connsiteX148" fmla="*/ 1062624 w 1315176"/>
                <a:gd name="connsiteY148" fmla="*/ 1372356 h 1405712"/>
                <a:gd name="connsiteX149" fmla="*/ 1048328 w 1315176"/>
                <a:gd name="connsiteY149" fmla="*/ 1367590 h 1405712"/>
                <a:gd name="connsiteX150" fmla="*/ 1029268 w 1315176"/>
                <a:gd name="connsiteY150" fmla="*/ 1362826 h 1405712"/>
                <a:gd name="connsiteX151" fmla="*/ 1014972 w 1315176"/>
                <a:gd name="connsiteY151" fmla="*/ 1367590 h 1405712"/>
                <a:gd name="connsiteX152" fmla="*/ 1005442 w 1315176"/>
                <a:gd name="connsiteY152" fmla="*/ 1377122 h 1405712"/>
                <a:gd name="connsiteX153" fmla="*/ 991146 w 1315176"/>
                <a:gd name="connsiteY153" fmla="*/ 1386652 h 1405712"/>
                <a:gd name="connsiteX154" fmla="*/ 981616 w 1315176"/>
                <a:gd name="connsiteY154" fmla="*/ 1405712 h 1405712"/>
                <a:gd name="connsiteX155" fmla="*/ 972086 w 1315176"/>
                <a:gd name="connsiteY155" fmla="*/ 1405712 h 1405712"/>
                <a:gd name="connsiteX156" fmla="*/ 962556 w 1315176"/>
                <a:gd name="connsiteY156" fmla="*/ 1396182 h 1405712"/>
                <a:gd name="connsiteX157" fmla="*/ 948260 w 1315176"/>
                <a:gd name="connsiteY157" fmla="*/ 1391416 h 1405712"/>
                <a:gd name="connsiteX158" fmla="*/ 929200 w 1315176"/>
                <a:gd name="connsiteY158" fmla="*/ 1396182 h 1405712"/>
                <a:gd name="connsiteX159" fmla="*/ 914904 w 1315176"/>
                <a:gd name="connsiteY159" fmla="*/ 1396182 h 1405712"/>
                <a:gd name="connsiteX160" fmla="*/ 905374 w 1315176"/>
                <a:gd name="connsiteY160" fmla="*/ 1386652 h 1405712"/>
                <a:gd name="connsiteX161" fmla="*/ 886314 w 1315176"/>
                <a:gd name="connsiteY161" fmla="*/ 1386652 h 1405712"/>
                <a:gd name="connsiteX162" fmla="*/ 867254 w 1315176"/>
                <a:gd name="connsiteY162" fmla="*/ 1391416 h 1405712"/>
                <a:gd name="connsiteX163" fmla="*/ 824366 w 1315176"/>
                <a:gd name="connsiteY163" fmla="*/ 1386652 h 1405712"/>
                <a:gd name="connsiteX164" fmla="*/ 757656 w 1315176"/>
                <a:gd name="connsiteY164" fmla="*/ 1367590 h 1405712"/>
                <a:gd name="connsiteX165" fmla="*/ 700474 w 1315176"/>
                <a:gd name="connsiteY165" fmla="*/ 1358060 h 1405712"/>
                <a:gd name="connsiteX166" fmla="*/ 633762 w 1315176"/>
                <a:gd name="connsiteY166" fmla="*/ 1362826 h 1405712"/>
                <a:gd name="connsiteX167" fmla="*/ 628996 w 1315176"/>
                <a:gd name="connsiteY167" fmla="*/ 1343766 h 1405712"/>
                <a:gd name="connsiteX168" fmla="*/ 633762 w 1315176"/>
                <a:gd name="connsiteY168" fmla="*/ 1334236 h 1405712"/>
                <a:gd name="connsiteX169" fmla="*/ 643292 w 1315176"/>
                <a:gd name="connsiteY169" fmla="*/ 1324704 h 1405712"/>
                <a:gd name="connsiteX170" fmla="*/ 648058 w 1315176"/>
                <a:gd name="connsiteY170" fmla="*/ 1315174 h 1405712"/>
                <a:gd name="connsiteX171" fmla="*/ 652822 w 1315176"/>
                <a:gd name="connsiteY171" fmla="*/ 1305644 h 1405712"/>
                <a:gd name="connsiteX172" fmla="*/ 662352 w 1315176"/>
                <a:gd name="connsiteY172" fmla="*/ 1296114 h 1405712"/>
                <a:gd name="connsiteX173" fmla="*/ 671882 w 1315176"/>
                <a:gd name="connsiteY173" fmla="*/ 1291350 h 1405712"/>
                <a:gd name="connsiteX174" fmla="*/ 676648 w 1315176"/>
                <a:gd name="connsiteY174" fmla="*/ 1286584 h 1405712"/>
                <a:gd name="connsiteX175" fmla="*/ 676648 w 1315176"/>
                <a:gd name="connsiteY175" fmla="*/ 1281818 h 1405712"/>
                <a:gd name="connsiteX176" fmla="*/ 676648 w 1315176"/>
                <a:gd name="connsiteY176" fmla="*/ 1277054 h 1405712"/>
                <a:gd name="connsiteX177" fmla="*/ 686178 w 1315176"/>
                <a:gd name="connsiteY177" fmla="*/ 1272288 h 1405712"/>
                <a:gd name="connsiteX178" fmla="*/ 690944 w 1315176"/>
                <a:gd name="connsiteY178" fmla="*/ 1262758 h 1405712"/>
                <a:gd name="connsiteX179" fmla="*/ 690944 w 1315176"/>
                <a:gd name="connsiteY179" fmla="*/ 1253228 h 1405712"/>
                <a:gd name="connsiteX180" fmla="*/ 695708 w 1315176"/>
                <a:gd name="connsiteY180" fmla="*/ 1248462 h 1405712"/>
                <a:gd name="connsiteX181" fmla="*/ 700474 w 1315176"/>
                <a:gd name="connsiteY181" fmla="*/ 1243698 h 1405712"/>
                <a:gd name="connsiteX182" fmla="*/ 700474 w 1315176"/>
                <a:gd name="connsiteY182" fmla="*/ 1238932 h 1405712"/>
                <a:gd name="connsiteX183" fmla="*/ 695708 w 1315176"/>
                <a:gd name="connsiteY183" fmla="*/ 1219872 h 1405712"/>
                <a:gd name="connsiteX184" fmla="*/ 695708 w 1315176"/>
                <a:gd name="connsiteY184" fmla="*/ 1200812 h 1405712"/>
                <a:gd name="connsiteX185" fmla="*/ 700474 w 1315176"/>
                <a:gd name="connsiteY185" fmla="*/ 1191282 h 1405712"/>
                <a:gd name="connsiteX186" fmla="*/ 705238 w 1315176"/>
                <a:gd name="connsiteY186" fmla="*/ 1181752 h 1405712"/>
                <a:gd name="connsiteX187" fmla="*/ 710004 w 1315176"/>
                <a:gd name="connsiteY187" fmla="*/ 1176986 h 1405712"/>
                <a:gd name="connsiteX188" fmla="*/ 710004 w 1315176"/>
                <a:gd name="connsiteY188" fmla="*/ 1167456 h 1405712"/>
                <a:gd name="connsiteX189" fmla="*/ 714768 w 1315176"/>
                <a:gd name="connsiteY189" fmla="*/ 1157926 h 1405712"/>
                <a:gd name="connsiteX190" fmla="*/ 738594 w 1315176"/>
                <a:gd name="connsiteY190" fmla="*/ 1143630 h 1405712"/>
                <a:gd name="connsiteX191" fmla="*/ 743360 w 1315176"/>
                <a:gd name="connsiteY191" fmla="*/ 1138866 h 1405712"/>
                <a:gd name="connsiteX192" fmla="*/ 748124 w 1315176"/>
                <a:gd name="connsiteY192" fmla="*/ 1129334 h 1405712"/>
                <a:gd name="connsiteX193" fmla="*/ 748124 w 1315176"/>
                <a:gd name="connsiteY193" fmla="*/ 1119804 h 1405712"/>
                <a:gd name="connsiteX194" fmla="*/ 762420 w 1315176"/>
                <a:gd name="connsiteY194" fmla="*/ 1100744 h 1405712"/>
                <a:gd name="connsiteX195" fmla="*/ 767186 w 1315176"/>
                <a:gd name="connsiteY195" fmla="*/ 1086448 h 1405712"/>
                <a:gd name="connsiteX196" fmla="*/ 767186 w 1315176"/>
                <a:gd name="connsiteY196" fmla="*/ 1081684 h 1405712"/>
                <a:gd name="connsiteX197" fmla="*/ 771950 w 1315176"/>
                <a:gd name="connsiteY197" fmla="*/ 1076918 h 1405712"/>
                <a:gd name="connsiteX198" fmla="*/ 786246 w 1315176"/>
                <a:gd name="connsiteY198" fmla="*/ 1067388 h 1405712"/>
                <a:gd name="connsiteX199" fmla="*/ 795776 w 1315176"/>
                <a:gd name="connsiteY199" fmla="*/ 1053092 h 1405712"/>
                <a:gd name="connsiteX200" fmla="*/ 795776 w 1315176"/>
                <a:gd name="connsiteY200" fmla="*/ 1043562 h 1405712"/>
                <a:gd name="connsiteX201" fmla="*/ 791012 w 1315176"/>
                <a:gd name="connsiteY201" fmla="*/ 1034032 h 1405712"/>
                <a:gd name="connsiteX202" fmla="*/ 786246 w 1315176"/>
                <a:gd name="connsiteY202" fmla="*/ 1019736 h 1405712"/>
                <a:gd name="connsiteX203" fmla="*/ 757656 w 1315176"/>
                <a:gd name="connsiteY203" fmla="*/ 986380 h 1405712"/>
                <a:gd name="connsiteX204" fmla="*/ 733830 w 1315176"/>
                <a:gd name="connsiteY204" fmla="*/ 972086 h 1405712"/>
                <a:gd name="connsiteX205" fmla="*/ 705238 w 1315176"/>
                <a:gd name="connsiteY205" fmla="*/ 957790 h 1405712"/>
                <a:gd name="connsiteX206" fmla="*/ 690944 w 1315176"/>
                <a:gd name="connsiteY206" fmla="*/ 953026 h 1405712"/>
                <a:gd name="connsiteX207" fmla="*/ 681414 w 1315176"/>
                <a:gd name="connsiteY207" fmla="*/ 957790 h 1405712"/>
                <a:gd name="connsiteX208" fmla="*/ 671882 w 1315176"/>
                <a:gd name="connsiteY208" fmla="*/ 957790 h 1405712"/>
                <a:gd name="connsiteX209" fmla="*/ 662352 w 1315176"/>
                <a:gd name="connsiteY209" fmla="*/ 943494 h 1405712"/>
                <a:gd name="connsiteX210" fmla="*/ 648058 w 1315176"/>
                <a:gd name="connsiteY210" fmla="*/ 933964 h 1405712"/>
                <a:gd name="connsiteX211" fmla="*/ 614702 w 1315176"/>
                <a:gd name="connsiteY211" fmla="*/ 924434 h 1405712"/>
                <a:gd name="connsiteX212" fmla="*/ 543224 w 1315176"/>
                <a:gd name="connsiteY212" fmla="*/ 886314 h 1405712"/>
                <a:gd name="connsiteX213" fmla="*/ 514634 w 1315176"/>
                <a:gd name="connsiteY213" fmla="*/ 867252 h 1405712"/>
                <a:gd name="connsiteX214" fmla="*/ 505104 w 1315176"/>
                <a:gd name="connsiteY214" fmla="*/ 857722 h 1405712"/>
                <a:gd name="connsiteX215" fmla="*/ 476512 w 1315176"/>
                <a:gd name="connsiteY215" fmla="*/ 838662 h 1405712"/>
                <a:gd name="connsiteX216" fmla="*/ 433626 w 1315176"/>
                <a:gd name="connsiteY216" fmla="*/ 805306 h 1405712"/>
                <a:gd name="connsiteX217" fmla="*/ 400270 w 1315176"/>
                <a:gd name="connsiteY217" fmla="*/ 791010 h 1405712"/>
                <a:gd name="connsiteX218" fmla="*/ 376446 w 1315176"/>
                <a:gd name="connsiteY218" fmla="*/ 791010 h 1405712"/>
                <a:gd name="connsiteX219" fmla="*/ 338324 w 1315176"/>
                <a:gd name="connsiteY219" fmla="*/ 786246 h 1405712"/>
                <a:gd name="connsiteX220" fmla="*/ 285908 w 1315176"/>
                <a:gd name="connsiteY220" fmla="*/ 767186 h 1405712"/>
                <a:gd name="connsiteX221" fmla="*/ 257316 w 1315176"/>
                <a:gd name="connsiteY221" fmla="*/ 748124 h 1405712"/>
                <a:gd name="connsiteX222" fmla="*/ 247786 w 1315176"/>
                <a:gd name="connsiteY222" fmla="*/ 733830 h 1405712"/>
                <a:gd name="connsiteX223" fmla="*/ 228726 w 1315176"/>
                <a:gd name="connsiteY223" fmla="*/ 714768 h 1405712"/>
                <a:gd name="connsiteX224" fmla="*/ 195370 w 1315176"/>
                <a:gd name="connsiteY224" fmla="*/ 700474 h 1405712"/>
                <a:gd name="connsiteX225" fmla="*/ 181074 w 1315176"/>
                <a:gd name="connsiteY225" fmla="*/ 686178 h 1405712"/>
                <a:gd name="connsiteX226" fmla="*/ 181074 w 1315176"/>
                <a:gd name="connsiteY226" fmla="*/ 681412 h 1405712"/>
                <a:gd name="connsiteX227" fmla="*/ 171544 w 1315176"/>
                <a:gd name="connsiteY227" fmla="*/ 676648 h 1405712"/>
                <a:gd name="connsiteX228" fmla="*/ 152484 w 1315176"/>
                <a:gd name="connsiteY228" fmla="*/ 667118 h 1405712"/>
                <a:gd name="connsiteX229" fmla="*/ 133424 w 1315176"/>
                <a:gd name="connsiteY229" fmla="*/ 652822 h 1405712"/>
                <a:gd name="connsiteX230" fmla="*/ 114364 w 1315176"/>
                <a:gd name="connsiteY230" fmla="*/ 628996 h 1405712"/>
                <a:gd name="connsiteX231" fmla="*/ 95302 w 1315176"/>
                <a:gd name="connsiteY231" fmla="*/ 600406 h 1405712"/>
                <a:gd name="connsiteX232" fmla="*/ 71476 w 1315176"/>
                <a:gd name="connsiteY232" fmla="*/ 552754 h 1405712"/>
                <a:gd name="connsiteX233" fmla="*/ 47652 w 1315176"/>
                <a:gd name="connsiteY233" fmla="*/ 524164 h 1405712"/>
                <a:gd name="connsiteX234" fmla="*/ 19060 w 1315176"/>
                <a:gd name="connsiteY234" fmla="*/ 509868 h 1405712"/>
                <a:gd name="connsiteX235" fmla="*/ 4766 w 1315176"/>
                <a:gd name="connsiteY235" fmla="*/ 500338 h 1405712"/>
                <a:gd name="connsiteX236" fmla="*/ 4766 w 1315176"/>
                <a:gd name="connsiteY236" fmla="*/ 495574 h 1405712"/>
                <a:gd name="connsiteX237" fmla="*/ 0 w 1315176"/>
                <a:gd name="connsiteY237" fmla="*/ 490808 h 1405712"/>
                <a:gd name="connsiteX238" fmla="*/ 4766 w 1315176"/>
                <a:gd name="connsiteY238" fmla="*/ 481278 h 1405712"/>
                <a:gd name="connsiteX239" fmla="*/ 14296 w 1315176"/>
                <a:gd name="connsiteY239" fmla="*/ 447922 h 1405712"/>
                <a:gd name="connsiteX240" fmla="*/ 28590 w 1315176"/>
                <a:gd name="connsiteY240" fmla="*/ 400270 h 1405712"/>
                <a:gd name="connsiteX241" fmla="*/ 42886 w 1315176"/>
                <a:gd name="connsiteY241" fmla="*/ 352620 h 1405712"/>
                <a:gd name="connsiteX242" fmla="*/ 61946 w 1315176"/>
                <a:gd name="connsiteY242" fmla="*/ 295438 h 1405712"/>
                <a:gd name="connsiteX243" fmla="*/ 61946 w 1315176"/>
                <a:gd name="connsiteY243" fmla="*/ 209666 h 1405712"/>
                <a:gd name="connsiteX244" fmla="*/ 85772 w 1315176"/>
                <a:gd name="connsiteY244" fmla="*/ 176310 h 1405712"/>
                <a:gd name="connsiteX245" fmla="*/ 100068 w 1315176"/>
                <a:gd name="connsiteY245" fmla="*/ 147718 h 1405712"/>
                <a:gd name="connsiteX246" fmla="*/ 119128 w 1315176"/>
                <a:gd name="connsiteY246" fmla="*/ 123894 h 1405712"/>
                <a:gd name="connsiteX247" fmla="*/ 133424 w 1315176"/>
                <a:gd name="connsiteY247" fmla="*/ 85772 h 1405712"/>
                <a:gd name="connsiteX248" fmla="*/ 142954 w 1315176"/>
                <a:gd name="connsiteY248" fmla="*/ 57182 h 1405712"/>
                <a:gd name="connsiteX249" fmla="*/ 181074 w 1315176"/>
                <a:gd name="connsiteY249" fmla="*/ 52416 h 1405712"/>
                <a:gd name="connsiteX250" fmla="*/ 243022 w 1315176"/>
                <a:gd name="connsiteY250" fmla="*/ 38122 h 1405712"/>
                <a:gd name="connsiteX251" fmla="*/ 276378 w 1315176"/>
                <a:gd name="connsiteY251" fmla="*/ 28590 h 1405712"/>
                <a:gd name="connsiteX252" fmla="*/ 343090 w 1315176"/>
                <a:gd name="connsiteY252" fmla="*/ 14296 h 1405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</a:cxnLst>
              <a:rect l="l" t="t" r="r" b="b"/>
              <a:pathLst>
                <a:path w="1315176" h="1405712">
                  <a:moveTo>
                    <a:pt x="414566" y="0"/>
                  </a:moveTo>
                  <a:lnTo>
                    <a:pt x="486042" y="0"/>
                  </a:lnTo>
                  <a:lnTo>
                    <a:pt x="557520" y="0"/>
                  </a:lnTo>
                  <a:lnTo>
                    <a:pt x="614702" y="33356"/>
                  </a:lnTo>
                  <a:lnTo>
                    <a:pt x="652822" y="57182"/>
                  </a:lnTo>
                  <a:lnTo>
                    <a:pt x="700474" y="85772"/>
                  </a:lnTo>
                  <a:lnTo>
                    <a:pt x="705238" y="90538"/>
                  </a:lnTo>
                  <a:lnTo>
                    <a:pt x="705238" y="119128"/>
                  </a:lnTo>
                  <a:lnTo>
                    <a:pt x="705238" y="142954"/>
                  </a:lnTo>
                  <a:lnTo>
                    <a:pt x="705238" y="157250"/>
                  </a:lnTo>
                  <a:lnTo>
                    <a:pt x="710004" y="166780"/>
                  </a:lnTo>
                  <a:lnTo>
                    <a:pt x="714768" y="171544"/>
                  </a:lnTo>
                  <a:lnTo>
                    <a:pt x="719534" y="181074"/>
                  </a:lnTo>
                  <a:lnTo>
                    <a:pt x="724300" y="185840"/>
                  </a:lnTo>
                  <a:lnTo>
                    <a:pt x="729064" y="195370"/>
                  </a:lnTo>
                  <a:lnTo>
                    <a:pt x="729064" y="204900"/>
                  </a:lnTo>
                  <a:lnTo>
                    <a:pt x="729064" y="214430"/>
                  </a:lnTo>
                  <a:lnTo>
                    <a:pt x="733830" y="228726"/>
                  </a:lnTo>
                  <a:lnTo>
                    <a:pt x="743360" y="233492"/>
                  </a:lnTo>
                  <a:lnTo>
                    <a:pt x="743360" y="243022"/>
                  </a:lnTo>
                  <a:lnTo>
                    <a:pt x="743360" y="247786"/>
                  </a:lnTo>
                  <a:lnTo>
                    <a:pt x="743360" y="252552"/>
                  </a:lnTo>
                  <a:lnTo>
                    <a:pt x="748124" y="257316"/>
                  </a:lnTo>
                  <a:lnTo>
                    <a:pt x="743360" y="262082"/>
                  </a:lnTo>
                  <a:lnTo>
                    <a:pt x="743360" y="266848"/>
                  </a:lnTo>
                  <a:lnTo>
                    <a:pt x="748124" y="271612"/>
                  </a:lnTo>
                  <a:lnTo>
                    <a:pt x="752890" y="281142"/>
                  </a:lnTo>
                  <a:lnTo>
                    <a:pt x="757656" y="304968"/>
                  </a:lnTo>
                  <a:lnTo>
                    <a:pt x="748124" y="319264"/>
                  </a:lnTo>
                  <a:lnTo>
                    <a:pt x="748124" y="328794"/>
                  </a:lnTo>
                  <a:lnTo>
                    <a:pt x="743360" y="333558"/>
                  </a:lnTo>
                  <a:lnTo>
                    <a:pt x="748124" y="343090"/>
                  </a:lnTo>
                  <a:lnTo>
                    <a:pt x="743360" y="352620"/>
                  </a:lnTo>
                  <a:lnTo>
                    <a:pt x="738594" y="366914"/>
                  </a:lnTo>
                  <a:lnTo>
                    <a:pt x="738594" y="376444"/>
                  </a:lnTo>
                  <a:lnTo>
                    <a:pt x="738594" y="385976"/>
                  </a:lnTo>
                  <a:lnTo>
                    <a:pt x="738594" y="390740"/>
                  </a:lnTo>
                  <a:lnTo>
                    <a:pt x="743360" y="400270"/>
                  </a:lnTo>
                  <a:lnTo>
                    <a:pt x="738594" y="409800"/>
                  </a:lnTo>
                  <a:lnTo>
                    <a:pt x="738594" y="419332"/>
                  </a:lnTo>
                  <a:lnTo>
                    <a:pt x="733830" y="424096"/>
                  </a:lnTo>
                  <a:lnTo>
                    <a:pt x="738594" y="438392"/>
                  </a:lnTo>
                  <a:lnTo>
                    <a:pt x="733830" y="447922"/>
                  </a:lnTo>
                  <a:lnTo>
                    <a:pt x="733830" y="452686"/>
                  </a:lnTo>
                  <a:lnTo>
                    <a:pt x="729064" y="457452"/>
                  </a:lnTo>
                  <a:lnTo>
                    <a:pt x="733830" y="471748"/>
                  </a:lnTo>
                  <a:lnTo>
                    <a:pt x="748124" y="476512"/>
                  </a:lnTo>
                  <a:lnTo>
                    <a:pt x="757656" y="476512"/>
                  </a:lnTo>
                  <a:lnTo>
                    <a:pt x="767186" y="471748"/>
                  </a:lnTo>
                  <a:lnTo>
                    <a:pt x="771950" y="466982"/>
                  </a:lnTo>
                  <a:lnTo>
                    <a:pt x="786246" y="471748"/>
                  </a:lnTo>
                  <a:lnTo>
                    <a:pt x="795776" y="481278"/>
                  </a:lnTo>
                  <a:lnTo>
                    <a:pt x="810072" y="481278"/>
                  </a:lnTo>
                  <a:lnTo>
                    <a:pt x="824366" y="486042"/>
                  </a:lnTo>
                  <a:lnTo>
                    <a:pt x="833898" y="486042"/>
                  </a:lnTo>
                  <a:lnTo>
                    <a:pt x="848192" y="486042"/>
                  </a:lnTo>
                  <a:lnTo>
                    <a:pt x="862488" y="486042"/>
                  </a:lnTo>
                  <a:lnTo>
                    <a:pt x="881548" y="490808"/>
                  </a:lnTo>
                  <a:lnTo>
                    <a:pt x="895844" y="495574"/>
                  </a:lnTo>
                  <a:lnTo>
                    <a:pt x="910140" y="495574"/>
                  </a:lnTo>
                  <a:lnTo>
                    <a:pt x="919670" y="495574"/>
                  </a:lnTo>
                  <a:lnTo>
                    <a:pt x="929200" y="490808"/>
                  </a:lnTo>
                  <a:lnTo>
                    <a:pt x="943496" y="490808"/>
                  </a:lnTo>
                  <a:lnTo>
                    <a:pt x="948260" y="481278"/>
                  </a:lnTo>
                  <a:lnTo>
                    <a:pt x="953026" y="476512"/>
                  </a:lnTo>
                  <a:lnTo>
                    <a:pt x="957790" y="466982"/>
                  </a:lnTo>
                  <a:lnTo>
                    <a:pt x="972086" y="462218"/>
                  </a:lnTo>
                  <a:lnTo>
                    <a:pt x="981616" y="466982"/>
                  </a:lnTo>
                  <a:lnTo>
                    <a:pt x="986382" y="481278"/>
                  </a:lnTo>
                  <a:lnTo>
                    <a:pt x="995912" y="490808"/>
                  </a:lnTo>
                  <a:lnTo>
                    <a:pt x="1000676" y="495574"/>
                  </a:lnTo>
                  <a:lnTo>
                    <a:pt x="1010206" y="500338"/>
                  </a:lnTo>
                  <a:lnTo>
                    <a:pt x="1029268" y="500338"/>
                  </a:lnTo>
                  <a:lnTo>
                    <a:pt x="1043562" y="500338"/>
                  </a:lnTo>
                  <a:lnTo>
                    <a:pt x="1057858" y="505104"/>
                  </a:lnTo>
                  <a:lnTo>
                    <a:pt x="1062624" y="505104"/>
                  </a:lnTo>
                  <a:lnTo>
                    <a:pt x="1072154" y="509868"/>
                  </a:lnTo>
                  <a:lnTo>
                    <a:pt x="1081684" y="519398"/>
                  </a:lnTo>
                  <a:lnTo>
                    <a:pt x="1081684" y="538460"/>
                  </a:lnTo>
                  <a:lnTo>
                    <a:pt x="1086448" y="552754"/>
                  </a:lnTo>
                  <a:lnTo>
                    <a:pt x="1095980" y="557520"/>
                  </a:lnTo>
                  <a:lnTo>
                    <a:pt x="1100744" y="567050"/>
                  </a:lnTo>
                  <a:lnTo>
                    <a:pt x="1100744" y="576580"/>
                  </a:lnTo>
                  <a:lnTo>
                    <a:pt x="1095980" y="590876"/>
                  </a:lnTo>
                  <a:lnTo>
                    <a:pt x="1095980" y="600406"/>
                  </a:lnTo>
                  <a:lnTo>
                    <a:pt x="1100744" y="614702"/>
                  </a:lnTo>
                  <a:lnTo>
                    <a:pt x="1100744" y="624232"/>
                  </a:lnTo>
                  <a:lnTo>
                    <a:pt x="1105510" y="638526"/>
                  </a:lnTo>
                  <a:lnTo>
                    <a:pt x="1110274" y="648058"/>
                  </a:lnTo>
                  <a:lnTo>
                    <a:pt x="1110274" y="662352"/>
                  </a:lnTo>
                  <a:lnTo>
                    <a:pt x="1110274" y="676648"/>
                  </a:lnTo>
                  <a:lnTo>
                    <a:pt x="1115040" y="681412"/>
                  </a:lnTo>
                  <a:lnTo>
                    <a:pt x="1115040" y="690944"/>
                  </a:lnTo>
                  <a:lnTo>
                    <a:pt x="1115040" y="700474"/>
                  </a:lnTo>
                  <a:lnTo>
                    <a:pt x="1110274" y="710004"/>
                  </a:lnTo>
                  <a:lnTo>
                    <a:pt x="1110274" y="719534"/>
                  </a:lnTo>
                  <a:lnTo>
                    <a:pt x="1115040" y="729064"/>
                  </a:lnTo>
                  <a:lnTo>
                    <a:pt x="1124570" y="738594"/>
                  </a:lnTo>
                  <a:lnTo>
                    <a:pt x="1129336" y="757654"/>
                  </a:lnTo>
                  <a:lnTo>
                    <a:pt x="1129336" y="767186"/>
                  </a:lnTo>
                  <a:lnTo>
                    <a:pt x="1134100" y="781480"/>
                  </a:lnTo>
                  <a:lnTo>
                    <a:pt x="1138866" y="791010"/>
                  </a:lnTo>
                  <a:lnTo>
                    <a:pt x="1153160" y="791010"/>
                  </a:lnTo>
                  <a:lnTo>
                    <a:pt x="1167456" y="795776"/>
                  </a:lnTo>
                  <a:lnTo>
                    <a:pt x="1186516" y="791010"/>
                  </a:lnTo>
                  <a:lnTo>
                    <a:pt x="1200812" y="786246"/>
                  </a:lnTo>
                  <a:lnTo>
                    <a:pt x="1210342" y="781480"/>
                  </a:lnTo>
                  <a:lnTo>
                    <a:pt x="1224638" y="771950"/>
                  </a:lnTo>
                  <a:lnTo>
                    <a:pt x="1238932" y="767186"/>
                  </a:lnTo>
                  <a:lnTo>
                    <a:pt x="1248464" y="762420"/>
                  </a:lnTo>
                  <a:lnTo>
                    <a:pt x="1257994" y="757654"/>
                  </a:lnTo>
                  <a:lnTo>
                    <a:pt x="1272288" y="767186"/>
                  </a:lnTo>
                  <a:lnTo>
                    <a:pt x="1286584" y="771950"/>
                  </a:lnTo>
                  <a:lnTo>
                    <a:pt x="1296114" y="786246"/>
                  </a:lnTo>
                  <a:lnTo>
                    <a:pt x="1315176" y="800542"/>
                  </a:lnTo>
                  <a:lnTo>
                    <a:pt x="1310410" y="800542"/>
                  </a:lnTo>
                  <a:lnTo>
                    <a:pt x="1305644" y="814836"/>
                  </a:lnTo>
                  <a:lnTo>
                    <a:pt x="1305644" y="824366"/>
                  </a:lnTo>
                  <a:lnTo>
                    <a:pt x="1310410" y="843428"/>
                  </a:lnTo>
                  <a:lnTo>
                    <a:pt x="1305644" y="881548"/>
                  </a:lnTo>
                  <a:lnTo>
                    <a:pt x="1291350" y="938730"/>
                  </a:lnTo>
                  <a:lnTo>
                    <a:pt x="1281820" y="972086"/>
                  </a:lnTo>
                  <a:lnTo>
                    <a:pt x="1286584" y="981616"/>
                  </a:lnTo>
                  <a:lnTo>
                    <a:pt x="1277054" y="1000676"/>
                  </a:lnTo>
                  <a:lnTo>
                    <a:pt x="1257994" y="1038798"/>
                  </a:lnTo>
                  <a:lnTo>
                    <a:pt x="1257994" y="1062622"/>
                  </a:lnTo>
                  <a:lnTo>
                    <a:pt x="1253228" y="1138866"/>
                  </a:lnTo>
                  <a:lnTo>
                    <a:pt x="1248464" y="1191282"/>
                  </a:lnTo>
                  <a:lnTo>
                    <a:pt x="1234168" y="1229402"/>
                  </a:lnTo>
                  <a:lnTo>
                    <a:pt x="1224638" y="1248462"/>
                  </a:lnTo>
                  <a:lnTo>
                    <a:pt x="1215108" y="1253228"/>
                  </a:lnTo>
                  <a:lnTo>
                    <a:pt x="1205578" y="1257994"/>
                  </a:lnTo>
                  <a:lnTo>
                    <a:pt x="1200812" y="1267524"/>
                  </a:lnTo>
                  <a:lnTo>
                    <a:pt x="1196046" y="1277054"/>
                  </a:lnTo>
                  <a:lnTo>
                    <a:pt x="1181752" y="1281818"/>
                  </a:lnTo>
                  <a:lnTo>
                    <a:pt x="1176986" y="1291350"/>
                  </a:lnTo>
                  <a:lnTo>
                    <a:pt x="1176986" y="1296114"/>
                  </a:lnTo>
                  <a:lnTo>
                    <a:pt x="1162692" y="1300880"/>
                  </a:lnTo>
                  <a:lnTo>
                    <a:pt x="1143630" y="1305644"/>
                  </a:lnTo>
                  <a:lnTo>
                    <a:pt x="1129336" y="1310410"/>
                  </a:lnTo>
                  <a:lnTo>
                    <a:pt x="1124570" y="1319940"/>
                  </a:lnTo>
                  <a:lnTo>
                    <a:pt x="1119804" y="1329470"/>
                  </a:lnTo>
                  <a:lnTo>
                    <a:pt x="1110274" y="1339000"/>
                  </a:lnTo>
                  <a:lnTo>
                    <a:pt x="1105510" y="1348530"/>
                  </a:lnTo>
                  <a:lnTo>
                    <a:pt x="1105510" y="1362826"/>
                  </a:lnTo>
                  <a:lnTo>
                    <a:pt x="1095980" y="1372356"/>
                  </a:lnTo>
                  <a:lnTo>
                    <a:pt x="1086448" y="1381886"/>
                  </a:lnTo>
                  <a:lnTo>
                    <a:pt x="1072154" y="1381886"/>
                  </a:lnTo>
                  <a:lnTo>
                    <a:pt x="1062624" y="1372356"/>
                  </a:lnTo>
                  <a:lnTo>
                    <a:pt x="1048328" y="1367590"/>
                  </a:lnTo>
                  <a:lnTo>
                    <a:pt x="1029268" y="1362826"/>
                  </a:lnTo>
                  <a:lnTo>
                    <a:pt x="1014972" y="1367590"/>
                  </a:lnTo>
                  <a:lnTo>
                    <a:pt x="1005442" y="1377122"/>
                  </a:lnTo>
                  <a:lnTo>
                    <a:pt x="991146" y="1386652"/>
                  </a:lnTo>
                  <a:lnTo>
                    <a:pt x="981616" y="1405712"/>
                  </a:lnTo>
                  <a:lnTo>
                    <a:pt x="972086" y="1405712"/>
                  </a:lnTo>
                  <a:lnTo>
                    <a:pt x="962556" y="1396182"/>
                  </a:lnTo>
                  <a:lnTo>
                    <a:pt x="948260" y="1391416"/>
                  </a:lnTo>
                  <a:lnTo>
                    <a:pt x="929200" y="1396182"/>
                  </a:lnTo>
                  <a:lnTo>
                    <a:pt x="914904" y="1396182"/>
                  </a:lnTo>
                  <a:lnTo>
                    <a:pt x="905374" y="1386652"/>
                  </a:lnTo>
                  <a:lnTo>
                    <a:pt x="886314" y="1386652"/>
                  </a:lnTo>
                  <a:lnTo>
                    <a:pt x="867254" y="1391416"/>
                  </a:lnTo>
                  <a:lnTo>
                    <a:pt x="824366" y="1386652"/>
                  </a:lnTo>
                  <a:lnTo>
                    <a:pt x="757656" y="1367590"/>
                  </a:lnTo>
                  <a:lnTo>
                    <a:pt x="700474" y="1358060"/>
                  </a:lnTo>
                  <a:lnTo>
                    <a:pt x="633762" y="1362826"/>
                  </a:lnTo>
                  <a:lnTo>
                    <a:pt x="628996" y="1343766"/>
                  </a:lnTo>
                  <a:lnTo>
                    <a:pt x="633762" y="1334236"/>
                  </a:lnTo>
                  <a:lnTo>
                    <a:pt x="643292" y="1324704"/>
                  </a:lnTo>
                  <a:lnTo>
                    <a:pt x="648058" y="1315174"/>
                  </a:lnTo>
                  <a:lnTo>
                    <a:pt x="652822" y="1305644"/>
                  </a:lnTo>
                  <a:lnTo>
                    <a:pt x="662352" y="1296114"/>
                  </a:lnTo>
                  <a:lnTo>
                    <a:pt x="671882" y="1291350"/>
                  </a:lnTo>
                  <a:lnTo>
                    <a:pt x="676648" y="1286584"/>
                  </a:lnTo>
                  <a:lnTo>
                    <a:pt x="676648" y="1281818"/>
                  </a:lnTo>
                  <a:lnTo>
                    <a:pt x="676648" y="1277054"/>
                  </a:lnTo>
                  <a:lnTo>
                    <a:pt x="686178" y="1272288"/>
                  </a:lnTo>
                  <a:lnTo>
                    <a:pt x="690944" y="1262758"/>
                  </a:lnTo>
                  <a:lnTo>
                    <a:pt x="690944" y="1253228"/>
                  </a:lnTo>
                  <a:lnTo>
                    <a:pt x="695708" y="1248462"/>
                  </a:lnTo>
                  <a:lnTo>
                    <a:pt x="700474" y="1243698"/>
                  </a:lnTo>
                  <a:lnTo>
                    <a:pt x="700474" y="1238932"/>
                  </a:lnTo>
                  <a:lnTo>
                    <a:pt x="695708" y="1219872"/>
                  </a:lnTo>
                  <a:lnTo>
                    <a:pt x="695708" y="1200812"/>
                  </a:lnTo>
                  <a:lnTo>
                    <a:pt x="700474" y="1191282"/>
                  </a:lnTo>
                  <a:lnTo>
                    <a:pt x="705238" y="1181752"/>
                  </a:lnTo>
                  <a:lnTo>
                    <a:pt x="710004" y="1176986"/>
                  </a:lnTo>
                  <a:lnTo>
                    <a:pt x="710004" y="1167456"/>
                  </a:lnTo>
                  <a:lnTo>
                    <a:pt x="714768" y="1157926"/>
                  </a:lnTo>
                  <a:lnTo>
                    <a:pt x="738594" y="1143630"/>
                  </a:lnTo>
                  <a:lnTo>
                    <a:pt x="743360" y="1138866"/>
                  </a:lnTo>
                  <a:lnTo>
                    <a:pt x="748124" y="1129334"/>
                  </a:lnTo>
                  <a:lnTo>
                    <a:pt x="748124" y="1119804"/>
                  </a:lnTo>
                  <a:lnTo>
                    <a:pt x="762420" y="1100744"/>
                  </a:lnTo>
                  <a:lnTo>
                    <a:pt x="767186" y="1086448"/>
                  </a:lnTo>
                  <a:lnTo>
                    <a:pt x="767186" y="1081684"/>
                  </a:lnTo>
                  <a:lnTo>
                    <a:pt x="771950" y="1076918"/>
                  </a:lnTo>
                  <a:lnTo>
                    <a:pt x="786246" y="1067388"/>
                  </a:lnTo>
                  <a:lnTo>
                    <a:pt x="795776" y="1053092"/>
                  </a:lnTo>
                  <a:lnTo>
                    <a:pt x="795776" y="1043562"/>
                  </a:lnTo>
                  <a:lnTo>
                    <a:pt x="791012" y="1034032"/>
                  </a:lnTo>
                  <a:lnTo>
                    <a:pt x="786246" y="1019736"/>
                  </a:lnTo>
                  <a:lnTo>
                    <a:pt x="757656" y="986380"/>
                  </a:lnTo>
                  <a:lnTo>
                    <a:pt x="733830" y="972086"/>
                  </a:lnTo>
                  <a:lnTo>
                    <a:pt x="705238" y="957790"/>
                  </a:lnTo>
                  <a:lnTo>
                    <a:pt x="690944" y="953026"/>
                  </a:lnTo>
                  <a:lnTo>
                    <a:pt x="681414" y="957790"/>
                  </a:lnTo>
                  <a:lnTo>
                    <a:pt x="671882" y="957790"/>
                  </a:lnTo>
                  <a:lnTo>
                    <a:pt x="662352" y="943494"/>
                  </a:lnTo>
                  <a:lnTo>
                    <a:pt x="648058" y="933964"/>
                  </a:lnTo>
                  <a:lnTo>
                    <a:pt x="614702" y="924434"/>
                  </a:lnTo>
                  <a:lnTo>
                    <a:pt x="543224" y="886314"/>
                  </a:lnTo>
                  <a:lnTo>
                    <a:pt x="514634" y="867252"/>
                  </a:lnTo>
                  <a:lnTo>
                    <a:pt x="505104" y="857722"/>
                  </a:lnTo>
                  <a:lnTo>
                    <a:pt x="476512" y="838662"/>
                  </a:lnTo>
                  <a:lnTo>
                    <a:pt x="433626" y="805306"/>
                  </a:lnTo>
                  <a:lnTo>
                    <a:pt x="400270" y="791010"/>
                  </a:lnTo>
                  <a:lnTo>
                    <a:pt x="376446" y="791010"/>
                  </a:lnTo>
                  <a:lnTo>
                    <a:pt x="338324" y="786246"/>
                  </a:lnTo>
                  <a:lnTo>
                    <a:pt x="285908" y="767186"/>
                  </a:lnTo>
                  <a:lnTo>
                    <a:pt x="257316" y="748124"/>
                  </a:lnTo>
                  <a:lnTo>
                    <a:pt x="247786" y="733830"/>
                  </a:lnTo>
                  <a:lnTo>
                    <a:pt x="228726" y="714768"/>
                  </a:lnTo>
                  <a:lnTo>
                    <a:pt x="195370" y="700474"/>
                  </a:lnTo>
                  <a:lnTo>
                    <a:pt x="181074" y="686178"/>
                  </a:lnTo>
                  <a:lnTo>
                    <a:pt x="181074" y="681412"/>
                  </a:lnTo>
                  <a:lnTo>
                    <a:pt x="171544" y="676648"/>
                  </a:lnTo>
                  <a:lnTo>
                    <a:pt x="152484" y="667118"/>
                  </a:lnTo>
                  <a:lnTo>
                    <a:pt x="133424" y="652822"/>
                  </a:lnTo>
                  <a:lnTo>
                    <a:pt x="114364" y="628996"/>
                  </a:lnTo>
                  <a:lnTo>
                    <a:pt x="95302" y="600406"/>
                  </a:lnTo>
                  <a:lnTo>
                    <a:pt x="71476" y="552754"/>
                  </a:lnTo>
                  <a:lnTo>
                    <a:pt x="47652" y="524164"/>
                  </a:lnTo>
                  <a:lnTo>
                    <a:pt x="19060" y="509868"/>
                  </a:lnTo>
                  <a:lnTo>
                    <a:pt x="4766" y="500338"/>
                  </a:lnTo>
                  <a:lnTo>
                    <a:pt x="4766" y="495574"/>
                  </a:lnTo>
                  <a:lnTo>
                    <a:pt x="0" y="490808"/>
                  </a:lnTo>
                  <a:lnTo>
                    <a:pt x="4766" y="481278"/>
                  </a:lnTo>
                  <a:lnTo>
                    <a:pt x="14296" y="447922"/>
                  </a:lnTo>
                  <a:lnTo>
                    <a:pt x="28590" y="400270"/>
                  </a:lnTo>
                  <a:lnTo>
                    <a:pt x="42886" y="352620"/>
                  </a:lnTo>
                  <a:lnTo>
                    <a:pt x="61946" y="295438"/>
                  </a:lnTo>
                  <a:lnTo>
                    <a:pt x="61946" y="209666"/>
                  </a:lnTo>
                  <a:lnTo>
                    <a:pt x="85772" y="176310"/>
                  </a:lnTo>
                  <a:lnTo>
                    <a:pt x="100068" y="147718"/>
                  </a:lnTo>
                  <a:lnTo>
                    <a:pt x="119128" y="123894"/>
                  </a:lnTo>
                  <a:lnTo>
                    <a:pt x="133424" y="85772"/>
                  </a:lnTo>
                  <a:lnTo>
                    <a:pt x="142954" y="57182"/>
                  </a:lnTo>
                  <a:lnTo>
                    <a:pt x="181074" y="52416"/>
                  </a:lnTo>
                  <a:lnTo>
                    <a:pt x="243022" y="38122"/>
                  </a:lnTo>
                  <a:lnTo>
                    <a:pt x="276378" y="28590"/>
                  </a:lnTo>
                  <a:lnTo>
                    <a:pt x="343090" y="1429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9" name="Freeform 6203">
              <a:extLst>
                <a:ext uri="{FF2B5EF4-FFF2-40B4-BE49-F238E27FC236}">
                  <a16:creationId xmlns:a16="http://schemas.microsoft.com/office/drawing/2014/main" id="{FED7B409-1783-434C-85E7-4A91885C5E0E}"/>
                </a:ext>
              </a:extLst>
            </p:cNvPr>
            <p:cNvSpPr/>
            <p:nvPr/>
          </p:nvSpPr>
          <p:spPr bwMode="auto">
            <a:xfrm>
              <a:off x="6162606" y="4567614"/>
              <a:ext cx="8480" cy="11563"/>
            </a:xfrm>
            <a:custGeom>
              <a:avLst/>
              <a:gdLst>
                <a:gd name="T0" fmla="*/ 10 w 22"/>
                <a:gd name="T1" fmla="*/ 22 h 30"/>
                <a:gd name="T2" fmla="*/ 10 w 22"/>
                <a:gd name="T3" fmla="*/ 18 h 30"/>
                <a:gd name="T4" fmla="*/ 22 w 22"/>
                <a:gd name="T5" fmla="*/ 4 h 30"/>
                <a:gd name="T6" fmla="*/ 22 w 22"/>
                <a:gd name="T7" fmla="*/ 4 h 30"/>
                <a:gd name="T8" fmla="*/ 18 w 22"/>
                <a:gd name="T9" fmla="*/ 0 h 30"/>
                <a:gd name="T10" fmla="*/ 12 w 22"/>
                <a:gd name="T11" fmla="*/ 8 h 30"/>
                <a:gd name="T12" fmla="*/ 0 w 22"/>
                <a:gd name="T13" fmla="*/ 20 h 30"/>
                <a:gd name="T14" fmla="*/ 0 w 22"/>
                <a:gd name="T15" fmla="*/ 22 h 30"/>
                <a:gd name="T16" fmla="*/ 2 w 22"/>
                <a:gd name="T17" fmla="*/ 30 h 30"/>
                <a:gd name="T18" fmla="*/ 10 w 22"/>
                <a:gd name="T19" fmla="*/ 2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30">
                  <a:moveTo>
                    <a:pt x="10" y="22"/>
                  </a:moveTo>
                  <a:lnTo>
                    <a:pt x="10" y="18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18" y="0"/>
                  </a:lnTo>
                  <a:lnTo>
                    <a:pt x="12" y="8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2" y="30"/>
                  </a:lnTo>
                  <a:lnTo>
                    <a:pt x="10" y="2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0" name="Freeform 6204">
              <a:extLst>
                <a:ext uri="{FF2B5EF4-FFF2-40B4-BE49-F238E27FC236}">
                  <a16:creationId xmlns:a16="http://schemas.microsoft.com/office/drawing/2014/main" id="{1DAFAF90-1DBE-4D5D-A3CD-961E6F28538A}"/>
                </a:ext>
              </a:extLst>
            </p:cNvPr>
            <p:cNvSpPr/>
            <p:nvPr/>
          </p:nvSpPr>
          <p:spPr bwMode="auto">
            <a:xfrm>
              <a:off x="6179565" y="4539092"/>
              <a:ext cx="17730" cy="35460"/>
            </a:xfrm>
            <a:custGeom>
              <a:avLst/>
              <a:gdLst>
                <a:gd name="T0" fmla="*/ 44 w 46"/>
                <a:gd name="T1" fmla="*/ 44 h 92"/>
                <a:gd name="T2" fmla="*/ 44 w 46"/>
                <a:gd name="T3" fmla="*/ 34 h 92"/>
                <a:gd name="T4" fmla="*/ 46 w 46"/>
                <a:gd name="T5" fmla="*/ 24 h 92"/>
                <a:gd name="T6" fmla="*/ 44 w 46"/>
                <a:gd name="T7" fmla="*/ 12 h 92"/>
                <a:gd name="T8" fmla="*/ 40 w 46"/>
                <a:gd name="T9" fmla="*/ 12 h 92"/>
                <a:gd name="T10" fmla="*/ 36 w 46"/>
                <a:gd name="T11" fmla="*/ 8 h 92"/>
                <a:gd name="T12" fmla="*/ 34 w 46"/>
                <a:gd name="T13" fmla="*/ 4 h 92"/>
                <a:gd name="T14" fmla="*/ 32 w 46"/>
                <a:gd name="T15" fmla="*/ 2 h 92"/>
                <a:gd name="T16" fmla="*/ 28 w 46"/>
                <a:gd name="T17" fmla="*/ 2 h 92"/>
                <a:gd name="T18" fmla="*/ 22 w 46"/>
                <a:gd name="T19" fmla="*/ 0 h 92"/>
                <a:gd name="T20" fmla="*/ 12 w 46"/>
                <a:gd name="T21" fmla="*/ 6 h 92"/>
                <a:gd name="T22" fmla="*/ 10 w 46"/>
                <a:gd name="T23" fmla="*/ 16 h 92"/>
                <a:gd name="T24" fmla="*/ 8 w 46"/>
                <a:gd name="T25" fmla="*/ 20 h 92"/>
                <a:gd name="T26" fmla="*/ 6 w 46"/>
                <a:gd name="T27" fmla="*/ 30 h 92"/>
                <a:gd name="T28" fmla="*/ 6 w 46"/>
                <a:gd name="T29" fmla="*/ 36 h 92"/>
                <a:gd name="T30" fmla="*/ 8 w 46"/>
                <a:gd name="T31" fmla="*/ 42 h 92"/>
                <a:gd name="T32" fmla="*/ 8 w 46"/>
                <a:gd name="T33" fmla="*/ 50 h 92"/>
                <a:gd name="T34" fmla="*/ 8 w 46"/>
                <a:gd name="T35" fmla="*/ 52 h 92"/>
                <a:gd name="T36" fmla="*/ 6 w 46"/>
                <a:gd name="T37" fmla="*/ 54 h 92"/>
                <a:gd name="T38" fmla="*/ 6 w 46"/>
                <a:gd name="T39" fmla="*/ 56 h 92"/>
                <a:gd name="T40" fmla="*/ 8 w 46"/>
                <a:gd name="T41" fmla="*/ 56 h 92"/>
                <a:gd name="T42" fmla="*/ 12 w 46"/>
                <a:gd name="T43" fmla="*/ 54 h 92"/>
                <a:gd name="T44" fmla="*/ 18 w 46"/>
                <a:gd name="T45" fmla="*/ 56 h 92"/>
                <a:gd name="T46" fmla="*/ 22 w 46"/>
                <a:gd name="T47" fmla="*/ 60 h 92"/>
                <a:gd name="T48" fmla="*/ 22 w 46"/>
                <a:gd name="T49" fmla="*/ 62 h 92"/>
                <a:gd name="T50" fmla="*/ 18 w 46"/>
                <a:gd name="T51" fmla="*/ 62 h 92"/>
                <a:gd name="T52" fmla="*/ 10 w 46"/>
                <a:gd name="T53" fmla="*/ 68 h 92"/>
                <a:gd name="T54" fmla="*/ 6 w 46"/>
                <a:gd name="T55" fmla="*/ 72 h 92"/>
                <a:gd name="T56" fmla="*/ 4 w 46"/>
                <a:gd name="T57" fmla="*/ 78 h 92"/>
                <a:gd name="T58" fmla="*/ 0 w 46"/>
                <a:gd name="T59" fmla="*/ 88 h 92"/>
                <a:gd name="T60" fmla="*/ 0 w 46"/>
                <a:gd name="T61" fmla="*/ 92 h 92"/>
                <a:gd name="T62" fmla="*/ 2 w 46"/>
                <a:gd name="T63" fmla="*/ 92 h 92"/>
                <a:gd name="T64" fmla="*/ 16 w 46"/>
                <a:gd name="T65" fmla="*/ 92 h 92"/>
                <a:gd name="T66" fmla="*/ 26 w 46"/>
                <a:gd name="T67" fmla="*/ 86 h 92"/>
                <a:gd name="T68" fmla="*/ 36 w 46"/>
                <a:gd name="T69" fmla="*/ 82 h 92"/>
                <a:gd name="T70" fmla="*/ 38 w 46"/>
                <a:gd name="T71" fmla="*/ 82 h 92"/>
                <a:gd name="T72" fmla="*/ 40 w 46"/>
                <a:gd name="T73" fmla="*/ 76 h 92"/>
                <a:gd name="T74" fmla="*/ 42 w 46"/>
                <a:gd name="T75" fmla="*/ 68 h 92"/>
                <a:gd name="T76" fmla="*/ 46 w 46"/>
                <a:gd name="T77" fmla="*/ 60 h 92"/>
                <a:gd name="T78" fmla="*/ 44 w 46"/>
                <a:gd name="T79" fmla="*/ 4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6" h="92">
                  <a:moveTo>
                    <a:pt x="44" y="44"/>
                  </a:moveTo>
                  <a:lnTo>
                    <a:pt x="44" y="34"/>
                  </a:lnTo>
                  <a:lnTo>
                    <a:pt x="46" y="24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36" y="8"/>
                  </a:lnTo>
                  <a:lnTo>
                    <a:pt x="34" y="4"/>
                  </a:lnTo>
                  <a:lnTo>
                    <a:pt x="32" y="2"/>
                  </a:lnTo>
                  <a:lnTo>
                    <a:pt x="28" y="2"/>
                  </a:lnTo>
                  <a:lnTo>
                    <a:pt x="22" y="0"/>
                  </a:lnTo>
                  <a:lnTo>
                    <a:pt x="12" y="6"/>
                  </a:lnTo>
                  <a:lnTo>
                    <a:pt x="10" y="16"/>
                  </a:lnTo>
                  <a:lnTo>
                    <a:pt x="8" y="20"/>
                  </a:lnTo>
                  <a:lnTo>
                    <a:pt x="6" y="30"/>
                  </a:lnTo>
                  <a:lnTo>
                    <a:pt x="6" y="36"/>
                  </a:lnTo>
                  <a:lnTo>
                    <a:pt x="8" y="42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6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2" y="54"/>
                  </a:lnTo>
                  <a:lnTo>
                    <a:pt x="18" y="56"/>
                  </a:lnTo>
                  <a:lnTo>
                    <a:pt x="22" y="60"/>
                  </a:lnTo>
                  <a:lnTo>
                    <a:pt x="22" y="62"/>
                  </a:lnTo>
                  <a:lnTo>
                    <a:pt x="18" y="62"/>
                  </a:lnTo>
                  <a:lnTo>
                    <a:pt x="10" y="68"/>
                  </a:lnTo>
                  <a:lnTo>
                    <a:pt x="6" y="72"/>
                  </a:lnTo>
                  <a:lnTo>
                    <a:pt x="4" y="78"/>
                  </a:lnTo>
                  <a:lnTo>
                    <a:pt x="0" y="88"/>
                  </a:lnTo>
                  <a:lnTo>
                    <a:pt x="0" y="92"/>
                  </a:lnTo>
                  <a:lnTo>
                    <a:pt x="2" y="92"/>
                  </a:lnTo>
                  <a:lnTo>
                    <a:pt x="16" y="92"/>
                  </a:lnTo>
                  <a:lnTo>
                    <a:pt x="26" y="86"/>
                  </a:lnTo>
                  <a:lnTo>
                    <a:pt x="36" y="82"/>
                  </a:lnTo>
                  <a:lnTo>
                    <a:pt x="38" y="82"/>
                  </a:lnTo>
                  <a:lnTo>
                    <a:pt x="40" y="76"/>
                  </a:lnTo>
                  <a:lnTo>
                    <a:pt x="42" y="68"/>
                  </a:lnTo>
                  <a:lnTo>
                    <a:pt x="46" y="60"/>
                  </a:lnTo>
                  <a:lnTo>
                    <a:pt x="44" y="4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1" name="Freeform 6253">
              <a:extLst>
                <a:ext uri="{FF2B5EF4-FFF2-40B4-BE49-F238E27FC236}">
                  <a16:creationId xmlns:a16="http://schemas.microsoft.com/office/drawing/2014/main" id="{CDA0196E-B8A4-4915-988C-82382850BEA4}"/>
                </a:ext>
              </a:extLst>
            </p:cNvPr>
            <p:cNvSpPr/>
            <p:nvPr/>
          </p:nvSpPr>
          <p:spPr bwMode="auto">
            <a:xfrm>
              <a:off x="6581192" y="4724873"/>
              <a:ext cx="21585" cy="43940"/>
            </a:xfrm>
            <a:custGeom>
              <a:avLst/>
              <a:gdLst>
                <a:gd name="T0" fmla="*/ 32 w 56"/>
                <a:gd name="T1" fmla="*/ 112 h 114"/>
                <a:gd name="T2" fmla="*/ 42 w 56"/>
                <a:gd name="T3" fmla="*/ 108 h 114"/>
                <a:gd name="T4" fmla="*/ 44 w 56"/>
                <a:gd name="T5" fmla="*/ 106 h 114"/>
                <a:gd name="T6" fmla="*/ 50 w 56"/>
                <a:gd name="T7" fmla="*/ 90 h 114"/>
                <a:gd name="T8" fmla="*/ 54 w 56"/>
                <a:gd name="T9" fmla="*/ 86 h 114"/>
                <a:gd name="T10" fmla="*/ 56 w 56"/>
                <a:gd name="T11" fmla="*/ 80 h 114"/>
                <a:gd name="T12" fmla="*/ 54 w 56"/>
                <a:gd name="T13" fmla="*/ 72 h 114"/>
                <a:gd name="T14" fmla="*/ 52 w 56"/>
                <a:gd name="T15" fmla="*/ 62 h 114"/>
                <a:gd name="T16" fmla="*/ 50 w 56"/>
                <a:gd name="T17" fmla="*/ 54 h 114"/>
                <a:gd name="T18" fmla="*/ 48 w 56"/>
                <a:gd name="T19" fmla="*/ 50 h 114"/>
                <a:gd name="T20" fmla="*/ 48 w 56"/>
                <a:gd name="T21" fmla="*/ 46 h 114"/>
                <a:gd name="T22" fmla="*/ 50 w 56"/>
                <a:gd name="T23" fmla="*/ 34 h 114"/>
                <a:gd name="T24" fmla="*/ 54 w 56"/>
                <a:gd name="T25" fmla="*/ 26 h 114"/>
                <a:gd name="T26" fmla="*/ 50 w 56"/>
                <a:gd name="T27" fmla="*/ 18 h 114"/>
                <a:gd name="T28" fmla="*/ 40 w 56"/>
                <a:gd name="T29" fmla="*/ 10 h 114"/>
                <a:gd name="T30" fmla="*/ 32 w 56"/>
                <a:gd name="T31" fmla="*/ 0 h 114"/>
                <a:gd name="T32" fmla="*/ 22 w 56"/>
                <a:gd name="T33" fmla="*/ 4 h 114"/>
                <a:gd name="T34" fmla="*/ 16 w 56"/>
                <a:gd name="T35" fmla="*/ 12 h 114"/>
                <a:gd name="T36" fmla="*/ 10 w 56"/>
                <a:gd name="T37" fmla="*/ 30 h 114"/>
                <a:gd name="T38" fmla="*/ 6 w 56"/>
                <a:gd name="T39" fmla="*/ 38 h 114"/>
                <a:gd name="T40" fmla="*/ 2 w 56"/>
                <a:gd name="T41" fmla="*/ 46 h 114"/>
                <a:gd name="T42" fmla="*/ 0 w 56"/>
                <a:gd name="T43" fmla="*/ 50 h 114"/>
                <a:gd name="T44" fmla="*/ 0 w 56"/>
                <a:gd name="T45" fmla="*/ 54 h 114"/>
                <a:gd name="T46" fmla="*/ 0 w 56"/>
                <a:gd name="T47" fmla="*/ 70 h 114"/>
                <a:gd name="T48" fmla="*/ 6 w 56"/>
                <a:gd name="T49" fmla="*/ 90 h 114"/>
                <a:gd name="T50" fmla="*/ 4 w 56"/>
                <a:gd name="T51" fmla="*/ 94 h 114"/>
                <a:gd name="T52" fmla="*/ 2 w 56"/>
                <a:gd name="T53" fmla="*/ 98 h 114"/>
                <a:gd name="T54" fmla="*/ 6 w 56"/>
                <a:gd name="T55" fmla="*/ 106 h 114"/>
                <a:gd name="T56" fmla="*/ 10 w 56"/>
                <a:gd name="T57" fmla="*/ 112 h 114"/>
                <a:gd name="T58" fmla="*/ 14 w 56"/>
                <a:gd name="T59" fmla="*/ 114 h 114"/>
                <a:gd name="T60" fmla="*/ 16 w 56"/>
                <a:gd name="T61" fmla="*/ 114 h 114"/>
                <a:gd name="T62" fmla="*/ 22 w 56"/>
                <a:gd name="T63" fmla="*/ 114 h 114"/>
                <a:gd name="T64" fmla="*/ 28 w 56"/>
                <a:gd name="T65" fmla="*/ 112 h 114"/>
                <a:gd name="T66" fmla="*/ 32 w 56"/>
                <a:gd name="T67" fmla="*/ 11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6" h="114">
                  <a:moveTo>
                    <a:pt x="32" y="112"/>
                  </a:moveTo>
                  <a:lnTo>
                    <a:pt x="42" y="108"/>
                  </a:lnTo>
                  <a:lnTo>
                    <a:pt x="44" y="106"/>
                  </a:lnTo>
                  <a:lnTo>
                    <a:pt x="50" y="90"/>
                  </a:lnTo>
                  <a:lnTo>
                    <a:pt x="54" y="86"/>
                  </a:lnTo>
                  <a:lnTo>
                    <a:pt x="56" y="80"/>
                  </a:lnTo>
                  <a:lnTo>
                    <a:pt x="54" y="72"/>
                  </a:lnTo>
                  <a:lnTo>
                    <a:pt x="52" y="62"/>
                  </a:lnTo>
                  <a:lnTo>
                    <a:pt x="50" y="54"/>
                  </a:lnTo>
                  <a:lnTo>
                    <a:pt x="48" y="50"/>
                  </a:lnTo>
                  <a:lnTo>
                    <a:pt x="48" y="46"/>
                  </a:lnTo>
                  <a:lnTo>
                    <a:pt x="50" y="34"/>
                  </a:lnTo>
                  <a:lnTo>
                    <a:pt x="54" y="26"/>
                  </a:lnTo>
                  <a:lnTo>
                    <a:pt x="50" y="18"/>
                  </a:lnTo>
                  <a:lnTo>
                    <a:pt x="40" y="10"/>
                  </a:lnTo>
                  <a:lnTo>
                    <a:pt x="32" y="0"/>
                  </a:lnTo>
                  <a:lnTo>
                    <a:pt x="22" y="4"/>
                  </a:lnTo>
                  <a:lnTo>
                    <a:pt x="16" y="12"/>
                  </a:lnTo>
                  <a:lnTo>
                    <a:pt x="10" y="30"/>
                  </a:lnTo>
                  <a:lnTo>
                    <a:pt x="6" y="38"/>
                  </a:lnTo>
                  <a:lnTo>
                    <a:pt x="2" y="46"/>
                  </a:lnTo>
                  <a:lnTo>
                    <a:pt x="0" y="50"/>
                  </a:lnTo>
                  <a:lnTo>
                    <a:pt x="0" y="54"/>
                  </a:lnTo>
                  <a:lnTo>
                    <a:pt x="0" y="70"/>
                  </a:lnTo>
                  <a:lnTo>
                    <a:pt x="6" y="90"/>
                  </a:lnTo>
                  <a:lnTo>
                    <a:pt x="4" y="94"/>
                  </a:lnTo>
                  <a:lnTo>
                    <a:pt x="2" y="98"/>
                  </a:lnTo>
                  <a:lnTo>
                    <a:pt x="6" y="106"/>
                  </a:lnTo>
                  <a:lnTo>
                    <a:pt x="10" y="112"/>
                  </a:lnTo>
                  <a:lnTo>
                    <a:pt x="14" y="114"/>
                  </a:lnTo>
                  <a:lnTo>
                    <a:pt x="16" y="114"/>
                  </a:lnTo>
                  <a:lnTo>
                    <a:pt x="22" y="114"/>
                  </a:lnTo>
                  <a:lnTo>
                    <a:pt x="28" y="112"/>
                  </a:lnTo>
                  <a:lnTo>
                    <a:pt x="32" y="11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2" name="Freeform 6257">
              <a:extLst>
                <a:ext uri="{FF2B5EF4-FFF2-40B4-BE49-F238E27FC236}">
                  <a16:creationId xmlns:a16="http://schemas.microsoft.com/office/drawing/2014/main" id="{7EC112E4-2036-4294-845D-6E170D56C6B3}"/>
                </a:ext>
              </a:extLst>
            </p:cNvPr>
            <p:cNvSpPr/>
            <p:nvPr/>
          </p:nvSpPr>
          <p:spPr bwMode="auto">
            <a:xfrm>
              <a:off x="5810315" y="4013354"/>
              <a:ext cx="238972" cy="167280"/>
            </a:xfrm>
            <a:custGeom>
              <a:avLst/>
              <a:gdLst>
                <a:gd name="T0" fmla="*/ 514 w 620"/>
                <a:gd name="T1" fmla="*/ 254 h 434"/>
                <a:gd name="T2" fmla="*/ 516 w 620"/>
                <a:gd name="T3" fmla="*/ 234 h 434"/>
                <a:gd name="T4" fmla="*/ 524 w 620"/>
                <a:gd name="T5" fmla="*/ 176 h 434"/>
                <a:gd name="T6" fmla="*/ 512 w 620"/>
                <a:gd name="T7" fmla="*/ 126 h 434"/>
                <a:gd name="T8" fmla="*/ 488 w 620"/>
                <a:gd name="T9" fmla="*/ 96 h 434"/>
                <a:gd name="T10" fmla="*/ 464 w 620"/>
                <a:gd name="T11" fmla="*/ 62 h 434"/>
                <a:gd name="T12" fmla="*/ 448 w 620"/>
                <a:gd name="T13" fmla="*/ 22 h 434"/>
                <a:gd name="T14" fmla="*/ 424 w 620"/>
                <a:gd name="T15" fmla="*/ 0 h 434"/>
                <a:gd name="T16" fmla="*/ 394 w 620"/>
                <a:gd name="T17" fmla="*/ 14 h 434"/>
                <a:gd name="T18" fmla="*/ 342 w 620"/>
                <a:gd name="T19" fmla="*/ 34 h 434"/>
                <a:gd name="T20" fmla="*/ 300 w 620"/>
                <a:gd name="T21" fmla="*/ 50 h 434"/>
                <a:gd name="T22" fmla="*/ 264 w 620"/>
                <a:gd name="T23" fmla="*/ 34 h 434"/>
                <a:gd name="T24" fmla="*/ 226 w 620"/>
                <a:gd name="T25" fmla="*/ 28 h 434"/>
                <a:gd name="T26" fmla="*/ 194 w 620"/>
                <a:gd name="T27" fmla="*/ 18 h 434"/>
                <a:gd name="T28" fmla="*/ 172 w 620"/>
                <a:gd name="T29" fmla="*/ 32 h 434"/>
                <a:gd name="T30" fmla="*/ 146 w 620"/>
                <a:gd name="T31" fmla="*/ 48 h 434"/>
                <a:gd name="T32" fmla="*/ 126 w 620"/>
                <a:gd name="T33" fmla="*/ 62 h 434"/>
                <a:gd name="T34" fmla="*/ 112 w 620"/>
                <a:gd name="T35" fmla="*/ 88 h 434"/>
                <a:gd name="T36" fmla="*/ 92 w 620"/>
                <a:gd name="T37" fmla="*/ 118 h 434"/>
                <a:gd name="T38" fmla="*/ 80 w 620"/>
                <a:gd name="T39" fmla="*/ 146 h 434"/>
                <a:gd name="T40" fmla="*/ 68 w 620"/>
                <a:gd name="T41" fmla="*/ 164 h 434"/>
                <a:gd name="T42" fmla="*/ 60 w 620"/>
                <a:gd name="T43" fmla="*/ 186 h 434"/>
                <a:gd name="T44" fmla="*/ 34 w 620"/>
                <a:gd name="T45" fmla="*/ 196 h 434"/>
                <a:gd name="T46" fmla="*/ 24 w 620"/>
                <a:gd name="T47" fmla="*/ 206 h 434"/>
                <a:gd name="T48" fmla="*/ 6 w 620"/>
                <a:gd name="T49" fmla="*/ 220 h 434"/>
                <a:gd name="T50" fmla="*/ 30 w 620"/>
                <a:gd name="T51" fmla="*/ 244 h 434"/>
                <a:gd name="T52" fmla="*/ 34 w 620"/>
                <a:gd name="T53" fmla="*/ 250 h 434"/>
                <a:gd name="T54" fmla="*/ 34 w 620"/>
                <a:gd name="T55" fmla="*/ 266 h 434"/>
                <a:gd name="T56" fmla="*/ 56 w 620"/>
                <a:gd name="T57" fmla="*/ 284 h 434"/>
                <a:gd name="T58" fmla="*/ 80 w 620"/>
                <a:gd name="T59" fmla="*/ 296 h 434"/>
                <a:gd name="T60" fmla="*/ 76 w 620"/>
                <a:gd name="T61" fmla="*/ 308 h 434"/>
                <a:gd name="T62" fmla="*/ 74 w 620"/>
                <a:gd name="T63" fmla="*/ 314 h 434"/>
                <a:gd name="T64" fmla="*/ 82 w 620"/>
                <a:gd name="T65" fmla="*/ 324 h 434"/>
                <a:gd name="T66" fmla="*/ 84 w 620"/>
                <a:gd name="T67" fmla="*/ 332 h 434"/>
                <a:gd name="T68" fmla="*/ 116 w 620"/>
                <a:gd name="T69" fmla="*/ 348 h 434"/>
                <a:gd name="T70" fmla="*/ 156 w 620"/>
                <a:gd name="T71" fmla="*/ 344 h 434"/>
                <a:gd name="T72" fmla="*/ 150 w 620"/>
                <a:gd name="T73" fmla="*/ 354 h 434"/>
                <a:gd name="T74" fmla="*/ 156 w 620"/>
                <a:gd name="T75" fmla="*/ 374 h 434"/>
                <a:gd name="T76" fmla="*/ 176 w 620"/>
                <a:gd name="T77" fmla="*/ 392 h 434"/>
                <a:gd name="T78" fmla="*/ 172 w 620"/>
                <a:gd name="T79" fmla="*/ 408 h 434"/>
                <a:gd name="T80" fmla="*/ 214 w 620"/>
                <a:gd name="T81" fmla="*/ 418 h 434"/>
                <a:gd name="T82" fmla="*/ 322 w 620"/>
                <a:gd name="T83" fmla="*/ 432 h 434"/>
                <a:gd name="T84" fmla="*/ 390 w 620"/>
                <a:gd name="T85" fmla="*/ 404 h 434"/>
                <a:gd name="T86" fmla="*/ 470 w 620"/>
                <a:gd name="T87" fmla="*/ 402 h 434"/>
                <a:gd name="T88" fmla="*/ 500 w 620"/>
                <a:gd name="T89" fmla="*/ 406 h 434"/>
                <a:gd name="T90" fmla="*/ 536 w 620"/>
                <a:gd name="T91" fmla="*/ 428 h 434"/>
                <a:gd name="T92" fmla="*/ 554 w 620"/>
                <a:gd name="T93" fmla="*/ 370 h 434"/>
                <a:gd name="T94" fmla="*/ 564 w 620"/>
                <a:gd name="T95" fmla="*/ 346 h 434"/>
                <a:gd name="T96" fmla="*/ 568 w 620"/>
                <a:gd name="T97" fmla="*/ 316 h 434"/>
                <a:gd name="T98" fmla="*/ 578 w 620"/>
                <a:gd name="T99" fmla="*/ 330 h 434"/>
                <a:gd name="T100" fmla="*/ 618 w 620"/>
                <a:gd name="T101" fmla="*/ 298 h 434"/>
                <a:gd name="T102" fmla="*/ 600 w 620"/>
                <a:gd name="T103" fmla="*/ 272 h 434"/>
                <a:gd name="T104" fmla="*/ 558 w 620"/>
                <a:gd name="T105" fmla="*/ 284 h 434"/>
                <a:gd name="T106" fmla="*/ 558 w 620"/>
                <a:gd name="T107" fmla="*/ 290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20" h="433">
                  <a:moveTo>
                    <a:pt x="522" y="270"/>
                  </a:moveTo>
                  <a:lnTo>
                    <a:pt x="518" y="264"/>
                  </a:lnTo>
                  <a:lnTo>
                    <a:pt x="516" y="258"/>
                  </a:lnTo>
                  <a:lnTo>
                    <a:pt x="512" y="256"/>
                  </a:lnTo>
                  <a:lnTo>
                    <a:pt x="514" y="254"/>
                  </a:lnTo>
                  <a:lnTo>
                    <a:pt x="516" y="254"/>
                  </a:lnTo>
                  <a:lnTo>
                    <a:pt x="518" y="252"/>
                  </a:lnTo>
                  <a:lnTo>
                    <a:pt x="518" y="246"/>
                  </a:lnTo>
                  <a:lnTo>
                    <a:pt x="516" y="238"/>
                  </a:lnTo>
                  <a:lnTo>
                    <a:pt x="516" y="234"/>
                  </a:lnTo>
                  <a:lnTo>
                    <a:pt x="516" y="230"/>
                  </a:lnTo>
                  <a:lnTo>
                    <a:pt x="514" y="220"/>
                  </a:lnTo>
                  <a:lnTo>
                    <a:pt x="516" y="206"/>
                  </a:lnTo>
                  <a:lnTo>
                    <a:pt x="520" y="186"/>
                  </a:lnTo>
                  <a:lnTo>
                    <a:pt x="524" y="176"/>
                  </a:lnTo>
                  <a:lnTo>
                    <a:pt x="522" y="170"/>
                  </a:lnTo>
                  <a:lnTo>
                    <a:pt x="524" y="158"/>
                  </a:lnTo>
                  <a:lnTo>
                    <a:pt x="522" y="152"/>
                  </a:lnTo>
                  <a:lnTo>
                    <a:pt x="518" y="144"/>
                  </a:lnTo>
                  <a:lnTo>
                    <a:pt x="512" y="126"/>
                  </a:lnTo>
                  <a:lnTo>
                    <a:pt x="506" y="120"/>
                  </a:lnTo>
                  <a:lnTo>
                    <a:pt x="498" y="112"/>
                  </a:lnTo>
                  <a:lnTo>
                    <a:pt x="494" y="108"/>
                  </a:lnTo>
                  <a:lnTo>
                    <a:pt x="492" y="102"/>
                  </a:lnTo>
                  <a:lnTo>
                    <a:pt x="488" y="96"/>
                  </a:lnTo>
                  <a:lnTo>
                    <a:pt x="482" y="90"/>
                  </a:lnTo>
                  <a:lnTo>
                    <a:pt x="476" y="78"/>
                  </a:lnTo>
                  <a:lnTo>
                    <a:pt x="472" y="72"/>
                  </a:lnTo>
                  <a:lnTo>
                    <a:pt x="472" y="70"/>
                  </a:lnTo>
                  <a:lnTo>
                    <a:pt x="464" y="62"/>
                  </a:lnTo>
                  <a:lnTo>
                    <a:pt x="460" y="54"/>
                  </a:lnTo>
                  <a:lnTo>
                    <a:pt x="458" y="48"/>
                  </a:lnTo>
                  <a:lnTo>
                    <a:pt x="458" y="42"/>
                  </a:lnTo>
                  <a:lnTo>
                    <a:pt x="452" y="30"/>
                  </a:lnTo>
                  <a:lnTo>
                    <a:pt x="448" y="22"/>
                  </a:lnTo>
                  <a:lnTo>
                    <a:pt x="444" y="16"/>
                  </a:lnTo>
                  <a:lnTo>
                    <a:pt x="440" y="10"/>
                  </a:lnTo>
                  <a:lnTo>
                    <a:pt x="436" y="6"/>
                  </a:lnTo>
                  <a:lnTo>
                    <a:pt x="428" y="2"/>
                  </a:lnTo>
                  <a:lnTo>
                    <a:pt x="424" y="0"/>
                  </a:lnTo>
                  <a:lnTo>
                    <a:pt x="418" y="0"/>
                  </a:lnTo>
                  <a:lnTo>
                    <a:pt x="414" y="2"/>
                  </a:lnTo>
                  <a:lnTo>
                    <a:pt x="406" y="4"/>
                  </a:lnTo>
                  <a:lnTo>
                    <a:pt x="396" y="6"/>
                  </a:lnTo>
                  <a:lnTo>
                    <a:pt x="394" y="14"/>
                  </a:lnTo>
                  <a:lnTo>
                    <a:pt x="392" y="20"/>
                  </a:lnTo>
                  <a:lnTo>
                    <a:pt x="388" y="26"/>
                  </a:lnTo>
                  <a:lnTo>
                    <a:pt x="370" y="30"/>
                  </a:lnTo>
                  <a:lnTo>
                    <a:pt x="356" y="32"/>
                  </a:lnTo>
                  <a:lnTo>
                    <a:pt x="342" y="34"/>
                  </a:lnTo>
                  <a:lnTo>
                    <a:pt x="322" y="44"/>
                  </a:lnTo>
                  <a:lnTo>
                    <a:pt x="316" y="52"/>
                  </a:lnTo>
                  <a:lnTo>
                    <a:pt x="310" y="54"/>
                  </a:lnTo>
                  <a:lnTo>
                    <a:pt x="304" y="54"/>
                  </a:lnTo>
                  <a:lnTo>
                    <a:pt x="300" y="50"/>
                  </a:lnTo>
                  <a:lnTo>
                    <a:pt x="288" y="38"/>
                  </a:lnTo>
                  <a:lnTo>
                    <a:pt x="284" y="32"/>
                  </a:lnTo>
                  <a:lnTo>
                    <a:pt x="278" y="32"/>
                  </a:lnTo>
                  <a:lnTo>
                    <a:pt x="270" y="32"/>
                  </a:lnTo>
                  <a:lnTo>
                    <a:pt x="264" y="34"/>
                  </a:lnTo>
                  <a:lnTo>
                    <a:pt x="258" y="36"/>
                  </a:lnTo>
                  <a:lnTo>
                    <a:pt x="250" y="32"/>
                  </a:lnTo>
                  <a:lnTo>
                    <a:pt x="248" y="32"/>
                  </a:lnTo>
                  <a:lnTo>
                    <a:pt x="246" y="32"/>
                  </a:lnTo>
                  <a:lnTo>
                    <a:pt x="226" y="28"/>
                  </a:lnTo>
                  <a:lnTo>
                    <a:pt x="224" y="28"/>
                  </a:lnTo>
                  <a:lnTo>
                    <a:pt x="224" y="26"/>
                  </a:lnTo>
                  <a:lnTo>
                    <a:pt x="222" y="26"/>
                  </a:lnTo>
                  <a:lnTo>
                    <a:pt x="206" y="28"/>
                  </a:lnTo>
                  <a:lnTo>
                    <a:pt x="194" y="18"/>
                  </a:lnTo>
                  <a:lnTo>
                    <a:pt x="190" y="18"/>
                  </a:lnTo>
                  <a:lnTo>
                    <a:pt x="186" y="22"/>
                  </a:lnTo>
                  <a:lnTo>
                    <a:pt x="184" y="26"/>
                  </a:lnTo>
                  <a:lnTo>
                    <a:pt x="174" y="30"/>
                  </a:lnTo>
                  <a:lnTo>
                    <a:pt x="172" y="32"/>
                  </a:lnTo>
                  <a:lnTo>
                    <a:pt x="170" y="34"/>
                  </a:lnTo>
                  <a:lnTo>
                    <a:pt x="158" y="46"/>
                  </a:lnTo>
                  <a:lnTo>
                    <a:pt x="154" y="48"/>
                  </a:lnTo>
                  <a:lnTo>
                    <a:pt x="152" y="50"/>
                  </a:lnTo>
                  <a:lnTo>
                    <a:pt x="146" y="48"/>
                  </a:lnTo>
                  <a:lnTo>
                    <a:pt x="142" y="50"/>
                  </a:lnTo>
                  <a:lnTo>
                    <a:pt x="138" y="52"/>
                  </a:lnTo>
                  <a:lnTo>
                    <a:pt x="134" y="52"/>
                  </a:lnTo>
                  <a:lnTo>
                    <a:pt x="130" y="56"/>
                  </a:lnTo>
                  <a:lnTo>
                    <a:pt x="126" y="62"/>
                  </a:lnTo>
                  <a:lnTo>
                    <a:pt x="122" y="68"/>
                  </a:lnTo>
                  <a:lnTo>
                    <a:pt x="116" y="72"/>
                  </a:lnTo>
                  <a:lnTo>
                    <a:pt x="114" y="74"/>
                  </a:lnTo>
                  <a:lnTo>
                    <a:pt x="114" y="86"/>
                  </a:lnTo>
                  <a:lnTo>
                    <a:pt x="112" y="88"/>
                  </a:lnTo>
                  <a:lnTo>
                    <a:pt x="108" y="92"/>
                  </a:lnTo>
                  <a:lnTo>
                    <a:pt x="106" y="94"/>
                  </a:lnTo>
                  <a:lnTo>
                    <a:pt x="100" y="110"/>
                  </a:lnTo>
                  <a:lnTo>
                    <a:pt x="96" y="114"/>
                  </a:lnTo>
                  <a:lnTo>
                    <a:pt x="92" y="118"/>
                  </a:lnTo>
                  <a:lnTo>
                    <a:pt x="92" y="122"/>
                  </a:lnTo>
                  <a:lnTo>
                    <a:pt x="92" y="126"/>
                  </a:lnTo>
                  <a:lnTo>
                    <a:pt x="86" y="134"/>
                  </a:lnTo>
                  <a:lnTo>
                    <a:pt x="82" y="144"/>
                  </a:lnTo>
                  <a:lnTo>
                    <a:pt x="80" y="146"/>
                  </a:lnTo>
                  <a:lnTo>
                    <a:pt x="82" y="152"/>
                  </a:lnTo>
                  <a:lnTo>
                    <a:pt x="76" y="158"/>
                  </a:lnTo>
                  <a:lnTo>
                    <a:pt x="72" y="160"/>
                  </a:lnTo>
                  <a:lnTo>
                    <a:pt x="70" y="160"/>
                  </a:lnTo>
                  <a:lnTo>
                    <a:pt x="68" y="164"/>
                  </a:lnTo>
                  <a:lnTo>
                    <a:pt x="66" y="172"/>
                  </a:lnTo>
                  <a:lnTo>
                    <a:pt x="66" y="176"/>
                  </a:lnTo>
                  <a:lnTo>
                    <a:pt x="66" y="180"/>
                  </a:lnTo>
                  <a:lnTo>
                    <a:pt x="62" y="182"/>
                  </a:lnTo>
                  <a:lnTo>
                    <a:pt x="60" y="186"/>
                  </a:lnTo>
                  <a:lnTo>
                    <a:pt x="58" y="190"/>
                  </a:lnTo>
                  <a:lnTo>
                    <a:pt x="56" y="192"/>
                  </a:lnTo>
                  <a:lnTo>
                    <a:pt x="52" y="196"/>
                  </a:lnTo>
                  <a:lnTo>
                    <a:pt x="38" y="194"/>
                  </a:lnTo>
                  <a:lnTo>
                    <a:pt x="34" y="196"/>
                  </a:lnTo>
                  <a:lnTo>
                    <a:pt x="32" y="198"/>
                  </a:lnTo>
                  <a:lnTo>
                    <a:pt x="32" y="200"/>
                  </a:lnTo>
                  <a:lnTo>
                    <a:pt x="30" y="202"/>
                  </a:lnTo>
                  <a:lnTo>
                    <a:pt x="26" y="204"/>
                  </a:lnTo>
                  <a:lnTo>
                    <a:pt x="24" y="206"/>
                  </a:lnTo>
                  <a:lnTo>
                    <a:pt x="16" y="202"/>
                  </a:lnTo>
                  <a:lnTo>
                    <a:pt x="2" y="206"/>
                  </a:lnTo>
                  <a:lnTo>
                    <a:pt x="0" y="208"/>
                  </a:lnTo>
                  <a:lnTo>
                    <a:pt x="2" y="214"/>
                  </a:lnTo>
                  <a:lnTo>
                    <a:pt x="6" y="220"/>
                  </a:lnTo>
                  <a:lnTo>
                    <a:pt x="12" y="224"/>
                  </a:lnTo>
                  <a:lnTo>
                    <a:pt x="18" y="228"/>
                  </a:lnTo>
                  <a:lnTo>
                    <a:pt x="22" y="230"/>
                  </a:lnTo>
                  <a:lnTo>
                    <a:pt x="26" y="240"/>
                  </a:lnTo>
                  <a:lnTo>
                    <a:pt x="30" y="244"/>
                  </a:lnTo>
                  <a:lnTo>
                    <a:pt x="32" y="244"/>
                  </a:lnTo>
                  <a:lnTo>
                    <a:pt x="34" y="242"/>
                  </a:lnTo>
                  <a:lnTo>
                    <a:pt x="34" y="242"/>
                  </a:lnTo>
                  <a:lnTo>
                    <a:pt x="34" y="244"/>
                  </a:lnTo>
                  <a:lnTo>
                    <a:pt x="34" y="250"/>
                  </a:lnTo>
                  <a:lnTo>
                    <a:pt x="34" y="256"/>
                  </a:lnTo>
                  <a:lnTo>
                    <a:pt x="34" y="262"/>
                  </a:lnTo>
                  <a:lnTo>
                    <a:pt x="34" y="264"/>
                  </a:lnTo>
                  <a:lnTo>
                    <a:pt x="34" y="266"/>
                  </a:lnTo>
                  <a:lnTo>
                    <a:pt x="34" y="266"/>
                  </a:lnTo>
                  <a:lnTo>
                    <a:pt x="36" y="268"/>
                  </a:lnTo>
                  <a:lnTo>
                    <a:pt x="40" y="272"/>
                  </a:lnTo>
                  <a:lnTo>
                    <a:pt x="44" y="278"/>
                  </a:lnTo>
                  <a:lnTo>
                    <a:pt x="50" y="282"/>
                  </a:lnTo>
                  <a:lnTo>
                    <a:pt x="56" y="284"/>
                  </a:lnTo>
                  <a:lnTo>
                    <a:pt x="58" y="284"/>
                  </a:lnTo>
                  <a:lnTo>
                    <a:pt x="64" y="290"/>
                  </a:lnTo>
                  <a:lnTo>
                    <a:pt x="74" y="292"/>
                  </a:lnTo>
                  <a:lnTo>
                    <a:pt x="78" y="294"/>
                  </a:lnTo>
                  <a:lnTo>
                    <a:pt x="80" y="296"/>
                  </a:lnTo>
                  <a:lnTo>
                    <a:pt x="82" y="298"/>
                  </a:lnTo>
                  <a:lnTo>
                    <a:pt x="82" y="300"/>
                  </a:lnTo>
                  <a:lnTo>
                    <a:pt x="80" y="302"/>
                  </a:lnTo>
                  <a:lnTo>
                    <a:pt x="78" y="306"/>
                  </a:lnTo>
                  <a:lnTo>
                    <a:pt x="76" y="308"/>
                  </a:lnTo>
                  <a:lnTo>
                    <a:pt x="74" y="310"/>
                  </a:lnTo>
                  <a:lnTo>
                    <a:pt x="74" y="310"/>
                  </a:lnTo>
                  <a:lnTo>
                    <a:pt x="72" y="312"/>
                  </a:lnTo>
                  <a:lnTo>
                    <a:pt x="72" y="312"/>
                  </a:lnTo>
                  <a:lnTo>
                    <a:pt x="74" y="314"/>
                  </a:lnTo>
                  <a:lnTo>
                    <a:pt x="76" y="316"/>
                  </a:lnTo>
                  <a:lnTo>
                    <a:pt x="80" y="318"/>
                  </a:lnTo>
                  <a:lnTo>
                    <a:pt x="84" y="320"/>
                  </a:lnTo>
                  <a:lnTo>
                    <a:pt x="84" y="322"/>
                  </a:lnTo>
                  <a:lnTo>
                    <a:pt x="82" y="324"/>
                  </a:lnTo>
                  <a:lnTo>
                    <a:pt x="78" y="324"/>
                  </a:lnTo>
                  <a:lnTo>
                    <a:pt x="74" y="324"/>
                  </a:lnTo>
                  <a:lnTo>
                    <a:pt x="72" y="324"/>
                  </a:lnTo>
                  <a:lnTo>
                    <a:pt x="72" y="328"/>
                  </a:lnTo>
                  <a:lnTo>
                    <a:pt x="84" y="332"/>
                  </a:lnTo>
                  <a:lnTo>
                    <a:pt x="88" y="334"/>
                  </a:lnTo>
                  <a:lnTo>
                    <a:pt x="90" y="338"/>
                  </a:lnTo>
                  <a:lnTo>
                    <a:pt x="98" y="342"/>
                  </a:lnTo>
                  <a:lnTo>
                    <a:pt x="108" y="342"/>
                  </a:lnTo>
                  <a:lnTo>
                    <a:pt x="116" y="348"/>
                  </a:lnTo>
                  <a:lnTo>
                    <a:pt x="120" y="354"/>
                  </a:lnTo>
                  <a:lnTo>
                    <a:pt x="128" y="352"/>
                  </a:lnTo>
                  <a:lnTo>
                    <a:pt x="138" y="342"/>
                  </a:lnTo>
                  <a:lnTo>
                    <a:pt x="148" y="340"/>
                  </a:lnTo>
                  <a:lnTo>
                    <a:pt x="156" y="344"/>
                  </a:lnTo>
                  <a:lnTo>
                    <a:pt x="162" y="348"/>
                  </a:lnTo>
                  <a:lnTo>
                    <a:pt x="162" y="352"/>
                  </a:lnTo>
                  <a:lnTo>
                    <a:pt x="160" y="354"/>
                  </a:lnTo>
                  <a:lnTo>
                    <a:pt x="156" y="352"/>
                  </a:lnTo>
                  <a:lnTo>
                    <a:pt x="150" y="354"/>
                  </a:lnTo>
                  <a:lnTo>
                    <a:pt x="148" y="360"/>
                  </a:lnTo>
                  <a:lnTo>
                    <a:pt x="146" y="364"/>
                  </a:lnTo>
                  <a:lnTo>
                    <a:pt x="150" y="370"/>
                  </a:lnTo>
                  <a:lnTo>
                    <a:pt x="152" y="372"/>
                  </a:lnTo>
                  <a:lnTo>
                    <a:pt x="156" y="374"/>
                  </a:lnTo>
                  <a:lnTo>
                    <a:pt x="160" y="378"/>
                  </a:lnTo>
                  <a:lnTo>
                    <a:pt x="160" y="382"/>
                  </a:lnTo>
                  <a:lnTo>
                    <a:pt x="160" y="382"/>
                  </a:lnTo>
                  <a:lnTo>
                    <a:pt x="166" y="386"/>
                  </a:lnTo>
                  <a:lnTo>
                    <a:pt x="176" y="392"/>
                  </a:lnTo>
                  <a:lnTo>
                    <a:pt x="182" y="396"/>
                  </a:lnTo>
                  <a:lnTo>
                    <a:pt x="182" y="400"/>
                  </a:lnTo>
                  <a:lnTo>
                    <a:pt x="180" y="402"/>
                  </a:lnTo>
                  <a:lnTo>
                    <a:pt x="174" y="406"/>
                  </a:lnTo>
                  <a:lnTo>
                    <a:pt x="172" y="408"/>
                  </a:lnTo>
                  <a:lnTo>
                    <a:pt x="170" y="414"/>
                  </a:lnTo>
                  <a:lnTo>
                    <a:pt x="172" y="416"/>
                  </a:lnTo>
                  <a:lnTo>
                    <a:pt x="174" y="420"/>
                  </a:lnTo>
                  <a:lnTo>
                    <a:pt x="194" y="416"/>
                  </a:lnTo>
                  <a:lnTo>
                    <a:pt x="214" y="418"/>
                  </a:lnTo>
                  <a:lnTo>
                    <a:pt x="242" y="424"/>
                  </a:lnTo>
                  <a:lnTo>
                    <a:pt x="260" y="426"/>
                  </a:lnTo>
                  <a:lnTo>
                    <a:pt x="274" y="422"/>
                  </a:lnTo>
                  <a:lnTo>
                    <a:pt x="298" y="428"/>
                  </a:lnTo>
                  <a:lnTo>
                    <a:pt x="322" y="432"/>
                  </a:lnTo>
                  <a:lnTo>
                    <a:pt x="344" y="434"/>
                  </a:lnTo>
                  <a:lnTo>
                    <a:pt x="356" y="430"/>
                  </a:lnTo>
                  <a:lnTo>
                    <a:pt x="364" y="426"/>
                  </a:lnTo>
                  <a:lnTo>
                    <a:pt x="372" y="416"/>
                  </a:lnTo>
                  <a:lnTo>
                    <a:pt x="390" y="404"/>
                  </a:lnTo>
                  <a:lnTo>
                    <a:pt x="408" y="396"/>
                  </a:lnTo>
                  <a:lnTo>
                    <a:pt x="432" y="390"/>
                  </a:lnTo>
                  <a:lnTo>
                    <a:pt x="448" y="388"/>
                  </a:lnTo>
                  <a:lnTo>
                    <a:pt x="450" y="390"/>
                  </a:lnTo>
                  <a:lnTo>
                    <a:pt x="470" y="402"/>
                  </a:lnTo>
                  <a:lnTo>
                    <a:pt x="478" y="402"/>
                  </a:lnTo>
                  <a:lnTo>
                    <a:pt x="486" y="404"/>
                  </a:lnTo>
                  <a:lnTo>
                    <a:pt x="488" y="408"/>
                  </a:lnTo>
                  <a:lnTo>
                    <a:pt x="490" y="408"/>
                  </a:lnTo>
                  <a:lnTo>
                    <a:pt x="500" y="406"/>
                  </a:lnTo>
                  <a:lnTo>
                    <a:pt x="504" y="412"/>
                  </a:lnTo>
                  <a:lnTo>
                    <a:pt x="510" y="420"/>
                  </a:lnTo>
                  <a:lnTo>
                    <a:pt x="522" y="424"/>
                  </a:lnTo>
                  <a:lnTo>
                    <a:pt x="532" y="426"/>
                  </a:lnTo>
                  <a:lnTo>
                    <a:pt x="536" y="428"/>
                  </a:lnTo>
                  <a:lnTo>
                    <a:pt x="546" y="428"/>
                  </a:lnTo>
                  <a:lnTo>
                    <a:pt x="546" y="422"/>
                  </a:lnTo>
                  <a:lnTo>
                    <a:pt x="550" y="406"/>
                  </a:lnTo>
                  <a:lnTo>
                    <a:pt x="550" y="376"/>
                  </a:lnTo>
                  <a:lnTo>
                    <a:pt x="554" y="370"/>
                  </a:lnTo>
                  <a:lnTo>
                    <a:pt x="564" y="358"/>
                  </a:lnTo>
                  <a:lnTo>
                    <a:pt x="566" y="352"/>
                  </a:lnTo>
                  <a:lnTo>
                    <a:pt x="560" y="352"/>
                  </a:lnTo>
                  <a:lnTo>
                    <a:pt x="562" y="348"/>
                  </a:lnTo>
                  <a:lnTo>
                    <a:pt x="564" y="346"/>
                  </a:lnTo>
                  <a:lnTo>
                    <a:pt x="564" y="338"/>
                  </a:lnTo>
                  <a:lnTo>
                    <a:pt x="564" y="336"/>
                  </a:lnTo>
                  <a:lnTo>
                    <a:pt x="568" y="330"/>
                  </a:lnTo>
                  <a:lnTo>
                    <a:pt x="566" y="320"/>
                  </a:lnTo>
                  <a:lnTo>
                    <a:pt x="568" y="316"/>
                  </a:lnTo>
                  <a:lnTo>
                    <a:pt x="572" y="312"/>
                  </a:lnTo>
                  <a:lnTo>
                    <a:pt x="580" y="314"/>
                  </a:lnTo>
                  <a:lnTo>
                    <a:pt x="576" y="318"/>
                  </a:lnTo>
                  <a:lnTo>
                    <a:pt x="578" y="324"/>
                  </a:lnTo>
                  <a:lnTo>
                    <a:pt x="578" y="330"/>
                  </a:lnTo>
                  <a:lnTo>
                    <a:pt x="576" y="334"/>
                  </a:lnTo>
                  <a:lnTo>
                    <a:pt x="610" y="326"/>
                  </a:lnTo>
                  <a:lnTo>
                    <a:pt x="614" y="320"/>
                  </a:lnTo>
                  <a:lnTo>
                    <a:pt x="616" y="314"/>
                  </a:lnTo>
                  <a:lnTo>
                    <a:pt x="618" y="298"/>
                  </a:lnTo>
                  <a:lnTo>
                    <a:pt x="618" y="294"/>
                  </a:lnTo>
                  <a:lnTo>
                    <a:pt x="620" y="288"/>
                  </a:lnTo>
                  <a:lnTo>
                    <a:pt x="616" y="282"/>
                  </a:lnTo>
                  <a:lnTo>
                    <a:pt x="610" y="278"/>
                  </a:lnTo>
                  <a:lnTo>
                    <a:pt x="600" y="272"/>
                  </a:lnTo>
                  <a:lnTo>
                    <a:pt x="588" y="274"/>
                  </a:lnTo>
                  <a:lnTo>
                    <a:pt x="576" y="282"/>
                  </a:lnTo>
                  <a:lnTo>
                    <a:pt x="566" y="284"/>
                  </a:lnTo>
                  <a:lnTo>
                    <a:pt x="562" y="284"/>
                  </a:lnTo>
                  <a:lnTo>
                    <a:pt x="558" y="284"/>
                  </a:lnTo>
                  <a:lnTo>
                    <a:pt x="558" y="286"/>
                  </a:lnTo>
                  <a:lnTo>
                    <a:pt x="558" y="288"/>
                  </a:lnTo>
                  <a:lnTo>
                    <a:pt x="560" y="288"/>
                  </a:lnTo>
                  <a:lnTo>
                    <a:pt x="560" y="290"/>
                  </a:lnTo>
                  <a:lnTo>
                    <a:pt x="558" y="290"/>
                  </a:lnTo>
                  <a:lnTo>
                    <a:pt x="538" y="284"/>
                  </a:lnTo>
                  <a:lnTo>
                    <a:pt x="528" y="280"/>
                  </a:lnTo>
                  <a:lnTo>
                    <a:pt x="522" y="27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3" name="Freeform 6261">
              <a:extLst>
                <a:ext uri="{FF2B5EF4-FFF2-40B4-BE49-F238E27FC236}">
                  <a16:creationId xmlns:a16="http://schemas.microsoft.com/office/drawing/2014/main" id="{04C50908-25E2-494E-8C4D-4566AA1D705A}"/>
                </a:ext>
              </a:extLst>
            </p:cNvPr>
            <p:cNvSpPr/>
            <p:nvPr/>
          </p:nvSpPr>
          <p:spPr bwMode="auto">
            <a:xfrm>
              <a:off x="6027703" y="5436392"/>
              <a:ext cx="50878" cy="43940"/>
            </a:xfrm>
            <a:custGeom>
              <a:avLst/>
              <a:gdLst>
                <a:gd name="T0" fmla="*/ 106 w 132"/>
                <a:gd name="T1" fmla="*/ 0 h 114"/>
                <a:gd name="T2" fmla="*/ 98 w 132"/>
                <a:gd name="T3" fmla="*/ 0 h 114"/>
                <a:gd name="T4" fmla="*/ 94 w 132"/>
                <a:gd name="T5" fmla="*/ 8 h 114"/>
                <a:gd name="T6" fmla="*/ 84 w 132"/>
                <a:gd name="T7" fmla="*/ 18 h 114"/>
                <a:gd name="T8" fmla="*/ 74 w 132"/>
                <a:gd name="T9" fmla="*/ 26 h 114"/>
                <a:gd name="T10" fmla="*/ 68 w 132"/>
                <a:gd name="T11" fmla="*/ 26 h 114"/>
                <a:gd name="T12" fmla="*/ 64 w 132"/>
                <a:gd name="T13" fmla="*/ 20 h 114"/>
                <a:gd name="T14" fmla="*/ 50 w 132"/>
                <a:gd name="T15" fmla="*/ 22 h 114"/>
                <a:gd name="T16" fmla="*/ 44 w 132"/>
                <a:gd name="T17" fmla="*/ 22 h 114"/>
                <a:gd name="T18" fmla="*/ 36 w 132"/>
                <a:gd name="T19" fmla="*/ 30 h 114"/>
                <a:gd name="T20" fmla="*/ 26 w 132"/>
                <a:gd name="T21" fmla="*/ 36 h 114"/>
                <a:gd name="T22" fmla="*/ 26 w 132"/>
                <a:gd name="T23" fmla="*/ 44 h 114"/>
                <a:gd name="T24" fmla="*/ 32 w 132"/>
                <a:gd name="T25" fmla="*/ 62 h 114"/>
                <a:gd name="T26" fmla="*/ 28 w 132"/>
                <a:gd name="T27" fmla="*/ 68 h 114"/>
                <a:gd name="T28" fmla="*/ 24 w 132"/>
                <a:gd name="T29" fmla="*/ 72 h 114"/>
                <a:gd name="T30" fmla="*/ 16 w 132"/>
                <a:gd name="T31" fmla="*/ 82 h 114"/>
                <a:gd name="T32" fmla="*/ 12 w 132"/>
                <a:gd name="T33" fmla="*/ 84 h 114"/>
                <a:gd name="T34" fmla="*/ 4 w 132"/>
                <a:gd name="T35" fmla="*/ 90 h 114"/>
                <a:gd name="T36" fmla="*/ 2 w 132"/>
                <a:gd name="T37" fmla="*/ 98 h 114"/>
                <a:gd name="T38" fmla="*/ 4 w 132"/>
                <a:gd name="T39" fmla="*/ 106 h 114"/>
                <a:gd name="T40" fmla="*/ 12 w 132"/>
                <a:gd name="T41" fmla="*/ 106 h 114"/>
                <a:gd name="T42" fmla="*/ 16 w 132"/>
                <a:gd name="T43" fmla="*/ 100 h 114"/>
                <a:gd name="T44" fmla="*/ 28 w 132"/>
                <a:gd name="T45" fmla="*/ 106 h 114"/>
                <a:gd name="T46" fmla="*/ 34 w 132"/>
                <a:gd name="T47" fmla="*/ 114 h 114"/>
                <a:gd name="T48" fmla="*/ 52 w 132"/>
                <a:gd name="T49" fmla="*/ 114 h 114"/>
                <a:gd name="T50" fmla="*/ 60 w 132"/>
                <a:gd name="T51" fmla="*/ 112 h 114"/>
                <a:gd name="T52" fmla="*/ 68 w 132"/>
                <a:gd name="T53" fmla="*/ 106 h 114"/>
                <a:gd name="T54" fmla="*/ 70 w 132"/>
                <a:gd name="T55" fmla="*/ 84 h 114"/>
                <a:gd name="T56" fmla="*/ 80 w 132"/>
                <a:gd name="T57" fmla="*/ 88 h 114"/>
                <a:gd name="T58" fmla="*/ 84 w 132"/>
                <a:gd name="T59" fmla="*/ 88 h 114"/>
                <a:gd name="T60" fmla="*/ 90 w 132"/>
                <a:gd name="T61" fmla="*/ 84 h 114"/>
                <a:gd name="T62" fmla="*/ 102 w 132"/>
                <a:gd name="T63" fmla="*/ 82 h 114"/>
                <a:gd name="T64" fmla="*/ 110 w 132"/>
                <a:gd name="T65" fmla="*/ 88 h 114"/>
                <a:gd name="T66" fmla="*/ 114 w 132"/>
                <a:gd name="T67" fmla="*/ 88 h 114"/>
                <a:gd name="T68" fmla="*/ 122 w 132"/>
                <a:gd name="T69" fmla="*/ 86 h 114"/>
                <a:gd name="T70" fmla="*/ 128 w 132"/>
                <a:gd name="T71" fmla="*/ 86 h 114"/>
                <a:gd name="T72" fmla="*/ 130 w 132"/>
                <a:gd name="T73" fmla="*/ 80 h 114"/>
                <a:gd name="T74" fmla="*/ 132 w 132"/>
                <a:gd name="T75" fmla="*/ 64 h 114"/>
                <a:gd name="T76" fmla="*/ 128 w 132"/>
                <a:gd name="T77" fmla="*/ 52 h 114"/>
                <a:gd name="T78" fmla="*/ 128 w 132"/>
                <a:gd name="T79" fmla="*/ 32 h 114"/>
                <a:gd name="T80" fmla="*/ 122 w 132"/>
                <a:gd name="T81" fmla="*/ 22 h 114"/>
                <a:gd name="T82" fmla="*/ 108 w 132"/>
                <a:gd name="T83" fmla="*/ 10 h 114"/>
                <a:gd name="T84" fmla="*/ 106 w 132"/>
                <a:gd name="T85" fmla="*/ 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2" h="114">
                  <a:moveTo>
                    <a:pt x="108" y="0"/>
                  </a:moveTo>
                  <a:lnTo>
                    <a:pt x="106" y="0"/>
                  </a:lnTo>
                  <a:lnTo>
                    <a:pt x="102" y="0"/>
                  </a:lnTo>
                  <a:lnTo>
                    <a:pt x="98" y="0"/>
                  </a:lnTo>
                  <a:lnTo>
                    <a:pt x="96" y="4"/>
                  </a:lnTo>
                  <a:lnTo>
                    <a:pt x="94" y="8"/>
                  </a:lnTo>
                  <a:lnTo>
                    <a:pt x="88" y="12"/>
                  </a:lnTo>
                  <a:lnTo>
                    <a:pt x="84" y="18"/>
                  </a:lnTo>
                  <a:lnTo>
                    <a:pt x="82" y="20"/>
                  </a:lnTo>
                  <a:lnTo>
                    <a:pt x="74" y="26"/>
                  </a:lnTo>
                  <a:lnTo>
                    <a:pt x="70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4" y="20"/>
                  </a:lnTo>
                  <a:lnTo>
                    <a:pt x="64" y="18"/>
                  </a:lnTo>
                  <a:lnTo>
                    <a:pt x="50" y="22"/>
                  </a:lnTo>
                  <a:lnTo>
                    <a:pt x="48" y="22"/>
                  </a:lnTo>
                  <a:lnTo>
                    <a:pt x="44" y="22"/>
                  </a:lnTo>
                  <a:lnTo>
                    <a:pt x="40" y="26"/>
                  </a:lnTo>
                  <a:lnTo>
                    <a:pt x="36" y="30"/>
                  </a:lnTo>
                  <a:lnTo>
                    <a:pt x="32" y="30"/>
                  </a:lnTo>
                  <a:lnTo>
                    <a:pt x="26" y="36"/>
                  </a:lnTo>
                  <a:lnTo>
                    <a:pt x="24" y="42"/>
                  </a:lnTo>
                  <a:lnTo>
                    <a:pt x="26" y="44"/>
                  </a:lnTo>
                  <a:lnTo>
                    <a:pt x="28" y="52"/>
                  </a:lnTo>
                  <a:lnTo>
                    <a:pt x="32" y="62"/>
                  </a:lnTo>
                  <a:lnTo>
                    <a:pt x="32" y="66"/>
                  </a:lnTo>
                  <a:lnTo>
                    <a:pt x="28" y="68"/>
                  </a:lnTo>
                  <a:lnTo>
                    <a:pt x="26" y="70"/>
                  </a:lnTo>
                  <a:lnTo>
                    <a:pt x="24" y="72"/>
                  </a:lnTo>
                  <a:lnTo>
                    <a:pt x="20" y="80"/>
                  </a:lnTo>
                  <a:lnTo>
                    <a:pt x="16" y="82"/>
                  </a:lnTo>
                  <a:lnTo>
                    <a:pt x="14" y="84"/>
                  </a:lnTo>
                  <a:lnTo>
                    <a:pt x="12" y="84"/>
                  </a:lnTo>
                  <a:lnTo>
                    <a:pt x="8" y="86"/>
                  </a:lnTo>
                  <a:lnTo>
                    <a:pt x="4" y="90"/>
                  </a:lnTo>
                  <a:lnTo>
                    <a:pt x="0" y="90"/>
                  </a:lnTo>
                  <a:lnTo>
                    <a:pt x="2" y="98"/>
                  </a:lnTo>
                  <a:lnTo>
                    <a:pt x="2" y="104"/>
                  </a:lnTo>
                  <a:lnTo>
                    <a:pt x="4" y="106"/>
                  </a:lnTo>
                  <a:lnTo>
                    <a:pt x="10" y="108"/>
                  </a:lnTo>
                  <a:lnTo>
                    <a:pt x="12" y="106"/>
                  </a:lnTo>
                  <a:lnTo>
                    <a:pt x="14" y="102"/>
                  </a:lnTo>
                  <a:lnTo>
                    <a:pt x="16" y="100"/>
                  </a:lnTo>
                  <a:lnTo>
                    <a:pt x="22" y="102"/>
                  </a:lnTo>
                  <a:lnTo>
                    <a:pt x="28" y="106"/>
                  </a:lnTo>
                  <a:lnTo>
                    <a:pt x="32" y="114"/>
                  </a:lnTo>
                  <a:lnTo>
                    <a:pt x="34" y="114"/>
                  </a:lnTo>
                  <a:lnTo>
                    <a:pt x="40" y="114"/>
                  </a:lnTo>
                  <a:lnTo>
                    <a:pt x="52" y="114"/>
                  </a:lnTo>
                  <a:lnTo>
                    <a:pt x="54" y="114"/>
                  </a:lnTo>
                  <a:lnTo>
                    <a:pt x="60" y="112"/>
                  </a:lnTo>
                  <a:lnTo>
                    <a:pt x="66" y="108"/>
                  </a:lnTo>
                  <a:lnTo>
                    <a:pt x="68" y="106"/>
                  </a:lnTo>
                  <a:lnTo>
                    <a:pt x="70" y="98"/>
                  </a:lnTo>
                  <a:lnTo>
                    <a:pt x="70" y="84"/>
                  </a:lnTo>
                  <a:lnTo>
                    <a:pt x="72" y="84"/>
                  </a:lnTo>
                  <a:lnTo>
                    <a:pt x="80" y="88"/>
                  </a:lnTo>
                  <a:lnTo>
                    <a:pt x="82" y="90"/>
                  </a:lnTo>
                  <a:lnTo>
                    <a:pt x="84" y="88"/>
                  </a:lnTo>
                  <a:lnTo>
                    <a:pt x="86" y="86"/>
                  </a:lnTo>
                  <a:lnTo>
                    <a:pt x="90" y="84"/>
                  </a:lnTo>
                  <a:lnTo>
                    <a:pt x="92" y="84"/>
                  </a:lnTo>
                  <a:lnTo>
                    <a:pt x="102" y="82"/>
                  </a:lnTo>
                  <a:lnTo>
                    <a:pt x="106" y="86"/>
                  </a:lnTo>
                  <a:lnTo>
                    <a:pt x="110" y="88"/>
                  </a:lnTo>
                  <a:lnTo>
                    <a:pt x="112" y="88"/>
                  </a:lnTo>
                  <a:lnTo>
                    <a:pt x="114" y="88"/>
                  </a:lnTo>
                  <a:lnTo>
                    <a:pt x="118" y="86"/>
                  </a:lnTo>
                  <a:lnTo>
                    <a:pt x="122" y="86"/>
                  </a:lnTo>
                  <a:lnTo>
                    <a:pt x="124" y="86"/>
                  </a:lnTo>
                  <a:lnTo>
                    <a:pt x="128" y="86"/>
                  </a:lnTo>
                  <a:lnTo>
                    <a:pt x="130" y="84"/>
                  </a:lnTo>
                  <a:lnTo>
                    <a:pt x="130" y="80"/>
                  </a:lnTo>
                  <a:lnTo>
                    <a:pt x="132" y="72"/>
                  </a:lnTo>
                  <a:lnTo>
                    <a:pt x="132" y="64"/>
                  </a:lnTo>
                  <a:lnTo>
                    <a:pt x="128" y="60"/>
                  </a:lnTo>
                  <a:lnTo>
                    <a:pt x="128" y="52"/>
                  </a:lnTo>
                  <a:lnTo>
                    <a:pt x="130" y="42"/>
                  </a:lnTo>
                  <a:lnTo>
                    <a:pt x="128" y="32"/>
                  </a:lnTo>
                  <a:lnTo>
                    <a:pt x="124" y="26"/>
                  </a:lnTo>
                  <a:lnTo>
                    <a:pt x="122" y="22"/>
                  </a:lnTo>
                  <a:lnTo>
                    <a:pt x="116" y="20"/>
                  </a:lnTo>
                  <a:lnTo>
                    <a:pt x="108" y="10"/>
                  </a:lnTo>
                  <a:lnTo>
                    <a:pt x="106" y="4"/>
                  </a:lnTo>
                  <a:lnTo>
                    <a:pt x="106" y="2"/>
                  </a:lnTo>
                  <a:lnTo>
                    <a:pt x="108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4" name="Freeform 6265">
              <a:extLst>
                <a:ext uri="{FF2B5EF4-FFF2-40B4-BE49-F238E27FC236}">
                  <a16:creationId xmlns:a16="http://schemas.microsoft.com/office/drawing/2014/main" id="{F9CFEEED-C510-49B4-A4B4-3925A0D80B96}"/>
                </a:ext>
              </a:extLst>
            </p:cNvPr>
            <p:cNvSpPr/>
            <p:nvPr/>
          </p:nvSpPr>
          <p:spPr bwMode="auto">
            <a:xfrm>
              <a:off x="4865991" y="4681704"/>
              <a:ext cx="212762" cy="190406"/>
            </a:xfrm>
            <a:custGeom>
              <a:avLst/>
              <a:gdLst>
                <a:gd name="T0" fmla="*/ 544 w 552"/>
                <a:gd name="T1" fmla="*/ 4 h 494"/>
                <a:gd name="T2" fmla="*/ 546 w 552"/>
                <a:gd name="T3" fmla="*/ 18 h 494"/>
                <a:gd name="T4" fmla="*/ 548 w 552"/>
                <a:gd name="T5" fmla="*/ 36 h 494"/>
                <a:gd name="T6" fmla="*/ 540 w 552"/>
                <a:gd name="T7" fmla="*/ 42 h 494"/>
                <a:gd name="T8" fmla="*/ 518 w 552"/>
                <a:gd name="T9" fmla="*/ 42 h 494"/>
                <a:gd name="T10" fmla="*/ 506 w 552"/>
                <a:gd name="T11" fmla="*/ 42 h 494"/>
                <a:gd name="T12" fmla="*/ 488 w 552"/>
                <a:gd name="T13" fmla="*/ 56 h 494"/>
                <a:gd name="T14" fmla="*/ 474 w 552"/>
                <a:gd name="T15" fmla="*/ 60 h 494"/>
                <a:gd name="T16" fmla="*/ 462 w 552"/>
                <a:gd name="T17" fmla="*/ 56 h 494"/>
                <a:gd name="T18" fmla="*/ 450 w 552"/>
                <a:gd name="T19" fmla="*/ 60 h 494"/>
                <a:gd name="T20" fmla="*/ 430 w 552"/>
                <a:gd name="T21" fmla="*/ 50 h 494"/>
                <a:gd name="T22" fmla="*/ 412 w 552"/>
                <a:gd name="T23" fmla="*/ 48 h 494"/>
                <a:gd name="T24" fmla="*/ 392 w 552"/>
                <a:gd name="T25" fmla="*/ 54 h 494"/>
                <a:gd name="T26" fmla="*/ 378 w 552"/>
                <a:gd name="T27" fmla="*/ 64 h 494"/>
                <a:gd name="T28" fmla="*/ 378 w 552"/>
                <a:gd name="T29" fmla="*/ 76 h 494"/>
                <a:gd name="T30" fmla="*/ 368 w 552"/>
                <a:gd name="T31" fmla="*/ 88 h 494"/>
                <a:gd name="T32" fmla="*/ 360 w 552"/>
                <a:gd name="T33" fmla="*/ 100 h 494"/>
                <a:gd name="T34" fmla="*/ 354 w 552"/>
                <a:gd name="T35" fmla="*/ 114 h 494"/>
                <a:gd name="T36" fmla="*/ 338 w 552"/>
                <a:gd name="T37" fmla="*/ 118 h 494"/>
                <a:gd name="T38" fmla="*/ 332 w 552"/>
                <a:gd name="T39" fmla="*/ 124 h 494"/>
                <a:gd name="T40" fmla="*/ 328 w 552"/>
                <a:gd name="T41" fmla="*/ 134 h 494"/>
                <a:gd name="T42" fmla="*/ 322 w 552"/>
                <a:gd name="T43" fmla="*/ 158 h 494"/>
                <a:gd name="T44" fmla="*/ 316 w 552"/>
                <a:gd name="T45" fmla="*/ 186 h 494"/>
                <a:gd name="T46" fmla="*/ 308 w 552"/>
                <a:gd name="T47" fmla="*/ 208 h 494"/>
                <a:gd name="T48" fmla="*/ 294 w 552"/>
                <a:gd name="T49" fmla="*/ 218 h 494"/>
                <a:gd name="T50" fmla="*/ 276 w 552"/>
                <a:gd name="T51" fmla="*/ 230 h 494"/>
                <a:gd name="T52" fmla="*/ 266 w 552"/>
                <a:gd name="T53" fmla="*/ 238 h 494"/>
                <a:gd name="T54" fmla="*/ 254 w 552"/>
                <a:gd name="T55" fmla="*/ 260 h 494"/>
                <a:gd name="T56" fmla="*/ 244 w 552"/>
                <a:gd name="T57" fmla="*/ 272 h 494"/>
                <a:gd name="T58" fmla="*/ 226 w 552"/>
                <a:gd name="T59" fmla="*/ 280 h 494"/>
                <a:gd name="T60" fmla="*/ 212 w 552"/>
                <a:gd name="T61" fmla="*/ 290 h 494"/>
                <a:gd name="T62" fmla="*/ 202 w 552"/>
                <a:gd name="T63" fmla="*/ 310 h 494"/>
                <a:gd name="T64" fmla="*/ 196 w 552"/>
                <a:gd name="T65" fmla="*/ 342 h 494"/>
                <a:gd name="T66" fmla="*/ 192 w 552"/>
                <a:gd name="T67" fmla="*/ 368 h 494"/>
                <a:gd name="T68" fmla="*/ 190 w 552"/>
                <a:gd name="T69" fmla="*/ 388 h 494"/>
                <a:gd name="T70" fmla="*/ 180 w 552"/>
                <a:gd name="T71" fmla="*/ 400 h 494"/>
                <a:gd name="T72" fmla="*/ 170 w 552"/>
                <a:gd name="T73" fmla="*/ 410 h 494"/>
                <a:gd name="T74" fmla="*/ 164 w 552"/>
                <a:gd name="T75" fmla="*/ 422 h 494"/>
                <a:gd name="T76" fmla="*/ 160 w 552"/>
                <a:gd name="T77" fmla="*/ 438 h 494"/>
                <a:gd name="T78" fmla="*/ 140 w 552"/>
                <a:gd name="T79" fmla="*/ 448 h 494"/>
                <a:gd name="T80" fmla="*/ 108 w 552"/>
                <a:gd name="T81" fmla="*/ 448 h 494"/>
                <a:gd name="T82" fmla="*/ 78 w 552"/>
                <a:gd name="T83" fmla="*/ 444 h 494"/>
                <a:gd name="T84" fmla="*/ 36 w 552"/>
                <a:gd name="T85" fmla="*/ 446 h 494"/>
                <a:gd name="T86" fmla="*/ 8 w 552"/>
                <a:gd name="T87" fmla="*/ 450 h 494"/>
                <a:gd name="T88" fmla="*/ 4 w 552"/>
                <a:gd name="T89" fmla="*/ 494 h 494"/>
                <a:gd name="T90" fmla="*/ 8 w 552"/>
                <a:gd name="T91" fmla="*/ 470 h 494"/>
                <a:gd name="T92" fmla="*/ 244 w 552"/>
                <a:gd name="T93" fmla="*/ 456 h 494"/>
                <a:gd name="T94" fmla="*/ 268 w 552"/>
                <a:gd name="T95" fmla="*/ 440 h 494"/>
                <a:gd name="T96" fmla="*/ 264 w 552"/>
                <a:gd name="T97" fmla="*/ 390 h 494"/>
                <a:gd name="T98" fmla="*/ 262 w 552"/>
                <a:gd name="T99" fmla="*/ 370 h 494"/>
                <a:gd name="T100" fmla="*/ 260 w 552"/>
                <a:gd name="T101" fmla="*/ 352 h 494"/>
                <a:gd name="T102" fmla="*/ 276 w 552"/>
                <a:gd name="T103" fmla="*/ 332 h 494"/>
                <a:gd name="T104" fmla="*/ 298 w 552"/>
                <a:gd name="T105" fmla="*/ 318 h 494"/>
                <a:gd name="T106" fmla="*/ 330 w 552"/>
                <a:gd name="T107" fmla="*/ 308 h 494"/>
                <a:gd name="T108" fmla="*/ 334 w 552"/>
                <a:gd name="T109" fmla="*/ 122 h 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52" h="493">
                  <a:moveTo>
                    <a:pt x="552" y="0"/>
                  </a:moveTo>
                  <a:lnTo>
                    <a:pt x="544" y="0"/>
                  </a:lnTo>
                  <a:lnTo>
                    <a:pt x="544" y="4"/>
                  </a:lnTo>
                  <a:lnTo>
                    <a:pt x="546" y="10"/>
                  </a:lnTo>
                  <a:lnTo>
                    <a:pt x="546" y="16"/>
                  </a:lnTo>
                  <a:lnTo>
                    <a:pt x="546" y="18"/>
                  </a:lnTo>
                  <a:lnTo>
                    <a:pt x="546" y="22"/>
                  </a:lnTo>
                  <a:lnTo>
                    <a:pt x="546" y="26"/>
                  </a:lnTo>
                  <a:lnTo>
                    <a:pt x="548" y="36"/>
                  </a:lnTo>
                  <a:lnTo>
                    <a:pt x="548" y="38"/>
                  </a:lnTo>
                  <a:lnTo>
                    <a:pt x="546" y="40"/>
                  </a:lnTo>
                  <a:lnTo>
                    <a:pt x="540" y="42"/>
                  </a:lnTo>
                  <a:lnTo>
                    <a:pt x="532" y="42"/>
                  </a:lnTo>
                  <a:lnTo>
                    <a:pt x="526" y="42"/>
                  </a:lnTo>
                  <a:lnTo>
                    <a:pt x="518" y="42"/>
                  </a:lnTo>
                  <a:lnTo>
                    <a:pt x="514" y="42"/>
                  </a:lnTo>
                  <a:lnTo>
                    <a:pt x="508" y="42"/>
                  </a:lnTo>
                  <a:lnTo>
                    <a:pt x="506" y="42"/>
                  </a:lnTo>
                  <a:lnTo>
                    <a:pt x="500" y="46"/>
                  </a:lnTo>
                  <a:lnTo>
                    <a:pt x="494" y="50"/>
                  </a:lnTo>
                  <a:lnTo>
                    <a:pt x="488" y="56"/>
                  </a:lnTo>
                  <a:lnTo>
                    <a:pt x="484" y="60"/>
                  </a:lnTo>
                  <a:lnTo>
                    <a:pt x="478" y="60"/>
                  </a:lnTo>
                  <a:lnTo>
                    <a:pt x="474" y="60"/>
                  </a:lnTo>
                  <a:lnTo>
                    <a:pt x="468" y="58"/>
                  </a:lnTo>
                  <a:lnTo>
                    <a:pt x="464" y="56"/>
                  </a:lnTo>
                  <a:lnTo>
                    <a:pt x="462" y="56"/>
                  </a:lnTo>
                  <a:lnTo>
                    <a:pt x="458" y="58"/>
                  </a:lnTo>
                  <a:lnTo>
                    <a:pt x="454" y="60"/>
                  </a:lnTo>
                  <a:lnTo>
                    <a:pt x="450" y="60"/>
                  </a:lnTo>
                  <a:lnTo>
                    <a:pt x="444" y="56"/>
                  </a:lnTo>
                  <a:lnTo>
                    <a:pt x="436" y="52"/>
                  </a:lnTo>
                  <a:lnTo>
                    <a:pt x="430" y="50"/>
                  </a:lnTo>
                  <a:lnTo>
                    <a:pt x="424" y="50"/>
                  </a:lnTo>
                  <a:lnTo>
                    <a:pt x="416" y="48"/>
                  </a:lnTo>
                  <a:lnTo>
                    <a:pt x="412" y="48"/>
                  </a:lnTo>
                  <a:lnTo>
                    <a:pt x="406" y="48"/>
                  </a:lnTo>
                  <a:lnTo>
                    <a:pt x="398" y="52"/>
                  </a:lnTo>
                  <a:lnTo>
                    <a:pt x="392" y="54"/>
                  </a:lnTo>
                  <a:lnTo>
                    <a:pt x="384" y="56"/>
                  </a:lnTo>
                  <a:lnTo>
                    <a:pt x="376" y="58"/>
                  </a:lnTo>
                  <a:lnTo>
                    <a:pt x="378" y="64"/>
                  </a:lnTo>
                  <a:lnTo>
                    <a:pt x="380" y="68"/>
                  </a:lnTo>
                  <a:lnTo>
                    <a:pt x="380" y="72"/>
                  </a:lnTo>
                  <a:lnTo>
                    <a:pt x="378" y="76"/>
                  </a:lnTo>
                  <a:lnTo>
                    <a:pt x="374" y="80"/>
                  </a:lnTo>
                  <a:lnTo>
                    <a:pt x="370" y="84"/>
                  </a:lnTo>
                  <a:lnTo>
                    <a:pt x="368" y="88"/>
                  </a:lnTo>
                  <a:lnTo>
                    <a:pt x="364" y="94"/>
                  </a:lnTo>
                  <a:lnTo>
                    <a:pt x="362" y="96"/>
                  </a:lnTo>
                  <a:lnTo>
                    <a:pt x="360" y="100"/>
                  </a:lnTo>
                  <a:lnTo>
                    <a:pt x="356" y="106"/>
                  </a:lnTo>
                  <a:lnTo>
                    <a:pt x="356" y="110"/>
                  </a:lnTo>
                  <a:lnTo>
                    <a:pt x="354" y="114"/>
                  </a:lnTo>
                  <a:lnTo>
                    <a:pt x="352" y="116"/>
                  </a:lnTo>
                  <a:lnTo>
                    <a:pt x="344" y="118"/>
                  </a:lnTo>
                  <a:lnTo>
                    <a:pt x="338" y="118"/>
                  </a:lnTo>
                  <a:lnTo>
                    <a:pt x="334" y="120"/>
                  </a:lnTo>
                  <a:lnTo>
                    <a:pt x="332" y="122"/>
                  </a:lnTo>
                  <a:lnTo>
                    <a:pt x="332" y="124"/>
                  </a:lnTo>
                  <a:lnTo>
                    <a:pt x="330" y="128"/>
                  </a:lnTo>
                  <a:lnTo>
                    <a:pt x="330" y="132"/>
                  </a:lnTo>
                  <a:lnTo>
                    <a:pt x="328" y="134"/>
                  </a:lnTo>
                  <a:lnTo>
                    <a:pt x="326" y="142"/>
                  </a:lnTo>
                  <a:lnTo>
                    <a:pt x="324" y="148"/>
                  </a:lnTo>
                  <a:lnTo>
                    <a:pt x="322" y="158"/>
                  </a:lnTo>
                  <a:lnTo>
                    <a:pt x="320" y="164"/>
                  </a:lnTo>
                  <a:lnTo>
                    <a:pt x="318" y="176"/>
                  </a:lnTo>
                  <a:lnTo>
                    <a:pt x="316" y="186"/>
                  </a:lnTo>
                  <a:lnTo>
                    <a:pt x="312" y="198"/>
                  </a:lnTo>
                  <a:lnTo>
                    <a:pt x="310" y="204"/>
                  </a:lnTo>
                  <a:lnTo>
                    <a:pt x="308" y="208"/>
                  </a:lnTo>
                  <a:lnTo>
                    <a:pt x="302" y="212"/>
                  </a:lnTo>
                  <a:lnTo>
                    <a:pt x="298" y="214"/>
                  </a:lnTo>
                  <a:lnTo>
                    <a:pt x="294" y="218"/>
                  </a:lnTo>
                  <a:lnTo>
                    <a:pt x="288" y="222"/>
                  </a:lnTo>
                  <a:lnTo>
                    <a:pt x="282" y="226"/>
                  </a:lnTo>
                  <a:lnTo>
                    <a:pt x="276" y="230"/>
                  </a:lnTo>
                  <a:lnTo>
                    <a:pt x="274" y="232"/>
                  </a:lnTo>
                  <a:lnTo>
                    <a:pt x="270" y="234"/>
                  </a:lnTo>
                  <a:lnTo>
                    <a:pt x="266" y="238"/>
                  </a:lnTo>
                  <a:lnTo>
                    <a:pt x="262" y="246"/>
                  </a:lnTo>
                  <a:lnTo>
                    <a:pt x="260" y="252"/>
                  </a:lnTo>
                  <a:lnTo>
                    <a:pt x="254" y="260"/>
                  </a:lnTo>
                  <a:lnTo>
                    <a:pt x="252" y="266"/>
                  </a:lnTo>
                  <a:lnTo>
                    <a:pt x="250" y="268"/>
                  </a:lnTo>
                  <a:lnTo>
                    <a:pt x="244" y="272"/>
                  </a:lnTo>
                  <a:lnTo>
                    <a:pt x="238" y="274"/>
                  </a:lnTo>
                  <a:lnTo>
                    <a:pt x="232" y="276"/>
                  </a:lnTo>
                  <a:lnTo>
                    <a:pt x="226" y="280"/>
                  </a:lnTo>
                  <a:lnTo>
                    <a:pt x="220" y="282"/>
                  </a:lnTo>
                  <a:lnTo>
                    <a:pt x="214" y="284"/>
                  </a:lnTo>
                  <a:lnTo>
                    <a:pt x="212" y="290"/>
                  </a:lnTo>
                  <a:lnTo>
                    <a:pt x="208" y="294"/>
                  </a:lnTo>
                  <a:lnTo>
                    <a:pt x="206" y="302"/>
                  </a:lnTo>
                  <a:lnTo>
                    <a:pt x="202" y="310"/>
                  </a:lnTo>
                  <a:lnTo>
                    <a:pt x="202" y="314"/>
                  </a:lnTo>
                  <a:lnTo>
                    <a:pt x="198" y="332"/>
                  </a:lnTo>
                  <a:lnTo>
                    <a:pt x="196" y="342"/>
                  </a:lnTo>
                  <a:lnTo>
                    <a:pt x="196" y="348"/>
                  </a:lnTo>
                  <a:lnTo>
                    <a:pt x="194" y="356"/>
                  </a:lnTo>
                  <a:lnTo>
                    <a:pt x="192" y="368"/>
                  </a:lnTo>
                  <a:lnTo>
                    <a:pt x="192" y="378"/>
                  </a:lnTo>
                  <a:lnTo>
                    <a:pt x="190" y="384"/>
                  </a:lnTo>
                  <a:lnTo>
                    <a:pt x="190" y="388"/>
                  </a:lnTo>
                  <a:lnTo>
                    <a:pt x="186" y="392"/>
                  </a:lnTo>
                  <a:lnTo>
                    <a:pt x="184" y="396"/>
                  </a:lnTo>
                  <a:lnTo>
                    <a:pt x="180" y="400"/>
                  </a:lnTo>
                  <a:lnTo>
                    <a:pt x="176" y="404"/>
                  </a:lnTo>
                  <a:lnTo>
                    <a:pt x="174" y="406"/>
                  </a:lnTo>
                  <a:lnTo>
                    <a:pt x="170" y="410"/>
                  </a:lnTo>
                  <a:lnTo>
                    <a:pt x="166" y="416"/>
                  </a:lnTo>
                  <a:lnTo>
                    <a:pt x="162" y="420"/>
                  </a:lnTo>
                  <a:lnTo>
                    <a:pt x="164" y="422"/>
                  </a:lnTo>
                  <a:lnTo>
                    <a:pt x="164" y="428"/>
                  </a:lnTo>
                  <a:lnTo>
                    <a:pt x="162" y="432"/>
                  </a:lnTo>
                  <a:lnTo>
                    <a:pt x="160" y="438"/>
                  </a:lnTo>
                  <a:lnTo>
                    <a:pt x="154" y="444"/>
                  </a:lnTo>
                  <a:lnTo>
                    <a:pt x="150" y="448"/>
                  </a:lnTo>
                  <a:lnTo>
                    <a:pt x="140" y="448"/>
                  </a:lnTo>
                  <a:lnTo>
                    <a:pt x="128" y="448"/>
                  </a:lnTo>
                  <a:lnTo>
                    <a:pt x="120" y="448"/>
                  </a:lnTo>
                  <a:lnTo>
                    <a:pt x="108" y="448"/>
                  </a:lnTo>
                  <a:lnTo>
                    <a:pt x="98" y="446"/>
                  </a:lnTo>
                  <a:lnTo>
                    <a:pt x="90" y="446"/>
                  </a:lnTo>
                  <a:lnTo>
                    <a:pt x="78" y="444"/>
                  </a:lnTo>
                  <a:lnTo>
                    <a:pt x="70" y="444"/>
                  </a:lnTo>
                  <a:lnTo>
                    <a:pt x="60" y="446"/>
                  </a:lnTo>
                  <a:lnTo>
                    <a:pt x="36" y="446"/>
                  </a:lnTo>
                  <a:lnTo>
                    <a:pt x="26" y="446"/>
                  </a:lnTo>
                  <a:lnTo>
                    <a:pt x="10" y="450"/>
                  </a:lnTo>
                  <a:lnTo>
                    <a:pt x="8" y="450"/>
                  </a:lnTo>
                  <a:lnTo>
                    <a:pt x="6" y="454"/>
                  </a:lnTo>
                  <a:lnTo>
                    <a:pt x="0" y="490"/>
                  </a:lnTo>
                  <a:lnTo>
                    <a:pt x="4" y="494"/>
                  </a:lnTo>
                  <a:lnTo>
                    <a:pt x="4" y="488"/>
                  </a:lnTo>
                  <a:lnTo>
                    <a:pt x="4" y="480"/>
                  </a:lnTo>
                  <a:lnTo>
                    <a:pt x="8" y="470"/>
                  </a:lnTo>
                  <a:lnTo>
                    <a:pt x="10" y="456"/>
                  </a:lnTo>
                  <a:lnTo>
                    <a:pt x="228" y="456"/>
                  </a:lnTo>
                  <a:lnTo>
                    <a:pt x="244" y="456"/>
                  </a:lnTo>
                  <a:lnTo>
                    <a:pt x="268" y="456"/>
                  </a:lnTo>
                  <a:lnTo>
                    <a:pt x="268" y="448"/>
                  </a:lnTo>
                  <a:lnTo>
                    <a:pt x="268" y="440"/>
                  </a:lnTo>
                  <a:lnTo>
                    <a:pt x="266" y="420"/>
                  </a:lnTo>
                  <a:lnTo>
                    <a:pt x="266" y="410"/>
                  </a:lnTo>
                  <a:lnTo>
                    <a:pt x="264" y="390"/>
                  </a:lnTo>
                  <a:lnTo>
                    <a:pt x="264" y="382"/>
                  </a:lnTo>
                  <a:lnTo>
                    <a:pt x="264" y="374"/>
                  </a:lnTo>
                  <a:lnTo>
                    <a:pt x="262" y="370"/>
                  </a:lnTo>
                  <a:lnTo>
                    <a:pt x="260" y="360"/>
                  </a:lnTo>
                  <a:lnTo>
                    <a:pt x="258" y="356"/>
                  </a:lnTo>
                  <a:lnTo>
                    <a:pt x="260" y="352"/>
                  </a:lnTo>
                  <a:lnTo>
                    <a:pt x="262" y="346"/>
                  </a:lnTo>
                  <a:lnTo>
                    <a:pt x="268" y="338"/>
                  </a:lnTo>
                  <a:lnTo>
                    <a:pt x="276" y="332"/>
                  </a:lnTo>
                  <a:lnTo>
                    <a:pt x="286" y="324"/>
                  </a:lnTo>
                  <a:lnTo>
                    <a:pt x="294" y="320"/>
                  </a:lnTo>
                  <a:lnTo>
                    <a:pt x="298" y="318"/>
                  </a:lnTo>
                  <a:lnTo>
                    <a:pt x="310" y="316"/>
                  </a:lnTo>
                  <a:lnTo>
                    <a:pt x="320" y="312"/>
                  </a:lnTo>
                  <a:lnTo>
                    <a:pt x="330" y="308"/>
                  </a:lnTo>
                  <a:lnTo>
                    <a:pt x="334" y="306"/>
                  </a:lnTo>
                  <a:lnTo>
                    <a:pt x="334" y="298"/>
                  </a:lnTo>
                  <a:lnTo>
                    <a:pt x="334" y="122"/>
                  </a:lnTo>
                  <a:lnTo>
                    <a:pt x="552" y="122"/>
                  </a:lnTo>
                  <a:lnTo>
                    <a:pt x="552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5" name="Line 6266">
              <a:extLst>
                <a:ext uri="{FF2B5EF4-FFF2-40B4-BE49-F238E27FC236}">
                  <a16:creationId xmlns:a16="http://schemas.microsoft.com/office/drawing/2014/main" id="{F2670A39-60B1-421F-AFF8-44AF7AA43C4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078753" y="4681704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6" name="Line 6268">
              <a:extLst>
                <a:ext uri="{FF2B5EF4-FFF2-40B4-BE49-F238E27FC236}">
                  <a16:creationId xmlns:a16="http://schemas.microsoft.com/office/drawing/2014/main" id="{C10F62A6-CEBF-40F0-B485-D087006A4C7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078753" y="4681704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7" name="Freeform 295">
              <a:extLst>
                <a:ext uri="{FF2B5EF4-FFF2-40B4-BE49-F238E27FC236}">
                  <a16:creationId xmlns:a16="http://schemas.microsoft.com/office/drawing/2014/main" id="{E25CD8A6-7DAE-4164-82E5-6AFC7C571016}"/>
                </a:ext>
              </a:extLst>
            </p:cNvPr>
            <p:cNvSpPr/>
            <p:nvPr/>
          </p:nvSpPr>
          <p:spPr bwMode="auto">
            <a:xfrm>
              <a:off x="6173399" y="4551426"/>
              <a:ext cx="531134" cy="438629"/>
            </a:xfrm>
            <a:custGeom>
              <a:avLst/>
              <a:gdLst>
                <a:gd name="connsiteX0" fmla="*/ 1129332 w 3283172"/>
                <a:gd name="connsiteY0" fmla="*/ 2611288 h 2711356"/>
                <a:gd name="connsiteX1" fmla="*/ 1138864 w 3283172"/>
                <a:gd name="connsiteY1" fmla="*/ 2611288 h 2711356"/>
                <a:gd name="connsiteX2" fmla="*/ 1143628 w 3283172"/>
                <a:gd name="connsiteY2" fmla="*/ 2620820 h 2711356"/>
                <a:gd name="connsiteX3" fmla="*/ 1143628 w 3283172"/>
                <a:gd name="connsiteY3" fmla="*/ 2639880 h 2711356"/>
                <a:gd name="connsiteX4" fmla="*/ 1148396 w 3283172"/>
                <a:gd name="connsiteY4" fmla="*/ 2644644 h 2711356"/>
                <a:gd name="connsiteX5" fmla="*/ 1143628 w 3283172"/>
                <a:gd name="connsiteY5" fmla="*/ 2649410 h 2711356"/>
                <a:gd name="connsiteX6" fmla="*/ 1148396 w 3283172"/>
                <a:gd name="connsiteY6" fmla="*/ 2654176 h 2711356"/>
                <a:gd name="connsiteX7" fmla="*/ 1162688 w 3283172"/>
                <a:gd name="connsiteY7" fmla="*/ 2658940 h 2711356"/>
                <a:gd name="connsiteX8" fmla="*/ 1157924 w 3283172"/>
                <a:gd name="connsiteY8" fmla="*/ 2654176 h 2711356"/>
                <a:gd name="connsiteX9" fmla="*/ 1157924 w 3283172"/>
                <a:gd name="connsiteY9" fmla="*/ 2649410 h 2711356"/>
                <a:gd name="connsiteX10" fmla="*/ 1162688 w 3283172"/>
                <a:gd name="connsiteY10" fmla="*/ 2639880 h 2711356"/>
                <a:gd name="connsiteX11" fmla="*/ 1176984 w 3283172"/>
                <a:gd name="connsiteY11" fmla="*/ 2658940 h 2711356"/>
                <a:gd name="connsiteX12" fmla="*/ 1176984 w 3283172"/>
                <a:gd name="connsiteY12" fmla="*/ 2673236 h 2711356"/>
                <a:gd name="connsiteX13" fmla="*/ 1176984 w 3283172"/>
                <a:gd name="connsiteY13" fmla="*/ 2678000 h 2711356"/>
                <a:gd name="connsiteX14" fmla="*/ 1172220 w 3283172"/>
                <a:gd name="connsiteY14" fmla="*/ 2678000 h 2711356"/>
                <a:gd name="connsiteX15" fmla="*/ 1167456 w 3283172"/>
                <a:gd name="connsiteY15" fmla="*/ 2673236 h 2711356"/>
                <a:gd name="connsiteX16" fmla="*/ 1167456 w 3283172"/>
                <a:gd name="connsiteY16" fmla="*/ 2668470 h 2711356"/>
                <a:gd name="connsiteX17" fmla="*/ 1162688 w 3283172"/>
                <a:gd name="connsiteY17" fmla="*/ 2663706 h 2711356"/>
                <a:gd name="connsiteX18" fmla="*/ 1148396 w 3283172"/>
                <a:gd name="connsiteY18" fmla="*/ 2668470 h 2711356"/>
                <a:gd name="connsiteX19" fmla="*/ 1134100 w 3283172"/>
                <a:gd name="connsiteY19" fmla="*/ 2663706 h 2711356"/>
                <a:gd name="connsiteX20" fmla="*/ 1119804 w 3283172"/>
                <a:gd name="connsiteY20" fmla="*/ 2644644 h 2711356"/>
                <a:gd name="connsiteX21" fmla="*/ 1115036 w 3283172"/>
                <a:gd name="connsiteY21" fmla="*/ 2635114 h 2711356"/>
                <a:gd name="connsiteX22" fmla="*/ 1124568 w 3283172"/>
                <a:gd name="connsiteY22" fmla="*/ 2630350 h 2711356"/>
                <a:gd name="connsiteX23" fmla="*/ 1129332 w 3283172"/>
                <a:gd name="connsiteY23" fmla="*/ 2625584 h 2711356"/>
                <a:gd name="connsiteX24" fmla="*/ 1134100 w 3283172"/>
                <a:gd name="connsiteY24" fmla="*/ 2616054 h 2711356"/>
                <a:gd name="connsiteX25" fmla="*/ 300204 w 3283172"/>
                <a:gd name="connsiteY25" fmla="*/ 1148396 h 2711356"/>
                <a:gd name="connsiteX26" fmla="*/ 300204 w 3283172"/>
                <a:gd name="connsiteY26" fmla="*/ 1157926 h 2711356"/>
                <a:gd name="connsiteX27" fmla="*/ 304968 w 3283172"/>
                <a:gd name="connsiteY27" fmla="*/ 1162690 h 2711356"/>
                <a:gd name="connsiteX28" fmla="*/ 333560 w 3283172"/>
                <a:gd name="connsiteY28" fmla="*/ 1172220 h 2711356"/>
                <a:gd name="connsiteX29" fmla="*/ 357384 w 3283172"/>
                <a:gd name="connsiteY29" fmla="*/ 1196046 h 2711356"/>
                <a:gd name="connsiteX30" fmla="*/ 362148 w 3283172"/>
                <a:gd name="connsiteY30" fmla="*/ 1200812 h 2711356"/>
                <a:gd name="connsiteX31" fmla="*/ 357384 w 3283172"/>
                <a:gd name="connsiteY31" fmla="*/ 1205576 h 2711356"/>
                <a:gd name="connsiteX32" fmla="*/ 352620 w 3283172"/>
                <a:gd name="connsiteY32" fmla="*/ 1205576 h 2711356"/>
                <a:gd name="connsiteX33" fmla="*/ 338324 w 3283172"/>
                <a:gd name="connsiteY33" fmla="*/ 1191282 h 2711356"/>
                <a:gd name="connsiteX34" fmla="*/ 333560 w 3283172"/>
                <a:gd name="connsiteY34" fmla="*/ 1181752 h 2711356"/>
                <a:gd name="connsiteX35" fmla="*/ 328792 w 3283172"/>
                <a:gd name="connsiteY35" fmla="*/ 1176986 h 2711356"/>
                <a:gd name="connsiteX36" fmla="*/ 300204 w 3283172"/>
                <a:gd name="connsiteY36" fmla="*/ 1167456 h 2711356"/>
                <a:gd name="connsiteX37" fmla="*/ 295436 w 3283172"/>
                <a:gd name="connsiteY37" fmla="*/ 1157926 h 2711356"/>
                <a:gd name="connsiteX38" fmla="*/ 304968 w 3283172"/>
                <a:gd name="connsiteY38" fmla="*/ 1119804 h 2711356"/>
                <a:gd name="connsiteX39" fmla="*/ 304968 w 3283172"/>
                <a:gd name="connsiteY39" fmla="*/ 1134100 h 2711356"/>
                <a:gd name="connsiteX40" fmla="*/ 309732 w 3283172"/>
                <a:gd name="connsiteY40" fmla="*/ 1143630 h 2711356"/>
                <a:gd name="connsiteX41" fmla="*/ 309732 w 3283172"/>
                <a:gd name="connsiteY41" fmla="*/ 1148396 h 2711356"/>
                <a:gd name="connsiteX42" fmla="*/ 304968 w 3283172"/>
                <a:gd name="connsiteY42" fmla="*/ 1148396 h 2711356"/>
                <a:gd name="connsiteX43" fmla="*/ 300204 w 3283172"/>
                <a:gd name="connsiteY43" fmla="*/ 1143630 h 2711356"/>
                <a:gd name="connsiteX44" fmla="*/ 300204 w 3283172"/>
                <a:gd name="connsiteY44" fmla="*/ 1129334 h 2711356"/>
                <a:gd name="connsiteX45" fmla="*/ 705236 w 3283172"/>
                <a:gd name="connsiteY45" fmla="*/ 0 h 2711356"/>
                <a:gd name="connsiteX46" fmla="*/ 738592 w 3283172"/>
                <a:gd name="connsiteY46" fmla="*/ 9530 h 2711356"/>
                <a:gd name="connsiteX47" fmla="*/ 791012 w 3283172"/>
                <a:gd name="connsiteY47" fmla="*/ 14294 h 2711356"/>
                <a:gd name="connsiteX48" fmla="*/ 843428 w 3283172"/>
                <a:gd name="connsiteY48" fmla="*/ 23824 h 2711356"/>
                <a:gd name="connsiteX49" fmla="*/ 895844 w 3283172"/>
                <a:gd name="connsiteY49" fmla="*/ 33354 h 2711356"/>
                <a:gd name="connsiteX50" fmla="*/ 914904 w 3283172"/>
                <a:gd name="connsiteY50" fmla="*/ 42886 h 2711356"/>
                <a:gd name="connsiteX51" fmla="*/ 967320 w 3283172"/>
                <a:gd name="connsiteY51" fmla="*/ 76242 h 2711356"/>
                <a:gd name="connsiteX52" fmla="*/ 1000676 w 3283172"/>
                <a:gd name="connsiteY52" fmla="*/ 95302 h 2711356"/>
                <a:gd name="connsiteX53" fmla="*/ 1038796 w 3283172"/>
                <a:gd name="connsiteY53" fmla="*/ 119128 h 2711356"/>
                <a:gd name="connsiteX54" fmla="*/ 1086448 w 3283172"/>
                <a:gd name="connsiteY54" fmla="*/ 147718 h 2711356"/>
                <a:gd name="connsiteX55" fmla="*/ 1119804 w 3283172"/>
                <a:gd name="connsiteY55" fmla="*/ 166778 h 2711356"/>
                <a:gd name="connsiteX56" fmla="*/ 1162692 w 3283172"/>
                <a:gd name="connsiteY56" fmla="*/ 190604 h 2711356"/>
                <a:gd name="connsiteX57" fmla="*/ 1196044 w 3283172"/>
                <a:gd name="connsiteY57" fmla="*/ 223960 h 2711356"/>
                <a:gd name="connsiteX58" fmla="*/ 1238932 w 3283172"/>
                <a:gd name="connsiteY58" fmla="*/ 257316 h 2711356"/>
                <a:gd name="connsiteX59" fmla="*/ 1286584 w 3283172"/>
                <a:gd name="connsiteY59" fmla="*/ 300202 h 2711356"/>
                <a:gd name="connsiteX60" fmla="*/ 1324704 w 3283172"/>
                <a:gd name="connsiteY60" fmla="*/ 328792 h 2711356"/>
                <a:gd name="connsiteX61" fmla="*/ 1377120 w 3283172"/>
                <a:gd name="connsiteY61" fmla="*/ 376444 h 2711356"/>
                <a:gd name="connsiteX62" fmla="*/ 1429536 w 3283172"/>
                <a:gd name="connsiteY62" fmla="*/ 414564 h 2711356"/>
                <a:gd name="connsiteX63" fmla="*/ 1481952 w 3283172"/>
                <a:gd name="connsiteY63" fmla="*/ 457452 h 2711356"/>
                <a:gd name="connsiteX64" fmla="*/ 1520076 w 3283172"/>
                <a:gd name="connsiteY64" fmla="*/ 490808 h 2711356"/>
                <a:gd name="connsiteX65" fmla="*/ 1572492 w 3283172"/>
                <a:gd name="connsiteY65" fmla="*/ 533694 h 2711356"/>
                <a:gd name="connsiteX66" fmla="*/ 1577256 w 3283172"/>
                <a:gd name="connsiteY66" fmla="*/ 533694 h 2711356"/>
                <a:gd name="connsiteX67" fmla="*/ 1629672 w 3283172"/>
                <a:gd name="connsiteY67" fmla="*/ 538458 h 2711356"/>
                <a:gd name="connsiteX68" fmla="*/ 1767860 w 3283172"/>
                <a:gd name="connsiteY68" fmla="*/ 552754 h 2711356"/>
                <a:gd name="connsiteX69" fmla="*/ 1834572 w 3283172"/>
                <a:gd name="connsiteY69" fmla="*/ 557518 h 2711356"/>
                <a:gd name="connsiteX70" fmla="*/ 1858400 w 3283172"/>
                <a:gd name="connsiteY70" fmla="*/ 552754 h 2711356"/>
                <a:gd name="connsiteX71" fmla="*/ 1891756 w 3283172"/>
                <a:gd name="connsiteY71" fmla="*/ 557518 h 2711356"/>
                <a:gd name="connsiteX72" fmla="*/ 1929876 w 3283172"/>
                <a:gd name="connsiteY72" fmla="*/ 562284 h 2711356"/>
                <a:gd name="connsiteX73" fmla="*/ 1953700 w 3283172"/>
                <a:gd name="connsiteY73" fmla="*/ 562284 h 2711356"/>
                <a:gd name="connsiteX74" fmla="*/ 2001352 w 3283172"/>
                <a:gd name="connsiteY74" fmla="*/ 571814 h 2711356"/>
                <a:gd name="connsiteX75" fmla="*/ 2015648 w 3283172"/>
                <a:gd name="connsiteY75" fmla="*/ 595640 h 2711356"/>
                <a:gd name="connsiteX76" fmla="*/ 2020412 w 3283172"/>
                <a:gd name="connsiteY76" fmla="*/ 614700 h 2711356"/>
                <a:gd name="connsiteX77" fmla="*/ 2025180 w 3283172"/>
                <a:gd name="connsiteY77" fmla="*/ 633760 h 2711356"/>
                <a:gd name="connsiteX78" fmla="*/ 2039472 w 3283172"/>
                <a:gd name="connsiteY78" fmla="*/ 652822 h 2711356"/>
                <a:gd name="connsiteX79" fmla="*/ 2068064 w 3283172"/>
                <a:gd name="connsiteY79" fmla="*/ 652822 h 2711356"/>
                <a:gd name="connsiteX80" fmla="*/ 2096656 w 3283172"/>
                <a:gd name="connsiteY80" fmla="*/ 652822 h 2711356"/>
                <a:gd name="connsiteX81" fmla="*/ 2130012 w 3283172"/>
                <a:gd name="connsiteY81" fmla="*/ 652822 h 2711356"/>
                <a:gd name="connsiteX82" fmla="*/ 2158600 w 3283172"/>
                <a:gd name="connsiteY82" fmla="*/ 648056 h 2711356"/>
                <a:gd name="connsiteX83" fmla="*/ 2168132 w 3283172"/>
                <a:gd name="connsiteY83" fmla="*/ 667116 h 2711356"/>
                <a:gd name="connsiteX84" fmla="*/ 2172896 w 3283172"/>
                <a:gd name="connsiteY84" fmla="*/ 681412 h 2711356"/>
                <a:gd name="connsiteX85" fmla="*/ 2187192 w 3283172"/>
                <a:gd name="connsiteY85" fmla="*/ 724298 h 2711356"/>
                <a:gd name="connsiteX86" fmla="*/ 2211020 w 3283172"/>
                <a:gd name="connsiteY86" fmla="*/ 752888 h 2711356"/>
                <a:gd name="connsiteX87" fmla="*/ 2215784 w 3283172"/>
                <a:gd name="connsiteY87" fmla="*/ 767184 h 2711356"/>
                <a:gd name="connsiteX88" fmla="*/ 2220548 w 3283172"/>
                <a:gd name="connsiteY88" fmla="*/ 781480 h 2711356"/>
                <a:gd name="connsiteX89" fmla="*/ 2215784 w 3283172"/>
                <a:gd name="connsiteY89" fmla="*/ 786244 h 2711356"/>
                <a:gd name="connsiteX90" fmla="*/ 2215784 w 3283172"/>
                <a:gd name="connsiteY90" fmla="*/ 795776 h 2711356"/>
                <a:gd name="connsiteX91" fmla="*/ 2230080 w 3283172"/>
                <a:gd name="connsiteY91" fmla="*/ 810070 h 2711356"/>
                <a:gd name="connsiteX92" fmla="*/ 2258668 w 3283172"/>
                <a:gd name="connsiteY92" fmla="*/ 824366 h 2711356"/>
                <a:gd name="connsiteX93" fmla="*/ 2268200 w 3283172"/>
                <a:gd name="connsiteY93" fmla="*/ 829132 h 2711356"/>
                <a:gd name="connsiteX94" fmla="*/ 2282496 w 3283172"/>
                <a:gd name="connsiteY94" fmla="*/ 833896 h 2711356"/>
                <a:gd name="connsiteX95" fmla="*/ 2272964 w 3283172"/>
                <a:gd name="connsiteY95" fmla="*/ 843426 h 2711356"/>
                <a:gd name="connsiteX96" fmla="*/ 2287260 w 3283172"/>
                <a:gd name="connsiteY96" fmla="*/ 867252 h 2711356"/>
                <a:gd name="connsiteX97" fmla="*/ 2311084 w 3283172"/>
                <a:gd name="connsiteY97" fmla="*/ 891078 h 2711356"/>
                <a:gd name="connsiteX98" fmla="*/ 2330148 w 3283172"/>
                <a:gd name="connsiteY98" fmla="*/ 895842 h 2711356"/>
                <a:gd name="connsiteX99" fmla="*/ 2358736 w 3283172"/>
                <a:gd name="connsiteY99" fmla="*/ 929198 h 2711356"/>
                <a:gd name="connsiteX100" fmla="*/ 2401624 w 3283172"/>
                <a:gd name="connsiteY100" fmla="*/ 953024 h 2711356"/>
                <a:gd name="connsiteX101" fmla="*/ 2425448 w 3283172"/>
                <a:gd name="connsiteY101" fmla="*/ 981616 h 2711356"/>
                <a:gd name="connsiteX102" fmla="*/ 2420684 w 3283172"/>
                <a:gd name="connsiteY102" fmla="*/ 981616 h 2711356"/>
                <a:gd name="connsiteX103" fmla="*/ 2415920 w 3283172"/>
                <a:gd name="connsiteY103" fmla="*/ 976850 h 2711356"/>
                <a:gd name="connsiteX104" fmla="*/ 2406388 w 3283172"/>
                <a:gd name="connsiteY104" fmla="*/ 976850 h 2711356"/>
                <a:gd name="connsiteX105" fmla="*/ 2401624 w 3283172"/>
                <a:gd name="connsiteY105" fmla="*/ 976850 h 2711356"/>
                <a:gd name="connsiteX106" fmla="*/ 2401624 w 3283172"/>
                <a:gd name="connsiteY106" fmla="*/ 991146 h 2711356"/>
                <a:gd name="connsiteX107" fmla="*/ 2406388 w 3283172"/>
                <a:gd name="connsiteY107" fmla="*/ 1005440 h 2711356"/>
                <a:gd name="connsiteX108" fmla="*/ 2420684 w 3283172"/>
                <a:gd name="connsiteY108" fmla="*/ 1014970 h 2711356"/>
                <a:gd name="connsiteX109" fmla="*/ 2430216 w 3283172"/>
                <a:gd name="connsiteY109" fmla="*/ 1024502 h 2711356"/>
                <a:gd name="connsiteX110" fmla="*/ 2434980 w 3283172"/>
                <a:gd name="connsiteY110" fmla="*/ 1043562 h 2711356"/>
                <a:gd name="connsiteX111" fmla="*/ 2425448 w 3283172"/>
                <a:gd name="connsiteY111" fmla="*/ 1081682 h 2711356"/>
                <a:gd name="connsiteX112" fmla="*/ 2420684 w 3283172"/>
                <a:gd name="connsiteY112" fmla="*/ 1081682 h 2711356"/>
                <a:gd name="connsiteX113" fmla="*/ 2415920 w 3283172"/>
                <a:gd name="connsiteY113" fmla="*/ 1076918 h 2711356"/>
                <a:gd name="connsiteX114" fmla="*/ 2411152 w 3283172"/>
                <a:gd name="connsiteY114" fmla="*/ 1076918 h 2711356"/>
                <a:gd name="connsiteX115" fmla="*/ 2406388 w 3283172"/>
                <a:gd name="connsiteY115" fmla="*/ 1076918 h 2711356"/>
                <a:gd name="connsiteX116" fmla="*/ 2415920 w 3283172"/>
                <a:gd name="connsiteY116" fmla="*/ 1105508 h 2711356"/>
                <a:gd name="connsiteX117" fmla="*/ 2420684 w 3283172"/>
                <a:gd name="connsiteY117" fmla="*/ 1124568 h 2711356"/>
                <a:gd name="connsiteX118" fmla="*/ 2430216 w 3283172"/>
                <a:gd name="connsiteY118" fmla="*/ 1138864 h 2711356"/>
                <a:gd name="connsiteX119" fmla="*/ 2439744 w 3283172"/>
                <a:gd name="connsiteY119" fmla="*/ 1162690 h 2711356"/>
                <a:gd name="connsiteX120" fmla="*/ 2444508 w 3283172"/>
                <a:gd name="connsiteY120" fmla="*/ 1172220 h 2711356"/>
                <a:gd name="connsiteX121" fmla="*/ 2473100 w 3283172"/>
                <a:gd name="connsiteY121" fmla="*/ 1196046 h 2711356"/>
                <a:gd name="connsiteX122" fmla="*/ 2482632 w 3283172"/>
                <a:gd name="connsiteY122" fmla="*/ 1215106 h 2711356"/>
                <a:gd name="connsiteX123" fmla="*/ 2487396 w 3283172"/>
                <a:gd name="connsiteY123" fmla="*/ 1253228 h 2711356"/>
                <a:gd name="connsiteX124" fmla="*/ 2506456 w 3283172"/>
                <a:gd name="connsiteY124" fmla="*/ 1277052 h 2711356"/>
                <a:gd name="connsiteX125" fmla="*/ 2515988 w 3283172"/>
                <a:gd name="connsiteY125" fmla="*/ 1291348 h 2711356"/>
                <a:gd name="connsiteX126" fmla="*/ 2525516 w 3283172"/>
                <a:gd name="connsiteY126" fmla="*/ 1305644 h 2711356"/>
                <a:gd name="connsiteX127" fmla="*/ 2535048 w 3283172"/>
                <a:gd name="connsiteY127" fmla="*/ 1324704 h 2711356"/>
                <a:gd name="connsiteX128" fmla="*/ 2544576 w 3283172"/>
                <a:gd name="connsiteY128" fmla="*/ 1339000 h 2711356"/>
                <a:gd name="connsiteX129" fmla="*/ 2554108 w 3283172"/>
                <a:gd name="connsiteY129" fmla="*/ 1343764 h 2711356"/>
                <a:gd name="connsiteX130" fmla="*/ 2558872 w 3283172"/>
                <a:gd name="connsiteY130" fmla="*/ 1343764 h 2711356"/>
                <a:gd name="connsiteX131" fmla="*/ 2573168 w 3283172"/>
                <a:gd name="connsiteY131" fmla="*/ 1343764 h 2711356"/>
                <a:gd name="connsiteX132" fmla="*/ 2587464 w 3283172"/>
                <a:gd name="connsiteY132" fmla="*/ 1339000 h 2711356"/>
                <a:gd name="connsiteX133" fmla="*/ 2596992 w 3283172"/>
                <a:gd name="connsiteY133" fmla="*/ 1339000 h 2711356"/>
                <a:gd name="connsiteX134" fmla="*/ 2611288 w 3283172"/>
                <a:gd name="connsiteY134" fmla="*/ 1343764 h 2711356"/>
                <a:gd name="connsiteX135" fmla="*/ 2620820 w 3283172"/>
                <a:gd name="connsiteY135" fmla="*/ 1343764 h 2711356"/>
                <a:gd name="connsiteX136" fmla="*/ 2625584 w 3283172"/>
                <a:gd name="connsiteY136" fmla="*/ 1348530 h 2711356"/>
                <a:gd name="connsiteX137" fmla="*/ 2616052 w 3283172"/>
                <a:gd name="connsiteY137" fmla="*/ 1358060 h 2711356"/>
                <a:gd name="connsiteX138" fmla="*/ 2606524 w 3283172"/>
                <a:gd name="connsiteY138" fmla="*/ 1381886 h 2711356"/>
                <a:gd name="connsiteX139" fmla="*/ 2620820 w 3283172"/>
                <a:gd name="connsiteY139" fmla="*/ 1386650 h 2711356"/>
                <a:gd name="connsiteX140" fmla="*/ 2630348 w 3283172"/>
                <a:gd name="connsiteY140" fmla="*/ 1391416 h 2711356"/>
                <a:gd name="connsiteX141" fmla="*/ 2639880 w 3283172"/>
                <a:gd name="connsiteY141" fmla="*/ 1391416 h 2711356"/>
                <a:gd name="connsiteX142" fmla="*/ 2644644 w 3283172"/>
                <a:gd name="connsiteY142" fmla="*/ 1391416 h 2711356"/>
                <a:gd name="connsiteX143" fmla="*/ 2644644 w 3283172"/>
                <a:gd name="connsiteY143" fmla="*/ 1396182 h 2711356"/>
                <a:gd name="connsiteX144" fmla="*/ 2649412 w 3283172"/>
                <a:gd name="connsiteY144" fmla="*/ 1420006 h 2711356"/>
                <a:gd name="connsiteX145" fmla="*/ 2649412 w 3283172"/>
                <a:gd name="connsiteY145" fmla="*/ 1429536 h 2711356"/>
                <a:gd name="connsiteX146" fmla="*/ 2654176 w 3283172"/>
                <a:gd name="connsiteY146" fmla="*/ 1434302 h 2711356"/>
                <a:gd name="connsiteX147" fmla="*/ 2663704 w 3283172"/>
                <a:gd name="connsiteY147" fmla="*/ 1448598 h 2711356"/>
                <a:gd name="connsiteX148" fmla="*/ 2682764 w 3283172"/>
                <a:gd name="connsiteY148" fmla="*/ 1467658 h 2711356"/>
                <a:gd name="connsiteX149" fmla="*/ 2692296 w 3283172"/>
                <a:gd name="connsiteY149" fmla="*/ 1481954 h 2711356"/>
                <a:gd name="connsiteX150" fmla="*/ 2697060 w 3283172"/>
                <a:gd name="connsiteY150" fmla="*/ 1491484 h 2711356"/>
                <a:gd name="connsiteX151" fmla="*/ 2706592 w 3283172"/>
                <a:gd name="connsiteY151" fmla="*/ 1501014 h 2711356"/>
                <a:gd name="connsiteX152" fmla="*/ 2735184 w 3283172"/>
                <a:gd name="connsiteY152" fmla="*/ 1534370 h 2711356"/>
                <a:gd name="connsiteX153" fmla="*/ 2739948 w 3283172"/>
                <a:gd name="connsiteY153" fmla="*/ 1548666 h 2711356"/>
                <a:gd name="connsiteX154" fmla="*/ 2749476 w 3283172"/>
                <a:gd name="connsiteY154" fmla="*/ 1558196 h 2711356"/>
                <a:gd name="connsiteX155" fmla="*/ 2759008 w 3283172"/>
                <a:gd name="connsiteY155" fmla="*/ 1567726 h 2711356"/>
                <a:gd name="connsiteX156" fmla="*/ 2778068 w 3283172"/>
                <a:gd name="connsiteY156" fmla="*/ 1591552 h 2711356"/>
                <a:gd name="connsiteX157" fmla="*/ 2782832 w 3283172"/>
                <a:gd name="connsiteY157" fmla="*/ 1601082 h 2711356"/>
                <a:gd name="connsiteX158" fmla="*/ 2792364 w 3283172"/>
                <a:gd name="connsiteY158" fmla="*/ 1615376 h 2711356"/>
                <a:gd name="connsiteX159" fmla="*/ 2801892 w 3283172"/>
                <a:gd name="connsiteY159" fmla="*/ 1624908 h 2711356"/>
                <a:gd name="connsiteX160" fmla="*/ 2811424 w 3283172"/>
                <a:gd name="connsiteY160" fmla="*/ 1624908 h 2711356"/>
                <a:gd name="connsiteX161" fmla="*/ 2816188 w 3283172"/>
                <a:gd name="connsiteY161" fmla="*/ 1624908 h 2711356"/>
                <a:gd name="connsiteX162" fmla="*/ 2830484 w 3283172"/>
                <a:gd name="connsiteY162" fmla="*/ 1629672 h 2711356"/>
                <a:gd name="connsiteX163" fmla="*/ 2849544 w 3283172"/>
                <a:gd name="connsiteY163" fmla="*/ 1629672 h 2711356"/>
                <a:gd name="connsiteX164" fmla="*/ 2873372 w 3283172"/>
                <a:gd name="connsiteY164" fmla="*/ 1634438 h 2711356"/>
                <a:gd name="connsiteX165" fmla="*/ 2901960 w 3283172"/>
                <a:gd name="connsiteY165" fmla="*/ 1634438 h 2711356"/>
                <a:gd name="connsiteX166" fmla="*/ 2930552 w 3283172"/>
                <a:gd name="connsiteY166" fmla="*/ 1639202 h 2711356"/>
                <a:gd name="connsiteX167" fmla="*/ 2963908 w 3283172"/>
                <a:gd name="connsiteY167" fmla="*/ 1643968 h 2711356"/>
                <a:gd name="connsiteX168" fmla="*/ 3002028 w 3283172"/>
                <a:gd name="connsiteY168" fmla="*/ 1648732 h 2711356"/>
                <a:gd name="connsiteX169" fmla="*/ 3035384 w 3283172"/>
                <a:gd name="connsiteY169" fmla="*/ 1653498 h 2711356"/>
                <a:gd name="connsiteX170" fmla="*/ 3068740 w 3283172"/>
                <a:gd name="connsiteY170" fmla="*/ 1658264 h 2711356"/>
                <a:gd name="connsiteX171" fmla="*/ 3102096 w 3283172"/>
                <a:gd name="connsiteY171" fmla="*/ 1663028 h 2711356"/>
                <a:gd name="connsiteX172" fmla="*/ 3125924 w 3283172"/>
                <a:gd name="connsiteY172" fmla="*/ 1667794 h 2711356"/>
                <a:gd name="connsiteX173" fmla="*/ 3149748 w 3283172"/>
                <a:gd name="connsiteY173" fmla="*/ 1667794 h 2711356"/>
                <a:gd name="connsiteX174" fmla="*/ 3168808 w 3283172"/>
                <a:gd name="connsiteY174" fmla="*/ 1672558 h 2711356"/>
                <a:gd name="connsiteX175" fmla="*/ 3183104 w 3283172"/>
                <a:gd name="connsiteY175" fmla="*/ 1672558 h 2711356"/>
                <a:gd name="connsiteX176" fmla="*/ 3187868 w 3283172"/>
                <a:gd name="connsiteY176" fmla="*/ 1672558 h 2711356"/>
                <a:gd name="connsiteX177" fmla="*/ 3197400 w 3283172"/>
                <a:gd name="connsiteY177" fmla="*/ 1677324 h 2711356"/>
                <a:gd name="connsiteX178" fmla="*/ 3202164 w 3283172"/>
                <a:gd name="connsiteY178" fmla="*/ 1677324 h 2711356"/>
                <a:gd name="connsiteX179" fmla="*/ 3211696 w 3283172"/>
                <a:gd name="connsiteY179" fmla="*/ 1663028 h 2711356"/>
                <a:gd name="connsiteX180" fmla="*/ 3221224 w 3283172"/>
                <a:gd name="connsiteY180" fmla="*/ 1682088 h 2711356"/>
                <a:gd name="connsiteX181" fmla="*/ 3230756 w 3283172"/>
                <a:gd name="connsiteY181" fmla="*/ 1696384 h 2711356"/>
                <a:gd name="connsiteX182" fmla="*/ 3245052 w 3283172"/>
                <a:gd name="connsiteY182" fmla="*/ 1720210 h 2711356"/>
                <a:gd name="connsiteX183" fmla="*/ 3259348 w 3283172"/>
                <a:gd name="connsiteY183" fmla="*/ 1744036 h 2711356"/>
                <a:gd name="connsiteX184" fmla="*/ 3273640 w 3283172"/>
                <a:gd name="connsiteY184" fmla="*/ 1763096 h 2711356"/>
                <a:gd name="connsiteX185" fmla="*/ 3283172 w 3283172"/>
                <a:gd name="connsiteY185" fmla="*/ 1782156 h 2711356"/>
                <a:gd name="connsiteX186" fmla="*/ 3278408 w 3283172"/>
                <a:gd name="connsiteY186" fmla="*/ 1796452 h 2711356"/>
                <a:gd name="connsiteX187" fmla="*/ 3273640 w 3283172"/>
                <a:gd name="connsiteY187" fmla="*/ 1815512 h 2711356"/>
                <a:gd name="connsiteX188" fmla="*/ 3264112 w 3283172"/>
                <a:gd name="connsiteY188" fmla="*/ 1834572 h 2711356"/>
                <a:gd name="connsiteX189" fmla="*/ 3259348 w 3283172"/>
                <a:gd name="connsiteY189" fmla="*/ 1853634 h 2711356"/>
                <a:gd name="connsiteX190" fmla="*/ 3249816 w 3283172"/>
                <a:gd name="connsiteY190" fmla="*/ 1891754 h 2711356"/>
                <a:gd name="connsiteX191" fmla="*/ 3245052 w 3283172"/>
                <a:gd name="connsiteY191" fmla="*/ 1910814 h 2711356"/>
                <a:gd name="connsiteX192" fmla="*/ 3230756 w 3283172"/>
                <a:gd name="connsiteY192" fmla="*/ 1944170 h 2711356"/>
                <a:gd name="connsiteX193" fmla="*/ 3225992 w 3283172"/>
                <a:gd name="connsiteY193" fmla="*/ 1963232 h 2711356"/>
                <a:gd name="connsiteX194" fmla="*/ 3221224 w 3283172"/>
                <a:gd name="connsiteY194" fmla="*/ 1982292 h 2711356"/>
                <a:gd name="connsiteX195" fmla="*/ 3197400 w 3283172"/>
                <a:gd name="connsiteY195" fmla="*/ 2058534 h 2711356"/>
                <a:gd name="connsiteX196" fmla="*/ 3192636 w 3283172"/>
                <a:gd name="connsiteY196" fmla="*/ 2077594 h 2711356"/>
                <a:gd name="connsiteX197" fmla="*/ 3187868 w 3283172"/>
                <a:gd name="connsiteY197" fmla="*/ 2096654 h 2711356"/>
                <a:gd name="connsiteX198" fmla="*/ 3178340 w 3283172"/>
                <a:gd name="connsiteY198" fmla="*/ 2115716 h 2711356"/>
                <a:gd name="connsiteX199" fmla="*/ 3164044 w 3283172"/>
                <a:gd name="connsiteY199" fmla="*/ 2120480 h 2711356"/>
                <a:gd name="connsiteX200" fmla="*/ 3135452 w 3283172"/>
                <a:gd name="connsiteY200" fmla="*/ 2130010 h 2711356"/>
                <a:gd name="connsiteX201" fmla="*/ 3106864 w 3283172"/>
                <a:gd name="connsiteY201" fmla="*/ 2139540 h 2711356"/>
                <a:gd name="connsiteX202" fmla="*/ 3083036 w 3283172"/>
                <a:gd name="connsiteY202" fmla="*/ 2149072 h 2711356"/>
                <a:gd name="connsiteX203" fmla="*/ 3054444 w 3283172"/>
                <a:gd name="connsiteY203" fmla="*/ 2158602 h 2711356"/>
                <a:gd name="connsiteX204" fmla="*/ 3025856 w 3283172"/>
                <a:gd name="connsiteY204" fmla="*/ 2168132 h 2711356"/>
                <a:gd name="connsiteX205" fmla="*/ 3002028 w 3283172"/>
                <a:gd name="connsiteY205" fmla="*/ 2177662 h 2711356"/>
                <a:gd name="connsiteX206" fmla="*/ 2973440 w 3283172"/>
                <a:gd name="connsiteY206" fmla="*/ 2187192 h 2711356"/>
                <a:gd name="connsiteX207" fmla="*/ 2949612 w 3283172"/>
                <a:gd name="connsiteY207" fmla="*/ 2196722 h 2711356"/>
                <a:gd name="connsiteX208" fmla="*/ 2921024 w 3283172"/>
                <a:gd name="connsiteY208" fmla="*/ 2206252 h 2711356"/>
                <a:gd name="connsiteX209" fmla="*/ 2892432 w 3283172"/>
                <a:gd name="connsiteY209" fmla="*/ 2215782 h 2711356"/>
                <a:gd name="connsiteX210" fmla="*/ 2868604 w 3283172"/>
                <a:gd name="connsiteY210" fmla="*/ 2225312 h 2711356"/>
                <a:gd name="connsiteX211" fmla="*/ 2840016 w 3283172"/>
                <a:gd name="connsiteY211" fmla="*/ 2234844 h 2711356"/>
                <a:gd name="connsiteX212" fmla="*/ 2811424 w 3283172"/>
                <a:gd name="connsiteY212" fmla="*/ 2244374 h 2711356"/>
                <a:gd name="connsiteX213" fmla="*/ 2759008 w 3283172"/>
                <a:gd name="connsiteY213" fmla="*/ 2263434 h 2711356"/>
                <a:gd name="connsiteX214" fmla="*/ 2730416 w 3283172"/>
                <a:gd name="connsiteY214" fmla="*/ 2272964 h 2711356"/>
                <a:gd name="connsiteX215" fmla="*/ 2711356 w 3283172"/>
                <a:gd name="connsiteY215" fmla="*/ 2282494 h 2711356"/>
                <a:gd name="connsiteX216" fmla="*/ 2673236 w 3283172"/>
                <a:gd name="connsiteY216" fmla="*/ 2287260 h 2711356"/>
                <a:gd name="connsiteX217" fmla="*/ 2639880 w 3283172"/>
                <a:gd name="connsiteY217" fmla="*/ 2292024 h 2711356"/>
                <a:gd name="connsiteX218" fmla="*/ 2596992 w 3283172"/>
                <a:gd name="connsiteY218" fmla="*/ 2296790 h 2711356"/>
                <a:gd name="connsiteX219" fmla="*/ 2549344 w 3283172"/>
                <a:gd name="connsiteY219" fmla="*/ 2306320 h 2711356"/>
                <a:gd name="connsiteX220" fmla="*/ 2511220 w 3283172"/>
                <a:gd name="connsiteY220" fmla="*/ 2311086 h 2711356"/>
                <a:gd name="connsiteX221" fmla="*/ 2458804 w 3283172"/>
                <a:gd name="connsiteY221" fmla="*/ 2315850 h 2711356"/>
                <a:gd name="connsiteX222" fmla="*/ 2406388 w 3283172"/>
                <a:gd name="connsiteY222" fmla="*/ 2325380 h 2711356"/>
                <a:gd name="connsiteX223" fmla="*/ 2358736 w 3283172"/>
                <a:gd name="connsiteY223" fmla="*/ 2330146 h 2711356"/>
                <a:gd name="connsiteX224" fmla="*/ 2315852 w 3283172"/>
                <a:gd name="connsiteY224" fmla="*/ 2339676 h 2711356"/>
                <a:gd name="connsiteX225" fmla="*/ 2277732 w 3283172"/>
                <a:gd name="connsiteY225" fmla="*/ 2344442 h 2711356"/>
                <a:gd name="connsiteX226" fmla="*/ 2253904 w 3283172"/>
                <a:gd name="connsiteY226" fmla="*/ 2349206 h 2711356"/>
                <a:gd name="connsiteX227" fmla="*/ 2225312 w 3283172"/>
                <a:gd name="connsiteY227" fmla="*/ 2363502 h 2711356"/>
                <a:gd name="connsiteX228" fmla="*/ 2182428 w 3283172"/>
                <a:gd name="connsiteY228" fmla="*/ 2387328 h 2711356"/>
                <a:gd name="connsiteX229" fmla="*/ 2139540 w 3283172"/>
                <a:gd name="connsiteY229" fmla="*/ 2411152 h 2711356"/>
                <a:gd name="connsiteX230" fmla="*/ 2115716 w 3283172"/>
                <a:gd name="connsiteY230" fmla="*/ 2420684 h 2711356"/>
                <a:gd name="connsiteX231" fmla="*/ 2091892 w 3283172"/>
                <a:gd name="connsiteY231" fmla="*/ 2449274 h 2711356"/>
                <a:gd name="connsiteX232" fmla="*/ 2082360 w 3283172"/>
                <a:gd name="connsiteY232" fmla="*/ 2463570 h 2711356"/>
                <a:gd name="connsiteX233" fmla="*/ 2058536 w 3283172"/>
                <a:gd name="connsiteY233" fmla="*/ 2492160 h 2711356"/>
                <a:gd name="connsiteX234" fmla="*/ 2044240 w 3283172"/>
                <a:gd name="connsiteY234" fmla="*/ 2511220 h 2711356"/>
                <a:gd name="connsiteX235" fmla="*/ 2025180 w 3283172"/>
                <a:gd name="connsiteY235" fmla="*/ 2535046 h 2711356"/>
                <a:gd name="connsiteX236" fmla="*/ 2015648 w 3283172"/>
                <a:gd name="connsiteY236" fmla="*/ 2558872 h 2711356"/>
                <a:gd name="connsiteX237" fmla="*/ 2001352 w 3283172"/>
                <a:gd name="connsiteY237" fmla="*/ 2592228 h 2711356"/>
                <a:gd name="connsiteX238" fmla="*/ 1991824 w 3283172"/>
                <a:gd name="connsiteY238" fmla="*/ 2601758 h 2711356"/>
                <a:gd name="connsiteX239" fmla="*/ 1972760 w 3283172"/>
                <a:gd name="connsiteY239" fmla="*/ 2611288 h 2711356"/>
                <a:gd name="connsiteX240" fmla="*/ 1953700 w 3283172"/>
                <a:gd name="connsiteY240" fmla="*/ 2616054 h 2711356"/>
                <a:gd name="connsiteX241" fmla="*/ 1929876 w 3283172"/>
                <a:gd name="connsiteY241" fmla="*/ 2616054 h 2711356"/>
                <a:gd name="connsiteX242" fmla="*/ 1915580 w 3283172"/>
                <a:gd name="connsiteY242" fmla="*/ 2596992 h 2711356"/>
                <a:gd name="connsiteX243" fmla="*/ 1896520 w 3283172"/>
                <a:gd name="connsiteY243" fmla="*/ 2573168 h 2711356"/>
                <a:gd name="connsiteX244" fmla="*/ 1891756 w 3283172"/>
                <a:gd name="connsiteY244" fmla="*/ 2568402 h 2711356"/>
                <a:gd name="connsiteX245" fmla="*/ 1882224 w 3283172"/>
                <a:gd name="connsiteY245" fmla="*/ 2568402 h 2711356"/>
                <a:gd name="connsiteX246" fmla="*/ 1858400 w 3283172"/>
                <a:gd name="connsiteY246" fmla="*/ 2568402 h 2711356"/>
                <a:gd name="connsiteX247" fmla="*/ 1825044 w 3283172"/>
                <a:gd name="connsiteY247" fmla="*/ 2573168 h 2711356"/>
                <a:gd name="connsiteX248" fmla="*/ 1786920 w 3283172"/>
                <a:gd name="connsiteY248" fmla="*/ 2568402 h 2711356"/>
                <a:gd name="connsiteX249" fmla="*/ 1744036 w 3283172"/>
                <a:gd name="connsiteY249" fmla="*/ 2563636 h 2711356"/>
                <a:gd name="connsiteX250" fmla="*/ 1705916 w 3283172"/>
                <a:gd name="connsiteY250" fmla="*/ 2558872 h 2711356"/>
                <a:gd name="connsiteX251" fmla="*/ 1682088 w 3283172"/>
                <a:gd name="connsiteY251" fmla="*/ 2558872 h 2711356"/>
                <a:gd name="connsiteX252" fmla="*/ 1658264 w 3283172"/>
                <a:gd name="connsiteY252" fmla="*/ 2544576 h 2711356"/>
                <a:gd name="connsiteX253" fmla="*/ 1648732 w 3283172"/>
                <a:gd name="connsiteY253" fmla="*/ 2539812 h 2711356"/>
                <a:gd name="connsiteX254" fmla="*/ 1643968 w 3283172"/>
                <a:gd name="connsiteY254" fmla="*/ 2539812 h 2711356"/>
                <a:gd name="connsiteX255" fmla="*/ 1610612 w 3283172"/>
                <a:gd name="connsiteY255" fmla="*/ 2539812 h 2711356"/>
                <a:gd name="connsiteX256" fmla="*/ 1582020 w 3283172"/>
                <a:gd name="connsiteY256" fmla="*/ 2539812 h 2711356"/>
                <a:gd name="connsiteX257" fmla="*/ 1548664 w 3283172"/>
                <a:gd name="connsiteY257" fmla="*/ 2544576 h 2711356"/>
                <a:gd name="connsiteX258" fmla="*/ 1520076 w 3283172"/>
                <a:gd name="connsiteY258" fmla="*/ 2539812 h 2711356"/>
                <a:gd name="connsiteX259" fmla="*/ 1486720 w 3283172"/>
                <a:gd name="connsiteY259" fmla="*/ 2544576 h 2711356"/>
                <a:gd name="connsiteX260" fmla="*/ 1477188 w 3283172"/>
                <a:gd name="connsiteY260" fmla="*/ 2549342 h 2711356"/>
                <a:gd name="connsiteX261" fmla="*/ 1467660 w 3283172"/>
                <a:gd name="connsiteY261" fmla="*/ 2549342 h 2711356"/>
                <a:gd name="connsiteX262" fmla="*/ 1458128 w 3283172"/>
                <a:gd name="connsiteY262" fmla="*/ 2554106 h 2711356"/>
                <a:gd name="connsiteX263" fmla="*/ 1453364 w 3283172"/>
                <a:gd name="connsiteY263" fmla="*/ 2558872 h 2711356"/>
                <a:gd name="connsiteX264" fmla="*/ 1443832 w 3283172"/>
                <a:gd name="connsiteY264" fmla="*/ 2554106 h 2711356"/>
                <a:gd name="connsiteX265" fmla="*/ 1434304 w 3283172"/>
                <a:gd name="connsiteY265" fmla="*/ 2554106 h 2711356"/>
                <a:gd name="connsiteX266" fmla="*/ 1420008 w 3283172"/>
                <a:gd name="connsiteY266" fmla="*/ 2549342 h 2711356"/>
                <a:gd name="connsiteX267" fmla="*/ 1400948 w 3283172"/>
                <a:gd name="connsiteY267" fmla="*/ 2530282 h 2711356"/>
                <a:gd name="connsiteX268" fmla="*/ 1391416 w 3283172"/>
                <a:gd name="connsiteY268" fmla="*/ 2530282 h 2711356"/>
                <a:gd name="connsiteX269" fmla="*/ 1381884 w 3283172"/>
                <a:gd name="connsiteY269" fmla="*/ 2525516 h 2711356"/>
                <a:gd name="connsiteX270" fmla="*/ 1372356 w 3283172"/>
                <a:gd name="connsiteY270" fmla="*/ 2525516 h 2711356"/>
                <a:gd name="connsiteX271" fmla="*/ 1362824 w 3283172"/>
                <a:gd name="connsiteY271" fmla="*/ 2530282 h 2711356"/>
                <a:gd name="connsiteX272" fmla="*/ 1353296 w 3283172"/>
                <a:gd name="connsiteY272" fmla="*/ 2535046 h 2711356"/>
                <a:gd name="connsiteX273" fmla="*/ 1339000 w 3283172"/>
                <a:gd name="connsiteY273" fmla="*/ 2549342 h 2711356"/>
                <a:gd name="connsiteX274" fmla="*/ 1339000 w 3283172"/>
                <a:gd name="connsiteY274" fmla="*/ 2558872 h 2711356"/>
                <a:gd name="connsiteX275" fmla="*/ 1343764 w 3283172"/>
                <a:gd name="connsiteY275" fmla="*/ 2568402 h 2711356"/>
                <a:gd name="connsiteX276" fmla="*/ 1334236 w 3283172"/>
                <a:gd name="connsiteY276" fmla="*/ 2577932 h 2711356"/>
                <a:gd name="connsiteX277" fmla="*/ 1329468 w 3283172"/>
                <a:gd name="connsiteY277" fmla="*/ 2592228 h 2711356"/>
                <a:gd name="connsiteX278" fmla="*/ 1329468 w 3283172"/>
                <a:gd name="connsiteY278" fmla="*/ 2596992 h 2711356"/>
                <a:gd name="connsiteX279" fmla="*/ 1324704 w 3283172"/>
                <a:gd name="connsiteY279" fmla="*/ 2620818 h 2711356"/>
                <a:gd name="connsiteX280" fmla="*/ 1329468 w 3283172"/>
                <a:gd name="connsiteY280" fmla="*/ 2635114 h 2711356"/>
                <a:gd name="connsiteX281" fmla="*/ 1339000 w 3283172"/>
                <a:gd name="connsiteY281" fmla="*/ 2639880 h 2711356"/>
                <a:gd name="connsiteX282" fmla="*/ 1339000 w 3283172"/>
                <a:gd name="connsiteY282" fmla="*/ 2649410 h 2711356"/>
                <a:gd name="connsiteX283" fmla="*/ 1334236 w 3283172"/>
                <a:gd name="connsiteY283" fmla="*/ 2658940 h 2711356"/>
                <a:gd name="connsiteX284" fmla="*/ 1324704 w 3283172"/>
                <a:gd name="connsiteY284" fmla="*/ 2663704 h 2711356"/>
                <a:gd name="connsiteX285" fmla="*/ 1319940 w 3283172"/>
                <a:gd name="connsiteY285" fmla="*/ 2678000 h 2711356"/>
                <a:gd name="connsiteX286" fmla="*/ 1315176 w 3283172"/>
                <a:gd name="connsiteY286" fmla="*/ 2682766 h 2711356"/>
                <a:gd name="connsiteX287" fmla="*/ 1305644 w 3283172"/>
                <a:gd name="connsiteY287" fmla="*/ 2687530 h 2711356"/>
                <a:gd name="connsiteX288" fmla="*/ 1277052 w 3283172"/>
                <a:gd name="connsiteY288" fmla="*/ 2711356 h 2711356"/>
                <a:gd name="connsiteX289" fmla="*/ 1277052 w 3283172"/>
                <a:gd name="connsiteY289" fmla="*/ 2697060 h 2711356"/>
                <a:gd name="connsiteX290" fmla="*/ 1267524 w 3283172"/>
                <a:gd name="connsiteY290" fmla="*/ 2678000 h 2711356"/>
                <a:gd name="connsiteX291" fmla="*/ 1267524 w 3283172"/>
                <a:gd name="connsiteY291" fmla="*/ 2668470 h 2711356"/>
                <a:gd name="connsiteX292" fmla="*/ 1262756 w 3283172"/>
                <a:gd name="connsiteY292" fmla="*/ 2654174 h 2711356"/>
                <a:gd name="connsiteX293" fmla="*/ 1253228 w 3283172"/>
                <a:gd name="connsiteY293" fmla="*/ 2644644 h 2711356"/>
                <a:gd name="connsiteX294" fmla="*/ 1238932 w 3283172"/>
                <a:gd name="connsiteY294" fmla="*/ 2630348 h 2711356"/>
                <a:gd name="connsiteX295" fmla="*/ 1238932 w 3283172"/>
                <a:gd name="connsiteY295" fmla="*/ 2616054 h 2711356"/>
                <a:gd name="connsiteX296" fmla="*/ 1224636 w 3283172"/>
                <a:gd name="connsiteY296" fmla="*/ 2601758 h 2711356"/>
                <a:gd name="connsiteX297" fmla="*/ 1210340 w 3283172"/>
                <a:gd name="connsiteY297" fmla="*/ 2587462 h 2711356"/>
                <a:gd name="connsiteX298" fmla="*/ 1205576 w 3283172"/>
                <a:gd name="connsiteY298" fmla="*/ 2568402 h 2711356"/>
                <a:gd name="connsiteX299" fmla="*/ 1196044 w 3283172"/>
                <a:gd name="connsiteY299" fmla="*/ 2539812 h 2711356"/>
                <a:gd name="connsiteX300" fmla="*/ 1157924 w 3283172"/>
                <a:gd name="connsiteY300" fmla="*/ 2501690 h 2711356"/>
                <a:gd name="connsiteX301" fmla="*/ 1115040 w 3283172"/>
                <a:gd name="connsiteY301" fmla="*/ 2463570 h 2711356"/>
                <a:gd name="connsiteX302" fmla="*/ 1100744 w 3283172"/>
                <a:gd name="connsiteY302" fmla="*/ 2444508 h 2711356"/>
                <a:gd name="connsiteX303" fmla="*/ 1076916 w 3283172"/>
                <a:gd name="connsiteY303" fmla="*/ 2401622 h 2711356"/>
                <a:gd name="connsiteX304" fmla="*/ 1062624 w 3283172"/>
                <a:gd name="connsiteY304" fmla="*/ 2373032 h 2711356"/>
                <a:gd name="connsiteX305" fmla="*/ 1029268 w 3283172"/>
                <a:gd name="connsiteY305" fmla="*/ 2334912 h 2711356"/>
                <a:gd name="connsiteX306" fmla="*/ 1029268 w 3283172"/>
                <a:gd name="connsiteY306" fmla="*/ 2320616 h 2711356"/>
                <a:gd name="connsiteX307" fmla="*/ 1024500 w 3283172"/>
                <a:gd name="connsiteY307" fmla="*/ 2301556 h 2711356"/>
                <a:gd name="connsiteX308" fmla="*/ 1019736 w 3283172"/>
                <a:gd name="connsiteY308" fmla="*/ 2282494 h 2711356"/>
                <a:gd name="connsiteX309" fmla="*/ 1014972 w 3283172"/>
                <a:gd name="connsiteY309" fmla="*/ 2268200 h 2711356"/>
                <a:gd name="connsiteX310" fmla="*/ 981616 w 3283172"/>
                <a:gd name="connsiteY310" fmla="*/ 2201488 h 2711356"/>
                <a:gd name="connsiteX311" fmla="*/ 972084 w 3283172"/>
                <a:gd name="connsiteY311" fmla="*/ 2187192 h 2711356"/>
                <a:gd name="connsiteX312" fmla="*/ 962556 w 3283172"/>
                <a:gd name="connsiteY312" fmla="*/ 2172896 h 2711356"/>
                <a:gd name="connsiteX313" fmla="*/ 962556 w 3283172"/>
                <a:gd name="connsiteY313" fmla="*/ 2163366 h 2711356"/>
                <a:gd name="connsiteX314" fmla="*/ 957788 w 3283172"/>
                <a:gd name="connsiteY314" fmla="*/ 2158602 h 2711356"/>
                <a:gd name="connsiteX315" fmla="*/ 933964 w 3283172"/>
                <a:gd name="connsiteY315" fmla="*/ 2144306 h 2711356"/>
                <a:gd name="connsiteX316" fmla="*/ 914904 w 3283172"/>
                <a:gd name="connsiteY316" fmla="*/ 2115716 h 2711356"/>
                <a:gd name="connsiteX317" fmla="*/ 852956 w 3283172"/>
                <a:gd name="connsiteY317" fmla="*/ 2072828 h 2711356"/>
                <a:gd name="connsiteX318" fmla="*/ 819600 w 3283172"/>
                <a:gd name="connsiteY318" fmla="*/ 2068064 h 2711356"/>
                <a:gd name="connsiteX319" fmla="*/ 795776 w 3283172"/>
                <a:gd name="connsiteY319" fmla="*/ 2049004 h 2711356"/>
                <a:gd name="connsiteX320" fmla="*/ 776716 w 3283172"/>
                <a:gd name="connsiteY320" fmla="*/ 2029942 h 2711356"/>
                <a:gd name="connsiteX321" fmla="*/ 757656 w 3283172"/>
                <a:gd name="connsiteY321" fmla="*/ 1991822 h 2711356"/>
                <a:gd name="connsiteX322" fmla="*/ 729064 w 3283172"/>
                <a:gd name="connsiteY322" fmla="*/ 1953700 h 2711356"/>
                <a:gd name="connsiteX323" fmla="*/ 695708 w 3283172"/>
                <a:gd name="connsiteY323" fmla="*/ 1896520 h 2711356"/>
                <a:gd name="connsiteX324" fmla="*/ 705236 w 3283172"/>
                <a:gd name="connsiteY324" fmla="*/ 1877458 h 2711356"/>
                <a:gd name="connsiteX325" fmla="*/ 705236 w 3283172"/>
                <a:gd name="connsiteY325" fmla="*/ 1863164 h 2711356"/>
                <a:gd name="connsiteX326" fmla="*/ 695708 w 3283172"/>
                <a:gd name="connsiteY326" fmla="*/ 1839338 h 2711356"/>
                <a:gd name="connsiteX327" fmla="*/ 686176 w 3283172"/>
                <a:gd name="connsiteY327" fmla="*/ 1820278 h 2711356"/>
                <a:gd name="connsiteX328" fmla="*/ 681412 w 3283172"/>
                <a:gd name="connsiteY328" fmla="*/ 1801216 h 2711356"/>
                <a:gd name="connsiteX329" fmla="*/ 686176 w 3283172"/>
                <a:gd name="connsiteY329" fmla="*/ 1777392 h 2711356"/>
                <a:gd name="connsiteX330" fmla="*/ 690944 w 3283172"/>
                <a:gd name="connsiteY330" fmla="*/ 1748800 h 2711356"/>
                <a:gd name="connsiteX331" fmla="*/ 695708 w 3283172"/>
                <a:gd name="connsiteY331" fmla="*/ 1729740 h 2711356"/>
                <a:gd name="connsiteX332" fmla="*/ 700472 w 3283172"/>
                <a:gd name="connsiteY332" fmla="*/ 1715444 h 2711356"/>
                <a:gd name="connsiteX333" fmla="*/ 690944 w 3283172"/>
                <a:gd name="connsiteY333" fmla="*/ 1682088 h 2711356"/>
                <a:gd name="connsiteX334" fmla="*/ 686176 w 3283172"/>
                <a:gd name="connsiteY334" fmla="*/ 1663028 h 2711356"/>
                <a:gd name="connsiteX335" fmla="*/ 686176 w 3283172"/>
                <a:gd name="connsiteY335" fmla="*/ 1648732 h 2711356"/>
                <a:gd name="connsiteX336" fmla="*/ 671884 w 3283172"/>
                <a:gd name="connsiteY336" fmla="*/ 1643968 h 2711356"/>
                <a:gd name="connsiteX337" fmla="*/ 667116 w 3283172"/>
                <a:gd name="connsiteY337" fmla="*/ 1629672 h 2711356"/>
                <a:gd name="connsiteX338" fmla="*/ 671884 w 3283172"/>
                <a:gd name="connsiteY338" fmla="*/ 1629672 h 2711356"/>
                <a:gd name="connsiteX339" fmla="*/ 657588 w 3283172"/>
                <a:gd name="connsiteY339" fmla="*/ 1615376 h 2711356"/>
                <a:gd name="connsiteX340" fmla="*/ 652820 w 3283172"/>
                <a:gd name="connsiteY340" fmla="*/ 1601082 h 2711356"/>
                <a:gd name="connsiteX341" fmla="*/ 648056 w 3283172"/>
                <a:gd name="connsiteY341" fmla="*/ 1577256 h 2711356"/>
                <a:gd name="connsiteX342" fmla="*/ 638528 w 3283172"/>
                <a:gd name="connsiteY342" fmla="*/ 1558196 h 2711356"/>
                <a:gd name="connsiteX343" fmla="*/ 609936 w 3283172"/>
                <a:gd name="connsiteY343" fmla="*/ 1515310 h 2711356"/>
                <a:gd name="connsiteX344" fmla="*/ 600404 w 3283172"/>
                <a:gd name="connsiteY344" fmla="*/ 1491484 h 2711356"/>
                <a:gd name="connsiteX345" fmla="*/ 571816 w 3283172"/>
                <a:gd name="connsiteY345" fmla="*/ 1458128 h 2711356"/>
                <a:gd name="connsiteX346" fmla="*/ 543224 w 3283172"/>
                <a:gd name="connsiteY346" fmla="*/ 1429536 h 2711356"/>
                <a:gd name="connsiteX347" fmla="*/ 524164 w 3283172"/>
                <a:gd name="connsiteY347" fmla="*/ 1420006 h 2711356"/>
                <a:gd name="connsiteX348" fmla="*/ 514632 w 3283172"/>
                <a:gd name="connsiteY348" fmla="*/ 1410476 h 2711356"/>
                <a:gd name="connsiteX349" fmla="*/ 500336 w 3283172"/>
                <a:gd name="connsiteY349" fmla="*/ 1410476 h 2711356"/>
                <a:gd name="connsiteX350" fmla="*/ 481276 w 3283172"/>
                <a:gd name="connsiteY350" fmla="*/ 1396182 h 2711356"/>
                <a:gd name="connsiteX351" fmla="*/ 471748 w 3283172"/>
                <a:gd name="connsiteY351" fmla="*/ 1396182 h 2711356"/>
                <a:gd name="connsiteX352" fmla="*/ 457452 w 3283172"/>
                <a:gd name="connsiteY352" fmla="*/ 1391416 h 2711356"/>
                <a:gd name="connsiteX353" fmla="*/ 438392 w 3283172"/>
                <a:gd name="connsiteY353" fmla="*/ 1362826 h 2711356"/>
                <a:gd name="connsiteX354" fmla="*/ 424096 w 3283172"/>
                <a:gd name="connsiteY354" fmla="*/ 1334234 h 2711356"/>
                <a:gd name="connsiteX355" fmla="*/ 400268 w 3283172"/>
                <a:gd name="connsiteY355" fmla="*/ 1300878 h 2711356"/>
                <a:gd name="connsiteX356" fmla="*/ 405036 w 3283172"/>
                <a:gd name="connsiteY356" fmla="*/ 1291348 h 2711356"/>
                <a:gd name="connsiteX357" fmla="*/ 414564 w 3283172"/>
                <a:gd name="connsiteY357" fmla="*/ 1277052 h 2711356"/>
                <a:gd name="connsiteX358" fmla="*/ 409800 w 3283172"/>
                <a:gd name="connsiteY358" fmla="*/ 1257992 h 2711356"/>
                <a:gd name="connsiteX359" fmla="*/ 405036 w 3283172"/>
                <a:gd name="connsiteY359" fmla="*/ 1243696 h 2711356"/>
                <a:gd name="connsiteX360" fmla="*/ 395504 w 3283172"/>
                <a:gd name="connsiteY360" fmla="*/ 1219872 h 2711356"/>
                <a:gd name="connsiteX361" fmla="*/ 357384 w 3283172"/>
                <a:gd name="connsiteY361" fmla="*/ 1157924 h 2711356"/>
                <a:gd name="connsiteX362" fmla="*/ 347852 w 3283172"/>
                <a:gd name="connsiteY362" fmla="*/ 1148394 h 2711356"/>
                <a:gd name="connsiteX363" fmla="*/ 333556 w 3283172"/>
                <a:gd name="connsiteY363" fmla="*/ 1138864 h 2711356"/>
                <a:gd name="connsiteX364" fmla="*/ 324028 w 3283172"/>
                <a:gd name="connsiteY364" fmla="*/ 1115038 h 2711356"/>
                <a:gd name="connsiteX365" fmla="*/ 319264 w 3283172"/>
                <a:gd name="connsiteY365" fmla="*/ 1091212 h 2711356"/>
                <a:gd name="connsiteX366" fmla="*/ 295436 w 3283172"/>
                <a:gd name="connsiteY366" fmla="*/ 1076918 h 2711356"/>
                <a:gd name="connsiteX367" fmla="*/ 252552 w 3283172"/>
                <a:gd name="connsiteY367" fmla="*/ 991146 h 2711356"/>
                <a:gd name="connsiteX368" fmla="*/ 228724 w 3283172"/>
                <a:gd name="connsiteY368" fmla="*/ 962554 h 2711356"/>
                <a:gd name="connsiteX369" fmla="*/ 219196 w 3283172"/>
                <a:gd name="connsiteY369" fmla="*/ 943494 h 2711356"/>
                <a:gd name="connsiteX370" fmla="*/ 190604 w 3283172"/>
                <a:gd name="connsiteY370" fmla="*/ 910138 h 2711356"/>
                <a:gd name="connsiteX371" fmla="*/ 176308 w 3283172"/>
                <a:gd name="connsiteY371" fmla="*/ 876782 h 2711356"/>
                <a:gd name="connsiteX372" fmla="*/ 147716 w 3283172"/>
                <a:gd name="connsiteY372" fmla="*/ 848192 h 2711356"/>
                <a:gd name="connsiteX373" fmla="*/ 123892 w 3283172"/>
                <a:gd name="connsiteY373" fmla="*/ 791010 h 2711356"/>
                <a:gd name="connsiteX374" fmla="*/ 85772 w 3283172"/>
                <a:gd name="connsiteY374" fmla="*/ 738594 h 2711356"/>
                <a:gd name="connsiteX375" fmla="*/ 71476 w 3283172"/>
                <a:gd name="connsiteY375" fmla="*/ 729064 h 2711356"/>
                <a:gd name="connsiteX376" fmla="*/ 33356 w 3283172"/>
                <a:gd name="connsiteY376" fmla="*/ 729064 h 2711356"/>
                <a:gd name="connsiteX377" fmla="*/ 14296 w 3283172"/>
                <a:gd name="connsiteY377" fmla="*/ 724298 h 2711356"/>
                <a:gd name="connsiteX378" fmla="*/ 0 w 3283172"/>
                <a:gd name="connsiteY378" fmla="*/ 733828 h 2711356"/>
                <a:gd name="connsiteX379" fmla="*/ 0 w 3283172"/>
                <a:gd name="connsiteY379" fmla="*/ 719534 h 2711356"/>
                <a:gd name="connsiteX380" fmla="*/ 9528 w 3283172"/>
                <a:gd name="connsiteY380" fmla="*/ 700472 h 2711356"/>
                <a:gd name="connsiteX381" fmla="*/ 23824 w 3283172"/>
                <a:gd name="connsiteY381" fmla="*/ 657586 h 2711356"/>
                <a:gd name="connsiteX382" fmla="*/ 28588 w 3283172"/>
                <a:gd name="connsiteY382" fmla="*/ 619466 h 2711356"/>
                <a:gd name="connsiteX383" fmla="*/ 52416 w 3283172"/>
                <a:gd name="connsiteY383" fmla="*/ 505102 h 2711356"/>
                <a:gd name="connsiteX384" fmla="*/ 85772 w 3283172"/>
                <a:gd name="connsiteY384" fmla="*/ 509868 h 2711356"/>
                <a:gd name="connsiteX385" fmla="*/ 109596 w 3283172"/>
                <a:gd name="connsiteY385" fmla="*/ 514632 h 2711356"/>
                <a:gd name="connsiteX386" fmla="*/ 152484 w 3283172"/>
                <a:gd name="connsiteY386" fmla="*/ 524162 h 2711356"/>
                <a:gd name="connsiteX387" fmla="*/ 190604 w 3283172"/>
                <a:gd name="connsiteY387" fmla="*/ 528928 h 2711356"/>
                <a:gd name="connsiteX388" fmla="*/ 219196 w 3283172"/>
                <a:gd name="connsiteY388" fmla="*/ 533694 h 2711356"/>
                <a:gd name="connsiteX389" fmla="*/ 223960 w 3283172"/>
                <a:gd name="connsiteY389" fmla="*/ 533694 h 2711356"/>
                <a:gd name="connsiteX390" fmla="*/ 257316 w 3283172"/>
                <a:gd name="connsiteY390" fmla="*/ 505102 h 2711356"/>
                <a:gd name="connsiteX391" fmla="*/ 290672 w 3283172"/>
                <a:gd name="connsiteY391" fmla="*/ 481276 h 2711356"/>
                <a:gd name="connsiteX392" fmla="*/ 304968 w 3283172"/>
                <a:gd name="connsiteY392" fmla="*/ 447920 h 2711356"/>
                <a:gd name="connsiteX393" fmla="*/ 324028 w 3283172"/>
                <a:gd name="connsiteY393" fmla="*/ 419330 h 2711356"/>
                <a:gd name="connsiteX394" fmla="*/ 333556 w 3283172"/>
                <a:gd name="connsiteY394" fmla="*/ 414564 h 2711356"/>
                <a:gd name="connsiteX395" fmla="*/ 357384 w 3283172"/>
                <a:gd name="connsiteY395" fmla="*/ 405034 h 2711356"/>
                <a:gd name="connsiteX396" fmla="*/ 400268 w 3283172"/>
                <a:gd name="connsiteY396" fmla="*/ 400270 h 2711356"/>
                <a:gd name="connsiteX397" fmla="*/ 443156 w 3283172"/>
                <a:gd name="connsiteY397" fmla="*/ 390740 h 2711356"/>
                <a:gd name="connsiteX398" fmla="*/ 447920 w 3283172"/>
                <a:gd name="connsiteY398" fmla="*/ 385974 h 2711356"/>
                <a:gd name="connsiteX399" fmla="*/ 457452 w 3283172"/>
                <a:gd name="connsiteY399" fmla="*/ 362148 h 2711356"/>
                <a:gd name="connsiteX400" fmla="*/ 471748 w 3283172"/>
                <a:gd name="connsiteY400" fmla="*/ 333558 h 2711356"/>
                <a:gd name="connsiteX401" fmla="*/ 471748 w 3283172"/>
                <a:gd name="connsiteY401" fmla="*/ 328792 h 2711356"/>
                <a:gd name="connsiteX402" fmla="*/ 476512 w 3283172"/>
                <a:gd name="connsiteY402" fmla="*/ 324028 h 2711356"/>
                <a:gd name="connsiteX403" fmla="*/ 505104 w 3283172"/>
                <a:gd name="connsiteY403" fmla="*/ 309732 h 2711356"/>
                <a:gd name="connsiteX404" fmla="*/ 524164 w 3283172"/>
                <a:gd name="connsiteY404" fmla="*/ 300202 h 2711356"/>
                <a:gd name="connsiteX405" fmla="*/ 500336 w 3283172"/>
                <a:gd name="connsiteY405" fmla="*/ 266846 h 2711356"/>
                <a:gd name="connsiteX406" fmla="*/ 471748 w 3283172"/>
                <a:gd name="connsiteY406" fmla="*/ 238256 h 2711356"/>
                <a:gd name="connsiteX407" fmla="*/ 447920 w 3283172"/>
                <a:gd name="connsiteY407" fmla="*/ 204900 h 2711356"/>
                <a:gd name="connsiteX408" fmla="*/ 424096 w 3283172"/>
                <a:gd name="connsiteY408" fmla="*/ 181074 h 2711356"/>
                <a:gd name="connsiteX409" fmla="*/ 385976 w 3283172"/>
                <a:gd name="connsiteY409" fmla="*/ 142952 h 2711356"/>
                <a:gd name="connsiteX410" fmla="*/ 362148 w 3283172"/>
                <a:gd name="connsiteY410" fmla="*/ 119128 h 2711356"/>
                <a:gd name="connsiteX411" fmla="*/ 405036 w 3283172"/>
                <a:gd name="connsiteY411" fmla="*/ 104832 h 2711356"/>
                <a:gd name="connsiteX412" fmla="*/ 447920 w 3283172"/>
                <a:gd name="connsiteY412" fmla="*/ 95302 h 2711356"/>
                <a:gd name="connsiteX413" fmla="*/ 490808 w 3283172"/>
                <a:gd name="connsiteY413" fmla="*/ 81006 h 2711356"/>
                <a:gd name="connsiteX414" fmla="*/ 543224 w 3283172"/>
                <a:gd name="connsiteY414" fmla="*/ 66710 h 2711356"/>
                <a:gd name="connsiteX415" fmla="*/ 586108 w 3283172"/>
                <a:gd name="connsiteY415" fmla="*/ 52416 h 2711356"/>
                <a:gd name="connsiteX416" fmla="*/ 648056 w 3283172"/>
                <a:gd name="connsiteY416" fmla="*/ 33354 h 2711356"/>
                <a:gd name="connsiteX417" fmla="*/ 676648 w 3283172"/>
                <a:gd name="connsiteY417" fmla="*/ 23824 h 2711356"/>
                <a:gd name="connsiteX418" fmla="*/ 681412 w 3283172"/>
                <a:gd name="connsiteY418" fmla="*/ 23824 h 2711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</a:cxnLst>
              <a:rect l="l" t="t" r="r" b="b"/>
              <a:pathLst>
                <a:path w="3283171" h="2711356">
                  <a:moveTo>
                    <a:pt x="1129332" y="2611288"/>
                  </a:moveTo>
                  <a:lnTo>
                    <a:pt x="1138864" y="2611288"/>
                  </a:lnTo>
                  <a:lnTo>
                    <a:pt x="1143628" y="2620820"/>
                  </a:lnTo>
                  <a:lnTo>
                    <a:pt x="1143628" y="2639880"/>
                  </a:lnTo>
                  <a:lnTo>
                    <a:pt x="1148396" y="2644644"/>
                  </a:lnTo>
                  <a:lnTo>
                    <a:pt x="1143628" y="2649410"/>
                  </a:lnTo>
                  <a:lnTo>
                    <a:pt x="1148396" y="2654176"/>
                  </a:lnTo>
                  <a:lnTo>
                    <a:pt x="1162688" y="2658940"/>
                  </a:lnTo>
                  <a:lnTo>
                    <a:pt x="1157924" y="2654176"/>
                  </a:lnTo>
                  <a:lnTo>
                    <a:pt x="1157924" y="2649410"/>
                  </a:lnTo>
                  <a:lnTo>
                    <a:pt x="1162688" y="2639880"/>
                  </a:lnTo>
                  <a:lnTo>
                    <a:pt x="1176984" y="2658940"/>
                  </a:lnTo>
                  <a:lnTo>
                    <a:pt x="1176984" y="2673236"/>
                  </a:lnTo>
                  <a:lnTo>
                    <a:pt x="1176984" y="2678000"/>
                  </a:lnTo>
                  <a:lnTo>
                    <a:pt x="1172220" y="2678000"/>
                  </a:lnTo>
                  <a:lnTo>
                    <a:pt x="1167456" y="2673236"/>
                  </a:lnTo>
                  <a:lnTo>
                    <a:pt x="1167456" y="2668470"/>
                  </a:lnTo>
                  <a:lnTo>
                    <a:pt x="1162688" y="2663706"/>
                  </a:lnTo>
                  <a:lnTo>
                    <a:pt x="1148396" y="2668470"/>
                  </a:lnTo>
                  <a:lnTo>
                    <a:pt x="1134100" y="2663706"/>
                  </a:lnTo>
                  <a:lnTo>
                    <a:pt x="1119804" y="2644644"/>
                  </a:lnTo>
                  <a:lnTo>
                    <a:pt x="1115036" y="2635114"/>
                  </a:lnTo>
                  <a:lnTo>
                    <a:pt x="1124568" y="2630350"/>
                  </a:lnTo>
                  <a:lnTo>
                    <a:pt x="1129332" y="2625584"/>
                  </a:lnTo>
                  <a:lnTo>
                    <a:pt x="1134100" y="2616054"/>
                  </a:lnTo>
                  <a:close/>
                  <a:moveTo>
                    <a:pt x="300204" y="1148396"/>
                  </a:moveTo>
                  <a:lnTo>
                    <a:pt x="300204" y="1157926"/>
                  </a:lnTo>
                  <a:lnTo>
                    <a:pt x="304968" y="1162690"/>
                  </a:lnTo>
                  <a:lnTo>
                    <a:pt x="333560" y="1172220"/>
                  </a:lnTo>
                  <a:lnTo>
                    <a:pt x="357384" y="1196046"/>
                  </a:lnTo>
                  <a:lnTo>
                    <a:pt x="362148" y="1200812"/>
                  </a:lnTo>
                  <a:lnTo>
                    <a:pt x="357384" y="1205576"/>
                  </a:lnTo>
                  <a:lnTo>
                    <a:pt x="352620" y="1205576"/>
                  </a:lnTo>
                  <a:lnTo>
                    <a:pt x="338324" y="1191282"/>
                  </a:lnTo>
                  <a:lnTo>
                    <a:pt x="333560" y="1181752"/>
                  </a:lnTo>
                  <a:lnTo>
                    <a:pt x="328792" y="1176986"/>
                  </a:lnTo>
                  <a:lnTo>
                    <a:pt x="300204" y="1167456"/>
                  </a:lnTo>
                  <a:lnTo>
                    <a:pt x="295436" y="1157926"/>
                  </a:lnTo>
                  <a:close/>
                  <a:moveTo>
                    <a:pt x="304968" y="1119804"/>
                  </a:moveTo>
                  <a:lnTo>
                    <a:pt x="304968" y="1134100"/>
                  </a:lnTo>
                  <a:lnTo>
                    <a:pt x="309732" y="1143630"/>
                  </a:lnTo>
                  <a:lnTo>
                    <a:pt x="309732" y="1148396"/>
                  </a:lnTo>
                  <a:lnTo>
                    <a:pt x="304968" y="1148396"/>
                  </a:lnTo>
                  <a:lnTo>
                    <a:pt x="300204" y="1143630"/>
                  </a:lnTo>
                  <a:lnTo>
                    <a:pt x="300204" y="1129334"/>
                  </a:lnTo>
                  <a:close/>
                  <a:moveTo>
                    <a:pt x="705236" y="0"/>
                  </a:moveTo>
                  <a:lnTo>
                    <a:pt x="738592" y="9530"/>
                  </a:lnTo>
                  <a:lnTo>
                    <a:pt x="791012" y="14294"/>
                  </a:lnTo>
                  <a:lnTo>
                    <a:pt x="843428" y="23824"/>
                  </a:lnTo>
                  <a:lnTo>
                    <a:pt x="895844" y="33354"/>
                  </a:lnTo>
                  <a:lnTo>
                    <a:pt x="914904" y="42886"/>
                  </a:lnTo>
                  <a:lnTo>
                    <a:pt x="967320" y="76242"/>
                  </a:lnTo>
                  <a:lnTo>
                    <a:pt x="1000676" y="95302"/>
                  </a:lnTo>
                  <a:lnTo>
                    <a:pt x="1038796" y="119128"/>
                  </a:lnTo>
                  <a:lnTo>
                    <a:pt x="1086448" y="147718"/>
                  </a:lnTo>
                  <a:lnTo>
                    <a:pt x="1119804" y="166778"/>
                  </a:lnTo>
                  <a:lnTo>
                    <a:pt x="1162692" y="190604"/>
                  </a:lnTo>
                  <a:lnTo>
                    <a:pt x="1196044" y="223960"/>
                  </a:lnTo>
                  <a:lnTo>
                    <a:pt x="1238932" y="257316"/>
                  </a:lnTo>
                  <a:lnTo>
                    <a:pt x="1286584" y="300202"/>
                  </a:lnTo>
                  <a:lnTo>
                    <a:pt x="1324704" y="328792"/>
                  </a:lnTo>
                  <a:lnTo>
                    <a:pt x="1377120" y="376444"/>
                  </a:lnTo>
                  <a:lnTo>
                    <a:pt x="1429536" y="414564"/>
                  </a:lnTo>
                  <a:lnTo>
                    <a:pt x="1481952" y="457452"/>
                  </a:lnTo>
                  <a:lnTo>
                    <a:pt x="1520076" y="490808"/>
                  </a:lnTo>
                  <a:lnTo>
                    <a:pt x="1572492" y="533694"/>
                  </a:lnTo>
                  <a:lnTo>
                    <a:pt x="1577256" y="533694"/>
                  </a:lnTo>
                  <a:lnTo>
                    <a:pt x="1629672" y="538458"/>
                  </a:lnTo>
                  <a:lnTo>
                    <a:pt x="1767860" y="552754"/>
                  </a:lnTo>
                  <a:lnTo>
                    <a:pt x="1834572" y="557518"/>
                  </a:lnTo>
                  <a:lnTo>
                    <a:pt x="1858400" y="552754"/>
                  </a:lnTo>
                  <a:lnTo>
                    <a:pt x="1891756" y="557518"/>
                  </a:lnTo>
                  <a:lnTo>
                    <a:pt x="1929876" y="562284"/>
                  </a:lnTo>
                  <a:lnTo>
                    <a:pt x="1953700" y="562284"/>
                  </a:lnTo>
                  <a:lnTo>
                    <a:pt x="2001352" y="571814"/>
                  </a:lnTo>
                  <a:lnTo>
                    <a:pt x="2015648" y="595640"/>
                  </a:lnTo>
                  <a:lnTo>
                    <a:pt x="2020412" y="614700"/>
                  </a:lnTo>
                  <a:lnTo>
                    <a:pt x="2025180" y="633760"/>
                  </a:lnTo>
                  <a:lnTo>
                    <a:pt x="2039472" y="652822"/>
                  </a:lnTo>
                  <a:lnTo>
                    <a:pt x="2068064" y="652822"/>
                  </a:lnTo>
                  <a:lnTo>
                    <a:pt x="2096656" y="652822"/>
                  </a:lnTo>
                  <a:lnTo>
                    <a:pt x="2130012" y="652822"/>
                  </a:lnTo>
                  <a:lnTo>
                    <a:pt x="2158600" y="648056"/>
                  </a:lnTo>
                  <a:lnTo>
                    <a:pt x="2168132" y="667116"/>
                  </a:lnTo>
                  <a:lnTo>
                    <a:pt x="2172896" y="681412"/>
                  </a:lnTo>
                  <a:lnTo>
                    <a:pt x="2187192" y="724298"/>
                  </a:lnTo>
                  <a:lnTo>
                    <a:pt x="2211020" y="752888"/>
                  </a:lnTo>
                  <a:lnTo>
                    <a:pt x="2215784" y="767184"/>
                  </a:lnTo>
                  <a:lnTo>
                    <a:pt x="2220548" y="781480"/>
                  </a:lnTo>
                  <a:lnTo>
                    <a:pt x="2215784" y="786244"/>
                  </a:lnTo>
                  <a:lnTo>
                    <a:pt x="2215784" y="795776"/>
                  </a:lnTo>
                  <a:lnTo>
                    <a:pt x="2230080" y="810070"/>
                  </a:lnTo>
                  <a:lnTo>
                    <a:pt x="2258668" y="824366"/>
                  </a:lnTo>
                  <a:lnTo>
                    <a:pt x="2268200" y="829132"/>
                  </a:lnTo>
                  <a:lnTo>
                    <a:pt x="2282496" y="833896"/>
                  </a:lnTo>
                  <a:lnTo>
                    <a:pt x="2272964" y="843426"/>
                  </a:lnTo>
                  <a:lnTo>
                    <a:pt x="2287260" y="867252"/>
                  </a:lnTo>
                  <a:lnTo>
                    <a:pt x="2311084" y="891078"/>
                  </a:lnTo>
                  <a:lnTo>
                    <a:pt x="2330148" y="895842"/>
                  </a:lnTo>
                  <a:lnTo>
                    <a:pt x="2358736" y="929198"/>
                  </a:lnTo>
                  <a:lnTo>
                    <a:pt x="2401624" y="953024"/>
                  </a:lnTo>
                  <a:lnTo>
                    <a:pt x="2425448" y="981616"/>
                  </a:lnTo>
                  <a:lnTo>
                    <a:pt x="2420684" y="981616"/>
                  </a:lnTo>
                  <a:lnTo>
                    <a:pt x="2415920" y="976850"/>
                  </a:lnTo>
                  <a:lnTo>
                    <a:pt x="2406388" y="976850"/>
                  </a:lnTo>
                  <a:lnTo>
                    <a:pt x="2401624" y="976850"/>
                  </a:lnTo>
                  <a:lnTo>
                    <a:pt x="2401624" y="991146"/>
                  </a:lnTo>
                  <a:lnTo>
                    <a:pt x="2406388" y="1005440"/>
                  </a:lnTo>
                  <a:lnTo>
                    <a:pt x="2420684" y="1014970"/>
                  </a:lnTo>
                  <a:lnTo>
                    <a:pt x="2430216" y="1024502"/>
                  </a:lnTo>
                  <a:lnTo>
                    <a:pt x="2434980" y="1043562"/>
                  </a:lnTo>
                  <a:lnTo>
                    <a:pt x="2425448" y="1081682"/>
                  </a:lnTo>
                  <a:lnTo>
                    <a:pt x="2420684" y="1081682"/>
                  </a:lnTo>
                  <a:lnTo>
                    <a:pt x="2415920" y="1076918"/>
                  </a:lnTo>
                  <a:lnTo>
                    <a:pt x="2411152" y="1076918"/>
                  </a:lnTo>
                  <a:lnTo>
                    <a:pt x="2406388" y="1076918"/>
                  </a:lnTo>
                  <a:lnTo>
                    <a:pt x="2415920" y="1105508"/>
                  </a:lnTo>
                  <a:lnTo>
                    <a:pt x="2420684" y="1124568"/>
                  </a:lnTo>
                  <a:lnTo>
                    <a:pt x="2430216" y="1138864"/>
                  </a:lnTo>
                  <a:lnTo>
                    <a:pt x="2439744" y="1162690"/>
                  </a:lnTo>
                  <a:lnTo>
                    <a:pt x="2444508" y="1172220"/>
                  </a:lnTo>
                  <a:lnTo>
                    <a:pt x="2473100" y="1196046"/>
                  </a:lnTo>
                  <a:lnTo>
                    <a:pt x="2482632" y="1215106"/>
                  </a:lnTo>
                  <a:lnTo>
                    <a:pt x="2487396" y="1253228"/>
                  </a:lnTo>
                  <a:lnTo>
                    <a:pt x="2506456" y="1277052"/>
                  </a:lnTo>
                  <a:lnTo>
                    <a:pt x="2515988" y="1291348"/>
                  </a:lnTo>
                  <a:lnTo>
                    <a:pt x="2525516" y="1305644"/>
                  </a:lnTo>
                  <a:lnTo>
                    <a:pt x="2535048" y="1324704"/>
                  </a:lnTo>
                  <a:lnTo>
                    <a:pt x="2544576" y="1339000"/>
                  </a:lnTo>
                  <a:lnTo>
                    <a:pt x="2554108" y="1343764"/>
                  </a:lnTo>
                  <a:lnTo>
                    <a:pt x="2558872" y="1343764"/>
                  </a:lnTo>
                  <a:lnTo>
                    <a:pt x="2573168" y="1343764"/>
                  </a:lnTo>
                  <a:lnTo>
                    <a:pt x="2587464" y="1339000"/>
                  </a:lnTo>
                  <a:lnTo>
                    <a:pt x="2596992" y="1339000"/>
                  </a:lnTo>
                  <a:lnTo>
                    <a:pt x="2611288" y="1343764"/>
                  </a:lnTo>
                  <a:lnTo>
                    <a:pt x="2620820" y="1343764"/>
                  </a:lnTo>
                  <a:lnTo>
                    <a:pt x="2625584" y="1348530"/>
                  </a:lnTo>
                  <a:lnTo>
                    <a:pt x="2616052" y="1358060"/>
                  </a:lnTo>
                  <a:lnTo>
                    <a:pt x="2606524" y="1381886"/>
                  </a:lnTo>
                  <a:lnTo>
                    <a:pt x="2620820" y="1386650"/>
                  </a:lnTo>
                  <a:lnTo>
                    <a:pt x="2630348" y="1391416"/>
                  </a:lnTo>
                  <a:lnTo>
                    <a:pt x="2639880" y="1391416"/>
                  </a:lnTo>
                  <a:lnTo>
                    <a:pt x="2644644" y="1391416"/>
                  </a:lnTo>
                  <a:lnTo>
                    <a:pt x="2644644" y="1396182"/>
                  </a:lnTo>
                  <a:lnTo>
                    <a:pt x="2649412" y="1420006"/>
                  </a:lnTo>
                  <a:lnTo>
                    <a:pt x="2649412" y="1429536"/>
                  </a:lnTo>
                  <a:lnTo>
                    <a:pt x="2654176" y="1434302"/>
                  </a:lnTo>
                  <a:lnTo>
                    <a:pt x="2663704" y="1448598"/>
                  </a:lnTo>
                  <a:lnTo>
                    <a:pt x="2682764" y="1467658"/>
                  </a:lnTo>
                  <a:lnTo>
                    <a:pt x="2692296" y="1481954"/>
                  </a:lnTo>
                  <a:lnTo>
                    <a:pt x="2697060" y="1491484"/>
                  </a:lnTo>
                  <a:lnTo>
                    <a:pt x="2706592" y="1501014"/>
                  </a:lnTo>
                  <a:lnTo>
                    <a:pt x="2735184" y="1534370"/>
                  </a:lnTo>
                  <a:lnTo>
                    <a:pt x="2739948" y="1548666"/>
                  </a:lnTo>
                  <a:lnTo>
                    <a:pt x="2749476" y="1558196"/>
                  </a:lnTo>
                  <a:lnTo>
                    <a:pt x="2759008" y="1567726"/>
                  </a:lnTo>
                  <a:lnTo>
                    <a:pt x="2778068" y="1591552"/>
                  </a:lnTo>
                  <a:lnTo>
                    <a:pt x="2782832" y="1601082"/>
                  </a:lnTo>
                  <a:lnTo>
                    <a:pt x="2792364" y="1615376"/>
                  </a:lnTo>
                  <a:lnTo>
                    <a:pt x="2801892" y="1624908"/>
                  </a:lnTo>
                  <a:lnTo>
                    <a:pt x="2811424" y="1624908"/>
                  </a:lnTo>
                  <a:lnTo>
                    <a:pt x="2816188" y="1624908"/>
                  </a:lnTo>
                  <a:lnTo>
                    <a:pt x="2830484" y="1629672"/>
                  </a:lnTo>
                  <a:lnTo>
                    <a:pt x="2849544" y="1629672"/>
                  </a:lnTo>
                  <a:lnTo>
                    <a:pt x="2873372" y="1634438"/>
                  </a:lnTo>
                  <a:lnTo>
                    <a:pt x="2901960" y="1634438"/>
                  </a:lnTo>
                  <a:lnTo>
                    <a:pt x="2930552" y="1639202"/>
                  </a:lnTo>
                  <a:lnTo>
                    <a:pt x="2963908" y="1643968"/>
                  </a:lnTo>
                  <a:lnTo>
                    <a:pt x="3002028" y="1648732"/>
                  </a:lnTo>
                  <a:lnTo>
                    <a:pt x="3035384" y="1653498"/>
                  </a:lnTo>
                  <a:lnTo>
                    <a:pt x="3068740" y="1658264"/>
                  </a:lnTo>
                  <a:lnTo>
                    <a:pt x="3102096" y="1663028"/>
                  </a:lnTo>
                  <a:lnTo>
                    <a:pt x="3125924" y="1667794"/>
                  </a:lnTo>
                  <a:lnTo>
                    <a:pt x="3149748" y="1667794"/>
                  </a:lnTo>
                  <a:lnTo>
                    <a:pt x="3168808" y="1672558"/>
                  </a:lnTo>
                  <a:lnTo>
                    <a:pt x="3183104" y="1672558"/>
                  </a:lnTo>
                  <a:lnTo>
                    <a:pt x="3187868" y="1672558"/>
                  </a:lnTo>
                  <a:lnTo>
                    <a:pt x="3197400" y="1677324"/>
                  </a:lnTo>
                  <a:lnTo>
                    <a:pt x="3202164" y="1677324"/>
                  </a:lnTo>
                  <a:lnTo>
                    <a:pt x="3211696" y="1663028"/>
                  </a:lnTo>
                  <a:lnTo>
                    <a:pt x="3221224" y="1682088"/>
                  </a:lnTo>
                  <a:lnTo>
                    <a:pt x="3230756" y="1696384"/>
                  </a:lnTo>
                  <a:lnTo>
                    <a:pt x="3245052" y="1720210"/>
                  </a:lnTo>
                  <a:lnTo>
                    <a:pt x="3259348" y="1744036"/>
                  </a:lnTo>
                  <a:lnTo>
                    <a:pt x="3273640" y="1763096"/>
                  </a:lnTo>
                  <a:lnTo>
                    <a:pt x="3283172" y="1782156"/>
                  </a:lnTo>
                  <a:lnTo>
                    <a:pt x="3278408" y="1796452"/>
                  </a:lnTo>
                  <a:lnTo>
                    <a:pt x="3273640" y="1815512"/>
                  </a:lnTo>
                  <a:lnTo>
                    <a:pt x="3264112" y="1834572"/>
                  </a:lnTo>
                  <a:lnTo>
                    <a:pt x="3259348" y="1853634"/>
                  </a:lnTo>
                  <a:lnTo>
                    <a:pt x="3249816" y="1891754"/>
                  </a:lnTo>
                  <a:lnTo>
                    <a:pt x="3245052" y="1910814"/>
                  </a:lnTo>
                  <a:lnTo>
                    <a:pt x="3230756" y="1944170"/>
                  </a:lnTo>
                  <a:lnTo>
                    <a:pt x="3225992" y="1963232"/>
                  </a:lnTo>
                  <a:lnTo>
                    <a:pt x="3221224" y="1982292"/>
                  </a:lnTo>
                  <a:lnTo>
                    <a:pt x="3197400" y="2058534"/>
                  </a:lnTo>
                  <a:lnTo>
                    <a:pt x="3192636" y="2077594"/>
                  </a:lnTo>
                  <a:lnTo>
                    <a:pt x="3187868" y="2096654"/>
                  </a:lnTo>
                  <a:lnTo>
                    <a:pt x="3178340" y="2115716"/>
                  </a:lnTo>
                  <a:lnTo>
                    <a:pt x="3164044" y="2120480"/>
                  </a:lnTo>
                  <a:lnTo>
                    <a:pt x="3135452" y="2130010"/>
                  </a:lnTo>
                  <a:lnTo>
                    <a:pt x="3106864" y="2139540"/>
                  </a:lnTo>
                  <a:lnTo>
                    <a:pt x="3083036" y="2149072"/>
                  </a:lnTo>
                  <a:lnTo>
                    <a:pt x="3054444" y="2158602"/>
                  </a:lnTo>
                  <a:lnTo>
                    <a:pt x="3025856" y="2168132"/>
                  </a:lnTo>
                  <a:lnTo>
                    <a:pt x="3002028" y="2177662"/>
                  </a:lnTo>
                  <a:lnTo>
                    <a:pt x="2973440" y="2187192"/>
                  </a:lnTo>
                  <a:lnTo>
                    <a:pt x="2949612" y="2196722"/>
                  </a:lnTo>
                  <a:lnTo>
                    <a:pt x="2921024" y="2206252"/>
                  </a:lnTo>
                  <a:lnTo>
                    <a:pt x="2892432" y="2215782"/>
                  </a:lnTo>
                  <a:lnTo>
                    <a:pt x="2868604" y="2225312"/>
                  </a:lnTo>
                  <a:lnTo>
                    <a:pt x="2840016" y="2234844"/>
                  </a:lnTo>
                  <a:lnTo>
                    <a:pt x="2811424" y="2244374"/>
                  </a:lnTo>
                  <a:lnTo>
                    <a:pt x="2759008" y="2263434"/>
                  </a:lnTo>
                  <a:lnTo>
                    <a:pt x="2730416" y="2272964"/>
                  </a:lnTo>
                  <a:lnTo>
                    <a:pt x="2711356" y="2282494"/>
                  </a:lnTo>
                  <a:lnTo>
                    <a:pt x="2673236" y="2287260"/>
                  </a:lnTo>
                  <a:lnTo>
                    <a:pt x="2639880" y="2292024"/>
                  </a:lnTo>
                  <a:lnTo>
                    <a:pt x="2596992" y="2296790"/>
                  </a:lnTo>
                  <a:lnTo>
                    <a:pt x="2549344" y="2306320"/>
                  </a:lnTo>
                  <a:lnTo>
                    <a:pt x="2511220" y="2311086"/>
                  </a:lnTo>
                  <a:lnTo>
                    <a:pt x="2458804" y="2315850"/>
                  </a:lnTo>
                  <a:lnTo>
                    <a:pt x="2406388" y="2325380"/>
                  </a:lnTo>
                  <a:lnTo>
                    <a:pt x="2358736" y="2330146"/>
                  </a:lnTo>
                  <a:lnTo>
                    <a:pt x="2315852" y="2339676"/>
                  </a:lnTo>
                  <a:lnTo>
                    <a:pt x="2277732" y="2344442"/>
                  </a:lnTo>
                  <a:lnTo>
                    <a:pt x="2253904" y="2349206"/>
                  </a:lnTo>
                  <a:lnTo>
                    <a:pt x="2225312" y="2363502"/>
                  </a:lnTo>
                  <a:lnTo>
                    <a:pt x="2182428" y="2387328"/>
                  </a:lnTo>
                  <a:lnTo>
                    <a:pt x="2139540" y="2411152"/>
                  </a:lnTo>
                  <a:lnTo>
                    <a:pt x="2115716" y="2420684"/>
                  </a:lnTo>
                  <a:lnTo>
                    <a:pt x="2091892" y="2449274"/>
                  </a:lnTo>
                  <a:lnTo>
                    <a:pt x="2082360" y="2463570"/>
                  </a:lnTo>
                  <a:lnTo>
                    <a:pt x="2058536" y="2492160"/>
                  </a:lnTo>
                  <a:lnTo>
                    <a:pt x="2044240" y="2511220"/>
                  </a:lnTo>
                  <a:lnTo>
                    <a:pt x="2025180" y="2535046"/>
                  </a:lnTo>
                  <a:lnTo>
                    <a:pt x="2015648" y="2558872"/>
                  </a:lnTo>
                  <a:lnTo>
                    <a:pt x="2001352" y="2592228"/>
                  </a:lnTo>
                  <a:lnTo>
                    <a:pt x="1991824" y="2601758"/>
                  </a:lnTo>
                  <a:lnTo>
                    <a:pt x="1972760" y="2611288"/>
                  </a:lnTo>
                  <a:lnTo>
                    <a:pt x="1953700" y="2616054"/>
                  </a:lnTo>
                  <a:lnTo>
                    <a:pt x="1929876" y="2616054"/>
                  </a:lnTo>
                  <a:lnTo>
                    <a:pt x="1915580" y="2596992"/>
                  </a:lnTo>
                  <a:lnTo>
                    <a:pt x="1896520" y="2573168"/>
                  </a:lnTo>
                  <a:lnTo>
                    <a:pt x="1891756" y="2568402"/>
                  </a:lnTo>
                  <a:lnTo>
                    <a:pt x="1882224" y="2568402"/>
                  </a:lnTo>
                  <a:lnTo>
                    <a:pt x="1858400" y="2568402"/>
                  </a:lnTo>
                  <a:lnTo>
                    <a:pt x="1825044" y="2573168"/>
                  </a:lnTo>
                  <a:lnTo>
                    <a:pt x="1786920" y="2568402"/>
                  </a:lnTo>
                  <a:lnTo>
                    <a:pt x="1744036" y="2563636"/>
                  </a:lnTo>
                  <a:lnTo>
                    <a:pt x="1705916" y="2558872"/>
                  </a:lnTo>
                  <a:lnTo>
                    <a:pt x="1682088" y="2558872"/>
                  </a:lnTo>
                  <a:lnTo>
                    <a:pt x="1658264" y="2544576"/>
                  </a:lnTo>
                  <a:lnTo>
                    <a:pt x="1648732" y="2539812"/>
                  </a:lnTo>
                  <a:lnTo>
                    <a:pt x="1643968" y="2539812"/>
                  </a:lnTo>
                  <a:lnTo>
                    <a:pt x="1610612" y="2539812"/>
                  </a:lnTo>
                  <a:lnTo>
                    <a:pt x="1582020" y="2539812"/>
                  </a:lnTo>
                  <a:lnTo>
                    <a:pt x="1548664" y="2544576"/>
                  </a:lnTo>
                  <a:lnTo>
                    <a:pt x="1520076" y="2539812"/>
                  </a:lnTo>
                  <a:lnTo>
                    <a:pt x="1486720" y="2544576"/>
                  </a:lnTo>
                  <a:lnTo>
                    <a:pt x="1477188" y="2549342"/>
                  </a:lnTo>
                  <a:lnTo>
                    <a:pt x="1467660" y="2549342"/>
                  </a:lnTo>
                  <a:lnTo>
                    <a:pt x="1458128" y="2554106"/>
                  </a:lnTo>
                  <a:lnTo>
                    <a:pt x="1453364" y="2558872"/>
                  </a:lnTo>
                  <a:lnTo>
                    <a:pt x="1443832" y="2554106"/>
                  </a:lnTo>
                  <a:lnTo>
                    <a:pt x="1434304" y="2554106"/>
                  </a:lnTo>
                  <a:lnTo>
                    <a:pt x="1420008" y="2549342"/>
                  </a:lnTo>
                  <a:lnTo>
                    <a:pt x="1400948" y="2530282"/>
                  </a:lnTo>
                  <a:lnTo>
                    <a:pt x="1391416" y="2530282"/>
                  </a:lnTo>
                  <a:lnTo>
                    <a:pt x="1381884" y="2525516"/>
                  </a:lnTo>
                  <a:lnTo>
                    <a:pt x="1372356" y="2525516"/>
                  </a:lnTo>
                  <a:lnTo>
                    <a:pt x="1362824" y="2530282"/>
                  </a:lnTo>
                  <a:lnTo>
                    <a:pt x="1353296" y="2535046"/>
                  </a:lnTo>
                  <a:lnTo>
                    <a:pt x="1339000" y="2549342"/>
                  </a:lnTo>
                  <a:lnTo>
                    <a:pt x="1339000" y="2558872"/>
                  </a:lnTo>
                  <a:lnTo>
                    <a:pt x="1343764" y="2568402"/>
                  </a:lnTo>
                  <a:lnTo>
                    <a:pt x="1334236" y="2577932"/>
                  </a:lnTo>
                  <a:lnTo>
                    <a:pt x="1329468" y="2592228"/>
                  </a:lnTo>
                  <a:lnTo>
                    <a:pt x="1329468" y="2596992"/>
                  </a:lnTo>
                  <a:lnTo>
                    <a:pt x="1324704" y="2620818"/>
                  </a:lnTo>
                  <a:lnTo>
                    <a:pt x="1329468" y="2635114"/>
                  </a:lnTo>
                  <a:lnTo>
                    <a:pt x="1339000" y="2639880"/>
                  </a:lnTo>
                  <a:lnTo>
                    <a:pt x="1339000" y="2649410"/>
                  </a:lnTo>
                  <a:lnTo>
                    <a:pt x="1334236" y="2658940"/>
                  </a:lnTo>
                  <a:lnTo>
                    <a:pt x="1324704" y="2663704"/>
                  </a:lnTo>
                  <a:lnTo>
                    <a:pt x="1319940" y="2678000"/>
                  </a:lnTo>
                  <a:lnTo>
                    <a:pt x="1315176" y="2682766"/>
                  </a:lnTo>
                  <a:lnTo>
                    <a:pt x="1305644" y="2687530"/>
                  </a:lnTo>
                  <a:lnTo>
                    <a:pt x="1277052" y="2711356"/>
                  </a:lnTo>
                  <a:lnTo>
                    <a:pt x="1277052" y="2697060"/>
                  </a:lnTo>
                  <a:lnTo>
                    <a:pt x="1267524" y="2678000"/>
                  </a:lnTo>
                  <a:lnTo>
                    <a:pt x="1267524" y="2668470"/>
                  </a:lnTo>
                  <a:lnTo>
                    <a:pt x="1262756" y="2654174"/>
                  </a:lnTo>
                  <a:lnTo>
                    <a:pt x="1253228" y="2644644"/>
                  </a:lnTo>
                  <a:lnTo>
                    <a:pt x="1238932" y="2630348"/>
                  </a:lnTo>
                  <a:lnTo>
                    <a:pt x="1238932" y="2616054"/>
                  </a:lnTo>
                  <a:lnTo>
                    <a:pt x="1224636" y="2601758"/>
                  </a:lnTo>
                  <a:lnTo>
                    <a:pt x="1210340" y="2587462"/>
                  </a:lnTo>
                  <a:lnTo>
                    <a:pt x="1205576" y="2568402"/>
                  </a:lnTo>
                  <a:lnTo>
                    <a:pt x="1196044" y="2539812"/>
                  </a:lnTo>
                  <a:lnTo>
                    <a:pt x="1157924" y="2501690"/>
                  </a:lnTo>
                  <a:lnTo>
                    <a:pt x="1115040" y="2463570"/>
                  </a:lnTo>
                  <a:lnTo>
                    <a:pt x="1100744" y="2444508"/>
                  </a:lnTo>
                  <a:lnTo>
                    <a:pt x="1076916" y="2401622"/>
                  </a:lnTo>
                  <a:lnTo>
                    <a:pt x="1062624" y="2373032"/>
                  </a:lnTo>
                  <a:lnTo>
                    <a:pt x="1029268" y="2334912"/>
                  </a:lnTo>
                  <a:lnTo>
                    <a:pt x="1029268" y="2320616"/>
                  </a:lnTo>
                  <a:lnTo>
                    <a:pt x="1024500" y="2301556"/>
                  </a:lnTo>
                  <a:lnTo>
                    <a:pt x="1019736" y="2282494"/>
                  </a:lnTo>
                  <a:lnTo>
                    <a:pt x="1014972" y="2268200"/>
                  </a:lnTo>
                  <a:lnTo>
                    <a:pt x="981616" y="2201488"/>
                  </a:lnTo>
                  <a:lnTo>
                    <a:pt x="972084" y="2187192"/>
                  </a:lnTo>
                  <a:lnTo>
                    <a:pt x="962556" y="2172896"/>
                  </a:lnTo>
                  <a:lnTo>
                    <a:pt x="962556" y="2163366"/>
                  </a:lnTo>
                  <a:lnTo>
                    <a:pt x="957788" y="2158602"/>
                  </a:lnTo>
                  <a:lnTo>
                    <a:pt x="933964" y="2144306"/>
                  </a:lnTo>
                  <a:lnTo>
                    <a:pt x="914904" y="2115716"/>
                  </a:lnTo>
                  <a:lnTo>
                    <a:pt x="852956" y="2072828"/>
                  </a:lnTo>
                  <a:lnTo>
                    <a:pt x="819600" y="2068064"/>
                  </a:lnTo>
                  <a:lnTo>
                    <a:pt x="795776" y="2049004"/>
                  </a:lnTo>
                  <a:lnTo>
                    <a:pt x="776716" y="2029942"/>
                  </a:lnTo>
                  <a:lnTo>
                    <a:pt x="757656" y="1991822"/>
                  </a:lnTo>
                  <a:lnTo>
                    <a:pt x="729064" y="1953700"/>
                  </a:lnTo>
                  <a:lnTo>
                    <a:pt x="695708" y="1896520"/>
                  </a:lnTo>
                  <a:lnTo>
                    <a:pt x="705236" y="1877458"/>
                  </a:lnTo>
                  <a:lnTo>
                    <a:pt x="705236" y="1863164"/>
                  </a:lnTo>
                  <a:lnTo>
                    <a:pt x="695708" y="1839338"/>
                  </a:lnTo>
                  <a:lnTo>
                    <a:pt x="686176" y="1820278"/>
                  </a:lnTo>
                  <a:lnTo>
                    <a:pt x="681412" y="1801216"/>
                  </a:lnTo>
                  <a:lnTo>
                    <a:pt x="686176" y="1777392"/>
                  </a:lnTo>
                  <a:lnTo>
                    <a:pt x="690944" y="1748800"/>
                  </a:lnTo>
                  <a:lnTo>
                    <a:pt x="695708" y="1729740"/>
                  </a:lnTo>
                  <a:lnTo>
                    <a:pt x="700472" y="1715444"/>
                  </a:lnTo>
                  <a:lnTo>
                    <a:pt x="690944" y="1682088"/>
                  </a:lnTo>
                  <a:lnTo>
                    <a:pt x="686176" y="1663028"/>
                  </a:lnTo>
                  <a:lnTo>
                    <a:pt x="686176" y="1648732"/>
                  </a:lnTo>
                  <a:lnTo>
                    <a:pt x="671884" y="1643968"/>
                  </a:lnTo>
                  <a:lnTo>
                    <a:pt x="667116" y="1629672"/>
                  </a:lnTo>
                  <a:lnTo>
                    <a:pt x="671884" y="1629672"/>
                  </a:lnTo>
                  <a:lnTo>
                    <a:pt x="657588" y="1615376"/>
                  </a:lnTo>
                  <a:lnTo>
                    <a:pt x="652820" y="1601082"/>
                  </a:lnTo>
                  <a:lnTo>
                    <a:pt x="648056" y="1577256"/>
                  </a:lnTo>
                  <a:lnTo>
                    <a:pt x="638528" y="1558196"/>
                  </a:lnTo>
                  <a:lnTo>
                    <a:pt x="609936" y="1515310"/>
                  </a:lnTo>
                  <a:lnTo>
                    <a:pt x="600404" y="1491484"/>
                  </a:lnTo>
                  <a:lnTo>
                    <a:pt x="571816" y="1458128"/>
                  </a:lnTo>
                  <a:lnTo>
                    <a:pt x="543224" y="1429536"/>
                  </a:lnTo>
                  <a:lnTo>
                    <a:pt x="524164" y="1420006"/>
                  </a:lnTo>
                  <a:lnTo>
                    <a:pt x="514632" y="1410476"/>
                  </a:lnTo>
                  <a:lnTo>
                    <a:pt x="500336" y="1410476"/>
                  </a:lnTo>
                  <a:lnTo>
                    <a:pt x="481276" y="1396182"/>
                  </a:lnTo>
                  <a:lnTo>
                    <a:pt x="471748" y="1396182"/>
                  </a:lnTo>
                  <a:lnTo>
                    <a:pt x="457452" y="1391416"/>
                  </a:lnTo>
                  <a:lnTo>
                    <a:pt x="438392" y="1362826"/>
                  </a:lnTo>
                  <a:lnTo>
                    <a:pt x="424096" y="1334234"/>
                  </a:lnTo>
                  <a:lnTo>
                    <a:pt x="400268" y="1300878"/>
                  </a:lnTo>
                  <a:lnTo>
                    <a:pt x="405036" y="1291348"/>
                  </a:lnTo>
                  <a:lnTo>
                    <a:pt x="414564" y="1277052"/>
                  </a:lnTo>
                  <a:lnTo>
                    <a:pt x="409800" y="1257992"/>
                  </a:lnTo>
                  <a:lnTo>
                    <a:pt x="405036" y="1243696"/>
                  </a:lnTo>
                  <a:lnTo>
                    <a:pt x="395504" y="1219872"/>
                  </a:lnTo>
                  <a:lnTo>
                    <a:pt x="357384" y="1157924"/>
                  </a:lnTo>
                  <a:lnTo>
                    <a:pt x="347852" y="1148394"/>
                  </a:lnTo>
                  <a:lnTo>
                    <a:pt x="333556" y="1138864"/>
                  </a:lnTo>
                  <a:lnTo>
                    <a:pt x="324028" y="1115038"/>
                  </a:lnTo>
                  <a:lnTo>
                    <a:pt x="319264" y="1091212"/>
                  </a:lnTo>
                  <a:lnTo>
                    <a:pt x="295436" y="1076918"/>
                  </a:lnTo>
                  <a:lnTo>
                    <a:pt x="252552" y="991146"/>
                  </a:lnTo>
                  <a:lnTo>
                    <a:pt x="228724" y="962554"/>
                  </a:lnTo>
                  <a:lnTo>
                    <a:pt x="219196" y="943494"/>
                  </a:lnTo>
                  <a:lnTo>
                    <a:pt x="190604" y="910138"/>
                  </a:lnTo>
                  <a:lnTo>
                    <a:pt x="176308" y="876782"/>
                  </a:lnTo>
                  <a:lnTo>
                    <a:pt x="147716" y="848192"/>
                  </a:lnTo>
                  <a:lnTo>
                    <a:pt x="123892" y="791010"/>
                  </a:lnTo>
                  <a:lnTo>
                    <a:pt x="85772" y="738594"/>
                  </a:lnTo>
                  <a:lnTo>
                    <a:pt x="71476" y="729064"/>
                  </a:lnTo>
                  <a:lnTo>
                    <a:pt x="33356" y="729064"/>
                  </a:lnTo>
                  <a:lnTo>
                    <a:pt x="14296" y="724298"/>
                  </a:lnTo>
                  <a:lnTo>
                    <a:pt x="0" y="733828"/>
                  </a:lnTo>
                  <a:lnTo>
                    <a:pt x="0" y="719534"/>
                  </a:lnTo>
                  <a:lnTo>
                    <a:pt x="9528" y="700472"/>
                  </a:lnTo>
                  <a:lnTo>
                    <a:pt x="23824" y="657586"/>
                  </a:lnTo>
                  <a:lnTo>
                    <a:pt x="28588" y="619466"/>
                  </a:lnTo>
                  <a:lnTo>
                    <a:pt x="52416" y="505102"/>
                  </a:lnTo>
                  <a:lnTo>
                    <a:pt x="85772" y="509868"/>
                  </a:lnTo>
                  <a:lnTo>
                    <a:pt x="109596" y="514632"/>
                  </a:lnTo>
                  <a:lnTo>
                    <a:pt x="152484" y="524162"/>
                  </a:lnTo>
                  <a:lnTo>
                    <a:pt x="190604" y="528928"/>
                  </a:lnTo>
                  <a:lnTo>
                    <a:pt x="219196" y="533694"/>
                  </a:lnTo>
                  <a:lnTo>
                    <a:pt x="223960" y="533694"/>
                  </a:lnTo>
                  <a:lnTo>
                    <a:pt x="257316" y="505102"/>
                  </a:lnTo>
                  <a:lnTo>
                    <a:pt x="290672" y="481276"/>
                  </a:lnTo>
                  <a:lnTo>
                    <a:pt x="304968" y="447920"/>
                  </a:lnTo>
                  <a:lnTo>
                    <a:pt x="324028" y="419330"/>
                  </a:lnTo>
                  <a:lnTo>
                    <a:pt x="333556" y="414564"/>
                  </a:lnTo>
                  <a:lnTo>
                    <a:pt x="357384" y="405034"/>
                  </a:lnTo>
                  <a:lnTo>
                    <a:pt x="400268" y="400270"/>
                  </a:lnTo>
                  <a:lnTo>
                    <a:pt x="443156" y="390740"/>
                  </a:lnTo>
                  <a:lnTo>
                    <a:pt x="447920" y="385974"/>
                  </a:lnTo>
                  <a:lnTo>
                    <a:pt x="457452" y="362148"/>
                  </a:lnTo>
                  <a:lnTo>
                    <a:pt x="471748" y="333558"/>
                  </a:lnTo>
                  <a:lnTo>
                    <a:pt x="471748" y="328792"/>
                  </a:lnTo>
                  <a:lnTo>
                    <a:pt x="476512" y="324028"/>
                  </a:lnTo>
                  <a:lnTo>
                    <a:pt x="505104" y="309732"/>
                  </a:lnTo>
                  <a:lnTo>
                    <a:pt x="524164" y="300202"/>
                  </a:lnTo>
                  <a:lnTo>
                    <a:pt x="500336" y="266846"/>
                  </a:lnTo>
                  <a:lnTo>
                    <a:pt x="471748" y="238256"/>
                  </a:lnTo>
                  <a:lnTo>
                    <a:pt x="447920" y="204900"/>
                  </a:lnTo>
                  <a:lnTo>
                    <a:pt x="424096" y="181074"/>
                  </a:lnTo>
                  <a:lnTo>
                    <a:pt x="385976" y="142952"/>
                  </a:lnTo>
                  <a:lnTo>
                    <a:pt x="362148" y="119128"/>
                  </a:lnTo>
                  <a:lnTo>
                    <a:pt x="405036" y="104832"/>
                  </a:lnTo>
                  <a:lnTo>
                    <a:pt x="447920" y="95302"/>
                  </a:lnTo>
                  <a:lnTo>
                    <a:pt x="490808" y="81006"/>
                  </a:lnTo>
                  <a:lnTo>
                    <a:pt x="543224" y="66710"/>
                  </a:lnTo>
                  <a:lnTo>
                    <a:pt x="586108" y="52416"/>
                  </a:lnTo>
                  <a:lnTo>
                    <a:pt x="648056" y="33354"/>
                  </a:lnTo>
                  <a:lnTo>
                    <a:pt x="676648" y="23824"/>
                  </a:lnTo>
                  <a:lnTo>
                    <a:pt x="681412" y="2382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8" name="Line 6273">
              <a:extLst>
                <a:ext uri="{FF2B5EF4-FFF2-40B4-BE49-F238E27FC236}">
                  <a16:creationId xmlns:a16="http://schemas.microsoft.com/office/drawing/2014/main" id="{F1B6F7E6-B65D-4CF9-A080-50BB4883AF5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428559" y="4637764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9" name="Line 6278">
              <a:extLst>
                <a:ext uri="{FF2B5EF4-FFF2-40B4-BE49-F238E27FC236}">
                  <a16:creationId xmlns:a16="http://schemas.microsoft.com/office/drawing/2014/main" id="{8470A93E-902B-4459-BBE7-F037FFC11FB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428559" y="4637764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0" name="Freeform 6279">
              <a:extLst>
                <a:ext uri="{FF2B5EF4-FFF2-40B4-BE49-F238E27FC236}">
                  <a16:creationId xmlns:a16="http://schemas.microsoft.com/office/drawing/2014/main" id="{99F0BC72-D03A-4393-A55F-9F0FFBEAE211}"/>
                </a:ext>
              </a:extLst>
            </p:cNvPr>
            <p:cNvSpPr/>
            <p:nvPr/>
          </p:nvSpPr>
          <p:spPr bwMode="auto">
            <a:xfrm>
              <a:off x="5849630" y="4834338"/>
              <a:ext cx="424753" cy="355374"/>
            </a:xfrm>
            <a:custGeom>
              <a:avLst/>
              <a:gdLst>
                <a:gd name="T0" fmla="*/ 632 w 1102"/>
                <a:gd name="T1" fmla="*/ 0 h 922"/>
                <a:gd name="T2" fmla="*/ 208 w 1102"/>
                <a:gd name="T3" fmla="*/ 84 h 922"/>
                <a:gd name="T4" fmla="*/ 142 w 1102"/>
                <a:gd name="T5" fmla="*/ 444 h 922"/>
                <a:gd name="T6" fmla="*/ 94 w 1102"/>
                <a:gd name="T7" fmla="*/ 450 h 922"/>
                <a:gd name="T8" fmla="*/ 70 w 1102"/>
                <a:gd name="T9" fmla="*/ 492 h 922"/>
                <a:gd name="T10" fmla="*/ 54 w 1102"/>
                <a:gd name="T11" fmla="*/ 518 h 922"/>
                <a:gd name="T12" fmla="*/ 46 w 1102"/>
                <a:gd name="T13" fmla="*/ 550 h 922"/>
                <a:gd name="T14" fmla="*/ 30 w 1102"/>
                <a:gd name="T15" fmla="*/ 566 h 922"/>
                <a:gd name="T16" fmla="*/ 26 w 1102"/>
                <a:gd name="T17" fmla="*/ 602 h 922"/>
                <a:gd name="T18" fmla="*/ 2 w 1102"/>
                <a:gd name="T19" fmla="*/ 642 h 922"/>
                <a:gd name="T20" fmla="*/ 28 w 1102"/>
                <a:gd name="T21" fmla="*/ 652 h 922"/>
                <a:gd name="T22" fmla="*/ 44 w 1102"/>
                <a:gd name="T23" fmla="*/ 698 h 922"/>
                <a:gd name="T24" fmla="*/ 62 w 1102"/>
                <a:gd name="T25" fmla="*/ 738 h 922"/>
                <a:gd name="T26" fmla="*/ 68 w 1102"/>
                <a:gd name="T27" fmla="*/ 772 h 922"/>
                <a:gd name="T28" fmla="*/ 120 w 1102"/>
                <a:gd name="T29" fmla="*/ 846 h 922"/>
                <a:gd name="T30" fmla="*/ 110 w 1102"/>
                <a:gd name="T31" fmla="*/ 900 h 922"/>
                <a:gd name="T32" fmla="*/ 146 w 1102"/>
                <a:gd name="T33" fmla="*/ 920 h 922"/>
                <a:gd name="T34" fmla="*/ 180 w 1102"/>
                <a:gd name="T35" fmla="*/ 900 h 922"/>
                <a:gd name="T36" fmla="*/ 194 w 1102"/>
                <a:gd name="T37" fmla="*/ 868 h 922"/>
                <a:gd name="T38" fmla="*/ 210 w 1102"/>
                <a:gd name="T39" fmla="*/ 826 h 922"/>
                <a:gd name="T40" fmla="*/ 262 w 1102"/>
                <a:gd name="T41" fmla="*/ 806 h 922"/>
                <a:gd name="T42" fmla="*/ 278 w 1102"/>
                <a:gd name="T43" fmla="*/ 830 h 922"/>
                <a:gd name="T44" fmla="*/ 344 w 1102"/>
                <a:gd name="T45" fmla="*/ 860 h 922"/>
                <a:gd name="T46" fmla="*/ 460 w 1102"/>
                <a:gd name="T47" fmla="*/ 874 h 922"/>
                <a:gd name="T48" fmla="*/ 508 w 1102"/>
                <a:gd name="T49" fmla="*/ 844 h 922"/>
                <a:gd name="T50" fmla="*/ 568 w 1102"/>
                <a:gd name="T51" fmla="*/ 834 h 922"/>
                <a:gd name="T52" fmla="*/ 590 w 1102"/>
                <a:gd name="T53" fmla="*/ 850 h 922"/>
                <a:gd name="T54" fmla="*/ 658 w 1102"/>
                <a:gd name="T55" fmla="*/ 802 h 922"/>
                <a:gd name="T56" fmla="*/ 690 w 1102"/>
                <a:gd name="T57" fmla="*/ 746 h 922"/>
                <a:gd name="T58" fmla="*/ 716 w 1102"/>
                <a:gd name="T59" fmla="*/ 700 h 922"/>
                <a:gd name="T60" fmla="*/ 716 w 1102"/>
                <a:gd name="T61" fmla="*/ 688 h 922"/>
                <a:gd name="T62" fmla="*/ 742 w 1102"/>
                <a:gd name="T63" fmla="*/ 704 h 922"/>
                <a:gd name="T64" fmla="*/ 738 w 1102"/>
                <a:gd name="T65" fmla="*/ 726 h 922"/>
                <a:gd name="T66" fmla="*/ 742 w 1102"/>
                <a:gd name="T67" fmla="*/ 784 h 922"/>
                <a:gd name="T68" fmla="*/ 794 w 1102"/>
                <a:gd name="T69" fmla="*/ 822 h 922"/>
                <a:gd name="T70" fmla="*/ 796 w 1102"/>
                <a:gd name="T71" fmla="*/ 842 h 922"/>
                <a:gd name="T72" fmla="*/ 792 w 1102"/>
                <a:gd name="T73" fmla="*/ 868 h 922"/>
                <a:gd name="T74" fmla="*/ 812 w 1102"/>
                <a:gd name="T75" fmla="*/ 840 h 922"/>
                <a:gd name="T76" fmla="*/ 832 w 1102"/>
                <a:gd name="T77" fmla="*/ 778 h 922"/>
                <a:gd name="T78" fmla="*/ 860 w 1102"/>
                <a:gd name="T79" fmla="*/ 776 h 922"/>
                <a:gd name="T80" fmla="*/ 872 w 1102"/>
                <a:gd name="T81" fmla="*/ 712 h 922"/>
                <a:gd name="T82" fmla="*/ 918 w 1102"/>
                <a:gd name="T83" fmla="*/ 654 h 922"/>
                <a:gd name="T84" fmla="*/ 944 w 1102"/>
                <a:gd name="T85" fmla="*/ 614 h 922"/>
                <a:gd name="T86" fmla="*/ 964 w 1102"/>
                <a:gd name="T87" fmla="*/ 548 h 922"/>
                <a:gd name="T88" fmla="*/ 974 w 1102"/>
                <a:gd name="T89" fmla="*/ 448 h 922"/>
                <a:gd name="T90" fmla="*/ 992 w 1102"/>
                <a:gd name="T91" fmla="*/ 380 h 922"/>
                <a:gd name="T92" fmla="*/ 1012 w 1102"/>
                <a:gd name="T93" fmla="*/ 358 h 922"/>
                <a:gd name="T94" fmla="*/ 1038 w 1102"/>
                <a:gd name="T95" fmla="*/ 336 h 922"/>
                <a:gd name="T96" fmla="*/ 1064 w 1102"/>
                <a:gd name="T97" fmla="*/ 324 h 922"/>
                <a:gd name="T98" fmla="*/ 1080 w 1102"/>
                <a:gd name="T99" fmla="*/ 318 h 922"/>
                <a:gd name="T100" fmla="*/ 1102 w 1102"/>
                <a:gd name="T101" fmla="*/ 292 h 922"/>
                <a:gd name="T102" fmla="*/ 1066 w 1102"/>
                <a:gd name="T103" fmla="*/ 264 h 922"/>
                <a:gd name="T104" fmla="*/ 1012 w 1102"/>
                <a:gd name="T105" fmla="*/ 184 h 922"/>
                <a:gd name="T106" fmla="*/ 1006 w 1102"/>
                <a:gd name="T107" fmla="*/ 86 h 922"/>
                <a:gd name="T108" fmla="*/ 1002 w 1102"/>
                <a:gd name="T109" fmla="*/ 60 h 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02" h="922">
                  <a:moveTo>
                    <a:pt x="988" y="14"/>
                  </a:moveTo>
                  <a:lnTo>
                    <a:pt x="836" y="14"/>
                  </a:lnTo>
                  <a:lnTo>
                    <a:pt x="816" y="14"/>
                  </a:lnTo>
                  <a:lnTo>
                    <a:pt x="630" y="14"/>
                  </a:lnTo>
                  <a:lnTo>
                    <a:pt x="632" y="8"/>
                  </a:lnTo>
                  <a:lnTo>
                    <a:pt x="634" y="2"/>
                  </a:lnTo>
                  <a:lnTo>
                    <a:pt x="632" y="0"/>
                  </a:lnTo>
                  <a:lnTo>
                    <a:pt x="628" y="0"/>
                  </a:lnTo>
                  <a:lnTo>
                    <a:pt x="626" y="0"/>
                  </a:lnTo>
                  <a:lnTo>
                    <a:pt x="620" y="14"/>
                  </a:lnTo>
                  <a:lnTo>
                    <a:pt x="616" y="14"/>
                  </a:lnTo>
                  <a:lnTo>
                    <a:pt x="208" y="14"/>
                  </a:lnTo>
                  <a:lnTo>
                    <a:pt x="208" y="48"/>
                  </a:lnTo>
                  <a:lnTo>
                    <a:pt x="208" y="84"/>
                  </a:lnTo>
                  <a:lnTo>
                    <a:pt x="208" y="154"/>
                  </a:lnTo>
                  <a:lnTo>
                    <a:pt x="208" y="154"/>
                  </a:lnTo>
                  <a:lnTo>
                    <a:pt x="206" y="154"/>
                  </a:lnTo>
                  <a:lnTo>
                    <a:pt x="142" y="154"/>
                  </a:lnTo>
                  <a:lnTo>
                    <a:pt x="142" y="312"/>
                  </a:lnTo>
                  <a:lnTo>
                    <a:pt x="142" y="344"/>
                  </a:lnTo>
                  <a:lnTo>
                    <a:pt x="142" y="444"/>
                  </a:lnTo>
                  <a:lnTo>
                    <a:pt x="142" y="448"/>
                  </a:lnTo>
                  <a:lnTo>
                    <a:pt x="142" y="450"/>
                  </a:lnTo>
                  <a:lnTo>
                    <a:pt x="140" y="450"/>
                  </a:lnTo>
                  <a:lnTo>
                    <a:pt x="124" y="446"/>
                  </a:lnTo>
                  <a:lnTo>
                    <a:pt x="118" y="446"/>
                  </a:lnTo>
                  <a:lnTo>
                    <a:pt x="108" y="450"/>
                  </a:lnTo>
                  <a:lnTo>
                    <a:pt x="94" y="450"/>
                  </a:lnTo>
                  <a:lnTo>
                    <a:pt x="84" y="450"/>
                  </a:lnTo>
                  <a:lnTo>
                    <a:pt x="78" y="456"/>
                  </a:lnTo>
                  <a:lnTo>
                    <a:pt x="74" y="462"/>
                  </a:lnTo>
                  <a:lnTo>
                    <a:pt x="76" y="476"/>
                  </a:lnTo>
                  <a:lnTo>
                    <a:pt x="76" y="482"/>
                  </a:lnTo>
                  <a:lnTo>
                    <a:pt x="74" y="486"/>
                  </a:lnTo>
                  <a:lnTo>
                    <a:pt x="70" y="492"/>
                  </a:lnTo>
                  <a:lnTo>
                    <a:pt x="64" y="494"/>
                  </a:lnTo>
                  <a:lnTo>
                    <a:pt x="62" y="498"/>
                  </a:lnTo>
                  <a:lnTo>
                    <a:pt x="60" y="504"/>
                  </a:lnTo>
                  <a:lnTo>
                    <a:pt x="56" y="508"/>
                  </a:lnTo>
                  <a:lnTo>
                    <a:pt x="58" y="512"/>
                  </a:lnTo>
                  <a:lnTo>
                    <a:pt x="56" y="516"/>
                  </a:lnTo>
                  <a:lnTo>
                    <a:pt x="54" y="518"/>
                  </a:lnTo>
                  <a:lnTo>
                    <a:pt x="48" y="520"/>
                  </a:lnTo>
                  <a:lnTo>
                    <a:pt x="42" y="522"/>
                  </a:lnTo>
                  <a:lnTo>
                    <a:pt x="38" y="528"/>
                  </a:lnTo>
                  <a:lnTo>
                    <a:pt x="40" y="536"/>
                  </a:lnTo>
                  <a:lnTo>
                    <a:pt x="42" y="542"/>
                  </a:lnTo>
                  <a:lnTo>
                    <a:pt x="42" y="546"/>
                  </a:lnTo>
                  <a:lnTo>
                    <a:pt x="46" y="550"/>
                  </a:lnTo>
                  <a:lnTo>
                    <a:pt x="48" y="552"/>
                  </a:lnTo>
                  <a:lnTo>
                    <a:pt x="48" y="554"/>
                  </a:lnTo>
                  <a:lnTo>
                    <a:pt x="46" y="556"/>
                  </a:lnTo>
                  <a:lnTo>
                    <a:pt x="38" y="562"/>
                  </a:lnTo>
                  <a:lnTo>
                    <a:pt x="34" y="564"/>
                  </a:lnTo>
                  <a:lnTo>
                    <a:pt x="30" y="566"/>
                  </a:lnTo>
                  <a:lnTo>
                    <a:pt x="30" y="566"/>
                  </a:lnTo>
                  <a:lnTo>
                    <a:pt x="24" y="572"/>
                  </a:lnTo>
                  <a:lnTo>
                    <a:pt x="20" y="576"/>
                  </a:lnTo>
                  <a:lnTo>
                    <a:pt x="20" y="578"/>
                  </a:lnTo>
                  <a:lnTo>
                    <a:pt x="20" y="584"/>
                  </a:lnTo>
                  <a:lnTo>
                    <a:pt x="22" y="590"/>
                  </a:lnTo>
                  <a:lnTo>
                    <a:pt x="26" y="596"/>
                  </a:lnTo>
                  <a:lnTo>
                    <a:pt x="26" y="602"/>
                  </a:lnTo>
                  <a:lnTo>
                    <a:pt x="28" y="606"/>
                  </a:lnTo>
                  <a:lnTo>
                    <a:pt x="28" y="610"/>
                  </a:lnTo>
                  <a:lnTo>
                    <a:pt x="26" y="614"/>
                  </a:lnTo>
                  <a:lnTo>
                    <a:pt x="22" y="618"/>
                  </a:lnTo>
                  <a:lnTo>
                    <a:pt x="12" y="626"/>
                  </a:lnTo>
                  <a:lnTo>
                    <a:pt x="6" y="632"/>
                  </a:lnTo>
                  <a:lnTo>
                    <a:pt x="2" y="642"/>
                  </a:lnTo>
                  <a:lnTo>
                    <a:pt x="0" y="648"/>
                  </a:lnTo>
                  <a:lnTo>
                    <a:pt x="2" y="650"/>
                  </a:lnTo>
                  <a:lnTo>
                    <a:pt x="4" y="652"/>
                  </a:lnTo>
                  <a:lnTo>
                    <a:pt x="8" y="654"/>
                  </a:lnTo>
                  <a:lnTo>
                    <a:pt x="12" y="656"/>
                  </a:lnTo>
                  <a:lnTo>
                    <a:pt x="20" y="654"/>
                  </a:lnTo>
                  <a:lnTo>
                    <a:pt x="28" y="652"/>
                  </a:lnTo>
                  <a:lnTo>
                    <a:pt x="36" y="656"/>
                  </a:lnTo>
                  <a:lnTo>
                    <a:pt x="40" y="664"/>
                  </a:lnTo>
                  <a:lnTo>
                    <a:pt x="38" y="668"/>
                  </a:lnTo>
                  <a:lnTo>
                    <a:pt x="40" y="680"/>
                  </a:lnTo>
                  <a:lnTo>
                    <a:pt x="44" y="692"/>
                  </a:lnTo>
                  <a:lnTo>
                    <a:pt x="44" y="696"/>
                  </a:lnTo>
                  <a:lnTo>
                    <a:pt x="44" y="698"/>
                  </a:lnTo>
                  <a:lnTo>
                    <a:pt x="50" y="698"/>
                  </a:lnTo>
                  <a:lnTo>
                    <a:pt x="50" y="700"/>
                  </a:lnTo>
                  <a:lnTo>
                    <a:pt x="48" y="722"/>
                  </a:lnTo>
                  <a:lnTo>
                    <a:pt x="50" y="728"/>
                  </a:lnTo>
                  <a:lnTo>
                    <a:pt x="54" y="732"/>
                  </a:lnTo>
                  <a:lnTo>
                    <a:pt x="58" y="734"/>
                  </a:lnTo>
                  <a:lnTo>
                    <a:pt x="62" y="738"/>
                  </a:lnTo>
                  <a:lnTo>
                    <a:pt x="64" y="740"/>
                  </a:lnTo>
                  <a:lnTo>
                    <a:pt x="68" y="740"/>
                  </a:lnTo>
                  <a:lnTo>
                    <a:pt x="72" y="744"/>
                  </a:lnTo>
                  <a:lnTo>
                    <a:pt x="74" y="750"/>
                  </a:lnTo>
                  <a:lnTo>
                    <a:pt x="74" y="754"/>
                  </a:lnTo>
                  <a:lnTo>
                    <a:pt x="72" y="764"/>
                  </a:lnTo>
                  <a:lnTo>
                    <a:pt x="68" y="772"/>
                  </a:lnTo>
                  <a:lnTo>
                    <a:pt x="74" y="780"/>
                  </a:lnTo>
                  <a:lnTo>
                    <a:pt x="76" y="784"/>
                  </a:lnTo>
                  <a:lnTo>
                    <a:pt x="94" y="804"/>
                  </a:lnTo>
                  <a:lnTo>
                    <a:pt x="98" y="808"/>
                  </a:lnTo>
                  <a:lnTo>
                    <a:pt x="108" y="822"/>
                  </a:lnTo>
                  <a:lnTo>
                    <a:pt x="114" y="832"/>
                  </a:lnTo>
                  <a:lnTo>
                    <a:pt x="120" y="846"/>
                  </a:lnTo>
                  <a:lnTo>
                    <a:pt x="120" y="852"/>
                  </a:lnTo>
                  <a:lnTo>
                    <a:pt x="120" y="860"/>
                  </a:lnTo>
                  <a:lnTo>
                    <a:pt x="118" y="878"/>
                  </a:lnTo>
                  <a:lnTo>
                    <a:pt x="116" y="882"/>
                  </a:lnTo>
                  <a:lnTo>
                    <a:pt x="108" y="892"/>
                  </a:lnTo>
                  <a:lnTo>
                    <a:pt x="108" y="896"/>
                  </a:lnTo>
                  <a:lnTo>
                    <a:pt x="110" y="900"/>
                  </a:lnTo>
                  <a:lnTo>
                    <a:pt x="112" y="902"/>
                  </a:lnTo>
                  <a:lnTo>
                    <a:pt x="114" y="904"/>
                  </a:lnTo>
                  <a:lnTo>
                    <a:pt x="114" y="912"/>
                  </a:lnTo>
                  <a:lnTo>
                    <a:pt x="116" y="916"/>
                  </a:lnTo>
                  <a:lnTo>
                    <a:pt x="122" y="918"/>
                  </a:lnTo>
                  <a:lnTo>
                    <a:pt x="138" y="920"/>
                  </a:lnTo>
                  <a:lnTo>
                    <a:pt x="146" y="920"/>
                  </a:lnTo>
                  <a:lnTo>
                    <a:pt x="154" y="922"/>
                  </a:lnTo>
                  <a:lnTo>
                    <a:pt x="154" y="920"/>
                  </a:lnTo>
                  <a:lnTo>
                    <a:pt x="158" y="916"/>
                  </a:lnTo>
                  <a:lnTo>
                    <a:pt x="164" y="912"/>
                  </a:lnTo>
                  <a:lnTo>
                    <a:pt x="178" y="908"/>
                  </a:lnTo>
                  <a:lnTo>
                    <a:pt x="180" y="906"/>
                  </a:lnTo>
                  <a:lnTo>
                    <a:pt x="180" y="900"/>
                  </a:lnTo>
                  <a:lnTo>
                    <a:pt x="180" y="896"/>
                  </a:lnTo>
                  <a:lnTo>
                    <a:pt x="186" y="888"/>
                  </a:lnTo>
                  <a:lnTo>
                    <a:pt x="186" y="884"/>
                  </a:lnTo>
                  <a:lnTo>
                    <a:pt x="186" y="878"/>
                  </a:lnTo>
                  <a:lnTo>
                    <a:pt x="188" y="874"/>
                  </a:lnTo>
                  <a:lnTo>
                    <a:pt x="190" y="872"/>
                  </a:lnTo>
                  <a:lnTo>
                    <a:pt x="194" y="868"/>
                  </a:lnTo>
                  <a:lnTo>
                    <a:pt x="194" y="864"/>
                  </a:lnTo>
                  <a:lnTo>
                    <a:pt x="196" y="860"/>
                  </a:lnTo>
                  <a:lnTo>
                    <a:pt x="194" y="848"/>
                  </a:lnTo>
                  <a:lnTo>
                    <a:pt x="198" y="844"/>
                  </a:lnTo>
                  <a:lnTo>
                    <a:pt x="206" y="834"/>
                  </a:lnTo>
                  <a:lnTo>
                    <a:pt x="210" y="830"/>
                  </a:lnTo>
                  <a:lnTo>
                    <a:pt x="210" y="826"/>
                  </a:lnTo>
                  <a:lnTo>
                    <a:pt x="210" y="822"/>
                  </a:lnTo>
                  <a:lnTo>
                    <a:pt x="210" y="818"/>
                  </a:lnTo>
                  <a:lnTo>
                    <a:pt x="214" y="814"/>
                  </a:lnTo>
                  <a:lnTo>
                    <a:pt x="216" y="812"/>
                  </a:lnTo>
                  <a:lnTo>
                    <a:pt x="222" y="812"/>
                  </a:lnTo>
                  <a:lnTo>
                    <a:pt x="228" y="812"/>
                  </a:lnTo>
                  <a:lnTo>
                    <a:pt x="262" y="806"/>
                  </a:lnTo>
                  <a:lnTo>
                    <a:pt x="266" y="806"/>
                  </a:lnTo>
                  <a:lnTo>
                    <a:pt x="268" y="810"/>
                  </a:lnTo>
                  <a:lnTo>
                    <a:pt x="266" y="816"/>
                  </a:lnTo>
                  <a:lnTo>
                    <a:pt x="268" y="820"/>
                  </a:lnTo>
                  <a:lnTo>
                    <a:pt x="270" y="822"/>
                  </a:lnTo>
                  <a:lnTo>
                    <a:pt x="274" y="826"/>
                  </a:lnTo>
                  <a:lnTo>
                    <a:pt x="278" y="830"/>
                  </a:lnTo>
                  <a:lnTo>
                    <a:pt x="280" y="832"/>
                  </a:lnTo>
                  <a:lnTo>
                    <a:pt x="286" y="836"/>
                  </a:lnTo>
                  <a:lnTo>
                    <a:pt x="310" y="866"/>
                  </a:lnTo>
                  <a:lnTo>
                    <a:pt x="318" y="868"/>
                  </a:lnTo>
                  <a:lnTo>
                    <a:pt x="324" y="866"/>
                  </a:lnTo>
                  <a:lnTo>
                    <a:pt x="338" y="860"/>
                  </a:lnTo>
                  <a:lnTo>
                    <a:pt x="344" y="860"/>
                  </a:lnTo>
                  <a:lnTo>
                    <a:pt x="392" y="862"/>
                  </a:lnTo>
                  <a:lnTo>
                    <a:pt x="398" y="860"/>
                  </a:lnTo>
                  <a:lnTo>
                    <a:pt x="398" y="860"/>
                  </a:lnTo>
                  <a:lnTo>
                    <a:pt x="406" y="874"/>
                  </a:lnTo>
                  <a:lnTo>
                    <a:pt x="408" y="878"/>
                  </a:lnTo>
                  <a:lnTo>
                    <a:pt x="460" y="878"/>
                  </a:lnTo>
                  <a:lnTo>
                    <a:pt x="460" y="874"/>
                  </a:lnTo>
                  <a:lnTo>
                    <a:pt x="460" y="870"/>
                  </a:lnTo>
                  <a:lnTo>
                    <a:pt x="470" y="860"/>
                  </a:lnTo>
                  <a:lnTo>
                    <a:pt x="472" y="860"/>
                  </a:lnTo>
                  <a:lnTo>
                    <a:pt x="480" y="856"/>
                  </a:lnTo>
                  <a:lnTo>
                    <a:pt x="486" y="852"/>
                  </a:lnTo>
                  <a:lnTo>
                    <a:pt x="502" y="848"/>
                  </a:lnTo>
                  <a:lnTo>
                    <a:pt x="508" y="844"/>
                  </a:lnTo>
                  <a:lnTo>
                    <a:pt x="512" y="838"/>
                  </a:lnTo>
                  <a:lnTo>
                    <a:pt x="512" y="830"/>
                  </a:lnTo>
                  <a:lnTo>
                    <a:pt x="514" y="828"/>
                  </a:lnTo>
                  <a:lnTo>
                    <a:pt x="516" y="826"/>
                  </a:lnTo>
                  <a:lnTo>
                    <a:pt x="534" y="816"/>
                  </a:lnTo>
                  <a:lnTo>
                    <a:pt x="536" y="816"/>
                  </a:lnTo>
                  <a:lnTo>
                    <a:pt x="568" y="834"/>
                  </a:lnTo>
                  <a:lnTo>
                    <a:pt x="586" y="850"/>
                  </a:lnTo>
                  <a:lnTo>
                    <a:pt x="586" y="852"/>
                  </a:lnTo>
                  <a:lnTo>
                    <a:pt x="588" y="852"/>
                  </a:lnTo>
                  <a:lnTo>
                    <a:pt x="588" y="852"/>
                  </a:lnTo>
                  <a:lnTo>
                    <a:pt x="588" y="850"/>
                  </a:lnTo>
                  <a:lnTo>
                    <a:pt x="590" y="850"/>
                  </a:lnTo>
                  <a:lnTo>
                    <a:pt x="590" y="850"/>
                  </a:lnTo>
                  <a:lnTo>
                    <a:pt x="598" y="850"/>
                  </a:lnTo>
                  <a:lnTo>
                    <a:pt x="612" y="848"/>
                  </a:lnTo>
                  <a:lnTo>
                    <a:pt x="618" y="846"/>
                  </a:lnTo>
                  <a:lnTo>
                    <a:pt x="646" y="818"/>
                  </a:lnTo>
                  <a:lnTo>
                    <a:pt x="652" y="810"/>
                  </a:lnTo>
                  <a:lnTo>
                    <a:pt x="654" y="808"/>
                  </a:lnTo>
                  <a:lnTo>
                    <a:pt x="658" y="802"/>
                  </a:lnTo>
                  <a:lnTo>
                    <a:pt x="662" y="790"/>
                  </a:lnTo>
                  <a:lnTo>
                    <a:pt x="664" y="790"/>
                  </a:lnTo>
                  <a:lnTo>
                    <a:pt x="694" y="764"/>
                  </a:lnTo>
                  <a:lnTo>
                    <a:pt x="696" y="762"/>
                  </a:lnTo>
                  <a:lnTo>
                    <a:pt x="696" y="760"/>
                  </a:lnTo>
                  <a:lnTo>
                    <a:pt x="692" y="750"/>
                  </a:lnTo>
                  <a:lnTo>
                    <a:pt x="690" y="746"/>
                  </a:lnTo>
                  <a:lnTo>
                    <a:pt x="690" y="738"/>
                  </a:lnTo>
                  <a:lnTo>
                    <a:pt x="690" y="728"/>
                  </a:lnTo>
                  <a:lnTo>
                    <a:pt x="690" y="722"/>
                  </a:lnTo>
                  <a:lnTo>
                    <a:pt x="690" y="720"/>
                  </a:lnTo>
                  <a:lnTo>
                    <a:pt x="690" y="718"/>
                  </a:lnTo>
                  <a:lnTo>
                    <a:pt x="672" y="700"/>
                  </a:lnTo>
                  <a:lnTo>
                    <a:pt x="716" y="700"/>
                  </a:lnTo>
                  <a:lnTo>
                    <a:pt x="716" y="698"/>
                  </a:lnTo>
                  <a:lnTo>
                    <a:pt x="716" y="696"/>
                  </a:lnTo>
                  <a:lnTo>
                    <a:pt x="716" y="696"/>
                  </a:lnTo>
                  <a:lnTo>
                    <a:pt x="716" y="694"/>
                  </a:lnTo>
                  <a:lnTo>
                    <a:pt x="714" y="690"/>
                  </a:lnTo>
                  <a:lnTo>
                    <a:pt x="714" y="690"/>
                  </a:lnTo>
                  <a:lnTo>
                    <a:pt x="716" y="688"/>
                  </a:lnTo>
                  <a:lnTo>
                    <a:pt x="716" y="686"/>
                  </a:lnTo>
                  <a:lnTo>
                    <a:pt x="714" y="686"/>
                  </a:lnTo>
                  <a:lnTo>
                    <a:pt x="714" y="686"/>
                  </a:lnTo>
                  <a:lnTo>
                    <a:pt x="716" y="684"/>
                  </a:lnTo>
                  <a:lnTo>
                    <a:pt x="746" y="686"/>
                  </a:lnTo>
                  <a:lnTo>
                    <a:pt x="746" y="690"/>
                  </a:lnTo>
                  <a:lnTo>
                    <a:pt x="742" y="704"/>
                  </a:lnTo>
                  <a:lnTo>
                    <a:pt x="742" y="712"/>
                  </a:lnTo>
                  <a:lnTo>
                    <a:pt x="742" y="720"/>
                  </a:lnTo>
                  <a:lnTo>
                    <a:pt x="742" y="722"/>
                  </a:lnTo>
                  <a:lnTo>
                    <a:pt x="740" y="724"/>
                  </a:lnTo>
                  <a:lnTo>
                    <a:pt x="738" y="726"/>
                  </a:lnTo>
                  <a:lnTo>
                    <a:pt x="738" y="726"/>
                  </a:lnTo>
                  <a:lnTo>
                    <a:pt x="738" y="726"/>
                  </a:lnTo>
                  <a:lnTo>
                    <a:pt x="738" y="728"/>
                  </a:lnTo>
                  <a:lnTo>
                    <a:pt x="744" y="778"/>
                  </a:lnTo>
                  <a:lnTo>
                    <a:pt x="744" y="778"/>
                  </a:lnTo>
                  <a:lnTo>
                    <a:pt x="744" y="780"/>
                  </a:lnTo>
                  <a:lnTo>
                    <a:pt x="742" y="782"/>
                  </a:lnTo>
                  <a:lnTo>
                    <a:pt x="742" y="784"/>
                  </a:lnTo>
                  <a:lnTo>
                    <a:pt x="742" y="784"/>
                  </a:lnTo>
                  <a:lnTo>
                    <a:pt x="742" y="784"/>
                  </a:lnTo>
                  <a:lnTo>
                    <a:pt x="758" y="790"/>
                  </a:lnTo>
                  <a:lnTo>
                    <a:pt x="758" y="790"/>
                  </a:lnTo>
                  <a:lnTo>
                    <a:pt x="758" y="790"/>
                  </a:lnTo>
                  <a:lnTo>
                    <a:pt x="764" y="796"/>
                  </a:lnTo>
                  <a:lnTo>
                    <a:pt x="792" y="820"/>
                  </a:lnTo>
                  <a:lnTo>
                    <a:pt x="794" y="822"/>
                  </a:lnTo>
                  <a:lnTo>
                    <a:pt x="796" y="828"/>
                  </a:lnTo>
                  <a:lnTo>
                    <a:pt x="796" y="830"/>
                  </a:lnTo>
                  <a:lnTo>
                    <a:pt x="796" y="834"/>
                  </a:lnTo>
                  <a:lnTo>
                    <a:pt x="796" y="838"/>
                  </a:lnTo>
                  <a:lnTo>
                    <a:pt x="796" y="840"/>
                  </a:lnTo>
                  <a:lnTo>
                    <a:pt x="796" y="840"/>
                  </a:lnTo>
                  <a:lnTo>
                    <a:pt x="796" y="842"/>
                  </a:lnTo>
                  <a:lnTo>
                    <a:pt x="796" y="844"/>
                  </a:lnTo>
                  <a:lnTo>
                    <a:pt x="796" y="844"/>
                  </a:lnTo>
                  <a:lnTo>
                    <a:pt x="792" y="852"/>
                  </a:lnTo>
                  <a:lnTo>
                    <a:pt x="790" y="858"/>
                  </a:lnTo>
                  <a:lnTo>
                    <a:pt x="790" y="864"/>
                  </a:lnTo>
                  <a:lnTo>
                    <a:pt x="790" y="866"/>
                  </a:lnTo>
                  <a:lnTo>
                    <a:pt x="792" y="868"/>
                  </a:lnTo>
                  <a:lnTo>
                    <a:pt x="792" y="870"/>
                  </a:lnTo>
                  <a:lnTo>
                    <a:pt x="792" y="870"/>
                  </a:lnTo>
                  <a:lnTo>
                    <a:pt x="804" y="870"/>
                  </a:lnTo>
                  <a:lnTo>
                    <a:pt x="804" y="866"/>
                  </a:lnTo>
                  <a:lnTo>
                    <a:pt x="806" y="852"/>
                  </a:lnTo>
                  <a:lnTo>
                    <a:pt x="810" y="844"/>
                  </a:lnTo>
                  <a:lnTo>
                    <a:pt x="812" y="840"/>
                  </a:lnTo>
                  <a:lnTo>
                    <a:pt x="818" y="826"/>
                  </a:lnTo>
                  <a:lnTo>
                    <a:pt x="820" y="820"/>
                  </a:lnTo>
                  <a:lnTo>
                    <a:pt x="820" y="816"/>
                  </a:lnTo>
                  <a:lnTo>
                    <a:pt x="818" y="798"/>
                  </a:lnTo>
                  <a:lnTo>
                    <a:pt x="822" y="790"/>
                  </a:lnTo>
                  <a:lnTo>
                    <a:pt x="828" y="782"/>
                  </a:lnTo>
                  <a:lnTo>
                    <a:pt x="832" y="778"/>
                  </a:lnTo>
                  <a:lnTo>
                    <a:pt x="836" y="774"/>
                  </a:lnTo>
                  <a:lnTo>
                    <a:pt x="838" y="776"/>
                  </a:lnTo>
                  <a:lnTo>
                    <a:pt x="844" y="780"/>
                  </a:lnTo>
                  <a:lnTo>
                    <a:pt x="850" y="784"/>
                  </a:lnTo>
                  <a:lnTo>
                    <a:pt x="852" y="782"/>
                  </a:lnTo>
                  <a:lnTo>
                    <a:pt x="858" y="780"/>
                  </a:lnTo>
                  <a:lnTo>
                    <a:pt x="860" y="776"/>
                  </a:lnTo>
                  <a:lnTo>
                    <a:pt x="860" y="770"/>
                  </a:lnTo>
                  <a:lnTo>
                    <a:pt x="862" y="756"/>
                  </a:lnTo>
                  <a:lnTo>
                    <a:pt x="862" y="748"/>
                  </a:lnTo>
                  <a:lnTo>
                    <a:pt x="864" y="738"/>
                  </a:lnTo>
                  <a:lnTo>
                    <a:pt x="868" y="726"/>
                  </a:lnTo>
                  <a:lnTo>
                    <a:pt x="870" y="716"/>
                  </a:lnTo>
                  <a:lnTo>
                    <a:pt x="872" y="712"/>
                  </a:lnTo>
                  <a:lnTo>
                    <a:pt x="882" y="702"/>
                  </a:lnTo>
                  <a:lnTo>
                    <a:pt x="888" y="690"/>
                  </a:lnTo>
                  <a:lnTo>
                    <a:pt x="894" y="680"/>
                  </a:lnTo>
                  <a:lnTo>
                    <a:pt x="904" y="664"/>
                  </a:lnTo>
                  <a:lnTo>
                    <a:pt x="908" y="658"/>
                  </a:lnTo>
                  <a:lnTo>
                    <a:pt x="912" y="656"/>
                  </a:lnTo>
                  <a:lnTo>
                    <a:pt x="918" y="654"/>
                  </a:lnTo>
                  <a:lnTo>
                    <a:pt x="930" y="652"/>
                  </a:lnTo>
                  <a:lnTo>
                    <a:pt x="938" y="652"/>
                  </a:lnTo>
                  <a:lnTo>
                    <a:pt x="938" y="650"/>
                  </a:lnTo>
                  <a:lnTo>
                    <a:pt x="940" y="646"/>
                  </a:lnTo>
                  <a:lnTo>
                    <a:pt x="940" y="638"/>
                  </a:lnTo>
                  <a:lnTo>
                    <a:pt x="940" y="626"/>
                  </a:lnTo>
                  <a:lnTo>
                    <a:pt x="944" y="614"/>
                  </a:lnTo>
                  <a:lnTo>
                    <a:pt x="948" y="606"/>
                  </a:lnTo>
                  <a:lnTo>
                    <a:pt x="950" y="602"/>
                  </a:lnTo>
                  <a:lnTo>
                    <a:pt x="952" y="598"/>
                  </a:lnTo>
                  <a:lnTo>
                    <a:pt x="956" y="590"/>
                  </a:lnTo>
                  <a:lnTo>
                    <a:pt x="960" y="576"/>
                  </a:lnTo>
                  <a:lnTo>
                    <a:pt x="960" y="566"/>
                  </a:lnTo>
                  <a:lnTo>
                    <a:pt x="964" y="548"/>
                  </a:lnTo>
                  <a:lnTo>
                    <a:pt x="962" y="528"/>
                  </a:lnTo>
                  <a:lnTo>
                    <a:pt x="960" y="516"/>
                  </a:lnTo>
                  <a:lnTo>
                    <a:pt x="960" y="502"/>
                  </a:lnTo>
                  <a:lnTo>
                    <a:pt x="958" y="488"/>
                  </a:lnTo>
                  <a:lnTo>
                    <a:pt x="964" y="480"/>
                  </a:lnTo>
                  <a:lnTo>
                    <a:pt x="968" y="474"/>
                  </a:lnTo>
                  <a:lnTo>
                    <a:pt x="974" y="448"/>
                  </a:lnTo>
                  <a:lnTo>
                    <a:pt x="978" y="444"/>
                  </a:lnTo>
                  <a:lnTo>
                    <a:pt x="984" y="430"/>
                  </a:lnTo>
                  <a:lnTo>
                    <a:pt x="984" y="426"/>
                  </a:lnTo>
                  <a:lnTo>
                    <a:pt x="990" y="410"/>
                  </a:lnTo>
                  <a:lnTo>
                    <a:pt x="990" y="398"/>
                  </a:lnTo>
                  <a:lnTo>
                    <a:pt x="988" y="388"/>
                  </a:lnTo>
                  <a:lnTo>
                    <a:pt x="992" y="380"/>
                  </a:lnTo>
                  <a:lnTo>
                    <a:pt x="994" y="376"/>
                  </a:lnTo>
                  <a:lnTo>
                    <a:pt x="994" y="370"/>
                  </a:lnTo>
                  <a:lnTo>
                    <a:pt x="996" y="360"/>
                  </a:lnTo>
                  <a:lnTo>
                    <a:pt x="996" y="358"/>
                  </a:lnTo>
                  <a:lnTo>
                    <a:pt x="1000" y="358"/>
                  </a:lnTo>
                  <a:lnTo>
                    <a:pt x="1006" y="358"/>
                  </a:lnTo>
                  <a:lnTo>
                    <a:pt x="1012" y="358"/>
                  </a:lnTo>
                  <a:lnTo>
                    <a:pt x="1018" y="358"/>
                  </a:lnTo>
                  <a:lnTo>
                    <a:pt x="1022" y="358"/>
                  </a:lnTo>
                  <a:lnTo>
                    <a:pt x="1026" y="354"/>
                  </a:lnTo>
                  <a:lnTo>
                    <a:pt x="1030" y="342"/>
                  </a:lnTo>
                  <a:lnTo>
                    <a:pt x="1032" y="340"/>
                  </a:lnTo>
                  <a:lnTo>
                    <a:pt x="1034" y="338"/>
                  </a:lnTo>
                  <a:lnTo>
                    <a:pt x="1038" y="336"/>
                  </a:lnTo>
                  <a:lnTo>
                    <a:pt x="1044" y="332"/>
                  </a:lnTo>
                  <a:lnTo>
                    <a:pt x="1048" y="330"/>
                  </a:lnTo>
                  <a:lnTo>
                    <a:pt x="1048" y="330"/>
                  </a:lnTo>
                  <a:lnTo>
                    <a:pt x="1052" y="330"/>
                  </a:lnTo>
                  <a:lnTo>
                    <a:pt x="1056" y="328"/>
                  </a:lnTo>
                  <a:lnTo>
                    <a:pt x="1058" y="326"/>
                  </a:lnTo>
                  <a:lnTo>
                    <a:pt x="1064" y="324"/>
                  </a:lnTo>
                  <a:lnTo>
                    <a:pt x="1068" y="326"/>
                  </a:lnTo>
                  <a:lnTo>
                    <a:pt x="1072" y="324"/>
                  </a:lnTo>
                  <a:lnTo>
                    <a:pt x="1074" y="322"/>
                  </a:lnTo>
                  <a:lnTo>
                    <a:pt x="1076" y="322"/>
                  </a:lnTo>
                  <a:lnTo>
                    <a:pt x="1078" y="322"/>
                  </a:lnTo>
                  <a:lnTo>
                    <a:pt x="1078" y="320"/>
                  </a:lnTo>
                  <a:lnTo>
                    <a:pt x="1080" y="318"/>
                  </a:lnTo>
                  <a:lnTo>
                    <a:pt x="1084" y="314"/>
                  </a:lnTo>
                  <a:lnTo>
                    <a:pt x="1086" y="312"/>
                  </a:lnTo>
                  <a:lnTo>
                    <a:pt x="1086" y="310"/>
                  </a:lnTo>
                  <a:lnTo>
                    <a:pt x="1088" y="308"/>
                  </a:lnTo>
                  <a:lnTo>
                    <a:pt x="1090" y="304"/>
                  </a:lnTo>
                  <a:lnTo>
                    <a:pt x="1096" y="296"/>
                  </a:lnTo>
                  <a:lnTo>
                    <a:pt x="1102" y="292"/>
                  </a:lnTo>
                  <a:lnTo>
                    <a:pt x="1098" y="288"/>
                  </a:lnTo>
                  <a:lnTo>
                    <a:pt x="1084" y="278"/>
                  </a:lnTo>
                  <a:lnTo>
                    <a:pt x="1080" y="272"/>
                  </a:lnTo>
                  <a:lnTo>
                    <a:pt x="1078" y="274"/>
                  </a:lnTo>
                  <a:lnTo>
                    <a:pt x="1074" y="276"/>
                  </a:lnTo>
                  <a:lnTo>
                    <a:pt x="1070" y="270"/>
                  </a:lnTo>
                  <a:lnTo>
                    <a:pt x="1066" y="264"/>
                  </a:lnTo>
                  <a:lnTo>
                    <a:pt x="1056" y="254"/>
                  </a:lnTo>
                  <a:lnTo>
                    <a:pt x="1044" y="244"/>
                  </a:lnTo>
                  <a:lnTo>
                    <a:pt x="1034" y="242"/>
                  </a:lnTo>
                  <a:lnTo>
                    <a:pt x="1030" y="240"/>
                  </a:lnTo>
                  <a:lnTo>
                    <a:pt x="1026" y="236"/>
                  </a:lnTo>
                  <a:lnTo>
                    <a:pt x="1020" y="216"/>
                  </a:lnTo>
                  <a:lnTo>
                    <a:pt x="1012" y="184"/>
                  </a:lnTo>
                  <a:lnTo>
                    <a:pt x="1014" y="168"/>
                  </a:lnTo>
                  <a:lnTo>
                    <a:pt x="1008" y="146"/>
                  </a:lnTo>
                  <a:lnTo>
                    <a:pt x="1008" y="126"/>
                  </a:lnTo>
                  <a:lnTo>
                    <a:pt x="1010" y="116"/>
                  </a:lnTo>
                  <a:lnTo>
                    <a:pt x="1008" y="102"/>
                  </a:lnTo>
                  <a:lnTo>
                    <a:pt x="1006" y="92"/>
                  </a:lnTo>
                  <a:lnTo>
                    <a:pt x="1006" y="86"/>
                  </a:lnTo>
                  <a:lnTo>
                    <a:pt x="1006" y="76"/>
                  </a:lnTo>
                  <a:lnTo>
                    <a:pt x="1010" y="78"/>
                  </a:lnTo>
                  <a:lnTo>
                    <a:pt x="1012" y="82"/>
                  </a:lnTo>
                  <a:lnTo>
                    <a:pt x="1014" y="78"/>
                  </a:lnTo>
                  <a:lnTo>
                    <a:pt x="1012" y="76"/>
                  </a:lnTo>
                  <a:lnTo>
                    <a:pt x="1010" y="70"/>
                  </a:lnTo>
                  <a:lnTo>
                    <a:pt x="1002" y="60"/>
                  </a:lnTo>
                  <a:lnTo>
                    <a:pt x="990" y="42"/>
                  </a:lnTo>
                  <a:lnTo>
                    <a:pt x="988" y="30"/>
                  </a:lnTo>
                  <a:lnTo>
                    <a:pt x="988" y="1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1" name="Freeform 6283">
              <a:extLst>
                <a:ext uri="{FF2B5EF4-FFF2-40B4-BE49-F238E27FC236}">
                  <a16:creationId xmlns:a16="http://schemas.microsoft.com/office/drawing/2014/main" id="{1C61AD2A-ECA0-4131-8139-65D97DEC87E7}"/>
                </a:ext>
              </a:extLst>
            </p:cNvPr>
            <p:cNvSpPr/>
            <p:nvPr/>
          </p:nvSpPr>
          <p:spPr bwMode="auto">
            <a:xfrm>
              <a:off x="5908988" y="5097977"/>
              <a:ext cx="280599" cy="223554"/>
            </a:xfrm>
            <a:custGeom>
              <a:avLst/>
              <a:gdLst>
                <a:gd name="T0" fmla="*/ 636 w 728"/>
                <a:gd name="T1" fmla="*/ 182 h 580"/>
                <a:gd name="T2" fmla="*/ 642 w 728"/>
                <a:gd name="T3" fmla="*/ 160 h 580"/>
                <a:gd name="T4" fmla="*/ 642 w 728"/>
                <a:gd name="T5" fmla="*/ 150 h 580"/>
                <a:gd name="T6" fmla="*/ 610 w 728"/>
                <a:gd name="T7" fmla="*/ 112 h 580"/>
                <a:gd name="T8" fmla="*/ 588 w 728"/>
                <a:gd name="T9" fmla="*/ 100 h 580"/>
                <a:gd name="T10" fmla="*/ 590 w 728"/>
                <a:gd name="T11" fmla="*/ 94 h 580"/>
                <a:gd name="T12" fmla="*/ 586 w 728"/>
                <a:gd name="T13" fmla="*/ 40 h 580"/>
                <a:gd name="T14" fmla="*/ 592 w 728"/>
                <a:gd name="T15" fmla="*/ 6 h 580"/>
                <a:gd name="T16" fmla="*/ 562 w 728"/>
                <a:gd name="T17" fmla="*/ 2 h 580"/>
                <a:gd name="T18" fmla="*/ 562 w 728"/>
                <a:gd name="T19" fmla="*/ 12 h 580"/>
                <a:gd name="T20" fmla="*/ 536 w 728"/>
                <a:gd name="T21" fmla="*/ 34 h 580"/>
                <a:gd name="T22" fmla="*/ 536 w 728"/>
                <a:gd name="T23" fmla="*/ 62 h 580"/>
                <a:gd name="T24" fmla="*/ 510 w 728"/>
                <a:gd name="T25" fmla="*/ 106 h 580"/>
                <a:gd name="T26" fmla="*/ 492 w 728"/>
                <a:gd name="T27" fmla="*/ 134 h 580"/>
                <a:gd name="T28" fmla="*/ 436 w 728"/>
                <a:gd name="T29" fmla="*/ 166 h 580"/>
                <a:gd name="T30" fmla="*/ 432 w 728"/>
                <a:gd name="T31" fmla="*/ 166 h 580"/>
                <a:gd name="T32" fmla="*/ 360 w 728"/>
                <a:gd name="T33" fmla="*/ 144 h 580"/>
                <a:gd name="T34" fmla="*/ 332 w 728"/>
                <a:gd name="T35" fmla="*/ 168 h 580"/>
                <a:gd name="T36" fmla="*/ 306 w 728"/>
                <a:gd name="T37" fmla="*/ 190 h 580"/>
                <a:gd name="T38" fmla="*/ 244 w 728"/>
                <a:gd name="T39" fmla="*/ 176 h 580"/>
                <a:gd name="T40" fmla="*/ 164 w 728"/>
                <a:gd name="T41" fmla="*/ 184 h 580"/>
                <a:gd name="T42" fmla="*/ 120 w 728"/>
                <a:gd name="T43" fmla="*/ 142 h 580"/>
                <a:gd name="T44" fmla="*/ 112 w 728"/>
                <a:gd name="T45" fmla="*/ 122 h 580"/>
                <a:gd name="T46" fmla="*/ 60 w 728"/>
                <a:gd name="T47" fmla="*/ 130 h 580"/>
                <a:gd name="T48" fmla="*/ 52 w 728"/>
                <a:gd name="T49" fmla="*/ 150 h 580"/>
                <a:gd name="T50" fmla="*/ 40 w 728"/>
                <a:gd name="T51" fmla="*/ 184 h 580"/>
                <a:gd name="T52" fmla="*/ 32 w 728"/>
                <a:gd name="T53" fmla="*/ 204 h 580"/>
                <a:gd name="T54" fmla="*/ 10 w 728"/>
                <a:gd name="T55" fmla="*/ 228 h 580"/>
                <a:gd name="T56" fmla="*/ 4 w 728"/>
                <a:gd name="T57" fmla="*/ 242 h 580"/>
                <a:gd name="T58" fmla="*/ 20 w 728"/>
                <a:gd name="T59" fmla="*/ 266 h 580"/>
                <a:gd name="T60" fmla="*/ 72 w 728"/>
                <a:gd name="T61" fmla="*/ 300 h 580"/>
                <a:gd name="T62" fmla="*/ 80 w 728"/>
                <a:gd name="T63" fmla="*/ 326 h 580"/>
                <a:gd name="T64" fmla="*/ 132 w 728"/>
                <a:gd name="T65" fmla="*/ 362 h 580"/>
                <a:gd name="T66" fmla="*/ 144 w 728"/>
                <a:gd name="T67" fmla="*/ 392 h 580"/>
                <a:gd name="T68" fmla="*/ 168 w 728"/>
                <a:gd name="T69" fmla="*/ 414 h 580"/>
                <a:gd name="T70" fmla="*/ 198 w 728"/>
                <a:gd name="T71" fmla="*/ 436 h 580"/>
                <a:gd name="T72" fmla="*/ 208 w 728"/>
                <a:gd name="T73" fmla="*/ 468 h 580"/>
                <a:gd name="T74" fmla="*/ 234 w 728"/>
                <a:gd name="T75" fmla="*/ 494 h 580"/>
                <a:gd name="T76" fmla="*/ 250 w 728"/>
                <a:gd name="T77" fmla="*/ 510 h 580"/>
                <a:gd name="T78" fmla="*/ 272 w 728"/>
                <a:gd name="T79" fmla="*/ 524 h 580"/>
                <a:gd name="T80" fmla="*/ 300 w 728"/>
                <a:gd name="T81" fmla="*/ 512 h 580"/>
                <a:gd name="T82" fmla="*/ 342 w 728"/>
                <a:gd name="T83" fmla="*/ 514 h 580"/>
                <a:gd name="T84" fmla="*/ 374 w 728"/>
                <a:gd name="T85" fmla="*/ 524 h 580"/>
                <a:gd name="T86" fmla="*/ 416 w 728"/>
                <a:gd name="T87" fmla="*/ 556 h 580"/>
                <a:gd name="T88" fmla="*/ 426 w 728"/>
                <a:gd name="T89" fmla="*/ 570 h 580"/>
                <a:gd name="T90" fmla="*/ 438 w 728"/>
                <a:gd name="T91" fmla="*/ 580 h 580"/>
                <a:gd name="T92" fmla="*/ 462 w 728"/>
                <a:gd name="T93" fmla="*/ 560 h 580"/>
                <a:gd name="T94" fmla="*/ 500 w 728"/>
                <a:gd name="T95" fmla="*/ 558 h 580"/>
                <a:gd name="T96" fmla="*/ 520 w 728"/>
                <a:gd name="T97" fmla="*/ 576 h 580"/>
                <a:gd name="T98" fmla="*/ 536 w 728"/>
                <a:gd name="T99" fmla="*/ 566 h 580"/>
                <a:gd name="T100" fmla="*/ 580 w 728"/>
                <a:gd name="T101" fmla="*/ 554 h 580"/>
                <a:gd name="T102" fmla="*/ 616 w 728"/>
                <a:gd name="T103" fmla="*/ 558 h 580"/>
                <a:gd name="T104" fmla="*/ 728 w 728"/>
                <a:gd name="T105" fmla="*/ 448 h 580"/>
                <a:gd name="T106" fmla="*/ 710 w 728"/>
                <a:gd name="T107" fmla="*/ 424 h 580"/>
                <a:gd name="T108" fmla="*/ 692 w 728"/>
                <a:gd name="T109" fmla="*/ 370 h 580"/>
                <a:gd name="T110" fmla="*/ 658 w 728"/>
                <a:gd name="T111" fmla="*/ 342 h 580"/>
                <a:gd name="T112" fmla="*/ 638 w 728"/>
                <a:gd name="T113" fmla="*/ 314 h 580"/>
                <a:gd name="T114" fmla="*/ 594 w 728"/>
                <a:gd name="T115" fmla="*/ 298 h 580"/>
                <a:gd name="T116" fmla="*/ 584 w 728"/>
                <a:gd name="T117" fmla="*/ 280 h 580"/>
                <a:gd name="T118" fmla="*/ 616 w 728"/>
                <a:gd name="T119" fmla="*/ 252 h 580"/>
                <a:gd name="T120" fmla="*/ 650 w 728"/>
                <a:gd name="T121" fmla="*/ 246 h 580"/>
                <a:gd name="T122" fmla="*/ 650 w 728"/>
                <a:gd name="T123" fmla="*/ 202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28" h="580">
                  <a:moveTo>
                    <a:pt x="650" y="186"/>
                  </a:moveTo>
                  <a:lnTo>
                    <a:pt x="638" y="186"/>
                  </a:lnTo>
                  <a:lnTo>
                    <a:pt x="638" y="186"/>
                  </a:lnTo>
                  <a:lnTo>
                    <a:pt x="638" y="184"/>
                  </a:lnTo>
                  <a:lnTo>
                    <a:pt x="636" y="182"/>
                  </a:lnTo>
                  <a:lnTo>
                    <a:pt x="636" y="180"/>
                  </a:lnTo>
                  <a:lnTo>
                    <a:pt x="636" y="174"/>
                  </a:lnTo>
                  <a:lnTo>
                    <a:pt x="638" y="168"/>
                  </a:lnTo>
                  <a:lnTo>
                    <a:pt x="642" y="160"/>
                  </a:lnTo>
                  <a:lnTo>
                    <a:pt x="642" y="160"/>
                  </a:lnTo>
                  <a:lnTo>
                    <a:pt x="642" y="158"/>
                  </a:lnTo>
                  <a:lnTo>
                    <a:pt x="642" y="156"/>
                  </a:lnTo>
                  <a:lnTo>
                    <a:pt x="642" y="156"/>
                  </a:lnTo>
                  <a:lnTo>
                    <a:pt x="642" y="154"/>
                  </a:lnTo>
                  <a:lnTo>
                    <a:pt x="642" y="150"/>
                  </a:lnTo>
                  <a:lnTo>
                    <a:pt x="642" y="146"/>
                  </a:lnTo>
                  <a:lnTo>
                    <a:pt x="642" y="144"/>
                  </a:lnTo>
                  <a:lnTo>
                    <a:pt x="640" y="138"/>
                  </a:lnTo>
                  <a:lnTo>
                    <a:pt x="638" y="136"/>
                  </a:lnTo>
                  <a:lnTo>
                    <a:pt x="610" y="112"/>
                  </a:lnTo>
                  <a:lnTo>
                    <a:pt x="604" y="106"/>
                  </a:lnTo>
                  <a:lnTo>
                    <a:pt x="604" y="106"/>
                  </a:lnTo>
                  <a:lnTo>
                    <a:pt x="604" y="106"/>
                  </a:lnTo>
                  <a:lnTo>
                    <a:pt x="588" y="100"/>
                  </a:lnTo>
                  <a:lnTo>
                    <a:pt x="588" y="100"/>
                  </a:lnTo>
                  <a:lnTo>
                    <a:pt x="588" y="100"/>
                  </a:lnTo>
                  <a:lnTo>
                    <a:pt x="588" y="98"/>
                  </a:lnTo>
                  <a:lnTo>
                    <a:pt x="590" y="96"/>
                  </a:lnTo>
                  <a:lnTo>
                    <a:pt x="590" y="94"/>
                  </a:lnTo>
                  <a:lnTo>
                    <a:pt x="590" y="94"/>
                  </a:lnTo>
                  <a:lnTo>
                    <a:pt x="584" y="44"/>
                  </a:lnTo>
                  <a:lnTo>
                    <a:pt x="584" y="42"/>
                  </a:lnTo>
                  <a:lnTo>
                    <a:pt x="584" y="42"/>
                  </a:lnTo>
                  <a:lnTo>
                    <a:pt x="584" y="42"/>
                  </a:lnTo>
                  <a:lnTo>
                    <a:pt x="586" y="40"/>
                  </a:lnTo>
                  <a:lnTo>
                    <a:pt x="588" y="38"/>
                  </a:lnTo>
                  <a:lnTo>
                    <a:pt x="588" y="36"/>
                  </a:lnTo>
                  <a:lnTo>
                    <a:pt x="588" y="28"/>
                  </a:lnTo>
                  <a:lnTo>
                    <a:pt x="588" y="20"/>
                  </a:lnTo>
                  <a:lnTo>
                    <a:pt x="592" y="6"/>
                  </a:lnTo>
                  <a:lnTo>
                    <a:pt x="592" y="2"/>
                  </a:lnTo>
                  <a:lnTo>
                    <a:pt x="562" y="0"/>
                  </a:lnTo>
                  <a:lnTo>
                    <a:pt x="560" y="2"/>
                  </a:lnTo>
                  <a:lnTo>
                    <a:pt x="560" y="2"/>
                  </a:lnTo>
                  <a:lnTo>
                    <a:pt x="562" y="2"/>
                  </a:lnTo>
                  <a:lnTo>
                    <a:pt x="562" y="4"/>
                  </a:lnTo>
                  <a:lnTo>
                    <a:pt x="560" y="6"/>
                  </a:lnTo>
                  <a:lnTo>
                    <a:pt x="560" y="6"/>
                  </a:lnTo>
                  <a:lnTo>
                    <a:pt x="562" y="10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2" y="14"/>
                  </a:lnTo>
                  <a:lnTo>
                    <a:pt x="562" y="16"/>
                  </a:lnTo>
                  <a:lnTo>
                    <a:pt x="518" y="16"/>
                  </a:lnTo>
                  <a:lnTo>
                    <a:pt x="536" y="34"/>
                  </a:lnTo>
                  <a:lnTo>
                    <a:pt x="536" y="36"/>
                  </a:lnTo>
                  <a:lnTo>
                    <a:pt x="536" y="38"/>
                  </a:lnTo>
                  <a:lnTo>
                    <a:pt x="536" y="44"/>
                  </a:lnTo>
                  <a:lnTo>
                    <a:pt x="536" y="54"/>
                  </a:lnTo>
                  <a:lnTo>
                    <a:pt x="536" y="62"/>
                  </a:lnTo>
                  <a:lnTo>
                    <a:pt x="538" y="66"/>
                  </a:lnTo>
                  <a:lnTo>
                    <a:pt x="542" y="76"/>
                  </a:lnTo>
                  <a:lnTo>
                    <a:pt x="542" y="78"/>
                  </a:lnTo>
                  <a:lnTo>
                    <a:pt x="540" y="80"/>
                  </a:lnTo>
                  <a:lnTo>
                    <a:pt x="510" y="106"/>
                  </a:lnTo>
                  <a:lnTo>
                    <a:pt x="508" y="106"/>
                  </a:lnTo>
                  <a:lnTo>
                    <a:pt x="504" y="118"/>
                  </a:lnTo>
                  <a:lnTo>
                    <a:pt x="500" y="124"/>
                  </a:lnTo>
                  <a:lnTo>
                    <a:pt x="498" y="126"/>
                  </a:lnTo>
                  <a:lnTo>
                    <a:pt x="492" y="134"/>
                  </a:lnTo>
                  <a:lnTo>
                    <a:pt x="464" y="162"/>
                  </a:lnTo>
                  <a:lnTo>
                    <a:pt x="458" y="164"/>
                  </a:lnTo>
                  <a:lnTo>
                    <a:pt x="444" y="166"/>
                  </a:lnTo>
                  <a:lnTo>
                    <a:pt x="436" y="166"/>
                  </a:lnTo>
                  <a:lnTo>
                    <a:pt x="436" y="166"/>
                  </a:lnTo>
                  <a:lnTo>
                    <a:pt x="434" y="166"/>
                  </a:lnTo>
                  <a:lnTo>
                    <a:pt x="434" y="168"/>
                  </a:lnTo>
                  <a:lnTo>
                    <a:pt x="434" y="168"/>
                  </a:lnTo>
                  <a:lnTo>
                    <a:pt x="432" y="168"/>
                  </a:lnTo>
                  <a:lnTo>
                    <a:pt x="432" y="166"/>
                  </a:lnTo>
                  <a:lnTo>
                    <a:pt x="414" y="150"/>
                  </a:lnTo>
                  <a:lnTo>
                    <a:pt x="382" y="132"/>
                  </a:lnTo>
                  <a:lnTo>
                    <a:pt x="380" y="132"/>
                  </a:lnTo>
                  <a:lnTo>
                    <a:pt x="362" y="142"/>
                  </a:lnTo>
                  <a:lnTo>
                    <a:pt x="360" y="144"/>
                  </a:lnTo>
                  <a:lnTo>
                    <a:pt x="358" y="146"/>
                  </a:lnTo>
                  <a:lnTo>
                    <a:pt x="358" y="154"/>
                  </a:lnTo>
                  <a:lnTo>
                    <a:pt x="354" y="160"/>
                  </a:lnTo>
                  <a:lnTo>
                    <a:pt x="348" y="164"/>
                  </a:lnTo>
                  <a:lnTo>
                    <a:pt x="332" y="168"/>
                  </a:lnTo>
                  <a:lnTo>
                    <a:pt x="326" y="172"/>
                  </a:lnTo>
                  <a:lnTo>
                    <a:pt x="318" y="176"/>
                  </a:lnTo>
                  <a:lnTo>
                    <a:pt x="316" y="176"/>
                  </a:lnTo>
                  <a:lnTo>
                    <a:pt x="306" y="186"/>
                  </a:lnTo>
                  <a:lnTo>
                    <a:pt x="306" y="190"/>
                  </a:lnTo>
                  <a:lnTo>
                    <a:pt x="306" y="194"/>
                  </a:lnTo>
                  <a:lnTo>
                    <a:pt x="254" y="194"/>
                  </a:lnTo>
                  <a:lnTo>
                    <a:pt x="252" y="190"/>
                  </a:lnTo>
                  <a:lnTo>
                    <a:pt x="244" y="176"/>
                  </a:lnTo>
                  <a:lnTo>
                    <a:pt x="244" y="176"/>
                  </a:lnTo>
                  <a:lnTo>
                    <a:pt x="238" y="178"/>
                  </a:lnTo>
                  <a:lnTo>
                    <a:pt x="190" y="176"/>
                  </a:lnTo>
                  <a:lnTo>
                    <a:pt x="184" y="176"/>
                  </a:lnTo>
                  <a:lnTo>
                    <a:pt x="170" y="182"/>
                  </a:lnTo>
                  <a:lnTo>
                    <a:pt x="164" y="184"/>
                  </a:lnTo>
                  <a:lnTo>
                    <a:pt x="156" y="182"/>
                  </a:lnTo>
                  <a:lnTo>
                    <a:pt x="132" y="152"/>
                  </a:lnTo>
                  <a:lnTo>
                    <a:pt x="126" y="148"/>
                  </a:lnTo>
                  <a:lnTo>
                    <a:pt x="124" y="146"/>
                  </a:lnTo>
                  <a:lnTo>
                    <a:pt x="120" y="142"/>
                  </a:lnTo>
                  <a:lnTo>
                    <a:pt x="116" y="138"/>
                  </a:lnTo>
                  <a:lnTo>
                    <a:pt x="114" y="136"/>
                  </a:lnTo>
                  <a:lnTo>
                    <a:pt x="112" y="132"/>
                  </a:lnTo>
                  <a:lnTo>
                    <a:pt x="114" y="126"/>
                  </a:lnTo>
                  <a:lnTo>
                    <a:pt x="112" y="122"/>
                  </a:lnTo>
                  <a:lnTo>
                    <a:pt x="108" y="122"/>
                  </a:lnTo>
                  <a:lnTo>
                    <a:pt x="74" y="128"/>
                  </a:lnTo>
                  <a:lnTo>
                    <a:pt x="68" y="128"/>
                  </a:lnTo>
                  <a:lnTo>
                    <a:pt x="62" y="128"/>
                  </a:lnTo>
                  <a:lnTo>
                    <a:pt x="60" y="130"/>
                  </a:lnTo>
                  <a:lnTo>
                    <a:pt x="56" y="134"/>
                  </a:lnTo>
                  <a:lnTo>
                    <a:pt x="56" y="138"/>
                  </a:lnTo>
                  <a:lnTo>
                    <a:pt x="56" y="142"/>
                  </a:lnTo>
                  <a:lnTo>
                    <a:pt x="56" y="146"/>
                  </a:lnTo>
                  <a:lnTo>
                    <a:pt x="52" y="150"/>
                  </a:lnTo>
                  <a:lnTo>
                    <a:pt x="44" y="160"/>
                  </a:lnTo>
                  <a:lnTo>
                    <a:pt x="40" y="164"/>
                  </a:lnTo>
                  <a:lnTo>
                    <a:pt x="42" y="176"/>
                  </a:lnTo>
                  <a:lnTo>
                    <a:pt x="40" y="180"/>
                  </a:lnTo>
                  <a:lnTo>
                    <a:pt x="40" y="184"/>
                  </a:lnTo>
                  <a:lnTo>
                    <a:pt x="36" y="188"/>
                  </a:lnTo>
                  <a:lnTo>
                    <a:pt x="34" y="190"/>
                  </a:lnTo>
                  <a:lnTo>
                    <a:pt x="32" y="194"/>
                  </a:lnTo>
                  <a:lnTo>
                    <a:pt x="32" y="200"/>
                  </a:lnTo>
                  <a:lnTo>
                    <a:pt x="32" y="204"/>
                  </a:lnTo>
                  <a:lnTo>
                    <a:pt x="26" y="212"/>
                  </a:lnTo>
                  <a:lnTo>
                    <a:pt x="26" y="216"/>
                  </a:lnTo>
                  <a:lnTo>
                    <a:pt x="26" y="222"/>
                  </a:lnTo>
                  <a:lnTo>
                    <a:pt x="24" y="224"/>
                  </a:lnTo>
                  <a:lnTo>
                    <a:pt x="10" y="228"/>
                  </a:lnTo>
                  <a:lnTo>
                    <a:pt x="4" y="232"/>
                  </a:lnTo>
                  <a:lnTo>
                    <a:pt x="0" y="236"/>
                  </a:lnTo>
                  <a:lnTo>
                    <a:pt x="0" y="238"/>
                  </a:lnTo>
                  <a:lnTo>
                    <a:pt x="2" y="238"/>
                  </a:lnTo>
                  <a:lnTo>
                    <a:pt x="4" y="242"/>
                  </a:lnTo>
                  <a:lnTo>
                    <a:pt x="2" y="252"/>
                  </a:lnTo>
                  <a:lnTo>
                    <a:pt x="4" y="258"/>
                  </a:lnTo>
                  <a:lnTo>
                    <a:pt x="8" y="264"/>
                  </a:lnTo>
                  <a:lnTo>
                    <a:pt x="14" y="266"/>
                  </a:lnTo>
                  <a:lnTo>
                    <a:pt x="20" y="266"/>
                  </a:lnTo>
                  <a:lnTo>
                    <a:pt x="38" y="270"/>
                  </a:lnTo>
                  <a:lnTo>
                    <a:pt x="46" y="274"/>
                  </a:lnTo>
                  <a:lnTo>
                    <a:pt x="56" y="284"/>
                  </a:lnTo>
                  <a:lnTo>
                    <a:pt x="68" y="296"/>
                  </a:lnTo>
                  <a:lnTo>
                    <a:pt x="72" y="300"/>
                  </a:lnTo>
                  <a:lnTo>
                    <a:pt x="70" y="306"/>
                  </a:lnTo>
                  <a:lnTo>
                    <a:pt x="66" y="312"/>
                  </a:lnTo>
                  <a:lnTo>
                    <a:pt x="68" y="314"/>
                  </a:lnTo>
                  <a:lnTo>
                    <a:pt x="74" y="320"/>
                  </a:lnTo>
                  <a:lnTo>
                    <a:pt x="80" y="326"/>
                  </a:lnTo>
                  <a:lnTo>
                    <a:pt x="92" y="334"/>
                  </a:lnTo>
                  <a:lnTo>
                    <a:pt x="114" y="344"/>
                  </a:lnTo>
                  <a:lnTo>
                    <a:pt x="124" y="352"/>
                  </a:lnTo>
                  <a:lnTo>
                    <a:pt x="126" y="358"/>
                  </a:lnTo>
                  <a:lnTo>
                    <a:pt x="132" y="362"/>
                  </a:lnTo>
                  <a:lnTo>
                    <a:pt x="140" y="368"/>
                  </a:lnTo>
                  <a:lnTo>
                    <a:pt x="144" y="372"/>
                  </a:lnTo>
                  <a:lnTo>
                    <a:pt x="140" y="384"/>
                  </a:lnTo>
                  <a:lnTo>
                    <a:pt x="142" y="388"/>
                  </a:lnTo>
                  <a:lnTo>
                    <a:pt x="144" y="392"/>
                  </a:lnTo>
                  <a:lnTo>
                    <a:pt x="148" y="396"/>
                  </a:lnTo>
                  <a:lnTo>
                    <a:pt x="150" y="402"/>
                  </a:lnTo>
                  <a:lnTo>
                    <a:pt x="154" y="410"/>
                  </a:lnTo>
                  <a:lnTo>
                    <a:pt x="160" y="414"/>
                  </a:lnTo>
                  <a:lnTo>
                    <a:pt x="168" y="414"/>
                  </a:lnTo>
                  <a:lnTo>
                    <a:pt x="172" y="418"/>
                  </a:lnTo>
                  <a:lnTo>
                    <a:pt x="182" y="424"/>
                  </a:lnTo>
                  <a:lnTo>
                    <a:pt x="192" y="430"/>
                  </a:lnTo>
                  <a:lnTo>
                    <a:pt x="196" y="432"/>
                  </a:lnTo>
                  <a:lnTo>
                    <a:pt x="198" y="436"/>
                  </a:lnTo>
                  <a:lnTo>
                    <a:pt x="200" y="440"/>
                  </a:lnTo>
                  <a:lnTo>
                    <a:pt x="202" y="444"/>
                  </a:lnTo>
                  <a:lnTo>
                    <a:pt x="202" y="452"/>
                  </a:lnTo>
                  <a:lnTo>
                    <a:pt x="204" y="462"/>
                  </a:lnTo>
                  <a:lnTo>
                    <a:pt x="208" y="468"/>
                  </a:lnTo>
                  <a:lnTo>
                    <a:pt x="212" y="474"/>
                  </a:lnTo>
                  <a:lnTo>
                    <a:pt x="214" y="478"/>
                  </a:lnTo>
                  <a:lnTo>
                    <a:pt x="218" y="482"/>
                  </a:lnTo>
                  <a:lnTo>
                    <a:pt x="230" y="490"/>
                  </a:lnTo>
                  <a:lnTo>
                    <a:pt x="234" y="494"/>
                  </a:lnTo>
                  <a:lnTo>
                    <a:pt x="236" y="500"/>
                  </a:lnTo>
                  <a:lnTo>
                    <a:pt x="238" y="504"/>
                  </a:lnTo>
                  <a:lnTo>
                    <a:pt x="242" y="506"/>
                  </a:lnTo>
                  <a:lnTo>
                    <a:pt x="246" y="508"/>
                  </a:lnTo>
                  <a:lnTo>
                    <a:pt x="250" y="510"/>
                  </a:lnTo>
                  <a:lnTo>
                    <a:pt x="254" y="514"/>
                  </a:lnTo>
                  <a:lnTo>
                    <a:pt x="256" y="518"/>
                  </a:lnTo>
                  <a:lnTo>
                    <a:pt x="264" y="524"/>
                  </a:lnTo>
                  <a:lnTo>
                    <a:pt x="268" y="524"/>
                  </a:lnTo>
                  <a:lnTo>
                    <a:pt x="272" y="524"/>
                  </a:lnTo>
                  <a:lnTo>
                    <a:pt x="276" y="526"/>
                  </a:lnTo>
                  <a:lnTo>
                    <a:pt x="280" y="524"/>
                  </a:lnTo>
                  <a:lnTo>
                    <a:pt x="286" y="522"/>
                  </a:lnTo>
                  <a:lnTo>
                    <a:pt x="294" y="516"/>
                  </a:lnTo>
                  <a:lnTo>
                    <a:pt x="300" y="512"/>
                  </a:lnTo>
                  <a:lnTo>
                    <a:pt x="314" y="514"/>
                  </a:lnTo>
                  <a:lnTo>
                    <a:pt x="322" y="516"/>
                  </a:lnTo>
                  <a:lnTo>
                    <a:pt x="328" y="520"/>
                  </a:lnTo>
                  <a:lnTo>
                    <a:pt x="332" y="520"/>
                  </a:lnTo>
                  <a:lnTo>
                    <a:pt x="342" y="514"/>
                  </a:lnTo>
                  <a:lnTo>
                    <a:pt x="348" y="506"/>
                  </a:lnTo>
                  <a:lnTo>
                    <a:pt x="354" y="504"/>
                  </a:lnTo>
                  <a:lnTo>
                    <a:pt x="362" y="508"/>
                  </a:lnTo>
                  <a:lnTo>
                    <a:pt x="368" y="514"/>
                  </a:lnTo>
                  <a:lnTo>
                    <a:pt x="374" y="524"/>
                  </a:lnTo>
                  <a:lnTo>
                    <a:pt x="378" y="528"/>
                  </a:lnTo>
                  <a:lnTo>
                    <a:pt x="384" y="534"/>
                  </a:lnTo>
                  <a:lnTo>
                    <a:pt x="396" y="548"/>
                  </a:lnTo>
                  <a:lnTo>
                    <a:pt x="410" y="554"/>
                  </a:lnTo>
                  <a:lnTo>
                    <a:pt x="416" y="556"/>
                  </a:lnTo>
                  <a:lnTo>
                    <a:pt x="418" y="560"/>
                  </a:lnTo>
                  <a:lnTo>
                    <a:pt x="420" y="564"/>
                  </a:lnTo>
                  <a:lnTo>
                    <a:pt x="420" y="568"/>
                  </a:lnTo>
                  <a:lnTo>
                    <a:pt x="422" y="570"/>
                  </a:lnTo>
                  <a:lnTo>
                    <a:pt x="426" y="570"/>
                  </a:lnTo>
                  <a:lnTo>
                    <a:pt x="428" y="570"/>
                  </a:lnTo>
                  <a:lnTo>
                    <a:pt x="432" y="570"/>
                  </a:lnTo>
                  <a:lnTo>
                    <a:pt x="436" y="574"/>
                  </a:lnTo>
                  <a:lnTo>
                    <a:pt x="436" y="576"/>
                  </a:lnTo>
                  <a:lnTo>
                    <a:pt x="438" y="580"/>
                  </a:lnTo>
                  <a:lnTo>
                    <a:pt x="440" y="576"/>
                  </a:lnTo>
                  <a:lnTo>
                    <a:pt x="444" y="570"/>
                  </a:lnTo>
                  <a:lnTo>
                    <a:pt x="452" y="564"/>
                  </a:lnTo>
                  <a:lnTo>
                    <a:pt x="458" y="560"/>
                  </a:lnTo>
                  <a:lnTo>
                    <a:pt x="462" y="560"/>
                  </a:lnTo>
                  <a:lnTo>
                    <a:pt x="472" y="564"/>
                  </a:lnTo>
                  <a:lnTo>
                    <a:pt x="480" y="568"/>
                  </a:lnTo>
                  <a:lnTo>
                    <a:pt x="484" y="568"/>
                  </a:lnTo>
                  <a:lnTo>
                    <a:pt x="490" y="566"/>
                  </a:lnTo>
                  <a:lnTo>
                    <a:pt x="500" y="558"/>
                  </a:lnTo>
                  <a:lnTo>
                    <a:pt x="504" y="562"/>
                  </a:lnTo>
                  <a:lnTo>
                    <a:pt x="506" y="566"/>
                  </a:lnTo>
                  <a:lnTo>
                    <a:pt x="510" y="572"/>
                  </a:lnTo>
                  <a:lnTo>
                    <a:pt x="518" y="574"/>
                  </a:lnTo>
                  <a:lnTo>
                    <a:pt x="520" y="576"/>
                  </a:lnTo>
                  <a:lnTo>
                    <a:pt x="522" y="578"/>
                  </a:lnTo>
                  <a:lnTo>
                    <a:pt x="524" y="576"/>
                  </a:lnTo>
                  <a:lnTo>
                    <a:pt x="526" y="572"/>
                  </a:lnTo>
                  <a:lnTo>
                    <a:pt x="530" y="568"/>
                  </a:lnTo>
                  <a:lnTo>
                    <a:pt x="536" y="566"/>
                  </a:lnTo>
                  <a:lnTo>
                    <a:pt x="550" y="562"/>
                  </a:lnTo>
                  <a:lnTo>
                    <a:pt x="558" y="562"/>
                  </a:lnTo>
                  <a:lnTo>
                    <a:pt x="562" y="562"/>
                  </a:lnTo>
                  <a:lnTo>
                    <a:pt x="568" y="560"/>
                  </a:lnTo>
                  <a:lnTo>
                    <a:pt x="580" y="554"/>
                  </a:lnTo>
                  <a:lnTo>
                    <a:pt x="590" y="562"/>
                  </a:lnTo>
                  <a:lnTo>
                    <a:pt x="600" y="562"/>
                  </a:lnTo>
                  <a:lnTo>
                    <a:pt x="612" y="562"/>
                  </a:lnTo>
                  <a:lnTo>
                    <a:pt x="614" y="560"/>
                  </a:lnTo>
                  <a:lnTo>
                    <a:pt x="616" y="558"/>
                  </a:lnTo>
                  <a:lnTo>
                    <a:pt x="670" y="506"/>
                  </a:lnTo>
                  <a:lnTo>
                    <a:pt x="688" y="488"/>
                  </a:lnTo>
                  <a:lnTo>
                    <a:pt x="702" y="474"/>
                  </a:lnTo>
                  <a:lnTo>
                    <a:pt x="716" y="460"/>
                  </a:lnTo>
                  <a:lnTo>
                    <a:pt x="728" y="448"/>
                  </a:lnTo>
                  <a:lnTo>
                    <a:pt x="728" y="446"/>
                  </a:lnTo>
                  <a:lnTo>
                    <a:pt x="722" y="442"/>
                  </a:lnTo>
                  <a:lnTo>
                    <a:pt x="716" y="436"/>
                  </a:lnTo>
                  <a:lnTo>
                    <a:pt x="712" y="430"/>
                  </a:lnTo>
                  <a:lnTo>
                    <a:pt x="710" y="424"/>
                  </a:lnTo>
                  <a:lnTo>
                    <a:pt x="708" y="412"/>
                  </a:lnTo>
                  <a:lnTo>
                    <a:pt x="704" y="404"/>
                  </a:lnTo>
                  <a:lnTo>
                    <a:pt x="700" y="394"/>
                  </a:lnTo>
                  <a:lnTo>
                    <a:pt x="694" y="376"/>
                  </a:lnTo>
                  <a:lnTo>
                    <a:pt x="692" y="370"/>
                  </a:lnTo>
                  <a:lnTo>
                    <a:pt x="688" y="366"/>
                  </a:lnTo>
                  <a:lnTo>
                    <a:pt x="682" y="362"/>
                  </a:lnTo>
                  <a:lnTo>
                    <a:pt x="676" y="356"/>
                  </a:lnTo>
                  <a:lnTo>
                    <a:pt x="664" y="348"/>
                  </a:lnTo>
                  <a:lnTo>
                    <a:pt x="658" y="342"/>
                  </a:lnTo>
                  <a:lnTo>
                    <a:pt x="650" y="334"/>
                  </a:lnTo>
                  <a:lnTo>
                    <a:pt x="648" y="328"/>
                  </a:lnTo>
                  <a:lnTo>
                    <a:pt x="646" y="324"/>
                  </a:lnTo>
                  <a:lnTo>
                    <a:pt x="644" y="320"/>
                  </a:lnTo>
                  <a:lnTo>
                    <a:pt x="638" y="314"/>
                  </a:lnTo>
                  <a:lnTo>
                    <a:pt x="624" y="304"/>
                  </a:lnTo>
                  <a:lnTo>
                    <a:pt x="618" y="302"/>
                  </a:lnTo>
                  <a:lnTo>
                    <a:pt x="614" y="302"/>
                  </a:lnTo>
                  <a:lnTo>
                    <a:pt x="606" y="300"/>
                  </a:lnTo>
                  <a:lnTo>
                    <a:pt x="594" y="298"/>
                  </a:lnTo>
                  <a:lnTo>
                    <a:pt x="584" y="294"/>
                  </a:lnTo>
                  <a:lnTo>
                    <a:pt x="580" y="292"/>
                  </a:lnTo>
                  <a:lnTo>
                    <a:pt x="580" y="288"/>
                  </a:lnTo>
                  <a:lnTo>
                    <a:pt x="580" y="286"/>
                  </a:lnTo>
                  <a:lnTo>
                    <a:pt x="584" y="280"/>
                  </a:lnTo>
                  <a:lnTo>
                    <a:pt x="590" y="266"/>
                  </a:lnTo>
                  <a:lnTo>
                    <a:pt x="594" y="256"/>
                  </a:lnTo>
                  <a:lnTo>
                    <a:pt x="598" y="254"/>
                  </a:lnTo>
                  <a:lnTo>
                    <a:pt x="606" y="252"/>
                  </a:lnTo>
                  <a:lnTo>
                    <a:pt x="616" y="252"/>
                  </a:lnTo>
                  <a:lnTo>
                    <a:pt x="622" y="254"/>
                  </a:lnTo>
                  <a:lnTo>
                    <a:pt x="632" y="254"/>
                  </a:lnTo>
                  <a:lnTo>
                    <a:pt x="642" y="252"/>
                  </a:lnTo>
                  <a:lnTo>
                    <a:pt x="646" y="250"/>
                  </a:lnTo>
                  <a:lnTo>
                    <a:pt x="650" y="246"/>
                  </a:lnTo>
                  <a:lnTo>
                    <a:pt x="652" y="244"/>
                  </a:lnTo>
                  <a:lnTo>
                    <a:pt x="652" y="238"/>
                  </a:lnTo>
                  <a:lnTo>
                    <a:pt x="652" y="232"/>
                  </a:lnTo>
                  <a:lnTo>
                    <a:pt x="650" y="214"/>
                  </a:lnTo>
                  <a:lnTo>
                    <a:pt x="650" y="202"/>
                  </a:lnTo>
                  <a:lnTo>
                    <a:pt x="650" y="188"/>
                  </a:lnTo>
                  <a:lnTo>
                    <a:pt x="650" y="18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2" name="Freeform 6287">
              <a:extLst>
                <a:ext uri="{FF2B5EF4-FFF2-40B4-BE49-F238E27FC236}">
                  <a16:creationId xmlns:a16="http://schemas.microsoft.com/office/drawing/2014/main" id="{AD0A3E83-3D10-4D32-A3AB-7ABE9F794220}"/>
                </a:ext>
              </a:extLst>
            </p:cNvPr>
            <p:cNvSpPr/>
            <p:nvPr/>
          </p:nvSpPr>
          <p:spPr bwMode="auto">
            <a:xfrm>
              <a:off x="4855199" y="4982346"/>
              <a:ext cx="155717" cy="113319"/>
            </a:xfrm>
            <a:custGeom>
              <a:avLst/>
              <a:gdLst>
                <a:gd name="T0" fmla="*/ 334 w 404"/>
                <a:gd name="T1" fmla="*/ 116 h 294"/>
                <a:gd name="T2" fmla="*/ 312 w 404"/>
                <a:gd name="T3" fmla="*/ 102 h 294"/>
                <a:gd name="T4" fmla="*/ 308 w 404"/>
                <a:gd name="T5" fmla="*/ 94 h 294"/>
                <a:gd name="T6" fmla="*/ 294 w 404"/>
                <a:gd name="T7" fmla="*/ 80 h 294"/>
                <a:gd name="T8" fmla="*/ 288 w 404"/>
                <a:gd name="T9" fmla="*/ 72 h 294"/>
                <a:gd name="T10" fmla="*/ 274 w 404"/>
                <a:gd name="T11" fmla="*/ 48 h 294"/>
                <a:gd name="T12" fmla="*/ 266 w 404"/>
                <a:gd name="T13" fmla="*/ 38 h 294"/>
                <a:gd name="T14" fmla="*/ 254 w 404"/>
                <a:gd name="T15" fmla="*/ 38 h 294"/>
                <a:gd name="T16" fmla="*/ 240 w 404"/>
                <a:gd name="T17" fmla="*/ 36 h 294"/>
                <a:gd name="T18" fmla="*/ 226 w 404"/>
                <a:gd name="T19" fmla="*/ 18 h 294"/>
                <a:gd name="T20" fmla="*/ 172 w 404"/>
                <a:gd name="T21" fmla="*/ 2 h 294"/>
                <a:gd name="T22" fmla="*/ 164 w 404"/>
                <a:gd name="T23" fmla="*/ 2 h 294"/>
                <a:gd name="T24" fmla="*/ 154 w 404"/>
                <a:gd name="T25" fmla="*/ 6 h 294"/>
                <a:gd name="T26" fmla="*/ 116 w 404"/>
                <a:gd name="T27" fmla="*/ 12 h 294"/>
                <a:gd name="T28" fmla="*/ 90 w 404"/>
                <a:gd name="T29" fmla="*/ 8 h 294"/>
                <a:gd name="T30" fmla="*/ 74 w 404"/>
                <a:gd name="T31" fmla="*/ 30 h 294"/>
                <a:gd name="T32" fmla="*/ 66 w 404"/>
                <a:gd name="T33" fmla="*/ 56 h 294"/>
                <a:gd name="T34" fmla="*/ 8 w 404"/>
                <a:gd name="T35" fmla="*/ 128 h 294"/>
                <a:gd name="T36" fmla="*/ 12 w 404"/>
                <a:gd name="T37" fmla="*/ 132 h 294"/>
                <a:gd name="T38" fmla="*/ 38 w 404"/>
                <a:gd name="T39" fmla="*/ 154 h 294"/>
                <a:gd name="T40" fmla="*/ 52 w 404"/>
                <a:gd name="T41" fmla="*/ 182 h 294"/>
                <a:gd name="T42" fmla="*/ 52 w 404"/>
                <a:gd name="T43" fmla="*/ 184 h 294"/>
                <a:gd name="T44" fmla="*/ 62 w 404"/>
                <a:gd name="T45" fmla="*/ 202 h 294"/>
                <a:gd name="T46" fmla="*/ 124 w 404"/>
                <a:gd name="T47" fmla="*/ 210 h 294"/>
                <a:gd name="T48" fmla="*/ 160 w 404"/>
                <a:gd name="T49" fmla="*/ 194 h 294"/>
                <a:gd name="T50" fmla="*/ 190 w 404"/>
                <a:gd name="T51" fmla="*/ 206 h 294"/>
                <a:gd name="T52" fmla="*/ 212 w 404"/>
                <a:gd name="T53" fmla="*/ 216 h 294"/>
                <a:gd name="T54" fmla="*/ 234 w 404"/>
                <a:gd name="T55" fmla="*/ 212 h 294"/>
                <a:gd name="T56" fmla="*/ 232 w 404"/>
                <a:gd name="T57" fmla="*/ 230 h 294"/>
                <a:gd name="T58" fmla="*/ 180 w 404"/>
                <a:gd name="T59" fmla="*/ 222 h 294"/>
                <a:gd name="T60" fmla="*/ 160 w 404"/>
                <a:gd name="T61" fmla="*/ 212 h 294"/>
                <a:gd name="T62" fmla="*/ 150 w 404"/>
                <a:gd name="T63" fmla="*/ 220 h 294"/>
                <a:gd name="T64" fmla="*/ 118 w 404"/>
                <a:gd name="T65" fmla="*/ 226 h 294"/>
                <a:gd name="T66" fmla="*/ 72 w 404"/>
                <a:gd name="T67" fmla="*/ 238 h 294"/>
                <a:gd name="T68" fmla="*/ 52 w 404"/>
                <a:gd name="T69" fmla="*/ 250 h 294"/>
                <a:gd name="T70" fmla="*/ 50 w 404"/>
                <a:gd name="T71" fmla="*/ 274 h 294"/>
                <a:gd name="T72" fmla="*/ 60 w 404"/>
                <a:gd name="T73" fmla="*/ 270 h 294"/>
                <a:gd name="T74" fmla="*/ 72 w 404"/>
                <a:gd name="T75" fmla="*/ 276 h 294"/>
                <a:gd name="T76" fmla="*/ 56 w 404"/>
                <a:gd name="T77" fmla="*/ 278 h 294"/>
                <a:gd name="T78" fmla="*/ 54 w 404"/>
                <a:gd name="T79" fmla="*/ 292 h 294"/>
                <a:gd name="T80" fmla="*/ 78 w 404"/>
                <a:gd name="T81" fmla="*/ 290 h 294"/>
                <a:gd name="T82" fmla="*/ 130 w 404"/>
                <a:gd name="T83" fmla="*/ 284 h 294"/>
                <a:gd name="T84" fmla="*/ 210 w 404"/>
                <a:gd name="T85" fmla="*/ 270 h 294"/>
                <a:gd name="T86" fmla="*/ 282 w 404"/>
                <a:gd name="T87" fmla="*/ 274 h 294"/>
                <a:gd name="T88" fmla="*/ 294 w 404"/>
                <a:gd name="T89" fmla="*/ 276 h 294"/>
                <a:gd name="T90" fmla="*/ 298 w 404"/>
                <a:gd name="T91" fmla="*/ 284 h 294"/>
                <a:gd name="T92" fmla="*/ 312 w 404"/>
                <a:gd name="T93" fmla="*/ 286 h 294"/>
                <a:gd name="T94" fmla="*/ 334 w 404"/>
                <a:gd name="T95" fmla="*/ 290 h 294"/>
                <a:gd name="T96" fmla="*/ 360 w 404"/>
                <a:gd name="T97" fmla="*/ 290 h 294"/>
                <a:gd name="T98" fmla="*/ 400 w 404"/>
                <a:gd name="T99" fmla="*/ 288 h 294"/>
                <a:gd name="T100" fmla="*/ 400 w 404"/>
                <a:gd name="T101" fmla="*/ 278 h 294"/>
                <a:gd name="T102" fmla="*/ 404 w 404"/>
                <a:gd name="T103" fmla="*/ 252 h 294"/>
                <a:gd name="T104" fmla="*/ 394 w 404"/>
                <a:gd name="T105" fmla="*/ 238 h 294"/>
                <a:gd name="T106" fmla="*/ 384 w 404"/>
                <a:gd name="T107" fmla="*/ 224 h 294"/>
                <a:gd name="T108" fmla="*/ 374 w 404"/>
                <a:gd name="T109" fmla="*/ 228 h 294"/>
                <a:gd name="T110" fmla="*/ 366 w 404"/>
                <a:gd name="T111" fmla="*/ 214 h 294"/>
                <a:gd name="T112" fmla="*/ 366 w 404"/>
                <a:gd name="T113" fmla="*/ 192 h 294"/>
                <a:gd name="T114" fmla="*/ 362 w 404"/>
                <a:gd name="T115" fmla="*/ 176 h 294"/>
                <a:gd name="T116" fmla="*/ 352 w 404"/>
                <a:gd name="T117" fmla="*/ 156 h 294"/>
                <a:gd name="T118" fmla="*/ 346 w 404"/>
                <a:gd name="T119" fmla="*/ 126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03" h="294">
                  <a:moveTo>
                    <a:pt x="346" y="126"/>
                  </a:moveTo>
                  <a:lnTo>
                    <a:pt x="344" y="126"/>
                  </a:lnTo>
                  <a:lnTo>
                    <a:pt x="336" y="122"/>
                  </a:lnTo>
                  <a:lnTo>
                    <a:pt x="334" y="116"/>
                  </a:lnTo>
                  <a:lnTo>
                    <a:pt x="328" y="112"/>
                  </a:lnTo>
                  <a:lnTo>
                    <a:pt x="320" y="108"/>
                  </a:lnTo>
                  <a:lnTo>
                    <a:pt x="316" y="104"/>
                  </a:lnTo>
                  <a:lnTo>
                    <a:pt x="312" y="102"/>
                  </a:lnTo>
                  <a:lnTo>
                    <a:pt x="310" y="98"/>
                  </a:lnTo>
                  <a:lnTo>
                    <a:pt x="308" y="98"/>
                  </a:lnTo>
                  <a:lnTo>
                    <a:pt x="306" y="96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2" y="84"/>
                  </a:lnTo>
                  <a:lnTo>
                    <a:pt x="298" y="80"/>
                  </a:lnTo>
                  <a:lnTo>
                    <a:pt x="294" y="80"/>
                  </a:lnTo>
                  <a:lnTo>
                    <a:pt x="292" y="78"/>
                  </a:lnTo>
                  <a:lnTo>
                    <a:pt x="292" y="78"/>
                  </a:lnTo>
                  <a:lnTo>
                    <a:pt x="290" y="74"/>
                  </a:lnTo>
                  <a:lnTo>
                    <a:pt x="288" y="72"/>
                  </a:lnTo>
                  <a:lnTo>
                    <a:pt x="284" y="72"/>
                  </a:lnTo>
                  <a:lnTo>
                    <a:pt x="280" y="66"/>
                  </a:lnTo>
                  <a:lnTo>
                    <a:pt x="278" y="56"/>
                  </a:lnTo>
                  <a:lnTo>
                    <a:pt x="274" y="48"/>
                  </a:lnTo>
                  <a:lnTo>
                    <a:pt x="272" y="42"/>
                  </a:lnTo>
                  <a:lnTo>
                    <a:pt x="268" y="40"/>
                  </a:lnTo>
                  <a:lnTo>
                    <a:pt x="266" y="38"/>
                  </a:lnTo>
                  <a:lnTo>
                    <a:pt x="266" y="38"/>
                  </a:lnTo>
                  <a:lnTo>
                    <a:pt x="264" y="36"/>
                  </a:lnTo>
                  <a:lnTo>
                    <a:pt x="262" y="36"/>
                  </a:lnTo>
                  <a:lnTo>
                    <a:pt x="256" y="38"/>
                  </a:lnTo>
                  <a:lnTo>
                    <a:pt x="254" y="38"/>
                  </a:lnTo>
                  <a:lnTo>
                    <a:pt x="252" y="34"/>
                  </a:lnTo>
                  <a:lnTo>
                    <a:pt x="248" y="34"/>
                  </a:lnTo>
                  <a:lnTo>
                    <a:pt x="244" y="36"/>
                  </a:lnTo>
                  <a:lnTo>
                    <a:pt x="240" y="36"/>
                  </a:lnTo>
                  <a:lnTo>
                    <a:pt x="236" y="32"/>
                  </a:lnTo>
                  <a:lnTo>
                    <a:pt x="234" y="28"/>
                  </a:lnTo>
                  <a:lnTo>
                    <a:pt x="234" y="24"/>
                  </a:lnTo>
                  <a:lnTo>
                    <a:pt x="226" y="18"/>
                  </a:lnTo>
                  <a:lnTo>
                    <a:pt x="212" y="6"/>
                  </a:lnTo>
                  <a:lnTo>
                    <a:pt x="198" y="0"/>
                  </a:lnTo>
                  <a:lnTo>
                    <a:pt x="180" y="2"/>
                  </a:lnTo>
                  <a:lnTo>
                    <a:pt x="172" y="2"/>
                  </a:lnTo>
                  <a:lnTo>
                    <a:pt x="170" y="0"/>
                  </a:lnTo>
                  <a:lnTo>
                    <a:pt x="168" y="0"/>
                  </a:lnTo>
                  <a:lnTo>
                    <a:pt x="166" y="2"/>
                  </a:lnTo>
                  <a:lnTo>
                    <a:pt x="164" y="2"/>
                  </a:lnTo>
                  <a:lnTo>
                    <a:pt x="160" y="0"/>
                  </a:lnTo>
                  <a:lnTo>
                    <a:pt x="160" y="2"/>
                  </a:lnTo>
                  <a:lnTo>
                    <a:pt x="158" y="4"/>
                  </a:lnTo>
                  <a:lnTo>
                    <a:pt x="154" y="6"/>
                  </a:lnTo>
                  <a:lnTo>
                    <a:pt x="142" y="6"/>
                  </a:lnTo>
                  <a:lnTo>
                    <a:pt x="132" y="8"/>
                  </a:lnTo>
                  <a:lnTo>
                    <a:pt x="126" y="12"/>
                  </a:lnTo>
                  <a:lnTo>
                    <a:pt x="116" y="12"/>
                  </a:lnTo>
                  <a:lnTo>
                    <a:pt x="104" y="12"/>
                  </a:lnTo>
                  <a:lnTo>
                    <a:pt x="96" y="10"/>
                  </a:lnTo>
                  <a:lnTo>
                    <a:pt x="94" y="8"/>
                  </a:lnTo>
                  <a:lnTo>
                    <a:pt x="90" y="8"/>
                  </a:lnTo>
                  <a:lnTo>
                    <a:pt x="86" y="10"/>
                  </a:lnTo>
                  <a:lnTo>
                    <a:pt x="82" y="14"/>
                  </a:lnTo>
                  <a:lnTo>
                    <a:pt x="78" y="24"/>
                  </a:lnTo>
                  <a:lnTo>
                    <a:pt x="74" y="30"/>
                  </a:lnTo>
                  <a:lnTo>
                    <a:pt x="72" y="32"/>
                  </a:lnTo>
                  <a:lnTo>
                    <a:pt x="70" y="38"/>
                  </a:lnTo>
                  <a:lnTo>
                    <a:pt x="68" y="52"/>
                  </a:lnTo>
                  <a:lnTo>
                    <a:pt x="66" y="56"/>
                  </a:lnTo>
                  <a:lnTo>
                    <a:pt x="64" y="64"/>
                  </a:lnTo>
                  <a:lnTo>
                    <a:pt x="46" y="94"/>
                  </a:lnTo>
                  <a:lnTo>
                    <a:pt x="26" y="118"/>
                  </a:lnTo>
                  <a:lnTo>
                    <a:pt x="8" y="128"/>
                  </a:lnTo>
                  <a:lnTo>
                    <a:pt x="0" y="130"/>
                  </a:lnTo>
                  <a:lnTo>
                    <a:pt x="6" y="138"/>
                  </a:lnTo>
                  <a:lnTo>
                    <a:pt x="8" y="132"/>
                  </a:lnTo>
                  <a:lnTo>
                    <a:pt x="12" y="132"/>
                  </a:lnTo>
                  <a:lnTo>
                    <a:pt x="18" y="134"/>
                  </a:lnTo>
                  <a:lnTo>
                    <a:pt x="24" y="138"/>
                  </a:lnTo>
                  <a:lnTo>
                    <a:pt x="30" y="148"/>
                  </a:lnTo>
                  <a:lnTo>
                    <a:pt x="38" y="154"/>
                  </a:lnTo>
                  <a:lnTo>
                    <a:pt x="44" y="168"/>
                  </a:lnTo>
                  <a:lnTo>
                    <a:pt x="48" y="176"/>
                  </a:lnTo>
                  <a:lnTo>
                    <a:pt x="50" y="182"/>
                  </a:lnTo>
                  <a:lnTo>
                    <a:pt x="52" y="182"/>
                  </a:lnTo>
                  <a:lnTo>
                    <a:pt x="58" y="180"/>
                  </a:lnTo>
                  <a:lnTo>
                    <a:pt x="60" y="178"/>
                  </a:lnTo>
                  <a:lnTo>
                    <a:pt x="60" y="182"/>
                  </a:lnTo>
                  <a:lnTo>
                    <a:pt x="52" y="184"/>
                  </a:lnTo>
                  <a:lnTo>
                    <a:pt x="50" y="188"/>
                  </a:lnTo>
                  <a:lnTo>
                    <a:pt x="52" y="192"/>
                  </a:lnTo>
                  <a:lnTo>
                    <a:pt x="58" y="198"/>
                  </a:lnTo>
                  <a:lnTo>
                    <a:pt x="62" y="202"/>
                  </a:lnTo>
                  <a:lnTo>
                    <a:pt x="64" y="210"/>
                  </a:lnTo>
                  <a:lnTo>
                    <a:pt x="80" y="208"/>
                  </a:lnTo>
                  <a:lnTo>
                    <a:pt x="100" y="208"/>
                  </a:lnTo>
                  <a:lnTo>
                    <a:pt x="124" y="210"/>
                  </a:lnTo>
                  <a:lnTo>
                    <a:pt x="134" y="210"/>
                  </a:lnTo>
                  <a:lnTo>
                    <a:pt x="138" y="200"/>
                  </a:lnTo>
                  <a:lnTo>
                    <a:pt x="150" y="196"/>
                  </a:lnTo>
                  <a:lnTo>
                    <a:pt x="160" y="194"/>
                  </a:lnTo>
                  <a:lnTo>
                    <a:pt x="166" y="194"/>
                  </a:lnTo>
                  <a:lnTo>
                    <a:pt x="172" y="196"/>
                  </a:lnTo>
                  <a:lnTo>
                    <a:pt x="182" y="204"/>
                  </a:lnTo>
                  <a:lnTo>
                    <a:pt x="190" y="206"/>
                  </a:lnTo>
                  <a:lnTo>
                    <a:pt x="194" y="208"/>
                  </a:lnTo>
                  <a:lnTo>
                    <a:pt x="198" y="212"/>
                  </a:lnTo>
                  <a:lnTo>
                    <a:pt x="206" y="216"/>
                  </a:lnTo>
                  <a:lnTo>
                    <a:pt x="212" y="216"/>
                  </a:lnTo>
                  <a:lnTo>
                    <a:pt x="214" y="216"/>
                  </a:lnTo>
                  <a:lnTo>
                    <a:pt x="220" y="214"/>
                  </a:lnTo>
                  <a:lnTo>
                    <a:pt x="222" y="212"/>
                  </a:lnTo>
                  <a:lnTo>
                    <a:pt x="234" y="212"/>
                  </a:lnTo>
                  <a:lnTo>
                    <a:pt x="242" y="216"/>
                  </a:lnTo>
                  <a:lnTo>
                    <a:pt x="244" y="222"/>
                  </a:lnTo>
                  <a:lnTo>
                    <a:pt x="242" y="226"/>
                  </a:lnTo>
                  <a:lnTo>
                    <a:pt x="232" y="230"/>
                  </a:lnTo>
                  <a:lnTo>
                    <a:pt x="216" y="232"/>
                  </a:lnTo>
                  <a:lnTo>
                    <a:pt x="204" y="230"/>
                  </a:lnTo>
                  <a:lnTo>
                    <a:pt x="188" y="226"/>
                  </a:lnTo>
                  <a:lnTo>
                    <a:pt x="180" y="222"/>
                  </a:lnTo>
                  <a:lnTo>
                    <a:pt x="176" y="220"/>
                  </a:lnTo>
                  <a:lnTo>
                    <a:pt x="170" y="218"/>
                  </a:lnTo>
                  <a:lnTo>
                    <a:pt x="166" y="214"/>
                  </a:lnTo>
                  <a:lnTo>
                    <a:pt x="160" y="212"/>
                  </a:lnTo>
                  <a:lnTo>
                    <a:pt x="156" y="212"/>
                  </a:lnTo>
                  <a:lnTo>
                    <a:pt x="154" y="212"/>
                  </a:lnTo>
                  <a:lnTo>
                    <a:pt x="152" y="216"/>
                  </a:lnTo>
                  <a:lnTo>
                    <a:pt x="150" y="220"/>
                  </a:lnTo>
                  <a:lnTo>
                    <a:pt x="148" y="222"/>
                  </a:lnTo>
                  <a:lnTo>
                    <a:pt x="136" y="224"/>
                  </a:lnTo>
                  <a:lnTo>
                    <a:pt x="124" y="224"/>
                  </a:lnTo>
                  <a:lnTo>
                    <a:pt x="118" y="226"/>
                  </a:lnTo>
                  <a:lnTo>
                    <a:pt x="114" y="226"/>
                  </a:lnTo>
                  <a:lnTo>
                    <a:pt x="112" y="238"/>
                  </a:lnTo>
                  <a:lnTo>
                    <a:pt x="100" y="238"/>
                  </a:lnTo>
                  <a:lnTo>
                    <a:pt x="72" y="238"/>
                  </a:lnTo>
                  <a:lnTo>
                    <a:pt x="58" y="238"/>
                  </a:lnTo>
                  <a:lnTo>
                    <a:pt x="56" y="240"/>
                  </a:lnTo>
                  <a:lnTo>
                    <a:pt x="52" y="244"/>
                  </a:lnTo>
                  <a:lnTo>
                    <a:pt x="52" y="250"/>
                  </a:lnTo>
                  <a:lnTo>
                    <a:pt x="50" y="256"/>
                  </a:lnTo>
                  <a:lnTo>
                    <a:pt x="52" y="268"/>
                  </a:lnTo>
                  <a:lnTo>
                    <a:pt x="50" y="272"/>
                  </a:lnTo>
                  <a:lnTo>
                    <a:pt x="50" y="274"/>
                  </a:lnTo>
                  <a:lnTo>
                    <a:pt x="52" y="276"/>
                  </a:lnTo>
                  <a:lnTo>
                    <a:pt x="56" y="276"/>
                  </a:lnTo>
                  <a:lnTo>
                    <a:pt x="58" y="274"/>
                  </a:lnTo>
                  <a:lnTo>
                    <a:pt x="60" y="270"/>
                  </a:lnTo>
                  <a:lnTo>
                    <a:pt x="62" y="268"/>
                  </a:lnTo>
                  <a:lnTo>
                    <a:pt x="66" y="272"/>
                  </a:lnTo>
                  <a:lnTo>
                    <a:pt x="72" y="274"/>
                  </a:lnTo>
                  <a:lnTo>
                    <a:pt x="72" y="276"/>
                  </a:lnTo>
                  <a:lnTo>
                    <a:pt x="72" y="276"/>
                  </a:lnTo>
                  <a:lnTo>
                    <a:pt x="70" y="276"/>
                  </a:lnTo>
                  <a:lnTo>
                    <a:pt x="64" y="276"/>
                  </a:lnTo>
                  <a:lnTo>
                    <a:pt x="56" y="278"/>
                  </a:lnTo>
                  <a:lnTo>
                    <a:pt x="52" y="280"/>
                  </a:lnTo>
                  <a:lnTo>
                    <a:pt x="50" y="284"/>
                  </a:lnTo>
                  <a:lnTo>
                    <a:pt x="52" y="290"/>
                  </a:lnTo>
                  <a:lnTo>
                    <a:pt x="54" y="292"/>
                  </a:lnTo>
                  <a:lnTo>
                    <a:pt x="58" y="292"/>
                  </a:lnTo>
                  <a:lnTo>
                    <a:pt x="66" y="292"/>
                  </a:lnTo>
                  <a:lnTo>
                    <a:pt x="74" y="292"/>
                  </a:lnTo>
                  <a:lnTo>
                    <a:pt x="78" y="290"/>
                  </a:lnTo>
                  <a:lnTo>
                    <a:pt x="86" y="286"/>
                  </a:lnTo>
                  <a:lnTo>
                    <a:pt x="92" y="286"/>
                  </a:lnTo>
                  <a:lnTo>
                    <a:pt x="112" y="286"/>
                  </a:lnTo>
                  <a:lnTo>
                    <a:pt x="130" y="284"/>
                  </a:lnTo>
                  <a:lnTo>
                    <a:pt x="142" y="276"/>
                  </a:lnTo>
                  <a:lnTo>
                    <a:pt x="154" y="270"/>
                  </a:lnTo>
                  <a:lnTo>
                    <a:pt x="186" y="270"/>
                  </a:lnTo>
                  <a:lnTo>
                    <a:pt x="210" y="270"/>
                  </a:lnTo>
                  <a:lnTo>
                    <a:pt x="250" y="270"/>
                  </a:lnTo>
                  <a:lnTo>
                    <a:pt x="272" y="272"/>
                  </a:lnTo>
                  <a:lnTo>
                    <a:pt x="274" y="272"/>
                  </a:lnTo>
                  <a:lnTo>
                    <a:pt x="282" y="274"/>
                  </a:lnTo>
                  <a:lnTo>
                    <a:pt x="288" y="274"/>
                  </a:lnTo>
                  <a:lnTo>
                    <a:pt x="292" y="274"/>
                  </a:lnTo>
                  <a:lnTo>
                    <a:pt x="294" y="274"/>
                  </a:lnTo>
                  <a:lnTo>
                    <a:pt x="294" y="276"/>
                  </a:lnTo>
                  <a:lnTo>
                    <a:pt x="292" y="280"/>
                  </a:lnTo>
                  <a:lnTo>
                    <a:pt x="294" y="284"/>
                  </a:lnTo>
                  <a:lnTo>
                    <a:pt x="298" y="284"/>
                  </a:lnTo>
                  <a:lnTo>
                    <a:pt x="298" y="284"/>
                  </a:lnTo>
                  <a:lnTo>
                    <a:pt x="300" y="282"/>
                  </a:lnTo>
                  <a:lnTo>
                    <a:pt x="302" y="280"/>
                  </a:lnTo>
                  <a:lnTo>
                    <a:pt x="306" y="282"/>
                  </a:lnTo>
                  <a:lnTo>
                    <a:pt x="312" y="286"/>
                  </a:lnTo>
                  <a:lnTo>
                    <a:pt x="316" y="286"/>
                  </a:lnTo>
                  <a:lnTo>
                    <a:pt x="322" y="290"/>
                  </a:lnTo>
                  <a:lnTo>
                    <a:pt x="328" y="290"/>
                  </a:lnTo>
                  <a:lnTo>
                    <a:pt x="334" y="290"/>
                  </a:lnTo>
                  <a:lnTo>
                    <a:pt x="338" y="294"/>
                  </a:lnTo>
                  <a:lnTo>
                    <a:pt x="344" y="294"/>
                  </a:lnTo>
                  <a:lnTo>
                    <a:pt x="354" y="290"/>
                  </a:lnTo>
                  <a:lnTo>
                    <a:pt x="360" y="290"/>
                  </a:lnTo>
                  <a:lnTo>
                    <a:pt x="370" y="290"/>
                  </a:lnTo>
                  <a:lnTo>
                    <a:pt x="376" y="290"/>
                  </a:lnTo>
                  <a:lnTo>
                    <a:pt x="392" y="288"/>
                  </a:lnTo>
                  <a:lnTo>
                    <a:pt x="400" y="288"/>
                  </a:lnTo>
                  <a:lnTo>
                    <a:pt x="404" y="288"/>
                  </a:lnTo>
                  <a:lnTo>
                    <a:pt x="404" y="284"/>
                  </a:lnTo>
                  <a:lnTo>
                    <a:pt x="400" y="280"/>
                  </a:lnTo>
                  <a:lnTo>
                    <a:pt x="400" y="278"/>
                  </a:lnTo>
                  <a:lnTo>
                    <a:pt x="400" y="274"/>
                  </a:lnTo>
                  <a:lnTo>
                    <a:pt x="402" y="264"/>
                  </a:lnTo>
                  <a:lnTo>
                    <a:pt x="402" y="260"/>
                  </a:lnTo>
                  <a:lnTo>
                    <a:pt x="404" y="252"/>
                  </a:lnTo>
                  <a:lnTo>
                    <a:pt x="400" y="250"/>
                  </a:lnTo>
                  <a:lnTo>
                    <a:pt x="400" y="248"/>
                  </a:lnTo>
                  <a:lnTo>
                    <a:pt x="396" y="242"/>
                  </a:lnTo>
                  <a:lnTo>
                    <a:pt x="394" y="238"/>
                  </a:lnTo>
                  <a:lnTo>
                    <a:pt x="392" y="232"/>
                  </a:lnTo>
                  <a:lnTo>
                    <a:pt x="390" y="230"/>
                  </a:lnTo>
                  <a:lnTo>
                    <a:pt x="388" y="224"/>
                  </a:lnTo>
                  <a:lnTo>
                    <a:pt x="384" y="224"/>
                  </a:lnTo>
                  <a:lnTo>
                    <a:pt x="380" y="222"/>
                  </a:lnTo>
                  <a:lnTo>
                    <a:pt x="378" y="224"/>
                  </a:lnTo>
                  <a:lnTo>
                    <a:pt x="376" y="226"/>
                  </a:lnTo>
                  <a:lnTo>
                    <a:pt x="374" y="228"/>
                  </a:lnTo>
                  <a:lnTo>
                    <a:pt x="372" y="224"/>
                  </a:lnTo>
                  <a:lnTo>
                    <a:pt x="370" y="222"/>
                  </a:lnTo>
                  <a:lnTo>
                    <a:pt x="370" y="218"/>
                  </a:lnTo>
                  <a:lnTo>
                    <a:pt x="366" y="214"/>
                  </a:lnTo>
                  <a:lnTo>
                    <a:pt x="360" y="206"/>
                  </a:lnTo>
                  <a:lnTo>
                    <a:pt x="360" y="200"/>
                  </a:lnTo>
                  <a:lnTo>
                    <a:pt x="364" y="196"/>
                  </a:lnTo>
                  <a:lnTo>
                    <a:pt x="366" y="192"/>
                  </a:lnTo>
                  <a:lnTo>
                    <a:pt x="366" y="190"/>
                  </a:lnTo>
                  <a:lnTo>
                    <a:pt x="364" y="186"/>
                  </a:lnTo>
                  <a:lnTo>
                    <a:pt x="362" y="184"/>
                  </a:lnTo>
                  <a:lnTo>
                    <a:pt x="362" y="176"/>
                  </a:lnTo>
                  <a:lnTo>
                    <a:pt x="362" y="168"/>
                  </a:lnTo>
                  <a:lnTo>
                    <a:pt x="360" y="164"/>
                  </a:lnTo>
                  <a:lnTo>
                    <a:pt x="356" y="160"/>
                  </a:lnTo>
                  <a:lnTo>
                    <a:pt x="352" y="156"/>
                  </a:lnTo>
                  <a:lnTo>
                    <a:pt x="348" y="150"/>
                  </a:lnTo>
                  <a:lnTo>
                    <a:pt x="350" y="142"/>
                  </a:lnTo>
                  <a:lnTo>
                    <a:pt x="352" y="138"/>
                  </a:lnTo>
                  <a:lnTo>
                    <a:pt x="346" y="12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3" name="Line 6288">
              <a:extLst>
                <a:ext uri="{FF2B5EF4-FFF2-40B4-BE49-F238E27FC236}">
                  <a16:creationId xmlns:a16="http://schemas.microsoft.com/office/drawing/2014/main" id="{B2982B9A-E5F6-46C9-AC89-BF7C68E1547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988561" y="5030911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4" name="Line 6290">
              <a:extLst>
                <a:ext uri="{FF2B5EF4-FFF2-40B4-BE49-F238E27FC236}">
                  <a16:creationId xmlns:a16="http://schemas.microsoft.com/office/drawing/2014/main" id="{E8469FA3-27A5-416A-BA10-189BB002BAD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988561" y="5030911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5" name="Line 6292">
              <a:extLst>
                <a:ext uri="{FF2B5EF4-FFF2-40B4-BE49-F238E27FC236}">
                  <a16:creationId xmlns:a16="http://schemas.microsoft.com/office/drawing/2014/main" id="{F7D09459-2F35-41ED-A740-98400C776BD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925216" y="5376264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6" name="Line 6294">
              <a:extLst>
                <a:ext uri="{FF2B5EF4-FFF2-40B4-BE49-F238E27FC236}">
                  <a16:creationId xmlns:a16="http://schemas.microsoft.com/office/drawing/2014/main" id="{1C443E85-B142-46D5-8322-11F8F1A7762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925216" y="5376264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7" name="Freeform 6295">
              <a:extLst>
                <a:ext uri="{FF2B5EF4-FFF2-40B4-BE49-F238E27FC236}">
                  <a16:creationId xmlns:a16="http://schemas.microsoft.com/office/drawing/2014/main" id="{CE94D95F-FA43-43A9-B798-084724A09B90}"/>
                </a:ext>
              </a:extLst>
            </p:cNvPr>
            <p:cNvSpPr/>
            <p:nvPr/>
          </p:nvSpPr>
          <p:spPr bwMode="auto">
            <a:xfrm>
              <a:off x="4630103" y="7236004"/>
              <a:ext cx="4625" cy="5396"/>
            </a:xfrm>
            <a:custGeom>
              <a:avLst/>
              <a:gdLst>
                <a:gd name="T0" fmla="*/ 12 w 12"/>
                <a:gd name="T1" fmla="*/ 14 h 14"/>
                <a:gd name="T2" fmla="*/ 12 w 12"/>
                <a:gd name="T3" fmla="*/ 6 h 14"/>
                <a:gd name="T4" fmla="*/ 12 w 12"/>
                <a:gd name="T5" fmla="*/ 2 h 14"/>
                <a:gd name="T6" fmla="*/ 10 w 12"/>
                <a:gd name="T7" fmla="*/ 0 h 14"/>
                <a:gd name="T8" fmla="*/ 4 w 12"/>
                <a:gd name="T9" fmla="*/ 0 h 14"/>
                <a:gd name="T10" fmla="*/ 0 w 12"/>
                <a:gd name="T11" fmla="*/ 4 h 14"/>
                <a:gd name="T12" fmla="*/ 2 w 12"/>
                <a:gd name="T13" fmla="*/ 8 h 14"/>
                <a:gd name="T14" fmla="*/ 12 w 12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4">
                  <a:moveTo>
                    <a:pt x="12" y="14"/>
                  </a:moveTo>
                  <a:lnTo>
                    <a:pt x="12" y="6"/>
                  </a:lnTo>
                  <a:lnTo>
                    <a:pt x="12" y="2"/>
                  </a:lnTo>
                  <a:lnTo>
                    <a:pt x="10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2" y="8"/>
                  </a:lnTo>
                  <a:lnTo>
                    <a:pt x="12" y="1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8" name="Freeform 6296">
              <a:extLst>
                <a:ext uri="{FF2B5EF4-FFF2-40B4-BE49-F238E27FC236}">
                  <a16:creationId xmlns:a16="http://schemas.microsoft.com/office/drawing/2014/main" id="{CE476731-FD0F-43DA-8B61-9BE81937A75D}"/>
                </a:ext>
              </a:extLst>
            </p:cNvPr>
            <p:cNvSpPr/>
            <p:nvPr/>
          </p:nvSpPr>
          <p:spPr bwMode="auto">
            <a:xfrm>
              <a:off x="4337941" y="7036347"/>
              <a:ext cx="56274" cy="37773"/>
            </a:xfrm>
            <a:custGeom>
              <a:avLst/>
              <a:gdLst>
                <a:gd name="T0" fmla="*/ 60 w 146"/>
                <a:gd name="T1" fmla="*/ 8 h 98"/>
                <a:gd name="T2" fmla="*/ 52 w 146"/>
                <a:gd name="T3" fmla="*/ 8 h 98"/>
                <a:gd name="T4" fmla="*/ 42 w 146"/>
                <a:gd name="T5" fmla="*/ 2 h 98"/>
                <a:gd name="T6" fmla="*/ 42 w 146"/>
                <a:gd name="T7" fmla="*/ 0 h 98"/>
                <a:gd name="T8" fmla="*/ 32 w 146"/>
                <a:gd name="T9" fmla="*/ 0 h 98"/>
                <a:gd name="T10" fmla="*/ 4 w 146"/>
                <a:gd name="T11" fmla="*/ 0 h 98"/>
                <a:gd name="T12" fmla="*/ 0 w 146"/>
                <a:gd name="T13" fmla="*/ 2 h 98"/>
                <a:gd name="T14" fmla="*/ 6 w 146"/>
                <a:gd name="T15" fmla="*/ 4 h 98"/>
                <a:gd name="T16" fmla="*/ 26 w 146"/>
                <a:gd name="T17" fmla="*/ 6 h 98"/>
                <a:gd name="T18" fmla="*/ 22 w 146"/>
                <a:gd name="T19" fmla="*/ 10 h 98"/>
                <a:gd name="T20" fmla="*/ 22 w 146"/>
                <a:gd name="T21" fmla="*/ 16 h 98"/>
                <a:gd name="T22" fmla="*/ 26 w 146"/>
                <a:gd name="T23" fmla="*/ 20 h 98"/>
                <a:gd name="T24" fmla="*/ 34 w 146"/>
                <a:gd name="T25" fmla="*/ 18 h 98"/>
                <a:gd name="T26" fmla="*/ 56 w 146"/>
                <a:gd name="T27" fmla="*/ 32 h 98"/>
                <a:gd name="T28" fmla="*/ 62 w 146"/>
                <a:gd name="T29" fmla="*/ 36 h 98"/>
                <a:gd name="T30" fmla="*/ 66 w 146"/>
                <a:gd name="T31" fmla="*/ 40 h 98"/>
                <a:gd name="T32" fmla="*/ 74 w 146"/>
                <a:gd name="T33" fmla="*/ 40 h 98"/>
                <a:gd name="T34" fmla="*/ 76 w 146"/>
                <a:gd name="T35" fmla="*/ 42 h 98"/>
                <a:gd name="T36" fmla="*/ 78 w 146"/>
                <a:gd name="T37" fmla="*/ 46 h 98"/>
                <a:gd name="T38" fmla="*/ 84 w 146"/>
                <a:gd name="T39" fmla="*/ 54 h 98"/>
                <a:gd name="T40" fmla="*/ 90 w 146"/>
                <a:gd name="T41" fmla="*/ 56 h 98"/>
                <a:gd name="T42" fmla="*/ 98 w 146"/>
                <a:gd name="T43" fmla="*/ 58 h 98"/>
                <a:gd name="T44" fmla="*/ 102 w 146"/>
                <a:gd name="T45" fmla="*/ 62 h 98"/>
                <a:gd name="T46" fmla="*/ 102 w 146"/>
                <a:gd name="T47" fmla="*/ 66 h 98"/>
                <a:gd name="T48" fmla="*/ 112 w 146"/>
                <a:gd name="T49" fmla="*/ 80 h 98"/>
                <a:gd name="T50" fmla="*/ 116 w 146"/>
                <a:gd name="T51" fmla="*/ 90 h 98"/>
                <a:gd name="T52" fmla="*/ 124 w 146"/>
                <a:gd name="T53" fmla="*/ 98 h 98"/>
                <a:gd name="T54" fmla="*/ 126 w 146"/>
                <a:gd name="T55" fmla="*/ 98 h 98"/>
                <a:gd name="T56" fmla="*/ 136 w 146"/>
                <a:gd name="T57" fmla="*/ 96 h 98"/>
                <a:gd name="T58" fmla="*/ 140 w 146"/>
                <a:gd name="T59" fmla="*/ 90 h 98"/>
                <a:gd name="T60" fmla="*/ 146 w 146"/>
                <a:gd name="T61" fmla="*/ 86 h 98"/>
                <a:gd name="T62" fmla="*/ 138 w 146"/>
                <a:gd name="T63" fmla="*/ 82 h 98"/>
                <a:gd name="T64" fmla="*/ 138 w 146"/>
                <a:gd name="T65" fmla="*/ 72 h 98"/>
                <a:gd name="T66" fmla="*/ 140 w 146"/>
                <a:gd name="T67" fmla="*/ 64 h 98"/>
                <a:gd name="T68" fmla="*/ 134 w 146"/>
                <a:gd name="T69" fmla="*/ 64 h 98"/>
                <a:gd name="T70" fmla="*/ 130 w 146"/>
                <a:gd name="T71" fmla="*/ 64 h 98"/>
                <a:gd name="T72" fmla="*/ 128 w 146"/>
                <a:gd name="T73" fmla="*/ 64 h 98"/>
                <a:gd name="T74" fmla="*/ 124 w 146"/>
                <a:gd name="T75" fmla="*/ 52 h 98"/>
                <a:gd name="T76" fmla="*/ 120 w 146"/>
                <a:gd name="T77" fmla="*/ 44 h 98"/>
                <a:gd name="T78" fmla="*/ 116 w 146"/>
                <a:gd name="T79" fmla="*/ 42 h 98"/>
                <a:gd name="T80" fmla="*/ 114 w 146"/>
                <a:gd name="T81" fmla="*/ 34 h 98"/>
                <a:gd name="T82" fmla="*/ 110 w 146"/>
                <a:gd name="T83" fmla="*/ 30 h 98"/>
                <a:gd name="T84" fmla="*/ 106 w 146"/>
                <a:gd name="T85" fmla="*/ 32 h 98"/>
                <a:gd name="T86" fmla="*/ 106 w 146"/>
                <a:gd name="T87" fmla="*/ 36 h 98"/>
                <a:gd name="T88" fmla="*/ 102 w 146"/>
                <a:gd name="T89" fmla="*/ 36 h 98"/>
                <a:gd name="T90" fmla="*/ 96 w 146"/>
                <a:gd name="T91" fmla="*/ 28 h 98"/>
                <a:gd name="T92" fmla="*/ 90 w 146"/>
                <a:gd name="T93" fmla="*/ 30 h 98"/>
                <a:gd name="T94" fmla="*/ 92 w 146"/>
                <a:gd name="T95" fmla="*/ 22 h 98"/>
                <a:gd name="T96" fmla="*/ 86 w 146"/>
                <a:gd name="T97" fmla="*/ 14 h 98"/>
                <a:gd name="T98" fmla="*/ 82 w 146"/>
                <a:gd name="T99" fmla="*/ 14 h 98"/>
                <a:gd name="T100" fmla="*/ 80 w 146"/>
                <a:gd name="T101" fmla="*/ 12 h 98"/>
                <a:gd name="T102" fmla="*/ 76 w 146"/>
                <a:gd name="T103" fmla="*/ 10 h 98"/>
                <a:gd name="T104" fmla="*/ 72 w 146"/>
                <a:gd name="T105" fmla="*/ 10 h 98"/>
                <a:gd name="T106" fmla="*/ 66 w 146"/>
                <a:gd name="T107" fmla="*/ 14 h 98"/>
                <a:gd name="T108" fmla="*/ 60 w 146"/>
                <a:gd name="T109" fmla="*/ 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6" h="98">
                  <a:moveTo>
                    <a:pt x="60" y="8"/>
                  </a:moveTo>
                  <a:lnTo>
                    <a:pt x="52" y="8"/>
                  </a:lnTo>
                  <a:lnTo>
                    <a:pt x="42" y="2"/>
                  </a:lnTo>
                  <a:lnTo>
                    <a:pt x="42" y="0"/>
                  </a:lnTo>
                  <a:lnTo>
                    <a:pt x="32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6" y="4"/>
                  </a:lnTo>
                  <a:lnTo>
                    <a:pt x="26" y="6"/>
                  </a:lnTo>
                  <a:lnTo>
                    <a:pt x="22" y="10"/>
                  </a:lnTo>
                  <a:lnTo>
                    <a:pt x="22" y="16"/>
                  </a:lnTo>
                  <a:lnTo>
                    <a:pt x="26" y="20"/>
                  </a:lnTo>
                  <a:lnTo>
                    <a:pt x="34" y="18"/>
                  </a:lnTo>
                  <a:lnTo>
                    <a:pt x="56" y="32"/>
                  </a:lnTo>
                  <a:lnTo>
                    <a:pt x="62" y="36"/>
                  </a:lnTo>
                  <a:lnTo>
                    <a:pt x="66" y="40"/>
                  </a:lnTo>
                  <a:lnTo>
                    <a:pt x="74" y="40"/>
                  </a:lnTo>
                  <a:lnTo>
                    <a:pt x="76" y="42"/>
                  </a:lnTo>
                  <a:lnTo>
                    <a:pt x="78" y="46"/>
                  </a:lnTo>
                  <a:lnTo>
                    <a:pt x="84" y="54"/>
                  </a:lnTo>
                  <a:lnTo>
                    <a:pt x="90" y="56"/>
                  </a:lnTo>
                  <a:lnTo>
                    <a:pt x="98" y="58"/>
                  </a:lnTo>
                  <a:lnTo>
                    <a:pt x="102" y="62"/>
                  </a:lnTo>
                  <a:lnTo>
                    <a:pt x="102" y="66"/>
                  </a:lnTo>
                  <a:lnTo>
                    <a:pt x="112" y="80"/>
                  </a:lnTo>
                  <a:lnTo>
                    <a:pt x="116" y="90"/>
                  </a:lnTo>
                  <a:lnTo>
                    <a:pt x="124" y="98"/>
                  </a:lnTo>
                  <a:lnTo>
                    <a:pt x="126" y="98"/>
                  </a:lnTo>
                  <a:lnTo>
                    <a:pt x="136" y="96"/>
                  </a:lnTo>
                  <a:lnTo>
                    <a:pt x="140" y="90"/>
                  </a:lnTo>
                  <a:lnTo>
                    <a:pt x="146" y="86"/>
                  </a:lnTo>
                  <a:lnTo>
                    <a:pt x="138" y="82"/>
                  </a:lnTo>
                  <a:lnTo>
                    <a:pt x="138" y="72"/>
                  </a:lnTo>
                  <a:lnTo>
                    <a:pt x="140" y="64"/>
                  </a:lnTo>
                  <a:lnTo>
                    <a:pt x="134" y="64"/>
                  </a:lnTo>
                  <a:lnTo>
                    <a:pt x="130" y="64"/>
                  </a:lnTo>
                  <a:lnTo>
                    <a:pt x="128" y="64"/>
                  </a:lnTo>
                  <a:lnTo>
                    <a:pt x="124" y="52"/>
                  </a:lnTo>
                  <a:lnTo>
                    <a:pt x="120" y="44"/>
                  </a:lnTo>
                  <a:lnTo>
                    <a:pt x="116" y="42"/>
                  </a:lnTo>
                  <a:lnTo>
                    <a:pt x="114" y="34"/>
                  </a:lnTo>
                  <a:lnTo>
                    <a:pt x="110" y="30"/>
                  </a:lnTo>
                  <a:lnTo>
                    <a:pt x="106" y="32"/>
                  </a:lnTo>
                  <a:lnTo>
                    <a:pt x="106" y="36"/>
                  </a:lnTo>
                  <a:lnTo>
                    <a:pt x="102" y="36"/>
                  </a:lnTo>
                  <a:lnTo>
                    <a:pt x="96" y="28"/>
                  </a:lnTo>
                  <a:lnTo>
                    <a:pt x="90" y="30"/>
                  </a:lnTo>
                  <a:lnTo>
                    <a:pt x="92" y="22"/>
                  </a:lnTo>
                  <a:lnTo>
                    <a:pt x="86" y="14"/>
                  </a:lnTo>
                  <a:lnTo>
                    <a:pt x="82" y="14"/>
                  </a:lnTo>
                  <a:lnTo>
                    <a:pt x="80" y="12"/>
                  </a:lnTo>
                  <a:lnTo>
                    <a:pt x="76" y="10"/>
                  </a:lnTo>
                  <a:lnTo>
                    <a:pt x="72" y="10"/>
                  </a:lnTo>
                  <a:lnTo>
                    <a:pt x="66" y="14"/>
                  </a:lnTo>
                  <a:lnTo>
                    <a:pt x="60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9" name="Line 6297">
              <a:extLst>
                <a:ext uri="{FF2B5EF4-FFF2-40B4-BE49-F238E27FC236}">
                  <a16:creationId xmlns:a16="http://schemas.microsoft.com/office/drawing/2014/main" id="{749C15A2-1709-4160-A550-A2619F68057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361067" y="7039430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0" name="Line 6300">
              <a:extLst>
                <a:ext uri="{FF2B5EF4-FFF2-40B4-BE49-F238E27FC236}">
                  <a16:creationId xmlns:a16="http://schemas.microsoft.com/office/drawing/2014/main" id="{2239A636-75B0-4D48-8D62-45105BA7B23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361067" y="7039430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1" name="Freeform 6301">
              <a:extLst>
                <a:ext uri="{FF2B5EF4-FFF2-40B4-BE49-F238E27FC236}">
                  <a16:creationId xmlns:a16="http://schemas.microsoft.com/office/drawing/2014/main" id="{9A949305-8E46-4721-87CF-384DFA80359C}"/>
                </a:ext>
              </a:extLst>
            </p:cNvPr>
            <p:cNvSpPr/>
            <p:nvPr/>
          </p:nvSpPr>
          <p:spPr bwMode="auto">
            <a:xfrm>
              <a:off x="5152758" y="5816049"/>
              <a:ext cx="3084" cy="3084"/>
            </a:xfrm>
            <a:custGeom>
              <a:avLst/>
              <a:gdLst>
                <a:gd name="T0" fmla="*/ 4 w 8"/>
                <a:gd name="T1" fmla="*/ 8 h 8"/>
                <a:gd name="T2" fmla="*/ 8 w 8"/>
                <a:gd name="T3" fmla="*/ 6 h 8"/>
                <a:gd name="T4" fmla="*/ 6 w 8"/>
                <a:gd name="T5" fmla="*/ 2 h 8"/>
                <a:gd name="T6" fmla="*/ 4 w 8"/>
                <a:gd name="T7" fmla="*/ 0 h 8"/>
                <a:gd name="T8" fmla="*/ 0 w 8"/>
                <a:gd name="T9" fmla="*/ 4 h 8"/>
                <a:gd name="T10" fmla="*/ 0 w 8"/>
                <a:gd name="T11" fmla="*/ 8 h 8"/>
                <a:gd name="T12" fmla="*/ 4 w 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lnTo>
                    <a:pt x="8" y="6"/>
                  </a:lnTo>
                  <a:lnTo>
                    <a:pt x="6" y="2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8"/>
                  </a:lnTo>
                  <a:lnTo>
                    <a:pt x="4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2" name="Freeform 6302">
              <a:extLst>
                <a:ext uri="{FF2B5EF4-FFF2-40B4-BE49-F238E27FC236}">
                  <a16:creationId xmlns:a16="http://schemas.microsoft.com/office/drawing/2014/main" id="{A15E4E78-12CA-4952-8C20-CD7BFCEF544B}"/>
                </a:ext>
              </a:extLst>
            </p:cNvPr>
            <p:cNvSpPr/>
            <p:nvPr/>
          </p:nvSpPr>
          <p:spPr bwMode="auto">
            <a:xfrm>
              <a:off x="4934599" y="5609069"/>
              <a:ext cx="2313" cy="2313"/>
            </a:xfrm>
            <a:custGeom>
              <a:avLst/>
              <a:gdLst>
                <a:gd name="T0" fmla="*/ 2 w 6"/>
                <a:gd name="T1" fmla="*/ 6 h 6"/>
                <a:gd name="T2" fmla="*/ 6 w 6"/>
                <a:gd name="T3" fmla="*/ 6 h 6"/>
                <a:gd name="T4" fmla="*/ 6 w 6"/>
                <a:gd name="T5" fmla="*/ 4 h 6"/>
                <a:gd name="T6" fmla="*/ 4 w 6"/>
                <a:gd name="T7" fmla="*/ 2 h 6"/>
                <a:gd name="T8" fmla="*/ 2 w 6"/>
                <a:gd name="T9" fmla="*/ 2 h 6"/>
                <a:gd name="T10" fmla="*/ 2 w 6"/>
                <a:gd name="T11" fmla="*/ 0 h 6"/>
                <a:gd name="T12" fmla="*/ 0 w 6"/>
                <a:gd name="T13" fmla="*/ 2 h 6"/>
                <a:gd name="T14" fmla="*/ 0 w 6"/>
                <a:gd name="T15" fmla="*/ 4 h 6"/>
                <a:gd name="T16" fmla="*/ 0 w 6"/>
                <a:gd name="T17" fmla="*/ 6 h 6"/>
                <a:gd name="T18" fmla="*/ 0 w 6"/>
                <a:gd name="T19" fmla="*/ 6 h 6"/>
                <a:gd name="T20" fmla="*/ 2 w 6"/>
                <a:gd name="T2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6">
                  <a:moveTo>
                    <a:pt x="2" y="6"/>
                  </a:moveTo>
                  <a:lnTo>
                    <a:pt x="6" y="6"/>
                  </a:lnTo>
                  <a:lnTo>
                    <a:pt x="6" y="4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3" name="Line 6303">
              <a:extLst>
                <a:ext uri="{FF2B5EF4-FFF2-40B4-BE49-F238E27FC236}">
                  <a16:creationId xmlns:a16="http://schemas.microsoft.com/office/drawing/2014/main" id="{1734EFE0-0C45-4560-B487-2DDF99680F0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935370" y="5611381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4" name="Line 6306">
              <a:extLst>
                <a:ext uri="{FF2B5EF4-FFF2-40B4-BE49-F238E27FC236}">
                  <a16:creationId xmlns:a16="http://schemas.microsoft.com/office/drawing/2014/main" id="{4F1C9557-322F-45A6-9456-79F7620EDA2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935370" y="5611381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5" name="Freeform 6307">
              <a:extLst>
                <a:ext uri="{FF2B5EF4-FFF2-40B4-BE49-F238E27FC236}">
                  <a16:creationId xmlns:a16="http://schemas.microsoft.com/office/drawing/2014/main" id="{34DB73E8-8A99-4DF5-942E-C2184DD4844F}"/>
                </a:ext>
              </a:extLst>
            </p:cNvPr>
            <p:cNvSpPr/>
            <p:nvPr/>
          </p:nvSpPr>
          <p:spPr bwMode="auto">
            <a:xfrm>
              <a:off x="9511680" y="5703886"/>
              <a:ext cx="4625" cy="3084"/>
            </a:xfrm>
            <a:custGeom>
              <a:avLst/>
              <a:gdLst>
                <a:gd name="T0" fmla="*/ 12 w 12"/>
                <a:gd name="T1" fmla="*/ 6 h 8"/>
                <a:gd name="T2" fmla="*/ 8 w 12"/>
                <a:gd name="T3" fmla="*/ 4 h 8"/>
                <a:gd name="T4" fmla="*/ 6 w 12"/>
                <a:gd name="T5" fmla="*/ 0 h 8"/>
                <a:gd name="T6" fmla="*/ 2 w 12"/>
                <a:gd name="T7" fmla="*/ 0 h 8"/>
                <a:gd name="T8" fmla="*/ 0 w 12"/>
                <a:gd name="T9" fmla="*/ 2 h 8"/>
                <a:gd name="T10" fmla="*/ 4 w 12"/>
                <a:gd name="T11" fmla="*/ 8 h 8"/>
                <a:gd name="T12" fmla="*/ 6 w 12"/>
                <a:gd name="T13" fmla="*/ 8 h 8"/>
                <a:gd name="T14" fmla="*/ 12 w 12"/>
                <a:gd name="T1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8">
                  <a:moveTo>
                    <a:pt x="12" y="6"/>
                  </a:moveTo>
                  <a:lnTo>
                    <a:pt x="8" y="4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4" y="8"/>
                  </a:lnTo>
                  <a:lnTo>
                    <a:pt x="6" y="8"/>
                  </a:lnTo>
                  <a:lnTo>
                    <a:pt x="12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6" name="Freeform 6309">
              <a:extLst>
                <a:ext uri="{FF2B5EF4-FFF2-40B4-BE49-F238E27FC236}">
                  <a16:creationId xmlns:a16="http://schemas.microsoft.com/office/drawing/2014/main" id="{D0CC9C8A-C4D6-42E4-BD42-94FE56B2F1B4}"/>
                </a:ext>
              </a:extLst>
            </p:cNvPr>
            <p:cNvSpPr/>
            <p:nvPr/>
          </p:nvSpPr>
          <p:spPr bwMode="auto">
            <a:xfrm>
              <a:off x="9487012" y="5680760"/>
              <a:ext cx="10021" cy="4625"/>
            </a:xfrm>
            <a:custGeom>
              <a:avLst/>
              <a:gdLst>
                <a:gd name="T0" fmla="*/ 24 w 26"/>
                <a:gd name="T1" fmla="*/ 6 h 12"/>
                <a:gd name="T2" fmla="*/ 22 w 26"/>
                <a:gd name="T3" fmla="*/ 6 h 12"/>
                <a:gd name="T4" fmla="*/ 26 w 26"/>
                <a:gd name="T5" fmla="*/ 2 h 12"/>
                <a:gd name="T6" fmla="*/ 22 w 26"/>
                <a:gd name="T7" fmla="*/ 0 h 12"/>
                <a:gd name="T8" fmla="*/ 16 w 26"/>
                <a:gd name="T9" fmla="*/ 0 h 12"/>
                <a:gd name="T10" fmla="*/ 8 w 26"/>
                <a:gd name="T11" fmla="*/ 0 h 12"/>
                <a:gd name="T12" fmla="*/ 6 w 26"/>
                <a:gd name="T13" fmla="*/ 2 h 12"/>
                <a:gd name="T14" fmla="*/ 4 w 26"/>
                <a:gd name="T15" fmla="*/ 6 h 12"/>
                <a:gd name="T16" fmla="*/ 0 w 26"/>
                <a:gd name="T17" fmla="*/ 6 h 12"/>
                <a:gd name="T18" fmla="*/ 0 w 26"/>
                <a:gd name="T19" fmla="*/ 8 h 12"/>
                <a:gd name="T20" fmla="*/ 2 w 26"/>
                <a:gd name="T21" fmla="*/ 12 h 12"/>
                <a:gd name="T22" fmla="*/ 6 w 26"/>
                <a:gd name="T23" fmla="*/ 12 h 12"/>
                <a:gd name="T24" fmla="*/ 8 w 26"/>
                <a:gd name="T25" fmla="*/ 12 h 12"/>
                <a:gd name="T26" fmla="*/ 12 w 26"/>
                <a:gd name="T27" fmla="*/ 8 h 12"/>
                <a:gd name="T28" fmla="*/ 16 w 26"/>
                <a:gd name="T29" fmla="*/ 6 h 12"/>
                <a:gd name="T30" fmla="*/ 18 w 26"/>
                <a:gd name="T31" fmla="*/ 8 h 12"/>
                <a:gd name="T32" fmla="*/ 24 w 26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12">
                  <a:moveTo>
                    <a:pt x="24" y="6"/>
                  </a:moveTo>
                  <a:lnTo>
                    <a:pt x="22" y="6"/>
                  </a:lnTo>
                  <a:lnTo>
                    <a:pt x="26" y="2"/>
                  </a:lnTo>
                  <a:lnTo>
                    <a:pt x="22" y="0"/>
                  </a:lnTo>
                  <a:lnTo>
                    <a:pt x="16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4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2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6" y="6"/>
                  </a:lnTo>
                  <a:lnTo>
                    <a:pt x="18" y="8"/>
                  </a:lnTo>
                  <a:lnTo>
                    <a:pt x="24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7" name="Freeform 315">
              <a:extLst>
                <a:ext uri="{FF2B5EF4-FFF2-40B4-BE49-F238E27FC236}">
                  <a16:creationId xmlns:a16="http://schemas.microsoft.com/office/drawing/2014/main" id="{F1708ECC-9BE8-429A-B878-1ECEDD443A5A}"/>
                </a:ext>
              </a:extLst>
            </p:cNvPr>
            <p:cNvSpPr/>
            <p:nvPr/>
          </p:nvSpPr>
          <p:spPr bwMode="auto">
            <a:xfrm>
              <a:off x="8857205" y="5444101"/>
              <a:ext cx="381584" cy="261327"/>
            </a:xfrm>
            <a:custGeom>
              <a:avLst/>
              <a:gdLst>
                <a:gd name="connsiteX0" fmla="*/ 2068064 w 2358736"/>
                <a:gd name="connsiteY0" fmla="*/ 1567728 h 1615378"/>
                <a:gd name="connsiteX1" fmla="*/ 2091892 w 2358736"/>
                <a:gd name="connsiteY1" fmla="*/ 1567728 h 1615378"/>
                <a:gd name="connsiteX2" fmla="*/ 2096656 w 2358736"/>
                <a:gd name="connsiteY2" fmla="*/ 1572492 h 1615378"/>
                <a:gd name="connsiteX3" fmla="*/ 2096656 w 2358736"/>
                <a:gd name="connsiteY3" fmla="*/ 1582022 h 1615378"/>
                <a:gd name="connsiteX4" fmla="*/ 2087124 w 2358736"/>
                <a:gd name="connsiteY4" fmla="*/ 1577256 h 1615378"/>
                <a:gd name="connsiteX5" fmla="*/ 2072832 w 2358736"/>
                <a:gd name="connsiteY5" fmla="*/ 1582022 h 1615378"/>
                <a:gd name="connsiteX6" fmla="*/ 2063300 w 2358736"/>
                <a:gd name="connsiteY6" fmla="*/ 1582022 h 1615378"/>
                <a:gd name="connsiteX7" fmla="*/ 2058536 w 2358736"/>
                <a:gd name="connsiteY7" fmla="*/ 1572492 h 1615378"/>
                <a:gd name="connsiteX8" fmla="*/ 2072832 w 2358736"/>
                <a:gd name="connsiteY8" fmla="*/ 1572492 h 1615378"/>
                <a:gd name="connsiteX9" fmla="*/ 1929876 w 2358736"/>
                <a:gd name="connsiteY9" fmla="*/ 1567728 h 1615378"/>
                <a:gd name="connsiteX10" fmla="*/ 1944172 w 2358736"/>
                <a:gd name="connsiteY10" fmla="*/ 1572492 h 1615378"/>
                <a:gd name="connsiteX11" fmla="*/ 1982292 w 2358736"/>
                <a:gd name="connsiteY11" fmla="*/ 1591552 h 1615378"/>
                <a:gd name="connsiteX12" fmla="*/ 2006120 w 2358736"/>
                <a:gd name="connsiteY12" fmla="*/ 1601082 h 1615378"/>
                <a:gd name="connsiteX13" fmla="*/ 2015648 w 2358736"/>
                <a:gd name="connsiteY13" fmla="*/ 1610612 h 1615378"/>
                <a:gd name="connsiteX14" fmla="*/ 2006120 w 2358736"/>
                <a:gd name="connsiteY14" fmla="*/ 1615378 h 1615378"/>
                <a:gd name="connsiteX15" fmla="*/ 1982292 w 2358736"/>
                <a:gd name="connsiteY15" fmla="*/ 1615378 h 1615378"/>
                <a:gd name="connsiteX16" fmla="*/ 1977528 w 2358736"/>
                <a:gd name="connsiteY16" fmla="*/ 1610612 h 1615378"/>
                <a:gd name="connsiteX17" fmla="*/ 1958468 w 2358736"/>
                <a:gd name="connsiteY17" fmla="*/ 1605848 h 1615378"/>
                <a:gd name="connsiteX18" fmla="*/ 1953704 w 2358736"/>
                <a:gd name="connsiteY18" fmla="*/ 1596318 h 1615378"/>
                <a:gd name="connsiteX19" fmla="*/ 1944172 w 2358736"/>
                <a:gd name="connsiteY19" fmla="*/ 1596318 h 1615378"/>
                <a:gd name="connsiteX20" fmla="*/ 1948936 w 2358736"/>
                <a:gd name="connsiteY20" fmla="*/ 1591552 h 1615378"/>
                <a:gd name="connsiteX21" fmla="*/ 1934644 w 2358736"/>
                <a:gd name="connsiteY21" fmla="*/ 1582022 h 1615378"/>
                <a:gd name="connsiteX22" fmla="*/ 1929876 w 2358736"/>
                <a:gd name="connsiteY22" fmla="*/ 1572492 h 1615378"/>
                <a:gd name="connsiteX23" fmla="*/ 1553432 w 2358736"/>
                <a:gd name="connsiteY23" fmla="*/ 1443832 h 1615378"/>
                <a:gd name="connsiteX24" fmla="*/ 1562960 w 2358736"/>
                <a:gd name="connsiteY24" fmla="*/ 1443832 h 1615378"/>
                <a:gd name="connsiteX25" fmla="*/ 1567728 w 2358736"/>
                <a:gd name="connsiteY25" fmla="*/ 1448598 h 1615378"/>
                <a:gd name="connsiteX26" fmla="*/ 1567728 w 2358736"/>
                <a:gd name="connsiteY26" fmla="*/ 1458128 h 1615378"/>
                <a:gd name="connsiteX27" fmla="*/ 1553432 w 2358736"/>
                <a:gd name="connsiteY27" fmla="*/ 1453364 h 1615378"/>
                <a:gd name="connsiteX28" fmla="*/ 1548668 w 2358736"/>
                <a:gd name="connsiteY28" fmla="*/ 1310410 h 1615378"/>
                <a:gd name="connsiteX29" fmla="*/ 1558196 w 2358736"/>
                <a:gd name="connsiteY29" fmla="*/ 1315176 h 1615378"/>
                <a:gd name="connsiteX30" fmla="*/ 1562964 w 2358736"/>
                <a:gd name="connsiteY30" fmla="*/ 1324706 h 1615378"/>
                <a:gd name="connsiteX31" fmla="*/ 1591552 w 2358736"/>
                <a:gd name="connsiteY31" fmla="*/ 1348532 h 1615378"/>
                <a:gd name="connsiteX32" fmla="*/ 1591552 w 2358736"/>
                <a:gd name="connsiteY32" fmla="*/ 1353296 h 1615378"/>
                <a:gd name="connsiteX33" fmla="*/ 1596320 w 2358736"/>
                <a:gd name="connsiteY33" fmla="*/ 1358062 h 1615378"/>
                <a:gd name="connsiteX34" fmla="*/ 1605848 w 2358736"/>
                <a:gd name="connsiteY34" fmla="*/ 1358062 h 1615378"/>
                <a:gd name="connsiteX35" fmla="*/ 1615380 w 2358736"/>
                <a:gd name="connsiteY35" fmla="*/ 1348532 h 1615378"/>
                <a:gd name="connsiteX36" fmla="*/ 1624908 w 2358736"/>
                <a:gd name="connsiteY36" fmla="*/ 1343766 h 1615378"/>
                <a:gd name="connsiteX37" fmla="*/ 1629672 w 2358736"/>
                <a:gd name="connsiteY37" fmla="*/ 1348532 h 1615378"/>
                <a:gd name="connsiteX38" fmla="*/ 1620144 w 2358736"/>
                <a:gd name="connsiteY38" fmla="*/ 1386652 h 1615378"/>
                <a:gd name="connsiteX39" fmla="*/ 1610612 w 2358736"/>
                <a:gd name="connsiteY39" fmla="*/ 1381886 h 1615378"/>
                <a:gd name="connsiteX40" fmla="*/ 1577256 w 2358736"/>
                <a:gd name="connsiteY40" fmla="*/ 1372356 h 1615378"/>
                <a:gd name="connsiteX41" fmla="*/ 1577256 w 2358736"/>
                <a:gd name="connsiteY41" fmla="*/ 1358062 h 1615378"/>
                <a:gd name="connsiteX42" fmla="*/ 1567728 w 2358736"/>
                <a:gd name="connsiteY42" fmla="*/ 1353296 h 1615378"/>
                <a:gd name="connsiteX43" fmla="*/ 1562964 w 2358736"/>
                <a:gd name="connsiteY43" fmla="*/ 1339000 h 1615378"/>
                <a:gd name="connsiteX44" fmla="*/ 1553432 w 2358736"/>
                <a:gd name="connsiteY44" fmla="*/ 1319940 h 1615378"/>
                <a:gd name="connsiteX45" fmla="*/ 1496248 w 2358736"/>
                <a:gd name="connsiteY45" fmla="*/ 1253228 h 1615378"/>
                <a:gd name="connsiteX46" fmla="*/ 1505780 w 2358736"/>
                <a:gd name="connsiteY46" fmla="*/ 1253228 h 1615378"/>
                <a:gd name="connsiteX47" fmla="*/ 1510544 w 2358736"/>
                <a:gd name="connsiteY47" fmla="*/ 1253228 h 1615378"/>
                <a:gd name="connsiteX48" fmla="*/ 1534372 w 2358736"/>
                <a:gd name="connsiteY48" fmla="*/ 1267524 h 1615378"/>
                <a:gd name="connsiteX49" fmla="*/ 1543900 w 2358736"/>
                <a:gd name="connsiteY49" fmla="*/ 1262758 h 1615378"/>
                <a:gd name="connsiteX50" fmla="*/ 1553432 w 2358736"/>
                <a:gd name="connsiteY50" fmla="*/ 1262758 h 1615378"/>
                <a:gd name="connsiteX51" fmla="*/ 1567728 w 2358736"/>
                <a:gd name="connsiteY51" fmla="*/ 1281820 h 1615378"/>
                <a:gd name="connsiteX52" fmla="*/ 1567728 w 2358736"/>
                <a:gd name="connsiteY52" fmla="*/ 1291350 h 1615378"/>
                <a:gd name="connsiteX53" fmla="*/ 1567728 w 2358736"/>
                <a:gd name="connsiteY53" fmla="*/ 1300880 h 1615378"/>
                <a:gd name="connsiteX54" fmla="*/ 1567728 w 2358736"/>
                <a:gd name="connsiteY54" fmla="*/ 1305644 h 1615378"/>
                <a:gd name="connsiteX55" fmla="*/ 1558196 w 2358736"/>
                <a:gd name="connsiteY55" fmla="*/ 1310410 h 1615378"/>
                <a:gd name="connsiteX56" fmla="*/ 1562960 w 2358736"/>
                <a:gd name="connsiteY56" fmla="*/ 1300880 h 1615378"/>
                <a:gd name="connsiteX57" fmla="*/ 1553432 w 2358736"/>
                <a:gd name="connsiteY57" fmla="*/ 1300880 h 1615378"/>
                <a:gd name="connsiteX58" fmla="*/ 1534372 w 2358736"/>
                <a:gd name="connsiteY58" fmla="*/ 1300880 h 1615378"/>
                <a:gd name="connsiteX59" fmla="*/ 1520076 w 2358736"/>
                <a:gd name="connsiteY59" fmla="*/ 1296114 h 1615378"/>
                <a:gd name="connsiteX60" fmla="*/ 1496248 w 2358736"/>
                <a:gd name="connsiteY60" fmla="*/ 1296114 h 1615378"/>
                <a:gd name="connsiteX61" fmla="*/ 1505780 w 2358736"/>
                <a:gd name="connsiteY61" fmla="*/ 1286584 h 1615378"/>
                <a:gd name="connsiteX62" fmla="*/ 1510544 w 2358736"/>
                <a:gd name="connsiteY62" fmla="*/ 1281820 h 1615378"/>
                <a:gd name="connsiteX63" fmla="*/ 1496248 w 2358736"/>
                <a:gd name="connsiteY63" fmla="*/ 1267524 h 1615378"/>
                <a:gd name="connsiteX64" fmla="*/ 1496248 w 2358736"/>
                <a:gd name="connsiteY64" fmla="*/ 1257994 h 1615378"/>
                <a:gd name="connsiteX65" fmla="*/ 1462896 w 2358736"/>
                <a:gd name="connsiteY65" fmla="*/ 1229404 h 1615378"/>
                <a:gd name="connsiteX66" fmla="*/ 1477188 w 2358736"/>
                <a:gd name="connsiteY66" fmla="*/ 1238934 h 1615378"/>
                <a:gd name="connsiteX67" fmla="*/ 1486720 w 2358736"/>
                <a:gd name="connsiteY67" fmla="*/ 1253228 h 1615378"/>
                <a:gd name="connsiteX68" fmla="*/ 1486720 w 2358736"/>
                <a:gd name="connsiteY68" fmla="*/ 1262758 h 1615378"/>
                <a:gd name="connsiteX69" fmla="*/ 1481956 w 2358736"/>
                <a:gd name="connsiteY69" fmla="*/ 1277054 h 1615378"/>
                <a:gd name="connsiteX70" fmla="*/ 1481956 w 2358736"/>
                <a:gd name="connsiteY70" fmla="*/ 1281820 h 1615378"/>
                <a:gd name="connsiteX71" fmla="*/ 1472424 w 2358736"/>
                <a:gd name="connsiteY71" fmla="*/ 1277054 h 1615378"/>
                <a:gd name="connsiteX72" fmla="*/ 1448600 w 2358736"/>
                <a:gd name="connsiteY72" fmla="*/ 1257994 h 1615378"/>
                <a:gd name="connsiteX73" fmla="*/ 1448600 w 2358736"/>
                <a:gd name="connsiteY73" fmla="*/ 1238934 h 1615378"/>
                <a:gd name="connsiteX74" fmla="*/ 1829808 w 2358736"/>
                <a:gd name="connsiteY74" fmla="*/ 1191282 h 1615378"/>
                <a:gd name="connsiteX75" fmla="*/ 1839340 w 2358736"/>
                <a:gd name="connsiteY75" fmla="*/ 1191282 h 1615378"/>
                <a:gd name="connsiteX76" fmla="*/ 1848868 w 2358736"/>
                <a:gd name="connsiteY76" fmla="*/ 1196048 h 1615378"/>
                <a:gd name="connsiteX77" fmla="*/ 1867932 w 2358736"/>
                <a:gd name="connsiteY77" fmla="*/ 1191282 h 1615378"/>
                <a:gd name="connsiteX78" fmla="*/ 1872696 w 2358736"/>
                <a:gd name="connsiteY78" fmla="*/ 1200812 h 1615378"/>
                <a:gd name="connsiteX79" fmla="*/ 1882224 w 2358736"/>
                <a:gd name="connsiteY79" fmla="*/ 1205578 h 1615378"/>
                <a:gd name="connsiteX80" fmla="*/ 1891756 w 2358736"/>
                <a:gd name="connsiteY80" fmla="*/ 1210342 h 1615378"/>
                <a:gd name="connsiteX81" fmla="*/ 1896520 w 2358736"/>
                <a:gd name="connsiteY81" fmla="*/ 1215108 h 1615378"/>
                <a:gd name="connsiteX82" fmla="*/ 1896520 w 2358736"/>
                <a:gd name="connsiteY82" fmla="*/ 1219872 h 1615378"/>
                <a:gd name="connsiteX83" fmla="*/ 1891756 w 2358736"/>
                <a:gd name="connsiteY83" fmla="*/ 1224638 h 1615378"/>
                <a:gd name="connsiteX84" fmla="*/ 1891756 w 2358736"/>
                <a:gd name="connsiteY84" fmla="*/ 1229402 h 1615378"/>
                <a:gd name="connsiteX85" fmla="*/ 1886992 w 2358736"/>
                <a:gd name="connsiteY85" fmla="*/ 1229402 h 1615378"/>
                <a:gd name="connsiteX86" fmla="*/ 1877460 w 2358736"/>
                <a:gd name="connsiteY86" fmla="*/ 1234168 h 1615378"/>
                <a:gd name="connsiteX87" fmla="*/ 1858400 w 2358736"/>
                <a:gd name="connsiteY87" fmla="*/ 1224638 h 1615378"/>
                <a:gd name="connsiteX88" fmla="*/ 1853636 w 2358736"/>
                <a:gd name="connsiteY88" fmla="*/ 1224638 h 1615378"/>
                <a:gd name="connsiteX89" fmla="*/ 1853636 w 2358736"/>
                <a:gd name="connsiteY89" fmla="*/ 1219872 h 1615378"/>
                <a:gd name="connsiteX90" fmla="*/ 1839340 w 2358736"/>
                <a:gd name="connsiteY90" fmla="*/ 1205578 h 1615378"/>
                <a:gd name="connsiteX91" fmla="*/ 1820280 w 2358736"/>
                <a:gd name="connsiteY91" fmla="*/ 1200812 h 1615378"/>
                <a:gd name="connsiteX92" fmla="*/ 1601084 w 2358736"/>
                <a:gd name="connsiteY92" fmla="*/ 1105508 h 1615378"/>
                <a:gd name="connsiteX93" fmla="*/ 1605848 w 2358736"/>
                <a:gd name="connsiteY93" fmla="*/ 1105508 h 1615378"/>
                <a:gd name="connsiteX94" fmla="*/ 1601084 w 2358736"/>
                <a:gd name="connsiteY94" fmla="*/ 1124570 h 1615378"/>
                <a:gd name="connsiteX95" fmla="*/ 1605848 w 2358736"/>
                <a:gd name="connsiteY95" fmla="*/ 1129334 h 1615378"/>
                <a:gd name="connsiteX96" fmla="*/ 1601084 w 2358736"/>
                <a:gd name="connsiteY96" fmla="*/ 1157926 h 1615378"/>
                <a:gd name="connsiteX97" fmla="*/ 1605848 w 2358736"/>
                <a:gd name="connsiteY97" fmla="*/ 1167456 h 1615378"/>
                <a:gd name="connsiteX98" fmla="*/ 1591552 w 2358736"/>
                <a:gd name="connsiteY98" fmla="*/ 1157926 h 1615378"/>
                <a:gd name="connsiteX99" fmla="*/ 1596320 w 2358736"/>
                <a:gd name="connsiteY99" fmla="*/ 1143630 h 1615378"/>
                <a:gd name="connsiteX100" fmla="*/ 1596320 w 2358736"/>
                <a:gd name="connsiteY100" fmla="*/ 1134100 h 1615378"/>
                <a:gd name="connsiteX101" fmla="*/ 1596320 w 2358736"/>
                <a:gd name="connsiteY101" fmla="*/ 1129334 h 1615378"/>
                <a:gd name="connsiteX102" fmla="*/ 1586788 w 2358736"/>
                <a:gd name="connsiteY102" fmla="*/ 1124570 h 1615378"/>
                <a:gd name="connsiteX103" fmla="*/ 1591552 w 2358736"/>
                <a:gd name="connsiteY103" fmla="*/ 1110274 h 1615378"/>
                <a:gd name="connsiteX104" fmla="*/ 366916 w 2358736"/>
                <a:gd name="connsiteY104" fmla="*/ 1105508 h 1615378"/>
                <a:gd name="connsiteX105" fmla="*/ 381212 w 2358736"/>
                <a:gd name="connsiteY105" fmla="*/ 1115040 h 1615378"/>
                <a:gd name="connsiteX106" fmla="*/ 405036 w 2358736"/>
                <a:gd name="connsiteY106" fmla="*/ 1124570 h 1615378"/>
                <a:gd name="connsiteX107" fmla="*/ 428864 w 2358736"/>
                <a:gd name="connsiteY107" fmla="*/ 1138864 h 1615378"/>
                <a:gd name="connsiteX108" fmla="*/ 428864 w 2358736"/>
                <a:gd name="connsiteY108" fmla="*/ 1148396 h 1615378"/>
                <a:gd name="connsiteX109" fmla="*/ 405036 w 2358736"/>
                <a:gd name="connsiteY109" fmla="*/ 1138864 h 1615378"/>
                <a:gd name="connsiteX110" fmla="*/ 385976 w 2358736"/>
                <a:gd name="connsiteY110" fmla="*/ 1119804 h 1615378"/>
                <a:gd name="connsiteX111" fmla="*/ 376444 w 2358736"/>
                <a:gd name="connsiteY111" fmla="*/ 1119804 h 1615378"/>
                <a:gd name="connsiteX112" fmla="*/ 385976 w 2358736"/>
                <a:gd name="connsiteY112" fmla="*/ 1100744 h 1615378"/>
                <a:gd name="connsiteX113" fmla="*/ 419332 w 2358736"/>
                <a:gd name="connsiteY113" fmla="*/ 1100744 h 1615378"/>
                <a:gd name="connsiteX114" fmla="*/ 424096 w 2358736"/>
                <a:gd name="connsiteY114" fmla="*/ 1100744 h 1615378"/>
                <a:gd name="connsiteX115" fmla="*/ 428864 w 2358736"/>
                <a:gd name="connsiteY115" fmla="*/ 1115040 h 1615378"/>
                <a:gd name="connsiteX116" fmla="*/ 419332 w 2358736"/>
                <a:gd name="connsiteY116" fmla="*/ 1115040 h 1615378"/>
                <a:gd name="connsiteX117" fmla="*/ 390740 w 2358736"/>
                <a:gd name="connsiteY117" fmla="*/ 1105508 h 1615378"/>
                <a:gd name="connsiteX118" fmla="*/ 2325384 w 2358736"/>
                <a:gd name="connsiteY118" fmla="*/ 876784 h 1615378"/>
                <a:gd name="connsiteX119" fmla="*/ 2344444 w 2358736"/>
                <a:gd name="connsiteY119" fmla="*/ 891078 h 1615378"/>
                <a:gd name="connsiteX120" fmla="*/ 2339676 w 2358736"/>
                <a:gd name="connsiteY120" fmla="*/ 895844 h 1615378"/>
                <a:gd name="connsiteX121" fmla="*/ 2325384 w 2358736"/>
                <a:gd name="connsiteY121" fmla="*/ 900608 h 1615378"/>
                <a:gd name="connsiteX122" fmla="*/ 2315852 w 2358736"/>
                <a:gd name="connsiteY122" fmla="*/ 895844 h 1615378"/>
                <a:gd name="connsiteX123" fmla="*/ 2320616 w 2358736"/>
                <a:gd name="connsiteY123" fmla="*/ 886314 h 1615378"/>
                <a:gd name="connsiteX124" fmla="*/ 1086448 w 2358736"/>
                <a:gd name="connsiteY124" fmla="*/ 648056 h 1615378"/>
                <a:gd name="connsiteX125" fmla="*/ 1091216 w 2358736"/>
                <a:gd name="connsiteY125" fmla="*/ 648056 h 1615378"/>
                <a:gd name="connsiteX126" fmla="*/ 1124568 w 2358736"/>
                <a:gd name="connsiteY126" fmla="*/ 662352 h 1615378"/>
                <a:gd name="connsiteX127" fmla="*/ 1129336 w 2358736"/>
                <a:gd name="connsiteY127" fmla="*/ 671882 h 1615378"/>
                <a:gd name="connsiteX128" fmla="*/ 1124568 w 2358736"/>
                <a:gd name="connsiteY128" fmla="*/ 690942 h 1615378"/>
                <a:gd name="connsiteX129" fmla="*/ 1119804 w 2358736"/>
                <a:gd name="connsiteY129" fmla="*/ 700472 h 1615378"/>
                <a:gd name="connsiteX130" fmla="*/ 1115040 w 2358736"/>
                <a:gd name="connsiteY130" fmla="*/ 700472 h 1615378"/>
                <a:gd name="connsiteX131" fmla="*/ 1110276 w 2358736"/>
                <a:gd name="connsiteY131" fmla="*/ 690942 h 1615378"/>
                <a:gd name="connsiteX132" fmla="*/ 1095980 w 2358736"/>
                <a:gd name="connsiteY132" fmla="*/ 686178 h 1615378"/>
                <a:gd name="connsiteX133" fmla="*/ 1081684 w 2358736"/>
                <a:gd name="connsiteY133" fmla="*/ 667118 h 1615378"/>
                <a:gd name="connsiteX134" fmla="*/ 1081684 w 2358736"/>
                <a:gd name="connsiteY134" fmla="*/ 652822 h 1615378"/>
                <a:gd name="connsiteX135" fmla="*/ 2168132 w 2358736"/>
                <a:gd name="connsiteY135" fmla="*/ 638528 h 1615378"/>
                <a:gd name="connsiteX136" fmla="*/ 2172900 w 2358736"/>
                <a:gd name="connsiteY136" fmla="*/ 638528 h 1615378"/>
                <a:gd name="connsiteX137" fmla="*/ 2182428 w 2358736"/>
                <a:gd name="connsiteY137" fmla="*/ 648058 h 1615378"/>
                <a:gd name="connsiteX138" fmla="*/ 2191960 w 2358736"/>
                <a:gd name="connsiteY138" fmla="*/ 652822 h 1615378"/>
                <a:gd name="connsiteX139" fmla="*/ 2211020 w 2358736"/>
                <a:gd name="connsiteY139" fmla="*/ 652822 h 1615378"/>
                <a:gd name="connsiteX140" fmla="*/ 2225316 w 2358736"/>
                <a:gd name="connsiteY140" fmla="*/ 667118 h 1615378"/>
                <a:gd name="connsiteX141" fmla="*/ 2239608 w 2358736"/>
                <a:gd name="connsiteY141" fmla="*/ 690944 h 1615378"/>
                <a:gd name="connsiteX142" fmla="*/ 2239608 w 2358736"/>
                <a:gd name="connsiteY142" fmla="*/ 700474 h 1615378"/>
                <a:gd name="connsiteX143" fmla="*/ 2244376 w 2358736"/>
                <a:gd name="connsiteY143" fmla="*/ 705238 h 1615378"/>
                <a:gd name="connsiteX144" fmla="*/ 2258672 w 2358736"/>
                <a:gd name="connsiteY144" fmla="*/ 714770 h 1615378"/>
                <a:gd name="connsiteX145" fmla="*/ 2268200 w 2358736"/>
                <a:gd name="connsiteY145" fmla="*/ 719534 h 1615378"/>
                <a:gd name="connsiteX146" fmla="*/ 2282496 w 2358736"/>
                <a:gd name="connsiteY146" fmla="*/ 748124 h 1615378"/>
                <a:gd name="connsiteX147" fmla="*/ 2292028 w 2358736"/>
                <a:gd name="connsiteY147" fmla="*/ 752890 h 1615378"/>
                <a:gd name="connsiteX148" fmla="*/ 2301556 w 2358736"/>
                <a:gd name="connsiteY148" fmla="*/ 757656 h 1615378"/>
                <a:gd name="connsiteX149" fmla="*/ 2311088 w 2358736"/>
                <a:gd name="connsiteY149" fmla="*/ 762420 h 1615378"/>
                <a:gd name="connsiteX150" fmla="*/ 2325384 w 2358736"/>
                <a:gd name="connsiteY150" fmla="*/ 771950 h 1615378"/>
                <a:gd name="connsiteX151" fmla="*/ 2339676 w 2358736"/>
                <a:gd name="connsiteY151" fmla="*/ 786246 h 1615378"/>
                <a:gd name="connsiteX152" fmla="*/ 2349208 w 2358736"/>
                <a:gd name="connsiteY152" fmla="*/ 800542 h 1615378"/>
                <a:gd name="connsiteX153" fmla="*/ 2353972 w 2358736"/>
                <a:gd name="connsiteY153" fmla="*/ 814836 h 1615378"/>
                <a:gd name="connsiteX154" fmla="*/ 2358736 w 2358736"/>
                <a:gd name="connsiteY154" fmla="*/ 833898 h 1615378"/>
                <a:gd name="connsiteX155" fmla="*/ 2353972 w 2358736"/>
                <a:gd name="connsiteY155" fmla="*/ 848192 h 1615378"/>
                <a:gd name="connsiteX156" fmla="*/ 2353972 w 2358736"/>
                <a:gd name="connsiteY156" fmla="*/ 852958 h 1615378"/>
                <a:gd name="connsiteX157" fmla="*/ 2349208 w 2358736"/>
                <a:gd name="connsiteY157" fmla="*/ 843428 h 1615378"/>
                <a:gd name="connsiteX158" fmla="*/ 2334912 w 2358736"/>
                <a:gd name="connsiteY158" fmla="*/ 852958 h 1615378"/>
                <a:gd name="connsiteX159" fmla="*/ 2330148 w 2358736"/>
                <a:gd name="connsiteY159" fmla="*/ 857722 h 1615378"/>
                <a:gd name="connsiteX160" fmla="*/ 2320616 w 2358736"/>
                <a:gd name="connsiteY160" fmla="*/ 862488 h 1615378"/>
                <a:gd name="connsiteX161" fmla="*/ 2306320 w 2358736"/>
                <a:gd name="connsiteY161" fmla="*/ 857722 h 1615378"/>
                <a:gd name="connsiteX162" fmla="*/ 2292028 w 2358736"/>
                <a:gd name="connsiteY162" fmla="*/ 857722 h 1615378"/>
                <a:gd name="connsiteX163" fmla="*/ 2277732 w 2358736"/>
                <a:gd name="connsiteY163" fmla="*/ 848192 h 1615378"/>
                <a:gd name="connsiteX164" fmla="*/ 2263436 w 2358736"/>
                <a:gd name="connsiteY164" fmla="*/ 838662 h 1615378"/>
                <a:gd name="connsiteX165" fmla="*/ 2249140 w 2358736"/>
                <a:gd name="connsiteY165" fmla="*/ 824366 h 1615378"/>
                <a:gd name="connsiteX166" fmla="*/ 2244376 w 2358736"/>
                <a:gd name="connsiteY166" fmla="*/ 810072 h 1615378"/>
                <a:gd name="connsiteX167" fmla="*/ 2244376 w 2358736"/>
                <a:gd name="connsiteY167" fmla="*/ 791012 h 1615378"/>
                <a:gd name="connsiteX168" fmla="*/ 2239608 w 2358736"/>
                <a:gd name="connsiteY168" fmla="*/ 771950 h 1615378"/>
                <a:gd name="connsiteX169" fmla="*/ 2215784 w 2358736"/>
                <a:gd name="connsiteY169" fmla="*/ 762420 h 1615378"/>
                <a:gd name="connsiteX170" fmla="*/ 2211020 w 2358736"/>
                <a:gd name="connsiteY170" fmla="*/ 757656 h 1615378"/>
                <a:gd name="connsiteX171" fmla="*/ 2201488 w 2358736"/>
                <a:gd name="connsiteY171" fmla="*/ 743360 h 1615378"/>
                <a:gd name="connsiteX172" fmla="*/ 2191960 w 2358736"/>
                <a:gd name="connsiteY172" fmla="*/ 733830 h 1615378"/>
                <a:gd name="connsiteX173" fmla="*/ 2177664 w 2358736"/>
                <a:gd name="connsiteY173" fmla="*/ 719534 h 1615378"/>
                <a:gd name="connsiteX174" fmla="*/ 2172900 w 2358736"/>
                <a:gd name="connsiteY174" fmla="*/ 714770 h 1615378"/>
                <a:gd name="connsiteX175" fmla="*/ 2168132 w 2358736"/>
                <a:gd name="connsiteY175" fmla="*/ 695708 h 1615378"/>
                <a:gd name="connsiteX176" fmla="*/ 2163368 w 2358736"/>
                <a:gd name="connsiteY176" fmla="*/ 686178 h 1615378"/>
                <a:gd name="connsiteX177" fmla="*/ 2168132 w 2358736"/>
                <a:gd name="connsiteY177" fmla="*/ 652822 h 1615378"/>
                <a:gd name="connsiteX178" fmla="*/ 981616 w 2358736"/>
                <a:gd name="connsiteY178" fmla="*/ 600406 h 1615378"/>
                <a:gd name="connsiteX179" fmla="*/ 991148 w 2358736"/>
                <a:gd name="connsiteY179" fmla="*/ 609936 h 1615378"/>
                <a:gd name="connsiteX180" fmla="*/ 995912 w 2358736"/>
                <a:gd name="connsiteY180" fmla="*/ 628996 h 1615378"/>
                <a:gd name="connsiteX181" fmla="*/ 986380 w 2358736"/>
                <a:gd name="connsiteY181" fmla="*/ 638528 h 1615378"/>
                <a:gd name="connsiteX182" fmla="*/ 976852 w 2358736"/>
                <a:gd name="connsiteY182" fmla="*/ 638528 h 1615378"/>
                <a:gd name="connsiteX183" fmla="*/ 962556 w 2358736"/>
                <a:gd name="connsiteY183" fmla="*/ 624232 h 1615378"/>
                <a:gd name="connsiteX184" fmla="*/ 962556 w 2358736"/>
                <a:gd name="connsiteY184" fmla="*/ 614702 h 1615378"/>
                <a:gd name="connsiteX185" fmla="*/ 962556 w 2358736"/>
                <a:gd name="connsiteY185" fmla="*/ 609936 h 1615378"/>
                <a:gd name="connsiteX186" fmla="*/ 2153840 w 2358736"/>
                <a:gd name="connsiteY186" fmla="*/ 571816 h 1615378"/>
                <a:gd name="connsiteX187" fmla="*/ 2158604 w 2358736"/>
                <a:gd name="connsiteY187" fmla="*/ 576580 h 1615378"/>
                <a:gd name="connsiteX188" fmla="*/ 2163368 w 2358736"/>
                <a:gd name="connsiteY188" fmla="*/ 590876 h 1615378"/>
                <a:gd name="connsiteX189" fmla="*/ 2168136 w 2358736"/>
                <a:gd name="connsiteY189" fmla="*/ 600406 h 1615378"/>
                <a:gd name="connsiteX190" fmla="*/ 2163368 w 2358736"/>
                <a:gd name="connsiteY190" fmla="*/ 628996 h 1615378"/>
                <a:gd name="connsiteX191" fmla="*/ 2153840 w 2358736"/>
                <a:gd name="connsiteY191" fmla="*/ 638528 h 1615378"/>
                <a:gd name="connsiteX192" fmla="*/ 2144308 w 2358736"/>
                <a:gd name="connsiteY192" fmla="*/ 619466 h 1615378"/>
                <a:gd name="connsiteX193" fmla="*/ 2144308 w 2358736"/>
                <a:gd name="connsiteY193" fmla="*/ 605172 h 1615378"/>
                <a:gd name="connsiteX194" fmla="*/ 2139544 w 2358736"/>
                <a:gd name="connsiteY194" fmla="*/ 590876 h 1615378"/>
                <a:gd name="connsiteX195" fmla="*/ 2139544 w 2358736"/>
                <a:gd name="connsiteY195" fmla="*/ 586110 h 1615378"/>
                <a:gd name="connsiteX196" fmla="*/ 2149072 w 2358736"/>
                <a:gd name="connsiteY196" fmla="*/ 576580 h 1615378"/>
                <a:gd name="connsiteX197" fmla="*/ 805308 w 2358736"/>
                <a:gd name="connsiteY197" fmla="*/ 495572 h 1615378"/>
                <a:gd name="connsiteX198" fmla="*/ 810072 w 2358736"/>
                <a:gd name="connsiteY198" fmla="*/ 500338 h 1615378"/>
                <a:gd name="connsiteX199" fmla="*/ 810072 w 2358736"/>
                <a:gd name="connsiteY199" fmla="*/ 514634 h 1615378"/>
                <a:gd name="connsiteX200" fmla="*/ 805308 w 2358736"/>
                <a:gd name="connsiteY200" fmla="*/ 524164 h 1615378"/>
                <a:gd name="connsiteX201" fmla="*/ 795776 w 2358736"/>
                <a:gd name="connsiteY201" fmla="*/ 528928 h 1615378"/>
                <a:gd name="connsiteX202" fmla="*/ 791012 w 2358736"/>
                <a:gd name="connsiteY202" fmla="*/ 528928 h 1615378"/>
                <a:gd name="connsiteX203" fmla="*/ 786248 w 2358736"/>
                <a:gd name="connsiteY203" fmla="*/ 514634 h 1615378"/>
                <a:gd name="connsiteX204" fmla="*/ 786248 w 2358736"/>
                <a:gd name="connsiteY204" fmla="*/ 505104 h 1615378"/>
                <a:gd name="connsiteX205" fmla="*/ 795776 w 2358736"/>
                <a:gd name="connsiteY205" fmla="*/ 500338 h 1615378"/>
                <a:gd name="connsiteX206" fmla="*/ 1677324 w 2358736"/>
                <a:gd name="connsiteY206" fmla="*/ 443156 h 1615378"/>
                <a:gd name="connsiteX207" fmla="*/ 1696388 w 2358736"/>
                <a:gd name="connsiteY207" fmla="*/ 443156 h 1615378"/>
                <a:gd name="connsiteX208" fmla="*/ 1710680 w 2358736"/>
                <a:gd name="connsiteY208" fmla="*/ 447922 h 1615378"/>
                <a:gd name="connsiteX209" fmla="*/ 1720212 w 2358736"/>
                <a:gd name="connsiteY209" fmla="*/ 452688 h 1615378"/>
                <a:gd name="connsiteX210" fmla="*/ 1729744 w 2358736"/>
                <a:gd name="connsiteY210" fmla="*/ 457452 h 1615378"/>
                <a:gd name="connsiteX211" fmla="*/ 1734508 w 2358736"/>
                <a:gd name="connsiteY211" fmla="*/ 462218 h 1615378"/>
                <a:gd name="connsiteX212" fmla="*/ 1758332 w 2358736"/>
                <a:gd name="connsiteY212" fmla="*/ 443156 h 1615378"/>
                <a:gd name="connsiteX213" fmla="*/ 1772628 w 2358736"/>
                <a:gd name="connsiteY213" fmla="*/ 457452 h 1615378"/>
                <a:gd name="connsiteX214" fmla="*/ 1786924 w 2358736"/>
                <a:gd name="connsiteY214" fmla="*/ 462218 h 1615378"/>
                <a:gd name="connsiteX215" fmla="*/ 1805984 w 2358736"/>
                <a:gd name="connsiteY215" fmla="*/ 466982 h 1615378"/>
                <a:gd name="connsiteX216" fmla="*/ 1796452 w 2358736"/>
                <a:gd name="connsiteY216" fmla="*/ 490808 h 1615378"/>
                <a:gd name="connsiteX217" fmla="*/ 1801220 w 2358736"/>
                <a:gd name="connsiteY217" fmla="*/ 500338 h 1615378"/>
                <a:gd name="connsiteX218" fmla="*/ 1805984 w 2358736"/>
                <a:gd name="connsiteY218" fmla="*/ 509868 h 1615378"/>
                <a:gd name="connsiteX219" fmla="*/ 1805984 w 2358736"/>
                <a:gd name="connsiteY219" fmla="*/ 524164 h 1615378"/>
                <a:gd name="connsiteX220" fmla="*/ 1796452 w 2358736"/>
                <a:gd name="connsiteY220" fmla="*/ 538460 h 1615378"/>
                <a:gd name="connsiteX221" fmla="*/ 1782160 w 2358736"/>
                <a:gd name="connsiteY221" fmla="*/ 562286 h 1615378"/>
                <a:gd name="connsiteX222" fmla="*/ 1772628 w 2358736"/>
                <a:gd name="connsiteY222" fmla="*/ 567050 h 1615378"/>
                <a:gd name="connsiteX223" fmla="*/ 1767864 w 2358736"/>
                <a:gd name="connsiteY223" fmla="*/ 567050 h 1615378"/>
                <a:gd name="connsiteX224" fmla="*/ 1744036 w 2358736"/>
                <a:gd name="connsiteY224" fmla="*/ 571816 h 1615378"/>
                <a:gd name="connsiteX225" fmla="*/ 1739272 w 2358736"/>
                <a:gd name="connsiteY225" fmla="*/ 581346 h 1615378"/>
                <a:gd name="connsiteX226" fmla="*/ 1739272 w 2358736"/>
                <a:gd name="connsiteY226" fmla="*/ 590876 h 1615378"/>
                <a:gd name="connsiteX227" fmla="*/ 1753568 w 2358736"/>
                <a:gd name="connsiteY227" fmla="*/ 609936 h 1615378"/>
                <a:gd name="connsiteX228" fmla="*/ 1763096 w 2358736"/>
                <a:gd name="connsiteY228" fmla="*/ 624232 h 1615378"/>
                <a:gd name="connsiteX229" fmla="*/ 1753568 w 2358736"/>
                <a:gd name="connsiteY229" fmla="*/ 638528 h 1615378"/>
                <a:gd name="connsiteX230" fmla="*/ 1734508 w 2358736"/>
                <a:gd name="connsiteY230" fmla="*/ 652822 h 1615378"/>
                <a:gd name="connsiteX231" fmla="*/ 1720212 w 2358736"/>
                <a:gd name="connsiteY231" fmla="*/ 657588 h 1615378"/>
                <a:gd name="connsiteX232" fmla="*/ 1691620 w 2358736"/>
                <a:gd name="connsiteY232" fmla="*/ 652822 h 1615378"/>
                <a:gd name="connsiteX233" fmla="*/ 1667796 w 2358736"/>
                <a:gd name="connsiteY233" fmla="*/ 657588 h 1615378"/>
                <a:gd name="connsiteX234" fmla="*/ 1658264 w 2358736"/>
                <a:gd name="connsiteY234" fmla="*/ 662352 h 1615378"/>
                <a:gd name="connsiteX235" fmla="*/ 1658264 w 2358736"/>
                <a:gd name="connsiteY235" fmla="*/ 671884 h 1615378"/>
                <a:gd name="connsiteX236" fmla="*/ 1653500 w 2358736"/>
                <a:gd name="connsiteY236" fmla="*/ 676648 h 1615378"/>
                <a:gd name="connsiteX237" fmla="*/ 1648736 w 2358736"/>
                <a:gd name="connsiteY237" fmla="*/ 686178 h 1615378"/>
                <a:gd name="connsiteX238" fmla="*/ 1634440 w 2358736"/>
                <a:gd name="connsiteY238" fmla="*/ 700474 h 1615378"/>
                <a:gd name="connsiteX239" fmla="*/ 1620144 w 2358736"/>
                <a:gd name="connsiteY239" fmla="*/ 714770 h 1615378"/>
                <a:gd name="connsiteX240" fmla="*/ 1601084 w 2358736"/>
                <a:gd name="connsiteY240" fmla="*/ 724300 h 1615378"/>
                <a:gd name="connsiteX241" fmla="*/ 1591552 w 2358736"/>
                <a:gd name="connsiteY241" fmla="*/ 729064 h 1615378"/>
                <a:gd name="connsiteX242" fmla="*/ 1572492 w 2358736"/>
                <a:gd name="connsiteY242" fmla="*/ 729064 h 1615378"/>
                <a:gd name="connsiteX243" fmla="*/ 1553432 w 2358736"/>
                <a:gd name="connsiteY243" fmla="*/ 738596 h 1615378"/>
                <a:gd name="connsiteX244" fmla="*/ 1548668 w 2358736"/>
                <a:gd name="connsiteY244" fmla="*/ 743360 h 1615378"/>
                <a:gd name="connsiteX245" fmla="*/ 1539136 w 2358736"/>
                <a:gd name="connsiteY245" fmla="*/ 748126 h 1615378"/>
                <a:gd name="connsiteX246" fmla="*/ 1520076 w 2358736"/>
                <a:gd name="connsiteY246" fmla="*/ 752890 h 1615378"/>
                <a:gd name="connsiteX247" fmla="*/ 1501016 w 2358736"/>
                <a:gd name="connsiteY247" fmla="*/ 767186 h 1615378"/>
                <a:gd name="connsiteX248" fmla="*/ 1496252 w 2358736"/>
                <a:gd name="connsiteY248" fmla="*/ 767186 h 1615378"/>
                <a:gd name="connsiteX249" fmla="*/ 1458128 w 2358736"/>
                <a:gd name="connsiteY249" fmla="*/ 771952 h 1615378"/>
                <a:gd name="connsiteX250" fmla="*/ 1405712 w 2358736"/>
                <a:gd name="connsiteY250" fmla="*/ 771952 h 1615378"/>
                <a:gd name="connsiteX251" fmla="*/ 1391416 w 2358736"/>
                <a:gd name="connsiteY251" fmla="*/ 771952 h 1615378"/>
                <a:gd name="connsiteX252" fmla="*/ 1372356 w 2358736"/>
                <a:gd name="connsiteY252" fmla="*/ 771952 h 1615378"/>
                <a:gd name="connsiteX253" fmla="*/ 1367592 w 2358736"/>
                <a:gd name="connsiteY253" fmla="*/ 767186 h 1615378"/>
                <a:gd name="connsiteX254" fmla="*/ 1348532 w 2358736"/>
                <a:gd name="connsiteY254" fmla="*/ 743360 h 1615378"/>
                <a:gd name="connsiteX255" fmla="*/ 1334236 w 2358736"/>
                <a:gd name="connsiteY255" fmla="*/ 738596 h 1615378"/>
                <a:gd name="connsiteX256" fmla="*/ 1315176 w 2358736"/>
                <a:gd name="connsiteY256" fmla="*/ 738596 h 1615378"/>
                <a:gd name="connsiteX257" fmla="*/ 1291352 w 2358736"/>
                <a:gd name="connsiteY257" fmla="*/ 748126 h 1615378"/>
                <a:gd name="connsiteX258" fmla="*/ 1286584 w 2358736"/>
                <a:gd name="connsiteY258" fmla="*/ 743360 h 1615378"/>
                <a:gd name="connsiteX259" fmla="*/ 1243700 w 2358736"/>
                <a:gd name="connsiteY259" fmla="*/ 714770 h 1615378"/>
                <a:gd name="connsiteX260" fmla="*/ 1229404 w 2358736"/>
                <a:gd name="connsiteY260" fmla="*/ 705240 h 1615378"/>
                <a:gd name="connsiteX261" fmla="*/ 1215108 w 2358736"/>
                <a:gd name="connsiteY261" fmla="*/ 700474 h 1615378"/>
                <a:gd name="connsiteX262" fmla="*/ 1196048 w 2358736"/>
                <a:gd name="connsiteY262" fmla="*/ 695708 h 1615378"/>
                <a:gd name="connsiteX263" fmla="*/ 1176988 w 2358736"/>
                <a:gd name="connsiteY263" fmla="*/ 690944 h 1615378"/>
                <a:gd name="connsiteX264" fmla="*/ 1167456 w 2358736"/>
                <a:gd name="connsiteY264" fmla="*/ 671884 h 1615378"/>
                <a:gd name="connsiteX265" fmla="*/ 1172224 w 2358736"/>
                <a:gd name="connsiteY265" fmla="*/ 652822 h 1615378"/>
                <a:gd name="connsiteX266" fmla="*/ 1181752 w 2358736"/>
                <a:gd name="connsiteY266" fmla="*/ 643292 h 1615378"/>
                <a:gd name="connsiteX267" fmla="*/ 1205580 w 2358736"/>
                <a:gd name="connsiteY267" fmla="*/ 648058 h 1615378"/>
                <a:gd name="connsiteX268" fmla="*/ 1215108 w 2358736"/>
                <a:gd name="connsiteY268" fmla="*/ 648058 h 1615378"/>
                <a:gd name="connsiteX269" fmla="*/ 1219872 w 2358736"/>
                <a:gd name="connsiteY269" fmla="*/ 643292 h 1615378"/>
                <a:gd name="connsiteX270" fmla="*/ 1229404 w 2358736"/>
                <a:gd name="connsiteY270" fmla="*/ 648058 h 1615378"/>
                <a:gd name="connsiteX271" fmla="*/ 1238932 w 2358736"/>
                <a:gd name="connsiteY271" fmla="*/ 648058 h 1615378"/>
                <a:gd name="connsiteX272" fmla="*/ 1272288 w 2358736"/>
                <a:gd name="connsiteY272" fmla="*/ 643292 h 1615378"/>
                <a:gd name="connsiteX273" fmla="*/ 1291352 w 2358736"/>
                <a:gd name="connsiteY273" fmla="*/ 652822 h 1615378"/>
                <a:gd name="connsiteX274" fmla="*/ 1310412 w 2358736"/>
                <a:gd name="connsiteY274" fmla="*/ 657588 h 1615378"/>
                <a:gd name="connsiteX275" fmla="*/ 1329472 w 2358736"/>
                <a:gd name="connsiteY275" fmla="*/ 662352 h 1615378"/>
                <a:gd name="connsiteX276" fmla="*/ 1348532 w 2358736"/>
                <a:gd name="connsiteY276" fmla="*/ 657588 h 1615378"/>
                <a:gd name="connsiteX277" fmla="*/ 1372356 w 2358736"/>
                <a:gd name="connsiteY277" fmla="*/ 648058 h 1615378"/>
                <a:gd name="connsiteX278" fmla="*/ 1377124 w 2358736"/>
                <a:gd name="connsiteY278" fmla="*/ 652822 h 1615378"/>
                <a:gd name="connsiteX279" fmla="*/ 1400948 w 2358736"/>
                <a:gd name="connsiteY279" fmla="*/ 652822 h 1615378"/>
                <a:gd name="connsiteX280" fmla="*/ 1424772 w 2358736"/>
                <a:gd name="connsiteY280" fmla="*/ 638528 h 1615378"/>
                <a:gd name="connsiteX281" fmla="*/ 1429540 w 2358736"/>
                <a:gd name="connsiteY281" fmla="*/ 590876 h 1615378"/>
                <a:gd name="connsiteX282" fmla="*/ 1434304 w 2358736"/>
                <a:gd name="connsiteY282" fmla="*/ 576580 h 1615378"/>
                <a:gd name="connsiteX283" fmla="*/ 1443836 w 2358736"/>
                <a:gd name="connsiteY283" fmla="*/ 571816 h 1615378"/>
                <a:gd name="connsiteX284" fmla="*/ 1448600 w 2358736"/>
                <a:gd name="connsiteY284" fmla="*/ 571816 h 1615378"/>
                <a:gd name="connsiteX285" fmla="*/ 1453364 w 2358736"/>
                <a:gd name="connsiteY285" fmla="*/ 581346 h 1615378"/>
                <a:gd name="connsiteX286" fmla="*/ 1443836 w 2358736"/>
                <a:gd name="connsiteY286" fmla="*/ 590876 h 1615378"/>
                <a:gd name="connsiteX287" fmla="*/ 1439068 w 2358736"/>
                <a:gd name="connsiteY287" fmla="*/ 595642 h 1615378"/>
                <a:gd name="connsiteX288" fmla="*/ 1439068 w 2358736"/>
                <a:gd name="connsiteY288" fmla="*/ 619466 h 1615378"/>
                <a:gd name="connsiteX289" fmla="*/ 1443836 w 2358736"/>
                <a:gd name="connsiteY289" fmla="*/ 633762 h 1615378"/>
                <a:gd name="connsiteX290" fmla="*/ 1458128 w 2358736"/>
                <a:gd name="connsiteY290" fmla="*/ 652822 h 1615378"/>
                <a:gd name="connsiteX291" fmla="*/ 1477192 w 2358736"/>
                <a:gd name="connsiteY291" fmla="*/ 652822 h 1615378"/>
                <a:gd name="connsiteX292" fmla="*/ 1491484 w 2358736"/>
                <a:gd name="connsiteY292" fmla="*/ 643292 h 1615378"/>
                <a:gd name="connsiteX293" fmla="*/ 1510548 w 2358736"/>
                <a:gd name="connsiteY293" fmla="*/ 638528 h 1615378"/>
                <a:gd name="connsiteX294" fmla="*/ 1524840 w 2358736"/>
                <a:gd name="connsiteY294" fmla="*/ 652822 h 1615378"/>
                <a:gd name="connsiteX295" fmla="*/ 1543904 w 2358736"/>
                <a:gd name="connsiteY295" fmla="*/ 648058 h 1615378"/>
                <a:gd name="connsiteX296" fmla="*/ 1553432 w 2358736"/>
                <a:gd name="connsiteY296" fmla="*/ 643292 h 1615378"/>
                <a:gd name="connsiteX297" fmla="*/ 1558196 w 2358736"/>
                <a:gd name="connsiteY297" fmla="*/ 638528 h 1615378"/>
                <a:gd name="connsiteX298" fmla="*/ 1567728 w 2358736"/>
                <a:gd name="connsiteY298" fmla="*/ 638528 h 1615378"/>
                <a:gd name="connsiteX299" fmla="*/ 1577256 w 2358736"/>
                <a:gd name="connsiteY299" fmla="*/ 633762 h 1615378"/>
                <a:gd name="connsiteX300" fmla="*/ 1586788 w 2358736"/>
                <a:gd name="connsiteY300" fmla="*/ 619466 h 1615378"/>
                <a:gd name="connsiteX301" fmla="*/ 1596320 w 2358736"/>
                <a:gd name="connsiteY301" fmla="*/ 600406 h 1615378"/>
                <a:gd name="connsiteX302" fmla="*/ 1605848 w 2358736"/>
                <a:gd name="connsiteY302" fmla="*/ 586110 h 1615378"/>
                <a:gd name="connsiteX303" fmla="*/ 1634440 w 2358736"/>
                <a:gd name="connsiteY303" fmla="*/ 562286 h 1615378"/>
                <a:gd name="connsiteX304" fmla="*/ 1643968 w 2358736"/>
                <a:gd name="connsiteY304" fmla="*/ 557520 h 1615378"/>
                <a:gd name="connsiteX305" fmla="*/ 1653500 w 2358736"/>
                <a:gd name="connsiteY305" fmla="*/ 557520 h 1615378"/>
                <a:gd name="connsiteX306" fmla="*/ 1672560 w 2358736"/>
                <a:gd name="connsiteY306" fmla="*/ 557520 h 1615378"/>
                <a:gd name="connsiteX307" fmla="*/ 1691620 w 2358736"/>
                <a:gd name="connsiteY307" fmla="*/ 552756 h 1615378"/>
                <a:gd name="connsiteX308" fmla="*/ 1691620 w 2358736"/>
                <a:gd name="connsiteY308" fmla="*/ 533694 h 1615378"/>
                <a:gd name="connsiteX309" fmla="*/ 1686856 w 2358736"/>
                <a:gd name="connsiteY309" fmla="*/ 509868 h 1615378"/>
                <a:gd name="connsiteX310" fmla="*/ 1672560 w 2358736"/>
                <a:gd name="connsiteY310" fmla="*/ 466982 h 1615378"/>
                <a:gd name="connsiteX311" fmla="*/ 1667796 w 2358736"/>
                <a:gd name="connsiteY311" fmla="*/ 457452 h 1615378"/>
                <a:gd name="connsiteX312" fmla="*/ 1672560 w 2358736"/>
                <a:gd name="connsiteY312" fmla="*/ 452688 h 1615378"/>
                <a:gd name="connsiteX313" fmla="*/ 1996588 w 2358736"/>
                <a:gd name="connsiteY313" fmla="*/ 419332 h 1615378"/>
                <a:gd name="connsiteX314" fmla="*/ 2001352 w 2358736"/>
                <a:gd name="connsiteY314" fmla="*/ 419332 h 1615378"/>
                <a:gd name="connsiteX315" fmla="*/ 2001352 w 2358736"/>
                <a:gd name="connsiteY315" fmla="*/ 428860 h 1615378"/>
                <a:gd name="connsiteX316" fmla="*/ 1991824 w 2358736"/>
                <a:gd name="connsiteY316" fmla="*/ 428860 h 1615378"/>
                <a:gd name="connsiteX317" fmla="*/ 1839340 w 2358736"/>
                <a:gd name="connsiteY317" fmla="*/ 262082 h 1615378"/>
                <a:gd name="connsiteX318" fmla="*/ 1844104 w 2358736"/>
                <a:gd name="connsiteY318" fmla="*/ 276378 h 1615378"/>
                <a:gd name="connsiteX319" fmla="*/ 1844104 w 2358736"/>
                <a:gd name="connsiteY319" fmla="*/ 290672 h 1615378"/>
                <a:gd name="connsiteX320" fmla="*/ 1834576 w 2358736"/>
                <a:gd name="connsiteY320" fmla="*/ 281142 h 1615378"/>
                <a:gd name="connsiteX321" fmla="*/ 1825044 w 2358736"/>
                <a:gd name="connsiteY321" fmla="*/ 271612 h 1615378"/>
                <a:gd name="connsiteX322" fmla="*/ 1829808 w 2358736"/>
                <a:gd name="connsiteY322" fmla="*/ 266848 h 1615378"/>
                <a:gd name="connsiteX323" fmla="*/ 1734508 w 2358736"/>
                <a:gd name="connsiteY323" fmla="*/ 233492 h 1615378"/>
                <a:gd name="connsiteX324" fmla="*/ 1739272 w 2358736"/>
                <a:gd name="connsiteY324" fmla="*/ 233492 h 1615378"/>
                <a:gd name="connsiteX325" fmla="*/ 1753568 w 2358736"/>
                <a:gd name="connsiteY325" fmla="*/ 243022 h 1615378"/>
                <a:gd name="connsiteX326" fmla="*/ 1758332 w 2358736"/>
                <a:gd name="connsiteY326" fmla="*/ 247786 h 1615378"/>
                <a:gd name="connsiteX327" fmla="*/ 1753568 w 2358736"/>
                <a:gd name="connsiteY327" fmla="*/ 257316 h 1615378"/>
                <a:gd name="connsiteX328" fmla="*/ 1748804 w 2358736"/>
                <a:gd name="connsiteY328" fmla="*/ 257316 h 1615378"/>
                <a:gd name="connsiteX329" fmla="*/ 1734508 w 2358736"/>
                <a:gd name="connsiteY329" fmla="*/ 238256 h 1615378"/>
                <a:gd name="connsiteX330" fmla="*/ 1734508 w 2358736"/>
                <a:gd name="connsiteY330" fmla="*/ 209666 h 1615378"/>
                <a:gd name="connsiteX331" fmla="*/ 1744036 w 2358736"/>
                <a:gd name="connsiteY331" fmla="*/ 214432 h 1615378"/>
                <a:gd name="connsiteX332" fmla="*/ 1744036 w 2358736"/>
                <a:gd name="connsiteY332" fmla="*/ 223962 h 1615378"/>
                <a:gd name="connsiteX333" fmla="*/ 1734508 w 2358736"/>
                <a:gd name="connsiteY333" fmla="*/ 228728 h 1615378"/>
                <a:gd name="connsiteX334" fmla="*/ 1729744 w 2358736"/>
                <a:gd name="connsiteY334" fmla="*/ 228728 h 1615378"/>
                <a:gd name="connsiteX335" fmla="*/ 1729744 w 2358736"/>
                <a:gd name="connsiteY335" fmla="*/ 219196 h 1615378"/>
                <a:gd name="connsiteX336" fmla="*/ 19060 w 2358736"/>
                <a:gd name="connsiteY336" fmla="*/ 195370 h 1615378"/>
                <a:gd name="connsiteX337" fmla="*/ 23824 w 2358736"/>
                <a:gd name="connsiteY337" fmla="*/ 195370 h 1615378"/>
                <a:gd name="connsiteX338" fmla="*/ 38120 w 2358736"/>
                <a:gd name="connsiteY338" fmla="*/ 195370 h 1615378"/>
                <a:gd name="connsiteX339" fmla="*/ 52416 w 2358736"/>
                <a:gd name="connsiteY339" fmla="*/ 195370 h 1615378"/>
                <a:gd name="connsiteX340" fmla="*/ 128660 w 2358736"/>
                <a:gd name="connsiteY340" fmla="*/ 233492 h 1615378"/>
                <a:gd name="connsiteX341" fmla="*/ 152484 w 2358736"/>
                <a:gd name="connsiteY341" fmla="*/ 243022 h 1615378"/>
                <a:gd name="connsiteX342" fmla="*/ 162016 w 2358736"/>
                <a:gd name="connsiteY342" fmla="*/ 247786 h 1615378"/>
                <a:gd name="connsiteX343" fmla="*/ 171544 w 2358736"/>
                <a:gd name="connsiteY343" fmla="*/ 247786 h 1615378"/>
                <a:gd name="connsiteX344" fmla="*/ 176308 w 2358736"/>
                <a:gd name="connsiteY344" fmla="*/ 247786 h 1615378"/>
                <a:gd name="connsiteX345" fmla="*/ 209664 w 2358736"/>
                <a:gd name="connsiteY345" fmla="*/ 266846 h 1615378"/>
                <a:gd name="connsiteX346" fmla="*/ 266848 w 2358736"/>
                <a:gd name="connsiteY346" fmla="*/ 285908 h 1615378"/>
                <a:gd name="connsiteX347" fmla="*/ 319264 w 2358736"/>
                <a:gd name="connsiteY347" fmla="*/ 304968 h 1615378"/>
                <a:gd name="connsiteX348" fmla="*/ 338324 w 2358736"/>
                <a:gd name="connsiteY348" fmla="*/ 309734 h 1615378"/>
                <a:gd name="connsiteX349" fmla="*/ 357384 w 2358736"/>
                <a:gd name="connsiteY349" fmla="*/ 309734 h 1615378"/>
                <a:gd name="connsiteX350" fmla="*/ 395504 w 2358736"/>
                <a:gd name="connsiteY350" fmla="*/ 319264 h 1615378"/>
                <a:gd name="connsiteX351" fmla="*/ 414568 w 2358736"/>
                <a:gd name="connsiteY351" fmla="*/ 324028 h 1615378"/>
                <a:gd name="connsiteX352" fmla="*/ 443156 w 2358736"/>
                <a:gd name="connsiteY352" fmla="*/ 343088 h 1615378"/>
                <a:gd name="connsiteX353" fmla="*/ 457452 w 2358736"/>
                <a:gd name="connsiteY353" fmla="*/ 352620 h 1615378"/>
                <a:gd name="connsiteX354" fmla="*/ 476512 w 2358736"/>
                <a:gd name="connsiteY354" fmla="*/ 366914 h 1615378"/>
                <a:gd name="connsiteX355" fmla="*/ 495572 w 2358736"/>
                <a:gd name="connsiteY355" fmla="*/ 376444 h 1615378"/>
                <a:gd name="connsiteX356" fmla="*/ 500340 w 2358736"/>
                <a:gd name="connsiteY356" fmla="*/ 381210 h 1615378"/>
                <a:gd name="connsiteX357" fmla="*/ 509868 w 2358736"/>
                <a:gd name="connsiteY357" fmla="*/ 381210 h 1615378"/>
                <a:gd name="connsiteX358" fmla="*/ 528928 w 2358736"/>
                <a:gd name="connsiteY358" fmla="*/ 381210 h 1615378"/>
                <a:gd name="connsiteX359" fmla="*/ 547988 w 2358736"/>
                <a:gd name="connsiteY359" fmla="*/ 381210 h 1615378"/>
                <a:gd name="connsiteX360" fmla="*/ 557520 w 2358736"/>
                <a:gd name="connsiteY360" fmla="*/ 381210 h 1615378"/>
                <a:gd name="connsiteX361" fmla="*/ 567052 w 2358736"/>
                <a:gd name="connsiteY361" fmla="*/ 385976 h 1615378"/>
                <a:gd name="connsiteX362" fmla="*/ 571816 w 2358736"/>
                <a:gd name="connsiteY362" fmla="*/ 390740 h 1615378"/>
                <a:gd name="connsiteX363" fmla="*/ 576580 w 2358736"/>
                <a:gd name="connsiteY363" fmla="*/ 400270 h 1615378"/>
                <a:gd name="connsiteX364" fmla="*/ 590876 w 2358736"/>
                <a:gd name="connsiteY364" fmla="*/ 409800 h 1615378"/>
                <a:gd name="connsiteX365" fmla="*/ 605172 w 2358736"/>
                <a:gd name="connsiteY365" fmla="*/ 414566 h 1615378"/>
                <a:gd name="connsiteX366" fmla="*/ 624232 w 2358736"/>
                <a:gd name="connsiteY366" fmla="*/ 428862 h 1615378"/>
                <a:gd name="connsiteX367" fmla="*/ 638528 w 2358736"/>
                <a:gd name="connsiteY367" fmla="*/ 443156 h 1615378"/>
                <a:gd name="connsiteX368" fmla="*/ 648056 w 2358736"/>
                <a:gd name="connsiteY368" fmla="*/ 457452 h 1615378"/>
                <a:gd name="connsiteX369" fmla="*/ 662352 w 2358736"/>
                <a:gd name="connsiteY369" fmla="*/ 466982 h 1615378"/>
                <a:gd name="connsiteX370" fmla="*/ 681412 w 2358736"/>
                <a:gd name="connsiteY370" fmla="*/ 471748 h 1615378"/>
                <a:gd name="connsiteX371" fmla="*/ 700472 w 2358736"/>
                <a:gd name="connsiteY371" fmla="*/ 471748 h 1615378"/>
                <a:gd name="connsiteX372" fmla="*/ 767184 w 2358736"/>
                <a:gd name="connsiteY372" fmla="*/ 543224 h 1615378"/>
                <a:gd name="connsiteX373" fmla="*/ 771952 w 2358736"/>
                <a:gd name="connsiteY373" fmla="*/ 552754 h 1615378"/>
                <a:gd name="connsiteX374" fmla="*/ 771952 w 2358736"/>
                <a:gd name="connsiteY374" fmla="*/ 595640 h 1615378"/>
                <a:gd name="connsiteX375" fmla="*/ 762420 w 2358736"/>
                <a:gd name="connsiteY375" fmla="*/ 633762 h 1615378"/>
                <a:gd name="connsiteX376" fmla="*/ 781480 w 2358736"/>
                <a:gd name="connsiteY376" fmla="*/ 643292 h 1615378"/>
                <a:gd name="connsiteX377" fmla="*/ 805308 w 2358736"/>
                <a:gd name="connsiteY377" fmla="*/ 648058 h 1615378"/>
                <a:gd name="connsiteX378" fmla="*/ 833896 w 2358736"/>
                <a:gd name="connsiteY378" fmla="*/ 652822 h 1615378"/>
                <a:gd name="connsiteX379" fmla="*/ 867252 w 2358736"/>
                <a:gd name="connsiteY379" fmla="*/ 667118 h 1615378"/>
                <a:gd name="connsiteX380" fmla="*/ 967320 w 2358736"/>
                <a:gd name="connsiteY380" fmla="*/ 714768 h 1615378"/>
                <a:gd name="connsiteX381" fmla="*/ 981616 w 2358736"/>
                <a:gd name="connsiteY381" fmla="*/ 714768 h 1615378"/>
                <a:gd name="connsiteX382" fmla="*/ 1000676 w 2358736"/>
                <a:gd name="connsiteY382" fmla="*/ 719534 h 1615378"/>
                <a:gd name="connsiteX383" fmla="*/ 1019736 w 2358736"/>
                <a:gd name="connsiteY383" fmla="*/ 719534 h 1615378"/>
                <a:gd name="connsiteX384" fmla="*/ 1024504 w 2358736"/>
                <a:gd name="connsiteY384" fmla="*/ 719534 h 1615378"/>
                <a:gd name="connsiteX385" fmla="*/ 1043564 w 2358736"/>
                <a:gd name="connsiteY385" fmla="*/ 729064 h 1615378"/>
                <a:gd name="connsiteX386" fmla="*/ 1048328 w 2358736"/>
                <a:gd name="connsiteY386" fmla="*/ 733830 h 1615378"/>
                <a:gd name="connsiteX387" fmla="*/ 1062624 w 2358736"/>
                <a:gd name="connsiteY387" fmla="*/ 748124 h 1615378"/>
                <a:gd name="connsiteX388" fmla="*/ 1072152 w 2358736"/>
                <a:gd name="connsiteY388" fmla="*/ 767186 h 1615378"/>
                <a:gd name="connsiteX389" fmla="*/ 1081684 w 2358736"/>
                <a:gd name="connsiteY389" fmla="*/ 771950 h 1615378"/>
                <a:gd name="connsiteX390" fmla="*/ 1086448 w 2358736"/>
                <a:gd name="connsiteY390" fmla="*/ 776716 h 1615378"/>
                <a:gd name="connsiteX391" fmla="*/ 1086448 w 2358736"/>
                <a:gd name="connsiteY391" fmla="*/ 786246 h 1615378"/>
                <a:gd name="connsiteX392" fmla="*/ 1091216 w 2358736"/>
                <a:gd name="connsiteY392" fmla="*/ 810072 h 1615378"/>
                <a:gd name="connsiteX393" fmla="*/ 1091216 w 2358736"/>
                <a:gd name="connsiteY393" fmla="*/ 829132 h 1615378"/>
                <a:gd name="connsiteX394" fmla="*/ 1086448 w 2358736"/>
                <a:gd name="connsiteY394" fmla="*/ 833898 h 1615378"/>
                <a:gd name="connsiteX395" fmla="*/ 1072152 w 2358736"/>
                <a:gd name="connsiteY395" fmla="*/ 838662 h 1615378"/>
                <a:gd name="connsiteX396" fmla="*/ 1014972 w 2358736"/>
                <a:gd name="connsiteY396" fmla="*/ 843428 h 1615378"/>
                <a:gd name="connsiteX397" fmla="*/ 976852 w 2358736"/>
                <a:gd name="connsiteY397" fmla="*/ 838662 h 1615378"/>
                <a:gd name="connsiteX398" fmla="*/ 953024 w 2358736"/>
                <a:gd name="connsiteY398" fmla="*/ 857722 h 1615378"/>
                <a:gd name="connsiteX399" fmla="*/ 953024 w 2358736"/>
                <a:gd name="connsiteY399" fmla="*/ 862488 h 1615378"/>
                <a:gd name="connsiteX400" fmla="*/ 953024 w 2358736"/>
                <a:gd name="connsiteY400" fmla="*/ 872018 h 1615378"/>
                <a:gd name="connsiteX401" fmla="*/ 976852 w 2358736"/>
                <a:gd name="connsiteY401" fmla="*/ 910140 h 1615378"/>
                <a:gd name="connsiteX402" fmla="*/ 991148 w 2358736"/>
                <a:gd name="connsiteY402" fmla="*/ 943496 h 1615378"/>
                <a:gd name="connsiteX403" fmla="*/ 1000676 w 2358736"/>
                <a:gd name="connsiteY403" fmla="*/ 957790 h 1615378"/>
                <a:gd name="connsiteX404" fmla="*/ 1019736 w 2358736"/>
                <a:gd name="connsiteY404" fmla="*/ 967320 h 1615378"/>
                <a:gd name="connsiteX405" fmla="*/ 1029268 w 2358736"/>
                <a:gd name="connsiteY405" fmla="*/ 981616 h 1615378"/>
                <a:gd name="connsiteX406" fmla="*/ 1043564 w 2358736"/>
                <a:gd name="connsiteY406" fmla="*/ 995912 h 1615378"/>
                <a:gd name="connsiteX407" fmla="*/ 1072152 w 2358736"/>
                <a:gd name="connsiteY407" fmla="*/ 1019738 h 1615378"/>
                <a:gd name="connsiteX408" fmla="*/ 1086448 w 2358736"/>
                <a:gd name="connsiteY408" fmla="*/ 1029268 h 1615378"/>
                <a:gd name="connsiteX409" fmla="*/ 1105508 w 2358736"/>
                <a:gd name="connsiteY409" fmla="*/ 1034032 h 1615378"/>
                <a:gd name="connsiteX410" fmla="*/ 1134100 w 2358736"/>
                <a:gd name="connsiteY410" fmla="*/ 1057858 h 1615378"/>
                <a:gd name="connsiteX411" fmla="*/ 1138864 w 2358736"/>
                <a:gd name="connsiteY411" fmla="*/ 1067388 h 1615378"/>
                <a:gd name="connsiteX412" fmla="*/ 1148396 w 2358736"/>
                <a:gd name="connsiteY412" fmla="*/ 1091214 h 1615378"/>
                <a:gd name="connsiteX413" fmla="*/ 1153160 w 2358736"/>
                <a:gd name="connsiteY413" fmla="*/ 1115040 h 1615378"/>
                <a:gd name="connsiteX414" fmla="*/ 1153160 w 2358736"/>
                <a:gd name="connsiteY414" fmla="*/ 1119804 h 1615378"/>
                <a:gd name="connsiteX415" fmla="*/ 1153160 w 2358736"/>
                <a:gd name="connsiteY415" fmla="*/ 1129336 h 1615378"/>
                <a:gd name="connsiteX416" fmla="*/ 1181752 w 2358736"/>
                <a:gd name="connsiteY416" fmla="*/ 1143630 h 1615378"/>
                <a:gd name="connsiteX417" fmla="*/ 1186516 w 2358736"/>
                <a:gd name="connsiteY417" fmla="*/ 1148396 h 1615378"/>
                <a:gd name="connsiteX418" fmla="*/ 1200812 w 2358736"/>
                <a:gd name="connsiteY418" fmla="*/ 1186516 h 1615378"/>
                <a:gd name="connsiteX419" fmla="*/ 1205576 w 2358736"/>
                <a:gd name="connsiteY419" fmla="*/ 1205578 h 1615378"/>
                <a:gd name="connsiteX420" fmla="*/ 1224636 w 2358736"/>
                <a:gd name="connsiteY420" fmla="*/ 1215108 h 1615378"/>
                <a:gd name="connsiteX421" fmla="*/ 1238932 w 2358736"/>
                <a:gd name="connsiteY421" fmla="*/ 1215108 h 1615378"/>
                <a:gd name="connsiteX422" fmla="*/ 1286584 w 2358736"/>
                <a:gd name="connsiteY422" fmla="*/ 1200812 h 1615378"/>
                <a:gd name="connsiteX423" fmla="*/ 1296116 w 2358736"/>
                <a:gd name="connsiteY423" fmla="*/ 1200812 h 1615378"/>
                <a:gd name="connsiteX424" fmla="*/ 1305644 w 2358736"/>
                <a:gd name="connsiteY424" fmla="*/ 1205578 h 1615378"/>
                <a:gd name="connsiteX425" fmla="*/ 1310412 w 2358736"/>
                <a:gd name="connsiteY425" fmla="*/ 1210342 h 1615378"/>
                <a:gd name="connsiteX426" fmla="*/ 1315176 w 2358736"/>
                <a:gd name="connsiteY426" fmla="*/ 1224638 h 1615378"/>
                <a:gd name="connsiteX427" fmla="*/ 1305644 w 2358736"/>
                <a:gd name="connsiteY427" fmla="*/ 1243698 h 1615378"/>
                <a:gd name="connsiteX428" fmla="*/ 1305644 w 2358736"/>
                <a:gd name="connsiteY428" fmla="*/ 1262758 h 1615378"/>
                <a:gd name="connsiteX429" fmla="*/ 1315176 w 2358736"/>
                <a:gd name="connsiteY429" fmla="*/ 1277054 h 1615378"/>
                <a:gd name="connsiteX430" fmla="*/ 1339000 w 2358736"/>
                <a:gd name="connsiteY430" fmla="*/ 1286584 h 1615378"/>
                <a:gd name="connsiteX431" fmla="*/ 1348532 w 2358736"/>
                <a:gd name="connsiteY431" fmla="*/ 1291350 h 1615378"/>
                <a:gd name="connsiteX432" fmla="*/ 1391416 w 2358736"/>
                <a:gd name="connsiteY432" fmla="*/ 1296114 h 1615378"/>
                <a:gd name="connsiteX433" fmla="*/ 1405712 w 2358736"/>
                <a:gd name="connsiteY433" fmla="*/ 1296114 h 1615378"/>
                <a:gd name="connsiteX434" fmla="*/ 1424772 w 2358736"/>
                <a:gd name="connsiteY434" fmla="*/ 1300880 h 1615378"/>
                <a:gd name="connsiteX435" fmla="*/ 1429540 w 2358736"/>
                <a:gd name="connsiteY435" fmla="*/ 1305644 h 1615378"/>
                <a:gd name="connsiteX436" fmla="*/ 1424772 w 2358736"/>
                <a:gd name="connsiteY436" fmla="*/ 1315176 h 1615378"/>
                <a:gd name="connsiteX437" fmla="*/ 1415244 w 2358736"/>
                <a:gd name="connsiteY437" fmla="*/ 1319940 h 1615378"/>
                <a:gd name="connsiteX438" fmla="*/ 1405712 w 2358736"/>
                <a:gd name="connsiteY438" fmla="*/ 1319940 h 1615378"/>
                <a:gd name="connsiteX439" fmla="*/ 1391416 w 2358736"/>
                <a:gd name="connsiteY439" fmla="*/ 1324706 h 1615378"/>
                <a:gd name="connsiteX440" fmla="*/ 1391416 w 2358736"/>
                <a:gd name="connsiteY440" fmla="*/ 1334236 h 1615378"/>
                <a:gd name="connsiteX441" fmla="*/ 1400948 w 2358736"/>
                <a:gd name="connsiteY441" fmla="*/ 1343766 h 1615378"/>
                <a:gd name="connsiteX442" fmla="*/ 1410476 w 2358736"/>
                <a:gd name="connsiteY442" fmla="*/ 1358062 h 1615378"/>
                <a:gd name="connsiteX443" fmla="*/ 1415244 w 2358736"/>
                <a:gd name="connsiteY443" fmla="*/ 1362826 h 1615378"/>
                <a:gd name="connsiteX444" fmla="*/ 1424772 w 2358736"/>
                <a:gd name="connsiteY444" fmla="*/ 1367592 h 1615378"/>
                <a:gd name="connsiteX445" fmla="*/ 1443832 w 2358736"/>
                <a:gd name="connsiteY445" fmla="*/ 1372356 h 1615378"/>
                <a:gd name="connsiteX446" fmla="*/ 1462896 w 2358736"/>
                <a:gd name="connsiteY446" fmla="*/ 1377122 h 1615378"/>
                <a:gd name="connsiteX447" fmla="*/ 1472424 w 2358736"/>
                <a:gd name="connsiteY447" fmla="*/ 1381886 h 1615378"/>
                <a:gd name="connsiteX448" fmla="*/ 1486720 w 2358736"/>
                <a:gd name="connsiteY448" fmla="*/ 1386652 h 1615378"/>
                <a:gd name="connsiteX449" fmla="*/ 1515312 w 2358736"/>
                <a:gd name="connsiteY449" fmla="*/ 1391418 h 1615378"/>
                <a:gd name="connsiteX450" fmla="*/ 1534372 w 2358736"/>
                <a:gd name="connsiteY450" fmla="*/ 1396182 h 1615378"/>
                <a:gd name="connsiteX451" fmla="*/ 1562960 w 2358736"/>
                <a:gd name="connsiteY451" fmla="*/ 1396182 h 1615378"/>
                <a:gd name="connsiteX452" fmla="*/ 1534372 w 2358736"/>
                <a:gd name="connsiteY452" fmla="*/ 1405712 h 1615378"/>
                <a:gd name="connsiteX453" fmla="*/ 1529608 w 2358736"/>
                <a:gd name="connsiteY453" fmla="*/ 1410478 h 1615378"/>
                <a:gd name="connsiteX454" fmla="*/ 1496252 w 2358736"/>
                <a:gd name="connsiteY454" fmla="*/ 1405712 h 1615378"/>
                <a:gd name="connsiteX455" fmla="*/ 1491484 w 2358736"/>
                <a:gd name="connsiteY455" fmla="*/ 1410478 h 1615378"/>
                <a:gd name="connsiteX456" fmla="*/ 1505780 w 2358736"/>
                <a:gd name="connsiteY456" fmla="*/ 1424772 h 1615378"/>
                <a:gd name="connsiteX457" fmla="*/ 1524840 w 2358736"/>
                <a:gd name="connsiteY457" fmla="*/ 1434304 h 1615378"/>
                <a:gd name="connsiteX458" fmla="*/ 1529608 w 2358736"/>
                <a:gd name="connsiteY458" fmla="*/ 1439068 h 1615378"/>
                <a:gd name="connsiteX459" fmla="*/ 1524840 w 2358736"/>
                <a:gd name="connsiteY459" fmla="*/ 1443834 h 1615378"/>
                <a:gd name="connsiteX460" fmla="*/ 1505780 w 2358736"/>
                <a:gd name="connsiteY460" fmla="*/ 1458128 h 1615378"/>
                <a:gd name="connsiteX461" fmla="*/ 1496252 w 2358736"/>
                <a:gd name="connsiteY461" fmla="*/ 1458128 h 1615378"/>
                <a:gd name="connsiteX462" fmla="*/ 1477188 w 2358736"/>
                <a:gd name="connsiteY462" fmla="*/ 1462894 h 1615378"/>
                <a:gd name="connsiteX463" fmla="*/ 1453364 w 2358736"/>
                <a:gd name="connsiteY463" fmla="*/ 1453364 h 1615378"/>
                <a:gd name="connsiteX464" fmla="*/ 1429540 w 2358736"/>
                <a:gd name="connsiteY464" fmla="*/ 1448598 h 1615378"/>
                <a:gd name="connsiteX465" fmla="*/ 1424772 w 2358736"/>
                <a:gd name="connsiteY465" fmla="*/ 1439068 h 1615378"/>
                <a:gd name="connsiteX466" fmla="*/ 1420008 w 2358736"/>
                <a:gd name="connsiteY466" fmla="*/ 1434304 h 1615378"/>
                <a:gd name="connsiteX467" fmla="*/ 1400948 w 2358736"/>
                <a:gd name="connsiteY467" fmla="*/ 1420008 h 1615378"/>
                <a:gd name="connsiteX468" fmla="*/ 1391416 w 2358736"/>
                <a:gd name="connsiteY468" fmla="*/ 1415242 h 1615378"/>
                <a:gd name="connsiteX469" fmla="*/ 1372356 w 2358736"/>
                <a:gd name="connsiteY469" fmla="*/ 1410478 h 1615378"/>
                <a:gd name="connsiteX470" fmla="*/ 1358060 w 2358736"/>
                <a:gd name="connsiteY470" fmla="*/ 1410478 h 1615378"/>
                <a:gd name="connsiteX471" fmla="*/ 1329472 w 2358736"/>
                <a:gd name="connsiteY471" fmla="*/ 1400948 h 1615378"/>
                <a:gd name="connsiteX472" fmla="*/ 1262760 w 2358736"/>
                <a:gd name="connsiteY472" fmla="*/ 1396182 h 1615378"/>
                <a:gd name="connsiteX473" fmla="*/ 1248464 w 2358736"/>
                <a:gd name="connsiteY473" fmla="*/ 1396182 h 1615378"/>
                <a:gd name="connsiteX474" fmla="*/ 1229404 w 2358736"/>
                <a:gd name="connsiteY474" fmla="*/ 1381886 h 1615378"/>
                <a:gd name="connsiteX475" fmla="*/ 1219872 w 2358736"/>
                <a:gd name="connsiteY475" fmla="*/ 1381886 h 1615378"/>
                <a:gd name="connsiteX476" fmla="*/ 1210344 w 2358736"/>
                <a:gd name="connsiteY476" fmla="*/ 1386652 h 1615378"/>
                <a:gd name="connsiteX477" fmla="*/ 1181752 w 2358736"/>
                <a:gd name="connsiteY477" fmla="*/ 1386652 h 1615378"/>
                <a:gd name="connsiteX478" fmla="*/ 1176988 w 2358736"/>
                <a:gd name="connsiteY478" fmla="*/ 1386652 h 1615378"/>
                <a:gd name="connsiteX479" fmla="*/ 1157928 w 2358736"/>
                <a:gd name="connsiteY479" fmla="*/ 1377122 h 1615378"/>
                <a:gd name="connsiteX480" fmla="*/ 1138864 w 2358736"/>
                <a:gd name="connsiteY480" fmla="*/ 1372356 h 1615378"/>
                <a:gd name="connsiteX481" fmla="*/ 1134100 w 2358736"/>
                <a:gd name="connsiteY481" fmla="*/ 1377122 h 1615378"/>
                <a:gd name="connsiteX482" fmla="*/ 1124572 w 2358736"/>
                <a:gd name="connsiteY482" fmla="*/ 1377122 h 1615378"/>
                <a:gd name="connsiteX483" fmla="*/ 1100744 w 2358736"/>
                <a:gd name="connsiteY483" fmla="*/ 1372356 h 1615378"/>
                <a:gd name="connsiteX484" fmla="*/ 1081684 w 2358736"/>
                <a:gd name="connsiteY484" fmla="*/ 1367592 h 1615378"/>
                <a:gd name="connsiteX485" fmla="*/ 1062624 w 2358736"/>
                <a:gd name="connsiteY485" fmla="*/ 1358062 h 1615378"/>
                <a:gd name="connsiteX486" fmla="*/ 1057860 w 2358736"/>
                <a:gd name="connsiteY486" fmla="*/ 1348530 h 1615378"/>
                <a:gd name="connsiteX487" fmla="*/ 1048328 w 2358736"/>
                <a:gd name="connsiteY487" fmla="*/ 1343766 h 1615378"/>
                <a:gd name="connsiteX488" fmla="*/ 1038796 w 2358736"/>
                <a:gd name="connsiteY488" fmla="*/ 1324706 h 1615378"/>
                <a:gd name="connsiteX489" fmla="*/ 1024504 w 2358736"/>
                <a:gd name="connsiteY489" fmla="*/ 1305644 h 1615378"/>
                <a:gd name="connsiteX490" fmla="*/ 1005440 w 2358736"/>
                <a:gd name="connsiteY490" fmla="*/ 1291350 h 1615378"/>
                <a:gd name="connsiteX491" fmla="*/ 972088 w 2358736"/>
                <a:gd name="connsiteY491" fmla="*/ 1267524 h 1615378"/>
                <a:gd name="connsiteX492" fmla="*/ 962556 w 2358736"/>
                <a:gd name="connsiteY492" fmla="*/ 1257994 h 1615378"/>
                <a:gd name="connsiteX493" fmla="*/ 948260 w 2358736"/>
                <a:gd name="connsiteY493" fmla="*/ 1238932 h 1615378"/>
                <a:gd name="connsiteX494" fmla="*/ 948260 w 2358736"/>
                <a:gd name="connsiteY494" fmla="*/ 1224638 h 1615378"/>
                <a:gd name="connsiteX495" fmla="*/ 953024 w 2358736"/>
                <a:gd name="connsiteY495" fmla="*/ 1205578 h 1615378"/>
                <a:gd name="connsiteX496" fmla="*/ 948260 w 2358736"/>
                <a:gd name="connsiteY496" fmla="*/ 1215108 h 1615378"/>
                <a:gd name="connsiteX497" fmla="*/ 938732 w 2358736"/>
                <a:gd name="connsiteY497" fmla="*/ 1210342 h 1615378"/>
                <a:gd name="connsiteX498" fmla="*/ 914904 w 2358736"/>
                <a:gd name="connsiteY498" fmla="*/ 1200812 h 1615378"/>
                <a:gd name="connsiteX499" fmla="*/ 900608 w 2358736"/>
                <a:gd name="connsiteY499" fmla="*/ 1191282 h 1615378"/>
                <a:gd name="connsiteX500" fmla="*/ 886312 w 2358736"/>
                <a:gd name="connsiteY500" fmla="*/ 1157926 h 1615378"/>
                <a:gd name="connsiteX501" fmla="*/ 876784 w 2358736"/>
                <a:gd name="connsiteY501" fmla="*/ 1143630 h 1615378"/>
                <a:gd name="connsiteX502" fmla="*/ 848192 w 2358736"/>
                <a:gd name="connsiteY502" fmla="*/ 1110274 h 1615378"/>
                <a:gd name="connsiteX503" fmla="*/ 843428 w 2358736"/>
                <a:gd name="connsiteY503" fmla="*/ 1095980 h 1615378"/>
                <a:gd name="connsiteX504" fmla="*/ 833896 w 2358736"/>
                <a:gd name="connsiteY504" fmla="*/ 1081684 h 1615378"/>
                <a:gd name="connsiteX505" fmla="*/ 824368 w 2358736"/>
                <a:gd name="connsiteY505" fmla="*/ 1072154 h 1615378"/>
                <a:gd name="connsiteX506" fmla="*/ 819600 w 2358736"/>
                <a:gd name="connsiteY506" fmla="*/ 1067388 h 1615378"/>
                <a:gd name="connsiteX507" fmla="*/ 814836 w 2358736"/>
                <a:gd name="connsiteY507" fmla="*/ 1057858 h 1615378"/>
                <a:gd name="connsiteX508" fmla="*/ 810072 w 2358736"/>
                <a:gd name="connsiteY508" fmla="*/ 1053092 h 1615378"/>
                <a:gd name="connsiteX509" fmla="*/ 771952 w 2358736"/>
                <a:gd name="connsiteY509" fmla="*/ 1038798 h 1615378"/>
                <a:gd name="connsiteX510" fmla="*/ 767184 w 2358736"/>
                <a:gd name="connsiteY510" fmla="*/ 1034032 h 1615378"/>
                <a:gd name="connsiteX511" fmla="*/ 762420 w 2358736"/>
                <a:gd name="connsiteY511" fmla="*/ 1034032 h 1615378"/>
                <a:gd name="connsiteX512" fmla="*/ 733828 w 2358736"/>
                <a:gd name="connsiteY512" fmla="*/ 1029268 h 1615378"/>
                <a:gd name="connsiteX513" fmla="*/ 719536 w 2358736"/>
                <a:gd name="connsiteY513" fmla="*/ 1029268 h 1615378"/>
                <a:gd name="connsiteX514" fmla="*/ 690944 w 2358736"/>
                <a:gd name="connsiteY514" fmla="*/ 1019738 h 1615378"/>
                <a:gd name="connsiteX515" fmla="*/ 676648 w 2358736"/>
                <a:gd name="connsiteY515" fmla="*/ 1014972 h 1615378"/>
                <a:gd name="connsiteX516" fmla="*/ 662352 w 2358736"/>
                <a:gd name="connsiteY516" fmla="*/ 1014972 h 1615378"/>
                <a:gd name="connsiteX517" fmla="*/ 643292 w 2358736"/>
                <a:gd name="connsiteY517" fmla="*/ 1010206 h 1615378"/>
                <a:gd name="connsiteX518" fmla="*/ 633760 w 2358736"/>
                <a:gd name="connsiteY518" fmla="*/ 1005442 h 1615378"/>
                <a:gd name="connsiteX519" fmla="*/ 628996 w 2358736"/>
                <a:gd name="connsiteY519" fmla="*/ 1000676 h 1615378"/>
                <a:gd name="connsiteX520" fmla="*/ 628996 w 2358736"/>
                <a:gd name="connsiteY520" fmla="*/ 981616 h 1615378"/>
                <a:gd name="connsiteX521" fmla="*/ 614700 w 2358736"/>
                <a:gd name="connsiteY521" fmla="*/ 986382 h 1615378"/>
                <a:gd name="connsiteX522" fmla="*/ 600408 w 2358736"/>
                <a:gd name="connsiteY522" fmla="*/ 981616 h 1615378"/>
                <a:gd name="connsiteX523" fmla="*/ 586112 w 2358736"/>
                <a:gd name="connsiteY523" fmla="*/ 976850 h 1615378"/>
                <a:gd name="connsiteX524" fmla="*/ 571816 w 2358736"/>
                <a:gd name="connsiteY524" fmla="*/ 972086 h 1615378"/>
                <a:gd name="connsiteX525" fmla="*/ 562284 w 2358736"/>
                <a:gd name="connsiteY525" fmla="*/ 976850 h 1615378"/>
                <a:gd name="connsiteX526" fmla="*/ 557520 w 2358736"/>
                <a:gd name="connsiteY526" fmla="*/ 991146 h 1615378"/>
                <a:gd name="connsiteX527" fmla="*/ 552756 w 2358736"/>
                <a:gd name="connsiteY527" fmla="*/ 991146 h 1615378"/>
                <a:gd name="connsiteX528" fmla="*/ 547988 w 2358736"/>
                <a:gd name="connsiteY528" fmla="*/ 986382 h 1615378"/>
                <a:gd name="connsiteX529" fmla="*/ 543224 w 2358736"/>
                <a:gd name="connsiteY529" fmla="*/ 991146 h 1615378"/>
                <a:gd name="connsiteX530" fmla="*/ 533696 w 2358736"/>
                <a:gd name="connsiteY530" fmla="*/ 995912 h 1615378"/>
                <a:gd name="connsiteX531" fmla="*/ 528928 w 2358736"/>
                <a:gd name="connsiteY531" fmla="*/ 1005442 h 1615378"/>
                <a:gd name="connsiteX532" fmla="*/ 514632 w 2358736"/>
                <a:gd name="connsiteY532" fmla="*/ 1000676 h 1615378"/>
                <a:gd name="connsiteX533" fmla="*/ 486044 w 2358736"/>
                <a:gd name="connsiteY533" fmla="*/ 995912 h 1615378"/>
                <a:gd name="connsiteX534" fmla="*/ 476512 w 2358736"/>
                <a:gd name="connsiteY534" fmla="*/ 991146 h 1615378"/>
                <a:gd name="connsiteX535" fmla="*/ 466984 w 2358736"/>
                <a:gd name="connsiteY535" fmla="*/ 981616 h 1615378"/>
                <a:gd name="connsiteX536" fmla="*/ 457452 w 2358736"/>
                <a:gd name="connsiteY536" fmla="*/ 967320 h 1615378"/>
                <a:gd name="connsiteX537" fmla="*/ 447924 w 2358736"/>
                <a:gd name="connsiteY537" fmla="*/ 962556 h 1615378"/>
                <a:gd name="connsiteX538" fmla="*/ 438392 w 2358736"/>
                <a:gd name="connsiteY538" fmla="*/ 953026 h 1615378"/>
                <a:gd name="connsiteX539" fmla="*/ 452688 w 2358736"/>
                <a:gd name="connsiteY539" fmla="*/ 967320 h 1615378"/>
                <a:gd name="connsiteX540" fmla="*/ 481276 w 2358736"/>
                <a:gd name="connsiteY540" fmla="*/ 1029268 h 1615378"/>
                <a:gd name="connsiteX541" fmla="*/ 476512 w 2358736"/>
                <a:gd name="connsiteY541" fmla="*/ 1034032 h 1615378"/>
                <a:gd name="connsiteX542" fmla="*/ 466984 w 2358736"/>
                <a:gd name="connsiteY542" fmla="*/ 1029268 h 1615378"/>
                <a:gd name="connsiteX543" fmla="*/ 476512 w 2358736"/>
                <a:gd name="connsiteY543" fmla="*/ 1043562 h 1615378"/>
                <a:gd name="connsiteX544" fmla="*/ 466984 w 2358736"/>
                <a:gd name="connsiteY544" fmla="*/ 1043562 h 1615378"/>
                <a:gd name="connsiteX545" fmla="*/ 457452 w 2358736"/>
                <a:gd name="connsiteY545" fmla="*/ 1043562 h 1615378"/>
                <a:gd name="connsiteX546" fmla="*/ 438392 w 2358736"/>
                <a:gd name="connsiteY546" fmla="*/ 1038798 h 1615378"/>
                <a:gd name="connsiteX547" fmla="*/ 419332 w 2358736"/>
                <a:gd name="connsiteY547" fmla="*/ 1038798 h 1615378"/>
                <a:gd name="connsiteX548" fmla="*/ 414568 w 2358736"/>
                <a:gd name="connsiteY548" fmla="*/ 1038798 h 1615378"/>
                <a:gd name="connsiteX549" fmla="*/ 419332 w 2358736"/>
                <a:gd name="connsiteY549" fmla="*/ 1043562 h 1615378"/>
                <a:gd name="connsiteX550" fmla="*/ 424096 w 2358736"/>
                <a:gd name="connsiteY550" fmla="*/ 1057858 h 1615378"/>
                <a:gd name="connsiteX551" fmla="*/ 433628 w 2358736"/>
                <a:gd name="connsiteY551" fmla="*/ 1072154 h 1615378"/>
                <a:gd name="connsiteX552" fmla="*/ 405036 w 2358736"/>
                <a:gd name="connsiteY552" fmla="*/ 1076918 h 1615378"/>
                <a:gd name="connsiteX553" fmla="*/ 381212 w 2358736"/>
                <a:gd name="connsiteY553" fmla="*/ 1081684 h 1615378"/>
                <a:gd name="connsiteX554" fmla="*/ 347856 w 2358736"/>
                <a:gd name="connsiteY554" fmla="*/ 1091214 h 1615378"/>
                <a:gd name="connsiteX555" fmla="*/ 319264 w 2358736"/>
                <a:gd name="connsiteY555" fmla="*/ 1091214 h 1615378"/>
                <a:gd name="connsiteX556" fmla="*/ 304968 w 2358736"/>
                <a:gd name="connsiteY556" fmla="*/ 1086448 h 1615378"/>
                <a:gd name="connsiteX557" fmla="*/ 290672 w 2358736"/>
                <a:gd name="connsiteY557" fmla="*/ 1081684 h 1615378"/>
                <a:gd name="connsiteX558" fmla="*/ 276376 w 2358736"/>
                <a:gd name="connsiteY558" fmla="*/ 1086448 h 1615378"/>
                <a:gd name="connsiteX559" fmla="*/ 262084 w 2358736"/>
                <a:gd name="connsiteY559" fmla="*/ 1091214 h 1615378"/>
                <a:gd name="connsiteX560" fmla="*/ 247788 w 2358736"/>
                <a:gd name="connsiteY560" fmla="*/ 1091214 h 1615378"/>
                <a:gd name="connsiteX561" fmla="*/ 243020 w 2358736"/>
                <a:gd name="connsiteY561" fmla="*/ 1081684 h 1615378"/>
                <a:gd name="connsiteX562" fmla="*/ 238256 w 2358736"/>
                <a:gd name="connsiteY562" fmla="*/ 1072154 h 1615378"/>
                <a:gd name="connsiteX563" fmla="*/ 233492 w 2358736"/>
                <a:gd name="connsiteY563" fmla="*/ 1067388 h 1615378"/>
                <a:gd name="connsiteX564" fmla="*/ 223960 w 2358736"/>
                <a:gd name="connsiteY564" fmla="*/ 1067388 h 1615378"/>
                <a:gd name="connsiteX565" fmla="*/ 209664 w 2358736"/>
                <a:gd name="connsiteY565" fmla="*/ 1072154 h 1615378"/>
                <a:gd name="connsiteX566" fmla="*/ 228728 w 2358736"/>
                <a:gd name="connsiteY566" fmla="*/ 1072154 h 1615378"/>
                <a:gd name="connsiteX567" fmla="*/ 233492 w 2358736"/>
                <a:gd name="connsiteY567" fmla="*/ 1081684 h 1615378"/>
                <a:gd name="connsiteX568" fmla="*/ 238256 w 2358736"/>
                <a:gd name="connsiteY568" fmla="*/ 1091214 h 1615378"/>
                <a:gd name="connsiteX569" fmla="*/ 252552 w 2358736"/>
                <a:gd name="connsiteY569" fmla="*/ 1100744 h 1615378"/>
                <a:gd name="connsiteX570" fmla="*/ 266848 w 2358736"/>
                <a:gd name="connsiteY570" fmla="*/ 1091214 h 1615378"/>
                <a:gd name="connsiteX571" fmla="*/ 304968 w 2358736"/>
                <a:gd name="connsiteY571" fmla="*/ 1095980 h 1615378"/>
                <a:gd name="connsiteX572" fmla="*/ 338324 w 2358736"/>
                <a:gd name="connsiteY572" fmla="*/ 1110274 h 1615378"/>
                <a:gd name="connsiteX573" fmla="*/ 343088 w 2358736"/>
                <a:gd name="connsiteY573" fmla="*/ 1110274 h 1615378"/>
                <a:gd name="connsiteX574" fmla="*/ 352620 w 2358736"/>
                <a:gd name="connsiteY574" fmla="*/ 1115040 h 1615378"/>
                <a:gd name="connsiteX575" fmla="*/ 371680 w 2358736"/>
                <a:gd name="connsiteY575" fmla="*/ 1129336 h 1615378"/>
                <a:gd name="connsiteX576" fmla="*/ 381212 w 2358736"/>
                <a:gd name="connsiteY576" fmla="*/ 1143630 h 1615378"/>
                <a:gd name="connsiteX577" fmla="*/ 395504 w 2358736"/>
                <a:gd name="connsiteY577" fmla="*/ 1162690 h 1615378"/>
                <a:gd name="connsiteX578" fmla="*/ 395504 w 2358736"/>
                <a:gd name="connsiteY578" fmla="*/ 1167456 h 1615378"/>
                <a:gd name="connsiteX579" fmla="*/ 395504 w 2358736"/>
                <a:gd name="connsiteY579" fmla="*/ 1181752 h 1615378"/>
                <a:gd name="connsiteX580" fmla="*/ 390740 w 2358736"/>
                <a:gd name="connsiteY580" fmla="*/ 1191282 h 1615378"/>
                <a:gd name="connsiteX581" fmla="*/ 371680 w 2358736"/>
                <a:gd name="connsiteY581" fmla="*/ 1205578 h 1615378"/>
                <a:gd name="connsiteX582" fmla="*/ 347856 w 2358736"/>
                <a:gd name="connsiteY582" fmla="*/ 1215108 h 1615378"/>
                <a:gd name="connsiteX583" fmla="*/ 314500 w 2358736"/>
                <a:gd name="connsiteY583" fmla="*/ 1229402 h 1615378"/>
                <a:gd name="connsiteX584" fmla="*/ 281144 w 2358736"/>
                <a:gd name="connsiteY584" fmla="*/ 1248464 h 1615378"/>
                <a:gd name="connsiteX585" fmla="*/ 262084 w 2358736"/>
                <a:gd name="connsiteY585" fmla="*/ 1248464 h 1615378"/>
                <a:gd name="connsiteX586" fmla="*/ 247788 w 2358736"/>
                <a:gd name="connsiteY586" fmla="*/ 1234168 h 1615378"/>
                <a:gd name="connsiteX587" fmla="*/ 243020 w 2358736"/>
                <a:gd name="connsiteY587" fmla="*/ 1234168 h 1615378"/>
                <a:gd name="connsiteX588" fmla="*/ 223960 w 2358736"/>
                <a:gd name="connsiteY588" fmla="*/ 1229402 h 1615378"/>
                <a:gd name="connsiteX589" fmla="*/ 214432 w 2358736"/>
                <a:gd name="connsiteY589" fmla="*/ 1224638 h 1615378"/>
                <a:gd name="connsiteX590" fmla="*/ 176308 w 2358736"/>
                <a:gd name="connsiteY590" fmla="*/ 1229402 h 1615378"/>
                <a:gd name="connsiteX591" fmla="*/ 138188 w 2358736"/>
                <a:gd name="connsiteY591" fmla="*/ 1229402 h 1615378"/>
                <a:gd name="connsiteX592" fmla="*/ 119128 w 2358736"/>
                <a:gd name="connsiteY592" fmla="*/ 1229402 h 1615378"/>
                <a:gd name="connsiteX593" fmla="*/ 104832 w 2358736"/>
                <a:gd name="connsiteY593" fmla="*/ 1229402 h 1615378"/>
                <a:gd name="connsiteX594" fmla="*/ 85772 w 2358736"/>
                <a:gd name="connsiteY594" fmla="*/ 1219872 h 1615378"/>
                <a:gd name="connsiteX595" fmla="*/ 66712 w 2358736"/>
                <a:gd name="connsiteY595" fmla="*/ 1224638 h 1615378"/>
                <a:gd name="connsiteX596" fmla="*/ 57180 w 2358736"/>
                <a:gd name="connsiteY596" fmla="*/ 1234168 h 1615378"/>
                <a:gd name="connsiteX597" fmla="*/ 42888 w 2358736"/>
                <a:gd name="connsiteY597" fmla="*/ 1234168 h 1615378"/>
                <a:gd name="connsiteX598" fmla="*/ 19060 w 2358736"/>
                <a:gd name="connsiteY598" fmla="*/ 1215108 h 1615378"/>
                <a:gd name="connsiteX599" fmla="*/ 19060 w 2358736"/>
                <a:gd name="connsiteY599" fmla="*/ 867252 h 1615378"/>
                <a:gd name="connsiteX600" fmla="*/ 9532 w 2358736"/>
                <a:gd name="connsiteY600" fmla="*/ 857722 h 1615378"/>
                <a:gd name="connsiteX601" fmla="*/ 0 w 2358736"/>
                <a:gd name="connsiteY601" fmla="*/ 843428 h 1615378"/>
                <a:gd name="connsiteX602" fmla="*/ 4764 w 2358736"/>
                <a:gd name="connsiteY602" fmla="*/ 824366 h 1615378"/>
                <a:gd name="connsiteX603" fmla="*/ 14296 w 2358736"/>
                <a:gd name="connsiteY603" fmla="*/ 795776 h 1615378"/>
                <a:gd name="connsiteX604" fmla="*/ 19060 w 2358736"/>
                <a:gd name="connsiteY604" fmla="*/ 781480 h 1615378"/>
                <a:gd name="connsiteX605" fmla="*/ 1558196 w 2358736"/>
                <a:gd name="connsiteY605" fmla="*/ 190604 h 1615378"/>
                <a:gd name="connsiteX606" fmla="*/ 1582024 w 2358736"/>
                <a:gd name="connsiteY606" fmla="*/ 204900 h 1615378"/>
                <a:gd name="connsiteX607" fmla="*/ 1610612 w 2358736"/>
                <a:gd name="connsiteY607" fmla="*/ 223960 h 1615378"/>
                <a:gd name="connsiteX608" fmla="*/ 1620144 w 2358736"/>
                <a:gd name="connsiteY608" fmla="*/ 233492 h 1615378"/>
                <a:gd name="connsiteX609" fmla="*/ 1634440 w 2358736"/>
                <a:gd name="connsiteY609" fmla="*/ 233492 h 1615378"/>
                <a:gd name="connsiteX610" fmla="*/ 1658264 w 2358736"/>
                <a:gd name="connsiteY610" fmla="*/ 247786 h 1615378"/>
                <a:gd name="connsiteX611" fmla="*/ 1677324 w 2358736"/>
                <a:gd name="connsiteY611" fmla="*/ 257316 h 1615378"/>
                <a:gd name="connsiteX612" fmla="*/ 1691620 w 2358736"/>
                <a:gd name="connsiteY612" fmla="*/ 266846 h 1615378"/>
                <a:gd name="connsiteX613" fmla="*/ 1710680 w 2358736"/>
                <a:gd name="connsiteY613" fmla="*/ 281142 h 1615378"/>
                <a:gd name="connsiteX614" fmla="*/ 1744036 w 2358736"/>
                <a:gd name="connsiteY614" fmla="*/ 295438 h 1615378"/>
                <a:gd name="connsiteX615" fmla="*/ 1753568 w 2358736"/>
                <a:gd name="connsiteY615" fmla="*/ 300202 h 1615378"/>
                <a:gd name="connsiteX616" fmla="*/ 1767864 w 2358736"/>
                <a:gd name="connsiteY616" fmla="*/ 319264 h 1615378"/>
                <a:gd name="connsiteX617" fmla="*/ 1791688 w 2358736"/>
                <a:gd name="connsiteY617" fmla="*/ 338324 h 1615378"/>
                <a:gd name="connsiteX618" fmla="*/ 1801220 w 2358736"/>
                <a:gd name="connsiteY618" fmla="*/ 347854 h 1615378"/>
                <a:gd name="connsiteX619" fmla="*/ 1901288 w 2358736"/>
                <a:gd name="connsiteY619" fmla="*/ 428862 h 1615378"/>
                <a:gd name="connsiteX620" fmla="*/ 1915580 w 2358736"/>
                <a:gd name="connsiteY620" fmla="*/ 452686 h 1615378"/>
                <a:gd name="connsiteX621" fmla="*/ 1920348 w 2358736"/>
                <a:gd name="connsiteY621" fmla="*/ 466982 h 1615378"/>
                <a:gd name="connsiteX622" fmla="*/ 1915580 w 2358736"/>
                <a:gd name="connsiteY622" fmla="*/ 471748 h 1615378"/>
                <a:gd name="connsiteX623" fmla="*/ 1906052 w 2358736"/>
                <a:gd name="connsiteY623" fmla="*/ 486042 h 1615378"/>
                <a:gd name="connsiteX624" fmla="*/ 1906052 w 2358736"/>
                <a:gd name="connsiteY624" fmla="*/ 500338 h 1615378"/>
                <a:gd name="connsiteX625" fmla="*/ 1901288 w 2358736"/>
                <a:gd name="connsiteY625" fmla="*/ 514634 h 1615378"/>
                <a:gd name="connsiteX626" fmla="*/ 1891756 w 2358736"/>
                <a:gd name="connsiteY626" fmla="*/ 528928 h 1615378"/>
                <a:gd name="connsiteX627" fmla="*/ 1882224 w 2358736"/>
                <a:gd name="connsiteY627" fmla="*/ 543224 h 1615378"/>
                <a:gd name="connsiteX628" fmla="*/ 1872696 w 2358736"/>
                <a:gd name="connsiteY628" fmla="*/ 533694 h 1615378"/>
                <a:gd name="connsiteX629" fmla="*/ 1863164 w 2358736"/>
                <a:gd name="connsiteY629" fmla="*/ 519398 h 1615378"/>
                <a:gd name="connsiteX630" fmla="*/ 1858400 w 2358736"/>
                <a:gd name="connsiteY630" fmla="*/ 509868 h 1615378"/>
                <a:gd name="connsiteX631" fmla="*/ 1848872 w 2358736"/>
                <a:gd name="connsiteY631" fmla="*/ 490808 h 1615378"/>
                <a:gd name="connsiteX632" fmla="*/ 1848872 w 2358736"/>
                <a:gd name="connsiteY632" fmla="*/ 481278 h 1615378"/>
                <a:gd name="connsiteX633" fmla="*/ 1848872 w 2358736"/>
                <a:gd name="connsiteY633" fmla="*/ 466982 h 1615378"/>
                <a:gd name="connsiteX634" fmla="*/ 1848872 w 2358736"/>
                <a:gd name="connsiteY634" fmla="*/ 457452 h 1615378"/>
                <a:gd name="connsiteX635" fmla="*/ 1844104 w 2358736"/>
                <a:gd name="connsiteY635" fmla="*/ 433626 h 1615378"/>
                <a:gd name="connsiteX636" fmla="*/ 1834576 w 2358736"/>
                <a:gd name="connsiteY636" fmla="*/ 409800 h 1615378"/>
                <a:gd name="connsiteX637" fmla="*/ 1796452 w 2358736"/>
                <a:gd name="connsiteY637" fmla="*/ 362150 h 1615378"/>
                <a:gd name="connsiteX638" fmla="*/ 1786924 w 2358736"/>
                <a:gd name="connsiteY638" fmla="*/ 347854 h 1615378"/>
                <a:gd name="connsiteX639" fmla="*/ 1772628 w 2358736"/>
                <a:gd name="connsiteY639" fmla="*/ 333558 h 1615378"/>
                <a:gd name="connsiteX640" fmla="*/ 1763096 w 2358736"/>
                <a:gd name="connsiteY640" fmla="*/ 333558 h 1615378"/>
                <a:gd name="connsiteX641" fmla="*/ 1744036 w 2358736"/>
                <a:gd name="connsiteY641" fmla="*/ 328794 h 1615378"/>
                <a:gd name="connsiteX642" fmla="*/ 1734508 w 2358736"/>
                <a:gd name="connsiteY642" fmla="*/ 324028 h 1615378"/>
                <a:gd name="connsiteX643" fmla="*/ 1724976 w 2358736"/>
                <a:gd name="connsiteY643" fmla="*/ 319264 h 1615378"/>
                <a:gd name="connsiteX644" fmla="*/ 1710680 w 2358736"/>
                <a:gd name="connsiteY644" fmla="*/ 309734 h 1615378"/>
                <a:gd name="connsiteX645" fmla="*/ 1677324 w 2358736"/>
                <a:gd name="connsiteY645" fmla="*/ 281142 h 1615378"/>
                <a:gd name="connsiteX646" fmla="*/ 1658264 w 2358736"/>
                <a:gd name="connsiteY646" fmla="*/ 271612 h 1615378"/>
                <a:gd name="connsiteX647" fmla="*/ 1648736 w 2358736"/>
                <a:gd name="connsiteY647" fmla="*/ 262082 h 1615378"/>
                <a:gd name="connsiteX648" fmla="*/ 1596320 w 2358736"/>
                <a:gd name="connsiteY648" fmla="*/ 228726 h 1615378"/>
                <a:gd name="connsiteX649" fmla="*/ 1582024 w 2358736"/>
                <a:gd name="connsiteY649" fmla="*/ 219196 h 1615378"/>
                <a:gd name="connsiteX650" fmla="*/ 1562964 w 2358736"/>
                <a:gd name="connsiteY650" fmla="*/ 219196 h 1615378"/>
                <a:gd name="connsiteX651" fmla="*/ 1543904 w 2358736"/>
                <a:gd name="connsiteY651" fmla="*/ 214430 h 1615378"/>
                <a:gd name="connsiteX652" fmla="*/ 1558196 w 2358736"/>
                <a:gd name="connsiteY652" fmla="*/ 209666 h 1615378"/>
                <a:gd name="connsiteX653" fmla="*/ 1558196 w 2358736"/>
                <a:gd name="connsiteY653" fmla="*/ 200136 h 1615378"/>
                <a:gd name="connsiteX654" fmla="*/ 1462896 w 2358736"/>
                <a:gd name="connsiteY654" fmla="*/ 157248 h 1615378"/>
                <a:gd name="connsiteX655" fmla="*/ 1496248 w 2358736"/>
                <a:gd name="connsiteY655" fmla="*/ 171544 h 1615378"/>
                <a:gd name="connsiteX656" fmla="*/ 1501016 w 2358736"/>
                <a:gd name="connsiteY656" fmla="*/ 181074 h 1615378"/>
                <a:gd name="connsiteX657" fmla="*/ 1501016 w 2358736"/>
                <a:gd name="connsiteY657" fmla="*/ 185840 h 1615378"/>
                <a:gd name="connsiteX658" fmla="*/ 1496248 w 2358736"/>
                <a:gd name="connsiteY658" fmla="*/ 200134 h 1615378"/>
                <a:gd name="connsiteX659" fmla="*/ 1496248 w 2358736"/>
                <a:gd name="connsiteY659" fmla="*/ 204900 h 1615378"/>
                <a:gd name="connsiteX660" fmla="*/ 1467660 w 2358736"/>
                <a:gd name="connsiteY660" fmla="*/ 204900 h 1615378"/>
                <a:gd name="connsiteX661" fmla="*/ 1453364 w 2358736"/>
                <a:gd name="connsiteY661" fmla="*/ 204900 h 1615378"/>
                <a:gd name="connsiteX662" fmla="*/ 1443832 w 2358736"/>
                <a:gd name="connsiteY662" fmla="*/ 195370 h 1615378"/>
                <a:gd name="connsiteX663" fmla="*/ 1434304 w 2358736"/>
                <a:gd name="connsiteY663" fmla="*/ 181074 h 1615378"/>
                <a:gd name="connsiteX664" fmla="*/ 1424772 w 2358736"/>
                <a:gd name="connsiteY664" fmla="*/ 176310 h 1615378"/>
                <a:gd name="connsiteX665" fmla="*/ 1424772 w 2358736"/>
                <a:gd name="connsiteY665" fmla="*/ 171544 h 1615378"/>
                <a:gd name="connsiteX666" fmla="*/ 1443832 w 2358736"/>
                <a:gd name="connsiteY666" fmla="*/ 162014 h 1615378"/>
                <a:gd name="connsiteX667" fmla="*/ 1086448 w 2358736"/>
                <a:gd name="connsiteY667" fmla="*/ 138188 h 1615378"/>
                <a:gd name="connsiteX668" fmla="*/ 1091216 w 2358736"/>
                <a:gd name="connsiteY668" fmla="*/ 138188 h 1615378"/>
                <a:gd name="connsiteX669" fmla="*/ 1095980 w 2358736"/>
                <a:gd name="connsiteY669" fmla="*/ 142954 h 1615378"/>
                <a:gd name="connsiteX670" fmla="*/ 1091216 w 2358736"/>
                <a:gd name="connsiteY670" fmla="*/ 152484 h 1615378"/>
                <a:gd name="connsiteX671" fmla="*/ 1081684 w 2358736"/>
                <a:gd name="connsiteY671" fmla="*/ 152484 h 1615378"/>
                <a:gd name="connsiteX672" fmla="*/ 1076920 w 2358736"/>
                <a:gd name="connsiteY672" fmla="*/ 147720 h 1615378"/>
                <a:gd name="connsiteX673" fmla="*/ 1081684 w 2358736"/>
                <a:gd name="connsiteY673" fmla="*/ 147720 h 1615378"/>
                <a:gd name="connsiteX674" fmla="*/ 938732 w 2358736"/>
                <a:gd name="connsiteY674" fmla="*/ 90536 h 1615378"/>
                <a:gd name="connsiteX675" fmla="*/ 972088 w 2358736"/>
                <a:gd name="connsiteY675" fmla="*/ 90536 h 1615378"/>
                <a:gd name="connsiteX676" fmla="*/ 1024504 w 2358736"/>
                <a:gd name="connsiteY676" fmla="*/ 104832 h 1615378"/>
                <a:gd name="connsiteX677" fmla="*/ 1024504 w 2358736"/>
                <a:gd name="connsiteY677" fmla="*/ 100068 h 1615378"/>
                <a:gd name="connsiteX678" fmla="*/ 1029268 w 2358736"/>
                <a:gd name="connsiteY678" fmla="*/ 100068 h 1615378"/>
                <a:gd name="connsiteX679" fmla="*/ 1029268 w 2358736"/>
                <a:gd name="connsiteY679" fmla="*/ 109598 h 1615378"/>
                <a:gd name="connsiteX680" fmla="*/ 1019736 w 2358736"/>
                <a:gd name="connsiteY680" fmla="*/ 109598 h 1615378"/>
                <a:gd name="connsiteX681" fmla="*/ 1010208 w 2358736"/>
                <a:gd name="connsiteY681" fmla="*/ 109598 h 1615378"/>
                <a:gd name="connsiteX682" fmla="*/ 1005444 w 2358736"/>
                <a:gd name="connsiteY682" fmla="*/ 114362 h 1615378"/>
                <a:gd name="connsiteX683" fmla="*/ 991148 w 2358736"/>
                <a:gd name="connsiteY683" fmla="*/ 128658 h 1615378"/>
                <a:gd name="connsiteX684" fmla="*/ 981616 w 2358736"/>
                <a:gd name="connsiteY684" fmla="*/ 123892 h 1615378"/>
                <a:gd name="connsiteX685" fmla="*/ 972088 w 2358736"/>
                <a:gd name="connsiteY685" fmla="*/ 128658 h 1615378"/>
                <a:gd name="connsiteX686" fmla="*/ 948260 w 2358736"/>
                <a:gd name="connsiteY686" fmla="*/ 128658 h 1615378"/>
                <a:gd name="connsiteX687" fmla="*/ 919668 w 2358736"/>
                <a:gd name="connsiteY687" fmla="*/ 123892 h 1615378"/>
                <a:gd name="connsiteX688" fmla="*/ 914904 w 2358736"/>
                <a:gd name="connsiteY688" fmla="*/ 128658 h 1615378"/>
                <a:gd name="connsiteX689" fmla="*/ 905376 w 2358736"/>
                <a:gd name="connsiteY689" fmla="*/ 128658 h 1615378"/>
                <a:gd name="connsiteX690" fmla="*/ 891080 w 2358736"/>
                <a:gd name="connsiteY690" fmla="*/ 133424 h 1615378"/>
                <a:gd name="connsiteX691" fmla="*/ 886312 w 2358736"/>
                <a:gd name="connsiteY691" fmla="*/ 123892 h 1615378"/>
                <a:gd name="connsiteX692" fmla="*/ 886312 w 2358736"/>
                <a:gd name="connsiteY692" fmla="*/ 119128 h 1615378"/>
                <a:gd name="connsiteX693" fmla="*/ 900608 w 2358736"/>
                <a:gd name="connsiteY693" fmla="*/ 114362 h 1615378"/>
                <a:gd name="connsiteX694" fmla="*/ 895844 w 2358736"/>
                <a:gd name="connsiteY694" fmla="*/ 100068 h 1615378"/>
                <a:gd name="connsiteX695" fmla="*/ 905376 w 2358736"/>
                <a:gd name="connsiteY695" fmla="*/ 95302 h 1615378"/>
                <a:gd name="connsiteX696" fmla="*/ 924436 w 2358736"/>
                <a:gd name="connsiteY696" fmla="*/ 95302 h 1615378"/>
                <a:gd name="connsiteX697" fmla="*/ 1362828 w 2358736"/>
                <a:gd name="connsiteY697" fmla="*/ 0 h 1615378"/>
                <a:gd name="connsiteX698" fmla="*/ 1372356 w 2358736"/>
                <a:gd name="connsiteY698" fmla="*/ 0 h 1615378"/>
                <a:gd name="connsiteX699" fmla="*/ 1386652 w 2358736"/>
                <a:gd name="connsiteY699" fmla="*/ 9530 h 1615378"/>
                <a:gd name="connsiteX700" fmla="*/ 1391416 w 2358736"/>
                <a:gd name="connsiteY700" fmla="*/ 28590 h 1615378"/>
                <a:gd name="connsiteX701" fmla="*/ 1391416 w 2358736"/>
                <a:gd name="connsiteY701" fmla="*/ 28592 h 1615378"/>
                <a:gd name="connsiteX702" fmla="*/ 1391416 w 2358736"/>
                <a:gd name="connsiteY702" fmla="*/ 33356 h 1615378"/>
                <a:gd name="connsiteX703" fmla="*/ 1381888 w 2358736"/>
                <a:gd name="connsiteY703" fmla="*/ 33356 h 1615378"/>
                <a:gd name="connsiteX704" fmla="*/ 1377124 w 2358736"/>
                <a:gd name="connsiteY704" fmla="*/ 33356 h 1615378"/>
                <a:gd name="connsiteX705" fmla="*/ 1358064 w 2358736"/>
                <a:gd name="connsiteY705" fmla="*/ 14296 h 1615378"/>
                <a:gd name="connsiteX706" fmla="*/ 1358064 w 2358736"/>
                <a:gd name="connsiteY706" fmla="*/ 4766 h 1615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</a:cxnLst>
              <a:rect l="l" t="t" r="r" b="b"/>
              <a:pathLst>
                <a:path w="2358736" h="1615378">
                  <a:moveTo>
                    <a:pt x="2068064" y="1567728"/>
                  </a:moveTo>
                  <a:lnTo>
                    <a:pt x="2091892" y="1567728"/>
                  </a:lnTo>
                  <a:lnTo>
                    <a:pt x="2096656" y="1572492"/>
                  </a:lnTo>
                  <a:lnTo>
                    <a:pt x="2096656" y="1582022"/>
                  </a:lnTo>
                  <a:lnTo>
                    <a:pt x="2087124" y="1577256"/>
                  </a:lnTo>
                  <a:lnTo>
                    <a:pt x="2072832" y="1582022"/>
                  </a:lnTo>
                  <a:lnTo>
                    <a:pt x="2063300" y="1582022"/>
                  </a:lnTo>
                  <a:lnTo>
                    <a:pt x="2058536" y="1572492"/>
                  </a:lnTo>
                  <a:lnTo>
                    <a:pt x="2072832" y="1572492"/>
                  </a:lnTo>
                  <a:close/>
                  <a:moveTo>
                    <a:pt x="1929876" y="1567728"/>
                  </a:moveTo>
                  <a:lnTo>
                    <a:pt x="1944172" y="1572492"/>
                  </a:lnTo>
                  <a:lnTo>
                    <a:pt x="1982292" y="1591552"/>
                  </a:lnTo>
                  <a:lnTo>
                    <a:pt x="2006120" y="1601082"/>
                  </a:lnTo>
                  <a:lnTo>
                    <a:pt x="2015648" y="1610612"/>
                  </a:lnTo>
                  <a:lnTo>
                    <a:pt x="2006120" y="1615378"/>
                  </a:lnTo>
                  <a:lnTo>
                    <a:pt x="1982292" y="1615378"/>
                  </a:lnTo>
                  <a:lnTo>
                    <a:pt x="1977528" y="1610612"/>
                  </a:lnTo>
                  <a:lnTo>
                    <a:pt x="1958468" y="1605848"/>
                  </a:lnTo>
                  <a:lnTo>
                    <a:pt x="1953704" y="1596318"/>
                  </a:lnTo>
                  <a:lnTo>
                    <a:pt x="1944172" y="1596318"/>
                  </a:lnTo>
                  <a:lnTo>
                    <a:pt x="1948936" y="1591552"/>
                  </a:lnTo>
                  <a:lnTo>
                    <a:pt x="1934644" y="1582022"/>
                  </a:lnTo>
                  <a:lnTo>
                    <a:pt x="1929876" y="1572492"/>
                  </a:lnTo>
                  <a:close/>
                  <a:moveTo>
                    <a:pt x="1553432" y="1443832"/>
                  </a:moveTo>
                  <a:lnTo>
                    <a:pt x="1562960" y="1443832"/>
                  </a:lnTo>
                  <a:lnTo>
                    <a:pt x="1567728" y="1448598"/>
                  </a:lnTo>
                  <a:lnTo>
                    <a:pt x="1567728" y="1458128"/>
                  </a:lnTo>
                  <a:lnTo>
                    <a:pt x="1553432" y="1453364"/>
                  </a:lnTo>
                  <a:close/>
                  <a:moveTo>
                    <a:pt x="1548668" y="1310410"/>
                  </a:moveTo>
                  <a:lnTo>
                    <a:pt x="1558196" y="1315176"/>
                  </a:lnTo>
                  <a:lnTo>
                    <a:pt x="1562964" y="1324706"/>
                  </a:lnTo>
                  <a:lnTo>
                    <a:pt x="1591552" y="1348532"/>
                  </a:lnTo>
                  <a:lnTo>
                    <a:pt x="1591552" y="1353296"/>
                  </a:lnTo>
                  <a:lnTo>
                    <a:pt x="1596320" y="1358062"/>
                  </a:lnTo>
                  <a:lnTo>
                    <a:pt x="1605848" y="1358062"/>
                  </a:lnTo>
                  <a:lnTo>
                    <a:pt x="1615380" y="1348532"/>
                  </a:lnTo>
                  <a:lnTo>
                    <a:pt x="1624908" y="1343766"/>
                  </a:lnTo>
                  <a:lnTo>
                    <a:pt x="1629672" y="1348532"/>
                  </a:lnTo>
                  <a:lnTo>
                    <a:pt x="1620144" y="1386652"/>
                  </a:lnTo>
                  <a:lnTo>
                    <a:pt x="1610612" y="1381886"/>
                  </a:lnTo>
                  <a:lnTo>
                    <a:pt x="1577256" y="1372356"/>
                  </a:lnTo>
                  <a:lnTo>
                    <a:pt x="1577256" y="1358062"/>
                  </a:lnTo>
                  <a:lnTo>
                    <a:pt x="1567728" y="1353296"/>
                  </a:lnTo>
                  <a:lnTo>
                    <a:pt x="1562964" y="1339000"/>
                  </a:lnTo>
                  <a:lnTo>
                    <a:pt x="1553432" y="1319940"/>
                  </a:lnTo>
                  <a:close/>
                  <a:moveTo>
                    <a:pt x="1496248" y="1253228"/>
                  </a:moveTo>
                  <a:lnTo>
                    <a:pt x="1505780" y="1253228"/>
                  </a:lnTo>
                  <a:lnTo>
                    <a:pt x="1510544" y="1253228"/>
                  </a:lnTo>
                  <a:lnTo>
                    <a:pt x="1534372" y="1267524"/>
                  </a:lnTo>
                  <a:lnTo>
                    <a:pt x="1543900" y="1262758"/>
                  </a:lnTo>
                  <a:lnTo>
                    <a:pt x="1553432" y="1262758"/>
                  </a:lnTo>
                  <a:lnTo>
                    <a:pt x="1567728" y="1281820"/>
                  </a:lnTo>
                  <a:lnTo>
                    <a:pt x="1567728" y="1291350"/>
                  </a:lnTo>
                  <a:lnTo>
                    <a:pt x="1567728" y="1300880"/>
                  </a:lnTo>
                  <a:lnTo>
                    <a:pt x="1567728" y="1305644"/>
                  </a:lnTo>
                  <a:lnTo>
                    <a:pt x="1558196" y="1310410"/>
                  </a:lnTo>
                  <a:lnTo>
                    <a:pt x="1562960" y="1300880"/>
                  </a:lnTo>
                  <a:lnTo>
                    <a:pt x="1553432" y="1300880"/>
                  </a:lnTo>
                  <a:lnTo>
                    <a:pt x="1534372" y="1300880"/>
                  </a:lnTo>
                  <a:lnTo>
                    <a:pt x="1520076" y="1296114"/>
                  </a:lnTo>
                  <a:lnTo>
                    <a:pt x="1496248" y="1296114"/>
                  </a:lnTo>
                  <a:lnTo>
                    <a:pt x="1505780" y="1286584"/>
                  </a:lnTo>
                  <a:lnTo>
                    <a:pt x="1510544" y="1281820"/>
                  </a:lnTo>
                  <a:lnTo>
                    <a:pt x="1496248" y="1267524"/>
                  </a:lnTo>
                  <a:lnTo>
                    <a:pt x="1496248" y="1257994"/>
                  </a:lnTo>
                  <a:close/>
                  <a:moveTo>
                    <a:pt x="1462896" y="1229404"/>
                  </a:moveTo>
                  <a:lnTo>
                    <a:pt x="1477188" y="1238934"/>
                  </a:lnTo>
                  <a:lnTo>
                    <a:pt x="1486720" y="1253228"/>
                  </a:lnTo>
                  <a:lnTo>
                    <a:pt x="1486720" y="1262758"/>
                  </a:lnTo>
                  <a:lnTo>
                    <a:pt x="1481956" y="1277054"/>
                  </a:lnTo>
                  <a:lnTo>
                    <a:pt x="1481956" y="1281820"/>
                  </a:lnTo>
                  <a:lnTo>
                    <a:pt x="1472424" y="1277054"/>
                  </a:lnTo>
                  <a:lnTo>
                    <a:pt x="1448600" y="1257994"/>
                  </a:lnTo>
                  <a:lnTo>
                    <a:pt x="1448600" y="1238934"/>
                  </a:lnTo>
                  <a:close/>
                  <a:moveTo>
                    <a:pt x="1829808" y="1191282"/>
                  </a:moveTo>
                  <a:lnTo>
                    <a:pt x="1839340" y="1191282"/>
                  </a:lnTo>
                  <a:lnTo>
                    <a:pt x="1848868" y="1196048"/>
                  </a:lnTo>
                  <a:lnTo>
                    <a:pt x="1867932" y="1191282"/>
                  </a:lnTo>
                  <a:lnTo>
                    <a:pt x="1872696" y="1200812"/>
                  </a:lnTo>
                  <a:lnTo>
                    <a:pt x="1882224" y="1205578"/>
                  </a:lnTo>
                  <a:lnTo>
                    <a:pt x="1891756" y="1210342"/>
                  </a:lnTo>
                  <a:lnTo>
                    <a:pt x="1896520" y="1215108"/>
                  </a:lnTo>
                  <a:lnTo>
                    <a:pt x="1896520" y="1219872"/>
                  </a:lnTo>
                  <a:lnTo>
                    <a:pt x="1891756" y="1224638"/>
                  </a:lnTo>
                  <a:lnTo>
                    <a:pt x="1891756" y="1229402"/>
                  </a:lnTo>
                  <a:lnTo>
                    <a:pt x="1886992" y="1229402"/>
                  </a:lnTo>
                  <a:lnTo>
                    <a:pt x="1877460" y="1234168"/>
                  </a:lnTo>
                  <a:lnTo>
                    <a:pt x="1858400" y="1224638"/>
                  </a:lnTo>
                  <a:lnTo>
                    <a:pt x="1853636" y="1224638"/>
                  </a:lnTo>
                  <a:lnTo>
                    <a:pt x="1853636" y="1219872"/>
                  </a:lnTo>
                  <a:lnTo>
                    <a:pt x="1839340" y="1205578"/>
                  </a:lnTo>
                  <a:lnTo>
                    <a:pt x="1820280" y="1200812"/>
                  </a:lnTo>
                  <a:close/>
                  <a:moveTo>
                    <a:pt x="1601084" y="1105508"/>
                  </a:moveTo>
                  <a:lnTo>
                    <a:pt x="1605848" y="1105508"/>
                  </a:lnTo>
                  <a:lnTo>
                    <a:pt x="1601084" y="1124570"/>
                  </a:lnTo>
                  <a:lnTo>
                    <a:pt x="1605848" y="1129334"/>
                  </a:lnTo>
                  <a:lnTo>
                    <a:pt x="1601084" y="1157926"/>
                  </a:lnTo>
                  <a:lnTo>
                    <a:pt x="1605848" y="1167456"/>
                  </a:lnTo>
                  <a:lnTo>
                    <a:pt x="1591552" y="1157926"/>
                  </a:lnTo>
                  <a:lnTo>
                    <a:pt x="1596320" y="1143630"/>
                  </a:lnTo>
                  <a:lnTo>
                    <a:pt x="1596320" y="1134100"/>
                  </a:lnTo>
                  <a:lnTo>
                    <a:pt x="1596320" y="1129334"/>
                  </a:lnTo>
                  <a:lnTo>
                    <a:pt x="1586788" y="1124570"/>
                  </a:lnTo>
                  <a:lnTo>
                    <a:pt x="1591552" y="1110274"/>
                  </a:lnTo>
                  <a:close/>
                  <a:moveTo>
                    <a:pt x="366916" y="1105508"/>
                  </a:moveTo>
                  <a:lnTo>
                    <a:pt x="381212" y="1115040"/>
                  </a:lnTo>
                  <a:lnTo>
                    <a:pt x="405036" y="1124570"/>
                  </a:lnTo>
                  <a:lnTo>
                    <a:pt x="428864" y="1138864"/>
                  </a:lnTo>
                  <a:lnTo>
                    <a:pt x="428864" y="1148396"/>
                  </a:lnTo>
                  <a:lnTo>
                    <a:pt x="405036" y="1138864"/>
                  </a:lnTo>
                  <a:lnTo>
                    <a:pt x="385976" y="1119804"/>
                  </a:lnTo>
                  <a:lnTo>
                    <a:pt x="376444" y="1119804"/>
                  </a:lnTo>
                  <a:close/>
                  <a:moveTo>
                    <a:pt x="385976" y="1100744"/>
                  </a:moveTo>
                  <a:lnTo>
                    <a:pt x="419332" y="1100744"/>
                  </a:lnTo>
                  <a:lnTo>
                    <a:pt x="424096" y="1100744"/>
                  </a:lnTo>
                  <a:lnTo>
                    <a:pt x="428864" y="1115040"/>
                  </a:lnTo>
                  <a:lnTo>
                    <a:pt x="419332" y="1115040"/>
                  </a:lnTo>
                  <a:lnTo>
                    <a:pt x="390740" y="1105508"/>
                  </a:lnTo>
                  <a:close/>
                  <a:moveTo>
                    <a:pt x="2325384" y="876784"/>
                  </a:moveTo>
                  <a:lnTo>
                    <a:pt x="2344444" y="891078"/>
                  </a:lnTo>
                  <a:lnTo>
                    <a:pt x="2339676" y="895844"/>
                  </a:lnTo>
                  <a:lnTo>
                    <a:pt x="2325384" y="900608"/>
                  </a:lnTo>
                  <a:lnTo>
                    <a:pt x="2315852" y="895844"/>
                  </a:lnTo>
                  <a:lnTo>
                    <a:pt x="2320616" y="886314"/>
                  </a:lnTo>
                  <a:close/>
                  <a:moveTo>
                    <a:pt x="1086448" y="648056"/>
                  </a:moveTo>
                  <a:lnTo>
                    <a:pt x="1091216" y="648056"/>
                  </a:lnTo>
                  <a:lnTo>
                    <a:pt x="1124568" y="662352"/>
                  </a:lnTo>
                  <a:lnTo>
                    <a:pt x="1129336" y="671882"/>
                  </a:lnTo>
                  <a:lnTo>
                    <a:pt x="1124568" y="690942"/>
                  </a:lnTo>
                  <a:lnTo>
                    <a:pt x="1119804" y="700472"/>
                  </a:lnTo>
                  <a:lnTo>
                    <a:pt x="1115040" y="700472"/>
                  </a:lnTo>
                  <a:lnTo>
                    <a:pt x="1110276" y="690942"/>
                  </a:lnTo>
                  <a:lnTo>
                    <a:pt x="1095980" y="686178"/>
                  </a:lnTo>
                  <a:lnTo>
                    <a:pt x="1081684" y="667118"/>
                  </a:lnTo>
                  <a:lnTo>
                    <a:pt x="1081684" y="652822"/>
                  </a:lnTo>
                  <a:close/>
                  <a:moveTo>
                    <a:pt x="2168132" y="638528"/>
                  </a:moveTo>
                  <a:lnTo>
                    <a:pt x="2172900" y="638528"/>
                  </a:lnTo>
                  <a:lnTo>
                    <a:pt x="2182428" y="648058"/>
                  </a:lnTo>
                  <a:lnTo>
                    <a:pt x="2191960" y="652822"/>
                  </a:lnTo>
                  <a:lnTo>
                    <a:pt x="2211020" y="652822"/>
                  </a:lnTo>
                  <a:lnTo>
                    <a:pt x="2225316" y="667118"/>
                  </a:lnTo>
                  <a:lnTo>
                    <a:pt x="2239608" y="690944"/>
                  </a:lnTo>
                  <a:lnTo>
                    <a:pt x="2239608" y="700474"/>
                  </a:lnTo>
                  <a:lnTo>
                    <a:pt x="2244376" y="705238"/>
                  </a:lnTo>
                  <a:lnTo>
                    <a:pt x="2258672" y="714770"/>
                  </a:lnTo>
                  <a:lnTo>
                    <a:pt x="2268200" y="719534"/>
                  </a:lnTo>
                  <a:lnTo>
                    <a:pt x="2282496" y="748124"/>
                  </a:lnTo>
                  <a:lnTo>
                    <a:pt x="2292028" y="752890"/>
                  </a:lnTo>
                  <a:lnTo>
                    <a:pt x="2301556" y="757656"/>
                  </a:lnTo>
                  <a:lnTo>
                    <a:pt x="2311088" y="762420"/>
                  </a:lnTo>
                  <a:lnTo>
                    <a:pt x="2325384" y="771950"/>
                  </a:lnTo>
                  <a:lnTo>
                    <a:pt x="2339676" y="786246"/>
                  </a:lnTo>
                  <a:lnTo>
                    <a:pt x="2349208" y="800542"/>
                  </a:lnTo>
                  <a:lnTo>
                    <a:pt x="2353972" y="814836"/>
                  </a:lnTo>
                  <a:lnTo>
                    <a:pt x="2358736" y="833898"/>
                  </a:lnTo>
                  <a:lnTo>
                    <a:pt x="2353972" y="848192"/>
                  </a:lnTo>
                  <a:lnTo>
                    <a:pt x="2353972" y="852958"/>
                  </a:lnTo>
                  <a:lnTo>
                    <a:pt x="2349208" y="843428"/>
                  </a:lnTo>
                  <a:lnTo>
                    <a:pt x="2334912" y="852958"/>
                  </a:lnTo>
                  <a:lnTo>
                    <a:pt x="2330148" y="857722"/>
                  </a:lnTo>
                  <a:lnTo>
                    <a:pt x="2320616" y="862488"/>
                  </a:lnTo>
                  <a:lnTo>
                    <a:pt x="2306320" y="857722"/>
                  </a:lnTo>
                  <a:lnTo>
                    <a:pt x="2292028" y="857722"/>
                  </a:lnTo>
                  <a:lnTo>
                    <a:pt x="2277732" y="848192"/>
                  </a:lnTo>
                  <a:lnTo>
                    <a:pt x="2263436" y="838662"/>
                  </a:lnTo>
                  <a:lnTo>
                    <a:pt x="2249140" y="824366"/>
                  </a:lnTo>
                  <a:lnTo>
                    <a:pt x="2244376" y="810072"/>
                  </a:lnTo>
                  <a:lnTo>
                    <a:pt x="2244376" y="791012"/>
                  </a:lnTo>
                  <a:lnTo>
                    <a:pt x="2239608" y="771950"/>
                  </a:lnTo>
                  <a:lnTo>
                    <a:pt x="2215784" y="762420"/>
                  </a:lnTo>
                  <a:lnTo>
                    <a:pt x="2211020" y="757656"/>
                  </a:lnTo>
                  <a:lnTo>
                    <a:pt x="2201488" y="743360"/>
                  </a:lnTo>
                  <a:lnTo>
                    <a:pt x="2191960" y="733830"/>
                  </a:lnTo>
                  <a:lnTo>
                    <a:pt x="2177664" y="719534"/>
                  </a:lnTo>
                  <a:lnTo>
                    <a:pt x="2172900" y="714770"/>
                  </a:lnTo>
                  <a:lnTo>
                    <a:pt x="2168132" y="695708"/>
                  </a:lnTo>
                  <a:lnTo>
                    <a:pt x="2163368" y="686178"/>
                  </a:lnTo>
                  <a:lnTo>
                    <a:pt x="2168132" y="652822"/>
                  </a:lnTo>
                  <a:close/>
                  <a:moveTo>
                    <a:pt x="981616" y="600406"/>
                  </a:moveTo>
                  <a:lnTo>
                    <a:pt x="991148" y="609936"/>
                  </a:lnTo>
                  <a:lnTo>
                    <a:pt x="995912" y="628996"/>
                  </a:lnTo>
                  <a:lnTo>
                    <a:pt x="986380" y="638528"/>
                  </a:lnTo>
                  <a:lnTo>
                    <a:pt x="976852" y="638528"/>
                  </a:lnTo>
                  <a:lnTo>
                    <a:pt x="962556" y="624232"/>
                  </a:lnTo>
                  <a:lnTo>
                    <a:pt x="962556" y="614702"/>
                  </a:lnTo>
                  <a:lnTo>
                    <a:pt x="962556" y="609936"/>
                  </a:lnTo>
                  <a:close/>
                  <a:moveTo>
                    <a:pt x="2153840" y="571816"/>
                  </a:moveTo>
                  <a:lnTo>
                    <a:pt x="2158604" y="576580"/>
                  </a:lnTo>
                  <a:lnTo>
                    <a:pt x="2163368" y="590876"/>
                  </a:lnTo>
                  <a:lnTo>
                    <a:pt x="2168136" y="600406"/>
                  </a:lnTo>
                  <a:lnTo>
                    <a:pt x="2163368" y="628996"/>
                  </a:lnTo>
                  <a:lnTo>
                    <a:pt x="2153840" y="638528"/>
                  </a:lnTo>
                  <a:lnTo>
                    <a:pt x="2144308" y="619466"/>
                  </a:lnTo>
                  <a:lnTo>
                    <a:pt x="2144308" y="605172"/>
                  </a:lnTo>
                  <a:lnTo>
                    <a:pt x="2139544" y="590876"/>
                  </a:lnTo>
                  <a:lnTo>
                    <a:pt x="2139544" y="586110"/>
                  </a:lnTo>
                  <a:lnTo>
                    <a:pt x="2149072" y="576580"/>
                  </a:lnTo>
                  <a:close/>
                  <a:moveTo>
                    <a:pt x="805308" y="495572"/>
                  </a:moveTo>
                  <a:lnTo>
                    <a:pt x="810072" y="500338"/>
                  </a:lnTo>
                  <a:lnTo>
                    <a:pt x="810072" y="514634"/>
                  </a:lnTo>
                  <a:lnTo>
                    <a:pt x="805308" y="524164"/>
                  </a:lnTo>
                  <a:lnTo>
                    <a:pt x="795776" y="528928"/>
                  </a:lnTo>
                  <a:lnTo>
                    <a:pt x="791012" y="528928"/>
                  </a:lnTo>
                  <a:lnTo>
                    <a:pt x="786248" y="514634"/>
                  </a:lnTo>
                  <a:lnTo>
                    <a:pt x="786248" y="505104"/>
                  </a:lnTo>
                  <a:lnTo>
                    <a:pt x="795776" y="500338"/>
                  </a:lnTo>
                  <a:close/>
                  <a:moveTo>
                    <a:pt x="1677324" y="443156"/>
                  </a:moveTo>
                  <a:lnTo>
                    <a:pt x="1696388" y="443156"/>
                  </a:lnTo>
                  <a:lnTo>
                    <a:pt x="1710680" y="447922"/>
                  </a:lnTo>
                  <a:lnTo>
                    <a:pt x="1720212" y="452688"/>
                  </a:lnTo>
                  <a:lnTo>
                    <a:pt x="1729744" y="457452"/>
                  </a:lnTo>
                  <a:lnTo>
                    <a:pt x="1734508" y="462218"/>
                  </a:lnTo>
                  <a:lnTo>
                    <a:pt x="1758332" y="443156"/>
                  </a:lnTo>
                  <a:lnTo>
                    <a:pt x="1772628" y="457452"/>
                  </a:lnTo>
                  <a:lnTo>
                    <a:pt x="1786924" y="462218"/>
                  </a:lnTo>
                  <a:lnTo>
                    <a:pt x="1805984" y="466982"/>
                  </a:lnTo>
                  <a:lnTo>
                    <a:pt x="1796452" y="490808"/>
                  </a:lnTo>
                  <a:lnTo>
                    <a:pt x="1801220" y="500338"/>
                  </a:lnTo>
                  <a:lnTo>
                    <a:pt x="1805984" y="509868"/>
                  </a:lnTo>
                  <a:lnTo>
                    <a:pt x="1805984" y="524164"/>
                  </a:lnTo>
                  <a:lnTo>
                    <a:pt x="1796452" y="538460"/>
                  </a:lnTo>
                  <a:lnTo>
                    <a:pt x="1782160" y="562286"/>
                  </a:lnTo>
                  <a:lnTo>
                    <a:pt x="1772628" y="567050"/>
                  </a:lnTo>
                  <a:lnTo>
                    <a:pt x="1767864" y="567050"/>
                  </a:lnTo>
                  <a:lnTo>
                    <a:pt x="1744036" y="571816"/>
                  </a:lnTo>
                  <a:lnTo>
                    <a:pt x="1739272" y="581346"/>
                  </a:lnTo>
                  <a:lnTo>
                    <a:pt x="1739272" y="590876"/>
                  </a:lnTo>
                  <a:lnTo>
                    <a:pt x="1753568" y="609936"/>
                  </a:lnTo>
                  <a:lnTo>
                    <a:pt x="1763096" y="624232"/>
                  </a:lnTo>
                  <a:lnTo>
                    <a:pt x="1753568" y="638528"/>
                  </a:lnTo>
                  <a:lnTo>
                    <a:pt x="1734508" y="652822"/>
                  </a:lnTo>
                  <a:lnTo>
                    <a:pt x="1720212" y="657588"/>
                  </a:lnTo>
                  <a:lnTo>
                    <a:pt x="1691620" y="652822"/>
                  </a:lnTo>
                  <a:lnTo>
                    <a:pt x="1667796" y="657588"/>
                  </a:lnTo>
                  <a:lnTo>
                    <a:pt x="1658264" y="662352"/>
                  </a:lnTo>
                  <a:lnTo>
                    <a:pt x="1658264" y="671884"/>
                  </a:lnTo>
                  <a:lnTo>
                    <a:pt x="1653500" y="676648"/>
                  </a:lnTo>
                  <a:lnTo>
                    <a:pt x="1648736" y="686178"/>
                  </a:lnTo>
                  <a:lnTo>
                    <a:pt x="1634440" y="700474"/>
                  </a:lnTo>
                  <a:lnTo>
                    <a:pt x="1620144" y="714770"/>
                  </a:lnTo>
                  <a:lnTo>
                    <a:pt x="1601084" y="724300"/>
                  </a:lnTo>
                  <a:lnTo>
                    <a:pt x="1591552" y="729064"/>
                  </a:lnTo>
                  <a:lnTo>
                    <a:pt x="1572492" y="729064"/>
                  </a:lnTo>
                  <a:lnTo>
                    <a:pt x="1553432" y="738596"/>
                  </a:lnTo>
                  <a:lnTo>
                    <a:pt x="1548668" y="743360"/>
                  </a:lnTo>
                  <a:lnTo>
                    <a:pt x="1539136" y="748126"/>
                  </a:lnTo>
                  <a:lnTo>
                    <a:pt x="1520076" y="752890"/>
                  </a:lnTo>
                  <a:lnTo>
                    <a:pt x="1501016" y="767186"/>
                  </a:lnTo>
                  <a:lnTo>
                    <a:pt x="1496252" y="767186"/>
                  </a:lnTo>
                  <a:lnTo>
                    <a:pt x="1458128" y="771952"/>
                  </a:lnTo>
                  <a:lnTo>
                    <a:pt x="1405712" y="771952"/>
                  </a:lnTo>
                  <a:lnTo>
                    <a:pt x="1391416" y="771952"/>
                  </a:lnTo>
                  <a:lnTo>
                    <a:pt x="1372356" y="771952"/>
                  </a:lnTo>
                  <a:lnTo>
                    <a:pt x="1367592" y="767186"/>
                  </a:lnTo>
                  <a:lnTo>
                    <a:pt x="1348532" y="743360"/>
                  </a:lnTo>
                  <a:lnTo>
                    <a:pt x="1334236" y="738596"/>
                  </a:lnTo>
                  <a:lnTo>
                    <a:pt x="1315176" y="738596"/>
                  </a:lnTo>
                  <a:lnTo>
                    <a:pt x="1291352" y="748126"/>
                  </a:lnTo>
                  <a:lnTo>
                    <a:pt x="1286584" y="743360"/>
                  </a:lnTo>
                  <a:lnTo>
                    <a:pt x="1243700" y="714770"/>
                  </a:lnTo>
                  <a:lnTo>
                    <a:pt x="1229404" y="705240"/>
                  </a:lnTo>
                  <a:lnTo>
                    <a:pt x="1215108" y="700474"/>
                  </a:lnTo>
                  <a:lnTo>
                    <a:pt x="1196048" y="695708"/>
                  </a:lnTo>
                  <a:lnTo>
                    <a:pt x="1176988" y="690944"/>
                  </a:lnTo>
                  <a:lnTo>
                    <a:pt x="1167456" y="671884"/>
                  </a:lnTo>
                  <a:lnTo>
                    <a:pt x="1172224" y="652822"/>
                  </a:lnTo>
                  <a:lnTo>
                    <a:pt x="1181752" y="643292"/>
                  </a:lnTo>
                  <a:lnTo>
                    <a:pt x="1205580" y="648058"/>
                  </a:lnTo>
                  <a:lnTo>
                    <a:pt x="1215108" y="648058"/>
                  </a:lnTo>
                  <a:lnTo>
                    <a:pt x="1219872" y="643292"/>
                  </a:lnTo>
                  <a:lnTo>
                    <a:pt x="1229404" y="648058"/>
                  </a:lnTo>
                  <a:lnTo>
                    <a:pt x="1238932" y="648058"/>
                  </a:lnTo>
                  <a:lnTo>
                    <a:pt x="1272288" y="643292"/>
                  </a:lnTo>
                  <a:lnTo>
                    <a:pt x="1291352" y="652822"/>
                  </a:lnTo>
                  <a:lnTo>
                    <a:pt x="1310412" y="657588"/>
                  </a:lnTo>
                  <a:lnTo>
                    <a:pt x="1329472" y="662352"/>
                  </a:lnTo>
                  <a:lnTo>
                    <a:pt x="1348532" y="657588"/>
                  </a:lnTo>
                  <a:lnTo>
                    <a:pt x="1372356" y="648058"/>
                  </a:lnTo>
                  <a:lnTo>
                    <a:pt x="1377124" y="652822"/>
                  </a:lnTo>
                  <a:lnTo>
                    <a:pt x="1400948" y="652822"/>
                  </a:lnTo>
                  <a:lnTo>
                    <a:pt x="1424772" y="638528"/>
                  </a:lnTo>
                  <a:lnTo>
                    <a:pt x="1429540" y="590876"/>
                  </a:lnTo>
                  <a:lnTo>
                    <a:pt x="1434304" y="576580"/>
                  </a:lnTo>
                  <a:lnTo>
                    <a:pt x="1443836" y="571816"/>
                  </a:lnTo>
                  <a:lnTo>
                    <a:pt x="1448600" y="571816"/>
                  </a:lnTo>
                  <a:lnTo>
                    <a:pt x="1453364" y="581346"/>
                  </a:lnTo>
                  <a:lnTo>
                    <a:pt x="1443836" y="590876"/>
                  </a:lnTo>
                  <a:lnTo>
                    <a:pt x="1439068" y="595642"/>
                  </a:lnTo>
                  <a:lnTo>
                    <a:pt x="1439068" y="619466"/>
                  </a:lnTo>
                  <a:lnTo>
                    <a:pt x="1443836" y="633762"/>
                  </a:lnTo>
                  <a:lnTo>
                    <a:pt x="1458128" y="652822"/>
                  </a:lnTo>
                  <a:lnTo>
                    <a:pt x="1477192" y="652822"/>
                  </a:lnTo>
                  <a:lnTo>
                    <a:pt x="1491484" y="643292"/>
                  </a:lnTo>
                  <a:lnTo>
                    <a:pt x="1510548" y="638528"/>
                  </a:lnTo>
                  <a:lnTo>
                    <a:pt x="1524840" y="652822"/>
                  </a:lnTo>
                  <a:lnTo>
                    <a:pt x="1543904" y="648058"/>
                  </a:lnTo>
                  <a:lnTo>
                    <a:pt x="1553432" y="643292"/>
                  </a:lnTo>
                  <a:lnTo>
                    <a:pt x="1558196" y="638528"/>
                  </a:lnTo>
                  <a:lnTo>
                    <a:pt x="1567728" y="638528"/>
                  </a:lnTo>
                  <a:lnTo>
                    <a:pt x="1577256" y="633762"/>
                  </a:lnTo>
                  <a:lnTo>
                    <a:pt x="1586788" y="619466"/>
                  </a:lnTo>
                  <a:lnTo>
                    <a:pt x="1596320" y="600406"/>
                  </a:lnTo>
                  <a:lnTo>
                    <a:pt x="1605848" y="586110"/>
                  </a:lnTo>
                  <a:lnTo>
                    <a:pt x="1634440" y="562286"/>
                  </a:lnTo>
                  <a:lnTo>
                    <a:pt x="1643968" y="557520"/>
                  </a:lnTo>
                  <a:lnTo>
                    <a:pt x="1653500" y="557520"/>
                  </a:lnTo>
                  <a:lnTo>
                    <a:pt x="1672560" y="557520"/>
                  </a:lnTo>
                  <a:lnTo>
                    <a:pt x="1691620" y="552756"/>
                  </a:lnTo>
                  <a:lnTo>
                    <a:pt x="1691620" y="533694"/>
                  </a:lnTo>
                  <a:lnTo>
                    <a:pt x="1686856" y="509868"/>
                  </a:lnTo>
                  <a:lnTo>
                    <a:pt x="1672560" y="466982"/>
                  </a:lnTo>
                  <a:lnTo>
                    <a:pt x="1667796" y="457452"/>
                  </a:lnTo>
                  <a:lnTo>
                    <a:pt x="1672560" y="452688"/>
                  </a:lnTo>
                  <a:close/>
                  <a:moveTo>
                    <a:pt x="1996588" y="419332"/>
                  </a:moveTo>
                  <a:lnTo>
                    <a:pt x="2001352" y="419332"/>
                  </a:lnTo>
                  <a:lnTo>
                    <a:pt x="2001352" y="428860"/>
                  </a:lnTo>
                  <a:lnTo>
                    <a:pt x="1991824" y="428860"/>
                  </a:lnTo>
                  <a:close/>
                  <a:moveTo>
                    <a:pt x="1839340" y="262082"/>
                  </a:moveTo>
                  <a:lnTo>
                    <a:pt x="1844104" y="276378"/>
                  </a:lnTo>
                  <a:lnTo>
                    <a:pt x="1844104" y="290672"/>
                  </a:lnTo>
                  <a:lnTo>
                    <a:pt x="1834576" y="281142"/>
                  </a:lnTo>
                  <a:lnTo>
                    <a:pt x="1825044" y="271612"/>
                  </a:lnTo>
                  <a:lnTo>
                    <a:pt x="1829808" y="266848"/>
                  </a:lnTo>
                  <a:close/>
                  <a:moveTo>
                    <a:pt x="1734508" y="233492"/>
                  </a:moveTo>
                  <a:lnTo>
                    <a:pt x="1739272" y="233492"/>
                  </a:lnTo>
                  <a:lnTo>
                    <a:pt x="1753568" y="243022"/>
                  </a:lnTo>
                  <a:lnTo>
                    <a:pt x="1758332" y="247786"/>
                  </a:lnTo>
                  <a:lnTo>
                    <a:pt x="1753568" y="257316"/>
                  </a:lnTo>
                  <a:lnTo>
                    <a:pt x="1748804" y="257316"/>
                  </a:lnTo>
                  <a:lnTo>
                    <a:pt x="1734508" y="238256"/>
                  </a:lnTo>
                  <a:close/>
                  <a:moveTo>
                    <a:pt x="1734508" y="209666"/>
                  </a:moveTo>
                  <a:lnTo>
                    <a:pt x="1744036" y="214432"/>
                  </a:lnTo>
                  <a:lnTo>
                    <a:pt x="1744036" y="223962"/>
                  </a:lnTo>
                  <a:lnTo>
                    <a:pt x="1734508" y="228728"/>
                  </a:lnTo>
                  <a:lnTo>
                    <a:pt x="1729744" y="228728"/>
                  </a:lnTo>
                  <a:lnTo>
                    <a:pt x="1729744" y="219196"/>
                  </a:lnTo>
                  <a:close/>
                  <a:moveTo>
                    <a:pt x="19060" y="195370"/>
                  </a:moveTo>
                  <a:lnTo>
                    <a:pt x="23824" y="195370"/>
                  </a:lnTo>
                  <a:lnTo>
                    <a:pt x="38120" y="195370"/>
                  </a:lnTo>
                  <a:lnTo>
                    <a:pt x="52416" y="195370"/>
                  </a:lnTo>
                  <a:lnTo>
                    <a:pt x="128660" y="233492"/>
                  </a:lnTo>
                  <a:lnTo>
                    <a:pt x="152484" y="243022"/>
                  </a:lnTo>
                  <a:lnTo>
                    <a:pt x="162016" y="247786"/>
                  </a:lnTo>
                  <a:lnTo>
                    <a:pt x="171544" y="247786"/>
                  </a:lnTo>
                  <a:lnTo>
                    <a:pt x="176308" y="247786"/>
                  </a:lnTo>
                  <a:lnTo>
                    <a:pt x="209664" y="266846"/>
                  </a:lnTo>
                  <a:lnTo>
                    <a:pt x="266848" y="285908"/>
                  </a:lnTo>
                  <a:lnTo>
                    <a:pt x="319264" y="304968"/>
                  </a:lnTo>
                  <a:lnTo>
                    <a:pt x="338324" y="309734"/>
                  </a:lnTo>
                  <a:lnTo>
                    <a:pt x="357384" y="309734"/>
                  </a:lnTo>
                  <a:lnTo>
                    <a:pt x="395504" y="319264"/>
                  </a:lnTo>
                  <a:lnTo>
                    <a:pt x="414568" y="324028"/>
                  </a:lnTo>
                  <a:lnTo>
                    <a:pt x="443156" y="343088"/>
                  </a:lnTo>
                  <a:lnTo>
                    <a:pt x="457452" y="352620"/>
                  </a:lnTo>
                  <a:lnTo>
                    <a:pt x="476512" y="366914"/>
                  </a:lnTo>
                  <a:lnTo>
                    <a:pt x="495572" y="376444"/>
                  </a:lnTo>
                  <a:lnTo>
                    <a:pt x="500340" y="381210"/>
                  </a:lnTo>
                  <a:lnTo>
                    <a:pt x="509868" y="381210"/>
                  </a:lnTo>
                  <a:lnTo>
                    <a:pt x="528928" y="381210"/>
                  </a:lnTo>
                  <a:lnTo>
                    <a:pt x="547988" y="381210"/>
                  </a:lnTo>
                  <a:lnTo>
                    <a:pt x="557520" y="381210"/>
                  </a:lnTo>
                  <a:lnTo>
                    <a:pt x="567052" y="385976"/>
                  </a:lnTo>
                  <a:lnTo>
                    <a:pt x="571816" y="390740"/>
                  </a:lnTo>
                  <a:lnTo>
                    <a:pt x="576580" y="400270"/>
                  </a:lnTo>
                  <a:lnTo>
                    <a:pt x="590876" y="409800"/>
                  </a:lnTo>
                  <a:lnTo>
                    <a:pt x="605172" y="414566"/>
                  </a:lnTo>
                  <a:lnTo>
                    <a:pt x="624232" y="428862"/>
                  </a:lnTo>
                  <a:lnTo>
                    <a:pt x="638528" y="443156"/>
                  </a:lnTo>
                  <a:lnTo>
                    <a:pt x="648056" y="457452"/>
                  </a:lnTo>
                  <a:lnTo>
                    <a:pt x="662352" y="466982"/>
                  </a:lnTo>
                  <a:lnTo>
                    <a:pt x="681412" y="471748"/>
                  </a:lnTo>
                  <a:lnTo>
                    <a:pt x="700472" y="471748"/>
                  </a:lnTo>
                  <a:lnTo>
                    <a:pt x="767184" y="543224"/>
                  </a:lnTo>
                  <a:lnTo>
                    <a:pt x="771952" y="552754"/>
                  </a:lnTo>
                  <a:lnTo>
                    <a:pt x="771952" y="595640"/>
                  </a:lnTo>
                  <a:lnTo>
                    <a:pt x="762420" y="633762"/>
                  </a:lnTo>
                  <a:lnTo>
                    <a:pt x="781480" y="643292"/>
                  </a:lnTo>
                  <a:lnTo>
                    <a:pt x="805308" y="648058"/>
                  </a:lnTo>
                  <a:lnTo>
                    <a:pt x="833896" y="652822"/>
                  </a:lnTo>
                  <a:lnTo>
                    <a:pt x="867252" y="667118"/>
                  </a:lnTo>
                  <a:lnTo>
                    <a:pt x="967320" y="714768"/>
                  </a:lnTo>
                  <a:lnTo>
                    <a:pt x="981616" y="714768"/>
                  </a:lnTo>
                  <a:lnTo>
                    <a:pt x="1000676" y="719534"/>
                  </a:lnTo>
                  <a:lnTo>
                    <a:pt x="1019736" y="719534"/>
                  </a:lnTo>
                  <a:lnTo>
                    <a:pt x="1024504" y="719534"/>
                  </a:lnTo>
                  <a:lnTo>
                    <a:pt x="1043564" y="729064"/>
                  </a:lnTo>
                  <a:lnTo>
                    <a:pt x="1048328" y="733830"/>
                  </a:lnTo>
                  <a:lnTo>
                    <a:pt x="1062624" y="748124"/>
                  </a:lnTo>
                  <a:lnTo>
                    <a:pt x="1072152" y="767186"/>
                  </a:lnTo>
                  <a:lnTo>
                    <a:pt x="1081684" y="771950"/>
                  </a:lnTo>
                  <a:lnTo>
                    <a:pt x="1086448" y="776716"/>
                  </a:lnTo>
                  <a:lnTo>
                    <a:pt x="1086448" y="786246"/>
                  </a:lnTo>
                  <a:lnTo>
                    <a:pt x="1091216" y="810072"/>
                  </a:lnTo>
                  <a:lnTo>
                    <a:pt x="1091216" y="829132"/>
                  </a:lnTo>
                  <a:lnTo>
                    <a:pt x="1086448" y="833898"/>
                  </a:lnTo>
                  <a:lnTo>
                    <a:pt x="1072152" y="838662"/>
                  </a:lnTo>
                  <a:lnTo>
                    <a:pt x="1014972" y="843428"/>
                  </a:lnTo>
                  <a:lnTo>
                    <a:pt x="976852" y="838662"/>
                  </a:lnTo>
                  <a:lnTo>
                    <a:pt x="953024" y="857722"/>
                  </a:lnTo>
                  <a:lnTo>
                    <a:pt x="953024" y="862488"/>
                  </a:lnTo>
                  <a:lnTo>
                    <a:pt x="953024" y="872018"/>
                  </a:lnTo>
                  <a:lnTo>
                    <a:pt x="976852" y="910140"/>
                  </a:lnTo>
                  <a:lnTo>
                    <a:pt x="991148" y="943496"/>
                  </a:lnTo>
                  <a:lnTo>
                    <a:pt x="1000676" y="957790"/>
                  </a:lnTo>
                  <a:lnTo>
                    <a:pt x="1019736" y="967320"/>
                  </a:lnTo>
                  <a:lnTo>
                    <a:pt x="1029268" y="981616"/>
                  </a:lnTo>
                  <a:lnTo>
                    <a:pt x="1043564" y="995912"/>
                  </a:lnTo>
                  <a:lnTo>
                    <a:pt x="1072152" y="1019738"/>
                  </a:lnTo>
                  <a:lnTo>
                    <a:pt x="1086448" y="1029268"/>
                  </a:lnTo>
                  <a:lnTo>
                    <a:pt x="1105508" y="1034032"/>
                  </a:lnTo>
                  <a:lnTo>
                    <a:pt x="1134100" y="1057858"/>
                  </a:lnTo>
                  <a:lnTo>
                    <a:pt x="1138864" y="1067388"/>
                  </a:lnTo>
                  <a:lnTo>
                    <a:pt x="1148396" y="1091214"/>
                  </a:lnTo>
                  <a:lnTo>
                    <a:pt x="1153160" y="1115040"/>
                  </a:lnTo>
                  <a:lnTo>
                    <a:pt x="1153160" y="1119804"/>
                  </a:lnTo>
                  <a:lnTo>
                    <a:pt x="1153160" y="1129336"/>
                  </a:lnTo>
                  <a:lnTo>
                    <a:pt x="1181752" y="1143630"/>
                  </a:lnTo>
                  <a:lnTo>
                    <a:pt x="1186516" y="1148396"/>
                  </a:lnTo>
                  <a:lnTo>
                    <a:pt x="1200812" y="1186516"/>
                  </a:lnTo>
                  <a:lnTo>
                    <a:pt x="1205576" y="1205578"/>
                  </a:lnTo>
                  <a:lnTo>
                    <a:pt x="1224636" y="1215108"/>
                  </a:lnTo>
                  <a:lnTo>
                    <a:pt x="1238932" y="1215108"/>
                  </a:lnTo>
                  <a:lnTo>
                    <a:pt x="1286584" y="1200812"/>
                  </a:lnTo>
                  <a:lnTo>
                    <a:pt x="1296116" y="1200812"/>
                  </a:lnTo>
                  <a:lnTo>
                    <a:pt x="1305644" y="1205578"/>
                  </a:lnTo>
                  <a:lnTo>
                    <a:pt x="1310412" y="1210342"/>
                  </a:lnTo>
                  <a:lnTo>
                    <a:pt x="1315176" y="1224638"/>
                  </a:lnTo>
                  <a:lnTo>
                    <a:pt x="1305644" y="1243698"/>
                  </a:lnTo>
                  <a:lnTo>
                    <a:pt x="1305644" y="1262758"/>
                  </a:lnTo>
                  <a:lnTo>
                    <a:pt x="1315176" y="1277054"/>
                  </a:lnTo>
                  <a:lnTo>
                    <a:pt x="1339000" y="1286584"/>
                  </a:lnTo>
                  <a:lnTo>
                    <a:pt x="1348532" y="1291350"/>
                  </a:lnTo>
                  <a:lnTo>
                    <a:pt x="1391416" y="1296114"/>
                  </a:lnTo>
                  <a:lnTo>
                    <a:pt x="1405712" y="1296114"/>
                  </a:lnTo>
                  <a:lnTo>
                    <a:pt x="1424772" y="1300880"/>
                  </a:lnTo>
                  <a:lnTo>
                    <a:pt x="1429540" y="1305644"/>
                  </a:lnTo>
                  <a:lnTo>
                    <a:pt x="1424772" y="1315176"/>
                  </a:lnTo>
                  <a:lnTo>
                    <a:pt x="1415244" y="1319940"/>
                  </a:lnTo>
                  <a:lnTo>
                    <a:pt x="1405712" y="1319940"/>
                  </a:lnTo>
                  <a:lnTo>
                    <a:pt x="1391416" y="1324706"/>
                  </a:lnTo>
                  <a:lnTo>
                    <a:pt x="1391416" y="1334236"/>
                  </a:lnTo>
                  <a:lnTo>
                    <a:pt x="1400948" y="1343766"/>
                  </a:lnTo>
                  <a:lnTo>
                    <a:pt x="1410476" y="1358062"/>
                  </a:lnTo>
                  <a:lnTo>
                    <a:pt x="1415244" y="1362826"/>
                  </a:lnTo>
                  <a:lnTo>
                    <a:pt x="1424772" y="1367592"/>
                  </a:lnTo>
                  <a:lnTo>
                    <a:pt x="1443832" y="1372356"/>
                  </a:lnTo>
                  <a:lnTo>
                    <a:pt x="1462896" y="1377122"/>
                  </a:lnTo>
                  <a:lnTo>
                    <a:pt x="1472424" y="1381886"/>
                  </a:lnTo>
                  <a:lnTo>
                    <a:pt x="1486720" y="1386652"/>
                  </a:lnTo>
                  <a:lnTo>
                    <a:pt x="1515312" y="1391418"/>
                  </a:lnTo>
                  <a:lnTo>
                    <a:pt x="1534372" y="1396182"/>
                  </a:lnTo>
                  <a:lnTo>
                    <a:pt x="1562960" y="1396182"/>
                  </a:lnTo>
                  <a:lnTo>
                    <a:pt x="1534372" y="1405712"/>
                  </a:lnTo>
                  <a:lnTo>
                    <a:pt x="1529608" y="1410478"/>
                  </a:lnTo>
                  <a:lnTo>
                    <a:pt x="1496252" y="1405712"/>
                  </a:lnTo>
                  <a:lnTo>
                    <a:pt x="1491484" y="1410478"/>
                  </a:lnTo>
                  <a:lnTo>
                    <a:pt x="1505780" y="1424772"/>
                  </a:lnTo>
                  <a:lnTo>
                    <a:pt x="1524840" y="1434304"/>
                  </a:lnTo>
                  <a:lnTo>
                    <a:pt x="1529608" y="1439068"/>
                  </a:lnTo>
                  <a:lnTo>
                    <a:pt x="1524840" y="1443834"/>
                  </a:lnTo>
                  <a:lnTo>
                    <a:pt x="1505780" y="1458128"/>
                  </a:lnTo>
                  <a:lnTo>
                    <a:pt x="1496252" y="1458128"/>
                  </a:lnTo>
                  <a:lnTo>
                    <a:pt x="1477188" y="1462894"/>
                  </a:lnTo>
                  <a:lnTo>
                    <a:pt x="1453364" y="1453364"/>
                  </a:lnTo>
                  <a:lnTo>
                    <a:pt x="1429540" y="1448598"/>
                  </a:lnTo>
                  <a:lnTo>
                    <a:pt x="1424772" y="1439068"/>
                  </a:lnTo>
                  <a:lnTo>
                    <a:pt x="1420008" y="1434304"/>
                  </a:lnTo>
                  <a:lnTo>
                    <a:pt x="1400948" y="1420008"/>
                  </a:lnTo>
                  <a:lnTo>
                    <a:pt x="1391416" y="1415242"/>
                  </a:lnTo>
                  <a:lnTo>
                    <a:pt x="1372356" y="1410478"/>
                  </a:lnTo>
                  <a:lnTo>
                    <a:pt x="1358060" y="1410478"/>
                  </a:lnTo>
                  <a:lnTo>
                    <a:pt x="1329472" y="1400948"/>
                  </a:lnTo>
                  <a:lnTo>
                    <a:pt x="1262760" y="1396182"/>
                  </a:lnTo>
                  <a:lnTo>
                    <a:pt x="1248464" y="1396182"/>
                  </a:lnTo>
                  <a:lnTo>
                    <a:pt x="1229404" y="1381886"/>
                  </a:lnTo>
                  <a:lnTo>
                    <a:pt x="1219872" y="1381886"/>
                  </a:lnTo>
                  <a:lnTo>
                    <a:pt x="1210344" y="1386652"/>
                  </a:lnTo>
                  <a:lnTo>
                    <a:pt x="1181752" y="1386652"/>
                  </a:lnTo>
                  <a:lnTo>
                    <a:pt x="1176988" y="1386652"/>
                  </a:lnTo>
                  <a:lnTo>
                    <a:pt x="1157928" y="1377122"/>
                  </a:lnTo>
                  <a:lnTo>
                    <a:pt x="1138864" y="1372356"/>
                  </a:lnTo>
                  <a:lnTo>
                    <a:pt x="1134100" y="1377122"/>
                  </a:lnTo>
                  <a:lnTo>
                    <a:pt x="1124572" y="1377122"/>
                  </a:lnTo>
                  <a:lnTo>
                    <a:pt x="1100744" y="1372356"/>
                  </a:lnTo>
                  <a:lnTo>
                    <a:pt x="1081684" y="1367592"/>
                  </a:lnTo>
                  <a:lnTo>
                    <a:pt x="1062624" y="1358062"/>
                  </a:lnTo>
                  <a:lnTo>
                    <a:pt x="1057860" y="1348530"/>
                  </a:lnTo>
                  <a:lnTo>
                    <a:pt x="1048328" y="1343766"/>
                  </a:lnTo>
                  <a:lnTo>
                    <a:pt x="1038796" y="1324706"/>
                  </a:lnTo>
                  <a:lnTo>
                    <a:pt x="1024504" y="1305644"/>
                  </a:lnTo>
                  <a:lnTo>
                    <a:pt x="1005440" y="1291350"/>
                  </a:lnTo>
                  <a:lnTo>
                    <a:pt x="972088" y="1267524"/>
                  </a:lnTo>
                  <a:lnTo>
                    <a:pt x="962556" y="1257994"/>
                  </a:lnTo>
                  <a:lnTo>
                    <a:pt x="948260" y="1238932"/>
                  </a:lnTo>
                  <a:lnTo>
                    <a:pt x="948260" y="1224638"/>
                  </a:lnTo>
                  <a:lnTo>
                    <a:pt x="953024" y="1205578"/>
                  </a:lnTo>
                  <a:lnTo>
                    <a:pt x="948260" y="1215108"/>
                  </a:lnTo>
                  <a:lnTo>
                    <a:pt x="938732" y="1210342"/>
                  </a:lnTo>
                  <a:lnTo>
                    <a:pt x="914904" y="1200812"/>
                  </a:lnTo>
                  <a:lnTo>
                    <a:pt x="900608" y="1191282"/>
                  </a:lnTo>
                  <a:lnTo>
                    <a:pt x="886312" y="1157926"/>
                  </a:lnTo>
                  <a:lnTo>
                    <a:pt x="876784" y="1143630"/>
                  </a:lnTo>
                  <a:lnTo>
                    <a:pt x="848192" y="1110274"/>
                  </a:lnTo>
                  <a:lnTo>
                    <a:pt x="843428" y="1095980"/>
                  </a:lnTo>
                  <a:lnTo>
                    <a:pt x="833896" y="1081684"/>
                  </a:lnTo>
                  <a:lnTo>
                    <a:pt x="824368" y="1072154"/>
                  </a:lnTo>
                  <a:lnTo>
                    <a:pt x="819600" y="1067388"/>
                  </a:lnTo>
                  <a:lnTo>
                    <a:pt x="814836" y="1057858"/>
                  </a:lnTo>
                  <a:lnTo>
                    <a:pt x="810072" y="1053092"/>
                  </a:lnTo>
                  <a:lnTo>
                    <a:pt x="771952" y="1038798"/>
                  </a:lnTo>
                  <a:lnTo>
                    <a:pt x="767184" y="1034032"/>
                  </a:lnTo>
                  <a:lnTo>
                    <a:pt x="762420" y="1034032"/>
                  </a:lnTo>
                  <a:lnTo>
                    <a:pt x="733828" y="1029268"/>
                  </a:lnTo>
                  <a:lnTo>
                    <a:pt x="719536" y="1029268"/>
                  </a:lnTo>
                  <a:lnTo>
                    <a:pt x="690944" y="1019738"/>
                  </a:lnTo>
                  <a:lnTo>
                    <a:pt x="676648" y="1014972"/>
                  </a:lnTo>
                  <a:lnTo>
                    <a:pt x="662352" y="1014972"/>
                  </a:lnTo>
                  <a:lnTo>
                    <a:pt x="643292" y="1010206"/>
                  </a:lnTo>
                  <a:lnTo>
                    <a:pt x="633760" y="1005442"/>
                  </a:lnTo>
                  <a:lnTo>
                    <a:pt x="628996" y="1000676"/>
                  </a:lnTo>
                  <a:lnTo>
                    <a:pt x="628996" y="981616"/>
                  </a:lnTo>
                  <a:lnTo>
                    <a:pt x="614700" y="986382"/>
                  </a:lnTo>
                  <a:lnTo>
                    <a:pt x="600408" y="981616"/>
                  </a:lnTo>
                  <a:lnTo>
                    <a:pt x="586112" y="976850"/>
                  </a:lnTo>
                  <a:lnTo>
                    <a:pt x="571816" y="972086"/>
                  </a:lnTo>
                  <a:lnTo>
                    <a:pt x="562284" y="976850"/>
                  </a:lnTo>
                  <a:lnTo>
                    <a:pt x="557520" y="991146"/>
                  </a:lnTo>
                  <a:lnTo>
                    <a:pt x="552756" y="991146"/>
                  </a:lnTo>
                  <a:lnTo>
                    <a:pt x="547988" y="986382"/>
                  </a:lnTo>
                  <a:lnTo>
                    <a:pt x="543224" y="991146"/>
                  </a:lnTo>
                  <a:lnTo>
                    <a:pt x="533696" y="995912"/>
                  </a:lnTo>
                  <a:lnTo>
                    <a:pt x="528928" y="1005442"/>
                  </a:lnTo>
                  <a:lnTo>
                    <a:pt x="514632" y="1000676"/>
                  </a:lnTo>
                  <a:lnTo>
                    <a:pt x="486044" y="995912"/>
                  </a:lnTo>
                  <a:lnTo>
                    <a:pt x="476512" y="991146"/>
                  </a:lnTo>
                  <a:lnTo>
                    <a:pt x="466984" y="981616"/>
                  </a:lnTo>
                  <a:lnTo>
                    <a:pt x="457452" y="967320"/>
                  </a:lnTo>
                  <a:lnTo>
                    <a:pt x="447924" y="962556"/>
                  </a:lnTo>
                  <a:lnTo>
                    <a:pt x="438392" y="953026"/>
                  </a:lnTo>
                  <a:lnTo>
                    <a:pt x="452688" y="967320"/>
                  </a:lnTo>
                  <a:lnTo>
                    <a:pt x="481276" y="1029268"/>
                  </a:lnTo>
                  <a:lnTo>
                    <a:pt x="476512" y="1034032"/>
                  </a:lnTo>
                  <a:lnTo>
                    <a:pt x="466984" y="1029268"/>
                  </a:lnTo>
                  <a:lnTo>
                    <a:pt x="476512" y="1043562"/>
                  </a:lnTo>
                  <a:lnTo>
                    <a:pt x="466984" y="1043562"/>
                  </a:lnTo>
                  <a:lnTo>
                    <a:pt x="457452" y="1043562"/>
                  </a:lnTo>
                  <a:lnTo>
                    <a:pt x="438392" y="1038798"/>
                  </a:lnTo>
                  <a:lnTo>
                    <a:pt x="419332" y="1038798"/>
                  </a:lnTo>
                  <a:lnTo>
                    <a:pt x="414568" y="1038798"/>
                  </a:lnTo>
                  <a:lnTo>
                    <a:pt x="419332" y="1043562"/>
                  </a:lnTo>
                  <a:lnTo>
                    <a:pt x="424096" y="1057858"/>
                  </a:lnTo>
                  <a:lnTo>
                    <a:pt x="433628" y="1072154"/>
                  </a:lnTo>
                  <a:lnTo>
                    <a:pt x="405036" y="1076918"/>
                  </a:lnTo>
                  <a:lnTo>
                    <a:pt x="381212" y="1081684"/>
                  </a:lnTo>
                  <a:lnTo>
                    <a:pt x="347856" y="1091214"/>
                  </a:lnTo>
                  <a:lnTo>
                    <a:pt x="319264" y="1091214"/>
                  </a:lnTo>
                  <a:lnTo>
                    <a:pt x="304968" y="1086448"/>
                  </a:lnTo>
                  <a:lnTo>
                    <a:pt x="290672" y="1081684"/>
                  </a:lnTo>
                  <a:lnTo>
                    <a:pt x="276376" y="1086448"/>
                  </a:lnTo>
                  <a:lnTo>
                    <a:pt x="262084" y="1091214"/>
                  </a:lnTo>
                  <a:lnTo>
                    <a:pt x="247788" y="1091214"/>
                  </a:lnTo>
                  <a:lnTo>
                    <a:pt x="243020" y="1081684"/>
                  </a:lnTo>
                  <a:lnTo>
                    <a:pt x="238256" y="1072154"/>
                  </a:lnTo>
                  <a:lnTo>
                    <a:pt x="233492" y="1067388"/>
                  </a:lnTo>
                  <a:lnTo>
                    <a:pt x="223960" y="1067388"/>
                  </a:lnTo>
                  <a:lnTo>
                    <a:pt x="209664" y="1072154"/>
                  </a:lnTo>
                  <a:lnTo>
                    <a:pt x="228728" y="1072154"/>
                  </a:lnTo>
                  <a:lnTo>
                    <a:pt x="233492" y="1081684"/>
                  </a:lnTo>
                  <a:lnTo>
                    <a:pt x="238256" y="1091214"/>
                  </a:lnTo>
                  <a:lnTo>
                    <a:pt x="252552" y="1100744"/>
                  </a:lnTo>
                  <a:lnTo>
                    <a:pt x="266848" y="1091214"/>
                  </a:lnTo>
                  <a:lnTo>
                    <a:pt x="304968" y="1095980"/>
                  </a:lnTo>
                  <a:lnTo>
                    <a:pt x="338324" y="1110274"/>
                  </a:lnTo>
                  <a:lnTo>
                    <a:pt x="343088" y="1110274"/>
                  </a:lnTo>
                  <a:lnTo>
                    <a:pt x="352620" y="1115040"/>
                  </a:lnTo>
                  <a:lnTo>
                    <a:pt x="371680" y="1129336"/>
                  </a:lnTo>
                  <a:lnTo>
                    <a:pt x="381212" y="1143630"/>
                  </a:lnTo>
                  <a:lnTo>
                    <a:pt x="395504" y="1162690"/>
                  </a:lnTo>
                  <a:lnTo>
                    <a:pt x="395504" y="1167456"/>
                  </a:lnTo>
                  <a:lnTo>
                    <a:pt x="395504" y="1181752"/>
                  </a:lnTo>
                  <a:lnTo>
                    <a:pt x="390740" y="1191282"/>
                  </a:lnTo>
                  <a:lnTo>
                    <a:pt x="371680" y="1205578"/>
                  </a:lnTo>
                  <a:lnTo>
                    <a:pt x="347856" y="1215108"/>
                  </a:lnTo>
                  <a:lnTo>
                    <a:pt x="314500" y="1229402"/>
                  </a:lnTo>
                  <a:lnTo>
                    <a:pt x="281144" y="1248464"/>
                  </a:lnTo>
                  <a:lnTo>
                    <a:pt x="262084" y="1248464"/>
                  </a:lnTo>
                  <a:lnTo>
                    <a:pt x="247788" y="1234168"/>
                  </a:lnTo>
                  <a:lnTo>
                    <a:pt x="243020" y="1234168"/>
                  </a:lnTo>
                  <a:lnTo>
                    <a:pt x="223960" y="1229402"/>
                  </a:lnTo>
                  <a:lnTo>
                    <a:pt x="214432" y="1224638"/>
                  </a:lnTo>
                  <a:lnTo>
                    <a:pt x="176308" y="1229402"/>
                  </a:lnTo>
                  <a:lnTo>
                    <a:pt x="138188" y="1229402"/>
                  </a:lnTo>
                  <a:lnTo>
                    <a:pt x="119128" y="1229402"/>
                  </a:lnTo>
                  <a:lnTo>
                    <a:pt x="104832" y="1229402"/>
                  </a:lnTo>
                  <a:lnTo>
                    <a:pt x="85772" y="1219872"/>
                  </a:lnTo>
                  <a:lnTo>
                    <a:pt x="66712" y="1224638"/>
                  </a:lnTo>
                  <a:lnTo>
                    <a:pt x="57180" y="1234168"/>
                  </a:lnTo>
                  <a:lnTo>
                    <a:pt x="42888" y="1234168"/>
                  </a:lnTo>
                  <a:lnTo>
                    <a:pt x="19060" y="1215108"/>
                  </a:lnTo>
                  <a:lnTo>
                    <a:pt x="19060" y="867252"/>
                  </a:lnTo>
                  <a:lnTo>
                    <a:pt x="9532" y="857722"/>
                  </a:lnTo>
                  <a:lnTo>
                    <a:pt x="0" y="843428"/>
                  </a:lnTo>
                  <a:lnTo>
                    <a:pt x="4764" y="824366"/>
                  </a:lnTo>
                  <a:lnTo>
                    <a:pt x="14296" y="795776"/>
                  </a:lnTo>
                  <a:lnTo>
                    <a:pt x="19060" y="781480"/>
                  </a:lnTo>
                  <a:close/>
                  <a:moveTo>
                    <a:pt x="1558196" y="190604"/>
                  </a:moveTo>
                  <a:lnTo>
                    <a:pt x="1582024" y="204900"/>
                  </a:lnTo>
                  <a:lnTo>
                    <a:pt x="1610612" y="223960"/>
                  </a:lnTo>
                  <a:lnTo>
                    <a:pt x="1620144" y="233492"/>
                  </a:lnTo>
                  <a:lnTo>
                    <a:pt x="1634440" y="233492"/>
                  </a:lnTo>
                  <a:lnTo>
                    <a:pt x="1658264" y="247786"/>
                  </a:lnTo>
                  <a:lnTo>
                    <a:pt x="1677324" y="257316"/>
                  </a:lnTo>
                  <a:lnTo>
                    <a:pt x="1691620" y="266846"/>
                  </a:lnTo>
                  <a:lnTo>
                    <a:pt x="1710680" y="281142"/>
                  </a:lnTo>
                  <a:lnTo>
                    <a:pt x="1744036" y="295438"/>
                  </a:lnTo>
                  <a:lnTo>
                    <a:pt x="1753568" y="300202"/>
                  </a:lnTo>
                  <a:lnTo>
                    <a:pt x="1767864" y="319264"/>
                  </a:lnTo>
                  <a:lnTo>
                    <a:pt x="1791688" y="338324"/>
                  </a:lnTo>
                  <a:lnTo>
                    <a:pt x="1801220" y="347854"/>
                  </a:lnTo>
                  <a:lnTo>
                    <a:pt x="1901288" y="428862"/>
                  </a:lnTo>
                  <a:lnTo>
                    <a:pt x="1915580" y="452686"/>
                  </a:lnTo>
                  <a:lnTo>
                    <a:pt x="1920348" y="466982"/>
                  </a:lnTo>
                  <a:lnTo>
                    <a:pt x="1915580" y="471748"/>
                  </a:lnTo>
                  <a:lnTo>
                    <a:pt x="1906052" y="486042"/>
                  </a:lnTo>
                  <a:lnTo>
                    <a:pt x="1906052" y="500338"/>
                  </a:lnTo>
                  <a:lnTo>
                    <a:pt x="1901288" y="514634"/>
                  </a:lnTo>
                  <a:lnTo>
                    <a:pt x="1891756" y="528928"/>
                  </a:lnTo>
                  <a:lnTo>
                    <a:pt x="1882224" y="543224"/>
                  </a:lnTo>
                  <a:lnTo>
                    <a:pt x="1872696" y="533694"/>
                  </a:lnTo>
                  <a:lnTo>
                    <a:pt x="1863164" y="519398"/>
                  </a:lnTo>
                  <a:lnTo>
                    <a:pt x="1858400" y="509868"/>
                  </a:lnTo>
                  <a:lnTo>
                    <a:pt x="1848872" y="490808"/>
                  </a:lnTo>
                  <a:lnTo>
                    <a:pt x="1848872" y="481278"/>
                  </a:lnTo>
                  <a:lnTo>
                    <a:pt x="1848872" y="466982"/>
                  </a:lnTo>
                  <a:lnTo>
                    <a:pt x="1848872" y="457452"/>
                  </a:lnTo>
                  <a:lnTo>
                    <a:pt x="1844104" y="433626"/>
                  </a:lnTo>
                  <a:lnTo>
                    <a:pt x="1834576" y="409800"/>
                  </a:lnTo>
                  <a:lnTo>
                    <a:pt x="1796452" y="362150"/>
                  </a:lnTo>
                  <a:lnTo>
                    <a:pt x="1786924" y="347854"/>
                  </a:lnTo>
                  <a:lnTo>
                    <a:pt x="1772628" y="333558"/>
                  </a:lnTo>
                  <a:lnTo>
                    <a:pt x="1763096" y="333558"/>
                  </a:lnTo>
                  <a:lnTo>
                    <a:pt x="1744036" y="328794"/>
                  </a:lnTo>
                  <a:lnTo>
                    <a:pt x="1734508" y="324028"/>
                  </a:lnTo>
                  <a:lnTo>
                    <a:pt x="1724976" y="319264"/>
                  </a:lnTo>
                  <a:lnTo>
                    <a:pt x="1710680" y="309734"/>
                  </a:lnTo>
                  <a:lnTo>
                    <a:pt x="1677324" y="281142"/>
                  </a:lnTo>
                  <a:lnTo>
                    <a:pt x="1658264" y="271612"/>
                  </a:lnTo>
                  <a:lnTo>
                    <a:pt x="1648736" y="262082"/>
                  </a:lnTo>
                  <a:lnTo>
                    <a:pt x="1596320" y="228726"/>
                  </a:lnTo>
                  <a:lnTo>
                    <a:pt x="1582024" y="219196"/>
                  </a:lnTo>
                  <a:lnTo>
                    <a:pt x="1562964" y="219196"/>
                  </a:lnTo>
                  <a:lnTo>
                    <a:pt x="1543904" y="214430"/>
                  </a:lnTo>
                  <a:lnTo>
                    <a:pt x="1558196" y="209666"/>
                  </a:lnTo>
                  <a:lnTo>
                    <a:pt x="1558196" y="200136"/>
                  </a:lnTo>
                  <a:close/>
                  <a:moveTo>
                    <a:pt x="1462896" y="157248"/>
                  </a:moveTo>
                  <a:lnTo>
                    <a:pt x="1496248" y="171544"/>
                  </a:lnTo>
                  <a:lnTo>
                    <a:pt x="1501016" y="181074"/>
                  </a:lnTo>
                  <a:lnTo>
                    <a:pt x="1501016" y="185840"/>
                  </a:lnTo>
                  <a:lnTo>
                    <a:pt x="1496248" y="200134"/>
                  </a:lnTo>
                  <a:lnTo>
                    <a:pt x="1496248" y="204900"/>
                  </a:lnTo>
                  <a:lnTo>
                    <a:pt x="1467660" y="204900"/>
                  </a:lnTo>
                  <a:lnTo>
                    <a:pt x="1453364" y="204900"/>
                  </a:lnTo>
                  <a:lnTo>
                    <a:pt x="1443832" y="195370"/>
                  </a:lnTo>
                  <a:lnTo>
                    <a:pt x="1434304" y="181074"/>
                  </a:lnTo>
                  <a:lnTo>
                    <a:pt x="1424772" y="176310"/>
                  </a:lnTo>
                  <a:lnTo>
                    <a:pt x="1424772" y="171544"/>
                  </a:lnTo>
                  <a:lnTo>
                    <a:pt x="1443832" y="162014"/>
                  </a:lnTo>
                  <a:close/>
                  <a:moveTo>
                    <a:pt x="1086448" y="138188"/>
                  </a:moveTo>
                  <a:lnTo>
                    <a:pt x="1091216" y="138188"/>
                  </a:lnTo>
                  <a:lnTo>
                    <a:pt x="1095980" y="142954"/>
                  </a:lnTo>
                  <a:lnTo>
                    <a:pt x="1091216" y="152484"/>
                  </a:lnTo>
                  <a:lnTo>
                    <a:pt x="1081684" y="152484"/>
                  </a:lnTo>
                  <a:lnTo>
                    <a:pt x="1076920" y="147720"/>
                  </a:lnTo>
                  <a:lnTo>
                    <a:pt x="1081684" y="147720"/>
                  </a:lnTo>
                  <a:close/>
                  <a:moveTo>
                    <a:pt x="938732" y="90536"/>
                  </a:moveTo>
                  <a:lnTo>
                    <a:pt x="972088" y="90536"/>
                  </a:lnTo>
                  <a:lnTo>
                    <a:pt x="1024504" y="104832"/>
                  </a:lnTo>
                  <a:lnTo>
                    <a:pt x="1024504" y="100068"/>
                  </a:lnTo>
                  <a:lnTo>
                    <a:pt x="1029268" y="100068"/>
                  </a:lnTo>
                  <a:lnTo>
                    <a:pt x="1029268" y="109598"/>
                  </a:lnTo>
                  <a:lnTo>
                    <a:pt x="1019736" y="109598"/>
                  </a:lnTo>
                  <a:lnTo>
                    <a:pt x="1010208" y="109598"/>
                  </a:lnTo>
                  <a:lnTo>
                    <a:pt x="1005444" y="114362"/>
                  </a:lnTo>
                  <a:lnTo>
                    <a:pt x="991148" y="128658"/>
                  </a:lnTo>
                  <a:lnTo>
                    <a:pt x="981616" y="123892"/>
                  </a:lnTo>
                  <a:lnTo>
                    <a:pt x="972088" y="128658"/>
                  </a:lnTo>
                  <a:lnTo>
                    <a:pt x="948260" y="128658"/>
                  </a:lnTo>
                  <a:lnTo>
                    <a:pt x="919668" y="123892"/>
                  </a:lnTo>
                  <a:lnTo>
                    <a:pt x="914904" y="128658"/>
                  </a:lnTo>
                  <a:lnTo>
                    <a:pt x="905376" y="128658"/>
                  </a:lnTo>
                  <a:lnTo>
                    <a:pt x="891080" y="133424"/>
                  </a:lnTo>
                  <a:lnTo>
                    <a:pt x="886312" y="123892"/>
                  </a:lnTo>
                  <a:lnTo>
                    <a:pt x="886312" y="119128"/>
                  </a:lnTo>
                  <a:lnTo>
                    <a:pt x="900608" y="114362"/>
                  </a:lnTo>
                  <a:lnTo>
                    <a:pt x="895844" y="100068"/>
                  </a:lnTo>
                  <a:lnTo>
                    <a:pt x="905376" y="95302"/>
                  </a:lnTo>
                  <a:lnTo>
                    <a:pt x="924436" y="95302"/>
                  </a:lnTo>
                  <a:close/>
                  <a:moveTo>
                    <a:pt x="1362828" y="0"/>
                  </a:moveTo>
                  <a:lnTo>
                    <a:pt x="1372356" y="0"/>
                  </a:lnTo>
                  <a:lnTo>
                    <a:pt x="1386652" y="9530"/>
                  </a:lnTo>
                  <a:lnTo>
                    <a:pt x="1391416" y="28590"/>
                  </a:lnTo>
                  <a:lnTo>
                    <a:pt x="1391416" y="28592"/>
                  </a:lnTo>
                  <a:lnTo>
                    <a:pt x="1391416" y="33356"/>
                  </a:lnTo>
                  <a:lnTo>
                    <a:pt x="1381888" y="33356"/>
                  </a:lnTo>
                  <a:lnTo>
                    <a:pt x="1377124" y="33356"/>
                  </a:lnTo>
                  <a:lnTo>
                    <a:pt x="1358064" y="14296"/>
                  </a:lnTo>
                  <a:lnTo>
                    <a:pt x="1358064" y="476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8" name="Freeform 316">
              <a:extLst>
                <a:ext uri="{FF2B5EF4-FFF2-40B4-BE49-F238E27FC236}">
                  <a16:creationId xmlns:a16="http://schemas.microsoft.com/office/drawing/2014/main" id="{1046827F-FDB4-466A-8763-8DB41F2A2F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51123" y="5576692"/>
              <a:ext cx="149550" cy="134133"/>
            </a:xfrm>
            <a:custGeom>
              <a:avLst/>
              <a:gdLst>
                <a:gd name="connsiteX0" fmla="*/ 557520 w 924436"/>
                <a:gd name="connsiteY0" fmla="*/ 771950 h 829132"/>
                <a:gd name="connsiteX1" fmla="*/ 567052 w 924436"/>
                <a:gd name="connsiteY1" fmla="*/ 776716 h 829132"/>
                <a:gd name="connsiteX2" fmla="*/ 624232 w 924436"/>
                <a:gd name="connsiteY2" fmla="*/ 805306 h 829132"/>
                <a:gd name="connsiteX3" fmla="*/ 638528 w 924436"/>
                <a:gd name="connsiteY3" fmla="*/ 814836 h 829132"/>
                <a:gd name="connsiteX4" fmla="*/ 648060 w 924436"/>
                <a:gd name="connsiteY4" fmla="*/ 824366 h 829132"/>
                <a:gd name="connsiteX5" fmla="*/ 633764 w 924436"/>
                <a:gd name="connsiteY5" fmla="*/ 829132 h 829132"/>
                <a:gd name="connsiteX6" fmla="*/ 624232 w 924436"/>
                <a:gd name="connsiteY6" fmla="*/ 824366 h 829132"/>
                <a:gd name="connsiteX7" fmla="*/ 619468 w 924436"/>
                <a:gd name="connsiteY7" fmla="*/ 824366 h 829132"/>
                <a:gd name="connsiteX8" fmla="*/ 609936 w 924436"/>
                <a:gd name="connsiteY8" fmla="*/ 810072 h 829132"/>
                <a:gd name="connsiteX9" fmla="*/ 600408 w 924436"/>
                <a:gd name="connsiteY9" fmla="*/ 800542 h 829132"/>
                <a:gd name="connsiteX10" fmla="*/ 581344 w 924436"/>
                <a:gd name="connsiteY10" fmla="*/ 800542 h 829132"/>
                <a:gd name="connsiteX11" fmla="*/ 571816 w 924436"/>
                <a:gd name="connsiteY11" fmla="*/ 791010 h 829132"/>
                <a:gd name="connsiteX12" fmla="*/ 567052 w 924436"/>
                <a:gd name="connsiteY12" fmla="*/ 791010 h 829132"/>
                <a:gd name="connsiteX13" fmla="*/ 557520 w 924436"/>
                <a:gd name="connsiteY13" fmla="*/ 786246 h 829132"/>
                <a:gd name="connsiteX14" fmla="*/ 552756 w 924436"/>
                <a:gd name="connsiteY14" fmla="*/ 781480 h 829132"/>
                <a:gd name="connsiteX15" fmla="*/ 552756 w 924436"/>
                <a:gd name="connsiteY15" fmla="*/ 776716 h 829132"/>
                <a:gd name="connsiteX16" fmla="*/ 757656 w 924436"/>
                <a:gd name="connsiteY16" fmla="*/ 567050 h 829132"/>
                <a:gd name="connsiteX17" fmla="*/ 771952 w 924436"/>
                <a:gd name="connsiteY17" fmla="*/ 567050 h 829132"/>
                <a:gd name="connsiteX18" fmla="*/ 786248 w 924436"/>
                <a:gd name="connsiteY18" fmla="*/ 576580 h 829132"/>
                <a:gd name="connsiteX19" fmla="*/ 814836 w 924436"/>
                <a:gd name="connsiteY19" fmla="*/ 590876 h 829132"/>
                <a:gd name="connsiteX20" fmla="*/ 819604 w 924436"/>
                <a:gd name="connsiteY20" fmla="*/ 595640 h 829132"/>
                <a:gd name="connsiteX21" fmla="*/ 824368 w 924436"/>
                <a:gd name="connsiteY21" fmla="*/ 600406 h 829132"/>
                <a:gd name="connsiteX22" fmla="*/ 843428 w 924436"/>
                <a:gd name="connsiteY22" fmla="*/ 609936 h 829132"/>
                <a:gd name="connsiteX23" fmla="*/ 852960 w 924436"/>
                <a:gd name="connsiteY23" fmla="*/ 605172 h 829132"/>
                <a:gd name="connsiteX24" fmla="*/ 872020 w 924436"/>
                <a:gd name="connsiteY24" fmla="*/ 614702 h 829132"/>
                <a:gd name="connsiteX25" fmla="*/ 886316 w 924436"/>
                <a:gd name="connsiteY25" fmla="*/ 609936 h 829132"/>
                <a:gd name="connsiteX26" fmla="*/ 891080 w 924436"/>
                <a:gd name="connsiteY26" fmla="*/ 619466 h 829132"/>
                <a:gd name="connsiteX27" fmla="*/ 914904 w 924436"/>
                <a:gd name="connsiteY27" fmla="*/ 648058 h 829132"/>
                <a:gd name="connsiteX28" fmla="*/ 914904 w 924436"/>
                <a:gd name="connsiteY28" fmla="*/ 662352 h 829132"/>
                <a:gd name="connsiteX29" fmla="*/ 924436 w 924436"/>
                <a:gd name="connsiteY29" fmla="*/ 667118 h 829132"/>
                <a:gd name="connsiteX30" fmla="*/ 914904 w 924436"/>
                <a:gd name="connsiteY30" fmla="*/ 671882 h 829132"/>
                <a:gd name="connsiteX31" fmla="*/ 900608 w 924436"/>
                <a:gd name="connsiteY31" fmla="*/ 667118 h 829132"/>
                <a:gd name="connsiteX32" fmla="*/ 886316 w 924436"/>
                <a:gd name="connsiteY32" fmla="*/ 667118 h 829132"/>
                <a:gd name="connsiteX33" fmla="*/ 876784 w 924436"/>
                <a:gd name="connsiteY33" fmla="*/ 662352 h 829132"/>
                <a:gd name="connsiteX34" fmla="*/ 852960 w 924436"/>
                <a:gd name="connsiteY34" fmla="*/ 657588 h 829132"/>
                <a:gd name="connsiteX35" fmla="*/ 833896 w 924436"/>
                <a:gd name="connsiteY35" fmla="*/ 652822 h 829132"/>
                <a:gd name="connsiteX36" fmla="*/ 795776 w 924436"/>
                <a:gd name="connsiteY36" fmla="*/ 628996 h 829132"/>
                <a:gd name="connsiteX37" fmla="*/ 795776 w 924436"/>
                <a:gd name="connsiteY37" fmla="*/ 614702 h 829132"/>
                <a:gd name="connsiteX38" fmla="*/ 791012 w 924436"/>
                <a:gd name="connsiteY38" fmla="*/ 609936 h 829132"/>
                <a:gd name="connsiteX39" fmla="*/ 786248 w 924436"/>
                <a:gd name="connsiteY39" fmla="*/ 595640 h 829132"/>
                <a:gd name="connsiteX40" fmla="*/ 771952 w 924436"/>
                <a:gd name="connsiteY40" fmla="*/ 590876 h 829132"/>
                <a:gd name="connsiteX41" fmla="*/ 757656 w 924436"/>
                <a:gd name="connsiteY41" fmla="*/ 590876 h 829132"/>
                <a:gd name="connsiteX42" fmla="*/ 757656 w 924436"/>
                <a:gd name="connsiteY42" fmla="*/ 581346 h 829132"/>
                <a:gd name="connsiteX43" fmla="*/ 767188 w 924436"/>
                <a:gd name="connsiteY43" fmla="*/ 433626 h 829132"/>
                <a:gd name="connsiteX44" fmla="*/ 776716 w 924436"/>
                <a:gd name="connsiteY44" fmla="*/ 438392 h 829132"/>
                <a:gd name="connsiteX45" fmla="*/ 795776 w 924436"/>
                <a:gd name="connsiteY45" fmla="*/ 476512 h 829132"/>
                <a:gd name="connsiteX46" fmla="*/ 800540 w 924436"/>
                <a:gd name="connsiteY46" fmla="*/ 495572 h 829132"/>
                <a:gd name="connsiteX47" fmla="*/ 800540 w 924436"/>
                <a:gd name="connsiteY47" fmla="*/ 500338 h 829132"/>
                <a:gd name="connsiteX48" fmla="*/ 786248 w 924436"/>
                <a:gd name="connsiteY48" fmla="*/ 486042 h 829132"/>
                <a:gd name="connsiteX49" fmla="*/ 781480 w 924436"/>
                <a:gd name="connsiteY49" fmla="*/ 490808 h 829132"/>
                <a:gd name="connsiteX50" fmla="*/ 776716 w 924436"/>
                <a:gd name="connsiteY50" fmla="*/ 486042 h 829132"/>
                <a:gd name="connsiteX51" fmla="*/ 776716 w 924436"/>
                <a:gd name="connsiteY51" fmla="*/ 462216 h 829132"/>
                <a:gd name="connsiteX52" fmla="*/ 776716 w 924436"/>
                <a:gd name="connsiteY52" fmla="*/ 447922 h 829132"/>
                <a:gd name="connsiteX53" fmla="*/ 505104 w 924436"/>
                <a:gd name="connsiteY53" fmla="*/ 419330 h 829132"/>
                <a:gd name="connsiteX54" fmla="*/ 514636 w 924436"/>
                <a:gd name="connsiteY54" fmla="*/ 424096 h 829132"/>
                <a:gd name="connsiteX55" fmla="*/ 552756 w 924436"/>
                <a:gd name="connsiteY55" fmla="*/ 447922 h 829132"/>
                <a:gd name="connsiteX56" fmla="*/ 567052 w 924436"/>
                <a:gd name="connsiteY56" fmla="*/ 443156 h 829132"/>
                <a:gd name="connsiteX57" fmla="*/ 609936 w 924436"/>
                <a:gd name="connsiteY57" fmla="*/ 443156 h 829132"/>
                <a:gd name="connsiteX58" fmla="*/ 638528 w 924436"/>
                <a:gd name="connsiteY58" fmla="*/ 462218 h 829132"/>
                <a:gd name="connsiteX59" fmla="*/ 652824 w 924436"/>
                <a:gd name="connsiteY59" fmla="*/ 471748 h 829132"/>
                <a:gd name="connsiteX60" fmla="*/ 662352 w 924436"/>
                <a:gd name="connsiteY60" fmla="*/ 486042 h 829132"/>
                <a:gd name="connsiteX61" fmla="*/ 671884 w 924436"/>
                <a:gd name="connsiteY61" fmla="*/ 490808 h 829132"/>
                <a:gd name="connsiteX62" fmla="*/ 681412 w 924436"/>
                <a:gd name="connsiteY62" fmla="*/ 500338 h 829132"/>
                <a:gd name="connsiteX63" fmla="*/ 681412 w 924436"/>
                <a:gd name="connsiteY63" fmla="*/ 514634 h 829132"/>
                <a:gd name="connsiteX64" fmla="*/ 681412 w 924436"/>
                <a:gd name="connsiteY64" fmla="*/ 519398 h 829132"/>
                <a:gd name="connsiteX65" fmla="*/ 667120 w 924436"/>
                <a:gd name="connsiteY65" fmla="*/ 524164 h 829132"/>
                <a:gd name="connsiteX66" fmla="*/ 657588 w 924436"/>
                <a:gd name="connsiteY66" fmla="*/ 524164 h 829132"/>
                <a:gd name="connsiteX67" fmla="*/ 628996 w 924436"/>
                <a:gd name="connsiteY67" fmla="*/ 519398 h 829132"/>
                <a:gd name="connsiteX68" fmla="*/ 605172 w 924436"/>
                <a:gd name="connsiteY68" fmla="*/ 509868 h 829132"/>
                <a:gd name="connsiteX69" fmla="*/ 557520 w 924436"/>
                <a:gd name="connsiteY69" fmla="*/ 505104 h 829132"/>
                <a:gd name="connsiteX70" fmla="*/ 533696 w 924436"/>
                <a:gd name="connsiteY70" fmla="*/ 505104 h 829132"/>
                <a:gd name="connsiteX71" fmla="*/ 524164 w 924436"/>
                <a:gd name="connsiteY71" fmla="*/ 500338 h 829132"/>
                <a:gd name="connsiteX72" fmla="*/ 519400 w 924436"/>
                <a:gd name="connsiteY72" fmla="*/ 495574 h 829132"/>
                <a:gd name="connsiteX73" fmla="*/ 505104 w 924436"/>
                <a:gd name="connsiteY73" fmla="*/ 481278 h 829132"/>
                <a:gd name="connsiteX74" fmla="*/ 495572 w 924436"/>
                <a:gd name="connsiteY74" fmla="*/ 462218 h 829132"/>
                <a:gd name="connsiteX75" fmla="*/ 495572 w 924436"/>
                <a:gd name="connsiteY75" fmla="*/ 452686 h 829132"/>
                <a:gd name="connsiteX76" fmla="*/ 495572 w 924436"/>
                <a:gd name="connsiteY76" fmla="*/ 433626 h 829132"/>
                <a:gd name="connsiteX77" fmla="*/ 495572 w 924436"/>
                <a:gd name="connsiteY77" fmla="*/ 428862 h 829132"/>
                <a:gd name="connsiteX78" fmla="*/ 581348 w 924436"/>
                <a:gd name="connsiteY78" fmla="*/ 376446 h 829132"/>
                <a:gd name="connsiteX79" fmla="*/ 590876 w 924436"/>
                <a:gd name="connsiteY79" fmla="*/ 381210 h 829132"/>
                <a:gd name="connsiteX80" fmla="*/ 595640 w 924436"/>
                <a:gd name="connsiteY80" fmla="*/ 381210 h 829132"/>
                <a:gd name="connsiteX81" fmla="*/ 605172 w 924436"/>
                <a:gd name="connsiteY81" fmla="*/ 385976 h 829132"/>
                <a:gd name="connsiteX82" fmla="*/ 619468 w 924436"/>
                <a:gd name="connsiteY82" fmla="*/ 400270 h 829132"/>
                <a:gd name="connsiteX83" fmla="*/ 614700 w 924436"/>
                <a:gd name="connsiteY83" fmla="*/ 405036 h 829132"/>
                <a:gd name="connsiteX84" fmla="*/ 600408 w 924436"/>
                <a:gd name="connsiteY84" fmla="*/ 405036 h 829132"/>
                <a:gd name="connsiteX85" fmla="*/ 595640 w 924436"/>
                <a:gd name="connsiteY85" fmla="*/ 405036 h 829132"/>
                <a:gd name="connsiteX86" fmla="*/ 595640 w 924436"/>
                <a:gd name="connsiteY86" fmla="*/ 400270 h 829132"/>
                <a:gd name="connsiteX87" fmla="*/ 581348 w 924436"/>
                <a:gd name="connsiteY87" fmla="*/ 390740 h 829132"/>
                <a:gd name="connsiteX88" fmla="*/ 571816 w 924436"/>
                <a:gd name="connsiteY88" fmla="*/ 390740 h 829132"/>
                <a:gd name="connsiteX89" fmla="*/ 571816 w 924436"/>
                <a:gd name="connsiteY89" fmla="*/ 385976 h 829132"/>
                <a:gd name="connsiteX90" fmla="*/ 419332 w 924436"/>
                <a:gd name="connsiteY90" fmla="*/ 376446 h 829132"/>
                <a:gd name="connsiteX91" fmla="*/ 424096 w 924436"/>
                <a:gd name="connsiteY91" fmla="*/ 381210 h 829132"/>
                <a:gd name="connsiteX92" fmla="*/ 428860 w 924436"/>
                <a:gd name="connsiteY92" fmla="*/ 381210 h 829132"/>
                <a:gd name="connsiteX93" fmla="*/ 433628 w 924436"/>
                <a:gd name="connsiteY93" fmla="*/ 381210 h 829132"/>
                <a:gd name="connsiteX94" fmla="*/ 433628 w 924436"/>
                <a:gd name="connsiteY94" fmla="*/ 395506 h 829132"/>
                <a:gd name="connsiteX95" fmla="*/ 428860 w 924436"/>
                <a:gd name="connsiteY95" fmla="*/ 400270 h 829132"/>
                <a:gd name="connsiteX96" fmla="*/ 419332 w 924436"/>
                <a:gd name="connsiteY96" fmla="*/ 395506 h 829132"/>
                <a:gd name="connsiteX97" fmla="*/ 409800 w 924436"/>
                <a:gd name="connsiteY97" fmla="*/ 395506 h 829132"/>
                <a:gd name="connsiteX98" fmla="*/ 405036 w 924436"/>
                <a:gd name="connsiteY98" fmla="*/ 390740 h 829132"/>
                <a:gd name="connsiteX99" fmla="*/ 409800 w 924436"/>
                <a:gd name="connsiteY99" fmla="*/ 381210 h 829132"/>
                <a:gd name="connsiteX100" fmla="*/ 276380 w 924436"/>
                <a:gd name="connsiteY100" fmla="*/ 328794 h 829132"/>
                <a:gd name="connsiteX101" fmla="*/ 281144 w 924436"/>
                <a:gd name="connsiteY101" fmla="*/ 343090 h 829132"/>
                <a:gd name="connsiteX102" fmla="*/ 281144 w 924436"/>
                <a:gd name="connsiteY102" fmla="*/ 347854 h 829132"/>
                <a:gd name="connsiteX103" fmla="*/ 276380 w 924436"/>
                <a:gd name="connsiteY103" fmla="*/ 352620 h 829132"/>
                <a:gd name="connsiteX104" fmla="*/ 271612 w 924436"/>
                <a:gd name="connsiteY104" fmla="*/ 352620 h 829132"/>
                <a:gd name="connsiteX105" fmla="*/ 266848 w 924436"/>
                <a:gd name="connsiteY105" fmla="*/ 343090 h 829132"/>
                <a:gd name="connsiteX106" fmla="*/ 171544 w 924436"/>
                <a:gd name="connsiteY106" fmla="*/ 328794 h 829132"/>
                <a:gd name="connsiteX107" fmla="*/ 176312 w 924436"/>
                <a:gd name="connsiteY107" fmla="*/ 333560 h 829132"/>
                <a:gd name="connsiteX108" fmla="*/ 185840 w 924436"/>
                <a:gd name="connsiteY108" fmla="*/ 338324 h 829132"/>
                <a:gd name="connsiteX109" fmla="*/ 185840 w 924436"/>
                <a:gd name="connsiteY109" fmla="*/ 343090 h 829132"/>
                <a:gd name="connsiteX110" fmla="*/ 185840 w 924436"/>
                <a:gd name="connsiteY110" fmla="*/ 347854 h 829132"/>
                <a:gd name="connsiteX111" fmla="*/ 176312 w 924436"/>
                <a:gd name="connsiteY111" fmla="*/ 343090 h 829132"/>
                <a:gd name="connsiteX112" fmla="*/ 157252 w 924436"/>
                <a:gd name="connsiteY112" fmla="*/ 338324 h 829132"/>
                <a:gd name="connsiteX113" fmla="*/ 157252 w 924436"/>
                <a:gd name="connsiteY113" fmla="*/ 333560 h 829132"/>
                <a:gd name="connsiteX114" fmla="*/ 243020 w 924436"/>
                <a:gd name="connsiteY114" fmla="*/ 300202 h 829132"/>
                <a:gd name="connsiteX115" fmla="*/ 257316 w 924436"/>
                <a:gd name="connsiteY115" fmla="*/ 304968 h 829132"/>
                <a:gd name="connsiteX116" fmla="*/ 262084 w 924436"/>
                <a:gd name="connsiteY116" fmla="*/ 309734 h 829132"/>
                <a:gd name="connsiteX117" fmla="*/ 252552 w 924436"/>
                <a:gd name="connsiteY117" fmla="*/ 314498 h 829132"/>
                <a:gd name="connsiteX118" fmla="*/ 257316 w 924436"/>
                <a:gd name="connsiteY118" fmla="*/ 319264 h 829132"/>
                <a:gd name="connsiteX119" fmla="*/ 257316 w 924436"/>
                <a:gd name="connsiteY119" fmla="*/ 324028 h 829132"/>
                <a:gd name="connsiteX120" fmla="*/ 262084 w 924436"/>
                <a:gd name="connsiteY120" fmla="*/ 328794 h 829132"/>
                <a:gd name="connsiteX121" fmla="*/ 243020 w 924436"/>
                <a:gd name="connsiteY121" fmla="*/ 343090 h 829132"/>
                <a:gd name="connsiteX122" fmla="*/ 233492 w 924436"/>
                <a:gd name="connsiteY122" fmla="*/ 338324 h 829132"/>
                <a:gd name="connsiteX123" fmla="*/ 223960 w 924436"/>
                <a:gd name="connsiteY123" fmla="*/ 324028 h 829132"/>
                <a:gd name="connsiteX124" fmla="*/ 228728 w 924436"/>
                <a:gd name="connsiteY124" fmla="*/ 314498 h 829132"/>
                <a:gd name="connsiteX125" fmla="*/ 228728 w 924436"/>
                <a:gd name="connsiteY125" fmla="*/ 309734 h 829132"/>
                <a:gd name="connsiteX126" fmla="*/ 233492 w 924436"/>
                <a:gd name="connsiteY126" fmla="*/ 309734 h 829132"/>
                <a:gd name="connsiteX127" fmla="*/ 238256 w 924436"/>
                <a:gd name="connsiteY127" fmla="*/ 304968 h 829132"/>
                <a:gd name="connsiteX128" fmla="*/ 147720 w 924436"/>
                <a:gd name="connsiteY128" fmla="*/ 285906 h 829132"/>
                <a:gd name="connsiteX129" fmla="*/ 152484 w 924436"/>
                <a:gd name="connsiteY129" fmla="*/ 295438 h 829132"/>
                <a:gd name="connsiteX130" fmla="*/ 147720 w 924436"/>
                <a:gd name="connsiteY130" fmla="*/ 309732 h 829132"/>
                <a:gd name="connsiteX131" fmla="*/ 142956 w 924436"/>
                <a:gd name="connsiteY131" fmla="*/ 309732 h 829132"/>
                <a:gd name="connsiteX132" fmla="*/ 138188 w 924436"/>
                <a:gd name="connsiteY132" fmla="*/ 324028 h 829132"/>
                <a:gd name="connsiteX133" fmla="*/ 147720 w 924436"/>
                <a:gd name="connsiteY133" fmla="*/ 333558 h 829132"/>
                <a:gd name="connsiteX134" fmla="*/ 147720 w 924436"/>
                <a:gd name="connsiteY134" fmla="*/ 338322 h 829132"/>
                <a:gd name="connsiteX135" fmla="*/ 138188 w 924436"/>
                <a:gd name="connsiteY135" fmla="*/ 328792 h 829132"/>
                <a:gd name="connsiteX136" fmla="*/ 119128 w 924436"/>
                <a:gd name="connsiteY136" fmla="*/ 309732 h 829132"/>
                <a:gd name="connsiteX137" fmla="*/ 123896 w 924436"/>
                <a:gd name="connsiteY137" fmla="*/ 304968 h 829132"/>
                <a:gd name="connsiteX138" fmla="*/ 142956 w 924436"/>
                <a:gd name="connsiteY138" fmla="*/ 290672 h 829132"/>
                <a:gd name="connsiteX139" fmla="*/ 490808 w 924436"/>
                <a:gd name="connsiteY139" fmla="*/ 281142 h 829132"/>
                <a:gd name="connsiteX140" fmla="*/ 500340 w 924436"/>
                <a:gd name="connsiteY140" fmla="*/ 285908 h 829132"/>
                <a:gd name="connsiteX141" fmla="*/ 500340 w 924436"/>
                <a:gd name="connsiteY141" fmla="*/ 290672 h 829132"/>
                <a:gd name="connsiteX142" fmla="*/ 505104 w 924436"/>
                <a:gd name="connsiteY142" fmla="*/ 300202 h 829132"/>
                <a:gd name="connsiteX143" fmla="*/ 500340 w 924436"/>
                <a:gd name="connsiteY143" fmla="*/ 304968 h 829132"/>
                <a:gd name="connsiteX144" fmla="*/ 486044 w 924436"/>
                <a:gd name="connsiteY144" fmla="*/ 295438 h 829132"/>
                <a:gd name="connsiteX145" fmla="*/ 486044 w 924436"/>
                <a:gd name="connsiteY145" fmla="*/ 290672 h 829132"/>
                <a:gd name="connsiteX146" fmla="*/ 486044 w 924436"/>
                <a:gd name="connsiteY146" fmla="*/ 285908 h 829132"/>
                <a:gd name="connsiteX147" fmla="*/ 648060 w 924436"/>
                <a:gd name="connsiteY147" fmla="*/ 271612 h 829132"/>
                <a:gd name="connsiteX148" fmla="*/ 657588 w 924436"/>
                <a:gd name="connsiteY148" fmla="*/ 271612 h 829132"/>
                <a:gd name="connsiteX149" fmla="*/ 662352 w 924436"/>
                <a:gd name="connsiteY149" fmla="*/ 271612 h 829132"/>
                <a:gd name="connsiteX150" fmla="*/ 667120 w 924436"/>
                <a:gd name="connsiteY150" fmla="*/ 271612 h 829132"/>
                <a:gd name="connsiteX151" fmla="*/ 671884 w 924436"/>
                <a:gd name="connsiteY151" fmla="*/ 271612 h 829132"/>
                <a:gd name="connsiteX152" fmla="*/ 710004 w 924436"/>
                <a:gd name="connsiteY152" fmla="*/ 319264 h 829132"/>
                <a:gd name="connsiteX153" fmla="*/ 710004 w 924436"/>
                <a:gd name="connsiteY153" fmla="*/ 324028 h 829132"/>
                <a:gd name="connsiteX154" fmla="*/ 705240 w 924436"/>
                <a:gd name="connsiteY154" fmla="*/ 328794 h 829132"/>
                <a:gd name="connsiteX155" fmla="*/ 705240 w 924436"/>
                <a:gd name="connsiteY155" fmla="*/ 347854 h 829132"/>
                <a:gd name="connsiteX156" fmla="*/ 710004 w 924436"/>
                <a:gd name="connsiteY156" fmla="*/ 352618 h 829132"/>
                <a:gd name="connsiteX157" fmla="*/ 719536 w 924436"/>
                <a:gd name="connsiteY157" fmla="*/ 357384 h 829132"/>
                <a:gd name="connsiteX158" fmla="*/ 738596 w 924436"/>
                <a:gd name="connsiteY158" fmla="*/ 371680 h 829132"/>
                <a:gd name="connsiteX159" fmla="*/ 743360 w 924436"/>
                <a:gd name="connsiteY159" fmla="*/ 395506 h 829132"/>
                <a:gd name="connsiteX160" fmla="*/ 743360 w 924436"/>
                <a:gd name="connsiteY160" fmla="*/ 400270 h 829132"/>
                <a:gd name="connsiteX161" fmla="*/ 752892 w 924436"/>
                <a:gd name="connsiteY161" fmla="*/ 409800 h 829132"/>
                <a:gd name="connsiteX162" fmla="*/ 752892 w 924436"/>
                <a:gd name="connsiteY162" fmla="*/ 428860 h 829132"/>
                <a:gd name="connsiteX163" fmla="*/ 767184 w 924436"/>
                <a:gd name="connsiteY163" fmla="*/ 457452 h 829132"/>
                <a:gd name="connsiteX164" fmla="*/ 771952 w 924436"/>
                <a:gd name="connsiteY164" fmla="*/ 466982 h 829132"/>
                <a:gd name="connsiteX165" fmla="*/ 767184 w 924436"/>
                <a:gd name="connsiteY165" fmla="*/ 476512 h 829132"/>
                <a:gd name="connsiteX166" fmla="*/ 762420 w 924436"/>
                <a:gd name="connsiteY166" fmla="*/ 471746 h 829132"/>
                <a:gd name="connsiteX167" fmla="*/ 743360 w 924436"/>
                <a:gd name="connsiteY167" fmla="*/ 443156 h 829132"/>
                <a:gd name="connsiteX168" fmla="*/ 719536 w 924436"/>
                <a:gd name="connsiteY168" fmla="*/ 428860 h 829132"/>
                <a:gd name="connsiteX169" fmla="*/ 714768 w 924436"/>
                <a:gd name="connsiteY169" fmla="*/ 424096 h 829132"/>
                <a:gd name="connsiteX170" fmla="*/ 690944 w 924436"/>
                <a:gd name="connsiteY170" fmla="*/ 405036 h 829132"/>
                <a:gd name="connsiteX171" fmla="*/ 676648 w 924436"/>
                <a:gd name="connsiteY171" fmla="*/ 371680 h 829132"/>
                <a:gd name="connsiteX172" fmla="*/ 657588 w 924436"/>
                <a:gd name="connsiteY172" fmla="*/ 319264 h 829132"/>
                <a:gd name="connsiteX173" fmla="*/ 667120 w 924436"/>
                <a:gd name="connsiteY173" fmla="*/ 304968 h 829132"/>
                <a:gd name="connsiteX174" fmla="*/ 648060 w 924436"/>
                <a:gd name="connsiteY174" fmla="*/ 281142 h 829132"/>
                <a:gd name="connsiteX175" fmla="*/ 162016 w 924436"/>
                <a:gd name="connsiteY175" fmla="*/ 214430 h 829132"/>
                <a:gd name="connsiteX176" fmla="*/ 181076 w 924436"/>
                <a:gd name="connsiteY176" fmla="*/ 223962 h 829132"/>
                <a:gd name="connsiteX177" fmla="*/ 181076 w 924436"/>
                <a:gd name="connsiteY177" fmla="*/ 247786 h 829132"/>
                <a:gd name="connsiteX178" fmla="*/ 190604 w 924436"/>
                <a:gd name="connsiteY178" fmla="*/ 252552 h 829132"/>
                <a:gd name="connsiteX179" fmla="*/ 204900 w 924436"/>
                <a:gd name="connsiteY179" fmla="*/ 257318 h 829132"/>
                <a:gd name="connsiteX180" fmla="*/ 214432 w 924436"/>
                <a:gd name="connsiteY180" fmla="*/ 271612 h 829132"/>
                <a:gd name="connsiteX181" fmla="*/ 228728 w 924436"/>
                <a:gd name="connsiteY181" fmla="*/ 300204 h 829132"/>
                <a:gd name="connsiteX182" fmla="*/ 223960 w 924436"/>
                <a:gd name="connsiteY182" fmla="*/ 309734 h 829132"/>
                <a:gd name="connsiteX183" fmla="*/ 219196 w 924436"/>
                <a:gd name="connsiteY183" fmla="*/ 309734 h 829132"/>
                <a:gd name="connsiteX184" fmla="*/ 214432 w 924436"/>
                <a:gd name="connsiteY184" fmla="*/ 319264 h 829132"/>
                <a:gd name="connsiteX185" fmla="*/ 204900 w 924436"/>
                <a:gd name="connsiteY185" fmla="*/ 304968 h 829132"/>
                <a:gd name="connsiteX186" fmla="*/ 190604 w 924436"/>
                <a:gd name="connsiteY186" fmla="*/ 300204 h 829132"/>
                <a:gd name="connsiteX187" fmla="*/ 181076 w 924436"/>
                <a:gd name="connsiteY187" fmla="*/ 290674 h 829132"/>
                <a:gd name="connsiteX188" fmla="*/ 176312 w 924436"/>
                <a:gd name="connsiteY188" fmla="*/ 271612 h 829132"/>
                <a:gd name="connsiteX189" fmla="*/ 176312 w 924436"/>
                <a:gd name="connsiteY189" fmla="*/ 262082 h 829132"/>
                <a:gd name="connsiteX190" fmla="*/ 166780 w 924436"/>
                <a:gd name="connsiteY190" fmla="*/ 262082 h 829132"/>
                <a:gd name="connsiteX191" fmla="*/ 142956 w 924436"/>
                <a:gd name="connsiteY191" fmla="*/ 262082 h 829132"/>
                <a:gd name="connsiteX192" fmla="*/ 133424 w 924436"/>
                <a:gd name="connsiteY192" fmla="*/ 271612 h 829132"/>
                <a:gd name="connsiteX193" fmla="*/ 123896 w 924436"/>
                <a:gd name="connsiteY193" fmla="*/ 271612 h 829132"/>
                <a:gd name="connsiteX194" fmla="*/ 119128 w 924436"/>
                <a:gd name="connsiteY194" fmla="*/ 262082 h 829132"/>
                <a:gd name="connsiteX195" fmla="*/ 123896 w 924436"/>
                <a:gd name="connsiteY195" fmla="*/ 252552 h 829132"/>
                <a:gd name="connsiteX196" fmla="*/ 138188 w 924436"/>
                <a:gd name="connsiteY196" fmla="*/ 247786 h 829132"/>
                <a:gd name="connsiteX197" fmla="*/ 138188 w 924436"/>
                <a:gd name="connsiteY197" fmla="*/ 238256 h 829132"/>
                <a:gd name="connsiteX198" fmla="*/ 152484 w 924436"/>
                <a:gd name="connsiteY198" fmla="*/ 219196 h 829132"/>
                <a:gd name="connsiteX199" fmla="*/ 19060 w 924436"/>
                <a:gd name="connsiteY199" fmla="*/ 214430 h 829132"/>
                <a:gd name="connsiteX200" fmla="*/ 28592 w 924436"/>
                <a:gd name="connsiteY200" fmla="*/ 238256 h 829132"/>
                <a:gd name="connsiteX201" fmla="*/ 23828 w 924436"/>
                <a:gd name="connsiteY201" fmla="*/ 247786 h 829132"/>
                <a:gd name="connsiteX202" fmla="*/ 23828 w 924436"/>
                <a:gd name="connsiteY202" fmla="*/ 252552 h 829132"/>
                <a:gd name="connsiteX203" fmla="*/ 14296 w 924436"/>
                <a:gd name="connsiteY203" fmla="*/ 233492 h 829132"/>
                <a:gd name="connsiteX204" fmla="*/ 14296 w 924436"/>
                <a:gd name="connsiteY204" fmla="*/ 223962 h 829132"/>
                <a:gd name="connsiteX205" fmla="*/ 90540 w 924436"/>
                <a:gd name="connsiteY205" fmla="*/ 200134 h 829132"/>
                <a:gd name="connsiteX206" fmla="*/ 104832 w 924436"/>
                <a:gd name="connsiteY206" fmla="*/ 200134 h 829132"/>
                <a:gd name="connsiteX207" fmla="*/ 109600 w 924436"/>
                <a:gd name="connsiteY207" fmla="*/ 200134 h 829132"/>
                <a:gd name="connsiteX208" fmla="*/ 114364 w 924436"/>
                <a:gd name="connsiteY208" fmla="*/ 209666 h 829132"/>
                <a:gd name="connsiteX209" fmla="*/ 119128 w 924436"/>
                <a:gd name="connsiteY209" fmla="*/ 223960 h 829132"/>
                <a:gd name="connsiteX210" fmla="*/ 119128 w 924436"/>
                <a:gd name="connsiteY210" fmla="*/ 233490 h 829132"/>
                <a:gd name="connsiteX211" fmla="*/ 114364 w 924436"/>
                <a:gd name="connsiteY211" fmla="*/ 238256 h 829132"/>
                <a:gd name="connsiteX212" fmla="*/ 109600 w 924436"/>
                <a:gd name="connsiteY212" fmla="*/ 238256 h 829132"/>
                <a:gd name="connsiteX213" fmla="*/ 95304 w 924436"/>
                <a:gd name="connsiteY213" fmla="*/ 238256 h 829132"/>
                <a:gd name="connsiteX214" fmla="*/ 81008 w 924436"/>
                <a:gd name="connsiteY214" fmla="*/ 223960 h 829132"/>
                <a:gd name="connsiteX215" fmla="*/ 81008 w 924436"/>
                <a:gd name="connsiteY215" fmla="*/ 209666 h 829132"/>
                <a:gd name="connsiteX216" fmla="*/ 19060 w 924436"/>
                <a:gd name="connsiteY216" fmla="*/ 152484 h 829132"/>
                <a:gd name="connsiteX217" fmla="*/ 33356 w 924436"/>
                <a:gd name="connsiteY217" fmla="*/ 162014 h 829132"/>
                <a:gd name="connsiteX218" fmla="*/ 42888 w 924436"/>
                <a:gd name="connsiteY218" fmla="*/ 171544 h 829132"/>
                <a:gd name="connsiteX219" fmla="*/ 57180 w 924436"/>
                <a:gd name="connsiteY219" fmla="*/ 176310 h 829132"/>
                <a:gd name="connsiteX220" fmla="*/ 52416 w 924436"/>
                <a:gd name="connsiteY220" fmla="*/ 185840 h 829132"/>
                <a:gd name="connsiteX221" fmla="*/ 42888 w 924436"/>
                <a:gd name="connsiteY221" fmla="*/ 200136 h 829132"/>
                <a:gd name="connsiteX222" fmla="*/ 38120 w 924436"/>
                <a:gd name="connsiteY222" fmla="*/ 209666 h 829132"/>
                <a:gd name="connsiteX223" fmla="*/ 33356 w 924436"/>
                <a:gd name="connsiteY223" fmla="*/ 209666 h 829132"/>
                <a:gd name="connsiteX224" fmla="*/ 28592 w 924436"/>
                <a:gd name="connsiteY224" fmla="*/ 204900 h 829132"/>
                <a:gd name="connsiteX225" fmla="*/ 23828 w 924436"/>
                <a:gd name="connsiteY225" fmla="*/ 200136 h 829132"/>
                <a:gd name="connsiteX226" fmla="*/ 23828 w 924436"/>
                <a:gd name="connsiteY226" fmla="*/ 190606 h 829132"/>
                <a:gd name="connsiteX227" fmla="*/ 9532 w 924436"/>
                <a:gd name="connsiteY227" fmla="*/ 176310 h 829132"/>
                <a:gd name="connsiteX228" fmla="*/ 9532 w 924436"/>
                <a:gd name="connsiteY228" fmla="*/ 162014 h 829132"/>
                <a:gd name="connsiteX229" fmla="*/ 314500 w 924436"/>
                <a:gd name="connsiteY229" fmla="*/ 147718 h 829132"/>
                <a:gd name="connsiteX230" fmla="*/ 357384 w 924436"/>
                <a:gd name="connsiteY230" fmla="*/ 157250 h 829132"/>
                <a:gd name="connsiteX231" fmla="*/ 376444 w 924436"/>
                <a:gd name="connsiteY231" fmla="*/ 176310 h 829132"/>
                <a:gd name="connsiteX232" fmla="*/ 395508 w 924436"/>
                <a:gd name="connsiteY232" fmla="*/ 185840 h 829132"/>
                <a:gd name="connsiteX233" fmla="*/ 400272 w 924436"/>
                <a:gd name="connsiteY233" fmla="*/ 195370 h 829132"/>
                <a:gd name="connsiteX234" fmla="*/ 414568 w 924436"/>
                <a:gd name="connsiteY234" fmla="*/ 204900 h 829132"/>
                <a:gd name="connsiteX235" fmla="*/ 428864 w 924436"/>
                <a:gd name="connsiteY235" fmla="*/ 204900 h 829132"/>
                <a:gd name="connsiteX236" fmla="*/ 443156 w 924436"/>
                <a:gd name="connsiteY236" fmla="*/ 214430 h 829132"/>
                <a:gd name="connsiteX237" fmla="*/ 457452 w 924436"/>
                <a:gd name="connsiteY237" fmla="*/ 219196 h 829132"/>
                <a:gd name="connsiteX238" fmla="*/ 466984 w 924436"/>
                <a:gd name="connsiteY238" fmla="*/ 223960 h 829132"/>
                <a:gd name="connsiteX239" fmla="*/ 528928 w 924436"/>
                <a:gd name="connsiteY239" fmla="*/ 271612 h 829132"/>
                <a:gd name="connsiteX240" fmla="*/ 524164 w 924436"/>
                <a:gd name="connsiteY240" fmla="*/ 285908 h 829132"/>
                <a:gd name="connsiteX241" fmla="*/ 533696 w 924436"/>
                <a:gd name="connsiteY241" fmla="*/ 295438 h 829132"/>
                <a:gd name="connsiteX242" fmla="*/ 538460 w 924436"/>
                <a:gd name="connsiteY242" fmla="*/ 304968 h 829132"/>
                <a:gd name="connsiteX243" fmla="*/ 538460 w 924436"/>
                <a:gd name="connsiteY243" fmla="*/ 309734 h 829132"/>
                <a:gd name="connsiteX244" fmla="*/ 514636 w 924436"/>
                <a:gd name="connsiteY244" fmla="*/ 295438 h 829132"/>
                <a:gd name="connsiteX245" fmla="*/ 500340 w 924436"/>
                <a:gd name="connsiteY245" fmla="*/ 281142 h 829132"/>
                <a:gd name="connsiteX246" fmla="*/ 452688 w 924436"/>
                <a:gd name="connsiteY246" fmla="*/ 262082 h 829132"/>
                <a:gd name="connsiteX247" fmla="*/ 443156 w 924436"/>
                <a:gd name="connsiteY247" fmla="*/ 252552 h 829132"/>
                <a:gd name="connsiteX248" fmla="*/ 438392 w 924436"/>
                <a:gd name="connsiteY248" fmla="*/ 252552 h 829132"/>
                <a:gd name="connsiteX249" fmla="*/ 414568 w 924436"/>
                <a:gd name="connsiteY249" fmla="*/ 238256 h 829132"/>
                <a:gd name="connsiteX250" fmla="*/ 390740 w 924436"/>
                <a:gd name="connsiteY250" fmla="*/ 228726 h 829132"/>
                <a:gd name="connsiteX251" fmla="*/ 376444 w 924436"/>
                <a:gd name="connsiteY251" fmla="*/ 214430 h 829132"/>
                <a:gd name="connsiteX252" fmla="*/ 371680 w 924436"/>
                <a:gd name="connsiteY252" fmla="*/ 209666 h 829132"/>
                <a:gd name="connsiteX253" fmla="*/ 366916 w 924436"/>
                <a:gd name="connsiteY253" fmla="*/ 204900 h 829132"/>
                <a:gd name="connsiteX254" fmla="*/ 352620 w 924436"/>
                <a:gd name="connsiteY254" fmla="*/ 190606 h 829132"/>
                <a:gd name="connsiteX255" fmla="*/ 338324 w 924436"/>
                <a:gd name="connsiteY255" fmla="*/ 181074 h 829132"/>
                <a:gd name="connsiteX256" fmla="*/ 333560 w 924436"/>
                <a:gd name="connsiteY256" fmla="*/ 166780 h 829132"/>
                <a:gd name="connsiteX257" fmla="*/ 319264 w 924436"/>
                <a:gd name="connsiteY257" fmla="*/ 152484 h 829132"/>
                <a:gd name="connsiteX258" fmla="*/ 4764 w 924436"/>
                <a:gd name="connsiteY258" fmla="*/ 0 h 829132"/>
                <a:gd name="connsiteX259" fmla="*/ 23824 w 924436"/>
                <a:gd name="connsiteY259" fmla="*/ 4766 h 829132"/>
                <a:gd name="connsiteX260" fmla="*/ 52416 w 924436"/>
                <a:gd name="connsiteY260" fmla="*/ 28590 h 829132"/>
                <a:gd name="connsiteX261" fmla="*/ 90536 w 924436"/>
                <a:gd name="connsiteY261" fmla="*/ 47652 h 829132"/>
                <a:gd name="connsiteX262" fmla="*/ 104832 w 924436"/>
                <a:gd name="connsiteY262" fmla="*/ 57182 h 829132"/>
                <a:gd name="connsiteX263" fmla="*/ 109596 w 924436"/>
                <a:gd name="connsiteY263" fmla="*/ 81006 h 829132"/>
                <a:gd name="connsiteX264" fmla="*/ 119128 w 924436"/>
                <a:gd name="connsiteY264" fmla="*/ 90538 h 829132"/>
                <a:gd name="connsiteX265" fmla="*/ 138188 w 924436"/>
                <a:gd name="connsiteY265" fmla="*/ 109598 h 829132"/>
                <a:gd name="connsiteX266" fmla="*/ 152484 w 924436"/>
                <a:gd name="connsiteY266" fmla="*/ 109598 h 829132"/>
                <a:gd name="connsiteX267" fmla="*/ 157248 w 924436"/>
                <a:gd name="connsiteY267" fmla="*/ 114362 h 829132"/>
                <a:gd name="connsiteX268" fmla="*/ 162012 w 924436"/>
                <a:gd name="connsiteY268" fmla="*/ 114362 h 829132"/>
                <a:gd name="connsiteX269" fmla="*/ 166780 w 924436"/>
                <a:gd name="connsiteY269" fmla="*/ 119128 h 829132"/>
                <a:gd name="connsiteX270" fmla="*/ 157248 w 924436"/>
                <a:gd name="connsiteY270" fmla="*/ 128658 h 829132"/>
                <a:gd name="connsiteX271" fmla="*/ 138188 w 924436"/>
                <a:gd name="connsiteY271" fmla="*/ 123892 h 829132"/>
                <a:gd name="connsiteX272" fmla="*/ 138188 w 924436"/>
                <a:gd name="connsiteY272" fmla="*/ 119128 h 829132"/>
                <a:gd name="connsiteX273" fmla="*/ 123892 w 924436"/>
                <a:gd name="connsiteY273" fmla="*/ 119128 h 829132"/>
                <a:gd name="connsiteX274" fmla="*/ 104832 w 924436"/>
                <a:gd name="connsiteY274" fmla="*/ 114362 h 829132"/>
                <a:gd name="connsiteX275" fmla="*/ 71476 w 924436"/>
                <a:gd name="connsiteY275" fmla="*/ 90538 h 829132"/>
                <a:gd name="connsiteX276" fmla="*/ 38120 w 924436"/>
                <a:gd name="connsiteY276" fmla="*/ 47652 h 829132"/>
                <a:gd name="connsiteX277" fmla="*/ 9532 w 924436"/>
                <a:gd name="connsiteY277" fmla="*/ 23826 h 829132"/>
                <a:gd name="connsiteX278" fmla="*/ 0 w 924436"/>
                <a:gd name="connsiteY278" fmla="*/ 19060 h 829132"/>
                <a:gd name="connsiteX279" fmla="*/ 0 w 924436"/>
                <a:gd name="connsiteY279" fmla="*/ 4766 h 829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</a:cxnLst>
              <a:rect l="l" t="t" r="r" b="b"/>
              <a:pathLst>
                <a:path w="924436" h="829132">
                  <a:moveTo>
                    <a:pt x="557520" y="771950"/>
                  </a:moveTo>
                  <a:lnTo>
                    <a:pt x="567052" y="776716"/>
                  </a:lnTo>
                  <a:lnTo>
                    <a:pt x="624232" y="805306"/>
                  </a:lnTo>
                  <a:lnTo>
                    <a:pt x="638528" y="814836"/>
                  </a:lnTo>
                  <a:lnTo>
                    <a:pt x="648060" y="824366"/>
                  </a:lnTo>
                  <a:lnTo>
                    <a:pt x="633764" y="829132"/>
                  </a:lnTo>
                  <a:lnTo>
                    <a:pt x="624232" y="824366"/>
                  </a:lnTo>
                  <a:lnTo>
                    <a:pt x="619468" y="824366"/>
                  </a:lnTo>
                  <a:lnTo>
                    <a:pt x="609936" y="810072"/>
                  </a:lnTo>
                  <a:lnTo>
                    <a:pt x="600408" y="800542"/>
                  </a:lnTo>
                  <a:lnTo>
                    <a:pt x="581344" y="800542"/>
                  </a:lnTo>
                  <a:lnTo>
                    <a:pt x="571816" y="791010"/>
                  </a:lnTo>
                  <a:lnTo>
                    <a:pt x="567052" y="791010"/>
                  </a:lnTo>
                  <a:lnTo>
                    <a:pt x="557520" y="786246"/>
                  </a:lnTo>
                  <a:lnTo>
                    <a:pt x="552756" y="781480"/>
                  </a:lnTo>
                  <a:lnTo>
                    <a:pt x="552756" y="776716"/>
                  </a:lnTo>
                  <a:close/>
                  <a:moveTo>
                    <a:pt x="757656" y="567050"/>
                  </a:moveTo>
                  <a:lnTo>
                    <a:pt x="771952" y="567050"/>
                  </a:lnTo>
                  <a:lnTo>
                    <a:pt x="786248" y="576580"/>
                  </a:lnTo>
                  <a:lnTo>
                    <a:pt x="814836" y="590876"/>
                  </a:lnTo>
                  <a:lnTo>
                    <a:pt x="819604" y="595640"/>
                  </a:lnTo>
                  <a:lnTo>
                    <a:pt x="824368" y="600406"/>
                  </a:lnTo>
                  <a:lnTo>
                    <a:pt x="843428" y="609936"/>
                  </a:lnTo>
                  <a:lnTo>
                    <a:pt x="852960" y="605172"/>
                  </a:lnTo>
                  <a:lnTo>
                    <a:pt x="872020" y="614702"/>
                  </a:lnTo>
                  <a:lnTo>
                    <a:pt x="886316" y="609936"/>
                  </a:lnTo>
                  <a:lnTo>
                    <a:pt x="891080" y="619466"/>
                  </a:lnTo>
                  <a:lnTo>
                    <a:pt x="914904" y="648058"/>
                  </a:lnTo>
                  <a:lnTo>
                    <a:pt x="914904" y="662352"/>
                  </a:lnTo>
                  <a:lnTo>
                    <a:pt x="924436" y="667118"/>
                  </a:lnTo>
                  <a:lnTo>
                    <a:pt x="914904" y="671882"/>
                  </a:lnTo>
                  <a:lnTo>
                    <a:pt x="900608" y="667118"/>
                  </a:lnTo>
                  <a:lnTo>
                    <a:pt x="886316" y="667118"/>
                  </a:lnTo>
                  <a:lnTo>
                    <a:pt x="876784" y="662352"/>
                  </a:lnTo>
                  <a:lnTo>
                    <a:pt x="852960" y="657588"/>
                  </a:lnTo>
                  <a:lnTo>
                    <a:pt x="833896" y="652822"/>
                  </a:lnTo>
                  <a:lnTo>
                    <a:pt x="795776" y="628996"/>
                  </a:lnTo>
                  <a:lnTo>
                    <a:pt x="795776" y="614702"/>
                  </a:lnTo>
                  <a:lnTo>
                    <a:pt x="791012" y="609936"/>
                  </a:lnTo>
                  <a:lnTo>
                    <a:pt x="786248" y="595640"/>
                  </a:lnTo>
                  <a:lnTo>
                    <a:pt x="771952" y="590876"/>
                  </a:lnTo>
                  <a:lnTo>
                    <a:pt x="757656" y="590876"/>
                  </a:lnTo>
                  <a:lnTo>
                    <a:pt x="757656" y="581346"/>
                  </a:lnTo>
                  <a:close/>
                  <a:moveTo>
                    <a:pt x="767188" y="433626"/>
                  </a:moveTo>
                  <a:lnTo>
                    <a:pt x="776716" y="438392"/>
                  </a:lnTo>
                  <a:lnTo>
                    <a:pt x="795776" y="476512"/>
                  </a:lnTo>
                  <a:lnTo>
                    <a:pt x="800540" y="495572"/>
                  </a:lnTo>
                  <a:lnTo>
                    <a:pt x="800540" y="500338"/>
                  </a:lnTo>
                  <a:lnTo>
                    <a:pt x="786248" y="486042"/>
                  </a:lnTo>
                  <a:lnTo>
                    <a:pt x="781480" y="490808"/>
                  </a:lnTo>
                  <a:lnTo>
                    <a:pt x="776716" y="486042"/>
                  </a:lnTo>
                  <a:lnTo>
                    <a:pt x="776716" y="462216"/>
                  </a:lnTo>
                  <a:lnTo>
                    <a:pt x="776716" y="447922"/>
                  </a:lnTo>
                  <a:close/>
                  <a:moveTo>
                    <a:pt x="505104" y="419330"/>
                  </a:moveTo>
                  <a:lnTo>
                    <a:pt x="514636" y="424096"/>
                  </a:lnTo>
                  <a:lnTo>
                    <a:pt x="552756" y="447922"/>
                  </a:lnTo>
                  <a:lnTo>
                    <a:pt x="567052" y="443156"/>
                  </a:lnTo>
                  <a:lnTo>
                    <a:pt x="609936" y="443156"/>
                  </a:lnTo>
                  <a:lnTo>
                    <a:pt x="638528" y="462218"/>
                  </a:lnTo>
                  <a:lnTo>
                    <a:pt x="652824" y="471748"/>
                  </a:lnTo>
                  <a:lnTo>
                    <a:pt x="662352" y="486042"/>
                  </a:lnTo>
                  <a:lnTo>
                    <a:pt x="671884" y="490808"/>
                  </a:lnTo>
                  <a:lnTo>
                    <a:pt x="681412" y="500338"/>
                  </a:lnTo>
                  <a:lnTo>
                    <a:pt x="681412" y="514634"/>
                  </a:lnTo>
                  <a:lnTo>
                    <a:pt x="681412" y="519398"/>
                  </a:lnTo>
                  <a:lnTo>
                    <a:pt x="667120" y="524164"/>
                  </a:lnTo>
                  <a:lnTo>
                    <a:pt x="657588" y="524164"/>
                  </a:lnTo>
                  <a:lnTo>
                    <a:pt x="628996" y="519398"/>
                  </a:lnTo>
                  <a:lnTo>
                    <a:pt x="605172" y="509868"/>
                  </a:lnTo>
                  <a:lnTo>
                    <a:pt x="557520" y="505104"/>
                  </a:lnTo>
                  <a:lnTo>
                    <a:pt x="533696" y="505104"/>
                  </a:lnTo>
                  <a:lnTo>
                    <a:pt x="524164" y="500338"/>
                  </a:lnTo>
                  <a:lnTo>
                    <a:pt x="519400" y="495574"/>
                  </a:lnTo>
                  <a:lnTo>
                    <a:pt x="505104" y="481278"/>
                  </a:lnTo>
                  <a:lnTo>
                    <a:pt x="495572" y="462218"/>
                  </a:lnTo>
                  <a:lnTo>
                    <a:pt x="495572" y="452686"/>
                  </a:lnTo>
                  <a:lnTo>
                    <a:pt x="495572" y="433626"/>
                  </a:lnTo>
                  <a:lnTo>
                    <a:pt x="495572" y="428862"/>
                  </a:lnTo>
                  <a:close/>
                  <a:moveTo>
                    <a:pt x="581348" y="376446"/>
                  </a:moveTo>
                  <a:lnTo>
                    <a:pt x="590876" y="381210"/>
                  </a:lnTo>
                  <a:lnTo>
                    <a:pt x="595640" y="381210"/>
                  </a:lnTo>
                  <a:lnTo>
                    <a:pt x="605172" y="385976"/>
                  </a:lnTo>
                  <a:lnTo>
                    <a:pt x="619468" y="400270"/>
                  </a:lnTo>
                  <a:lnTo>
                    <a:pt x="614700" y="405036"/>
                  </a:lnTo>
                  <a:lnTo>
                    <a:pt x="600408" y="405036"/>
                  </a:lnTo>
                  <a:lnTo>
                    <a:pt x="595640" y="405036"/>
                  </a:lnTo>
                  <a:lnTo>
                    <a:pt x="595640" y="400270"/>
                  </a:lnTo>
                  <a:lnTo>
                    <a:pt x="581348" y="390740"/>
                  </a:lnTo>
                  <a:lnTo>
                    <a:pt x="571816" y="390740"/>
                  </a:lnTo>
                  <a:lnTo>
                    <a:pt x="571816" y="385976"/>
                  </a:lnTo>
                  <a:close/>
                  <a:moveTo>
                    <a:pt x="419332" y="376446"/>
                  </a:moveTo>
                  <a:lnTo>
                    <a:pt x="424096" y="381210"/>
                  </a:lnTo>
                  <a:lnTo>
                    <a:pt x="428860" y="381210"/>
                  </a:lnTo>
                  <a:lnTo>
                    <a:pt x="433628" y="381210"/>
                  </a:lnTo>
                  <a:lnTo>
                    <a:pt x="433628" y="395506"/>
                  </a:lnTo>
                  <a:lnTo>
                    <a:pt x="428860" y="400270"/>
                  </a:lnTo>
                  <a:lnTo>
                    <a:pt x="419332" y="395506"/>
                  </a:lnTo>
                  <a:lnTo>
                    <a:pt x="409800" y="395506"/>
                  </a:lnTo>
                  <a:lnTo>
                    <a:pt x="405036" y="390740"/>
                  </a:lnTo>
                  <a:lnTo>
                    <a:pt x="409800" y="381210"/>
                  </a:lnTo>
                  <a:close/>
                  <a:moveTo>
                    <a:pt x="276380" y="328794"/>
                  </a:moveTo>
                  <a:lnTo>
                    <a:pt x="281144" y="343090"/>
                  </a:lnTo>
                  <a:lnTo>
                    <a:pt x="281144" y="347854"/>
                  </a:lnTo>
                  <a:lnTo>
                    <a:pt x="276380" y="352620"/>
                  </a:lnTo>
                  <a:lnTo>
                    <a:pt x="271612" y="352620"/>
                  </a:lnTo>
                  <a:lnTo>
                    <a:pt x="266848" y="343090"/>
                  </a:lnTo>
                  <a:close/>
                  <a:moveTo>
                    <a:pt x="171544" y="328794"/>
                  </a:moveTo>
                  <a:lnTo>
                    <a:pt x="176312" y="333560"/>
                  </a:lnTo>
                  <a:lnTo>
                    <a:pt x="185840" y="338324"/>
                  </a:lnTo>
                  <a:lnTo>
                    <a:pt x="185840" y="343090"/>
                  </a:lnTo>
                  <a:lnTo>
                    <a:pt x="185840" y="347854"/>
                  </a:lnTo>
                  <a:lnTo>
                    <a:pt x="176312" y="343090"/>
                  </a:lnTo>
                  <a:lnTo>
                    <a:pt x="157252" y="338324"/>
                  </a:lnTo>
                  <a:lnTo>
                    <a:pt x="157252" y="333560"/>
                  </a:lnTo>
                  <a:close/>
                  <a:moveTo>
                    <a:pt x="243020" y="300202"/>
                  </a:moveTo>
                  <a:lnTo>
                    <a:pt x="257316" y="304968"/>
                  </a:lnTo>
                  <a:lnTo>
                    <a:pt x="262084" y="309734"/>
                  </a:lnTo>
                  <a:lnTo>
                    <a:pt x="252552" y="314498"/>
                  </a:lnTo>
                  <a:lnTo>
                    <a:pt x="257316" y="319264"/>
                  </a:lnTo>
                  <a:lnTo>
                    <a:pt x="257316" y="324028"/>
                  </a:lnTo>
                  <a:lnTo>
                    <a:pt x="262084" y="328794"/>
                  </a:lnTo>
                  <a:lnTo>
                    <a:pt x="243020" y="343090"/>
                  </a:lnTo>
                  <a:lnTo>
                    <a:pt x="233492" y="338324"/>
                  </a:lnTo>
                  <a:lnTo>
                    <a:pt x="223960" y="324028"/>
                  </a:lnTo>
                  <a:lnTo>
                    <a:pt x="228728" y="314498"/>
                  </a:lnTo>
                  <a:lnTo>
                    <a:pt x="228728" y="309734"/>
                  </a:lnTo>
                  <a:lnTo>
                    <a:pt x="233492" y="309734"/>
                  </a:lnTo>
                  <a:lnTo>
                    <a:pt x="238256" y="304968"/>
                  </a:lnTo>
                  <a:close/>
                  <a:moveTo>
                    <a:pt x="147720" y="285906"/>
                  </a:moveTo>
                  <a:lnTo>
                    <a:pt x="152484" y="295438"/>
                  </a:lnTo>
                  <a:lnTo>
                    <a:pt x="147720" y="309732"/>
                  </a:lnTo>
                  <a:lnTo>
                    <a:pt x="142956" y="309732"/>
                  </a:lnTo>
                  <a:lnTo>
                    <a:pt x="138188" y="324028"/>
                  </a:lnTo>
                  <a:lnTo>
                    <a:pt x="147720" y="333558"/>
                  </a:lnTo>
                  <a:lnTo>
                    <a:pt x="147720" y="338322"/>
                  </a:lnTo>
                  <a:lnTo>
                    <a:pt x="138188" y="328792"/>
                  </a:lnTo>
                  <a:lnTo>
                    <a:pt x="119128" y="309732"/>
                  </a:lnTo>
                  <a:lnTo>
                    <a:pt x="123896" y="304968"/>
                  </a:lnTo>
                  <a:lnTo>
                    <a:pt x="142956" y="290672"/>
                  </a:lnTo>
                  <a:close/>
                  <a:moveTo>
                    <a:pt x="490808" y="281142"/>
                  </a:moveTo>
                  <a:lnTo>
                    <a:pt x="500340" y="285908"/>
                  </a:lnTo>
                  <a:lnTo>
                    <a:pt x="500340" y="290672"/>
                  </a:lnTo>
                  <a:lnTo>
                    <a:pt x="505104" y="300202"/>
                  </a:lnTo>
                  <a:lnTo>
                    <a:pt x="500340" y="304968"/>
                  </a:lnTo>
                  <a:lnTo>
                    <a:pt x="486044" y="295438"/>
                  </a:lnTo>
                  <a:lnTo>
                    <a:pt x="486044" y="290672"/>
                  </a:lnTo>
                  <a:lnTo>
                    <a:pt x="486044" y="285908"/>
                  </a:lnTo>
                  <a:close/>
                  <a:moveTo>
                    <a:pt x="648060" y="271612"/>
                  </a:moveTo>
                  <a:lnTo>
                    <a:pt x="657588" y="271612"/>
                  </a:lnTo>
                  <a:lnTo>
                    <a:pt x="662352" y="271612"/>
                  </a:lnTo>
                  <a:lnTo>
                    <a:pt x="667120" y="271612"/>
                  </a:lnTo>
                  <a:lnTo>
                    <a:pt x="671884" y="271612"/>
                  </a:lnTo>
                  <a:lnTo>
                    <a:pt x="710004" y="319264"/>
                  </a:lnTo>
                  <a:lnTo>
                    <a:pt x="710004" y="324028"/>
                  </a:lnTo>
                  <a:lnTo>
                    <a:pt x="705240" y="328794"/>
                  </a:lnTo>
                  <a:lnTo>
                    <a:pt x="705240" y="347854"/>
                  </a:lnTo>
                  <a:lnTo>
                    <a:pt x="710004" y="352618"/>
                  </a:lnTo>
                  <a:lnTo>
                    <a:pt x="719536" y="357384"/>
                  </a:lnTo>
                  <a:lnTo>
                    <a:pt x="738596" y="371680"/>
                  </a:lnTo>
                  <a:lnTo>
                    <a:pt x="743360" y="395506"/>
                  </a:lnTo>
                  <a:lnTo>
                    <a:pt x="743360" y="400270"/>
                  </a:lnTo>
                  <a:lnTo>
                    <a:pt x="752892" y="409800"/>
                  </a:lnTo>
                  <a:lnTo>
                    <a:pt x="752892" y="428860"/>
                  </a:lnTo>
                  <a:lnTo>
                    <a:pt x="767184" y="457452"/>
                  </a:lnTo>
                  <a:lnTo>
                    <a:pt x="771952" y="466982"/>
                  </a:lnTo>
                  <a:lnTo>
                    <a:pt x="767184" y="476512"/>
                  </a:lnTo>
                  <a:lnTo>
                    <a:pt x="762420" y="471746"/>
                  </a:lnTo>
                  <a:lnTo>
                    <a:pt x="743360" y="443156"/>
                  </a:lnTo>
                  <a:lnTo>
                    <a:pt x="719536" y="428860"/>
                  </a:lnTo>
                  <a:lnTo>
                    <a:pt x="714768" y="424096"/>
                  </a:lnTo>
                  <a:lnTo>
                    <a:pt x="690944" y="405036"/>
                  </a:lnTo>
                  <a:lnTo>
                    <a:pt x="676648" y="371680"/>
                  </a:lnTo>
                  <a:lnTo>
                    <a:pt x="657588" y="319264"/>
                  </a:lnTo>
                  <a:lnTo>
                    <a:pt x="667120" y="304968"/>
                  </a:lnTo>
                  <a:lnTo>
                    <a:pt x="648060" y="281142"/>
                  </a:lnTo>
                  <a:close/>
                  <a:moveTo>
                    <a:pt x="162016" y="214430"/>
                  </a:moveTo>
                  <a:lnTo>
                    <a:pt x="181076" y="223962"/>
                  </a:lnTo>
                  <a:lnTo>
                    <a:pt x="181076" y="247786"/>
                  </a:lnTo>
                  <a:lnTo>
                    <a:pt x="190604" y="252552"/>
                  </a:lnTo>
                  <a:lnTo>
                    <a:pt x="204900" y="257318"/>
                  </a:lnTo>
                  <a:lnTo>
                    <a:pt x="214432" y="271612"/>
                  </a:lnTo>
                  <a:lnTo>
                    <a:pt x="228728" y="300204"/>
                  </a:lnTo>
                  <a:lnTo>
                    <a:pt x="223960" y="309734"/>
                  </a:lnTo>
                  <a:lnTo>
                    <a:pt x="219196" y="309734"/>
                  </a:lnTo>
                  <a:lnTo>
                    <a:pt x="214432" y="319264"/>
                  </a:lnTo>
                  <a:lnTo>
                    <a:pt x="204900" y="304968"/>
                  </a:lnTo>
                  <a:lnTo>
                    <a:pt x="190604" y="300204"/>
                  </a:lnTo>
                  <a:lnTo>
                    <a:pt x="181076" y="290674"/>
                  </a:lnTo>
                  <a:lnTo>
                    <a:pt x="176312" y="271612"/>
                  </a:lnTo>
                  <a:lnTo>
                    <a:pt x="176312" y="262082"/>
                  </a:lnTo>
                  <a:lnTo>
                    <a:pt x="166780" y="262082"/>
                  </a:lnTo>
                  <a:lnTo>
                    <a:pt x="142956" y="262082"/>
                  </a:lnTo>
                  <a:lnTo>
                    <a:pt x="133424" y="271612"/>
                  </a:lnTo>
                  <a:lnTo>
                    <a:pt x="123896" y="271612"/>
                  </a:lnTo>
                  <a:lnTo>
                    <a:pt x="119128" y="262082"/>
                  </a:lnTo>
                  <a:lnTo>
                    <a:pt x="123896" y="252552"/>
                  </a:lnTo>
                  <a:lnTo>
                    <a:pt x="138188" y="247786"/>
                  </a:lnTo>
                  <a:lnTo>
                    <a:pt x="138188" y="238256"/>
                  </a:lnTo>
                  <a:lnTo>
                    <a:pt x="152484" y="219196"/>
                  </a:lnTo>
                  <a:close/>
                  <a:moveTo>
                    <a:pt x="19060" y="214430"/>
                  </a:moveTo>
                  <a:lnTo>
                    <a:pt x="28592" y="238256"/>
                  </a:lnTo>
                  <a:lnTo>
                    <a:pt x="23828" y="247786"/>
                  </a:lnTo>
                  <a:lnTo>
                    <a:pt x="23828" y="252552"/>
                  </a:lnTo>
                  <a:lnTo>
                    <a:pt x="14296" y="233492"/>
                  </a:lnTo>
                  <a:lnTo>
                    <a:pt x="14296" y="223962"/>
                  </a:lnTo>
                  <a:close/>
                  <a:moveTo>
                    <a:pt x="90540" y="200134"/>
                  </a:moveTo>
                  <a:lnTo>
                    <a:pt x="104832" y="200134"/>
                  </a:lnTo>
                  <a:lnTo>
                    <a:pt x="109600" y="200134"/>
                  </a:lnTo>
                  <a:lnTo>
                    <a:pt x="114364" y="209666"/>
                  </a:lnTo>
                  <a:lnTo>
                    <a:pt x="119128" y="223960"/>
                  </a:lnTo>
                  <a:lnTo>
                    <a:pt x="119128" y="233490"/>
                  </a:lnTo>
                  <a:lnTo>
                    <a:pt x="114364" y="238256"/>
                  </a:lnTo>
                  <a:lnTo>
                    <a:pt x="109600" y="238256"/>
                  </a:lnTo>
                  <a:lnTo>
                    <a:pt x="95304" y="238256"/>
                  </a:lnTo>
                  <a:lnTo>
                    <a:pt x="81008" y="223960"/>
                  </a:lnTo>
                  <a:lnTo>
                    <a:pt x="81008" y="209666"/>
                  </a:lnTo>
                  <a:close/>
                  <a:moveTo>
                    <a:pt x="19060" y="152484"/>
                  </a:moveTo>
                  <a:lnTo>
                    <a:pt x="33356" y="162014"/>
                  </a:lnTo>
                  <a:lnTo>
                    <a:pt x="42888" y="171544"/>
                  </a:lnTo>
                  <a:lnTo>
                    <a:pt x="57180" y="176310"/>
                  </a:lnTo>
                  <a:lnTo>
                    <a:pt x="52416" y="185840"/>
                  </a:lnTo>
                  <a:lnTo>
                    <a:pt x="42888" y="200136"/>
                  </a:lnTo>
                  <a:lnTo>
                    <a:pt x="38120" y="209666"/>
                  </a:lnTo>
                  <a:lnTo>
                    <a:pt x="33356" y="209666"/>
                  </a:lnTo>
                  <a:lnTo>
                    <a:pt x="28592" y="204900"/>
                  </a:lnTo>
                  <a:lnTo>
                    <a:pt x="23828" y="200136"/>
                  </a:lnTo>
                  <a:lnTo>
                    <a:pt x="23828" y="190606"/>
                  </a:lnTo>
                  <a:lnTo>
                    <a:pt x="9532" y="176310"/>
                  </a:lnTo>
                  <a:lnTo>
                    <a:pt x="9532" y="162014"/>
                  </a:lnTo>
                  <a:close/>
                  <a:moveTo>
                    <a:pt x="314500" y="147718"/>
                  </a:moveTo>
                  <a:lnTo>
                    <a:pt x="357384" y="157250"/>
                  </a:lnTo>
                  <a:lnTo>
                    <a:pt x="376444" y="176310"/>
                  </a:lnTo>
                  <a:lnTo>
                    <a:pt x="395508" y="185840"/>
                  </a:lnTo>
                  <a:lnTo>
                    <a:pt x="400272" y="195370"/>
                  </a:lnTo>
                  <a:lnTo>
                    <a:pt x="414568" y="204900"/>
                  </a:lnTo>
                  <a:lnTo>
                    <a:pt x="428864" y="204900"/>
                  </a:lnTo>
                  <a:lnTo>
                    <a:pt x="443156" y="214430"/>
                  </a:lnTo>
                  <a:lnTo>
                    <a:pt x="457452" y="219196"/>
                  </a:lnTo>
                  <a:lnTo>
                    <a:pt x="466984" y="223960"/>
                  </a:lnTo>
                  <a:lnTo>
                    <a:pt x="528928" y="271612"/>
                  </a:lnTo>
                  <a:lnTo>
                    <a:pt x="524164" y="285908"/>
                  </a:lnTo>
                  <a:lnTo>
                    <a:pt x="533696" y="295438"/>
                  </a:lnTo>
                  <a:lnTo>
                    <a:pt x="538460" y="304968"/>
                  </a:lnTo>
                  <a:lnTo>
                    <a:pt x="538460" y="309734"/>
                  </a:lnTo>
                  <a:lnTo>
                    <a:pt x="514636" y="295438"/>
                  </a:lnTo>
                  <a:lnTo>
                    <a:pt x="500340" y="281142"/>
                  </a:lnTo>
                  <a:lnTo>
                    <a:pt x="452688" y="262082"/>
                  </a:lnTo>
                  <a:lnTo>
                    <a:pt x="443156" y="252552"/>
                  </a:lnTo>
                  <a:lnTo>
                    <a:pt x="438392" y="252552"/>
                  </a:lnTo>
                  <a:lnTo>
                    <a:pt x="414568" y="238256"/>
                  </a:lnTo>
                  <a:lnTo>
                    <a:pt x="390740" y="228726"/>
                  </a:lnTo>
                  <a:lnTo>
                    <a:pt x="376444" y="214430"/>
                  </a:lnTo>
                  <a:lnTo>
                    <a:pt x="371680" y="209666"/>
                  </a:lnTo>
                  <a:lnTo>
                    <a:pt x="366916" y="204900"/>
                  </a:lnTo>
                  <a:lnTo>
                    <a:pt x="352620" y="190606"/>
                  </a:lnTo>
                  <a:lnTo>
                    <a:pt x="338324" y="181074"/>
                  </a:lnTo>
                  <a:lnTo>
                    <a:pt x="333560" y="166780"/>
                  </a:lnTo>
                  <a:lnTo>
                    <a:pt x="319264" y="152484"/>
                  </a:lnTo>
                  <a:close/>
                  <a:moveTo>
                    <a:pt x="4764" y="0"/>
                  </a:moveTo>
                  <a:lnTo>
                    <a:pt x="23824" y="4766"/>
                  </a:lnTo>
                  <a:lnTo>
                    <a:pt x="52416" y="28590"/>
                  </a:lnTo>
                  <a:lnTo>
                    <a:pt x="90536" y="47652"/>
                  </a:lnTo>
                  <a:lnTo>
                    <a:pt x="104832" y="57182"/>
                  </a:lnTo>
                  <a:lnTo>
                    <a:pt x="109596" y="81006"/>
                  </a:lnTo>
                  <a:lnTo>
                    <a:pt x="119128" y="90538"/>
                  </a:lnTo>
                  <a:lnTo>
                    <a:pt x="138188" y="109598"/>
                  </a:lnTo>
                  <a:lnTo>
                    <a:pt x="152484" y="109598"/>
                  </a:lnTo>
                  <a:lnTo>
                    <a:pt x="157248" y="114362"/>
                  </a:lnTo>
                  <a:lnTo>
                    <a:pt x="162012" y="114362"/>
                  </a:lnTo>
                  <a:lnTo>
                    <a:pt x="166780" y="119128"/>
                  </a:lnTo>
                  <a:lnTo>
                    <a:pt x="157248" y="128658"/>
                  </a:lnTo>
                  <a:lnTo>
                    <a:pt x="138188" y="123892"/>
                  </a:lnTo>
                  <a:lnTo>
                    <a:pt x="138188" y="119128"/>
                  </a:lnTo>
                  <a:lnTo>
                    <a:pt x="123892" y="119128"/>
                  </a:lnTo>
                  <a:lnTo>
                    <a:pt x="104832" y="114362"/>
                  </a:lnTo>
                  <a:lnTo>
                    <a:pt x="71476" y="90538"/>
                  </a:lnTo>
                  <a:lnTo>
                    <a:pt x="38120" y="47652"/>
                  </a:lnTo>
                  <a:lnTo>
                    <a:pt x="9532" y="23826"/>
                  </a:lnTo>
                  <a:lnTo>
                    <a:pt x="0" y="19060"/>
                  </a:lnTo>
                  <a:lnTo>
                    <a:pt x="0" y="476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9" name="Freeform 317">
              <a:extLst>
                <a:ext uri="{FF2B5EF4-FFF2-40B4-BE49-F238E27FC236}">
                  <a16:creationId xmlns:a16="http://schemas.microsoft.com/office/drawing/2014/main" id="{3E50276E-C971-463D-BDD0-8470FE7D49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62351" y="5155793"/>
              <a:ext cx="76317" cy="78629"/>
            </a:xfrm>
            <a:custGeom>
              <a:avLst/>
              <a:gdLst>
                <a:gd name="connsiteX0" fmla="*/ 104832 w 471748"/>
                <a:gd name="connsiteY0" fmla="*/ 371678 h 486042"/>
                <a:gd name="connsiteX1" fmla="*/ 119128 w 471748"/>
                <a:gd name="connsiteY1" fmla="*/ 376444 h 486042"/>
                <a:gd name="connsiteX2" fmla="*/ 123892 w 471748"/>
                <a:gd name="connsiteY2" fmla="*/ 381208 h 486042"/>
                <a:gd name="connsiteX3" fmla="*/ 123892 w 471748"/>
                <a:gd name="connsiteY3" fmla="*/ 390738 h 486042"/>
                <a:gd name="connsiteX4" fmla="*/ 119128 w 471748"/>
                <a:gd name="connsiteY4" fmla="*/ 405034 h 486042"/>
                <a:gd name="connsiteX5" fmla="*/ 119128 w 471748"/>
                <a:gd name="connsiteY5" fmla="*/ 409800 h 486042"/>
                <a:gd name="connsiteX6" fmla="*/ 109598 w 471748"/>
                <a:gd name="connsiteY6" fmla="*/ 400268 h 486042"/>
                <a:gd name="connsiteX7" fmla="*/ 57180 w 471748"/>
                <a:gd name="connsiteY7" fmla="*/ 381208 h 486042"/>
                <a:gd name="connsiteX8" fmla="*/ 71476 w 471748"/>
                <a:gd name="connsiteY8" fmla="*/ 376444 h 486042"/>
                <a:gd name="connsiteX9" fmla="*/ 219196 w 471748"/>
                <a:gd name="connsiteY9" fmla="*/ 0 h 486042"/>
                <a:gd name="connsiteX10" fmla="*/ 247786 w 471748"/>
                <a:gd name="connsiteY10" fmla="*/ 0 h 486042"/>
                <a:gd name="connsiteX11" fmla="*/ 285908 w 471748"/>
                <a:gd name="connsiteY11" fmla="*/ 0 h 486042"/>
                <a:gd name="connsiteX12" fmla="*/ 319264 w 471748"/>
                <a:gd name="connsiteY12" fmla="*/ 0 h 486042"/>
                <a:gd name="connsiteX13" fmla="*/ 328794 w 471748"/>
                <a:gd name="connsiteY13" fmla="*/ 0 h 486042"/>
                <a:gd name="connsiteX14" fmla="*/ 333560 w 471748"/>
                <a:gd name="connsiteY14" fmla="*/ 9530 h 486042"/>
                <a:gd name="connsiteX15" fmla="*/ 343090 w 471748"/>
                <a:gd name="connsiteY15" fmla="*/ 23824 h 486042"/>
                <a:gd name="connsiteX16" fmla="*/ 352620 w 471748"/>
                <a:gd name="connsiteY16" fmla="*/ 33354 h 486042"/>
                <a:gd name="connsiteX17" fmla="*/ 366916 w 471748"/>
                <a:gd name="connsiteY17" fmla="*/ 52416 h 486042"/>
                <a:gd name="connsiteX18" fmla="*/ 381210 w 471748"/>
                <a:gd name="connsiteY18" fmla="*/ 76242 h 486042"/>
                <a:gd name="connsiteX19" fmla="*/ 395506 w 471748"/>
                <a:gd name="connsiteY19" fmla="*/ 95302 h 486042"/>
                <a:gd name="connsiteX20" fmla="*/ 409802 w 471748"/>
                <a:gd name="connsiteY20" fmla="*/ 109596 h 486042"/>
                <a:gd name="connsiteX21" fmla="*/ 409802 w 471748"/>
                <a:gd name="connsiteY21" fmla="*/ 114362 h 486042"/>
                <a:gd name="connsiteX22" fmla="*/ 405036 w 471748"/>
                <a:gd name="connsiteY22" fmla="*/ 128658 h 486042"/>
                <a:gd name="connsiteX23" fmla="*/ 400272 w 471748"/>
                <a:gd name="connsiteY23" fmla="*/ 138188 h 486042"/>
                <a:gd name="connsiteX24" fmla="*/ 400272 w 471748"/>
                <a:gd name="connsiteY24" fmla="*/ 142952 h 486042"/>
                <a:gd name="connsiteX25" fmla="*/ 419332 w 471748"/>
                <a:gd name="connsiteY25" fmla="*/ 147718 h 486042"/>
                <a:gd name="connsiteX26" fmla="*/ 419332 w 471748"/>
                <a:gd name="connsiteY26" fmla="*/ 162014 h 486042"/>
                <a:gd name="connsiteX27" fmla="*/ 419332 w 471748"/>
                <a:gd name="connsiteY27" fmla="*/ 176308 h 486042"/>
                <a:gd name="connsiteX28" fmla="*/ 428862 w 471748"/>
                <a:gd name="connsiteY28" fmla="*/ 195370 h 486042"/>
                <a:gd name="connsiteX29" fmla="*/ 438392 w 471748"/>
                <a:gd name="connsiteY29" fmla="*/ 204900 h 486042"/>
                <a:gd name="connsiteX30" fmla="*/ 438392 w 471748"/>
                <a:gd name="connsiteY30" fmla="*/ 209664 h 486042"/>
                <a:gd name="connsiteX31" fmla="*/ 419332 w 471748"/>
                <a:gd name="connsiteY31" fmla="*/ 233490 h 486042"/>
                <a:gd name="connsiteX32" fmla="*/ 409802 w 471748"/>
                <a:gd name="connsiteY32" fmla="*/ 252550 h 486042"/>
                <a:gd name="connsiteX33" fmla="*/ 405036 w 471748"/>
                <a:gd name="connsiteY33" fmla="*/ 257316 h 486042"/>
                <a:gd name="connsiteX34" fmla="*/ 405036 w 471748"/>
                <a:gd name="connsiteY34" fmla="*/ 262082 h 486042"/>
                <a:gd name="connsiteX35" fmla="*/ 409802 w 471748"/>
                <a:gd name="connsiteY35" fmla="*/ 266846 h 486042"/>
                <a:gd name="connsiteX36" fmla="*/ 414566 w 471748"/>
                <a:gd name="connsiteY36" fmla="*/ 262082 h 486042"/>
                <a:gd name="connsiteX37" fmla="*/ 419332 w 471748"/>
                <a:gd name="connsiteY37" fmla="*/ 266846 h 486042"/>
                <a:gd name="connsiteX38" fmla="*/ 428862 w 471748"/>
                <a:gd name="connsiteY38" fmla="*/ 266846 h 486042"/>
                <a:gd name="connsiteX39" fmla="*/ 438392 w 471748"/>
                <a:gd name="connsiteY39" fmla="*/ 257316 h 486042"/>
                <a:gd name="connsiteX40" fmla="*/ 452688 w 471748"/>
                <a:gd name="connsiteY40" fmla="*/ 238256 h 486042"/>
                <a:gd name="connsiteX41" fmla="*/ 457452 w 471748"/>
                <a:gd name="connsiteY41" fmla="*/ 238256 h 486042"/>
                <a:gd name="connsiteX42" fmla="*/ 471748 w 471748"/>
                <a:gd name="connsiteY42" fmla="*/ 238256 h 486042"/>
                <a:gd name="connsiteX43" fmla="*/ 471748 w 471748"/>
                <a:gd name="connsiteY43" fmla="*/ 243020 h 486042"/>
                <a:gd name="connsiteX44" fmla="*/ 466982 w 471748"/>
                <a:gd name="connsiteY44" fmla="*/ 266846 h 486042"/>
                <a:gd name="connsiteX45" fmla="*/ 457452 w 471748"/>
                <a:gd name="connsiteY45" fmla="*/ 285906 h 486042"/>
                <a:gd name="connsiteX46" fmla="*/ 452688 w 471748"/>
                <a:gd name="connsiteY46" fmla="*/ 290672 h 486042"/>
                <a:gd name="connsiteX47" fmla="*/ 433626 w 471748"/>
                <a:gd name="connsiteY47" fmla="*/ 295436 h 486042"/>
                <a:gd name="connsiteX48" fmla="*/ 428862 w 471748"/>
                <a:gd name="connsiteY48" fmla="*/ 304968 h 486042"/>
                <a:gd name="connsiteX49" fmla="*/ 419332 w 471748"/>
                <a:gd name="connsiteY49" fmla="*/ 333558 h 486042"/>
                <a:gd name="connsiteX50" fmla="*/ 414566 w 471748"/>
                <a:gd name="connsiteY50" fmla="*/ 352618 h 486042"/>
                <a:gd name="connsiteX51" fmla="*/ 409802 w 471748"/>
                <a:gd name="connsiteY51" fmla="*/ 357384 h 486042"/>
                <a:gd name="connsiteX52" fmla="*/ 376446 w 471748"/>
                <a:gd name="connsiteY52" fmla="*/ 385974 h 486042"/>
                <a:gd name="connsiteX53" fmla="*/ 357384 w 471748"/>
                <a:gd name="connsiteY53" fmla="*/ 400270 h 486042"/>
                <a:gd name="connsiteX54" fmla="*/ 347854 w 471748"/>
                <a:gd name="connsiteY54" fmla="*/ 409800 h 486042"/>
                <a:gd name="connsiteX55" fmla="*/ 333560 w 471748"/>
                <a:gd name="connsiteY55" fmla="*/ 424096 h 486042"/>
                <a:gd name="connsiteX56" fmla="*/ 319264 w 471748"/>
                <a:gd name="connsiteY56" fmla="*/ 438390 h 486042"/>
                <a:gd name="connsiteX57" fmla="*/ 300204 w 471748"/>
                <a:gd name="connsiteY57" fmla="*/ 457452 h 486042"/>
                <a:gd name="connsiteX58" fmla="*/ 290672 w 471748"/>
                <a:gd name="connsiteY58" fmla="*/ 481276 h 486042"/>
                <a:gd name="connsiteX59" fmla="*/ 281142 w 471748"/>
                <a:gd name="connsiteY59" fmla="*/ 486042 h 486042"/>
                <a:gd name="connsiteX60" fmla="*/ 276378 w 471748"/>
                <a:gd name="connsiteY60" fmla="*/ 481276 h 486042"/>
                <a:gd name="connsiteX61" fmla="*/ 243022 w 471748"/>
                <a:gd name="connsiteY61" fmla="*/ 457452 h 486042"/>
                <a:gd name="connsiteX62" fmla="*/ 214430 w 471748"/>
                <a:gd name="connsiteY62" fmla="*/ 443156 h 486042"/>
                <a:gd name="connsiteX63" fmla="*/ 147720 w 471748"/>
                <a:gd name="connsiteY63" fmla="*/ 419330 h 486042"/>
                <a:gd name="connsiteX64" fmla="*/ 128658 w 471748"/>
                <a:gd name="connsiteY64" fmla="*/ 414566 h 486042"/>
                <a:gd name="connsiteX65" fmla="*/ 128658 w 471748"/>
                <a:gd name="connsiteY65" fmla="*/ 405034 h 486042"/>
                <a:gd name="connsiteX66" fmla="*/ 138188 w 471748"/>
                <a:gd name="connsiteY66" fmla="*/ 385974 h 486042"/>
                <a:gd name="connsiteX67" fmla="*/ 123894 w 471748"/>
                <a:gd name="connsiteY67" fmla="*/ 366914 h 486042"/>
                <a:gd name="connsiteX68" fmla="*/ 128658 w 471748"/>
                <a:gd name="connsiteY68" fmla="*/ 352618 h 486042"/>
                <a:gd name="connsiteX69" fmla="*/ 123894 w 471748"/>
                <a:gd name="connsiteY69" fmla="*/ 352618 h 486042"/>
                <a:gd name="connsiteX70" fmla="*/ 114364 w 471748"/>
                <a:gd name="connsiteY70" fmla="*/ 362148 h 486042"/>
                <a:gd name="connsiteX71" fmla="*/ 95302 w 471748"/>
                <a:gd name="connsiteY71" fmla="*/ 362148 h 486042"/>
                <a:gd name="connsiteX72" fmla="*/ 81008 w 471748"/>
                <a:gd name="connsiteY72" fmla="*/ 347854 h 486042"/>
                <a:gd name="connsiteX73" fmla="*/ 71476 w 471748"/>
                <a:gd name="connsiteY73" fmla="*/ 343088 h 486042"/>
                <a:gd name="connsiteX74" fmla="*/ 66712 w 471748"/>
                <a:gd name="connsiteY74" fmla="*/ 338324 h 486042"/>
                <a:gd name="connsiteX75" fmla="*/ 57182 w 471748"/>
                <a:gd name="connsiteY75" fmla="*/ 304968 h 486042"/>
                <a:gd name="connsiteX76" fmla="*/ 52416 w 471748"/>
                <a:gd name="connsiteY76" fmla="*/ 290672 h 486042"/>
                <a:gd name="connsiteX77" fmla="*/ 42886 w 471748"/>
                <a:gd name="connsiteY77" fmla="*/ 285906 h 486042"/>
                <a:gd name="connsiteX78" fmla="*/ 23826 w 471748"/>
                <a:gd name="connsiteY78" fmla="*/ 281142 h 486042"/>
                <a:gd name="connsiteX79" fmla="*/ 14296 w 471748"/>
                <a:gd name="connsiteY79" fmla="*/ 262082 h 486042"/>
                <a:gd name="connsiteX80" fmla="*/ 4766 w 471748"/>
                <a:gd name="connsiteY80" fmla="*/ 247786 h 486042"/>
                <a:gd name="connsiteX81" fmla="*/ 4766 w 471748"/>
                <a:gd name="connsiteY81" fmla="*/ 238256 h 486042"/>
                <a:gd name="connsiteX82" fmla="*/ 14296 w 471748"/>
                <a:gd name="connsiteY82" fmla="*/ 238256 h 486042"/>
                <a:gd name="connsiteX83" fmla="*/ 23826 w 471748"/>
                <a:gd name="connsiteY83" fmla="*/ 247786 h 486042"/>
                <a:gd name="connsiteX84" fmla="*/ 33356 w 471748"/>
                <a:gd name="connsiteY84" fmla="*/ 247786 h 486042"/>
                <a:gd name="connsiteX85" fmla="*/ 47652 w 471748"/>
                <a:gd name="connsiteY85" fmla="*/ 233490 h 486042"/>
                <a:gd name="connsiteX86" fmla="*/ 61946 w 471748"/>
                <a:gd name="connsiteY86" fmla="*/ 223960 h 486042"/>
                <a:gd name="connsiteX87" fmla="*/ 61946 w 471748"/>
                <a:gd name="connsiteY87" fmla="*/ 214430 h 486042"/>
                <a:gd name="connsiteX88" fmla="*/ 61946 w 471748"/>
                <a:gd name="connsiteY88" fmla="*/ 209664 h 486042"/>
                <a:gd name="connsiteX89" fmla="*/ 57182 w 471748"/>
                <a:gd name="connsiteY89" fmla="*/ 219194 h 486042"/>
                <a:gd name="connsiteX90" fmla="*/ 33356 w 471748"/>
                <a:gd name="connsiteY90" fmla="*/ 219194 h 486042"/>
                <a:gd name="connsiteX91" fmla="*/ 28590 w 471748"/>
                <a:gd name="connsiteY91" fmla="*/ 223960 h 486042"/>
                <a:gd name="connsiteX92" fmla="*/ 19060 w 471748"/>
                <a:gd name="connsiteY92" fmla="*/ 223960 h 486042"/>
                <a:gd name="connsiteX93" fmla="*/ 9530 w 471748"/>
                <a:gd name="connsiteY93" fmla="*/ 204900 h 486042"/>
                <a:gd name="connsiteX94" fmla="*/ 9530 w 471748"/>
                <a:gd name="connsiteY94" fmla="*/ 195370 h 486042"/>
                <a:gd name="connsiteX95" fmla="*/ 14296 w 471748"/>
                <a:gd name="connsiteY95" fmla="*/ 181074 h 486042"/>
                <a:gd name="connsiteX96" fmla="*/ 38122 w 471748"/>
                <a:gd name="connsiteY96" fmla="*/ 181074 h 486042"/>
                <a:gd name="connsiteX97" fmla="*/ 38122 w 471748"/>
                <a:gd name="connsiteY97" fmla="*/ 176308 h 486042"/>
                <a:gd name="connsiteX98" fmla="*/ 23826 w 471748"/>
                <a:gd name="connsiteY98" fmla="*/ 171544 h 486042"/>
                <a:gd name="connsiteX99" fmla="*/ 4766 w 471748"/>
                <a:gd name="connsiteY99" fmla="*/ 157248 h 486042"/>
                <a:gd name="connsiteX100" fmla="*/ 0 w 471748"/>
                <a:gd name="connsiteY100" fmla="*/ 147718 h 486042"/>
                <a:gd name="connsiteX101" fmla="*/ 9530 w 471748"/>
                <a:gd name="connsiteY101" fmla="*/ 147718 h 486042"/>
                <a:gd name="connsiteX102" fmla="*/ 19060 w 471748"/>
                <a:gd name="connsiteY102" fmla="*/ 147718 h 486042"/>
                <a:gd name="connsiteX103" fmla="*/ 28590 w 471748"/>
                <a:gd name="connsiteY103" fmla="*/ 147718 h 486042"/>
                <a:gd name="connsiteX104" fmla="*/ 33356 w 471748"/>
                <a:gd name="connsiteY104" fmla="*/ 147718 h 486042"/>
                <a:gd name="connsiteX105" fmla="*/ 42886 w 471748"/>
                <a:gd name="connsiteY105" fmla="*/ 142952 h 486042"/>
                <a:gd name="connsiteX106" fmla="*/ 47652 w 471748"/>
                <a:gd name="connsiteY106" fmla="*/ 133422 h 486042"/>
                <a:gd name="connsiteX107" fmla="*/ 52416 w 471748"/>
                <a:gd name="connsiteY107" fmla="*/ 114362 h 486042"/>
                <a:gd name="connsiteX108" fmla="*/ 76242 w 471748"/>
                <a:gd name="connsiteY108" fmla="*/ 109596 h 486042"/>
                <a:gd name="connsiteX109" fmla="*/ 85772 w 471748"/>
                <a:gd name="connsiteY109" fmla="*/ 100066 h 486042"/>
                <a:gd name="connsiteX110" fmla="*/ 95302 w 471748"/>
                <a:gd name="connsiteY110" fmla="*/ 81006 h 486042"/>
                <a:gd name="connsiteX111" fmla="*/ 100068 w 471748"/>
                <a:gd name="connsiteY111" fmla="*/ 66710 h 486042"/>
                <a:gd name="connsiteX112" fmla="*/ 104832 w 471748"/>
                <a:gd name="connsiteY112" fmla="*/ 61946 h 486042"/>
                <a:gd name="connsiteX113" fmla="*/ 109598 w 471748"/>
                <a:gd name="connsiteY113" fmla="*/ 57180 h 486042"/>
                <a:gd name="connsiteX114" fmla="*/ 109598 w 471748"/>
                <a:gd name="connsiteY114" fmla="*/ 52416 h 486042"/>
                <a:gd name="connsiteX115" fmla="*/ 114364 w 471748"/>
                <a:gd name="connsiteY115" fmla="*/ 47650 h 486042"/>
                <a:gd name="connsiteX116" fmla="*/ 123894 w 471748"/>
                <a:gd name="connsiteY116" fmla="*/ 33354 h 486042"/>
                <a:gd name="connsiteX117" fmla="*/ 123894 w 471748"/>
                <a:gd name="connsiteY117" fmla="*/ 19060 h 486042"/>
                <a:gd name="connsiteX118" fmla="*/ 138188 w 471748"/>
                <a:gd name="connsiteY118" fmla="*/ 14294 h 486042"/>
                <a:gd name="connsiteX119" fmla="*/ 162014 w 471748"/>
                <a:gd name="connsiteY119" fmla="*/ 9530 h 486042"/>
                <a:gd name="connsiteX120" fmla="*/ 181074 w 471748"/>
                <a:gd name="connsiteY120" fmla="*/ 19060 h 486042"/>
                <a:gd name="connsiteX121" fmla="*/ 214430 w 471748"/>
                <a:gd name="connsiteY121" fmla="*/ 9530 h 486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471748" h="486042">
                  <a:moveTo>
                    <a:pt x="104832" y="371678"/>
                  </a:moveTo>
                  <a:lnTo>
                    <a:pt x="119128" y="376444"/>
                  </a:lnTo>
                  <a:lnTo>
                    <a:pt x="123892" y="381208"/>
                  </a:lnTo>
                  <a:lnTo>
                    <a:pt x="123892" y="390738"/>
                  </a:lnTo>
                  <a:lnTo>
                    <a:pt x="119128" y="405034"/>
                  </a:lnTo>
                  <a:lnTo>
                    <a:pt x="119128" y="409800"/>
                  </a:lnTo>
                  <a:lnTo>
                    <a:pt x="109598" y="400268"/>
                  </a:lnTo>
                  <a:lnTo>
                    <a:pt x="57180" y="381208"/>
                  </a:lnTo>
                  <a:lnTo>
                    <a:pt x="71476" y="376444"/>
                  </a:lnTo>
                  <a:close/>
                  <a:moveTo>
                    <a:pt x="219196" y="0"/>
                  </a:moveTo>
                  <a:lnTo>
                    <a:pt x="247786" y="0"/>
                  </a:lnTo>
                  <a:lnTo>
                    <a:pt x="285908" y="0"/>
                  </a:lnTo>
                  <a:lnTo>
                    <a:pt x="319264" y="0"/>
                  </a:lnTo>
                  <a:lnTo>
                    <a:pt x="328794" y="0"/>
                  </a:lnTo>
                  <a:lnTo>
                    <a:pt x="333560" y="9530"/>
                  </a:lnTo>
                  <a:lnTo>
                    <a:pt x="343090" y="23824"/>
                  </a:lnTo>
                  <a:lnTo>
                    <a:pt x="352620" y="33354"/>
                  </a:lnTo>
                  <a:lnTo>
                    <a:pt x="366916" y="52416"/>
                  </a:lnTo>
                  <a:lnTo>
                    <a:pt x="381210" y="76242"/>
                  </a:lnTo>
                  <a:lnTo>
                    <a:pt x="395506" y="95302"/>
                  </a:lnTo>
                  <a:lnTo>
                    <a:pt x="409802" y="109596"/>
                  </a:lnTo>
                  <a:lnTo>
                    <a:pt x="409802" y="114362"/>
                  </a:lnTo>
                  <a:lnTo>
                    <a:pt x="405036" y="128658"/>
                  </a:lnTo>
                  <a:lnTo>
                    <a:pt x="400272" y="138188"/>
                  </a:lnTo>
                  <a:lnTo>
                    <a:pt x="400272" y="142952"/>
                  </a:lnTo>
                  <a:lnTo>
                    <a:pt x="419332" y="147718"/>
                  </a:lnTo>
                  <a:lnTo>
                    <a:pt x="419332" y="162014"/>
                  </a:lnTo>
                  <a:lnTo>
                    <a:pt x="419332" y="176308"/>
                  </a:lnTo>
                  <a:lnTo>
                    <a:pt x="428862" y="195370"/>
                  </a:lnTo>
                  <a:lnTo>
                    <a:pt x="438392" y="204900"/>
                  </a:lnTo>
                  <a:lnTo>
                    <a:pt x="438392" y="209664"/>
                  </a:lnTo>
                  <a:lnTo>
                    <a:pt x="419332" y="233490"/>
                  </a:lnTo>
                  <a:lnTo>
                    <a:pt x="409802" y="252550"/>
                  </a:lnTo>
                  <a:lnTo>
                    <a:pt x="405036" y="257316"/>
                  </a:lnTo>
                  <a:lnTo>
                    <a:pt x="405036" y="262082"/>
                  </a:lnTo>
                  <a:lnTo>
                    <a:pt x="409802" y="266846"/>
                  </a:lnTo>
                  <a:lnTo>
                    <a:pt x="414566" y="262082"/>
                  </a:lnTo>
                  <a:lnTo>
                    <a:pt x="419332" y="266846"/>
                  </a:lnTo>
                  <a:lnTo>
                    <a:pt x="428862" y="266846"/>
                  </a:lnTo>
                  <a:lnTo>
                    <a:pt x="438392" y="257316"/>
                  </a:lnTo>
                  <a:lnTo>
                    <a:pt x="452688" y="238256"/>
                  </a:lnTo>
                  <a:lnTo>
                    <a:pt x="457452" y="238256"/>
                  </a:lnTo>
                  <a:lnTo>
                    <a:pt x="471748" y="238256"/>
                  </a:lnTo>
                  <a:lnTo>
                    <a:pt x="471748" y="243020"/>
                  </a:lnTo>
                  <a:lnTo>
                    <a:pt x="466982" y="266846"/>
                  </a:lnTo>
                  <a:lnTo>
                    <a:pt x="457452" y="285906"/>
                  </a:lnTo>
                  <a:lnTo>
                    <a:pt x="452688" y="290672"/>
                  </a:lnTo>
                  <a:lnTo>
                    <a:pt x="433626" y="295436"/>
                  </a:lnTo>
                  <a:lnTo>
                    <a:pt x="428862" y="304968"/>
                  </a:lnTo>
                  <a:lnTo>
                    <a:pt x="419332" y="333558"/>
                  </a:lnTo>
                  <a:lnTo>
                    <a:pt x="414566" y="352618"/>
                  </a:lnTo>
                  <a:lnTo>
                    <a:pt x="409802" y="357384"/>
                  </a:lnTo>
                  <a:lnTo>
                    <a:pt x="376446" y="385974"/>
                  </a:lnTo>
                  <a:lnTo>
                    <a:pt x="357384" y="400270"/>
                  </a:lnTo>
                  <a:lnTo>
                    <a:pt x="347854" y="409800"/>
                  </a:lnTo>
                  <a:lnTo>
                    <a:pt x="333560" y="424096"/>
                  </a:lnTo>
                  <a:lnTo>
                    <a:pt x="319264" y="438390"/>
                  </a:lnTo>
                  <a:lnTo>
                    <a:pt x="300204" y="457452"/>
                  </a:lnTo>
                  <a:lnTo>
                    <a:pt x="290672" y="481276"/>
                  </a:lnTo>
                  <a:lnTo>
                    <a:pt x="281142" y="486042"/>
                  </a:lnTo>
                  <a:lnTo>
                    <a:pt x="276378" y="481276"/>
                  </a:lnTo>
                  <a:lnTo>
                    <a:pt x="243022" y="457452"/>
                  </a:lnTo>
                  <a:lnTo>
                    <a:pt x="214430" y="443156"/>
                  </a:lnTo>
                  <a:lnTo>
                    <a:pt x="147720" y="419330"/>
                  </a:lnTo>
                  <a:lnTo>
                    <a:pt x="128658" y="414566"/>
                  </a:lnTo>
                  <a:lnTo>
                    <a:pt x="128658" y="405034"/>
                  </a:lnTo>
                  <a:lnTo>
                    <a:pt x="138188" y="385974"/>
                  </a:lnTo>
                  <a:lnTo>
                    <a:pt x="123894" y="366914"/>
                  </a:lnTo>
                  <a:lnTo>
                    <a:pt x="128658" y="352618"/>
                  </a:lnTo>
                  <a:lnTo>
                    <a:pt x="123894" y="352618"/>
                  </a:lnTo>
                  <a:lnTo>
                    <a:pt x="114364" y="362148"/>
                  </a:lnTo>
                  <a:lnTo>
                    <a:pt x="95302" y="362148"/>
                  </a:lnTo>
                  <a:lnTo>
                    <a:pt x="81008" y="347854"/>
                  </a:lnTo>
                  <a:lnTo>
                    <a:pt x="71476" y="343088"/>
                  </a:lnTo>
                  <a:lnTo>
                    <a:pt x="66712" y="338324"/>
                  </a:lnTo>
                  <a:lnTo>
                    <a:pt x="57182" y="304968"/>
                  </a:lnTo>
                  <a:lnTo>
                    <a:pt x="52416" y="290672"/>
                  </a:lnTo>
                  <a:lnTo>
                    <a:pt x="42886" y="285906"/>
                  </a:lnTo>
                  <a:lnTo>
                    <a:pt x="23826" y="281142"/>
                  </a:lnTo>
                  <a:lnTo>
                    <a:pt x="14296" y="262082"/>
                  </a:lnTo>
                  <a:lnTo>
                    <a:pt x="4766" y="247786"/>
                  </a:lnTo>
                  <a:lnTo>
                    <a:pt x="4766" y="238256"/>
                  </a:lnTo>
                  <a:lnTo>
                    <a:pt x="14296" y="238256"/>
                  </a:lnTo>
                  <a:lnTo>
                    <a:pt x="23826" y="247786"/>
                  </a:lnTo>
                  <a:lnTo>
                    <a:pt x="33356" y="247786"/>
                  </a:lnTo>
                  <a:lnTo>
                    <a:pt x="47652" y="233490"/>
                  </a:lnTo>
                  <a:lnTo>
                    <a:pt x="61946" y="223960"/>
                  </a:lnTo>
                  <a:lnTo>
                    <a:pt x="61946" y="214430"/>
                  </a:lnTo>
                  <a:lnTo>
                    <a:pt x="61946" y="209664"/>
                  </a:lnTo>
                  <a:lnTo>
                    <a:pt x="57182" y="219194"/>
                  </a:lnTo>
                  <a:lnTo>
                    <a:pt x="33356" y="219194"/>
                  </a:lnTo>
                  <a:lnTo>
                    <a:pt x="28590" y="223960"/>
                  </a:lnTo>
                  <a:lnTo>
                    <a:pt x="19060" y="223960"/>
                  </a:lnTo>
                  <a:lnTo>
                    <a:pt x="9530" y="204900"/>
                  </a:lnTo>
                  <a:lnTo>
                    <a:pt x="9530" y="195370"/>
                  </a:lnTo>
                  <a:lnTo>
                    <a:pt x="14296" y="181074"/>
                  </a:lnTo>
                  <a:lnTo>
                    <a:pt x="38122" y="181074"/>
                  </a:lnTo>
                  <a:lnTo>
                    <a:pt x="38122" y="176308"/>
                  </a:lnTo>
                  <a:lnTo>
                    <a:pt x="23826" y="171544"/>
                  </a:lnTo>
                  <a:lnTo>
                    <a:pt x="4766" y="157248"/>
                  </a:lnTo>
                  <a:lnTo>
                    <a:pt x="0" y="147718"/>
                  </a:lnTo>
                  <a:lnTo>
                    <a:pt x="9530" y="147718"/>
                  </a:lnTo>
                  <a:lnTo>
                    <a:pt x="19060" y="147718"/>
                  </a:lnTo>
                  <a:lnTo>
                    <a:pt x="28590" y="147718"/>
                  </a:lnTo>
                  <a:lnTo>
                    <a:pt x="33356" y="147718"/>
                  </a:lnTo>
                  <a:lnTo>
                    <a:pt x="42886" y="142952"/>
                  </a:lnTo>
                  <a:lnTo>
                    <a:pt x="47652" y="133422"/>
                  </a:lnTo>
                  <a:lnTo>
                    <a:pt x="52416" y="114362"/>
                  </a:lnTo>
                  <a:lnTo>
                    <a:pt x="76242" y="109596"/>
                  </a:lnTo>
                  <a:lnTo>
                    <a:pt x="85772" y="100066"/>
                  </a:lnTo>
                  <a:lnTo>
                    <a:pt x="95302" y="81006"/>
                  </a:lnTo>
                  <a:lnTo>
                    <a:pt x="100068" y="66710"/>
                  </a:lnTo>
                  <a:lnTo>
                    <a:pt x="104832" y="61946"/>
                  </a:lnTo>
                  <a:lnTo>
                    <a:pt x="109598" y="57180"/>
                  </a:lnTo>
                  <a:lnTo>
                    <a:pt x="109598" y="52416"/>
                  </a:lnTo>
                  <a:lnTo>
                    <a:pt x="114364" y="47650"/>
                  </a:lnTo>
                  <a:lnTo>
                    <a:pt x="123894" y="33354"/>
                  </a:lnTo>
                  <a:lnTo>
                    <a:pt x="123894" y="19060"/>
                  </a:lnTo>
                  <a:lnTo>
                    <a:pt x="138188" y="14294"/>
                  </a:lnTo>
                  <a:lnTo>
                    <a:pt x="162014" y="9530"/>
                  </a:lnTo>
                  <a:lnTo>
                    <a:pt x="181074" y="19060"/>
                  </a:lnTo>
                  <a:lnTo>
                    <a:pt x="214430" y="953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0" name="Freeform 6358">
              <a:extLst>
                <a:ext uri="{FF2B5EF4-FFF2-40B4-BE49-F238E27FC236}">
                  <a16:creationId xmlns:a16="http://schemas.microsoft.com/office/drawing/2014/main" id="{07B766BE-6AFD-4965-9B5F-D9A1BBA9BCEC}"/>
                </a:ext>
              </a:extLst>
            </p:cNvPr>
            <p:cNvSpPr/>
            <p:nvPr/>
          </p:nvSpPr>
          <p:spPr bwMode="auto">
            <a:xfrm>
              <a:off x="3022440" y="5040933"/>
              <a:ext cx="60128" cy="33148"/>
            </a:xfrm>
            <a:custGeom>
              <a:avLst/>
              <a:gdLst>
                <a:gd name="T0" fmla="*/ 46 w 156"/>
                <a:gd name="T1" fmla="*/ 0 h 86"/>
                <a:gd name="T2" fmla="*/ 38 w 156"/>
                <a:gd name="T3" fmla="*/ 2 h 86"/>
                <a:gd name="T4" fmla="*/ 34 w 156"/>
                <a:gd name="T5" fmla="*/ 2 h 86"/>
                <a:gd name="T6" fmla="*/ 36 w 156"/>
                <a:gd name="T7" fmla="*/ 10 h 86"/>
                <a:gd name="T8" fmla="*/ 34 w 156"/>
                <a:gd name="T9" fmla="*/ 14 h 86"/>
                <a:gd name="T10" fmla="*/ 24 w 156"/>
                <a:gd name="T11" fmla="*/ 20 h 86"/>
                <a:gd name="T12" fmla="*/ 20 w 156"/>
                <a:gd name="T13" fmla="*/ 26 h 86"/>
                <a:gd name="T14" fmla="*/ 14 w 156"/>
                <a:gd name="T15" fmla="*/ 26 h 86"/>
                <a:gd name="T16" fmla="*/ 2 w 156"/>
                <a:gd name="T17" fmla="*/ 36 h 86"/>
                <a:gd name="T18" fmla="*/ 0 w 156"/>
                <a:gd name="T19" fmla="*/ 44 h 86"/>
                <a:gd name="T20" fmla="*/ 8 w 156"/>
                <a:gd name="T21" fmla="*/ 50 h 86"/>
                <a:gd name="T22" fmla="*/ 38 w 156"/>
                <a:gd name="T23" fmla="*/ 62 h 86"/>
                <a:gd name="T24" fmla="*/ 80 w 156"/>
                <a:gd name="T25" fmla="*/ 78 h 86"/>
                <a:gd name="T26" fmla="*/ 106 w 156"/>
                <a:gd name="T27" fmla="*/ 84 h 86"/>
                <a:gd name="T28" fmla="*/ 94 w 156"/>
                <a:gd name="T29" fmla="*/ 80 h 86"/>
                <a:gd name="T30" fmla="*/ 98 w 156"/>
                <a:gd name="T31" fmla="*/ 78 h 86"/>
                <a:gd name="T32" fmla="*/ 126 w 156"/>
                <a:gd name="T33" fmla="*/ 86 h 86"/>
                <a:gd name="T34" fmla="*/ 142 w 156"/>
                <a:gd name="T35" fmla="*/ 84 h 86"/>
                <a:gd name="T36" fmla="*/ 148 w 156"/>
                <a:gd name="T37" fmla="*/ 78 h 86"/>
                <a:gd name="T38" fmla="*/ 150 w 156"/>
                <a:gd name="T39" fmla="*/ 70 h 86"/>
                <a:gd name="T40" fmla="*/ 154 w 156"/>
                <a:gd name="T41" fmla="*/ 64 h 86"/>
                <a:gd name="T42" fmla="*/ 152 w 156"/>
                <a:gd name="T43" fmla="*/ 62 h 86"/>
                <a:gd name="T44" fmla="*/ 152 w 156"/>
                <a:gd name="T45" fmla="*/ 54 h 86"/>
                <a:gd name="T46" fmla="*/ 154 w 156"/>
                <a:gd name="T47" fmla="*/ 40 h 86"/>
                <a:gd name="T48" fmla="*/ 144 w 156"/>
                <a:gd name="T49" fmla="*/ 36 h 86"/>
                <a:gd name="T50" fmla="*/ 134 w 156"/>
                <a:gd name="T51" fmla="*/ 36 h 86"/>
                <a:gd name="T52" fmla="*/ 128 w 156"/>
                <a:gd name="T53" fmla="*/ 30 h 86"/>
                <a:gd name="T54" fmla="*/ 110 w 156"/>
                <a:gd name="T55" fmla="*/ 38 h 86"/>
                <a:gd name="T56" fmla="*/ 106 w 156"/>
                <a:gd name="T57" fmla="*/ 40 h 86"/>
                <a:gd name="T58" fmla="*/ 104 w 156"/>
                <a:gd name="T59" fmla="*/ 32 h 86"/>
                <a:gd name="T60" fmla="*/ 98 w 156"/>
                <a:gd name="T61" fmla="*/ 30 h 86"/>
                <a:gd name="T62" fmla="*/ 90 w 156"/>
                <a:gd name="T63" fmla="*/ 28 h 86"/>
                <a:gd name="T64" fmla="*/ 82 w 156"/>
                <a:gd name="T65" fmla="*/ 22 h 86"/>
                <a:gd name="T66" fmla="*/ 72 w 156"/>
                <a:gd name="T67" fmla="*/ 12 h 86"/>
                <a:gd name="T68" fmla="*/ 68 w 156"/>
                <a:gd name="T69" fmla="*/ 8 h 86"/>
                <a:gd name="T70" fmla="*/ 60 w 156"/>
                <a:gd name="T71" fmla="*/ 6 h 86"/>
                <a:gd name="T72" fmla="*/ 48 w 156"/>
                <a:gd name="T73" fmla="*/ 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6" h="86">
                  <a:moveTo>
                    <a:pt x="48" y="2"/>
                  </a:moveTo>
                  <a:lnTo>
                    <a:pt x="46" y="0"/>
                  </a:lnTo>
                  <a:lnTo>
                    <a:pt x="44" y="0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4" y="2"/>
                  </a:lnTo>
                  <a:lnTo>
                    <a:pt x="34" y="6"/>
                  </a:lnTo>
                  <a:lnTo>
                    <a:pt x="36" y="10"/>
                  </a:lnTo>
                  <a:lnTo>
                    <a:pt x="36" y="14"/>
                  </a:lnTo>
                  <a:lnTo>
                    <a:pt x="34" y="14"/>
                  </a:lnTo>
                  <a:lnTo>
                    <a:pt x="28" y="18"/>
                  </a:lnTo>
                  <a:lnTo>
                    <a:pt x="24" y="20"/>
                  </a:lnTo>
                  <a:lnTo>
                    <a:pt x="22" y="24"/>
                  </a:lnTo>
                  <a:lnTo>
                    <a:pt x="20" y="26"/>
                  </a:lnTo>
                  <a:lnTo>
                    <a:pt x="16" y="26"/>
                  </a:lnTo>
                  <a:lnTo>
                    <a:pt x="14" y="26"/>
                  </a:lnTo>
                  <a:lnTo>
                    <a:pt x="10" y="30"/>
                  </a:lnTo>
                  <a:lnTo>
                    <a:pt x="2" y="36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8"/>
                  </a:lnTo>
                  <a:lnTo>
                    <a:pt x="8" y="50"/>
                  </a:lnTo>
                  <a:lnTo>
                    <a:pt x="18" y="60"/>
                  </a:lnTo>
                  <a:lnTo>
                    <a:pt x="38" y="62"/>
                  </a:lnTo>
                  <a:lnTo>
                    <a:pt x="54" y="64"/>
                  </a:lnTo>
                  <a:lnTo>
                    <a:pt x="80" y="78"/>
                  </a:lnTo>
                  <a:lnTo>
                    <a:pt x="104" y="84"/>
                  </a:lnTo>
                  <a:lnTo>
                    <a:pt x="106" y="84"/>
                  </a:lnTo>
                  <a:lnTo>
                    <a:pt x="98" y="80"/>
                  </a:lnTo>
                  <a:lnTo>
                    <a:pt x="94" y="80"/>
                  </a:lnTo>
                  <a:lnTo>
                    <a:pt x="92" y="78"/>
                  </a:lnTo>
                  <a:lnTo>
                    <a:pt x="98" y="78"/>
                  </a:lnTo>
                  <a:lnTo>
                    <a:pt x="110" y="82"/>
                  </a:lnTo>
                  <a:lnTo>
                    <a:pt x="126" y="86"/>
                  </a:lnTo>
                  <a:lnTo>
                    <a:pt x="136" y="86"/>
                  </a:lnTo>
                  <a:lnTo>
                    <a:pt x="142" y="84"/>
                  </a:lnTo>
                  <a:lnTo>
                    <a:pt x="144" y="82"/>
                  </a:lnTo>
                  <a:lnTo>
                    <a:pt x="148" y="78"/>
                  </a:lnTo>
                  <a:lnTo>
                    <a:pt x="148" y="70"/>
                  </a:lnTo>
                  <a:lnTo>
                    <a:pt x="150" y="70"/>
                  </a:lnTo>
                  <a:lnTo>
                    <a:pt x="154" y="66"/>
                  </a:lnTo>
                  <a:lnTo>
                    <a:pt x="154" y="64"/>
                  </a:lnTo>
                  <a:lnTo>
                    <a:pt x="152" y="62"/>
                  </a:lnTo>
                  <a:lnTo>
                    <a:pt x="152" y="62"/>
                  </a:lnTo>
                  <a:lnTo>
                    <a:pt x="152" y="58"/>
                  </a:lnTo>
                  <a:lnTo>
                    <a:pt x="152" y="54"/>
                  </a:lnTo>
                  <a:lnTo>
                    <a:pt x="156" y="42"/>
                  </a:lnTo>
                  <a:lnTo>
                    <a:pt x="154" y="40"/>
                  </a:lnTo>
                  <a:lnTo>
                    <a:pt x="150" y="36"/>
                  </a:lnTo>
                  <a:lnTo>
                    <a:pt x="144" y="36"/>
                  </a:lnTo>
                  <a:lnTo>
                    <a:pt x="138" y="38"/>
                  </a:lnTo>
                  <a:lnTo>
                    <a:pt x="134" y="36"/>
                  </a:lnTo>
                  <a:lnTo>
                    <a:pt x="132" y="32"/>
                  </a:lnTo>
                  <a:lnTo>
                    <a:pt x="128" y="30"/>
                  </a:lnTo>
                  <a:lnTo>
                    <a:pt x="118" y="34"/>
                  </a:lnTo>
                  <a:lnTo>
                    <a:pt x="110" y="38"/>
                  </a:lnTo>
                  <a:lnTo>
                    <a:pt x="108" y="40"/>
                  </a:lnTo>
                  <a:lnTo>
                    <a:pt x="106" y="40"/>
                  </a:lnTo>
                  <a:lnTo>
                    <a:pt x="104" y="36"/>
                  </a:lnTo>
                  <a:lnTo>
                    <a:pt x="104" y="32"/>
                  </a:lnTo>
                  <a:lnTo>
                    <a:pt x="104" y="30"/>
                  </a:lnTo>
                  <a:lnTo>
                    <a:pt x="98" y="30"/>
                  </a:lnTo>
                  <a:lnTo>
                    <a:pt x="94" y="28"/>
                  </a:lnTo>
                  <a:lnTo>
                    <a:pt x="90" y="28"/>
                  </a:lnTo>
                  <a:lnTo>
                    <a:pt x="88" y="24"/>
                  </a:lnTo>
                  <a:lnTo>
                    <a:pt x="82" y="22"/>
                  </a:lnTo>
                  <a:lnTo>
                    <a:pt x="80" y="18"/>
                  </a:lnTo>
                  <a:lnTo>
                    <a:pt x="72" y="12"/>
                  </a:lnTo>
                  <a:lnTo>
                    <a:pt x="70" y="10"/>
                  </a:lnTo>
                  <a:lnTo>
                    <a:pt x="68" y="8"/>
                  </a:lnTo>
                  <a:lnTo>
                    <a:pt x="64" y="4"/>
                  </a:lnTo>
                  <a:lnTo>
                    <a:pt x="60" y="6"/>
                  </a:lnTo>
                  <a:lnTo>
                    <a:pt x="50" y="2"/>
                  </a:lnTo>
                  <a:lnTo>
                    <a:pt x="48" y="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1" name="Freeform 6366">
              <a:extLst>
                <a:ext uri="{FF2B5EF4-FFF2-40B4-BE49-F238E27FC236}">
                  <a16:creationId xmlns:a16="http://schemas.microsoft.com/office/drawing/2014/main" id="{E8001FDC-D0FD-4059-9791-B882C7B6C78B}"/>
                </a:ext>
              </a:extLst>
            </p:cNvPr>
            <p:cNvSpPr/>
            <p:nvPr/>
          </p:nvSpPr>
          <p:spPr bwMode="auto">
            <a:xfrm>
              <a:off x="6376139" y="5117249"/>
              <a:ext cx="158801" cy="89422"/>
            </a:xfrm>
            <a:custGeom>
              <a:avLst/>
              <a:gdLst>
                <a:gd name="T0" fmla="*/ 410 w 412"/>
                <a:gd name="T1" fmla="*/ 16 h 232"/>
                <a:gd name="T2" fmla="*/ 388 w 412"/>
                <a:gd name="T3" fmla="*/ 12 h 232"/>
                <a:gd name="T4" fmla="*/ 352 w 412"/>
                <a:gd name="T5" fmla="*/ 24 h 232"/>
                <a:gd name="T6" fmla="*/ 316 w 412"/>
                <a:gd name="T7" fmla="*/ 22 h 232"/>
                <a:gd name="T8" fmla="*/ 300 w 412"/>
                <a:gd name="T9" fmla="*/ 26 h 232"/>
                <a:gd name="T10" fmla="*/ 256 w 412"/>
                <a:gd name="T11" fmla="*/ 50 h 232"/>
                <a:gd name="T12" fmla="*/ 236 w 412"/>
                <a:gd name="T13" fmla="*/ 48 h 232"/>
                <a:gd name="T14" fmla="*/ 208 w 412"/>
                <a:gd name="T15" fmla="*/ 44 h 232"/>
                <a:gd name="T16" fmla="*/ 176 w 412"/>
                <a:gd name="T17" fmla="*/ 56 h 232"/>
                <a:gd name="T18" fmla="*/ 114 w 412"/>
                <a:gd name="T19" fmla="*/ 70 h 232"/>
                <a:gd name="T20" fmla="*/ 98 w 412"/>
                <a:gd name="T21" fmla="*/ 62 h 232"/>
                <a:gd name="T22" fmla="*/ 64 w 412"/>
                <a:gd name="T23" fmla="*/ 30 h 232"/>
                <a:gd name="T24" fmla="*/ 40 w 412"/>
                <a:gd name="T25" fmla="*/ 0 h 232"/>
                <a:gd name="T26" fmla="*/ 26 w 412"/>
                <a:gd name="T27" fmla="*/ 20 h 232"/>
                <a:gd name="T28" fmla="*/ 16 w 412"/>
                <a:gd name="T29" fmla="*/ 36 h 232"/>
                <a:gd name="T30" fmla="*/ 10 w 412"/>
                <a:gd name="T31" fmla="*/ 44 h 232"/>
                <a:gd name="T32" fmla="*/ 0 w 412"/>
                <a:gd name="T33" fmla="*/ 58 h 232"/>
                <a:gd name="T34" fmla="*/ 2 w 412"/>
                <a:gd name="T35" fmla="*/ 62 h 232"/>
                <a:gd name="T36" fmla="*/ 8 w 412"/>
                <a:gd name="T37" fmla="*/ 74 h 232"/>
                <a:gd name="T38" fmla="*/ 12 w 412"/>
                <a:gd name="T39" fmla="*/ 86 h 232"/>
                <a:gd name="T40" fmla="*/ 24 w 412"/>
                <a:gd name="T41" fmla="*/ 98 h 232"/>
                <a:gd name="T42" fmla="*/ 36 w 412"/>
                <a:gd name="T43" fmla="*/ 108 h 232"/>
                <a:gd name="T44" fmla="*/ 42 w 412"/>
                <a:gd name="T45" fmla="*/ 126 h 232"/>
                <a:gd name="T46" fmla="*/ 54 w 412"/>
                <a:gd name="T47" fmla="*/ 140 h 232"/>
                <a:gd name="T48" fmla="*/ 64 w 412"/>
                <a:gd name="T49" fmla="*/ 144 h 232"/>
                <a:gd name="T50" fmla="*/ 88 w 412"/>
                <a:gd name="T51" fmla="*/ 166 h 232"/>
                <a:gd name="T52" fmla="*/ 130 w 412"/>
                <a:gd name="T53" fmla="*/ 180 h 232"/>
                <a:gd name="T54" fmla="*/ 170 w 412"/>
                <a:gd name="T55" fmla="*/ 194 h 232"/>
                <a:gd name="T56" fmla="*/ 210 w 412"/>
                <a:gd name="T57" fmla="*/ 208 h 232"/>
                <a:gd name="T58" fmla="*/ 280 w 412"/>
                <a:gd name="T59" fmla="*/ 230 h 232"/>
                <a:gd name="T60" fmla="*/ 350 w 412"/>
                <a:gd name="T61" fmla="*/ 232 h 232"/>
                <a:gd name="T62" fmla="*/ 368 w 412"/>
                <a:gd name="T63" fmla="*/ 202 h 232"/>
                <a:gd name="T64" fmla="*/ 392 w 412"/>
                <a:gd name="T65" fmla="*/ 168 h 232"/>
                <a:gd name="T66" fmla="*/ 412 w 412"/>
                <a:gd name="T67" fmla="*/ 136 h 232"/>
                <a:gd name="T68" fmla="*/ 412 w 412"/>
                <a:gd name="T69" fmla="*/ 5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12" h="231">
                  <a:moveTo>
                    <a:pt x="412" y="16"/>
                  </a:moveTo>
                  <a:lnTo>
                    <a:pt x="410" y="16"/>
                  </a:lnTo>
                  <a:lnTo>
                    <a:pt x="396" y="12"/>
                  </a:lnTo>
                  <a:lnTo>
                    <a:pt x="388" y="12"/>
                  </a:lnTo>
                  <a:lnTo>
                    <a:pt x="380" y="14"/>
                  </a:lnTo>
                  <a:lnTo>
                    <a:pt x="352" y="24"/>
                  </a:lnTo>
                  <a:lnTo>
                    <a:pt x="332" y="26"/>
                  </a:lnTo>
                  <a:lnTo>
                    <a:pt x="316" y="22"/>
                  </a:lnTo>
                  <a:lnTo>
                    <a:pt x="312" y="22"/>
                  </a:lnTo>
                  <a:lnTo>
                    <a:pt x="300" y="26"/>
                  </a:lnTo>
                  <a:lnTo>
                    <a:pt x="284" y="38"/>
                  </a:lnTo>
                  <a:lnTo>
                    <a:pt x="256" y="50"/>
                  </a:lnTo>
                  <a:lnTo>
                    <a:pt x="250" y="50"/>
                  </a:lnTo>
                  <a:lnTo>
                    <a:pt x="236" y="48"/>
                  </a:lnTo>
                  <a:lnTo>
                    <a:pt x="222" y="46"/>
                  </a:lnTo>
                  <a:lnTo>
                    <a:pt x="208" y="44"/>
                  </a:lnTo>
                  <a:lnTo>
                    <a:pt x="200" y="46"/>
                  </a:lnTo>
                  <a:lnTo>
                    <a:pt x="176" y="56"/>
                  </a:lnTo>
                  <a:lnTo>
                    <a:pt x="150" y="70"/>
                  </a:lnTo>
                  <a:lnTo>
                    <a:pt x="114" y="70"/>
                  </a:lnTo>
                  <a:lnTo>
                    <a:pt x="108" y="68"/>
                  </a:lnTo>
                  <a:lnTo>
                    <a:pt x="98" y="62"/>
                  </a:lnTo>
                  <a:lnTo>
                    <a:pt x="78" y="48"/>
                  </a:lnTo>
                  <a:lnTo>
                    <a:pt x="64" y="30"/>
                  </a:lnTo>
                  <a:lnTo>
                    <a:pt x="52" y="10"/>
                  </a:lnTo>
                  <a:lnTo>
                    <a:pt x="40" y="0"/>
                  </a:lnTo>
                  <a:lnTo>
                    <a:pt x="34" y="8"/>
                  </a:lnTo>
                  <a:lnTo>
                    <a:pt x="26" y="20"/>
                  </a:lnTo>
                  <a:lnTo>
                    <a:pt x="18" y="32"/>
                  </a:lnTo>
                  <a:lnTo>
                    <a:pt x="16" y="36"/>
                  </a:lnTo>
                  <a:lnTo>
                    <a:pt x="14" y="40"/>
                  </a:lnTo>
                  <a:lnTo>
                    <a:pt x="10" y="44"/>
                  </a:lnTo>
                  <a:lnTo>
                    <a:pt x="8" y="48"/>
                  </a:lnTo>
                  <a:lnTo>
                    <a:pt x="0" y="58"/>
                  </a:lnTo>
                  <a:lnTo>
                    <a:pt x="0" y="60"/>
                  </a:lnTo>
                  <a:lnTo>
                    <a:pt x="2" y="62"/>
                  </a:lnTo>
                  <a:lnTo>
                    <a:pt x="4" y="66"/>
                  </a:lnTo>
                  <a:lnTo>
                    <a:pt x="8" y="74"/>
                  </a:lnTo>
                  <a:lnTo>
                    <a:pt x="12" y="82"/>
                  </a:lnTo>
                  <a:lnTo>
                    <a:pt x="12" y="86"/>
                  </a:lnTo>
                  <a:lnTo>
                    <a:pt x="18" y="90"/>
                  </a:lnTo>
                  <a:lnTo>
                    <a:pt x="24" y="98"/>
                  </a:lnTo>
                  <a:lnTo>
                    <a:pt x="28" y="104"/>
                  </a:lnTo>
                  <a:lnTo>
                    <a:pt x="36" y="108"/>
                  </a:lnTo>
                  <a:lnTo>
                    <a:pt x="38" y="114"/>
                  </a:lnTo>
                  <a:lnTo>
                    <a:pt x="42" y="126"/>
                  </a:lnTo>
                  <a:lnTo>
                    <a:pt x="48" y="134"/>
                  </a:lnTo>
                  <a:lnTo>
                    <a:pt x="54" y="140"/>
                  </a:lnTo>
                  <a:lnTo>
                    <a:pt x="62" y="144"/>
                  </a:lnTo>
                  <a:lnTo>
                    <a:pt x="64" y="144"/>
                  </a:lnTo>
                  <a:lnTo>
                    <a:pt x="78" y="156"/>
                  </a:lnTo>
                  <a:lnTo>
                    <a:pt x="88" y="166"/>
                  </a:lnTo>
                  <a:lnTo>
                    <a:pt x="90" y="166"/>
                  </a:lnTo>
                  <a:lnTo>
                    <a:pt x="130" y="180"/>
                  </a:lnTo>
                  <a:lnTo>
                    <a:pt x="148" y="186"/>
                  </a:lnTo>
                  <a:lnTo>
                    <a:pt x="170" y="194"/>
                  </a:lnTo>
                  <a:lnTo>
                    <a:pt x="190" y="200"/>
                  </a:lnTo>
                  <a:lnTo>
                    <a:pt x="210" y="208"/>
                  </a:lnTo>
                  <a:lnTo>
                    <a:pt x="262" y="224"/>
                  </a:lnTo>
                  <a:lnTo>
                    <a:pt x="280" y="230"/>
                  </a:lnTo>
                  <a:lnTo>
                    <a:pt x="284" y="232"/>
                  </a:lnTo>
                  <a:lnTo>
                    <a:pt x="350" y="232"/>
                  </a:lnTo>
                  <a:lnTo>
                    <a:pt x="360" y="218"/>
                  </a:lnTo>
                  <a:lnTo>
                    <a:pt x="368" y="202"/>
                  </a:lnTo>
                  <a:lnTo>
                    <a:pt x="380" y="188"/>
                  </a:lnTo>
                  <a:lnTo>
                    <a:pt x="392" y="168"/>
                  </a:lnTo>
                  <a:lnTo>
                    <a:pt x="402" y="150"/>
                  </a:lnTo>
                  <a:lnTo>
                    <a:pt x="412" y="136"/>
                  </a:lnTo>
                  <a:lnTo>
                    <a:pt x="412" y="70"/>
                  </a:lnTo>
                  <a:lnTo>
                    <a:pt x="412" y="52"/>
                  </a:lnTo>
                  <a:lnTo>
                    <a:pt x="412" y="1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2" name="Line 6367">
              <a:extLst>
                <a:ext uri="{FF2B5EF4-FFF2-40B4-BE49-F238E27FC236}">
                  <a16:creationId xmlns:a16="http://schemas.microsoft.com/office/drawing/2014/main" id="{274656EA-F1FA-418B-B5A5-CDE0951D59E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534939" y="5123416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3" name="Line 6369">
              <a:extLst>
                <a:ext uri="{FF2B5EF4-FFF2-40B4-BE49-F238E27FC236}">
                  <a16:creationId xmlns:a16="http://schemas.microsoft.com/office/drawing/2014/main" id="{201A9B16-518D-4115-9BFE-11074F6E4D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534939" y="5123416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4" name="Freeform 6370">
              <a:extLst>
                <a:ext uri="{FF2B5EF4-FFF2-40B4-BE49-F238E27FC236}">
                  <a16:creationId xmlns:a16="http://schemas.microsoft.com/office/drawing/2014/main" id="{B0465957-E007-42C1-A17A-C173B6513285}"/>
                </a:ext>
              </a:extLst>
            </p:cNvPr>
            <p:cNvSpPr/>
            <p:nvPr/>
          </p:nvSpPr>
          <p:spPr bwMode="auto">
            <a:xfrm>
              <a:off x="6333741" y="5104915"/>
              <a:ext cx="262869" cy="347665"/>
            </a:xfrm>
            <a:custGeom>
              <a:avLst/>
              <a:gdLst>
                <a:gd name="T0" fmla="*/ 50 w 682"/>
                <a:gd name="T1" fmla="*/ 884 h 902"/>
                <a:gd name="T2" fmla="*/ 62 w 682"/>
                <a:gd name="T3" fmla="*/ 860 h 902"/>
                <a:gd name="T4" fmla="*/ 82 w 682"/>
                <a:gd name="T5" fmla="*/ 840 h 902"/>
                <a:gd name="T6" fmla="*/ 104 w 682"/>
                <a:gd name="T7" fmla="*/ 812 h 902"/>
                <a:gd name="T8" fmla="*/ 164 w 682"/>
                <a:gd name="T9" fmla="*/ 750 h 902"/>
                <a:gd name="T10" fmla="*/ 220 w 682"/>
                <a:gd name="T11" fmla="*/ 700 h 902"/>
                <a:gd name="T12" fmla="*/ 334 w 682"/>
                <a:gd name="T13" fmla="*/ 628 h 902"/>
                <a:gd name="T14" fmla="*/ 460 w 682"/>
                <a:gd name="T15" fmla="*/ 496 h 902"/>
                <a:gd name="T16" fmla="*/ 530 w 682"/>
                <a:gd name="T17" fmla="*/ 384 h 902"/>
                <a:gd name="T18" fmla="*/ 550 w 682"/>
                <a:gd name="T19" fmla="*/ 332 h 902"/>
                <a:gd name="T20" fmla="*/ 576 w 682"/>
                <a:gd name="T21" fmla="*/ 286 h 902"/>
                <a:gd name="T22" fmla="*/ 610 w 682"/>
                <a:gd name="T23" fmla="*/ 230 h 902"/>
                <a:gd name="T24" fmla="*/ 634 w 682"/>
                <a:gd name="T25" fmla="*/ 190 h 902"/>
                <a:gd name="T26" fmla="*/ 646 w 682"/>
                <a:gd name="T27" fmla="*/ 150 h 902"/>
                <a:gd name="T28" fmla="*/ 654 w 682"/>
                <a:gd name="T29" fmla="*/ 110 h 902"/>
                <a:gd name="T30" fmla="*/ 674 w 682"/>
                <a:gd name="T31" fmla="*/ 104 h 902"/>
                <a:gd name="T32" fmla="*/ 682 w 682"/>
                <a:gd name="T33" fmla="*/ 100 h 902"/>
                <a:gd name="T34" fmla="*/ 670 w 682"/>
                <a:gd name="T35" fmla="*/ 96 h 902"/>
                <a:gd name="T36" fmla="*/ 660 w 682"/>
                <a:gd name="T37" fmla="*/ 102 h 902"/>
                <a:gd name="T38" fmla="*/ 664 w 682"/>
                <a:gd name="T39" fmla="*/ 96 h 902"/>
                <a:gd name="T40" fmla="*/ 666 w 682"/>
                <a:gd name="T41" fmla="*/ 60 h 902"/>
                <a:gd name="T42" fmla="*/ 672 w 682"/>
                <a:gd name="T43" fmla="*/ 20 h 902"/>
                <a:gd name="T44" fmla="*/ 670 w 682"/>
                <a:gd name="T45" fmla="*/ 8 h 902"/>
                <a:gd name="T46" fmla="*/ 626 w 682"/>
                <a:gd name="T47" fmla="*/ 10 h 902"/>
                <a:gd name="T48" fmla="*/ 568 w 682"/>
                <a:gd name="T49" fmla="*/ 34 h 902"/>
                <a:gd name="T50" fmla="*/ 522 w 682"/>
                <a:gd name="T51" fmla="*/ 48 h 902"/>
                <a:gd name="T52" fmla="*/ 522 w 682"/>
                <a:gd name="T53" fmla="*/ 168 h 902"/>
                <a:gd name="T54" fmla="*/ 490 w 682"/>
                <a:gd name="T55" fmla="*/ 220 h 902"/>
                <a:gd name="T56" fmla="*/ 460 w 682"/>
                <a:gd name="T57" fmla="*/ 264 h 902"/>
                <a:gd name="T58" fmla="*/ 406 w 682"/>
                <a:gd name="T59" fmla="*/ 316 h 902"/>
                <a:gd name="T60" fmla="*/ 358 w 682"/>
                <a:gd name="T61" fmla="*/ 364 h 902"/>
                <a:gd name="T62" fmla="*/ 306 w 682"/>
                <a:gd name="T63" fmla="*/ 418 h 902"/>
                <a:gd name="T64" fmla="*/ 260 w 682"/>
                <a:gd name="T65" fmla="*/ 468 h 902"/>
                <a:gd name="T66" fmla="*/ 222 w 682"/>
                <a:gd name="T67" fmla="*/ 466 h 902"/>
                <a:gd name="T68" fmla="*/ 192 w 682"/>
                <a:gd name="T69" fmla="*/ 466 h 902"/>
                <a:gd name="T70" fmla="*/ 168 w 682"/>
                <a:gd name="T71" fmla="*/ 472 h 902"/>
                <a:gd name="T72" fmla="*/ 134 w 682"/>
                <a:gd name="T73" fmla="*/ 492 h 902"/>
                <a:gd name="T74" fmla="*/ 124 w 682"/>
                <a:gd name="T75" fmla="*/ 506 h 902"/>
                <a:gd name="T76" fmla="*/ 82 w 682"/>
                <a:gd name="T77" fmla="*/ 514 h 902"/>
                <a:gd name="T78" fmla="*/ 60 w 682"/>
                <a:gd name="T79" fmla="*/ 530 h 902"/>
                <a:gd name="T80" fmla="*/ 24 w 682"/>
                <a:gd name="T81" fmla="*/ 580 h 902"/>
                <a:gd name="T82" fmla="*/ 0 w 682"/>
                <a:gd name="T83" fmla="*/ 606 h 902"/>
                <a:gd name="T84" fmla="*/ 0 w 682"/>
                <a:gd name="T85" fmla="*/ 756 h 902"/>
                <a:gd name="T86" fmla="*/ 0 w 682"/>
                <a:gd name="T87" fmla="*/ 848 h 902"/>
                <a:gd name="T88" fmla="*/ 36 w 682"/>
                <a:gd name="T89" fmla="*/ 894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82" h="902">
                  <a:moveTo>
                    <a:pt x="36" y="902"/>
                  </a:moveTo>
                  <a:lnTo>
                    <a:pt x="44" y="894"/>
                  </a:lnTo>
                  <a:lnTo>
                    <a:pt x="50" y="884"/>
                  </a:lnTo>
                  <a:lnTo>
                    <a:pt x="58" y="870"/>
                  </a:lnTo>
                  <a:lnTo>
                    <a:pt x="60" y="866"/>
                  </a:lnTo>
                  <a:lnTo>
                    <a:pt x="62" y="860"/>
                  </a:lnTo>
                  <a:lnTo>
                    <a:pt x="66" y="854"/>
                  </a:lnTo>
                  <a:lnTo>
                    <a:pt x="74" y="846"/>
                  </a:lnTo>
                  <a:lnTo>
                    <a:pt x="82" y="840"/>
                  </a:lnTo>
                  <a:lnTo>
                    <a:pt x="94" y="824"/>
                  </a:lnTo>
                  <a:lnTo>
                    <a:pt x="98" y="820"/>
                  </a:lnTo>
                  <a:lnTo>
                    <a:pt x="104" y="812"/>
                  </a:lnTo>
                  <a:lnTo>
                    <a:pt x="108" y="808"/>
                  </a:lnTo>
                  <a:lnTo>
                    <a:pt x="114" y="802"/>
                  </a:lnTo>
                  <a:lnTo>
                    <a:pt x="164" y="750"/>
                  </a:lnTo>
                  <a:lnTo>
                    <a:pt x="180" y="734"/>
                  </a:lnTo>
                  <a:lnTo>
                    <a:pt x="200" y="718"/>
                  </a:lnTo>
                  <a:lnTo>
                    <a:pt x="220" y="700"/>
                  </a:lnTo>
                  <a:lnTo>
                    <a:pt x="260" y="672"/>
                  </a:lnTo>
                  <a:lnTo>
                    <a:pt x="318" y="640"/>
                  </a:lnTo>
                  <a:lnTo>
                    <a:pt x="334" y="628"/>
                  </a:lnTo>
                  <a:lnTo>
                    <a:pt x="388" y="574"/>
                  </a:lnTo>
                  <a:lnTo>
                    <a:pt x="428" y="530"/>
                  </a:lnTo>
                  <a:lnTo>
                    <a:pt x="460" y="496"/>
                  </a:lnTo>
                  <a:lnTo>
                    <a:pt x="476" y="466"/>
                  </a:lnTo>
                  <a:lnTo>
                    <a:pt x="504" y="430"/>
                  </a:lnTo>
                  <a:lnTo>
                    <a:pt x="530" y="384"/>
                  </a:lnTo>
                  <a:lnTo>
                    <a:pt x="532" y="370"/>
                  </a:lnTo>
                  <a:lnTo>
                    <a:pt x="542" y="346"/>
                  </a:lnTo>
                  <a:lnTo>
                    <a:pt x="550" y="332"/>
                  </a:lnTo>
                  <a:lnTo>
                    <a:pt x="564" y="310"/>
                  </a:lnTo>
                  <a:lnTo>
                    <a:pt x="570" y="300"/>
                  </a:lnTo>
                  <a:lnTo>
                    <a:pt x="576" y="286"/>
                  </a:lnTo>
                  <a:lnTo>
                    <a:pt x="582" y="266"/>
                  </a:lnTo>
                  <a:lnTo>
                    <a:pt x="598" y="252"/>
                  </a:lnTo>
                  <a:lnTo>
                    <a:pt x="610" y="230"/>
                  </a:lnTo>
                  <a:lnTo>
                    <a:pt x="614" y="224"/>
                  </a:lnTo>
                  <a:lnTo>
                    <a:pt x="620" y="208"/>
                  </a:lnTo>
                  <a:lnTo>
                    <a:pt x="634" y="190"/>
                  </a:lnTo>
                  <a:lnTo>
                    <a:pt x="636" y="182"/>
                  </a:lnTo>
                  <a:lnTo>
                    <a:pt x="646" y="170"/>
                  </a:lnTo>
                  <a:lnTo>
                    <a:pt x="646" y="150"/>
                  </a:lnTo>
                  <a:lnTo>
                    <a:pt x="650" y="136"/>
                  </a:lnTo>
                  <a:lnTo>
                    <a:pt x="650" y="114"/>
                  </a:lnTo>
                  <a:lnTo>
                    <a:pt x="654" y="110"/>
                  </a:lnTo>
                  <a:lnTo>
                    <a:pt x="660" y="106"/>
                  </a:lnTo>
                  <a:lnTo>
                    <a:pt x="672" y="102"/>
                  </a:lnTo>
                  <a:lnTo>
                    <a:pt x="674" y="104"/>
                  </a:lnTo>
                  <a:lnTo>
                    <a:pt x="682" y="106"/>
                  </a:lnTo>
                  <a:lnTo>
                    <a:pt x="682" y="104"/>
                  </a:lnTo>
                  <a:lnTo>
                    <a:pt x="682" y="100"/>
                  </a:lnTo>
                  <a:lnTo>
                    <a:pt x="678" y="98"/>
                  </a:lnTo>
                  <a:lnTo>
                    <a:pt x="670" y="94"/>
                  </a:lnTo>
                  <a:lnTo>
                    <a:pt x="670" y="96"/>
                  </a:lnTo>
                  <a:lnTo>
                    <a:pt x="670" y="100"/>
                  </a:lnTo>
                  <a:lnTo>
                    <a:pt x="662" y="102"/>
                  </a:lnTo>
                  <a:lnTo>
                    <a:pt x="660" y="102"/>
                  </a:lnTo>
                  <a:lnTo>
                    <a:pt x="660" y="100"/>
                  </a:lnTo>
                  <a:lnTo>
                    <a:pt x="664" y="98"/>
                  </a:lnTo>
                  <a:lnTo>
                    <a:pt x="664" y="96"/>
                  </a:lnTo>
                  <a:lnTo>
                    <a:pt x="666" y="92"/>
                  </a:lnTo>
                  <a:lnTo>
                    <a:pt x="666" y="88"/>
                  </a:lnTo>
                  <a:lnTo>
                    <a:pt x="666" y="60"/>
                  </a:lnTo>
                  <a:lnTo>
                    <a:pt x="664" y="42"/>
                  </a:lnTo>
                  <a:lnTo>
                    <a:pt x="666" y="32"/>
                  </a:lnTo>
                  <a:lnTo>
                    <a:pt x="672" y="20"/>
                  </a:lnTo>
                  <a:lnTo>
                    <a:pt x="672" y="16"/>
                  </a:lnTo>
                  <a:lnTo>
                    <a:pt x="674" y="10"/>
                  </a:lnTo>
                  <a:lnTo>
                    <a:pt x="670" y="8"/>
                  </a:lnTo>
                  <a:lnTo>
                    <a:pt x="644" y="0"/>
                  </a:lnTo>
                  <a:lnTo>
                    <a:pt x="634" y="2"/>
                  </a:lnTo>
                  <a:lnTo>
                    <a:pt x="626" y="10"/>
                  </a:lnTo>
                  <a:lnTo>
                    <a:pt x="622" y="16"/>
                  </a:lnTo>
                  <a:lnTo>
                    <a:pt x="600" y="30"/>
                  </a:lnTo>
                  <a:lnTo>
                    <a:pt x="568" y="34"/>
                  </a:lnTo>
                  <a:lnTo>
                    <a:pt x="552" y="42"/>
                  </a:lnTo>
                  <a:lnTo>
                    <a:pt x="530" y="46"/>
                  </a:lnTo>
                  <a:lnTo>
                    <a:pt x="522" y="48"/>
                  </a:lnTo>
                  <a:lnTo>
                    <a:pt x="522" y="84"/>
                  </a:lnTo>
                  <a:lnTo>
                    <a:pt x="522" y="102"/>
                  </a:lnTo>
                  <a:lnTo>
                    <a:pt x="522" y="168"/>
                  </a:lnTo>
                  <a:lnTo>
                    <a:pt x="512" y="182"/>
                  </a:lnTo>
                  <a:lnTo>
                    <a:pt x="502" y="200"/>
                  </a:lnTo>
                  <a:lnTo>
                    <a:pt x="490" y="220"/>
                  </a:lnTo>
                  <a:lnTo>
                    <a:pt x="478" y="234"/>
                  </a:lnTo>
                  <a:lnTo>
                    <a:pt x="470" y="250"/>
                  </a:lnTo>
                  <a:lnTo>
                    <a:pt x="460" y="264"/>
                  </a:lnTo>
                  <a:lnTo>
                    <a:pt x="444" y="280"/>
                  </a:lnTo>
                  <a:lnTo>
                    <a:pt x="424" y="298"/>
                  </a:lnTo>
                  <a:lnTo>
                    <a:pt x="406" y="316"/>
                  </a:lnTo>
                  <a:lnTo>
                    <a:pt x="394" y="328"/>
                  </a:lnTo>
                  <a:lnTo>
                    <a:pt x="374" y="348"/>
                  </a:lnTo>
                  <a:lnTo>
                    <a:pt x="358" y="364"/>
                  </a:lnTo>
                  <a:lnTo>
                    <a:pt x="340" y="382"/>
                  </a:lnTo>
                  <a:lnTo>
                    <a:pt x="326" y="396"/>
                  </a:lnTo>
                  <a:lnTo>
                    <a:pt x="306" y="418"/>
                  </a:lnTo>
                  <a:lnTo>
                    <a:pt x="292" y="432"/>
                  </a:lnTo>
                  <a:lnTo>
                    <a:pt x="272" y="454"/>
                  </a:lnTo>
                  <a:lnTo>
                    <a:pt x="260" y="468"/>
                  </a:lnTo>
                  <a:lnTo>
                    <a:pt x="258" y="468"/>
                  </a:lnTo>
                  <a:lnTo>
                    <a:pt x="240" y="468"/>
                  </a:lnTo>
                  <a:lnTo>
                    <a:pt x="222" y="466"/>
                  </a:lnTo>
                  <a:lnTo>
                    <a:pt x="200" y="466"/>
                  </a:lnTo>
                  <a:lnTo>
                    <a:pt x="198" y="466"/>
                  </a:lnTo>
                  <a:lnTo>
                    <a:pt x="192" y="466"/>
                  </a:lnTo>
                  <a:lnTo>
                    <a:pt x="188" y="468"/>
                  </a:lnTo>
                  <a:lnTo>
                    <a:pt x="172" y="472"/>
                  </a:lnTo>
                  <a:lnTo>
                    <a:pt x="168" y="472"/>
                  </a:lnTo>
                  <a:lnTo>
                    <a:pt x="154" y="478"/>
                  </a:lnTo>
                  <a:lnTo>
                    <a:pt x="142" y="486"/>
                  </a:lnTo>
                  <a:lnTo>
                    <a:pt x="134" y="492"/>
                  </a:lnTo>
                  <a:lnTo>
                    <a:pt x="128" y="498"/>
                  </a:lnTo>
                  <a:lnTo>
                    <a:pt x="126" y="504"/>
                  </a:lnTo>
                  <a:lnTo>
                    <a:pt x="124" y="506"/>
                  </a:lnTo>
                  <a:lnTo>
                    <a:pt x="120" y="508"/>
                  </a:lnTo>
                  <a:lnTo>
                    <a:pt x="90" y="514"/>
                  </a:lnTo>
                  <a:lnTo>
                    <a:pt x="82" y="514"/>
                  </a:lnTo>
                  <a:lnTo>
                    <a:pt x="70" y="520"/>
                  </a:lnTo>
                  <a:lnTo>
                    <a:pt x="62" y="526"/>
                  </a:lnTo>
                  <a:lnTo>
                    <a:pt x="60" y="530"/>
                  </a:lnTo>
                  <a:lnTo>
                    <a:pt x="52" y="542"/>
                  </a:lnTo>
                  <a:lnTo>
                    <a:pt x="42" y="556"/>
                  </a:lnTo>
                  <a:lnTo>
                    <a:pt x="24" y="580"/>
                  </a:lnTo>
                  <a:lnTo>
                    <a:pt x="10" y="594"/>
                  </a:lnTo>
                  <a:lnTo>
                    <a:pt x="0" y="604"/>
                  </a:lnTo>
                  <a:lnTo>
                    <a:pt x="0" y="606"/>
                  </a:lnTo>
                  <a:lnTo>
                    <a:pt x="0" y="644"/>
                  </a:lnTo>
                  <a:lnTo>
                    <a:pt x="0" y="700"/>
                  </a:lnTo>
                  <a:lnTo>
                    <a:pt x="0" y="756"/>
                  </a:lnTo>
                  <a:lnTo>
                    <a:pt x="0" y="810"/>
                  </a:lnTo>
                  <a:lnTo>
                    <a:pt x="0" y="838"/>
                  </a:lnTo>
                  <a:lnTo>
                    <a:pt x="0" y="848"/>
                  </a:lnTo>
                  <a:lnTo>
                    <a:pt x="18" y="870"/>
                  </a:lnTo>
                  <a:lnTo>
                    <a:pt x="30" y="886"/>
                  </a:lnTo>
                  <a:lnTo>
                    <a:pt x="36" y="894"/>
                  </a:lnTo>
                  <a:lnTo>
                    <a:pt x="38" y="896"/>
                  </a:lnTo>
                  <a:lnTo>
                    <a:pt x="36" y="90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5" name="Freeform 323">
              <a:extLst>
                <a:ext uri="{FF2B5EF4-FFF2-40B4-BE49-F238E27FC236}">
                  <a16:creationId xmlns:a16="http://schemas.microsoft.com/office/drawing/2014/main" id="{E447DD2D-8029-4D18-967C-2805A4B8B8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57210" y="5270654"/>
              <a:ext cx="199657" cy="257473"/>
            </a:xfrm>
            <a:custGeom>
              <a:avLst/>
              <a:gdLst>
                <a:gd name="connsiteX0" fmla="*/ 1110272 w 1234168"/>
                <a:gd name="connsiteY0" fmla="*/ 1176986 h 1591552"/>
                <a:gd name="connsiteX1" fmla="*/ 1115040 w 1234168"/>
                <a:gd name="connsiteY1" fmla="*/ 1181752 h 1591552"/>
                <a:gd name="connsiteX2" fmla="*/ 1115040 w 1234168"/>
                <a:gd name="connsiteY2" fmla="*/ 1186518 h 1591552"/>
                <a:gd name="connsiteX3" fmla="*/ 1095980 w 1234168"/>
                <a:gd name="connsiteY3" fmla="*/ 1196048 h 1591552"/>
                <a:gd name="connsiteX4" fmla="*/ 1091212 w 1234168"/>
                <a:gd name="connsiteY4" fmla="*/ 1196048 h 1591552"/>
                <a:gd name="connsiteX5" fmla="*/ 1091212 w 1234168"/>
                <a:gd name="connsiteY5" fmla="*/ 1186518 h 1591552"/>
                <a:gd name="connsiteX6" fmla="*/ 200136 w 1234168"/>
                <a:gd name="connsiteY6" fmla="*/ 0 h 1591552"/>
                <a:gd name="connsiteX7" fmla="*/ 200136 w 1234168"/>
                <a:gd name="connsiteY7" fmla="*/ 4766 h 1591552"/>
                <a:gd name="connsiteX8" fmla="*/ 200136 w 1234168"/>
                <a:gd name="connsiteY8" fmla="*/ 14296 h 1591552"/>
                <a:gd name="connsiteX9" fmla="*/ 204900 w 1234168"/>
                <a:gd name="connsiteY9" fmla="*/ 19060 h 1591552"/>
                <a:gd name="connsiteX10" fmla="*/ 209664 w 1234168"/>
                <a:gd name="connsiteY10" fmla="*/ 19060 h 1591552"/>
                <a:gd name="connsiteX11" fmla="*/ 219196 w 1234168"/>
                <a:gd name="connsiteY11" fmla="*/ 19060 h 1591552"/>
                <a:gd name="connsiteX12" fmla="*/ 223960 w 1234168"/>
                <a:gd name="connsiteY12" fmla="*/ 14296 h 1591552"/>
                <a:gd name="connsiteX13" fmla="*/ 233492 w 1234168"/>
                <a:gd name="connsiteY13" fmla="*/ 9530 h 1591552"/>
                <a:gd name="connsiteX14" fmla="*/ 276376 w 1234168"/>
                <a:gd name="connsiteY14" fmla="*/ 23826 h 1591552"/>
                <a:gd name="connsiteX15" fmla="*/ 281140 w 1234168"/>
                <a:gd name="connsiteY15" fmla="*/ 33356 h 1591552"/>
                <a:gd name="connsiteX16" fmla="*/ 281140 w 1234168"/>
                <a:gd name="connsiteY16" fmla="*/ 42886 h 1591552"/>
                <a:gd name="connsiteX17" fmla="*/ 285908 w 1234168"/>
                <a:gd name="connsiteY17" fmla="*/ 52416 h 1591552"/>
                <a:gd name="connsiteX18" fmla="*/ 281140 w 1234168"/>
                <a:gd name="connsiteY18" fmla="*/ 61946 h 1591552"/>
                <a:gd name="connsiteX19" fmla="*/ 276376 w 1234168"/>
                <a:gd name="connsiteY19" fmla="*/ 85772 h 1591552"/>
                <a:gd name="connsiteX20" fmla="*/ 276376 w 1234168"/>
                <a:gd name="connsiteY20" fmla="*/ 104832 h 1591552"/>
                <a:gd name="connsiteX21" fmla="*/ 290672 w 1234168"/>
                <a:gd name="connsiteY21" fmla="*/ 123894 h 1591552"/>
                <a:gd name="connsiteX22" fmla="*/ 300204 w 1234168"/>
                <a:gd name="connsiteY22" fmla="*/ 138188 h 1591552"/>
                <a:gd name="connsiteX23" fmla="*/ 309732 w 1234168"/>
                <a:gd name="connsiteY23" fmla="*/ 157250 h 1591552"/>
                <a:gd name="connsiteX24" fmla="*/ 319264 w 1234168"/>
                <a:gd name="connsiteY24" fmla="*/ 162014 h 1591552"/>
                <a:gd name="connsiteX25" fmla="*/ 328792 w 1234168"/>
                <a:gd name="connsiteY25" fmla="*/ 162014 h 1591552"/>
                <a:gd name="connsiteX26" fmla="*/ 357384 w 1234168"/>
                <a:gd name="connsiteY26" fmla="*/ 162014 h 1591552"/>
                <a:gd name="connsiteX27" fmla="*/ 400268 w 1234168"/>
                <a:gd name="connsiteY27" fmla="*/ 166780 h 1591552"/>
                <a:gd name="connsiteX28" fmla="*/ 443156 w 1234168"/>
                <a:gd name="connsiteY28" fmla="*/ 166780 h 1591552"/>
                <a:gd name="connsiteX29" fmla="*/ 447920 w 1234168"/>
                <a:gd name="connsiteY29" fmla="*/ 166780 h 1591552"/>
                <a:gd name="connsiteX30" fmla="*/ 457452 w 1234168"/>
                <a:gd name="connsiteY30" fmla="*/ 166780 h 1591552"/>
                <a:gd name="connsiteX31" fmla="*/ 495572 w 1234168"/>
                <a:gd name="connsiteY31" fmla="*/ 195370 h 1591552"/>
                <a:gd name="connsiteX32" fmla="*/ 528928 w 1234168"/>
                <a:gd name="connsiteY32" fmla="*/ 214430 h 1591552"/>
                <a:gd name="connsiteX33" fmla="*/ 562284 w 1234168"/>
                <a:gd name="connsiteY33" fmla="*/ 238256 h 1591552"/>
                <a:gd name="connsiteX34" fmla="*/ 590876 w 1234168"/>
                <a:gd name="connsiteY34" fmla="*/ 257316 h 1591552"/>
                <a:gd name="connsiteX35" fmla="*/ 619464 w 1234168"/>
                <a:gd name="connsiteY35" fmla="*/ 271612 h 1591552"/>
                <a:gd name="connsiteX36" fmla="*/ 638528 w 1234168"/>
                <a:gd name="connsiteY36" fmla="*/ 290672 h 1591552"/>
                <a:gd name="connsiteX37" fmla="*/ 662352 w 1234168"/>
                <a:gd name="connsiteY37" fmla="*/ 295438 h 1591552"/>
                <a:gd name="connsiteX38" fmla="*/ 695708 w 1234168"/>
                <a:gd name="connsiteY38" fmla="*/ 295438 h 1591552"/>
                <a:gd name="connsiteX39" fmla="*/ 724300 w 1234168"/>
                <a:gd name="connsiteY39" fmla="*/ 295438 h 1591552"/>
                <a:gd name="connsiteX40" fmla="*/ 743360 w 1234168"/>
                <a:gd name="connsiteY40" fmla="*/ 304968 h 1591552"/>
                <a:gd name="connsiteX41" fmla="*/ 776716 w 1234168"/>
                <a:gd name="connsiteY41" fmla="*/ 309734 h 1591552"/>
                <a:gd name="connsiteX42" fmla="*/ 805304 w 1234168"/>
                <a:gd name="connsiteY42" fmla="*/ 309734 h 1591552"/>
                <a:gd name="connsiteX43" fmla="*/ 819600 w 1234168"/>
                <a:gd name="connsiteY43" fmla="*/ 314498 h 1591552"/>
                <a:gd name="connsiteX44" fmla="*/ 862488 w 1234168"/>
                <a:gd name="connsiteY44" fmla="*/ 319264 h 1591552"/>
                <a:gd name="connsiteX45" fmla="*/ 867252 w 1234168"/>
                <a:gd name="connsiteY45" fmla="*/ 314498 h 1591552"/>
                <a:gd name="connsiteX46" fmla="*/ 886312 w 1234168"/>
                <a:gd name="connsiteY46" fmla="*/ 300202 h 1591552"/>
                <a:gd name="connsiteX47" fmla="*/ 905372 w 1234168"/>
                <a:gd name="connsiteY47" fmla="*/ 271612 h 1591552"/>
                <a:gd name="connsiteX48" fmla="*/ 914904 w 1234168"/>
                <a:gd name="connsiteY48" fmla="*/ 257316 h 1591552"/>
                <a:gd name="connsiteX49" fmla="*/ 943496 w 1234168"/>
                <a:gd name="connsiteY49" fmla="*/ 243022 h 1591552"/>
                <a:gd name="connsiteX50" fmla="*/ 991144 w 1234168"/>
                <a:gd name="connsiteY50" fmla="*/ 219196 h 1591552"/>
                <a:gd name="connsiteX51" fmla="*/ 1024500 w 1234168"/>
                <a:gd name="connsiteY51" fmla="*/ 204900 h 1591552"/>
                <a:gd name="connsiteX52" fmla="*/ 1057856 w 1234168"/>
                <a:gd name="connsiteY52" fmla="*/ 190606 h 1591552"/>
                <a:gd name="connsiteX53" fmla="*/ 1076916 w 1234168"/>
                <a:gd name="connsiteY53" fmla="*/ 204900 h 1591552"/>
                <a:gd name="connsiteX54" fmla="*/ 1100744 w 1234168"/>
                <a:gd name="connsiteY54" fmla="*/ 223960 h 1591552"/>
                <a:gd name="connsiteX55" fmla="*/ 1110272 w 1234168"/>
                <a:gd name="connsiteY55" fmla="*/ 233492 h 1591552"/>
                <a:gd name="connsiteX56" fmla="*/ 1119804 w 1234168"/>
                <a:gd name="connsiteY56" fmla="*/ 238256 h 1591552"/>
                <a:gd name="connsiteX57" fmla="*/ 1129336 w 1234168"/>
                <a:gd name="connsiteY57" fmla="*/ 243022 h 1591552"/>
                <a:gd name="connsiteX58" fmla="*/ 1153160 w 1234168"/>
                <a:gd name="connsiteY58" fmla="*/ 243022 h 1591552"/>
                <a:gd name="connsiteX59" fmla="*/ 1172220 w 1234168"/>
                <a:gd name="connsiteY59" fmla="*/ 238256 h 1591552"/>
                <a:gd name="connsiteX60" fmla="*/ 1210340 w 1234168"/>
                <a:gd name="connsiteY60" fmla="*/ 238256 h 1591552"/>
                <a:gd name="connsiteX61" fmla="*/ 1234168 w 1234168"/>
                <a:gd name="connsiteY61" fmla="*/ 238256 h 1591552"/>
                <a:gd name="connsiteX62" fmla="*/ 1215108 w 1234168"/>
                <a:gd name="connsiteY62" fmla="*/ 266848 h 1591552"/>
                <a:gd name="connsiteX63" fmla="*/ 1191280 w 1234168"/>
                <a:gd name="connsiteY63" fmla="*/ 300202 h 1591552"/>
                <a:gd name="connsiteX64" fmla="*/ 1148396 w 1234168"/>
                <a:gd name="connsiteY64" fmla="*/ 357384 h 1591552"/>
                <a:gd name="connsiteX65" fmla="*/ 1115040 w 1234168"/>
                <a:gd name="connsiteY65" fmla="*/ 390740 h 1591552"/>
                <a:gd name="connsiteX66" fmla="*/ 1091212 w 1234168"/>
                <a:gd name="connsiteY66" fmla="*/ 414566 h 1591552"/>
                <a:gd name="connsiteX67" fmla="*/ 1091212 w 1234168"/>
                <a:gd name="connsiteY67" fmla="*/ 419332 h 1591552"/>
                <a:gd name="connsiteX68" fmla="*/ 1091212 w 1234168"/>
                <a:gd name="connsiteY68" fmla="*/ 509868 h 1591552"/>
                <a:gd name="connsiteX69" fmla="*/ 1091212 w 1234168"/>
                <a:gd name="connsiteY69" fmla="*/ 643292 h 1591552"/>
                <a:gd name="connsiteX70" fmla="*/ 1091212 w 1234168"/>
                <a:gd name="connsiteY70" fmla="*/ 776716 h 1591552"/>
                <a:gd name="connsiteX71" fmla="*/ 1091212 w 1234168"/>
                <a:gd name="connsiteY71" fmla="*/ 905374 h 1591552"/>
                <a:gd name="connsiteX72" fmla="*/ 1091212 w 1234168"/>
                <a:gd name="connsiteY72" fmla="*/ 972086 h 1591552"/>
                <a:gd name="connsiteX73" fmla="*/ 1091212 w 1234168"/>
                <a:gd name="connsiteY73" fmla="*/ 995912 h 1591552"/>
                <a:gd name="connsiteX74" fmla="*/ 1134100 w 1234168"/>
                <a:gd name="connsiteY74" fmla="*/ 1048328 h 1591552"/>
                <a:gd name="connsiteX75" fmla="*/ 1162692 w 1234168"/>
                <a:gd name="connsiteY75" fmla="*/ 1086448 h 1591552"/>
                <a:gd name="connsiteX76" fmla="*/ 1176984 w 1234168"/>
                <a:gd name="connsiteY76" fmla="*/ 1105510 h 1591552"/>
                <a:gd name="connsiteX77" fmla="*/ 1181752 w 1234168"/>
                <a:gd name="connsiteY77" fmla="*/ 1110274 h 1591552"/>
                <a:gd name="connsiteX78" fmla="*/ 1176984 w 1234168"/>
                <a:gd name="connsiteY78" fmla="*/ 1124570 h 1591552"/>
                <a:gd name="connsiteX79" fmla="*/ 1157924 w 1234168"/>
                <a:gd name="connsiteY79" fmla="*/ 1148396 h 1591552"/>
                <a:gd name="connsiteX80" fmla="*/ 1138864 w 1234168"/>
                <a:gd name="connsiteY80" fmla="*/ 1162690 h 1591552"/>
                <a:gd name="connsiteX81" fmla="*/ 1110272 w 1234168"/>
                <a:gd name="connsiteY81" fmla="*/ 1167456 h 1591552"/>
                <a:gd name="connsiteX82" fmla="*/ 1105508 w 1234168"/>
                <a:gd name="connsiteY82" fmla="*/ 1167456 h 1591552"/>
                <a:gd name="connsiteX83" fmla="*/ 1095980 w 1234168"/>
                <a:gd name="connsiteY83" fmla="*/ 1162690 h 1591552"/>
                <a:gd name="connsiteX84" fmla="*/ 1091212 w 1234168"/>
                <a:gd name="connsiteY84" fmla="*/ 1172220 h 1591552"/>
                <a:gd name="connsiteX85" fmla="*/ 1086448 w 1234168"/>
                <a:gd name="connsiteY85" fmla="*/ 1181752 h 1591552"/>
                <a:gd name="connsiteX86" fmla="*/ 1081684 w 1234168"/>
                <a:gd name="connsiteY86" fmla="*/ 1176986 h 1591552"/>
                <a:gd name="connsiteX87" fmla="*/ 1076916 w 1234168"/>
                <a:gd name="connsiteY87" fmla="*/ 1176986 h 1591552"/>
                <a:gd name="connsiteX88" fmla="*/ 1081684 w 1234168"/>
                <a:gd name="connsiteY88" fmla="*/ 1191282 h 1591552"/>
                <a:gd name="connsiteX89" fmla="*/ 1081684 w 1234168"/>
                <a:gd name="connsiteY89" fmla="*/ 1200812 h 1591552"/>
                <a:gd name="connsiteX90" fmla="*/ 1081684 w 1234168"/>
                <a:gd name="connsiteY90" fmla="*/ 1215108 h 1591552"/>
                <a:gd name="connsiteX91" fmla="*/ 1067388 w 1234168"/>
                <a:gd name="connsiteY91" fmla="*/ 1224638 h 1591552"/>
                <a:gd name="connsiteX92" fmla="*/ 1067388 w 1234168"/>
                <a:gd name="connsiteY92" fmla="*/ 1234168 h 1591552"/>
                <a:gd name="connsiteX93" fmla="*/ 1038796 w 1234168"/>
                <a:gd name="connsiteY93" fmla="*/ 1257994 h 1591552"/>
                <a:gd name="connsiteX94" fmla="*/ 1005440 w 1234168"/>
                <a:gd name="connsiteY94" fmla="*/ 1257994 h 1591552"/>
                <a:gd name="connsiteX95" fmla="*/ 981616 w 1234168"/>
                <a:gd name="connsiteY95" fmla="*/ 1272288 h 1591552"/>
                <a:gd name="connsiteX96" fmla="*/ 972084 w 1234168"/>
                <a:gd name="connsiteY96" fmla="*/ 1277054 h 1591552"/>
                <a:gd name="connsiteX97" fmla="*/ 967320 w 1234168"/>
                <a:gd name="connsiteY97" fmla="*/ 1300880 h 1591552"/>
                <a:gd name="connsiteX98" fmla="*/ 972084 w 1234168"/>
                <a:gd name="connsiteY98" fmla="*/ 1329470 h 1591552"/>
                <a:gd name="connsiteX99" fmla="*/ 957788 w 1234168"/>
                <a:gd name="connsiteY99" fmla="*/ 1353296 h 1591552"/>
                <a:gd name="connsiteX100" fmla="*/ 957788 w 1234168"/>
                <a:gd name="connsiteY100" fmla="*/ 1367592 h 1591552"/>
                <a:gd name="connsiteX101" fmla="*/ 938728 w 1234168"/>
                <a:gd name="connsiteY101" fmla="*/ 1381886 h 1591552"/>
                <a:gd name="connsiteX102" fmla="*/ 929200 w 1234168"/>
                <a:gd name="connsiteY102" fmla="*/ 1396182 h 1591552"/>
                <a:gd name="connsiteX103" fmla="*/ 924432 w 1234168"/>
                <a:gd name="connsiteY103" fmla="*/ 1410478 h 1591552"/>
                <a:gd name="connsiteX104" fmla="*/ 919668 w 1234168"/>
                <a:gd name="connsiteY104" fmla="*/ 1420008 h 1591552"/>
                <a:gd name="connsiteX105" fmla="*/ 910140 w 1234168"/>
                <a:gd name="connsiteY105" fmla="*/ 1448598 h 1591552"/>
                <a:gd name="connsiteX106" fmla="*/ 900608 w 1234168"/>
                <a:gd name="connsiteY106" fmla="*/ 1472424 h 1591552"/>
                <a:gd name="connsiteX107" fmla="*/ 900608 w 1234168"/>
                <a:gd name="connsiteY107" fmla="*/ 1477190 h 1591552"/>
                <a:gd name="connsiteX108" fmla="*/ 895844 w 1234168"/>
                <a:gd name="connsiteY108" fmla="*/ 1481954 h 1591552"/>
                <a:gd name="connsiteX109" fmla="*/ 891076 w 1234168"/>
                <a:gd name="connsiteY109" fmla="*/ 1496250 h 1591552"/>
                <a:gd name="connsiteX110" fmla="*/ 886312 w 1234168"/>
                <a:gd name="connsiteY110" fmla="*/ 1501014 h 1591552"/>
                <a:gd name="connsiteX111" fmla="*/ 881548 w 1234168"/>
                <a:gd name="connsiteY111" fmla="*/ 1510544 h 1591552"/>
                <a:gd name="connsiteX112" fmla="*/ 857720 w 1234168"/>
                <a:gd name="connsiteY112" fmla="*/ 1558196 h 1591552"/>
                <a:gd name="connsiteX113" fmla="*/ 843428 w 1234168"/>
                <a:gd name="connsiteY113" fmla="*/ 1582022 h 1591552"/>
                <a:gd name="connsiteX114" fmla="*/ 829132 w 1234168"/>
                <a:gd name="connsiteY114" fmla="*/ 1577256 h 1591552"/>
                <a:gd name="connsiteX115" fmla="*/ 819600 w 1234168"/>
                <a:gd name="connsiteY115" fmla="*/ 1586786 h 1591552"/>
                <a:gd name="connsiteX116" fmla="*/ 819600 w 1234168"/>
                <a:gd name="connsiteY116" fmla="*/ 1591552 h 1591552"/>
                <a:gd name="connsiteX117" fmla="*/ 814836 w 1234168"/>
                <a:gd name="connsiteY117" fmla="*/ 1591552 h 1591552"/>
                <a:gd name="connsiteX118" fmla="*/ 776716 w 1234168"/>
                <a:gd name="connsiteY118" fmla="*/ 1562962 h 1591552"/>
                <a:gd name="connsiteX119" fmla="*/ 752888 w 1234168"/>
                <a:gd name="connsiteY119" fmla="*/ 1548666 h 1591552"/>
                <a:gd name="connsiteX120" fmla="*/ 729064 w 1234168"/>
                <a:gd name="connsiteY120" fmla="*/ 1529606 h 1591552"/>
                <a:gd name="connsiteX121" fmla="*/ 705236 w 1234168"/>
                <a:gd name="connsiteY121" fmla="*/ 1510544 h 1591552"/>
                <a:gd name="connsiteX122" fmla="*/ 681412 w 1234168"/>
                <a:gd name="connsiteY122" fmla="*/ 1496250 h 1591552"/>
                <a:gd name="connsiteX123" fmla="*/ 633760 w 1234168"/>
                <a:gd name="connsiteY123" fmla="*/ 1458128 h 1591552"/>
                <a:gd name="connsiteX124" fmla="*/ 609936 w 1234168"/>
                <a:gd name="connsiteY124" fmla="*/ 1443834 h 1591552"/>
                <a:gd name="connsiteX125" fmla="*/ 595640 w 1234168"/>
                <a:gd name="connsiteY125" fmla="*/ 1434302 h 1591552"/>
                <a:gd name="connsiteX126" fmla="*/ 590876 w 1234168"/>
                <a:gd name="connsiteY126" fmla="*/ 1429538 h 1591552"/>
                <a:gd name="connsiteX127" fmla="*/ 586108 w 1234168"/>
                <a:gd name="connsiteY127" fmla="*/ 1415242 h 1591552"/>
                <a:gd name="connsiteX128" fmla="*/ 581344 w 1234168"/>
                <a:gd name="connsiteY128" fmla="*/ 1410478 h 1591552"/>
                <a:gd name="connsiteX129" fmla="*/ 576580 w 1234168"/>
                <a:gd name="connsiteY129" fmla="*/ 1410478 h 1591552"/>
                <a:gd name="connsiteX130" fmla="*/ 567048 w 1234168"/>
                <a:gd name="connsiteY130" fmla="*/ 1405712 h 1591552"/>
                <a:gd name="connsiteX131" fmla="*/ 567048 w 1234168"/>
                <a:gd name="connsiteY131" fmla="*/ 1400946 h 1591552"/>
                <a:gd name="connsiteX132" fmla="*/ 567048 w 1234168"/>
                <a:gd name="connsiteY132" fmla="*/ 1391416 h 1591552"/>
                <a:gd name="connsiteX133" fmla="*/ 576580 w 1234168"/>
                <a:gd name="connsiteY133" fmla="*/ 1377122 h 1591552"/>
                <a:gd name="connsiteX134" fmla="*/ 576580 w 1234168"/>
                <a:gd name="connsiteY134" fmla="*/ 1367592 h 1591552"/>
                <a:gd name="connsiteX135" fmla="*/ 576580 w 1234168"/>
                <a:gd name="connsiteY135" fmla="*/ 1353296 h 1591552"/>
                <a:gd name="connsiteX136" fmla="*/ 576580 w 1234168"/>
                <a:gd name="connsiteY136" fmla="*/ 1339000 h 1591552"/>
                <a:gd name="connsiteX137" fmla="*/ 571816 w 1234168"/>
                <a:gd name="connsiteY137" fmla="*/ 1334236 h 1591552"/>
                <a:gd name="connsiteX138" fmla="*/ 557520 w 1234168"/>
                <a:gd name="connsiteY138" fmla="*/ 1324706 h 1591552"/>
                <a:gd name="connsiteX139" fmla="*/ 524164 w 1234168"/>
                <a:gd name="connsiteY139" fmla="*/ 1305644 h 1591552"/>
                <a:gd name="connsiteX140" fmla="*/ 490808 w 1234168"/>
                <a:gd name="connsiteY140" fmla="*/ 1291350 h 1591552"/>
                <a:gd name="connsiteX141" fmla="*/ 457452 w 1234168"/>
                <a:gd name="connsiteY141" fmla="*/ 1272288 h 1591552"/>
                <a:gd name="connsiteX142" fmla="*/ 424096 w 1234168"/>
                <a:gd name="connsiteY142" fmla="*/ 1253228 h 1591552"/>
                <a:gd name="connsiteX143" fmla="*/ 390740 w 1234168"/>
                <a:gd name="connsiteY143" fmla="*/ 1234168 h 1591552"/>
                <a:gd name="connsiteX144" fmla="*/ 357384 w 1234168"/>
                <a:gd name="connsiteY144" fmla="*/ 1215108 h 1591552"/>
                <a:gd name="connsiteX145" fmla="*/ 324028 w 1234168"/>
                <a:gd name="connsiteY145" fmla="*/ 1196046 h 1591552"/>
                <a:gd name="connsiteX146" fmla="*/ 290672 w 1234168"/>
                <a:gd name="connsiteY146" fmla="*/ 1176986 h 1591552"/>
                <a:gd name="connsiteX147" fmla="*/ 223960 w 1234168"/>
                <a:gd name="connsiteY147" fmla="*/ 1138866 h 1591552"/>
                <a:gd name="connsiteX148" fmla="*/ 190604 w 1234168"/>
                <a:gd name="connsiteY148" fmla="*/ 1119804 h 1591552"/>
                <a:gd name="connsiteX149" fmla="*/ 123892 w 1234168"/>
                <a:gd name="connsiteY149" fmla="*/ 1086448 h 1591552"/>
                <a:gd name="connsiteX150" fmla="*/ 90536 w 1234168"/>
                <a:gd name="connsiteY150" fmla="*/ 1067388 h 1591552"/>
                <a:gd name="connsiteX151" fmla="*/ 57180 w 1234168"/>
                <a:gd name="connsiteY151" fmla="*/ 1048328 h 1591552"/>
                <a:gd name="connsiteX152" fmla="*/ 23824 w 1234168"/>
                <a:gd name="connsiteY152" fmla="*/ 1029268 h 1591552"/>
                <a:gd name="connsiteX153" fmla="*/ 9528 w 1234168"/>
                <a:gd name="connsiteY153" fmla="*/ 1019736 h 1591552"/>
                <a:gd name="connsiteX154" fmla="*/ 14296 w 1234168"/>
                <a:gd name="connsiteY154" fmla="*/ 1019736 h 1591552"/>
                <a:gd name="connsiteX155" fmla="*/ 14296 w 1234168"/>
                <a:gd name="connsiteY155" fmla="*/ 1014972 h 1591552"/>
                <a:gd name="connsiteX156" fmla="*/ 19060 w 1234168"/>
                <a:gd name="connsiteY156" fmla="*/ 1010206 h 1591552"/>
                <a:gd name="connsiteX157" fmla="*/ 23824 w 1234168"/>
                <a:gd name="connsiteY157" fmla="*/ 1005442 h 1591552"/>
                <a:gd name="connsiteX158" fmla="*/ 28588 w 1234168"/>
                <a:gd name="connsiteY158" fmla="*/ 995912 h 1591552"/>
                <a:gd name="connsiteX159" fmla="*/ 19060 w 1234168"/>
                <a:gd name="connsiteY159" fmla="*/ 981616 h 1591552"/>
                <a:gd name="connsiteX160" fmla="*/ 14296 w 1234168"/>
                <a:gd name="connsiteY160" fmla="*/ 972086 h 1591552"/>
                <a:gd name="connsiteX161" fmla="*/ 9528 w 1234168"/>
                <a:gd name="connsiteY161" fmla="*/ 957790 h 1591552"/>
                <a:gd name="connsiteX162" fmla="*/ 14296 w 1234168"/>
                <a:gd name="connsiteY162" fmla="*/ 948260 h 1591552"/>
                <a:gd name="connsiteX163" fmla="*/ 28588 w 1234168"/>
                <a:gd name="connsiteY163" fmla="*/ 933964 h 1591552"/>
                <a:gd name="connsiteX164" fmla="*/ 38120 w 1234168"/>
                <a:gd name="connsiteY164" fmla="*/ 929200 h 1591552"/>
                <a:gd name="connsiteX165" fmla="*/ 47652 w 1234168"/>
                <a:gd name="connsiteY165" fmla="*/ 929200 h 1591552"/>
                <a:gd name="connsiteX166" fmla="*/ 52416 w 1234168"/>
                <a:gd name="connsiteY166" fmla="*/ 929200 h 1591552"/>
                <a:gd name="connsiteX167" fmla="*/ 61944 w 1234168"/>
                <a:gd name="connsiteY167" fmla="*/ 929200 h 1591552"/>
                <a:gd name="connsiteX168" fmla="*/ 66712 w 1234168"/>
                <a:gd name="connsiteY168" fmla="*/ 938730 h 1591552"/>
                <a:gd name="connsiteX169" fmla="*/ 71476 w 1234168"/>
                <a:gd name="connsiteY169" fmla="*/ 938730 h 1591552"/>
                <a:gd name="connsiteX170" fmla="*/ 76240 w 1234168"/>
                <a:gd name="connsiteY170" fmla="*/ 929200 h 1591552"/>
                <a:gd name="connsiteX171" fmla="*/ 76240 w 1234168"/>
                <a:gd name="connsiteY171" fmla="*/ 914904 h 1591552"/>
                <a:gd name="connsiteX172" fmla="*/ 90536 w 1234168"/>
                <a:gd name="connsiteY172" fmla="*/ 910138 h 1591552"/>
                <a:gd name="connsiteX173" fmla="*/ 114364 w 1234168"/>
                <a:gd name="connsiteY173" fmla="*/ 910138 h 1591552"/>
                <a:gd name="connsiteX174" fmla="*/ 128656 w 1234168"/>
                <a:gd name="connsiteY174" fmla="*/ 905374 h 1591552"/>
                <a:gd name="connsiteX175" fmla="*/ 128656 w 1234168"/>
                <a:gd name="connsiteY175" fmla="*/ 900608 h 1591552"/>
                <a:gd name="connsiteX176" fmla="*/ 114364 w 1234168"/>
                <a:gd name="connsiteY176" fmla="*/ 872018 h 1591552"/>
                <a:gd name="connsiteX177" fmla="*/ 85772 w 1234168"/>
                <a:gd name="connsiteY177" fmla="*/ 881548 h 1591552"/>
                <a:gd name="connsiteX178" fmla="*/ 66712 w 1234168"/>
                <a:gd name="connsiteY178" fmla="*/ 891078 h 1591552"/>
                <a:gd name="connsiteX179" fmla="*/ 61944 w 1234168"/>
                <a:gd name="connsiteY179" fmla="*/ 895844 h 1591552"/>
                <a:gd name="connsiteX180" fmla="*/ 57180 w 1234168"/>
                <a:gd name="connsiteY180" fmla="*/ 910138 h 1591552"/>
                <a:gd name="connsiteX181" fmla="*/ 52416 w 1234168"/>
                <a:gd name="connsiteY181" fmla="*/ 910138 h 1591552"/>
                <a:gd name="connsiteX182" fmla="*/ 52416 w 1234168"/>
                <a:gd name="connsiteY182" fmla="*/ 914904 h 1591552"/>
                <a:gd name="connsiteX183" fmla="*/ 47652 w 1234168"/>
                <a:gd name="connsiteY183" fmla="*/ 914904 h 1591552"/>
                <a:gd name="connsiteX184" fmla="*/ 38120 w 1234168"/>
                <a:gd name="connsiteY184" fmla="*/ 900608 h 1591552"/>
                <a:gd name="connsiteX185" fmla="*/ 19060 w 1234168"/>
                <a:gd name="connsiteY185" fmla="*/ 886314 h 1591552"/>
                <a:gd name="connsiteX186" fmla="*/ 19060 w 1234168"/>
                <a:gd name="connsiteY186" fmla="*/ 881548 h 1591552"/>
                <a:gd name="connsiteX187" fmla="*/ 23824 w 1234168"/>
                <a:gd name="connsiteY187" fmla="*/ 872018 h 1591552"/>
                <a:gd name="connsiteX188" fmla="*/ 19060 w 1234168"/>
                <a:gd name="connsiteY188" fmla="*/ 872018 h 1591552"/>
                <a:gd name="connsiteX189" fmla="*/ 9528 w 1234168"/>
                <a:gd name="connsiteY189" fmla="*/ 872018 h 1591552"/>
                <a:gd name="connsiteX190" fmla="*/ 9528 w 1234168"/>
                <a:gd name="connsiteY190" fmla="*/ 867252 h 1591552"/>
                <a:gd name="connsiteX191" fmla="*/ 4764 w 1234168"/>
                <a:gd name="connsiteY191" fmla="*/ 862488 h 1591552"/>
                <a:gd name="connsiteX192" fmla="*/ 0 w 1234168"/>
                <a:gd name="connsiteY192" fmla="*/ 857722 h 1591552"/>
                <a:gd name="connsiteX193" fmla="*/ 0 w 1234168"/>
                <a:gd name="connsiteY193" fmla="*/ 843428 h 1591552"/>
                <a:gd name="connsiteX194" fmla="*/ 0 w 1234168"/>
                <a:gd name="connsiteY194" fmla="*/ 824366 h 1591552"/>
                <a:gd name="connsiteX195" fmla="*/ 9528 w 1234168"/>
                <a:gd name="connsiteY195" fmla="*/ 814836 h 1591552"/>
                <a:gd name="connsiteX196" fmla="*/ 14296 w 1234168"/>
                <a:gd name="connsiteY196" fmla="*/ 800542 h 1591552"/>
                <a:gd name="connsiteX197" fmla="*/ 19060 w 1234168"/>
                <a:gd name="connsiteY197" fmla="*/ 781480 h 1591552"/>
                <a:gd name="connsiteX198" fmla="*/ 28588 w 1234168"/>
                <a:gd name="connsiteY198" fmla="*/ 762420 h 1591552"/>
                <a:gd name="connsiteX199" fmla="*/ 47652 w 1234168"/>
                <a:gd name="connsiteY199" fmla="*/ 752890 h 1591552"/>
                <a:gd name="connsiteX200" fmla="*/ 47652 w 1234168"/>
                <a:gd name="connsiteY200" fmla="*/ 743360 h 1591552"/>
                <a:gd name="connsiteX201" fmla="*/ 66712 w 1234168"/>
                <a:gd name="connsiteY201" fmla="*/ 724300 h 1591552"/>
                <a:gd name="connsiteX202" fmla="*/ 76240 w 1234168"/>
                <a:gd name="connsiteY202" fmla="*/ 695708 h 1591552"/>
                <a:gd name="connsiteX203" fmla="*/ 85772 w 1234168"/>
                <a:gd name="connsiteY203" fmla="*/ 686178 h 1591552"/>
                <a:gd name="connsiteX204" fmla="*/ 95300 w 1234168"/>
                <a:gd name="connsiteY204" fmla="*/ 676648 h 1591552"/>
                <a:gd name="connsiteX205" fmla="*/ 104832 w 1234168"/>
                <a:gd name="connsiteY205" fmla="*/ 671882 h 1591552"/>
                <a:gd name="connsiteX206" fmla="*/ 114364 w 1234168"/>
                <a:gd name="connsiteY206" fmla="*/ 667118 h 1591552"/>
                <a:gd name="connsiteX207" fmla="*/ 123892 w 1234168"/>
                <a:gd name="connsiteY207" fmla="*/ 667118 h 1591552"/>
                <a:gd name="connsiteX208" fmla="*/ 128656 w 1234168"/>
                <a:gd name="connsiteY208" fmla="*/ 667118 h 1591552"/>
                <a:gd name="connsiteX209" fmla="*/ 128656 w 1234168"/>
                <a:gd name="connsiteY209" fmla="*/ 662352 h 1591552"/>
                <a:gd name="connsiteX210" fmla="*/ 123892 w 1234168"/>
                <a:gd name="connsiteY210" fmla="*/ 643292 h 1591552"/>
                <a:gd name="connsiteX211" fmla="*/ 133424 w 1234168"/>
                <a:gd name="connsiteY211" fmla="*/ 624232 h 1591552"/>
                <a:gd name="connsiteX212" fmla="*/ 142952 w 1234168"/>
                <a:gd name="connsiteY212" fmla="*/ 614702 h 1591552"/>
                <a:gd name="connsiteX213" fmla="*/ 147716 w 1234168"/>
                <a:gd name="connsiteY213" fmla="*/ 609936 h 1591552"/>
                <a:gd name="connsiteX214" fmla="*/ 152484 w 1234168"/>
                <a:gd name="connsiteY214" fmla="*/ 600406 h 1591552"/>
                <a:gd name="connsiteX215" fmla="*/ 152484 w 1234168"/>
                <a:gd name="connsiteY215" fmla="*/ 590876 h 1591552"/>
                <a:gd name="connsiteX216" fmla="*/ 157248 w 1234168"/>
                <a:gd name="connsiteY216" fmla="*/ 581346 h 1591552"/>
                <a:gd name="connsiteX217" fmla="*/ 157248 w 1234168"/>
                <a:gd name="connsiteY217" fmla="*/ 567050 h 1591552"/>
                <a:gd name="connsiteX218" fmla="*/ 152484 w 1234168"/>
                <a:gd name="connsiteY218" fmla="*/ 538460 h 1591552"/>
                <a:gd name="connsiteX219" fmla="*/ 147716 w 1234168"/>
                <a:gd name="connsiteY219" fmla="*/ 509868 h 1591552"/>
                <a:gd name="connsiteX220" fmla="*/ 142952 w 1234168"/>
                <a:gd name="connsiteY220" fmla="*/ 481278 h 1591552"/>
                <a:gd name="connsiteX221" fmla="*/ 142952 w 1234168"/>
                <a:gd name="connsiteY221" fmla="*/ 471748 h 1591552"/>
                <a:gd name="connsiteX222" fmla="*/ 138188 w 1234168"/>
                <a:gd name="connsiteY222" fmla="*/ 452686 h 1591552"/>
                <a:gd name="connsiteX223" fmla="*/ 133424 w 1234168"/>
                <a:gd name="connsiteY223" fmla="*/ 452686 h 1591552"/>
                <a:gd name="connsiteX224" fmla="*/ 128656 w 1234168"/>
                <a:gd name="connsiteY224" fmla="*/ 447922 h 1591552"/>
                <a:gd name="connsiteX225" fmla="*/ 123892 w 1234168"/>
                <a:gd name="connsiteY225" fmla="*/ 433626 h 1591552"/>
                <a:gd name="connsiteX226" fmla="*/ 119128 w 1234168"/>
                <a:gd name="connsiteY226" fmla="*/ 419332 h 1591552"/>
                <a:gd name="connsiteX227" fmla="*/ 114364 w 1234168"/>
                <a:gd name="connsiteY227" fmla="*/ 414566 h 1591552"/>
                <a:gd name="connsiteX228" fmla="*/ 95300 w 1234168"/>
                <a:gd name="connsiteY228" fmla="*/ 400270 h 1591552"/>
                <a:gd name="connsiteX229" fmla="*/ 85772 w 1234168"/>
                <a:gd name="connsiteY229" fmla="*/ 371680 h 1591552"/>
                <a:gd name="connsiteX230" fmla="*/ 71476 w 1234168"/>
                <a:gd name="connsiteY230" fmla="*/ 362150 h 1591552"/>
                <a:gd name="connsiteX231" fmla="*/ 66712 w 1234168"/>
                <a:gd name="connsiteY231" fmla="*/ 333558 h 1591552"/>
                <a:gd name="connsiteX232" fmla="*/ 66712 w 1234168"/>
                <a:gd name="connsiteY232" fmla="*/ 324028 h 1591552"/>
                <a:gd name="connsiteX233" fmla="*/ 71476 w 1234168"/>
                <a:gd name="connsiteY233" fmla="*/ 295438 h 1591552"/>
                <a:gd name="connsiteX234" fmla="*/ 71476 w 1234168"/>
                <a:gd name="connsiteY234" fmla="*/ 285908 h 1591552"/>
                <a:gd name="connsiteX235" fmla="*/ 61944 w 1234168"/>
                <a:gd name="connsiteY235" fmla="*/ 281142 h 1591552"/>
                <a:gd name="connsiteX236" fmla="*/ 42884 w 1234168"/>
                <a:gd name="connsiteY236" fmla="*/ 276378 h 1591552"/>
                <a:gd name="connsiteX237" fmla="*/ 28588 w 1234168"/>
                <a:gd name="connsiteY237" fmla="*/ 262082 h 1591552"/>
                <a:gd name="connsiteX238" fmla="*/ 28588 w 1234168"/>
                <a:gd name="connsiteY238" fmla="*/ 257316 h 1591552"/>
                <a:gd name="connsiteX239" fmla="*/ 33356 w 1234168"/>
                <a:gd name="connsiteY239" fmla="*/ 252552 h 1591552"/>
                <a:gd name="connsiteX240" fmla="*/ 23824 w 1234168"/>
                <a:gd name="connsiteY240" fmla="*/ 252552 h 1591552"/>
                <a:gd name="connsiteX241" fmla="*/ 0 w 1234168"/>
                <a:gd name="connsiteY241" fmla="*/ 200136 h 1591552"/>
                <a:gd name="connsiteX242" fmla="*/ 61944 w 1234168"/>
                <a:gd name="connsiteY242" fmla="*/ 138188 h 1591552"/>
                <a:gd name="connsiteX243" fmla="*/ 104832 w 1234168"/>
                <a:gd name="connsiteY243" fmla="*/ 95302 h 1591552"/>
                <a:gd name="connsiteX244" fmla="*/ 138188 w 1234168"/>
                <a:gd name="connsiteY244" fmla="*/ 61946 h 1591552"/>
                <a:gd name="connsiteX245" fmla="*/ 171544 w 1234168"/>
                <a:gd name="connsiteY245" fmla="*/ 28590 h 1591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</a:cxnLst>
              <a:rect l="l" t="t" r="r" b="b"/>
              <a:pathLst>
                <a:path w="1234168" h="1591552">
                  <a:moveTo>
                    <a:pt x="1110272" y="1176986"/>
                  </a:moveTo>
                  <a:lnTo>
                    <a:pt x="1115040" y="1181752"/>
                  </a:lnTo>
                  <a:lnTo>
                    <a:pt x="1115040" y="1186518"/>
                  </a:lnTo>
                  <a:lnTo>
                    <a:pt x="1095980" y="1196048"/>
                  </a:lnTo>
                  <a:lnTo>
                    <a:pt x="1091212" y="1196048"/>
                  </a:lnTo>
                  <a:lnTo>
                    <a:pt x="1091212" y="1186518"/>
                  </a:lnTo>
                  <a:close/>
                  <a:moveTo>
                    <a:pt x="200136" y="0"/>
                  </a:moveTo>
                  <a:lnTo>
                    <a:pt x="200136" y="4766"/>
                  </a:lnTo>
                  <a:lnTo>
                    <a:pt x="200136" y="14296"/>
                  </a:lnTo>
                  <a:lnTo>
                    <a:pt x="204900" y="19060"/>
                  </a:lnTo>
                  <a:lnTo>
                    <a:pt x="209664" y="19060"/>
                  </a:lnTo>
                  <a:lnTo>
                    <a:pt x="219196" y="19060"/>
                  </a:lnTo>
                  <a:lnTo>
                    <a:pt x="223960" y="14296"/>
                  </a:lnTo>
                  <a:lnTo>
                    <a:pt x="233492" y="9530"/>
                  </a:lnTo>
                  <a:lnTo>
                    <a:pt x="276376" y="23826"/>
                  </a:lnTo>
                  <a:lnTo>
                    <a:pt x="281140" y="33356"/>
                  </a:lnTo>
                  <a:lnTo>
                    <a:pt x="281140" y="42886"/>
                  </a:lnTo>
                  <a:lnTo>
                    <a:pt x="285908" y="52416"/>
                  </a:lnTo>
                  <a:lnTo>
                    <a:pt x="281140" y="61946"/>
                  </a:lnTo>
                  <a:lnTo>
                    <a:pt x="276376" y="85772"/>
                  </a:lnTo>
                  <a:lnTo>
                    <a:pt x="276376" y="104832"/>
                  </a:lnTo>
                  <a:lnTo>
                    <a:pt x="290672" y="123894"/>
                  </a:lnTo>
                  <a:lnTo>
                    <a:pt x="300204" y="138188"/>
                  </a:lnTo>
                  <a:lnTo>
                    <a:pt x="309732" y="157250"/>
                  </a:lnTo>
                  <a:lnTo>
                    <a:pt x="319264" y="162014"/>
                  </a:lnTo>
                  <a:lnTo>
                    <a:pt x="328792" y="162014"/>
                  </a:lnTo>
                  <a:lnTo>
                    <a:pt x="357384" y="162014"/>
                  </a:lnTo>
                  <a:lnTo>
                    <a:pt x="400268" y="166780"/>
                  </a:lnTo>
                  <a:lnTo>
                    <a:pt x="443156" y="166780"/>
                  </a:lnTo>
                  <a:lnTo>
                    <a:pt x="447920" y="166780"/>
                  </a:lnTo>
                  <a:lnTo>
                    <a:pt x="457452" y="166780"/>
                  </a:lnTo>
                  <a:lnTo>
                    <a:pt x="495572" y="195370"/>
                  </a:lnTo>
                  <a:lnTo>
                    <a:pt x="528928" y="214430"/>
                  </a:lnTo>
                  <a:lnTo>
                    <a:pt x="562284" y="238256"/>
                  </a:lnTo>
                  <a:lnTo>
                    <a:pt x="590876" y="257316"/>
                  </a:lnTo>
                  <a:lnTo>
                    <a:pt x="619464" y="271612"/>
                  </a:lnTo>
                  <a:lnTo>
                    <a:pt x="638528" y="290672"/>
                  </a:lnTo>
                  <a:lnTo>
                    <a:pt x="662352" y="295438"/>
                  </a:lnTo>
                  <a:lnTo>
                    <a:pt x="695708" y="295438"/>
                  </a:lnTo>
                  <a:lnTo>
                    <a:pt x="724300" y="295438"/>
                  </a:lnTo>
                  <a:lnTo>
                    <a:pt x="743360" y="304968"/>
                  </a:lnTo>
                  <a:lnTo>
                    <a:pt x="776716" y="309734"/>
                  </a:lnTo>
                  <a:lnTo>
                    <a:pt x="805304" y="309734"/>
                  </a:lnTo>
                  <a:lnTo>
                    <a:pt x="819600" y="314498"/>
                  </a:lnTo>
                  <a:lnTo>
                    <a:pt x="862488" y="319264"/>
                  </a:lnTo>
                  <a:lnTo>
                    <a:pt x="867252" y="314498"/>
                  </a:lnTo>
                  <a:lnTo>
                    <a:pt x="886312" y="300202"/>
                  </a:lnTo>
                  <a:lnTo>
                    <a:pt x="905372" y="271612"/>
                  </a:lnTo>
                  <a:lnTo>
                    <a:pt x="914904" y="257316"/>
                  </a:lnTo>
                  <a:lnTo>
                    <a:pt x="943496" y="243022"/>
                  </a:lnTo>
                  <a:lnTo>
                    <a:pt x="991144" y="219196"/>
                  </a:lnTo>
                  <a:lnTo>
                    <a:pt x="1024500" y="204900"/>
                  </a:lnTo>
                  <a:lnTo>
                    <a:pt x="1057856" y="190606"/>
                  </a:lnTo>
                  <a:lnTo>
                    <a:pt x="1076916" y="204900"/>
                  </a:lnTo>
                  <a:lnTo>
                    <a:pt x="1100744" y="223960"/>
                  </a:lnTo>
                  <a:lnTo>
                    <a:pt x="1110272" y="233492"/>
                  </a:lnTo>
                  <a:lnTo>
                    <a:pt x="1119804" y="238256"/>
                  </a:lnTo>
                  <a:lnTo>
                    <a:pt x="1129336" y="243022"/>
                  </a:lnTo>
                  <a:lnTo>
                    <a:pt x="1153160" y="243022"/>
                  </a:lnTo>
                  <a:lnTo>
                    <a:pt x="1172220" y="238256"/>
                  </a:lnTo>
                  <a:lnTo>
                    <a:pt x="1210340" y="238256"/>
                  </a:lnTo>
                  <a:lnTo>
                    <a:pt x="1234168" y="238256"/>
                  </a:lnTo>
                  <a:lnTo>
                    <a:pt x="1215108" y="266848"/>
                  </a:lnTo>
                  <a:lnTo>
                    <a:pt x="1191280" y="300202"/>
                  </a:lnTo>
                  <a:lnTo>
                    <a:pt x="1148396" y="357384"/>
                  </a:lnTo>
                  <a:lnTo>
                    <a:pt x="1115040" y="390740"/>
                  </a:lnTo>
                  <a:lnTo>
                    <a:pt x="1091212" y="414566"/>
                  </a:lnTo>
                  <a:lnTo>
                    <a:pt x="1091212" y="419332"/>
                  </a:lnTo>
                  <a:lnTo>
                    <a:pt x="1091212" y="509868"/>
                  </a:lnTo>
                  <a:lnTo>
                    <a:pt x="1091212" y="643292"/>
                  </a:lnTo>
                  <a:lnTo>
                    <a:pt x="1091212" y="776716"/>
                  </a:lnTo>
                  <a:lnTo>
                    <a:pt x="1091212" y="905374"/>
                  </a:lnTo>
                  <a:lnTo>
                    <a:pt x="1091212" y="972086"/>
                  </a:lnTo>
                  <a:lnTo>
                    <a:pt x="1091212" y="995912"/>
                  </a:lnTo>
                  <a:lnTo>
                    <a:pt x="1134100" y="1048328"/>
                  </a:lnTo>
                  <a:lnTo>
                    <a:pt x="1162692" y="1086448"/>
                  </a:lnTo>
                  <a:lnTo>
                    <a:pt x="1176984" y="1105510"/>
                  </a:lnTo>
                  <a:lnTo>
                    <a:pt x="1181752" y="1110274"/>
                  </a:lnTo>
                  <a:lnTo>
                    <a:pt x="1176984" y="1124570"/>
                  </a:lnTo>
                  <a:lnTo>
                    <a:pt x="1157924" y="1148396"/>
                  </a:lnTo>
                  <a:lnTo>
                    <a:pt x="1138864" y="1162690"/>
                  </a:lnTo>
                  <a:lnTo>
                    <a:pt x="1110272" y="1167456"/>
                  </a:lnTo>
                  <a:lnTo>
                    <a:pt x="1105508" y="1167456"/>
                  </a:lnTo>
                  <a:lnTo>
                    <a:pt x="1095980" y="1162690"/>
                  </a:lnTo>
                  <a:lnTo>
                    <a:pt x="1091212" y="1172220"/>
                  </a:lnTo>
                  <a:lnTo>
                    <a:pt x="1086448" y="1181752"/>
                  </a:lnTo>
                  <a:lnTo>
                    <a:pt x="1081684" y="1176986"/>
                  </a:lnTo>
                  <a:lnTo>
                    <a:pt x="1076916" y="1176986"/>
                  </a:lnTo>
                  <a:lnTo>
                    <a:pt x="1081684" y="1191282"/>
                  </a:lnTo>
                  <a:lnTo>
                    <a:pt x="1081684" y="1200812"/>
                  </a:lnTo>
                  <a:lnTo>
                    <a:pt x="1081684" y="1215108"/>
                  </a:lnTo>
                  <a:lnTo>
                    <a:pt x="1067388" y="1224638"/>
                  </a:lnTo>
                  <a:lnTo>
                    <a:pt x="1067388" y="1234168"/>
                  </a:lnTo>
                  <a:lnTo>
                    <a:pt x="1038796" y="1257994"/>
                  </a:lnTo>
                  <a:lnTo>
                    <a:pt x="1005440" y="1257994"/>
                  </a:lnTo>
                  <a:lnTo>
                    <a:pt x="981616" y="1272288"/>
                  </a:lnTo>
                  <a:lnTo>
                    <a:pt x="972084" y="1277054"/>
                  </a:lnTo>
                  <a:lnTo>
                    <a:pt x="967320" y="1300880"/>
                  </a:lnTo>
                  <a:lnTo>
                    <a:pt x="972084" y="1329470"/>
                  </a:lnTo>
                  <a:lnTo>
                    <a:pt x="957788" y="1353296"/>
                  </a:lnTo>
                  <a:lnTo>
                    <a:pt x="957788" y="1367592"/>
                  </a:lnTo>
                  <a:lnTo>
                    <a:pt x="938728" y="1381886"/>
                  </a:lnTo>
                  <a:lnTo>
                    <a:pt x="929200" y="1396182"/>
                  </a:lnTo>
                  <a:lnTo>
                    <a:pt x="924432" y="1410478"/>
                  </a:lnTo>
                  <a:lnTo>
                    <a:pt x="919668" y="1420008"/>
                  </a:lnTo>
                  <a:lnTo>
                    <a:pt x="910140" y="1448598"/>
                  </a:lnTo>
                  <a:lnTo>
                    <a:pt x="900608" y="1472424"/>
                  </a:lnTo>
                  <a:lnTo>
                    <a:pt x="900608" y="1477190"/>
                  </a:lnTo>
                  <a:lnTo>
                    <a:pt x="895844" y="1481954"/>
                  </a:lnTo>
                  <a:lnTo>
                    <a:pt x="891076" y="1496250"/>
                  </a:lnTo>
                  <a:lnTo>
                    <a:pt x="886312" y="1501014"/>
                  </a:lnTo>
                  <a:lnTo>
                    <a:pt x="881548" y="1510544"/>
                  </a:lnTo>
                  <a:lnTo>
                    <a:pt x="857720" y="1558196"/>
                  </a:lnTo>
                  <a:lnTo>
                    <a:pt x="843428" y="1582022"/>
                  </a:lnTo>
                  <a:lnTo>
                    <a:pt x="829132" y="1577256"/>
                  </a:lnTo>
                  <a:lnTo>
                    <a:pt x="819600" y="1586786"/>
                  </a:lnTo>
                  <a:lnTo>
                    <a:pt x="819600" y="1591552"/>
                  </a:lnTo>
                  <a:lnTo>
                    <a:pt x="814836" y="1591552"/>
                  </a:lnTo>
                  <a:lnTo>
                    <a:pt x="776716" y="1562962"/>
                  </a:lnTo>
                  <a:lnTo>
                    <a:pt x="752888" y="1548666"/>
                  </a:lnTo>
                  <a:lnTo>
                    <a:pt x="729064" y="1529606"/>
                  </a:lnTo>
                  <a:lnTo>
                    <a:pt x="705236" y="1510544"/>
                  </a:lnTo>
                  <a:lnTo>
                    <a:pt x="681412" y="1496250"/>
                  </a:lnTo>
                  <a:lnTo>
                    <a:pt x="633760" y="1458128"/>
                  </a:lnTo>
                  <a:lnTo>
                    <a:pt x="609936" y="1443834"/>
                  </a:lnTo>
                  <a:lnTo>
                    <a:pt x="595640" y="1434302"/>
                  </a:lnTo>
                  <a:lnTo>
                    <a:pt x="590876" y="1429538"/>
                  </a:lnTo>
                  <a:lnTo>
                    <a:pt x="586108" y="1415242"/>
                  </a:lnTo>
                  <a:lnTo>
                    <a:pt x="581344" y="1410478"/>
                  </a:lnTo>
                  <a:lnTo>
                    <a:pt x="576580" y="1410478"/>
                  </a:lnTo>
                  <a:lnTo>
                    <a:pt x="567048" y="1405712"/>
                  </a:lnTo>
                  <a:lnTo>
                    <a:pt x="567048" y="1400946"/>
                  </a:lnTo>
                  <a:lnTo>
                    <a:pt x="567048" y="1391416"/>
                  </a:lnTo>
                  <a:lnTo>
                    <a:pt x="576580" y="1377122"/>
                  </a:lnTo>
                  <a:lnTo>
                    <a:pt x="576580" y="1367592"/>
                  </a:lnTo>
                  <a:lnTo>
                    <a:pt x="576580" y="1353296"/>
                  </a:lnTo>
                  <a:lnTo>
                    <a:pt x="576580" y="1339000"/>
                  </a:lnTo>
                  <a:lnTo>
                    <a:pt x="571816" y="1334236"/>
                  </a:lnTo>
                  <a:lnTo>
                    <a:pt x="557520" y="1324706"/>
                  </a:lnTo>
                  <a:lnTo>
                    <a:pt x="524164" y="1305644"/>
                  </a:lnTo>
                  <a:lnTo>
                    <a:pt x="490808" y="1291350"/>
                  </a:lnTo>
                  <a:lnTo>
                    <a:pt x="457452" y="1272288"/>
                  </a:lnTo>
                  <a:lnTo>
                    <a:pt x="424096" y="1253228"/>
                  </a:lnTo>
                  <a:lnTo>
                    <a:pt x="390740" y="1234168"/>
                  </a:lnTo>
                  <a:lnTo>
                    <a:pt x="357384" y="1215108"/>
                  </a:lnTo>
                  <a:lnTo>
                    <a:pt x="324028" y="1196046"/>
                  </a:lnTo>
                  <a:lnTo>
                    <a:pt x="290672" y="1176986"/>
                  </a:lnTo>
                  <a:lnTo>
                    <a:pt x="223960" y="1138866"/>
                  </a:lnTo>
                  <a:lnTo>
                    <a:pt x="190604" y="1119804"/>
                  </a:lnTo>
                  <a:lnTo>
                    <a:pt x="123892" y="1086448"/>
                  </a:lnTo>
                  <a:lnTo>
                    <a:pt x="90536" y="1067388"/>
                  </a:lnTo>
                  <a:lnTo>
                    <a:pt x="57180" y="1048328"/>
                  </a:lnTo>
                  <a:lnTo>
                    <a:pt x="23824" y="1029268"/>
                  </a:lnTo>
                  <a:lnTo>
                    <a:pt x="9528" y="1019736"/>
                  </a:lnTo>
                  <a:lnTo>
                    <a:pt x="14296" y="1019736"/>
                  </a:lnTo>
                  <a:lnTo>
                    <a:pt x="14296" y="1014972"/>
                  </a:lnTo>
                  <a:lnTo>
                    <a:pt x="19060" y="1010206"/>
                  </a:lnTo>
                  <a:lnTo>
                    <a:pt x="23824" y="1005442"/>
                  </a:lnTo>
                  <a:lnTo>
                    <a:pt x="28588" y="995912"/>
                  </a:lnTo>
                  <a:lnTo>
                    <a:pt x="19060" y="981616"/>
                  </a:lnTo>
                  <a:lnTo>
                    <a:pt x="14296" y="972086"/>
                  </a:lnTo>
                  <a:lnTo>
                    <a:pt x="9528" y="957790"/>
                  </a:lnTo>
                  <a:lnTo>
                    <a:pt x="14296" y="948260"/>
                  </a:lnTo>
                  <a:lnTo>
                    <a:pt x="28588" y="933964"/>
                  </a:lnTo>
                  <a:lnTo>
                    <a:pt x="38120" y="929200"/>
                  </a:lnTo>
                  <a:lnTo>
                    <a:pt x="47652" y="929200"/>
                  </a:lnTo>
                  <a:lnTo>
                    <a:pt x="52416" y="929200"/>
                  </a:lnTo>
                  <a:lnTo>
                    <a:pt x="61944" y="929200"/>
                  </a:lnTo>
                  <a:lnTo>
                    <a:pt x="66712" y="938730"/>
                  </a:lnTo>
                  <a:lnTo>
                    <a:pt x="71476" y="938730"/>
                  </a:lnTo>
                  <a:lnTo>
                    <a:pt x="76240" y="929200"/>
                  </a:lnTo>
                  <a:lnTo>
                    <a:pt x="76240" y="914904"/>
                  </a:lnTo>
                  <a:lnTo>
                    <a:pt x="90536" y="910138"/>
                  </a:lnTo>
                  <a:lnTo>
                    <a:pt x="114364" y="910138"/>
                  </a:lnTo>
                  <a:lnTo>
                    <a:pt x="128656" y="905374"/>
                  </a:lnTo>
                  <a:lnTo>
                    <a:pt x="128656" y="900608"/>
                  </a:lnTo>
                  <a:lnTo>
                    <a:pt x="114364" y="872018"/>
                  </a:lnTo>
                  <a:lnTo>
                    <a:pt x="85772" y="881548"/>
                  </a:lnTo>
                  <a:lnTo>
                    <a:pt x="66712" y="891078"/>
                  </a:lnTo>
                  <a:lnTo>
                    <a:pt x="61944" y="895844"/>
                  </a:lnTo>
                  <a:lnTo>
                    <a:pt x="57180" y="910138"/>
                  </a:lnTo>
                  <a:lnTo>
                    <a:pt x="52416" y="910138"/>
                  </a:lnTo>
                  <a:lnTo>
                    <a:pt x="52416" y="914904"/>
                  </a:lnTo>
                  <a:lnTo>
                    <a:pt x="47652" y="914904"/>
                  </a:lnTo>
                  <a:lnTo>
                    <a:pt x="38120" y="900608"/>
                  </a:lnTo>
                  <a:lnTo>
                    <a:pt x="19060" y="886314"/>
                  </a:lnTo>
                  <a:lnTo>
                    <a:pt x="19060" y="881548"/>
                  </a:lnTo>
                  <a:lnTo>
                    <a:pt x="23824" y="872018"/>
                  </a:lnTo>
                  <a:lnTo>
                    <a:pt x="19060" y="872018"/>
                  </a:lnTo>
                  <a:lnTo>
                    <a:pt x="9528" y="872018"/>
                  </a:lnTo>
                  <a:lnTo>
                    <a:pt x="9528" y="867252"/>
                  </a:lnTo>
                  <a:lnTo>
                    <a:pt x="4764" y="862488"/>
                  </a:lnTo>
                  <a:lnTo>
                    <a:pt x="0" y="857722"/>
                  </a:lnTo>
                  <a:lnTo>
                    <a:pt x="0" y="843428"/>
                  </a:lnTo>
                  <a:lnTo>
                    <a:pt x="0" y="824366"/>
                  </a:lnTo>
                  <a:lnTo>
                    <a:pt x="9528" y="814836"/>
                  </a:lnTo>
                  <a:lnTo>
                    <a:pt x="14296" y="800542"/>
                  </a:lnTo>
                  <a:lnTo>
                    <a:pt x="19060" y="781480"/>
                  </a:lnTo>
                  <a:lnTo>
                    <a:pt x="28588" y="762420"/>
                  </a:lnTo>
                  <a:lnTo>
                    <a:pt x="47652" y="752890"/>
                  </a:lnTo>
                  <a:lnTo>
                    <a:pt x="47652" y="743360"/>
                  </a:lnTo>
                  <a:lnTo>
                    <a:pt x="66712" y="724300"/>
                  </a:lnTo>
                  <a:lnTo>
                    <a:pt x="76240" y="695708"/>
                  </a:lnTo>
                  <a:lnTo>
                    <a:pt x="85772" y="686178"/>
                  </a:lnTo>
                  <a:lnTo>
                    <a:pt x="95300" y="676648"/>
                  </a:lnTo>
                  <a:lnTo>
                    <a:pt x="104832" y="671882"/>
                  </a:lnTo>
                  <a:lnTo>
                    <a:pt x="114364" y="667118"/>
                  </a:lnTo>
                  <a:lnTo>
                    <a:pt x="123892" y="667118"/>
                  </a:lnTo>
                  <a:lnTo>
                    <a:pt x="128656" y="667118"/>
                  </a:lnTo>
                  <a:lnTo>
                    <a:pt x="128656" y="662352"/>
                  </a:lnTo>
                  <a:lnTo>
                    <a:pt x="123892" y="643292"/>
                  </a:lnTo>
                  <a:lnTo>
                    <a:pt x="133424" y="624232"/>
                  </a:lnTo>
                  <a:lnTo>
                    <a:pt x="142952" y="614702"/>
                  </a:lnTo>
                  <a:lnTo>
                    <a:pt x="147716" y="609936"/>
                  </a:lnTo>
                  <a:lnTo>
                    <a:pt x="152484" y="600406"/>
                  </a:lnTo>
                  <a:lnTo>
                    <a:pt x="152484" y="590876"/>
                  </a:lnTo>
                  <a:lnTo>
                    <a:pt x="157248" y="581346"/>
                  </a:lnTo>
                  <a:lnTo>
                    <a:pt x="157248" y="567050"/>
                  </a:lnTo>
                  <a:lnTo>
                    <a:pt x="152484" y="538460"/>
                  </a:lnTo>
                  <a:lnTo>
                    <a:pt x="147716" y="509868"/>
                  </a:lnTo>
                  <a:lnTo>
                    <a:pt x="142952" y="481278"/>
                  </a:lnTo>
                  <a:lnTo>
                    <a:pt x="142952" y="471748"/>
                  </a:lnTo>
                  <a:lnTo>
                    <a:pt x="138188" y="452686"/>
                  </a:lnTo>
                  <a:lnTo>
                    <a:pt x="133424" y="452686"/>
                  </a:lnTo>
                  <a:lnTo>
                    <a:pt x="128656" y="447922"/>
                  </a:lnTo>
                  <a:lnTo>
                    <a:pt x="123892" y="433626"/>
                  </a:lnTo>
                  <a:lnTo>
                    <a:pt x="119128" y="419332"/>
                  </a:lnTo>
                  <a:lnTo>
                    <a:pt x="114364" y="414566"/>
                  </a:lnTo>
                  <a:lnTo>
                    <a:pt x="95300" y="400270"/>
                  </a:lnTo>
                  <a:lnTo>
                    <a:pt x="85772" y="371680"/>
                  </a:lnTo>
                  <a:lnTo>
                    <a:pt x="71476" y="362150"/>
                  </a:lnTo>
                  <a:lnTo>
                    <a:pt x="66712" y="333558"/>
                  </a:lnTo>
                  <a:lnTo>
                    <a:pt x="66712" y="324028"/>
                  </a:lnTo>
                  <a:lnTo>
                    <a:pt x="71476" y="295438"/>
                  </a:lnTo>
                  <a:lnTo>
                    <a:pt x="71476" y="285908"/>
                  </a:lnTo>
                  <a:lnTo>
                    <a:pt x="61944" y="281142"/>
                  </a:lnTo>
                  <a:lnTo>
                    <a:pt x="42884" y="276378"/>
                  </a:lnTo>
                  <a:lnTo>
                    <a:pt x="28588" y="262082"/>
                  </a:lnTo>
                  <a:lnTo>
                    <a:pt x="28588" y="257316"/>
                  </a:lnTo>
                  <a:lnTo>
                    <a:pt x="33356" y="252552"/>
                  </a:lnTo>
                  <a:lnTo>
                    <a:pt x="23824" y="252552"/>
                  </a:lnTo>
                  <a:lnTo>
                    <a:pt x="0" y="200136"/>
                  </a:lnTo>
                  <a:lnTo>
                    <a:pt x="61944" y="138188"/>
                  </a:lnTo>
                  <a:lnTo>
                    <a:pt x="104832" y="95302"/>
                  </a:lnTo>
                  <a:lnTo>
                    <a:pt x="138188" y="61946"/>
                  </a:lnTo>
                  <a:lnTo>
                    <a:pt x="171544" y="2859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6" name="Freeform 6380">
              <a:extLst>
                <a:ext uri="{FF2B5EF4-FFF2-40B4-BE49-F238E27FC236}">
                  <a16:creationId xmlns:a16="http://schemas.microsoft.com/office/drawing/2014/main" id="{077B1B6C-5F69-484F-93F2-C50E14F6C1BE}"/>
                </a:ext>
              </a:extLst>
            </p:cNvPr>
            <p:cNvSpPr/>
            <p:nvPr/>
          </p:nvSpPr>
          <p:spPr bwMode="auto">
            <a:xfrm>
              <a:off x="5774855" y="4091212"/>
              <a:ext cx="104068" cy="138758"/>
            </a:xfrm>
            <a:custGeom>
              <a:avLst/>
              <a:gdLst>
                <a:gd name="T0" fmla="*/ 64 w 270"/>
                <a:gd name="T1" fmla="*/ 2 h 360"/>
                <a:gd name="T2" fmla="*/ 38 w 270"/>
                <a:gd name="T3" fmla="*/ 10 h 360"/>
                <a:gd name="T4" fmla="*/ 20 w 270"/>
                <a:gd name="T5" fmla="*/ 18 h 360"/>
                <a:gd name="T6" fmla="*/ 4 w 270"/>
                <a:gd name="T7" fmla="*/ 22 h 360"/>
                <a:gd name="T8" fmla="*/ 2 w 270"/>
                <a:gd name="T9" fmla="*/ 38 h 360"/>
                <a:gd name="T10" fmla="*/ 14 w 270"/>
                <a:gd name="T11" fmla="*/ 62 h 360"/>
                <a:gd name="T12" fmla="*/ 28 w 270"/>
                <a:gd name="T13" fmla="*/ 84 h 360"/>
                <a:gd name="T14" fmla="*/ 36 w 270"/>
                <a:gd name="T15" fmla="*/ 92 h 360"/>
                <a:gd name="T16" fmla="*/ 18 w 270"/>
                <a:gd name="T17" fmla="*/ 94 h 360"/>
                <a:gd name="T18" fmla="*/ 14 w 270"/>
                <a:gd name="T19" fmla="*/ 118 h 360"/>
                <a:gd name="T20" fmla="*/ 12 w 270"/>
                <a:gd name="T21" fmla="*/ 122 h 360"/>
                <a:gd name="T22" fmla="*/ 32 w 270"/>
                <a:gd name="T23" fmla="*/ 124 h 360"/>
                <a:gd name="T24" fmla="*/ 18 w 270"/>
                <a:gd name="T25" fmla="*/ 158 h 360"/>
                <a:gd name="T26" fmla="*/ 24 w 270"/>
                <a:gd name="T27" fmla="*/ 176 h 360"/>
                <a:gd name="T28" fmla="*/ 48 w 270"/>
                <a:gd name="T29" fmla="*/ 200 h 360"/>
                <a:gd name="T30" fmla="*/ 28 w 270"/>
                <a:gd name="T31" fmla="*/ 204 h 360"/>
                <a:gd name="T32" fmla="*/ 42 w 270"/>
                <a:gd name="T33" fmla="*/ 234 h 360"/>
                <a:gd name="T34" fmla="*/ 30 w 270"/>
                <a:gd name="T35" fmla="*/ 238 h 360"/>
                <a:gd name="T36" fmla="*/ 24 w 270"/>
                <a:gd name="T37" fmla="*/ 252 h 360"/>
                <a:gd name="T38" fmla="*/ 54 w 270"/>
                <a:gd name="T39" fmla="*/ 278 h 360"/>
                <a:gd name="T40" fmla="*/ 92 w 270"/>
                <a:gd name="T41" fmla="*/ 298 h 360"/>
                <a:gd name="T42" fmla="*/ 108 w 270"/>
                <a:gd name="T43" fmla="*/ 304 h 360"/>
                <a:gd name="T44" fmla="*/ 118 w 270"/>
                <a:gd name="T45" fmla="*/ 284 h 360"/>
                <a:gd name="T46" fmla="*/ 126 w 270"/>
                <a:gd name="T47" fmla="*/ 270 h 360"/>
                <a:gd name="T48" fmla="*/ 134 w 270"/>
                <a:gd name="T49" fmla="*/ 278 h 360"/>
                <a:gd name="T50" fmla="*/ 156 w 270"/>
                <a:gd name="T51" fmla="*/ 300 h 360"/>
                <a:gd name="T52" fmla="*/ 188 w 270"/>
                <a:gd name="T53" fmla="*/ 320 h 360"/>
                <a:gd name="T54" fmla="*/ 180 w 270"/>
                <a:gd name="T55" fmla="*/ 346 h 360"/>
                <a:gd name="T56" fmla="*/ 182 w 270"/>
                <a:gd name="T57" fmla="*/ 360 h 360"/>
                <a:gd name="T58" fmla="*/ 206 w 270"/>
                <a:gd name="T59" fmla="*/ 352 h 360"/>
                <a:gd name="T60" fmla="*/ 228 w 270"/>
                <a:gd name="T61" fmla="*/ 352 h 360"/>
                <a:gd name="T62" fmla="*/ 242 w 270"/>
                <a:gd name="T63" fmla="*/ 338 h 360"/>
                <a:gd name="T64" fmla="*/ 236 w 270"/>
                <a:gd name="T65" fmla="*/ 314 h 360"/>
                <a:gd name="T66" fmla="*/ 252 w 270"/>
                <a:gd name="T67" fmla="*/ 302 h 360"/>
                <a:gd name="T68" fmla="*/ 270 w 270"/>
                <a:gd name="T69" fmla="*/ 280 h 360"/>
                <a:gd name="T70" fmla="*/ 252 w 270"/>
                <a:gd name="T71" fmla="*/ 256 h 360"/>
                <a:gd name="T72" fmla="*/ 232 w 270"/>
                <a:gd name="T73" fmla="*/ 228 h 360"/>
                <a:gd name="T74" fmla="*/ 234 w 270"/>
                <a:gd name="T75" fmla="*/ 202 h 360"/>
                <a:gd name="T76" fmla="*/ 250 w 270"/>
                <a:gd name="T77" fmla="*/ 182 h 360"/>
                <a:gd name="T78" fmla="*/ 244 w 270"/>
                <a:gd name="T79" fmla="*/ 170 h 360"/>
                <a:gd name="T80" fmla="*/ 248 w 270"/>
                <a:gd name="T81" fmla="*/ 150 h 360"/>
                <a:gd name="T82" fmla="*/ 240 w 270"/>
                <a:gd name="T83" fmla="*/ 138 h 360"/>
                <a:gd name="T84" fmla="*/ 200 w 270"/>
                <a:gd name="T85" fmla="*/ 140 h 360"/>
                <a:gd name="T86" fmla="*/ 164 w 270"/>
                <a:gd name="T87" fmla="*/ 126 h 360"/>
                <a:gd name="T88" fmla="*/ 176 w 270"/>
                <a:gd name="T89" fmla="*/ 120 h 360"/>
                <a:gd name="T90" fmla="*/ 164 w 270"/>
                <a:gd name="T91" fmla="*/ 110 h 360"/>
                <a:gd name="T92" fmla="*/ 170 w 270"/>
                <a:gd name="T93" fmla="*/ 104 h 360"/>
                <a:gd name="T94" fmla="*/ 170 w 270"/>
                <a:gd name="T95" fmla="*/ 92 h 360"/>
                <a:gd name="T96" fmla="*/ 142 w 270"/>
                <a:gd name="T97" fmla="*/ 80 h 360"/>
                <a:gd name="T98" fmla="*/ 126 w 270"/>
                <a:gd name="T99" fmla="*/ 64 h 360"/>
                <a:gd name="T100" fmla="*/ 126 w 270"/>
                <a:gd name="T101" fmla="*/ 42 h 360"/>
                <a:gd name="T102" fmla="*/ 118 w 270"/>
                <a:gd name="T103" fmla="*/ 38 h 360"/>
                <a:gd name="T104" fmla="*/ 94 w 270"/>
                <a:gd name="T105" fmla="*/ 12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70" h="360">
                  <a:moveTo>
                    <a:pt x="92" y="6"/>
                  </a:moveTo>
                  <a:lnTo>
                    <a:pt x="88" y="4"/>
                  </a:lnTo>
                  <a:lnTo>
                    <a:pt x="86" y="4"/>
                  </a:lnTo>
                  <a:lnTo>
                    <a:pt x="70" y="2"/>
                  </a:lnTo>
                  <a:lnTo>
                    <a:pt x="64" y="2"/>
                  </a:lnTo>
                  <a:lnTo>
                    <a:pt x="58" y="2"/>
                  </a:lnTo>
                  <a:lnTo>
                    <a:pt x="50" y="0"/>
                  </a:lnTo>
                  <a:lnTo>
                    <a:pt x="44" y="2"/>
                  </a:lnTo>
                  <a:lnTo>
                    <a:pt x="40" y="8"/>
                  </a:lnTo>
                  <a:lnTo>
                    <a:pt x="38" y="10"/>
                  </a:lnTo>
                  <a:lnTo>
                    <a:pt x="36" y="12"/>
                  </a:lnTo>
                  <a:lnTo>
                    <a:pt x="32" y="14"/>
                  </a:lnTo>
                  <a:lnTo>
                    <a:pt x="28" y="16"/>
                  </a:lnTo>
                  <a:lnTo>
                    <a:pt x="24" y="18"/>
                  </a:lnTo>
                  <a:lnTo>
                    <a:pt x="20" y="18"/>
                  </a:lnTo>
                  <a:lnTo>
                    <a:pt x="16" y="14"/>
                  </a:lnTo>
                  <a:lnTo>
                    <a:pt x="14" y="16"/>
                  </a:lnTo>
                  <a:lnTo>
                    <a:pt x="12" y="18"/>
                  </a:lnTo>
                  <a:lnTo>
                    <a:pt x="10" y="20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6"/>
                  </a:lnTo>
                  <a:lnTo>
                    <a:pt x="2" y="30"/>
                  </a:lnTo>
                  <a:lnTo>
                    <a:pt x="0" y="32"/>
                  </a:lnTo>
                  <a:lnTo>
                    <a:pt x="2" y="38"/>
                  </a:lnTo>
                  <a:lnTo>
                    <a:pt x="6" y="48"/>
                  </a:lnTo>
                  <a:lnTo>
                    <a:pt x="4" y="54"/>
                  </a:lnTo>
                  <a:lnTo>
                    <a:pt x="6" y="58"/>
                  </a:lnTo>
                  <a:lnTo>
                    <a:pt x="14" y="60"/>
                  </a:lnTo>
                  <a:lnTo>
                    <a:pt x="14" y="62"/>
                  </a:lnTo>
                  <a:lnTo>
                    <a:pt x="12" y="64"/>
                  </a:lnTo>
                  <a:lnTo>
                    <a:pt x="10" y="66"/>
                  </a:lnTo>
                  <a:lnTo>
                    <a:pt x="10" y="72"/>
                  </a:lnTo>
                  <a:lnTo>
                    <a:pt x="16" y="78"/>
                  </a:lnTo>
                  <a:lnTo>
                    <a:pt x="28" y="84"/>
                  </a:lnTo>
                  <a:lnTo>
                    <a:pt x="32" y="86"/>
                  </a:lnTo>
                  <a:lnTo>
                    <a:pt x="32" y="88"/>
                  </a:lnTo>
                  <a:lnTo>
                    <a:pt x="34" y="88"/>
                  </a:lnTo>
                  <a:lnTo>
                    <a:pt x="36" y="90"/>
                  </a:lnTo>
                  <a:lnTo>
                    <a:pt x="36" y="92"/>
                  </a:lnTo>
                  <a:lnTo>
                    <a:pt x="36" y="94"/>
                  </a:lnTo>
                  <a:lnTo>
                    <a:pt x="30" y="94"/>
                  </a:lnTo>
                  <a:lnTo>
                    <a:pt x="24" y="94"/>
                  </a:lnTo>
                  <a:lnTo>
                    <a:pt x="18" y="92"/>
                  </a:lnTo>
                  <a:lnTo>
                    <a:pt x="18" y="94"/>
                  </a:lnTo>
                  <a:lnTo>
                    <a:pt x="18" y="96"/>
                  </a:lnTo>
                  <a:lnTo>
                    <a:pt x="14" y="98"/>
                  </a:lnTo>
                  <a:lnTo>
                    <a:pt x="16" y="112"/>
                  </a:lnTo>
                  <a:lnTo>
                    <a:pt x="16" y="116"/>
                  </a:lnTo>
                  <a:lnTo>
                    <a:pt x="14" y="118"/>
                  </a:lnTo>
                  <a:lnTo>
                    <a:pt x="12" y="118"/>
                  </a:lnTo>
                  <a:lnTo>
                    <a:pt x="10" y="118"/>
                  </a:lnTo>
                  <a:lnTo>
                    <a:pt x="10" y="118"/>
                  </a:lnTo>
                  <a:lnTo>
                    <a:pt x="10" y="122"/>
                  </a:lnTo>
                  <a:lnTo>
                    <a:pt x="12" y="122"/>
                  </a:lnTo>
                  <a:lnTo>
                    <a:pt x="18" y="120"/>
                  </a:lnTo>
                  <a:lnTo>
                    <a:pt x="26" y="118"/>
                  </a:lnTo>
                  <a:lnTo>
                    <a:pt x="30" y="120"/>
                  </a:lnTo>
                  <a:lnTo>
                    <a:pt x="32" y="122"/>
                  </a:lnTo>
                  <a:lnTo>
                    <a:pt x="32" y="124"/>
                  </a:lnTo>
                  <a:lnTo>
                    <a:pt x="32" y="130"/>
                  </a:lnTo>
                  <a:lnTo>
                    <a:pt x="28" y="138"/>
                  </a:lnTo>
                  <a:lnTo>
                    <a:pt x="24" y="146"/>
                  </a:lnTo>
                  <a:lnTo>
                    <a:pt x="20" y="154"/>
                  </a:lnTo>
                  <a:lnTo>
                    <a:pt x="18" y="158"/>
                  </a:lnTo>
                  <a:lnTo>
                    <a:pt x="18" y="164"/>
                  </a:lnTo>
                  <a:lnTo>
                    <a:pt x="18" y="170"/>
                  </a:lnTo>
                  <a:lnTo>
                    <a:pt x="18" y="172"/>
                  </a:lnTo>
                  <a:lnTo>
                    <a:pt x="20" y="174"/>
                  </a:lnTo>
                  <a:lnTo>
                    <a:pt x="24" y="176"/>
                  </a:lnTo>
                  <a:lnTo>
                    <a:pt x="32" y="182"/>
                  </a:lnTo>
                  <a:lnTo>
                    <a:pt x="38" y="188"/>
                  </a:lnTo>
                  <a:lnTo>
                    <a:pt x="46" y="196"/>
                  </a:lnTo>
                  <a:lnTo>
                    <a:pt x="48" y="198"/>
                  </a:lnTo>
                  <a:lnTo>
                    <a:pt x="48" y="200"/>
                  </a:lnTo>
                  <a:lnTo>
                    <a:pt x="46" y="204"/>
                  </a:lnTo>
                  <a:lnTo>
                    <a:pt x="40" y="204"/>
                  </a:lnTo>
                  <a:lnTo>
                    <a:pt x="32" y="204"/>
                  </a:lnTo>
                  <a:lnTo>
                    <a:pt x="30" y="202"/>
                  </a:lnTo>
                  <a:lnTo>
                    <a:pt x="28" y="204"/>
                  </a:lnTo>
                  <a:lnTo>
                    <a:pt x="26" y="206"/>
                  </a:lnTo>
                  <a:lnTo>
                    <a:pt x="26" y="206"/>
                  </a:lnTo>
                  <a:lnTo>
                    <a:pt x="34" y="216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42" y="238"/>
                  </a:lnTo>
                  <a:lnTo>
                    <a:pt x="40" y="242"/>
                  </a:lnTo>
                  <a:lnTo>
                    <a:pt x="36" y="242"/>
                  </a:lnTo>
                  <a:lnTo>
                    <a:pt x="34" y="238"/>
                  </a:lnTo>
                  <a:lnTo>
                    <a:pt x="30" y="238"/>
                  </a:lnTo>
                  <a:lnTo>
                    <a:pt x="26" y="240"/>
                  </a:lnTo>
                  <a:lnTo>
                    <a:pt x="22" y="244"/>
                  </a:lnTo>
                  <a:lnTo>
                    <a:pt x="22" y="246"/>
                  </a:lnTo>
                  <a:lnTo>
                    <a:pt x="22" y="248"/>
                  </a:lnTo>
                  <a:lnTo>
                    <a:pt x="24" y="252"/>
                  </a:lnTo>
                  <a:lnTo>
                    <a:pt x="30" y="254"/>
                  </a:lnTo>
                  <a:lnTo>
                    <a:pt x="36" y="262"/>
                  </a:lnTo>
                  <a:lnTo>
                    <a:pt x="46" y="274"/>
                  </a:lnTo>
                  <a:lnTo>
                    <a:pt x="50" y="276"/>
                  </a:lnTo>
                  <a:lnTo>
                    <a:pt x="54" y="278"/>
                  </a:lnTo>
                  <a:lnTo>
                    <a:pt x="60" y="282"/>
                  </a:lnTo>
                  <a:lnTo>
                    <a:pt x="66" y="284"/>
                  </a:lnTo>
                  <a:lnTo>
                    <a:pt x="72" y="284"/>
                  </a:lnTo>
                  <a:lnTo>
                    <a:pt x="86" y="296"/>
                  </a:lnTo>
                  <a:lnTo>
                    <a:pt x="92" y="298"/>
                  </a:lnTo>
                  <a:lnTo>
                    <a:pt x="98" y="302"/>
                  </a:lnTo>
                  <a:lnTo>
                    <a:pt x="98" y="306"/>
                  </a:lnTo>
                  <a:lnTo>
                    <a:pt x="98" y="308"/>
                  </a:lnTo>
                  <a:lnTo>
                    <a:pt x="106" y="304"/>
                  </a:lnTo>
                  <a:lnTo>
                    <a:pt x="108" y="304"/>
                  </a:lnTo>
                  <a:lnTo>
                    <a:pt x="106" y="300"/>
                  </a:lnTo>
                  <a:lnTo>
                    <a:pt x="106" y="296"/>
                  </a:lnTo>
                  <a:lnTo>
                    <a:pt x="116" y="290"/>
                  </a:lnTo>
                  <a:lnTo>
                    <a:pt x="118" y="286"/>
                  </a:lnTo>
                  <a:lnTo>
                    <a:pt x="118" y="284"/>
                  </a:lnTo>
                  <a:lnTo>
                    <a:pt x="118" y="280"/>
                  </a:lnTo>
                  <a:lnTo>
                    <a:pt x="116" y="276"/>
                  </a:lnTo>
                  <a:lnTo>
                    <a:pt x="116" y="274"/>
                  </a:lnTo>
                  <a:lnTo>
                    <a:pt x="122" y="272"/>
                  </a:lnTo>
                  <a:lnTo>
                    <a:pt x="126" y="270"/>
                  </a:lnTo>
                  <a:lnTo>
                    <a:pt x="128" y="268"/>
                  </a:lnTo>
                  <a:lnTo>
                    <a:pt x="130" y="270"/>
                  </a:lnTo>
                  <a:lnTo>
                    <a:pt x="130" y="272"/>
                  </a:lnTo>
                  <a:lnTo>
                    <a:pt x="130" y="276"/>
                  </a:lnTo>
                  <a:lnTo>
                    <a:pt x="134" y="278"/>
                  </a:lnTo>
                  <a:lnTo>
                    <a:pt x="138" y="282"/>
                  </a:lnTo>
                  <a:lnTo>
                    <a:pt x="144" y="284"/>
                  </a:lnTo>
                  <a:lnTo>
                    <a:pt x="150" y="288"/>
                  </a:lnTo>
                  <a:lnTo>
                    <a:pt x="156" y="296"/>
                  </a:lnTo>
                  <a:lnTo>
                    <a:pt x="156" y="300"/>
                  </a:lnTo>
                  <a:lnTo>
                    <a:pt x="162" y="304"/>
                  </a:lnTo>
                  <a:lnTo>
                    <a:pt x="168" y="308"/>
                  </a:lnTo>
                  <a:lnTo>
                    <a:pt x="166" y="314"/>
                  </a:lnTo>
                  <a:lnTo>
                    <a:pt x="184" y="320"/>
                  </a:lnTo>
                  <a:lnTo>
                    <a:pt x="188" y="320"/>
                  </a:lnTo>
                  <a:lnTo>
                    <a:pt x="190" y="322"/>
                  </a:lnTo>
                  <a:lnTo>
                    <a:pt x="190" y="324"/>
                  </a:lnTo>
                  <a:lnTo>
                    <a:pt x="188" y="328"/>
                  </a:lnTo>
                  <a:lnTo>
                    <a:pt x="182" y="344"/>
                  </a:lnTo>
                  <a:lnTo>
                    <a:pt x="180" y="346"/>
                  </a:lnTo>
                  <a:lnTo>
                    <a:pt x="176" y="350"/>
                  </a:lnTo>
                  <a:lnTo>
                    <a:pt x="174" y="352"/>
                  </a:lnTo>
                  <a:lnTo>
                    <a:pt x="176" y="356"/>
                  </a:lnTo>
                  <a:lnTo>
                    <a:pt x="178" y="360"/>
                  </a:lnTo>
                  <a:lnTo>
                    <a:pt x="182" y="360"/>
                  </a:lnTo>
                  <a:lnTo>
                    <a:pt x="190" y="358"/>
                  </a:lnTo>
                  <a:lnTo>
                    <a:pt x="194" y="354"/>
                  </a:lnTo>
                  <a:lnTo>
                    <a:pt x="196" y="354"/>
                  </a:lnTo>
                  <a:lnTo>
                    <a:pt x="200" y="352"/>
                  </a:lnTo>
                  <a:lnTo>
                    <a:pt x="206" y="352"/>
                  </a:lnTo>
                  <a:lnTo>
                    <a:pt x="210" y="354"/>
                  </a:lnTo>
                  <a:lnTo>
                    <a:pt x="216" y="352"/>
                  </a:lnTo>
                  <a:lnTo>
                    <a:pt x="222" y="350"/>
                  </a:lnTo>
                  <a:lnTo>
                    <a:pt x="224" y="350"/>
                  </a:lnTo>
                  <a:lnTo>
                    <a:pt x="228" y="352"/>
                  </a:lnTo>
                  <a:lnTo>
                    <a:pt x="228" y="354"/>
                  </a:lnTo>
                  <a:lnTo>
                    <a:pt x="234" y="352"/>
                  </a:lnTo>
                  <a:lnTo>
                    <a:pt x="236" y="350"/>
                  </a:lnTo>
                  <a:lnTo>
                    <a:pt x="240" y="342"/>
                  </a:lnTo>
                  <a:lnTo>
                    <a:pt x="242" y="338"/>
                  </a:lnTo>
                  <a:lnTo>
                    <a:pt x="240" y="336"/>
                  </a:lnTo>
                  <a:lnTo>
                    <a:pt x="238" y="334"/>
                  </a:lnTo>
                  <a:lnTo>
                    <a:pt x="234" y="326"/>
                  </a:lnTo>
                  <a:lnTo>
                    <a:pt x="236" y="318"/>
                  </a:lnTo>
                  <a:lnTo>
                    <a:pt x="236" y="314"/>
                  </a:lnTo>
                  <a:lnTo>
                    <a:pt x="236" y="310"/>
                  </a:lnTo>
                  <a:lnTo>
                    <a:pt x="236" y="306"/>
                  </a:lnTo>
                  <a:lnTo>
                    <a:pt x="240" y="304"/>
                  </a:lnTo>
                  <a:lnTo>
                    <a:pt x="242" y="304"/>
                  </a:lnTo>
                  <a:lnTo>
                    <a:pt x="252" y="302"/>
                  </a:lnTo>
                  <a:lnTo>
                    <a:pt x="258" y="294"/>
                  </a:lnTo>
                  <a:lnTo>
                    <a:pt x="262" y="290"/>
                  </a:lnTo>
                  <a:lnTo>
                    <a:pt x="266" y="286"/>
                  </a:lnTo>
                  <a:lnTo>
                    <a:pt x="268" y="284"/>
                  </a:lnTo>
                  <a:lnTo>
                    <a:pt x="270" y="280"/>
                  </a:lnTo>
                  <a:lnTo>
                    <a:pt x="270" y="276"/>
                  </a:lnTo>
                  <a:lnTo>
                    <a:pt x="262" y="270"/>
                  </a:lnTo>
                  <a:lnTo>
                    <a:pt x="260" y="266"/>
                  </a:lnTo>
                  <a:lnTo>
                    <a:pt x="256" y="260"/>
                  </a:lnTo>
                  <a:lnTo>
                    <a:pt x="252" y="256"/>
                  </a:lnTo>
                  <a:lnTo>
                    <a:pt x="242" y="252"/>
                  </a:lnTo>
                  <a:lnTo>
                    <a:pt x="240" y="246"/>
                  </a:lnTo>
                  <a:lnTo>
                    <a:pt x="238" y="238"/>
                  </a:lnTo>
                  <a:lnTo>
                    <a:pt x="234" y="232"/>
                  </a:lnTo>
                  <a:lnTo>
                    <a:pt x="232" y="228"/>
                  </a:lnTo>
                  <a:lnTo>
                    <a:pt x="232" y="226"/>
                  </a:lnTo>
                  <a:lnTo>
                    <a:pt x="230" y="222"/>
                  </a:lnTo>
                  <a:lnTo>
                    <a:pt x="230" y="214"/>
                  </a:lnTo>
                  <a:lnTo>
                    <a:pt x="232" y="204"/>
                  </a:lnTo>
                  <a:lnTo>
                    <a:pt x="234" y="202"/>
                  </a:lnTo>
                  <a:lnTo>
                    <a:pt x="236" y="200"/>
                  </a:lnTo>
                  <a:lnTo>
                    <a:pt x="246" y="196"/>
                  </a:lnTo>
                  <a:lnTo>
                    <a:pt x="246" y="188"/>
                  </a:lnTo>
                  <a:lnTo>
                    <a:pt x="248" y="184"/>
                  </a:lnTo>
                  <a:lnTo>
                    <a:pt x="250" y="182"/>
                  </a:lnTo>
                  <a:lnTo>
                    <a:pt x="252" y="180"/>
                  </a:lnTo>
                  <a:lnTo>
                    <a:pt x="252" y="180"/>
                  </a:lnTo>
                  <a:lnTo>
                    <a:pt x="252" y="176"/>
                  </a:lnTo>
                  <a:lnTo>
                    <a:pt x="248" y="172"/>
                  </a:lnTo>
                  <a:lnTo>
                    <a:pt x="244" y="170"/>
                  </a:lnTo>
                  <a:lnTo>
                    <a:pt x="242" y="168"/>
                  </a:lnTo>
                  <a:lnTo>
                    <a:pt x="238" y="162"/>
                  </a:lnTo>
                  <a:lnTo>
                    <a:pt x="240" y="158"/>
                  </a:lnTo>
                  <a:lnTo>
                    <a:pt x="242" y="152"/>
                  </a:lnTo>
                  <a:lnTo>
                    <a:pt x="248" y="150"/>
                  </a:lnTo>
                  <a:lnTo>
                    <a:pt x="252" y="152"/>
                  </a:lnTo>
                  <a:lnTo>
                    <a:pt x="254" y="150"/>
                  </a:lnTo>
                  <a:lnTo>
                    <a:pt x="254" y="146"/>
                  </a:lnTo>
                  <a:lnTo>
                    <a:pt x="248" y="142"/>
                  </a:lnTo>
                  <a:lnTo>
                    <a:pt x="240" y="138"/>
                  </a:lnTo>
                  <a:lnTo>
                    <a:pt x="230" y="140"/>
                  </a:lnTo>
                  <a:lnTo>
                    <a:pt x="220" y="150"/>
                  </a:lnTo>
                  <a:lnTo>
                    <a:pt x="212" y="152"/>
                  </a:lnTo>
                  <a:lnTo>
                    <a:pt x="208" y="146"/>
                  </a:lnTo>
                  <a:lnTo>
                    <a:pt x="200" y="140"/>
                  </a:lnTo>
                  <a:lnTo>
                    <a:pt x="190" y="140"/>
                  </a:lnTo>
                  <a:lnTo>
                    <a:pt x="182" y="136"/>
                  </a:lnTo>
                  <a:lnTo>
                    <a:pt x="180" y="132"/>
                  </a:lnTo>
                  <a:lnTo>
                    <a:pt x="176" y="130"/>
                  </a:lnTo>
                  <a:lnTo>
                    <a:pt x="164" y="126"/>
                  </a:lnTo>
                  <a:lnTo>
                    <a:pt x="164" y="122"/>
                  </a:lnTo>
                  <a:lnTo>
                    <a:pt x="166" y="122"/>
                  </a:lnTo>
                  <a:lnTo>
                    <a:pt x="170" y="122"/>
                  </a:lnTo>
                  <a:lnTo>
                    <a:pt x="174" y="122"/>
                  </a:lnTo>
                  <a:lnTo>
                    <a:pt x="176" y="120"/>
                  </a:lnTo>
                  <a:lnTo>
                    <a:pt x="176" y="118"/>
                  </a:lnTo>
                  <a:lnTo>
                    <a:pt x="172" y="116"/>
                  </a:lnTo>
                  <a:lnTo>
                    <a:pt x="168" y="114"/>
                  </a:lnTo>
                  <a:lnTo>
                    <a:pt x="166" y="112"/>
                  </a:lnTo>
                  <a:lnTo>
                    <a:pt x="164" y="110"/>
                  </a:lnTo>
                  <a:lnTo>
                    <a:pt x="164" y="110"/>
                  </a:lnTo>
                  <a:lnTo>
                    <a:pt x="166" y="108"/>
                  </a:lnTo>
                  <a:lnTo>
                    <a:pt x="166" y="108"/>
                  </a:lnTo>
                  <a:lnTo>
                    <a:pt x="168" y="106"/>
                  </a:lnTo>
                  <a:lnTo>
                    <a:pt x="170" y="104"/>
                  </a:lnTo>
                  <a:lnTo>
                    <a:pt x="172" y="100"/>
                  </a:lnTo>
                  <a:lnTo>
                    <a:pt x="174" y="98"/>
                  </a:lnTo>
                  <a:lnTo>
                    <a:pt x="174" y="96"/>
                  </a:lnTo>
                  <a:lnTo>
                    <a:pt x="172" y="94"/>
                  </a:lnTo>
                  <a:lnTo>
                    <a:pt x="170" y="92"/>
                  </a:lnTo>
                  <a:lnTo>
                    <a:pt x="166" y="90"/>
                  </a:lnTo>
                  <a:lnTo>
                    <a:pt x="156" y="88"/>
                  </a:lnTo>
                  <a:lnTo>
                    <a:pt x="150" y="82"/>
                  </a:lnTo>
                  <a:lnTo>
                    <a:pt x="148" y="82"/>
                  </a:lnTo>
                  <a:lnTo>
                    <a:pt x="142" y="80"/>
                  </a:lnTo>
                  <a:lnTo>
                    <a:pt x="136" y="76"/>
                  </a:lnTo>
                  <a:lnTo>
                    <a:pt x="132" y="70"/>
                  </a:lnTo>
                  <a:lnTo>
                    <a:pt x="128" y="66"/>
                  </a:lnTo>
                  <a:lnTo>
                    <a:pt x="126" y="64"/>
                  </a:lnTo>
                  <a:lnTo>
                    <a:pt x="126" y="64"/>
                  </a:lnTo>
                  <a:lnTo>
                    <a:pt x="126" y="62"/>
                  </a:lnTo>
                  <a:lnTo>
                    <a:pt x="126" y="60"/>
                  </a:lnTo>
                  <a:lnTo>
                    <a:pt x="126" y="54"/>
                  </a:lnTo>
                  <a:lnTo>
                    <a:pt x="126" y="48"/>
                  </a:lnTo>
                  <a:lnTo>
                    <a:pt x="126" y="42"/>
                  </a:lnTo>
                  <a:lnTo>
                    <a:pt x="126" y="40"/>
                  </a:lnTo>
                  <a:lnTo>
                    <a:pt x="126" y="40"/>
                  </a:lnTo>
                  <a:lnTo>
                    <a:pt x="124" y="42"/>
                  </a:lnTo>
                  <a:lnTo>
                    <a:pt x="122" y="42"/>
                  </a:lnTo>
                  <a:lnTo>
                    <a:pt x="118" y="38"/>
                  </a:lnTo>
                  <a:lnTo>
                    <a:pt x="114" y="28"/>
                  </a:lnTo>
                  <a:lnTo>
                    <a:pt x="110" y="26"/>
                  </a:lnTo>
                  <a:lnTo>
                    <a:pt x="104" y="22"/>
                  </a:lnTo>
                  <a:lnTo>
                    <a:pt x="98" y="18"/>
                  </a:lnTo>
                  <a:lnTo>
                    <a:pt x="94" y="12"/>
                  </a:lnTo>
                  <a:lnTo>
                    <a:pt x="92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7" name="Freeform 6384">
              <a:extLst>
                <a:ext uri="{FF2B5EF4-FFF2-40B4-BE49-F238E27FC236}">
                  <a16:creationId xmlns:a16="http://schemas.microsoft.com/office/drawing/2014/main" id="{18DC9DDD-802A-4370-AD53-DA4F68A65261}"/>
                </a:ext>
              </a:extLst>
            </p:cNvPr>
            <p:cNvSpPr/>
            <p:nvPr/>
          </p:nvSpPr>
          <p:spPr bwMode="auto">
            <a:xfrm>
              <a:off x="5461879" y="5399390"/>
              <a:ext cx="6938" cy="9251"/>
            </a:xfrm>
            <a:custGeom>
              <a:avLst/>
              <a:gdLst>
                <a:gd name="T0" fmla="*/ 12 w 18"/>
                <a:gd name="T1" fmla="*/ 18 h 24"/>
                <a:gd name="T2" fmla="*/ 18 w 18"/>
                <a:gd name="T3" fmla="*/ 10 h 24"/>
                <a:gd name="T4" fmla="*/ 18 w 18"/>
                <a:gd name="T5" fmla="*/ 6 h 24"/>
                <a:gd name="T6" fmla="*/ 14 w 18"/>
                <a:gd name="T7" fmla="*/ 0 h 24"/>
                <a:gd name="T8" fmla="*/ 10 w 18"/>
                <a:gd name="T9" fmla="*/ 0 h 24"/>
                <a:gd name="T10" fmla="*/ 4 w 18"/>
                <a:gd name="T11" fmla="*/ 4 h 24"/>
                <a:gd name="T12" fmla="*/ 0 w 18"/>
                <a:gd name="T13" fmla="*/ 8 h 24"/>
                <a:gd name="T14" fmla="*/ 0 w 18"/>
                <a:gd name="T15" fmla="*/ 12 h 24"/>
                <a:gd name="T16" fmla="*/ 2 w 18"/>
                <a:gd name="T17" fmla="*/ 18 h 24"/>
                <a:gd name="T18" fmla="*/ 4 w 18"/>
                <a:gd name="T19" fmla="*/ 22 h 24"/>
                <a:gd name="T20" fmla="*/ 6 w 18"/>
                <a:gd name="T21" fmla="*/ 24 h 24"/>
                <a:gd name="T22" fmla="*/ 12 w 18"/>
                <a:gd name="T23" fmla="*/ 1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24">
                  <a:moveTo>
                    <a:pt x="12" y="18"/>
                  </a:moveTo>
                  <a:lnTo>
                    <a:pt x="18" y="10"/>
                  </a:lnTo>
                  <a:lnTo>
                    <a:pt x="18" y="6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12"/>
                  </a:lnTo>
                  <a:lnTo>
                    <a:pt x="2" y="18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12" y="1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8" name="Freeform 6385">
              <a:extLst>
                <a:ext uri="{FF2B5EF4-FFF2-40B4-BE49-F238E27FC236}">
                  <a16:creationId xmlns:a16="http://schemas.microsoft.com/office/drawing/2014/main" id="{C4B8C2E6-C6C4-4D75-B2A3-496893E6AB28}"/>
                </a:ext>
              </a:extLst>
            </p:cNvPr>
            <p:cNvSpPr/>
            <p:nvPr/>
          </p:nvSpPr>
          <p:spPr bwMode="auto">
            <a:xfrm>
              <a:off x="5483464" y="5367013"/>
              <a:ext cx="3084" cy="3854"/>
            </a:xfrm>
            <a:custGeom>
              <a:avLst/>
              <a:gdLst>
                <a:gd name="T0" fmla="*/ 6 w 8"/>
                <a:gd name="T1" fmla="*/ 8 h 10"/>
                <a:gd name="T2" fmla="*/ 8 w 8"/>
                <a:gd name="T3" fmla="*/ 4 h 10"/>
                <a:gd name="T4" fmla="*/ 8 w 8"/>
                <a:gd name="T5" fmla="*/ 2 h 10"/>
                <a:gd name="T6" fmla="*/ 8 w 8"/>
                <a:gd name="T7" fmla="*/ 0 h 10"/>
                <a:gd name="T8" fmla="*/ 6 w 8"/>
                <a:gd name="T9" fmla="*/ 0 h 10"/>
                <a:gd name="T10" fmla="*/ 4 w 8"/>
                <a:gd name="T11" fmla="*/ 0 h 10"/>
                <a:gd name="T12" fmla="*/ 0 w 8"/>
                <a:gd name="T13" fmla="*/ 6 h 10"/>
                <a:gd name="T14" fmla="*/ 2 w 8"/>
                <a:gd name="T15" fmla="*/ 8 h 10"/>
                <a:gd name="T16" fmla="*/ 4 w 8"/>
                <a:gd name="T17" fmla="*/ 10 h 10"/>
                <a:gd name="T18" fmla="*/ 6 w 8"/>
                <a:gd name="T1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0">
                  <a:moveTo>
                    <a:pt x="6" y="8"/>
                  </a:moveTo>
                  <a:lnTo>
                    <a:pt x="8" y="4"/>
                  </a:ln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6"/>
                  </a:lnTo>
                  <a:lnTo>
                    <a:pt x="2" y="8"/>
                  </a:lnTo>
                  <a:lnTo>
                    <a:pt x="4" y="10"/>
                  </a:lnTo>
                  <a:lnTo>
                    <a:pt x="6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9" name="Line 6386">
              <a:extLst>
                <a:ext uri="{FF2B5EF4-FFF2-40B4-BE49-F238E27FC236}">
                  <a16:creationId xmlns:a16="http://schemas.microsoft.com/office/drawing/2014/main" id="{E99CCDC1-E3D4-41B1-BC2F-3D7A6DB5237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485776" y="5370097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0" name="Line 6389">
              <a:extLst>
                <a:ext uri="{FF2B5EF4-FFF2-40B4-BE49-F238E27FC236}">
                  <a16:creationId xmlns:a16="http://schemas.microsoft.com/office/drawing/2014/main" id="{B3CD4AF0-0DD7-4BB6-AC80-B6AC11F0679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485776" y="5370097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1" name="Freeform 6390">
              <a:extLst>
                <a:ext uri="{FF2B5EF4-FFF2-40B4-BE49-F238E27FC236}">
                  <a16:creationId xmlns:a16="http://schemas.microsoft.com/office/drawing/2014/main" id="{D6EAD8E5-3149-4376-BF4D-3626DF8EE07D}"/>
                </a:ext>
              </a:extLst>
            </p:cNvPr>
            <p:cNvSpPr/>
            <p:nvPr/>
          </p:nvSpPr>
          <p:spPr bwMode="auto">
            <a:xfrm>
              <a:off x="3831475" y="5257549"/>
              <a:ext cx="102527" cy="105610"/>
            </a:xfrm>
            <a:custGeom>
              <a:avLst/>
              <a:gdLst>
                <a:gd name="T0" fmla="*/ 262 w 266"/>
                <a:gd name="T1" fmla="*/ 26 h 274"/>
                <a:gd name="T2" fmla="*/ 256 w 266"/>
                <a:gd name="T3" fmla="*/ 10 h 274"/>
                <a:gd name="T4" fmla="*/ 190 w 266"/>
                <a:gd name="T5" fmla="*/ 0 h 274"/>
                <a:gd name="T6" fmla="*/ 146 w 266"/>
                <a:gd name="T7" fmla="*/ 4 h 274"/>
                <a:gd name="T8" fmla="*/ 142 w 266"/>
                <a:gd name="T9" fmla="*/ 20 h 274"/>
                <a:gd name="T10" fmla="*/ 104 w 266"/>
                <a:gd name="T11" fmla="*/ 4 h 274"/>
                <a:gd name="T12" fmla="*/ 62 w 266"/>
                <a:gd name="T13" fmla="*/ 12 h 274"/>
                <a:gd name="T14" fmla="*/ 58 w 266"/>
                <a:gd name="T15" fmla="*/ 32 h 274"/>
                <a:gd name="T16" fmla="*/ 52 w 266"/>
                <a:gd name="T17" fmla="*/ 36 h 274"/>
                <a:gd name="T18" fmla="*/ 52 w 266"/>
                <a:gd name="T19" fmla="*/ 50 h 274"/>
                <a:gd name="T20" fmla="*/ 56 w 266"/>
                <a:gd name="T21" fmla="*/ 52 h 274"/>
                <a:gd name="T22" fmla="*/ 52 w 266"/>
                <a:gd name="T23" fmla="*/ 56 h 274"/>
                <a:gd name="T24" fmla="*/ 48 w 266"/>
                <a:gd name="T25" fmla="*/ 66 h 274"/>
                <a:gd name="T26" fmla="*/ 26 w 266"/>
                <a:gd name="T27" fmla="*/ 66 h 274"/>
                <a:gd name="T28" fmla="*/ 16 w 266"/>
                <a:gd name="T29" fmla="*/ 70 h 274"/>
                <a:gd name="T30" fmla="*/ 10 w 266"/>
                <a:gd name="T31" fmla="*/ 78 h 274"/>
                <a:gd name="T32" fmla="*/ 14 w 266"/>
                <a:gd name="T33" fmla="*/ 88 h 274"/>
                <a:gd name="T34" fmla="*/ 8 w 266"/>
                <a:gd name="T35" fmla="*/ 102 h 274"/>
                <a:gd name="T36" fmla="*/ 0 w 266"/>
                <a:gd name="T37" fmla="*/ 120 h 274"/>
                <a:gd name="T38" fmla="*/ 10 w 266"/>
                <a:gd name="T39" fmla="*/ 142 h 274"/>
                <a:gd name="T40" fmla="*/ 22 w 266"/>
                <a:gd name="T41" fmla="*/ 160 h 274"/>
                <a:gd name="T42" fmla="*/ 26 w 266"/>
                <a:gd name="T43" fmla="*/ 172 h 274"/>
                <a:gd name="T44" fmla="*/ 38 w 266"/>
                <a:gd name="T45" fmla="*/ 174 h 274"/>
                <a:gd name="T46" fmla="*/ 50 w 266"/>
                <a:gd name="T47" fmla="*/ 174 h 274"/>
                <a:gd name="T48" fmla="*/ 52 w 266"/>
                <a:gd name="T49" fmla="*/ 186 h 274"/>
                <a:gd name="T50" fmla="*/ 54 w 266"/>
                <a:gd name="T51" fmla="*/ 192 h 274"/>
                <a:gd name="T52" fmla="*/ 56 w 266"/>
                <a:gd name="T53" fmla="*/ 206 h 274"/>
                <a:gd name="T54" fmla="*/ 62 w 266"/>
                <a:gd name="T55" fmla="*/ 212 h 274"/>
                <a:gd name="T56" fmla="*/ 66 w 266"/>
                <a:gd name="T57" fmla="*/ 220 h 274"/>
                <a:gd name="T58" fmla="*/ 68 w 266"/>
                <a:gd name="T59" fmla="*/ 224 h 274"/>
                <a:gd name="T60" fmla="*/ 74 w 266"/>
                <a:gd name="T61" fmla="*/ 234 h 274"/>
                <a:gd name="T62" fmla="*/ 80 w 266"/>
                <a:gd name="T63" fmla="*/ 246 h 274"/>
                <a:gd name="T64" fmla="*/ 88 w 266"/>
                <a:gd name="T65" fmla="*/ 260 h 274"/>
                <a:gd name="T66" fmla="*/ 100 w 266"/>
                <a:gd name="T67" fmla="*/ 266 h 274"/>
                <a:gd name="T68" fmla="*/ 110 w 266"/>
                <a:gd name="T69" fmla="*/ 268 h 274"/>
                <a:gd name="T70" fmla="*/ 138 w 266"/>
                <a:gd name="T71" fmla="*/ 272 h 274"/>
                <a:gd name="T72" fmla="*/ 140 w 266"/>
                <a:gd name="T73" fmla="*/ 260 h 274"/>
                <a:gd name="T74" fmla="*/ 130 w 266"/>
                <a:gd name="T75" fmla="*/ 248 h 274"/>
                <a:gd name="T76" fmla="*/ 130 w 266"/>
                <a:gd name="T77" fmla="*/ 242 h 274"/>
                <a:gd name="T78" fmla="*/ 136 w 266"/>
                <a:gd name="T79" fmla="*/ 230 h 274"/>
                <a:gd name="T80" fmla="*/ 140 w 266"/>
                <a:gd name="T81" fmla="*/ 230 h 274"/>
                <a:gd name="T82" fmla="*/ 158 w 266"/>
                <a:gd name="T83" fmla="*/ 236 h 274"/>
                <a:gd name="T84" fmla="*/ 182 w 266"/>
                <a:gd name="T85" fmla="*/ 230 h 274"/>
                <a:gd name="T86" fmla="*/ 192 w 266"/>
                <a:gd name="T87" fmla="*/ 228 h 274"/>
                <a:gd name="T88" fmla="*/ 202 w 266"/>
                <a:gd name="T89" fmla="*/ 224 h 274"/>
                <a:gd name="T90" fmla="*/ 208 w 266"/>
                <a:gd name="T91" fmla="*/ 234 h 274"/>
                <a:gd name="T92" fmla="*/ 218 w 266"/>
                <a:gd name="T93" fmla="*/ 234 h 274"/>
                <a:gd name="T94" fmla="*/ 222 w 266"/>
                <a:gd name="T95" fmla="*/ 242 h 274"/>
                <a:gd name="T96" fmla="*/ 228 w 266"/>
                <a:gd name="T97" fmla="*/ 240 h 274"/>
                <a:gd name="T98" fmla="*/ 240 w 266"/>
                <a:gd name="T99" fmla="*/ 234 h 274"/>
                <a:gd name="T100" fmla="*/ 254 w 266"/>
                <a:gd name="T101" fmla="*/ 206 h 274"/>
                <a:gd name="T102" fmla="*/ 254 w 266"/>
                <a:gd name="T103" fmla="*/ 186 h 274"/>
                <a:gd name="T104" fmla="*/ 266 w 266"/>
                <a:gd name="T105" fmla="*/ 162 h 274"/>
                <a:gd name="T106" fmla="*/ 264 w 266"/>
                <a:gd name="T107" fmla="*/ 156 h 274"/>
                <a:gd name="T108" fmla="*/ 252 w 266"/>
                <a:gd name="T109" fmla="*/ 142 h 274"/>
                <a:gd name="T110" fmla="*/ 244 w 266"/>
                <a:gd name="T111" fmla="*/ 124 h 274"/>
                <a:gd name="T112" fmla="*/ 238 w 266"/>
                <a:gd name="T113" fmla="*/ 110 h 274"/>
                <a:gd name="T114" fmla="*/ 238 w 266"/>
                <a:gd name="T115" fmla="*/ 94 h 274"/>
                <a:gd name="T116" fmla="*/ 234 w 266"/>
                <a:gd name="T117" fmla="*/ 78 h 274"/>
                <a:gd name="T118" fmla="*/ 236 w 266"/>
                <a:gd name="T119" fmla="*/ 66 h 274"/>
                <a:gd name="T120" fmla="*/ 256 w 266"/>
                <a:gd name="T121" fmla="*/ 42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6" h="274">
                  <a:moveTo>
                    <a:pt x="256" y="42"/>
                  </a:moveTo>
                  <a:lnTo>
                    <a:pt x="260" y="34"/>
                  </a:lnTo>
                  <a:lnTo>
                    <a:pt x="262" y="26"/>
                  </a:lnTo>
                  <a:lnTo>
                    <a:pt x="264" y="18"/>
                  </a:lnTo>
                  <a:lnTo>
                    <a:pt x="262" y="14"/>
                  </a:lnTo>
                  <a:lnTo>
                    <a:pt x="256" y="10"/>
                  </a:lnTo>
                  <a:lnTo>
                    <a:pt x="242" y="6"/>
                  </a:lnTo>
                  <a:lnTo>
                    <a:pt x="212" y="2"/>
                  </a:lnTo>
                  <a:lnTo>
                    <a:pt x="190" y="0"/>
                  </a:lnTo>
                  <a:lnTo>
                    <a:pt x="176" y="4"/>
                  </a:lnTo>
                  <a:lnTo>
                    <a:pt x="158" y="2"/>
                  </a:lnTo>
                  <a:lnTo>
                    <a:pt x="146" y="4"/>
                  </a:lnTo>
                  <a:lnTo>
                    <a:pt x="140" y="8"/>
                  </a:lnTo>
                  <a:lnTo>
                    <a:pt x="142" y="14"/>
                  </a:lnTo>
                  <a:lnTo>
                    <a:pt x="142" y="20"/>
                  </a:lnTo>
                  <a:lnTo>
                    <a:pt x="140" y="14"/>
                  </a:lnTo>
                  <a:lnTo>
                    <a:pt x="120" y="8"/>
                  </a:lnTo>
                  <a:lnTo>
                    <a:pt x="104" y="4"/>
                  </a:lnTo>
                  <a:lnTo>
                    <a:pt x="72" y="2"/>
                  </a:lnTo>
                  <a:lnTo>
                    <a:pt x="66" y="4"/>
                  </a:lnTo>
                  <a:lnTo>
                    <a:pt x="62" y="12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8" y="32"/>
                  </a:lnTo>
                  <a:lnTo>
                    <a:pt x="56" y="30"/>
                  </a:lnTo>
                  <a:lnTo>
                    <a:pt x="54" y="34"/>
                  </a:lnTo>
                  <a:lnTo>
                    <a:pt x="52" y="36"/>
                  </a:lnTo>
                  <a:lnTo>
                    <a:pt x="50" y="42"/>
                  </a:lnTo>
                  <a:lnTo>
                    <a:pt x="48" y="44"/>
                  </a:lnTo>
                  <a:lnTo>
                    <a:pt x="52" y="50"/>
                  </a:lnTo>
                  <a:lnTo>
                    <a:pt x="54" y="50"/>
                  </a:lnTo>
                  <a:lnTo>
                    <a:pt x="54" y="52"/>
                  </a:lnTo>
                  <a:lnTo>
                    <a:pt x="56" y="52"/>
                  </a:lnTo>
                  <a:lnTo>
                    <a:pt x="56" y="54"/>
                  </a:lnTo>
                  <a:lnTo>
                    <a:pt x="54" y="54"/>
                  </a:lnTo>
                  <a:lnTo>
                    <a:pt x="52" y="56"/>
                  </a:lnTo>
                  <a:lnTo>
                    <a:pt x="48" y="60"/>
                  </a:lnTo>
                  <a:lnTo>
                    <a:pt x="50" y="62"/>
                  </a:lnTo>
                  <a:lnTo>
                    <a:pt x="48" y="66"/>
                  </a:lnTo>
                  <a:lnTo>
                    <a:pt x="42" y="66"/>
                  </a:lnTo>
                  <a:lnTo>
                    <a:pt x="32" y="66"/>
                  </a:lnTo>
                  <a:lnTo>
                    <a:pt x="26" y="66"/>
                  </a:lnTo>
                  <a:lnTo>
                    <a:pt x="22" y="66"/>
                  </a:lnTo>
                  <a:lnTo>
                    <a:pt x="20" y="70"/>
                  </a:lnTo>
                  <a:lnTo>
                    <a:pt x="16" y="70"/>
                  </a:lnTo>
                  <a:lnTo>
                    <a:pt x="14" y="72"/>
                  </a:lnTo>
                  <a:lnTo>
                    <a:pt x="12" y="74"/>
                  </a:lnTo>
                  <a:lnTo>
                    <a:pt x="10" y="78"/>
                  </a:lnTo>
                  <a:lnTo>
                    <a:pt x="10" y="80"/>
                  </a:lnTo>
                  <a:lnTo>
                    <a:pt x="12" y="84"/>
                  </a:lnTo>
                  <a:lnTo>
                    <a:pt x="14" y="88"/>
                  </a:lnTo>
                  <a:lnTo>
                    <a:pt x="12" y="94"/>
                  </a:lnTo>
                  <a:lnTo>
                    <a:pt x="10" y="98"/>
                  </a:lnTo>
                  <a:lnTo>
                    <a:pt x="8" y="102"/>
                  </a:lnTo>
                  <a:lnTo>
                    <a:pt x="6" y="110"/>
                  </a:lnTo>
                  <a:lnTo>
                    <a:pt x="4" y="116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2" y="132"/>
                  </a:lnTo>
                  <a:lnTo>
                    <a:pt x="10" y="142"/>
                  </a:lnTo>
                  <a:lnTo>
                    <a:pt x="12" y="146"/>
                  </a:lnTo>
                  <a:lnTo>
                    <a:pt x="14" y="154"/>
                  </a:lnTo>
                  <a:lnTo>
                    <a:pt x="22" y="160"/>
                  </a:lnTo>
                  <a:lnTo>
                    <a:pt x="26" y="164"/>
                  </a:lnTo>
                  <a:lnTo>
                    <a:pt x="26" y="170"/>
                  </a:lnTo>
                  <a:lnTo>
                    <a:pt x="26" y="172"/>
                  </a:lnTo>
                  <a:lnTo>
                    <a:pt x="30" y="174"/>
                  </a:lnTo>
                  <a:lnTo>
                    <a:pt x="34" y="174"/>
                  </a:lnTo>
                  <a:lnTo>
                    <a:pt x="38" y="174"/>
                  </a:lnTo>
                  <a:lnTo>
                    <a:pt x="40" y="174"/>
                  </a:lnTo>
                  <a:lnTo>
                    <a:pt x="42" y="174"/>
                  </a:lnTo>
                  <a:lnTo>
                    <a:pt x="50" y="174"/>
                  </a:lnTo>
                  <a:lnTo>
                    <a:pt x="50" y="174"/>
                  </a:lnTo>
                  <a:lnTo>
                    <a:pt x="50" y="184"/>
                  </a:lnTo>
                  <a:lnTo>
                    <a:pt x="52" y="186"/>
                  </a:lnTo>
                  <a:lnTo>
                    <a:pt x="54" y="188"/>
                  </a:lnTo>
                  <a:lnTo>
                    <a:pt x="54" y="190"/>
                  </a:lnTo>
                  <a:lnTo>
                    <a:pt x="54" y="192"/>
                  </a:lnTo>
                  <a:lnTo>
                    <a:pt x="54" y="198"/>
                  </a:lnTo>
                  <a:lnTo>
                    <a:pt x="56" y="200"/>
                  </a:lnTo>
                  <a:lnTo>
                    <a:pt x="56" y="206"/>
                  </a:lnTo>
                  <a:lnTo>
                    <a:pt x="56" y="208"/>
                  </a:lnTo>
                  <a:lnTo>
                    <a:pt x="58" y="208"/>
                  </a:lnTo>
                  <a:lnTo>
                    <a:pt x="62" y="212"/>
                  </a:lnTo>
                  <a:lnTo>
                    <a:pt x="62" y="214"/>
                  </a:lnTo>
                  <a:lnTo>
                    <a:pt x="62" y="214"/>
                  </a:lnTo>
                  <a:lnTo>
                    <a:pt x="66" y="220"/>
                  </a:lnTo>
                  <a:lnTo>
                    <a:pt x="66" y="222"/>
                  </a:lnTo>
                  <a:lnTo>
                    <a:pt x="68" y="222"/>
                  </a:lnTo>
                  <a:lnTo>
                    <a:pt x="68" y="224"/>
                  </a:lnTo>
                  <a:lnTo>
                    <a:pt x="70" y="228"/>
                  </a:lnTo>
                  <a:lnTo>
                    <a:pt x="70" y="230"/>
                  </a:lnTo>
                  <a:lnTo>
                    <a:pt x="74" y="234"/>
                  </a:lnTo>
                  <a:lnTo>
                    <a:pt x="74" y="238"/>
                  </a:lnTo>
                  <a:lnTo>
                    <a:pt x="76" y="242"/>
                  </a:lnTo>
                  <a:lnTo>
                    <a:pt x="80" y="246"/>
                  </a:lnTo>
                  <a:lnTo>
                    <a:pt x="82" y="248"/>
                  </a:lnTo>
                  <a:lnTo>
                    <a:pt x="86" y="256"/>
                  </a:lnTo>
                  <a:lnTo>
                    <a:pt x="88" y="260"/>
                  </a:lnTo>
                  <a:lnTo>
                    <a:pt x="94" y="262"/>
                  </a:lnTo>
                  <a:lnTo>
                    <a:pt x="98" y="264"/>
                  </a:lnTo>
                  <a:lnTo>
                    <a:pt x="100" y="266"/>
                  </a:lnTo>
                  <a:lnTo>
                    <a:pt x="104" y="268"/>
                  </a:lnTo>
                  <a:lnTo>
                    <a:pt x="106" y="268"/>
                  </a:lnTo>
                  <a:lnTo>
                    <a:pt x="110" y="268"/>
                  </a:lnTo>
                  <a:lnTo>
                    <a:pt x="120" y="272"/>
                  </a:lnTo>
                  <a:lnTo>
                    <a:pt x="134" y="274"/>
                  </a:lnTo>
                  <a:lnTo>
                    <a:pt x="138" y="272"/>
                  </a:lnTo>
                  <a:lnTo>
                    <a:pt x="140" y="270"/>
                  </a:lnTo>
                  <a:lnTo>
                    <a:pt x="140" y="264"/>
                  </a:lnTo>
                  <a:lnTo>
                    <a:pt x="140" y="260"/>
                  </a:lnTo>
                  <a:lnTo>
                    <a:pt x="138" y="258"/>
                  </a:lnTo>
                  <a:lnTo>
                    <a:pt x="134" y="252"/>
                  </a:lnTo>
                  <a:lnTo>
                    <a:pt x="130" y="248"/>
                  </a:lnTo>
                  <a:lnTo>
                    <a:pt x="126" y="246"/>
                  </a:lnTo>
                  <a:lnTo>
                    <a:pt x="126" y="244"/>
                  </a:lnTo>
                  <a:lnTo>
                    <a:pt x="130" y="242"/>
                  </a:lnTo>
                  <a:lnTo>
                    <a:pt x="132" y="240"/>
                  </a:lnTo>
                  <a:lnTo>
                    <a:pt x="134" y="238"/>
                  </a:lnTo>
                  <a:lnTo>
                    <a:pt x="136" y="230"/>
                  </a:lnTo>
                  <a:lnTo>
                    <a:pt x="136" y="230"/>
                  </a:lnTo>
                  <a:lnTo>
                    <a:pt x="138" y="230"/>
                  </a:lnTo>
                  <a:lnTo>
                    <a:pt x="140" y="230"/>
                  </a:lnTo>
                  <a:lnTo>
                    <a:pt x="142" y="232"/>
                  </a:lnTo>
                  <a:lnTo>
                    <a:pt x="152" y="236"/>
                  </a:lnTo>
                  <a:lnTo>
                    <a:pt x="158" y="236"/>
                  </a:lnTo>
                  <a:lnTo>
                    <a:pt x="176" y="234"/>
                  </a:lnTo>
                  <a:lnTo>
                    <a:pt x="178" y="232"/>
                  </a:lnTo>
                  <a:lnTo>
                    <a:pt x="182" y="230"/>
                  </a:lnTo>
                  <a:lnTo>
                    <a:pt x="188" y="228"/>
                  </a:lnTo>
                  <a:lnTo>
                    <a:pt x="190" y="228"/>
                  </a:lnTo>
                  <a:lnTo>
                    <a:pt x="192" y="228"/>
                  </a:lnTo>
                  <a:lnTo>
                    <a:pt x="196" y="228"/>
                  </a:lnTo>
                  <a:lnTo>
                    <a:pt x="200" y="224"/>
                  </a:lnTo>
                  <a:lnTo>
                    <a:pt x="202" y="224"/>
                  </a:lnTo>
                  <a:lnTo>
                    <a:pt x="202" y="228"/>
                  </a:lnTo>
                  <a:lnTo>
                    <a:pt x="206" y="230"/>
                  </a:lnTo>
                  <a:lnTo>
                    <a:pt x="208" y="234"/>
                  </a:lnTo>
                  <a:lnTo>
                    <a:pt x="210" y="234"/>
                  </a:lnTo>
                  <a:lnTo>
                    <a:pt x="216" y="234"/>
                  </a:lnTo>
                  <a:lnTo>
                    <a:pt x="218" y="234"/>
                  </a:lnTo>
                  <a:lnTo>
                    <a:pt x="220" y="238"/>
                  </a:lnTo>
                  <a:lnTo>
                    <a:pt x="220" y="240"/>
                  </a:lnTo>
                  <a:lnTo>
                    <a:pt x="222" y="242"/>
                  </a:lnTo>
                  <a:lnTo>
                    <a:pt x="226" y="242"/>
                  </a:lnTo>
                  <a:lnTo>
                    <a:pt x="226" y="242"/>
                  </a:lnTo>
                  <a:lnTo>
                    <a:pt x="228" y="240"/>
                  </a:lnTo>
                  <a:lnTo>
                    <a:pt x="230" y="240"/>
                  </a:lnTo>
                  <a:lnTo>
                    <a:pt x="234" y="236"/>
                  </a:lnTo>
                  <a:lnTo>
                    <a:pt x="240" y="234"/>
                  </a:lnTo>
                  <a:lnTo>
                    <a:pt x="250" y="216"/>
                  </a:lnTo>
                  <a:lnTo>
                    <a:pt x="254" y="210"/>
                  </a:lnTo>
                  <a:lnTo>
                    <a:pt x="254" y="206"/>
                  </a:lnTo>
                  <a:lnTo>
                    <a:pt x="254" y="198"/>
                  </a:lnTo>
                  <a:lnTo>
                    <a:pt x="252" y="188"/>
                  </a:lnTo>
                  <a:lnTo>
                    <a:pt x="254" y="186"/>
                  </a:lnTo>
                  <a:lnTo>
                    <a:pt x="262" y="174"/>
                  </a:lnTo>
                  <a:lnTo>
                    <a:pt x="266" y="168"/>
                  </a:lnTo>
                  <a:lnTo>
                    <a:pt x="266" y="162"/>
                  </a:lnTo>
                  <a:lnTo>
                    <a:pt x="266" y="160"/>
                  </a:lnTo>
                  <a:lnTo>
                    <a:pt x="266" y="158"/>
                  </a:lnTo>
                  <a:lnTo>
                    <a:pt x="264" y="156"/>
                  </a:lnTo>
                  <a:lnTo>
                    <a:pt x="260" y="152"/>
                  </a:lnTo>
                  <a:lnTo>
                    <a:pt x="258" y="148"/>
                  </a:lnTo>
                  <a:lnTo>
                    <a:pt x="252" y="142"/>
                  </a:lnTo>
                  <a:lnTo>
                    <a:pt x="250" y="138"/>
                  </a:lnTo>
                  <a:lnTo>
                    <a:pt x="242" y="128"/>
                  </a:lnTo>
                  <a:lnTo>
                    <a:pt x="244" y="124"/>
                  </a:lnTo>
                  <a:lnTo>
                    <a:pt x="240" y="118"/>
                  </a:lnTo>
                  <a:lnTo>
                    <a:pt x="240" y="116"/>
                  </a:lnTo>
                  <a:lnTo>
                    <a:pt x="238" y="110"/>
                  </a:lnTo>
                  <a:lnTo>
                    <a:pt x="238" y="104"/>
                  </a:lnTo>
                  <a:lnTo>
                    <a:pt x="236" y="100"/>
                  </a:lnTo>
                  <a:lnTo>
                    <a:pt x="238" y="94"/>
                  </a:lnTo>
                  <a:lnTo>
                    <a:pt x="238" y="86"/>
                  </a:lnTo>
                  <a:lnTo>
                    <a:pt x="236" y="82"/>
                  </a:lnTo>
                  <a:lnTo>
                    <a:pt x="234" y="78"/>
                  </a:lnTo>
                  <a:lnTo>
                    <a:pt x="234" y="72"/>
                  </a:lnTo>
                  <a:lnTo>
                    <a:pt x="236" y="70"/>
                  </a:lnTo>
                  <a:lnTo>
                    <a:pt x="236" y="66"/>
                  </a:lnTo>
                  <a:lnTo>
                    <a:pt x="244" y="54"/>
                  </a:lnTo>
                  <a:lnTo>
                    <a:pt x="250" y="48"/>
                  </a:lnTo>
                  <a:lnTo>
                    <a:pt x="256" y="4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2" name="Freeform 6394">
              <a:extLst>
                <a:ext uri="{FF2B5EF4-FFF2-40B4-BE49-F238E27FC236}">
                  <a16:creationId xmlns:a16="http://schemas.microsoft.com/office/drawing/2014/main" id="{4AAE8122-D9A5-425B-A0D3-8C2AAA67B113}"/>
                </a:ext>
              </a:extLst>
            </p:cNvPr>
            <p:cNvSpPr/>
            <p:nvPr/>
          </p:nvSpPr>
          <p:spPr bwMode="auto">
            <a:xfrm>
              <a:off x="5724748" y="3962476"/>
              <a:ext cx="143383" cy="70150"/>
            </a:xfrm>
            <a:custGeom>
              <a:avLst/>
              <a:gdLst>
                <a:gd name="T0" fmla="*/ 350 w 372"/>
                <a:gd name="T1" fmla="*/ 44 h 182"/>
                <a:gd name="T2" fmla="*/ 334 w 372"/>
                <a:gd name="T3" fmla="*/ 30 h 182"/>
                <a:gd name="T4" fmla="*/ 312 w 372"/>
                <a:gd name="T5" fmla="*/ 18 h 182"/>
                <a:gd name="T6" fmla="*/ 280 w 372"/>
                <a:gd name="T7" fmla="*/ 18 h 182"/>
                <a:gd name="T8" fmla="*/ 268 w 372"/>
                <a:gd name="T9" fmla="*/ 28 h 182"/>
                <a:gd name="T10" fmla="*/ 254 w 372"/>
                <a:gd name="T11" fmla="*/ 22 h 182"/>
                <a:gd name="T12" fmla="*/ 236 w 372"/>
                <a:gd name="T13" fmla="*/ 20 h 182"/>
                <a:gd name="T14" fmla="*/ 228 w 372"/>
                <a:gd name="T15" fmla="*/ 20 h 182"/>
                <a:gd name="T16" fmla="*/ 216 w 372"/>
                <a:gd name="T17" fmla="*/ 28 h 182"/>
                <a:gd name="T18" fmla="*/ 200 w 372"/>
                <a:gd name="T19" fmla="*/ 38 h 182"/>
                <a:gd name="T20" fmla="*/ 190 w 372"/>
                <a:gd name="T21" fmla="*/ 38 h 182"/>
                <a:gd name="T22" fmla="*/ 192 w 372"/>
                <a:gd name="T23" fmla="*/ 28 h 182"/>
                <a:gd name="T24" fmla="*/ 184 w 372"/>
                <a:gd name="T25" fmla="*/ 20 h 182"/>
                <a:gd name="T26" fmla="*/ 178 w 372"/>
                <a:gd name="T27" fmla="*/ 14 h 182"/>
                <a:gd name="T28" fmla="*/ 168 w 372"/>
                <a:gd name="T29" fmla="*/ 0 h 182"/>
                <a:gd name="T30" fmla="*/ 156 w 372"/>
                <a:gd name="T31" fmla="*/ 8 h 182"/>
                <a:gd name="T32" fmla="*/ 136 w 372"/>
                <a:gd name="T33" fmla="*/ 14 h 182"/>
                <a:gd name="T34" fmla="*/ 126 w 372"/>
                <a:gd name="T35" fmla="*/ 8 h 182"/>
                <a:gd name="T36" fmla="*/ 114 w 372"/>
                <a:gd name="T37" fmla="*/ 10 h 182"/>
                <a:gd name="T38" fmla="*/ 102 w 372"/>
                <a:gd name="T39" fmla="*/ 20 h 182"/>
                <a:gd name="T40" fmla="*/ 84 w 372"/>
                <a:gd name="T41" fmla="*/ 34 h 182"/>
                <a:gd name="T42" fmla="*/ 80 w 372"/>
                <a:gd name="T43" fmla="*/ 48 h 182"/>
                <a:gd name="T44" fmla="*/ 70 w 372"/>
                <a:gd name="T45" fmla="*/ 58 h 182"/>
                <a:gd name="T46" fmla="*/ 62 w 372"/>
                <a:gd name="T47" fmla="*/ 66 h 182"/>
                <a:gd name="T48" fmla="*/ 40 w 372"/>
                <a:gd name="T49" fmla="*/ 76 h 182"/>
                <a:gd name="T50" fmla="*/ 18 w 372"/>
                <a:gd name="T51" fmla="*/ 74 h 182"/>
                <a:gd name="T52" fmla="*/ 6 w 372"/>
                <a:gd name="T53" fmla="*/ 98 h 182"/>
                <a:gd name="T54" fmla="*/ 2 w 372"/>
                <a:gd name="T55" fmla="*/ 108 h 182"/>
                <a:gd name="T56" fmla="*/ 6 w 372"/>
                <a:gd name="T57" fmla="*/ 138 h 182"/>
                <a:gd name="T58" fmla="*/ 18 w 372"/>
                <a:gd name="T59" fmla="*/ 158 h 182"/>
                <a:gd name="T60" fmla="*/ 28 w 372"/>
                <a:gd name="T61" fmla="*/ 158 h 182"/>
                <a:gd name="T62" fmla="*/ 50 w 372"/>
                <a:gd name="T63" fmla="*/ 176 h 182"/>
                <a:gd name="T64" fmla="*/ 84 w 372"/>
                <a:gd name="T65" fmla="*/ 182 h 182"/>
                <a:gd name="T66" fmla="*/ 122 w 372"/>
                <a:gd name="T67" fmla="*/ 178 h 182"/>
                <a:gd name="T68" fmla="*/ 124 w 372"/>
                <a:gd name="T69" fmla="*/ 164 h 182"/>
                <a:gd name="T70" fmla="*/ 158 w 372"/>
                <a:gd name="T71" fmla="*/ 152 h 182"/>
                <a:gd name="T72" fmla="*/ 176 w 372"/>
                <a:gd name="T73" fmla="*/ 138 h 182"/>
                <a:gd name="T74" fmla="*/ 192 w 372"/>
                <a:gd name="T75" fmla="*/ 142 h 182"/>
                <a:gd name="T76" fmla="*/ 214 w 372"/>
                <a:gd name="T77" fmla="*/ 136 h 182"/>
                <a:gd name="T78" fmla="*/ 238 w 372"/>
                <a:gd name="T79" fmla="*/ 106 h 182"/>
                <a:gd name="T80" fmla="*/ 270 w 372"/>
                <a:gd name="T81" fmla="*/ 106 h 182"/>
                <a:gd name="T82" fmla="*/ 296 w 372"/>
                <a:gd name="T83" fmla="*/ 104 h 182"/>
                <a:gd name="T84" fmla="*/ 308 w 372"/>
                <a:gd name="T85" fmla="*/ 110 h 182"/>
                <a:gd name="T86" fmla="*/ 314 w 372"/>
                <a:gd name="T87" fmla="*/ 118 h 182"/>
                <a:gd name="T88" fmla="*/ 322 w 372"/>
                <a:gd name="T89" fmla="*/ 126 h 182"/>
                <a:gd name="T90" fmla="*/ 346 w 372"/>
                <a:gd name="T91" fmla="*/ 102 h 182"/>
                <a:gd name="T92" fmla="*/ 362 w 372"/>
                <a:gd name="T93" fmla="*/ 72 h 182"/>
                <a:gd name="T94" fmla="*/ 370 w 372"/>
                <a:gd name="T95" fmla="*/ 56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2" h="182">
                  <a:moveTo>
                    <a:pt x="372" y="52"/>
                  </a:moveTo>
                  <a:lnTo>
                    <a:pt x="368" y="52"/>
                  </a:lnTo>
                  <a:lnTo>
                    <a:pt x="350" y="44"/>
                  </a:lnTo>
                  <a:lnTo>
                    <a:pt x="338" y="38"/>
                  </a:lnTo>
                  <a:lnTo>
                    <a:pt x="336" y="34"/>
                  </a:lnTo>
                  <a:lnTo>
                    <a:pt x="334" y="30"/>
                  </a:lnTo>
                  <a:lnTo>
                    <a:pt x="330" y="24"/>
                  </a:lnTo>
                  <a:lnTo>
                    <a:pt x="318" y="20"/>
                  </a:lnTo>
                  <a:lnTo>
                    <a:pt x="312" y="18"/>
                  </a:lnTo>
                  <a:lnTo>
                    <a:pt x="294" y="16"/>
                  </a:lnTo>
                  <a:lnTo>
                    <a:pt x="286" y="16"/>
                  </a:lnTo>
                  <a:lnTo>
                    <a:pt x="280" y="18"/>
                  </a:lnTo>
                  <a:lnTo>
                    <a:pt x="276" y="18"/>
                  </a:lnTo>
                  <a:lnTo>
                    <a:pt x="270" y="24"/>
                  </a:lnTo>
                  <a:lnTo>
                    <a:pt x="268" y="28"/>
                  </a:lnTo>
                  <a:lnTo>
                    <a:pt x="262" y="28"/>
                  </a:lnTo>
                  <a:lnTo>
                    <a:pt x="258" y="26"/>
                  </a:lnTo>
                  <a:lnTo>
                    <a:pt x="254" y="22"/>
                  </a:lnTo>
                  <a:lnTo>
                    <a:pt x="246" y="20"/>
                  </a:lnTo>
                  <a:lnTo>
                    <a:pt x="240" y="20"/>
                  </a:lnTo>
                  <a:lnTo>
                    <a:pt x="236" y="20"/>
                  </a:lnTo>
                  <a:lnTo>
                    <a:pt x="232" y="20"/>
                  </a:lnTo>
                  <a:lnTo>
                    <a:pt x="232" y="20"/>
                  </a:lnTo>
                  <a:lnTo>
                    <a:pt x="228" y="20"/>
                  </a:lnTo>
                  <a:lnTo>
                    <a:pt x="226" y="22"/>
                  </a:lnTo>
                  <a:lnTo>
                    <a:pt x="220" y="26"/>
                  </a:lnTo>
                  <a:lnTo>
                    <a:pt x="216" y="28"/>
                  </a:lnTo>
                  <a:lnTo>
                    <a:pt x="212" y="32"/>
                  </a:lnTo>
                  <a:lnTo>
                    <a:pt x="208" y="40"/>
                  </a:lnTo>
                  <a:lnTo>
                    <a:pt x="200" y="38"/>
                  </a:lnTo>
                  <a:lnTo>
                    <a:pt x="196" y="38"/>
                  </a:lnTo>
                  <a:lnTo>
                    <a:pt x="192" y="40"/>
                  </a:lnTo>
                  <a:lnTo>
                    <a:pt x="190" y="38"/>
                  </a:lnTo>
                  <a:lnTo>
                    <a:pt x="190" y="36"/>
                  </a:lnTo>
                  <a:lnTo>
                    <a:pt x="192" y="32"/>
                  </a:lnTo>
                  <a:lnTo>
                    <a:pt x="192" y="28"/>
                  </a:lnTo>
                  <a:lnTo>
                    <a:pt x="190" y="22"/>
                  </a:lnTo>
                  <a:lnTo>
                    <a:pt x="188" y="20"/>
                  </a:lnTo>
                  <a:lnTo>
                    <a:pt x="184" y="20"/>
                  </a:lnTo>
                  <a:lnTo>
                    <a:pt x="182" y="18"/>
                  </a:lnTo>
                  <a:lnTo>
                    <a:pt x="180" y="16"/>
                  </a:lnTo>
                  <a:lnTo>
                    <a:pt x="178" y="14"/>
                  </a:lnTo>
                  <a:lnTo>
                    <a:pt x="174" y="8"/>
                  </a:lnTo>
                  <a:lnTo>
                    <a:pt x="172" y="2"/>
                  </a:lnTo>
                  <a:lnTo>
                    <a:pt x="168" y="0"/>
                  </a:lnTo>
                  <a:lnTo>
                    <a:pt x="166" y="2"/>
                  </a:lnTo>
                  <a:lnTo>
                    <a:pt x="160" y="6"/>
                  </a:lnTo>
                  <a:lnTo>
                    <a:pt x="156" y="8"/>
                  </a:lnTo>
                  <a:lnTo>
                    <a:pt x="150" y="20"/>
                  </a:lnTo>
                  <a:lnTo>
                    <a:pt x="138" y="20"/>
                  </a:lnTo>
                  <a:lnTo>
                    <a:pt x="136" y="14"/>
                  </a:lnTo>
                  <a:lnTo>
                    <a:pt x="136" y="10"/>
                  </a:lnTo>
                  <a:lnTo>
                    <a:pt x="128" y="8"/>
                  </a:lnTo>
                  <a:lnTo>
                    <a:pt x="126" y="8"/>
                  </a:lnTo>
                  <a:lnTo>
                    <a:pt x="124" y="10"/>
                  </a:lnTo>
                  <a:lnTo>
                    <a:pt x="118" y="10"/>
                  </a:lnTo>
                  <a:lnTo>
                    <a:pt x="114" y="10"/>
                  </a:lnTo>
                  <a:lnTo>
                    <a:pt x="110" y="12"/>
                  </a:lnTo>
                  <a:lnTo>
                    <a:pt x="106" y="16"/>
                  </a:lnTo>
                  <a:lnTo>
                    <a:pt x="102" y="20"/>
                  </a:lnTo>
                  <a:lnTo>
                    <a:pt x="100" y="22"/>
                  </a:lnTo>
                  <a:lnTo>
                    <a:pt x="98" y="26"/>
                  </a:lnTo>
                  <a:lnTo>
                    <a:pt x="84" y="34"/>
                  </a:lnTo>
                  <a:lnTo>
                    <a:pt x="82" y="36"/>
                  </a:lnTo>
                  <a:lnTo>
                    <a:pt x="82" y="42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78" y="56"/>
                  </a:lnTo>
                  <a:lnTo>
                    <a:pt x="70" y="58"/>
                  </a:lnTo>
                  <a:lnTo>
                    <a:pt x="68" y="60"/>
                  </a:lnTo>
                  <a:lnTo>
                    <a:pt x="68" y="62"/>
                  </a:lnTo>
                  <a:lnTo>
                    <a:pt x="62" y="66"/>
                  </a:lnTo>
                  <a:lnTo>
                    <a:pt x="58" y="70"/>
                  </a:lnTo>
                  <a:lnTo>
                    <a:pt x="50" y="74"/>
                  </a:lnTo>
                  <a:lnTo>
                    <a:pt x="40" y="76"/>
                  </a:lnTo>
                  <a:lnTo>
                    <a:pt x="28" y="74"/>
                  </a:lnTo>
                  <a:lnTo>
                    <a:pt x="20" y="72"/>
                  </a:lnTo>
                  <a:lnTo>
                    <a:pt x="18" y="74"/>
                  </a:lnTo>
                  <a:lnTo>
                    <a:pt x="12" y="80"/>
                  </a:lnTo>
                  <a:lnTo>
                    <a:pt x="8" y="92"/>
                  </a:lnTo>
                  <a:lnTo>
                    <a:pt x="6" y="98"/>
                  </a:lnTo>
                  <a:lnTo>
                    <a:pt x="6" y="100"/>
                  </a:lnTo>
                  <a:lnTo>
                    <a:pt x="4" y="104"/>
                  </a:lnTo>
                  <a:lnTo>
                    <a:pt x="2" y="108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8"/>
                  </a:lnTo>
                  <a:lnTo>
                    <a:pt x="12" y="150"/>
                  </a:lnTo>
                  <a:lnTo>
                    <a:pt x="14" y="154"/>
                  </a:lnTo>
                  <a:lnTo>
                    <a:pt x="18" y="158"/>
                  </a:lnTo>
                  <a:lnTo>
                    <a:pt x="20" y="158"/>
                  </a:lnTo>
                  <a:lnTo>
                    <a:pt x="26" y="158"/>
                  </a:lnTo>
                  <a:lnTo>
                    <a:pt x="28" y="158"/>
                  </a:lnTo>
                  <a:lnTo>
                    <a:pt x="30" y="160"/>
                  </a:lnTo>
                  <a:lnTo>
                    <a:pt x="40" y="170"/>
                  </a:lnTo>
                  <a:lnTo>
                    <a:pt x="50" y="176"/>
                  </a:lnTo>
                  <a:lnTo>
                    <a:pt x="58" y="180"/>
                  </a:lnTo>
                  <a:lnTo>
                    <a:pt x="70" y="180"/>
                  </a:lnTo>
                  <a:lnTo>
                    <a:pt x="84" y="182"/>
                  </a:lnTo>
                  <a:lnTo>
                    <a:pt x="106" y="180"/>
                  </a:lnTo>
                  <a:lnTo>
                    <a:pt x="122" y="178"/>
                  </a:lnTo>
                  <a:lnTo>
                    <a:pt x="122" y="178"/>
                  </a:lnTo>
                  <a:lnTo>
                    <a:pt x="126" y="172"/>
                  </a:lnTo>
                  <a:lnTo>
                    <a:pt x="124" y="168"/>
                  </a:lnTo>
                  <a:lnTo>
                    <a:pt x="124" y="164"/>
                  </a:lnTo>
                  <a:lnTo>
                    <a:pt x="126" y="158"/>
                  </a:lnTo>
                  <a:lnTo>
                    <a:pt x="134" y="154"/>
                  </a:lnTo>
                  <a:lnTo>
                    <a:pt x="158" y="152"/>
                  </a:lnTo>
                  <a:lnTo>
                    <a:pt x="170" y="148"/>
                  </a:lnTo>
                  <a:lnTo>
                    <a:pt x="172" y="142"/>
                  </a:lnTo>
                  <a:lnTo>
                    <a:pt x="176" y="138"/>
                  </a:lnTo>
                  <a:lnTo>
                    <a:pt x="180" y="136"/>
                  </a:lnTo>
                  <a:lnTo>
                    <a:pt x="186" y="138"/>
                  </a:lnTo>
                  <a:lnTo>
                    <a:pt x="192" y="142"/>
                  </a:lnTo>
                  <a:lnTo>
                    <a:pt x="198" y="146"/>
                  </a:lnTo>
                  <a:lnTo>
                    <a:pt x="202" y="144"/>
                  </a:lnTo>
                  <a:lnTo>
                    <a:pt x="214" y="136"/>
                  </a:lnTo>
                  <a:lnTo>
                    <a:pt x="228" y="130"/>
                  </a:lnTo>
                  <a:lnTo>
                    <a:pt x="236" y="110"/>
                  </a:lnTo>
                  <a:lnTo>
                    <a:pt x="238" y="106"/>
                  </a:lnTo>
                  <a:lnTo>
                    <a:pt x="248" y="104"/>
                  </a:lnTo>
                  <a:lnTo>
                    <a:pt x="262" y="104"/>
                  </a:lnTo>
                  <a:lnTo>
                    <a:pt x="270" y="106"/>
                  </a:lnTo>
                  <a:lnTo>
                    <a:pt x="276" y="108"/>
                  </a:lnTo>
                  <a:lnTo>
                    <a:pt x="284" y="108"/>
                  </a:lnTo>
                  <a:lnTo>
                    <a:pt x="296" y="104"/>
                  </a:lnTo>
                  <a:lnTo>
                    <a:pt x="300" y="104"/>
                  </a:lnTo>
                  <a:lnTo>
                    <a:pt x="304" y="106"/>
                  </a:lnTo>
                  <a:lnTo>
                    <a:pt x="308" y="110"/>
                  </a:lnTo>
                  <a:lnTo>
                    <a:pt x="310" y="112"/>
                  </a:lnTo>
                  <a:lnTo>
                    <a:pt x="312" y="118"/>
                  </a:lnTo>
                  <a:lnTo>
                    <a:pt x="314" y="118"/>
                  </a:lnTo>
                  <a:lnTo>
                    <a:pt x="314" y="120"/>
                  </a:lnTo>
                  <a:lnTo>
                    <a:pt x="318" y="124"/>
                  </a:lnTo>
                  <a:lnTo>
                    <a:pt x="322" y="126"/>
                  </a:lnTo>
                  <a:lnTo>
                    <a:pt x="344" y="120"/>
                  </a:lnTo>
                  <a:lnTo>
                    <a:pt x="346" y="118"/>
                  </a:lnTo>
                  <a:lnTo>
                    <a:pt x="346" y="102"/>
                  </a:lnTo>
                  <a:lnTo>
                    <a:pt x="356" y="90"/>
                  </a:lnTo>
                  <a:lnTo>
                    <a:pt x="358" y="84"/>
                  </a:lnTo>
                  <a:lnTo>
                    <a:pt x="362" y="72"/>
                  </a:lnTo>
                  <a:lnTo>
                    <a:pt x="364" y="66"/>
                  </a:lnTo>
                  <a:lnTo>
                    <a:pt x="368" y="60"/>
                  </a:lnTo>
                  <a:lnTo>
                    <a:pt x="370" y="56"/>
                  </a:lnTo>
                  <a:lnTo>
                    <a:pt x="372" y="5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3" name="Freeform 6398">
              <a:extLst>
                <a:ext uri="{FF2B5EF4-FFF2-40B4-BE49-F238E27FC236}">
                  <a16:creationId xmlns:a16="http://schemas.microsoft.com/office/drawing/2014/main" id="{90A7CEB2-9737-4252-B967-97105EB35A47}"/>
                </a:ext>
              </a:extLst>
            </p:cNvPr>
            <p:cNvSpPr/>
            <p:nvPr/>
          </p:nvSpPr>
          <p:spPr bwMode="auto">
            <a:xfrm>
              <a:off x="5636868" y="4065773"/>
              <a:ext cx="78629" cy="52420"/>
            </a:xfrm>
            <a:custGeom>
              <a:avLst/>
              <a:gdLst>
                <a:gd name="T0" fmla="*/ 198 w 204"/>
                <a:gd name="T1" fmla="*/ 24 h 136"/>
                <a:gd name="T2" fmla="*/ 196 w 204"/>
                <a:gd name="T3" fmla="*/ 16 h 136"/>
                <a:gd name="T4" fmla="*/ 192 w 204"/>
                <a:gd name="T5" fmla="*/ 4 h 136"/>
                <a:gd name="T6" fmla="*/ 174 w 204"/>
                <a:gd name="T7" fmla="*/ 2 h 136"/>
                <a:gd name="T8" fmla="*/ 170 w 204"/>
                <a:gd name="T9" fmla="*/ 16 h 136"/>
                <a:gd name="T10" fmla="*/ 156 w 204"/>
                <a:gd name="T11" fmla="*/ 14 h 136"/>
                <a:gd name="T12" fmla="*/ 134 w 204"/>
                <a:gd name="T13" fmla="*/ 22 h 136"/>
                <a:gd name="T14" fmla="*/ 102 w 204"/>
                <a:gd name="T15" fmla="*/ 24 h 136"/>
                <a:gd name="T16" fmla="*/ 92 w 204"/>
                <a:gd name="T17" fmla="*/ 30 h 136"/>
                <a:gd name="T18" fmla="*/ 80 w 204"/>
                <a:gd name="T19" fmla="*/ 42 h 136"/>
                <a:gd name="T20" fmla="*/ 72 w 204"/>
                <a:gd name="T21" fmla="*/ 42 h 136"/>
                <a:gd name="T22" fmla="*/ 58 w 204"/>
                <a:gd name="T23" fmla="*/ 40 h 136"/>
                <a:gd name="T24" fmla="*/ 36 w 204"/>
                <a:gd name="T25" fmla="*/ 36 h 136"/>
                <a:gd name="T26" fmla="*/ 20 w 204"/>
                <a:gd name="T27" fmla="*/ 34 h 136"/>
                <a:gd name="T28" fmla="*/ 12 w 204"/>
                <a:gd name="T29" fmla="*/ 44 h 136"/>
                <a:gd name="T30" fmla="*/ 0 w 204"/>
                <a:gd name="T31" fmla="*/ 58 h 136"/>
                <a:gd name="T32" fmla="*/ 4 w 204"/>
                <a:gd name="T33" fmla="*/ 62 h 136"/>
                <a:gd name="T34" fmla="*/ 16 w 204"/>
                <a:gd name="T35" fmla="*/ 66 h 136"/>
                <a:gd name="T36" fmla="*/ 10 w 204"/>
                <a:gd name="T37" fmla="*/ 74 h 136"/>
                <a:gd name="T38" fmla="*/ 6 w 204"/>
                <a:gd name="T39" fmla="*/ 84 h 136"/>
                <a:gd name="T40" fmla="*/ 14 w 204"/>
                <a:gd name="T41" fmla="*/ 86 h 136"/>
                <a:gd name="T42" fmla="*/ 18 w 204"/>
                <a:gd name="T43" fmla="*/ 102 h 136"/>
                <a:gd name="T44" fmla="*/ 32 w 204"/>
                <a:gd name="T45" fmla="*/ 118 h 136"/>
                <a:gd name="T46" fmla="*/ 22 w 204"/>
                <a:gd name="T47" fmla="*/ 122 h 136"/>
                <a:gd name="T48" fmla="*/ 14 w 204"/>
                <a:gd name="T49" fmla="*/ 132 h 136"/>
                <a:gd name="T50" fmla="*/ 38 w 204"/>
                <a:gd name="T51" fmla="*/ 132 h 136"/>
                <a:gd name="T52" fmla="*/ 46 w 204"/>
                <a:gd name="T53" fmla="*/ 132 h 136"/>
                <a:gd name="T54" fmla="*/ 64 w 204"/>
                <a:gd name="T55" fmla="*/ 132 h 136"/>
                <a:gd name="T56" fmla="*/ 74 w 204"/>
                <a:gd name="T57" fmla="*/ 116 h 136"/>
                <a:gd name="T58" fmla="*/ 80 w 204"/>
                <a:gd name="T59" fmla="*/ 120 h 136"/>
                <a:gd name="T60" fmla="*/ 92 w 204"/>
                <a:gd name="T61" fmla="*/ 132 h 136"/>
                <a:gd name="T62" fmla="*/ 102 w 204"/>
                <a:gd name="T63" fmla="*/ 130 h 136"/>
                <a:gd name="T64" fmla="*/ 128 w 204"/>
                <a:gd name="T65" fmla="*/ 132 h 136"/>
                <a:gd name="T66" fmla="*/ 124 w 204"/>
                <a:gd name="T67" fmla="*/ 122 h 136"/>
                <a:gd name="T68" fmla="*/ 128 w 204"/>
                <a:gd name="T69" fmla="*/ 114 h 136"/>
                <a:gd name="T70" fmla="*/ 136 w 204"/>
                <a:gd name="T71" fmla="*/ 102 h 136"/>
                <a:gd name="T72" fmla="*/ 150 w 204"/>
                <a:gd name="T73" fmla="*/ 92 h 136"/>
                <a:gd name="T74" fmla="*/ 144 w 204"/>
                <a:gd name="T75" fmla="*/ 72 h 136"/>
                <a:gd name="T76" fmla="*/ 148 w 204"/>
                <a:gd name="T77" fmla="*/ 64 h 136"/>
                <a:gd name="T78" fmla="*/ 160 w 204"/>
                <a:gd name="T79" fmla="*/ 58 h 136"/>
                <a:gd name="T80" fmla="*/ 176 w 204"/>
                <a:gd name="T81" fmla="*/ 48 h 136"/>
                <a:gd name="T82" fmla="*/ 188 w 204"/>
                <a:gd name="T83" fmla="*/ 46 h 136"/>
                <a:gd name="T84" fmla="*/ 190 w 204"/>
                <a:gd name="T85" fmla="*/ 32 h 136"/>
                <a:gd name="T86" fmla="*/ 204 w 204"/>
                <a:gd name="T87" fmla="*/ 3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04" h="136">
                  <a:moveTo>
                    <a:pt x="204" y="34"/>
                  </a:moveTo>
                  <a:lnTo>
                    <a:pt x="204" y="32"/>
                  </a:lnTo>
                  <a:lnTo>
                    <a:pt x="198" y="24"/>
                  </a:lnTo>
                  <a:lnTo>
                    <a:pt x="196" y="22"/>
                  </a:lnTo>
                  <a:lnTo>
                    <a:pt x="196" y="18"/>
                  </a:lnTo>
                  <a:lnTo>
                    <a:pt x="196" y="16"/>
                  </a:lnTo>
                  <a:lnTo>
                    <a:pt x="192" y="14"/>
                  </a:lnTo>
                  <a:lnTo>
                    <a:pt x="192" y="8"/>
                  </a:lnTo>
                  <a:lnTo>
                    <a:pt x="192" y="4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174" y="2"/>
                  </a:lnTo>
                  <a:lnTo>
                    <a:pt x="170" y="6"/>
                  </a:lnTo>
                  <a:lnTo>
                    <a:pt x="170" y="16"/>
                  </a:lnTo>
                  <a:lnTo>
                    <a:pt x="170" y="16"/>
                  </a:lnTo>
                  <a:lnTo>
                    <a:pt x="168" y="18"/>
                  </a:lnTo>
                  <a:lnTo>
                    <a:pt x="156" y="14"/>
                  </a:lnTo>
                  <a:lnTo>
                    <a:pt x="156" y="14"/>
                  </a:lnTo>
                  <a:lnTo>
                    <a:pt x="146" y="16"/>
                  </a:lnTo>
                  <a:lnTo>
                    <a:pt x="142" y="20"/>
                  </a:lnTo>
                  <a:lnTo>
                    <a:pt x="134" y="22"/>
                  </a:lnTo>
                  <a:lnTo>
                    <a:pt x="120" y="22"/>
                  </a:lnTo>
                  <a:lnTo>
                    <a:pt x="106" y="24"/>
                  </a:lnTo>
                  <a:lnTo>
                    <a:pt x="102" y="24"/>
                  </a:lnTo>
                  <a:lnTo>
                    <a:pt x="98" y="24"/>
                  </a:lnTo>
                  <a:lnTo>
                    <a:pt x="94" y="28"/>
                  </a:lnTo>
                  <a:lnTo>
                    <a:pt x="92" y="30"/>
                  </a:lnTo>
                  <a:lnTo>
                    <a:pt x="90" y="36"/>
                  </a:lnTo>
                  <a:lnTo>
                    <a:pt x="84" y="38"/>
                  </a:lnTo>
                  <a:lnTo>
                    <a:pt x="80" y="42"/>
                  </a:lnTo>
                  <a:lnTo>
                    <a:pt x="78" y="44"/>
                  </a:lnTo>
                  <a:lnTo>
                    <a:pt x="76" y="44"/>
                  </a:lnTo>
                  <a:lnTo>
                    <a:pt x="72" y="42"/>
                  </a:lnTo>
                  <a:lnTo>
                    <a:pt x="70" y="42"/>
                  </a:lnTo>
                  <a:lnTo>
                    <a:pt x="68" y="42"/>
                  </a:lnTo>
                  <a:lnTo>
                    <a:pt x="58" y="40"/>
                  </a:lnTo>
                  <a:lnTo>
                    <a:pt x="46" y="38"/>
                  </a:lnTo>
                  <a:lnTo>
                    <a:pt x="42" y="36"/>
                  </a:lnTo>
                  <a:lnTo>
                    <a:pt x="36" y="36"/>
                  </a:lnTo>
                  <a:lnTo>
                    <a:pt x="28" y="34"/>
                  </a:lnTo>
                  <a:lnTo>
                    <a:pt x="24" y="34"/>
                  </a:lnTo>
                  <a:lnTo>
                    <a:pt x="20" y="34"/>
                  </a:lnTo>
                  <a:lnTo>
                    <a:pt x="18" y="38"/>
                  </a:lnTo>
                  <a:lnTo>
                    <a:pt x="16" y="40"/>
                  </a:lnTo>
                  <a:lnTo>
                    <a:pt x="12" y="44"/>
                  </a:lnTo>
                  <a:lnTo>
                    <a:pt x="6" y="48"/>
                  </a:lnTo>
                  <a:lnTo>
                    <a:pt x="0" y="52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2" y="62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10" y="64"/>
                  </a:lnTo>
                  <a:lnTo>
                    <a:pt x="16" y="66"/>
                  </a:lnTo>
                  <a:lnTo>
                    <a:pt x="16" y="68"/>
                  </a:lnTo>
                  <a:lnTo>
                    <a:pt x="14" y="70"/>
                  </a:lnTo>
                  <a:lnTo>
                    <a:pt x="10" y="74"/>
                  </a:lnTo>
                  <a:lnTo>
                    <a:pt x="6" y="78"/>
                  </a:lnTo>
                  <a:lnTo>
                    <a:pt x="6" y="82"/>
                  </a:lnTo>
                  <a:lnTo>
                    <a:pt x="6" y="84"/>
                  </a:lnTo>
                  <a:lnTo>
                    <a:pt x="8" y="84"/>
                  </a:lnTo>
                  <a:lnTo>
                    <a:pt x="14" y="84"/>
                  </a:lnTo>
                  <a:lnTo>
                    <a:pt x="14" y="86"/>
                  </a:lnTo>
                  <a:lnTo>
                    <a:pt x="12" y="98"/>
                  </a:lnTo>
                  <a:lnTo>
                    <a:pt x="12" y="100"/>
                  </a:lnTo>
                  <a:lnTo>
                    <a:pt x="18" y="102"/>
                  </a:lnTo>
                  <a:lnTo>
                    <a:pt x="22" y="104"/>
                  </a:lnTo>
                  <a:lnTo>
                    <a:pt x="28" y="112"/>
                  </a:lnTo>
                  <a:lnTo>
                    <a:pt x="32" y="118"/>
                  </a:lnTo>
                  <a:lnTo>
                    <a:pt x="30" y="120"/>
                  </a:lnTo>
                  <a:lnTo>
                    <a:pt x="26" y="122"/>
                  </a:lnTo>
                  <a:lnTo>
                    <a:pt x="22" y="122"/>
                  </a:lnTo>
                  <a:lnTo>
                    <a:pt x="16" y="126"/>
                  </a:lnTo>
                  <a:lnTo>
                    <a:pt x="12" y="128"/>
                  </a:lnTo>
                  <a:lnTo>
                    <a:pt x="14" y="132"/>
                  </a:lnTo>
                  <a:lnTo>
                    <a:pt x="32" y="136"/>
                  </a:lnTo>
                  <a:lnTo>
                    <a:pt x="36" y="134"/>
                  </a:lnTo>
                  <a:lnTo>
                    <a:pt x="38" y="132"/>
                  </a:lnTo>
                  <a:lnTo>
                    <a:pt x="38" y="130"/>
                  </a:lnTo>
                  <a:lnTo>
                    <a:pt x="40" y="128"/>
                  </a:lnTo>
                  <a:lnTo>
                    <a:pt x="46" y="132"/>
                  </a:lnTo>
                  <a:lnTo>
                    <a:pt x="50" y="130"/>
                  </a:lnTo>
                  <a:lnTo>
                    <a:pt x="58" y="130"/>
                  </a:lnTo>
                  <a:lnTo>
                    <a:pt x="64" y="132"/>
                  </a:lnTo>
                  <a:lnTo>
                    <a:pt x="68" y="128"/>
                  </a:lnTo>
                  <a:lnTo>
                    <a:pt x="74" y="120"/>
                  </a:lnTo>
                  <a:lnTo>
                    <a:pt x="74" y="116"/>
                  </a:lnTo>
                  <a:lnTo>
                    <a:pt x="78" y="114"/>
                  </a:lnTo>
                  <a:lnTo>
                    <a:pt x="78" y="116"/>
                  </a:lnTo>
                  <a:lnTo>
                    <a:pt x="80" y="120"/>
                  </a:lnTo>
                  <a:lnTo>
                    <a:pt x="82" y="122"/>
                  </a:lnTo>
                  <a:lnTo>
                    <a:pt x="88" y="128"/>
                  </a:lnTo>
                  <a:lnTo>
                    <a:pt x="92" y="132"/>
                  </a:lnTo>
                  <a:lnTo>
                    <a:pt x="96" y="132"/>
                  </a:lnTo>
                  <a:lnTo>
                    <a:pt x="98" y="130"/>
                  </a:lnTo>
                  <a:lnTo>
                    <a:pt x="102" y="130"/>
                  </a:lnTo>
                  <a:lnTo>
                    <a:pt x="112" y="134"/>
                  </a:lnTo>
                  <a:lnTo>
                    <a:pt x="122" y="136"/>
                  </a:lnTo>
                  <a:lnTo>
                    <a:pt x="128" y="132"/>
                  </a:lnTo>
                  <a:lnTo>
                    <a:pt x="126" y="130"/>
                  </a:lnTo>
                  <a:lnTo>
                    <a:pt x="124" y="126"/>
                  </a:lnTo>
                  <a:lnTo>
                    <a:pt x="124" y="122"/>
                  </a:lnTo>
                  <a:lnTo>
                    <a:pt x="124" y="118"/>
                  </a:lnTo>
                  <a:lnTo>
                    <a:pt x="128" y="116"/>
                  </a:lnTo>
                  <a:lnTo>
                    <a:pt x="128" y="114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36" y="102"/>
                  </a:lnTo>
                  <a:lnTo>
                    <a:pt x="146" y="98"/>
                  </a:lnTo>
                  <a:lnTo>
                    <a:pt x="148" y="96"/>
                  </a:lnTo>
                  <a:lnTo>
                    <a:pt x="150" y="92"/>
                  </a:lnTo>
                  <a:lnTo>
                    <a:pt x="150" y="84"/>
                  </a:lnTo>
                  <a:lnTo>
                    <a:pt x="150" y="78"/>
                  </a:lnTo>
                  <a:lnTo>
                    <a:pt x="144" y="72"/>
                  </a:lnTo>
                  <a:lnTo>
                    <a:pt x="144" y="70"/>
                  </a:lnTo>
                  <a:lnTo>
                    <a:pt x="146" y="66"/>
                  </a:lnTo>
                  <a:lnTo>
                    <a:pt x="148" y="64"/>
                  </a:lnTo>
                  <a:lnTo>
                    <a:pt x="152" y="62"/>
                  </a:lnTo>
                  <a:lnTo>
                    <a:pt x="156" y="60"/>
                  </a:lnTo>
                  <a:lnTo>
                    <a:pt x="160" y="58"/>
                  </a:lnTo>
                  <a:lnTo>
                    <a:pt x="166" y="56"/>
                  </a:lnTo>
                  <a:lnTo>
                    <a:pt x="172" y="54"/>
                  </a:lnTo>
                  <a:lnTo>
                    <a:pt x="176" y="48"/>
                  </a:lnTo>
                  <a:lnTo>
                    <a:pt x="178" y="46"/>
                  </a:lnTo>
                  <a:lnTo>
                    <a:pt x="186" y="48"/>
                  </a:lnTo>
                  <a:lnTo>
                    <a:pt x="188" y="46"/>
                  </a:lnTo>
                  <a:lnTo>
                    <a:pt x="186" y="36"/>
                  </a:lnTo>
                  <a:lnTo>
                    <a:pt x="188" y="34"/>
                  </a:lnTo>
                  <a:lnTo>
                    <a:pt x="190" y="32"/>
                  </a:lnTo>
                  <a:lnTo>
                    <a:pt x="192" y="32"/>
                  </a:lnTo>
                  <a:lnTo>
                    <a:pt x="198" y="32"/>
                  </a:lnTo>
                  <a:lnTo>
                    <a:pt x="204" y="3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4" name="Freeform 332">
              <a:extLst>
                <a:ext uri="{FF2B5EF4-FFF2-40B4-BE49-F238E27FC236}">
                  <a16:creationId xmlns:a16="http://schemas.microsoft.com/office/drawing/2014/main" id="{DBAE5E00-99E5-42EC-8BA3-CB9E67BAA09F}"/>
                </a:ext>
              </a:extLst>
            </p:cNvPr>
            <p:cNvSpPr/>
            <p:nvPr/>
          </p:nvSpPr>
          <p:spPr bwMode="auto">
            <a:xfrm>
              <a:off x="5579823" y="2966503"/>
              <a:ext cx="329164" cy="757001"/>
            </a:xfrm>
            <a:custGeom>
              <a:avLst/>
              <a:gdLst>
                <a:gd name="connsiteX0" fmla="*/ 919668 w 2034708"/>
                <a:gd name="connsiteY0" fmla="*/ 4112305 h 4679355"/>
                <a:gd name="connsiteX1" fmla="*/ 929198 w 2034708"/>
                <a:gd name="connsiteY1" fmla="*/ 4117070 h 4679355"/>
                <a:gd name="connsiteX2" fmla="*/ 933964 w 2034708"/>
                <a:gd name="connsiteY2" fmla="*/ 4121835 h 4679355"/>
                <a:gd name="connsiteX3" fmla="*/ 924434 w 2034708"/>
                <a:gd name="connsiteY3" fmla="*/ 4131365 h 4679355"/>
                <a:gd name="connsiteX4" fmla="*/ 924434 w 2034708"/>
                <a:gd name="connsiteY4" fmla="*/ 4145661 h 4679355"/>
                <a:gd name="connsiteX5" fmla="*/ 924434 w 2034708"/>
                <a:gd name="connsiteY5" fmla="*/ 4155191 h 4679355"/>
                <a:gd name="connsiteX6" fmla="*/ 895844 w 2034708"/>
                <a:gd name="connsiteY6" fmla="*/ 4217138 h 4679355"/>
                <a:gd name="connsiteX7" fmla="*/ 891078 w 2034708"/>
                <a:gd name="connsiteY7" fmla="*/ 4260024 h 4679355"/>
                <a:gd name="connsiteX8" fmla="*/ 881548 w 2034708"/>
                <a:gd name="connsiteY8" fmla="*/ 4269554 h 4679355"/>
                <a:gd name="connsiteX9" fmla="*/ 843426 w 2034708"/>
                <a:gd name="connsiteY9" fmla="*/ 4417273 h 4679355"/>
                <a:gd name="connsiteX10" fmla="*/ 833896 w 2034708"/>
                <a:gd name="connsiteY10" fmla="*/ 4431568 h 4679355"/>
                <a:gd name="connsiteX11" fmla="*/ 829132 w 2034708"/>
                <a:gd name="connsiteY11" fmla="*/ 4426803 h 4679355"/>
                <a:gd name="connsiteX12" fmla="*/ 824366 w 2034708"/>
                <a:gd name="connsiteY12" fmla="*/ 4407742 h 4679355"/>
                <a:gd name="connsiteX13" fmla="*/ 819600 w 2034708"/>
                <a:gd name="connsiteY13" fmla="*/ 4360091 h 4679355"/>
                <a:gd name="connsiteX14" fmla="*/ 824366 w 2034708"/>
                <a:gd name="connsiteY14" fmla="*/ 4336266 h 4679355"/>
                <a:gd name="connsiteX15" fmla="*/ 857722 w 2034708"/>
                <a:gd name="connsiteY15" fmla="*/ 4250493 h 4679355"/>
                <a:gd name="connsiteX16" fmla="*/ 872018 w 2034708"/>
                <a:gd name="connsiteY16" fmla="*/ 4240963 h 4679355"/>
                <a:gd name="connsiteX17" fmla="*/ 895844 w 2034708"/>
                <a:gd name="connsiteY17" fmla="*/ 4188547 h 4679355"/>
                <a:gd name="connsiteX18" fmla="*/ 900608 w 2034708"/>
                <a:gd name="connsiteY18" fmla="*/ 4164721 h 4679355"/>
                <a:gd name="connsiteX19" fmla="*/ 910138 w 2034708"/>
                <a:gd name="connsiteY19" fmla="*/ 4140896 h 4679355"/>
                <a:gd name="connsiteX20" fmla="*/ 914904 w 2034708"/>
                <a:gd name="connsiteY20" fmla="*/ 4121835 h 4679355"/>
                <a:gd name="connsiteX21" fmla="*/ 1205576 w 2034708"/>
                <a:gd name="connsiteY21" fmla="*/ 3950290 h 4679355"/>
                <a:gd name="connsiteX22" fmla="*/ 1215104 w 2034708"/>
                <a:gd name="connsiteY22" fmla="*/ 3950290 h 4679355"/>
                <a:gd name="connsiteX23" fmla="*/ 1219872 w 2034708"/>
                <a:gd name="connsiteY23" fmla="*/ 3950290 h 4679355"/>
                <a:gd name="connsiteX24" fmla="*/ 1238932 w 2034708"/>
                <a:gd name="connsiteY24" fmla="*/ 3969351 h 4679355"/>
                <a:gd name="connsiteX25" fmla="*/ 1229400 w 2034708"/>
                <a:gd name="connsiteY25" fmla="*/ 3978881 h 4679355"/>
                <a:gd name="connsiteX26" fmla="*/ 1219872 w 2034708"/>
                <a:gd name="connsiteY26" fmla="*/ 3997941 h 4679355"/>
                <a:gd name="connsiteX27" fmla="*/ 1210340 w 2034708"/>
                <a:gd name="connsiteY27" fmla="*/ 4002706 h 4679355"/>
                <a:gd name="connsiteX28" fmla="*/ 1200812 w 2034708"/>
                <a:gd name="connsiteY28" fmla="*/ 4007472 h 4679355"/>
                <a:gd name="connsiteX29" fmla="*/ 1196044 w 2034708"/>
                <a:gd name="connsiteY29" fmla="*/ 4074183 h 4679355"/>
                <a:gd name="connsiteX30" fmla="*/ 1215104 w 2034708"/>
                <a:gd name="connsiteY30" fmla="*/ 4098009 h 4679355"/>
                <a:gd name="connsiteX31" fmla="*/ 1205576 w 2034708"/>
                <a:gd name="connsiteY31" fmla="*/ 4102774 h 4679355"/>
                <a:gd name="connsiteX32" fmla="*/ 1196044 w 2034708"/>
                <a:gd name="connsiteY32" fmla="*/ 4107539 h 4679355"/>
                <a:gd name="connsiteX33" fmla="*/ 1186516 w 2034708"/>
                <a:gd name="connsiteY33" fmla="*/ 4121835 h 4679355"/>
                <a:gd name="connsiteX34" fmla="*/ 1181748 w 2034708"/>
                <a:gd name="connsiteY34" fmla="*/ 4145660 h 4679355"/>
                <a:gd name="connsiteX35" fmla="*/ 1157924 w 2034708"/>
                <a:gd name="connsiteY35" fmla="*/ 4155191 h 4679355"/>
                <a:gd name="connsiteX36" fmla="*/ 1148392 w 2034708"/>
                <a:gd name="connsiteY36" fmla="*/ 4164721 h 4679355"/>
                <a:gd name="connsiteX37" fmla="*/ 1134100 w 2034708"/>
                <a:gd name="connsiteY37" fmla="*/ 4188547 h 4679355"/>
                <a:gd name="connsiteX38" fmla="*/ 1124568 w 2034708"/>
                <a:gd name="connsiteY38" fmla="*/ 4221903 h 4679355"/>
                <a:gd name="connsiteX39" fmla="*/ 1110272 w 2034708"/>
                <a:gd name="connsiteY39" fmla="*/ 4231433 h 4679355"/>
                <a:gd name="connsiteX40" fmla="*/ 1095976 w 2034708"/>
                <a:gd name="connsiteY40" fmla="*/ 4236198 h 4679355"/>
                <a:gd name="connsiteX41" fmla="*/ 1105508 w 2034708"/>
                <a:gd name="connsiteY41" fmla="*/ 4212372 h 4679355"/>
                <a:gd name="connsiteX42" fmla="*/ 1115036 w 2034708"/>
                <a:gd name="connsiteY42" fmla="*/ 4188547 h 4679355"/>
                <a:gd name="connsiteX43" fmla="*/ 1105508 w 2034708"/>
                <a:gd name="connsiteY43" fmla="*/ 4174251 h 4679355"/>
                <a:gd name="connsiteX44" fmla="*/ 1095976 w 2034708"/>
                <a:gd name="connsiteY44" fmla="*/ 4150426 h 4679355"/>
                <a:gd name="connsiteX45" fmla="*/ 1086448 w 2034708"/>
                <a:gd name="connsiteY45" fmla="*/ 4136130 h 4679355"/>
                <a:gd name="connsiteX46" fmla="*/ 1095976 w 2034708"/>
                <a:gd name="connsiteY46" fmla="*/ 4117070 h 4679355"/>
                <a:gd name="connsiteX47" fmla="*/ 1091212 w 2034708"/>
                <a:gd name="connsiteY47" fmla="*/ 4083714 h 4679355"/>
                <a:gd name="connsiteX48" fmla="*/ 1095976 w 2034708"/>
                <a:gd name="connsiteY48" fmla="*/ 4055123 h 4679355"/>
                <a:gd name="connsiteX49" fmla="*/ 1105508 w 2034708"/>
                <a:gd name="connsiteY49" fmla="*/ 4036062 h 4679355"/>
                <a:gd name="connsiteX50" fmla="*/ 1115036 w 2034708"/>
                <a:gd name="connsiteY50" fmla="*/ 4021767 h 4679355"/>
                <a:gd name="connsiteX51" fmla="*/ 1134100 w 2034708"/>
                <a:gd name="connsiteY51" fmla="*/ 3993176 h 4679355"/>
                <a:gd name="connsiteX52" fmla="*/ 1157924 w 2034708"/>
                <a:gd name="connsiteY52" fmla="*/ 3974116 h 4679355"/>
                <a:gd name="connsiteX53" fmla="*/ 1186516 w 2034708"/>
                <a:gd name="connsiteY53" fmla="*/ 3964585 h 4679355"/>
                <a:gd name="connsiteX54" fmla="*/ 1196044 w 2034708"/>
                <a:gd name="connsiteY54" fmla="*/ 3974116 h 4679355"/>
                <a:gd name="connsiteX55" fmla="*/ 1248460 w 2034708"/>
                <a:gd name="connsiteY55" fmla="*/ 3926465 h 4679355"/>
                <a:gd name="connsiteX56" fmla="*/ 1272288 w 2034708"/>
                <a:gd name="connsiteY56" fmla="*/ 3931230 h 4679355"/>
                <a:gd name="connsiteX57" fmla="*/ 1281816 w 2034708"/>
                <a:gd name="connsiteY57" fmla="*/ 3935995 h 4679355"/>
                <a:gd name="connsiteX58" fmla="*/ 1253228 w 2034708"/>
                <a:gd name="connsiteY58" fmla="*/ 3945526 h 4679355"/>
                <a:gd name="connsiteX59" fmla="*/ 1248460 w 2034708"/>
                <a:gd name="connsiteY59" fmla="*/ 3964586 h 4679355"/>
                <a:gd name="connsiteX60" fmla="*/ 1243696 w 2034708"/>
                <a:gd name="connsiteY60" fmla="*/ 3964586 h 4679355"/>
                <a:gd name="connsiteX61" fmla="*/ 1234168 w 2034708"/>
                <a:gd name="connsiteY61" fmla="*/ 3950291 h 4679355"/>
                <a:gd name="connsiteX62" fmla="*/ 1143630 w 2034708"/>
                <a:gd name="connsiteY62" fmla="*/ 3592906 h 4679355"/>
                <a:gd name="connsiteX63" fmla="*/ 1148396 w 2034708"/>
                <a:gd name="connsiteY63" fmla="*/ 3592906 h 4679355"/>
                <a:gd name="connsiteX64" fmla="*/ 1138864 w 2034708"/>
                <a:gd name="connsiteY64" fmla="*/ 3616732 h 4679355"/>
                <a:gd name="connsiteX65" fmla="*/ 1129334 w 2034708"/>
                <a:gd name="connsiteY65" fmla="*/ 3616732 h 4679355"/>
                <a:gd name="connsiteX66" fmla="*/ 1124568 w 2034708"/>
                <a:gd name="connsiteY66" fmla="*/ 3616732 h 4679355"/>
                <a:gd name="connsiteX67" fmla="*/ 1129334 w 2034708"/>
                <a:gd name="connsiteY67" fmla="*/ 3602436 h 4679355"/>
                <a:gd name="connsiteX68" fmla="*/ 1134100 w 2034708"/>
                <a:gd name="connsiteY68" fmla="*/ 3597671 h 4679355"/>
                <a:gd name="connsiteX69" fmla="*/ 1167456 w 2034708"/>
                <a:gd name="connsiteY69" fmla="*/ 3454717 h 4679355"/>
                <a:gd name="connsiteX70" fmla="*/ 1181752 w 2034708"/>
                <a:gd name="connsiteY70" fmla="*/ 3459482 h 4679355"/>
                <a:gd name="connsiteX71" fmla="*/ 1181752 w 2034708"/>
                <a:gd name="connsiteY71" fmla="*/ 3464247 h 4679355"/>
                <a:gd name="connsiteX72" fmla="*/ 1172220 w 2034708"/>
                <a:gd name="connsiteY72" fmla="*/ 3473778 h 4679355"/>
                <a:gd name="connsiteX73" fmla="*/ 1167456 w 2034708"/>
                <a:gd name="connsiteY73" fmla="*/ 3478543 h 4679355"/>
                <a:gd name="connsiteX74" fmla="*/ 1162690 w 2034708"/>
                <a:gd name="connsiteY74" fmla="*/ 3488073 h 4679355"/>
                <a:gd name="connsiteX75" fmla="*/ 1157924 w 2034708"/>
                <a:gd name="connsiteY75" fmla="*/ 3478543 h 4679355"/>
                <a:gd name="connsiteX76" fmla="*/ 1157924 w 2034708"/>
                <a:gd name="connsiteY76" fmla="*/ 3473778 h 4679355"/>
                <a:gd name="connsiteX77" fmla="*/ 1162690 w 2034708"/>
                <a:gd name="connsiteY77" fmla="*/ 3464247 h 4679355"/>
                <a:gd name="connsiteX78" fmla="*/ 1481954 w 2034708"/>
                <a:gd name="connsiteY78" fmla="*/ 0 h 4679355"/>
                <a:gd name="connsiteX79" fmla="*/ 1524840 w 2034708"/>
                <a:gd name="connsiteY79" fmla="*/ 23826 h 4679355"/>
                <a:gd name="connsiteX80" fmla="*/ 1524840 w 2034708"/>
                <a:gd name="connsiteY80" fmla="*/ 33356 h 4679355"/>
                <a:gd name="connsiteX81" fmla="*/ 1524840 w 2034708"/>
                <a:gd name="connsiteY81" fmla="*/ 42886 h 4679355"/>
                <a:gd name="connsiteX82" fmla="*/ 1529604 w 2034708"/>
                <a:gd name="connsiteY82" fmla="*/ 57182 h 4679355"/>
                <a:gd name="connsiteX83" fmla="*/ 1567726 w 2034708"/>
                <a:gd name="connsiteY83" fmla="*/ 90537 h 4679355"/>
                <a:gd name="connsiteX84" fmla="*/ 1582020 w 2034708"/>
                <a:gd name="connsiteY84" fmla="*/ 109598 h 4679355"/>
                <a:gd name="connsiteX85" fmla="*/ 1605846 w 2034708"/>
                <a:gd name="connsiteY85" fmla="*/ 138189 h 4679355"/>
                <a:gd name="connsiteX86" fmla="*/ 1615376 w 2034708"/>
                <a:gd name="connsiteY86" fmla="*/ 152484 h 4679355"/>
                <a:gd name="connsiteX87" fmla="*/ 1639202 w 2034708"/>
                <a:gd name="connsiteY87" fmla="*/ 166779 h 4679355"/>
                <a:gd name="connsiteX88" fmla="*/ 1653498 w 2034708"/>
                <a:gd name="connsiteY88" fmla="*/ 185840 h 4679355"/>
                <a:gd name="connsiteX89" fmla="*/ 1672558 w 2034708"/>
                <a:gd name="connsiteY89" fmla="*/ 200135 h 4679355"/>
                <a:gd name="connsiteX90" fmla="*/ 1696384 w 2034708"/>
                <a:gd name="connsiteY90" fmla="*/ 223961 h 4679355"/>
                <a:gd name="connsiteX91" fmla="*/ 1729740 w 2034708"/>
                <a:gd name="connsiteY91" fmla="*/ 243021 h 4679355"/>
                <a:gd name="connsiteX92" fmla="*/ 1753566 w 2034708"/>
                <a:gd name="connsiteY92" fmla="*/ 247787 h 4679355"/>
                <a:gd name="connsiteX93" fmla="*/ 1820278 w 2034708"/>
                <a:gd name="connsiteY93" fmla="*/ 281142 h 4679355"/>
                <a:gd name="connsiteX94" fmla="*/ 1829808 w 2034708"/>
                <a:gd name="connsiteY94" fmla="*/ 290673 h 4679355"/>
                <a:gd name="connsiteX95" fmla="*/ 1848868 w 2034708"/>
                <a:gd name="connsiteY95" fmla="*/ 309733 h 4679355"/>
                <a:gd name="connsiteX96" fmla="*/ 1867928 w 2034708"/>
                <a:gd name="connsiteY96" fmla="*/ 333559 h 4679355"/>
                <a:gd name="connsiteX97" fmla="*/ 1882224 w 2034708"/>
                <a:gd name="connsiteY97" fmla="*/ 385975 h 4679355"/>
                <a:gd name="connsiteX98" fmla="*/ 1901284 w 2034708"/>
                <a:gd name="connsiteY98" fmla="*/ 390740 h 4679355"/>
                <a:gd name="connsiteX99" fmla="*/ 1910814 w 2034708"/>
                <a:gd name="connsiteY99" fmla="*/ 405036 h 4679355"/>
                <a:gd name="connsiteX100" fmla="*/ 1925110 w 2034708"/>
                <a:gd name="connsiteY100" fmla="*/ 438392 h 4679355"/>
                <a:gd name="connsiteX101" fmla="*/ 1953700 w 2034708"/>
                <a:gd name="connsiteY101" fmla="*/ 462217 h 4679355"/>
                <a:gd name="connsiteX102" fmla="*/ 1953700 w 2034708"/>
                <a:gd name="connsiteY102" fmla="*/ 471748 h 4679355"/>
                <a:gd name="connsiteX103" fmla="*/ 1929876 w 2034708"/>
                <a:gd name="connsiteY103" fmla="*/ 495573 h 4679355"/>
                <a:gd name="connsiteX104" fmla="*/ 1929876 w 2034708"/>
                <a:gd name="connsiteY104" fmla="*/ 528929 h 4679355"/>
                <a:gd name="connsiteX105" fmla="*/ 1929876 w 2034708"/>
                <a:gd name="connsiteY105" fmla="*/ 571815 h 4679355"/>
                <a:gd name="connsiteX106" fmla="*/ 1939406 w 2034708"/>
                <a:gd name="connsiteY106" fmla="*/ 600406 h 4679355"/>
                <a:gd name="connsiteX107" fmla="*/ 1939406 w 2034708"/>
                <a:gd name="connsiteY107" fmla="*/ 614701 h 4679355"/>
                <a:gd name="connsiteX108" fmla="*/ 1934640 w 2034708"/>
                <a:gd name="connsiteY108" fmla="*/ 624232 h 4679355"/>
                <a:gd name="connsiteX109" fmla="*/ 1925110 w 2034708"/>
                <a:gd name="connsiteY109" fmla="*/ 643292 h 4679355"/>
                <a:gd name="connsiteX110" fmla="*/ 1925110 w 2034708"/>
                <a:gd name="connsiteY110" fmla="*/ 657588 h 4679355"/>
                <a:gd name="connsiteX111" fmla="*/ 1925110 w 2034708"/>
                <a:gd name="connsiteY111" fmla="*/ 667118 h 4679355"/>
                <a:gd name="connsiteX112" fmla="*/ 1925110 w 2034708"/>
                <a:gd name="connsiteY112" fmla="*/ 671883 h 4679355"/>
                <a:gd name="connsiteX113" fmla="*/ 1939406 w 2034708"/>
                <a:gd name="connsiteY113" fmla="*/ 671883 h 4679355"/>
                <a:gd name="connsiteX114" fmla="*/ 1958466 w 2034708"/>
                <a:gd name="connsiteY114" fmla="*/ 671883 h 4679355"/>
                <a:gd name="connsiteX115" fmla="*/ 1967996 w 2034708"/>
                <a:gd name="connsiteY115" fmla="*/ 681413 h 4679355"/>
                <a:gd name="connsiteX116" fmla="*/ 1972762 w 2034708"/>
                <a:gd name="connsiteY116" fmla="*/ 719534 h 4679355"/>
                <a:gd name="connsiteX117" fmla="*/ 1972762 w 2034708"/>
                <a:gd name="connsiteY117" fmla="*/ 729064 h 4679355"/>
                <a:gd name="connsiteX118" fmla="*/ 1953700 w 2034708"/>
                <a:gd name="connsiteY118" fmla="*/ 743360 h 4679355"/>
                <a:gd name="connsiteX119" fmla="*/ 1953700 w 2034708"/>
                <a:gd name="connsiteY119" fmla="*/ 757655 h 4679355"/>
                <a:gd name="connsiteX120" fmla="*/ 1948936 w 2034708"/>
                <a:gd name="connsiteY120" fmla="*/ 776716 h 4679355"/>
                <a:gd name="connsiteX121" fmla="*/ 1953700 w 2034708"/>
                <a:gd name="connsiteY121" fmla="*/ 800541 h 4679355"/>
                <a:gd name="connsiteX122" fmla="*/ 1958466 w 2034708"/>
                <a:gd name="connsiteY122" fmla="*/ 824367 h 4679355"/>
                <a:gd name="connsiteX123" fmla="*/ 1972762 w 2034708"/>
                <a:gd name="connsiteY123" fmla="*/ 852958 h 4679355"/>
                <a:gd name="connsiteX124" fmla="*/ 1991822 w 2034708"/>
                <a:gd name="connsiteY124" fmla="*/ 876783 h 4679355"/>
                <a:gd name="connsiteX125" fmla="*/ 2001352 w 2034708"/>
                <a:gd name="connsiteY125" fmla="*/ 900609 h 4679355"/>
                <a:gd name="connsiteX126" fmla="*/ 2006118 w 2034708"/>
                <a:gd name="connsiteY126" fmla="*/ 914904 h 4679355"/>
                <a:gd name="connsiteX127" fmla="*/ 2006118 w 2034708"/>
                <a:gd name="connsiteY127" fmla="*/ 929200 h 4679355"/>
                <a:gd name="connsiteX128" fmla="*/ 2001352 w 2034708"/>
                <a:gd name="connsiteY128" fmla="*/ 943495 h 4679355"/>
                <a:gd name="connsiteX129" fmla="*/ 1991822 w 2034708"/>
                <a:gd name="connsiteY129" fmla="*/ 967321 h 4679355"/>
                <a:gd name="connsiteX130" fmla="*/ 1991822 w 2034708"/>
                <a:gd name="connsiteY130" fmla="*/ 1000677 h 4679355"/>
                <a:gd name="connsiteX131" fmla="*/ 1987056 w 2034708"/>
                <a:gd name="connsiteY131" fmla="*/ 1019737 h 4679355"/>
                <a:gd name="connsiteX132" fmla="*/ 1972762 w 2034708"/>
                <a:gd name="connsiteY132" fmla="*/ 1048328 h 4679355"/>
                <a:gd name="connsiteX133" fmla="*/ 1963232 w 2034708"/>
                <a:gd name="connsiteY133" fmla="*/ 1057858 h 4679355"/>
                <a:gd name="connsiteX134" fmla="*/ 1958466 w 2034708"/>
                <a:gd name="connsiteY134" fmla="*/ 1072154 h 4679355"/>
                <a:gd name="connsiteX135" fmla="*/ 1958466 w 2034708"/>
                <a:gd name="connsiteY135" fmla="*/ 1095979 h 4679355"/>
                <a:gd name="connsiteX136" fmla="*/ 1963232 w 2034708"/>
                <a:gd name="connsiteY136" fmla="*/ 1124570 h 4679355"/>
                <a:gd name="connsiteX137" fmla="*/ 1963232 w 2034708"/>
                <a:gd name="connsiteY137" fmla="*/ 1143630 h 4679355"/>
                <a:gd name="connsiteX138" fmla="*/ 1967996 w 2034708"/>
                <a:gd name="connsiteY138" fmla="*/ 1162691 h 4679355"/>
                <a:gd name="connsiteX139" fmla="*/ 1972762 w 2034708"/>
                <a:gd name="connsiteY139" fmla="*/ 1167456 h 4679355"/>
                <a:gd name="connsiteX140" fmla="*/ 1996588 w 2034708"/>
                <a:gd name="connsiteY140" fmla="*/ 1186517 h 4679355"/>
                <a:gd name="connsiteX141" fmla="*/ 2010882 w 2034708"/>
                <a:gd name="connsiteY141" fmla="*/ 1219873 h 4679355"/>
                <a:gd name="connsiteX142" fmla="*/ 2015648 w 2034708"/>
                <a:gd name="connsiteY142" fmla="*/ 1248463 h 4679355"/>
                <a:gd name="connsiteX143" fmla="*/ 2034708 w 2034708"/>
                <a:gd name="connsiteY143" fmla="*/ 1319940 h 4679355"/>
                <a:gd name="connsiteX144" fmla="*/ 1991822 w 2034708"/>
                <a:gd name="connsiteY144" fmla="*/ 1324705 h 4679355"/>
                <a:gd name="connsiteX145" fmla="*/ 1963232 w 2034708"/>
                <a:gd name="connsiteY145" fmla="*/ 1310410 h 4679355"/>
                <a:gd name="connsiteX146" fmla="*/ 1944170 w 2034708"/>
                <a:gd name="connsiteY146" fmla="*/ 1319940 h 4679355"/>
                <a:gd name="connsiteX147" fmla="*/ 1920344 w 2034708"/>
                <a:gd name="connsiteY147" fmla="*/ 1319940 h 4679355"/>
                <a:gd name="connsiteX148" fmla="*/ 1886990 w 2034708"/>
                <a:gd name="connsiteY148" fmla="*/ 1324705 h 4679355"/>
                <a:gd name="connsiteX149" fmla="*/ 1877458 w 2034708"/>
                <a:gd name="connsiteY149" fmla="*/ 1339001 h 4679355"/>
                <a:gd name="connsiteX150" fmla="*/ 1867928 w 2034708"/>
                <a:gd name="connsiteY150" fmla="*/ 1343766 h 4679355"/>
                <a:gd name="connsiteX151" fmla="*/ 1839338 w 2034708"/>
                <a:gd name="connsiteY151" fmla="*/ 1324705 h 4679355"/>
                <a:gd name="connsiteX152" fmla="*/ 1815512 w 2034708"/>
                <a:gd name="connsiteY152" fmla="*/ 1291350 h 4679355"/>
                <a:gd name="connsiteX153" fmla="*/ 1796452 w 2034708"/>
                <a:gd name="connsiteY153" fmla="*/ 1319940 h 4679355"/>
                <a:gd name="connsiteX154" fmla="*/ 1782156 w 2034708"/>
                <a:gd name="connsiteY154" fmla="*/ 1319940 h 4679355"/>
                <a:gd name="connsiteX155" fmla="*/ 1767860 w 2034708"/>
                <a:gd name="connsiteY155" fmla="*/ 1300880 h 4679355"/>
                <a:gd name="connsiteX156" fmla="*/ 1758330 w 2034708"/>
                <a:gd name="connsiteY156" fmla="*/ 1296115 h 4679355"/>
                <a:gd name="connsiteX157" fmla="*/ 1753566 w 2034708"/>
                <a:gd name="connsiteY157" fmla="*/ 1305645 h 4679355"/>
                <a:gd name="connsiteX158" fmla="*/ 1748800 w 2034708"/>
                <a:gd name="connsiteY158" fmla="*/ 1324705 h 4679355"/>
                <a:gd name="connsiteX159" fmla="*/ 1744036 w 2034708"/>
                <a:gd name="connsiteY159" fmla="*/ 1339001 h 4679355"/>
                <a:gd name="connsiteX160" fmla="*/ 1739270 w 2034708"/>
                <a:gd name="connsiteY160" fmla="*/ 1348531 h 4679355"/>
                <a:gd name="connsiteX161" fmla="*/ 1739270 w 2034708"/>
                <a:gd name="connsiteY161" fmla="*/ 1386652 h 4679355"/>
                <a:gd name="connsiteX162" fmla="*/ 1739270 w 2034708"/>
                <a:gd name="connsiteY162" fmla="*/ 1396182 h 4679355"/>
                <a:gd name="connsiteX163" fmla="*/ 1710680 w 2034708"/>
                <a:gd name="connsiteY163" fmla="*/ 1391417 h 4679355"/>
                <a:gd name="connsiteX164" fmla="*/ 1710680 w 2034708"/>
                <a:gd name="connsiteY164" fmla="*/ 1400947 h 4679355"/>
                <a:gd name="connsiteX165" fmla="*/ 1720210 w 2034708"/>
                <a:gd name="connsiteY165" fmla="*/ 1405712 h 4679355"/>
                <a:gd name="connsiteX166" fmla="*/ 1720210 w 2034708"/>
                <a:gd name="connsiteY166" fmla="*/ 1415243 h 4679355"/>
                <a:gd name="connsiteX167" fmla="*/ 1710680 w 2034708"/>
                <a:gd name="connsiteY167" fmla="*/ 1424773 h 4679355"/>
                <a:gd name="connsiteX168" fmla="*/ 1686854 w 2034708"/>
                <a:gd name="connsiteY168" fmla="*/ 1420008 h 4679355"/>
                <a:gd name="connsiteX169" fmla="*/ 1682088 w 2034708"/>
                <a:gd name="connsiteY169" fmla="*/ 1429538 h 4679355"/>
                <a:gd name="connsiteX170" fmla="*/ 1686854 w 2034708"/>
                <a:gd name="connsiteY170" fmla="*/ 1443834 h 4679355"/>
                <a:gd name="connsiteX171" fmla="*/ 1682088 w 2034708"/>
                <a:gd name="connsiteY171" fmla="*/ 1458129 h 4679355"/>
                <a:gd name="connsiteX172" fmla="*/ 1677324 w 2034708"/>
                <a:gd name="connsiteY172" fmla="*/ 1462894 h 4679355"/>
                <a:gd name="connsiteX173" fmla="*/ 1648732 w 2034708"/>
                <a:gd name="connsiteY173" fmla="*/ 1472424 h 4679355"/>
                <a:gd name="connsiteX174" fmla="*/ 1629672 w 2034708"/>
                <a:gd name="connsiteY174" fmla="*/ 1467659 h 4679355"/>
                <a:gd name="connsiteX175" fmla="*/ 1624908 w 2034708"/>
                <a:gd name="connsiteY175" fmla="*/ 1477190 h 4679355"/>
                <a:gd name="connsiteX176" fmla="*/ 1624908 w 2034708"/>
                <a:gd name="connsiteY176" fmla="*/ 1486720 h 4679355"/>
                <a:gd name="connsiteX177" fmla="*/ 1624908 w 2034708"/>
                <a:gd name="connsiteY177" fmla="*/ 1496250 h 4679355"/>
                <a:gd name="connsiteX178" fmla="*/ 1634438 w 2034708"/>
                <a:gd name="connsiteY178" fmla="*/ 1501015 h 4679355"/>
                <a:gd name="connsiteX179" fmla="*/ 1639202 w 2034708"/>
                <a:gd name="connsiteY179" fmla="*/ 1510545 h 4679355"/>
                <a:gd name="connsiteX180" fmla="*/ 1634438 w 2034708"/>
                <a:gd name="connsiteY180" fmla="*/ 1524841 h 4679355"/>
                <a:gd name="connsiteX181" fmla="*/ 1629672 w 2034708"/>
                <a:gd name="connsiteY181" fmla="*/ 1524841 h 4679355"/>
                <a:gd name="connsiteX182" fmla="*/ 1610612 w 2034708"/>
                <a:gd name="connsiteY182" fmla="*/ 1501015 h 4679355"/>
                <a:gd name="connsiteX183" fmla="*/ 1605846 w 2034708"/>
                <a:gd name="connsiteY183" fmla="*/ 1501015 h 4679355"/>
                <a:gd name="connsiteX184" fmla="*/ 1610612 w 2034708"/>
                <a:gd name="connsiteY184" fmla="*/ 1515310 h 4679355"/>
                <a:gd name="connsiteX185" fmla="*/ 1620142 w 2034708"/>
                <a:gd name="connsiteY185" fmla="*/ 1529606 h 4679355"/>
                <a:gd name="connsiteX186" fmla="*/ 1624908 w 2034708"/>
                <a:gd name="connsiteY186" fmla="*/ 1543901 h 4679355"/>
                <a:gd name="connsiteX187" fmla="*/ 1629672 w 2034708"/>
                <a:gd name="connsiteY187" fmla="*/ 1558197 h 4679355"/>
                <a:gd name="connsiteX188" fmla="*/ 1629672 w 2034708"/>
                <a:gd name="connsiteY188" fmla="*/ 1572492 h 4679355"/>
                <a:gd name="connsiteX189" fmla="*/ 1605846 w 2034708"/>
                <a:gd name="connsiteY189" fmla="*/ 1615378 h 4679355"/>
                <a:gd name="connsiteX190" fmla="*/ 1586786 w 2034708"/>
                <a:gd name="connsiteY190" fmla="*/ 1643969 h 4679355"/>
                <a:gd name="connsiteX191" fmla="*/ 1572490 w 2034708"/>
                <a:gd name="connsiteY191" fmla="*/ 1667794 h 4679355"/>
                <a:gd name="connsiteX192" fmla="*/ 1562960 w 2034708"/>
                <a:gd name="connsiteY192" fmla="*/ 1691620 h 4679355"/>
                <a:gd name="connsiteX193" fmla="*/ 1572490 w 2034708"/>
                <a:gd name="connsiteY193" fmla="*/ 1701150 h 4679355"/>
                <a:gd name="connsiteX194" fmla="*/ 1586786 w 2034708"/>
                <a:gd name="connsiteY194" fmla="*/ 1720211 h 4679355"/>
                <a:gd name="connsiteX195" fmla="*/ 1591552 w 2034708"/>
                <a:gd name="connsiteY195" fmla="*/ 1758332 h 4679355"/>
                <a:gd name="connsiteX196" fmla="*/ 1601082 w 2034708"/>
                <a:gd name="connsiteY196" fmla="*/ 1786923 h 4679355"/>
                <a:gd name="connsiteX197" fmla="*/ 1620142 w 2034708"/>
                <a:gd name="connsiteY197" fmla="*/ 1815514 h 4679355"/>
                <a:gd name="connsiteX198" fmla="*/ 1620142 w 2034708"/>
                <a:gd name="connsiteY198" fmla="*/ 1834574 h 4679355"/>
                <a:gd name="connsiteX199" fmla="*/ 1615376 w 2034708"/>
                <a:gd name="connsiteY199" fmla="*/ 1848869 h 4679355"/>
                <a:gd name="connsiteX200" fmla="*/ 1582020 w 2034708"/>
                <a:gd name="connsiteY200" fmla="*/ 1877460 h 4679355"/>
                <a:gd name="connsiteX201" fmla="*/ 1543900 w 2034708"/>
                <a:gd name="connsiteY201" fmla="*/ 1920346 h 4679355"/>
                <a:gd name="connsiteX202" fmla="*/ 1505780 w 2034708"/>
                <a:gd name="connsiteY202" fmla="*/ 2029944 h 4679355"/>
                <a:gd name="connsiteX203" fmla="*/ 1491484 w 2034708"/>
                <a:gd name="connsiteY203" fmla="*/ 2044240 h 4679355"/>
                <a:gd name="connsiteX204" fmla="*/ 1453362 w 2034708"/>
                <a:gd name="connsiteY204" fmla="*/ 2063300 h 4679355"/>
                <a:gd name="connsiteX205" fmla="*/ 1443832 w 2034708"/>
                <a:gd name="connsiteY205" fmla="*/ 2082361 h 4679355"/>
                <a:gd name="connsiteX206" fmla="*/ 1415242 w 2034708"/>
                <a:gd name="connsiteY206" fmla="*/ 2101421 h 4679355"/>
                <a:gd name="connsiteX207" fmla="*/ 1372356 w 2034708"/>
                <a:gd name="connsiteY207" fmla="*/ 2120482 h 4679355"/>
                <a:gd name="connsiteX208" fmla="*/ 1348530 w 2034708"/>
                <a:gd name="connsiteY208" fmla="*/ 2144307 h 4679355"/>
                <a:gd name="connsiteX209" fmla="*/ 1343764 w 2034708"/>
                <a:gd name="connsiteY209" fmla="*/ 2172898 h 4679355"/>
                <a:gd name="connsiteX210" fmla="*/ 1329470 w 2034708"/>
                <a:gd name="connsiteY210" fmla="*/ 2172898 h 4679355"/>
                <a:gd name="connsiteX211" fmla="*/ 1319940 w 2034708"/>
                <a:gd name="connsiteY211" fmla="*/ 2163368 h 4679355"/>
                <a:gd name="connsiteX212" fmla="*/ 1305644 w 2034708"/>
                <a:gd name="connsiteY212" fmla="*/ 2158603 h 4679355"/>
                <a:gd name="connsiteX213" fmla="*/ 1305644 w 2034708"/>
                <a:gd name="connsiteY213" fmla="*/ 2172898 h 4679355"/>
                <a:gd name="connsiteX214" fmla="*/ 1305644 w 2034708"/>
                <a:gd name="connsiteY214" fmla="*/ 2187194 h 4679355"/>
                <a:gd name="connsiteX215" fmla="*/ 1281818 w 2034708"/>
                <a:gd name="connsiteY215" fmla="*/ 2168133 h 4679355"/>
                <a:gd name="connsiteX216" fmla="*/ 1272288 w 2034708"/>
                <a:gd name="connsiteY216" fmla="*/ 2182428 h 4679355"/>
                <a:gd name="connsiteX217" fmla="*/ 1267522 w 2034708"/>
                <a:gd name="connsiteY217" fmla="*/ 2211019 h 4679355"/>
                <a:gd name="connsiteX218" fmla="*/ 1234166 w 2034708"/>
                <a:gd name="connsiteY218" fmla="*/ 2249140 h 4679355"/>
                <a:gd name="connsiteX219" fmla="*/ 1200810 w 2034708"/>
                <a:gd name="connsiteY219" fmla="*/ 2244375 h 4679355"/>
                <a:gd name="connsiteX220" fmla="*/ 1196046 w 2034708"/>
                <a:gd name="connsiteY220" fmla="*/ 2249140 h 4679355"/>
                <a:gd name="connsiteX221" fmla="*/ 1205576 w 2034708"/>
                <a:gd name="connsiteY221" fmla="*/ 2253905 h 4679355"/>
                <a:gd name="connsiteX222" fmla="*/ 1205576 w 2034708"/>
                <a:gd name="connsiteY222" fmla="*/ 2263436 h 4679355"/>
                <a:gd name="connsiteX223" fmla="*/ 1200810 w 2034708"/>
                <a:gd name="connsiteY223" fmla="*/ 2263436 h 4679355"/>
                <a:gd name="connsiteX224" fmla="*/ 1191280 w 2034708"/>
                <a:gd name="connsiteY224" fmla="*/ 2263436 h 4679355"/>
                <a:gd name="connsiteX225" fmla="*/ 1176986 w 2034708"/>
                <a:gd name="connsiteY225" fmla="*/ 2272966 h 4679355"/>
                <a:gd name="connsiteX226" fmla="*/ 1167456 w 2034708"/>
                <a:gd name="connsiteY226" fmla="*/ 2272966 h 4679355"/>
                <a:gd name="connsiteX227" fmla="*/ 1162690 w 2034708"/>
                <a:gd name="connsiteY227" fmla="*/ 2292026 h 4679355"/>
                <a:gd name="connsiteX228" fmla="*/ 1153160 w 2034708"/>
                <a:gd name="connsiteY228" fmla="*/ 2311087 h 4679355"/>
                <a:gd name="connsiteX229" fmla="*/ 1134100 w 2034708"/>
                <a:gd name="connsiteY229" fmla="*/ 2320617 h 4679355"/>
                <a:gd name="connsiteX230" fmla="*/ 1124568 w 2034708"/>
                <a:gd name="connsiteY230" fmla="*/ 2320617 h 4679355"/>
                <a:gd name="connsiteX231" fmla="*/ 1119804 w 2034708"/>
                <a:gd name="connsiteY231" fmla="*/ 2334912 h 4679355"/>
                <a:gd name="connsiteX232" fmla="*/ 1153160 w 2034708"/>
                <a:gd name="connsiteY232" fmla="*/ 2334912 h 4679355"/>
                <a:gd name="connsiteX233" fmla="*/ 1148394 w 2034708"/>
                <a:gd name="connsiteY233" fmla="*/ 2349208 h 4679355"/>
                <a:gd name="connsiteX234" fmla="*/ 1148394 w 2034708"/>
                <a:gd name="connsiteY234" fmla="*/ 2358738 h 4679355"/>
                <a:gd name="connsiteX235" fmla="*/ 1143630 w 2034708"/>
                <a:gd name="connsiteY235" fmla="*/ 2368268 h 4679355"/>
                <a:gd name="connsiteX236" fmla="*/ 1110274 w 2034708"/>
                <a:gd name="connsiteY236" fmla="*/ 2387329 h 4679355"/>
                <a:gd name="connsiteX237" fmla="*/ 1105508 w 2034708"/>
                <a:gd name="connsiteY237" fmla="*/ 2396859 h 4679355"/>
                <a:gd name="connsiteX238" fmla="*/ 1100744 w 2034708"/>
                <a:gd name="connsiteY238" fmla="*/ 2406389 h 4679355"/>
                <a:gd name="connsiteX239" fmla="*/ 1081682 w 2034708"/>
                <a:gd name="connsiteY239" fmla="*/ 2406389 h 4679355"/>
                <a:gd name="connsiteX240" fmla="*/ 1086448 w 2034708"/>
                <a:gd name="connsiteY240" fmla="*/ 2396859 h 4679355"/>
                <a:gd name="connsiteX241" fmla="*/ 1086448 w 2034708"/>
                <a:gd name="connsiteY241" fmla="*/ 2387329 h 4679355"/>
                <a:gd name="connsiteX242" fmla="*/ 1062622 w 2034708"/>
                <a:gd name="connsiteY242" fmla="*/ 2392094 h 4679355"/>
                <a:gd name="connsiteX243" fmla="*/ 1057858 w 2034708"/>
                <a:gd name="connsiteY243" fmla="*/ 2373034 h 4679355"/>
                <a:gd name="connsiteX244" fmla="*/ 1053092 w 2034708"/>
                <a:gd name="connsiteY244" fmla="*/ 2377798 h 4679355"/>
                <a:gd name="connsiteX245" fmla="*/ 1057858 w 2034708"/>
                <a:gd name="connsiteY245" fmla="*/ 2392094 h 4679355"/>
                <a:gd name="connsiteX246" fmla="*/ 1062622 w 2034708"/>
                <a:gd name="connsiteY246" fmla="*/ 2406389 h 4679355"/>
                <a:gd name="connsiteX247" fmla="*/ 1067388 w 2034708"/>
                <a:gd name="connsiteY247" fmla="*/ 2430215 h 4679355"/>
                <a:gd name="connsiteX248" fmla="*/ 1062622 w 2034708"/>
                <a:gd name="connsiteY248" fmla="*/ 2444510 h 4679355"/>
                <a:gd name="connsiteX249" fmla="*/ 1057858 w 2034708"/>
                <a:gd name="connsiteY249" fmla="*/ 2449276 h 4679355"/>
                <a:gd name="connsiteX250" fmla="*/ 1062622 w 2034708"/>
                <a:gd name="connsiteY250" fmla="*/ 2454040 h 4679355"/>
                <a:gd name="connsiteX251" fmla="*/ 1072152 w 2034708"/>
                <a:gd name="connsiteY251" fmla="*/ 2458806 h 4679355"/>
                <a:gd name="connsiteX252" fmla="*/ 1076918 w 2034708"/>
                <a:gd name="connsiteY252" fmla="*/ 2468336 h 4679355"/>
                <a:gd name="connsiteX253" fmla="*/ 1062622 w 2034708"/>
                <a:gd name="connsiteY253" fmla="*/ 2477866 h 4679355"/>
                <a:gd name="connsiteX254" fmla="*/ 1048326 w 2034708"/>
                <a:gd name="connsiteY254" fmla="*/ 2501692 h 4679355"/>
                <a:gd name="connsiteX255" fmla="*/ 1029266 w 2034708"/>
                <a:gd name="connsiteY255" fmla="*/ 2501692 h 4679355"/>
                <a:gd name="connsiteX256" fmla="*/ 1014970 w 2034708"/>
                <a:gd name="connsiteY256" fmla="*/ 2520752 h 4679355"/>
                <a:gd name="connsiteX257" fmla="*/ 1005440 w 2034708"/>
                <a:gd name="connsiteY257" fmla="*/ 2520752 h 4679355"/>
                <a:gd name="connsiteX258" fmla="*/ 995910 w 2034708"/>
                <a:gd name="connsiteY258" fmla="*/ 2511222 h 4679355"/>
                <a:gd name="connsiteX259" fmla="*/ 981616 w 2034708"/>
                <a:gd name="connsiteY259" fmla="*/ 2501692 h 4679355"/>
                <a:gd name="connsiteX260" fmla="*/ 976850 w 2034708"/>
                <a:gd name="connsiteY260" fmla="*/ 2515987 h 4679355"/>
                <a:gd name="connsiteX261" fmla="*/ 976850 w 2034708"/>
                <a:gd name="connsiteY261" fmla="*/ 2530282 h 4679355"/>
                <a:gd name="connsiteX262" fmla="*/ 981616 w 2034708"/>
                <a:gd name="connsiteY262" fmla="*/ 2558873 h 4679355"/>
                <a:gd name="connsiteX263" fmla="*/ 1000676 w 2034708"/>
                <a:gd name="connsiteY263" fmla="*/ 2582699 h 4679355"/>
                <a:gd name="connsiteX264" fmla="*/ 1014970 w 2034708"/>
                <a:gd name="connsiteY264" fmla="*/ 2592229 h 4679355"/>
                <a:gd name="connsiteX265" fmla="*/ 1005440 w 2034708"/>
                <a:gd name="connsiteY265" fmla="*/ 2601760 h 4679355"/>
                <a:gd name="connsiteX266" fmla="*/ 995910 w 2034708"/>
                <a:gd name="connsiteY266" fmla="*/ 2616055 h 4679355"/>
                <a:gd name="connsiteX267" fmla="*/ 986380 w 2034708"/>
                <a:gd name="connsiteY267" fmla="*/ 2663706 h 4679355"/>
                <a:gd name="connsiteX268" fmla="*/ 981616 w 2034708"/>
                <a:gd name="connsiteY268" fmla="*/ 2682767 h 4679355"/>
                <a:gd name="connsiteX269" fmla="*/ 976850 w 2034708"/>
                <a:gd name="connsiteY269" fmla="*/ 2716122 h 4679355"/>
                <a:gd name="connsiteX270" fmla="*/ 976850 w 2034708"/>
                <a:gd name="connsiteY270" fmla="*/ 2744713 h 4679355"/>
                <a:gd name="connsiteX271" fmla="*/ 981616 w 2034708"/>
                <a:gd name="connsiteY271" fmla="*/ 2759009 h 4679355"/>
                <a:gd name="connsiteX272" fmla="*/ 991146 w 2034708"/>
                <a:gd name="connsiteY272" fmla="*/ 2778069 h 4679355"/>
                <a:gd name="connsiteX273" fmla="*/ 967320 w 2034708"/>
                <a:gd name="connsiteY273" fmla="*/ 2773304 h 4679355"/>
                <a:gd name="connsiteX274" fmla="*/ 948260 w 2034708"/>
                <a:gd name="connsiteY274" fmla="*/ 2763774 h 4679355"/>
                <a:gd name="connsiteX275" fmla="*/ 948260 w 2034708"/>
                <a:gd name="connsiteY275" fmla="*/ 2782834 h 4679355"/>
                <a:gd name="connsiteX276" fmla="*/ 938728 w 2034708"/>
                <a:gd name="connsiteY276" fmla="*/ 2811425 h 4679355"/>
                <a:gd name="connsiteX277" fmla="*/ 938728 w 2034708"/>
                <a:gd name="connsiteY277" fmla="*/ 2835251 h 4679355"/>
                <a:gd name="connsiteX278" fmla="*/ 943494 w 2034708"/>
                <a:gd name="connsiteY278" fmla="*/ 2849546 h 4679355"/>
                <a:gd name="connsiteX279" fmla="*/ 938728 w 2034708"/>
                <a:gd name="connsiteY279" fmla="*/ 2873372 h 4679355"/>
                <a:gd name="connsiteX280" fmla="*/ 943494 w 2034708"/>
                <a:gd name="connsiteY280" fmla="*/ 2882902 h 4679355"/>
                <a:gd name="connsiteX281" fmla="*/ 948260 w 2034708"/>
                <a:gd name="connsiteY281" fmla="*/ 2897198 h 4679355"/>
                <a:gd name="connsiteX282" fmla="*/ 943494 w 2034708"/>
                <a:gd name="connsiteY282" fmla="*/ 2906728 h 4679355"/>
                <a:gd name="connsiteX283" fmla="*/ 943494 w 2034708"/>
                <a:gd name="connsiteY283" fmla="*/ 2916258 h 4679355"/>
                <a:gd name="connsiteX284" fmla="*/ 943494 w 2034708"/>
                <a:gd name="connsiteY284" fmla="*/ 2949614 h 4679355"/>
                <a:gd name="connsiteX285" fmla="*/ 948260 w 2034708"/>
                <a:gd name="connsiteY285" fmla="*/ 3002030 h 4679355"/>
                <a:gd name="connsiteX286" fmla="*/ 948260 w 2034708"/>
                <a:gd name="connsiteY286" fmla="*/ 3016326 h 4679355"/>
                <a:gd name="connsiteX287" fmla="*/ 957790 w 2034708"/>
                <a:gd name="connsiteY287" fmla="*/ 3059212 h 4679355"/>
                <a:gd name="connsiteX288" fmla="*/ 957790 w 2034708"/>
                <a:gd name="connsiteY288" fmla="*/ 3073507 h 4679355"/>
                <a:gd name="connsiteX289" fmla="*/ 957790 w 2034708"/>
                <a:gd name="connsiteY289" fmla="*/ 3092568 h 4679355"/>
                <a:gd name="connsiteX290" fmla="*/ 972084 w 2034708"/>
                <a:gd name="connsiteY290" fmla="*/ 3116393 h 4679355"/>
                <a:gd name="connsiteX291" fmla="*/ 986380 w 2034708"/>
                <a:gd name="connsiteY291" fmla="*/ 3111628 h 4679355"/>
                <a:gd name="connsiteX292" fmla="*/ 1000676 w 2034708"/>
                <a:gd name="connsiteY292" fmla="*/ 3111628 h 4679355"/>
                <a:gd name="connsiteX293" fmla="*/ 1010206 w 2034708"/>
                <a:gd name="connsiteY293" fmla="*/ 3116393 h 4679355"/>
                <a:gd name="connsiteX294" fmla="*/ 1014970 w 2034708"/>
                <a:gd name="connsiteY294" fmla="*/ 3130689 h 4679355"/>
                <a:gd name="connsiteX295" fmla="*/ 1019736 w 2034708"/>
                <a:gd name="connsiteY295" fmla="*/ 3149749 h 4679355"/>
                <a:gd name="connsiteX296" fmla="*/ 1034032 w 2034708"/>
                <a:gd name="connsiteY296" fmla="*/ 3144984 h 4679355"/>
                <a:gd name="connsiteX297" fmla="*/ 1053092 w 2034708"/>
                <a:gd name="connsiteY297" fmla="*/ 3135454 h 4679355"/>
                <a:gd name="connsiteX298" fmla="*/ 1067388 w 2034708"/>
                <a:gd name="connsiteY298" fmla="*/ 3130689 h 4679355"/>
                <a:gd name="connsiteX299" fmla="*/ 1072152 w 2034708"/>
                <a:gd name="connsiteY299" fmla="*/ 3154514 h 4679355"/>
                <a:gd name="connsiteX300" fmla="*/ 1095978 w 2034708"/>
                <a:gd name="connsiteY300" fmla="*/ 3187870 h 4679355"/>
                <a:gd name="connsiteX301" fmla="*/ 1110274 w 2034708"/>
                <a:gd name="connsiteY301" fmla="*/ 3202166 h 4679355"/>
                <a:gd name="connsiteX302" fmla="*/ 1134100 w 2034708"/>
                <a:gd name="connsiteY302" fmla="*/ 3211696 h 4679355"/>
                <a:gd name="connsiteX303" fmla="*/ 1157924 w 2034708"/>
                <a:gd name="connsiteY303" fmla="*/ 3235522 h 4679355"/>
                <a:gd name="connsiteX304" fmla="*/ 1157924 w 2034708"/>
                <a:gd name="connsiteY304" fmla="*/ 3268877 h 4679355"/>
                <a:gd name="connsiteX305" fmla="*/ 1167456 w 2034708"/>
                <a:gd name="connsiteY305" fmla="*/ 3278408 h 4679355"/>
                <a:gd name="connsiteX306" fmla="*/ 1196046 w 2034708"/>
                <a:gd name="connsiteY306" fmla="*/ 3292703 h 4679355"/>
                <a:gd name="connsiteX307" fmla="*/ 1205576 w 2034708"/>
                <a:gd name="connsiteY307" fmla="*/ 3306998 h 4679355"/>
                <a:gd name="connsiteX308" fmla="*/ 1210342 w 2034708"/>
                <a:gd name="connsiteY308" fmla="*/ 3321294 h 4679355"/>
                <a:gd name="connsiteX309" fmla="*/ 1219872 w 2034708"/>
                <a:gd name="connsiteY309" fmla="*/ 3335589 h 4679355"/>
                <a:gd name="connsiteX310" fmla="*/ 1229402 w 2034708"/>
                <a:gd name="connsiteY310" fmla="*/ 3368945 h 4679355"/>
                <a:gd name="connsiteX311" fmla="*/ 1224636 w 2034708"/>
                <a:gd name="connsiteY311" fmla="*/ 3392771 h 4679355"/>
                <a:gd name="connsiteX312" fmla="*/ 1210342 w 2034708"/>
                <a:gd name="connsiteY312" fmla="*/ 3397536 h 4679355"/>
                <a:gd name="connsiteX313" fmla="*/ 1186516 w 2034708"/>
                <a:gd name="connsiteY313" fmla="*/ 3421362 h 4679355"/>
                <a:gd name="connsiteX314" fmla="*/ 1172220 w 2034708"/>
                <a:gd name="connsiteY314" fmla="*/ 3440422 h 4679355"/>
                <a:gd name="connsiteX315" fmla="*/ 1162690 w 2034708"/>
                <a:gd name="connsiteY315" fmla="*/ 3449952 h 4679355"/>
                <a:gd name="connsiteX316" fmla="*/ 1134100 w 2034708"/>
                <a:gd name="connsiteY316" fmla="*/ 3473778 h 4679355"/>
                <a:gd name="connsiteX317" fmla="*/ 1124568 w 2034708"/>
                <a:gd name="connsiteY317" fmla="*/ 3478543 h 4679355"/>
                <a:gd name="connsiteX318" fmla="*/ 1115038 w 2034708"/>
                <a:gd name="connsiteY318" fmla="*/ 3488073 h 4679355"/>
                <a:gd name="connsiteX319" fmla="*/ 1105508 w 2034708"/>
                <a:gd name="connsiteY319" fmla="*/ 3497604 h 4679355"/>
                <a:gd name="connsiteX320" fmla="*/ 1095978 w 2034708"/>
                <a:gd name="connsiteY320" fmla="*/ 3492838 h 4679355"/>
                <a:gd name="connsiteX321" fmla="*/ 1067388 w 2034708"/>
                <a:gd name="connsiteY321" fmla="*/ 3511899 h 4679355"/>
                <a:gd name="connsiteX322" fmla="*/ 1067388 w 2034708"/>
                <a:gd name="connsiteY322" fmla="*/ 3521429 h 4679355"/>
                <a:gd name="connsiteX323" fmla="*/ 1091212 w 2034708"/>
                <a:gd name="connsiteY323" fmla="*/ 3526194 h 4679355"/>
                <a:gd name="connsiteX324" fmla="*/ 1105508 w 2034708"/>
                <a:gd name="connsiteY324" fmla="*/ 3521429 h 4679355"/>
                <a:gd name="connsiteX325" fmla="*/ 1115038 w 2034708"/>
                <a:gd name="connsiteY325" fmla="*/ 3511899 h 4679355"/>
                <a:gd name="connsiteX326" fmla="*/ 1124568 w 2034708"/>
                <a:gd name="connsiteY326" fmla="*/ 3507134 h 4679355"/>
                <a:gd name="connsiteX327" fmla="*/ 1134100 w 2034708"/>
                <a:gd name="connsiteY327" fmla="*/ 3511899 h 4679355"/>
                <a:gd name="connsiteX328" fmla="*/ 1143630 w 2034708"/>
                <a:gd name="connsiteY328" fmla="*/ 3502368 h 4679355"/>
                <a:gd name="connsiteX329" fmla="*/ 1153160 w 2034708"/>
                <a:gd name="connsiteY329" fmla="*/ 3497604 h 4679355"/>
                <a:gd name="connsiteX330" fmla="*/ 1157924 w 2034708"/>
                <a:gd name="connsiteY330" fmla="*/ 3502368 h 4679355"/>
                <a:gd name="connsiteX331" fmla="*/ 1167456 w 2034708"/>
                <a:gd name="connsiteY331" fmla="*/ 3526194 h 4679355"/>
                <a:gd name="connsiteX332" fmla="*/ 1148394 w 2034708"/>
                <a:gd name="connsiteY332" fmla="*/ 3535724 h 4679355"/>
                <a:gd name="connsiteX333" fmla="*/ 1138864 w 2034708"/>
                <a:gd name="connsiteY333" fmla="*/ 3535724 h 4679355"/>
                <a:gd name="connsiteX334" fmla="*/ 1129334 w 2034708"/>
                <a:gd name="connsiteY334" fmla="*/ 3569080 h 4679355"/>
                <a:gd name="connsiteX335" fmla="*/ 1124568 w 2034708"/>
                <a:gd name="connsiteY335" fmla="*/ 3583376 h 4679355"/>
                <a:gd name="connsiteX336" fmla="*/ 1115038 w 2034708"/>
                <a:gd name="connsiteY336" fmla="*/ 3592906 h 4679355"/>
                <a:gd name="connsiteX337" fmla="*/ 1086448 w 2034708"/>
                <a:gd name="connsiteY337" fmla="*/ 3607201 h 4679355"/>
                <a:gd name="connsiteX338" fmla="*/ 1067388 w 2034708"/>
                <a:gd name="connsiteY338" fmla="*/ 3621497 h 4679355"/>
                <a:gd name="connsiteX339" fmla="*/ 1043562 w 2034708"/>
                <a:gd name="connsiteY339" fmla="*/ 3635792 h 4679355"/>
                <a:gd name="connsiteX340" fmla="*/ 1034032 w 2034708"/>
                <a:gd name="connsiteY340" fmla="*/ 3635792 h 4679355"/>
                <a:gd name="connsiteX341" fmla="*/ 1019736 w 2034708"/>
                <a:gd name="connsiteY341" fmla="*/ 3650088 h 4679355"/>
                <a:gd name="connsiteX342" fmla="*/ 986380 w 2034708"/>
                <a:gd name="connsiteY342" fmla="*/ 3664383 h 4679355"/>
                <a:gd name="connsiteX343" fmla="*/ 972084 w 2034708"/>
                <a:gd name="connsiteY343" fmla="*/ 3688208 h 4679355"/>
                <a:gd name="connsiteX344" fmla="*/ 933964 w 2034708"/>
                <a:gd name="connsiteY344" fmla="*/ 3712034 h 4679355"/>
                <a:gd name="connsiteX345" fmla="*/ 914904 w 2034708"/>
                <a:gd name="connsiteY345" fmla="*/ 3726330 h 4679355"/>
                <a:gd name="connsiteX346" fmla="*/ 857722 w 2034708"/>
                <a:gd name="connsiteY346" fmla="*/ 3731095 h 4679355"/>
                <a:gd name="connsiteX347" fmla="*/ 810070 w 2034708"/>
                <a:gd name="connsiteY347" fmla="*/ 3726330 h 4679355"/>
                <a:gd name="connsiteX348" fmla="*/ 795776 w 2034708"/>
                <a:gd name="connsiteY348" fmla="*/ 3731095 h 4679355"/>
                <a:gd name="connsiteX349" fmla="*/ 810070 w 2034708"/>
                <a:gd name="connsiteY349" fmla="*/ 3735860 h 4679355"/>
                <a:gd name="connsiteX350" fmla="*/ 819600 w 2034708"/>
                <a:gd name="connsiteY350" fmla="*/ 3745390 h 4679355"/>
                <a:gd name="connsiteX351" fmla="*/ 833896 w 2034708"/>
                <a:gd name="connsiteY351" fmla="*/ 3740625 h 4679355"/>
                <a:gd name="connsiteX352" fmla="*/ 867252 w 2034708"/>
                <a:gd name="connsiteY352" fmla="*/ 3745390 h 4679355"/>
                <a:gd name="connsiteX353" fmla="*/ 881548 w 2034708"/>
                <a:gd name="connsiteY353" fmla="*/ 3750155 h 4679355"/>
                <a:gd name="connsiteX354" fmla="*/ 905372 w 2034708"/>
                <a:gd name="connsiteY354" fmla="*/ 3778746 h 4679355"/>
                <a:gd name="connsiteX355" fmla="*/ 886312 w 2034708"/>
                <a:gd name="connsiteY355" fmla="*/ 3788276 h 4679355"/>
                <a:gd name="connsiteX356" fmla="*/ 862486 w 2034708"/>
                <a:gd name="connsiteY356" fmla="*/ 3793041 h 4679355"/>
                <a:gd name="connsiteX357" fmla="*/ 872018 w 2034708"/>
                <a:gd name="connsiteY357" fmla="*/ 3831162 h 4679355"/>
                <a:gd name="connsiteX358" fmla="*/ 881548 w 2034708"/>
                <a:gd name="connsiteY358" fmla="*/ 3859753 h 4679355"/>
                <a:gd name="connsiteX359" fmla="*/ 867252 w 2034708"/>
                <a:gd name="connsiteY359" fmla="*/ 3874048 h 4679355"/>
                <a:gd name="connsiteX360" fmla="*/ 867252 w 2034708"/>
                <a:gd name="connsiteY360" fmla="*/ 3945526 h 4679355"/>
                <a:gd name="connsiteX361" fmla="*/ 852956 w 2034708"/>
                <a:gd name="connsiteY361" fmla="*/ 3950290 h 4679355"/>
                <a:gd name="connsiteX362" fmla="*/ 848192 w 2034708"/>
                <a:gd name="connsiteY362" fmla="*/ 3978881 h 4679355"/>
                <a:gd name="connsiteX363" fmla="*/ 852956 w 2034708"/>
                <a:gd name="connsiteY363" fmla="*/ 3993177 h 4679355"/>
                <a:gd name="connsiteX364" fmla="*/ 852956 w 2034708"/>
                <a:gd name="connsiteY364" fmla="*/ 4026532 h 4679355"/>
                <a:gd name="connsiteX365" fmla="*/ 852956 w 2034708"/>
                <a:gd name="connsiteY365" fmla="*/ 4050358 h 4679355"/>
                <a:gd name="connsiteX366" fmla="*/ 862486 w 2034708"/>
                <a:gd name="connsiteY366" fmla="*/ 4069419 h 4679355"/>
                <a:gd name="connsiteX367" fmla="*/ 857722 w 2034708"/>
                <a:gd name="connsiteY367" fmla="*/ 4088479 h 4679355"/>
                <a:gd name="connsiteX368" fmla="*/ 833896 w 2034708"/>
                <a:gd name="connsiteY368" fmla="*/ 4136130 h 4679355"/>
                <a:gd name="connsiteX369" fmla="*/ 833896 w 2034708"/>
                <a:gd name="connsiteY369" fmla="*/ 4159956 h 4679355"/>
                <a:gd name="connsiteX370" fmla="*/ 838662 w 2034708"/>
                <a:gd name="connsiteY370" fmla="*/ 4174252 h 4679355"/>
                <a:gd name="connsiteX371" fmla="*/ 843426 w 2034708"/>
                <a:gd name="connsiteY371" fmla="*/ 4193312 h 4679355"/>
                <a:gd name="connsiteX372" fmla="*/ 833896 w 2034708"/>
                <a:gd name="connsiteY372" fmla="*/ 4236198 h 4679355"/>
                <a:gd name="connsiteX373" fmla="*/ 824366 w 2034708"/>
                <a:gd name="connsiteY373" fmla="*/ 4269554 h 4679355"/>
                <a:gd name="connsiteX374" fmla="*/ 814836 w 2034708"/>
                <a:gd name="connsiteY374" fmla="*/ 4298145 h 4679355"/>
                <a:gd name="connsiteX375" fmla="*/ 795776 w 2034708"/>
                <a:gd name="connsiteY375" fmla="*/ 4331500 h 4679355"/>
                <a:gd name="connsiteX376" fmla="*/ 781480 w 2034708"/>
                <a:gd name="connsiteY376" fmla="*/ 4355326 h 4679355"/>
                <a:gd name="connsiteX377" fmla="*/ 757654 w 2034708"/>
                <a:gd name="connsiteY377" fmla="*/ 4436334 h 4679355"/>
                <a:gd name="connsiteX378" fmla="*/ 748124 w 2034708"/>
                <a:gd name="connsiteY378" fmla="*/ 4450629 h 4679355"/>
                <a:gd name="connsiteX379" fmla="*/ 733828 w 2034708"/>
                <a:gd name="connsiteY379" fmla="*/ 4460159 h 4679355"/>
                <a:gd name="connsiteX380" fmla="*/ 714768 w 2034708"/>
                <a:gd name="connsiteY380" fmla="*/ 4450629 h 4679355"/>
                <a:gd name="connsiteX381" fmla="*/ 700472 w 2034708"/>
                <a:gd name="connsiteY381" fmla="*/ 4445864 h 4679355"/>
                <a:gd name="connsiteX382" fmla="*/ 681412 w 2034708"/>
                <a:gd name="connsiteY382" fmla="*/ 4445864 h 4679355"/>
                <a:gd name="connsiteX383" fmla="*/ 652822 w 2034708"/>
                <a:gd name="connsiteY383" fmla="*/ 4455394 h 4679355"/>
                <a:gd name="connsiteX384" fmla="*/ 609936 w 2034708"/>
                <a:gd name="connsiteY384" fmla="*/ 4450629 h 4679355"/>
                <a:gd name="connsiteX385" fmla="*/ 571814 w 2034708"/>
                <a:gd name="connsiteY385" fmla="*/ 4450629 h 4679355"/>
                <a:gd name="connsiteX386" fmla="*/ 557518 w 2034708"/>
                <a:gd name="connsiteY386" fmla="*/ 4460159 h 4679355"/>
                <a:gd name="connsiteX387" fmla="*/ 567050 w 2034708"/>
                <a:gd name="connsiteY387" fmla="*/ 4488750 h 4679355"/>
                <a:gd name="connsiteX388" fmla="*/ 547988 w 2034708"/>
                <a:gd name="connsiteY388" fmla="*/ 4488750 h 4679355"/>
                <a:gd name="connsiteX389" fmla="*/ 533694 w 2034708"/>
                <a:gd name="connsiteY389" fmla="*/ 4483985 h 4679355"/>
                <a:gd name="connsiteX390" fmla="*/ 524162 w 2034708"/>
                <a:gd name="connsiteY390" fmla="*/ 4493515 h 4679355"/>
                <a:gd name="connsiteX391" fmla="*/ 509868 w 2034708"/>
                <a:gd name="connsiteY391" fmla="*/ 4503046 h 4679355"/>
                <a:gd name="connsiteX392" fmla="*/ 490808 w 2034708"/>
                <a:gd name="connsiteY392" fmla="*/ 4526871 h 4679355"/>
                <a:gd name="connsiteX393" fmla="*/ 481276 w 2034708"/>
                <a:gd name="connsiteY393" fmla="*/ 4541166 h 4679355"/>
                <a:gd name="connsiteX394" fmla="*/ 481276 w 2034708"/>
                <a:gd name="connsiteY394" fmla="*/ 4569757 h 4679355"/>
                <a:gd name="connsiteX395" fmla="*/ 490808 w 2034708"/>
                <a:gd name="connsiteY395" fmla="*/ 4598348 h 4679355"/>
                <a:gd name="connsiteX396" fmla="*/ 500338 w 2034708"/>
                <a:gd name="connsiteY396" fmla="*/ 4626938 h 4679355"/>
                <a:gd name="connsiteX397" fmla="*/ 476512 w 2034708"/>
                <a:gd name="connsiteY397" fmla="*/ 4665060 h 4679355"/>
                <a:gd name="connsiteX398" fmla="*/ 462216 w 2034708"/>
                <a:gd name="connsiteY398" fmla="*/ 4665060 h 4679355"/>
                <a:gd name="connsiteX399" fmla="*/ 419330 w 2034708"/>
                <a:gd name="connsiteY399" fmla="*/ 4655530 h 4679355"/>
                <a:gd name="connsiteX400" fmla="*/ 343088 w 2034708"/>
                <a:gd name="connsiteY400" fmla="*/ 4679355 h 4679355"/>
                <a:gd name="connsiteX401" fmla="*/ 271612 w 2034708"/>
                <a:gd name="connsiteY401" fmla="*/ 4660294 h 4679355"/>
                <a:gd name="connsiteX402" fmla="*/ 281142 w 2034708"/>
                <a:gd name="connsiteY402" fmla="*/ 4641234 h 4679355"/>
                <a:gd name="connsiteX403" fmla="*/ 281142 w 2034708"/>
                <a:gd name="connsiteY403" fmla="*/ 4626938 h 4679355"/>
                <a:gd name="connsiteX404" fmla="*/ 285906 w 2034708"/>
                <a:gd name="connsiteY404" fmla="*/ 4603113 h 4679355"/>
                <a:gd name="connsiteX405" fmla="*/ 285906 w 2034708"/>
                <a:gd name="connsiteY405" fmla="*/ 4584052 h 4679355"/>
                <a:gd name="connsiteX406" fmla="*/ 285906 w 2034708"/>
                <a:gd name="connsiteY406" fmla="*/ 4564992 h 4679355"/>
                <a:gd name="connsiteX407" fmla="*/ 281142 w 2034708"/>
                <a:gd name="connsiteY407" fmla="*/ 4550696 h 4679355"/>
                <a:gd name="connsiteX408" fmla="*/ 266846 w 2034708"/>
                <a:gd name="connsiteY408" fmla="*/ 4531636 h 4679355"/>
                <a:gd name="connsiteX409" fmla="*/ 228726 w 2034708"/>
                <a:gd name="connsiteY409" fmla="*/ 4460159 h 4679355"/>
                <a:gd name="connsiteX410" fmla="*/ 214430 w 2034708"/>
                <a:gd name="connsiteY410" fmla="*/ 4426804 h 4679355"/>
                <a:gd name="connsiteX411" fmla="*/ 209664 w 2034708"/>
                <a:gd name="connsiteY411" fmla="*/ 4417273 h 4679355"/>
                <a:gd name="connsiteX412" fmla="*/ 214430 w 2034708"/>
                <a:gd name="connsiteY412" fmla="*/ 4412508 h 4679355"/>
                <a:gd name="connsiteX413" fmla="*/ 247786 w 2034708"/>
                <a:gd name="connsiteY413" fmla="*/ 4431568 h 4679355"/>
                <a:gd name="connsiteX414" fmla="*/ 252550 w 2034708"/>
                <a:gd name="connsiteY414" fmla="*/ 4426804 h 4679355"/>
                <a:gd name="connsiteX415" fmla="*/ 262080 w 2034708"/>
                <a:gd name="connsiteY415" fmla="*/ 4422038 h 4679355"/>
                <a:gd name="connsiteX416" fmla="*/ 252550 w 2034708"/>
                <a:gd name="connsiteY416" fmla="*/ 4398212 h 4679355"/>
                <a:gd name="connsiteX417" fmla="*/ 243020 w 2034708"/>
                <a:gd name="connsiteY417" fmla="*/ 4388682 h 4679355"/>
                <a:gd name="connsiteX418" fmla="*/ 238256 w 2034708"/>
                <a:gd name="connsiteY418" fmla="*/ 4374387 h 4679355"/>
                <a:gd name="connsiteX419" fmla="*/ 257316 w 2034708"/>
                <a:gd name="connsiteY419" fmla="*/ 4369622 h 4679355"/>
                <a:gd name="connsiteX420" fmla="*/ 271612 w 2034708"/>
                <a:gd name="connsiteY420" fmla="*/ 4369622 h 4679355"/>
                <a:gd name="connsiteX421" fmla="*/ 281142 w 2034708"/>
                <a:gd name="connsiteY421" fmla="*/ 4350561 h 4679355"/>
                <a:gd name="connsiteX422" fmla="*/ 271612 w 2034708"/>
                <a:gd name="connsiteY422" fmla="*/ 4321970 h 4679355"/>
                <a:gd name="connsiteX423" fmla="*/ 257316 w 2034708"/>
                <a:gd name="connsiteY423" fmla="*/ 4312440 h 4679355"/>
                <a:gd name="connsiteX424" fmla="*/ 247786 w 2034708"/>
                <a:gd name="connsiteY424" fmla="*/ 4307675 h 4679355"/>
                <a:gd name="connsiteX425" fmla="*/ 223960 w 2034708"/>
                <a:gd name="connsiteY425" fmla="*/ 4264789 h 4679355"/>
                <a:gd name="connsiteX426" fmla="*/ 200134 w 2034708"/>
                <a:gd name="connsiteY426" fmla="*/ 4240964 h 4679355"/>
                <a:gd name="connsiteX427" fmla="*/ 157248 w 2034708"/>
                <a:gd name="connsiteY427" fmla="*/ 4150426 h 4679355"/>
                <a:gd name="connsiteX428" fmla="*/ 142952 w 2034708"/>
                <a:gd name="connsiteY428" fmla="*/ 4083714 h 4679355"/>
                <a:gd name="connsiteX429" fmla="*/ 128658 w 2034708"/>
                <a:gd name="connsiteY429" fmla="*/ 4088479 h 4679355"/>
                <a:gd name="connsiteX430" fmla="*/ 123892 w 2034708"/>
                <a:gd name="connsiteY430" fmla="*/ 4064654 h 4679355"/>
                <a:gd name="connsiteX431" fmla="*/ 119128 w 2034708"/>
                <a:gd name="connsiteY431" fmla="*/ 4036063 h 4679355"/>
                <a:gd name="connsiteX432" fmla="*/ 114362 w 2034708"/>
                <a:gd name="connsiteY432" fmla="*/ 4017002 h 4679355"/>
                <a:gd name="connsiteX433" fmla="*/ 95302 w 2034708"/>
                <a:gd name="connsiteY433" fmla="*/ 4007472 h 4679355"/>
                <a:gd name="connsiteX434" fmla="*/ 95302 w 2034708"/>
                <a:gd name="connsiteY434" fmla="*/ 3993177 h 4679355"/>
                <a:gd name="connsiteX435" fmla="*/ 90536 w 2034708"/>
                <a:gd name="connsiteY435" fmla="*/ 3931230 h 4679355"/>
                <a:gd name="connsiteX436" fmla="*/ 66710 w 2034708"/>
                <a:gd name="connsiteY436" fmla="*/ 3921700 h 4679355"/>
                <a:gd name="connsiteX437" fmla="*/ 47650 w 2034708"/>
                <a:gd name="connsiteY437" fmla="*/ 3888344 h 4679355"/>
                <a:gd name="connsiteX438" fmla="*/ 47650 w 2034708"/>
                <a:gd name="connsiteY438" fmla="*/ 3821632 h 4679355"/>
                <a:gd name="connsiteX439" fmla="*/ 33354 w 2034708"/>
                <a:gd name="connsiteY439" fmla="*/ 3812102 h 4679355"/>
                <a:gd name="connsiteX440" fmla="*/ 19060 w 2034708"/>
                <a:gd name="connsiteY440" fmla="*/ 3812102 h 4679355"/>
                <a:gd name="connsiteX441" fmla="*/ 19060 w 2034708"/>
                <a:gd name="connsiteY441" fmla="*/ 3797806 h 4679355"/>
                <a:gd name="connsiteX442" fmla="*/ 23824 w 2034708"/>
                <a:gd name="connsiteY442" fmla="*/ 3783511 h 4679355"/>
                <a:gd name="connsiteX443" fmla="*/ 14294 w 2034708"/>
                <a:gd name="connsiteY443" fmla="*/ 3721564 h 4679355"/>
                <a:gd name="connsiteX444" fmla="*/ 9530 w 2034708"/>
                <a:gd name="connsiteY444" fmla="*/ 3664383 h 4679355"/>
                <a:gd name="connsiteX445" fmla="*/ 4764 w 2034708"/>
                <a:gd name="connsiteY445" fmla="*/ 3645322 h 4679355"/>
                <a:gd name="connsiteX446" fmla="*/ 0 w 2034708"/>
                <a:gd name="connsiteY446" fmla="*/ 3626262 h 4679355"/>
                <a:gd name="connsiteX447" fmla="*/ 4764 w 2034708"/>
                <a:gd name="connsiteY447" fmla="*/ 3611966 h 4679355"/>
                <a:gd name="connsiteX448" fmla="*/ 9530 w 2034708"/>
                <a:gd name="connsiteY448" fmla="*/ 3602436 h 4679355"/>
                <a:gd name="connsiteX449" fmla="*/ 23824 w 2034708"/>
                <a:gd name="connsiteY449" fmla="*/ 3597671 h 4679355"/>
                <a:gd name="connsiteX450" fmla="*/ 38120 w 2034708"/>
                <a:gd name="connsiteY450" fmla="*/ 3611966 h 4679355"/>
                <a:gd name="connsiteX451" fmla="*/ 52416 w 2034708"/>
                <a:gd name="connsiteY451" fmla="*/ 3650088 h 4679355"/>
                <a:gd name="connsiteX452" fmla="*/ 61946 w 2034708"/>
                <a:gd name="connsiteY452" fmla="*/ 3654853 h 4679355"/>
                <a:gd name="connsiteX453" fmla="*/ 81006 w 2034708"/>
                <a:gd name="connsiteY453" fmla="*/ 3645322 h 4679355"/>
                <a:gd name="connsiteX454" fmla="*/ 90536 w 2034708"/>
                <a:gd name="connsiteY454" fmla="*/ 3616732 h 4679355"/>
                <a:gd name="connsiteX455" fmla="*/ 95302 w 2034708"/>
                <a:gd name="connsiteY455" fmla="*/ 3573846 h 4679355"/>
                <a:gd name="connsiteX456" fmla="*/ 104832 w 2034708"/>
                <a:gd name="connsiteY456" fmla="*/ 3535724 h 4679355"/>
                <a:gd name="connsiteX457" fmla="*/ 95302 w 2034708"/>
                <a:gd name="connsiteY457" fmla="*/ 3492838 h 4679355"/>
                <a:gd name="connsiteX458" fmla="*/ 85772 w 2034708"/>
                <a:gd name="connsiteY458" fmla="*/ 3454717 h 4679355"/>
                <a:gd name="connsiteX459" fmla="*/ 85772 w 2034708"/>
                <a:gd name="connsiteY459" fmla="*/ 3445187 h 4679355"/>
                <a:gd name="connsiteX460" fmla="*/ 109596 w 2034708"/>
                <a:gd name="connsiteY460" fmla="*/ 3411831 h 4679355"/>
                <a:gd name="connsiteX461" fmla="*/ 119128 w 2034708"/>
                <a:gd name="connsiteY461" fmla="*/ 3383240 h 4679355"/>
                <a:gd name="connsiteX462" fmla="*/ 123892 w 2034708"/>
                <a:gd name="connsiteY462" fmla="*/ 3359415 h 4679355"/>
                <a:gd name="connsiteX463" fmla="*/ 133422 w 2034708"/>
                <a:gd name="connsiteY463" fmla="*/ 3349884 h 4679355"/>
                <a:gd name="connsiteX464" fmla="*/ 147718 w 2034708"/>
                <a:gd name="connsiteY464" fmla="*/ 3349884 h 4679355"/>
                <a:gd name="connsiteX465" fmla="*/ 162014 w 2034708"/>
                <a:gd name="connsiteY465" fmla="*/ 3345119 h 4679355"/>
                <a:gd name="connsiteX466" fmla="*/ 181074 w 2034708"/>
                <a:gd name="connsiteY466" fmla="*/ 3326059 h 4679355"/>
                <a:gd name="connsiteX467" fmla="*/ 200134 w 2034708"/>
                <a:gd name="connsiteY467" fmla="*/ 3302233 h 4679355"/>
                <a:gd name="connsiteX468" fmla="*/ 209664 w 2034708"/>
                <a:gd name="connsiteY468" fmla="*/ 3283173 h 4679355"/>
                <a:gd name="connsiteX469" fmla="*/ 214430 w 2034708"/>
                <a:gd name="connsiteY469" fmla="*/ 3240286 h 4679355"/>
                <a:gd name="connsiteX470" fmla="*/ 214430 w 2034708"/>
                <a:gd name="connsiteY470" fmla="*/ 3221226 h 4679355"/>
                <a:gd name="connsiteX471" fmla="*/ 219194 w 2034708"/>
                <a:gd name="connsiteY471" fmla="*/ 3206931 h 4679355"/>
                <a:gd name="connsiteX472" fmla="*/ 228726 w 2034708"/>
                <a:gd name="connsiteY472" fmla="*/ 3173575 h 4679355"/>
                <a:gd name="connsiteX473" fmla="*/ 223960 w 2034708"/>
                <a:gd name="connsiteY473" fmla="*/ 3144984 h 4679355"/>
                <a:gd name="connsiteX474" fmla="*/ 204900 w 2034708"/>
                <a:gd name="connsiteY474" fmla="*/ 3097333 h 4679355"/>
                <a:gd name="connsiteX475" fmla="*/ 185838 w 2034708"/>
                <a:gd name="connsiteY475" fmla="*/ 3035386 h 4679355"/>
                <a:gd name="connsiteX476" fmla="*/ 181074 w 2034708"/>
                <a:gd name="connsiteY476" fmla="*/ 2997265 h 4679355"/>
                <a:gd name="connsiteX477" fmla="*/ 190604 w 2034708"/>
                <a:gd name="connsiteY477" fmla="*/ 2992500 h 4679355"/>
                <a:gd name="connsiteX478" fmla="*/ 209664 w 2034708"/>
                <a:gd name="connsiteY478" fmla="*/ 2982970 h 4679355"/>
                <a:gd name="connsiteX479" fmla="*/ 243020 w 2034708"/>
                <a:gd name="connsiteY479" fmla="*/ 2982970 h 4679355"/>
                <a:gd name="connsiteX480" fmla="*/ 247786 w 2034708"/>
                <a:gd name="connsiteY480" fmla="*/ 2978204 h 4679355"/>
                <a:gd name="connsiteX481" fmla="*/ 247786 w 2034708"/>
                <a:gd name="connsiteY481" fmla="*/ 2963909 h 4679355"/>
                <a:gd name="connsiteX482" fmla="*/ 257316 w 2034708"/>
                <a:gd name="connsiteY482" fmla="*/ 2944849 h 4679355"/>
                <a:gd name="connsiteX483" fmla="*/ 262080 w 2034708"/>
                <a:gd name="connsiteY483" fmla="*/ 2925788 h 4679355"/>
                <a:gd name="connsiteX484" fmla="*/ 271612 w 2034708"/>
                <a:gd name="connsiteY484" fmla="*/ 2906728 h 4679355"/>
                <a:gd name="connsiteX485" fmla="*/ 271612 w 2034708"/>
                <a:gd name="connsiteY485" fmla="*/ 2882902 h 4679355"/>
                <a:gd name="connsiteX486" fmla="*/ 252550 w 2034708"/>
                <a:gd name="connsiteY486" fmla="*/ 2854311 h 4679355"/>
                <a:gd name="connsiteX487" fmla="*/ 228726 w 2034708"/>
                <a:gd name="connsiteY487" fmla="*/ 2820955 h 4679355"/>
                <a:gd name="connsiteX488" fmla="*/ 209664 w 2034708"/>
                <a:gd name="connsiteY488" fmla="*/ 2811425 h 4679355"/>
                <a:gd name="connsiteX489" fmla="*/ 181074 w 2034708"/>
                <a:gd name="connsiteY489" fmla="*/ 2787600 h 4679355"/>
                <a:gd name="connsiteX490" fmla="*/ 157248 w 2034708"/>
                <a:gd name="connsiteY490" fmla="*/ 2763774 h 4679355"/>
                <a:gd name="connsiteX491" fmla="*/ 171544 w 2034708"/>
                <a:gd name="connsiteY491" fmla="*/ 2678002 h 4679355"/>
                <a:gd name="connsiteX492" fmla="*/ 181074 w 2034708"/>
                <a:gd name="connsiteY492" fmla="*/ 2616055 h 4679355"/>
                <a:gd name="connsiteX493" fmla="*/ 181074 w 2034708"/>
                <a:gd name="connsiteY493" fmla="*/ 2601760 h 4679355"/>
                <a:gd name="connsiteX494" fmla="*/ 181074 w 2034708"/>
                <a:gd name="connsiteY494" fmla="*/ 2577934 h 4679355"/>
                <a:gd name="connsiteX495" fmla="*/ 152484 w 2034708"/>
                <a:gd name="connsiteY495" fmla="*/ 2473101 h 4679355"/>
                <a:gd name="connsiteX496" fmla="*/ 152484 w 2034708"/>
                <a:gd name="connsiteY496" fmla="*/ 2449276 h 4679355"/>
                <a:gd name="connsiteX497" fmla="*/ 157248 w 2034708"/>
                <a:gd name="connsiteY497" fmla="*/ 2430215 h 4679355"/>
                <a:gd name="connsiteX498" fmla="*/ 152484 w 2034708"/>
                <a:gd name="connsiteY498" fmla="*/ 2392094 h 4679355"/>
                <a:gd name="connsiteX499" fmla="*/ 152484 w 2034708"/>
                <a:gd name="connsiteY499" fmla="*/ 2358738 h 4679355"/>
                <a:gd name="connsiteX500" fmla="*/ 157248 w 2034708"/>
                <a:gd name="connsiteY500" fmla="*/ 2349208 h 4679355"/>
                <a:gd name="connsiteX501" fmla="*/ 171544 w 2034708"/>
                <a:gd name="connsiteY501" fmla="*/ 2334912 h 4679355"/>
                <a:gd name="connsiteX502" fmla="*/ 157248 w 2034708"/>
                <a:gd name="connsiteY502" fmla="*/ 2306322 h 4679355"/>
                <a:gd name="connsiteX503" fmla="*/ 157248 w 2034708"/>
                <a:gd name="connsiteY503" fmla="*/ 2301556 h 4679355"/>
                <a:gd name="connsiteX504" fmla="*/ 133422 w 2034708"/>
                <a:gd name="connsiteY504" fmla="*/ 2234845 h 4679355"/>
                <a:gd name="connsiteX505" fmla="*/ 166778 w 2034708"/>
                <a:gd name="connsiteY505" fmla="*/ 2163368 h 4679355"/>
                <a:gd name="connsiteX506" fmla="*/ 162014 w 2034708"/>
                <a:gd name="connsiteY506" fmla="*/ 2125247 h 4679355"/>
                <a:gd name="connsiteX507" fmla="*/ 181074 w 2034708"/>
                <a:gd name="connsiteY507" fmla="*/ 2101421 h 4679355"/>
                <a:gd name="connsiteX508" fmla="*/ 219194 w 2034708"/>
                <a:gd name="connsiteY508" fmla="*/ 2039474 h 4679355"/>
                <a:gd name="connsiteX509" fmla="*/ 238256 w 2034708"/>
                <a:gd name="connsiteY509" fmla="*/ 2006119 h 4679355"/>
                <a:gd name="connsiteX510" fmla="*/ 243020 w 2034708"/>
                <a:gd name="connsiteY510" fmla="*/ 1996588 h 4679355"/>
                <a:gd name="connsiteX511" fmla="*/ 257316 w 2034708"/>
                <a:gd name="connsiteY511" fmla="*/ 1982293 h 4679355"/>
                <a:gd name="connsiteX512" fmla="*/ 290672 w 2034708"/>
                <a:gd name="connsiteY512" fmla="*/ 1963232 h 4679355"/>
                <a:gd name="connsiteX513" fmla="*/ 324028 w 2034708"/>
                <a:gd name="connsiteY513" fmla="*/ 1958467 h 4679355"/>
                <a:gd name="connsiteX514" fmla="*/ 338322 w 2034708"/>
                <a:gd name="connsiteY514" fmla="*/ 1958467 h 4679355"/>
                <a:gd name="connsiteX515" fmla="*/ 395504 w 2034708"/>
                <a:gd name="connsiteY515" fmla="*/ 1967998 h 4679355"/>
                <a:gd name="connsiteX516" fmla="*/ 443156 w 2034708"/>
                <a:gd name="connsiteY516" fmla="*/ 1977528 h 4679355"/>
                <a:gd name="connsiteX517" fmla="*/ 447920 w 2034708"/>
                <a:gd name="connsiteY517" fmla="*/ 1967998 h 4679355"/>
                <a:gd name="connsiteX518" fmla="*/ 457452 w 2034708"/>
                <a:gd name="connsiteY518" fmla="*/ 1948937 h 4679355"/>
                <a:gd name="connsiteX519" fmla="*/ 471746 w 2034708"/>
                <a:gd name="connsiteY519" fmla="*/ 1920346 h 4679355"/>
                <a:gd name="connsiteX520" fmla="*/ 471746 w 2034708"/>
                <a:gd name="connsiteY520" fmla="*/ 1891756 h 4679355"/>
                <a:gd name="connsiteX521" fmla="*/ 466982 w 2034708"/>
                <a:gd name="connsiteY521" fmla="*/ 1844104 h 4679355"/>
                <a:gd name="connsiteX522" fmla="*/ 457452 w 2034708"/>
                <a:gd name="connsiteY522" fmla="*/ 1815514 h 4679355"/>
                <a:gd name="connsiteX523" fmla="*/ 428860 w 2034708"/>
                <a:gd name="connsiteY523" fmla="*/ 1796453 h 4679355"/>
                <a:gd name="connsiteX524" fmla="*/ 390740 w 2034708"/>
                <a:gd name="connsiteY524" fmla="*/ 1772627 h 4679355"/>
                <a:gd name="connsiteX525" fmla="*/ 433626 w 2034708"/>
                <a:gd name="connsiteY525" fmla="*/ 1696385 h 4679355"/>
                <a:gd name="connsiteX526" fmla="*/ 466982 w 2034708"/>
                <a:gd name="connsiteY526" fmla="*/ 1639204 h 4679355"/>
                <a:gd name="connsiteX527" fmla="*/ 505102 w 2034708"/>
                <a:gd name="connsiteY527" fmla="*/ 1558197 h 4679355"/>
                <a:gd name="connsiteX528" fmla="*/ 514632 w 2034708"/>
                <a:gd name="connsiteY528" fmla="*/ 1520076 h 4679355"/>
                <a:gd name="connsiteX529" fmla="*/ 524162 w 2034708"/>
                <a:gd name="connsiteY529" fmla="*/ 1510545 h 4679355"/>
                <a:gd name="connsiteX530" fmla="*/ 533694 w 2034708"/>
                <a:gd name="connsiteY530" fmla="*/ 1377122 h 4679355"/>
                <a:gd name="connsiteX531" fmla="*/ 543224 w 2034708"/>
                <a:gd name="connsiteY531" fmla="*/ 1343766 h 4679355"/>
                <a:gd name="connsiteX532" fmla="*/ 547988 w 2034708"/>
                <a:gd name="connsiteY532" fmla="*/ 1324705 h 4679355"/>
                <a:gd name="connsiteX533" fmla="*/ 547988 w 2034708"/>
                <a:gd name="connsiteY533" fmla="*/ 1300880 h 4679355"/>
                <a:gd name="connsiteX534" fmla="*/ 543224 w 2034708"/>
                <a:gd name="connsiteY534" fmla="*/ 1267524 h 4679355"/>
                <a:gd name="connsiteX535" fmla="*/ 533694 w 2034708"/>
                <a:gd name="connsiteY535" fmla="*/ 1196047 h 4679355"/>
                <a:gd name="connsiteX536" fmla="*/ 590874 w 2034708"/>
                <a:gd name="connsiteY536" fmla="*/ 1186517 h 4679355"/>
                <a:gd name="connsiteX537" fmla="*/ 609936 w 2034708"/>
                <a:gd name="connsiteY537" fmla="*/ 1176986 h 4679355"/>
                <a:gd name="connsiteX538" fmla="*/ 628996 w 2034708"/>
                <a:gd name="connsiteY538" fmla="*/ 1167456 h 4679355"/>
                <a:gd name="connsiteX539" fmla="*/ 662352 w 2034708"/>
                <a:gd name="connsiteY539" fmla="*/ 1148396 h 4679355"/>
                <a:gd name="connsiteX540" fmla="*/ 681412 w 2034708"/>
                <a:gd name="connsiteY540" fmla="*/ 1124570 h 4679355"/>
                <a:gd name="connsiteX541" fmla="*/ 671882 w 2034708"/>
                <a:gd name="connsiteY541" fmla="*/ 1053093 h 4679355"/>
                <a:gd name="connsiteX542" fmla="*/ 690942 w 2034708"/>
                <a:gd name="connsiteY542" fmla="*/ 1029268 h 4679355"/>
                <a:gd name="connsiteX543" fmla="*/ 743358 w 2034708"/>
                <a:gd name="connsiteY543" fmla="*/ 943495 h 4679355"/>
                <a:gd name="connsiteX544" fmla="*/ 795776 w 2034708"/>
                <a:gd name="connsiteY544" fmla="*/ 862488 h 4679355"/>
                <a:gd name="connsiteX545" fmla="*/ 824366 w 2034708"/>
                <a:gd name="connsiteY545" fmla="*/ 829132 h 4679355"/>
                <a:gd name="connsiteX546" fmla="*/ 824366 w 2034708"/>
                <a:gd name="connsiteY546" fmla="*/ 814837 h 4679355"/>
                <a:gd name="connsiteX547" fmla="*/ 829132 w 2034708"/>
                <a:gd name="connsiteY547" fmla="*/ 791011 h 4679355"/>
                <a:gd name="connsiteX548" fmla="*/ 814836 w 2034708"/>
                <a:gd name="connsiteY548" fmla="*/ 752890 h 4679355"/>
                <a:gd name="connsiteX549" fmla="*/ 805306 w 2034708"/>
                <a:gd name="connsiteY549" fmla="*/ 724299 h 4679355"/>
                <a:gd name="connsiteX550" fmla="*/ 781480 w 2034708"/>
                <a:gd name="connsiteY550" fmla="*/ 681413 h 4679355"/>
                <a:gd name="connsiteX551" fmla="*/ 791010 w 2034708"/>
                <a:gd name="connsiteY551" fmla="*/ 648057 h 4679355"/>
                <a:gd name="connsiteX552" fmla="*/ 810070 w 2034708"/>
                <a:gd name="connsiteY552" fmla="*/ 643292 h 4679355"/>
                <a:gd name="connsiteX553" fmla="*/ 833896 w 2034708"/>
                <a:gd name="connsiteY553" fmla="*/ 628997 h 4679355"/>
                <a:gd name="connsiteX554" fmla="*/ 848192 w 2034708"/>
                <a:gd name="connsiteY554" fmla="*/ 600406 h 4679355"/>
                <a:gd name="connsiteX555" fmla="*/ 852956 w 2034708"/>
                <a:gd name="connsiteY555" fmla="*/ 595641 h 4679355"/>
                <a:gd name="connsiteX556" fmla="*/ 881548 w 2034708"/>
                <a:gd name="connsiteY556" fmla="*/ 486043 h 4679355"/>
                <a:gd name="connsiteX557" fmla="*/ 943494 w 2034708"/>
                <a:gd name="connsiteY557" fmla="*/ 428861 h 4679355"/>
                <a:gd name="connsiteX558" fmla="*/ 967320 w 2034708"/>
                <a:gd name="connsiteY558" fmla="*/ 400271 h 4679355"/>
                <a:gd name="connsiteX559" fmla="*/ 1005440 w 2034708"/>
                <a:gd name="connsiteY559" fmla="*/ 424096 h 4679355"/>
                <a:gd name="connsiteX560" fmla="*/ 1057858 w 2034708"/>
                <a:gd name="connsiteY560" fmla="*/ 457452 h 4679355"/>
                <a:gd name="connsiteX561" fmla="*/ 1081682 w 2034708"/>
                <a:gd name="connsiteY561" fmla="*/ 405036 h 4679355"/>
                <a:gd name="connsiteX562" fmla="*/ 1091212 w 2034708"/>
                <a:gd name="connsiteY562" fmla="*/ 385975 h 4679355"/>
                <a:gd name="connsiteX563" fmla="*/ 1100744 w 2034708"/>
                <a:gd name="connsiteY563" fmla="*/ 357385 h 4679355"/>
                <a:gd name="connsiteX564" fmla="*/ 1095978 w 2034708"/>
                <a:gd name="connsiteY564" fmla="*/ 309733 h 4679355"/>
                <a:gd name="connsiteX565" fmla="*/ 1095978 w 2034708"/>
                <a:gd name="connsiteY565" fmla="*/ 247787 h 4679355"/>
                <a:gd name="connsiteX566" fmla="*/ 1095978 w 2034708"/>
                <a:gd name="connsiteY566" fmla="*/ 219196 h 4679355"/>
                <a:gd name="connsiteX567" fmla="*/ 1119804 w 2034708"/>
                <a:gd name="connsiteY567" fmla="*/ 209666 h 4679355"/>
                <a:gd name="connsiteX568" fmla="*/ 1134100 w 2034708"/>
                <a:gd name="connsiteY568" fmla="*/ 204900 h 4679355"/>
                <a:gd name="connsiteX569" fmla="*/ 1191280 w 2034708"/>
                <a:gd name="connsiteY569" fmla="*/ 233491 h 4679355"/>
                <a:gd name="connsiteX570" fmla="*/ 1210342 w 2034708"/>
                <a:gd name="connsiteY570" fmla="*/ 233491 h 4679355"/>
                <a:gd name="connsiteX571" fmla="*/ 1238932 w 2034708"/>
                <a:gd name="connsiteY571" fmla="*/ 238256 h 4679355"/>
                <a:gd name="connsiteX572" fmla="*/ 1267522 w 2034708"/>
                <a:gd name="connsiteY572" fmla="*/ 247787 h 4679355"/>
                <a:gd name="connsiteX573" fmla="*/ 1334234 w 2034708"/>
                <a:gd name="connsiteY573" fmla="*/ 276377 h 4679355"/>
                <a:gd name="connsiteX574" fmla="*/ 1362826 w 2034708"/>
                <a:gd name="connsiteY574" fmla="*/ 290673 h 4679355"/>
                <a:gd name="connsiteX575" fmla="*/ 1381886 w 2034708"/>
                <a:gd name="connsiteY575" fmla="*/ 295438 h 4679355"/>
                <a:gd name="connsiteX576" fmla="*/ 1391416 w 2034708"/>
                <a:gd name="connsiteY576" fmla="*/ 281142 h 4679355"/>
                <a:gd name="connsiteX577" fmla="*/ 1424772 w 2034708"/>
                <a:gd name="connsiteY577" fmla="*/ 243021 h 4679355"/>
                <a:gd name="connsiteX578" fmla="*/ 1381886 w 2034708"/>
                <a:gd name="connsiteY578" fmla="*/ 214431 h 4679355"/>
                <a:gd name="connsiteX579" fmla="*/ 1405712 w 2034708"/>
                <a:gd name="connsiteY579" fmla="*/ 185840 h 4679355"/>
                <a:gd name="connsiteX580" fmla="*/ 1424772 w 2034708"/>
                <a:gd name="connsiteY580" fmla="*/ 157249 h 4679355"/>
                <a:gd name="connsiteX581" fmla="*/ 1434302 w 2034708"/>
                <a:gd name="connsiteY581" fmla="*/ 123893 h 4679355"/>
                <a:gd name="connsiteX582" fmla="*/ 1439068 w 2034708"/>
                <a:gd name="connsiteY582" fmla="*/ 81007 h 4679355"/>
                <a:gd name="connsiteX583" fmla="*/ 1439068 w 2034708"/>
                <a:gd name="connsiteY583" fmla="*/ 61947 h 4679355"/>
                <a:gd name="connsiteX584" fmla="*/ 1429536 w 2034708"/>
                <a:gd name="connsiteY584" fmla="*/ 47651 h 4679355"/>
                <a:gd name="connsiteX585" fmla="*/ 1400946 w 2034708"/>
                <a:gd name="connsiteY585" fmla="*/ 9530 h 4679355"/>
                <a:gd name="connsiteX586" fmla="*/ 1462892 w 2034708"/>
                <a:gd name="connsiteY586" fmla="*/ 4765 h 4679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</a:cxnLst>
              <a:rect l="l" t="t" r="r" b="b"/>
              <a:pathLst>
                <a:path w="2034708" h="4679355">
                  <a:moveTo>
                    <a:pt x="919668" y="4112305"/>
                  </a:moveTo>
                  <a:lnTo>
                    <a:pt x="929198" y="4117070"/>
                  </a:lnTo>
                  <a:lnTo>
                    <a:pt x="933964" y="4121835"/>
                  </a:lnTo>
                  <a:lnTo>
                    <a:pt x="924434" y="4131365"/>
                  </a:lnTo>
                  <a:lnTo>
                    <a:pt x="924434" y="4145661"/>
                  </a:lnTo>
                  <a:lnTo>
                    <a:pt x="924434" y="4155191"/>
                  </a:lnTo>
                  <a:lnTo>
                    <a:pt x="895844" y="4217138"/>
                  </a:lnTo>
                  <a:lnTo>
                    <a:pt x="891078" y="4260024"/>
                  </a:lnTo>
                  <a:lnTo>
                    <a:pt x="881548" y="4269554"/>
                  </a:lnTo>
                  <a:lnTo>
                    <a:pt x="843426" y="4417273"/>
                  </a:lnTo>
                  <a:lnTo>
                    <a:pt x="833896" y="4431568"/>
                  </a:lnTo>
                  <a:lnTo>
                    <a:pt x="829132" y="4426803"/>
                  </a:lnTo>
                  <a:lnTo>
                    <a:pt x="824366" y="4407742"/>
                  </a:lnTo>
                  <a:lnTo>
                    <a:pt x="819600" y="4360091"/>
                  </a:lnTo>
                  <a:lnTo>
                    <a:pt x="824366" y="4336266"/>
                  </a:lnTo>
                  <a:lnTo>
                    <a:pt x="857722" y="4250493"/>
                  </a:lnTo>
                  <a:lnTo>
                    <a:pt x="872018" y="4240963"/>
                  </a:lnTo>
                  <a:lnTo>
                    <a:pt x="895844" y="4188547"/>
                  </a:lnTo>
                  <a:lnTo>
                    <a:pt x="900608" y="4164721"/>
                  </a:lnTo>
                  <a:lnTo>
                    <a:pt x="910138" y="4140896"/>
                  </a:lnTo>
                  <a:lnTo>
                    <a:pt x="914904" y="4121835"/>
                  </a:lnTo>
                  <a:close/>
                  <a:moveTo>
                    <a:pt x="1205576" y="3950290"/>
                  </a:moveTo>
                  <a:lnTo>
                    <a:pt x="1215104" y="3950290"/>
                  </a:lnTo>
                  <a:lnTo>
                    <a:pt x="1219872" y="3950290"/>
                  </a:lnTo>
                  <a:lnTo>
                    <a:pt x="1238932" y="3969351"/>
                  </a:lnTo>
                  <a:lnTo>
                    <a:pt x="1229400" y="3978881"/>
                  </a:lnTo>
                  <a:lnTo>
                    <a:pt x="1219872" y="3997941"/>
                  </a:lnTo>
                  <a:lnTo>
                    <a:pt x="1210340" y="4002706"/>
                  </a:lnTo>
                  <a:lnTo>
                    <a:pt x="1200812" y="4007472"/>
                  </a:lnTo>
                  <a:lnTo>
                    <a:pt x="1196044" y="4074183"/>
                  </a:lnTo>
                  <a:lnTo>
                    <a:pt x="1215104" y="4098009"/>
                  </a:lnTo>
                  <a:lnTo>
                    <a:pt x="1205576" y="4102774"/>
                  </a:lnTo>
                  <a:lnTo>
                    <a:pt x="1196044" y="4107539"/>
                  </a:lnTo>
                  <a:lnTo>
                    <a:pt x="1186516" y="4121835"/>
                  </a:lnTo>
                  <a:lnTo>
                    <a:pt x="1181748" y="4145660"/>
                  </a:lnTo>
                  <a:lnTo>
                    <a:pt x="1157924" y="4155191"/>
                  </a:lnTo>
                  <a:lnTo>
                    <a:pt x="1148392" y="4164721"/>
                  </a:lnTo>
                  <a:lnTo>
                    <a:pt x="1134100" y="4188547"/>
                  </a:lnTo>
                  <a:lnTo>
                    <a:pt x="1124568" y="4221903"/>
                  </a:lnTo>
                  <a:lnTo>
                    <a:pt x="1110272" y="4231433"/>
                  </a:lnTo>
                  <a:lnTo>
                    <a:pt x="1095976" y="4236198"/>
                  </a:lnTo>
                  <a:lnTo>
                    <a:pt x="1105508" y="4212372"/>
                  </a:lnTo>
                  <a:lnTo>
                    <a:pt x="1115036" y="4188547"/>
                  </a:lnTo>
                  <a:lnTo>
                    <a:pt x="1105508" y="4174251"/>
                  </a:lnTo>
                  <a:lnTo>
                    <a:pt x="1095976" y="4150426"/>
                  </a:lnTo>
                  <a:lnTo>
                    <a:pt x="1086448" y="4136130"/>
                  </a:lnTo>
                  <a:lnTo>
                    <a:pt x="1095976" y="4117070"/>
                  </a:lnTo>
                  <a:lnTo>
                    <a:pt x="1091212" y="4083714"/>
                  </a:lnTo>
                  <a:lnTo>
                    <a:pt x="1095976" y="4055123"/>
                  </a:lnTo>
                  <a:lnTo>
                    <a:pt x="1105508" y="4036062"/>
                  </a:lnTo>
                  <a:lnTo>
                    <a:pt x="1115036" y="4021767"/>
                  </a:lnTo>
                  <a:lnTo>
                    <a:pt x="1134100" y="3993176"/>
                  </a:lnTo>
                  <a:lnTo>
                    <a:pt x="1157924" y="3974116"/>
                  </a:lnTo>
                  <a:lnTo>
                    <a:pt x="1186516" y="3964585"/>
                  </a:lnTo>
                  <a:lnTo>
                    <a:pt x="1196044" y="3974116"/>
                  </a:lnTo>
                  <a:close/>
                  <a:moveTo>
                    <a:pt x="1248460" y="3926465"/>
                  </a:moveTo>
                  <a:lnTo>
                    <a:pt x="1272288" y="3931230"/>
                  </a:lnTo>
                  <a:lnTo>
                    <a:pt x="1281816" y="3935995"/>
                  </a:lnTo>
                  <a:lnTo>
                    <a:pt x="1253228" y="3945526"/>
                  </a:lnTo>
                  <a:lnTo>
                    <a:pt x="1248460" y="3964586"/>
                  </a:lnTo>
                  <a:lnTo>
                    <a:pt x="1243696" y="3964586"/>
                  </a:lnTo>
                  <a:lnTo>
                    <a:pt x="1234168" y="3950291"/>
                  </a:lnTo>
                  <a:close/>
                  <a:moveTo>
                    <a:pt x="1143630" y="3592906"/>
                  </a:moveTo>
                  <a:lnTo>
                    <a:pt x="1148396" y="3592906"/>
                  </a:lnTo>
                  <a:lnTo>
                    <a:pt x="1138864" y="3616732"/>
                  </a:lnTo>
                  <a:lnTo>
                    <a:pt x="1129334" y="3616732"/>
                  </a:lnTo>
                  <a:lnTo>
                    <a:pt x="1124568" y="3616732"/>
                  </a:lnTo>
                  <a:lnTo>
                    <a:pt x="1129334" y="3602436"/>
                  </a:lnTo>
                  <a:lnTo>
                    <a:pt x="1134100" y="3597671"/>
                  </a:lnTo>
                  <a:close/>
                  <a:moveTo>
                    <a:pt x="1167456" y="3454717"/>
                  </a:moveTo>
                  <a:lnTo>
                    <a:pt x="1181752" y="3459482"/>
                  </a:lnTo>
                  <a:lnTo>
                    <a:pt x="1181752" y="3464247"/>
                  </a:lnTo>
                  <a:lnTo>
                    <a:pt x="1172220" y="3473778"/>
                  </a:lnTo>
                  <a:lnTo>
                    <a:pt x="1167456" y="3478543"/>
                  </a:lnTo>
                  <a:lnTo>
                    <a:pt x="1162690" y="3488073"/>
                  </a:lnTo>
                  <a:lnTo>
                    <a:pt x="1157924" y="3478543"/>
                  </a:lnTo>
                  <a:lnTo>
                    <a:pt x="1157924" y="3473778"/>
                  </a:lnTo>
                  <a:lnTo>
                    <a:pt x="1162690" y="3464247"/>
                  </a:lnTo>
                  <a:close/>
                  <a:moveTo>
                    <a:pt x="1481954" y="0"/>
                  </a:moveTo>
                  <a:lnTo>
                    <a:pt x="1524840" y="23826"/>
                  </a:lnTo>
                  <a:lnTo>
                    <a:pt x="1524840" y="33356"/>
                  </a:lnTo>
                  <a:lnTo>
                    <a:pt x="1524840" y="42886"/>
                  </a:lnTo>
                  <a:lnTo>
                    <a:pt x="1529604" y="57182"/>
                  </a:lnTo>
                  <a:lnTo>
                    <a:pt x="1567726" y="90537"/>
                  </a:lnTo>
                  <a:lnTo>
                    <a:pt x="1582020" y="109598"/>
                  </a:lnTo>
                  <a:lnTo>
                    <a:pt x="1605846" y="138189"/>
                  </a:lnTo>
                  <a:lnTo>
                    <a:pt x="1615376" y="152484"/>
                  </a:lnTo>
                  <a:lnTo>
                    <a:pt x="1639202" y="166779"/>
                  </a:lnTo>
                  <a:lnTo>
                    <a:pt x="1653498" y="185840"/>
                  </a:lnTo>
                  <a:lnTo>
                    <a:pt x="1672558" y="200135"/>
                  </a:lnTo>
                  <a:lnTo>
                    <a:pt x="1696384" y="223961"/>
                  </a:lnTo>
                  <a:lnTo>
                    <a:pt x="1729740" y="243021"/>
                  </a:lnTo>
                  <a:lnTo>
                    <a:pt x="1753566" y="247787"/>
                  </a:lnTo>
                  <a:lnTo>
                    <a:pt x="1820278" y="281142"/>
                  </a:lnTo>
                  <a:lnTo>
                    <a:pt x="1829808" y="290673"/>
                  </a:lnTo>
                  <a:lnTo>
                    <a:pt x="1848868" y="309733"/>
                  </a:lnTo>
                  <a:lnTo>
                    <a:pt x="1867928" y="333559"/>
                  </a:lnTo>
                  <a:lnTo>
                    <a:pt x="1882224" y="385975"/>
                  </a:lnTo>
                  <a:lnTo>
                    <a:pt x="1901284" y="390740"/>
                  </a:lnTo>
                  <a:lnTo>
                    <a:pt x="1910814" y="405036"/>
                  </a:lnTo>
                  <a:lnTo>
                    <a:pt x="1925110" y="438392"/>
                  </a:lnTo>
                  <a:lnTo>
                    <a:pt x="1953700" y="462217"/>
                  </a:lnTo>
                  <a:lnTo>
                    <a:pt x="1953700" y="471748"/>
                  </a:lnTo>
                  <a:lnTo>
                    <a:pt x="1929876" y="495573"/>
                  </a:lnTo>
                  <a:lnTo>
                    <a:pt x="1929876" y="528929"/>
                  </a:lnTo>
                  <a:lnTo>
                    <a:pt x="1929876" y="571815"/>
                  </a:lnTo>
                  <a:lnTo>
                    <a:pt x="1939406" y="600406"/>
                  </a:lnTo>
                  <a:lnTo>
                    <a:pt x="1939406" y="614701"/>
                  </a:lnTo>
                  <a:lnTo>
                    <a:pt x="1934640" y="624232"/>
                  </a:lnTo>
                  <a:lnTo>
                    <a:pt x="1925110" y="643292"/>
                  </a:lnTo>
                  <a:lnTo>
                    <a:pt x="1925110" y="657588"/>
                  </a:lnTo>
                  <a:lnTo>
                    <a:pt x="1925110" y="667118"/>
                  </a:lnTo>
                  <a:lnTo>
                    <a:pt x="1925110" y="671883"/>
                  </a:lnTo>
                  <a:lnTo>
                    <a:pt x="1939406" y="671883"/>
                  </a:lnTo>
                  <a:lnTo>
                    <a:pt x="1958466" y="671883"/>
                  </a:lnTo>
                  <a:lnTo>
                    <a:pt x="1967996" y="681413"/>
                  </a:lnTo>
                  <a:lnTo>
                    <a:pt x="1972762" y="719534"/>
                  </a:lnTo>
                  <a:lnTo>
                    <a:pt x="1972762" y="729064"/>
                  </a:lnTo>
                  <a:lnTo>
                    <a:pt x="1953700" y="743360"/>
                  </a:lnTo>
                  <a:lnTo>
                    <a:pt x="1953700" y="757655"/>
                  </a:lnTo>
                  <a:lnTo>
                    <a:pt x="1948936" y="776716"/>
                  </a:lnTo>
                  <a:lnTo>
                    <a:pt x="1953700" y="800541"/>
                  </a:lnTo>
                  <a:lnTo>
                    <a:pt x="1958466" y="824367"/>
                  </a:lnTo>
                  <a:lnTo>
                    <a:pt x="1972762" y="852958"/>
                  </a:lnTo>
                  <a:lnTo>
                    <a:pt x="1991822" y="876783"/>
                  </a:lnTo>
                  <a:lnTo>
                    <a:pt x="2001352" y="900609"/>
                  </a:lnTo>
                  <a:lnTo>
                    <a:pt x="2006118" y="914904"/>
                  </a:lnTo>
                  <a:lnTo>
                    <a:pt x="2006118" y="929200"/>
                  </a:lnTo>
                  <a:lnTo>
                    <a:pt x="2001352" y="943495"/>
                  </a:lnTo>
                  <a:lnTo>
                    <a:pt x="1991822" y="967321"/>
                  </a:lnTo>
                  <a:lnTo>
                    <a:pt x="1991822" y="1000677"/>
                  </a:lnTo>
                  <a:lnTo>
                    <a:pt x="1987056" y="1019737"/>
                  </a:lnTo>
                  <a:lnTo>
                    <a:pt x="1972762" y="1048328"/>
                  </a:lnTo>
                  <a:lnTo>
                    <a:pt x="1963232" y="1057858"/>
                  </a:lnTo>
                  <a:lnTo>
                    <a:pt x="1958466" y="1072154"/>
                  </a:lnTo>
                  <a:lnTo>
                    <a:pt x="1958466" y="1095979"/>
                  </a:lnTo>
                  <a:lnTo>
                    <a:pt x="1963232" y="1124570"/>
                  </a:lnTo>
                  <a:lnTo>
                    <a:pt x="1963232" y="1143630"/>
                  </a:lnTo>
                  <a:lnTo>
                    <a:pt x="1967996" y="1162691"/>
                  </a:lnTo>
                  <a:lnTo>
                    <a:pt x="1972762" y="1167456"/>
                  </a:lnTo>
                  <a:lnTo>
                    <a:pt x="1996588" y="1186517"/>
                  </a:lnTo>
                  <a:lnTo>
                    <a:pt x="2010882" y="1219873"/>
                  </a:lnTo>
                  <a:lnTo>
                    <a:pt x="2015648" y="1248463"/>
                  </a:lnTo>
                  <a:lnTo>
                    <a:pt x="2034708" y="1319940"/>
                  </a:lnTo>
                  <a:lnTo>
                    <a:pt x="1991822" y="1324705"/>
                  </a:lnTo>
                  <a:lnTo>
                    <a:pt x="1963232" y="1310410"/>
                  </a:lnTo>
                  <a:lnTo>
                    <a:pt x="1944170" y="1319940"/>
                  </a:lnTo>
                  <a:lnTo>
                    <a:pt x="1920344" y="1319940"/>
                  </a:lnTo>
                  <a:lnTo>
                    <a:pt x="1886990" y="1324705"/>
                  </a:lnTo>
                  <a:lnTo>
                    <a:pt x="1877458" y="1339001"/>
                  </a:lnTo>
                  <a:lnTo>
                    <a:pt x="1867928" y="1343766"/>
                  </a:lnTo>
                  <a:lnTo>
                    <a:pt x="1839338" y="1324705"/>
                  </a:lnTo>
                  <a:lnTo>
                    <a:pt x="1815512" y="1291350"/>
                  </a:lnTo>
                  <a:lnTo>
                    <a:pt x="1796452" y="1319940"/>
                  </a:lnTo>
                  <a:lnTo>
                    <a:pt x="1782156" y="1319940"/>
                  </a:lnTo>
                  <a:lnTo>
                    <a:pt x="1767860" y="1300880"/>
                  </a:lnTo>
                  <a:lnTo>
                    <a:pt x="1758330" y="1296115"/>
                  </a:lnTo>
                  <a:lnTo>
                    <a:pt x="1753566" y="1305645"/>
                  </a:lnTo>
                  <a:lnTo>
                    <a:pt x="1748800" y="1324705"/>
                  </a:lnTo>
                  <a:lnTo>
                    <a:pt x="1744036" y="1339001"/>
                  </a:lnTo>
                  <a:lnTo>
                    <a:pt x="1739270" y="1348531"/>
                  </a:lnTo>
                  <a:lnTo>
                    <a:pt x="1739270" y="1386652"/>
                  </a:lnTo>
                  <a:lnTo>
                    <a:pt x="1739270" y="1396182"/>
                  </a:lnTo>
                  <a:lnTo>
                    <a:pt x="1710680" y="1391417"/>
                  </a:lnTo>
                  <a:lnTo>
                    <a:pt x="1710680" y="1400947"/>
                  </a:lnTo>
                  <a:lnTo>
                    <a:pt x="1720210" y="1405712"/>
                  </a:lnTo>
                  <a:lnTo>
                    <a:pt x="1720210" y="1415243"/>
                  </a:lnTo>
                  <a:lnTo>
                    <a:pt x="1710680" y="1424773"/>
                  </a:lnTo>
                  <a:lnTo>
                    <a:pt x="1686854" y="1420008"/>
                  </a:lnTo>
                  <a:lnTo>
                    <a:pt x="1682088" y="1429538"/>
                  </a:lnTo>
                  <a:lnTo>
                    <a:pt x="1686854" y="1443834"/>
                  </a:lnTo>
                  <a:lnTo>
                    <a:pt x="1682088" y="1458129"/>
                  </a:lnTo>
                  <a:lnTo>
                    <a:pt x="1677324" y="1462894"/>
                  </a:lnTo>
                  <a:lnTo>
                    <a:pt x="1648732" y="1472424"/>
                  </a:lnTo>
                  <a:lnTo>
                    <a:pt x="1629672" y="1467659"/>
                  </a:lnTo>
                  <a:lnTo>
                    <a:pt x="1624908" y="1477190"/>
                  </a:lnTo>
                  <a:lnTo>
                    <a:pt x="1624908" y="1486720"/>
                  </a:lnTo>
                  <a:lnTo>
                    <a:pt x="1624908" y="1496250"/>
                  </a:lnTo>
                  <a:lnTo>
                    <a:pt x="1634438" y="1501015"/>
                  </a:lnTo>
                  <a:lnTo>
                    <a:pt x="1639202" y="1510545"/>
                  </a:lnTo>
                  <a:lnTo>
                    <a:pt x="1634438" y="1524841"/>
                  </a:lnTo>
                  <a:lnTo>
                    <a:pt x="1629672" y="1524841"/>
                  </a:lnTo>
                  <a:lnTo>
                    <a:pt x="1610612" y="1501015"/>
                  </a:lnTo>
                  <a:lnTo>
                    <a:pt x="1605846" y="1501015"/>
                  </a:lnTo>
                  <a:lnTo>
                    <a:pt x="1610612" y="1515310"/>
                  </a:lnTo>
                  <a:lnTo>
                    <a:pt x="1620142" y="1529606"/>
                  </a:lnTo>
                  <a:lnTo>
                    <a:pt x="1624908" y="1543901"/>
                  </a:lnTo>
                  <a:lnTo>
                    <a:pt x="1629672" y="1558197"/>
                  </a:lnTo>
                  <a:lnTo>
                    <a:pt x="1629672" y="1572492"/>
                  </a:lnTo>
                  <a:lnTo>
                    <a:pt x="1605846" y="1615378"/>
                  </a:lnTo>
                  <a:lnTo>
                    <a:pt x="1586786" y="1643969"/>
                  </a:lnTo>
                  <a:lnTo>
                    <a:pt x="1572490" y="1667794"/>
                  </a:lnTo>
                  <a:lnTo>
                    <a:pt x="1562960" y="1691620"/>
                  </a:lnTo>
                  <a:lnTo>
                    <a:pt x="1572490" y="1701150"/>
                  </a:lnTo>
                  <a:lnTo>
                    <a:pt x="1586786" y="1720211"/>
                  </a:lnTo>
                  <a:lnTo>
                    <a:pt x="1591552" y="1758332"/>
                  </a:lnTo>
                  <a:lnTo>
                    <a:pt x="1601082" y="1786923"/>
                  </a:lnTo>
                  <a:lnTo>
                    <a:pt x="1620142" y="1815514"/>
                  </a:lnTo>
                  <a:lnTo>
                    <a:pt x="1620142" y="1834574"/>
                  </a:lnTo>
                  <a:lnTo>
                    <a:pt x="1615376" y="1848869"/>
                  </a:lnTo>
                  <a:lnTo>
                    <a:pt x="1582020" y="1877460"/>
                  </a:lnTo>
                  <a:lnTo>
                    <a:pt x="1543900" y="1920346"/>
                  </a:lnTo>
                  <a:lnTo>
                    <a:pt x="1505780" y="2029944"/>
                  </a:lnTo>
                  <a:lnTo>
                    <a:pt x="1491484" y="2044240"/>
                  </a:lnTo>
                  <a:lnTo>
                    <a:pt x="1453362" y="2063300"/>
                  </a:lnTo>
                  <a:lnTo>
                    <a:pt x="1443832" y="2082361"/>
                  </a:lnTo>
                  <a:lnTo>
                    <a:pt x="1415242" y="2101421"/>
                  </a:lnTo>
                  <a:lnTo>
                    <a:pt x="1372356" y="2120482"/>
                  </a:lnTo>
                  <a:lnTo>
                    <a:pt x="1348530" y="2144307"/>
                  </a:lnTo>
                  <a:lnTo>
                    <a:pt x="1343764" y="2172898"/>
                  </a:lnTo>
                  <a:lnTo>
                    <a:pt x="1329470" y="2172898"/>
                  </a:lnTo>
                  <a:lnTo>
                    <a:pt x="1319940" y="2163368"/>
                  </a:lnTo>
                  <a:lnTo>
                    <a:pt x="1305644" y="2158603"/>
                  </a:lnTo>
                  <a:lnTo>
                    <a:pt x="1305644" y="2172898"/>
                  </a:lnTo>
                  <a:lnTo>
                    <a:pt x="1305644" y="2187194"/>
                  </a:lnTo>
                  <a:lnTo>
                    <a:pt x="1281818" y="2168133"/>
                  </a:lnTo>
                  <a:lnTo>
                    <a:pt x="1272288" y="2182428"/>
                  </a:lnTo>
                  <a:lnTo>
                    <a:pt x="1267522" y="2211019"/>
                  </a:lnTo>
                  <a:lnTo>
                    <a:pt x="1234166" y="2249140"/>
                  </a:lnTo>
                  <a:lnTo>
                    <a:pt x="1200810" y="2244375"/>
                  </a:lnTo>
                  <a:lnTo>
                    <a:pt x="1196046" y="2249140"/>
                  </a:lnTo>
                  <a:lnTo>
                    <a:pt x="1205576" y="2253905"/>
                  </a:lnTo>
                  <a:lnTo>
                    <a:pt x="1205576" y="2263436"/>
                  </a:lnTo>
                  <a:lnTo>
                    <a:pt x="1200810" y="2263436"/>
                  </a:lnTo>
                  <a:lnTo>
                    <a:pt x="1191280" y="2263436"/>
                  </a:lnTo>
                  <a:lnTo>
                    <a:pt x="1176986" y="2272966"/>
                  </a:lnTo>
                  <a:lnTo>
                    <a:pt x="1167456" y="2272966"/>
                  </a:lnTo>
                  <a:lnTo>
                    <a:pt x="1162690" y="2292026"/>
                  </a:lnTo>
                  <a:lnTo>
                    <a:pt x="1153160" y="2311087"/>
                  </a:lnTo>
                  <a:lnTo>
                    <a:pt x="1134100" y="2320617"/>
                  </a:lnTo>
                  <a:lnTo>
                    <a:pt x="1124568" y="2320617"/>
                  </a:lnTo>
                  <a:lnTo>
                    <a:pt x="1119804" y="2334912"/>
                  </a:lnTo>
                  <a:lnTo>
                    <a:pt x="1153160" y="2334912"/>
                  </a:lnTo>
                  <a:lnTo>
                    <a:pt x="1148394" y="2349208"/>
                  </a:lnTo>
                  <a:lnTo>
                    <a:pt x="1148394" y="2358738"/>
                  </a:lnTo>
                  <a:lnTo>
                    <a:pt x="1143630" y="2368268"/>
                  </a:lnTo>
                  <a:lnTo>
                    <a:pt x="1110274" y="2387329"/>
                  </a:lnTo>
                  <a:lnTo>
                    <a:pt x="1105508" y="2396859"/>
                  </a:lnTo>
                  <a:lnTo>
                    <a:pt x="1100744" y="2406389"/>
                  </a:lnTo>
                  <a:lnTo>
                    <a:pt x="1081682" y="2406389"/>
                  </a:lnTo>
                  <a:lnTo>
                    <a:pt x="1086448" y="2396859"/>
                  </a:lnTo>
                  <a:lnTo>
                    <a:pt x="1086448" y="2387329"/>
                  </a:lnTo>
                  <a:lnTo>
                    <a:pt x="1062622" y="2392094"/>
                  </a:lnTo>
                  <a:lnTo>
                    <a:pt x="1057858" y="2373034"/>
                  </a:lnTo>
                  <a:lnTo>
                    <a:pt x="1053092" y="2377798"/>
                  </a:lnTo>
                  <a:lnTo>
                    <a:pt x="1057858" y="2392094"/>
                  </a:lnTo>
                  <a:lnTo>
                    <a:pt x="1062622" y="2406389"/>
                  </a:lnTo>
                  <a:lnTo>
                    <a:pt x="1067388" y="2430215"/>
                  </a:lnTo>
                  <a:lnTo>
                    <a:pt x="1062622" y="2444510"/>
                  </a:lnTo>
                  <a:lnTo>
                    <a:pt x="1057858" y="2449276"/>
                  </a:lnTo>
                  <a:lnTo>
                    <a:pt x="1062622" y="2454040"/>
                  </a:lnTo>
                  <a:lnTo>
                    <a:pt x="1072152" y="2458806"/>
                  </a:lnTo>
                  <a:lnTo>
                    <a:pt x="1076918" y="2468336"/>
                  </a:lnTo>
                  <a:lnTo>
                    <a:pt x="1062622" y="2477866"/>
                  </a:lnTo>
                  <a:lnTo>
                    <a:pt x="1048326" y="2501692"/>
                  </a:lnTo>
                  <a:lnTo>
                    <a:pt x="1029266" y="2501692"/>
                  </a:lnTo>
                  <a:lnTo>
                    <a:pt x="1014970" y="2520752"/>
                  </a:lnTo>
                  <a:lnTo>
                    <a:pt x="1005440" y="2520752"/>
                  </a:lnTo>
                  <a:lnTo>
                    <a:pt x="995910" y="2511222"/>
                  </a:lnTo>
                  <a:lnTo>
                    <a:pt x="981616" y="2501692"/>
                  </a:lnTo>
                  <a:lnTo>
                    <a:pt x="976850" y="2515987"/>
                  </a:lnTo>
                  <a:lnTo>
                    <a:pt x="976850" y="2530282"/>
                  </a:lnTo>
                  <a:lnTo>
                    <a:pt x="981616" y="2558873"/>
                  </a:lnTo>
                  <a:lnTo>
                    <a:pt x="1000676" y="2582699"/>
                  </a:lnTo>
                  <a:lnTo>
                    <a:pt x="1014970" y="2592229"/>
                  </a:lnTo>
                  <a:lnTo>
                    <a:pt x="1005440" y="2601760"/>
                  </a:lnTo>
                  <a:lnTo>
                    <a:pt x="995910" y="2616055"/>
                  </a:lnTo>
                  <a:lnTo>
                    <a:pt x="986380" y="2663706"/>
                  </a:lnTo>
                  <a:lnTo>
                    <a:pt x="981616" y="2682767"/>
                  </a:lnTo>
                  <a:lnTo>
                    <a:pt x="976850" y="2716122"/>
                  </a:lnTo>
                  <a:lnTo>
                    <a:pt x="976850" y="2744713"/>
                  </a:lnTo>
                  <a:lnTo>
                    <a:pt x="981616" y="2759009"/>
                  </a:lnTo>
                  <a:lnTo>
                    <a:pt x="991146" y="2778069"/>
                  </a:lnTo>
                  <a:lnTo>
                    <a:pt x="967320" y="2773304"/>
                  </a:lnTo>
                  <a:lnTo>
                    <a:pt x="948260" y="2763774"/>
                  </a:lnTo>
                  <a:lnTo>
                    <a:pt x="948260" y="2782834"/>
                  </a:lnTo>
                  <a:lnTo>
                    <a:pt x="938728" y="2811425"/>
                  </a:lnTo>
                  <a:lnTo>
                    <a:pt x="938728" y="2835251"/>
                  </a:lnTo>
                  <a:lnTo>
                    <a:pt x="943494" y="2849546"/>
                  </a:lnTo>
                  <a:lnTo>
                    <a:pt x="938728" y="2873372"/>
                  </a:lnTo>
                  <a:lnTo>
                    <a:pt x="943494" y="2882902"/>
                  </a:lnTo>
                  <a:lnTo>
                    <a:pt x="948260" y="2897198"/>
                  </a:lnTo>
                  <a:lnTo>
                    <a:pt x="943494" y="2906728"/>
                  </a:lnTo>
                  <a:lnTo>
                    <a:pt x="943494" y="2916258"/>
                  </a:lnTo>
                  <a:lnTo>
                    <a:pt x="943494" y="2949614"/>
                  </a:lnTo>
                  <a:lnTo>
                    <a:pt x="948260" y="3002030"/>
                  </a:lnTo>
                  <a:lnTo>
                    <a:pt x="948260" y="3016326"/>
                  </a:lnTo>
                  <a:lnTo>
                    <a:pt x="957790" y="3059212"/>
                  </a:lnTo>
                  <a:lnTo>
                    <a:pt x="957790" y="3073507"/>
                  </a:lnTo>
                  <a:lnTo>
                    <a:pt x="957790" y="3092568"/>
                  </a:lnTo>
                  <a:lnTo>
                    <a:pt x="972084" y="3116393"/>
                  </a:lnTo>
                  <a:lnTo>
                    <a:pt x="986380" y="3111628"/>
                  </a:lnTo>
                  <a:lnTo>
                    <a:pt x="1000676" y="3111628"/>
                  </a:lnTo>
                  <a:lnTo>
                    <a:pt x="1010206" y="3116393"/>
                  </a:lnTo>
                  <a:lnTo>
                    <a:pt x="1014970" y="3130689"/>
                  </a:lnTo>
                  <a:lnTo>
                    <a:pt x="1019736" y="3149749"/>
                  </a:lnTo>
                  <a:lnTo>
                    <a:pt x="1034032" y="3144984"/>
                  </a:lnTo>
                  <a:lnTo>
                    <a:pt x="1053092" y="3135454"/>
                  </a:lnTo>
                  <a:lnTo>
                    <a:pt x="1067388" y="3130689"/>
                  </a:lnTo>
                  <a:lnTo>
                    <a:pt x="1072152" y="3154514"/>
                  </a:lnTo>
                  <a:lnTo>
                    <a:pt x="1095978" y="3187870"/>
                  </a:lnTo>
                  <a:lnTo>
                    <a:pt x="1110274" y="3202166"/>
                  </a:lnTo>
                  <a:lnTo>
                    <a:pt x="1134100" y="3211696"/>
                  </a:lnTo>
                  <a:lnTo>
                    <a:pt x="1157924" y="3235522"/>
                  </a:lnTo>
                  <a:lnTo>
                    <a:pt x="1157924" y="3268877"/>
                  </a:lnTo>
                  <a:lnTo>
                    <a:pt x="1167456" y="3278408"/>
                  </a:lnTo>
                  <a:lnTo>
                    <a:pt x="1196046" y="3292703"/>
                  </a:lnTo>
                  <a:lnTo>
                    <a:pt x="1205576" y="3306998"/>
                  </a:lnTo>
                  <a:lnTo>
                    <a:pt x="1210342" y="3321294"/>
                  </a:lnTo>
                  <a:lnTo>
                    <a:pt x="1219872" y="3335589"/>
                  </a:lnTo>
                  <a:lnTo>
                    <a:pt x="1229402" y="3368945"/>
                  </a:lnTo>
                  <a:lnTo>
                    <a:pt x="1224636" y="3392771"/>
                  </a:lnTo>
                  <a:lnTo>
                    <a:pt x="1210342" y="3397536"/>
                  </a:lnTo>
                  <a:lnTo>
                    <a:pt x="1186516" y="3421362"/>
                  </a:lnTo>
                  <a:lnTo>
                    <a:pt x="1172220" y="3440422"/>
                  </a:lnTo>
                  <a:lnTo>
                    <a:pt x="1162690" y="3449952"/>
                  </a:lnTo>
                  <a:lnTo>
                    <a:pt x="1134100" y="3473778"/>
                  </a:lnTo>
                  <a:lnTo>
                    <a:pt x="1124568" y="3478543"/>
                  </a:lnTo>
                  <a:lnTo>
                    <a:pt x="1115038" y="3488073"/>
                  </a:lnTo>
                  <a:lnTo>
                    <a:pt x="1105508" y="3497604"/>
                  </a:lnTo>
                  <a:lnTo>
                    <a:pt x="1095978" y="3492838"/>
                  </a:lnTo>
                  <a:lnTo>
                    <a:pt x="1067388" y="3511899"/>
                  </a:lnTo>
                  <a:lnTo>
                    <a:pt x="1067388" y="3521429"/>
                  </a:lnTo>
                  <a:lnTo>
                    <a:pt x="1091212" y="3526194"/>
                  </a:lnTo>
                  <a:lnTo>
                    <a:pt x="1105508" y="3521429"/>
                  </a:lnTo>
                  <a:lnTo>
                    <a:pt x="1115038" y="3511899"/>
                  </a:lnTo>
                  <a:lnTo>
                    <a:pt x="1124568" y="3507134"/>
                  </a:lnTo>
                  <a:lnTo>
                    <a:pt x="1134100" y="3511899"/>
                  </a:lnTo>
                  <a:lnTo>
                    <a:pt x="1143630" y="3502368"/>
                  </a:lnTo>
                  <a:lnTo>
                    <a:pt x="1153160" y="3497604"/>
                  </a:lnTo>
                  <a:lnTo>
                    <a:pt x="1157924" y="3502368"/>
                  </a:lnTo>
                  <a:lnTo>
                    <a:pt x="1167456" y="3526194"/>
                  </a:lnTo>
                  <a:lnTo>
                    <a:pt x="1148394" y="3535724"/>
                  </a:lnTo>
                  <a:lnTo>
                    <a:pt x="1138864" y="3535724"/>
                  </a:lnTo>
                  <a:lnTo>
                    <a:pt x="1129334" y="3569080"/>
                  </a:lnTo>
                  <a:lnTo>
                    <a:pt x="1124568" y="3583376"/>
                  </a:lnTo>
                  <a:lnTo>
                    <a:pt x="1115038" y="3592906"/>
                  </a:lnTo>
                  <a:lnTo>
                    <a:pt x="1086448" y="3607201"/>
                  </a:lnTo>
                  <a:lnTo>
                    <a:pt x="1067388" y="3621497"/>
                  </a:lnTo>
                  <a:lnTo>
                    <a:pt x="1043562" y="3635792"/>
                  </a:lnTo>
                  <a:lnTo>
                    <a:pt x="1034032" y="3635792"/>
                  </a:lnTo>
                  <a:lnTo>
                    <a:pt x="1019736" y="3650088"/>
                  </a:lnTo>
                  <a:lnTo>
                    <a:pt x="986380" y="3664383"/>
                  </a:lnTo>
                  <a:lnTo>
                    <a:pt x="972084" y="3688208"/>
                  </a:lnTo>
                  <a:lnTo>
                    <a:pt x="933964" y="3712034"/>
                  </a:lnTo>
                  <a:lnTo>
                    <a:pt x="914904" y="3726330"/>
                  </a:lnTo>
                  <a:lnTo>
                    <a:pt x="857722" y="3731095"/>
                  </a:lnTo>
                  <a:lnTo>
                    <a:pt x="810070" y="3726330"/>
                  </a:lnTo>
                  <a:lnTo>
                    <a:pt x="795776" y="3731095"/>
                  </a:lnTo>
                  <a:lnTo>
                    <a:pt x="810070" y="3735860"/>
                  </a:lnTo>
                  <a:lnTo>
                    <a:pt x="819600" y="3745390"/>
                  </a:lnTo>
                  <a:lnTo>
                    <a:pt x="833896" y="3740625"/>
                  </a:lnTo>
                  <a:lnTo>
                    <a:pt x="867252" y="3745390"/>
                  </a:lnTo>
                  <a:lnTo>
                    <a:pt x="881548" y="3750155"/>
                  </a:lnTo>
                  <a:lnTo>
                    <a:pt x="905372" y="3778746"/>
                  </a:lnTo>
                  <a:lnTo>
                    <a:pt x="886312" y="3788276"/>
                  </a:lnTo>
                  <a:lnTo>
                    <a:pt x="862486" y="3793041"/>
                  </a:lnTo>
                  <a:lnTo>
                    <a:pt x="872018" y="3831162"/>
                  </a:lnTo>
                  <a:lnTo>
                    <a:pt x="881548" y="3859753"/>
                  </a:lnTo>
                  <a:lnTo>
                    <a:pt x="867252" y="3874048"/>
                  </a:lnTo>
                  <a:lnTo>
                    <a:pt x="867252" y="3945526"/>
                  </a:lnTo>
                  <a:lnTo>
                    <a:pt x="852956" y="3950290"/>
                  </a:lnTo>
                  <a:lnTo>
                    <a:pt x="848192" y="3978881"/>
                  </a:lnTo>
                  <a:lnTo>
                    <a:pt x="852956" y="3993177"/>
                  </a:lnTo>
                  <a:lnTo>
                    <a:pt x="852956" y="4026532"/>
                  </a:lnTo>
                  <a:lnTo>
                    <a:pt x="852956" y="4050358"/>
                  </a:lnTo>
                  <a:lnTo>
                    <a:pt x="862486" y="4069419"/>
                  </a:lnTo>
                  <a:lnTo>
                    <a:pt x="857722" y="4088479"/>
                  </a:lnTo>
                  <a:lnTo>
                    <a:pt x="833896" y="4136130"/>
                  </a:lnTo>
                  <a:lnTo>
                    <a:pt x="833896" y="4159956"/>
                  </a:lnTo>
                  <a:lnTo>
                    <a:pt x="838662" y="4174252"/>
                  </a:lnTo>
                  <a:lnTo>
                    <a:pt x="843426" y="4193312"/>
                  </a:lnTo>
                  <a:lnTo>
                    <a:pt x="833896" y="4236198"/>
                  </a:lnTo>
                  <a:lnTo>
                    <a:pt x="824366" y="4269554"/>
                  </a:lnTo>
                  <a:lnTo>
                    <a:pt x="814836" y="4298145"/>
                  </a:lnTo>
                  <a:lnTo>
                    <a:pt x="795776" y="4331500"/>
                  </a:lnTo>
                  <a:lnTo>
                    <a:pt x="781480" y="4355326"/>
                  </a:lnTo>
                  <a:lnTo>
                    <a:pt x="757654" y="4436334"/>
                  </a:lnTo>
                  <a:lnTo>
                    <a:pt x="748124" y="4450629"/>
                  </a:lnTo>
                  <a:lnTo>
                    <a:pt x="733828" y="4460159"/>
                  </a:lnTo>
                  <a:lnTo>
                    <a:pt x="714768" y="4450629"/>
                  </a:lnTo>
                  <a:lnTo>
                    <a:pt x="700472" y="4445864"/>
                  </a:lnTo>
                  <a:lnTo>
                    <a:pt x="681412" y="4445864"/>
                  </a:lnTo>
                  <a:lnTo>
                    <a:pt x="652822" y="4455394"/>
                  </a:lnTo>
                  <a:lnTo>
                    <a:pt x="609936" y="4450629"/>
                  </a:lnTo>
                  <a:lnTo>
                    <a:pt x="571814" y="4450629"/>
                  </a:lnTo>
                  <a:lnTo>
                    <a:pt x="557518" y="4460159"/>
                  </a:lnTo>
                  <a:lnTo>
                    <a:pt x="567050" y="4488750"/>
                  </a:lnTo>
                  <a:lnTo>
                    <a:pt x="547988" y="4488750"/>
                  </a:lnTo>
                  <a:lnTo>
                    <a:pt x="533694" y="4483985"/>
                  </a:lnTo>
                  <a:lnTo>
                    <a:pt x="524162" y="4493515"/>
                  </a:lnTo>
                  <a:lnTo>
                    <a:pt x="509868" y="4503046"/>
                  </a:lnTo>
                  <a:lnTo>
                    <a:pt x="490808" y="4526871"/>
                  </a:lnTo>
                  <a:lnTo>
                    <a:pt x="481276" y="4541166"/>
                  </a:lnTo>
                  <a:lnTo>
                    <a:pt x="481276" y="4569757"/>
                  </a:lnTo>
                  <a:lnTo>
                    <a:pt x="490808" y="4598348"/>
                  </a:lnTo>
                  <a:lnTo>
                    <a:pt x="500338" y="4626938"/>
                  </a:lnTo>
                  <a:lnTo>
                    <a:pt x="476512" y="4665060"/>
                  </a:lnTo>
                  <a:lnTo>
                    <a:pt x="462216" y="4665060"/>
                  </a:lnTo>
                  <a:lnTo>
                    <a:pt x="419330" y="4655530"/>
                  </a:lnTo>
                  <a:lnTo>
                    <a:pt x="343088" y="4679355"/>
                  </a:lnTo>
                  <a:lnTo>
                    <a:pt x="271612" y="4660294"/>
                  </a:lnTo>
                  <a:lnTo>
                    <a:pt x="281142" y="4641234"/>
                  </a:lnTo>
                  <a:lnTo>
                    <a:pt x="281142" y="4626938"/>
                  </a:lnTo>
                  <a:lnTo>
                    <a:pt x="285906" y="4603113"/>
                  </a:lnTo>
                  <a:lnTo>
                    <a:pt x="285906" y="4584052"/>
                  </a:lnTo>
                  <a:lnTo>
                    <a:pt x="285906" y="4564992"/>
                  </a:lnTo>
                  <a:lnTo>
                    <a:pt x="281142" y="4550696"/>
                  </a:lnTo>
                  <a:lnTo>
                    <a:pt x="266846" y="4531636"/>
                  </a:lnTo>
                  <a:lnTo>
                    <a:pt x="228726" y="4460159"/>
                  </a:lnTo>
                  <a:lnTo>
                    <a:pt x="214430" y="4426804"/>
                  </a:lnTo>
                  <a:lnTo>
                    <a:pt x="209664" y="4417273"/>
                  </a:lnTo>
                  <a:lnTo>
                    <a:pt x="214430" y="4412508"/>
                  </a:lnTo>
                  <a:lnTo>
                    <a:pt x="247786" y="4431568"/>
                  </a:lnTo>
                  <a:lnTo>
                    <a:pt x="252550" y="4426804"/>
                  </a:lnTo>
                  <a:lnTo>
                    <a:pt x="262080" y="4422038"/>
                  </a:lnTo>
                  <a:lnTo>
                    <a:pt x="252550" y="4398212"/>
                  </a:lnTo>
                  <a:lnTo>
                    <a:pt x="243020" y="4388682"/>
                  </a:lnTo>
                  <a:lnTo>
                    <a:pt x="238256" y="4374387"/>
                  </a:lnTo>
                  <a:lnTo>
                    <a:pt x="257316" y="4369622"/>
                  </a:lnTo>
                  <a:lnTo>
                    <a:pt x="271612" y="4369622"/>
                  </a:lnTo>
                  <a:lnTo>
                    <a:pt x="281142" y="4350561"/>
                  </a:lnTo>
                  <a:lnTo>
                    <a:pt x="271612" y="4321970"/>
                  </a:lnTo>
                  <a:lnTo>
                    <a:pt x="257316" y="4312440"/>
                  </a:lnTo>
                  <a:lnTo>
                    <a:pt x="247786" y="4307675"/>
                  </a:lnTo>
                  <a:lnTo>
                    <a:pt x="223960" y="4264789"/>
                  </a:lnTo>
                  <a:lnTo>
                    <a:pt x="200134" y="4240964"/>
                  </a:lnTo>
                  <a:lnTo>
                    <a:pt x="157248" y="4150426"/>
                  </a:lnTo>
                  <a:lnTo>
                    <a:pt x="142952" y="4083714"/>
                  </a:lnTo>
                  <a:lnTo>
                    <a:pt x="128658" y="4088479"/>
                  </a:lnTo>
                  <a:lnTo>
                    <a:pt x="123892" y="4064654"/>
                  </a:lnTo>
                  <a:lnTo>
                    <a:pt x="119128" y="4036063"/>
                  </a:lnTo>
                  <a:lnTo>
                    <a:pt x="114362" y="4017002"/>
                  </a:lnTo>
                  <a:lnTo>
                    <a:pt x="95302" y="4007472"/>
                  </a:lnTo>
                  <a:lnTo>
                    <a:pt x="95302" y="3993177"/>
                  </a:lnTo>
                  <a:lnTo>
                    <a:pt x="90536" y="3931230"/>
                  </a:lnTo>
                  <a:lnTo>
                    <a:pt x="66710" y="3921700"/>
                  </a:lnTo>
                  <a:lnTo>
                    <a:pt x="47650" y="3888344"/>
                  </a:lnTo>
                  <a:lnTo>
                    <a:pt x="47650" y="3821632"/>
                  </a:lnTo>
                  <a:lnTo>
                    <a:pt x="33354" y="3812102"/>
                  </a:lnTo>
                  <a:lnTo>
                    <a:pt x="19060" y="3812102"/>
                  </a:lnTo>
                  <a:lnTo>
                    <a:pt x="19060" y="3797806"/>
                  </a:lnTo>
                  <a:lnTo>
                    <a:pt x="23824" y="3783511"/>
                  </a:lnTo>
                  <a:lnTo>
                    <a:pt x="14294" y="3721564"/>
                  </a:lnTo>
                  <a:lnTo>
                    <a:pt x="9530" y="3664383"/>
                  </a:lnTo>
                  <a:lnTo>
                    <a:pt x="4764" y="3645322"/>
                  </a:lnTo>
                  <a:lnTo>
                    <a:pt x="0" y="3626262"/>
                  </a:lnTo>
                  <a:lnTo>
                    <a:pt x="4764" y="3611966"/>
                  </a:lnTo>
                  <a:lnTo>
                    <a:pt x="9530" y="3602436"/>
                  </a:lnTo>
                  <a:lnTo>
                    <a:pt x="23824" y="3597671"/>
                  </a:lnTo>
                  <a:lnTo>
                    <a:pt x="38120" y="3611966"/>
                  </a:lnTo>
                  <a:lnTo>
                    <a:pt x="52416" y="3650088"/>
                  </a:lnTo>
                  <a:lnTo>
                    <a:pt x="61946" y="3654853"/>
                  </a:lnTo>
                  <a:lnTo>
                    <a:pt x="81006" y="3645322"/>
                  </a:lnTo>
                  <a:lnTo>
                    <a:pt x="90536" y="3616732"/>
                  </a:lnTo>
                  <a:lnTo>
                    <a:pt x="95302" y="3573846"/>
                  </a:lnTo>
                  <a:lnTo>
                    <a:pt x="104832" y="3535724"/>
                  </a:lnTo>
                  <a:lnTo>
                    <a:pt x="95302" y="3492838"/>
                  </a:lnTo>
                  <a:lnTo>
                    <a:pt x="85772" y="3454717"/>
                  </a:lnTo>
                  <a:lnTo>
                    <a:pt x="85772" y="3445187"/>
                  </a:lnTo>
                  <a:lnTo>
                    <a:pt x="109596" y="3411831"/>
                  </a:lnTo>
                  <a:lnTo>
                    <a:pt x="119128" y="3383240"/>
                  </a:lnTo>
                  <a:lnTo>
                    <a:pt x="123892" y="3359415"/>
                  </a:lnTo>
                  <a:lnTo>
                    <a:pt x="133422" y="3349884"/>
                  </a:lnTo>
                  <a:lnTo>
                    <a:pt x="147718" y="3349884"/>
                  </a:lnTo>
                  <a:lnTo>
                    <a:pt x="162014" y="3345119"/>
                  </a:lnTo>
                  <a:lnTo>
                    <a:pt x="181074" y="3326059"/>
                  </a:lnTo>
                  <a:lnTo>
                    <a:pt x="200134" y="3302233"/>
                  </a:lnTo>
                  <a:lnTo>
                    <a:pt x="209664" y="3283173"/>
                  </a:lnTo>
                  <a:lnTo>
                    <a:pt x="214430" y="3240286"/>
                  </a:lnTo>
                  <a:lnTo>
                    <a:pt x="214430" y="3221226"/>
                  </a:lnTo>
                  <a:lnTo>
                    <a:pt x="219194" y="3206931"/>
                  </a:lnTo>
                  <a:lnTo>
                    <a:pt x="228726" y="3173575"/>
                  </a:lnTo>
                  <a:lnTo>
                    <a:pt x="223960" y="3144984"/>
                  </a:lnTo>
                  <a:lnTo>
                    <a:pt x="204900" y="3097333"/>
                  </a:lnTo>
                  <a:lnTo>
                    <a:pt x="185838" y="3035386"/>
                  </a:lnTo>
                  <a:lnTo>
                    <a:pt x="181074" y="2997265"/>
                  </a:lnTo>
                  <a:lnTo>
                    <a:pt x="190604" y="2992500"/>
                  </a:lnTo>
                  <a:lnTo>
                    <a:pt x="209664" y="2982970"/>
                  </a:lnTo>
                  <a:lnTo>
                    <a:pt x="243020" y="2982970"/>
                  </a:lnTo>
                  <a:lnTo>
                    <a:pt x="247786" y="2978204"/>
                  </a:lnTo>
                  <a:lnTo>
                    <a:pt x="247786" y="2963909"/>
                  </a:lnTo>
                  <a:lnTo>
                    <a:pt x="257316" y="2944849"/>
                  </a:lnTo>
                  <a:lnTo>
                    <a:pt x="262080" y="2925788"/>
                  </a:lnTo>
                  <a:lnTo>
                    <a:pt x="271612" y="2906728"/>
                  </a:lnTo>
                  <a:lnTo>
                    <a:pt x="271612" y="2882902"/>
                  </a:lnTo>
                  <a:lnTo>
                    <a:pt x="252550" y="2854311"/>
                  </a:lnTo>
                  <a:lnTo>
                    <a:pt x="228726" y="2820955"/>
                  </a:lnTo>
                  <a:lnTo>
                    <a:pt x="209664" y="2811425"/>
                  </a:lnTo>
                  <a:lnTo>
                    <a:pt x="181074" y="2787600"/>
                  </a:lnTo>
                  <a:lnTo>
                    <a:pt x="157248" y="2763774"/>
                  </a:lnTo>
                  <a:lnTo>
                    <a:pt x="171544" y="2678002"/>
                  </a:lnTo>
                  <a:lnTo>
                    <a:pt x="181074" y="2616055"/>
                  </a:lnTo>
                  <a:lnTo>
                    <a:pt x="181074" y="2601760"/>
                  </a:lnTo>
                  <a:lnTo>
                    <a:pt x="181074" y="2577934"/>
                  </a:lnTo>
                  <a:lnTo>
                    <a:pt x="152484" y="2473101"/>
                  </a:lnTo>
                  <a:lnTo>
                    <a:pt x="152484" y="2449276"/>
                  </a:lnTo>
                  <a:lnTo>
                    <a:pt x="157248" y="2430215"/>
                  </a:lnTo>
                  <a:lnTo>
                    <a:pt x="152484" y="2392094"/>
                  </a:lnTo>
                  <a:lnTo>
                    <a:pt x="152484" y="2358738"/>
                  </a:lnTo>
                  <a:lnTo>
                    <a:pt x="157248" y="2349208"/>
                  </a:lnTo>
                  <a:lnTo>
                    <a:pt x="171544" y="2334912"/>
                  </a:lnTo>
                  <a:lnTo>
                    <a:pt x="157248" y="2306322"/>
                  </a:lnTo>
                  <a:lnTo>
                    <a:pt x="157248" y="2301556"/>
                  </a:lnTo>
                  <a:lnTo>
                    <a:pt x="133422" y="2234845"/>
                  </a:lnTo>
                  <a:lnTo>
                    <a:pt x="166778" y="2163368"/>
                  </a:lnTo>
                  <a:lnTo>
                    <a:pt x="162014" y="2125247"/>
                  </a:lnTo>
                  <a:lnTo>
                    <a:pt x="181074" y="2101421"/>
                  </a:lnTo>
                  <a:lnTo>
                    <a:pt x="219194" y="2039474"/>
                  </a:lnTo>
                  <a:lnTo>
                    <a:pt x="238256" y="2006119"/>
                  </a:lnTo>
                  <a:lnTo>
                    <a:pt x="243020" y="1996588"/>
                  </a:lnTo>
                  <a:lnTo>
                    <a:pt x="257316" y="1982293"/>
                  </a:lnTo>
                  <a:lnTo>
                    <a:pt x="290672" y="1963232"/>
                  </a:lnTo>
                  <a:lnTo>
                    <a:pt x="324028" y="1958467"/>
                  </a:lnTo>
                  <a:lnTo>
                    <a:pt x="338322" y="1958467"/>
                  </a:lnTo>
                  <a:lnTo>
                    <a:pt x="395504" y="1967998"/>
                  </a:lnTo>
                  <a:lnTo>
                    <a:pt x="443156" y="1977528"/>
                  </a:lnTo>
                  <a:lnTo>
                    <a:pt x="447920" y="1967998"/>
                  </a:lnTo>
                  <a:lnTo>
                    <a:pt x="457452" y="1948937"/>
                  </a:lnTo>
                  <a:lnTo>
                    <a:pt x="471746" y="1920346"/>
                  </a:lnTo>
                  <a:lnTo>
                    <a:pt x="471746" y="1891756"/>
                  </a:lnTo>
                  <a:lnTo>
                    <a:pt x="466982" y="1844104"/>
                  </a:lnTo>
                  <a:lnTo>
                    <a:pt x="457452" y="1815514"/>
                  </a:lnTo>
                  <a:lnTo>
                    <a:pt x="428860" y="1796453"/>
                  </a:lnTo>
                  <a:lnTo>
                    <a:pt x="390740" y="1772627"/>
                  </a:lnTo>
                  <a:lnTo>
                    <a:pt x="433626" y="1696385"/>
                  </a:lnTo>
                  <a:lnTo>
                    <a:pt x="466982" y="1639204"/>
                  </a:lnTo>
                  <a:lnTo>
                    <a:pt x="505102" y="1558197"/>
                  </a:lnTo>
                  <a:lnTo>
                    <a:pt x="514632" y="1520076"/>
                  </a:lnTo>
                  <a:lnTo>
                    <a:pt x="524162" y="1510545"/>
                  </a:lnTo>
                  <a:lnTo>
                    <a:pt x="533694" y="1377122"/>
                  </a:lnTo>
                  <a:lnTo>
                    <a:pt x="543224" y="1343766"/>
                  </a:lnTo>
                  <a:lnTo>
                    <a:pt x="547988" y="1324705"/>
                  </a:lnTo>
                  <a:lnTo>
                    <a:pt x="547988" y="1300880"/>
                  </a:lnTo>
                  <a:lnTo>
                    <a:pt x="543224" y="1267524"/>
                  </a:lnTo>
                  <a:lnTo>
                    <a:pt x="533694" y="1196047"/>
                  </a:lnTo>
                  <a:lnTo>
                    <a:pt x="590874" y="1186517"/>
                  </a:lnTo>
                  <a:lnTo>
                    <a:pt x="609936" y="1176986"/>
                  </a:lnTo>
                  <a:lnTo>
                    <a:pt x="628996" y="1167456"/>
                  </a:lnTo>
                  <a:lnTo>
                    <a:pt x="662352" y="1148396"/>
                  </a:lnTo>
                  <a:lnTo>
                    <a:pt x="681412" y="1124570"/>
                  </a:lnTo>
                  <a:lnTo>
                    <a:pt x="671882" y="1053093"/>
                  </a:lnTo>
                  <a:lnTo>
                    <a:pt x="690942" y="1029268"/>
                  </a:lnTo>
                  <a:lnTo>
                    <a:pt x="743358" y="943495"/>
                  </a:lnTo>
                  <a:lnTo>
                    <a:pt x="795776" y="862488"/>
                  </a:lnTo>
                  <a:lnTo>
                    <a:pt x="824366" y="829132"/>
                  </a:lnTo>
                  <a:lnTo>
                    <a:pt x="824366" y="814837"/>
                  </a:lnTo>
                  <a:lnTo>
                    <a:pt x="829132" y="791011"/>
                  </a:lnTo>
                  <a:lnTo>
                    <a:pt x="814836" y="752890"/>
                  </a:lnTo>
                  <a:lnTo>
                    <a:pt x="805306" y="724299"/>
                  </a:lnTo>
                  <a:lnTo>
                    <a:pt x="781480" y="681413"/>
                  </a:lnTo>
                  <a:lnTo>
                    <a:pt x="791010" y="648057"/>
                  </a:lnTo>
                  <a:lnTo>
                    <a:pt x="810070" y="643292"/>
                  </a:lnTo>
                  <a:lnTo>
                    <a:pt x="833896" y="628997"/>
                  </a:lnTo>
                  <a:lnTo>
                    <a:pt x="848192" y="600406"/>
                  </a:lnTo>
                  <a:lnTo>
                    <a:pt x="852956" y="595641"/>
                  </a:lnTo>
                  <a:lnTo>
                    <a:pt x="881548" y="486043"/>
                  </a:lnTo>
                  <a:lnTo>
                    <a:pt x="943494" y="428861"/>
                  </a:lnTo>
                  <a:lnTo>
                    <a:pt x="967320" y="400271"/>
                  </a:lnTo>
                  <a:lnTo>
                    <a:pt x="1005440" y="424096"/>
                  </a:lnTo>
                  <a:lnTo>
                    <a:pt x="1057858" y="457452"/>
                  </a:lnTo>
                  <a:lnTo>
                    <a:pt x="1081682" y="405036"/>
                  </a:lnTo>
                  <a:lnTo>
                    <a:pt x="1091212" y="385975"/>
                  </a:lnTo>
                  <a:lnTo>
                    <a:pt x="1100744" y="357385"/>
                  </a:lnTo>
                  <a:lnTo>
                    <a:pt x="1095978" y="309733"/>
                  </a:lnTo>
                  <a:lnTo>
                    <a:pt x="1095978" y="247787"/>
                  </a:lnTo>
                  <a:lnTo>
                    <a:pt x="1095978" y="219196"/>
                  </a:lnTo>
                  <a:lnTo>
                    <a:pt x="1119804" y="209666"/>
                  </a:lnTo>
                  <a:lnTo>
                    <a:pt x="1134100" y="204900"/>
                  </a:lnTo>
                  <a:lnTo>
                    <a:pt x="1191280" y="233491"/>
                  </a:lnTo>
                  <a:lnTo>
                    <a:pt x="1210342" y="233491"/>
                  </a:lnTo>
                  <a:lnTo>
                    <a:pt x="1238932" y="238256"/>
                  </a:lnTo>
                  <a:lnTo>
                    <a:pt x="1267522" y="247787"/>
                  </a:lnTo>
                  <a:lnTo>
                    <a:pt x="1334234" y="276377"/>
                  </a:lnTo>
                  <a:lnTo>
                    <a:pt x="1362826" y="290673"/>
                  </a:lnTo>
                  <a:lnTo>
                    <a:pt x="1381886" y="295438"/>
                  </a:lnTo>
                  <a:lnTo>
                    <a:pt x="1391416" y="281142"/>
                  </a:lnTo>
                  <a:lnTo>
                    <a:pt x="1424772" y="243021"/>
                  </a:lnTo>
                  <a:lnTo>
                    <a:pt x="1381886" y="214431"/>
                  </a:lnTo>
                  <a:lnTo>
                    <a:pt x="1405712" y="185840"/>
                  </a:lnTo>
                  <a:lnTo>
                    <a:pt x="1424772" y="157249"/>
                  </a:lnTo>
                  <a:lnTo>
                    <a:pt x="1434302" y="123893"/>
                  </a:lnTo>
                  <a:lnTo>
                    <a:pt x="1439068" y="81007"/>
                  </a:lnTo>
                  <a:lnTo>
                    <a:pt x="1439068" y="61947"/>
                  </a:lnTo>
                  <a:lnTo>
                    <a:pt x="1429536" y="47651"/>
                  </a:lnTo>
                  <a:lnTo>
                    <a:pt x="1400946" y="9530"/>
                  </a:lnTo>
                  <a:lnTo>
                    <a:pt x="1462892" y="476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5" name="Freeform 6416">
              <a:extLst>
                <a:ext uri="{FF2B5EF4-FFF2-40B4-BE49-F238E27FC236}">
                  <a16:creationId xmlns:a16="http://schemas.microsoft.com/office/drawing/2014/main" id="{82F13564-5669-485F-8935-788626C253BA}"/>
                </a:ext>
              </a:extLst>
            </p:cNvPr>
            <p:cNvSpPr/>
            <p:nvPr/>
          </p:nvSpPr>
          <p:spPr bwMode="auto">
            <a:xfrm>
              <a:off x="6076268" y="6082772"/>
              <a:ext cx="33919" cy="43940"/>
            </a:xfrm>
            <a:custGeom>
              <a:avLst/>
              <a:gdLst>
                <a:gd name="T0" fmla="*/ 76 w 88"/>
                <a:gd name="T1" fmla="*/ 16 h 114"/>
                <a:gd name="T2" fmla="*/ 74 w 88"/>
                <a:gd name="T3" fmla="*/ 16 h 114"/>
                <a:gd name="T4" fmla="*/ 72 w 88"/>
                <a:gd name="T5" fmla="*/ 18 h 114"/>
                <a:gd name="T6" fmla="*/ 56 w 88"/>
                <a:gd name="T7" fmla="*/ 10 h 114"/>
                <a:gd name="T8" fmla="*/ 42 w 88"/>
                <a:gd name="T9" fmla="*/ 0 h 114"/>
                <a:gd name="T10" fmla="*/ 40 w 88"/>
                <a:gd name="T11" fmla="*/ 0 h 114"/>
                <a:gd name="T12" fmla="*/ 36 w 88"/>
                <a:gd name="T13" fmla="*/ 0 h 114"/>
                <a:gd name="T14" fmla="*/ 28 w 88"/>
                <a:gd name="T15" fmla="*/ 8 h 114"/>
                <a:gd name="T16" fmla="*/ 20 w 88"/>
                <a:gd name="T17" fmla="*/ 18 h 114"/>
                <a:gd name="T18" fmla="*/ 16 w 88"/>
                <a:gd name="T19" fmla="*/ 26 h 114"/>
                <a:gd name="T20" fmla="*/ 10 w 88"/>
                <a:gd name="T21" fmla="*/ 34 h 114"/>
                <a:gd name="T22" fmla="*/ 2 w 88"/>
                <a:gd name="T23" fmla="*/ 48 h 114"/>
                <a:gd name="T24" fmla="*/ 0 w 88"/>
                <a:gd name="T25" fmla="*/ 52 h 114"/>
                <a:gd name="T26" fmla="*/ 0 w 88"/>
                <a:gd name="T27" fmla="*/ 64 h 114"/>
                <a:gd name="T28" fmla="*/ 0 w 88"/>
                <a:gd name="T29" fmla="*/ 74 h 114"/>
                <a:gd name="T30" fmla="*/ 2 w 88"/>
                <a:gd name="T31" fmla="*/ 76 h 114"/>
                <a:gd name="T32" fmla="*/ 6 w 88"/>
                <a:gd name="T33" fmla="*/ 76 h 114"/>
                <a:gd name="T34" fmla="*/ 10 w 88"/>
                <a:gd name="T35" fmla="*/ 86 h 114"/>
                <a:gd name="T36" fmla="*/ 18 w 88"/>
                <a:gd name="T37" fmla="*/ 100 h 114"/>
                <a:gd name="T38" fmla="*/ 32 w 88"/>
                <a:gd name="T39" fmla="*/ 110 h 114"/>
                <a:gd name="T40" fmla="*/ 46 w 88"/>
                <a:gd name="T41" fmla="*/ 114 h 114"/>
                <a:gd name="T42" fmla="*/ 62 w 88"/>
                <a:gd name="T43" fmla="*/ 114 h 114"/>
                <a:gd name="T44" fmla="*/ 78 w 88"/>
                <a:gd name="T45" fmla="*/ 114 h 114"/>
                <a:gd name="T46" fmla="*/ 76 w 88"/>
                <a:gd name="T47" fmla="*/ 104 h 114"/>
                <a:gd name="T48" fmla="*/ 78 w 88"/>
                <a:gd name="T49" fmla="*/ 88 h 114"/>
                <a:gd name="T50" fmla="*/ 80 w 88"/>
                <a:gd name="T51" fmla="*/ 78 h 114"/>
                <a:gd name="T52" fmla="*/ 82 w 88"/>
                <a:gd name="T53" fmla="*/ 78 h 114"/>
                <a:gd name="T54" fmla="*/ 86 w 88"/>
                <a:gd name="T55" fmla="*/ 80 h 114"/>
                <a:gd name="T56" fmla="*/ 88 w 88"/>
                <a:gd name="T57" fmla="*/ 80 h 114"/>
                <a:gd name="T58" fmla="*/ 86 w 88"/>
                <a:gd name="T59" fmla="*/ 56 h 114"/>
                <a:gd name="T60" fmla="*/ 84 w 88"/>
                <a:gd name="T61" fmla="*/ 52 h 114"/>
                <a:gd name="T62" fmla="*/ 84 w 88"/>
                <a:gd name="T63" fmla="*/ 44 h 114"/>
                <a:gd name="T64" fmla="*/ 82 w 88"/>
                <a:gd name="T65" fmla="*/ 40 h 114"/>
                <a:gd name="T66" fmla="*/ 84 w 88"/>
                <a:gd name="T67" fmla="*/ 34 h 114"/>
                <a:gd name="T68" fmla="*/ 84 w 88"/>
                <a:gd name="T69" fmla="*/ 26 h 114"/>
                <a:gd name="T70" fmla="*/ 84 w 88"/>
                <a:gd name="T71" fmla="*/ 20 h 114"/>
                <a:gd name="T72" fmla="*/ 78 w 88"/>
                <a:gd name="T73" fmla="*/ 16 h 114"/>
                <a:gd name="T74" fmla="*/ 76 w 88"/>
                <a:gd name="T75" fmla="*/ 1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8" h="114">
                  <a:moveTo>
                    <a:pt x="76" y="16"/>
                  </a:moveTo>
                  <a:lnTo>
                    <a:pt x="74" y="16"/>
                  </a:lnTo>
                  <a:lnTo>
                    <a:pt x="72" y="18"/>
                  </a:lnTo>
                  <a:lnTo>
                    <a:pt x="56" y="1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28" y="8"/>
                  </a:lnTo>
                  <a:lnTo>
                    <a:pt x="20" y="18"/>
                  </a:lnTo>
                  <a:lnTo>
                    <a:pt x="16" y="26"/>
                  </a:lnTo>
                  <a:lnTo>
                    <a:pt x="10" y="34"/>
                  </a:lnTo>
                  <a:lnTo>
                    <a:pt x="2" y="48"/>
                  </a:lnTo>
                  <a:lnTo>
                    <a:pt x="0" y="52"/>
                  </a:lnTo>
                  <a:lnTo>
                    <a:pt x="0" y="64"/>
                  </a:lnTo>
                  <a:lnTo>
                    <a:pt x="0" y="74"/>
                  </a:lnTo>
                  <a:lnTo>
                    <a:pt x="2" y="76"/>
                  </a:lnTo>
                  <a:lnTo>
                    <a:pt x="6" y="76"/>
                  </a:lnTo>
                  <a:lnTo>
                    <a:pt x="10" y="86"/>
                  </a:lnTo>
                  <a:lnTo>
                    <a:pt x="18" y="100"/>
                  </a:lnTo>
                  <a:lnTo>
                    <a:pt x="32" y="110"/>
                  </a:lnTo>
                  <a:lnTo>
                    <a:pt x="46" y="114"/>
                  </a:lnTo>
                  <a:lnTo>
                    <a:pt x="62" y="114"/>
                  </a:lnTo>
                  <a:lnTo>
                    <a:pt x="78" y="114"/>
                  </a:lnTo>
                  <a:lnTo>
                    <a:pt x="76" y="104"/>
                  </a:lnTo>
                  <a:lnTo>
                    <a:pt x="78" y="88"/>
                  </a:lnTo>
                  <a:lnTo>
                    <a:pt x="80" y="78"/>
                  </a:lnTo>
                  <a:lnTo>
                    <a:pt x="82" y="78"/>
                  </a:lnTo>
                  <a:lnTo>
                    <a:pt x="86" y="80"/>
                  </a:lnTo>
                  <a:lnTo>
                    <a:pt x="88" y="80"/>
                  </a:lnTo>
                  <a:lnTo>
                    <a:pt x="86" y="56"/>
                  </a:lnTo>
                  <a:lnTo>
                    <a:pt x="84" y="52"/>
                  </a:lnTo>
                  <a:lnTo>
                    <a:pt x="84" y="44"/>
                  </a:lnTo>
                  <a:lnTo>
                    <a:pt x="82" y="40"/>
                  </a:lnTo>
                  <a:lnTo>
                    <a:pt x="84" y="34"/>
                  </a:lnTo>
                  <a:lnTo>
                    <a:pt x="84" y="26"/>
                  </a:lnTo>
                  <a:lnTo>
                    <a:pt x="84" y="20"/>
                  </a:lnTo>
                  <a:lnTo>
                    <a:pt x="78" y="16"/>
                  </a:lnTo>
                  <a:lnTo>
                    <a:pt x="76" y="1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6" name="Freeform 6420">
              <a:extLst>
                <a:ext uri="{FF2B5EF4-FFF2-40B4-BE49-F238E27FC236}">
                  <a16:creationId xmlns:a16="http://schemas.microsoft.com/office/drawing/2014/main" id="{96B44CC1-BA7F-4F5F-AC50-F10575AB4204}"/>
                </a:ext>
              </a:extLst>
            </p:cNvPr>
            <p:cNvSpPr/>
            <p:nvPr/>
          </p:nvSpPr>
          <p:spPr bwMode="auto">
            <a:xfrm>
              <a:off x="3703509" y="4945344"/>
              <a:ext cx="3084" cy="1542"/>
            </a:xfrm>
            <a:custGeom>
              <a:avLst/>
              <a:gdLst>
                <a:gd name="T0" fmla="*/ 0 w 8"/>
                <a:gd name="T1" fmla="*/ 0 h 4"/>
                <a:gd name="T2" fmla="*/ 0 w 8"/>
                <a:gd name="T3" fmla="*/ 0 h 4"/>
                <a:gd name="T4" fmla="*/ 2 w 8"/>
                <a:gd name="T5" fmla="*/ 2 h 4"/>
                <a:gd name="T6" fmla="*/ 6 w 8"/>
                <a:gd name="T7" fmla="*/ 4 h 4"/>
                <a:gd name="T8" fmla="*/ 8 w 8"/>
                <a:gd name="T9" fmla="*/ 2 h 4"/>
                <a:gd name="T10" fmla="*/ 8 w 8"/>
                <a:gd name="T11" fmla="*/ 0 h 4"/>
                <a:gd name="T12" fmla="*/ 0 w 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6" y="4"/>
                  </a:lnTo>
                  <a:lnTo>
                    <a:pt x="8" y="2"/>
                  </a:lnTo>
                  <a:lnTo>
                    <a:pt x="8" y="0"/>
                  </a:lnTo>
                  <a:lnTo>
                    <a:pt x="0" y="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7" name="Line 6421">
              <a:extLst>
                <a:ext uri="{FF2B5EF4-FFF2-40B4-BE49-F238E27FC236}">
                  <a16:creationId xmlns:a16="http://schemas.microsoft.com/office/drawing/2014/main" id="{7649E4E1-A0F3-4AA2-B73F-5DDA96AC4E9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03509" y="4945344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8" name="Line 6423">
              <a:extLst>
                <a:ext uri="{FF2B5EF4-FFF2-40B4-BE49-F238E27FC236}">
                  <a16:creationId xmlns:a16="http://schemas.microsoft.com/office/drawing/2014/main" id="{A7FF072F-048A-4D82-AD54-56B74149C47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03509" y="4945344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9" name="Freeform 6424">
              <a:extLst>
                <a:ext uri="{FF2B5EF4-FFF2-40B4-BE49-F238E27FC236}">
                  <a16:creationId xmlns:a16="http://schemas.microsoft.com/office/drawing/2014/main" id="{4E536767-2C8E-4B47-BEE8-5BE7372CFE8D}"/>
                </a:ext>
              </a:extLst>
            </p:cNvPr>
            <p:cNvSpPr/>
            <p:nvPr/>
          </p:nvSpPr>
          <p:spPr bwMode="auto">
            <a:xfrm>
              <a:off x="6697594" y="5525043"/>
              <a:ext cx="4625" cy="5396"/>
            </a:xfrm>
            <a:custGeom>
              <a:avLst/>
              <a:gdLst>
                <a:gd name="T0" fmla="*/ 12 w 12"/>
                <a:gd name="T1" fmla="*/ 8 h 14"/>
                <a:gd name="T2" fmla="*/ 6 w 12"/>
                <a:gd name="T3" fmla="*/ 0 h 14"/>
                <a:gd name="T4" fmla="*/ 0 w 12"/>
                <a:gd name="T5" fmla="*/ 2 h 14"/>
                <a:gd name="T6" fmla="*/ 4 w 12"/>
                <a:gd name="T7" fmla="*/ 6 h 14"/>
                <a:gd name="T8" fmla="*/ 8 w 12"/>
                <a:gd name="T9" fmla="*/ 8 h 14"/>
                <a:gd name="T10" fmla="*/ 8 w 12"/>
                <a:gd name="T11" fmla="*/ 12 h 14"/>
                <a:gd name="T12" fmla="*/ 12 w 12"/>
                <a:gd name="T13" fmla="*/ 14 h 14"/>
                <a:gd name="T14" fmla="*/ 12 w 12"/>
                <a:gd name="T15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4">
                  <a:moveTo>
                    <a:pt x="12" y="8"/>
                  </a:moveTo>
                  <a:lnTo>
                    <a:pt x="6" y="0"/>
                  </a:lnTo>
                  <a:lnTo>
                    <a:pt x="0" y="2"/>
                  </a:lnTo>
                  <a:lnTo>
                    <a:pt x="4" y="6"/>
                  </a:lnTo>
                  <a:lnTo>
                    <a:pt x="8" y="8"/>
                  </a:lnTo>
                  <a:lnTo>
                    <a:pt x="8" y="12"/>
                  </a:lnTo>
                  <a:lnTo>
                    <a:pt x="12" y="14"/>
                  </a:lnTo>
                  <a:lnTo>
                    <a:pt x="12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0" name="Line 6425">
              <a:extLst>
                <a:ext uri="{FF2B5EF4-FFF2-40B4-BE49-F238E27FC236}">
                  <a16:creationId xmlns:a16="http://schemas.microsoft.com/office/drawing/2014/main" id="{C4C4C65C-72B9-4E1E-8716-2F6A0221402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702220" y="5528127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1" name="Line 6427">
              <a:extLst>
                <a:ext uri="{FF2B5EF4-FFF2-40B4-BE49-F238E27FC236}">
                  <a16:creationId xmlns:a16="http://schemas.microsoft.com/office/drawing/2014/main" id="{CA3A2AB2-0C8F-4693-AD50-E9F7E1F1D3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702220" y="5528127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2" name="Freeform 6428">
              <a:extLst>
                <a:ext uri="{FF2B5EF4-FFF2-40B4-BE49-F238E27FC236}">
                  <a16:creationId xmlns:a16="http://schemas.microsoft.com/office/drawing/2014/main" id="{070167F1-AC02-4E70-AEFA-1E413AEB91CE}"/>
                </a:ext>
              </a:extLst>
            </p:cNvPr>
            <p:cNvSpPr/>
            <p:nvPr/>
          </p:nvSpPr>
          <p:spPr bwMode="auto">
            <a:xfrm>
              <a:off x="6201921" y="4392625"/>
              <a:ext cx="166509" cy="153404"/>
            </a:xfrm>
            <a:custGeom>
              <a:avLst/>
              <a:gdLst>
                <a:gd name="T0" fmla="*/ 428 w 432"/>
                <a:gd name="T1" fmla="*/ 2 h 398"/>
                <a:gd name="T2" fmla="*/ 420 w 432"/>
                <a:gd name="T3" fmla="*/ 0 h 398"/>
                <a:gd name="T4" fmla="*/ 392 w 432"/>
                <a:gd name="T5" fmla="*/ 14 h 398"/>
                <a:gd name="T6" fmla="*/ 362 w 432"/>
                <a:gd name="T7" fmla="*/ 18 h 398"/>
                <a:gd name="T8" fmla="*/ 332 w 432"/>
                <a:gd name="T9" fmla="*/ 16 h 398"/>
                <a:gd name="T10" fmla="*/ 280 w 432"/>
                <a:gd name="T11" fmla="*/ 38 h 398"/>
                <a:gd name="T12" fmla="*/ 236 w 432"/>
                <a:gd name="T13" fmla="*/ 50 h 398"/>
                <a:gd name="T14" fmla="*/ 198 w 432"/>
                <a:gd name="T15" fmla="*/ 50 h 398"/>
                <a:gd name="T16" fmla="*/ 176 w 432"/>
                <a:gd name="T17" fmla="*/ 36 h 398"/>
                <a:gd name="T18" fmla="*/ 160 w 432"/>
                <a:gd name="T19" fmla="*/ 32 h 398"/>
                <a:gd name="T20" fmla="*/ 128 w 432"/>
                <a:gd name="T21" fmla="*/ 46 h 398"/>
                <a:gd name="T22" fmla="*/ 104 w 432"/>
                <a:gd name="T23" fmla="*/ 54 h 398"/>
                <a:gd name="T24" fmla="*/ 80 w 432"/>
                <a:gd name="T25" fmla="*/ 48 h 398"/>
                <a:gd name="T26" fmla="*/ 60 w 432"/>
                <a:gd name="T27" fmla="*/ 40 h 398"/>
                <a:gd name="T28" fmla="*/ 52 w 432"/>
                <a:gd name="T29" fmla="*/ 64 h 398"/>
                <a:gd name="T30" fmla="*/ 58 w 432"/>
                <a:gd name="T31" fmla="*/ 86 h 398"/>
                <a:gd name="T32" fmla="*/ 44 w 432"/>
                <a:gd name="T33" fmla="*/ 90 h 398"/>
                <a:gd name="T34" fmla="*/ 32 w 432"/>
                <a:gd name="T35" fmla="*/ 108 h 398"/>
                <a:gd name="T36" fmla="*/ 24 w 432"/>
                <a:gd name="T37" fmla="*/ 120 h 398"/>
                <a:gd name="T38" fmla="*/ 6 w 432"/>
                <a:gd name="T39" fmla="*/ 118 h 398"/>
                <a:gd name="T40" fmla="*/ 10 w 432"/>
                <a:gd name="T41" fmla="*/ 158 h 398"/>
                <a:gd name="T42" fmla="*/ 10 w 432"/>
                <a:gd name="T43" fmla="*/ 182 h 398"/>
                <a:gd name="T44" fmla="*/ 14 w 432"/>
                <a:gd name="T45" fmla="*/ 216 h 398"/>
                <a:gd name="T46" fmla="*/ 36 w 432"/>
                <a:gd name="T47" fmla="*/ 212 h 398"/>
                <a:gd name="T48" fmla="*/ 42 w 432"/>
                <a:gd name="T49" fmla="*/ 220 h 398"/>
                <a:gd name="T50" fmla="*/ 40 w 432"/>
                <a:gd name="T51" fmla="*/ 226 h 398"/>
                <a:gd name="T52" fmla="*/ 54 w 432"/>
                <a:gd name="T53" fmla="*/ 248 h 398"/>
                <a:gd name="T54" fmla="*/ 44 w 432"/>
                <a:gd name="T55" fmla="*/ 262 h 398"/>
                <a:gd name="T56" fmla="*/ 34 w 432"/>
                <a:gd name="T57" fmla="*/ 272 h 398"/>
                <a:gd name="T58" fmla="*/ 40 w 432"/>
                <a:gd name="T59" fmla="*/ 278 h 398"/>
                <a:gd name="T60" fmla="*/ 30 w 432"/>
                <a:gd name="T61" fmla="*/ 278 h 398"/>
                <a:gd name="T62" fmla="*/ 18 w 432"/>
                <a:gd name="T63" fmla="*/ 284 h 398"/>
                <a:gd name="T64" fmla="*/ 12 w 432"/>
                <a:gd name="T65" fmla="*/ 292 h 398"/>
                <a:gd name="T66" fmla="*/ 18 w 432"/>
                <a:gd name="T67" fmla="*/ 298 h 398"/>
                <a:gd name="T68" fmla="*/ 12 w 432"/>
                <a:gd name="T69" fmla="*/ 306 h 398"/>
                <a:gd name="T70" fmla="*/ 6 w 432"/>
                <a:gd name="T71" fmla="*/ 316 h 398"/>
                <a:gd name="T72" fmla="*/ 6 w 432"/>
                <a:gd name="T73" fmla="*/ 326 h 398"/>
                <a:gd name="T74" fmla="*/ 8 w 432"/>
                <a:gd name="T75" fmla="*/ 338 h 398"/>
                <a:gd name="T76" fmla="*/ 10 w 432"/>
                <a:gd name="T77" fmla="*/ 348 h 398"/>
                <a:gd name="T78" fmla="*/ 2 w 432"/>
                <a:gd name="T79" fmla="*/ 366 h 398"/>
                <a:gd name="T80" fmla="*/ 20 w 432"/>
                <a:gd name="T81" fmla="*/ 380 h 398"/>
                <a:gd name="T82" fmla="*/ 40 w 432"/>
                <a:gd name="T83" fmla="*/ 392 h 398"/>
                <a:gd name="T84" fmla="*/ 88 w 432"/>
                <a:gd name="T85" fmla="*/ 386 h 398"/>
                <a:gd name="T86" fmla="*/ 132 w 432"/>
                <a:gd name="T87" fmla="*/ 358 h 398"/>
                <a:gd name="T88" fmla="*/ 182 w 432"/>
                <a:gd name="T89" fmla="*/ 326 h 398"/>
                <a:gd name="T90" fmla="*/ 230 w 432"/>
                <a:gd name="T91" fmla="*/ 296 h 398"/>
                <a:gd name="T92" fmla="*/ 286 w 432"/>
                <a:gd name="T93" fmla="*/ 262 h 398"/>
                <a:gd name="T94" fmla="*/ 340 w 432"/>
                <a:gd name="T95" fmla="*/ 236 h 398"/>
                <a:gd name="T96" fmla="*/ 356 w 432"/>
                <a:gd name="T97" fmla="*/ 204 h 398"/>
                <a:gd name="T98" fmla="*/ 358 w 432"/>
                <a:gd name="T99" fmla="*/ 164 h 398"/>
                <a:gd name="T100" fmla="*/ 368 w 432"/>
                <a:gd name="T101" fmla="*/ 134 h 398"/>
                <a:gd name="T102" fmla="*/ 364 w 432"/>
                <a:gd name="T103" fmla="*/ 110 h 398"/>
                <a:gd name="T104" fmla="*/ 362 w 432"/>
                <a:gd name="T105" fmla="*/ 84 h 398"/>
                <a:gd name="T106" fmla="*/ 372 w 432"/>
                <a:gd name="T107" fmla="*/ 64 h 398"/>
                <a:gd name="T108" fmla="*/ 408 w 432"/>
                <a:gd name="T109" fmla="*/ 46 h 398"/>
                <a:gd name="T110" fmla="*/ 432 w 432"/>
                <a:gd name="T111" fmla="*/ 2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32" h="398">
                  <a:moveTo>
                    <a:pt x="432" y="16"/>
                  </a:moveTo>
                  <a:lnTo>
                    <a:pt x="430" y="6"/>
                  </a:lnTo>
                  <a:lnTo>
                    <a:pt x="428" y="2"/>
                  </a:lnTo>
                  <a:lnTo>
                    <a:pt x="426" y="0"/>
                  </a:lnTo>
                  <a:lnTo>
                    <a:pt x="422" y="0"/>
                  </a:lnTo>
                  <a:lnTo>
                    <a:pt x="420" y="0"/>
                  </a:lnTo>
                  <a:lnTo>
                    <a:pt x="414" y="8"/>
                  </a:lnTo>
                  <a:lnTo>
                    <a:pt x="402" y="12"/>
                  </a:lnTo>
                  <a:lnTo>
                    <a:pt x="392" y="14"/>
                  </a:lnTo>
                  <a:lnTo>
                    <a:pt x="378" y="16"/>
                  </a:lnTo>
                  <a:lnTo>
                    <a:pt x="366" y="18"/>
                  </a:lnTo>
                  <a:lnTo>
                    <a:pt x="362" y="18"/>
                  </a:lnTo>
                  <a:lnTo>
                    <a:pt x="350" y="18"/>
                  </a:lnTo>
                  <a:lnTo>
                    <a:pt x="342" y="16"/>
                  </a:lnTo>
                  <a:lnTo>
                    <a:pt x="332" y="16"/>
                  </a:lnTo>
                  <a:lnTo>
                    <a:pt x="324" y="16"/>
                  </a:lnTo>
                  <a:lnTo>
                    <a:pt x="308" y="24"/>
                  </a:lnTo>
                  <a:lnTo>
                    <a:pt x="280" y="38"/>
                  </a:lnTo>
                  <a:lnTo>
                    <a:pt x="258" y="46"/>
                  </a:lnTo>
                  <a:lnTo>
                    <a:pt x="246" y="48"/>
                  </a:lnTo>
                  <a:lnTo>
                    <a:pt x="236" y="50"/>
                  </a:lnTo>
                  <a:lnTo>
                    <a:pt x="220" y="50"/>
                  </a:lnTo>
                  <a:lnTo>
                    <a:pt x="206" y="50"/>
                  </a:lnTo>
                  <a:lnTo>
                    <a:pt x="198" y="50"/>
                  </a:lnTo>
                  <a:lnTo>
                    <a:pt x="192" y="48"/>
                  </a:lnTo>
                  <a:lnTo>
                    <a:pt x="186" y="42"/>
                  </a:lnTo>
                  <a:lnTo>
                    <a:pt x="176" y="36"/>
                  </a:lnTo>
                  <a:lnTo>
                    <a:pt x="172" y="34"/>
                  </a:lnTo>
                  <a:lnTo>
                    <a:pt x="168" y="32"/>
                  </a:lnTo>
                  <a:lnTo>
                    <a:pt x="160" y="32"/>
                  </a:lnTo>
                  <a:lnTo>
                    <a:pt x="142" y="42"/>
                  </a:lnTo>
                  <a:lnTo>
                    <a:pt x="136" y="44"/>
                  </a:lnTo>
                  <a:lnTo>
                    <a:pt x="128" y="46"/>
                  </a:lnTo>
                  <a:lnTo>
                    <a:pt x="116" y="50"/>
                  </a:lnTo>
                  <a:lnTo>
                    <a:pt x="110" y="54"/>
                  </a:lnTo>
                  <a:lnTo>
                    <a:pt x="104" y="54"/>
                  </a:lnTo>
                  <a:lnTo>
                    <a:pt x="94" y="52"/>
                  </a:lnTo>
                  <a:lnTo>
                    <a:pt x="86" y="52"/>
                  </a:lnTo>
                  <a:lnTo>
                    <a:pt x="80" y="48"/>
                  </a:lnTo>
                  <a:lnTo>
                    <a:pt x="78" y="44"/>
                  </a:lnTo>
                  <a:lnTo>
                    <a:pt x="68" y="42"/>
                  </a:lnTo>
                  <a:lnTo>
                    <a:pt x="60" y="40"/>
                  </a:lnTo>
                  <a:lnTo>
                    <a:pt x="58" y="42"/>
                  </a:lnTo>
                  <a:lnTo>
                    <a:pt x="56" y="48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8" y="84"/>
                  </a:lnTo>
                  <a:lnTo>
                    <a:pt x="58" y="86"/>
                  </a:lnTo>
                  <a:lnTo>
                    <a:pt x="54" y="88"/>
                  </a:lnTo>
                  <a:lnTo>
                    <a:pt x="48" y="88"/>
                  </a:lnTo>
                  <a:lnTo>
                    <a:pt x="44" y="90"/>
                  </a:lnTo>
                  <a:lnTo>
                    <a:pt x="40" y="92"/>
                  </a:lnTo>
                  <a:lnTo>
                    <a:pt x="38" y="106"/>
                  </a:lnTo>
                  <a:lnTo>
                    <a:pt x="32" y="108"/>
                  </a:lnTo>
                  <a:lnTo>
                    <a:pt x="30" y="110"/>
                  </a:lnTo>
                  <a:lnTo>
                    <a:pt x="26" y="120"/>
                  </a:lnTo>
                  <a:lnTo>
                    <a:pt x="24" y="120"/>
                  </a:lnTo>
                  <a:lnTo>
                    <a:pt x="14" y="114"/>
                  </a:lnTo>
                  <a:lnTo>
                    <a:pt x="10" y="112"/>
                  </a:lnTo>
                  <a:lnTo>
                    <a:pt x="6" y="118"/>
                  </a:lnTo>
                  <a:lnTo>
                    <a:pt x="0" y="140"/>
                  </a:lnTo>
                  <a:lnTo>
                    <a:pt x="10" y="152"/>
                  </a:lnTo>
                  <a:lnTo>
                    <a:pt x="10" y="158"/>
                  </a:lnTo>
                  <a:lnTo>
                    <a:pt x="10" y="162"/>
                  </a:lnTo>
                  <a:lnTo>
                    <a:pt x="12" y="168"/>
                  </a:lnTo>
                  <a:lnTo>
                    <a:pt x="10" y="182"/>
                  </a:lnTo>
                  <a:lnTo>
                    <a:pt x="8" y="190"/>
                  </a:lnTo>
                  <a:lnTo>
                    <a:pt x="10" y="198"/>
                  </a:lnTo>
                  <a:lnTo>
                    <a:pt x="14" y="216"/>
                  </a:lnTo>
                  <a:lnTo>
                    <a:pt x="26" y="216"/>
                  </a:lnTo>
                  <a:lnTo>
                    <a:pt x="34" y="216"/>
                  </a:lnTo>
                  <a:lnTo>
                    <a:pt x="36" y="212"/>
                  </a:lnTo>
                  <a:lnTo>
                    <a:pt x="42" y="214"/>
                  </a:lnTo>
                  <a:lnTo>
                    <a:pt x="44" y="218"/>
                  </a:lnTo>
                  <a:lnTo>
                    <a:pt x="42" y="220"/>
                  </a:lnTo>
                  <a:lnTo>
                    <a:pt x="38" y="226"/>
                  </a:lnTo>
                  <a:lnTo>
                    <a:pt x="38" y="226"/>
                  </a:lnTo>
                  <a:lnTo>
                    <a:pt x="40" y="226"/>
                  </a:lnTo>
                  <a:lnTo>
                    <a:pt x="46" y="228"/>
                  </a:lnTo>
                  <a:lnTo>
                    <a:pt x="50" y="232"/>
                  </a:lnTo>
                  <a:lnTo>
                    <a:pt x="54" y="248"/>
                  </a:lnTo>
                  <a:lnTo>
                    <a:pt x="52" y="256"/>
                  </a:lnTo>
                  <a:lnTo>
                    <a:pt x="46" y="262"/>
                  </a:lnTo>
                  <a:lnTo>
                    <a:pt x="44" y="262"/>
                  </a:lnTo>
                  <a:lnTo>
                    <a:pt x="40" y="266"/>
                  </a:lnTo>
                  <a:lnTo>
                    <a:pt x="36" y="270"/>
                  </a:lnTo>
                  <a:lnTo>
                    <a:pt x="34" y="272"/>
                  </a:lnTo>
                  <a:lnTo>
                    <a:pt x="34" y="274"/>
                  </a:lnTo>
                  <a:lnTo>
                    <a:pt x="40" y="278"/>
                  </a:lnTo>
                  <a:lnTo>
                    <a:pt x="40" y="278"/>
                  </a:lnTo>
                  <a:lnTo>
                    <a:pt x="38" y="280"/>
                  </a:lnTo>
                  <a:lnTo>
                    <a:pt x="34" y="278"/>
                  </a:lnTo>
                  <a:lnTo>
                    <a:pt x="30" y="278"/>
                  </a:lnTo>
                  <a:lnTo>
                    <a:pt x="26" y="278"/>
                  </a:lnTo>
                  <a:lnTo>
                    <a:pt x="22" y="280"/>
                  </a:lnTo>
                  <a:lnTo>
                    <a:pt x="18" y="284"/>
                  </a:lnTo>
                  <a:lnTo>
                    <a:pt x="16" y="286"/>
                  </a:lnTo>
                  <a:lnTo>
                    <a:pt x="14" y="286"/>
                  </a:lnTo>
                  <a:lnTo>
                    <a:pt x="12" y="292"/>
                  </a:lnTo>
                  <a:lnTo>
                    <a:pt x="14" y="296"/>
                  </a:lnTo>
                  <a:lnTo>
                    <a:pt x="18" y="298"/>
                  </a:lnTo>
                  <a:lnTo>
                    <a:pt x="18" y="298"/>
                  </a:lnTo>
                  <a:lnTo>
                    <a:pt x="18" y="300"/>
                  </a:lnTo>
                  <a:lnTo>
                    <a:pt x="14" y="302"/>
                  </a:lnTo>
                  <a:lnTo>
                    <a:pt x="12" y="306"/>
                  </a:lnTo>
                  <a:lnTo>
                    <a:pt x="10" y="308"/>
                  </a:lnTo>
                  <a:lnTo>
                    <a:pt x="8" y="310"/>
                  </a:lnTo>
                  <a:lnTo>
                    <a:pt x="6" y="316"/>
                  </a:lnTo>
                  <a:lnTo>
                    <a:pt x="6" y="318"/>
                  </a:lnTo>
                  <a:lnTo>
                    <a:pt x="6" y="322"/>
                  </a:lnTo>
                  <a:lnTo>
                    <a:pt x="6" y="326"/>
                  </a:lnTo>
                  <a:lnTo>
                    <a:pt x="8" y="330"/>
                  </a:lnTo>
                  <a:lnTo>
                    <a:pt x="10" y="334"/>
                  </a:lnTo>
                  <a:lnTo>
                    <a:pt x="8" y="338"/>
                  </a:lnTo>
                  <a:lnTo>
                    <a:pt x="8" y="342"/>
                  </a:lnTo>
                  <a:lnTo>
                    <a:pt x="8" y="344"/>
                  </a:lnTo>
                  <a:lnTo>
                    <a:pt x="10" y="348"/>
                  </a:lnTo>
                  <a:lnTo>
                    <a:pt x="6" y="356"/>
                  </a:lnTo>
                  <a:lnTo>
                    <a:pt x="4" y="362"/>
                  </a:lnTo>
                  <a:lnTo>
                    <a:pt x="2" y="366"/>
                  </a:lnTo>
                  <a:lnTo>
                    <a:pt x="10" y="366"/>
                  </a:lnTo>
                  <a:lnTo>
                    <a:pt x="14" y="370"/>
                  </a:lnTo>
                  <a:lnTo>
                    <a:pt x="20" y="380"/>
                  </a:lnTo>
                  <a:lnTo>
                    <a:pt x="30" y="384"/>
                  </a:lnTo>
                  <a:lnTo>
                    <a:pt x="34" y="386"/>
                  </a:lnTo>
                  <a:lnTo>
                    <a:pt x="40" y="392"/>
                  </a:lnTo>
                  <a:lnTo>
                    <a:pt x="48" y="394"/>
                  </a:lnTo>
                  <a:lnTo>
                    <a:pt x="70" y="398"/>
                  </a:lnTo>
                  <a:lnTo>
                    <a:pt x="88" y="386"/>
                  </a:lnTo>
                  <a:lnTo>
                    <a:pt x="102" y="376"/>
                  </a:lnTo>
                  <a:lnTo>
                    <a:pt x="120" y="366"/>
                  </a:lnTo>
                  <a:lnTo>
                    <a:pt x="132" y="358"/>
                  </a:lnTo>
                  <a:lnTo>
                    <a:pt x="150" y="344"/>
                  </a:lnTo>
                  <a:lnTo>
                    <a:pt x="164" y="336"/>
                  </a:lnTo>
                  <a:lnTo>
                    <a:pt x="182" y="326"/>
                  </a:lnTo>
                  <a:lnTo>
                    <a:pt x="198" y="316"/>
                  </a:lnTo>
                  <a:lnTo>
                    <a:pt x="216" y="304"/>
                  </a:lnTo>
                  <a:lnTo>
                    <a:pt x="230" y="296"/>
                  </a:lnTo>
                  <a:lnTo>
                    <a:pt x="250" y="284"/>
                  </a:lnTo>
                  <a:lnTo>
                    <a:pt x="268" y="272"/>
                  </a:lnTo>
                  <a:lnTo>
                    <a:pt x="286" y="262"/>
                  </a:lnTo>
                  <a:lnTo>
                    <a:pt x="306" y="250"/>
                  </a:lnTo>
                  <a:lnTo>
                    <a:pt x="324" y="240"/>
                  </a:lnTo>
                  <a:lnTo>
                    <a:pt x="340" y="236"/>
                  </a:lnTo>
                  <a:lnTo>
                    <a:pt x="344" y="232"/>
                  </a:lnTo>
                  <a:lnTo>
                    <a:pt x="350" y="218"/>
                  </a:lnTo>
                  <a:lnTo>
                    <a:pt x="356" y="204"/>
                  </a:lnTo>
                  <a:lnTo>
                    <a:pt x="358" y="202"/>
                  </a:lnTo>
                  <a:lnTo>
                    <a:pt x="358" y="184"/>
                  </a:lnTo>
                  <a:lnTo>
                    <a:pt x="358" y="164"/>
                  </a:lnTo>
                  <a:lnTo>
                    <a:pt x="360" y="152"/>
                  </a:lnTo>
                  <a:lnTo>
                    <a:pt x="364" y="142"/>
                  </a:lnTo>
                  <a:lnTo>
                    <a:pt x="368" y="134"/>
                  </a:lnTo>
                  <a:lnTo>
                    <a:pt x="368" y="128"/>
                  </a:lnTo>
                  <a:lnTo>
                    <a:pt x="368" y="122"/>
                  </a:lnTo>
                  <a:lnTo>
                    <a:pt x="364" y="110"/>
                  </a:lnTo>
                  <a:lnTo>
                    <a:pt x="360" y="100"/>
                  </a:lnTo>
                  <a:lnTo>
                    <a:pt x="360" y="90"/>
                  </a:lnTo>
                  <a:lnTo>
                    <a:pt x="362" y="84"/>
                  </a:lnTo>
                  <a:lnTo>
                    <a:pt x="364" y="74"/>
                  </a:lnTo>
                  <a:lnTo>
                    <a:pt x="368" y="68"/>
                  </a:lnTo>
                  <a:lnTo>
                    <a:pt x="372" y="64"/>
                  </a:lnTo>
                  <a:lnTo>
                    <a:pt x="386" y="60"/>
                  </a:lnTo>
                  <a:lnTo>
                    <a:pt x="396" y="58"/>
                  </a:lnTo>
                  <a:lnTo>
                    <a:pt x="408" y="46"/>
                  </a:lnTo>
                  <a:lnTo>
                    <a:pt x="414" y="38"/>
                  </a:lnTo>
                  <a:lnTo>
                    <a:pt x="424" y="28"/>
                  </a:lnTo>
                  <a:lnTo>
                    <a:pt x="432" y="20"/>
                  </a:lnTo>
                  <a:lnTo>
                    <a:pt x="432" y="16"/>
                  </a:lnTo>
                  <a:lnTo>
                    <a:pt x="432" y="1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3" name="Freeform 6440">
              <a:extLst>
                <a:ext uri="{FF2B5EF4-FFF2-40B4-BE49-F238E27FC236}">
                  <a16:creationId xmlns:a16="http://schemas.microsoft.com/office/drawing/2014/main" id="{6A4EFD5E-DD2A-4686-B574-9BCC7E21BD8A}"/>
                </a:ext>
              </a:extLst>
            </p:cNvPr>
            <p:cNvSpPr/>
            <p:nvPr/>
          </p:nvSpPr>
          <p:spPr bwMode="auto">
            <a:xfrm>
              <a:off x="5638410" y="4799648"/>
              <a:ext cx="265952" cy="420899"/>
            </a:xfrm>
            <a:custGeom>
              <a:avLst/>
              <a:gdLst>
                <a:gd name="T0" fmla="*/ 470 w 690"/>
                <a:gd name="T1" fmla="*/ 164 h 1092"/>
                <a:gd name="T2" fmla="*/ 282 w 690"/>
                <a:gd name="T3" fmla="*/ 62 h 1092"/>
                <a:gd name="T4" fmla="*/ 100 w 690"/>
                <a:gd name="T5" fmla="*/ 32 h 1092"/>
                <a:gd name="T6" fmla="*/ 116 w 690"/>
                <a:gd name="T7" fmla="*/ 142 h 1092"/>
                <a:gd name="T8" fmla="*/ 146 w 690"/>
                <a:gd name="T9" fmla="*/ 196 h 1092"/>
                <a:gd name="T10" fmla="*/ 150 w 690"/>
                <a:gd name="T11" fmla="*/ 250 h 1092"/>
                <a:gd name="T12" fmla="*/ 138 w 690"/>
                <a:gd name="T13" fmla="*/ 386 h 1092"/>
                <a:gd name="T14" fmla="*/ 60 w 690"/>
                <a:gd name="T15" fmla="*/ 536 h 1092"/>
                <a:gd name="T16" fmla="*/ 0 w 690"/>
                <a:gd name="T17" fmla="*/ 630 h 1092"/>
                <a:gd name="T18" fmla="*/ 40 w 690"/>
                <a:gd name="T19" fmla="*/ 718 h 1092"/>
                <a:gd name="T20" fmla="*/ 76 w 690"/>
                <a:gd name="T21" fmla="*/ 740 h 1092"/>
                <a:gd name="T22" fmla="*/ 100 w 690"/>
                <a:gd name="T23" fmla="*/ 782 h 1092"/>
                <a:gd name="T24" fmla="*/ 110 w 690"/>
                <a:gd name="T25" fmla="*/ 820 h 1092"/>
                <a:gd name="T26" fmla="*/ 110 w 690"/>
                <a:gd name="T27" fmla="*/ 880 h 1092"/>
                <a:gd name="T28" fmla="*/ 144 w 690"/>
                <a:gd name="T29" fmla="*/ 922 h 1092"/>
                <a:gd name="T30" fmla="*/ 106 w 690"/>
                <a:gd name="T31" fmla="*/ 926 h 1092"/>
                <a:gd name="T32" fmla="*/ 46 w 690"/>
                <a:gd name="T33" fmla="*/ 930 h 1092"/>
                <a:gd name="T34" fmla="*/ 48 w 690"/>
                <a:gd name="T35" fmla="*/ 964 h 1092"/>
                <a:gd name="T36" fmla="*/ 86 w 690"/>
                <a:gd name="T37" fmla="*/ 1000 h 1092"/>
                <a:gd name="T38" fmla="*/ 118 w 690"/>
                <a:gd name="T39" fmla="*/ 1036 h 1092"/>
                <a:gd name="T40" fmla="*/ 138 w 690"/>
                <a:gd name="T41" fmla="*/ 1074 h 1092"/>
                <a:gd name="T42" fmla="*/ 148 w 690"/>
                <a:gd name="T43" fmla="*/ 1090 h 1092"/>
                <a:gd name="T44" fmla="*/ 192 w 690"/>
                <a:gd name="T45" fmla="*/ 1078 h 1092"/>
                <a:gd name="T46" fmla="*/ 204 w 690"/>
                <a:gd name="T47" fmla="*/ 1068 h 1092"/>
                <a:gd name="T48" fmla="*/ 226 w 690"/>
                <a:gd name="T49" fmla="*/ 1080 h 1092"/>
                <a:gd name="T50" fmla="*/ 262 w 690"/>
                <a:gd name="T51" fmla="*/ 1064 h 1092"/>
                <a:gd name="T52" fmla="*/ 314 w 690"/>
                <a:gd name="T53" fmla="*/ 1054 h 1092"/>
                <a:gd name="T54" fmla="*/ 342 w 690"/>
                <a:gd name="T55" fmla="*/ 1044 h 1092"/>
                <a:gd name="T56" fmla="*/ 366 w 690"/>
                <a:gd name="T57" fmla="*/ 1018 h 1092"/>
                <a:gd name="T58" fmla="*/ 356 w 690"/>
                <a:gd name="T59" fmla="*/ 1000 h 1092"/>
                <a:gd name="T60" fmla="*/ 374 w 690"/>
                <a:gd name="T61" fmla="*/ 988 h 1092"/>
                <a:gd name="T62" fmla="*/ 426 w 690"/>
                <a:gd name="T63" fmla="*/ 986 h 1092"/>
                <a:gd name="T64" fmla="*/ 472 w 690"/>
                <a:gd name="T65" fmla="*/ 968 h 1092"/>
                <a:gd name="T66" fmla="*/ 496 w 690"/>
                <a:gd name="T67" fmla="*/ 942 h 1092"/>
                <a:gd name="T68" fmla="*/ 530 w 690"/>
                <a:gd name="T69" fmla="*/ 910 h 1092"/>
                <a:gd name="T70" fmla="*/ 542 w 690"/>
                <a:gd name="T71" fmla="*/ 892 h 1092"/>
                <a:gd name="T72" fmla="*/ 558 w 690"/>
                <a:gd name="T73" fmla="*/ 874 h 1092"/>
                <a:gd name="T74" fmla="*/ 572 w 690"/>
                <a:gd name="T75" fmla="*/ 868 h 1092"/>
                <a:gd name="T76" fmla="*/ 608 w 690"/>
                <a:gd name="T77" fmla="*/ 860 h 1092"/>
                <a:gd name="T78" fmla="*/ 622 w 690"/>
                <a:gd name="T79" fmla="*/ 840 h 1092"/>
                <a:gd name="T80" fmla="*/ 606 w 690"/>
                <a:gd name="T81" fmla="*/ 824 h 1092"/>
                <a:gd name="T82" fmla="*/ 598 w 690"/>
                <a:gd name="T83" fmla="*/ 788 h 1092"/>
                <a:gd name="T84" fmla="*/ 586 w 690"/>
                <a:gd name="T85" fmla="*/ 758 h 1092"/>
                <a:gd name="T86" fmla="*/ 560 w 690"/>
                <a:gd name="T87" fmla="*/ 746 h 1092"/>
                <a:gd name="T88" fmla="*/ 550 w 690"/>
                <a:gd name="T89" fmla="*/ 732 h 1092"/>
                <a:gd name="T90" fmla="*/ 576 w 690"/>
                <a:gd name="T91" fmla="*/ 700 h 1092"/>
                <a:gd name="T92" fmla="*/ 568 w 690"/>
                <a:gd name="T93" fmla="*/ 674 h 1092"/>
                <a:gd name="T94" fmla="*/ 578 w 690"/>
                <a:gd name="T95" fmla="*/ 656 h 1092"/>
                <a:gd name="T96" fmla="*/ 596 w 690"/>
                <a:gd name="T97" fmla="*/ 642 h 1092"/>
                <a:gd name="T98" fmla="*/ 586 w 690"/>
                <a:gd name="T99" fmla="*/ 618 h 1092"/>
                <a:gd name="T100" fmla="*/ 606 w 690"/>
                <a:gd name="T101" fmla="*/ 602 h 1092"/>
                <a:gd name="T102" fmla="*/ 618 w 690"/>
                <a:gd name="T103" fmla="*/ 582 h 1092"/>
                <a:gd name="T104" fmla="*/ 626 w 690"/>
                <a:gd name="T105" fmla="*/ 546 h 1092"/>
                <a:gd name="T106" fmla="*/ 672 w 690"/>
                <a:gd name="T107" fmla="*/ 536 h 1092"/>
                <a:gd name="T108" fmla="*/ 690 w 690"/>
                <a:gd name="T109" fmla="*/ 434 h 10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90" h="1092">
                  <a:moveTo>
                    <a:pt x="690" y="280"/>
                  </a:moveTo>
                  <a:lnTo>
                    <a:pt x="596" y="230"/>
                  </a:lnTo>
                  <a:lnTo>
                    <a:pt x="564" y="214"/>
                  </a:lnTo>
                  <a:lnTo>
                    <a:pt x="502" y="180"/>
                  </a:lnTo>
                  <a:lnTo>
                    <a:pt x="470" y="164"/>
                  </a:lnTo>
                  <a:lnTo>
                    <a:pt x="408" y="130"/>
                  </a:lnTo>
                  <a:lnTo>
                    <a:pt x="376" y="114"/>
                  </a:lnTo>
                  <a:lnTo>
                    <a:pt x="344" y="96"/>
                  </a:lnTo>
                  <a:lnTo>
                    <a:pt x="314" y="80"/>
                  </a:lnTo>
                  <a:lnTo>
                    <a:pt x="282" y="62"/>
                  </a:lnTo>
                  <a:lnTo>
                    <a:pt x="188" y="12"/>
                  </a:lnTo>
                  <a:lnTo>
                    <a:pt x="166" y="0"/>
                  </a:lnTo>
                  <a:lnTo>
                    <a:pt x="142" y="12"/>
                  </a:lnTo>
                  <a:lnTo>
                    <a:pt x="124" y="22"/>
                  </a:lnTo>
                  <a:lnTo>
                    <a:pt x="100" y="32"/>
                  </a:lnTo>
                  <a:lnTo>
                    <a:pt x="108" y="74"/>
                  </a:lnTo>
                  <a:lnTo>
                    <a:pt x="112" y="108"/>
                  </a:lnTo>
                  <a:lnTo>
                    <a:pt x="114" y="132"/>
                  </a:lnTo>
                  <a:lnTo>
                    <a:pt x="114" y="138"/>
                  </a:lnTo>
                  <a:lnTo>
                    <a:pt x="116" y="142"/>
                  </a:lnTo>
                  <a:lnTo>
                    <a:pt x="120" y="144"/>
                  </a:lnTo>
                  <a:lnTo>
                    <a:pt x="142" y="176"/>
                  </a:lnTo>
                  <a:lnTo>
                    <a:pt x="136" y="182"/>
                  </a:lnTo>
                  <a:lnTo>
                    <a:pt x="140" y="192"/>
                  </a:lnTo>
                  <a:lnTo>
                    <a:pt x="146" y="196"/>
                  </a:lnTo>
                  <a:lnTo>
                    <a:pt x="162" y="216"/>
                  </a:lnTo>
                  <a:lnTo>
                    <a:pt x="164" y="220"/>
                  </a:lnTo>
                  <a:lnTo>
                    <a:pt x="164" y="222"/>
                  </a:lnTo>
                  <a:lnTo>
                    <a:pt x="152" y="246"/>
                  </a:lnTo>
                  <a:lnTo>
                    <a:pt x="150" y="250"/>
                  </a:lnTo>
                  <a:lnTo>
                    <a:pt x="148" y="280"/>
                  </a:lnTo>
                  <a:lnTo>
                    <a:pt x="146" y="300"/>
                  </a:lnTo>
                  <a:lnTo>
                    <a:pt x="144" y="326"/>
                  </a:lnTo>
                  <a:lnTo>
                    <a:pt x="140" y="360"/>
                  </a:lnTo>
                  <a:lnTo>
                    <a:pt x="138" y="386"/>
                  </a:lnTo>
                  <a:lnTo>
                    <a:pt x="136" y="424"/>
                  </a:lnTo>
                  <a:lnTo>
                    <a:pt x="132" y="458"/>
                  </a:lnTo>
                  <a:lnTo>
                    <a:pt x="116" y="476"/>
                  </a:lnTo>
                  <a:lnTo>
                    <a:pt x="84" y="510"/>
                  </a:lnTo>
                  <a:lnTo>
                    <a:pt x="60" y="536"/>
                  </a:lnTo>
                  <a:lnTo>
                    <a:pt x="48" y="554"/>
                  </a:lnTo>
                  <a:lnTo>
                    <a:pt x="24" y="590"/>
                  </a:lnTo>
                  <a:lnTo>
                    <a:pt x="12" y="612"/>
                  </a:lnTo>
                  <a:lnTo>
                    <a:pt x="4" y="624"/>
                  </a:lnTo>
                  <a:lnTo>
                    <a:pt x="0" y="630"/>
                  </a:lnTo>
                  <a:lnTo>
                    <a:pt x="4" y="646"/>
                  </a:lnTo>
                  <a:lnTo>
                    <a:pt x="10" y="676"/>
                  </a:lnTo>
                  <a:lnTo>
                    <a:pt x="20" y="690"/>
                  </a:lnTo>
                  <a:lnTo>
                    <a:pt x="32" y="706"/>
                  </a:lnTo>
                  <a:lnTo>
                    <a:pt x="40" y="718"/>
                  </a:lnTo>
                  <a:lnTo>
                    <a:pt x="52" y="718"/>
                  </a:lnTo>
                  <a:lnTo>
                    <a:pt x="66" y="722"/>
                  </a:lnTo>
                  <a:lnTo>
                    <a:pt x="70" y="724"/>
                  </a:lnTo>
                  <a:lnTo>
                    <a:pt x="72" y="736"/>
                  </a:lnTo>
                  <a:lnTo>
                    <a:pt x="76" y="740"/>
                  </a:lnTo>
                  <a:lnTo>
                    <a:pt x="86" y="746"/>
                  </a:lnTo>
                  <a:lnTo>
                    <a:pt x="92" y="756"/>
                  </a:lnTo>
                  <a:lnTo>
                    <a:pt x="94" y="772"/>
                  </a:lnTo>
                  <a:lnTo>
                    <a:pt x="98" y="782"/>
                  </a:lnTo>
                  <a:lnTo>
                    <a:pt x="100" y="782"/>
                  </a:lnTo>
                  <a:lnTo>
                    <a:pt x="106" y="796"/>
                  </a:lnTo>
                  <a:lnTo>
                    <a:pt x="106" y="800"/>
                  </a:lnTo>
                  <a:lnTo>
                    <a:pt x="108" y="808"/>
                  </a:lnTo>
                  <a:lnTo>
                    <a:pt x="106" y="814"/>
                  </a:lnTo>
                  <a:lnTo>
                    <a:pt x="110" y="820"/>
                  </a:lnTo>
                  <a:lnTo>
                    <a:pt x="106" y="832"/>
                  </a:lnTo>
                  <a:lnTo>
                    <a:pt x="104" y="840"/>
                  </a:lnTo>
                  <a:lnTo>
                    <a:pt x="104" y="850"/>
                  </a:lnTo>
                  <a:lnTo>
                    <a:pt x="106" y="868"/>
                  </a:lnTo>
                  <a:lnTo>
                    <a:pt x="110" y="880"/>
                  </a:lnTo>
                  <a:lnTo>
                    <a:pt x="114" y="892"/>
                  </a:lnTo>
                  <a:lnTo>
                    <a:pt x="120" y="900"/>
                  </a:lnTo>
                  <a:lnTo>
                    <a:pt x="128" y="908"/>
                  </a:lnTo>
                  <a:lnTo>
                    <a:pt x="136" y="918"/>
                  </a:lnTo>
                  <a:lnTo>
                    <a:pt x="144" y="922"/>
                  </a:lnTo>
                  <a:lnTo>
                    <a:pt x="136" y="926"/>
                  </a:lnTo>
                  <a:lnTo>
                    <a:pt x="122" y="926"/>
                  </a:lnTo>
                  <a:lnTo>
                    <a:pt x="114" y="924"/>
                  </a:lnTo>
                  <a:lnTo>
                    <a:pt x="110" y="924"/>
                  </a:lnTo>
                  <a:lnTo>
                    <a:pt x="106" y="926"/>
                  </a:lnTo>
                  <a:lnTo>
                    <a:pt x="90" y="928"/>
                  </a:lnTo>
                  <a:lnTo>
                    <a:pt x="76" y="926"/>
                  </a:lnTo>
                  <a:lnTo>
                    <a:pt x="60" y="924"/>
                  </a:lnTo>
                  <a:lnTo>
                    <a:pt x="52" y="924"/>
                  </a:lnTo>
                  <a:lnTo>
                    <a:pt x="46" y="930"/>
                  </a:lnTo>
                  <a:lnTo>
                    <a:pt x="40" y="938"/>
                  </a:lnTo>
                  <a:lnTo>
                    <a:pt x="34" y="944"/>
                  </a:lnTo>
                  <a:lnTo>
                    <a:pt x="36" y="952"/>
                  </a:lnTo>
                  <a:lnTo>
                    <a:pt x="40" y="954"/>
                  </a:lnTo>
                  <a:lnTo>
                    <a:pt x="48" y="964"/>
                  </a:lnTo>
                  <a:lnTo>
                    <a:pt x="54" y="972"/>
                  </a:lnTo>
                  <a:lnTo>
                    <a:pt x="58" y="976"/>
                  </a:lnTo>
                  <a:lnTo>
                    <a:pt x="72" y="988"/>
                  </a:lnTo>
                  <a:lnTo>
                    <a:pt x="84" y="1000"/>
                  </a:lnTo>
                  <a:lnTo>
                    <a:pt x="86" y="1000"/>
                  </a:lnTo>
                  <a:lnTo>
                    <a:pt x="90" y="1002"/>
                  </a:lnTo>
                  <a:lnTo>
                    <a:pt x="92" y="1004"/>
                  </a:lnTo>
                  <a:lnTo>
                    <a:pt x="100" y="1010"/>
                  </a:lnTo>
                  <a:lnTo>
                    <a:pt x="110" y="1020"/>
                  </a:lnTo>
                  <a:lnTo>
                    <a:pt x="118" y="1036"/>
                  </a:lnTo>
                  <a:lnTo>
                    <a:pt x="124" y="1050"/>
                  </a:lnTo>
                  <a:lnTo>
                    <a:pt x="130" y="1066"/>
                  </a:lnTo>
                  <a:lnTo>
                    <a:pt x="134" y="1068"/>
                  </a:lnTo>
                  <a:lnTo>
                    <a:pt x="138" y="1070"/>
                  </a:lnTo>
                  <a:lnTo>
                    <a:pt x="138" y="1074"/>
                  </a:lnTo>
                  <a:lnTo>
                    <a:pt x="138" y="1078"/>
                  </a:lnTo>
                  <a:lnTo>
                    <a:pt x="136" y="1082"/>
                  </a:lnTo>
                  <a:lnTo>
                    <a:pt x="134" y="1088"/>
                  </a:lnTo>
                  <a:lnTo>
                    <a:pt x="140" y="1088"/>
                  </a:lnTo>
                  <a:lnTo>
                    <a:pt x="148" y="1090"/>
                  </a:lnTo>
                  <a:lnTo>
                    <a:pt x="156" y="1092"/>
                  </a:lnTo>
                  <a:lnTo>
                    <a:pt x="164" y="1088"/>
                  </a:lnTo>
                  <a:lnTo>
                    <a:pt x="170" y="1084"/>
                  </a:lnTo>
                  <a:lnTo>
                    <a:pt x="180" y="1082"/>
                  </a:lnTo>
                  <a:lnTo>
                    <a:pt x="192" y="1078"/>
                  </a:lnTo>
                  <a:lnTo>
                    <a:pt x="194" y="1072"/>
                  </a:lnTo>
                  <a:lnTo>
                    <a:pt x="198" y="1068"/>
                  </a:lnTo>
                  <a:lnTo>
                    <a:pt x="202" y="1066"/>
                  </a:lnTo>
                  <a:lnTo>
                    <a:pt x="202" y="1066"/>
                  </a:lnTo>
                  <a:lnTo>
                    <a:pt x="204" y="1068"/>
                  </a:lnTo>
                  <a:lnTo>
                    <a:pt x="206" y="1074"/>
                  </a:lnTo>
                  <a:lnTo>
                    <a:pt x="210" y="1080"/>
                  </a:lnTo>
                  <a:lnTo>
                    <a:pt x="218" y="1086"/>
                  </a:lnTo>
                  <a:lnTo>
                    <a:pt x="220" y="1086"/>
                  </a:lnTo>
                  <a:lnTo>
                    <a:pt x="226" y="1080"/>
                  </a:lnTo>
                  <a:lnTo>
                    <a:pt x="238" y="1078"/>
                  </a:lnTo>
                  <a:lnTo>
                    <a:pt x="240" y="1076"/>
                  </a:lnTo>
                  <a:lnTo>
                    <a:pt x="248" y="1068"/>
                  </a:lnTo>
                  <a:lnTo>
                    <a:pt x="258" y="1064"/>
                  </a:lnTo>
                  <a:lnTo>
                    <a:pt x="262" y="1064"/>
                  </a:lnTo>
                  <a:lnTo>
                    <a:pt x="264" y="1062"/>
                  </a:lnTo>
                  <a:lnTo>
                    <a:pt x="276" y="1058"/>
                  </a:lnTo>
                  <a:lnTo>
                    <a:pt x="282" y="1058"/>
                  </a:lnTo>
                  <a:lnTo>
                    <a:pt x="294" y="1058"/>
                  </a:lnTo>
                  <a:lnTo>
                    <a:pt x="314" y="1054"/>
                  </a:lnTo>
                  <a:lnTo>
                    <a:pt x="328" y="1054"/>
                  </a:lnTo>
                  <a:lnTo>
                    <a:pt x="336" y="1054"/>
                  </a:lnTo>
                  <a:lnTo>
                    <a:pt x="336" y="1052"/>
                  </a:lnTo>
                  <a:lnTo>
                    <a:pt x="340" y="1046"/>
                  </a:lnTo>
                  <a:lnTo>
                    <a:pt x="342" y="1044"/>
                  </a:lnTo>
                  <a:lnTo>
                    <a:pt x="348" y="1040"/>
                  </a:lnTo>
                  <a:lnTo>
                    <a:pt x="358" y="1030"/>
                  </a:lnTo>
                  <a:lnTo>
                    <a:pt x="364" y="1020"/>
                  </a:lnTo>
                  <a:lnTo>
                    <a:pt x="366" y="1018"/>
                  </a:lnTo>
                  <a:lnTo>
                    <a:pt x="366" y="1018"/>
                  </a:lnTo>
                  <a:lnTo>
                    <a:pt x="368" y="1016"/>
                  </a:lnTo>
                  <a:lnTo>
                    <a:pt x="370" y="1012"/>
                  </a:lnTo>
                  <a:lnTo>
                    <a:pt x="368" y="1010"/>
                  </a:lnTo>
                  <a:lnTo>
                    <a:pt x="356" y="1002"/>
                  </a:lnTo>
                  <a:lnTo>
                    <a:pt x="356" y="1000"/>
                  </a:lnTo>
                  <a:lnTo>
                    <a:pt x="356" y="998"/>
                  </a:lnTo>
                  <a:lnTo>
                    <a:pt x="356" y="998"/>
                  </a:lnTo>
                  <a:lnTo>
                    <a:pt x="360" y="994"/>
                  </a:lnTo>
                  <a:lnTo>
                    <a:pt x="366" y="990"/>
                  </a:lnTo>
                  <a:lnTo>
                    <a:pt x="374" y="988"/>
                  </a:lnTo>
                  <a:lnTo>
                    <a:pt x="390" y="990"/>
                  </a:lnTo>
                  <a:lnTo>
                    <a:pt x="404" y="988"/>
                  </a:lnTo>
                  <a:lnTo>
                    <a:pt x="408" y="988"/>
                  </a:lnTo>
                  <a:lnTo>
                    <a:pt x="418" y="986"/>
                  </a:lnTo>
                  <a:lnTo>
                    <a:pt x="426" y="986"/>
                  </a:lnTo>
                  <a:lnTo>
                    <a:pt x="434" y="982"/>
                  </a:lnTo>
                  <a:lnTo>
                    <a:pt x="452" y="982"/>
                  </a:lnTo>
                  <a:lnTo>
                    <a:pt x="466" y="972"/>
                  </a:lnTo>
                  <a:lnTo>
                    <a:pt x="470" y="970"/>
                  </a:lnTo>
                  <a:lnTo>
                    <a:pt x="472" y="968"/>
                  </a:lnTo>
                  <a:lnTo>
                    <a:pt x="474" y="968"/>
                  </a:lnTo>
                  <a:lnTo>
                    <a:pt x="480" y="964"/>
                  </a:lnTo>
                  <a:lnTo>
                    <a:pt x="488" y="954"/>
                  </a:lnTo>
                  <a:lnTo>
                    <a:pt x="494" y="948"/>
                  </a:lnTo>
                  <a:lnTo>
                    <a:pt x="496" y="942"/>
                  </a:lnTo>
                  <a:lnTo>
                    <a:pt x="512" y="926"/>
                  </a:lnTo>
                  <a:lnTo>
                    <a:pt x="518" y="926"/>
                  </a:lnTo>
                  <a:lnTo>
                    <a:pt x="520" y="924"/>
                  </a:lnTo>
                  <a:lnTo>
                    <a:pt x="528" y="912"/>
                  </a:lnTo>
                  <a:lnTo>
                    <a:pt x="530" y="910"/>
                  </a:lnTo>
                  <a:lnTo>
                    <a:pt x="532" y="908"/>
                  </a:lnTo>
                  <a:lnTo>
                    <a:pt x="536" y="908"/>
                  </a:lnTo>
                  <a:lnTo>
                    <a:pt x="540" y="904"/>
                  </a:lnTo>
                  <a:lnTo>
                    <a:pt x="542" y="900"/>
                  </a:lnTo>
                  <a:lnTo>
                    <a:pt x="542" y="892"/>
                  </a:lnTo>
                  <a:lnTo>
                    <a:pt x="542" y="888"/>
                  </a:lnTo>
                  <a:lnTo>
                    <a:pt x="542" y="886"/>
                  </a:lnTo>
                  <a:lnTo>
                    <a:pt x="542" y="884"/>
                  </a:lnTo>
                  <a:lnTo>
                    <a:pt x="546" y="880"/>
                  </a:lnTo>
                  <a:lnTo>
                    <a:pt x="558" y="874"/>
                  </a:lnTo>
                  <a:lnTo>
                    <a:pt x="562" y="872"/>
                  </a:lnTo>
                  <a:lnTo>
                    <a:pt x="564" y="868"/>
                  </a:lnTo>
                  <a:lnTo>
                    <a:pt x="566" y="868"/>
                  </a:lnTo>
                  <a:lnTo>
                    <a:pt x="570" y="868"/>
                  </a:lnTo>
                  <a:lnTo>
                    <a:pt x="572" y="868"/>
                  </a:lnTo>
                  <a:lnTo>
                    <a:pt x="576" y="864"/>
                  </a:lnTo>
                  <a:lnTo>
                    <a:pt x="584" y="860"/>
                  </a:lnTo>
                  <a:lnTo>
                    <a:pt x="592" y="858"/>
                  </a:lnTo>
                  <a:lnTo>
                    <a:pt x="602" y="858"/>
                  </a:lnTo>
                  <a:lnTo>
                    <a:pt x="608" y="860"/>
                  </a:lnTo>
                  <a:lnTo>
                    <a:pt x="614" y="862"/>
                  </a:lnTo>
                  <a:lnTo>
                    <a:pt x="616" y="862"/>
                  </a:lnTo>
                  <a:lnTo>
                    <a:pt x="620" y="854"/>
                  </a:lnTo>
                  <a:lnTo>
                    <a:pt x="622" y="844"/>
                  </a:lnTo>
                  <a:lnTo>
                    <a:pt x="622" y="840"/>
                  </a:lnTo>
                  <a:lnTo>
                    <a:pt x="620" y="834"/>
                  </a:lnTo>
                  <a:lnTo>
                    <a:pt x="616" y="830"/>
                  </a:lnTo>
                  <a:lnTo>
                    <a:pt x="612" y="830"/>
                  </a:lnTo>
                  <a:lnTo>
                    <a:pt x="610" y="828"/>
                  </a:lnTo>
                  <a:lnTo>
                    <a:pt x="606" y="824"/>
                  </a:lnTo>
                  <a:lnTo>
                    <a:pt x="602" y="822"/>
                  </a:lnTo>
                  <a:lnTo>
                    <a:pt x="598" y="818"/>
                  </a:lnTo>
                  <a:lnTo>
                    <a:pt x="596" y="812"/>
                  </a:lnTo>
                  <a:lnTo>
                    <a:pt x="598" y="790"/>
                  </a:lnTo>
                  <a:lnTo>
                    <a:pt x="598" y="788"/>
                  </a:lnTo>
                  <a:lnTo>
                    <a:pt x="592" y="788"/>
                  </a:lnTo>
                  <a:lnTo>
                    <a:pt x="592" y="786"/>
                  </a:lnTo>
                  <a:lnTo>
                    <a:pt x="592" y="782"/>
                  </a:lnTo>
                  <a:lnTo>
                    <a:pt x="588" y="770"/>
                  </a:lnTo>
                  <a:lnTo>
                    <a:pt x="586" y="758"/>
                  </a:lnTo>
                  <a:lnTo>
                    <a:pt x="588" y="754"/>
                  </a:lnTo>
                  <a:lnTo>
                    <a:pt x="584" y="746"/>
                  </a:lnTo>
                  <a:lnTo>
                    <a:pt x="576" y="742"/>
                  </a:lnTo>
                  <a:lnTo>
                    <a:pt x="568" y="744"/>
                  </a:lnTo>
                  <a:lnTo>
                    <a:pt x="560" y="746"/>
                  </a:lnTo>
                  <a:lnTo>
                    <a:pt x="556" y="744"/>
                  </a:lnTo>
                  <a:lnTo>
                    <a:pt x="552" y="742"/>
                  </a:lnTo>
                  <a:lnTo>
                    <a:pt x="550" y="740"/>
                  </a:lnTo>
                  <a:lnTo>
                    <a:pt x="548" y="738"/>
                  </a:lnTo>
                  <a:lnTo>
                    <a:pt x="550" y="732"/>
                  </a:lnTo>
                  <a:lnTo>
                    <a:pt x="554" y="722"/>
                  </a:lnTo>
                  <a:lnTo>
                    <a:pt x="560" y="716"/>
                  </a:lnTo>
                  <a:lnTo>
                    <a:pt x="570" y="708"/>
                  </a:lnTo>
                  <a:lnTo>
                    <a:pt x="574" y="704"/>
                  </a:lnTo>
                  <a:lnTo>
                    <a:pt x="576" y="700"/>
                  </a:lnTo>
                  <a:lnTo>
                    <a:pt x="576" y="696"/>
                  </a:lnTo>
                  <a:lnTo>
                    <a:pt x="574" y="692"/>
                  </a:lnTo>
                  <a:lnTo>
                    <a:pt x="574" y="686"/>
                  </a:lnTo>
                  <a:lnTo>
                    <a:pt x="570" y="680"/>
                  </a:lnTo>
                  <a:lnTo>
                    <a:pt x="568" y="674"/>
                  </a:lnTo>
                  <a:lnTo>
                    <a:pt x="568" y="668"/>
                  </a:lnTo>
                  <a:lnTo>
                    <a:pt x="568" y="666"/>
                  </a:lnTo>
                  <a:lnTo>
                    <a:pt x="572" y="662"/>
                  </a:lnTo>
                  <a:lnTo>
                    <a:pt x="578" y="656"/>
                  </a:lnTo>
                  <a:lnTo>
                    <a:pt x="578" y="656"/>
                  </a:lnTo>
                  <a:lnTo>
                    <a:pt x="582" y="654"/>
                  </a:lnTo>
                  <a:lnTo>
                    <a:pt x="586" y="652"/>
                  </a:lnTo>
                  <a:lnTo>
                    <a:pt x="594" y="646"/>
                  </a:lnTo>
                  <a:lnTo>
                    <a:pt x="596" y="644"/>
                  </a:lnTo>
                  <a:lnTo>
                    <a:pt x="596" y="642"/>
                  </a:lnTo>
                  <a:lnTo>
                    <a:pt x="594" y="640"/>
                  </a:lnTo>
                  <a:lnTo>
                    <a:pt x="590" y="636"/>
                  </a:lnTo>
                  <a:lnTo>
                    <a:pt x="590" y="632"/>
                  </a:lnTo>
                  <a:lnTo>
                    <a:pt x="588" y="626"/>
                  </a:lnTo>
                  <a:lnTo>
                    <a:pt x="586" y="618"/>
                  </a:lnTo>
                  <a:lnTo>
                    <a:pt x="590" y="612"/>
                  </a:lnTo>
                  <a:lnTo>
                    <a:pt x="596" y="610"/>
                  </a:lnTo>
                  <a:lnTo>
                    <a:pt x="602" y="608"/>
                  </a:lnTo>
                  <a:lnTo>
                    <a:pt x="604" y="606"/>
                  </a:lnTo>
                  <a:lnTo>
                    <a:pt x="606" y="602"/>
                  </a:lnTo>
                  <a:lnTo>
                    <a:pt x="604" y="598"/>
                  </a:lnTo>
                  <a:lnTo>
                    <a:pt x="608" y="594"/>
                  </a:lnTo>
                  <a:lnTo>
                    <a:pt x="610" y="588"/>
                  </a:lnTo>
                  <a:lnTo>
                    <a:pt x="612" y="584"/>
                  </a:lnTo>
                  <a:lnTo>
                    <a:pt x="618" y="582"/>
                  </a:lnTo>
                  <a:lnTo>
                    <a:pt x="622" y="576"/>
                  </a:lnTo>
                  <a:lnTo>
                    <a:pt x="624" y="572"/>
                  </a:lnTo>
                  <a:lnTo>
                    <a:pt x="624" y="566"/>
                  </a:lnTo>
                  <a:lnTo>
                    <a:pt x="622" y="552"/>
                  </a:lnTo>
                  <a:lnTo>
                    <a:pt x="626" y="546"/>
                  </a:lnTo>
                  <a:lnTo>
                    <a:pt x="632" y="540"/>
                  </a:lnTo>
                  <a:lnTo>
                    <a:pt x="642" y="540"/>
                  </a:lnTo>
                  <a:lnTo>
                    <a:pt x="656" y="540"/>
                  </a:lnTo>
                  <a:lnTo>
                    <a:pt x="666" y="536"/>
                  </a:lnTo>
                  <a:lnTo>
                    <a:pt x="672" y="536"/>
                  </a:lnTo>
                  <a:lnTo>
                    <a:pt x="688" y="540"/>
                  </a:lnTo>
                  <a:lnTo>
                    <a:pt x="690" y="540"/>
                  </a:lnTo>
                  <a:lnTo>
                    <a:pt x="690" y="538"/>
                  </a:lnTo>
                  <a:lnTo>
                    <a:pt x="690" y="534"/>
                  </a:lnTo>
                  <a:lnTo>
                    <a:pt x="690" y="434"/>
                  </a:lnTo>
                  <a:lnTo>
                    <a:pt x="690" y="402"/>
                  </a:lnTo>
                  <a:lnTo>
                    <a:pt x="690" y="28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4" name="Line 6441">
              <a:extLst>
                <a:ext uri="{FF2B5EF4-FFF2-40B4-BE49-F238E27FC236}">
                  <a16:creationId xmlns:a16="http://schemas.microsoft.com/office/drawing/2014/main" id="{D81731FA-020C-4642-9DE3-7625E3152F8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904362" y="4907571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5" name="Line 6443">
              <a:extLst>
                <a:ext uri="{FF2B5EF4-FFF2-40B4-BE49-F238E27FC236}">
                  <a16:creationId xmlns:a16="http://schemas.microsoft.com/office/drawing/2014/main" id="{91E6FD28-2AB0-4AAE-8582-2ED95EDCAF9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904362" y="4907571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6" name="Freeform 6444">
              <a:extLst>
                <a:ext uri="{FF2B5EF4-FFF2-40B4-BE49-F238E27FC236}">
                  <a16:creationId xmlns:a16="http://schemas.microsoft.com/office/drawing/2014/main" id="{0AEAB786-D447-4BDA-B382-D7B04BE36D4A}"/>
                </a:ext>
              </a:extLst>
            </p:cNvPr>
            <p:cNvSpPr/>
            <p:nvPr/>
          </p:nvSpPr>
          <p:spPr bwMode="auto">
            <a:xfrm>
              <a:off x="5296141" y="5127271"/>
              <a:ext cx="47024" cy="127966"/>
            </a:xfrm>
            <a:custGeom>
              <a:avLst/>
              <a:gdLst>
                <a:gd name="T0" fmla="*/ 48 w 122"/>
                <a:gd name="T1" fmla="*/ 8 h 332"/>
                <a:gd name="T2" fmla="*/ 38 w 122"/>
                <a:gd name="T3" fmla="*/ 10 h 332"/>
                <a:gd name="T4" fmla="*/ 38 w 122"/>
                <a:gd name="T5" fmla="*/ 8 h 332"/>
                <a:gd name="T6" fmla="*/ 2 w 122"/>
                <a:gd name="T7" fmla="*/ 0 h 332"/>
                <a:gd name="T8" fmla="*/ 6 w 122"/>
                <a:gd name="T9" fmla="*/ 6 h 332"/>
                <a:gd name="T10" fmla="*/ 2 w 122"/>
                <a:gd name="T11" fmla="*/ 20 h 332"/>
                <a:gd name="T12" fmla="*/ 0 w 122"/>
                <a:gd name="T13" fmla="*/ 28 h 332"/>
                <a:gd name="T14" fmla="*/ 8 w 122"/>
                <a:gd name="T15" fmla="*/ 36 h 332"/>
                <a:gd name="T16" fmla="*/ 16 w 122"/>
                <a:gd name="T17" fmla="*/ 44 h 332"/>
                <a:gd name="T18" fmla="*/ 28 w 122"/>
                <a:gd name="T19" fmla="*/ 54 h 332"/>
                <a:gd name="T20" fmla="*/ 30 w 122"/>
                <a:gd name="T21" fmla="*/ 56 h 332"/>
                <a:gd name="T22" fmla="*/ 30 w 122"/>
                <a:gd name="T23" fmla="*/ 78 h 332"/>
                <a:gd name="T24" fmla="*/ 28 w 122"/>
                <a:gd name="T25" fmla="*/ 86 h 332"/>
                <a:gd name="T26" fmla="*/ 26 w 122"/>
                <a:gd name="T27" fmla="*/ 96 h 332"/>
                <a:gd name="T28" fmla="*/ 24 w 122"/>
                <a:gd name="T29" fmla="*/ 96 h 332"/>
                <a:gd name="T30" fmla="*/ 24 w 122"/>
                <a:gd name="T31" fmla="*/ 98 h 332"/>
                <a:gd name="T32" fmla="*/ 28 w 122"/>
                <a:gd name="T33" fmla="*/ 102 h 332"/>
                <a:gd name="T34" fmla="*/ 22 w 122"/>
                <a:gd name="T35" fmla="*/ 104 h 332"/>
                <a:gd name="T36" fmla="*/ 22 w 122"/>
                <a:gd name="T37" fmla="*/ 110 h 332"/>
                <a:gd name="T38" fmla="*/ 24 w 122"/>
                <a:gd name="T39" fmla="*/ 112 h 332"/>
                <a:gd name="T40" fmla="*/ 30 w 122"/>
                <a:gd name="T41" fmla="*/ 108 h 332"/>
                <a:gd name="T42" fmla="*/ 36 w 122"/>
                <a:gd name="T43" fmla="*/ 108 h 332"/>
                <a:gd name="T44" fmla="*/ 40 w 122"/>
                <a:gd name="T45" fmla="*/ 116 h 332"/>
                <a:gd name="T46" fmla="*/ 36 w 122"/>
                <a:gd name="T47" fmla="*/ 132 h 332"/>
                <a:gd name="T48" fmla="*/ 38 w 122"/>
                <a:gd name="T49" fmla="*/ 146 h 332"/>
                <a:gd name="T50" fmla="*/ 36 w 122"/>
                <a:gd name="T51" fmla="*/ 152 h 332"/>
                <a:gd name="T52" fmla="*/ 30 w 122"/>
                <a:gd name="T53" fmla="*/ 158 h 332"/>
                <a:gd name="T54" fmla="*/ 38 w 122"/>
                <a:gd name="T55" fmla="*/ 168 h 332"/>
                <a:gd name="T56" fmla="*/ 50 w 122"/>
                <a:gd name="T57" fmla="*/ 182 h 332"/>
                <a:gd name="T58" fmla="*/ 48 w 122"/>
                <a:gd name="T59" fmla="*/ 190 h 332"/>
                <a:gd name="T60" fmla="*/ 44 w 122"/>
                <a:gd name="T61" fmla="*/ 196 h 332"/>
                <a:gd name="T62" fmla="*/ 38 w 122"/>
                <a:gd name="T63" fmla="*/ 236 h 332"/>
                <a:gd name="T64" fmla="*/ 40 w 122"/>
                <a:gd name="T65" fmla="*/ 244 h 332"/>
                <a:gd name="T66" fmla="*/ 44 w 122"/>
                <a:gd name="T67" fmla="*/ 246 h 332"/>
                <a:gd name="T68" fmla="*/ 46 w 122"/>
                <a:gd name="T69" fmla="*/ 258 h 332"/>
                <a:gd name="T70" fmla="*/ 46 w 122"/>
                <a:gd name="T71" fmla="*/ 270 h 332"/>
                <a:gd name="T72" fmla="*/ 42 w 122"/>
                <a:gd name="T73" fmla="*/ 274 h 332"/>
                <a:gd name="T74" fmla="*/ 40 w 122"/>
                <a:gd name="T75" fmla="*/ 280 h 332"/>
                <a:gd name="T76" fmla="*/ 42 w 122"/>
                <a:gd name="T77" fmla="*/ 286 h 332"/>
                <a:gd name="T78" fmla="*/ 50 w 122"/>
                <a:gd name="T79" fmla="*/ 300 h 332"/>
                <a:gd name="T80" fmla="*/ 54 w 122"/>
                <a:gd name="T81" fmla="*/ 302 h 332"/>
                <a:gd name="T82" fmla="*/ 54 w 122"/>
                <a:gd name="T83" fmla="*/ 308 h 332"/>
                <a:gd name="T84" fmla="*/ 66 w 122"/>
                <a:gd name="T85" fmla="*/ 316 h 332"/>
                <a:gd name="T86" fmla="*/ 72 w 122"/>
                <a:gd name="T87" fmla="*/ 320 h 332"/>
                <a:gd name="T88" fmla="*/ 78 w 122"/>
                <a:gd name="T89" fmla="*/ 326 h 332"/>
                <a:gd name="T90" fmla="*/ 84 w 122"/>
                <a:gd name="T91" fmla="*/ 328 h 332"/>
                <a:gd name="T92" fmla="*/ 92 w 122"/>
                <a:gd name="T93" fmla="*/ 328 h 332"/>
                <a:gd name="T94" fmla="*/ 112 w 122"/>
                <a:gd name="T95" fmla="*/ 322 h 332"/>
                <a:gd name="T96" fmla="*/ 120 w 122"/>
                <a:gd name="T97" fmla="*/ 310 h 332"/>
                <a:gd name="T98" fmla="*/ 110 w 122"/>
                <a:gd name="T99" fmla="*/ 298 h 332"/>
                <a:gd name="T100" fmla="*/ 112 w 122"/>
                <a:gd name="T101" fmla="*/ 290 h 332"/>
                <a:gd name="T102" fmla="*/ 110 w 122"/>
                <a:gd name="T103" fmla="*/ 280 h 332"/>
                <a:gd name="T104" fmla="*/ 112 w 122"/>
                <a:gd name="T105" fmla="*/ 272 h 332"/>
                <a:gd name="T106" fmla="*/ 112 w 122"/>
                <a:gd name="T107" fmla="*/ 170 h 332"/>
                <a:gd name="T108" fmla="*/ 112 w 122"/>
                <a:gd name="T109" fmla="*/ 136 h 332"/>
                <a:gd name="T110" fmla="*/ 100 w 122"/>
                <a:gd name="T111" fmla="*/ 122 h 332"/>
                <a:gd name="T112" fmla="*/ 96 w 122"/>
                <a:gd name="T113" fmla="*/ 110 h 332"/>
                <a:gd name="T114" fmla="*/ 94 w 122"/>
                <a:gd name="T115" fmla="*/ 90 h 332"/>
                <a:gd name="T116" fmla="*/ 94 w 122"/>
                <a:gd name="T117" fmla="*/ 74 h 332"/>
                <a:gd name="T118" fmla="*/ 70 w 122"/>
                <a:gd name="T119" fmla="*/ 58 h 332"/>
                <a:gd name="T120" fmla="*/ 58 w 122"/>
                <a:gd name="T121" fmla="*/ 50 h 332"/>
                <a:gd name="T122" fmla="*/ 58 w 122"/>
                <a:gd name="T123" fmla="*/ 26 h 332"/>
                <a:gd name="T124" fmla="*/ 64 w 122"/>
                <a:gd name="T125" fmla="*/ 14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2" h="332">
                  <a:moveTo>
                    <a:pt x="66" y="8"/>
                  </a:moveTo>
                  <a:lnTo>
                    <a:pt x="48" y="8"/>
                  </a:lnTo>
                  <a:lnTo>
                    <a:pt x="42" y="10"/>
                  </a:lnTo>
                  <a:lnTo>
                    <a:pt x="38" y="10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16" y="2"/>
                  </a:lnTo>
                  <a:lnTo>
                    <a:pt x="2" y="0"/>
                  </a:lnTo>
                  <a:lnTo>
                    <a:pt x="6" y="4"/>
                  </a:lnTo>
                  <a:lnTo>
                    <a:pt x="6" y="6"/>
                  </a:lnTo>
                  <a:lnTo>
                    <a:pt x="6" y="14"/>
                  </a:lnTo>
                  <a:lnTo>
                    <a:pt x="2" y="20"/>
                  </a:lnTo>
                  <a:lnTo>
                    <a:pt x="0" y="26"/>
                  </a:lnTo>
                  <a:lnTo>
                    <a:pt x="0" y="28"/>
                  </a:lnTo>
                  <a:lnTo>
                    <a:pt x="2" y="32"/>
                  </a:lnTo>
                  <a:lnTo>
                    <a:pt x="8" y="36"/>
                  </a:lnTo>
                  <a:lnTo>
                    <a:pt x="12" y="38"/>
                  </a:lnTo>
                  <a:lnTo>
                    <a:pt x="16" y="44"/>
                  </a:lnTo>
                  <a:lnTo>
                    <a:pt x="20" y="48"/>
                  </a:lnTo>
                  <a:lnTo>
                    <a:pt x="28" y="54"/>
                  </a:lnTo>
                  <a:lnTo>
                    <a:pt x="32" y="54"/>
                  </a:lnTo>
                  <a:lnTo>
                    <a:pt x="30" y="56"/>
                  </a:lnTo>
                  <a:lnTo>
                    <a:pt x="30" y="58"/>
                  </a:lnTo>
                  <a:lnTo>
                    <a:pt x="30" y="78"/>
                  </a:lnTo>
                  <a:lnTo>
                    <a:pt x="28" y="84"/>
                  </a:lnTo>
                  <a:lnTo>
                    <a:pt x="28" y="86"/>
                  </a:lnTo>
                  <a:lnTo>
                    <a:pt x="28" y="94"/>
                  </a:lnTo>
                  <a:lnTo>
                    <a:pt x="26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8"/>
                  </a:lnTo>
                  <a:lnTo>
                    <a:pt x="24" y="98"/>
                  </a:lnTo>
                  <a:lnTo>
                    <a:pt x="28" y="100"/>
                  </a:lnTo>
                  <a:lnTo>
                    <a:pt x="28" y="102"/>
                  </a:lnTo>
                  <a:lnTo>
                    <a:pt x="24" y="102"/>
                  </a:lnTo>
                  <a:lnTo>
                    <a:pt x="22" y="104"/>
                  </a:lnTo>
                  <a:lnTo>
                    <a:pt x="24" y="108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30" y="108"/>
                  </a:lnTo>
                  <a:lnTo>
                    <a:pt x="32" y="108"/>
                  </a:lnTo>
                  <a:lnTo>
                    <a:pt x="36" y="108"/>
                  </a:lnTo>
                  <a:lnTo>
                    <a:pt x="40" y="114"/>
                  </a:lnTo>
                  <a:lnTo>
                    <a:pt x="40" y="116"/>
                  </a:lnTo>
                  <a:lnTo>
                    <a:pt x="38" y="126"/>
                  </a:lnTo>
                  <a:lnTo>
                    <a:pt x="36" y="132"/>
                  </a:lnTo>
                  <a:lnTo>
                    <a:pt x="36" y="142"/>
                  </a:lnTo>
                  <a:lnTo>
                    <a:pt x="38" y="146"/>
                  </a:lnTo>
                  <a:lnTo>
                    <a:pt x="38" y="150"/>
                  </a:lnTo>
                  <a:lnTo>
                    <a:pt x="36" y="152"/>
                  </a:lnTo>
                  <a:lnTo>
                    <a:pt x="30" y="156"/>
                  </a:lnTo>
                  <a:lnTo>
                    <a:pt x="30" y="158"/>
                  </a:lnTo>
                  <a:lnTo>
                    <a:pt x="34" y="164"/>
                  </a:lnTo>
                  <a:lnTo>
                    <a:pt x="38" y="168"/>
                  </a:lnTo>
                  <a:lnTo>
                    <a:pt x="46" y="174"/>
                  </a:lnTo>
                  <a:lnTo>
                    <a:pt x="50" y="182"/>
                  </a:lnTo>
                  <a:lnTo>
                    <a:pt x="52" y="186"/>
                  </a:lnTo>
                  <a:lnTo>
                    <a:pt x="48" y="190"/>
                  </a:lnTo>
                  <a:lnTo>
                    <a:pt x="46" y="192"/>
                  </a:lnTo>
                  <a:lnTo>
                    <a:pt x="44" y="196"/>
                  </a:lnTo>
                  <a:lnTo>
                    <a:pt x="46" y="224"/>
                  </a:lnTo>
                  <a:lnTo>
                    <a:pt x="38" y="236"/>
                  </a:lnTo>
                  <a:lnTo>
                    <a:pt x="38" y="240"/>
                  </a:lnTo>
                  <a:lnTo>
                    <a:pt x="40" y="244"/>
                  </a:lnTo>
                  <a:lnTo>
                    <a:pt x="42" y="246"/>
                  </a:lnTo>
                  <a:lnTo>
                    <a:pt x="44" y="246"/>
                  </a:lnTo>
                  <a:lnTo>
                    <a:pt x="48" y="250"/>
                  </a:lnTo>
                  <a:lnTo>
                    <a:pt x="46" y="258"/>
                  </a:lnTo>
                  <a:lnTo>
                    <a:pt x="46" y="266"/>
                  </a:lnTo>
                  <a:lnTo>
                    <a:pt x="46" y="270"/>
                  </a:lnTo>
                  <a:lnTo>
                    <a:pt x="44" y="272"/>
                  </a:lnTo>
                  <a:lnTo>
                    <a:pt x="42" y="274"/>
                  </a:lnTo>
                  <a:lnTo>
                    <a:pt x="40" y="276"/>
                  </a:lnTo>
                  <a:lnTo>
                    <a:pt x="40" y="280"/>
                  </a:lnTo>
                  <a:lnTo>
                    <a:pt x="40" y="282"/>
                  </a:lnTo>
                  <a:lnTo>
                    <a:pt x="42" y="286"/>
                  </a:lnTo>
                  <a:lnTo>
                    <a:pt x="46" y="290"/>
                  </a:lnTo>
                  <a:lnTo>
                    <a:pt x="50" y="300"/>
                  </a:lnTo>
                  <a:lnTo>
                    <a:pt x="52" y="300"/>
                  </a:lnTo>
                  <a:lnTo>
                    <a:pt x="54" y="302"/>
                  </a:lnTo>
                  <a:lnTo>
                    <a:pt x="52" y="304"/>
                  </a:lnTo>
                  <a:lnTo>
                    <a:pt x="54" y="308"/>
                  </a:lnTo>
                  <a:lnTo>
                    <a:pt x="60" y="314"/>
                  </a:lnTo>
                  <a:lnTo>
                    <a:pt x="66" y="316"/>
                  </a:lnTo>
                  <a:lnTo>
                    <a:pt x="70" y="318"/>
                  </a:lnTo>
                  <a:lnTo>
                    <a:pt x="72" y="320"/>
                  </a:lnTo>
                  <a:lnTo>
                    <a:pt x="74" y="326"/>
                  </a:lnTo>
                  <a:lnTo>
                    <a:pt x="78" y="326"/>
                  </a:lnTo>
                  <a:lnTo>
                    <a:pt x="80" y="328"/>
                  </a:lnTo>
                  <a:lnTo>
                    <a:pt x="84" y="328"/>
                  </a:lnTo>
                  <a:lnTo>
                    <a:pt x="84" y="332"/>
                  </a:lnTo>
                  <a:lnTo>
                    <a:pt x="92" y="328"/>
                  </a:lnTo>
                  <a:lnTo>
                    <a:pt x="112" y="324"/>
                  </a:lnTo>
                  <a:lnTo>
                    <a:pt x="112" y="322"/>
                  </a:lnTo>
                  <a:lnTo>
                    <a:pt x="122" y="318"/>
                  </a:lnTo>
                  <a:lnTo>
                    <a:pt x="120" y="310"/>
                  </a:lnTo>
                  <a:lnTo>
                    <a:pt x="114" y="300"/>
                  </a:lnTo>
                  <a:lnTo>
                    <a:pt x="110" y="298"/>
                  </a:lnTo>
                  <a:lnTo>
                    <a:pt x="110" y="294"/>
                  </a:lnTo>
                  <a:lnTo>
                    <a:pt x="112" y="290"/>
                  </a:lnTo>
                  <a:lnTo>
                    <a:pt x="110" y="288"/>
                  </a:lnTo>
                  <a:lnTo>
                    <a:pt x="110" y="280"/>
                  </a:lnTo>
                  <a:lnTo>
                    <a:pt x="106" y="274"/>
                  </a:lnTo>
                  <a:lnTo>
                    <a:pt x="112" y="272"/>
                  </a:lnTo>
                  <a:lnTo>
                    <a:pt x="112" y="188"/>
                  </a:lnTo>
                  <a:lnTo>
                    <a:pt x="112" y="170"/>
                  </a:lnTo>
                  <a:lnTo>
                    <a:pt x="112" y="156"/>
                  </a:lnTo>
                  <a:lnTo>
                    <a:pt x="112" y="136"/>
                  </a:lnTo>
                  <a:lnTo>
                    <a:pt x="108" y="130"/>
                  </a:lnTo>
                  <a:lnTo>
                    <a:pt x="100" y="122"/>
                  </a:lnTo>
                  <a:lnTo>
                    <a:pt x="96" y="116"/>
                  </a:lnTo>
                  <a:lnTo>
                    <a:pt x="96" y="110"/>
                  </a:lnTo>
                  <a:lnTo>
                    <a:pt x="94" y="102"/>
                  </a:lnTo>
                  <a:lnTo>
                    <a:pt x="94" y="90"/>
                  </a:lnTo>
                  <a:lnTo>
                    <a:pt x="94" y="76"/>
                  </a:lnTo>
                  <a:lnTo>
                    <a:pt x="94" y="74"/>
                  </a:lnTo>
                  <a:lnTo>
                    <a:pt x="84" y="68"/>
                  </a:lnTo>
                  <a:lnTo>
                    <a:pt x="70" y="58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6" y="48"/>
                  </a:lnTo>
                  <a:lnTo>
                    <a:pt x="58" y="26"/>
                  </a:lnTo>
                  <a:lnTo>
                    <a:pt x="60" y="24"/>
                  </a:lnTo>
                  <a:lnTo>
                    <a:pt x="64" y="14"/>
                  </a:lnTo>
                  <a:lnTo>
                    <a:pt x="66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7" name="Freeform 345">
              <a:extLst>
                <a:ext uri="{FF2B5EF4-FFF2-40B4-BE49-F238E27FC236}">
                  <a16:creationId xmlns:a16="http://schemas.microsoft.com/office/drawing/2014/main" id="{28081906-015B-439E-8F62-9EF66F1154FF}"/>
                </a:ext>
              </a:extLst>
            </p:cNvPr>
            <p:cNvSpPr/>
            <p:nvPr/>
          </p:nvSpPr>
          <p:spPr bwMode="auto">
            <a:xfrm>
              <a:off x="7759091" y="4882132"/>
              <a:ext cx="208522" cy="384667"/>
            </a:xfrm>
            <a:custGeom>
              <a:avLst/>
              <a:gdLst>
                <a:gd name="connsiteX0" fmla="*/ 355004 w 1288968"/>
                <a:gd name="connsiteY0" fmla="*/ 2211018 h 2377798"/>
                <a:gd name="connsiteX1" fmla="*/ 359768 w 1288968"/>
                <a:gd name="connsiteY1" fmla="*/ 2230080 h 2377798"/>
                <a:gd name="connsiteX2" fmla="*/ 355004 w 1288968"/>
                <a:gd name="connsiteY2" fmla="*/ 2239610 h 2377798"/>
                <a:gd name="connsiteX3" fmla="*/ 350236 w 1288968"/>
                <a:gd name="connsiteY3" fmla="*/ 2239610 h 2377798"/>
                <a:gd name="connsiteX4" fmla="*/ 345472 w 1288968"/>
                <a:gd name="connsiteY4" fmla="*/ 2230080 h 2377798"/>
                <a:gd name="connsiteX5" fmla="*/ 259700 w 1288968"/>
                <a:gd name="connsiteY5" fmla="*/ 2063300 h 2377798"/>
                <a:gd name="connsiteX6" fmla="*/ 264464 w 1288968"/>
                <a:gd name="connsiteY6" fmla="*/ 2072830 h 2377798"/>
                <a:gd name="connsiteX7" fmla="*/ 269228 w 1288968"/>
                <a:gd name="connsiteY7" fmla="*/ 2091890 h 2377798"/>
                <a:gd name="connsiteX8" fmla="*/ 259700 w 1288968"/>
                <a:gd name="connsiteY8" fmla="*/ 2087126 h 2377798"/>
                <a:gd name="connsiteX9" fmla="*/ 254936 w 1288968"/>
                <a:gd name="connsiteY9" fmla="*/ 2077596 h 2377798"/>
                <a:gd name="connsiteX10" fmla="*/ 254936 w 1288968"/>
                <a:gd name="connsiteY10" fmla="*/ 2068066 h 2377798"/>
                <a:gd name="connsiteX11" fmla="*/ 178692 w 1288968"/>
                <a:gd name="connsiteY11" fmla="*/ 1991824 h 2377798"/>
                <a:gd name="connsiteX12" fmla="*/ 188224 w 1288968"/>
                <a:gd name="connsiteY12" fmla="*/ 1996590 h 2377798"/>
                <a:gd name="connsiteX13" fmla="*/ 188224 w 1288968"/>
                <a:gd name="connsiteY13" fmla="*/ 2015650 h 2377798"/>
                <a:gd name="connsiteX14" fmla="*/ 183460 w 1288968"/>
                <a:gd name="connsiteY14" fmla="*/ 2020414 h 2377798"/>
                <a:gd name="connsiteX15" fmla="*/ 145336 w 1288968"/>
                <a:gd name="connsiteY15" fmla="*/ 1982294 h 2377798"/>
                <a:gd name="connsiteX16" fmla="*/ 150104 w 1288968"/>
                <a:gd name="connsiteY16" fmla="*/ 1991824 h 2377798"/>
                <a:gd name="connsiteX17" fmla="*/ 164396 w 1288968"/>
                <a:gd name="connsiteY17" fmla="*/ 1991824 h 2377798"/>
                <a:gd name="connsiteX18" fmla="*/ 154868 w 1288968"/>
                <a:gd name="connsiteY18" fmla="*/ 2010884 h 2377798"/>
                <a:gd name="connsiteX19" fmla="*/ 159632 w 1288968"/>
                <a:gd name="connsiteY19" fmla="*/ 2020414 h 2377798"/>
                <a:gd name="connsiteX20" fmla="*/ 154868 w 1288968"/>
                <a:gd name="connsiteY20" fmla="*/ 2034710 h 2377798"/>
                <a:gd name="connsiteX21" fmla="*/ 150104 w 1288968"/>
                <a:gd name="connsiteY21" fmla="*/ 2034710 h 2377798"/>
                <a:gd name="connsiteX22" fmla="*/ 145336 w 1288968"/>
                <a:gd name="connsiteY22" fmla="*/ 2039474 h 2377798"/>
                <a:gd name="connsiteX23" fmla="*/ 140572 w 1288968"/>
                <a:gd name="connsiteY23" fmla="*/ 2044240 h 2377798"/>
                <a:gd name="connsiteX24" fmla="*/ 135808 w 1288968"/>
                <a:gd name="connsiteY24" fmla="*/ 2020414 h 2377798"/>
                <a:gd name="connsiteX25" fmla="*/ 140572 w 1288968"/>
                <a:gd name="connsiteY25" fmla="*/ 1987058 h 2377798"/>
                <a:gd name="connsiteX26" fmla="*/ 140572 w 1288968"/>
                <a:gd name="connsiteY26" fmla="*/ 1825044 h 2377798"/>
                <a:gd name="connsiteX27" fmla="*/ 145336 w 1288968"/>
                <a:gd name="connsiteY27" fmla="*/ 1834574 h 2377798"/>
                <a:gd name="connsiteX28" fmla="*/ 140572 w 1288968"/>
                <a:gd name="connsiteY28" fmla="*/ 1839340 h 2377798"/>
                <a:gd name="connsiteX29" fmla="*/ 135808 w 1288968"/>
                <a:gd name="connsiteY29" fmla="*/ 1844106 h 2377798"/>
                <a:gd name="connsiteX30" fmla="*/ 135808 w 1288968"/>
                <a:gd name="connsiteY30" fmla="*/ 1834574 h 2377798"/>
                <a:gd name="connsiteX31" fmla="*/ 135808 w 1288968"/>
                <a:gd name="connsiteY31" fmla="*/ 1829810 h 2377798"/>
                <a:gd name="connsiteX32" fmla="*/ 397888 w 1288968"/>
                <a:gd name="connsiteY32" fmla="*/ 1758332 h 2377798"/>
                <a:gd name="connsiteX33" fmla="*/ 412184 w 1288968"/>
                <a:gd name="connsiteY33" fmla="*/ 1758332 h 2377798"/>
                <a:gd name="connsiteX34" fmla="*/ 416948 w 1288968"/>
                <a:gd name="connsiteY34" fmla="*/ 1758332 h 2377798"/>
                <a:gd name="connsiteX35" fmla="*/ 416948 w 1288968"/>
                <a:gd name="connsiteY35" fmla="*/ 1763098 h 2377798"/>
                <a:gd name="connsiteX36" fmla="*/ 416948 w 1288968"/>
                <a:gd name="connsiteY36" fmla="*/ 1777392 h 2377798"/>
                <a:gd name="connsiteX37" fmla="*/ 402656 w 1288968"/>
                <a:gd name="connsiteY37" fmla="*/ 1782158 h 2377798"/>
                <a:gd name="connsiteX38" fmla="*/ 397888 w 1288968"/>
                <a:gd name="connsiteY38" fmla="*/ 1772628 h 2377798"/>
                <a:gd name="connsiteX39" fmla="*/ 402652 w 1288968"/>
                <a:gd name="connsiteY39" fmla="*/ 1724976 h 2377798"/>
                <a:gd name="connsiteX40" fmla="*/ 412184 w 1288968"/>
                <a:gd name="connsiteY40" fmla="*/ 1724976 h 2377798"/>
                <a:gd name="connsiteX41" fmla="*/ 416948 w 1288968"/>
                <a:gd name="connsiteY41" fmla="*/ 1729742 h 2377798"/>
                <a:gd name="connsiteX42" fmla="*/ 416948 w 1288968"/>
                <a:gd name="connsiteY42" fmla="*/ 1739270 h 2377798"/>
                <a:gd name="connsiteX43" fmla="*/ 412184 w 1288968"/>
                <a:gd name="connsiteY43" fmla="*/ 1734506 h 2377798"/>
                <a:gd name="connsiteX44" fmla="*/ 407420 w 1288968"/>
                <a:gd name="connsiteY44" fmla="*/ 1729742 h 2377798"/>
                <a:gd name="connsiteX45" fmla="*/ 807692 w 1288968"/>
                <a:gd name="connsiteY45" fmla="*/ 1420008 h 2377798"/>
                <a:gd name="connsiteX46" fmla="*/ 812456 w 1288968"/>
                <a:gd name="connsiteY46" fmla="*/ 1424774 h 2377798"/>
                <a:gd name="connsiteX47" fmla="*/ 812456 w 1288968"/>
                <a:gd name="connsiteY47" fmla="*/ 1439070 h 2377798"/>
                <a:gd name="connsiteX48" fmla="*/ 802924 w 1288968"/>
                <a:gd name="connsiteY48" fmla="*/ 1434304 h 2377798"/>
                <a:gd name="connsiteX49" fmla="*/ 802924 w 1288968"/>
                <a:gd name="connsiteY49" fmla="*/ 1424774 h 2377798"/>
                <a:gd name="connsiteX50" fmla="*/ 764804 w 1288968"/>
                <a:gd name="connsiteY50" fmla="*/ 1348530 h 2377798"/>
                <a:gd name="connsiteX51" fmla="*/ 769568 w 1288968"/>
                <a:gd name="connsiteY51" fmla="*/ 1348530 h 2377798"/>
                <a:gd name="connsiteX52" fmla="*/ 779100 w 1288968"/>
                <a:gd name="connsiteY52" fmla="*/ 1362826 h 2377798"/>
                <a:gd name="connsiteX53" fmla="*/ 783864 w 1288968"/>
                <a:gd name="connsiteY53" fmla="*/ 1367592 h 2377798"/>
                <a:gd name="connsiteX54" fmla="*/ 783864 w 1288968"/>
                <a:gd name="connsiteY54" fmla="*/ 1372356 h 2377798"/>
                <a:gd name="connsiteX55" fmla="*/ 788628 w 1288968"/>
                <a:gd name="connsiteY55" fmla="*/ 1377122 h 2377798"/>
                <a:gd name="connsiteX56" fmla="*/ 779100 w 1288968"/>
                <a:gd name="connsiteY56" fmla="*/ 1377122 h 2377798"/>
                <a:gd name="connsiteX57" fmla="*/ 774332 w 1288968"/>
                <a:gd name="connsiteY57" fmla="*/ 1377122 h 2377798"/>
                <a:gd name="connsiteX58" fmla="*/ 764804 w 1288968"/>
                <a:gd name="connsiteY58" fmla="*/ 1377122 h 2377798"/>
                <a:gd name="connsiteX59" fmla="*/ 760036 w 1288968"/>
                <a:gd name="connsiteY59" fmla="*/ 1353296 h 2377798"/>
                <a:gd name="connsiteX60" fmla="*/ 388360 w 1288968"/>
                <a:gd name="connsiteY60" fmla="*/ 0 h 2377798"/>
                <a:gd name="connsiteX61" fmla="*/ 397888 w 1288968"/>
                <a:gd name="connsiteY61" fmla="*/ 0 h 2377798"/>
                <a:gd name="connsiteX62" fmla="*/ 407420 w 1288968"/>
                <a:gd name="connsiteY62" fmla="*/ 9530 h 2377798"/>
                <a:gd name="connsiteX63" fmla="*/ 426480 w 1288968"/>
                <a:gd name="connsiteY63" fmla="*/ 19060 h 2377798"/>
                <a:gd name="connsiteX64" fmla="*/ 426480 w 1288968"/>
                <a:gd name="connsiteY64" fmla="*/ 28590 h 2377798"/>
                <a:gd name="connsiteX65" fmla="*/ 436012 w 1288968"/>
                <a:gd name="connsiteY65" fmla="*/ 23826 h 2377798"/>
                <a:gd name="connsiteX66" fmla="*/ 440776 w 1288968"/>
                <a:gd name="connsiteY66" fmla="*/ 14296 h 2377798"/>
                <a:gd name="connsiteX67" fmla="*/ 450304 w 1288968"/>
                <a:gd name="connsiteY67" fmla="*/ 9530 h 2377798"/>
                <a:gd name="connsiteX68" fmla="*/ 455072 w 1288968"/>
                <a:gd name="connsiteY68" fmla="*/ 4766 h 2377798"/>
                <a:gd name="connsiteX69" fmla="*/ 464600 w 1288968"/>
                <a:gd name="connsiteY69" fmla="*/ 14296 h 2377798"/>
                <a:gd name="connsiteX70" fmla="*/ 474132 w 1288968"/>
                <a:gd name="connsiteY70" fmla="*/ 28590 h 2377798"/>
                <a:gd name="connsiteX71" fmla="*/ 483660 w 1288968"/>
                <a:gd name="connsiteY71" fmla="*/ 42886 h 2377798"/>
                <a:gd name="connsiteX72" fmla="*/ 488428 w 1288968"/>
                <a:gd name="connsiteY72" fmla="*/ 42886 h 2377798"/>
                <a:gd name="connsiteX73" fmla="*/ 493192 w 1288968"/>
                <a:gd name="connsiteY73" fmla="*/ 47652 h 2377798"/>
                <a:gd name="connsiteX74" fmla="*/ 493192 w 1288968"/>
                <a:gd name="connsiteY74" fmla="*/ 57182 h 2377798"/>
                <a:gd name="connsiteX75" fmla="*/ 488428 w 1288968"/>
                <a:gd name="connsiteY75" fmla="*/ 71476 h 2377798"/>
                <a:gd name="connsiteX76" fmla="*/ 478896 w 1288968"/>
                <a:gd name="connsiteY76" fmla="*/ 90538 h 2377798"/>
                <a:gd name="connsiteX77" fmla="*/ 469368 w 1288968"/>
                <a:gd name="connsiteY77" fmla="*/ 114364 h 2377798"/>
                <a:gd name="connsiteX78" fmla="*/ 474132 w 1288968"/>
                <a:gd name="connsiteY78" fmla="*/ 128658 h 2377798"/>
                <a:gd name="connsiteX79" fmla="*/ 488428 w 1288968"/>
                <a:gd name="connsiteY79" fmla="*/ 142954 h 2377798"/>
                <a:gd name="connsiteX80" fmla="*/ 502724 w 1288968"/>
                <a:gd name="connsiteY80" fmla="*/ 152484 h 2377798"/>
                <a:gd name="connsiteX81" fmla="*/ 521784 w 1288968"/>
                <a:gd name="connsiteY81" fmla="*/ 152484 h 2377798"/>
                <a:gd name="connsiteX82" fmla="*/ 531312 w 1288968"/>
                <a:gd name="connsiteY82" fmla="*/ 147718 h 2377798"/>
                <a:gd name="connsiteX83" fmla="*/ 540844 w 1288968"/>
                <a:gd name="connsiteY83" fmla="*/ 138188 h 2377798"/>
                <a:gd name="connsiteX84" fmla="*/ 550372 w 1288968"/>
                <a:gd name="connsiteY84" fmla="*/ 138188 h 2377798"/>
                <a:gd name="connsiteX85" fmla="*/ 559904 w 1288968"/>
                <a:gd name="connsiteY85" fmla="*/ 138188 h 2377798"/>
                <a:gd name="connsiteX86" fmla="*/ 588496 w 1288968"/>
                <a:gd name="connsiteY86" fmla="*/ 142954 h 2377798"/>
                <a:gd name="connsiteX87" fmla="*/ 598024 w 1288968"/>
                <a:gd name="connsiteY87" fmla="*/ 147718 h 2377798"/>
                <a:gd name="connsiteX88" fmla="*/ 598024 w 1288968"/>
                <a:gd name="connsiteY88" fmla="*/ 157250 h 2377798"/>
                <a:gd name="connsiteX89" fmla="*/ 593260 w 1288968"/>
                <a:gd name="connsiteY89" fmla="*/ 181074 h 2377798"/>
                <a:gd name="connsiteX90" fmla="*/ 598024 w 1288968"/>
                <a:gd name="connsiteY90" fmla="*/ 200136 h 2377798"/>
                <a:gd name="connsiteX91" fmla="*/ 607556 w 1288968"/>
                <a:gd name="connsiteY91" fmla="*/ 223960 h 2377798"/>
                <a:gd name="connsiteX92" fmla="*/ 607556 w 1288968"/>
                <a:gd name="connsiteY92" fmla="*/ 238256 h 2377798"/>
                <a:gd name="connsiteX93" fmla="*/ 598024 w 1288968"/>
                <a:gd name="connsiteY93" fmla="*/ 271612 h 2377798"/>
                <a:gd name="connsiteX94" fmla="*/ 588496 w 1288968"/>
                <a:gd name="connsiteY94" fmla="*/ 300202 h 2377798"/>
                <a:gd name="connsiteX95" fmla="*/ 578964 w 1288968"/>
                <a:gd name="connsiteY95" fmla="*/ 314498 h 2377798"/>
                <a:gd name="connsiteX96" fmla="*/ 574200 w 1288968"/>
                <a:gd name="connsiteY96" fmla="*/ 324028 h 2377798"/>
                <a:gd name="connsiteX97" fmla="*/ 569436 w 1288968"/>
                <a:gd name="connsiteY97" fmla="*/ 328794 h 2377798"/>
                <a:gd name="connsiteX98" fmla="*/ 569436 w 1288968"/>
                <a:gd name="connsiteY98" fmla="*/ 333558 h 2377798"/>
                <a:gd name="connsiteX99" fmla="*/ 578964 w 1288968"/>
                <a:gd name="connsiteY99" fmla="*/ 343090 h 2377798"/>
                <a:gd name="connsiteX100" fmla="*/ 583728 w 1288968"/>
                <a:gd name="connsiteY100" fmla="*/ 352620 h 2377798"/>
                <a:gd name="connsiteX101" fmla="*/ 588496 w 1288968"/>
                <a:gd name="connsiteY101" fmla="*/ 366914 h 2377798"/>
                <a:gd name="connsiteX102" fmla="*/ 583728 w 1288968"/>
                <a:gd name="connsiteY102" fmla="*/ 376444 h 2377798"/>
                <a:gd name="connsiteX103" fmla="*/ 578964 w 1288968"/>
                <a:gd name="connsiteY103" fmla="*/ 395506 h 2377798"/>
                <a:gd name="connsiteX104" fmla="*/ 564668 w 1288968"/>
                <a:gd name="connsiteY104" fmla="*/ 433626 h 2377798"/>
                <a:gd name="connsiteX105" fmla="*/ 550372 w 1288968"/>
                <a:gd name="connsiteY105" fmla="*/ 471748 h 2377798"/>
                <a:gd name="connsiteX106" fmla="*/ 555140 w 1288968"/>
                <a:gd name="connsiteY106" fmla="*/ 476512 h 2377798"/>
                <a:gd name="connsiteX107" fmla="*/ 569436 w 1288968"/>
                <a:gd name="connsiteY107" fmla="*/ 481278 h 2377798"/>
                <a:gd name="connsiteX108" fmla="*/ 578964 w 1288968"/>
                <a:gd name="connsiteY108" fmla="*/ 486042 h 2377798"/>
                <a:gd name="connsiteX109" fmla="*/ 588496 w 1288968"/>
                <a:gd name="connsiteY109" fmla="*/ 486042 h 2377798"/>
                <a:gd name="connsiteX110" fmla="*/ 612320 w 1288968"/>
                <a:gd name="connsiteY110" fmla="*/ 462218 h 2377798"/>
                <a:gd name="connsiteX111" fmla="*/ 626616 w 1288968"/>
                <a:gd name="connsiteY111" fmla="*/ 447922 h 2377798"/>
                <a:gd name="connsiteX112" fmla="*/ 650440 w 1288968"/>
                <a:gd name="connsiteY112" fmla="*/ 433626 h 2377798"/>
                <a:gd name="connsiteX113" fmla="*/ 650440 w 1288968"/>
                <a:gd name="connsiteY113" fmla="*/ 428862 h 2377798"/>
                <a:gd name="connsiteX114" fmla="*/ 669500 w 1288968"/>
                <a:gd name="connsiteY114" fmla="*/ 419332 h 2377798"/>
                <a:gd name="connsiteX115" fmla="*/ 679032 w 1288968"/>
                <a:gd name="connsiteY115" fmla="*/ 409800 h 2377798"/>
                <a:gd name="connsiteX116" fmla="*/ 683796 w 1288968"/>
                <a:gd name="connsiteY116" fmla="*/ 395506 h 2377798"/>
                <a:gd name="connsiteX117" fmla="*/ 693328 w 1288968"/>
                <a:gd name="connsiteY117" fmla="*/ 390740 h 2377798"/>
                <a:gd name="connsiteX118" fmla="*/ 698092 w 1288968"/>
                <a:gd name="connsiteY118" fmla="*/ 395506 h 2377798"/>
                <a:gd name="connsiteX119" fmla="*/ 712388 w 1288968"/>
                <a:gd name="connsiteY119" fmla="*/ 390740 h 2377798"/>
                <a:gd name="connsiteX120" fmla="*/ 726684 w 1288968"/>
                <a:gd name="connsiteY120" fmla="*/ 371680 h 2377798"/>
                <a:gd name="connsiteX121" fmla="*/ 736212 w 1288968"/>
                <a:gd name="connsiteY121" fmla="*/ 366914 h 2377798"/>
                <a:gd name="connsiteX122" fmla="*/ 740980 w 1288968"/>
                <a:gd name="connsiteY122" fmla="*/ 366914 h 2377798"/>
                <a:gd name="connsiteX123" fmla="*/ 755276 w 1288968"/>
                <a:gd name="connsiteY123" fmla="*/ 376444 h 2377798"/>
                <a:gd name="connsiteX124" fmla="*/ 774336 w 1288968"/>
                <a:gd name="connsiteY124" fmla="*/ 395506 h 2377798"/>
                <a:gd name="connsiteX125" fmla="*/ 788632 w 1288968"/>
                <a:gd name="connsiteY125" fmla="*/ 405036 h 2377798"/>
                <a:gd name="connsiteX126" fmla="*/ 807692 w 1288968"/>
                <a:gd name="connsiteY126" fmla="*/ 409800 h 2377798"/>
                <a:gd name="connsiteX127" fmla="*/ 812456 w 1288968"/>
                <a:gd name="connsiteY127" fmla="*/ 414566 h 2377798"/>
                <a:gd name="connsiteX128" fmla="*/ 812456 w 1288968"/>
                <a:gd name="connsiteY128" fmla="*/ 424096 h 2377798"/>
                <a:gd name="connsiteX129" fmla="*/ 817220 w 1288968"/>
                <a:gd name="connsiteY129" fmla="*/ 428862 h 2377798"/>
                <a:gd name="connsiteX130" fmla="*/ 821988 w 1288968"/>
                <a:gd name="connsiteY130" fmla="*/ 433626 h 2377798"/>
                <a:gd name="connsiteX131" fmla="*/ 826752 w 1288968"/>
                <a:gd name="connsiteY131" fmla="*/ 428862 h 2377798"/>
                <a:gd name="connsiteX132" fmla="*/ 826752 w 1288968"/>
                <a:gd name="connsiteY132" fmla="*/ 424096 h 2377798"/>
                <a:gd name="connsiteX133" fmla="*/ 831516 w 1288968"/>
                <a:gd name="connsiteY133" fmla="*/ 419332 h 2377798"/>
                <a:gd name="connsiteX134" fmla="*/ 845812 w 1288968"/>
                <a:gd name="connsiteY134" fmla="*/ 409800 h 2377798"/>
                <a:gd name="connsiteX135" fmla="*/ 860108 w 1288968"/>
                <a:gd name="connsiteY135" fmla="*/ 405036 h 2377798"/>
                <a:gd name="connsiteX136" fmla="*/ 874404 w 1288968"/>
                <a:gd name="connsiteY136" fmla="*/ 405036 h 2377798"/>
                <a:gd name="connsiteX137" fmla="*/ 883932 w 1288968"/>
                <a:gd name="connsiteY137" fmla="*/ 395506 h 2377798"/>
                <a:gd name="connsiteX138" fmla="*/ 888700 w 1288968"/>
                <a:gd name="connsiteY138" fmla="*/ 376444 h 2377798"/>
                <a:gd name="connsiteX139" fmla="*/ 898228 w 1288968"/>
                <a:gd name="connsiteY139" fmla="*/ 366914 h 2377798"/>
                <a:gd name="connsiteX140" fmla="*/ 907760 w 1288968"/>
                <a:gd name="connsiteY140" fmla="*/ 357384 h 2377798"/>
                <a:gd name="connsiteX141" fmla="*/ 917288 w 1288968"/>
                <a:gd name="connsiteY141" fmla="*/ 357384 h 2377798"/>
                <a:gd name="connsiteX142" fmla="*/ 917288 w 1288968"/>
                <a:gd name="connsiteY142" fmla="*/ 352620 h 2377798"/>
                <a:gd name="connsiteX143" fmla="*/ 912524 w 1288968"/>
                <a:gd name="connsiteY143" fmla="*/ 347854 h 2377798"/>
                <a:gd name="connsiteX144" fmla="*/ 912524 w 1288968"/>
                <a:gd name="connsiteY144" fmla="*/ 338324 h 2377798"/>
                <a:gd name="connsiteX145" fmla="*/ 922052 w 1288968"/>
                <a:gd name="connsiteY145" fmla="*/ 333558 h 2377798"/>
                <a:gd name="connsiteX146" fmla="*/ 931584 w 1288968"/>
                <a:gd name="connsiteY146" fmla="*/ 333558 h 2377798"/>
                <a:gd name="connsiteX147" fmla="*/ 950644 w 1288968"/>
                <a:gd name="connsiteY147" fmla="*/ 333558 h 2377798"/>
                <a:gd name="connsiteX148" fmla="*/ 974472 w 1288968"/>
                <a:gd name="connsiteY148" fmla="*/ 338324 h 2377798"/>
                <a:gd name="connsiteX149" fmla="*/ 998296 w 1288968"/>
                <a:gd name="connsiteY149" fmla="*/ 347854 h 2377798"/>
                <a:gd name="connsiteX150" fmla="*/ 1017356 w 1288968"/>
                <a:gd name="connsiteY150" fmla="*/ 352620 h 2377798"/>
                <a:gd name="connsiteX151" fmla="*/ 1022120 w 1288968"/>
                <a:gd name="connsiteY151" fmla="*/ 347854 h 2377798"/>
                <a:gd name="connsiteX152" fmla="*/ 1041184 w 1288968"/>
                <a:gd name="connsiteY152" fmla="*/ 366914 h 2377798"/>
                <a:gd name="connsiteX153" fmla="*/ 1060244 w 1288968"/>
                <a:gd name="connsiteY153" fmla="*/ 405036 h 2377798"/>
                <a:gd name="connsiteX154" fmla="*/ 1084068 w 1288968"/>
                <a:gd name="connsiteY154" fmla="*/ 433626 h 2377798"/>
                <a:gd name="connsiteX155" fmla="*/ 1098364 w 1288968"/>
                <a:gd name="connsiteY155" fmla="*/ 452686 h 2377798"/>
                <a:gd name="connsiteX156" fmla="*/ 1117424 w 1288968"/>
                <a:gd name="connsiteY156" fmla="*/ 466982 h 2377798"/>
                <a:gd name="connsiteX157" fmla="*/ 1131720 w 1288968"/>
                <a:gd name="connsiteY157" fmla="*/ 476512 h 2377798"/>
                <a:gd name="connsiteX158" fmla="*/ 1146016 w 1288968"/>
                <a:gd name="connsiteY158" fmla="*/ 490808 h 2377798"/>
                <a:gd name="connsiteX159" fmla="*/ 1160312 w 1288968"/>
                <a:gd name="connsiteY159" fmla="*/ 514634 h 2377798"/>
                <a:gd name="connsiteX160" fmla="*/ 1150780 w 1288968"/>
                <a:gd name="connsiteY160" fmla="*/ 552754 h 2377798"/>
                <a:gd name="connsiteX161" fmla="*/ 1146016 w 1288968"/>
                <a:gd name="connsiteY161" fmla="*/ 586110 h 2377798"/>
                <a:gd name="connsiteX162" fmla="*/ 1150780 w 1288968"/>
                <a:gd name="connsiteY162" fmla="*/ 624232 h 2377798"/>
                <a:gd name="connsiteX163" fmla="*/ 1160312 w 1288968"/>
                <a:gd name="connsiteY163" fmla="*/ 652822 h 2377798"/>
                <a:gd name="connsiteX164" fmla="*/ 1179372 w 1288968"/>
                <a:gd name="connsiteY164" fmla="*/ 671882 h 2377798"/>
                <a:gd name="connsiteX165" fmla="*/ 1193668 w 1288968"/>
                <a:gd name="connsiteY165" fmla="*/ 690944 h 2377798"/>
                <a:gd name="connsiteX166" fmla="*/ 1193668 w 1288968"/>
                <a:gd name="connsiteY166" fmla="*/ 700474 h 2377798"/>
                <a:gd name="connsiteX167" fmla="*/ 1212728 w 1288968"/>
                <a:gd name="connsiteY167" fmla="*/ 714768 h 2377798"/>
                <a:gd name="connsiteX168" fmla="*/ 1241316 w 1288968"/>
                <a:gd name="connsiteY168" fmla="*/ 724300 h 2377798"/>
                <a:gd name="connsiteX169" fmla="*/ 1250848 w 1288968"/>
                <a:gd name="connsiteY169" fmla="*/ 729064 h 2377798"/>
                <a:gd name="connsiteX170" fmla="*/ 1246084 w 1288968"/>
                <a:gd name="connsiteY170" fmla="*/ 738594 h 2377798"/>
                <a:gd name="connsiteX171" fmla="*/ 1246084 w 1288968"/>
                <a:gd name="connsiteY171" fmla="*/ 748124 h 2377798"/>
                <a:gd name="connsiteX172" fmla="*/ 1250848 w 1288968"/>
                <a:gd name="connsiteY172" fmla="*/ 757656 h 2377798"/>
                <a:gd name="connsiteX173" fmla="*/ 1260380 w 1288968"/>
                <a:gd name="connsiteY173" fmla="*/ 762420 h 2377798"/>
                <a:gd name="connsiteX174" fmla="*/ 1274672 w 1288968"/>
                <a:gd name="connsiteY174" fmla="*/ 771950 h 2377798"/>
                <a:gd name="connsiteX175" fmla="*/ 1284204 w 1288968"/>
                <a:gd name="connsiteY175" fmla="*/ 776716 h 2377798"/>
                <a:gd name="connsiteX176" fmla="*/ 1288968 w 1288968"/>
                <a:gd name="connsiteY176" fmla="*/ 786246 h 2377798"/>
                <a:gd name="connsiteX177" fmla="*/ 1288968 w 1288968"/>
                <a:gd name="connsiteY177" fmla="*/ 795776 h 2377798"/>
                <a:gd name="connsiteX178" fmla="*/ 1284204 w 1288968"/>
                <a:gd name="connsiteY178" fmla="*/ 810072 h 2377798"/>
                <a:gd name="connsiteX179" fmla="*/ 1279440 w 1288968"/>
                <a:gd name="connsiteY179" fmla="*/ 824366 h 2377798"/>
                <a:gd name="connsiteX180" fmla="*/ 1269908 w 1288968"/>
                <a:gd name="connsiteY180" fmla="*/ 833898 h 2377798"/>
                <a:gd name="connsiteX181" fmla="*/ 1265144 w 1288968"/>
                <a:gd name="connsiteY181" fmla="*/ 838662 h 2377798"/>
                <a:gd name="connsiteX182" fmla="*/ 1265144 w 1288968"/>
                <a:gd name="connsiteY182" fmla="*/ 848192 h 2377798"/>
                <a:gd name="connsiteX183" fmla="*/ 1265144 w 1288968"/>
                <a:gd name="connsiteY183" fmla="*/ 867254 h 2377798"/>
                <a:gd name="connsiteX184" fmla="*/ 1269908 w 1288968"/>
                <a:gd name="connsiteY184" fmla="*/ 881548 h 2377798"/>
                <a:gd name="connsiteX185" fmla="*/ 1274672 w 1288968"/>
                <a:gd name="connsiteY185" fmla="*/ 900608 h 2377798"/>
                <a:gd name="connsiteX186" fmla="*/ 1269908 w 1288968"/>
                <a:gd name="connsiteY186" fmla="*/ 914904 h 2377798"/>
                <a:gd name="connsiteX187" fmla="*/ 1265144 w 1288968"/>
                <a:gd name="connsiteY187" fmla="*/ 943494 h 2377798"/>
                <a:gd name="connsiteX188" fmla="*/ 1265144 w 1288968"/>
                <a:gd name="connsiteY188" fmla="*/ 957790 h 2377798"/>
                <a:gd name="connsiteX189" fmla="*/ 1260380 w 1288968"/>
                <a:gd name="connsiteY189" fmla="*/ 967320 h 2377798"/>
                <a:gd name="connsiteX190" fmla="*/ 1255612 w 1288968"/>
                <a:gd name="connsiteY190" fmla="*/ 976850 h 2377798"/>
                <a:gd name="connsiteX191" fmla="*/ 1241316 w 1288968"/>
                <a:gd name="connsiteY191" fmla="*/ 986382 h 2377798"/>
                <a:gd name="connsiteX192" fmla="*/ 1227024 w 1288968"/>
                <a:gd name="connsiteY192" fmla="*/ 991146 h 2377798"/>
                <a:gd name="connsiteX193" fmla="*/ 1217492 w 1288968"/>
                <a:gd name="connsiteY193" fmla="*/ 995912 h 2377798"/>
                <a:gd name="connsiteX194" fmla="*/ 1212728 w 1288968"/>
                <a:gd name="connsiteY194" fmla="*/ 995912 h 2377798"/>
                <a:gd name="connsiteX195" fmla="*/ 1207960 w 1288968"/>
                <a:gd name="connsiteY195" fmla="*/ 1005442 h 2377798"/>
                <a:gd name="connsiteX196" fmla="*/ 1198432 w 1288968"/>
                <a:gd name="connsiteY196" fmla="*/ 1014972 h 2377798"/>
                <a:gd name="connsiteX197" fmla="*/ 1193668 w 1288968"/>
                <a:gd name="connsiteY197" fmla="*/ 1014972 h 2377798"/>
                <a:gd name="connsiteX198" fmla="*/ 1188900 w 1288968"/>
                <a:gd name="connsiteY198" fmla="*/ 1010206 h 2377798"/>
                <a:gd name="connsiteX199" fmla="*/ 1184136 w 1288968"/>
                <a:gd name="connsiteY199" fmla="*/ 1005442 h 2377798"/>
                <a:gd name="connsiteX200" fmla="*/ 1184136 w 1288968"/>
                <a:gd name="connsiteY200" fmla="*/ 991146 h 2377798"/>
                <a:gd name="connsiteX201" fmla="*/ 1169840 w 1288968"/>
                <a:gd name="connsiteY201" fmla="*/ 986382 h 2377798"/>
                <a:gd name="connsiteX202" fmla="*/ 1155544 w 1288968"/>
                <a:gd name="connsiteY202" fmla="*/ 981616 h 2377798"/>
                <a:gd name="connsiteX203" fmla="*/ 1122188 w 1288968"/>
                <a:gd name="connsiteY203" fmla="*/ 986382 h 2377798"/>
                <a:gd name="connsiteX204" fmla="*/ 1098364 w 1288968"/>
                <a:gd name="connsiteY204" fmla="*/ 991146 h 2377798"/>
                <a:gd name="connsiteX205" fmla="*/ 1065008 w 1288968"/>
                <a:gd name="connsiteY205" fmla="*/ 986382 h 2377798"/>
                <a:gd name="connsiteX206" fmla="*/ 1041184 w 1288968"/>
                <a:gd name="connsiteY206" fmla="*/ 995912 h 2377798"/>
                <a:gd name="connsiteX207" fmla="*/ 1026888 w 1288968"/>
                <a:gd name="connsiteY207" fmla="*/ 995912 h 2377798"/>
                <a:gd name="connsiteX208" fmla="*/ 1017356 w 1288968"/>
                <a:gd name="connsiteY208" fmla="*/ 991146 h 2377798"/>
                <a:gd name="connsiteX209" fmla="*/ 1003060 w 1288968"/>
                <a:gd name="connsiteY209" fmla="*/ 995912 h 2377798"/>
                <a:gd name="connsiteX210" fmla="*/ 993532 w 1288968"/>
                <a:gd name="connsiteY210" fmla="*/ 991146 h 2377798"/>
                <a:gd name="connsiteX211" fmla="*/ 969704 w 1288968"/>
                <a:gd name="connsiteY211" fmla="*/ 981616 h 2377798"/>
                <a:gd name="connsiteX212" fmla="*/ 960176 w 1288968"/>
                <a:gd name="connsiteY212" fmla="*/ 986382 h 2377798"/>
                <a:gd name="connsiteX213" fmla="*/ 941116 w 1288968"/>
                <a:gd name="connsiteY213" fmla="*/ 991146 h 2377798"/>
                <a:gd name="connsiteX214" fmla="*/ 926820 w 1288968"/>
                <a:gd name="connsiteY214" fmla="*/ 995912 h 2377798"/>
                <a:gd name="connsiteX215" fmla="*/ 907760 w 1288968"/>
                <a:gd name="connsiteY215" fmla="*/ 995912 h 2377798"/>
                <a:gd name="connsiteX216" fmla="*/ 879168 w 1288968"/>
                <a:gd name="connsiteY216" fmla="*/ 1010206 h 2377798"/>
                <a:gd name="connsiteX217" fmla="*/ 860108 w 1288968"/>
                <a:gd name="connsiteY217" fmla="*/ 1029268 h 2377798"/>
                <a:gd name="connsiteX218" fmla="*/ 855344 w 1288968"/>
                <a:gd name="connsiteY218" fmla="*/ 1043562 h 2377798"/>
                <a:gd name="connsiteX219" fmla="*/ 845812 w 1288968"/>
                <a:gd name="connsiteY219" fmla="*/ 1057858 h 2377798"/>
                <a:gd name="connsiteX220" fmla="*/ 831516 w 1288968"/>
                <a:gd name="connsiteY220" fmla="*/ 1076918 h 2377798"/>
                <a:gd name="connsiteX221" fmla="*/ 817220 w 1288968"/>
                <a:gd name="connsiteY221" fmla="*/ 1095978 h 2377798"/>
                <a:gd name="connsiteX222" fmla="*/ 802924 w 1288968"/>
                <a:gd name="connsiteY222" fmla="*/ 1105510 h 2377798"/>
                <a:gd name="connsiteX223" fmla="*/ 807692 w 1288968"/>
                <a:gd name="connsiteY223" fmla="*/ 1110274 h 2377798"/>
                <a:gd name="connsiteX224" fmla="*/ 802924 w 1288968"/>
                <a:gd name="connsiteY224" fmla="*/ 1119804 h 2377798"/>
                <a:gd name="connsiteX225" fmla="*/ 788632 w 1288968"/>
                <a:gd name="connsiteY225" fmla="*/ 1119804 h 2377798"/>
                <a:gd name="connsiteX226" fmla="*/ 769568 w 1288968"/>
                <a:gd name="connsiteY226" fmla="*/ 1124570 h 2377798"/>
                <a:gd name="connsiteX227" fmla="*/ 769568 w 1288968"/>
                <a:gd name="connsiteY227" fmla="*/ 1167456 h 2377798"/>
                <a:gd name="connsiteX228" fmla="*/ 774336 w 1288968"/>
                <a:gd name="connsiteY228" fmla="*/ 1181752 h 2377798"/>
                <a:gd name="connsiteX229" fmla="*/ 783864 w 1288968"/>
                <a:gd name="connsiteY229" fmla="*/ 1200812 h 2377798"/>
                <a:gd name="connsiteX230" fmla="*/ 793396 w 1288968"/>
                <a:gd name="connsiteY230" fmla="*/ 1210342 h 2377798"/>
                <a:gd name="connsiteX231" fmla="*/ 798160 w 1288968"/>
                <a:gd name="connsiteY231" fmla="*/ 1238932 h 2377798"/>
                <a:gd name="connsiteX232" fmla="*/ 798160 w 1288968"/>
                <a:gd name="connsiteY232" fmla="*/ 1267524 h 2377798"/>
                <a:gd name="connsiteX233" fmla="*/ 817220 w 1288968"/>
                <a:gd name="connsiteY233" fmla="*/ 1281818 h 2377798"/>
                <a:gd name="connsiteX234" fmla="*/ 831516 w 1288968"/>
                <a:gd name="connsiteY234" fmla="*/ 1291350 h 2377798"/>
                <a:gd name="connsiteX235" fmla="*/ 836280 w 1288968"/>
                <a:gd name="connsiteY235" fmla="*/ 1305644 h 2377798"/>
                <a:gd name="connsiteX236" fmla="*/ 836280 w 1288968"/>
                <a:gd name="connsiteY236" fmla="*/ 1310410 h 2377798"/>
                <a:gd name="connsiteX237" fmla="*/ 831516 w 1288968"/>
                <a:gd name="connsiteY237" fmla="*/ 1329470 h 2377798"/>
                <a:gd name="connsiteX238" fmla="*/ 836280 w 1288968"/>
                <a:gd name="connsiteY238" fmla="*/ 1358062 h 2377798"/>
                <a:gd name="connsiteX239" fmla="*/ 864872 w 1288968"/>
                <a:gd name="connsiteY239" fmla="*/ 1415242 h 2377798"/>
                <a:gd name="connsiteX240" fmla="*/ 864872 w 1288968"/>
                <a:gd name="connsiteY240" fmla="*/ 1420008 h 2377798"/>
                <a:gd name="connsiteX241" fmla="*/ 860108 w 1288968"/>
                <a:gd name="connsiteY241" fmla="*/ 1420008 h 2377798"/>
                <a:gd name="connsiteX242" fmla="*/ 855344 w 1288968"/>
                <a:gd name="connsiteY242" fmla="*/ 1410478 h 2377798"/>
                <a:gd name="connsiteX243" fmla="*/ 841048 w 1288968"/>
                <a:gd name="connsiteY243" fmla="*/ 1391416 h 2377798"/>
                <a:gd name="connsiteX244" fmla="*/ 841048 w 1288968"/>
                <a:gd name="connsiteY244" fmla="*/ 1372356 h 2377798"/>
                <a:gd name="connsiteX245" fmla="*/ 821988 w 1288968"/>
                <a:gd name="connsiteY245" fmla="*/ 1348530 h 2377798"/>
                <a:gd name="connsiteX246" fmla="*/ 812456 w 1288968"/>
                <a:gd name="connsiteY246" fmla="*/ 1339000 h 2377798"/>
                <a:gd name="connsiteX247" fmla="*/ 807692 w 1288968"/>
                <a:gd name="connsiteY247" fmla="*/ 1348530 h 2377798"/>
                <a:gd name="connsiteX248" fmla="*/ 802924 w 1288968"/>
                <a:gd name="connsiteY248" fmla="*/ 1353296 h 2377798"/>
                <a:gd name="connsiteX249" fmla="*/ 788632 w 1288968"/>
                <a:gd name="connsiteY249" fmla="*/ 1343766 h 2377798"/>
                <a:gd name="connsiteX250" fmla="*/ 774336 w 1288968"/>
                <a:gd name="connsiteY250" fmla="*/ 1334236 h 2377798"/>
                <a:gd name="connsiteX251" fmla="*/ 760040 w 1288968"/>
                <a:gd name="connsiteY251" fmla="*/ 1310410 h 2377798"/>
                <a:gd name="connsiteX252" fmla="*/ 760040 w 1288968"/>
                <a:gd name="connsiteY252" fmla="*/ 1315174 h 2377798"/>
                <a:gd name="connsiteX253" fmla="*/ 755276 w 1288968"/>
                <a:gd name="connsiteY253" fmla="*/ 1319940 h 2377798"/>
                <a:gd name="connsiteX254" fmla="*/ 740980 w 1288968"/>
                <a:gd name="connsiteY254" fmla="*/ 1300880 h 2377798"/>
                <a:gd name="connsiteX255" fmla="*/ 726684 w 1288968"/>
                <a:gd name="connsiteY255" fmla="*/ 1286584 h 2377798"/>
                <a:gd name="connsiteX256" fmla="*/ 712388 w 1288968"/>
                <a:gd name="connsiteY256" fmla="*/ 1281818 h 2377798"/>
                <a:gd name="connsiteX257" fmla="*/ 702856 w 1288968"/>
                <a:gd name="connsiteY257" fmla="*/ 1277054 h 2377798"/>
                <a:gd name="connsiteX258" fmla="*/ 693328 w 1288968"/>
                <a:gd name="connsiteY258" fmla="*/ 1272288 h 2377798"/>
                <a:gd name="connsiteX259" fmla="*/ 674268 w 1288968"/>
                <a:gd name="connsiteY259" fmla="*/ 1262758 h 2377798"/>
                <a:gd name="connsiteX260" fmla="*/ 631380 w 1288968"/>
                <a:gd name="connsiteY260" fmla="*/ 1272288 h 2377798"/>
                <a:gd name="connsiteX261" fmla="*/ 578964 w 1288968"/>
                <a:gd name="connsiteY261" fmla="*/ 1262758 h 2377798"/>
                <a:gd name="connsiteX262" fmla="*/ 555140 w 1288968"/>
                <a:gd name="connsiteY262" fmla="*/ 1272288 h 2377798"/>
                <a:gd name="connsiteX263" fmla="*/ 545608 w 1288968"/>
                <a:gd name="connsiteY263" fmla="*/ 1267524 h 2377798"/>
                <a:gd name="connsiteX264" fmla="*/ 540844 w 1288968"/>
                <a:gd name="connsiteY264" fmla="*/ 1257994 h 2377798"/>
                <a:gd name="connsiteX265" fmla="*/ 545608 w 1288968"/>
                <a:gd name="connsiteY265" fmla="*/ 1243698 h 2377798"/>
                <a:gd name="connsiteX266" fmla="*/ 550372 w 1288968"/>
                <a:gd name="connsiteY266" fmla="*/ 1205578 h 2377798"/>
                <a:gd name="connsiteX267" fmla="*/ 555140 w 1288968"/>
                <a:gd name="connsiteY267" fmla="*/ 1181752 h 2377798"/>
                <a:gd name="connsiteX268" fmla="*/ 550372 w 1288968"/>
                <a:gd name="connsiteY268" fmla="*/ 1162690 h 2377798"/>
                <a:gd name="connsiteX269" fmla="*/ 555140 w 1288968"/>
                <a:gd name="connsiteY269" fmla="*/ 1153160 h 2377798"/>
                <a:gd name="connsiteX270" fmla="*/ 555140 w 1288968"/>
                <a:gd name="connsiteY270" fmla="*/ 1143630 h 2377798"/>
                <a:gd name="connsiteX271" fmla="*/ 550372 w 1288968"/>
                <a:gd name="connsiteY271" fmla="*/ 1138866 h 2377798"/>
                <a:gd name="connsiteX272" fmla="*/ 507488 w 1288968"/>
                <a:gd name="connsiteY272" fmla="*/ 1129334 h 2377798"/>
                <a:gd name="connsiteX273" fmla="*/ 502724 w 1288968"/>
                <a:gd name="connsiteY273" fmla="*/ 1119804 h 2377798"/>
                <a:gd name="connsiteX274" fmla="*/ 493192 w 1288968"/>
                <a:gd name="connsiteY274" fmla="*/ 1129334 h 2377798"/>
                <a:gd name="connsiteX275" fmla="*/ 445540 w 1288968"/>
                <a:gd name="connsiteY275" fmla="*/ 1134100 h 2377798"/>
                <a:gd name="connsiteX276" fmla="*/ 426480 w 1288968"/>
                <a:gd name="connsiteY276" fmla="*/ 1143630 h 2377798"/>
                <a:gd name="connsiteX277" fmla="*/ 412184 w 1288968"/>
                <a:gd name="connsiteY277" fmla="*/ 1157926 h 2377798"/>
                <a:gd name="connsiteX278" fmla="*/ 407420 w 1288968"/>
                <a:gd name="connsiteY278" fmla="*/ 1172222 h 2377798"/>
                <a:gd name="connsiteX279" fmla="*/ 416948 w 1288968"/>
                <a:gd name="connsiteY279" fmla="*/ 1186516 h 2377798"/>
                <a:gd name="connsiteX280" fmla="*/ 421716 w 1288968"/>
                <a:gd name="connsiteY280" fmla="*/ 1205578 h 2377798"/>
                <a:gd name="connsiteX281" fmla="*/ 402656 w 1288968"/>
                <a:gd name="connsiteY281" fmla="*/ 1248464 h 2377798"/>
                <a:gd name="connsiteX282" fmla="*/ 402656 w 1288968"/>
                <a:gd name="connsiteY282" fmla="*/ 1262758 h 2377798"/>
                <a:gd name="connsiteX283" fmla="*/ 407420 w 1288968"/>
                <a:gd name="connsiteY283" fmla="*/ 1315174 h 2377798"/>
                <a:gd name="connsiteX284" fmla="*/ 402656 w 1288968"/>
                <a:gd name="connsiteY284" fmla="*/ 1343766 h 2377798"/>
                <a:gd name="connsiteX285" fmla="*/ 397888 w 1288968"/>
                <a:gd name="connsiteY285" fmla="*/ 1362826 h 2377798"/>
                <a:gd name="connsiteX286" fmla="*/ 383596 w 1288968"/>
                <a:gd name="connsiteY286" fmla="*/ 1381886 h 2377798"/>
                <a:gd name="connsiteX287" fmla="*/ 374064 w 1288968"/>
                <a:gd name="connsiteY287" fmla="*/ 1410478 h 2377798"/>
                <a:gd name="connsiteX288" fmla="*/ 364532 w 1288968"/>
                <a:gd name="connsiteY288" fmla="*/ 1424772 h 2377798"/>
                <a:gd name="connsiteX289" fmla="*/ 350240 w 1288968"/>
                <a:gd name="connsiteY289" fmla="*/ 1458128 h 2377798"/>
                <a:gd name="connsiteX290" fmla="*/ 340708 w 1288968"/>
                <a:gd name="connsiteY290" fmla="*/ 1496250 h 2377798"/>
                <a:gd name="connsiteX291" fmla="*/ 331176 w 1288968"/>
                <a:gd name="connsiteY291" fmla="*/ 1515310 h 2377798"/>
                <a:gd name="connsiteX292" fmla="*/ 326412 w 1288968"/>
                <a:gd name="connsiteY292" fmla="*/ 1548666 h 2377798"/>
                <a:gd name="connsiteX293" fmla="*/ 297820 w 1288968"/>
                <a:gd name="connsiteY293" fmla="*/ 1601082 h 2377798"/>
                <a:gd name="connsiteX294" fmla="*/ 288292 w 1288968"/>
                <a:gd name="connsiteY294" fmla="*/ 1629674 h 2377798"/>
                <a:gd name="connsiteX295" fmla="*/ 278760 w 1288968"/>
                <a:gd name="connsiteY295" fmla="*/ 1639204 h 2377798"/>
                <a:gd name="connsiteX296" fmla="*/ 278760 w 1288968"/>
                <a:gd name="connsiteY296" fmla="*/ 1648734 h 2377798"/>
                <a:gd name="connsiteX297" fmla="*/ 283528 w 1288968"/>
                <a:gd name="connsiteY297" fmla="*/ 1663030 h 2377798"/>
                <a:gd name="connsiteX298" fmla="*/ 278760 w 1288968"/>
                <a:gd name="connsiteY298" fmla="*/ 1701150 h 2377798"/>
                <a:gd name="connsiteX299" fmla="*/ 273996 w 1288968"/>
                <a:gd name="connsiteY299" fmla="*/ 1734506 h 2377798"/>
                <a:gd name="connsiteX300" fmla="*/ 278760 w 1288968"/>
                <a:gd name="connsiteY300" fmla="*/ 1748802 h 2377798"/>
                <a:gd name="connsiteX301" fmla="*/ 297820 w 1288968"/>
                <a:gd name="connsiteY301" fmla="*/ 1782158 h 2377798"/>
                <a:gd name="connsiteX302" fmla="*/ 293056 w 1288968"/>
                <a:gd name="connsiteY302" fmla="*/ 1791688 h 2377798"/>
                <a:gd name="connsiteX303" fmla="*/ 288292 w 1288968"/>
                <a:gd name="connsiteY303" fmla="*/ 1805982 h 2377798"/>
                <a:gd name="connsiteX304" fmla="*/ 302588 w 1288968"/>
                <a:gd name="connsiteY304" fmla="*/ 1815514 h 2377798"/>
                <a:gd name="connsiteX305" fmla="*/ 312116 w 1288968"/>
                <a:gd name="connsiteY305" fmla="*/ 1815514 h 2377798"/>
                <a:gd name="connsiteX306" fmla="*/ 364532 w 1288968"/>
                <a:gd name="connsiteY306" fmla="*/ 1801218 h 2377798"/>
                <a:gd name="connsiteX307" fmla="*/ 378828 w 1288968"/>
                <a:gd name="connsiteY307" fmla="*/ 1801218 h 2377798"/>
                <a:gd name="connsiteX308" fmla="*/ 388360 w 1288968"/>
                <a:gd name="connsiteY308" fmla="*/ 1820278 h 2377798"/>
                <a:gd name="connsiteX309" fmla="*/ 393124 w 1288968"/>
                <a:gd name="connsiteY309" fmla="*/ 1829808 h 2377798"/>
                <a:gd name="connsiteX310" fmla="*/ 402656 w 1288968"/>
                <a:gd name="connsiteY310" fmla="*/ 1901286 h 2377798"/>
                <a:gd name="connsiteX311" fmla="*/ 407420 w 1288968"/>
                <a:gd name="connsiteY311" fmla="*/ 1915580 h 2377798"/>
                <a:gd name="connsiteX312" fmla="*/ 416948 w 1288968"/>
                <a:gd name="connsiteY312" fmla="*/ 1925110 h 2377798"/>
                <a:gd name="connsiteX313" fmla="*/ 426480 w 1288968"/>
                <a:gd name="connsiteY313" fmla="*/ 1939406 h 2377798"/>
                <a:gd name="connsiteX314" fmla="*/ 431244 w 1288968"/>
                <a:gd name="connsiteY314" fmla="*/ 1939406 h 2377798"/>
                <a:gd name="connsiteX315" fmla="*/ 431244 w 1288968"/>
                <a:gd name="connsiteY315" fmla="*/ 1934642 h 2377798"/>
                <a:gd name="connsiteX316" fmla="*/ 431244 w 1288968"/>
                <a:gd name="connsiteY316" fmla="*/ 1925110 h 2377798"/>
                <a:gd name="connsiteX317" fmla="*/ 440776 w 1288968"/>
                <a:gd name="connsiteY317" fmla="*/ 1939406 h 2377798"/>
                <a:gd name="connsiteX318" fmla="*/ 450304 w 1288968"/>
                <a:gd name="connsiteY318" fmla="*/ 1963232 h 2377798"/>
                <a:gd name="connsiteX319" fmla="*/ 478896 w 1288968"/>
                <a:gd name="connsiteY319" fmla="*/ 2096656 h 2377798"/>
                <a:gd name="connsiteX320" fmla="*/ 483660 w 1288968"/>
                <a:gd name="connsiteY320" fmla="*/ 2110950 h 2377798"/>
                <a:gd name="connsiteX321" fmla="*/ 493192 w 1288968"/>
                <a:gd name="connsiteY321" fmla="*/ 2130012 h 2377798"/>
                <a:gd name="connsiteX322" fmla="*/ 474132 w 1288968"/>
                <a:gd name="connsiteY322" fmla="*/ 2120482 h 2377798"/>
                <a:gd name="connsiteX323" fmla="*/ 469368 w 1288968"/>
                <a:gd name="connsiteY323" fmla="*/ 2091890 h 2377798"/>
                <a:gd name="connsiteX324" fmla="*/ 464600 w 1288968"/>
                <a:gd name="connsiteY324" fmla="*/ 2077594 h 2377798"/>
                <a:gd name="connsiteX325" fmla="*/ 459836 w 1288968"/>
                <a:gd name="connsiteY325" fmla="*/ 2077594 h 2377798"/>
                <a:gd name="connsiteX326" fmla="*/ 450304 w 1288968"/>
                <a:gd name="connsiteY326" fmla="*/ 2077594 h 2377798"/>
                <a:gd name="connsiteX327" fmla="*/ 450304 w 1288968"/>
                <a:gd name="connsiteY327" fmla="*/ 2072830 h 2377798"/>
                <a:gd name="connsiteX328" fmla="*/ 459836 w 1288968"/>
                <a:gd name="connsiteY328" fmla="*/ 2063300 h 2377798"/>
                <a:gd name="connsiteX329" fmla="*/ 455072 w 1288968"/>
                <a:gd name="connsiteY329" fmla="*/ 2053770 h 2377798"/>
                <a:gd name="connsiteX330" fmla="*/ 445540 w 1288968"/>
                <a:gd name="connsiteY330" fmla="*/ 2044240 h 2377798"/>
                <a:gd name="connsiteX331" fmla="*/ 431244 w 1288968"/>
                <a:gd name="connsiteY331" fmla="*/ 2049004 h 2377798"/>
                <a:gd name="connsiteX332" fmla="*/ 431244 w 1288968"/>
                <a:gd name="connsiteY332" fmla="*/ 2068064 h 2377798"/>
                <a:gd name="connsiteX333" fmla="*/ 440776 w 1288968"/>
                <a:gd name="connsiteY333" fmla="*/ 2087126 h 2377798"/>
                <a:gd name="connsiteX334" fmla="*/ 464600 w 1288968"/>
                <a:gd name="connsiteY334" fmla="*/ 2120482 h 2377798"/>
                <a:gd name="connsiteX335" fmla="*/ 474132 w 1288968"/>
                <a:gd name="connsiteY335" fmla="*/ 2134776 h 2377798"/>
                <a:gd name="connsiteX336" fmla="*/ 483660 w 1288968"/>
                <a:gd name="connsiteY336" fmla="*/ 2139542 h 2377798"/>
                <a:gd name="connsiteX337" fmla="*/ 497956 w 1288968"/>
                <a:gd name="connsiteY337" fmla="*/ 2134776 h 2377798"/>
                <a:gd name="connsiteX338" fmla="*/ 517016 w 1288968"/>
                <a:gd name="connsiteY338" fmla="*/ 2153838 h 2377798"/>
                <a:gd name="connsiteX339" fmla="*/ 531312 w 1288968"/>
                <a:gd name="connsiteY339" fmla="*/ 2163368 h 2377798"/>
                <a:gd name="connsiteX340" fmla="*/ 564668 w 1288968"/>
                <a:gd name="connsiteY340" fmla="*/ 2187194 h 2377798"/>
                <a:gd name="connsiteX341" fmla="*/ 588496 w 1288968"/>
                <a:gd name="connsiteY341" fmla="*/ 2182428 h 2377798"/>
                <a:gd name="connsiteX342" fmla="*/ 612320 w 1288968"/>
                <a:gd name="connsiteY342" fmla="*/ 2177662 h 2377798"/>
                <a:gd name="connsiteX343" fmla="*/ 626616 w 1288968"/>
                <a:gd name="connsiteY343" fmla="*/ 2177662 h 2377798"/>
                <a:gd name="connsiteX344" fmla="*/ 640912 w 1288968"/>
                <a:gd name="connsiteY344" fmla="*/ 2187194 h 2377798"/>
                <a:gd name="connsiteX345" fmla="*/ 659972 w 1288968"/>
                <a:gd name="connsiteY345" fmla="*/ 2201488 h 2377798"/>
                <a:gd name="connsiteX346" fmla="*/ 688564 w 1288968"/>
                <a:gd name="connsiteY346" fmla="*/ 2249140 h 2377798"/>
                <a:gd name="connsiteX347" fmla="*/ 736212 w 1288968"/>
                <a:gd name="connsiteY347" fmla="*/ 2282496 h 2377798"/>
                <a:gd name="connsiteX348" fmla="*/ 731448 w 1288968"/>
                <a:gd name="connsiteY348" fmla="*/ 2292026 h 2377798"/>
                <a:gd name="connsiteX349" fmla="*/ 726684 w 1288968"/>
                <a:gd name="connsiteY349" fmla="*/ 2306322 h 2377798"/>
                <a:gd name="connsiteX350" fmla="*/ 707624 w 1288968"/>
                <a:gd name="connsiteY350" fmla="*/ 2325382 h 2377798"/>
                <a:gd name="connsiteX351" fmla="*/ 707624 w 1288968"/>
                <a:gd name="connsiteY351" fmla="*/ 2334912 h 2377798"/>
                <a:gd name="connsiteX352" fmla="*/ 698092 w 1288968"/>
                <a:gd name="connsiteY352" fmla="*/ 2349208 h 2377798"/>
                <a:gd name="connsiteX353" fmla="*/ 688564 w 1288968"/>
                <a:gd name="connsiteY353" fmla="*/ 2353972 h 2377798"/>
                <a:gd name="connsiteX354" fmla="*/ 674268 w 1288968"/>
                <a:gd name="connsiteY354" fmla="*/ 2358738 h 2377798"/>
                <a:gd name="connsiteX355" fmla="*/ 669500 w 1288968"/>
                <a:gd name="connsiteY355" fmla="*/ 2353972 h 2377798"/>
                <a:gd name="connsiteX356" fmla="*/ 664736 w 1288968"/>
                <a:gd name="connsiteY356" fmla="*/ 2353972 h 2377798"/>
                <a:gd name="connsiteX357" fmla="*/ 655208 w 1288968"/>
                <a:gd name="connsiteY357" fmla="*/ 2339678 h 2377798"/>
                <a:gd name="connsiteX358" fmla="*/ 655208 w 1288968"/>
                <a:gd name="connsiteY358" fmla="*/ 2334912 h 2377798"/>
                <a:gd name="connsiteX359" fmla="*/ 650440 w 1288968"/>
                <a:gd name="connsiteY359" fmla="*/ 2334912 h 2377798"/>
                <a:gd name="connsiteX360" fmla="*/ 626616 w 1288968"/>
                <a:gd name="connsiteY360" fmla="*/ 2344442 h 2377798"/>
                <a:gd name="connsiteX361" fmla="*/ 602792 w 1288968"/>
                <a:gd name="connsiteY361" fmla="*/ 2353972 h 2377798"/>
                <a:gd name="connsiteX362" fmla="*/ 598024 w 1288968"/>
                <a:gd name="connsiteY362" fmla="*/ 2363502 h 2377798"/>
                <a:gd name="connsiteX363" fmla="*/ 593260 w 1288968"/>
                <a:gd name="connsiteY363" fmla="*/ 2373032 h 2377798"/>
                <a:gd name="connsiteX364" fmla="*/ 588496 w 1288968"/>
                <a:gd name="connsiteY364" fmla="*/ 2377798 h 2377798"/>
                <a:gd name="connsiteX365" fmla="*/ 578964 w 1288968"/>
                <a:gd name="connsiteY365" fmla="*/ 2377798 h 2377798"/>
                <a:gd name="connsiteX366" fmla="*/ 574200 w 1288968"/>
                <a:gd name="connsiteY366" fmla="*/ 2373032 h 2377798"/>
                <a:gd name="connsiteX367" fmla="*/ 569436 w 1288968"/>
                <a:gd name="connsiteY367" fmla="*/ 2363502 h 2377798"/>
                <a:gd name="connsiteX368" fmla="*/ 559904 w 1288968"/>
                <a:gd name="connsiteY368" fmla="*/ 2358738 h 2377798"/>
                <a:gd name="connsiteX369" fmla="*/ 559904 w 1288968"/>
                <a:gd name="connsiteY369" fmla="*/ 2344442 h 2377798"/>
                <a:gd name="connsiteX370" fmla="*/ 574200 w 1288968"/>
                <a:gd name="connsiteY370" fmla="*/ 2330146 h 2377798"/>
                <a:gd name="connsiteX371" fmla="*/ 578964 w 1288968"/>
                <a:gd name="connsiteY371" fmla="*/ 2315852 h 2377798"/>
                <a:gd name="connsiteX372" fmla="*/ 574200 w 1288968"/>
                <a:gd name="connsiteY372" fmla="*/ 2296790 h 2377798"/>
                <a:gd name="connsiteX373" fmla="*/ 569436 w 1288968"/>
                <a:gd name="connsiteY373" fmla="*/ 2282496 h 2377798"/>
                <a:gd name="connsiteX374" fmla="*/ 559904 w 1288968"/>
                <a:gd name="connsiteY374" fmla="*/ 2282496 h 2377798"/>
                <a:gd name="connsiteX375" fmla="*/ 540844 w 1288968"/>
                <a:gd name="connsiteY375" fmla="*/ 2282496 h 2377798"/>
                <a:gd name="connsiteX376" fmla="*/ 536080 w 1288968"/>
                <a:gd name="connsiteY376" fmla="*/ 2268200 h 2377798"/>
                <a:gd name="connsiteX377" fmla="*/ 531312 w 1288968"/>
                <a:gd name="connsiteY377" fmla="*/ 2253904 h 2377798"/>
                <a:gd name="connsiteX378" fmla="*/ 526548 w 1288968"/>
                <a:gd name="connsiteY378" fmla="*/ 2249140 h 2377798"/>
                <a:gd name="connsiteX379" fmla="*/ 517016 w 1288968"/>
                <a:gd name="connsiteY379" fmla="*/ 2244374 h 2377798"/>
                <a:gd name="connsiteX380" fmla="*/ 502724 w 1288968"/>
                <a:gd name="connsiteY380" fmla="*/ 2249140 h 2377798"/>
                <a:gd name="connsiteX381" fmla="*/ 493192 w 1288968"/>
                <a:gd name="connsiteY381" fmla="*/ 2249140 h 2377798"/>
                <a:gd name="connsiteX382" fmla="*/ 459836 w 1288968"/>
                <a:gd name="connsiteY382" fmla="*/ 2234844 h 2377798"/>
                <a:gd name="connsiteX383" fmla="*/ 450304 w 1288968"/>
                <a:gd name="connsiteY383" fmla="*/ 2215784 h 2377798"/>
                <a:gd name="connsiteX384" fmla="*/ 440776 w 1288968"/>
                <a:gd name="connsiteY384" fmla="*/ 2215784 h 2377798"/>
                <a:gd name="connsiteX385" fmla="*/ 436012 w 1288968"/>
                <a:gd name="connsiteY385" fmla="*/ 2215784 h 2377798"/>
                <a:gd name="connsiteX386" fmla="*/ 431244 w 1288968"/>
                <a:gd name="connsiteY386" fmla="*/ 2220548 h 2377798"/>
                <a:gd name="connsiteX387" fmla="*/ 426480 w 1288968"/>
                <a:gd name="connsiteY387" fmla="*/ 2244374 h 2377798"/>
                <a:gd name="connsiteX388" fmla="*/ 426480 w 1288968"/>
                <a:gd name="connsiteY388" fmla="*/ 2253904 h 2377798"/>
                <a:gd name="connsiteX389" fmla="*/ 388360 w 1288968"/>
                <a:gd name="connsiteY389" fmla="*/ 2206254 h 2377798"/>
                <a:gd name="connsiteX390" fmla="*/ 359768 w 1288968"/>
                <a:gd name="connsiteY390" fmla="*/ 2182428 h 2377798"/>
                <a:gd name="connsiteX391" fmla="*/ 364532 w 1288968"/>
                <a:gd name="connsiteY391" fmla="*/ 2149072 h 2377798"/>
                <a:gd name="connsiteX392" fmla="*/ 355004 w 1288968"/>
                <a:gd name="connsiteY392" fmla="*/ 2139542 h 2377798"/>
                <a:gd name="connsiteX393" fmla="*/ 345472 w 1288968"/>
                <a:gd name="connsiteY393" fmla="*/ 2139542 h 2377798"/>
                <a:gd name="connsiteX394" fmla="*/ 335944 w 1288968"/>
                <a:gd name="connsiteY394" fmla="*/ 2130012 h 2377798"/>
                <a:gd name="connsiteX395" fmla="*/ 345472 w 1288968"/>
                <a:gd name="connsiteY395" fmla="*/ 2110950 h 2377798"/>
                <a:gd name="connsiteX396" fmla="*/ 335944 w 1288968"/>
                <a:gd name="connsiteY396" fmla="*/ 2110950 h 2377798"/>
                <a:gd name="connsiteX397" fmla="*/ 316884 w 1288968"/>
                <a:gd name="connsiteY397" fmla="*/ 2110950 h 2377798"/>
                <a:gd name="connsiteX398" fmla="*/ 307352 w 1288968"/>
                <a:gd name="connsiteY398" fmla="*/ 2106186 h 2377798"/>
                <a:gd name="connsiteX399" fmla="*/ 297820 w 1288968"/>
                <a:gd name="connsiteY399" fmla="*/ 2077594 h 2377798"/>
                <a:gd name="connsiteX400" fmla="*/ 293056 w 1288968"/>
                <a:gd name="connsiteY400" fmla="*/ 2068064 h 2377798"/>
                <a:gd name="connsiteX401" fmla="*/ 278760 w 1288968"/>
                <a:gd name="connsiteY401" fmla="*/ 2053770 h 2377798"/>
                <a:gd name="connsiteX402" fmla="*/ 264464 w 1288968"/>
                <a:gd name="connsiteY402" fmla="*/ 2053770 h 2377798"/>
                <a:gd name="connsiteX403" fmla="*/ 259700 w 1288968"/>
                <a:gd name="connsiteY403" fmla="*/ 2044240 h 2377798"/>
                <a:gd name="connsiteX404" fmla="*/ 259700 w 1288968"/>
                <a:gd name="connsiteY404" fmla="*/ 2025178 h 2377798"/>
                <a:gd name="connsiteX405" fmla="*/ 245404 w 1288968"/>
                <a:gd name="connsiteY405" fmla="*/ 2010884 h 2377798"/>
                <a:gd name="connsiteX406" fmla="*/ 231108 w 1288968"/>
                <a:gd name="connsiteY406" fmla="*/ 2001354 h 2377798"/>
                <a:gd name="connsiteX407" fmla="*/ 216816 w 1288968"/>
                <a:gd name="connsiteY407" fmla="*/ 1996588 h 2377798"/>
                <a:gd name="connsiteX408" fmla="*/ 202520 w 1288968"/>
                <a:gd name="connsiteY408" fmla="*/ 1967998 h 2377798"/>
                <a:gd name="connsiteX409" fmla="*/ 192988 w 1288968"/>
                <a:gd name="connsiteY409" fmla="*/ 1958466 h 2377798"/>
                <a:gd name="connsiteX410" fmla="*/ 183460 w 1288968"/>
                <a:gd name="connsiteY410" fmla="*/ 1953702 h 2377798"/>
                <a:gd name="connsiteX411" fmla="*/ 173928 w 1288968"/>
                <a:gd name="connsiteY411" fmla="*/ 1958466 h 2377798"/>
                <a:gd name="connsiteX412" fmla="*/ 169164 w 1288968"/>
                <a:gd name="connsiteY412" fmla="*/ 1967998 h 2377798"/>
                <a:gd name="connsiteX413" fmla="*/ 159632 w 1288968"/>
                <a:gd name="connsiteY413" fmla="*/ 1977528 h 2377798"/>
                <a:gd name="connsiteX414" fmla="*/ 150104 w 1288968"/>
                <a:gd name="connsiteY414" fmla="*/ 1977528 h 2377798"/>
                <a:gd name="connsiteX415" fmla="*/ 140572 w 1288968"/>
                <a:gd name="connsiteY415" fmla="*/ 1972762 h 2377798"/>
                <a:gd name="connsiteX416" fmla="*/ 131044 w 1288968"/>
                <a:gd name="connsiteY416" fmla="*/ 1939406 h 2377798"/>
                <a:gd name="connsiteX417" fmla="*/ 131044 w 1288968"/>
                <a:gd name="connsiteY417" fmla="*/ 1920346 h 2377798"/>
                <a:gd name="connsiteX418" fmla="*/ 131044 w 1288968"/>
                <a:gd name="connsiteY418" fmla="*/ 1886990 h 2377798"/>
                <a:gd name="connsiteX419" fmla="*/ 145336 w 1288968"/>
                <a:gd name="connsiteY419" fmla="*/ 1853634 h 2377798"/>
                <a:gd name="connsiteX420" fmla="*/ 150104 w 1288968"/>
                <a:gd name="connsiteY420" fmla="*/ 1801218 h 2377798"/>
                <a:gd name="connsiteX421" fmla="*/ 164400 w 1288968"/>
                <a:gd name="connsiteY421" fmla="*/ 1772626 h 2377798"/>
                <a:gd name="connsiteX422" fmla="*/ 169164 w 1288968"/>
                <a:gd name="connsiteY422" fmla="*/ 1758332 h 2377798"/>
                <a:gd name="connsiteX423" fmla="*/ 183460 w 1288968"/>
                <a:gd name="connsiteY423" fmla="*/ 1715446 h 2377798"/>
                <a:gd name="connsiteX424" fmla="*/ 202520 w 1288968"/>
                <a:gd name="connsiteY424" fmla="*/ 1658264 h 2377798"/>
                <a:gd name="connsiteX425" fmla="*/ 207284 w 1288968"/>
                <a:gd name="connsiteY425" fmla="*/ 1648734 h 2377798"/>
                <a:gd name="connsiteX426" fmla="*/ 212048 w 1288968"/>
                <a:gd name="connsiteY426" fmla="*/ 1634438 h 2377798"/>
                <a:gd name="connsiteX427" fmla="*/ 216816 w 1288968"/>
                <a:gd name="connsiteY427" fmla="*/ 1620142 h 2377798"/>
                <a:gd name="connsiteX428" fmla="*/ 216816 w 1288968"/>
                <a:gd name="connsiteY428" fmla="*/ 1601082 h 2377798"/>
                <a:gd name="connsiteX429" fmla="*/ 212048 w 1288968"/>
                <a:gd name="connsiteY429" fmla="*/ 1591552 h 2377798"/>
                <a:gd name="connsiteX430" fmla="*/ 212048 w 1288968"/>
                <a:gd name="connsiteY430" fmla="*/ 1586786 h 2377798"/>
                <a:gd name="connsiteX431" fmla="*/ 216816 w 1288968"/>
                <a:gd name="connsiteY431" fmla="*/ 1577256 h 2377798"/>
                <a:gd name="connsiteX432" fmla="*/ 231108 w 1288968"/>
                <a:gd name="connsiteY432" fmla="*/ 1567726 h 2377798"/>
                <a:gd name="connsiteX433" fmla="*/ 254936 w 1288968"/>
                <a:gd name="connsiteY433" fmla="*/ 1543900 h 2377798"/>
                <a:gd name="connsiteX434" fmla="*/ 278760 w 1288968"/>
                <a:gd name="connsiteY434" fmla="*/ 1515310 h 2377798"/>
                <a:gd name="connsiteX435" fmla="*/ 307352 w 1288968"/>
                <a:gd name="connsiteY435" fmla="*/ 1467658 h 2377798"/>
                <a:gd name="connsiteX436" fmla="*/ 321648 w 1288968"/>
                <a:gd name="connsiteY436" fmla="*/ 1443834 h 2377798"/>
                <a:gd name="connsiteX437" fmla="*/ 326412 w 1288968"/>
                <a:gd name="connsiteY437" fmla="*/ 1434302 h 2377798"/>
                <a:gd name="connsiteX438" fmla="*/ 331176 w 1288968"/>
                <a:gd name="connsiteY438" fmla="*/ 1429538 h 2377798"/>
                <a:gd name="connsiteX439" fmla="*/ 340708 w 1288968"/>
                <a:gd name="connsiteY439" fmla="*/ 1424772 h 2377798"/>
                <a:gd name="connsiteX440" fmla="*/ 345472 w 1288968"/>
                <a:gd name="connsiteY440" fmla="*/ 1410478 h 2377798"/>
                <a:gd name="connsiteX441" fmla="*/ 345472 w 1288968"/>
                <a:gd name="connsiteY441" fmla="*/ 1405712 h 2377798"/>
                <a:gd name="connsiteX442" fmla="*/ 331176 w 1288968"/>
                <a:gd name="connsiteY442" fmla="*/ 1358062 h 2377798"/>
                <a:gd name="connsiteX443" fmla="*/ 321648 w 1288968"/>
                <a:gd name="connsiteY443" fmla="*/ 1343766 h 2377798"/>
                <a:gd name="connsiteX444" fmla="*/ 316884 w 1288968"/>
                <a:gd name="connsiteY444" fmla="*/ 1324706 h 2377798"/>
                <a:gd name="connsiteX445" fmla="*/ 316884 w 1288968"/>
                <a:gd name="connsiteY445" fmla="*/ 1310410 h 2377798"/>
                <a:gd name="connsiteX446" fmla="*/ 312116 w 1288968"/>
                <a:gd name="connsiteY446" fmla="*/ 1296114 h 2377798"/>
                <a:gd name="connsiteX447" fmla="*/ 312116 w 1288968"/>
                <a:gd name="connsiteY447" fmla="*/ 1286584 h 2377798"/>
                <a:gd name="connsiteX448" fmla="*/ 307352 w 1288968"/>
                <a:gd name="connsiteY448" fmla="*/ 1277054 h 2377798"/>
                <a:gd name="connsiteX449" fmla="*/ 297820 w 1288968"/>
                <a:gd name="connsiteY449" fmla="*/ 1267524 h 2377798"/>
                <a:gd name="connsiteX450" fmla="*/ 283528 w 1288968"/>
                <a:gd name="connsiteY450" fmla="*/ 1253228 h 2377798"/>
                <a:gd name="connsiteX451" fmla="*/ 278760 w 1288968"/>
                <a:gd name="connsiteY451" fmla="*/ 1229402 h 2377798"/>
                <a:gd name="connsiteX452" fmla="*/ 278760 w 1288968"/>
                <a:gd name="connsiteY452" fmla="*/ 1219872 h 2377798"/>
                <a:gd name="connsiteX453" fmla="*/ 269232 w 1288968"/>
                <a:gd name="connsiteY453" fmla="*/ 1205578 h 2377798"/>
                <a:gd name="connsiteX454" fmla="*/ 269232 w 1288968"/>
                <a:gd name="connsiteY454" fmla="*/ 1196046 h 2377798"/>
                <a:gd name="connsiteX455" fmla="*/ 273996 w 1288968"/>
                <a:gd name="connsiteY455" fmla="*/ 1186516 h 2377798"/>
                <a:gd name="connsiteX456" fmla="*/ 278760 w 1288968"/>
                <a:gd name="connsiteY456" fmla="*/ 1176986 h 2377798"/>
                <a:gd name="connsiteX457" fmla="*/ 278760 w 1288968"/>
                <a:gd name="connsiteY457" fmla="*/ 1134100 h 2377798"/>
                <a:gd name="connsiteX458" fmla="*/ 273996 w 1288968"/>
                <a:gd name="connsiteY458" fmla="*/ 1119804 h 2377798"/>
                <a:gd name="connsiteX459" fmla="*/ 273996 w 1288968"/>
                <a:gd name="connsiteY459" fmla="*/ 1095978 h 2377798"/>
                <a:gd name="connsiteX460" fmla="*/ 264464 w 1288968"/>
                <a:gd name="connsiteY460" fmla="*/ 1081684 h 2377798"/>
                <a:gd name="connsiteX461" fmla="*/ 254936 w 1288968"/>
                <a:gd name="connsiteY461" fmla="*/ 1057858 h 2377798"/>
                <a:gd name="connsiteX462" fmla="*/ 240640 w 1288968"/>
                <a:gd name="connsiteY462" fmla="*/ 1043562 h 2377798"/>
                <a:gd name="connsiteX463" fmla="*/ 207284 w 1288968"/>
                <a:gd name="connsiteY463" fmla="*/ 1014972 h 2377798"/>
                <a:gd name="connsiteX464" fmla="*/ 183460 w 1288968"/>
                <a:gd name="connsiteY464" fmla="*/ 995912 h 2377798"/>
                <a:gd name="connsiteX465" fmla="*/ 173928 w 1288968"/>
                <a:gd name="connsiteY465" fmla="*/ 976850 h 2377798"/>
                <a:gd name="connsiteX466" fmla="*/ 159632 w 1288968"/>
                <a:gd name="connsiteY466" fmla="*/ 953026 h 2377798"/>
                <a:gd name="connsiteX467" fmla="*/ 145336 w 1288968"/>
                <a:gd name="connsiteY467" fmla="*/ 938730 h 2377798"/>
                <a:gd name="connsiteX468" fmla="*/ 131044 w 1288968"/>
                <a:gd name="connsiteY468" fmla="*/ 919670 h 2377798"/>
                <a:gd name="connsiteX469" fmla="*/ 126276 w 1288968"/>
                <a:gd name="connsiteY469" fmla="*/ 895844 h 2377798"/>
                <a:gd name="connsiteX470" fmla="*/ 121512 w 1288968"/>
                <a:gd name="connsiteY470" fmla="*/ 867254 h 2377798"/>
                <a:gd name="connsiteX471" fmla="*/ 126276 w 1288968"/>
                <a:gd name="connsiteY471" fmla="*/ 857722 h 2377798"/>
                <a:gd name="connsiteX472" fmla="*/ 131044 w 1288968"/>
                <a:gd name="connsiteY472" fmla="*/ 852958 h 2377798"/>
                <a:gd name="connsiteX473" fmla="*/ 140572 w 1288968"/>
                <a:gd name="connsiteY473" fmla="*/ 848192 h 2377798"/>
                <a:gd name="connsiteX474" fmla="*/ 145336 w 1288968"/>
                <a:gd name="connsiteY474" fmla="*/ 843428 h 2377798"/>
                <a:gd name="connsiteX475" fmla="*/ 164400 w 1288968"/>
                <a:gd name="connsiteY475" fmla="*/ 833898 h 2377798"/>
                <a:gd name="connsiteX476" fmla="*/ 178692 w 1288968"/>
                <a:gd name="connsiteY476" fmla="*/ 833898 h 2377798"/>
                <a:gd name="connsiteX477" fmla="*/ 183460 w 1288968"/>
                <a:gd name="connsiteY477" fmla="*/ 829132 h 2377798"/>
                <a:gd name="connsiteX478" fmla="*/ 183460 w 1288968"/>
                <a:gd name="connsiteY478" fmla="*/ 824366 h 2377798"/>
                <a:gd name="connsiteX479" fmla="*/ 183460 w 1288968"/>
                <a:gd name="connsiteY479" fmla="*/ 800542 h 2377798"/>
                <a:gd name="connsiteX480" fmla="*/ 183460 w 1288968"/>
                <a:gd name="connsiteY480" fmla="*/ 767186 h 2377798"/>
                <a:gd name="connsiteX481" fmla="*/ 183460 w 1288968"/>
                <a:gd name="connsiteY481" fmla="*/ 738594 h 2377798"/>
                <a:gd name="connsiteX482" fmla="*/ 188224 w 1288968"/>
                <a:gd name="connsiteY482" fmla="*/ 719534 h 2377798"/>
                <a:gd name="connsiteX483" fmla="*/ 221580 w 1288968"/>
                <a:gd name="connsiteY483" fmla="*/ 700474 h 2377798"/>
                <a:gd name="connsiteX484" fmla="*/ 231108 w 1288968"/>
                <a:gd name="connsiteY484" fmla="*/ 690944 h 2377798"/>
                <a:gd name="connsiteX485" fmla="*/ 235876 w 1288968"/>
                <a:gd name="connsiteY485" fmla="*/ 681414 h 2377798"/>
                <a:gd name="connsiteX486" fmla="*/ 235876 w 1288968"/>
                <a:gd name="connsiteY486" fmla="*/ 671882 h 2377798"/>
                <a:gd name="connsiteX487" fmla="*/ 231108 w 1288968"/>
                <a:gd name="connsiteY487" fmla="*/ 662352 h 2377798"/>
                <a:gd name="connsiteX488" fmla="*/ 226344 w 1288968"/>
                <a:gd name="connsiteY488" fmla="*/ 662352 h 2377798"/>
                <a:gd name="connsiteX489" fmla="*/ 202520 w 1288968"/>
                <a:gd name="connsiteY489" fmla="*/ 676648 h 2377798"/>
                <a:gd name="connsiteX490" fmla="*/ 197752 w 1288968"/>
                <a:gd name="connsiteY490" fmla="*/ 676648 h 2377798"/>
                <a:gd name="connsiteX491" fmla="*/ 188224 w 1288968"/>
                <a:gd name="connsiteY491" fmla="*/ 643292 h 2377798"/>
                <a:gd name="connsiteX492" fmla="*/ 183460 w 1288968"/>
                <a:gd name="connsiteY492" fmla="*/ 633762 h 2377798"/>
                <a:gd name="connsiteX493" fmla="*/ 178692 w 1288968"/>
                <a:gd name="connsiteY493" fmla="*/ 624232 h 2377798"/>
                <a:gd name="connsiteX494" fmla="*/ 169164 w 1288968"/>
                <a:gd name="connsiteY494" fmla="*/ 609936 h 2377798"/>
                <a:gd name="connsiteX495" fmla="*/ 169164 w 1288968"/>
                <a:gd name="connsiteY495" fmla="*/ 581346 h 2377798"/>
                <a:gd name="connsiteX496" fmla="*/ 164400 w 1288968"/>
                <a:gd name="connsiteY496" fmla="*/ 567050 h 2377798"/>
                <a:gd name="connsiteX497" fmla="*/ 135808 w 1288968"/>
                <a:gd name="connsiteY497" fmla="*/ 543224 h 2377798"/>
                <a:gd name="connsiteX498" fmla="*/ 121512 w 1288968"/>
                <a:gd name="connsiteY498" fmla="*/ 524164 h 2377798"/>
                <a:gd name="connsiteX499" fmla="*/ 104832 w 1288968"/>
                <a:gd name="connsiteY499" fmla="*/ 505104 h 2377798"/>
                <a:gd name="connsiteX500" fmla="*/ 85772 w 1288968"/>
                <a:gd name="connsiteY500" fmla="*/ 476512 h 2377798"/>
                <a:gd name="connsiteX501" fmla="*/ 66712 w 1288968"/>
                <a:gd name="connsiteY501" fmla="*/ 452686 h 2377798"/>
                <a:gd name="connsiteX502" fmla="*/ 52416 w 1288968"/>
                <a:gd name="connsiteY502" fmla="*/ 438392 h 2377798"/>
                <a:gd name="connsiteX503" fmla="*/ 52416 w 1288968"/>
                <a:gd name="connsiteY503" fmla="*/ 433626 h 2377798"/>
                <a:gd name="connsiteX504" fmla="*/ 47652 w 1288968"/>
                <a:gd name="connsiteY504" fmla="*/ 428862 h 2377798"/>
                <a:gd name="connsiteX505" fmla="*/ 57184 w 1288968"/>
                <a:gd name="connsiteY505" fmla="*/ 414566 h 2377798"/>
                <a:gd name="connsiteX506" fmla="*/ 52416 w 1288968"/>
                <a:gd name="connsiteY506" fmla="*/ 395506 h 2377798"/>
                <a:gd name="connsiteX507" fmla="*/ 42888 w 1288968"/>
                <a:gd name="connsiteY507" fmla="*/ 371680 h 2377798"/>
                <a:gd name="connsiteX508" fmla="*/ 38124 w 1288968"/>
                <a:gd name="connsiteY508" fmla="*/ 357384 h 2377798"/>
                <a:gd name="connsiteX509" fmla="*/ 38124 w 1288968"/>
                <a:gd name="connsiteY509" fmla="*/ 352620 h 2377798"/>
                <a:gd name="connsiteX510" fmla="*/ 33356 w 1288968"/>
                <a:gd name="connsiteY510" fmla="*/ 352620 h 2377798"/>
                <a:gd name="connsiteX511" fmla="*/ 23828 w 1288968"/>
                <a:gd name="connsiteY511" fmla="*/ 352620 h 2377798"/>
                <a:gd name="connsiteX512" fmla="*/ 9532 w 1288968"/>
                <a:gd name="connsiteY512" fmla="*/ 343090 h 2377798"/>
                <a:gd name="connsiteX513" fmla="*/ 0 w 1288968"/>
                <a:gd name="connsiteY513" fmla="*/ 319264 h 2377798"/>
                <a:gd name="connsiteX514" fmla="*/ 0 w 1288968"/>
                <a:gd name="connsiteY514" fmla="*/ 314498 h 2377798"/>
                <a:gd name="connsiteX515" fmla="*/ 4768 w 1288968"/>
                <a:gd name="connsiteY515" fmla="*/ 314498 h 2377798"/>
                <a:gd name="connsiteX516" fmla="*/ 14296 w 1288968"/>
                <a:gd name="connsiteY516" fmla="*/ 319264 h 2377798"/>
                <a:gd name="connsiteX517" fmla="*/ 23828 w 1288968"/>
                <a:gd name="connsiteY517" fmla="*/ 319264 h 2377798"/>
                <a:gd name="connsiteX518" fmla="*/ 28592 w 1288968"/>
                <a:gd name="connsiteY518" fmla="*/ 314498 h 2377798"/>
                <a:gd name="connsiteX519" fmla="*/ 47652 w 1288968"/>
                <a:gd name="connsiteY519" fmla="*/ 309734 h 2377798"/>
                <a:gd name="connsiteX520" fmla="*/ 52416 w 1288968"/>
                <a:gd name="connsiteY520" fmla="*/ 309734 h 2377798"/>
                <a:gd name="connsiteX521" fmla="*/ 57184 w 1288968"/>
                <a:gd name="connsiteY521" fmla="*/ 304968 h 2377798"/>
                <a:gd name="connsiteX522" fmla="*/ 57184 w 1288968"/>
                <a:gd name="connsiteY522" fmla="*/ 300202 h 2377798"/>
                <a:gd name="connsiteX523" fmla="*/ 52416 w 1288968"/>
                <a:gd name="connsiteY523" fmla="*/ 247786 h 2377798"/>
                <a:gd name="connsiteX524" fmla="*/ 52416 w 1288968"/>
                <a:gd name="connsiteY524" fmla="*/ 238256 h 2377798"/>
                <a:gd name="connsiteX525" fmla="*/ 66712 w 1288968"/>
                <a:gd name="connsiteY525" fmla="*/ 214430 h 2377798"/>
                <a:gd name="connsiteX526" fmla="*/ 66712 w 1288968"/>
                <a:gd name="connsiteY526" fmla="*/ 195370 h 2377798"/>
                <a:gd name="connsiteX527" fmla="*/ 66712 w 1288968"/>
                <a:gd name="connsiteY527" fmla="*/ 162014 h 2377798"/>
                <a:gd name="connsiteX528" fmla="*/ 85772 w 1288968"/>
                <a:gd name="connsiteY528" fmla="*/ 138188 h 2377798"/>
                <a:gd name="connsiteX529" fmla="*/ 95304 w 1288968"/>
                <a:gd name="connsiteY529" fmla="*/ 128658 h 2377798"/>
                <a:gd name="connsiteX530" fmla="*/ 100068 w 1288968"/>
                <a:gd name="connsiteY530" fmla="*/ 114364 h 2377798"/>
                <a:gd name="connsiteX531" fmla="*/ 104832 w 1288968"/>
                <a:gd name="connsiteY531" fmla="*/ 109598 h 2377798"/>
                <a:gd name="connsiteX532" fmla="*/ 114364 w 1288968"/>
                <a:gd name="connsiteY532" fmla="*/ 109598 h 2377798"/>
                <a:gd name="connsiteX533" fmla="*/ 131044 w 1288968"/>
                <a:gd name="connsiteY533" fmla="*/ 123894 h 2377798"/>
                <a:gd name="connsiteX534" fmla="*/ 140572 w 1288968"/>
                <a:gd name="connsiteY534" fmla="*/ 123894 h 2377798"/>
                <a:gd name="connsiteX535" fmla="*/ 150104 w 1288968"/>
                <a:gd name="connsiteY535" fmla="*/ 123894 h 2377798"/>
                <a:gd name="connsiteX536" fmla="*/ 164400 w 1288968"/>
                <a:gd name="connsiteY536" fmla="*/ 123894 h 2377798"/>
                <a:gd name="connsiteX537" fmla="*/ 169164 w 1288968"/>
                <a:gd name="connsiteY537" fmla="*/ 119128 h 2377798"/>
                <a:gd name="connsiteX538" fmla="*/ 212048 w 1288968"/>
                <a:gd name="connsiteY538" fmla="*/ 109598 h 2377798"/>
                <a:gd name="connsiteX539" fmla="*/ 221580 w 1288968"/>
                <a:gd name="connsiteY539" fmla="*/ 109598 h 2377798"/>
                <a:gd name="connsiteX540" fmla="*/ 231108 w 1288968"/>
                <a:gd name="connsiteY540" fmla="*/ 109598 h 2377798"/>
                <a:gd name="connsiteX541" fmla="*/ 235876 w 1288968"/>
                <a:gd name="connsiteY541" fmla="*/ 109598 h 2377798"/>
                <a:gd name="connsiteX542" fmla="*/ 245404 w 1288968"/>
                <a:gd name="connsiteY542" fmla="*/ 104832 h 2377798"/>
                <a:gd name="connsiteX543" fmla="*/ 250172 w 1288968"/>
                <a:gd name="connsiteY543" fmla="*/ 95302 h 2377798"/>
                <a:gd name="connsiteX544" fmla="*/ 254936 w 1288968"/>
                <a:gd name="connsiteY544" fmla="*/ 61946 h 2377798"/>
                <a:gd name="connsiteX545" fmla="*/ 254936 w 1288968"/>
                <a:gd name="connsiteY545" fmla="*/ 57182 h 2377798"/>
                <a:gd name="connsiteX546" fmla="*/ 264464 w 1288968"/>
                <a:gd name="connsiteY546" fmla="*/ 57182 h 2377798"/>
                <a:gd name="connsiteX547" fmla="*/ 269232 w 1288968"/>
                <a:gd name="connsiteY547" fmla="*/ 52416 h 2377798"/>
                <a:gd name="connsiteX548" fmla="*/ 283528 w 1288968"/>
                <a:gd name="connsiteY548" fmla="*/ 52416 h 2377798"/>
                <a:gd name="connsiteX549" fmla="*/ 293056 w 1288968"/>
                <a:gd name="connsiteY549" fmla="*/ 57182 h 2377798"/>
                <a:gd name="connsiteX550" fmla="*/ 302588 w 1288968"/>
                <a:gd name="connsiteY550" fmla="*/ 57182 h 2377798"/>
                <a:gd name="connsiteX551" fmla="*/ 312116 w 1288968"/>
                <a:gd name="connsiteY551" fmla="*/ 57182 h 2377798"/>
                <a:gd name="connsiteX552" fmla="*/ 321648 w 1288968"/>
                <a:gd name="connsiteY552" fmla="*/ 52416 h 2377798"/>
                <a:gd name="connsiteX553" fmla="*/ 326412 w 1288968"/>
                <a:gd name="connsiteY553" fmla="*/ 47652 h 2377798"/>
                <a:gd name="connsiteX554" fmla="*/ 331176 w 1288968"/>
                <a:gd name="connsiteY554" fmla="*/ 38122 h 2377798"/>
                <a:gd name="connsiteX555" fmla="*/ 326412 w 1288968"/>
                <a:gd name="connsiteY555" fmla="*/ 28590 h 2377798"/>
                <a:gd name="connsiteX556" fmla="*/ 321648 w 1288968"/>
                <a:gd name="connsiteY556" fmla="*/ 14296 h 2377798"/>
                <a:gd name="connsiteX557" fmla="*/ 321648 w 1288968"/>
                <a:gd name="connsiteY557" fmla="*/ 9530 h 2377798"/>
                <a:gd name="connsiteX558" fmla="*/ 335944 w 1288968"/>
                <a:gd name="connsiteY558" fmla="*/ 14296 h 2377798"/>
                <a:gd name="connsiteX559" fmla="*/ 350240 w 1288968"/>
                <a:gd name="connsiteY559" fmla="*/ 19060 h 2377798"/>
                <a:gd name="connsiteX560" fmla="*/ 364532 w 1288968"/>
                <a:gd name="connsiteY560" fmla="*/ 19060 h 2377798"/>
                <a:gd name="connsiteX561" fmla="*/ 374064 w 1288968"/>
                <a:gd name="connsiteY561" fmla="*/ 14296 h 2377798"/>
                <a:gd name="connsiteX562" fmla="*/ 378828 w 1288968"/>
                <a:gd name="connsiteY562" fmla="*/ 4766 h 2377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</a:cxnLst>
              <a:rect l="l" t="t" r="r" b="b"/>
              <a:pathLst>
                <a:path w="1288968" h="2377798">
                  <a:moveTo>
                    <a:pt x="355004" y="2211018"/>
                  </a:moveTo>
                  <a:lnTo>
                    <a:pt x="359768" y="2230080"/>
                  </a:lnTo>
                  <a:lnTo>
                    <a:pt x="355004" y="2239610"/>
                  </a:lnTo>
                  <a:lnTo>
                    <a:pt x="350236" y="2239610"/>
                  </a:lnTo>
                  <a:lnTo>
                    <a:pt x="345472" y="2230080"/>
                  </a:lnTo>
                  <a:close/>
                  <a:moveTo>
                    <a:pt x="259700" y="2063300"/>
                  </a:moveTo>
                  <a:lnTo>
                    <a:pt x="264464" y="2072830"/>
                  </a:lnTo>
                  <a:lnTo>
                    <a:pt x="269228" y="2091890"/>
                  </a:lnTo>
                  <a:lnTo>
                    <a:pt x="259700" y="2087126"/>
                  </a:lnTo>
                  <a:lnTo>
                    <a:pt x="254936" y="2077596"/>
                  </a:lnTo>
                  <a:lnTo>
                    <a:pt x="254936" y="2068066"/>
                  </a:lnTo>
                  <a:close/>
                  <a:moveTo>
                    <a:pt x="178692" y="1991824"/>
                  </a:moveTo>
                  <a:lnTo>
                    <a:pt x="188224" y="1996590"/>
                  </a:lnTo>
                  <a:lnTo>
                    <a:pt x="188224" y="2015650"/>
                  </a:lnTo>
                  <a:lnTo>
                    <a:pt x="183460" y="2020414"/>
                  </a:lnTo>
                  <a:close/>
                  <a:moveTo>
                    <a:pt x="145336" y="1982294"/>
                  </a:moveTo>
                  <a:lnTo>
                    <a:pt x="150104" y="1991824"/>
                  </a:lnTo>
                  <a:lnTo>
                    <a:pt x="164396" y="1991824"/>
                  </a:lnTo>
                  <a:lnTo>
                    <a:pt x="154868" y="2010884"/>
                  </a:lnTo>
                  <a:lnTo>
                    <a:pt x="159632" y="2020414"/>
                  </a:lnTo>
                  <a:lnTo>
                    <a:pt x="154868" y="2034710"/>
                  </a:lnTo>
                  <a:lnTo>
                    <a:pt x="150104" y="2034710"/>
                  </a:lnTo>
                  <a:lnTo>
                    <a:pt x="145336" y="2039474"/>
                  </a:lnTo>
                  <a:lnTo>
                    <a:pt x="140572" y="2044240"/>
                  </a:lnTo>
                  <a:lnTo>
                    <a:pt x="135808" y="2020414"/>
                  </a:lnTo>
                  <a:lnTo>
                    <a:pt x="140572" y="1987058"/>
                  </a:lnTo>
                  <a:close/>
                  <a:moveTo>
                    <a:pt x="140572" y="1825044"/>
                  </a:moveTo>
                  <a:lnTo>
                    <a:pt x="145336" y="1834574"/>
                  </a:lnTo>
                  <a:lnTo>
                    <a:pt x="140572" y="1839340"/>
                  </a:lnTo>
                  <a:lnTo>
                    <a:pt x="135808" y="1844106"/>
                  </a:lnTo>
                  <a:lnTo>
                    <a:pt x="135808" y="1834574"/>
                  </a:lnTo>
                  <a:lnTo>
                    <a:pt x="135808" y="1829810"/>
                  </a:lnTo>
                  <a:close/>
                  <a:moveTo>
                    <a:pt x="397888" y="1758332"/>
                  </a:moveTo>
                  <a:lnTo>
                    <a:pt x="412184" y="1758332"/>
                  </a:lnTo>
                  <a:lnTo>
                    <a:pt x="416948" y="1758332"/>
                  </a:lnTo>
                  <a:lnTo>
                    <a:pt x="416948" y="1763098"/>
                  </a:lnTo>
                  <a:lnTo>
                    <a:pt x="416948" y="1777392"/>
                  </a:lnTo>
                  <a:lnTo>
                    <a:pt x="402656" y="1782158"/>
                  </a:lnTo>
                  <a:lnTo>
                    <a:pt x="397888" y="1772628"/>
                  </a:lnTo>
                  <a:close/>
                  <a:moveTo>
                    <a:pt x="402652" y="1724976"/>
                  </a:moveTo>
                  <a:lnTo>
                    <a:pt x="412184" y="1724976"/>
                  </a:lnTo>
                  <a:lnTo>
                    <a:pt x="416948" y="1729742"/>
                  </a:lnTo>
                  <a:lnTo>
                    <a:pt x="416948" y="1739270"/>
                  </a:lnTo>
                  <a:lnTo>
                    <a:pt x="412184" y="1734506"/>
                  </a:lnTo>
                  <a:lnTo>
                    <a:pt x="407420" y="1729742"/>
                  </a:lnTo>
                  <a:close/>
                  <a:moveTo>
                    <a:pt x="807692" y="1420008"/>
                  </a:moveTo>
                  <a:lnTo>
                    <a:pt x="812456" y="1424774"/>
                  </a:lnTo>
                  <a:lnTo>
                    <a:pt x="812456" y="1439070"/>
                  </a:lnTo>
                  <a:lnTo>
                    <a:pt x="802924" y="1434304"/>
                  </a:lnTo>
                  <a:lnTo>
                    <a:pt x="802924" y="1424774"/>
                  </a:lnTo>
                  <a:close/>
                  <a:moveTo>
                    <a:pt x="764804" y="1348530"/>
                  </a:moveTo>
                  <a:lnTo>
                    <a:pt x="769568" y="1348530"/>
                  </a:lnTo>
                  <a:lnTo>
                    <a:pt x="779100" y="1362826"/>
                  </a:lnTo>
                  <a:lnTo>
                    <a:pt x="783864" y="1367592"/>
                  </a:lnTo>
                  <a:lnTo>
                    <a:pt x="783864" y="1372356"/>
                  </a:lnTo>
                  <a:lnTo>
                    <a:pt x="788628" y="1377122"/>
                  </a:lnTo>
                  <a:lnTo>
                    <a:pt x="779100" y="1377122"/>
                  </a:lnTo>
                  <a:lnTo>
                    <a:pt x="774332" y="1377122"/>
                  </a:lnTo>
                  <a:lnTo>
                    <a:pt x="764804" y="1377122"/>
                  </a:lnTo>
                  <a:lnTo>
                    <a:pt x="760036" y="1353296"/>
                  </a:lnTo>
                  <a:close/>
                  <a:moveTo>
                    <a:pt x="388360" y="0"/>
                  </a:moveTo>
                  <a:lnTo>
                    <a:pt x="397888" y="0"/>
                  </a:lnTo>
                  <a:lnTo>
                    <a:pt x="407420" y="9530"/>
                  </a:lnTo>
                  <a:lnTo>
                    <a:pt x="426480" y="19060"/>
                  </a:lnTo>
                  <a:lnTo>
                    <a:pt x="426480" y="28590"/>
                  </a:lnTo>
                  <a:lnTo>
                    <a:pt x="436012" y="23826"/>
                  </a:lnTo>
                  <a:lnTo>
                    <a:pt x="440776" y="14296"/>
                  </a:lnTo>
                  <a:lnTo>
                    <a:pt x="450304" y="9530"/>
                  </a:lnTo>
                  <a:lnTo>
                    <a:pt x="455072" y="4766"/>
                  </a:lnTo>
                  <a:lnTo>
                    <a:pt x="464600" y="14296"/>
                  </a:lnTo>
                  <a:lnTo>
                    <a:pt x="474132" y="28590"/>
                  </a:lnTo>
                  <a:lnTo>
                    <a:pt x="483660" y="42886"/>
                  </a:lnTo>
                  <a:lnTo>
                    <a:pt x="488428" y="42886"/>
                  </a:lnTo>
                  <a:lnTo>
                    <a:pt x="493192" y="47652"/>
                  </a:lnTo>
                  <a:lnTo>
                    <a:pt x="493192" y="57182"/>
                  </a:lnTo>
                  <a:lnTo>
                    <a:pt x="488428" y="71476"/>
                  </a:lnTo>
                  <a:lnTo>
                    <a:pt x="478896" y="90538"/>
                  </a:lnTo>
                  <a:lnTo>
                    <a:pt x="469368" y="114364"/>
                  </a:lnTo>
                  <a:lnTo>
                    <a:pt x="474132" y="128658"/>
                  </a:lnTo>
                  <a:lnTo>
                    <a:pt x="488428" y="142954"/>
                  </a:lnTo>
                  <a:lnTo>
                    <a:pt x="502724" y="152484"/>
                  </a:lnTo>
                  <a:lnTo>
                    <a:pt x="521784" y="152484"/>
                  </a:lnTo>
                  <a:lnTo>
                    <a:pt x="531312" y="147718"/>
                  </a:lnTo>
                  <a:lnTo>
                    <a:pt x="540844" y="138188"/>
                  </a:lnTo>
                  <a:lnTo>
                    <a:pt x="550372" y="138188"/>
                  </a:lnTo>
                  <a:lnTo>
                    <a:pt x="559904" y="138188"/>
                  </a:lnTo>
                  <a:lnTo>
                    <a:pt x="588496" y="142954"/>
                  </a:lnTo>
                  <a:lnTo>
                    <a:pt x="598024" y="147718"/>
                  </a:lnTo>
                  <a:lnTo>
                    <a:pt x="598024" y="157250"/>
                  </a:lnTo>
                  <a:lnTo>
                    <a:pt x="593260" y="181074"/>
                  </a:lnTo>
                  <a:lnTo>
                    <a:pt x="598024" y="200136"/>
                  </a:lnTo>
                  <a:lnTo>
                    <a:pt x="607556" y="223960"/>
                  </a:lnTo>
                  <a:lnTo>
                    <a:pt x="607556" y="238256"/>
                  </a:lnTo>
                  <a:lnTo>
                    <a:pt x="598024" y="271612"/>
                  </a:lnTo>
                  <a:lnTo>
                    <a:pt x="588496" y="300202"/>
                  </a:lnTo>
                  <a:lnTo>
                    <a:pt x="578964" y="314498"/>
                  </a:lnTo>
                  <a:lnTo>
                    <a:pt x="574200" y="324028"/>
                  </a:lnTo>
                  <a:lnTo>
                    <a:pt x="569436" y="328794"/>
                  </a:lnTo>
                  <a:lnTo>
                    <a:pt x="569436" y="333558"/>
                  </a:lnTo>
                  <a:lnTo>
                    <a:pt x="578964" y="343090"/>
                  </a:lnTo>
                  <a:lnTo>
                    <a:pt x="583728" y="352620"/>
                  </a:lnTo>
                  <a:lnTo>
                    <a:pt x="588496" y="366914"/>
                  </a:lnTo>
                  <a:lnTo>
                    <a:pt x="583728" y="376444"/>
                  </a:lnTo>
                  <a:lnTo>
                    <a:pt x="578964" y="395506"/>
                  </a:lnTo>
                  <a:lnTo>
                    <a:pt x="564668" y="433626"/>
                  </a:lnTo>
                  <a:lnTo>
                    <a:pt x="550372" y="471748"/>
                  </a:lnTo>
                  <a:lnTo>
                    <a:pt x="555140" y="476512"/>
                  </a:lnTo>
                  <a:lnTo>
                    <a:pt x="569436" y="481278"/>
                  </a:lnTo>
                  <a:lnTo>
                    <a:pt x="578964" y="486042"/>
                  </a:lnTo>
                  <a:lnTo>
                    <a:pt x="588496" y="486042"/>
                  </a:lnTo>
                  <a:lnTo>
                    <a:pt x="612320" y="462218"/>
                  </a:lnTo>
                  <a:lnTo>
                    <a:pt x="626616" y="447922"/>
                  </a:lnTo>
                  <a:lnTo>
                    <a:pt x="650440" y="433626"/>
                  </a:lnTo>
                  <a:lnTo>
                    <a:pt x="650440" y="428862"/>
                  </a:lnTo>
                  <a:lnTo>
                    <a:pt x="669500" y="419332"/>
                  </a:lnTo>
                  <a:lnTo>
                    <a:pt x="679032" y="409800"/>
                  </a:lnTo>
                  <a:lnTo>
                    <a:pt x="683796" y="395506"/>
                  </a:lnTo>
                  <a:lnTo>
                    <a:pt x="693328" y="390740"/>
                  </a:lnTo>
                  <a:lnTo>
                    <a:pt x="698092" y="395506"/>
                  </a:lnTo>
                  <a:lnTo>
                    <a:pt x="712388" y="390740"/>
                  </a:lnTo>
                  <a:lnTo>
                    <a:pt x="726684" y="371680"/>
                  </a:lnTo>
                  <a:lnTo>
                    <a:pt x="736212" y="366914"/>
                  </a:lnTo>
                  <a:lnTo>
                    <a:pt x="740980" y="366914"/>
                  </a:lnTo>
                  <a:lnTo>
                    <a:pt x="755276" y="376444"/>
                  </a:lnTo>
                  <a:lnTo>
                    <a:pt x="774336" y="395506"/>
                  </a:lnTo>
                  <a:lnTo>
                    <a:pt x="788632" y="405036"/>
                  </a:lnTo>
                  <a:lnTo>
                    <a:pt x="807692" y="409800"/>
                  </a:lnTo>
                  <a:lnTo>
                    <a:pt x="812456" y="414566"/>
                  </a:lnTo>
                  <a:lnTo>
                    <a:pt x="812456" y="424096"/>
                  </a:lnTo>
                  <a:lnTo>
                    <a:pt x="817220" y="428862"/>
                  </a:lnTo>
                  <a:lnTo>
                    <a:pt x="821988" y="433626"/>
                  </a:lnTo>
                  <a:lnTo>
                    <a:pt x="826752" y="428862"/>
                  </a:lnTo>
                  <a:lnTo>
                    <a:pt x="826752" y="424096"/>
                  </a:lnTo>
                  <a:lnTo>
                    <a:pt x="831516" y="419332"/>
                  </a:lnTo>
                  <a:lnTo>
                    <a:pt x="845812" y="409800"/>
                  </a:lnTo>
                  <a:lnTo>
                    <a:pt x="860108" y="405036"/>
                  </a:lnTo>
                  <a:lnTo>
                    <a:pt x="874404" y="405036"/>
                  </a:lnTo>
                  <a:lnTo>
                    <a:pt x="883932" y="395506"/>
                  </a:lnTo>
                  <a:lnTo>
                    <a:pt x="888700" y="376444"/>
                  </a:lnTo>
                  <a:lnTo>
                    <a:pt x="898228" y="366914"/>
                  </a:lnTo>
                  <a:lnTo>
                    <a:pt x="907760" y="357384"/>
                  </a:lnTo>
                  <a:lnTo>
                    <a:pt x="917288" y="357384"/>
                  </a:lnTo>
                  <a:lnTo>
                    <a:pt x="917288" y="352620"/>
                  </a:lnTo>
                  <a:lnTo>
                    <a:pt x="912524" y="347854"/>
                  </a:lnTo>
                  <a:lnTo>
                    <a:pt x="912524" y="338324"/>
                  </a:lnTo>
                  <a:lnTo>
                    <a:pt x="922052" y="333558"/>
                  </a:lnTo>
                  <a:lnTo>
                    <a:pt x="931584" y="333558"/>
                  </a:lnTo>
                  <a:lnTo>
                    <a:pt x="950644" y="333558"/>
                  </a:lnTo>
                  <a:lnTo>
                    <a:pt x="974472" y="338324"/>
                  </a:lnTo>
                  <a:lnTo>
                    <a:pt x="998296" y="347854"/>
                  </a:lnTo>
                  <a:lnTo>
                    <a:pt x="1017356" y="352620"/>
                  </a:lnTo>
                  <a:lnTo>
                    <a:pt x="1022120" y="347854"/>
                  </a:lnTo>
                  <a:lnTo>
                    <a:pt x="1041184" y="366914"/>
                  </a:lnTo>
                  <a:lnTo>
                    <a:pt x="1060244" y="405036"/>
                  </a:lnTo>
                  <a:lnTo>
                    <a:pt x="1084068" y="433626"/>
                  </a:lnTo>
                  <a:lnTo>
                    <a:pt x="1098364" y="452686"/>
                  </a:lnTo>
                  <a:lnTo>
                    <a:pt x="1117424" y="466982"/>
                  </a:lnTo>
                  <a:lnTo>
                    <a:pt x="1131720" y="476512"/>
                  </a:lnTo>
                  <a:lnTo>
                    <a:pt x="1146016" y="490808"/>
                  </a:lnTo>
                  <a:lnTo>
                    <a:pt x="1160312" y="514634"/>
                  </a:lnTo>
                  <a:lnTo>
                    <a:pt x="1150780" y="552754"/>
                  </a:lnTo>
                  <a:lnTo>
                    <a:pt x="1146016" y="586110"/>
                  </a:lnTo>
                  <a:lnTo>
                    <a:pt x="1150780" y="624232"/>
                  </a:lnTo>
                  <a:lnTo>
                    <a:pt x="1160312" y="652822"/>
                  </a:lnTo>
                  <a:lnTo>
                    <a:pt x="1179372" y="671882"/>
                  </a:lnTo>
                  <a:lnTo>
                    <a:pt x="1193668" y="690944"/>
                  </a:lnTo>
                  <a:lnTo>
                    <a:pt x="1193668" y="700474"/>
                  </a:lnTo>
                  <a:lnTo>
                    <a:pt x="1212728" y="714768"/>
                  </a:lnTo>
                  <a:lnTo>
                    <a:pt x="1241316" y="724300"/>
                  </a:lnTo>
                  <a:lnTo>
                    <a:pt x="1250848" y="729064"/>
                  </a:lnTo>
                  <a:lnTo>
                    <a:pt x="1246084" y="738594"/>
                  </a:lnTo>
                  <a:lnTo>
                    <a:pt x="1246084" y="748124"/>
                  </a:lnTo>
                  <a:lnTo>
                    <a:pt x="1250848" y="757656"/>
                  </a:lnTo>
                  <a:lnTo>
                    <a:pt x="1260380" y="762420"/>
                  </a:lnTo>
                  <a:lnTo>
                    <a:pt x="1274672" y="771950"/>
                  </a:lnTo>
                  <a:lnTo>
                    <a:pt x="1284204" y="776716"/>
                  </a:lnTo>
                  <a:lnTo>
                    <a:pt x="1288968" y="786246"/>
                  </a:lnTo>
                  <a:lnTo>
                    <a:pt x="1288968" y="795776"/>
                  </a:lnTo>
                  <a:lnTo>
                    <a:pt x="1284204" y="810072"/>
                  </a:lnTo>
                  <a:lnTo>
                    <a:pt x="1279440" y="824366"/>
                  </a:lnTo>
                  <a:lnTo>
                    <a:pt x="1269908" y="833898"/>
                  </a:lnTo>
                  <a:lnTo>
                    <a:pt x="1265144" y="838662"/>
                  </a:lnTo>
                  <a:lnTo>
                    <a:pt x="1265144" y="848192"/>
                  </a:lnTo>
                  <a:lnTo>
                    <a:pt x="1265144" y="867254"/>
                  </a:lnTo>
                  <a:lnTo>
                    <a:pt x="1269908" y="881548"/>
                  </a:lnTo>
                  <a:lnTo>
                    <a:pt x="1274672" y="900608"/>
                  </a:lnTo>
                  <a:lnTo>
                    <a:pt x="1269908" y="914904"/>
                  </a:lnTo>
                  <a:lnTo>
                    <a:pt x="1265144" y="943494"/>
                  </a:lnTo>
                  <a:lnTo>
                    <a:pt x="1265144" y="957790"/>
                  </a:lnTo>
                  <a:lnTo>
                    <a:pt x="1260380" y="967320"/>
                  </a:lnTo>
                  <a:lnTo>
                    <a:pt x="1255612" y="976850"/>
                  </a:lnTo>
                  <a:lnTo>
                    <a:pt x="1241316" y="986382"/>
                  </a:lnTo>
                  <a:lnTo>
                    <a:pt x="1227024" y="991146"/>
                  </a:lnTo>
                  <a:lnTo>
                    <a:pt x="1217492" y="995912"/>
                  </a:lnTo>
                  <a:lnTo>
                    <a:pt x="1212728" y="995912"/>
                  </a:lnTo>
                  <a:lnTo>
                    <a:pt x="1207960" y="1005442"/>
                  </a:lnTo>
                  <a:lnTo>
                    <a:pt x="1198432" y="1014972"/>
                  </a:lnTo>
                  <a:lnTo>
                    <a:pt x="1193668" y="1014972"/>
                  </a:lnTo>
                  <a:lnTo>
                    <a:pt x="1188900" y="1010206"/>
                  </a:lnTo>
                  <a:lnTo>
                    <a:pt x="1184136" y="1005442"/>
                  </a:lnTo>
                  <a:lnTo>
                    <a:pt x="1184136" y="991146"/>
                  </a:lnTo>
                  <a:lnTo>
                    <a:pt x="1169840" y="986382"/>
                  </a:lnTo>
                  <a:lnTo>
                    <a:pt x="1155544" y="981616"/>
                  </a:lnTo>
                  <a:lnTo>
                    <a:pt x="1122188" y="986382"/>
                  </a:lnTo>
                  <a:lnTo>
                    <a:pt x="1098364" y="991146"/>
                  </a:lnTo>
                  <a:lnTo>
                    <a:pt x="1065008" y="986382"/>
                  </a:lnTo>
                  <a:lnTo>
                    <a:pt x="1041184" y="995912"/>
                  </a:lnTo>
                  <a:lnTo>
                    <a:pt x="1026888" y="995912"/>
                  </a:lnTo>
                  <a:lnTo>
                    <a:pt x="1017356" y="991146"/>
                  </a:lnTo>
                  <a:lnTo>
                    <a:pt x="1003060" y="995912"/>
                  </a:lnTo>
                  <a:lnTo>
                    <a:pt x="993532" y="991146"/>
                  </a:lnTo>
                  <a:lnTo>
                    <a:pt x="969704" y="981616"/>
                  </a:lnTo>
                  <a:lnTo>
                    <a:pt x="960176" y="986382"/>
                  </a:lnTo>
                  <a:lnTo>
                    <a:pt x="941116" y="991146"/>
                  </a:lnTo>
                  <a:lnTo>
                    <a:pt x="926820" y="995912"/>
                  </a:lnTo>
                  <a:lnTo>
                    <a:pt x="907760" y="995912"/>
                  </a:lnTo>
                  <a:lnTo>
                    <a:pt x="879168" y="1010206"/>
                  </a:lnTo>
                  <a:lnTo>
                    <a:pt x="860108" y="1029268"/>
                  </a:lnTo>
                  <a:lnTo>
                    <a:pt x="855344" y="1043562"/>
                  </a:lnTo>
                  <a:lnTo>
                    <a:pt x="845812" y="1057858"/>
                  </a:lnTo>
                  <a:lnTo>
                    <a:pt x="831516" y="1076918"/>
                  </a:lnTo>
                  <a:lnTo>
                    <a:pt x="817220" y="1095978"/>
                  </a:lnTo>
                  <a:lnTo>
                    <a:pt x="802924" y="1105510"/>
                  </a:lnTo>
                  <a:lnTo>
                    <a:pt x="807692" y="1110274"/>
                  </a:lnTo>
                  <a:lnTo>
                    <a:pt x="802924" y="1119804"/>
                  </a:lnTo>
                  <a:lnTo>
                    <a:pt x="788632" y="1119804"/>
                  </a:lnTo>
                  <a:lnTo>
                    <a:pt x="769568" y="1124570"/>
                  </a:lnTo>
                  <a:lnTo>
                    <a:pt x="769568" y="1167456"/>
                  </a:lnTo>
                  <a:lnTo>
                    <a:pt x="774336" y="1181752"/>
                  </a:lnTo>
                  <a:lnTo>
                    <a:pt x="783864" y="1200812"/>
                  </a:lnTo>
                  <a:lnTo>
                    <a:pt x="793396" y="1210342"/>
                  </a:lnTo>
                  <a:lnTo>
                    <a:pt x="798160" y="1238932"/>
                  </a:lnTo>
                  <a:lnTo>
                    <a:pt x="798160" y="1267524"/>
                  </a:lnTo>
                  <a:lnTo>
                    <a:pt x="817220" y="1281818"/>
                  </a:lnTo>
                  <a:lnTo>
                    <a:pt x="831516" y="1291350"/>
                  </a:lnTo>
                  <a:lnTo>
                    <a:pt x="836280" y="1305644"/>
                  </a:lnTo>
                  <a:lnTo>
                    <a:pt x="836280" y="1310410"/>
                  </a:lnTo>
                  <a:lnTo>
                    <a:pt x="831516" y="1329470"/>
                  </a:lnTo>
                  <a:lnTo>
                    <a:pt x="836280" y="1358062"/>
                  </a:lnTo>
                  <a:lnTo>
                    <a:pt x="864872" y="1415242"/>
                  </a:lnTo>
                  <a:lnTo>
                    <a:pt x="864872" y="1420008"/>
                  </a:lnTo>
                  <a:lnTo>
                    <a:pt x="860108" y="1420008"/>
                  </a:lnTo>
                  <a:lnTo>
                    <a:pt x="855344" y="1410478"/>
                  </a:lnTo>
                  <a:lnTo>
                    <a:pt x="841048" y="1391416"/>
                  </a:lnTo>
                  <a:lnTo>
                    <a:pt x="841048" y="1372356"/>
                  </a:lnTo>
                  <a:lnTo>
                    <a:pt x="821988" y="1348530"/>
                  </a:lnTo>
                  <a:lnTo>
                    <a:pt x="812456" y="1339000"/>
                  </a:lnTo>
                  <a:lnTo>
                    <a:pt x="807692" y="1348530"/>
                  </a:lnTo>
                  <a:lnTo>
                    <a:pt x="802924" y="1353296"/>
                  </a:lnTo>
                  <a:lnTo>
                    <a:pt x="788632" y="1343766"/>
                  </a:lnTo>
                  <a:lnTo>
                    <a:pt x="774336" y="1334236"/>
                  </a:lnTo>
                  <a:lnTo>
                    <a:pt x="760040" y="1310410"/>
                  </a:lnTo>
                  <a:lnTo>
                    <a:pt x="760040" y="1315174"/>
                  </a:lnTo>
                  <a:lnTo>
                    <a:pt x="755276" y="1319940"/>
                  </a:lnTo>
                  <a:lnTo>
                    <a:pt x="740980" y="1300880"/>
                  </a:lnTo>
                  <a:lnTo>
                    <a:pt x="726684" y="1286584"/>
                  </a:lnTo>
                  <a:lnTo>
                    <a:pt x="712388" y="1281818"/>
                  </a:lnTo>
                  <a:lnTo>
                    <a:pt x="702856" y="1277054"/>
                  </a:lnTo>
                  <a:lnTo>
                    <a:pt x="693328" y="1272288"/>
                  </a:lnTo>
                  <a:lnTo>
                    <a:pt x="674268" y="1262758"/>
                  </a:lnTo>
                  <a:lnTo>
                    <a:pt x="631380" y="1272288"/>
                  </a:lnTo>
                  <a:lnTo>
                    <a:pt x="578964" y="1262758"/>
                  </a:lnTo>
                  <a:lnTo>
                    <a:pt x="555140" y="1272288"/>
                  </a:lnTo>
                  <a:lnTo>
                    <a:pt x="545608" y="1267524"/>
                  </a:lnTo>
                  <a:lnTo>
                    <a:pt x="540844" y="1257994"/>
                  </a:lnTo>
                  <a:lnTo>
                    <a:pt x="545608" y="1243698"/>
                  </a:lnTo>
                  <a:lnTo>
                    <a:pt x="550372" y="1205578"/>
                  </a:lnTo>
                  <a:lnTo>
                    <a:pt x="555140" y="1181752"/>
                  </a:lnTo>
                  <a:lnTo>
                    <a:pt x="550372" y="1162690"/>
                  </a:lnTo>
                  <a:lnTo>
                    <a:pt x="555140" y="1153160"/>
                  </a:lnTo>
                  <a:lnTo>
                    <a:pt x="555140" y="1143630"/>
                  </a:lnTo>
                  <a:lnTo>
                    <a:pt x="550372" y="1138866"/>
                  </a:lnTo>
                  <a:lnTo>
                    <a:pt x="507488" y="1129334"/>
                  </a:lnTo>
                  <a:lnTo>
                    <a:pt x="502724" y="1119804"/>
                  </a:lnTo>
                  <a:lnTo>
                    <a:pt x="493192" y="1129334"/>
                  </a:lnTo>
                  <a:lnTo>
                    <a:pt x="445540" y="1134100"/>
                  </a:lnTo>
                  <a:lnTo>
                    <a:pt x="426480" y="1143630"/>
                  </a:lnTo>
                  <a:lnTo>
                    <a:pt x="412184" y="1157926"/>
                  </a:lnTo>
                  <a:lnTo>
                    <a:pt x="407420" y="1172222"/>
                  </a:lnTo>
                  <a:lnTo>
                    <a:pt x="416948" y="1186516"/>
                  </a:lnTo>
                  <a:lnTo>
                    <a:pt x="421716" y="1205578"/>
                  </a:lnTo>
                  <a:lnTo>
                    <a:pt x="402656" y="1248464"/>
                  </a:lnTo>
                  <a:lnTo>
                    <a:pt x="402656" y="1262758"/>
                  </a:lnTo>
                  <a:lnTo>
                    <a:pt x="407420" y="1315174"/>
                  </a:lnTo>
                  <a:lnTo>
                    <a:pt x="402656" y="1343766"/>
                  </a:lnTo>
                  <a:lnTo>
                    <a:pt x="397888" y="1362826"/>
                  </a:lnTo>
                  <a:lnTo>
                    <a:pt x="383596" y="1381886"/>
                  </a:lnTo>
                  <a:lnTo>
                    <a:pt x="374064" y="1410478"/>
                  </a:lnTo>
                  <a:lnTo>
                    <a:pt x="364532" y="1424772"/>
                  </a:lnTo>
                  <a:lnTo>
                    <a:pt x="350240" y="1458128"/>
                  </a:lnTo>
                  <a:lnTo>
                    <a:pt x="340708" y="1496250"/>
                  </a:lnTo>
                  <a:lnTo>
                    <a:pt x="331176" y="1515310"/>
                  </a:lnTo>
                  <a:lnTo>
                    <a:pt x="326412" y="1548666"/>
                  </a:lnTo>
                  <a:lnTo>
                    <a:pt x="297820" y="1601082"/>
                  </a:lnTo>
                  <a:lnTo>
                    <a:pt x="288292" y="1629674"/>
                  </a:lnTo>
                  <a:lnTo>
                    <a:pt x="278760" y="1639204"/>
                  </a:lnTo>
                  <a:lnTo>
                    <a:pt x="278760" y="1648734"/>
                  </a:lnTo>
                  <a:lnTo>
                    <a:pt x="283528" y="1663030"/>
                  </a:lnTo>
                  <a:lnTo>
                    <a:pt x="278760" y="1701150"/>
                  </a:lnTo>
                  <a:lnTo>
                    <a:pt x="273996" y="1734506"/>
                  </a:lnTo>
                  <a:lnTo>
                    <a:pt x="278760" y="1748802"/>
                  </a:lnTo>
                  <a:lnTo>
                    <a:pt x="297820" y="1782158"/>
                  </a:lnTo>
                  <a:lnTo>
                    <a:pt x="293056" y="1791688"/>
                  </a:lnTo>
                  <a:lnTo>
                    <a:pt x="288292" y="1805982"/>
                  </a:lnTo>
                  <a:lnTo>
                    <a:pt x="302588" y="1815514"/>
                  </a:lnTo>
                  <a:lnTo>
                    <a:pt x="312116" y="1815514"/>
                  </a:lnTo>
                  <a:lnTo>
                    <a:pt x="364532" y="1801218"/>
                  </a:lnTo>
                  <a:lnTo>
                    <a:pt x="378828" y="1801218"/>
                  </a:lnTo>
                  <a:lnTo>
                    <a:pt x="388360" y="1820278"/>
                  </a:lnTo>
                  <a:lnTo>
                    <a:pt x="393124" y="1829808"/>
                  </a:lnTo>
                  <a:lnTo>
                    <a:pt x="402656" y="1901286"/>
                  </a:lnTo>
                  <a:lnTo>
                    <a:pt x="407420" y="1915580"/>
                  </a:lnTo>
                  <a:lnTo>
                    <a:pt x="416948" y="1925110"/>
                  </a:lnTo>
                  <a:lnTo>
                    <a:pt x="426480" y="1939406"/>
                  </a:lnTo>
                  <a:lnTo>
                    <a:pt x="431244" y="1939406"/>
                  </a:lnTo>
                  <a:lnTo>
                    <a:pt x="431244" y="1934642"/>
                  </a:lnTo>
                  <a:lnTo>
                    <a:pt x="431244" y="1925110"/>
                  </a:lnTo>
                  <a:lnTo>
                    <a:pt x="440776" y="1939406"/>
                  </a:lnTo>
                  <a:lnTo>
                    <a:pt x="450304" y="1963232"/>
                  </a:lnTo>
                  <a:lnTo>
                    <a:pt x="478896" y="2096656"/>
                  </a:lnTo>
                  <a:lnTo>
                    <a:pt x="483660" y="2110950"/>
                  </a:lnTo>
                  <a:lnTo>
                    <a:pt x="493192" y="2130012"/>
                  </a:lnTo>
                  <a:lnTo>
                    <a:pt x="474132" y="2120482"/>
                  </a:lnTo>
                  <a:lnTo>
                    <a:pt x="469368" y="2091890"/>
                  </a:lnTo>
                  <a:lnTo>
                    <a:pt x="464600" y="2077594"/>
                  </a:lnTo>
                  <a:lnTo>
                    <a:pt x="459836" y="2077594"/>
                  </a:lnTo>
                  <a:lnTo>
                    <a:pt x="450304" y="2077594"/>
                  </a:lnTo>
                  <a:lnTo>
                    <a:pt x="450304" y="2072830"/>
                  </a:lnTo>
                  <a:lnTo>
                    <a:pt x="459836" y="2063300"/>
                  </a:lnTo>
                  <a:lnTo>
                    <a:pt x="455072" y="2053770"/>
                  </a:lnTo>
                  <a:lnTo>
                    <a:pt x="445540" y="2044240"/>
                  </a:lnTo>
                  <a:lnTo>
                    <a:pt x="431244" y="2049004"/>
                  </a:lnTo>
                  <a:lnTo>
                    <a:pt x="431244" y="2068064"/>
                  </a:lnTo>
                  <a:lnTo>
                    <a:pt x="440776" y="2087126"/>
                  </a:lnTo>
                  <a:lnTo>
                    <a:pt x="464600" y="2120482"/>
                  </a:lnTo>
                  <a:lnTo>
                    <a:pt x="474132" y="2134776"/>
                  </a:lnTo>
                  <a:lnTo>
                    <a:pt x="483660" y="2139542"/>
                  </a:lnTo>
                  <a:lnTo>
                    <a:pt x="497956" y="2134776"/>
                  </a:lnTo>
                  <a:lnTo>
                    <a:pt x="517016" y="2153838"/>
                  </a:lnTo>
                  <a:lnTo>
                    <a:pt x="531312" y="2163368"/>
                  </a:lnTo>
                  <a:lnTo>
                    <a:pt x="564668" y="2187194"/>
                  </a:lnTo>
                  <a:lnTo>
                    <a:pt x="588496" y="2182428"/>
                  </a:lnTo>
                  <a:lnTo>
                    <a:pt x="612320" y="2177662"/>
                  </a:lnTo>
                  <a:lnTo>
                    <a:pt x="626616" y="2177662"/>
                  </a:lnTo>
                  <a:lnTo>
                    <a:pt x="640912" y="2187194"/>
                  </a:lnTo>
                  <a:lnTo>
                    <a:pt x="659972" y="2201488"/>
                  </a:lnTo>
                  <a:lnTo>
                    <a:pt x="688564" y="2249140"/>
                  </a:lnTo>
                  <a:lnTo>
                    <a:pt x="736212" y="2282496"/>
                  </a:lnTo>
                  <a:lnTo>
                    <a:pt x="731448" y="2292026"/>
                  </a:lnTo>
                  <a:lnTo>
                    <a:pt x="726684" y="2306322"/>
                  </a:lnTo>
                  <a:lnTo>
                    <a:pt x="707624" y="2325382"/>
                  </a:lnTo>
                  <a:lnTo>
                    <a:pt x="707624" y="2334912"/>
                  </a:lnTo>
                  <a:lnTo>
                    <a:pt x="698092" y="2349208"/>
                  </a:lnTo>
                  <a:lnTo>
                    <a:pt x="688564" y="2353972"/>
                  </a:lnTo>
                  <a:lnTo>
                    <a:pt x="674268" y="2358738"/>
                  </a:lnTo>
                  <a:lnTo>
                    <a:pt x="669500" y="2353972"/>
                  </a:lnTo>
                  <a:lnTo>
                    <a:pt x="664736" y="2353972"/>
                  </a:lnTo>
                  <a:lnTo>
                    <a:pt x="655208" y="2339678"/>
                  </a:lnTo>
                  <a:lnTo>
                    <a:pt x="655208" y="2334912"/>
                  </a:lnTo>
                  <a:lnTo>
                    <a:pt x="650440" y="2334912"/>
                  </a:lnTo>
                  <a:lnTo>
                    <a:pt x="626616" y="2344442"/>
                  </a:lnTo>
                  <a:lnTo>
                    <a:pt x="602792" y="2353972"/>
                  </a:lnTo>
                  <a:lnTo>
                    <a:pt x="598024" y="2363502"/>
                  </a:lnTo>
                  <a:lnTo>
                    <a:pt x="593260" y="2373032"/>
                  </a:lnTo>
                  <a:lnTo>
                    <a:pt x="588496" y="2377798"/>
                  </a:lnTo>
                  <a:lnTo>
                    <a:pt x="578964" y="2377798"/>
                  </a:lnTo>
                  <a:lnTo>
                    <a:pt x="574200" y="2373032"/>
                  </a:lnTo>
                  <a:lnTo>
                    <a:pt x="569436" y="2363502"/>
                  </a:lnTo>
                  <a:lnTo>
                    <a:pt x="559904" y="2358738"/>
                  </a:lnTo>
                  <a:lnTo>
                    <a:pt x="559904" y="2344442"/>
                  </a:lnTo>
                  <a:lnTo>
                    <a:pt x="574200" y="2330146"/>
                  </a:lnTo>
                  <a:lnTo>
                    <a:pt x="578964" y="2315852"/>
                  </a:lnTo>
                  <a:lnTo>
                    <a:pt x="574200" y="2296790"/>
                  </a:lnTo>
                  <a:lnTo>
                    <a:pt x="569436" y="2282496"/>
                  </a:lnTo>
                  <a:lnTo>
                    <a:pt x="559904" y="2282496"/>
                  </a:lnTo>
                  <a:lnTo>
                    <a:pt x="540844" y="2282496"/>
                  </a:lnTo>
                  <a:lnTo>
                    <a:pt x="536080" y="2268200"/>
                  </a:lnTo>
                  <a:lnTo>
                    <a:pt x="531312" y="2253904"/>
                  </a:lnTo>
                  <a:lnTo>
                    <a:pt x="526548" y="2249140"/>
                  </a:lnTo>
                  <a:lnTo>
                    <a:pt x="517016" y="2244374"/>
                  </a:lnTo>
                  <a:lnTo>
                    <a:pt x="502724" y="2249140"/>
                  </a:lnTo>
                  <a:lnTo>
                    <a:pt x="493192" y="2249140"/>
                  </a:lnTo>
                  <a:lnTo>
                    <a:pt x="459836" y="2234844"/>
                  </a:lnTo>
                  <a:lnTo>
                    <a:pt x="450304" y="2215784"/>
                  </a:lnTo>
                  <a:lnTo>
                    <a:pt x="440776" y="2215784"/>
                  </a:lnTo>
                  <a:lnTo>
                    <a:pt x="436012" y="2215784"/>
                  </a:lnTo>
                  <a:lnTo>
                    <a:pt x="431244" y="2220548"/>
                  </a:lnTo>
                  <a:lnTo>
                    <a:pt x="426480" y="2244374"/>
                  </a:lnTo>
                  <a:lnTo>
                    <a:pt x="426480" y="2253904"/>
                  </a:lnTo>
                  <a:lnTo>
                    <a:pt x="388360" y="2206254"/>
                  </a:lnTo>
                  <a:lnTo>
                    <a:pt x="359768" y="2182428"/>
                  </a:lnTo>
                  <a:lnTo>
                    <a:pt x="364532" y="2149072"/>
                  </a:lnTo>
                  <a:lnTo>
                    <a:pt x="355004" y="2139542"/>
                  </a:lnTo>
                  <a:lnTo>
                    <a:pt x="345472" y="2139542"/>
                  </a:lnTo>
                  <a:lnTo>
                    <a:pt x="335944" y="2130012"/>
                  </a:lnTo>
                  <a:lnTo>
                    <a:pt x="345472" y="2110950"/>
                  </a:lnTo>
                  <a:lnTo>
                    <a:pt x="335944" y="2110950"/>
                  </a:lnTo>
                  <a:lnTo>
                    <a:pt x="316884" y="2110950"/>
                  </a:lnTo>
                  <a:lnTo>
                    <a:pt x="307352" y="2106186"/>
                  </a:lnTo>
                  <a:lnTo>
                    <a:pt x="297820" y="2077594"/>
                  </a:lnTo>
                  <a:lnTo>
                    <a:pt x="293056" y="2068064"/>
                  </a:lnTo>
                  <a:lnTo>
                    <a:pt x="278760" y="2053770"/>
                  </a:lnTo>
                  <a:lnTo>
                    <a:pt x="264464" y="2053770"/>
                  </a:lnTo>
                  <a:lnTo>
                    <a:pt x="259700" y="2044240"/>
                  </a:lnTo>
                  <a:lnTo>
                    <a:pt x="259700" y="2025178"/>
                  </a:lnTo>
                  <a:lnTo>
                    <a:pt x="245404" y="2010884"/>
                  </a:lnTo>
                  <a:lnTo>
                    <a:pt x="231108" y="2001354"/>
                  </a:lnTo>
                  <a:lnTo>
                    <a:pt x="216816" y="1996588"/>
                  </a:lnTo>
                  <a:lnTo>
                    <a:pt x="202520" y="1967998"/>
                  </a:lnTo>
                  <a:lnTo>
                    <a:pt x="192988" y="1958466"/>
                  </a:lnTo>
                  <a:lnTo>
                    <a:pt x="183460" y="1953702"/>
                  </a:lnTo>
                  <a:lnTo>
                    <a:pt x="173928" y="1958466"/>
                  </a:lnTo>
                  <a:lnTo>
                    <a:pt x="169164" y="1967998"/>
                  </a:lnTo>
                  <a:lnTo>
                    <a:pt x="159632" y="1977528"/>
                  </a:lnTo>
                  <a:lnTo>
                    <a:pt x="150104" y="1977528"/>
                  </a:lnTo>
                  <a:lnTo>
                    <a:pt x="140572" y="1972762"/>
                  </a:lnTo>
                  <a:lnTo>
                    <a:pt x="131044" y="1939406"/>
                  </a:lnTo>
                  <a:lnTo>
                    <a:pt x="131044" y="1920346"/>
                  </a:lnTo>
                  <a:lnTo>
                    <a:pt x="131044" y="1886990"/>
                  </a:lnTo>
                  <a:lnTo>
                    <a:pt x="145336" y="1853634"/>
                  </a:lnTo>
                  <a:lnTo>
                    <a:pt x="150104" y="1801218"/>
                  </a:lnTo>
                  <a:lnTo>
                    <a:pt x="164400" y="1772626"/>
                  </a:lnTo>
                  <a:lnTo>
                    <a:pt x="169164" y="1758332"/>
                  </a:lnTo>
                  <a:lnTo>
                    <a:pt x="183460" y="1715446"/>
                  </a:lnTo>
                  <a:lnTo>
                    <a:pt x="202520" y="1658264"/>
                  </a:lnTo>
                  <a:lnTo>
                    <a:pt x="207284" y="1648734"/>
                  </a:lnTo>
                  <a:lnTo>
                    <a:pt x="212048" y="1634438"/>
                  </a:lnTo>
                  <a:lnTo>
                    <a:pt x="216816" y="1620142"/>
                  </a:lnTo>
                  <a:lnTo>
                    <a:pt x="216816" y="1601082"/>
                  </a:lnTo>
                  <a:lnTo>
                    <a:pt x="212048" y="1591552"/>
                  </a:lnTo>
                  <a:lnTo>
                    <a:pt x="212048" y="1586786"/>
                  </a:lnTo>
                  <a:lnTo>
                    <a:pt x="216816" y="1577256"/>
                  </a:lnTo>
                  <a:lnTo>
                    <a:pt x="231108" y="1567726"/>
                  </a:lnTo>
                  <a:lnTo>
                    <a:pt x="254936" y="1543900"/>
                  </a:lnTo>
                  <a:lnTo>
                    <a:pt x="278760" y="1515310"/>
                  </a:lnTo>
                  <a:lnTo>
                    <a:pt x="307352" y="1467658"/>
                  </a:lnTo>
                  <a:lnTo>
                    <a:pt x="321648" y="1443834"/>
                  </a:lnTo>
                  <a:lnTo>
                    <a:pt x="326412" y="1434302"/>
                  </a:lnTo>
                  <a:lnTo>
                    <a:pt x="331176" y="1429538"/>
                  </a:lnTo>
                  <a:lnTo>
                    <a:pt x="340708" y="1424772"/>
                  </a:lnTo>
                  <a:lnTo>
                    <a:pt x="345472" y="1410478"/>
                  </a:lnTo>
                  <a:lnTo>
                    <a:pt x="345472" y="1405712"/>
                  </a:lnTo>
                  <a:lnTo>
                    <a:pt x="331176" y="1358062"/>
                  </a:lnTo>
                  <a:lnTo>
                    <a:pt x="321648" y="1343766"/>
                  </a:lnTo>
                  <a:lnTo>
                    <a:pt x="316884" y="1324706"/>
                  </a:lnTo>
                  <a:lnTo>
                    <a:pt x="316884" y="1310410"/>
                  </a:lnTo>
                  <a:lnTo>
                    <a:pt x="312116" y="1296114"/>
                  </a:lnTo>
                  <a:lnTo>
                    <a:pt x="312116" y="1286584"/>
                  </a:lnTo>
                  <a:lnTo>
                    <a:pt x="307352" y="1277054"/>
                  </a:lnTo>
                  <a:lnTo>
                    <a:pt x="297820" y="1267524"/>
                  </a:lnTo>
                  <a:lnTo>
                    <a:pt x="283528" y="1253228"/>
                  </a:lnTo>
                  <a:lnTo>
                    <a:pt x="278760" y="1229402"/>
                  </a:lnTo>
                  <a:lnTo>
                    <a:pt x="278760" y="1219872"/>
                  </a:lnTo>
                  <a:lnTo>
                    <a:pt x="269232" y="1205578"/>
                  </a:lnTo>
                  <a:lnTo>
                    <a:pt x="269232" y="1196046"/>
                  </a:lnTo>
                  <a:lnTo>
                    <a:pt x="273996" y="1186516"/>
                  </a:lnTo>
                  <a:lnTo>
                    <a:pt x="278760" y="1176986"/>
                  </a:lnTo>
                  <a:lnTo>
                    <a:pt x="278760" y="1134100"/>
                  </a:lnTo>
                  <a:lnTo>
                    <a:pt x="273996" y="1119804"/>
                  </a:lnTo>
                  <a:lnTo>
                    <a:pt x="273996" y="1095978"/>
                  </a:lnTo>
                  <a:lnTo>
                    <a:pt x="264464" y="1081684"/>
                  </a:lnTo>
                  <a:lnTo>
                    <a:pt x="254936" y="1057858"/>
                  </a:lnTo>
                  <a:lnTo>
                    <a:pt x="240640" y="1043562"/>
                  </a:lnTo>
                  <a:lnTo>
                    <a:pt x="207284" y="1014972"/>
                  </a:lnTo>
                  <a:lnTo>
                    <a:pt x="183460" y="995912"/>
                  </a:lnTo>
                  <a:lnTo>
                    <a:pt x="173928" y="976850"/>
                  </a:lnTo>
                  <a:lnTo>
                    <a:pt x="159632" y="953026"/>
                  </a:lnTo>
                  <a:lnTo>
                    <a:pt x="145336" y="938730"/>
                  </a:lnTo>
                  <a:lnTo>
                    <a:pt x="131044" y="919670"/>
                  </a:lnTo>
                  <a:lnTo>
                    <a:pt x="126276" y="895844"/>
                  </a:lnTo>
                  <a:lnTo>
                    <a:pt x="121512" y="867254"/>
                  </a:lnTo>
                  <a:lnTo>
                    <a:pt x="126276" y="857722"/>
                  </a:lnTo>
                  <a:lnTo>
                    <a:pt x="131044" y="852958"/>
                  </a:lnTo>
                  <a:lnTo>
                    <a:pt x="140572" y="848192"/>
                  </a:lnTo>
                  <a:lnTo>
                    <a:pt x="145336" y="843428"/>
                  </a:lnTo>
                  <a:lnTo>
                    <a:pt x="164400" y="833898"/>
                  </a:lnTo>
                  <a:lnTo>
                    <a:pt x="178692" y="833898"/>
                  </a:lnTo>
                  <a:lnTo>
                    <a:pt x="183460" y="829132"/>
                  </a:lnTo>
                  <a:lnTo>
                    <a:pt x="183460" y="824366"/>
                  </a:lnTo>
                  <a:lnTo>
                    <a:pt x="183460" y="800542"/>
                  </a:lnTo>
                  <a:lnTo>
                    <a:pt x="183460" y="767186"/>
                  </a:lnTo>
                  <a:lnTo>
                    <a:pt x="183460" y="738594"/>
                  </a:lnTo>
                  <a:lnTo>
                    <a:pt x="188224" y="719534"/>
                  </a:lnTo>
                  <a:lnTo>
                    <a:pt x="221580" y="700474"/>
                  </a:lnTo>
                  <a:lnTo>
                    <a:pt x="231108" y="690944"/>
                  </a:lnTo>
                  <a:lnTo>
                    <a:pt x="235876" y="681414"/>
                  </a:lnTo>
                  <a:lnTo>
                    <a:pt x="235876" y="671882"/>
                  </a:lnTo>
                  <a:lnTo>
                    <a:pt x="231108" y="662352"/>
                  </a:lnTo>
                  <a:lnTo>
                    <a:pt x="226344" y="662352"/>
                  </a:lnTo>
                  <a:lnTo>
                    <a:pt x="202520" y="676648"/>
                  </a:lnTo>
                  <a:lnTo>
                    <a:pt x="197752" y="676648"/>
                  </a:lnTo>
                  <a:lnTo>
                    <a:pt x="188224" y="643292"/>
                  </a:lnTo>
                  <a:lnTo>
                    <a:pt x="183460" y="633762"/>
                  </a:lnTo>
                  <a:lnTo>
                    <a:pt x="178692" y="624232"/>
                  </a:lnTo>
                  <a:lnTo>
                    <a:pt x="169164" y="609936"/>
                  </a:lnTo>
                  <a:lnTo>
                    <a:pt x="169164" y="581346"/>
                  </a:lnTo>
                  <a:lnTo>
                    <a:pt x="164400" y="567050"/>
                  </a:lnTo>
                  <a:lnTo>
                    <a:pt x="135808" y="543224"/>
                  </a:lnTo>
                  <a:lnTo>
                    <a:pt x="121512" y="524164"/>
                  </a:lnTo>
                  <a:lnTo>
                    <a:pt x="104832" y="505104"/>
                  </a:lnTo>
                  <a:lnTo>
                    <a:pt x="85772" y="476512"/>
                  </a:lnTo>
                  <a:lnTo>
                    <a:pt x="66712" y="452686"/>
                  </a:lnTo>
                  <a:lnTo>
                    <a:pt x="52416" y="438392"/>
                  </a:lnTo>
                  <a:lnTo>
                    <a:pt x="52416" y="433626"/>
                  </a:lnTo>
                  <a:lnTo>
                    <a:pt x="47652" y="428862"/>
                  </a:lnTo>
                  <a:lnTo>
                    <a:pt x="57184" y="414566"/>
                  </a:lnTo>
                  <a:lnTo>
                    <a:pt x="52416" y="395506"/>
                  </a:lnTo>
                  <a:lnTo>
                    <a:pt x="42888" y="371680"/>
                  </a:lnTo>
                  <a:lnTo>
                    <a:pt x="38124" y="357384"/>
                  </a:lnTo>
                  <a:lnTo>
                    <a:pt x="38124" y="352620"/>
                  </a:lnTo>
                  <a:lnTo>
                    <a:pt x="33356" y="352620"/>
                  </a:lnTo>
                  <a:lnTo>
                    <a:pt x="23828" y="352620"/>
                  </a:lnTo>
                  <a:lnTo>
                    <a:pt x="9532" y="343090"/>
                  </a:lnTo>
                  <a:lnTo>
                    <a:pt x="0" y="319264"/>
                  </a:lnTo>
                  <a:lnTo>
                    <a:pt x="0" y="314498"/>
                  </a:lnTo>
                  <a:lnTo>
                    <a:pt x="4768" y="314498"/>
                  </a:lnTo>
                  <a:lnTo>
                    <a:pt x="14296" y="319264"/>
                  </a:lnTo>
                  <a:lnTo>
                    <a:pt x="23828" y="319264"/>
                  </a:lnTo>
                  <a:lnTo>
                    <a:pt x="28592" y="314498"/>
                  </a:lnTo>
                  <a:lnTo>
                    <a:pt x="47652" y="309734"/>
                  </a:lnTo>
                  <a:lnTo>
                    <a:pt x="52416" y="309734"/>
                  </a:lnTo>
                  <a:lnTo>
                    <a:pt x="57184" y="304968"/>
                  </a:lnTo>
                  <a:lnTo>
                    <a:pt x="57184" y="300202"/>
                  </a:lnTo>
                  <a:lnTo>
                    <a:pt x="52416" y="247786"/>
                  </a:lnTo>
                  <a:lnTo>
                    <a:pt x="52416" y="238256"/>
                  </a:lnTo>
                  <a:lnTo>
                    <a:pt x="66712" y="214430"/>
                  </a:lnTo>
                  <a:lnTo>
                    <a:pt x="66712" y="195370"/>
                  </a:lnTo>
                  <a:lnTo>
                    <a:pt x="66712" y="162014"/>
                  </a:lnTo>
                  <a:lnTo>
                    <a:pt x="85772" y="138188"/>
                  </a:lnTo>
                  <a:lnTo>
                    <a:pt x="95304" y="128658"/>
                  </a:lnTo>
                  <a:lnTo>
                    <a:pt x="100068" y="114364"/>
                  </a:lnTo>
                  <a:lnTo>
                    <a:pt x="104832" y="109598"/>
                  </a:lnTo>
                  <a:lnTo>
                    <a:pt x="114364" y="109598"/>
                  </a:lnTo>
                  <a:lnTo>
                    <a:pt x="131044" y="123894"/>
                  </a:lnTo>
                  <a:lnTo>
                    <a:pt x="140572" y="123894"/>
                  </a:lnTo>
                  <a:lnTo>
                    <a:pt x="150104" y="123894"/>
                  </a:lnTo>
                  <a:lnTo>
                    <a:pt x="164400" y="123894"/>
                  </a:lnTo>
                  <a:lnTo>
                    <a:pt x="169164" y="119128"/>
                  </a:lnTo>
                  <a:lnTo>
                    <a:pt x="212048" y="109598"/>
                  </a:lnTo>
                  <a:lnTo>
                    <a:pt x="221580" y="109598"/>
                  </a:lnTo>
                  <a:lnTo>
                    <a:pt x="231108" y="109598"/>
                  </a:lnTo>
                  <a:lnTo>
                    <a:pt x="235876" y="109598"/>
                  </a:lnTo>
                  <a:lnTo>
                    <a:pt x="245404" y="104832"/>
                  </a:lnTo>
                  <a:lnTo>
                    <a:pt x="250172" y="95302"/>
                  </a:lnTo>
                  <a:lnTo>
                    <a:pt x="254936" y="61946"/>
                  </a:lnTo>
                  <a:lnTo>
                    <a:pt x="254936" y="57182"/>
                  </a:lnTo>
                  <a:lnTo>
                    <a:pt x="264464" y="57182"/>
                  </a:lnTo>
                  <a:lnTo>
                    <a:pt x="269232" y="52416"/>
                  </a:lnTo>
                  <a:lnTo>
                    <a:pt x="283528" y="52416"/>
                  </a:lnTo>
                  <a:lnTo>
                    <a:pt x="293056" y="57182"/>
                  </a:lnTo>
                  <a:lnTo>
                    <a:pt x="302588" y="57182"/>
                  </a:lnTo>
                  <a:lnTo>
                    <a:pt x="312116" y="57182"/>
                  </a:lnTo>
                  <a:lnTo>
                    <a:pt x="321648" y="52416"/>
                  </a:lnTo>
                  <a:lnTo>
                    <a:pt x="326412" y="47652"/>
                  </a:lnTo>
                  <a:lnTo>
                    <a:pt x="331176" y="38122"/>
                  </a:lnTo>
                  <a:lnTo>
                    <a:pt x="326412" y="28590"/>
                  </a:lnTo>
                  <a:lnTo>
                    <a:pt x="321648" y="14296"/>
                  </a:lnTo>
                  <a:lnTo>
                    <a:pt x="321648" y="9530"/>
                  </a:lnTo>
                  <a:lnTo>
                    <a:pt x="335944" y="14296"/>
                  </a:lnTo>
                  <a:lnTo>
                    <a:pt x="350240" y="19060"/>
                  </a:lnTo>
                  <a:lnTo>
                    <a:pt x="364532" y="19060"/>
                  </a:lnTo>
                  <a:lnTo>
                    <a:pt x="374064" y="14296"/>
                  </a:lnTo>
                  <a:lnTo>
                    <a:pt x="378828" y="476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8" name="Freeform 6470">
              <a:extLst>
                <a:ext uri="{FF2B5EF4-FFF2-40B4-BE49-F238E27FC236}">
                  <a16:creationId xmlns:a16="http://schemas.microsoft.com/office/drawing/2014/main" id="{5C4F1864-CCAE-4775-B960-F27E9829C82D}"/>
                </a:ext>
              </a:extLst>
            </p:cNvPr>
            <p:cNvSpPr/>
            <p:nvPr/>
          </p:nvSpPr>
          <p:spPr bwMode="auto">
            <a:xfrm>
              <a:off x="7079178" y="4308600"/>
              <a:ext cx="5396" cy="3854"/>
            </a:xfrm>
            <a:custGeom>
              <a:avLst/>
              <a:gdLst>
                <a:gd name="T0" fmla="*/ 14 w 14"/>
                <a:gd name="T1" fmla="*/ 6 h 10"/>
                <a:gd name="T2" fmla="*/ 14 w 14"/>
                <a:gd name="T3" fmla="*/ 4 h 10"/>
                <a:gd name="T4" fmla="*/ 12 w 14"/>
                <a:gd name="T5" fmla="*/ 4 h 10"/>
                <a:gd name="T6" fmla="*/ 6 w 14"/>
                <a:gd name="T7" fmla="*/ 2 h 10"/>
                <a:gd name="T8" fmla="*/ 2 w 14"/>
                <a:gd name="T9" fmla="*/ 2 h 10"/>
                <a:gd name="T10" fmla="*/ 0 w 14"/>
                <a:gd name="T11" fmla="*/ 0 h 10"/>
                <a:gd name="T12" fmla="*/ 2 w 14"/>
                <a:gd name="T13" fmla="*/ 2 h 10"/>
                <a:gd name="T14" fmla="*/ 4 w 14"/>
                <a:gd name="T15" fmla="*/ 6 h 10"/>
                <a:gd name="T16" fmla="*/ 6 w 14"/>
                <a:gd name="T17" fmla="*/ 8 h 10"/>
                <a:gd name="T18" fmla="*/ 10 w 14"/>
                <a:gd name="T19" fmla="*/ 10 h 10"/>
                <a:gd name="T20" fmla="*/ 14 w 14"/>
                <a:gd name="T21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0">
                  <a:moveTo>
                    <a:pt x="14" y="6"/>
                  </a:moveTo>
                  <a:lnTo>
                    <a:pt x="14" y="4"/>
                  </a:lnTo>
                  <a:lnTo>
                    <a:pt x="12" y="4"/>
                  </a:lnTo>
                  <a:lnTo>
                    <a:pt x="6" y="2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6"/>
                  </a:lnTo>
                  <a:lnTo>
                    <a:pt x="6" y="8"/>
                  </a:lnTo>
                  <a:lnTo>
                    <a:pt x="10" y="10"/>
                  </a:lnTo>
                  <a:lnTo>
                    <a:pt x="14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9" name="Freeform 6471">
              <a:extLst>
                <a:ext uri="{FF2B5EF4-FFF2-40B4-BE49-F238E27FC236}">
                  <a16:creationId xmlns:a16="http://schemas.microsoft.com/office/drawing/2014/main" id="{0183C660-B7FF-4CA2-8C14-C8EF512DA14D}"/>
                </a:ext>
              </a:extLst>
            </p:cNvPr>
            <p:cNvSpPr/>
            <p:nvPr/>
          </p:nvSpPr>
          <p:spPr bwMode="auto">
            <a:xfrm>
              <a:off x="7081491" y="4270827"/>
              <a:ext cx="2313" cy="3084"/>
            </a:xfrm>
            <a:custGeom>
              <a:avLst/>
              <a:gdLst>
                <a:gd name="T0" fmla="*/ 6 w 6"/>
                <a:gd name="T1" fmla="*/ 8 h 8"/>
                <a:gd name="T2" fmla="*/ 6 w 6"/>
                <a:gd name="T3" fmla="*/ 6 h 8"/>
                <a:gd name="T4" fmla="*/ 4 w 6"/>
                <a:gd name="T5" fmla="*/ 2 h 8"/>
                <a:gd name="T6" fmla="*/ 0 w 6"/>
                <a:gd name="T7" fmla="*/ 0 h 8"/>
                <a:gd name="T8" fmla="*/ 0 w 6"/>
                <a:gd name="T9" fmla="*/ 2 h 8"/>
                <a:gd name="T10" fmla="*/ 0 w 6"/>
                <a:gd name="T11" fmla="*/ 4 h 8"/>
                <a:gd name="T12" fmla="*/ 4 w 6"/>
                <a:gd name="T13" fmla="*/ 8 h 8"/>
                <a:gd name="T14" fmla="*/ 6 w 6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6" y="8"/>
                  </a:moveTo>
                  <a:lnTo>
                    <a:pt x="6" y="6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4" y="8"/>
                  </a:lnTo>
                  <a:lnTo>
                    <a:pt x="6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0" name="Line 6473">
              <a:extLst>
                <a:ext uri="{FF2B5EF4-FFF2-40B4-BE49-F238E27FC236}">
                  <a16:creationId xmlns:a16="http://schemas.microsoft.com/office/drawing/2014/main" id="{F2214C51-A0B7-49E6-8ACE-D6E16352389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084575" y="4283161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1" name="Freeform 349">
              <a:extLst>
                <a:ext uri="{FF2B5EF4-FFF2-40B4-BE49-F238E27FC236}">
                  <a16:creationId xmlns:a16="http://schemas.microsoft.com/office/drawing/2014/main" id="{9E89BDB4-67B4-49DC-9A78-C9B9F825C862}"/>
                </a:ext>
              </a:extLst>
            </p:cNvPr>
            <p:cNvSpPr/>
            <p:nvPr/>
          </p:nvSpPr>
          <p:spPr bwMode="auto">
            <a:xfrm>
              <a:off x="7000549" y="4270827"/>
              <a:ext cx="195803" cy="141071"/>
            </a:xfrm>
            <a:custGeom>
              <a:avLst/>
              <a:gdLst>
                <a:gd name="connsiteX0" fmla="*/ 490808 w 1210344"/>
                <a:gd name="connsiteY0" fmla="*/ 238258 h 872020"/>
                <a:gd name="connsiteX1" fmla="*/ 500340 w 1210344"/>
                <a:gd name="connsiteY1" fmla="*/ 238258 h 872020"/>
                <a:gd name="connsiteX2" fmla="*/ 514632 w 1210344"/>
                <a:gd name="connsiteY2" fmla="*/ 243022 h 872020"/>
                <a:gd name="connsiteX3" fmla="*/ 519400 w 1210344"/>
                <a:gd name="connsiteY3" fmla="*/ 243022 h 872020"/>
                <a:gd name="connsiteX4" fmla="*/ 519400 w 1210344"/>
                <a:gd name="connsiteY4" fmla="*/ 247788 h 872020"/>
                <a:gd name="connsiteX5" fmla="*/ 509868 w 1210344"/>
                <a:gd name="connsiteY5" fmla="*/ 257318 h 872020"/>
                <a:gd name="connsiteX6" fmla="*/ 500340 w 1210344"/>
                <a:gd name="connsiteY6" fmla="*/ 252552 h 872020"/>
                <a:gd name="connsiteX7" fmla="*/ 495572 w 1210344"/>
                <a:gd name="connsiteY7" fmla="*/ 247788 h 872020"/>
                <a:gd name="connsiteX8" fmla="*/ 471748 w 1210344"/>
                <a:gd name="connsiteY8" fmla="*/ 0 h 872020"/>
                <a:gd name="connsiteX9" fmla="*/ 476512 w 1210344"/>
                <a:gd name="connsiteY9" fmla="*/ 0 h 872020"/>
                <a:gd name="connsiteX10" fmla="*/ 481276 w 1210344"/>
                <a:gd name="connsiteY10" fmla="*/ 0 h 872020"/>
                <a:gd name="connsiteX11" fmla="*/ 505104 w 1210344"/>
                <a:gd name="connsiteY11" fmla="*/ 23826 h 872020"/>
                <a:gd name="connsiteX12" fmla="*/ 514632 w 1210344"/>
                <a:gd name="connsiteY12" fmla="*/ 38122 h 872020"/>
                <a:gd name="connsiteX13" fmla="*/ 514632 w 1210344"/>
                <a:gd name="connsiteY13" fmla="*/ 42888 h 872020"/>
                <a:gd name="connsiteX14" fmla="*/ 509868 w 1210344"/>
                <a:gd name="connsiteY14" fmla="*/ 47652 h 872020"/>
                <a:gd name="connsiteX15" fmla="*/ 509868 w 1210344"/>
                <a:gd name="connsiteY15" fmla="*/ 52418 h 872020"/>
                <a:gd name="connsiteX16" fmla="*/ 528928 w 1210344"/>
                <a:gd name="connsiteY16" fmla="*/ 61948 h 872020"/>
                <a:gd name="connsiteX17" fmla="*/ 524164 w 1210344"/>
                <a:gd name="connsiteY17" fmla="*/ 71478 h 872020"/>
                <a:gd name="connsiteX18" fmla="*/ 524164 w 1210344"/>
                <a:gd name="connsiteY18" fmla="*/ 76244 h 872020"/>
                <a:gd name="connsiteX19" fmla="*/ 519400 w 1210344"/>
                <a:gd name="connsiteY19" fmla="*/ 76244 h 872020"/>
                <a:gd name="connsiteX20" fmla="*/ 495572 w 1210344"/>
                <a:gd name="connsiteY20" fmla="*/ 95304 h 872020"/>
                <a:gd name="connsiteX21" fmla="*/ 471748 w 1210344"/>
                <a:gd name="connsiteY21" fmla="*/ 119130 h 872020"/>
                <a:gd name="connsiteX22" fmla="*/ 471748 w 1210344"/>
                <a:gd name="connsiteY22" fmla="*/ 123894 h 872020"/>
                <a:gd name="connsiteX23" fmla="*/ 471748 w 1210344"/>
                <a:gd name="connsiteY23" fmla="*/ 128660 h 872020"/>
                <a:gd name="connsiteX24" fmla="*/ 471748 w 1210344"/>
                <a:gd name="connsiteY24" fmla="*/ 133424 h 872020"/>
                <a:gd name="connsiteX25" fmla="*/ 476512 w 1210344"/>
                <a:gd name="connsiteY25" fmla="*/ 138190 h 872020"/>
                <a:gd name="connsiteX26" fmla="*/ 486044 w 1210344"/>
                <a:gd name="connsiteY26" fmla="*/ 142954 h 872020"/>
                <a:gd name="connsiteX27" fmla="*/ 495572 w 1210344"/>
                <a:gd name="connsiteY27" fmla="*/ 147720 h 872020"/>
                <a:gd name="connsiteX28" fmla="*/ 500340 w 1210344"/>
                <a:gd name="connsiteY28" fmla="*/ 157250 h 872020"/>
                <a:gd name="connsiteX29" fmla="*/ 505104 w 1210344"/>
                <a:gd name="connsiteY29" fmla="*/ 166780 h 872020"/>
                <a:gd name="connsiteX30" fmla="*/ 514632 w 1210344"/>
                <a:gd name="connsiteY30" fmla="*/ 171546 h 872020"/>
                <a:gd name="connsiteX31" fmla="*/ 552756 w 1210344"/>
                <a:gd name="connsiteY31" fmla="*/ 162016 h 872020"/>
                <a:gd name="connsiteX32" fmla="*/ 562284 w 1210344"/>
                <a:gd name="connsiteY32" fmla="*/ 162016 h 872020"/>
                <a:gd name="connsiteX33" fmla="*/ 562284 w 1210344"/>
                <a:gd name="connsiteY33" fmla="*/ 166780 h 872020"/>
                <a:gd name="connsiteX34" fmla="*/ 562284 w 1210344"/>
                <a:gd name="connsiteY34" fmla="*/ 171546 h 872020"/>
                <a:gd name="connsiteX35" fmla="*/ 528928 w 1210344"/>
                <a:gd name="connsiteY35" fmla="*/ 185840 h 872020"/>
                <a:gd name="connsiteX36" fmla="*/ 514632 w 1210344"/>
                <a:gd name="connsiteY36" fmla="*/ 195372 h 872020"/>
                <a:gd name="connsiteX37" fmla="*/ 509868 w 1210344"/>
                <a:gd name="connsiteY37" fmla="*/ 214432 h 872020"/>
                <a:gd name="connsiteX38" fmla="*/ 505104 w 1210344"/>
                <a:gd name="connsiteY38" fmla="*/ 219196 h 872020"/>
                <a:gd name="connsiteX39" fmla="*/ 500340 w 1210344"/>
                <a:gd name="connsiteY39" fmla="*/ 219196 h 872020"/>
                <a:gd name="connsiteX40" fmla="*/ 490808 w 1210344"/>
                <a:gd name="connsiteY40" fmla="*/ 223962 h 872020"/>
                <a:gd name="connsiteX41" fmla="*/ 481276 w 1210344"/>
                <a:gd name="connsiteY41" fmla="*/ 200136 h 872020"/>
                <a:gd name="connsiteX42" fmla="*/ 471748 w 1210344"/>
                <a:gd name="connsiteY42" fmla="*/ 195372 h 872020"/>
                <a:gd name="connsiteX43" fmla="*/ 457452 w 1210344"/>
                <a:gd name="connsiteY43" fmla="*/ 190606 h 872020"/>
                <a:gd name="connsiteX44" fmla="*/ 424096 w 1210344"/>
                <a:gd name="connsiteY44" fmla="*/ 176310 h 872020"/>
                <a:gd name="connsiteX45" fmla="*/ 409800 w 1210344"/>
                <a:gd name="connsiteY45" fmla="*/ 171546 h 872020"/>
                <a:gd name="connsiteX46" fmla="*/ 376444 w 1210344"/>
                <a:gd name="connsiteY46" fmla="*/ 181076 h 872020"/>
                <a:gd name="connsiteX47" fmla="*/ 338324 w 1210344"/>
                <a:gd name="connsiteY47" fmla="*/ 190606 h 872020"/>
                <a:gd name="connsiteX48" fmla="*/ 333560 w 1210344"/>
                <a:gd name="connsiteY48" fmla="*/ 200136 h 872020"/>
                <a:gd name="connsiteX49" fmla="*/ 328792 w 1210344"/>
                <a:gd name="connsiteY49" fmla="*/ 209666 h 872020"/>
                <a:gd name="connsiteX50" fmla="*/ 328792 w 1210344"/>
                <a:gd name="connsiteY50" fmla="*/ 214432 h 872020"/>
                <a:gd name="connsiteX51" fmla="*/ 333560 w 1210344"/>
                <a:gd name="connsiteY51" fmla="*/ 223962 h 872020"/>
                <a:gd name="connsiteX52" fmla="*/ 328792 w 1210344"/>
                <a:gd name="connsiteY52" fmla="*/ 228728 h 872020"/>
                <a:gd name="connsiteX53" fmla="*/ 324028 w 1210344"/>
                <a:gd name="connsiteY53" fmla="*/ 228728 h 872020"/>
                <a:gd name="connsiteX54" fmla="*/ 314500 w 1210344"/>
                <a:gd name="connsiteY54" fmla="*/ 223962 h 872020"/>
                <a:gd name="connsiteX55" fmla="*/ 304968 w 1210344"/>
                <a:gd name="connsiteY55" fmla="*/ 219196 h 872020"/>
                <a:gd name="connsiteX56" fmla="*/ 300204 w 1210344"/>
                <a:gd name="connsiteY56" fmla="*/ 228728 h 872020"/>
                <a:gd name="connsiteX57" fmla="*/ 295436 w 1210344"/>
                <a:gd name="connsiteY57" fmla="*/ 247788 h 872020"/>
                <a:gd name="connsiteX58" fmla="*/ 290672 w 1210344"/>
                <a:gd name="connsiteY58" fmla="*/ 262082 h 872020"/>
                <a:gd name="connsiteX59" fmla="*/ 300204 w 1210344"/>
                <a:gd name="connsiteY59" fmla="*/ 281144 h 872020"/>
                <a:gd name="connsiteX60" fmla="*/ 300204 w 1210344"/>
                <a:gd name="connsiteY60" fmla="*/ 309734 h 872020"/>
                <a:gd name="connsiteX61" fmla="*/ 319264 w 1210344"/>
                <a:gd name="connsiteY61" fmla="*/ 304970 h 872020"/>
                <a:gd name="connsiteX62" fmla="*/ 328792 w 1210344"/>
                <a:gd name="connsiteY62" fmla="*/ 304970 h 872020"/>
                <a:gd name="connsiteX63" fmla="*/ 347856 w 1210344"/>
                <a:gd name="connsiteY63" fmla="*/ 300204 h 872020"/>
                <a:gd name="connsiteX64" fmla="*/ 362148 w 1210344"/>
                <a:gd name="connsiteY64" fmla="*/ 300204 h 872020"/>
                <a:gd name="connsiteX65" fmla="*/ 376444 w 1210344"/>
                <a:gd name="connsiteY65" fmla="*/ 300204 h 872020"/>
                <a:gd name="connsiteX66" fmla="*/ 405036 w 1210344"/>
                <a:gd name="connsiteY66" fmla="*/ 300204 h 872020"/>
                <a:gd name="connsiteX67" fmla="*/ 428860 w 1210344"/>
                <a:gd name="connsiteY67" fmla="*/ 300204 h 872020"/>
                <a:gd name="connsiteX68" fmla="*/ 433628 w 1210344"/>
                <a:gd name="connsiteY68" fmla="*/ 300204 h 872020"/>
                <a:gd name="connsiteX69" fmla="*/ 438392 w 1210344"/>
                <a:gd name="connsiteY69" fmla="*/ 295438 h 872020"/>
                <a:gd name="connsiteX70" fmla="*/ 443156 w 1210344"/>
                <a:gd name="connsiteY70" fmla="*/ 300204 h 872020"/>
                <a:gd name="connsiteX71" fmla="*/ 452688 w 1210344"/>
                <a:gd name="connsiteY71" fmla="*/ 304970 h 872020"/>
                <a:gd name="connsiteX72" fmla="*/ 471748 w 1210344"/>
                <a:gd name="connsiteY72" fmla="*/ 295438 h 872020"/>
                <a:gd name="connsiteX73" fmla="*/ 490808 w 1210344"/>
                <a:gd name="connsiteY73" fmla="*/ 295438 h 872020"/>
                <a:gd name="connsiteX74" fmla="*/ 500340 w 1210344"/>
                <a:gd name="connsiteY74" fmla="*/ 300204 h 872020"/>
                <a:gd name="connsiteX75" fmla="*/ 509868 w 1210344"/>
                <a:gd name="connsiteY75" fmla="*/ 300204 h 872020"/>
                <a:gd name="connsiteX76" fmla="*/ 519400 w 1210344"/>
                <a:gd name="connsiteY76" fmla="*/ 319264 h 872020"/>
                <a:gd name="connsiteX77" fmla="*/ 528928 w 1210344"/>
                <a:gd name="connsiteY77" fmla="*/ 328794 h 872020"/>
                <a:gd name="connsiteX78" fmla="*/ 538460 w 1210344"/>
                <a:gd name="connsiteY78" fmla="*/ 333560 h 872020"/>
                <a:gd name="connsiteX79" fmla="*/ 567048 w 1210344"/>
                <a:gd name="connsiteY79" fmla="*/ 333560 h 872020"/>
                <a:gd name="connsiteX80" fmla="*/ 576580 w 1210344"/>
                <a:gd name="connsiteY80" fmla="*/ 314500 h 872020"/>
                <a:gd name="connsiteX81" fmla="*/ 586112 w 1210344"/>
                <a:gd name="connsiteY81" fmla="*/ 309734 h 872020"/>
                <a:gd name="connsiteX82" fmla="*/ 600404 w 1210344"/>
                <a:gd name="connsiteY82" fmla="*/ 309734 h 872020"/>
                <a:gd name="connsiteX83" fmla="*/ 609936 w 1210344"/>
                <a:gd name="connsiteY83" fmla="*/ 304970 h 872020"/>
                <a:gd name="connsiteX84" fmla="*/ 619468 w 1210344"/>
                <a:gd name="connsiteY84" fmla="*/ 300204 h 872020"/>
                <a:gd name="connsiteX85" fmla="*/ 633760 w 1210344"/>
                <a:gd name="connsiteY85" fmla="*/ 295438 h 872020"/>
                <a:gd name="connsiteX86" fmla="*/ 643292 w 1210344"/>
                <a:gd name="connsiteY86" fmla="*/ 290674 h 872020"/>
                <a:gd name="connsiteX87" fmla="*/ 648056 w 1210344"/>
                <a:gd name="connsiteY87" fmla="*/ 295438 h 872020"/>
                <a:gd name="connsiteX88" fmla="*/ 648056 w 1210344"/>
                <a:gd name="connsiteY88" fmla="*/ 300204 h 872020"/>
                <a:gd name="connsiteX89" fmla="*/ 648056 w 1210344"/>
                <a:gd name="connsiteY89" fmla="*/ 309734 h 872020"/>
                <a:gd name="connsiteX90" fmla="*/ 648056 w 1210344"/>
                <a:gd name="connsiteY90" fmla="*/ 319264 h 872020"/>
                <a:gd name="connsiteX91" fmla="*/ 652824 w 1210344"/>
                <a:gd name="connsiteY91" fmla="*/ 324030 h 872020"/>
                <a:gd name="connsiteX92" fmla="*/ 671884 w 1210344"/>
                <a:gd name="connsiteY92" fmla="*/ 324030 h 872020"/>
                <a:gd name="connsiteX93" fmla="*/ 681412 w 1210344"/>
                <a:gd name="connsiteY93" fmla="*/ 328794 h 872020"/>
                <a:gd name="connsiteX94" fmla="*/ 681412 w 1210344"/>
                <a:gd name="connsiteY94" fmla="*/ 338324 h 872020"/>
                <a:gd name="connsiteX95" fmla="*/ 681412 w 1210344"/>
                <a:gd name="connsiteY95" fmla="*/ 352620 h 872020"/>
                <a:gd name="connsiteX96" fmla="*/ 690944 w 1210344"/>
                <a:gd name="connsiteY96" fmla="*/ 357386 h 872020"/>
                <a:gd name="connsiteX97" fmla="*/ 695708 w 1210344"/>
                <a:gd name="connsiteY97" fmla="*/ 357386 h 872020"/>
                <a:gd name="connsiteX98" fmla="*/ 724300 w 1210344"/>
                <a:gd name="connsiteY98" fmla="*/ 343090 h 872020"/>
                <a:gd name="connsiteX99" fmla="*/ 729064 w 1210344"/>
                <a:gd name="connsiteY99" fmla="*/ 343090 h 872020"/>
                <a:gd name="connsiteX100" fmla="*/ 738596 w 1210344"/>
                <a:gd name="connsiteY100" fmla="*/ 352620 h 872020"/>
                <a:gd name="connsiteX101" fmla="*/ 748124 w 1210344"/>
                <a:gd name="connsiteY101" fmla="*/ 362150 h 872020"/>
                <a:gd name="connsiteX102" fmla="*/ 762420 w 1210344"/>
                <a:gd name="connsiteY102" fmla="*/ 371680 h 872020"/>
                <a:gd name="connsiteX103" fmla="*/ 767184 w 1210344"/>
                <a:gd name="connsiteY103" fmla="*/ 357386 h 872020"/>
                <a:gd name="connsiteX104" fmla="*/ 781480 w 1210344"/>
                <a:gd name="connsiteY104" fmla="*/ 347856 h 872020"/>
                <a:gd name="connsiteX105" fmla="*/ 800540 w 1210344"/>
                <a:gd name="connsiteY105" fmla="*/ 343090 h 872020"/>
                <a:gd name="connsiteX106" fmla="*/ 814836 w 1210344"/>
                <a:gd name="connsiteY106" fmla="*/ 338324 h 872020"/>
                <a:gd name="connsiteX107" fmla="*/ 824368 w 1210344"/>
                <a:gd name="connsiteY107" fmla="*/ 338324 h 872020"/>
                <a:gd name="connsiteX108" fmla="*/ 862488 w 1210344"/>
                <a:gd name="connsiteY108" fmla="*/ 343090 h 872020"/>
                <a:gd name="connsiteX109" fmla="*/ 872020 w 1210344"/>
                <a:gd name="connsiteY109" fmla="*/ 343090 h 872020"/>
                <a:gd name="connsiteX110" fmla="*/ 900608 w 1210344"/>
                <a:gd name="connsiteY110" fmla="*/ 343090 h 872020"/>
                <a:gd name="connsiteX111" fmla="*/ 919668 w 1210344"/>
                <a:gd name="connsiteY111" fmla="*/ 338324 h 872020"/>
                <a:gd name="connsiteX112" fmla="*/ 933964 w 1210344"/>
                <a:gd name="connsiteY112" fmla="*/ 333560 h 872020"/>
                <a:gd name="connsiteX113" fmla="*/ 943496 w 1210344"/>
                <a:gd name="connsiteY113" fmla="*/ 324030 h 872020"/>
                <a:gd name="connsiteX114" fmla="*/ 953024 w 1210344"/>
                <a:gd name="connsiteY114" fmla="*/ 319264 h 872020"/>
                <a:gd name="connsiteX115" fmla="*/ 972084 w 1210344"/>
                <a:gd name="connsiteY115" fmla="*/ 324030 h 872020"/>
                <a:gd name="connsiteX116" fmla="*/ 981616 w 1210344"/>
                <a:gd name="connsiteY116" fmla="*/ 324030 h 872020"/>
                <a:gd name="connsiteX117" fmla="*/ 981616 w 1210344"/>
                <a:gd name="connsiteY117" fmla="*/ 333560 h 872020"/>
                <a:gd name="connsiteX118" fmla="*/ 976852 w 1210344"/>
                <a:gd name="connsiteY118" fmla="*/ 352620 h 872020"/>
                <a:gd name="connsiteX119" fmla="*/ 976852 w 1210344"/>
                <a:gd name="connsiteY119" fmla="*/ 366916 h 872020"/>
                <a:gd name="connsiteX120" fmla="*/ 986380 w 1210344"/>
                <a:gd name="connsiteY120" fmla="*/ 395506 h 872020"/>
                <a:gd name="connsiteX121" fmla="*/ 995912 w 1210344"/>
                <a:gd name="connsiteY121" fmla="*/ 405036 h 872020"/>
                <a:gd name="connsiteX122" fmla="*/ 1005440 w 1210344"/>
                <a:gd name="connsiteY122" fmla="*/ 414566 h 872020"/>
                <a:gd name="connsiteX123" fmla="*/ 1005440 w 1210344"/>
                <a:gd name="connsiteY123" fmla="*/ 419332 h 872020"/>
                <a:gd name="connsiteX124" fmla="*/ 1005440 w 1210344"/>
                <a:gd name="connsiteY124" fmla="*/ 424098 h 872020"/>
                <a:gd name="connsiteX125" fmla="*/ 995912 w 1210344"/>
                <a:gd name="connsiteY125" fmla="*/ 433628 h 872020"/>
                <a:gd name="connsiteX126" fmla="*/ 991148 w 1210344"/>
                <a:gd name="connsiteY126" fmla="*/ 438392 h 872020"/>
                <a:gd name="connsiteX127" fmla="*/ 991148 w 1210344"/>
                <a:gd name="connsiteY127" fmla="*/ 443158 h 872020"/>
                <a:gd name="connsiteX128" fmla="*/ 991148 w 1210344"/>
                <a:gd name="connsiteY128" fmla="*/ 452688 h 872020"/>
                <a:gd name="connsiteX129" fmla="*/ 1000676 w 1210344"/>
                <a:gd name="connsiteY129" fmla="*/ 476514 h 872020"/>
                <a:gd name="connsiteX130" fmla="*/ 1005440 w 1210344"/>
                <a:gd name="connsiteY130" fmla="*/ 490808 h 872020"/>
                <a:gd name="connsiteX131" fmla="*/ 1014972 w 1210344"/>
                <a:gd name="connsiteY131" fmla="*/ 500340 h 872020"/>
                <a:gd name="connsiteX132" fmla="*/ 1034032 w 1210344"/>
                <a:gd name="connsiteY132" fmla="*/ 509870 h 872020"/>
                <a:gd name="connsiteX133" fmla="*/ 1038796 w 1210344"/>
                <a:gd name="connsiteY133" fmla="*/ 505104 h 872020"/>
                <a:gd name="connsiteX134" fmla="*/ 1048328 w 1210344"/>
                <a:gd name="connsiteY134" fmla="*/ 490808 h 872020"/>
                <a:gd name="connsiteX135" fmla="*/ 1057856 w 1210344"/>
                <a:gd name="connsiteY135" fmla="*/ 481278 h 872020"/>
                <a:gd name="connsiteX136" fmla="*/ 1067388 w 1210344"/>
                <a:gd name="connsiteY136" fmla="*/ 481278 h 872020"/>
                <a:gd name="connsiteX137" fmla="*/ 1081684 w 1210344"/>
                <a:gd name="connsiteY137" fmla="*/ 481278 h 872020"/>
                <a:gd name="connsiteX138" fmla="*/ 1119804 w 1210344"/>
                <a:gd name="connsiteY138" fmla="*/ 495574 h 872020"/>
                <a:gd name="connsiteX139" fmla="*/ 1153160 w 1210344"/>
                <a:gd name="connsiteY139" fmla="*/ 514634 h 872020"/>
                <a:gd name="connsiteX140" fmla="*/ 1162692 w 1210344"/>
                <a:gd name="connsiteY140" fmla="*/ 524164 h 872020"/>
                <a:gd name="connsiteX141" fmla="*/ 1167456 w 1210344"/>
                <a:gd name="connsiteY141" fmla="*/ 533696 h 872020"/>
                <a:gd name="connsiteX142" fmla="*/ 1157924 w 1210344"/>
                <a:gd name="connsiteY142" fmla="*/ 557520 h 872020"/>
                <a:gd name="connsiteX143" fmla="*/ 1157924 w 1210344"/>
                <a:gd name="connsiteY143" fmla="*/ 576582 h 872020"/>
                <a:gd name="connsiteX144" fmla="*/ 1162692 w 1210344"/>
                <a:gd name="connsiteY144" fmla="*/ 590876 h 872020"/>
                <a:gd name="connsiteX145" fmla="*/ 1167456 w 1210344"/>
                <a:gd name="connsiteY145" fmla="*/ 605172 h 872020"/>
                <a:gd name="connsiteX146" fmla="*/ 1176988 w 1210344"/>
                <a:gd name="connsiteY146" fmla="*/ 628998 h 872020"/>
                <a:gd name="connsiteX147" fmla="*/ 1176988 w 1210344"/>
                <a:gd name="connsiteY147" fmla="*/ 648058 h 872020"/>
                <a:gd name="connsiteX148" fmla="*/ 1181752 w 1210344"/>
                <a:gd name="connsiteY148" fmla="*/ 652824 h 872020"/>
                <a:gd name="connsiteX149" fmla="*/ 1181752 w 1210344"/>
                <a:gd name="connsiteY149" fmla="*/ 657588 h 872020"/>
                <a:gd name="connsiteX150" fmla="*/ 1181752 w 1210344"/>
                <a:gd name="connsiteY150" fmla="*/ 676648 h 872020"/>
                <a:gd name="connsiteX151" fmla="*/ 1176988 w 1210344"/>
                <a:gd name="connsiteY151" fmla="*/ 690944 h 872020"/>
                <a:gd name="connsiteX152" fmla="*/ 1181752 w 1210344"/>
                <a:gd name="connsiteY152" fmla="*/ 695710 h 872020"/>
                <a:gd name="connsiteX153" fmla="*/ 1191280 w 1210344"/>
                <a:gd name="connsiteY153" fmla="*/ 705240 h 872020"/>
                <a:gd name="connsiteX154" fmla="*/ 1210344 w 1210344"/>
                <a:gd name="connsiteY154" fmla="*/ 724300 h 872020"/>
                <a:gd name="connsiteX155" fmla="*/ 1210344 w 1210344"/>
                <a:gd name="connsiteY155" fmla="*/ 733830 h 872020"/>
                <a:gd name="connsiteX156" fmla="*/ 1205576 w 1210344"/>
                <a:gd name="connsiteY156" fmla="*/ 743360 h 872020"/>
                <a:gd name="connsiteX157" fmla="*/ 1196048 w 1210344"/>
                <a:gd name="connsiteY157" fmla="*/ 752890 h 872020"/>
                <a:gd name="connsiteX158" fmla="*/ 1181752 w 1210344"/>
                <a:gd name="connsiteY158" fmla="*/ 762422 h 872020"/>
                <a:gd name="connsiteX159" fmla="*/ 1176988 w 1210344"/>
                <a:gd name="connsiteY159" fmla="*/ 767186 h 872020"/>
                <a:gd name="connsiteX160" fmla="*/ 1172220 w 1210344"/>
                <a:gd name="connsiteY160" fmla="*/ 762422 h 872020"/>
                <a:gd name="connsiteX161" fmla="*/ 1167456 w 1210344"/>
                <a:gd name="connsiteY161" fmla="*/ 752890 h 872020"/>
                <a:gd name="connsiteX162" fmla="*/ 1153160 w 1210344"/>
                <a:gd name="connsiteY162" fmla="*/ 743360 h 872020"/>
                <a:gd name="connsiteX163" fmla="*/ 1138864 w 1210344"/>
                <a:gd name="connsiteY163" fmla="*/ 733830 h 872020"/>
                <a:gd name="connsiteX164" fmla="*/ 1119804 w 1210344"/>
                <a:gd name="connsiteY164" fmla="*/ 733830 h 872020"/>
                <a:gd name="connsiteX165" fmla="*/ 1105508 w 1210344"/>
                <a:gd name="connsiteY165" fmla="*/ 733830 h 872020"/>
                <a:gd name="connsiteX166" fmla="*/ 1091212 w 1210344"/>
                <a:gd name="connsiteY166" fmla="*/ 729066 h 872020"/>
                <a:gd name="connsiteX167" fmla="*/ 1076920 w 1210344"/>
                <a:gd name="connsiteY167" fmla="*/ 729066 h 872020"/>
                <a:gd name="connsiteX168" fmla="*/ 1067388 w 1210344"/>
                <a:gd name="connsiteY168" fmla="*/ 738596 h 872020"/>
                <a:gd name="connsiteX169" fmla="*/ 1062624 w 1210344"/>
                <a:gd name="connsiteY169" fmla="*/ 748126 h 872020"/>
                <a:gd name="connsiteX170" fmla="*/ 1048328 w 1210344"/>
                <a:gd name="connsiteY170" fmla="*/ 748126 h 872020"/>
                <a:gd name="connsiteX171" fmla="*/ 1029268 w 1210344"/>
                <a:gd name="connsiteY171" fmla="*/ 752890 h 872020"/>
                <a:gd name="connsiteX172" fmla="*/ 995912 w 1210344"/>
                <a:gd name="connsiteY172" fmla="*/ 767186 h 872020"/>
                <a:gd name="connsiteX173" fmla="*/ 981616 w 1210344"/>
                <a:gd name="connsiteY173" fmla="*/ 762422 h 872020"/>
                <a:gd name="connsiteX174" fmla="*/ 976852 w 1210344"/>
                <a:gd name="connsiteY174" fmla="*/ 757656 h 872020"/>
                <a:gd name="connsiteX175" fmla="*/ 981616 w 1210344"/>
                <a:gd name="connsiteY175" fmla="*/ 752890 h 872020"/>
                <a:gd name="connsiteX176" fmla="*/ 991148 w 1210344"/>
                <a:gd name="connsiteY176" fmla="*/ 748126 h 872020"/>
                <a:gd name="connsiteX177" fmla="*/ 995912 w 1210344"/>
                <a:gd name="connsiteY177" fmla="*/ 738596 h 872020"/>
                <a:gd name="connsiteX178" fmla="*/ 995912 w 1210344"/>
                <a:gd name="connsiteY178" fmla="*/ 729066 h 872020"/>
                <a:gd name="connsiteX179" fmla="*/ 981616 w 1210344"/>
                <a:gd name="connsiteY179" fmla="*/ 724300 h 872020"/>
                <a:gd name="connsiteX180" fmla="*/ 976852 w 1210344"/>
                <a:gd name="connsiteY180" fmla="*/ 724300 h 872020"/>
                <a:gd name="connsiteX181" fmla="*/ 957792 w 1210344"/>
                <a:gd name="connsiteY181" fmla="*/ 719536 h 872020"/>
                <a:gd name="connsiteX182" fmla="*/ 938728 w 1210344"/>
                <a:gd name="connsiteY182" fmla="*/ 719536 h 872020"/>
                <a:gd name="connsiteX183" fmla="*/ 914904 w 1210344"/>
                <a:gd name="connsiteY183" fmla="*/ 729066 h 872020"/>
                <a:gd name="connsiteX184" fmla="*/ 862488 w 1210344"/>
                <a:gd name="connsiteY184" fmla="*/ 757656 h 872020"/>
                <a:gd name="connsiteX185" fmla="*/ 843428 w 1210344"/>
                <a:gd name="connsiteY185" fmla="*/ 776716 h 872020"/>
                <a:gd name="connsiteX186" fmla="*/ 829132 w 1210344"/>
                <a:gd name="connsiteY186" fmla="*/ 805308 h 872020"/>
                <a:gd name="connsiteX187" fmla="*/ 781480 w 1210344"/>
                <a:gd name="connsiteY187" fmla="*/ 814838 h 872020"/>
                <a:gd name="connsiteX188" fmla="*/ 748124 w 1210344"/>
                <a:gd name="connsiteY188" fmla="*/ 829132 h 872020"/>
                <a:gd name="connsiteX189" fmla="*/ 714768 w 1210344"/>
                <a:gd name="connsiteY189" fmla="*/ 857724 h 872020"/>
                <a:gd name="connsiteX190" fmla="*/ 695708 w 1210344"/>
                <a:gd name="connsiteY190" fmla="*/ 872020 h 872020"/>
                <a:gd name="connsiteX191" fmla="*/ 681412 w 1210344"/>
                <a:gd name="connsiteY191" fmla="*/ 872020 h 872020"/>
                <a:gd name="connsiteX192" fmla="*/ 671884 w 1210344"/>
                <a:gd name="connsiteY192" fmla="*/ 872020 h 872020"/>
                <a:gd name="connsiteX193" fmla="*/ 662352 w 1210344"/>
                <a:gd name="connsiteY193" fmla="*/ 862488 h 872020"/>
                <a:gd name="connsiteX194" fmla="*/ 652824 w 1210344"/>
                <a:gd name="connsiteY194" fmla="*/ 843428 h 872020"/>
                <a:gd name="connsiteX195" fmla="*/ 643292 w 1210344"/>
                <a:gd name="connsiteY195" fmla="*/ 810072 h 872020"/>
                <a:gd name="connsiteX196" fmla="*/ 633760 w 1210344"/>
                <a:gd name="connsiteY196" fmla="*/ 786246 h 872020"/>
                <a:gd name="connsiteX197" fmla="*/ 638528 w 1210344"/>
                <a:gd name="connsiteY197" fmla="*/ 757656 h 872020"/>
                <a:gd name="connsiteX198" fmla="*/ 643292 w 1210344"/>
                <a:gd name="connsiteY198" fmla="*/ 724300 h 872020"/>
                <a:gd name="connsiteX199" fmla="*/ 648056 w 1210344"/>
                <a:gd name="connsiteY199" fmla="*/ 690944 h 872020"/>
                <a:gd name="connsiteX200" fmla="*/ 652824 w 1210344"/>
                <a:gd name="connsiteY200" fmla="*/ 652824 h 872020"/>
                <a:gd name="connsiteX201" fmla="*/ 657588 w 1210344"/>
                <a:gd name="connsiteY201" fmla="*/ 643292 h 872020"/>
                <a:gd name="connsiteX202" fmla="*/ 657588 w 1210344"/>
                <a:gd name="connsiteY202" fmla="*/ 633762 h 872020"/>
                <a:gd name="connsiteX203" fmla="*/ 652824 w 1210344"/>
                <a:gd name="connsiteY203" fmla="*/ 628998 h 872020"/>
                <a:gd name="connsiteX204" fmla="*/ 643292 w 1210344"/>
                <a:gd name="connsiteY204" fmla="*/ 628998 h 872020"/>
                <a:gd name="connsiteX205" fmla="*/ 628996 w 1210344"/>
                <a:gd name="connsiteY205" fmla="*/ 633762 h 872020"/>
                <a:gd name="connsiteX206" fmla="*/ 619468 w 1210344"/>
                <a:gd name="connsiteY206" fmla="*/ 633762 h 872020"/>
                <a:gd name="connsiteX207" fmla="*/ 609936 w 1210344"/>
                <a:gd name="connsiteY207" fmla="*/ 628998 h 872020"/>
                <a:gd name="connsiteX208" fmla="*/ 614700 w 1210344"/>
                <a:gd name="connsiteY208" fmla="*/ 609938 h 872020"/>
                <a:gd name="connsiteX209" fmla="*/ 619468 w 1210344"/>
                <a:gd name="connsiteY209" fmla="*/ 581346 h 872020"/>
                <a:gd name="connsiteX210" fmla="*/ 609936 w 1210344"/>
                <a:gd name="connsiteY210" fmla="*/ 552756 h 872020"/>
                <a:gd name="connsiteX211" fmla="*/ 576580 w 1210344"/>
                <a:gd name="connsiteY211" fmla="*/ 528930 h 872020"/>
                <a:gd name="connsiteX212" fmla="*/ 547988 w 1210344"/>
                <a:gd name="connsiteY212" fmla="*/ 524164 h 872020"/>
                <a:gd name="connsiteX213" fmla="*/ 528928 w 1210344"/>
                <a:gd name="connsiteY213" fmla="*/ 528930 h 872020"/>
                <a:gd name="connsiteX214" fmla="*/ 509868 w 1210344"/>
                <a:gd name="connsiteY214" fmla="*/ 547990 h 872020"/>
                <a:gd name="connsiteX215" fmla="*/ 495572 w 1210344"/>
                <a:gd name="connsiteY215" fmla="*/ 576582 h 872020"/>
                <a:gd name="connsiteX216" fmla="*/ 476512 w 1210344"/>
                <a:gd name="connsiteY216" fmla="*/ 600406 h 872020"/>
                <a:gd name="connsiteX217" fmla="*/ 462216 w 1210344"/>
                <a:gd name="connsiteY217" fmla="*/ 614702 h 872020"/>
                <a:gd name="connsiteX218" fmla="*/ 447920 w 1210344"/>
                <a:gd name="connsiteY218" fmla="*/ 624232 h 872020"/>
                <a:gd name="connsiteX219" fmla="*/ 447920 w 1210344"/>
                <a:gd name="connsiteY219" fmla="*/ 628998 h 872020"/>
                <a:gd name="connsiteX220" fmla="*/ 443156 w 1210344"/>
                <a:gd name="connsiteY220" fmla="*/ 638528 h 872020"/>
                <a:gd name="connsiteX221" fmla="*/ 452688 w 1210344"/>
                <a:gd name="connsiteY221" fmla="*/ 662354 h 872020"/>
                <a:gd name="connsiteX222" fmla="*/ 452688 w 1210344"/>
                <a:gd name="connsiteY222" fmla="*/ 681414 h 872020"/>
                <a:gd name="connsiteX223" fmla="*/ 443156 w 1210344"/>
                <a:gd name="connsiteY223" fmla="*/ 695710 h 872020"/>
                <a:gd name="connsiteX224" fmla="*/ 428860 w 1210344"/>
                <a:gd name="connsiteY224" fmla="*/ 705240 h 872020"/>
                <a:gd name="connsiteX225" fmla="*/ 419332 w 1210344"/>
                <a:gd name="connsiteY225" fmla="*/ 705240 h 872020"/>
                <a:gd name="connsiteX226" fmla="*/ 409800 w 1210344"/>
                <a:gd name="connsiteY226" fmla="*/ 700474 h 872020"/>
                <a:gd name="connsiteX227" fmla="*/ 405036 w 1210344"/>
                <a:gd name="connsiteY227" fmla="*/ 690944 h 872020"/>
                <a:gd name="connsiteX228" fmla="*/ 385976 w 1210344"/>
                <a:gd name="connsiteY228" fmla="*/ 690944 h 872020"/>
                <a:gd name="connsiteX229" fmla="*/ 352620 w 1210344"/>
                <a:gd name="connsiteY229" fmla="*/ 695710 h 872020"/>
                <a:gd name="connsiteX230" fmla="*/ 333560 w 1210344"/>
                <a:gd name="connsiteY230" fmla="*/ 700474 h 872020"/>
                <a:gd name="connsiteX231" fmla="*/ 324028 w 1210344"/>
                <a:gd name="connsiteY231" fmla="*/ 714770 h 872020"/>
                <a:gd name="connsiteX232" fmla="*/ 319264 w 1210344"/>
                <a:gd name="connsiteY232" fmla="*/ 733830 h 872020"/>
                <a:gd name="connsiteX233" fmla="*/ 324028 w 1210344"/>
                <a:gd name="connsiteY233" fmla="*/ 752890 h 872020"/>
                <a:gd name="connsiteX234" fmla="*/ 319264 w 1210344"/>
                <a:gd name="connsiteY234" fmla="*/ 771952 h 872020"/>
                <a:gd name="connsiteX235" fmla="*/ 309732 w 1210344"/>
                <a:gd name="connsiteY235" fmla="*/ 781482 h 872020"/>
                <a:gd name="connsiteX236" fmla="*/ 304968 w 1210344"/>
                <a:gd name="connsiteY236" fmla="*/ 786246 h 872020"/>
                <a:gd name="connsiteX237" fmla="*/ 295436 w 1210344"/>
                <a:gd name="connsiteY237" fmla="*/ 791012 h 872020"/>
                <a:gd name="connsiteX238" fmla="*/ 285908 w 1210344"/>
                <a:gd name="connsiteY238" fmla="*/ 781482 h 872020"/>
                <a:gd name="connsiteX239" fmla="*/ 262080 w 1210344"/>
                <a:gd name="connsiteY239" fmla="*/ 757656 h 872020"/>
                <a:gd name="connsiteX240" fmla="*/ 247788 w 1210344"/>
                <a:gd name="connsiteY240" fmla="*/ 748126 h 872020"/>
                <a:gd name="connsiteX241" fmla="*/ 243020 w 1210344"/>
                <a:gd name="connsiteY241" fmla="*/ 743360 h 872020"/>
                <a:gd name="connsiteX242" fmla="*/ 238256 w 1210344"/>
                <a:gd name="connsiteY242" fmla="*/ 748126 h 872020"/>
                <a:gd name="connsiteX243" fmla="*/ 233492 w 1210344"/>
                <a:gd name="connsiteY243" fmla="*/ 748126 h 872020"/>
                <a:gd name="connsiteX244" fmla="*/ 233492 w 1210344"/>
                <a:gd name="connsiteY244" fmla="*/ 752890 h 872020"/>
                <a:gd name="connsiteX245" fmla="*/ 228728 w 1210344"/>
                <a:gd name="connsiteY245" fmla="*/ 757656 h 872020"/>
                <a:gd name="connsiteX246" fmla="*/ 223960 w 1210344"/>
                <a:gd name="connsiteY246" fmla="*/ 762422 h 872020"/>
                <a:gd name="connsiteX247" fmla="*/ 214432 w 1210344"/>
                <a:gd name="connsiteY247" fmla="*/ 757656 h 872020"/>
                <a:gd name="connsiteX248" fmla="*/ 204900 w 1210344"/>
                <a:gd name="connsiteY248" fmla="*/ 762422 h 872020"/>
                <a:gd name="connsiteX249" fmla="*/ 200136 w 1210344"/>
                <a:gd name="connsiteY249" fmla="*/ 767186 h 872020"/>
                <a:gd name="connsiteX250" fmla="*/ 185840 w 1210344"/>
                <a:gd name="connsiteY250" fmla="*/ 776716 h 872020"/>
                <a:gd name="connsiteX251" fmla="*/ 162016 w 1210344"/>
                <a:gd name="connsiteY251" fmla="*/ 786246 h 872020"/>
                <a:gd name="connsiteX252" fmla="*/ 147720 w 1210344"/>
                <a:gd name="connsiteY252" fmla="*/ 791012 h 872020"/>
                <a:gd name="connsiteX253" fmla="*/ 142952 w 1210344"/>
                <a:gd name="connsiteY253" fmla="*/ 805308 h 872020"/>
                <a:gd name="connsiteX254" fmla="*/ 142952 w 1210344"/>
                <a:gd name="connsiteY254" fmla="*/ 810072 h 872020"/>
                <a:gd name="connsiteX255" fmla="*/ 133424 w 1210344"/>
                <a:gd name="connsiteY255" fmla="*/ 805308 h 872020"/>
                <a:gd name="connsiteX256" fmla="*/ 109596 w 1210344"/>
                <a:gd name="connsiteY256" fmla="*/ 819602 h 872020"/>
                <a:gd name="connsiteX257" fmla="*/ 95304 w 1210344"/>
                <a:gd name="connsiteY257" fmla="*/ 814838 h 872020"/>
                <a:gd name="connsiteX258" fmla="*/ 76244 w 1210344"/>
                <a:gd name="connsiteY258" fmla="*/ 800542 h 872020"/>
                <a:gd name="connsiteX259" fmla="*/ 61948 w 1210344"/>
                <a:gd name="connsiteY259" fmla="*/ 781482 h 872020"/>
                <a:gd name="connsiteX260" fmla="*/ 61948 w 1210344"/>
                <a:gd name="connsiteY260" fmla="*/ 776716 h 872020"/>
                <a:gd name="connsiteX261" fmla="*/ 66712 w 1210344"/>
                <a:gd name="connsiteY261" fmla="*/ 762422 h 872020"/>
                <a:gd name="connsiteX262" fmla="*/ 71476 w 1210344"/>
                <a:gd name="connsiteY262" fmla="*/ 714770 h 872020"/>
                <a:gd name="connsiteX263" fmla="*/ 81008 w 1210344"/>
                <a:gd name="connsiteY263" fmla="*/ 700474 h 872020"/>
                <a:gd name="connsiteX264" fmla="*/ 100068 w 1210344"/>
                <a:gd name="connsiteY264" fmla="*/ 667118 h 872020"/>
                <a:gd name="connsiteX265" fmla="*/ 114364 w 1210344"/>
                <a:gd name="connsiteY265" fmla="*/ 648058 h 872020"/>
                <a:gd name="connsiteX266" fmla="*/ 128660 w 1210344"/>
                <a:gd name="connsiteY266" fmla="*/ 628998 h 872020"/>
                <a:gd name="connsiteX267" fmla="*/ 138188 w 1210344"/>
                <a:gd name="connsiteY267" fmla="*/ 624232 h 872020"/>
                <a:gd name="connsiteX268" fmla="*/ 147720 w 1210344"/>
                <a:gd name="connsiteY268" fmla="*/ 605172 h 872020"/>
                <a:gd name="connsiteX269" fmla="*/ 152484 w 1210344"/>
                <a:gd name="connsiteY269" fmla="*/ 590876 h 872020"/>
                <a:gd name="connsiteX270" fmla="*/ 157248 w 1210344"/>
                <a:gd name="connsiteY270" fmla="*/ 581346 h 872020"/>
                <a:gd name="connsiteX271" fmla="*/ 157248 w 1210344"/>
                <a:gd name="connsiteY271" fmla="*/ 571816 h 872020"/>
                <a:gd name="connsiteX272" fmla="*/ 152484 w 1210344"/>
                <a:gd name="connsiteY272" fmla="*/ 567050 h 872020"/>
                <a:gd name="connsiteX273" fmla="*/ 138188 w 1210344"/>
                <a:gd name="connsiteY273" fmla="*/ 557520 h 872020"/>
                <a:gd name="connsiteX274" fmla="*/ 123892 w 1210344"/>
                <a:gd name="connsiteY274" fmla="*/ 538460 h 872020"/>
                <a:gd name="connsiteX275" fmla="*/ 114364 w 1210344"/>
                <a:gd name="connsiteY275" fmla="*/ 519400 h 872020"/>
                <a:gd name="connsiteX276" fmla="*/ 109596 w 1210344"/>
                <a:gd name="connsiteY276" fmla="*/ 495574 h 872020"/>
                <a:gd name="connsiteX277" fmla="*/ 109596 w 1210344"/>
                <a:gd name="connsiteY277" fmla="*/ 481278 h 872020"/>
                <a:gd name="connsiteX278" fmla="*/ 123892 w 1210344"/>
                <a:gd name="connsiteY278" fmla="*/ 438392 h 872020"/>
                <a:gd name="connsiteX279" fmla="*/ 119128 w 1210344"/>
                <a:gd name="connsiteY279" fmla="*/ 428862 h 872020"/>
                <a:gd name="connsiteX280" fmla="*/ 114364 w 1210344"/>
                <a:gd name="connsiteY280" fmla="*/ 419332 h 872020"/>
                <a:gd name="connsiteX281" fmla="*/ 104832 w 1210344"/>
                <a:gd name="connsiteY281" fmla="*/ 419332 h 872020"/>
                <a:gd name="connsiteX282" fmla="*/ 95304 w 1210344"/>
                <a:gd name="connsiteY282" fmla="*/ 414566 h 872020"/>
                <a:gd name="connsiteX283" fmla="*/ 81008 w 1210344"/>
                <a:gd name="connsiteY283" fmla="*/ 419332 h 872020"/>
                <a:gd name="connsiteX284" fmla="*/ 61948 w 1210344"/>
                <a:gd name="connsiteY284" fmla="*/ 419332 h 872020"/>
                <a:gd name="connsiteX285" fmla="*/ 52416 w 1210344"/>
                <a:gd name="connsiteY285" fmla="*/ 414566 h 872020"/>
                <a:gd name="connsiteX286" fmla="*/ 47652 w 1210344"/>
                <a:gd name="connsiteY286" fmla="*/ 414566 h 872020"/>
                <a:gd name="connsiteX287" fmla="*/ 47652 w 1210344"/>
                <a:gd name="connsiteY287" fmla="*/ 390742 h 872020"/>
                <a:gd name="connsiteX288" fmla="*/ 42888 w 1210344"/>
                <a:gd name="connsiteY288" fmla="*/ 385976 h 872020"/>
                <a:gd name="connsiteX289" fmla="*/ 38120 w 1210344"/>
                <a:gd name="connsiteY289" fmla="*/ 385976 h 872020"/>
                <a:gd name="connsiteX290" fmla="*/ 4764 w 1210344"/>
                <a:gd name="connsiteY290" fmla="*/ 376446 h 872020"/>
                <a:gd name="connsiteX291" fmla="*/ 0 w 1210344"/>
                <a:gd name="connsiteY291" fmla="*/ 371680 h 872020"/>
                <a:gd name="connsiteX292" fmla="*/ 0 w 1210344"/>
                <a:gd name="connsiteY292" fmla="*/ 366916 h 872020"/>
                <a:gd name="connsiteX293" fmla="*/ 9532 w 1210344"/>
                <a:gd name="connsiteY293" fmla="*/ 319264 h 872020"/>
                <a:gd name="connsiteX294" fmla="*/ 14296 w 1210344"/>
                <a:gd name="connsiteY294" fmla="*/ 319264 h 872020"/>
                <a:gd name="connsiteX295" fmla="*/ 19060 w 1210344"/>
                <a:gd name="connsiteY295" fmla="*/ 309734 h 872020"/>
                <a:gd name="connsiteX296" fmla="*/ 28592 w 1210344"/>
                <a:gd name="connsiteY296" fmla="*/ 300204 h 872020"/>
                <a:gd name="connsiteX297" fmla="*/ 57180 w 1210344"/>
                <a:gd name="connsiteY297" fmla="*/ 290674 h 872020"/>
                <a:gd name="connsiteX298" fmla="*/ 85772 w 1210344"/>
                <a:gd name="connsiteY298" fmla="*/ 295438 h 872020"/>
                <a:gd name="connsiteX299" fmla="*/ 114364 w 1210344"/>
                <a:gd name="connsiteY299" fmla="*/ 300204 h 872020"/>
                <a:gd name="connsiteX300" fmla="*/ 138188 w 1210344"/>
                <a:gd name="connsiteY300" fmla="*/ 304970 h 872020"/>
                <a:gd name="connsiteX301" fmla="*/ 147720 w 1210344"/>
                <a:gd name="connsiteY301" fmla="*/ 304970 h 872020"/>
                <a:gd name="connsiteX302" fmla="*/ 162016 w 1210344"/>
                <a:gd name="connsiteY302" fmla="*/ 309734 h 872020"/>
                <a:gd name="connsiteX303" fmla="*/ 171544 w 1210344"/>
                <a:gd name="connsiteY303" fmla="*/ 304970 h 872020"/>
                <a:gd name="connsiteX304" fmla="*/ 181076 w 1210344"/>
                <a:gd name="connsiteY304" fmla="*/ 300204 h 872020"/>
                <a:gd name="connsiteX305" fmla="*/ 190604 w 1210344"/>
                <a:gd name="connsiteY305" fmla="*/ 285908 h 872020"/>
                <a:gd name="connsiteX306" fmla="*/ 195372 w 1210344"/>
                <a:gd name="connsiteY306" fmla="*/ 262082 h 872020"/>
                <a:gd name="connsiteX307" fmla="*/ 200136 w 1210344"/>
                <a:gd name="connsiteY307" fmla="*/ 243022 h 872020"/>
                <a:gd name="connsiteX308" fmla="*/ 204900 w 1210344"/>
                <a:gd name="connsiteY308" fmla="*/ 243022 h 872020"/>
                <a:gd name="connsiteX309" fmla="*/ 214432 w 1210344"/>
                <a:gd name="connsiteY309" fmla="*/ 243022 h 872020"/>
                <a:gd name="connsiteX310" fmla="*/ 219196 w 1210344"/>
                <a:gd name="connsiteY310" fmla="*/ 243022 h 872020"/>
                <a:gd name="connsiteX311" fmla="*/ 219196 w 1210344"/>
                <a:gd name="connsiteY311" fmla="*/ 233492 h 872020"/>
                <a:gd name="connsiteX312" fmla="*/ 223960 w 1210344"/>
                <a:gd name="connsiteY312" fmla="*/ 228728 h 872020"/>
                <a:gd name="connsiteX313" fmla="*/ 228728 w 1210344"/>
                <a:gd name="connsiteY313" fmla="*/ 233492 h 872020"/>
                <a:gd name="connsiteX314" fmla="*/ 233492 w 1210344"/>
                <a:gd name="connsiteY314" fmla="*/ 233492 h 872020"/>
                <a:gd name="connsiteX315" fmla="*/ 233492 w 1210344"/>
                <a:gd name="connsiteY315" fmla="*/ 228728 h 872020"/>
                <a:gd name="connsiteX316" fmla="*/ 228728 w 1210344"/>
                <a:gd name="connsiteY316" fmla="*/ 219196 h 872020"/>
                <a:gd name="connsiteX317" fmla="*/ 223960 w 1210344"/>
                <a:gd name="connsiteY317" fmla="*/ 209666 h 872020"/>
                <a:gd name="connsiteX318" fmla="*/ 223960 w 1210344"/>
                <a:gd name="connsiteY318" fmla="*/ 204902 h 872020"/>
                <a:gd name="connsiteX319" fmla="*/ 223960 w 1210344"/>
                <a:gd name="connsiteY319" fmla="*/ 200136 h 872020"/>
                <a:gd name="connsiteX320" fmla="*/ 243020 w 1210344"/>
                <a:gd name="connsiteY320" fmla="*/ 200136 h 872020"/>
                <a:gd name="connsiteX321" fmla="*/ 247788 w 1210344"/>
                <a:gd name="connsiteY321" fmla="*/ 195372 h 872020"/>
                <a:gd name="connsiteX322" fmla="*/ 252552 w 1210344"/>
                <a:gd name="connsiteY322" fmla="*/ 195372 h 872020"/>
                <a:gd name="connsiteX323" fmla="*/ 252552 w 1210344"/>
                <a:gd name="connsiteY323" fmla="*/ 185840 h 872020"/>
                <a:gd name="connsiteX324" fmla="*/ 243020 w 1210344"/>
                <a:gd name="connsiteY324" fmla="*/ 185840 h 872020"/>
                <a:gd name="connsiteX325" fmla="*/ 223960 w 1210344"/>
                <a:gd name="connsiteY325" fmla="*/ 185840 h 872020"/>
                <a:gd name="connsiteX326" fmla="*/ 200136 w 1210344"/>
                <a:gd name="connsiteY326" fmla="*/ 185840 h 872020"/>
                <a:gd name="connsiteX327" fmla="*/ 195372 w 1210344"/>
                <a:gd name="connsiteY327" fmla="*/ 181076 h 872020"/>
                <a:gd name="connsiteX328" fmla="*/ 200136 w 1210344"/>
                <a:gd name="connsiteY328" fmla="*/ 176310 h 872020"/>
                <a:gd name="connsiteX329" fmla="*/ 247788 w 1210344"/>
                <a:gd name="connsiteY329" fmla="*/ 166780 h 872020"/>
                <a:gd name="connsiteX330" fmla="*/ 271612 w 1210344"/>
                <a:gd name="connsiteY330" fmla="*/ 166780 h 872020"/>
                <a:gd name="connsiteX331" fmla="*/ 290672 w 1210344"/>
                <a:gd name="connsiteY331" fmla="*/ 171546 h 872020"/>
                <a:gd name="connsiteX332" fmla="*/ 300204 w 1210344"/>
                <a:gd name="connsiteY332" fmla="*/ 171546 h 872020"/>
                <a:gd name="connsiteX333" fmla="*/ 290672 w 1210344"/>
                <a:gd name="connsiteY333" fmla="*/ 152486 h 872020"/>
                <a:gd name="connsiteX334" fmla="*/ 300204 w 1210344"/>
                <a:gd name="connsiteY334" fmla="*/ 152486 h 872020"/>
                <a:gd name="connsiteX335" fmla="*/ 304968 w 1210344"/>
                <a:gd name="connsiteY335" fmla="*/ 142954 h 872020"/>
                <a:gd name="connsiteX336" fmla="*/ 285908 w 1210344"/>
                <a:gd name="connsiteY336" fmla="*/ 95304 h 872020"/>
                <a:gd name="connsiteX337" fmla="*/ 295436 w 1210344"/>
                <a:gd name="connsiteY337" fmla="*/ 90538 h 872020"/>
                <a:gd name="connsiteX338" fmla="*/ 304968 w 1210344"/>
                <a:gd name="connsiteY338" fmla="*/ 81008 h 872020"/>
                <a:gd name="connsiteX339" fmla="*/ 304968 w 1210344"/>
                <a:gd name="connsiteY339" fmla="*/ 61948 h 872020"/>
                <a:gd name="connsiteX340" fmla="*/ 314500 w 1210344"/>
                <a:gd name="connsiteY340" fmla="*/ 52418 h 872020"/>
                <a:gd name="connsiteX341" fmla="*/ 319264 w 1210344"/>
                <a:gd name="connsiteY341" fmla="*/ 47652 h 872020"/>
                <a:gd name="connsiteX342" fmla="*/ 333560 w 1210344"/>
                <a:gd name="connsiteY342" fmla="*/ 57182 h 872020"/>
                <a:gd name="connsiteX343" fmla="*/ 352620 w 1210344"/>
                <a:gd name="connsiteY343" fmla="*/ 71478 h 872020"/>
                <a:gd name="connsiteX344" fmla="*/ 362148 w 1210344"/>
                <a:gd name="connsiteY344" fmla="*/ 76244 h 872020"/>
                <a:gd name="connsiteX345" fmla="*/ 366916 w 1210344"/>
                <a:gd name="connsiteY345" fmla="*/ 76244 h 872020"/>
                <a:gd name="connsiteX346" fmla="*/ 376444 w 1210344"/>
                <a:gd name="connsiteY346" fmla="*/ 71478 h 872020"/>
                <a:gd name="connsiteX347" fmla="*/ 414564 w 1210344"/>
                <a:gd name="connsiteY347" fmla="*/ 52418 h 872020"/>
                <a:gd name="connsiteX348" fmla="*/ 433628 w 1210344"/>
                <a:gd name="connsiteY348" fmla="*/ 42888 h 872020"/>
                <a:gd name="connsiteX349" fmla="*/ 457452 w 1210344"/>
                <a:gd name="connsiteY349" fmla="*/ 28592 h 872020"/>
                <a:gd name="connsiteX350" fmla="*/ 462216 w 1210344"/>
                <a:gd name="connsiteY350" fmla="*/ 23826 h 872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</a:cxnLst>
              <a:rect l="l" t="t" r="r" b="b"/>
              <a:pathLst>
                <a:path w="1210344" h="872019">
                  <a:moveTo>
                    <a:pt x="490808" y="238258"/>
                  </a:moveTo>
                  <a:lnTo>
                    <a:pt x="500340" y="238258"/>
                  </a:lnTo>
                  <a:lnTo>
                    <a:pt x="514632" y="243022"/>
                  </a:lnTo>
                  <a:lnTo>
                    <a:pt x="519400" y="243022"/>
                  </a:lnTo>
                  <a:lnTo>
                    <a:pt x="519400" y="247788"/>
                  </a:lnTo>
                  <a:lnTo>
                    <a:pt x="509868" y="257318"/>
                  </a:lnTo>
                  <a:lnTo>
                    <a:pt x="500340" y="252552"/>
                  </a:lnTo>
                  <a:lnTo>
                    <a:pt x="495572" y="247788"/>
                  </a:lnTo>
                  <a:close/>
                  <a:moveTo>
                    <a:pt x="471748" y="0"/>
                  </a:moveTo>
                  <a:lnTo>
                    <a:pt x="476512" y="0"/>
                  </a:lnTo>
                  <a:lnTo>
                    <a:pt x="481276" y="0"/>
                  </a:lnTo>
                  <a:lnTo>
                    <a:pt x="505104" y="23826"/>
                  </a:lnTo>
                  <a:lnTo>
                    <a:pt x="514632" y="38122"/>
                  </a:lnTo>
                  <a:lnTo>
                    <a:pt x="514632" y="42888"/>
                  </a:lnTo>
                  <a:lnTo>
                    <a:pt x="509868" y="47652"/>
                  </a:lnTo>
                  <a:lnTo>
                    <a:pt x="509868" y="52418"/>
                  </a:lnTo>
                  <a:lnTo>
                    <a:pt x="528928" y="61948"/>
                  </a:lnTo>
                  <a:lnTo>
                    <a:pt x="524164" y="71478"/>
                  </a:lnTo>
                  <a:lnTo>
                    <a:pt x="524164" y="76244"/>
                  </a:lnTo>
                  <a:lnTo>
                    <a:pt x="519400" y="76244"/>
                  </a:lnTo>
                  <a:lnTo>
                    <a:pt x="495572" y="95304"/>
                  </a:lnTo>
                  <a:lnTo>
                    <a:pt x="471748" y="119130"/>
                  </a:lnTo>
                  <a:lnTo>
                    <a:pt x="471748" y="123894"/>
                  </a:lnTo>
                  <a:lnTo>
                    <a:pt x="471748" y="128660"/>
                  </a:lnTo>
                  <a:lnTo>
                    <a:pt x="471748" y="133424"/>
                  </a:lnTo>
                  <a:lnTo>
                    <a:pt x="476512" y="138190"/>
                  </a:lnTo>
                  <a:lnTo>
                    <a:pt x="486044" y="142954"/>
                  </a:lnTo>
                  <a:lnTo>
                    <a:pt x="495572" y="147720"/>
                  </a:lnTo>
                  <a:lnTo>
                    <a:pt x="500340" y="157250"/>
                  </a:lnTo>
                  <a:lnTo>
                    <a:pt x="505104" y="166780"/>
                  </a:lnTo>
                  <a:lnTo>
                    <a:pt x="514632" y="171546"/>
                  </a:lnTo>
                  <a:lnTo>
                    <a:pt x="552756" y="162016"/>
                  </a:lnTo>
                  <a:lnTo>
                    <a:pt x="562284" y="162016"/>
                  </a:lnTo>
                  <a:lnTo>
                    <a:pt x="562284" y="166780"/>
                  </a:lnTo>
                  <a:lnTo>
                    <a:pt x="562284" y="171546"/>
                  </a:lnTo>
                  <a:lnTo>
                    <a:pt x="528928" y="185840"/>
                  </a:lnTo>
                  <a:lnTo>
                    <a:pt x="514632" y="195372"/>
                  </a:lnTo>
                  <a:lnTo>
                    <a:pt x="509868" y="214432"/>
                  </a:lnTo>
                  <a:lnTo>
                    <a:pt x="505104" y="219196"/>
                  </a:lnTo>
                  <a:lnTo>
                    <a:pt x="500340" y="219196"/>
                  </a:lnTo>
                  <a:lnTo>
                    <a:pt x="490808" y="223962"/>
                  </a:lnTo>
                  <a:lnTo>
                    <a:pt x="481276" y="200136"/>
                  </a:lnTo>
                  <a:lnTo>
                    <a:pt x="471748" y="195372"/>
                  </a:lnTo>
                  <a:lnTo>
                    <a:pt x="457452" y="190606"/>
                  </a:lnTo>
                  <a:lnTo>
                    <a:pt x="424096" y="176310"/>
                  </a:lnTo>
                  <a:lnTo>
                    <a:pt x="409800" y="171546"/>
                  </a:lnTo>
                  <a:lnTo>
                    <a:pt x="376444" y="181076"/>
                  </a:lnTo>
                  <a:lnTo>
                    <a:pt x="338324" y="190606"/>
                  </a:lnTo>
                  <a:lnTo>
                    <a:pt x="333560" y="200136"/>
                  </a:lnTo>
                  <a:lnTo>
                    <a:pt x="328792" y="209666"/>
                  </a:lnTo>
                  <a:lnTo>
                    <a:pt x="328792" y="214432"/>
                  </a:lnTo>
                  <a:lnTo>
                    <a:pt x="333560" y="223962"/>
                  </a:lnTo>
                  <a:lnTo>
                    <a:pt x="328792" y="228728"/>
                  </a:lnTo>
                  <a:lnTo>
                    <a:pt x="324028" y="228728"/>
                  </a:lnTo>
                  <a:lnTo>
                    <a:pt x="314500" y="223962"/>
                  </a:lnTo>
                  <a:lnTo>
                    <a:pt x="304968" y="219196"/>
                  </a:lnTo>
                  <a:lnTo>
                    <a:pt x="300204" y="228728"/>
                  </a:lnTo>
                  <a:lnTo>
                    <a:pt x="295436" y="247788"/>
                  </a:lnTo>
                  <a:lnTo>
                    <a:pt x="290672" y="262082"/>
                  </a:lnTo>
                  <a:lnTo>
                    <a:pt x="300204" y="281144"/>
                  </a:lnTo>
                  <a:lnTo>
                    <a:pt x="300204" y="309734"/>
                  </a:lnTo>
                  <a:lnTo>
                    <a:pt x="319264" y="304970"/>
                  </a:lnTo>
                  <a:lnTo>
                    <a:pt x="328792" y="304970"/>
                  </a:lnTo>
                  <a:lnTo>
                    <a:pt x="347856" y="300204"/>
                  </a:lnTo>
                  <a:lnTo>
                    <a:pt x="362148" y="300204"/>
                  </a:lnTo>
                  <a:lnTo>
                    <a:pt x="376444" y="300204"/>
                  </a:lnTo>
                  <a:lnTo>
                    <a:pt x="405036" y="300204"/>
                  </a:lnTo>
                  <a:lnTo>
                    <a:pt x="428860" y="300204"/>
                  </a:lnTo>
                  <a:lnTo>
                    <a:pt x="433628" y="300204"/>
                  </a:lnTo>
                  <a:lnTo>
                    <a:pt x="438392" y="295438"/>
                  </a:lnTo>
                  <a:lnTo>
                    <a:pt x="443156" y="300204"/>
                  </a:lnTo>
                  <a:lnTo>
                    <a:pt x="452688" y="304970"/>
                  </a:lnTo>
                  <a:lnTo>
                    <a:pt x="471748" y="295438"/>
                  </a:lnTo>
                  <a:lnTo>
                    <a:pt x="490808" y="295438"/>
                  </a:lnTo>
                  <a:lnTo>
                    <a:pt x="500340" y="300204"/>
                  </a:lnTo>
                  <a:lnTo>
                    <a:pt x="509868" y="300204"/>
                  </a:lnTo>
                  <a:lnTo>
                    <a:pt x="519400" y="319264"/>
                  </a:lnTo>
                  <a:lnTo>
                    <a:pt x="528928" y="328794"/>
                  </a:lnTo>
                  <a:lnTo>
                    <a:pt x="538460" y="333560"/>
                  </a:lnTo>
                  <a:lnTo>
                    <a:pt x="567048" y="333560"/>
                  </a:lnTo>
                  <a:lnTo>
                    <a:pt x="576580" y="314500"/>
                  </a:lnTo>
                  <a:lnTo>
                    <a:pt x="586112" y="309734"/>
                  </a:lnTo>
                  <a:lnTo>
                    <a:pt x="600404" y="309734"/>
                  </a:lnTo>
                  <a:lnTo>
                    <a:pt x="609936" y="304970"/>
                  </a:lnTo>
                  <a:lnTo>
                    <a:pt x="619468" y="300204"/>
                  </a:lnTo>
                  <a:lnTo>
                    <a:pt x="633760" y="295438"/>
                  </a:lnTo>
                  <a:lnTo>
                    <a:pt x="643292" y="290674"/>
                  </a:lnTo>
                  <a:lnTo>
                    <a:pt x="648056" y="295438"/>
                  </a:lnTo>
                  <a:lnTo>
                    <a:pt x="648056" y="300204"/>
                  </a:lnTo>
                  <a:lnTo>
                    <a:pt x="648056" y="309734"/>
                  </a:lnTo>
                  <a:lnTo>
                    <a:pt x="648056" y="319264"/>
                  </a:lnTo>
                  <a:lnTo>
                    <a:pt x="652824" y="324030"/>
                  </a:lnTo>
                  <a:lnTo>
                    <a:pt x="671884" y="324030"/>
                  </a:lnTo>
                  <a:lnTo>
                    <a:pt x="681412" y="328794"/>
                  </a:lnTo>
                  <a:lnTo>
                    <a:pt x="681412" y="338324"/>
                  </a:lnTo>
                  <a:lnTo>
                    <a:pt x="681412" y="352620"/>
                  </a:lnTo>
                  <a:lnTo>
                    <a:pt x="690944" y="357386"/>
                  </a:lnTo>
                  <a:lnTo>
                    <a:pt x="695708" y="357386"/>
                  </a:lnTo>
                  <a:lnTo>
                    <a:pt x="724300" y="343090"/>
                  </a:lnTo>
                  <a:lnTo>
                    <a:pt x="729064" y="343090"/>
                  </a:lnTo>
                  <a:lnTo>
                    <a:pt x="738596" y="352620"/>
                  </a:lnTo>
                  <a:lnTo>
                    <a:pt x="748124" y="362150"/>
                  </a:lnTo>
                  <a:lnTo>
                    <a:pt x="762420" y="371680"/>
                  </a:lnTo>
                  <a:lnTo>
                    <a:pt x="767184" y="357386"/>
                  </a:lnTo>
                  <a:lnTo>
                    <a:pt x="781480" y="347856"/>
                  </a:lnTo>
                  <a:lnTo>
                    <a:pt x="800540" y="343090"/>
                  </a:lnTo>
                  <a:lnTo>
                    <a:pt x="814836" y="338324"/>
                  </a:lnTo>
                  <a:lnTo>
                    <a:pt x="824368" y="338324"/>
                  </a:lnTo>
                  <a:lnTo>
                    <a:pt x="862488" y="343090"/>
                  </a:lnTo>
                  <a:lnTo>
                    <a:pt x="872020" y="343090"/>
                  </a:lnTo>
                  <a:lnTo>
                    <a:pt x="900608" y="343090"/>
                  </a:lnTo>
                  <a:lnTo>
                    <a:pt x="919668" y="338324"/>
                  </a:lnTo>
                  <a:lnTo>
                    <a:pt x="933964" y="333560"/>
                  </a:lnTo>
                  <a:lnTo>
                    <a:pt x="943496" y="324030"/>
                  </a:lnTo>
                  <a:lnTo>
                    <a:pt x="953024" y="319264"/>
                  </a:lnTo>
                  <a:lnTo>
                    <a:pt x="972084" y="324030"/>
                  </a:lnTo>
                  <a:lnTo>
                    <a:pt x="981616" y="324030"/>
                  </a:lnTo>
                  <a:lnTo>
                    <a:pt x="981616" y="333560"/>
                  </a:lnTo>
                  <a:lnTo>
                    <a:pt x="976852" y="352620"/>
                  </a:lnTo>
                  <a:lnTo>
                    <a:pt x="976852" y="366916"/>
                  </a:lnTo>
                  <a:lnTo>
                    <a:pt x="986380" y="395506"/>
                  </a:lnTo>
                  <a:lnTo>
                    <a:pt x="995912" y="405036"/>
                  </a:lnTo>
                  <a:lnTo>
                    <a:pt x="1005440" y="414566"/>
                  </a:lnTo>
                  <a:lnTo>
                    <a:pt x="1005440" y="419332"/>
                  </a:lnTo>
                  <a:lnTo>
                    <a:pt x="1005440" y="424098"/>
                  </a:lnTo>
                  <a:lnTo>
                    <a:pt x="995912" y="433628"/>
                  </a:lnTo>
                  <a:lnTo>
                    <a:pt x="991148" y="438392"/>
                  </a:lnTo>
                  <a:lnTo>
                    <a:pt x="991148" y="443158"/>
                  </a:lnTo>
                  <a:lnTo>
                    <a:pt x="991148" y="452688"/>
                  </a:lnTo>
                  <a:lnTo>
                    <a:pt x="1000676" y="476514"/>
                  </a:lnTo>
                  <a:lnTo>
                    <a:pt x="1005440" y="490808"/>
                  </a:lnTo>
                  <a:lnTo>
                    <a:pt x="1014972" y="500340"/>
                  </a:lnTo>
                  <a:lnTo>
                    <a:pt x="1034032" y="509870"/>
                  </a:lnTo>
                  <a:lnTo>
                    <a:pt x="1038796" y="505104"/>
                  </a:lnTo>
                  <a:lnTo>
                    <a:pt x="1048328" y="490808"/>
                  </a:lnTo>
                  <a:lnTo>
                    <a:pt x="1057856" y="481278"/>
                  </a:lnTo>
                  <a:lnTo>
                    <a:pt x="1067388" y="481278"/>
                  </a:lnTo>
                  <a:lnTo>
                    <a:pt x="1081684" y="481278"/>
                  </a:lnTo>
                  <a:lnTo>
                    <a:pt x="1119804" y="495574"/>
                  </a:lnTo>
                  <a:lnTo>
                    <a:pt x="1153160" y="514634"/>
                  </a:lnTo>
                  <a:lnTo>
                    <a:pt x="1162692" y="524164"/>
                  </a:lnTo>
                  <a:lnTo>
                    <a:pt x="1167456" y="533696"/>
                  </a:lnTo>
                  <a:lnTo>
                    <a:pt x="1157924" y="557520"/>
                  </a:lnTo>
                  <a:lnTo>
                    <a:pt x="1157924" y="576582"/>
                  </a:lnTo>
                  <a:lnTo>
                    <a:pt x="1162692" y="590876"/>
                  </a:lnTo>
                  <a:lnTo>
                    <a:pt x="1167456" y="605172"/>
                  </a:lnTo>
                  <a:lnTo>
                    <a:pt x="1176988" y="628998"/>
                  </a:lnTo>
                  <a:lnTo>
                    <a:pt x="1176988" y="648058"/>
                  </a:lnTo>
                  <a:lnTo>
                    <a:pt x="1181752" y="652824"/>
                  </a:lnTo>
                  <a:lnTo>
                    <a:pt x="1181752" y="657588"/>
                  </a:lnTo>
                  <a:lnTo>
                    <a:pt x="1181752" y="676648"/>
                  </a:lnTo>
                  <a:lnTo>
                    <a:pt x="1176988" y="690944"/>
                  </a:lnTo>
                  <a:lnTo>
                    <a:pt x="1181752" y="695710"/>
                  </a:lnTo>
                  <a:lnTo>
                    <a:pt x="1191280" y="705240"/>
                  </a:lnTo>
                  <a:lnTo>
                    <a:pt x="1210344" y="724300"/>
                  </a:lnTo>
                  <a:lnTo>
                    <a:pt x="1210344" y="733830"/>
                  </a:lnTo>
                  <a:lnTo>
                    <a:pt x="1205576" y="743360"/>
                  </a:lnTo>
                  <a:lnTo>
                    <a:pt x="1196048" y="752890"/>
                  </a:lnTo>
                  <a:lnTo>
                    <a:pt x="1181752" y="762422"/>
                  </a:lnTo>
                  <a:lnTo>
                    <a:pt x="1176988" y="767186"/>
                  </a:lnTo>
                  <a:lnTo>
                    <a:pt x="1172220" y="762422"/>
                  </a:lnTo>
                  <a:lnTo>
                    <a:pt x="1167456" y="752890"/>
                  </a:lnTo>
                  <a:lnTo>
                    <a:pt x="1153160" y="743360"/>
                  </a:lnTo>
                  <a:lnTo>
                    <a:pt x="1138864" y="733830"/>
                  </a:lnTo>
                  <a:lnTo>
                    <a:pt x="1119804" y="733830"/>
                  </a:lnTo>
                  <a:lnTo>
                    <a:pt x="1105508" y="733830"/>
                  </a:lnTo>
                  <a:lnTo>
                    <a:pt x="1091212" y="729066"/>
                  </a:lnTo>
                  <a:lnTo>
                    <a:pt x="1076920" y="729066"/>
                  </a:lnTo>
                  <a:lnTo>
                    <a:pt x="1067388" y="738596"/>
                  </a:lnTo>
                  <a:lnTo>
                    <a:pt x="1062624" y="748126"/>
                  </a:lnTo>
                  <a:lnTo>
                    <a:pt x="1048328" y="748126"/>
                  </a:lnTo>
                  <a:lnTo>
                    <a:pt x="1029268" y="752890"/>
                  </a:lnTo>
                  <a:lnTo>
                    <a:pt x="995912" y="767186"/>
                  </a:lnTo>
                  <a:lnTo>
                    <a:pt x="981616" y="762422"/>
                  </a:lnTo>
                  <a:lnTo>
                    <a:pt x="976852" y="757656"/>
                  </a:lnTo>
                  <a:lnTo>
                    <a:pt x="981616" y="752890"/>
                  </a:lnTo>
                  <a:lnTo>
                    <a:pt x="991148" y="748126"/>
                  </a:lnTo>
                  <a:lnTo>
                    <a:pt x="995912" y="738596"/>
                  </a:lnTo>
                  <a:lnTo>
                    <a:pt x="995912" y="729066"/>
                  </a:lnTo>
                  <a:lnTo>
                    <a:pt x="981616" y="724300"/>
                  </a:lnTo>
                  <a:lnTo>
                    <a:pt x="976852" y="724300"/>
                  </a:lnTo>
                  <a:lnTo>
                    <a:pt x="957792" y="719536"/>
                  </a:lnTo>
                  <a:lnTo>
                    <a:pt x="938728" y="719536"/>
                  </a:lnTo>
                  <a:lnTo>
                    <a:pt x="914904" y="729066"/>
                  </a:lnTo>
                  <a:lnTo>
                    <a:pt x="862488" y="757656"/>
                  </a:lnTo>
                  <a:lnTo>
                    <a:pt x="843428" y="776716"/>
                  </a:lnTo>
                  <a:lnTo>
                    <a:pt x="829132" y="805308"/>
                  </a:lnTo>
                  <a:lnTo>
                    <a:pt x="781480" y="814838"/>
                  </a:lnTo>
                  <a:lnTo>
                    <a:pt x="748124" y="829132"/>
                  </a:lnTo>
                  <a:lnTo>
                    <a:pt x="714768" y="857724"/>
                  </a:lnTo>
                  <a:lnTo>
                    <a:pt x="695708" y="872020"/>
                  </a:lnTo>
                  <a:lnTo>
                    <a:pt x="681412" y="872020"/>
                  </a:lnTo>
                  <a:lnTo>
                    <a:pt x="671884" y="872020"/>
                  </a:lnTo>
                  <a:lnTo>
                    <a:pt x="662352" y="862488"/>
                  </a:lnTo>
                  <a:lnTo>
                    <a:pt x="652824" y="843428"/>
                  </a:lnTo>
                  <a:lnTo>
                    <a:pt x="643292" y="810072"/>
                  </a:lnTo>
                  <a:lnTo>
                    <a:pt x="633760" y="786246"/>
                  </a:lnTo>
                  <a:lnTo>
                    <a:pt x="638528" y="757656"/>
                  </a:lnTo>
                  <a:lnTo>
                    <a:pt x="643292" y="724300"/>
                  </a:lnTo>
                  <a:lnTo>
                    <a:pt x="648056" y="690944"/>
                  </a:lnTo>
                  <a:lnTo>
                    <a:pt x="652824" y="652824"/>
                  </a:lnTo>
                  <a:lnTo>
                    <a:pt x="657588" y="643292"/>
                  </a:lnTo>
                  <a:lnTo>
                    <a:pt x="657588" y="633762"/>
                  </a:lnTo>
                  <a:lnTo>
                    <a:pt x="652824" y="628998"/>
                  </a:lnTo>
                  <a:lnTo>
                    <a:pt x="643292" y="628998"/>
                  </a:lnTo>
                  <a:lnTo>
                    <a:pt x="628996" y="633762"/>
                  </a:lnTo>
                  <a:lnTo>
                    <a:pt x="619468" y="633762"/>
                  </a:lnTo>
                  <a:lnTo>
                    <a:pt x="609936" y="628998"/>
                  </a:lnTo>
                  <a:lnTo>
                    <a:pt x="614700" y="609938"/>
                  </a:lnTo>
                  <a:lnTo>
                    <a:pt x="619468" y="581346"/>
                  </a:lnTo>
                  <a:lnTo>
                    <a:pt x="609936" y="552756"/>
                  </a:lnTo>
                  <a:lnTo>
                    <a:pt x="576580" y="528930"/>
                  </a:lnTo>
                  <a:lnTo>
                    <a:pt x="547988" y="524164"/>
                  </a:lnTo>
                  <a:lnTo>
                    <a:pt x="528928" y="528930"/>
                  </a:lnTo>
                  <a:lnTo>
                    <a:pt x="509868" y="547990"/>
                  </a:lnTo>
                  <a:lnTo>
                    <a:pt x="495572" y="576582"/>
                  </a:lnTo>
                  <a:lnTo>
                    <a:pt x="476512" y="600406"/>
                  </a:lnTo>
                  <a:lnTo>
                    <a:pt x="462216" y="614702"/>
                  </a:lnTo>
                  <a:lnTo>
                    <a:pt x="447920" y="624232"/>
                  </a:lnTo>
                  <a:lnTo>
                    <a:pt x="447920" y="628998"/>
                  </a:lnTo>
                  <a:lnTo>
                    <a:pt x="443156" y="638528"/>
                  </a:lnTo>
                  <a:lnTo>
                    <a:pt x="452688" y="662354"/>
                  </a:lnTo>
                  <a:lnTo>
                    <a:pt x="452688" y="681414"/>
                  </a:lnTo>
                  <a:lnTo>
                    <a:pt x="443156" y="695710"/>
                  </a:lnTo>
                  <a:lnTo>
                    <a:pt x="428860" y="705240"/>
                  </a:lnTo>
                  <a:lnTo>
                    <a:pt x="419332" y="705240"/>
                  </a:lnTo>
                  <a:lnTo>
                    <a:pt x="409800" y="700474"/>
                  </a:lnTo>
                  <a:lnTo>
                    <a:pt x="405036" y="690944"/>
                  </a:lnTo>
                  <a:lnTo>
                    <a:pt x="385976" y="690944"/>
                  </a:lnTo>
                  <a:lnTo>
                    <a:pt x="352620" y="695710"/>
                  </a:lnTo>
                  <a:lnTo>
                    <a:pt x="333560" y="700474"/>
                  </a:lnTo>
                  <a:lnTo>
                    <a:pt x="324028" y="714770"/>
                  </a:lnTo>
                  <a:lnTo>
                    <a:pt x="319264" y="733830"/>
                  </a:lnTo>
                  <a:lnTo>
                    <a:pt x="324028" y="752890"/>
                  </a:lnTo>
                  <a:lnTo>
                    <a:pt x="319264" y="771952"/>
                  </a:lnTo>
                  <a:lnTo>
                    <a:pt x="309732" y="781482"/>
                  </a:lnTo>
                  <a:lnTo>
                    <a:pt x="304968" y="786246"/>
                  </a:lnTo>
                  <a:lnTo>
                    <a:pt x="295436" y="791012"/>
                  </a:lnTo>
                  <a:lnTo>
                    <a:pt x="285908" y="781482"/>
                  </a:lnTo>
                  <a:lnTo>
                    <a:pt x="262080" y="757656"/>
                  </a:lnTo>
                  <a:lnTo>
                    <a:pt x="247788" y="748126"/>
                  </a:lnTo>
                  <a:lnTo>
                    <a:pt x="243020" y="743360"/>
                  </a:lnTo>
                  <a:lnTo>
                    <a:pt x="238256" y="748126"/>
                  </a:lnTo>
                  <a:lnTo>
                    <a:pt x="233492" y="748126"/>
                  </a:lnTo>
                  <a:lnTo>
                    <a:pt x="233492" y="752890"/>
                  </a:lnTo>
                  <a:lnTo>
                    <a:pt x="228728" y="757656"/>
                  </a:lnTo>
                  <a:lnTo>
                    <a:pt x="223960" y="762422"/>
                  </a:lnTo>
                  <a:lnTo>
                    <a:pt x="214432" y="757656"/>
                  </a:lnTo>
                  <a:lnTo>
                    <a:pt x="204900" y="762422"/>
                  </a:lnTo>
                  <a:lnTo>
                    <a:pt x="200136" y="767186"/>
                  </a:lnTo>
                  <a:lnTo>
                    <a:pt x="185840" y="776716"/>
                  </a:lnTo>
                  <a:lnTo>
                    <a:pt x="162016" y="786246"/>
                  </a:lnTo>
                  <a:lnTo>
                    <a:pt x="147720" y="791012"/>
                  </a:lnTo>
                  <a:lnTo>
                    <a:pt x="142952" y="805308"/>
                  </a:lnTo>
                  <a:lnTo>
                    <a:pt x="142952" y="810072"/>
                  </a:lnTo>
                  <a:lnTo>
                    <a:pt x="133424" y="805308"/>
                  </a:lnTo>
                  <a:lnTo>
                    <a:pt x="109596" y="819602"/>
                  </a:lnTo>
                  <a:lnTo>
                    <a:pt x="95304" y="814838"/>
                  </a:lnTo>
                  <a:lnTo>
                    <a:pt x="76244" y="800542"/>
                  </a:lnTo>
                  <a:lnTo>
                    <a:pt x="61948" y="781482"/>
                  </a:lnTo>
                  <a:lnTo>
                    <a:pt x="61948" y="776716"/>
                  </a:lnTo>
                  <a:lnTo>
                    <a:pt x="66712" y="762422"/>
                  </a:lnTo>
                  <a:lnTo>
                    <a:pt x="71476" y="714770"/>
                  </a:lnTo>
                  <a:lnTo>
                    <a:pt x="81008" y="700474"/>
                  </a:lnTo>
                  <a:lnTo>
                    <a:pt x="100068" y="667118"/>
                  </a:lnTo>
                  <a:lnTo>
                    <a:pt x="114364" y="648058"/>
                  </a:lnTo>
                  <a:lnTo>
                    <a:pt x="128660" y="628998"/>
                  </a:lnTo>
                  <a:lnTo>
                    <a:pt x="138188" y="624232"/>
                  </a:lnTo>
                  <a:lnTo>
                    <a:pt x="147720" y="605172"/>
                  </a:lnTo>
                  <a:lnTo>
                    <a:pt x="152484" y="590876"/>
                  </a:lnTo>
                  <a:lnTo>
                    <a:pt x="157248" y="581346"/>
                  </a:lnTo>
                  <a:lnTo>
                    <a:pt x="157248" y="571816"/>
                  </a:lnTo>
                  <a:lnTo>
                    <a:pt x="152484" y="567050"/>
                  </a:lnTo>
                  <a:lnTo>
                    <a:pt x="138188" y="557520"/>
                  </a:lnTo>
                  <a:lnTo>
                    <a:pt x="123892" y="538460"/>
                  </a:lnTo>
                  <a:lnTo>
                    <a:pt x="114364" y="519400"/>
                  </a:lnTo>
                  <a:lnTo>
                    <a:pt x="109596" y="495574"/>
                  </a:lnTo>
                  <a:lnTo>
                    <a:pt x="109596" y="481278"/>
                  </a:lnTo>
                  <a:lnTo>
                    <a:pt x="123892" y="438392"/>
                  </a:lnTo>
                  <a:lnTo>
                    <a:pt x="119128" y="428862"/>
                  </a:lnTo>
                  <a:lnTo>
                    <a:pt x="114364" y="419332"/>
                  </a:lnTo>
                  <a:lnTo>
                    <a:pt x="104832" y="419332"/>
                  </a:lnTo>
                  <a:lnTo>
                    <a:pt x="95304" y="414566"/>
                  </a:lnTo>
                  <a:lnTo>
                    <a:pt x="81008" y="419332"/>
                  </a:lnTo>
                  <a:lnTo>
                    <a:pt x="61948" y="419332"/>
                  </a:lnTo>
                  <a:lnTo>
                    <a:pt x="52416" y="414566"/>
                  </a:lnTo>
                  <a:lnTo>
                    <a:pt x="47652" y="414566"/>
                  </a:lnTo>
                  <a:lnTo>
                    <a:pt x="47652" y="390742"/>
                  </a:lnTo>
                  <a:lnTo>
                    <a:pt x="42888" y="385976"/>
                  </a:lnTo>
                  <a:lnTo>
                    <a:pt x="38120" y="385976"/>
                  </a:lnTo>
                  <a:lnTo>
                    <a:pt x="4764" y="376446"/>
                  </a:lnTo>
                  <a:lnTo>
                    <a:pt x="0" y="371680"/>
                  </a:lnTo>
                  <a:lnTo>
                    <a:pt x="0" y="366916"/>
                  </a:lnTo>
                  <a:lnTo>
                    <a:pt x="9532" y="319264"/>
                  </a:lnTo>
                  <a:lnTo>
                    <a:pt x="14296" y="319264"/>
                  </a:lnTo>
                  <a:lnTo>
                    <a:pt x="19060" y="309734"/>
                  </a:lnTo>
                  <a:lnTo>
                    <a:pt x="28592" y="300204"/>
                  </a:lnTo>
                  <a:lnTo>
                    <a:pt x="57180" y="290674"/>
                  </a:lnTo>
                  <a:lnTo>
                    <a:pt x="85772" y="295438"/>
                  </a:lnTo>
                  <a:lnTo>
                    <a:pt x="114364" y="300204"/>
                  </a:lnTo>
                  <a:lnTo>
                    <a:pt x="138188" y="304970"/>
                  </a:lnTo>
                  <a:lnTo>
                    <a:pt x="147720" y="304970"/>
                  </a:lnTo>
                  <a:lnTo>
                    <a:pt x="162016" y="309734"/>
                  </a:lnTo>
                  <a:lnTo>
                    <a:pt x="171544" y="304970"/>
                  </a:lnTo>
                  <a:lnTo>
                    <a:pt x="181076" y="300204"/>
                  </a:lnTo>
                  <a:lnTo>
                    <a:pt x="190604" y="285908"/>
                  </a:lnTo>
                  <a:lnTo>
                    <a:pt x="195372" y="262082"/>
                  </a:lnTo>
                  <a:lnTo>
                    <a:pt x="200136" y="243022"/>
                  </a:lnTo>
                  <a:lnTo>
                    <a:pt x="204900" y="243022"/>
                  </a:lnTo>
                  <a:lnTo>
                    <a:pt x="214432" y="243022"/>
                  </a:lnTo>
                  <a:lnTo>
                    <a:pt x="219196" y="243022"/>
                  </a:lnTo>
                  <a:lnTo>
                    <a:pt x="219196" y="233492"/>
                  </a:lnTo>
                  <a:lnTo>
                    <a:pt x="223960" y="228728"/>
                  </a:lnTo>
                  <a:lnTo>
                    <a:pt x="228728" y="233492"/>
                  </a:lnTo>
                  <a:lnTo>
                    <a:pt x="233492" y="233492"/>
                  </a:lnTo>
                  <a:lnTo>
                    <a:pt x="233492" y="228728"/>
                  </a:lnTo>
                  <a:lnTo>
                    <a:pt x="228728" y="219196"/>
                  </a:lnTo>
                  <a:lnTo>
                    <a:pt x="223960" y="209666"/>
                  </a:lnTo>
                  <a:lnTo>
                    <a:pt x="223960" y="204902"/>
                  </a:lnTo>
                  <a:lnTo>
                    <a:pt x="223960" y="200136"/>
                  </a:lnTo>
                  <a:lnTo>
                    <a:pt x="243020" y="200136"/>
                  </a:lnTo>
                  <a:lnTo>
                    <a:pt x="247788" y="195372"/>
                  </a:lnTo>
                  <a:lnTo>
                    <a:pt x="252552" y="195372"/>
                  </a:lnTo>
                  <a:lnTo>
                    <a:pt x="252552" y="185840"/>
                  </a:lnTo>
                  <a:lnTo>
                    <a:pt x="243020" y="185840"/>
                  </a:lnTo>
                  <a:lnTo>
                    <a:pt x="223960" y="185840"/>
                  </a:lnTo>
                  <a:lnTo>
                    <a:pt x="200136" y="185840"/>
                  </a:lnTo>
                  <a:lnTo>
                    <a:pt x="195372" y="181076"/>
                  </a:lnTo>
                  <a:lnTo>
                    <a:pt x="200136" y="176310"/>
                  </a:lnTo>
                  <a:lnTo>
                    <a:pt x="247788" y="166780"/>
                  </a:lnTo>
                  <a:lnTo>
                    <a:pt x="271612" y="166780"/>
                  </a:lnTo>
                  <a:lnTo>
                    <a:pt x="290672" y="171546"/>
                  </a:lnTo>
                  <a:lnTo>
                    <a:pt x="300204" y="171546"/>
                  </a:lnTo>
                  <a:lnTo>
                    <a:pt x="290672" y="152486"/>
                  </a:lnTo>
                  <a:lnTo>
                    <a:pt x="300204" y="152486"/>
                  </a:lnTo>
                  <a:lnTo>
                    <a:pt x="304968" y="142954"/>
                  </a:lnTo>
                  <a:lnTo>
                    <a:pt x="285908" y="95304"/>
                  </a:lnTo>
                  <a:lnTo>
                    <a:pt x="295436" y="90538"/>
                  </a:lnTo>
                  <a:lnTo>
                    <a:pt x="304968" y="81008"/>
                  </a:lnTo>
                  <a:lnTo>
                    <a:pt x="304968" y="61948"/>
                  </a:lnTo>
                  <a:lnTo>
                    <a:pt x="314500" y="52418"/>
                  </a:lnTo>
                  <a:lnTo>
                    <a:pt x="319264" y="47652"/>
                  </a:lnTo>
                  <a:lnTo>
                    <a:pt x="333560" y="57182"/>
                  </a:lnTo>
                  <a:lnTo>
                    <a:pt x="352620" y="71478"/>
                  </a:lnTo>
                  <a:lnTo>
                    <a:pt x="362148" y="76244"/>
                  </a:lnTo>
                  <a:lnTo>
                    <a:pt x="366916" y="76244"/>
                  </a:lnTo>
                  <a:lnTo>
                    <a:pt x="376444" y="71478"/>
                  </a:lnTo>
                  <a:lnTo>
                    <a:pt x="414564" y="52418"/>
                  </a:lnTo>
                  <a:lnTo>
                    <a:pt x="433628" y="42888"/>
                  </a:lnTo>
                  <a:lnTo>
                    <a:pt x="457452" y="28592"/>
                  </a:lnTo>
                  <a:lnTo>
                    <a:pt x="462216" y="23826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2" name="Freeform 6475">
              <a:extLst>
                <a:ext uri="{FF2B5EF4-FFF2-40B4-BE49-F238E27FC236}">
                  <a16:creationId xmlns:a16="http://schemas.microsoft.com/office/drawing/2014/main" id="{818B669F-3738-46BA-B0AE-909FED434D18}"/>
                </a:ext>
              </a:extLst>
            </p:cNvPr>
            <p:cNvSpPr/>
            <p:nvPr/>
          </p:nvSpPr>
          <p:spPr bwMode="auto">
            <a:xfrm>
              <a:off x="7081491" y="4270827"/>
              <a:ext cx="2313" cy="3084"/>
            </a:xfrm>
            <a:custGeom>
              <a:avLst/>
              <a:gdLst>
                <a:gd name="T0" fmla="*/ 6 w 6"/>
                <a:gd name="T1" fmla="*/ 8 h 8"/>
                <a:gd name="T2" fmla="*/ 6 w 6"/>
                <a:gd name="T3" fmla="*/ 6 h 8"/>
                <a:gd name="T4" fmla="*/ 4 w 6"/>
                <a:gd name="T5" fmla="*/ 2 h 8"/>
                <a:gd name="T6" fmla="*/ 0 w 6"/>
                <a:gd name="T7" fmla="*/ 0 h 8"/>
                <a:gd name="T8" fmla="*/ 0 w 6"/>
                <a:gd name="T9" fmla="*/ 2 h 8"/>
                <a:gd name="T10" fmla="*/ 0 w 6"/>
                <a:gd name="T11" fmla="*/ 4 h 8"/>
                <a:gd name="T12" fmla="*/ 4 w 6"/>
                <a:gd name="T13" fmla="*/ 8 h 8"/>
                <a:gd name="T14" fmla="*/ 6 w 6"/>
                <a:gd name="T1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6" y="8"/>
                  </a:moveTo>
                  <a:lnTo>
                    <a:pt x="6" y="6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4" y="8"/>
                  </a:lnTo>
                  <a:lnTo>
                    <a:pt x="6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3" name="Line 6477">
              <a:extLst>
                <a:ext uri="{FF2B5EF4-FFF2-40B4-BE49-F238E27FC236}">
                  <a16:creationId xmlns:a16="http://schemas.microsoft.com/office/drawing/2014/main" id="{2FBBC84B-C225-4A4D-A499-9FC855C2244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084575" y="4283161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4" name="Freeform 352">
              <a:extLst>
                <a:ext uri="{FF2B5EF4-FFF2-40B4-BE49-F238E27FC236}">
                  <a16:creationId xmlns:a16="http://schemas.microsoft.com/office/drawing/2014/main" id="{8BF5F715-09C6-4884-BF66-DFC37F12A369}"/>
                </a:ext>
              </a:extLst>
            </p:cNvPr>
            <p:cNvSpPr/>
            <p:nvPr/>
          </p:nvSpPr>
          <p:spPr bwMode="auto">
            <a:xfrm>
              <a:off x="6625132" y="4211470"/>
              <a:ext cx="356916" cy="247450"/>
            </a:xfrm>
            <a:custGeom>
              <a:avLst/>
              <a:gdLst>
                <a:gd name="connsiteX0" fmla="*/ 85772 w 2206252"/>
                <a:gd name="connsiteY0" fmla="*/ 762420 h 1529606"/>
                <a:gd name="connsiteX1" fmla="*/ 90536 w 2206252"/>
                <a:gd name="connsiteY1" fmla="*/ 762420 h 1529606"/>
                <a:gd name="connsiteX2" fmla="*/ 85772 w 2206252"/>
                <a:gd name="connsiteY2" fmla="*/ 771950 h 1529606"/>
                <a:gd name="connsiteX3" fmla="*/ 95300 w 2206252"/>
                <a:gd name="connsiteY3" fmla="*/ 819602 h 1529606"/>
                <a:gd name="connsiteX4" fmla="*/ 95300 w 2206252"/>
                <a:gd name="connsiteY4" fmla="*/ 829132 h 1529606"/>
                <a:gd name="connsiteX5" fmla="*/ 85772 w 2206252"/>
                <a:gd name="connsiteY5" fmla="*/ 800542 h 1529606"/>
                <a:gd name="connsiteX6" fmla="*/ 81008 w 2206252"/>
                <a:gd name="connsiteY6" fmla="*/ 771950 h 1529606"/>
                <a:gd name="connsiteX7" fmla="*/ 953024 w 2206252"/>
                <a:gd name="connsiteY7" fmla="*/ 0 h 1529606"/>
                <a:gd name="connsiteX8" fmla="*/ 972084 w 2206252"/>
                <a:gd name="connsiteY8" fmla="*/ 23826 h 1529606"/>
                <a:gd name="connsiteX9" fmla="*/ 995912 w 2206252"/>
                <a:gd name="connsiteY9" fmla="*/ 47652 h 1529606"/>
                <a:gd name="connsiteX10" fmla="*/ 1005440 w 2206252"/>
                <a:gd name="connsiteY10" fmla="*/ 52416 h 1529606"/>
                <a:gd name="connsiteX11" fmla="*/ 1019736 w 2206252"/>
                <a:gd name="connsiteY11" fmla="*/ 52416 h 1529606"/>
                <a:gd name="connsiteX12" fmla="*/ 1034032 w 2206252"/>
                <a:gd name="connsiteY12" fmla="*/ 52416 h 1529606"/>
                <a:gd name="connsiteX13" fmla="*/ 1038796 w 2206252"/>
                <a:gd name="connsiteY13" fmla="*/ 57182 h 1529606"/>
                <a:gd name="connsiteX14" fmla="*/ 1048328 w 2206252"/>
                <a:gd name="connsiteY14" fmla="*/ 61946 h 1529606"/>
                <a:gd name="connsiteX15" fmla="*/ 1057856 w 2206252"/>
                <a:gd name="connsiteY15" fmla="*/ 90538 h 1529606"/>
                <a:gd name="connsiteX16" fmla="*/ 1072152 w 2206252"/>
                <a:gd name="connsiteY16" fmla="*/ 95302 h 1529606"/>
                <a:gd name="connsiteX17" fmla="*/ 1086448 w 2206252"/>
                <a:gd name="connsiteY17" fmla="*/ 100068 h 1529606"/>
                <a:gd name="connsiteX18" fmla="*/ 1134100 w 2206252"/>
                <a:gd name="connsiteY18" fmla="*/ 100068 h 1529606"/>
                <a:gd name="connsiteX19" fmla="*/ 1148396 w 2206252"/>
                <a:gd name="connsiteY19" fmla="*/ 100068 h 1529606"/>
                <a:gd name="connsiteX20" fmla="*/ 1162692 w 2206252"/>
                <a:gd name="connsiteY20" fmla="*/ 114364 h 1529606"/>
                <a:gd name="connsiteX21" fmla="*/ 1167456 w 2206252"/>
                <a:gd name="connsiteY21" fmla="*/ 119128 h 1529606"/>
                <a:gd name="connsiteX22" fmla="*/ 1172220 w 2206252"/>
                <a:gd name="connsiteY22" fmla="*/ 123894 h 1529606"/>
                <a:gd name="connsiteX23" fmla="*/ 1172220 w 2206252"/>
                <a:gd name="connsiteY23" fmla="*/ 128658 h 1529606"/>
                <a:gd name="connsiteX24" fmla="*/ 1167456 w 2206252"/>
                <a:gd name="connsiteY24" fmla="*/ 138188 h 1529606"/>
                <a:gd name="connsiteX25" fmla="*/ 1167456 w 2206252"/>
                <a:gd name="connsiteY25" fmla="*/ 152484 h 1529606"/>
                <a:gd name="connsiteX26" fmla="*/ 1167456 w 2206252"/>
                <a:gd name="connsiteY26" fmla="*/ 162014 h 1529606"/>
                <a:gd name="connsiteX27" fmla="*/ 1162692 w 2206252"/>
                <a:gd name="connsiteY27" fmla="*/ 166780 h 1529606"/>
                <a:gd name="connsiteX28" fmla="*/ 1162692 w 2206252"/>
                <a:gd name="connsiteY28" fmla="*/ 171544 h 1529606"/>
                <a:gd name="connsiteX29" fmla="*/ 1167456 w 2206252"/>
                <a:gd name="connsiteY29" fmla="*/ 176310 h 1529606"/>
                <a:gd name="connsiteX30" fmla="*/ 1186516 w 2206252"/>
                <a:gd name="connsiteY30" fmla="*/ 185840 h 1529606"/>
                <a:gd name="connsiteX31" fmla="*/ 1196048 w 2206252"/>
                <a:gd name="connsiteY31" fmla="*/ 195370 h 1529606"/>
                <a:gd name="connsiteX32" fmla="*/ 1200812 w 2206252"/>
                <a:gd name="connsiteY32" fmla="*/ 200136 h 1529606"/>
                <a:gd name="connsiteX33" fmla="*/ 1200812 w 2206252"/>
                <a:gd name="connsiteY33" fmla="*/ 204900 h 1529606"/>
                <a:gd name="connsiteX34" fmla="*/ 1196048 w 2206252"/>
                <a:gd name="connsiteY34" fmla="*/ 209666 h 1529606"/>
                <a:gd name="connsiteX35" fmla="*/ 1186516 w 2206252"/>
                <a:gd name="connsiteY35" fmla="*/ 209666 h 1529606"/>
                <a:gd name="connsiteX36" fmla="*/ 1181752 w 2206252"/>
                <a:gd name="connsiteY36" fmla="*/ 214430 h 1529606"/>
                <a:gd name="connsiteX37" fmla="*/ 1181752 w 2206252"/>
                <a:gd name="connsiteY37" fmla="*/ 228726 h 1529606"/>
                <a:gd name="connsiteX38" fmla="*/ 1191280 w 2206252"/>
                <a:gd name="connsiteY38" fmla="*/ 238256 h 1529606"/>
                <a:gd name="connsiteX39" fmla="*/ 1191280 w 2206252"/>
                <a:gd name="connsiteY39" fmla="*/ 247786 h 1529606"/>
                <a:gd name="connsiteX40" fmla="*/ 1186516 w 2206252"/>
                <a:gd name="connsiteY40" fmla="*/ 262082 h 1529606"/>
                <a:gd name="connsiteX41" fmla="*/ 1181752 w 2206252"/>
                <a:gd name="connsiteY41" fmla="*/ 276378 h 1529606"/>
                <a:gd name="connsiteX42" fmla="*/ 1181752 w 2206252"/>
                <a:gd name="connsiteY42" fmla="*/ 285908 h 1529606"/>
                <a:gd name="connsiteX43" fmla="*/ 1186516 w 2206252"/>
                <a:gd name="connsiteY43" fmla="*/ 290672 h 1529606"/>
                <a:gd name="connsiteX44" fmla="*/ 1200812 w 2206252"/>
                <a:gd name="connsiteY44" fmla="*/ 300204 h 1529606"/>
                <a:gd name="connsiteX45" fmla="*/ 1243696 w 2206252"/>
                <a:gd name="connsiteY45" fmla="*/ 328794 h 1529606"/>
                <a:gd name="connsiteX46" fmla="*/ 1253228 w 2206252"/>
                <a:gd name="connsiteY46" fmla="*/ 328794 h 1529606"/>
                <a:gd name="connsiteX47" fmla="*/ 1286584 w 2206252"/>
                <a:gd name="connsiteY47" fmla="*/ 324028 h 1529606"/>
                <a:gd name="connsiteX48" fmla="*/ 1305644 w 2206252"/>
                <a:gd name="connsiteY48" fmla="*/ 324028 h 1529606"/>
                <a:gd name="connsiteX49" fmla="*/ 1315176 w 2206252"/>
                <a:gd name="connsiteY49" fmla="*/ 324028 h 1529606"/>
                <a:gd name="connsiteX50" fmla="*/ 1343764 w 2206252"/>
                <a:gd name="connsiteY50" fmla="*/ 328794 h 1529606"/>
                <a:gd name="connsiteX51" fmla="*/ 1353296 w 2206252"/>
                <a:gd name="connsiteY51" fmla="*/ 333558 h 1529606"/>
                <a:gd name="connsiteX52" fmla="*/ 1362824 w 2206252"/>
                <a:gd name="connsiteY52" fmla="*/ 333558 h 1529606"/>
                <a:gd name="connsiteX53" fmla="*/ 1377120 w 2206252"/>
                <a:gd name="connsiteY53" fmla="*/ 333558 h 1529606"/>
                <a:gd name="connsiteX54" fmla="*/ 1386652 w 2206252"/>
                <a:gd name="connsiteY54" fmla="*/ 319264 h 1529606"/>
                <a:gd name="connsiteX55" fmla="*/ 1391416 w 2206252"/>
                <a:gd name="connsiteY55" fmla="*/ 319264 h 1529606"/>
                <a:gd name="connsiteX56" fmla="*/ 1396180 w 2206252"/>
                <a:gd name="connsiteY56" fmla="*/ 314498 h 1529606"/>
                <a:gd name="connsiteX57" fmla="*/ 1405712 w 2206252"/>
                <a:gd name="connsiteY57" fmla="*/ 314498 h 1529606"/>
                <a:gd name="connsiteX58" fmla="*/ 1429536 w 2206252"/>
                <a:gd name="connsiteY58" fmla="*/ 324028 h 1529606"/>
                <a:gd name="connsiteX59" fmla="*/ 1453364 w 2206252"/>
                <a:gd name="connsiteY59" fmla="*/ 338324 h 1529606"/>
                <a:gd name="connsiteX60" fmla="*/ 1467660 w 2206252"/>
                <a:gd name="connsiteY60" fmla="*/ 352620 h 1529606"/>
                <a:gd name="connsiteX61" fmla="*/ 1477188 w 2206252"/>
                <a:gd name="connsiteY61" fmla="*/ 366914 h 1529606"/>
                <a:gd name="connsiteX62" fmla="*/ 1486720 w 2206252"/>
                <a:gd name="connsiteY62" fmla="*/ 395506 h 1529606"/>
                <a:gd name="connsiteX63" fmla="*/ 1496248 w 2206252"/>
                <a:gd name="connsiteY63" fmla="*/ 438392 h 1529606"/>
                <a:gd name="connsiteX64" fmla="*/ 1515308 w 2206252"/>
                <a:gd name="connsiteY64" fmla="*/ 466982 h 1529606"/>
                <a:gd name="connsiteX65" fmla="*/ 1529604 w 2206252"/>
                <a:gd name="connsiteY65" fmla="*/ 481278 h 1529606"/>
                <a:gd name="connsiteX66" fmla="*/ 1543900 w 2206252"/>
                <a:gd name="connsiteY66" fmla="*/ 509868 h 1529606"/>
                <a:gd name="connsiteX67" fmla="*/ 1553432 w 2206252"/>
                <a:gd name="connsiteY67" fmla="*/ 571816 h 1529606"/>
                <a:gd name="connsiteX68" fmla="*/ 1558196 w 2206252"/>
                <a:gd name="connsiteY68" fmla="*/ 586110 h 1529606"/>
                <a:gd name="connsiteX69" fmla="*/ 1567724 w 2206252"/>
                <a:gd name="connsiteY69" fmla="*/ 590876 h 1529606"/>
                <a:gd name="connsiteX70" fmla="*/ 1586788 w 2206252"/>
                <a:gd name="connsiteY70" fmla="*/ 605172 h 1529606"/>
                <a:gd name="connsiteX71" fmla="*/ 1624908 w 2206252"/>
                <a:gd name="connsiteY71" fmla="*/ 638528 h 1529606"/>
                <a:gd name="connsiteX72" fmla="*/ 1648732 w 2206252"/>
                <a:gd name="connsiteY72" fmla="*/ 652822 h 1529606"/>
                <a:gd name="connsiteX73" fmla="*/ 1686856 w 2206252"/>
                <a:gd name="connsiteY73" fmla="*/ 681414 h 1529606"/>
                <a:gd name="connsiteX74" fmla="*/ 1720208 w 2206252"/>
                <a:gd name="connsiteY74" fmla="*/ 705238 h 1529606"/>
                <a:gd name="connsiteX75" fmla="*/ 1753564 w 2206252"/>
                <a:gd name="connsiteY75" fmla="*/ 743360 h 1529606"/>
                <a:gd name="connsiteX76" fmla="*/ 1758332 w 2206252"/>
                <a:gd name="connsiteY76" fmla="*/ 748126 h 1529606"/>
                <a:gd name="connsiteX77" fmla="*/ 1786920 w 2206252"/>
                <a:gd name="connsiteY77" fmla="*/ 767186 h 1529606"/>
                <a:gd name="connsiteX78" fmla="*/ 1820276 w 2206252"/>
                <a:gd name="connsiteY78" fmla="*/ 791012 h 1529606"/>
                <a:gd name="connsiteX79" fmla="*/ 1844104 w 2206252"/>
                <a:gd name="connsiteY79" fmla="*/ 786246 h 1529606"/>
                <a:gd name="connsiteX80" fmla="*/ 1877460 w 2206252"/>
                <a:gd name="connsiteY80" fmla="*/ 819602 h 1529606"/>
                <a:gd name="connsiteX81" fmla="*/ 1891756 w 2206252"/>
                <a:gd name="connsiteY81" fmla="*/ 829132 h 1529606"/>
                <a:gd name="connsiteX82" fmla="*/ 1896520 w 2206252"/>
                <a:gd name="connsiteY82" fmla="*/ 833898 h 1529606"/>
                <a:gd name="connsiteX83" fmla="*/ 1925112 w 2206252"/>
                <a:gd name="connsiteY83" fmla="*/ 848192 h 1529606"/>
                <a:gd name="connsiteX84" fmla="*/ 1963232 w 2206252"/>
                <a:gd name="connsiteY84" fmla="*/ 872018 h 1529606"/>
                <a:gd name="connsiteX85" fmla="*/ 2015648 w 2206252"/>
                <a:gd name="connsiteY85" fmla="*/ 910140 h 1529606"/>
                <a:gd name="connsiteX86" fmla="*/ 2049004 w 2206252"/>
                <a:gd name="connsiteY86" fmla="*/ 933966 h 1529606"/>
                <a:gd name="connsiteX87" fmla="*/ 2058536 w 2206252"/>
                <a:gd name="connsiteY87" fmla="*/ 933966 h 1529606"/>
                <a:gd name="connsiteX88" fmla="*/ 2068064 w 2206252"/>
                <a:gd name="connsiteY88" fmla="*/ 933966 h 1529606"/>
                <a:gd name="connsiteX89" fmla="*/ 2077596 w 2206252"/>
                <a:gd name="connsiteY89" fmla="*/ 929200 h 1529606"/>
                <a:gd name="connsiteX90" fmla="*/ 2087124 w 2206252"/>
                <a:gd name="connsiteY90" fmla="*/ 929200 h 1529606"/>
                <a:gd name="connsiteX91" fmla="*/ 2106184 w 2206252"/>
                <a:gd name="connsiteY91" fmla="*/ 933966 h 1529606"/>
                <a:gd name="connsiteX92" fmla="*/ 2125244 w 2206252"/>
                <a:gd name="connsiteY92" fmla="*/ 938730 h 1529606"/>
                <a:gd name="connsiteX93" fmla="*/ 2134776 w 2206252"/>
                <a:gd name="connsiteY93" fmla="*/ 948260 h 1529606"/>
                <a:gd name="connsiteX94" fmla="*/ 2149072 w 2206252"/>
                <a:gd name="connsiteY94" fmla="*/ 957790 h 1529606"/>
                <a:gd name="connsiteX95" fmla="*/ 2158600 w 2206252"/>
                <a:gd name="connsiteY95" fmla="*/ 967320 h 1529606"/>
                <a:gd name="connsiteX96" fmla="*/ 2168132 w 2206252"/>
                <a:gd name="connsiteY96" fmla="*/ 972086 h 1529606"/>
                <a:gd name="connsiteX97" fmla="*/ 2196724 w 2206252"/>
                <a:gd name="connsiteY97" fmla="*/ 976852 h 1529606"/>
                <a:gd name="connsiteX98" fmla="*/ 2201488 w 2206252"/>
                <a:gd name="connsiteY98" fmla="*/ 981616 h 1529606"/>
                <a:gd name="connsiteX99" fmla="*/ 2206252 w 2206252"/>
                <a:gd name="connsiteY99" fmla="*/ 991146 h 1529606"/>
                <a:gd name="connsiteX100" fmla="*/ 2206252 w 2206252"/>
                <a:gd name="connsiteY100" fmla="*/ 995912 h 1529606"/>
                <a:gd name="connsiteX101" fmla="*/ 2191956 w 2206252"/>
                <a:gd name="connsiteY101" fmla="*/ 1024502 h 1529606"/>
                <a:gd name="connsiteX102" fmla="*/ 2187192 w 2206252"/>
                <a:gd name="connsiteY102" fmla="*/ 1057858 h 1529606"/>
                <a:gd name="connsiteX103" fmla="*/ 2187192 w 2206252"/>
                <a:gd name="connsiteY103" fmla="*/ 1086450 h 1529606"/>
                <a:gd name="connsiteX104" fmla="*/ 2191956 w 2206252"/>
                <a:gd name="connsiteY104" fmla="*/ 1110274 h 1529606"/>
                <a:gd name="connsiteX105" fmla="*/ 2182428 w 2206252"/>
                <a:gd name="connsiteY105" fmla="*/ 1110274 h 1529606"/>
                <a:gd name="connsiteX106" fmla="*/ 2163368 w 2206252"/>
                <a:gd name="connsiteY106" fmla="*/ 1105510 h 1529606"/>
                <a:gd name="connsiteX107" fmla="*/ 2125244 w 2206252"/>
                <a:gd name="connsiteY107" fmla="*/ 1095980 h 1529606"/>
                <a:gd name="connsiteX108" fmla="*/ 2091888 w 2206252"/>
                <a:gd name="connsiteY108" fmla="*/ 1076918 h 1529606"/>
                <a:gd name="connsiteX109" fmla="*/ 2072828 w 2206252"/>
                <a:gd name="connsiteY109" fmla="*/ 1067388 h 1529606"/>
                <a:gd name="connsiteX110" fmla="*/ 2068064 w 2206252"/>
                <a:gd name="connsiteY110" fmla="*/ 1067388 h 1529606"/>
                <a:gd name="connsiteX111" fmla="*/ 2058536 w 2206252"/>
                <a:gd name="connsiteY111" fmla="*/ 1076918 h 1529606"/>
                <a:gd name="connsiteX112" fmla="*/ 2053768 w 2206252"/>
                <a:gd name="connsiteY112" fmla="*/ 1086450 h 1529606"/>
                <a:gd name="connsiteX113" fmla="*/ 2049004 w 2206252"/>
                <a:gd name="connsiteY113" fmla="*/ 1105510 h 1529606"/>
                <a:gd name="connsiteX114" fmla="*/ 2039472 w 2206252"/>
                <a:gd name="connsiteY114" fmla="*/ 1129336 h 1529606"/>
                <a:gd name="connsiteX115" fmla="*/ 2001352 w 2206252"/>
                <a:gd name="connsiteY115" fmla="*/ 1129336 h 1529606"/>
                <a:gd name="connsiteX116" fmla="*/ 1967996 w 2206252"/>
                <a:gd name="connsiteY116" fmla="*/ 1129336 h 1529606"/>
                <a:gd name="connsiteX117" fmla="*/ 1944172 w 2206252"/>
                <a:gd name="connsiteY117" fmla="*/ 1138866 h 1529606"/>
                <a:gd name="connsiteX118" fmla="*/ 1925112 w 2206252"/>
                <a:gd name="connsiteY118" fmla="*/ 1153160 h 1529606"/>
                <a:gd name="connsiteX119" fmla="*/ 1915580 w 2206252"/>
                <a:gd name="connsiteY119" fmla="*/ 1167456 h 1529606"/>
                <a:gd name="connsiteX120" fmla="*/ 1915580 w 2206252"/>
                <a:gd name="connsiteY120" fmla="*/ 1186516 h 1529606"/>
                <a:gd name="connsiteX121" fmla="*/ 1901284 w 2206252"/>
                <a:gd name="connsiteY121" fmla="*/ 1224638 h 1529606"/>
                <a:gd name="connsiteX122" fmla="*/ 1891756 w 2206252"/>
                <a:gd name="connsiteY122" fmla="*/ 1262758 h 1529606"/>
                <a:gd name="connsiteX123" fmla="*/ 1882224 w 2206252"/>
                <a:gd name="connsiteY123" fmla="*/ 1291350 h 1529606"/>
                <a:gd name="connsiteX124" fmla="*/ 1877460 w 2206252"/>
                <a:gd name="connsiteY124" fmla="*/ 1305646 h 1529606"/>
                <a:gd name="connsiteX125" fmla="*/ 1853632 w 2206252"/>
                <a:gd name="connsiteY125" fmla="*/ 1329470 h 1529606"/>
                <a:gd name="connsiteX126" fmla="*/ 1825044 w 2206252"/>
                <a:gd name="connsiteY126" fmla="*/ 1343766 h 1529606"/>
                <a:gd name="connsiteX127" fmla="*/ 1810748 w 2206252"/>
                <a:gd name="connsiteY127" fmla="*/ 1348532 h 1529606"/>
                <a:gd name="connsiteX128" fmla="*/ 1805984 w 2206252"/>
                <a:gd name="connsiteY128" fmla="*/ 1358062 h 1529606"/>
                <a:gd name="connsiteX129" fmla="*/ 1801216 w 2206252"/>
                <a:gd name="connsiteY129" fmla="*/ 1367592 h 1529606"/>
                <a:gd name="connsiteX130" fmla="*/ 1796452 w 2206252"/>
                <a:gd name="connsiteY130" fmla="*/ 1367592 h 1529606"/>
                <a:gd name="connsiteX131" fmla="*/ 1786920 w 2206252"/>
                <a:gd name="connsiteY131" fmla="*/ 1367592 h 1529606"/>
                <a:gd name="connsiteX132" fmla="*/ 1772628 w 2206252"/>
                <a:gd name="connsiteY132" fmla="*/ 1367592 h 1529606"/>
                <a:gd name="connsiteX133" fmla="*/ 1748800 w 2206252"/>
                <a:gd name="connsiteY133" fmla="*/ 1377122 h 1529606"/>
                <a:gd name="connsiteX134" fmla="*/ 1720208 w 2206252"/>
                <a:gd name="connsiteY134" fmla="*/ 1386652 h 1529606"/>
                <a:gd name="connsiteX135" fmla="*/ 1686856 w 2206252"/>
                <a:gd name="connsiteY135" fmla="*/ 1400948 h 1529606"/>
                <a:gd name="connsiteX136" fmla="*/ 1667792 w 2206252"/>
                <a:gd name="connsiteY136" fmla="*/ 1400948 h 1529606"/>
                <a:gd name="connsiteX137" fmla="*/ 1658264 w 2206252"/>
                <a:gd name="connsiteY137" fmla="*/ 1400948 h 1529606"/>
                <a:gd name="connsiteX138" fmla="*/ 1658264 w 2206252"/>
                <a:gd name="connsiteY138" fmla="*/ 1405712 h 1529606"/>
                <a:gd name="connsiteX139" fmla="*/ 1658264 w 2206252"/>
                <a:gd name="connsiteY139" fmla="*/ 1415242 h 1529606"/>
                <a:gd name="connsiteX140" fmla="*/ 1663028 w 2206252"/>
                <a:gd name="connsiteY140" fmla="*/ 1424774 h 1529606"/>
                <a:gd name="connsiteX141" fmla="*/ 1667792 w 2206252"/>
                <a:gd name="connsiteY141" fmla="*/ 1434304 h 1529606"/>
                <a:gd name="connsiteX142" fmla="*/ 1658264 w 2206252"/>
                <a:gd name="connsiteY142" fmla="*/ 1443834 h 1529606"/>
                <a:gd name="connsiteX143" fmla="*/ 1653500 w 2206252"/>
                <a:gd name="connsiteY143" fmla="*/ 1453364 h 1529606"/>
                <a:gd name="connsiteX144" fmla="*/ 1648732 w 2206252"/>
                <a:gd name="connsiteY144" fmla="*/ 1477190 h 1529606"/>
                <a:gd name="connsiteX145" fmla="*/ 1634436 w 2206252"/>
                <a:gd name="connsiteY145" fmla="*/ 1486720 h 1529606"/>
                <a:gd name="connsiteX146" fmla="*/ 1615376 w 2206252"/>
                <a:gd name="connsiteY146" fmla="*/ 1496250 h 1529606"/>
                <a:gd name="connsiteX147" fmla="*/ 1596316 w 2206252"/>
                <a:gd name="connsiteY147" fmla="*/ 1510546 h 1529606"/>
                <a:gd name="connsiteX148" fmla="*/ 1591552 w 2206252"/>
                <a:gd name="connsiteY148" fmla="*/ 1515310 h 1529606"/>
                <a:gd name="connsiteX149" fmla="*/ 1577256 w 2206252"/>
                <a:gd name="connsiteY149" fmla="*/ 1520076 h 1529606"/>
                <a:gd name="connsiteX150" fmla="*/ 1567724 w 2206252"/>
                <a:gd name="connsiteY150" fmla="*/ 1520076 h 1529606"/>
                <a:gd name="connsiteX151" fmla="*/ 1558196 w 2206252"/>
                <a:gd name="connsiteY151" fmla="*/ 1515310 h 1529606"/>
                <a:gd name="connsiteX152" fmla="*/ 1543900 w 2206252"/>
                <a:gd name="connsiteY152" fmla="*/ 1520076 h 1529606"/>
                <a:gd name="connsiteX153" fmla="*/ 1529604 w 2206252"/>
                <a:gd name="connsiteY153" fmla="*/ 1529606 h 1529606"/>
                <a:gd name="connsiteX154" fmla="*/ 1524840 w 2206252"/>
                <a:gd name="connsiteY154" fmla="*/ 1529606 h 1529606"/>
                <a:gd name="connsiteX155" fmla="*/ 1524840 w 2206252"/>
                <a:gd name="connsiteY155" fmla="*/ 1515310 h 1529606"/>
                <a:gd name="connsiteX156" fmla="*/ 1515308 w 2206252"/>
                <a:gd name="connsiteY156" fmla="*/ 1510546 h 1529606"/>
                <a:gd name="connsiteX157" fmla="*/ 1496248 w 2206252"/>
                <a:gd name="connsiteY157" fmla="*/ 1491486 h 1529606"/>
                <a:gd name="connsiteX158" fmla="*/ 1481952 w 2206252"/>
                <a:gd name="connsiteY158" fmla="*/ 1477190 h 1529606"/>
                <a:gd name="connsiteX159" fmla="*/ 1472424 w 2206252"/>
                <a:gd name="connsiteY159" fmla="*/ 1477190 h 1529606"/>
                <a:gd name="connsiteX160" fmla="*/ 1458128 w 2206252"/>
                <a:gd name="connsiteY160" fmla="*/ 1481954 h 1529606"/>
                <a:gd name="connsiteX161" fmla="*/ 1439068 w 2206252"/>
                <a:gd name="connsiteY161" fmla="*/ 1481954 h 1529606"/>
                <a:gd name="connsiteX162" fmla="*/ 1424772 w 2206252"/>
                <a:gd name="connsiteY162" fmla="*/ 1481954 h 1529606"/>
                <a:gd name="connsiteX163" fmla="*/ 1410476 w 2206252"/>
                <a:gd name="connsiteY163" fmla="*/ 1477190 h 1529606"/>
                <a:gd name="connsiteX164" fmla="*/ 1391416 w 2206252"/>
                <a:gd name="connsiteY164" fmla="*/ 1458130 h 1529606"/>
                <a:gd name="connsiteX165" fmla="*/ 1386652 w 2206252"/>
                <a:gd name="connsiteY165" fmla="*/ 1448598 h 1529606"/>
                <a:gd name="connsiteX166" fmla="*/ 1381888 w 2206252"/>
                <a:gd name="connsiteY166" fmla="*/ 1443834 h 1529606"/>
                <a:gd name="connsiteX167" fmla="*/ 1367592 w 2206252"/>
                <a:gd name="connsiteY167" fmla="*/ 1443834 h 1529606"/>
                <a:gd name="connsiteX168" fmla="*/ 1362824 w 2206252"/>
                <a:gd name="connsiteY168" fmla="*/ 1439068 h 1529606"/>
                <a:gd name="connsiteX169" fmla="*/ 1362824 w 2206252"/>
                <a:gd name="connsiteY169" fmla="*/ 1429538 h 1529606"/>
                <a:gd name="connsiteX170" fmla="*/ 1367592 w 2206252"/>
                <a:gd name="connsiteY170" fmla="*/ 1415242 h 1529606"/>
                <a:gd name="connsiteX171" fmla="*/ 1367592 w 2206252"/>
                <a:gd name="connsiteY171" fmla="*/ 1396182 h 1529606"/>
                <a:gd name="connsiteX172" fmla="*/ 1358060 w 2206252"/>
                <a:gd name="connsiteY172" fmla="*/ 1381886 h 1529606"/>
                <a:gd name="connsiteX173" fmla="*/ 1353296 w 2206252"/>
                <a:gd name="connsiteY173" fmla="*/ 1377122 h 1529606"/>
                <a:gd name="connsiteX174" fmla="*/ 1353296 w 2206252"/>
                <a:gd name="connsiteY174" fmla="*/ 1372356 h 1529606"/>
                <a:gd name="connsiteX175" fmla="*/ 1353296 w 2206252"/>
                <a:gd name="connsiteY175" fmla="*/ 1362826 h 1529606"/>
                <a:gd name="connsiteX176" fmla="*/ 1362824 w 2206252"/>
                <a:gd name="connsiteY176" fmla="*/ 1353296 h 1529606"/>
                <a:gd name="connsiteX177" fmla="*/ 1362824 w 2206252"/>
                <a:gd name="connsiteY177" fmla="*/ 1334236 h 1529606"/>
                <a:gd name="connsiteX178" fmla="*/ 1353296 w 2206252"/>
                <a:gd name="connsiteY178" fmla="*/ 1315176 h 1529606"/>
                <a:gd name="connsiteX179" fmla="*/ 1353296 w 2206252"/>
                <a:gd name="connsiteY179" fmla="*/ 1286584 h 1529606"/>
                <a:gd name="connsiteX180" fmla="*/ 1353296 w 2206252"/>
                <a:gd name="connsiteY180" fmla="*/ 1262758 h 1529606"/>
                <a:gd name="connsiteX181" fmla="*/ 1343764 w 2206252"/>
                <a:gd name="connsiteY181" fmla="*/ 1248464 h 1529606"/>
                <a:gd name="connsiteX182" fmla="*/ 1281820 w 2206252"/>
                <a:gd name="connsiteY182" fmla="*/ 1248464 h 1529606"/>
                <a:gd name="connsiteX183" fmla="*/ 1224636 w 2206252"/>
                <a:gd name="connsiteY183" fmla="*/ 1248464 h 1529606"/>
                <a:gd name="connsiteX184" fmla="*/ 1219872 w 2206252"/>
                <a:gd name="connsiteY184" fmla="*/ 1243698 h 1529606"/>
                <a:gd name="connsiteX185" fmla="*/ 1200812 w 2206252"/>
                <a:gd name="connsiteY185" fmla="*/ 1210342 h 1529606"/>
                <a:gd name="connsiteX186" fmla="*/ 1181752 w 2206252"/>
                <a:gd name="connsiteY186" fmla="*/ 1186516 h 1529606"/>
                <a:gd name="connsiteX187" fmla="*/ 1162692 w 2206252"/>
                <a:gd name="connsiteY187" fmla="*/ 1167456 h 1529606"/>
                <a:gd name="connsiteX188" fmla="*/ 1124568 w 2206252"/>
                <a:gd name="connsiteY188" fmla="*/ 1148396 h 1529606"/>
                <a:gd name="connsiteX189" fmla="*/ 1100744 w 2206252"/>
                <a:gd name="connsiteY189" fmla="*/ 1143630 h 1529606"/>
                <a:gd name="connsiteX190" fmla="*/ 1086448 w 2206252"/>
                <a:gd name="connsiteY190" fmla="*/ 1129336 h 1529606"/>
                <a:gd name="connsiteX191" fmla="*/ 1072152 w 2206252"/>
                <a:gd name="connsiteY191" fmla="*/ 1110274 h 1529606"/>
                <a:gd name="connsiteX192" fmla="*/ 1067388 w 2206252"/>
                <a:gd name="connsiteY192" fmla="*/ 1091214 h 1529606"/>
                <a:gd name="connsiteX193" fmla="*/ 1067388 w 2206252"/>
                <a:gd name="connsiteY193" fmla="*/ 1081684 h 1529606"/>
                <a:gd name="connsiteX194" fmla="*/ 1062624 w 2206252"/>
                <a:gd name="connsiteY194" fmla="*/ 1076918 h 1529606"/>
                <a:gd name="connsiteX195" fmla="*/ 1057856 w 2206252"/>
                <a:gd name="connsiteY195" fmla="*/ 1076918 h 1529606"/>
                <a:gd name="connsiteX196" fmla="*/ 1053092 w 2206252"/>
                <a:gd name="connsiteY196" fmla="*/ 1076918 h 1529606"/>
                <a:gd name="connsiteX197" fmla="*/ 1005440 w 2206252"/>
                <a:gd name="connsiteY197" fmla="*/ 1048328 h 1529606"/>
                <a:gd name="connsiteX198" fmla="*/ 986380 w 2206252"/>
                <a:gd name="connsiteY198" fmla="*/ 1043562 h 1529606"/>
                <a:gd name="connsiteX199" fmla="*/ 967320 w 2206252"/>
                <a:gd name="connsiteY199" fmla="*/ 1048328 h 1529606"/>
                <a:gd name="connsiteX200" fmla="*/ 957788 w 2206252"/>
                <a:gd name="connsiteY200" fmla="*/ 1048328 h 1529606"/>
                <a:gd name="connsiteX201" fmla="*/ 943496 w 2206252"/>
                <a:gd name="connsiteY201" fmla="*/ 1043562 h 1529606"/>
                <a:gd name="connsiteX202" fmla="*/ 929200 w 2206252"/>
                <a:gd name="connsiteY202" fmla="*/ 1053094 h 1529606"/>
                <a:gd name="connsiteX203" fmla="*/ 919668 w 2206252"/>
                <a:gd name="connsiteY203" fmla="*/ 1053094 h 1529606"/>
                <a:gd name="connsiteX204" fmla="*/ 910140 w 2206252"/>
                <a:gd name="connsiteY204" fmla="*/ 1053094 h 1529606"/>
                <a:gd name="connsiteX205" fmla="*/ 900608 w 2206252"/>
                <a:gd name="connsiteY205" fmla="*/ 1048328 h 1529606"/>
                <a:gd name="connsiteX206" fmla="*/ 876784 w 2206252"/>
                <a:gd name="connsiteY206" fmla="*/ 1024502 h 1529606"/>
                <a:gd name="connsiteX207" fmla="*/ 857720 w 2206252"/>
                <a:gd name="connsiteY207" fmla="*/ 1014972 h 1529606"/>
                <a:gd name="connsiteX208" fmla="*/ 843428 w 2206252"/>
                <a:gd name="connsiteY208" fmla="*/ 1010208 h 1529606"/>
                <a:gd name="connsiteX209" fmla="*/ 814836 w 2206252"/>
                <a:gd name="connsiteY209" fmla="*/ 1000676 h 1529606"/>
                <a:gd name="connsiteX210" fmla="*/ 781480 w 2206252"/>
                <a:gd name="connsiteY210" fmla="*/ 995912 h 1529606"/>
                <a:gd name="connsiteX211" fmla="*/ 767184 w 2206252"/>
                <a:gd name="connsiteY211" fmla="*/ 991146 h 1529606"/>
                <a:gd name="connsiteX212" fmla="*/ 757656 w 2206252"/>
                <a:gd name="connsiteY212" fmla="*/ 986382 h 1529606"/>
                <a:gd name="connsiteX213" fmla="*/ 752888 w 2206252"/>
                <a:gd name="connsiteY213" fmla="*/ 981616 h 1529606"/>
                <a:gd name="connsiteX214" fmla="*/ 752888 w 2206252"/>
                <a:gd name="connsiteY214" fmla="*/ 972086 h 1529606"/>
                <a:gd name="connsiteX215" fmla="*/ 752888 w 2206252"/>
                <a:gd name="connsiteY215" fmla="*/ 962556 h 1529606"/>
                <a:gd name="connsiteX216" fmla="*/ 748124 w 2206252"/>
                <a:gd name="connsiteY216" fmla="*/ 953026 h 1529606"/>
                <a:gd name="connsiteX217" fmla="*/ 743360 w 2206252"/>
                <a:gd name="connsiteY217" fmla="*/ 943496 h 1529606"/>
                <a:gd name="connsiteX218" fmla="*/ 733828 w 2206252"/>
                <a:gd name="connsiteY218" fmla="*/ 938730 h 1529606"/>
                <a:gd name="connsiteX219" fmla="*/ 714768 w 2206252"/>
                <a:gd name="connsiteY219" fmla="*/ 938730 h 1529606"/>
                <a:gd name="connsiteX220" fmla="*/ 686176 w 2206252"/>
                <a:gd name="connsiteY220" fmla="*/ 938730 h 1529606"/>
                <a:gd name="connsiteX221" fmla="*/ 667116 w 2206252"/>
                <a:gd name="connsiteY221" fmla="*/ 929200 h 1529606"/>
                <a:gd name="connsiteX222" fmla="*/ 652820 w 2206252"/>
                <a:gd name="connsiteY222" fmla="*/ 929200 h 1529606"/>
                <a:gd name="connsiteX223" fmla="*/ 628996 w 2206252"/>
                <a:gd name="connsiteY223" fmla="*/ 929200 h 1529606"/>
                <a:gd name="connsiteX224" fmla="*/ 614700 w 2206252"/>
                <a:gd name="connsiteY224" fmla="*/ 929200 h 1529606"/>
                <a:gd name="connsiteX225" fmla="*/ 605172 w 2206252"/>
                <a:gd name="connsiteY225" fmla="*/ 938730 h 1529606"/>
                <a:gd name="connsiteX226" fmla="*/ 595640 w 2206252"/>
                <a:gd name="connsiteY226" fmla="*/ 943496 h 1529606"/>
                <a:gd name="connsiteX227" fmla="*/ 590876 w 2206252"/>
                <a:gd name="connsiteY227" fmla="*/ 962556 h 1529606"/>
                <a:gd name="connsiteX228" fmla="*/ 581344 w 2206252"/>
                <a:gd name="connsiteY228" fmla="*/ 967320 h 1529606"/>
                <a:gd name="connsiteX229" fmla="*/ 571816 w 2206252"/>
                <a:gd name="connsiteY229" fmla="*/ 967320 h 1529606"/>
                <a:gd name="connsiteX230" fmla="*/ 552752 w 2206252"/>
                <a:gd name="connsiteY230" fmla="*/ 967320 h 1529606"/>
                <a:gd name="connsiteX231" fmla="*/ 519396 w 2206252"/>
                <a:gd name="connsiteY231" fmla="*/ 962556 h 1529606"/>
                <a:gd name="connsiteX232" fmla="*/ 481276 w 2206252"/>
                <a:gd name="connsiteY232" fmla="*/ 962556 h 1529606"/>
                <a:gd name="connsiteX233" fmla="*/ 447920 w 2206252"/>
                <a:gd name="connsiteY233" fmla="*/ 972086 h 1529606"/>
                <a:gd name="connsiteX234" fmla="*/ 424096 w 2206252"/>
                <a:gd name="connsiteY234" fmla="*/ 986382 h 1529606"/>
                <a:gd name="connsiteX235" fmla="*/ 400268 w 2206252"/>
                <a:gd name="connsiteY235" fmla="*/ 1000676 h 1529606"/>
                <a:gd name="connsiteX236" fmla="*/ 376444 w 2206252"/>
                <a:gd name="connsiteY236" fmla="*/ 1024502 h 1529606"/>
                <a:gd name="connsiteX237" fmla="*/ 366912 w 2206252"/>
                <a:gd name="connsiteY237" fmla="*/ 1034032 h 1529606"/>
                <a:gd name="connsiteX238" fmla="*/ 352620 w 2206252"/>
                <a:gd name="connsiteY238" fmla="*/ 1076918 h 1529606"/>
                <a:gd name="connsiteX239" fmla="*/ 343088 w 2206252"/>
                <a:gd name="connsiteY239" fmla="*/ 1086450 h 1529606"/>
                <a:gd name="connsiteX240" fmla="*/ 333556 w 2206252"/>
                <a:gd name="connsiteY240" fmla="*/ 1091214 h 1529606"/>
                <a:gd name="connsiteX241" fmla="*/ 324028 w 2206252"/>
                <a:gd name="connsiteY241" fmla="*/ 1091214 h 1529606"/>
                <a:gd name="connsiteX242" fmla="*/ 304968 w 2206252"/>
                <a:gd name="connsiteY242" fmla="*/ 1095980 h 1529606"/>
                <a:gd name="connsiteX243" fmla="*/ 281140 w 2206252"/>
                <a:gd name="connsiteY243" fmla="*/ 1110274 h 1529606"/>
                <a:gd name="connsiteX244" fmla="*/ 262080 w 2206252"/>
                <a:gd name="connsiteY244" fmla="*/ 1110274 h 1529606"/>
                <a:gd name="connsiteX245" fmla="*/ 219196 w 2206252"/>
                <a:gd name="connsiteY245" fmla="*/ 1110274 h 1529606"/>
                <a:gd name="connsiteX246" fmla="*/ 219196 w 2206252"/>
                <a:gd name="connsiteY246" fmla="*/ 1095980 h 1529606"/>
                <a:gd name="connsiteX247" fmla="*/ 209664 w 2206252"/>
                <a:gd name="connsiteY247" fmla="*/ 1048328 h 1529606"/>
                <a:gd name="connsiteX248" fmla="*/ 204900 w 2206252"/>
                <a:gd name="connsiteY248" fmla="*/ 995912 h 1529606"/>
                <a:gd name="connsiteX249" fmla="*/ 204900 w 2206252"/>
                <a:gd name="connsiteY249" fmla="*/ 972086 h 1529606"/>
                <a:gd name="connsiteX250" fmla="*/ 209664 w 2206252"/>
                <a:gd name="connsiteY250" fmla="*/ 924434 h 1529606"/>
                <a:gd name="connsiteX251" fmla="*/ 209664 w 2206252"/>
                <a:gd name="connsiteY251" fmla="*/ 900610 h 1529606"/>
                <a:gd name="connsiteX252" fmla="*/ 209664 w 2206252"/>
                <a:gd name="connsiteY252" fmla="*/ 876784 h 1529606"/>
                <a:gd name="connsiteX253" fmla="*/ 209664 w 2206252"/>
                <a:gd name="connsiteY253" fmla="*/ 857722 h 1529606"/>
                <a:gd name="connsiteX254" fmla="*/ 214428 w 2206252"/>
                <a:gd name="connsiteY254" fmla="*/ 833898 h 1529606"/>
                <a:gd name="connsiteX255" fmla="*/ 214428 w 2206252"/>
                <a:gd name="connsiteY255" fmla="*/ 810072 h 1529606"/>
                <a:gd name="connsiteX256" fmla="*/ 214428 w 2206252"/>
                <a:gd name="connsiteY256" fmla="*/ 791012 h 1529606"/>
                <a:gd name="connsiteX257" fmla="*/ 204900 w 2206252"/>
                <a:gd name="connsiteY257" fmla="*/ 776716 h 1529606"/>
                <a:gd name="connsiteX258" fmla="*/ 190604 w 2206252"/>
                <a:gd name="connsiteY258" fmla="*/ 762420 h 1529606"/>
                <a:gd name="connsiteX259" fmla="*/ 190604 w 2206252"/>
                <a:gd name="connsiteY259" fmla="*/ 748126 h 1529606"/>
                <a:gd name="connsiteX260" fmla="*/ 185840 w 2206252"/>
                <a:gd name="connsiteY260" fmla="*/ 738594 h 1529606"/>
                <a:gd name="connsiteX261" fmla="*/ 176308 w 2206252"/>
                <a:gd name="connsiteY261" fmla="*/ 738594 h 1529606"/>
                <a:gd name="connsiteX262" fmla="*/ 162012 w 2206252"/>
                <a:gd name="connsiteY262" fmla="*/ 724300 h 1529606"/>
                <a:gd name="connsiteX263" fmla="*/ 152484 w 2206252"/>
                <a:gd name="connsiteY263" fmla="*/ 719534 h 1529606"/>
                <a:gd name="connsiteX264" fmla="*/ 128656 w 2206252"/>
                <a:gd name="connsiteY264" fmla="*/ 710004 h 1529606"/>
                <a:gd name="connsiteX265" fmla="*/ 119128 w 2206252"/>
                <a:gd name="connsiteY265" fmla="*/ 710004 h 1529606"/>
                <a:gd name="connsiteX266" fmla="*/ 109596 w 2206252"/>
                <a:gd name="connsiteY266" fmla="*/ 719534 h 1529606"/>
                <a:gd name="connsiteX267" fmla="*/ 104832 w 2206252"/>
                <a:gd name="connsiteY267" fmla="*/ 729064 h 1529606"/>
                <a:gd name="connsiteX268" fmla="*/ 95300 w 2206252"/>
                <a:gd name="connsiteY268" fmla="*/ 710004 h 1529606"/>
                <a:gd name="connsiteX269" fmla="*/ 95300 w 2206252"/>
                <a:gd name="connsiteY269" fmla="*/ 695708 h 1529606"/>
                <a:gd name="connsiteX270" fmla="*/ 114364 w 2206252"/>
                <a:gd name="connsiteY270" fmla="*/ 657588 h 1529606"/>
                <a:gd name="connsiteX271" fmla="*/ 123892 w 2206252"/>
                <a:gd name="connsiteY271" fmla="*/ 667118 h 1529606"/>
                <a:gd name="connsiteX272" fmla="*/ 138188 w 2206252"/>
                <a:gd name="connsiteY272" fmla="*/ 671882 h 1529606"/>
                <a:gd name="connsiteX273" fmla="*/ 157248 w 2206252"/>
                <a:gd name="connsiteY273" fmla="*/ 671882 h 1529606"/>
                <a:gd name="connsiteX274" fmla="*/ 171544 w 2206252"/>
                <a:gd name="connsiteY274" fmla="*/ 671882 h 1529606"/>
                <a:gd name="connsiteX275" fmla="*/ 166780 w 2206252"/>
                <a:gd name="connsiteY275" fmla="*/ 657588 h 1529606"/>
                <a:gd name="connsiteX276" fmla="*/ 162012 w 2206252"/>
                <a:gd name="connsiteY276" fmla="*/ 652822 h 1529606"/>
                <a:gd name="connsiteX277" fmla="*/ 152484 w 2206252"/>
                <a:gd name="connsiteY277" fmla="*/ 648058 h 1529606"/>
                <a:gd name="connsiteX278" fmla="*/ 147716 w 2206252"/>
                <a:gd name="connsiteY278" fmla="*/ 628996 h 1529606"/>
                <a:gd name="connsiteX279" fmla="*/ 147716 w 2206252"/>
                <a:gd name="connsiteY279" fmla="*/ 614702 h 1529606"/>
                <a:gd name="connsiteX280" fmla="*/ 152484 w 2206252"/>
                <a:gd name="connsiteY280" fmla="*/ 595640 h 1529606"/>
                <a:gd name="connsiteX281" fmla="*/ 147716 w 2206252"/>
                <a:gd name="connsiteY281" fmla="*/ 590876 h 1529606"/>
                <a:gd name="connsiteX282" fmla="*/ 142952 w 2206252"/>
                <a:gd name="connsiteY282" fmla="*/ 586110 h 1529606"/>
                <a:gd name="connsiteX283" fmla="*/ 123892 w 2206252"/>
                <a:gd name="connsiteY283" fmla="*/ 586110 h 1529606"/>
                <a:gd name="connsiteX284" fmla="*/ 100068 w 2206252"/>
                <a:gd name="connsiteY284" fmla="*/ 581346 h 1529606"/>
                <a:gd name="connsiteX285" fmla="*/ 76240 w 2206252"/>
                <a:gd name="connsiteY285" fmla="*/ 581346 h 1529606"/>
                <a:gd name="connsiteX286" fmla="*/ 71476 w 2206252"/>
                <a:gd name="connsiteY286" fmla="*/ 600406 h 1529606"/>
                <a:gd name="connsiteX287" fmla="*/ 81008 w 2206252"/>
                <a:gd name="connsiteY287" fmla="*/ 624232 h 1529606"/>
                <a:gd name="connsiteX288" fmla="*/ 71476 w 2206252"/>
                <a:gd name="connsiteY288" fmla="*/ 614702 h 1529606"/>
                <a:gd name="connsiteX289" fmla="*/ 61944 w 2206252"/>
                <a:gd name="connsiteY289" fmla="*/ 595640 h 1529606"/>
                <a:gd name="connsiteX290" fmla="*/ 47652 w 2206252"/>
                <a:gd name="connsiteY290" fmla="*/ 567050 h 1529606"/>
                <a:gd name="connsiteX291" fmla="*/ 38120 w 2206252"/>
                <a:gd name="connsiteY291" fmla="*/ 533694 h 1529606"/>
                <a:gd name="connsiteX292" fmla="*/ 38120 w 2206252"/>
                <a:gd name="connsiteY292" fmla="*/ 495574 h 1529606"/>
                <a:gd name="connsiteX293" fmla="*/ 42884 w 2206252"/>
                <a:gd name="connsiteY293" fmla="*/ 466982 h 1529606"/>
                <a:gd name="connsiteX294" fmla="*/ 52416 w 2206252"/>
                <a:gd name="connsiteY294" fmla="*/ 438392 h 1529606"/>
                <a:gd name="connsiteX295" fmla="*/ 61944 w 2206252"/>
                <a:gd name="connsiteY295" fmla="*/ 400270 h 1529606"/>
                <a:gd name="connsiteX296" fmla="*/ 66712 w 2206252"/>
                <a:gd name="connsiteY296" fmla="*/ 366914 h 1529606"/>
                <a:gd name="connsiteX297" fmla="*/ 76240 w 2206252"/>
                <a:gd name="connsiteY297" fmla="*/ 381210 h 1529606"/>
                <a:gd name="connsiteX298" fmla="*/ 85772 w 2206252"/>
                <a:gd name="connsiteY298" fmla="*/ 395506 h 1529606"/>
                <a:gd name="connsiteX299" fmla="*/ 100068 w 2206252"/>
                <a:gd name="connsiteY299" fmla="*/ 409802 h 1529606"/>
                <a:gd name="connsiteX300" fmla="*/ 109596 w 2206252"/>
                <a:gd name="connsiteY300" fmla="*/ 414566 h 1529606"/>
                <a:gd name="connsiteX301" fmla="*/ 128656 w 2206252"/>
                <a:gd name="connsiteY301" fmla="*/ 419332 h 1529606"/>
                <a:gd name="connsiteX302" fmla="*/ 142952 w 2206252"/>
                <a:gd name="connsiteY302" fmla="*/ 414566 h 1529606"/>
                <a:gd name="connsiteX303" fmla="*/ 157248 w 2206252"/>
                <a:gd name="connsiteY303" fmla="*/ 409802 h 1529606"/>
                <a:gd name="connsiteX304" fmla="*/ 171544 w 2206252"/>
                <a:gd name="connsiteY304" fmla="*/ 409802 h 1529606"/>
                <a:gd name="connsiteX305" fmla="*/ 185840 w 2206252"/>
                <a:gd name="connsiteY305" fmla="*/ 424096 h 1529606"/>
                <a:gd name="connsiteX306" fmla="*/ 195368 w 2206252"/>
                <a:gd name="connsiteY306" fmla="*/ 443156 h 1529606"/>
                <a:gd name="connsiteX307" fmla="*/ 214428 w 2206252"/>
                <a:gd name="connsiteY307" fmla="*/ 447922 h 1529606"/>
                <a:gd name="connsiteX308" fmla="*/ 247784 w 2206252"/>
                <a:gd name="connsiteY308" fmla="*/ 433626 h 1529606"/>
                <a:gd name="connsiteX309" fmla="*/ 262080 w 2206252"/>
                <a:gd name="connsiteY309" fmla="*/ 428862 h 1529606"/>
                <a:gd name="connsiteX310" fmla="*/ 276376 w 2206252"/>
                <a:gd name="connsiteY310" fmla="*/ 438392 h 1529606"/>
                <a:gd name="connsiteX311" fmla="*/ 285908 w 2206252"/>
                <a:gd name="connsiteY311" fmla="*/ 438392 h 1529606"/>
                <a:gd name="connsiteX312" fmla="*/ 290672 w 2206252"/>
                <a:gd name="connsiteY312" fmla="*/ 438392 h 1529606"/>
                <a:gd name="connsiteX313" fmla="*/ 285908 w 2206252"/>
                <a:gd name="connsiteY313" fmla="*/ 424096 h 1529606"/>
                <a:gd name="connsiteX314" fmla="*/ 285908 w 2206252"/>
                <a:gd name="connsiteY314" fmla="*/ 409802 h 1529606"/>
                <a:gd name="connsiteX315" fmla="*/ 290672 w 2206252"/>
                <a:gd name="connsiteY315" fmla="*/ 400270 h 1529606"/>
                <a:gd name="connsiteX316" fmla="*/ 319264 w 2206252"/>
                <a:gd name="connsiteY316" fmla="*/ 409802 h 1529606"/>
                <a:gd name="connsiteX317" fmla="*/ 338324 w 2206252"/>
                <a:gd name="connsiteY317" fmla="*/ 405036 h 1529606"/>
                <a:gd name="connsiteX318" fmla="*/ 343088 w 2206252"/>
                <a:gd name="connsiteY318" fmla="*/ 400270 h 1529606"/>
                <a:gd name="connsiteX319" fmla="*/ 343088 w 2206252"/>
                <a:gd name="connsiteY319" fmla="*/ 395506 h 1529606"/>
                <a:gd name="connsiteX320" fmla="*/ 347852 w 2206252"/>
                <a:gd name="connsiteY320" fmla="*/ 385976 h 1529606"/>
                <a:gd name="connsiteX321" fmla="*/ 347852 w 2206252"/>
                <a:gd name="connsiteY321" fmla="*/ 371680 h 1529606"/>
                <a:gd name="connsiteX322" fmla="*/ 343088 w 2206252"/>
                <a:gd name="connsiteY322" fmla="*/ 357384 h 1529606"/>
                <a:gd name="connsiteX323" fmla="*/ 338324 w 2206252"/>
                <a:gd name="connsiteY323" fmla="*/ 347854 h 1529606"/>
                <a:gd name="connsiteX324" fmla="*/ 328792 w 2206252"/>
                <a:gd name="connsiteY324" fmla="*/ 333558 h 1529606"/>
                <a:gd name="connsiteX325" fmla="*/ 276376 w 2206252"/>
                <a:gd name="connsiteY325" fmla="*/ 295438 h 1529606"/>
                <a:gd name="connsiteX326" fmla="*/ 262080 w 2206252"/>
                <a:gd name="connsiteY326" fmla="*/ 285908 h 1529606"/>
                <a:gd name="connsiteX327" fmla="*/ 247784 w 2206252"/>
                <a:gd name="connsiteY327" fmla="*/ 266848 h 1529606"/>
                <a:gd name="connsiteX328" fmla="*/ 238256 w 2206252"/>
                <a:gd name="connsiteY328" fmla="*/ 238256 h 1529606"/>
                <a:gd name="connsiteX329" fmla="*/ 233492 w 2206252"/>
                <a:gd name="connsiteY329" fmla="*/ 214430 h 1529606"/>
                <a:gd name="connsiteX330" fmla="*/ 228724 w 2206252"/>
                <a:gd name="connsiteY330" fmla="*/ 190606 h 1529606"/>
                <a:gd name="connsiteX331" fmla="*/ 209664 w 2206252"/>
                <a:gd name="connsiteY331" fmla="*/ 142954 h 1529606"/>
                <a:gd name="connsiteX332" fmla="*/ 204900 w 2206252"/>
                <a:gd name="connsiteY332" fmla="*/ 138188 h 1529606"/>
                <a:gd name="connsiteX333" fmla="*/ 195368 w 2206252"/>
                <a:gd name="connsiteY333" fmla="*/ 138188 h 1529606"/>
                <a:gd name="connsiteX334" fmla="*/ 176308 w 2206252"/>
                <a:gd name="connsiteY334" fmla="*/ 138188 h 1529606"/>
                <a:gd name="connsiteX335" fmla="*/ 157248 w 2206252"/>
                <a:gd name="connsiteY335" fmla="*/ 138188 h 1529606"/>
                <a:gd name="connsiteX336" fmla="*/ 123892 w 2206252"/>
                <a:gd name="connsiteY336" fmla="*/ 147718 h 1529606"/>
                <a:gd name="connsiteX337" fmla="*/ 104832 w 2206252"/>
                <a:gd name="connsiteY337" fmla="*/ 142954 h 1529606"/>
                <a:gd name="connsiteX338" fmla="*/ 95300 w 2206252"/>
                <a:gd name="connsiteY338" fmla="*/ 152484 h 1529606"/>
                <a:gd name="connsiteX339" fmla="*/ 71476 w 2206252"/>
                <a:gd name="connsiteY339" fmla="*/ 171544 h 1529606"/>
                <a:gd name="connsiteX340" fmla="*/ 61944 w 2206252"/>
                <a:gd name="connsiteY340" fmla="*/ 185840 h 1529606"/>
                <a:gd name="connsiteX341" fmla="*/ 47652 w 2206252"/>
                <a:gd name="connsiteY341" fmla="*/ 223962 h 1529606"/>
                <a:gd name="connsiteX342" fmla="*/ 57180 w 2206252"/>
                <a:gd name="connsiteY342" fmla="*/ 238256 h 1529606"/>
                <a:gd name="connsiteX343" fmla="*/ 57180 w 2206252"/>
                <a:gd name="connsiteY343" fmla="*/ 247786 h 1529606"/>
                <a:gd name="connsiteX344" fmla="*/ 52416 w 2206252"/>
                <a:gd name="connsiteY344" fmla="*/ 300204 h 1529606"/>
                <a:gd name="connsiteX345" fmla="*/ 57180 w 2206252"/>
                <a:gd name="connsiteY345" fmla="*/ 328794 h 1529606"/>
                <a:gd name="connsiteX346" fmla="*/ 52416 w 2206252"/>
                <a:gd name="connsiteY346" fmla="*/ 333558 h 1529606"/>
                <a:gd name="connsiteX347" fmla="*/ 52416 w 2206252"/>
                <a:gd name="connsiteY347" fmla="*/ 324028 h 1529606"/>
                <a:gd name="connsiteX348" fmla="*/ 38120 w 2206252"/>
                <a:gd name="connsiteY348" fmla="*/ 295438 h 1529606"/>
                <a:gd name="connsiteX349" fmla="*/ 14296 w 2206252"/>
                <a:gd name="connsiteY349" fmla="*/ 262082 h 1529606"/>
                <a:gd name="connsiteX350" fmla="*/ 0 w 2206252"/>
                <a:gd name="connsiteY350" fmla="*/ 209666 h 1529606"/>
                <a:gd name="connsiteX351" fmla="*/ 28588 w 2206252"/>
                <a:gd name="connsiteY351" fmla="*/ 176310 h 1529606"/>
                <a:gd name="connsiteX352" fmla="*/ 57180 w 2206252"/>
                <a:gd name="connsiteY352" fmla="*/ 152484 h 1529606"/>
                <a:gd name="connsiteX353" fmla="*/ 81008 w 2206252"/>
                <a:gd name="connsiteY353" fmla="*/ 138188 h 1529606"/>
                <a:gd name="connsiteX354" fmla="*/ 85772 w 2206252"/>
                <a:gd name="connsiteY354" fmla="*/ 133424 h 1529606"/>
                <a:gd name="connsiteX355" fmla="*/ 114364 w 2206252"/>
                <a:gd name="connsiteY355" fmla="*/ 119128 h 1529606"/>
                <a:gd name="connsiteX356" fmla="*/ 157248 w 2206252"/>
                <a:gd name="connsiteY356" fmla="*/ 109598 h 1529606"/>
                <a:gd name="connsiteX357" fmla="*/ 185840 w 2206252"/>
                <a:gd name="connsiteY357" fmla="*/ 100068 h 1529606"/>
                <a:gd name="connsiteX358" fmla="*/ 223960 w 2206252"/>
                <a:gd name="connsiteY358" fmla="*/ 95302 h 1529606"/>
                <a:gd name="connsiteX359" fmla="*/ 233492 w 2206252"/>
                <a:gd name="connsiteY359" fmla="*/ 95302 h 1529606"/>
                <a:gd name="connsiteX360" fmla="*/ 252552 w 2206252"/>
                <a:gd name="connsiteY360" fmla="*/ 95302 h 1529606"/>
                <a:gd name="connsiteX361" fmla="*/ 266848 w 2206252"/>
                <a:gd name="connsiteY361" fmla="*/ 100068 h 1529606"/>
                <a:gd name="connsiteX362" fmla="*/ 276376 w 2206252"/>
                <a:gd name="connsiteY362" fmla="*/ 104832 h 1529606"/>
                <a:gd name="connsiteX363" fmla="*/ 309732 w 2206252"/>
                <a:gd name="connsiteY363" fmla="*/ 128658 h 1529606"/>
                <a:gd name="connsiteX364" fmla="*/ 338324 w 2206252"/>
                <a:gd name="connsiteY364" fmla="*/ 147718 h 1529606"/>
                <a:gd name="connsiteX365" fmla="*/ 366912 w 2206252"/>
                <a:gd name="connsiteY365" fmla="*/ 171544 h 1529606"/>
                <a:gd name="connsiteX366" fmla="*/ 376444 w 2206252"/>
                <a:gd name="connsiteY366" fmla="*/ 181074 h 1529606"/>
                <a:gd name="connsiteX367" fmla="*/ 381208 w 2206252"/>
                <a:gd name="connsiteY367" fmla="*/ 195370 h 1529606"/>
                <a:gd name="connsiteX368" fmla="*/ 381208 w 2206252"/>
                <a:gd name="connsiteY368" fmla="*/ 204900 h 1529606"/>
                <a:gd name="connsiteX369" fmla="*/ 405036 w 2206252"/>
                <a:gd name="connsiteY369" fmla="*/ 238256 h 1529606"/>
                <a:gd name="connsiteX370" fmla="*/ 414564 w 2206252"/>
                <a:gd name="connsiteY370" fmla="*/ 257316 h 1529606"/>
                <a:gd name="connsiteX371" fmla="*/ 428860 w 2206252"/>
                <a:gd name="connsiteY371" fmla="*/ 276378 h 1529606"/>
                <a:gd name="connsiteX372" fmla="*/ 438392 w 2206252"/>
                <a:gd name="connsiteY372" fmla="*/ 290672 h 1529606"/>
                <a:gd name="connsiteX373" fmla="*/ 452688 w 2206252"/>
                <a:gd name="connsiteY373" fmla="*/ 300204 h 1529606"/>
                <a:gd name="connsiteX374" fmla="*/ 457452 w 2206252"/>
                <a:gd name="connsiteY374" fmla="*/ 309734 h 1529606"/>
                <a:gd name="connsiteX375" fmla="*/ 466980 w 2206252"/>
                <a:gd name="connsiteY375" fmla="*/ 314498 h 1529606"/>
                <a:gd name="connsiteX376" fmla="*/ 476512 w 2206252"/>
                <a:gd name="connsiteY376" fmla="*/ 319264 h 1529606"/>
                <a:gd name="connsiteX377" fmla="*/ 495572 w 2206252"/>
                <a:gd name="connsiteY377" fmla="*/ 314498 h 1529606"/>
                <a:gd name="connsiteX378" fmla="*/ 519396 w 2206252"/>
                <a:gd name="connsiteY378" fmla="*/ 309734 h 1529606"/>
                <a:gd name="connsiteX379" fmla="*/ 538460 w 2206252"/>
                <a:gd name="connsiteY379" fmla="*/ 304968 h 1529606"/>
                <a:gd name="connsiteX380" fmla="*/ 543224 w 2206252"/>
                <a:gd name="connsiteY380" fmla="*/ 304968 h 1529606"/>
                <a:gd name="connsiteX381" fmla="*/ 586108 w 2206252"/>
                <a:gd name="connsiteY381" fmla="*/ 309734 h 1529606"/>
                <a:gd name="connsiteX382" fmla="*/ 619464 w 2206252"/>
                <a:gd name="connsiteY382" fmla="*/ 309734 h 1529606"/>
                <a:gd name="connsiteX383" fmla="*/ 667116 w 2206252"/>
                <a:gd name="connsiteY383" fmla="*/ 314498 h 1529606"/>
                <a:gd name="connsiteX384" fmla="*/ 681412 w 2206252"/>
                <a:gd name="connsiteY384" fmla="*/ 314498 h 1529606"/>
                <a:gd name="connsiteX385" fmla="*/ 695708 w 2206252"/>
                <a:gd name="connsiteY385" fmla="*/ 319264 h 1529606"/>
                <a:gd name="connsiteX386" fmla="*/ 705236 w 2206252"/>
                <a:gd name="connsiteY386" fmla="*/ 319264 h 1529606"/>
                <a:gd name="connsiteX387" fmla="*/ 710004 w 2206252"/>
                <a:gd name="connsiteY387" fmla="*/ 309734 h 1529606"/>
                <a:gd name="connsiteX388" fmla="*/ 719532 w 2206252"/>
                <a:gd name="connsiteY388" fmla="*/ 304968 h 1529606"/>
                <a:gd name="connsiteX389" fmla="*/ 719532 w 2206252"/>
                <a:gd name="connsiteY389" fmla="*/ 300204 h 1529606"/>
                <a:gd name="connsiteX390" fmla="*/ 719532 w 2206252"/>
                <a:gd name="connsiteY390" fmla="*/ 295438 h 1529606"/>
                <a:gd name="connsiteX391" fmla="*/ 714768 w 2206252"/>
                <a:gd name="connsiteY391" fmla="*/ 290672 h 1529606"/>
                <a:gd name="connsiteX392" fmla="*/ 705236 w 2206252"/>
                <a:gd name="connsiteY392" fmla="*/ 281142 h 1529606"/>
                <a:gd name="connsiteX393" fmla="*/ 700472 w 2206252"/>
                <a:gd name="connsiteY393" fmla="*/ 233492 h 1529606"/>
                <a:gd name="connsiteX394" fmla="*/ 695708 w 2206252"/>
                <a:gd name="connsiteY394" fmla="*/ 195370 h 1529606"/>
                <a:gd name="connsiteX395" fmla="*/ 705236 w 2206252"/>
                <a:gd name="connsiteY395" fmla="*/ 181074 h 1529606"/>
                <a:gd name="connsiteX396" fmla="*/ 714768 w 2206252"/>
                <a:gd name="connsiteY396" fmla="*/ 176310 h 1529606"/>
                <a:gd name="connsiteX397" fmla="*/ 710004 w 2206252"/>
                <a:gd name="connsiteY397" fmla="*/ 214430 h 1529606"/>
                <a:gd name="connsiteX398" fmla="*/ 710004 w 2206252"/>
                <a:gd name="connsiteY398" fmla="*/ 223962 h 1529606"/>
                <a:gd name="connsiteX399" fmla="*/ 729064 w 2206252"/>
                <a:gd name="connsiteY399" fmla="*/ 219196 h 1529606"/>
                <a:gd name="connsiteX400" fmla="*/ 743360 w 2206252"/>
                <a:gd name="connsiteY400" fmla="*/ 238256 h 1529606"/>
                <a:gd name="connsiteX401" fmla="*/ 757656 w 2206252"/>
                <a:gd name="connsiteY401" fmla="*/ 252552 h 1529606"/>
                <a:gd name="connsiteX402" fmla="*/ 771948 w 2206252"/>
                <a:gd name="connsiteY402" fmla="*/ 252552 h 1529606"/>
                <a:gd name="connsiteX403" fmla="*/ 786244 w 2206252"/>
                <a:gd name="connsiteY403" fmla="*/ 247786 h 1529606"/>
                <a:gd name="connsiteX404" fmla="*/ 810072 w 2206252"/>
                <a:gd name="connsiteY404" fmla="*/ 243022 h 1529606"/>
                <a:gd name="connsiteX405" fmla="*/ 829132 w 2206252"/>
                <a:gd name="connsiteY405" fmla="*/ 228726 h 1529606"/>
                <a:gd name="connsiteX406" fmla="*/ 838660 w 2206252"/>
                <a:gd name="connsiteY406" fmla="*/ 214430 h 1529606"/>
                <a:gd name="connsiteX407" fmla="*/ 833896 w 2206252"/>
                <a:gd name="connsiteY407" fmla="*/ 200136 h 1529606"/>
                <a:gd name="connsiteX408" fmla="*/ 810072 w 2206252"/>
                <a:gd name="connsiteY408" fmla="*/ 181074 h 1529606"/>
                <a:gd name="connsiteX409" fmla="*/ 810072 w 2206252"/>
                <a:gd name="connsiteY409" fmla="*/ 162014 h 1529606"/>
                <a:gd name="connsiteX410" fmla="*/ 800540 w 2206252"/>
                <a:gd name="connsiteY410" fmla="*/ 152484 h 1529606"/>
                <a:gd name="connsiteX411" fmla="*/ 800540 w 2206252"/>
                <a:gd name="connsiteY411" fmla="*/ 142954 h 1529606"/>
                <a:gd name="connsiteX412" fmla="*/ 800540 w 2206252"/>
                <a:gd name="connsiteY412" fmla="*/ 133424 h 1529606"/>
                <a:gd name="connsiteX413" fmla="*/ 800540 w 2206252"/>
                <a:gd name="connsiteY413" fmla="*/ 128658 h 1529606"/>
                <a:gd name="connsiteX414" fmla="*/ 810072 w 2206252"/>
                <a:gd name="connsiteY414" fmla="*/ 128658 h 1529606"/>
                <a:gd name="connsiteX415" fmla="*/ 829132 w 2206252"/>
                <a:gd name="connsiteY415" fmla="*/ 123894 h 1529606"/>
                <a:gd name="connsiteX416" fmla="*/ 833896 w 2206252"/>
                <a:gd name="connsiteY416" fmla="*/ 114364 h 1529606"/>
                <a:gd name="connsiteX417" fmla="*/ 848192 w 2206252"/>
                <a:gd name="connsiteY417" fmla="*/ 95302 h 1529606"/>
                <a:gd name="connsiteX418" fmla="*/ 848192 w 2206252"/>
                <a:gd name="connsiteY418" fmla="*/ 76242 h 1529606"/>
                <a:gd name="connsiteX419" fmla="*/ 857720 w 2206252"/>
                <a:gd name="connsiteY419" fmla="*/ 66712 h 1529606"/>
                <a:gd name="connsiteX420" fmla="*/ 862488 w 2206252"/>
                <a:gd name="connsiteY420" fmla="*/ 61946 h 1529606"/>
                <a:gd name="connsiteX421" fmla="*/ 872016 w 2206252"/>
                <a:gd name="connsiteY421" fmla="*/ 61946 h 1529606"/>
                <a:gd name="connsiteX422" fmla="*/ 886312 w 2206252"/>
                <a:gd name="connsiteY422" fmla="*/ 66712 h 1529606"/>
                <a:gd name="connsiteX423" fmla="*/ 895844 w 2206252"/>
                <a:gd name="connsiteY423" fmla="*/ 71476 h 1529606"/>
                <a:gd name="connsiteX424" fmla="*/ 900608 w 2206252"/>
                <a:gd name="connsiteY424" fmla="*/ 76242 h 1529606"/>
                <a:gd name="connsiteX425" fmla="*/ 910140 w 2206252"/>
                <a:gd name="connsiteY425" fmla="*/ 81008 h 1529606"/>
                <a:gd name="connsiteX426" fmla="*/ 914904 w 2206252"/>
                <a:gd name="connsiteY426" fmla="*/ 90538 h 1529606"/>
                <a:gd name="connsiteX427" fmla="*/ 919668 w 2206252"/>
                <a:gd name="connsiteY427" fmla="*/ 100068 h 1529606"/>
                <a:gd name="connsiteX428" fmla="*/ 919668 w 2206252"/>
                <a:gd name="connsiteY428" fmla="*/ 104832 h 1529606"/>
                <a:gd name="connsiteX429" fmla="*/ 929200 w 2206252"/>
                <a:gd name="connsiteY429" fmla="*/ 104832 h 1529606"/>
                <a:gd name="connsiteX430" fmla="*/ 933964 w 2206252"/>
                <a:gd name="connsiteY430" fmla="*/ 100068 h 1529606"/>
                <a:gd name="connsiteX431" fmla="*/ 933964 w 2206252"/>
                <a:gd name="connsiteY431" fmla="*/ 95302 h 1529606"/>
                <a:gd name="connsiteX432" fmla="*/ 924432 w 2206252"/>
                <a:gd name="connsiteY432" fmla="*/ 81008 h 1529606"/>
                <a:gd name="connsiteX433" fmla="*/ 905372 w 2206252"/>
                <a:gd name="connsiteY433" fmla="*/ 52416 h 1529606"/>
                <a:gd name="connsiteX434" fmla="*/ 891076 w 2206252"/>
                <a:gd name="connsiteY434" fmla="*/ 42886 h 1529606"/>
                <a:gd name="connsiteX435" fmla="*/ 881548 w 2206252"/>
                <a:gd name="connsiteY435" fmla="*/ 38122 h 1529606"/>
                <a:gd name="connsiteX436" fmla="*/ 881548 w 2206252"/>
                <a:gd name="connsiteY436" fmla="*/ 33356 h 1529606"/>
                <a:gd name="connsiteX437" fmla="*/ 891076 w 2206252"/>
                <a:gd name="connsiteY437" fmla="*/ 23826 h 1529606"/>
                <a:gd name="connsiteX438" fmla="*/ 900608 w 2206252"/>
                <a:gd name="connsiteY438" fmla="*/ 19060 h 1529606"/>
                <a:gd name="connsiteX439" fmla="*/ 914904 w 2206252"/>
                <a:gd name="connsiteY439" fmla="*/ 23826 h 1529606"/>
                <a:gd name="connsiteX440" fmla="*/ 933964 w 2206252"/>
                <a:gd name="connsiteY440" fmla="*/ 23826 h 1529606"/>
                <a:gd name="connsiteX441" fmla="*/ 943496 w 2206252"/>
                <a:gd name="connsiteY441" fmla="*/ 19060 h 1529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</a:cxnLst>
              <a:rect l="l" t="t" r="r" b="b"/>
              <a:pathLst>
                <a:path w="2206252" h="1529606">
                  <a:moveTo>
                    <a:pt x="85772" y="762420"/>
                  </a:moveTo>
                  <a:lnTo>
                    <a:pt x="90536" y="762420"/>
                  </a:lnTo>
                  <a:lnTo>
                    <a:pt x="85772" y="771950"/>
                  </a:lnTo>
                  <a:lnTo>
                    <a:pt x="95300" y="819602"/>
                  </a:lnTo>
                  <a:lnTo>
                    <a:pt x="95300" y="829132"/>
                  </a:lnTo>
                  <a:lnTo>
                    <a:pt x="85772" y="800542"/>
                  </a:lnTo>
                  <a:lnTo>
                    <a:pt x="81008" y="771950"/>
                  </a:lnTo>
                  <a:close/>
                  <a:moveTo>
                    <a:pt x="953024" y="0"/>
                  </a:moveTo>
                  <a:lnTo>
                    <a:pt x="972084" y="23826"/>
                  </a:lnTo>
                  <a:lnTo>
                    <a:pt x="995912" y="47652"/>
                  </a:lnTo>
                  <a:lnTo>
                    <a:pt x="1005440" y="52416"/>
                  </a:lnTo>
                  <a:lnTo>
                    <a:pt x="1019736" y="52416"/>
                  </a:lnTo>
                  <a:lnTo>
                    <a:pt x="1034032" y="52416"/>
                  </a:lnTo>
                  <a:lnTo>
                    <a:pt x="1038796" y="57182"/>
                  </a:lnTo>
                  <a:lnTo>
                    <a:pt x="1048328" y="61946"/>
                  </a:lnTo>
                  <a:lnTo>
                    <a:pt x="1057856" y="90538"/>
                  </a:lnTo>
                  <a:lnTo>
                    <a:pt x="1072152" y="95302"/>
                  </a:lnTo>
                  <a:lnTo>
                    <a:pt x="1086448" y="100068"/>
                  </a:lnTo>
                  <a:lnTo>
                    <a:pt x="1134100" y="100068"/>
                  </a:lnTo>
                  <a:lnTo>
                    <a:pt x="1148396" y="100068"/>
                  </a:lnTo>
                  <a:lnTo>
                    <a:pt x="1162692" y="114364"/>
                  </a:lnTo>
                  <a:lnTo>
                    <a:pt x="1167456" y="119128"/>
                  </a:lnTo>
                  <a:lnTo>
                    <a:pt x="1172220" y="123894"/>
                  </a:lnTo>
                  <a:lnTo>
                    <a:pt x="1172220" y="128658"/>
                  </a:lnTo>
                  <a:lnTo>
                    <a:pt x="1167456" y="138188"/>
                  </a:lnTo>
                  <a:lnTo>
                    <a:pt x="1167456" y="152484"/>
                  </a:lnTo>
                  <a:lnTo>
                    <a:pt x="1167456" y="162014"/>
                  </a:lnTo>
                  <a:lnTo>
                    <a:pt x="1162692" y="166780"/>
                  </a:lnTo>
                  <a:lnTo>
                    <a:pt x="1162692" y="171544"/>
                  </a:lnTo>
                  <a:lnTo>
                    <a:pt x="1167456" y="176310"/>
                  </a:lnTo>
                  <a:lnTo>
                    <a:pt x="1186516" y="185840"/>
                  </a:lnTo>
                  <a:lnTo>
                    <a:pt x="1196048" y="195370"/>
                  </a:lnTo>
                  <a:lnTo>
                    <a:pt x="1200812" y="200136"/>
                  </a:lnTo>
                  <a:lnTo>
                    <a:pt x="1200812" y="204900"/>
                  </a:lnTo>
                  <a:lnTo>
                    <a:pt x="1196048" y="209666"/>
                  </a:lnTo>
                  <a:lnTo>
                    <a:pt x="1186516" y="209666"/>
                  </a:lnTo>
                  <a:lnTo>
                    <a:pt x="1181752" y="214430"/>
                  </a:lnTo>
                  <a:lnTo>
                    <a:pt x="1181752" y="228726"/>
                  </a:lnTo>
                  <a:lnTo>
                    <a:pt x="1191280" y="238256"/>
                  </a:lnTo>
                  <a:lnTo>
                    <a:pt x="1191280" y="247786"/>
                  </a:lnTo>
                  <a:lnTo>
                    <a:pt x="1186516" y="262082"/>
                  </a:lnTo>
                  <a:lnTo>
                    <a:pt x="1181752" y="276378"/>
                  </a:lnTo>
                  <a:lnTo>
                    <a:pt x="1181752" y="285908"/>
                  </a:lnTo>
                  <a:lnTo>
                    <a:pt x="1186516" y="290672"/>
                  </a:lnTo>
                  <a:lnTo>
                    <a:pt x="1200812" y="300204"/>
                  </a:lnTo>
                  <a:lnTo>
                    <a:pt x="1243696" y="328794"/>
                  </a:lnTo>
                  <a:lnTo>
                    <a:pt x="1253228" y="328794"/>
                  </a:lnTo>
                  <a:lnTo>
                    <a:pt x="1286584" y="324028"/>
                  </a:lnTo>
                  <a:lnTo>
                    <a:pt x="1305644" y="324028"/>
                  </a:lnTo>
                  <a:lnTo>
                    <a:pt x="1315176" y="324028"/>
                  </a:lnTo>
                  <a:lnTo>
                    <a:pt x="1343764" y="328794"/>
                  </a:lnTo>
                  <a:lnTo>
                    <a:pt x="1353296" y="333558"/>
                  </a:lnTo>
                  <a:lnTo>
                    <a:pt x="1362824" y="333558"/>
                  </a:lnTo>
                  <a:lnTo>
                    <a:pt x="1377120" y="333558"/>
                  </a:lnTo>
                  <a:lnTo>
                    <a:pt x="1386652" y="319264"/>
                  </a:lnTo>
                  <a:lnTo>
                    <a:pt x="1391416" y="319264"/>
                  </a:lnTo>
                  <a:lnTo>
                    <a:pt x="1396180" y="314498"/>
                  </a:lnTo>
                  <a:lnTo>
                    <a:pt x="1405712" y="314498"/>
                  </a:lnTo>
                  <a:lnTo>
                    <a:pt x="1429536" y="324028"/>
                  </a:lnTo>
                  <a:lnTo>
                    <a:pt x="1453364" y="338324"/>
                  </a:lnTo>
                  <a:lnTo>
                    <a:pt x="1467660" y="352620"/>
                  </a:lnTo>
                  <a:lnTo>
                    <a:pt x="1477188" y="366914"/>
                  </a:lnTo>
                  <a:lnTo>
                    <a:pt x="1486720" y="395506"/>
                  </a:lnTo>
                  <a:lnTo>
                    <a:pt x="1496248" y="438392"/>
                  </a:lnTo>
                  <a:lnTo>
                    <a:pt x="1515308" y="466982"/>
                  </a:lnTo>
                  <a:lnTo>
                    <a:pt x="1529604" y="481278"/>
                  </a:lnTo>
                  <a:lnTo>
                    <a:pt x="1543900" y="509868"/>
                  </a:lnTo>
                  <a:lnTo>
                    <a:pt x="1553432" y="571816"/>
                  </a:lnTo>
                  <a:lnTo>
                    <a:pt x="1558196" y="586110"/>
                  </a:lnTo>
                  <a:lnTo>
                    <a:pt x="1567724" y="590876"/>
                  </a:lnTo>
                  <a:lnTo>
                    <a:pt x="1586788" y="605172"/>
                  </a:lnTo>
                  <a:lnTo>
                    <a:pt x="1624908" y="638528"/>
                  </a:lnTo>
                  <a:lnTo>
                    <a:pt x="1648732" y="652822"/>
                  </a:lnTo>
                  <a:lnTo>
                    <a:pt x="1686856" y="681414"/>
                  </a:lnTo>
                  <a:lnTo>
                    <a:pt x="1720208" y="705238"/>
                  </a:lnTo>
                  <a:lnTo>
                    <a:pt x="1753564" y="743360"/>
                  </a:lnTo>
                  <a:lnTo>
                    <a:pt x="1758332" y="748126"/>
                  </a:lnTo>
                  <a:lnTo>
                    <a:pt x="1786920" y="767186"/>
                  </a:lnTo>
                  <a:lnTo>
                    <a:pt x="1820276" y="791012"/>
                  </a:lnTo>
                  <a:lnTo>
                    <a:pt x="1844104" y="786246"/>
                  </a:lnTo>
                  <a:lnTo>
                    <a:pt x="1877460" y="819602"/>
                  </a:lnTo>
                  <a:lnTo>
                    <a:pt x="1891756" y="829132"/>
                  </a:lnTo>
                  <a:lnTo>
                    <a:pt x="1896520" y="833898"/>
                  </a:lnTo>
                  <a:lnTo>
                    <a:pt x="1925112" y="848192"/>
                  </a:lnTo>
                  <a:lnTo>
                    <a:pt x="1963232" y="872018"/>
                  </a:lnTo>
                  <a:lnTo>
                    <a:pt x="2015648" y="910140"/>
                  </a:lnTo>
                  <a:lnTo>
                    <a:pt x="2049004" y="933966"/>
                  </a:lnTo>
                  <a:lnTo>
                    <a:pt x="2058536" y="933966"/>
                  </a:lnTo>
                  <a:lnTo>
                    <a:pt x="2068064" y="933966"/>
                  </a:lnTo>
                  <a:lnTo>
                    <a:pt x="2077596" y="929200"/>
                  </a:lnTo>
                  <a:lnTo>
                    <a:pt x="2087124" y="929200"/>
                  </a:lnTo>
                  <a:lnTo>
                    <a:pt x="2106184" y="933966"/>
                  </a:lnTo>
                  <a:lnTo>
                    <a:pt x="2125244" y="938730"/>
                  </a:lnTo>
                  <a:lnTo>
                    <a:pt x="2134776" y="948260"/>
                  </a:lnTo>
                  <a:lnTo>
                    <a:pt x="2149072" y="957790"/>
                  </a:lnTo>
                  <a:lnTo>
                    <a:pt x="2158600" y="967320"/>
                  </a:lnTo>
                  <a:lnTo>
                    <a:pt x="2168132" y="972086"/>
                  </a:lnTo>
                  <a:lnTo>
                    <a:pt x="2196724" y="976852"/>
                  </a:lnTo>
                  <a:lnTo>
                    <a:pt x="2201488" y="981616"/>
                  </a:lnTo>
                  <a:lnTo>
                    <a:pt x="2206252" y="991146"/>
                  </a:lnTo>
                  <a:lnTo>
                    <a:pt x="2206252" y="995912"/>
                  </a:lnTo>
                  <a:lnTo>
                    <a:pt x="2191956" y="1024502"/>
                  </a:lnTo>
                  <a:lnTo>
                    <a:pt x="2187192" y="1057858"/>
                  </a:lnTo>
                  <a:lnTo>
                    <a:pt x="2187192" y="1086450"/>
                  </a:lnTo>
                  <a:lnTo>
                    <a:pt x="2191956" y="1110274"/>
                  </a:lnTo>
                  <a:lnTo>
                    <a:pt x="2182428" y="1110274"/>
                  </a:lnTo>
                  <a:lnTo>
                    <a:pt x="2163368" y="1105510"/>
                  </a:lnTo>
                  <a:lnTo>
                    <a:pt x="2125244" y="1095980"/>
                  </a:lnTo>
                  <a:lnTo>
                    <a:pt x="2091888" y="1076918"/>
                  </a:lnTo>
                  <a:lnTo>
                    <a:pt x="2072828" y="1067388"/>
                  </a:lnTo>
                  <a:lnTo>
                    <a:pt x="2068064" y="1067388"/>
                  </a:lnTo>
                  <a:lnTo>
                    <a:pt x="2058536" y="1076918"/>
                  </a:lnTo>
                  <a:lnTo>
                    <a:pt x="2053768" y="1086450"/>
                  </a:lnTo>
                  <a:lnTo>
                    <a:pt x="2049004" y="1105510"/>
                  </a:lnTo>
                  <a:lnTo>
                    <a:pt x="2039472" y="1129336"/>
                  </a:lnTo>
                  <a:lnTo>
                    <a:pt x="2001352" y="1129336"/>
                  </a:lnTo>
                  <a:lnTo>
                    <a:pt x="1967996" y="1129336"/>
                  </a:lnTo>
                  <a:lnTo>
                    <a:pt x="1944172" y="1138866"/>
                  </a:lnTo>
                  <a:lnTo>
                    <a:pt x="1925112" y="1153160"/>
                  </a:lnTo>
                  <a:lnTo>
                    <a:pt x="1915580" y="1167456"/>
                  </a:lnTo>
                  <a:lnTo>
                    <a:pt x="1915580" y="1186516"/>
                  </a:lnTo>
                  <a:lnTo>
                    <a:pt x="1901284" y="1224638"/>
                  </a:lnTo>
                  <a:lnTo>
                    <a:pt x="1891756" y="1262758"/>
                  </a:lnTo>
                  <a:lnTo>
                    <a:pt x="1882224" y="1291350"/>
                  </a:lnTo>
                  <a:lnTo>
                    <a:pt x="1877460" y="1305646"/>
                  </a:lnTo>
                  <a:lnTo>
                    <a:pt x="1853632" y="1329470"/>
                  </a:lnTo>
                  <a:lnTo>
                    <a:pt x="1825044" y="1343766"/>
                  </a:lnTo>
                  <a:lnTo>
                    <a:pt x="1810748" y="1348532"/>
                  </a:lnTo>
                  <a:lnTo>
                    <a:pt x="1805984" y="1358062"/>
                  </a:lnTo>
                  <a:lnTo>
                    <a:pt x="1801216" y="1367592"/>
                  </a:lnTo>
                  <a:lnTo>
                    <a:pt x="1796452" y="1367592"/>
                  </a:lnTo>
                  <a:lnTo>
                    <a:pt x="1786920" y="1367592"/>
                  </a:lnTo>
                  <a:lnTo>
                    <a:pt x="1772628" y="1367592"/>
                  </a:lnTo>
                  <a:lnTo>
                    <a:pt x="1748800" y="1377122"/>
                  </a:lnTo>
                  <a:lnTo>
                    <a:pt x="1720208" y="1386652"/>
                  </a:lnTo>
                  <a:lnTo>
                    <a:pt x="1686856" y="1400948"/>
                  </a:lnTo>
                  <a:lnTo>
                    <a:pt x="1667792" y="1400948"/>
                  </a:lnTo>
                  <a:lnTo>
                    <a:pt x="1658264" y="1400948"/>
                  </a:lnTo>
                  <a:lnTo>
                    <a:pt x="1658264" y="1405712"/>
                  </a:lnTo>
                  <a:lnTo>
                    <a:pt x="1658264" y="1415242"/>
                  </a:lnTo>
                  <a:lnTo>
                    <a:pt x="1663028" y="1424774"/>
                  </a:lnTo>
                  <a:lnTo>
                    <a:pt x="1667792" y="1434304"/>
                  </a:lnTo>
                  <a:lnTo>
                    <a:pt x="1658264" y="1443834"/>
                  </a:lnTo>
                  <a:lnTo>
                    <a:pt x="1653500" y="1453364"/>
                  </a:lnTo>
                  <a:lnTo>
                    <a:pt x="1648732" y="1477190"/>
                  </a:lnTo>
                  <a:lnTo>
                    <a:pt x="1634436" y="1486720"/>
                  </a:lnTo>
                  <a:lnTo>
                    <a:pt x="1615376" y="1496250"/>
                  </a:lnTo>
                  <a:lnTo>
                    <a:pt x="1596316" y="1510546"/>
                  </a:lnTo>
                  <a:lnTo>
                    <a:pt x="1591552" y="1515310"/>
                  </a:lnTo>
                  <a:lnTo>
                    <a:pt x="1577256" y="1520076"/>
                  </a:lnTo>
                  <a:lnTo>
                    <a:pt x="1567724" y="1520076"/>
                  </a:lnTo>
                  <a:lnTo>
                    <a:pt x="1558196" y="1515310"/>
                  </a:lnTo>
                  <a:lnTo>
                    <a:pt x="1543900" y="1520076"/>
                  </a:lnTo>
                  <a:lnTo>
                    <a:pt x="1529604" y="1529606"/>
                  </a:lnTo>
                  <a:lnTo>
                    <a:pt x="1524840" y="1529606"/>
                  </a:lnTo>
                  <a:lnTo>
                    <a:pt x="1524840" y="1515310"/>
                  </a:lnTo>
                  <a:lnTo>
                    <a:pt x="1515308" y="1510546"/>
                  </a:lnTo>
                  <a:lnTo>
                    <a:pt x="1496248" y="1491486"/>
                  </a:lnTo>
                  <a:lnTo>
                    <a:pt x="1481952" y="1477190"/>
                  </a:lnTo>
                  <a:lnTo>
                    <a:pt x="1472424" y="1477190"/>
                  </a:lnTo>
                  <a:lnTo>
                    <a:pt x="1458128" y="1481954"/>
                  </a:lnTo>
                  <a:lnTo>
                    <a:pt x="1439068" y="1481954"/>
                  </a:lnTo>
                  <a:lnTo>
                    <a:pt x="1424772" y="1481954"/>
                  </a:lnTo>
                  <a:lnTo>
                    <a:pt x="1410476" y="1477190"/>
                  </a:lnTo>
                  <a:lnTo>
                    <a:pt x="1391416" y="1458130"/>
                  </a:lnTo>
                  <a:lnTo>
                    <a:pt x="1386652" y="1448598"/>
                  </a:lnTo>
                  <a:lnTo>
                    <a:pt x="1381888" y="1443834"/>
                  </a:lnTo>
                  <a:lnTo>
                    <a:pt x="1367592" y="1443834"/>
                  </a:lnTo>
                  <a:lnTo>
                    <a:pt x="1362824" y="1439068"/>
                  </a:lnTo>
                  <a:lnTo>
                    <a:pt x="1362824" y="1429538"/>
                  </a:lnTo>
                  <a:lnTo>
                    <a:pt x="1367592" y="1415242"/>
                  </a:lnTo>
                  <a:lnTo>
                    <a:pt x="1367592" y="1396182"/>
                  </a:lnTo>
                  <a:lnTo>
                    <a:pt x="1358060" y="1381886"/>
                  </a:lnTo>
                  <a:lnTo>
                    <a:pt x="1353296" y="1377122"/>
                  </a:lnTo>
                  <a:lnTo>
                    <a:pt x="1353296" y="1372356"/>
                  </a:lnTo>
                  <a:lnTo>
                    <a:pt x="1353296" y="1362826"/>
                  </a:lnTo>
                  <a:lnTo>
                    <a:pt x="1362824" y="1353296"/>
                  </a:lnTo>
                  <a:lnTo>
                    <a:pt x="1362824" y="1334236"/>
                  </a:lnTo>
                  <a:lnTo>
                    <a:pt x="1353296" y="1315176"/>
                  </a:lnTo>
                  <a:lnTo>
                    <a:pt x="1353296" y="1286584"/>
                  </a:lnTo>
                  <a:lnTo>
                    <a:pt x="1353296" y="1262758"/>
                  </a:lnTo>
                  <a:lnTo>
                    <a:pt x="1343764" y="1248464"/>
                  </a:lnTo>
                  <a:lnTo>
                    <a:pt x="1281820" y="1248464"/>
                  </a:lnTo>
                  <a:lnTo>
                    <a:pt x="1224636" y="1248464"/>
                  </a:lnTo>
                  <a:lnTo>
                    <a:pt x="1219872" y="1243698"/>
                  </a:lnTo>
                  <a:lnTo>
                    <a:pt x="1200812" y="1210342"/>
                  </a:lnTo>
                  <a:lnTo>
                    <a:pt x="1181752" y="1186516"/>
                  </a:lnTo>
                  <a:lnTo>
                    <a:pt x="1162692" y="1167456"/>
                  </a:lnTo>
                  <a:lnTo>
                    <a:pt x="1124568" y="1148396"/>
                  </a:lnTo>
                  <a:lnTo>
                    <a:pt x="1100744" y="1143630"/>
                  </a:lnTo>
                  <a:lnTo>
                    <a:pt x="1086448" y="1129336"/>
                  </a:lnTo>
                  <a:lnTo>
                    <a:pt x="1072152" y="1110274"/>
                  </a:lnTo>
                  <a:lnTo>
                    <a:pt x="1067388" y="1091214"/>
                  </a:lnTo>
                  <a:lnTo>
                    <a:pt x="1067388" y="1081684"/>
                  </a:lnTo>
                  <a:lnTo>
                    <a:pt x="1062624" y="1076918"/>
                  </a:lnTo>
                  <a:lnTo>
                    <a:pt x="1057856" y="1076918"/>
                  </a:lnTo>
                  <a:lnTo>
                    <a:pt x="1053092" y="1076918"/>
                  </a:lnTo>
                  <a:lnTo>
                    <a:pt x="1005440" y="1048328"/>
                  </a:lnTo>
                  <a:lnTo>
                    <a:pt x="986380" y="1043562"/>
                  </a:lnTo>
                  <a:lnTo>
                    <a:pt x="967320" y="1048328"/>
                  </a:lnTo>
                  <a:lnTo>
                    <a:pt x="957788" y="1048328"/>
                  </a:lnTo>
                  <a:lnTo>
                    <a:pt x="943496" y="1043562"/>
                  </a:lnTo>
                  <a:lnTo>
                    <a:pt x="929200" y="1053094"/>
                  </a:lnTo>
                  <a:lnTo>
                    <a:pt x="919668" y="1053094"/>
                  </a:lnTo>
                  <a:lnTo>
                    <a:pt x="910140" y="1053094"/>
                  </a:lnTo>
                  <a:lnTo>
                    <a:pt x="900608" y="1048328"/>
                  </a:lnTo>
                  <a:lnTo>
                    <a:pt x="876784" y="1024502"/>
                  </a:lnTo>
                  <a:lnTo>
                    <a:pt x="857720" y="1014972"/>
                  </a:lnTo>
                  <a:lnTo>
                    <a:pt x="843428" y="1010208"/>
                  </a:lnTo>
                  <a:lnTo>
                    <a:pt x="814836" y="1000676"/>
                  </a:lnTo>
                  <a:lnTo>
                    <a:pt x="781480" y="995912"/>
                  </a:lnTo>
                  <a:lnTo>
                    <a:pt x="767184" y="991146"/>
                  </a:lnTo>
                  <a:lnTo>
                    <a:pt x="757656" y="986382"/>
                  </a:lnTo>
                  <a:lnTo>
                    <a:pt x="752888" y="981616"/>
                  </a:lnTo>
                  <a:lnTo>
                    <a:pt x="752888" y="972086"/>
                  </a:lnTo>
                  <a:lnTo>
                    <a:pt x="752888" y="962556"/>
                  </a:lnTo>
                  <a:lnTo>
                    <a:pt x="748124" y="953026"/>
                  </a:lnTo>
                  <a:lnTo>
                    <a:pt x="743360" y="943496"/>
                  </a:lnTo>
                  <a:lnTo>
                    <a:pt x="733828" y="938730"/>
                  </a:lnTo>
                  <a:lnTo>
                    <a:pt x="714768" y="938730"/>
                  </a:lnTo>
                  <a:lnTo>
                    <a:pt x="686176" y="938730"/>
                  </a:lnTo>
                  <a:lnTo>
                    <a:pt x="667116" y="929200"/>
                  </a:lnTo>
                  <a:lnTo>
                    <a:pt x="652820" y="929200"/>
                  </a:lnTo>
                  <a:lnTo>
                    <a:pt x="628996" y="929200"/>
                  </a:lnTo>
                  <a:lnTo>
                    <a:pt x="614700" y="929200"/>
                  </a:lnTo>
                  <a:lnTo>
                    <a:pt x="605172" y="938730"/>
                  </a:lnTo>
                  <a:lnTo>
                    <a:pt x="595640" y="943496"/>
                  </a:lnTo>
                  <a:lnTo>
                    <a:pt x="590876" y="962556"/>
                  </a:lnTo>
                  <a:lnTo>
                    <a:pt x="581344" y="967320"/>
                  </a:lnTo>
                  <a:lnTo>
                    <a:pt x="571816" y="967320"/>
                  </a:lnTo>
                  <a:lnTo>
                    <a:pt x="552752" y="967320"/>
                  </a:lnTo>
                  <a:lnTo>
                    <a:pt x="519396" y="962556"/>
                  </a:lnTo>
                  <a:lnTo>
                    <a:pt x="481276" y="962556"/>
                  </a:lnTo>
                  <a:lnTo>
                    <a:pt x="447920" y="972086"/>
                  </a:lnTo>
                  <a:lnTo>
                    <a:pt x="424096" y="986382"/>
                  </a:lnTo>
                  <a:lnTo>
                    <a:pt x="400268" y="1000676"/>
                  </a:lnTo>
                  <a:lnTo>
                    <a:pt x="376444" y="1024502"/>
                  </a:lnTo>
                  <a:lnTo>
                    <a:pt x="366912" y="1034032"/>
                  </a:lnTo>
                  <a:lnTo>
                    <a:pt x="352620" y="1076918"/>
                  </a:lnTo>
                  <a:lnTo>
                    <a:pt x="343088" y="1086450"/>
                  </a:lnTo>
                  <a:lnTo>
                    <a:pt x="333556" y="1091214"/>
                  </a:lnTo>
                  <a:lnTo>
                    <a:pt x="324028" y="1091214"/>
                  </a:lnTo>
                  <a:lnTo>
                    <a:pt x="304968" y="1095980"/>
                  </a:lnTo>
                  <a:lnTo>
                    <a:pt x="281140" y="1110274"/>
                  </a:lnTo>
                  <a:lnTo>
                    <a:pt x="262080" y="1110274"/>
                  </a:lnTo>
                  <a:lnTo>
                    <a:pt x="219196" y="1110274"/>
                  </a:lnTo>
                  <a:lnTo>
                    <a:pt x="219196" y="1095980"/>
                  </a:lnTo>
                  <a:lnTo>
                    <a:pt x="209664" y="1048328"/>
                  </a:lnTo>
                  <a:lnTo>
                    <a:pt x="204900" y="995912"/>
                  </a:lnTo>
                  <a:lnTo>
                    <a:pt x="204900" y="972086"/>
                  </a:lnTo>
                  <a:lnTo>
                    <a:pt x="209664" y="924434"/>
                  </a:lnTo>
                  <a:lnTo>
                    <a:pt x="209664" y="900610"/>
                  </a:lnTo>
                  <a:lnTo>
                    <a:pt x="209664" y="876784"/>
                  </a:lnTo>
                  <a:lnTo>
                    <a:pt x="209664" y="857722"/>
                  </a:lnTo>
                  <a:lnTo>
                    <a:pt x="214428" y="833898"/>
                  </a:lnTo>
                  <a:lnTo>
                    <a:pt x="214428" y="810072"/>
                  </a:lnTo>
                  <a:lnTo>
                    <a:pt x="214428" y="791012"/>
                  </a:lnTo>
                  <a:lnTo>
                    <a:pt x="204900" y="776716"/>
                  </a:lnTo>
                  <a:lnTo>
                    <a:pt x="190604" y="762420"/>
                  </a:lnTo>
                  <a:lnTo>
                    <a:pt x="190604" y="748126"/>
                  </a:lnTo>
                  <a:lnTo>
                    <a:pt x="185840" y="738594"/>
                  </a:lnTo>
                  <a:lnTo>
                    <a:pt x="176308" y="738594"/>
                  </a:lnTo>
                  <a:lnTo>
                    <a:pt x="162012" y="724300"/>
                  </a:lnTo>
                  <a:lnTo>
                    <a:pt x="152484" y="719534"/>
                  </a:lnTo>
                  <a:lnTo>
                    <a:pt x="128656" y="710004"/>
                  </a:lnTo>
                  <a:lnTo>
                    <a:pt x="119128" y="710004"/>
                  </a:lnTo>
                  <a:lnTo>
                    <a:pt x="109596" y="719534"/>
                  </a:lnTo>
                  <a:lnTo>
                    <a:pt x="104832" y="729064"/>
                  </a:lnTo>
                  <a:lnTo>
                    <a:pt x="95300" y="710004"/>
                  </a:lnTo>
                  <a:lnTo>
                    <a:pt x="95300" y="695708"/>
                  </a:lnTo>
                  <a:lnTo>
                    <a:pt x="114364" y="657588"/>
                  </a:lnTo>
                  <a:lnTo>
                    <a:pt x="123892" y="667118"/>
                  </a:lnTo>
                  <a:lnTo>
                    <a:pt x="138188" y="671882"/>
                  </a:lnTo>
                  <a:lnTo>
                    <a:pt x="157248" y="671882"/>
                  </a:lnTo>
                  <a:lnTo>
                    <a:pt x="171544" y="671882"/>
                  </a:lnTo>
                  <a:lnTo>
                    <a:pt x="166780" y="657588"/>
                  </a:lnTo>
                  <a:lnTo>
                    <a:pt x="162012" y="652822"/>
                  </a:lnTo>
                  <a:lnTo>
                    <a:pt x="152484" y="648058"/>
                  </a:lnTo>
                  <a:lnTo>
                    <a:pt x="147716" y="628996"/>
                  </a:lnTo>
                  <a:lnTo>
                    <a:pt x="147716" y="614702"/>
                  </a:lnTo>
                  <a:lnTo>
                    <a:pt x="152484" y="595640"/>
                  </a:lnTo>
                  <a:lnTo>
                    <a:pt x="147716" y="590876"/>
                  </a:lnTo>
                  <a:lnTo>
                    <a:pt x="142952" y="586110"/>
                  </a:lnTo>
                  <a:lnTo>
                    <a:pt x="123892" y="586110"/>
                  </a:lnTo>
                  <a:lnTo>
                    <a:pt x="100068" y="581346"/>
                  </a:lnTo>
                  <a:lnTo>
                    <a:pt x="76240" y="581346"/>
                  </a:lnTo>
                  <a:lnTo>
                    <a:pt x="71476" y="600406"/>
                  </a:lnTo>
                  <a:lnTo>
                    <a:pt x="81008" y="624232"/>
                  </a:lnTo>
                  <a:lnTo>
                    <a:pt x="71476" y="614702"/>
                  </a:lnTo>
                  <a:lnTo>
                    <a:pt x="61944" y="595640"/>
                  </a:lnTo>
                  <a:lnTo>
                    <a:pt x="47652" y="567050"/>
                  </a:lnTo>
                  <a:lnTo>
                    <a:pt x="38120" y="533694"/>
                  </a:lnTo>
                  <a:lnTo>
                    <a:pt x="38120" y="495574"/>
                  </a:lnTo>
                  <a:lnTo>
                    <a:pt x="42884" y="466982"/>
                  </a:lnTo>
                  <a:lnTo>
                    <a:pt x="52416" y="438392"/>
                  </a:lnTo>
                  <a:lnTo>
                    <a:pt x="61944" y="400270"/>
                  </a:lnTo>
                  <a:lnTo>
                    <a:pt x="66712" y="366914"/>
                  </a:lnTo>
                  <a:lnTo>
                    <a:pt x="76240" y="381210"/>
                  </a:lnTo>
                  <a:lnTo>
                    <a:pt x="85772" y="395506"/>
                  </a:lnTo>
                  <a:lnTo>
                    <a:pt x="100068" y="409802"/>
                  </a:lnTo>
                  <a:lnTo>
                    <a:pt x="109596" y="414566"/>
                  </a:lnTo>
                  <a:lnTo>
                    <a:pt x="128656" y="419332"/>
                  </a:lnTo>
                  <a:lnTo>
                    <a:pt x="142952" y="414566"/>
                  </a:lnTo>
                  <a:lnTo>
                    <a:pt x="157248" y="409802"/>
                  </a:lnTo>
                  <a:lnTo>
                    <a:pt x="171544" y="409802"/>
                  </a:lnTo>
                  <a:lnTo>
                    <a:pt x="185840" y="424096"/>
                  </a:lnTo>
                  <a:lnTo>
                    <a:pt x="195368" y="443156"/>
                  </a:lnTo>
                  <a:lnTo>
                    <a:pt x="214428" y="447922"/>
                  </a:lnTo>
                  <a:lnTo>
                    <a:pt x="247784" y="433626"/>
                  </a:lnTo>
                  <a:lnTo>
                    <a:pt x="262080" y="428862"/>
                  </a:lnTo>
                  <a:lnTo>
                    <a:pt x="276376" y="438392"/>
                  </a:lnTo>
                  <a:lnTo>
                    <a:pt x="285908" y="438392"/>
                  </a:lnTo>
                  <a:lnTo>
                    <a:pt x="290672" y="438392"/>
                  </a:lnTo>
                  <a:lnTo>
                    <a:pt x="285908" y="424096"/>
                  </a:lnTo>
                  <a:lnTo>
                    <a:pt x="285908" y="409802"/>
                  </a:lnTo>
                  <a:lnTo>
                    <a:pt x="290672" y="400270"/>
                  </a:lnTo>
                  <a:lnTo>
                    <a:pt x="319264" y="409802"/>
                  </a:lnTo>
                  <a:lnTo>
                    <a:pt x="338324" y="405036"/>
                  </a:lnTo>
                  <a:lnTo>
                    <a:pt x="343088" y="400270"/>
                  </a:lnTo>
                  <a:lnTo>
                    <a:pt x="343088" y="395506"/>
                  </a:lnTo>
                  <a:lnTo>
                    <a:pt x="347852" y="385976"/>
                  </a:lnTo>
                  <a:lnTo>
                    <a:pt x="347852" y="371680"/>
                  </a:lnTo>
                  <a:lnTo>
                    <a:pt x="343088" y="357384"/>
                  </a:lnTo>
                  <a:lnTo>
                    <a:pt x="338324" y="347854"/>
                  </a:lnTo>
                  <a:lnTo>
                    <a:pt x="328792" y="333558"/>
                  </a:lnTo>
                  <a:lnTo>
                    <a:pt x="276376" y="295438"/>
                  </a:lnTo>
                  <a:lnTo>
                    <a:pt x="262080" y="285908"/>
                  </a:lnTo>
                  <a:lnTo>
                    <a:pt x="247784" y="266848"/>
                  </a:lnTo>
                  <a:lnTo>
                    <a:pt x="238256" y="238256"/>
                  </a:lnTo>
                  <a:lnTo>
                    <a:pt x="233492" y="214430"/>
                  </a:lnTo>
                  <a:lnTo>
                    <a:pt x="228724" y="190606"/>
                  </a:lnTo>
                  <a:lnTo>
                    <a:pt x="209664" y="142954"/>
                  </a:lnTo>
                  <a:lnTo>
                    <a:pt x="204900" y="138188"/>
                  </a:lnTo>
                  <a:lnTo>
                    <a:pt x="195368" y="138188"/>
                  </a:lnTo>
                  <a:lnTo>
                    <a:pt x="176308" y="138188"/>
                  </a:lnTo>
                  <a:lnTo>
                    <a:pt x="157248" y="138188"/>
                  </a:lnTo>
                  <a:lnTo>
                    <a:pt x="123892" y="147718"/>
                  </a:lnTo>
                  <a:lnTo>
                    <a:pt x="104832" y="142954"/>
                  </a:lnTo>
                  <a:lnTo>
                    <a:pt x="95300" y="152484"/>
                  </a:lnTo>
                  <a:lnTo>
                    <a:pt x="71476" y="171544"/>
                  </a:lnTo>
                  <a:lnTo>
                    <a:pt x="61944" y="185840"/>
                  </a:lnTo>
                  <a:lnTo>
                    <a:pt x="47652" y="223962"/>
                  </a:lnTo>
                  <a:lnTo>
                    <a:pt x="57180" y="238256"/>
                  </a:lnTo>
                  <a:lnTo>
                    <a:pt x="57180" y="247786"/>
                  </a:lnTo>
                  <a:lnTo>
                    <a:pt x="52416" y="300204"/>
                  </a:lnTo>
                  <a:lnTo>
                    <a:pt x="57180" y="328794"/>
                  </a:lnTo>
                  <a:lnTo>
                    <a:pt x="52416" y="333558"/>
                  </a:lnTo>
                  <a:lnTo>
                    <a:pt x="52416" y="324028"/>
                  </a:lnTo>
                  <a:lnTo>
                    <a:pt x="38120" y="295438"/>
                  </a:lnTo>
                  <a:lnTo>
                    <a:pt x="14296" y="262082"/>
                  </a:lnTo>
                  <a:lnTo>
                    <a:pt x="0" y="209666"/>
                  </a:lnTo>
                  <a:lnTo>
                    <a:pt x="28588" y="176310"/>
                  </a:lnTo>
                  <a:lnTo>
                    <a:pt x="57180" y="152484"/>
                  </a:lnTo>
                  <a:lnTo>
                    <a:pt x="81008" y="138188"/>
                  </a:lnTo>
                  <a:lnTo>
                    <a:pt x="85772" y="133424"/>
                  </a:lnTo>
                  <a:lnTo>
                    <a:pt x="114364" y="119128"/>
                  </a:lnTo>
                  <a:lnTo>
                    <a:pt x="157248" y="109598"/>
                  </a:lnTo>
                  <a:lnTo>
                    <a:pt x="185840" y="100068"/>
                  </a:lnTo>
                  <a:lnTo>
                    <a:pt x="223960" y="95302"/>
                  </a:lnTo>
                  <a:lnTo>
                    <a:pt x="233492" y="95302"/>
                  </a:lnTo>
                  <a:lnTo>
                    <a:pt x="252552" y="95302"/>
                  </a:lnTo>
                  <a:lnTo>
                    <a:pt x="266848" y="100068"/>
                  </a:lnTo>
                  <a:lnTo>
                    <a:pt x="276376" y="104832"/>
                  </a:lnTo>
                  <a:lnTo>
                    <a:pt x="309732" y="128658"/>
                  </a:lnTo>
                  <a:lnTo>
                    <a:pt x="338324" y="147718"/>
                  </a:lnTo>
                  <a:lnTo>
                    <a:pt x="366912" y="171544"/>
                  </a:lnTo>
                  <a:lnTo>
                    <a:pt x="376444" y="181074"/>
                  </a:lnTo>
                  <a:lnTo>
                    <a:pt x="381208" y="195370"/>
                  </a:lnTo>
                  <a:lnTo>
                    <a:pt x="381208" y="204900"/>
                  </a:lnTo>
                  <a:lnTo>
                    <a:pt x="405036" y="238256"/>
                  </a:lnTo>
                  <a:lnTo>
                    <a:pt x="414564" y="257316"/>
                  </a:lnTo>
                  <a:lnTo>
                    <a:pt x="428860" y="276378"/>
                  </a:lnTo>
                  <a:lnTo>
                    <a:pt x="438392" y="290672"/>
                  </a:lnTo>
                  <a:lnTo>
                    <a:pt x="452688" y="300204"/>
                  </a:lnTo>
                  <a:lnTo>
                    <a:pt x="457452" y="309734"/>
                  </a:lnTo>
                  <a:lnTo>
                    <a:pt x="466980" y="314498"/>
                  </a:lnTo>
                  <a:lnTo>
                    <a:pt x="476512" y="319264"/>
                  </a:lnTo>
                  <a:lnTo>
                    <a:pt x="495572" y="314498"/>
                  </a:lnTo>
                  <a:lnTo>
                    <a:pt x="519396" y="309734"/>
                  </a:lnTo>
                  <a:lnTo>
                    <a:pt x="538460" y="304968"/>
                  </a:lnTo>
                  <a:lnTo>
                    <a:pt x="543224" y="304968"/>
                  </a:lnTo>
                  <a:lnTo>
                    <a:pt x="586108" y="309734"/>
                  </a:lnTo>
                  <a:lnTo>
                    <a:pt x="619464" y="309734"/>
                  </a:lnTo>
                  <a:lnTo>
                    <a:pt x="667116" y="314498"/>
                  </a:lnTo>
                  <a:lnTo>
                    <a:pt x="681412" y="314498"/>
                  </a:lnTo>
                  <a:lnTo>
                    <a:pt x="695708" y="319264"/>
                  </a:lnTo>
                  <a:lnTo>
                    <a:pt x="705236" y="319264"/>
                  </a:lnTo>
                  <a:lnTo>
                    <a:pt x="710004" y="309734"/>
                  </a:lnTo>
                  <a:lnTo>
                    <a:pt x="719532" y="304968"/>
                  </a:lnTo>
                  <a:lnTo>
                    <a:pt x="719532" y="300204"/>
                  </a:lnTo>
                  <a:lnTo>
                    <a:pt x="719532" y="295438"/>
                  </a:lnTo>
                  <a:lnTo>
                    <a:pt x="714768" y="290672"/>
                  </a:lnTo>
                  <a:lnTo>
                    <a:pt x="705236" y="281142"/>
                  </a:lnTo>
                  <a:lnTo>
                    <a:pt x="700472" y="233492"/>
                  </a:lnTo>
                  <a:lnTo>
                    <a:pt x="695708" y="195370"/>
                  </a:lnTo>
                  <a:lnTo>
                    <a:pt x="705236" y="181074"/>
                  </a:lnTo>
                  <a:lnTo>
                    <a:pt x="714768" y="176310"/>
                  </a:lnTo>
                  <a:lnTo>
                    <a:pt x="710004" y="214430"/>
                  </a:lnTo>
                  <a:lnTo>
                    <a:pt x="710004" y="223962"/>
                  </a:lnTo>
                  <a:lnTo>
                    <a:pt x="729064" y="219196"/>
                  </a:lnTo>
                  <a:lnTo>
                    <a:pt x="743360" y="238256"/>
                  </a:lnTo>
                  <a:lnTo>
                    <a:pt x="757656" y="252552"/>
                  </a:lnTo>
                  <a:lnTo>
                    <a:pt x="771948" y="252552"/>
                  </a:lnTo>
                  <a:lnTo>
                    <a:pt x="786244" y="247786"/>
                  </a:lnTo>
                  <a:lnTo>
                    <a:pt x="810072" y="243022"/>
                  </a:lnTo>
                  <a:lnTo>
                    <a:pt x="829132" y="228726"/>
                  </a:lnTo>
                  <a:lnTo>
                    <a:pt x="838660" y="214430"/>
                  </a:lnTo>
                  <a:lnTo>
                    <a:pt x="833896" y="200136"/>
                  </a:lnTo>
                  <a:lnTo>
                    <a:pt x="810072" y="181074"/>
                  </a:lnTo>
                  <a:lnTo>
                    <a:pt x="810072" y="162014"/>
                  </a:lnTo>
                  <a:lnTo>
                    <a:pt x="800540" y="152484"/>
                  </a:lnTo>
                  <a:lnTo>
                    <a:pt x="800540" y="142954"/>
                  </a:lnTo>
                  <a:lnTo>
                    <a:pt x="800540" y="133424"/>
                  </a:lnTo>
                  <a:lnTo>
                    <a:pt x="800540" y="128658"/>
                  </a:lnTo>
                  <a:lnTo>
                    <a:pt x="810072" y="128658"/>
                  </a:lnTo>
                  <a:lnTo>
                    <a:pt x="829132" y="123894"/>
                  </a:lnTo>
                  <a:lnTo>
                    <a:pt x="833896" y="114364"/>
                  </a:lnTo>
                  <a:lnTo>
                    <a:pt x="848192" y="95302"/>
                  </a:lnTo>
                  <a:lnTo>
                    <a:pt x="848192" y="76242"/>
                  </a:lnTo>
                  <a:lnTo>
                    <a:pt x="857720" y="66712"/>
                  </a:lnTo>
                  <a:lnTo>
                    <a:pt x="862488" y="61946"/>
                  </a:lnTo>
                  <a:lnTo>
                    <a:pt x="872016" y="61946"/>
                  </a:lnTo>
                  <a:lnTo>
                    <a:pt x="886312" y="66712"/>
                  </a:lnTo>
                  <a:lnTo>
                    <a:pt x="895844" y="71476"/>
                  </a:lnTo>
                  <a:lnTo>
                    <a:pt x="900608" y="76242"/>
                  </a:lnTo>
                  <a:lnTo>
                    <a:pt x="910140" y="81008"/>
                  </a:lnTo>
                  <a:lnTo>
                    <a:pt x="914904" y="90538"/>
                  </a:lnTo>
                  <a:lnTo>
                    <a:pt x="919668" y="100068"/>
                  </a:lnTo>
                  <a:lnTo>
                    <a:pt x="919668" y="104832"/>
                  </a:lnTo>
                  <a:lnTo>
                    <a:pt x="929200" y="104832"/>
                  </a:lnTo>
                  <a:lnTo>
                    <a:pt x="933964" y="100068"/>
                  </a:lnTo>
                  <a:lnTo>
                    <a:pt x="933964" y="95302"/>
                  </a:lnTo>
                  <a:lnTo>
                    <a:pt x="924432" y="81008"/>
                  </a:lnTo>
                  <a:lnTo>
                    <a:pt x="905372" y="52416"/>
                  </a:lnTo>
                  <a:lnTo>
                    <a:pt x="891076" y="42886"/>
                  </a:lnTo>
                  <a:lnTo>
                    <a:pt x="881548" y="38122"/>
                  </a:lnTo>
                  <a:lnTo>
                    <a:pt x="881548" y="33356"/>
                  </a:lnTo>
                  <a:lnTo>
                    <a:pt x="891076" y="23826"/>
                  </a:lnTo>
                  <a:lnTo>
                    <a:pt x="900608" y="19060"/>
                  </a:lnTo>
                  <a:lnTo>
                    <a:pt x="914904" y="23826"/>
                  </a:lnTo>
                  <a:lnTo>
                    <a:pt x="933964" y="23826"/>
                  </a:lnTo>
                  <a:lnTo>
                    <a:pt x="943496" y="19060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5" name="Freeform 353">
              <a:extLst>
                <a:ext uri="{FF2B5EF4-FFF2-40B4-BE49-F238E27FC236}">
                  <a16:creationId xmlns:a16="http://schemas.microsoft.com/office/drawing/2014/main" id="{24B92809-FD3A-4D64-B30A-7E73F00479AE}"/>
                </a:ext>
              </a:extLst>
            </p:cNvPr>
            <p:cNvSpPr/>
            <p:nvPr/>
          </p:nvSpPr>
          <p:spPr bwMode="auto">
            <a:xfrm>
              <a:off x="7704359" y="5259862"/>
              <a:ext cx="1155930" cy="427066"/>
            </a:xfrm>
            <a:custGeom>
              <a:avLst/>
              <a:gdLst>
                <a:gd name="connsiteX0" fmla="*/ 4391064 w 7145312"/>
                <a:gd name="connsiteY0" fmla="*/ 2573168 h 2639880"/>
                <a:gd name="connsiteX1" fmla="*/ 4395828 w 7145312"/>
                <a:gd name="connsiteY1" fmla="*/ 2573168 h 2639880"/>
                <a:gd name="connsiteX2" fmla="*/ 4395828 w 7145312"/>
                <a:gd name="connsiteY2" fmla="*/ 2587462 h 2639880"/>
                <a:gd name="connsiteX3" fmla="*/ 4400596 w 7145312"/>
                <a:gd name="connsiteY3" fmla="*/ 2592228 h 2639880"/>
                <a:gd name="connsiteX4" fmla="*/ 4400596 w 7145312"/>
                <a:gd name="connsiteY4" fmla="*/ 2596992 h 2639880"/>
                <a:gd name="connsiteX5" fmla="*/ 4386300 w 7145312"/>
                <a:gd name="connsiteY5" fmla="*/ 2606524 h 2639880"/>
                <a:gd name="connsiteX6" fmla="*/ 4372004 w 7145312"/>
                <a:gd name="connsiteY6" fmla="*/ 2625584 h 2639880"/>
                <a:gd name="connsiteX7" fmla="*/ 4338648 w 7145312"/>
                <a:gd name="connsiteY7" fmla="*/ 2635114 h 2639880"/>
                <a:gd name="connsiteX8" fmla="*/ 4329120 w 7145312"/>
                <a:gd name="connsiteY8" fmla="*/ 2639880 h 2639880"/>
                <a:gd name="connsiteX9" fmla="*/ 4314824 w 7145312"/>
                <a:gd name="connsiteY9" fmla="*/ 2639880 h 2639880"/>
                <a:gd name="connsiteX10" fmla="*/ 4310056 w 7145312"/>
                <a:gd name="connsiteY10" fmla="*/ 2639880 h 2639880"/>
                <a:gd name="connsiteX11" fmla="*/ 4310056 w 7145312"/>
                <a:gd name="connsiteY11" fmla="*/ 2625584 h 2639880"/>
                <a:gd name="connsiteX12" fmla="*/ 4314824 w 7145312"/>
                <a:gd name="connsiteY12" fmla="*/ 2616054 h 2639880"/>
                <a:gd name="connsiteX13" fmla="*/ 4348180 w 7145312"/>
                <a:gd name="connsiteY13" fmla="*/ 2606524 h 2639880"/>
                <a:gd name="connsiteX14" fmla="*/ 4362476 w 7145312"/>
                <a:gd name="connsiteY14" fmla="*/ 2596992 h 2639880"/>
                <a:gd name="connsiteX15" fmla="*/ 4376768 w 7145312"/>
                <a:gd name="connsiteY15" fmla="*/ 2577932 h 2639880"/>
                <a:gd name="connsiteX16" fmla="*/ 4162340 w 7145312"/>
                <a:gd name="connsiteY16" fmla="*/ 2563636 h 2639880"/>
                <a:gd name="connsiteX17" fmla="*/ 4171868 w 7145312"/>
                <a:gd name="connsiteY17" fmla="*/ 2563636 h 2639880"/>
                <a:gd name="connsiteX18" fmla="*/ 4181400 w 7145312"/>
                <a:gd name="connsiteY18" fmla="*/ 2568402 h 2639880"/>
                <a:gd name="connsiteX19" fmla="*/ 4176632 w 7145312"/>
                <a:gd name="connsiteY19" fmla="*/ 2577932 h 2639880"/>
                <a:gd name="connsiteX20" fmla="*/ 4162340 w 7145312"/>
                <a:gd name="connsiteY20" fmla="*/ 2587462 h 2639880"/>
                <a:gd name="connsiteX21" fmla="*/ 4157572 w 7145312"/>
                <a:gd name="connsiteY21" fmla="*/ 2592228 h 2639880"/>
                <a:gd name="connsiteX22" fmla="*/ 4138512 w 7145312"/>
                <a:gd name="connsiteY22" fmla="*/ 2587462 h 2639880"/>
                <a:gd name="connsiteX23" fmla="*/ 4133748 w 7145312"/>
                <a:gd name="connsiteY23" fmla="*/ 2582698 h 2639880"/>
                <a:gd name="connsiteX24" fmla="*/ 4148044 w 7145312"/>
                <a:gd name="connsiteY24" fmla="*/ 2577932 h 2639880"/>
                <a:gd name="connsiteX25" fmla="*/ 1636824 w 7145312"/>
                <a:gd name="connsiteY25" fmla="*/ 2563636 h 2639880"/>
                <a:gd name="connsiteX26" fmla="*/ 1641588 w 7145312"/>
                <a:gd name="connsiteY26" fmla="*/ 2573168 h 2639880"/>
                <a:gd name="connsiteX27" fmla="*/ 1636824 w 7145312"/>
                <a:gd name="connsiteY27" fmla="*/ 2587464 h 2639880"/>
                <a:gd name="connsiteX28" fmla="*/ 1627292 w 7145312"/>
                <a:gd name="connsiteY28" fmla="*/ 2577932 h 2639880"/>
                <a:gd name="connsiteX29" fmla="*/ 1617764 w 7145312"/>
                <a:gd name="connsiteY29" fmla="*/ 2577932 h 2639880"/>
                <a:gd name="connsiteX30" fmla="*/ 1617764 w 7145312"/>
                <a:gd name="connsiteY30" fmla="*/ 2568402 h 2639880"/>
                <a:gd name="connsiteX31" fmla="*/ 1627292 w 7145312"/>
                <a:gd name="connsiteY31" fmla="*/ 2568402 h 2639880"/>
                <a:gd name="connsiteX32" fmla="*/ 1632060 w 7145312"/>
                <a:gd name="connsiteY32" fmla="*/ 2568402 h 2639880"/>
                <a:gd name="connsiteX33" fmla="*/ 4410124 w 7145312"/>
                <a:gd name="connsiteY33" fmla="*/ 2515986 h 2639880"/>
                <a:gd name="connsiteX34" fmla="*/ 4414892 w 7145312"/>
                <a:gd name="connsiteY34" fmla="*/ 2525516 h 2639880"/>
                <a:gd name="connsiteX35" fmla="*/ 4400596 w 7145312"/>
                <a:gd name="connsiteY35" fmla="*/ 2530282 h 2639880"/>
                <a:gd name="connsiteX36" fmla="*/ 4400596 w 7145312"/>
                <a:gd name="connsiteY36" fmla="*/ 2544576 h 2639880"/>
                <a:gd name="connsiteX37" fmla="*/ 4391064 w 7145312"/>
                <a:gd name="connsiteY37" fmla="*/ 2549342 h 2639880"/>
                <a:gd name="connsiteX38" fmla="*/ 4391064 w 7145312"/>
                <a:gd name="connsiteY38" fmla="*/ 2539812 h 2639880"/>
                <a:gd name="connsiteX39" fmla="*/ 4400596 w 7145312"/>
                <a:gd name="connsiteY39" fmla="*/ 2520752 h 2639880"/>
                <a:gd name="connsiteX40" fmla="*/ 4643616 w 7145312"/>
                <a:gd name="connsiteY40" fmla="*/ 2382562 h 2639880"/>
                <a:gd name="connsiteX41" fmla="*/ 4648380 w 7145312"/>
                <a:gd name="connsiteY41" fmla="*/ 2387328 h 2639880"/>
                <a:gd name="connsiteX42" fmla="*/ 4653148 w 7145312"/>
                <a:gd name="connsiteY42" fmla="*/ 2396858 h 2639880"/>
                <a:gd name="connsiteX43" fmla="*/ 4648384 w 7145312"/>
                <a:gd name="connsiteY43" fmla="*/ 2387328 h 2639880"/>
                <a:gd name="connsiteX44" fmla="*/ 3862136 w 7145312"/>
                <a:gd name="connsiteY44" fmla="*/ 2382562 h 2639880"/>
                <a:gd name="connsiteX45" fmla="*/ 3866900 w 7145312"/>
                <a:gd name="connsiteY45" fmla="*/ 2387328 h 2639880"/>
                <a:gd name="connsiteX46" fmla="*/ 3871668 w 7145312"/>
                <a:gd name="connsiteY46" fmla="*/ 2396858 h 2639880"/>
                <a:gd name="connsiteX47" fmla="*/ 3876432 w 7145312"/>
                <a:gd name="connsiteY47" fmla="*/ 2401622 h 2639880"/>
                <a:gd name="connsiteX48" fmla="*/ 3905024 w 7145312"/>
                <a:gd name="connsiteY48" fmla="*/ 2415918 h 2639880"/>
                <a:gd name="connsiteX49" fmla="*/ 3909788 w 7145312"/>
                <a:gd name="connsiteY49" fmla="*/ 2420682 h 2639880"/>
                <a:gd name="connsiteX50" fmla="*/ 3909788 w 7145312"/>
                <a:gd name="connsiteY50" fmla="*/ 2434978 h 2639880"/>
                <a:gd name="connsiteX51" fmla="*/ 3914552 w 7145312"/>
                <a:gd name="connsiteY51" fmla="*/ 2439744 h 2639880"/>
                <a:gd name="connsiteX52" fmla="*/ 3924084 w 7145312"/>
                <a:gd name="connsiteY52" fmla="*/ 2439744 h 2639880"/>
                <a:gd name="connsiteX53" fmla="*/ 3938380 w 7145312"/>
                <a:gd name="connsiteY53" fmla="*/ 2439744 h 2639880"/>
                <a:gd name="connsiteX54" fmla="*/ 3947908 w 7145312"/>
                <a:gd name="connsiteY54" fmla="*/ 2444508 h 2639880"/>
                <a:gd name="connsiteX55" fmla="*/ 3957440 w 7145312"/>
                <a:gd name="connsiteY55" fmla="*/ 2449274 h 2639880"/>
                <a:gd name="connsiteX56" fmla="*/ 3966968 w 7145312"/>
                <a:gd name="connsiteY56" fmla="*/ 2463570 h 2639880"/>
                <a:gd name="connsiteX57" fmla="*/ 3976500 w 7145312"/>
                <a:gd name="connsiteY57" fmla="*/ 2477864 h 2639880"/>
                <a:gd name="connsiteX58" fmla="*/ 3990796 w 7145312"/>
                <a:gd name="connsiteY58" fmla="*/ 2487394 h 2639880"/>
                <a:gd name="connsiteX59" fmla="*/ 4000324 w 7145312"/>
                <a:gd name="connsiteY59" fmla="*/ 2501690 h 2639880"/>
                <a:gd name="connsiteX60" fmla="*/ 3995560 w 7145312"/>
                <a:gd name="connsiteY60" fmla="*/ 2511220 h 2639880"/>
                <a:gd name="connsiteX61" fmla="*/ 3976500 w 7145312"/>
                <a:gd name="connsiteY61" fmla="*/ 2530280 h 2639880"/>
                <a:gd name="connsiteX62" fmla="*/ 3966968 w 7145312"/>
                <a:gd name="connsiteY62" fmla="*/ 2530280 h 2639880"/>
                <a:gd name="connsiteX63" fmla="*/ 3957440 w 7145312"/>
                <a:gd name="connsiteY63" fmla="*/ 2535046 h 2639880"/>
                <a:gd name="connsiteX64" fmla="*/ 3938380 w 7145312"/>
                <a:gd name="connsiteY64" fmla="*/ 2539812 h 2639880"/>
                <a:gd name="connsiteX65" fmla="*/ 3928848 w 7145312"/>
                <a:gd name="connsiteY65" fmla="*/ 2535046 h 2639880"/>
                <a:gd name="connsiteX66" fmla="*/ 3909788 w 7145312"/>
                <a:gd name="connsiteY66" fmla="*/ 2535046 h 2639880"/>
                <a:gd name="connsiteX67" fmla="*/ 3890728 w 7145312"/>
                <a:gd name="connsiteY67" fmla="*/ 2525516 h 2639880"/>
                <a:gd name="connsiteX68" fmla="*/ 3876432 w 7145312"/>
                <a:gd name="connsiteY68" fmla="*/ 2515986 h 2639880"/>
                <a:gd name="connsiteX69" fmla="*/ 3866900 w 7145312"/>
                <a:gd name="connsiteY69" fmla="*/ 2501690 h 2639880"/>
                <a:gd name="connsiteX70" fmla="*/ 3857372 w 7145312"/>
                <a:gd name="connsiteY70" fmla="*/ 2492160 h 2639880"/>
                <a:gd name="connsiteX71" fmla="*/ 3838312 w 7145312"/>
                <a:gd name="connsiteY71" fmla="*/ 2482630 h 2639880"/>
                <a:gd name="connsiteX72" fmla="*/ 3804956 w 7145312"/>
                <a:gd name="connsiteY72" fmla="*/ 2458804 h 2639880"/>
                <a:gd name="connsiteX73" fmla="*/ 3785896 w 7145312"/>
                <a:gd name="connsiteY73" fmla="*/ 2458804 h 2639880"/>
                <a:gd name="connsiteX74" fmla="*/ 3776364 w 7145312"/>
                <a:gd name="connsiteY74" fmla="*/ 2458804 h 2639880"/>
                <a:gd name="connsiteX75" fmla="*/ 3771600 w 7145312"/>
                <a:gd name="connsiteY75" fmla="*/ 2458804 h 2639880"/>
                <a:gd name="connsiteX76" fmla="*/ 3728712 w 7145312"/>
                <a:gd name="connsiteY76" fmla="*/ 2449274 h 2639880"/>
                <a:gd name="connsiteX77" fmla="*/ 3719184 w 7145312"/>
                <a:gd name="connsiteY77" fmla="*/ 2444508 h 2639880"/>
                <a:gd name="connsiteX78" fmla="*/ 3709652 w 7145312"/>
                <a:gd name="connsiteY78" fmla="*/ 2425448 h 2639880"/>
                <a:gd name="connsiteX79" fmla="*/ 3704888 w 7145312"/>
                <a:gd name="connsiteY79" fmla="*/ 2420682 h 2639880"/>
                <a:gd name="connsiteX80" fmla="*/ 3709652 w 7145312"/>
                <a:gd name="connsiteY80" fmla="*/ 2411152 h 2639880"/>
                <a:gd name="connsiteX81" fmla="*/ 3719184 w 7145312"/>
                <a:gd name="connsiteY81" fmla="*/ 2406388 h 2639880"/>
                <a:gd name="connsiteX82" fmla="*/ 3743008 w 7145312"/>
                <a:gd name="connsiteY82" fmla="*/ 2396858 h 2639880"/>
                <a:gd name="connsiteX83" fmla="*/ 3757304 w 7145312"/>
                <a:gd name="connsiteY83" fmla="*/ 2396858 h 2639880"/>
                <a:gd name="connsiteX84" fmla="*/ 3781128 w 7145312"/>
                <a:gd name="connsiteY84" fmla="*/ 2396858 h 2639880"/>
                <a:gd name="connsiteX85" fmla="*/ 3809720 w 7145312"/>
                <a:gd name="connsiteY85" fmla="*/ 2392092 h 2639880"/>
                <a:gd name="connsiteX86" fmla="*/ 3838312 w 7145312"/>
                <a:gd name="connsiteY86" fmla="*/ 2396858 h 2639880"/>
                <a:gd name="connsiteX87" fmla="*/ 3847840 w 7145312"/>
                <a:gd name="connsiteY87" fmla="*/ 2392092 h 2639880"/>
                <a:gd name="connsiteX88" fmla="*/ 4672208 w 7145312"/>
                <a:gd name="connsiteY88" fmla="*/ 2358736 h 2639880"/>
                <a:gd name="connsiteX89" fmla="*/ 4667440 w 7145312"/>
                <a:gd name="connsiteY89" fmla="*/ 2368266 h 2639880"/>
                <a:gd name="connsiteX90" fmla="*/ 4667444 w 7145312"/>
                <a:gd name="connsiteY90" fmla="*/ 2368266 h 2639880"/>
                <a:gd name="connsiteX91" fmla="*/ 4638852 w 7145312"/>
                <a:gd name="connsiteY91" fmla="*/ 2344440 h 2639880"/>
                <a:gd name="connsiteX92" fmla="*/ 4638852 w 7145312"/>
                <a:gd name="connsiteY92" fmla="*/ 2344442 h 2639880"/>
                <a:gd name="connsiteX93" fmla="*/ 4648380 w 7145312"/>
                <a:gd name="connsiteY93" fmla="*/ 2349206 h 2639880"/>
                <a:gd name="connsiteX94" fmla="*/ 4648380 w 7145312"/>
                <a:gd name="connsiteY94" fmla="*/ 2349204 h 2639880"/>
                <a:gd name="connsiteX95" fmla="*/ 4667444 w 7145312"/>
                <a:gd name="connsiteY95" fmla="*/ 2339676 h 2639880"/>
                <a:gd name="connsiteX96" fmla="*/ 4667440 w 7145312"/>
                <a:gd name="connsiteY96" fmla="*/ 2339678 h 2639880"/>
                <a:gd name="connsiteX97" fmla="*/ 4672208 w 7145312"/>
                <a:gd name="connsiteY97" fmla="*/ 2344442 h 2639880"/>
                <a:gd name="connsiteX98" fmla="*/ 4672208 w 7145312"/>
                <a:gd name="connsiteY98" fmla="*/ 2344440 h 2639880"/>
                <a:gd name="connsiteX99" fmla="*/ 3171192 w 7145312"/>
                <a:gd name="connsiteY99" fmla="*/ 2287260 h 2639880"/>
                <a:gd name="connsiteX100" fmla="*/ 3175960 w 7145312"/>
                <a:gd name="connsiteY100" fmla="*/ 2287260 h 2639880"/>
                <a:gd name="connsiteX101" fmla="*/ 3185488 w 7145312"/>
                <a:gd name="connsiteY101" fmla="*/ 2292026 h 2639880"/>
                <a:gd name="connsiteX102" fmla="*/ 3185488 w 7145312"/>
                <a:gd name="connsiteY102" fmla="*/ 2301556 h 2639880"/>
                <a:gd name="connsiteX103" fmla="*/ 3180724 w 7145312"/>
                <a:gd name="connsiteY103" fmla="*/ 2306320 h 2639880"/>
                <a:gd name="connsiteX104" fmla="*/ 3166428 w 7145312"/>
                <a:gd name="connsiteY104" fmla="*/ 2296790 h 2639880"/>
                <a:gd name="connsiteX105" fmla="*/ 3161664 w 7145312"/>
                <a:gd name="connsiteY105" fmla="*/ 2292026 h 2639880"/>
                <a:gd name="connsiteX106" fmla="*/ 4338648 w 7145312"/>
                <a:gd name="connsiteY106" fmla="*/ 2249140 h 2639880"/>
                <a:gd name="connsiteX107" fmla="*/ 4352944 w 7145312"/>
                <a:gd name="connsiteY107" fmla="*/ 2249140 h 2639880"/>
                <a:gd name="connsiteX108" fmla="*/ 4357708 w 7145312"/>
                <a:gd name="connsiteY108" fmla="*/ 2249140 h 2639880"/>
                <a:gd name="connsiteX109" fmla="*/ 4362472 w 7145312"/>
                <a:gd name="connsiteY109" fmla="*/ 2253904 h 2639880"/>
                <a:gd name="connsiteX110" fmla="*/ 4343412 w 7145312"/>
                <a:gd name="connsiteY110" fmla="*/ 2258670 h 2639880"/>
                <a:gd name="connsiteX111" fmla="*/ 4333884 w 7145312"/>
                <a:gd name="connsiteY111" fmla="*/ 2263434 h 2639880"/>
                <a:gd name="connsiteX112" fmla="*/ 4329120 w 7145312"/>
                <a:gd name="connsiteY112" fmla="*/ 2272964 h 2639880"/>
                <a:gd name="connsiteX113" fmla="*/ 4319588 w 7145312"/>
                <a:gd name="connsiteY113" fmla="*/ 2272964 h 2639880"/>
                <a:gd name="connsiteX114" fmla="*/ 4324352 w 7145312"/>
                <a:gd name="connsiteY114" fmla="*/ 2263434 h 2639880"/>
                <a:gd name="connsiteX115" fmla="*/ 4329120 w 7145312"/>
                <a:gd name="connsiteY115" fmla="*/ 2258670 h 2639880"/>
                <a:gd name="connsiteX116" fmla="*/ 3781128 w 7145312"/>
                <a:gd name="connsiteY116" fmla="*/ 2249140 h 2639880"/>
                <a:gd name="connsiteX117" fmla="*/ 3785896 w 7145312"/>
                <a:gd name="connsiteY117" fmla="*/ 2249140 h 2639880"/>
                <a:gd name="connsiteX118" fmla="*/ 3785896 w 7145312"/>
                <a:gd name="connsiteY118" fmla="*/ 2253904 h 2639880"/>
                <a:gd name="connsiteX119" fmla="*/ 3790660 w 7145312"/>
                <a:gd name="connsiteY119" fmla="*/ 2253904 h 2639880"/>
                <a:gd name="connsiteX120" fmla="*/ 3800192 w 7145312"/>
                <a:gd name="connsiteY120" fmla="*/ 2253904 h 2639880"/>
                <a:gd name="connsiteX121" fmla="*/ 3800192 w 7145312"/>
                <a:gd name="connsiteY121" fmla="*/ 2263434 h 2639880"/>
                <a:gd name="connsiteX122" fmla="*/ 3800192 w 7145312"/>
                <a:gd name="connsiteY122" fmla="*/ 2268200 h 2639880"/>
                <a:gd name="connsiteX123" fmla="*/ 3795424 w 7145312"/>
                <a:gd name="connsiteY123" fmla="*/ 2272964 h 2639880"/>
                <a:gd name="connsiteX124" fmla="*/ 3790660 w 7145312"/>
                <a:gd name="connsiteY124" fmla="*/ 2277730 h 2639880"/>
                <a:gd name="connsiteX125" fmla="*/ 3781128 w 7145312"/>
                <a:gd name="connsiteY125" fmla="*/ 2287260 h 2639880"/>
                <a:gd name="connsiteX126" fmla="*/ 3785896 w 7145312"/>
                <a:gd name="connsiteY126" fmla="*/ 2296790 h 2639880"/>
                <a:gd name="connsiteX127" fmla="*/ 3781128 w 7145312"/>
                <a:gd name="connsiteY127" fmla="*/ 2296790 h 2639880"/>
                <a:gd name="connsiteX128" fmla="*/ 3771600 w 7145312"/>
                <a:gd name="connsiteY128" fmla="*/ 2296790 h 2639880"/>
                <a:gd name="connsiteX129" fmla="*/ 3776364 w 7145312"/>
                <a:gd name="connsiteY129" fmla="*/ 2282494 h 2639880"/>
                <a:gd name="connsiteX130" fmla="*/ 3771600 w 7145312"/>
                <a:gd name="connsiteY130" fmla="*/ 2272964 h 2639880"/>
                <a:gd name="connsiteX131" fmla="*/ 3781128 w 7145312"/>
                <a:gd name="connsiteY131" fmla="*/ 2263434 h 2639880"/>
                <a:gd name="connsiteX132" fmla="*/ 4958116 w 7145312"/>
                <a:gd name="connsiteY132" fmla="*/ 2230078 h 2639880"/>
                <a:gd name="connsiteX133" fmla="*/ 4972412 w 7145312"/>
                <a:gd name="connsiteY133" fmla="*/ 2234844 h 2639880"/>
                <a:gd name="connsiteX134" fmla="*/ 4996236 w 7145312"/>
                <a:gd name="connsiteY134" fmla="*/ 2239608 h 2639880"/>
                <a:gd name="connsiteX135" fmla="*/ 5001000 w 7145312"/>
                <a:gd name="connsiteY135" fmla="*/ 2239608 h 2639880"/>
                <a:gd name="connsiteX136" fmla="*/ 5010532 w 7145312"/>
                <a:gd name="connsiteY136" fmla="*/ 2244374 h 2639880"/>
                <a:gd name="connsiteX137" fmla="*/ 4981940 w 7145312"/>
                <a:gd name="connsiteY137" fmla="*/ 2272964 h 2639880"/>
                <a:gd name="connsiteX138" fmla="*/ 4948584 w 7145312"/>
                <a:gd name="connsiteY138" fmla="*/ 2292024 h 2639880"/>
                <a:gd name="connsiteX139" fmla="*/ 4929524 w 7145312"/>
                <a:gd name="connsiteY139" fmla="*/ 2296790 h 2639880"/>
                <a:gd name="connsiteX140" fmla="*/ 4910464 w 7145312"/>
                <a:gd name="connsiteY140" fmla="*/ 2301554 h 2639880"/>
                <a:gd name="connsiteX141" fmla="*/ 4896168 w 7145312"/>
                <a:gd name="connsiteY141" fmla="*/ 2311086 h 2639880"/>
                <a:gd name="connsiteX142" fmla="*/ 4881872 w 7145312"/>
                <a:gd name="connsiteY142" fmla="*/ 2325380 h 2639880"/>
                <a:gd name="connsiteX143" fmla="*/ 4867580 w 7145312"/>
                <a:gd name="connsiteY143" fmla="*/ 2330146 h 2639880"/>
                <a:gd name="connsiteX144" fmla="*/ 4848516 w 7145312"/>
                <a:gd name="connsiteY144" fmla="*/ 2334910 h 2639880"/>
                <a:gd name="connsiteX145" fmla="*/ 4829456 w 7145312"/>
                <a:gd name="connsiteY145" fmla="*/ 2334910 h 2639880"/>
                <a:gd name="connsiteX146" fmla="*/ 4819928 w 7145312"/>
                <a:gd name="connsiteY146" fmla="*/ 2344440 h 2639880"/>
                <a:gd name="connsiteX147" fmla="*/ 4796100 w 7145312"/>
                <a:gd name="connsiteY147" fmla="*/ 2358736 h 2639880"/>
                <a:gd name="connsiteX148" fmla="*/ 4791336 w 7145312"/>
                <a:gd name="connsiteY148" fmla="*/ 2358736 h 2639880"/>
                <a:gd name="connsiteX149" fmla="*/ 4781804 w 7145312"/>
                <a:gd name="connsiteY149" fmla="*/ 2358736 h 2639880"/>
                <a:gd name="connsiteX150" fmla="*/ 4762744 w 7145312"/>
                <a:gd name="connsiteY150" fmla="*/ 2363502 h 2639880"/>
                <a:gd name="connsiteX151" fmla="*/ 4715096 w 7145312"/>
                <a:gd name="connsiteY151" fmla="*/ 2382562 h 2639880"/>
                <a:gd name="connsiteX152" fmla="*/ 4681740 w 7145312"/>
                <a:gd name="connsiteY152" fmla="*/ 2401622 h 2639880"/>
                <a:gd name="connsiteX153" fmla="*/ 4662676 w 7145312"/>
                <a:gd name="connsiteY153" fmla="*/ 2420684 h 2639880"/>
                <a:gd name="connsiteX154" fmla="*/ 4648380 w 7145312"/>
                <a:gd name="connsiteY154" fmla="*/ 2425448 h 2639880"/>
                <a:gd name="connsiteX155" fmla="*/ 4643616 w 7145312"/>
                <a:gd name="connsiteY155" fmla="*/ 2444510 h 2639880"/>
                <a:gd name="connsiteX156" fmla="*/ 4624556 w 7145312"/>
                <a:gd name="connsiteY156" fmla="*/ 2458804 h 2639880"/>
                <a:gd name="connsiteX157" fmla="*/ 4605496 w 7145312"/>
                <a:gd name="connsiteY157" fmla="*/ 2482630 h 2639880"/>
                <a:gd name="connsiteX158" fmla="*/ 4586436 w 7145312"/>
                <a:gd name="connsiteY158" fmla="*/ 2496926 h 2639880"/>
                <a:gd name="connsiteX159" fmla="*/ 4572140 w 7145312"/>
                <a:gd name="connsiteY159" fmla="*/ 2511220 h 2639880"/>
                <a:gd name="connsiteX160" fmla="*/ 4562608 w 7145312"/>
                <a:gd name="connsiteY160" fmla="*/ 2520752 h 2639880"/>
                <a:gd name="connsiteX161" fmla="*/ 4543548 w 7145312"/>
                <a:gd name="connsiteY161" fmla="*/ 2520752 h 2639880"/>
                <a:gd name="connsiteX162" fmla="*/ 4519724 w 7145312"/>
                <a:gd name="connsiteY162" fmla="*/ 2525516 h 2639880"/>
                <a:gd name="connsiteX163" fmla="*/ 4491132 w 7145312"/>
                <a:gd name="connsiteY163" fmla="*/ 2544576 h 2639880"/>
                <a:gd name="connsiteX164" fmla="*/ 4472072 w 7145312"/>
                <a:gd name="connsiteY164" fmla="*/ 2549342 h 2639880"/>
                <a:gd name="connsiteX165" fmla="*/ 4453012 w 7145312"/>
                <a:gd name="connsiteY165" fmla="*/ 2549342 h 2639880"/>
                <a:gd name="connsiteX166" fmla="*/ 4438716 w 7145312"/>
                <a:gd name="connsiteY166" fmla="*/ 2544576 h 2639880"/>
                <a:gd name="connsiteX167" fmla="*/ 4433952 w 7145312"/>
                <a:gd name="connsiteY167" fmla="*/ 2539812 h 2639880"/>
                <a:gd name="connsiteX168" fmla="*/ 4433952 w 7145312"/>
                <a:gd name="connsiteY168" fmla="*/ 2530282 h 2639880"/>
                <a:gd name="connsiteX169" fmla="*/ 4438716 w 7145312"/>
                <a:gd name="connsiteY169" fmla="*/ 2520752 h 2639880"/>
                <a:gd name="connsiteX170" fmla="*/ 4443480 w 7145312"/>
                <a:gd name="connsiteY170" fmla="*/ 2515986 h 2639880"/>
                <a:gd name="connsiteX171" fmla="*/ 4448248 w 7145312"/>
                <a:gd name="connsiteY171" fmla="*/ 2506456 h 2639880"/>
                <a:gd name="connsiteX172" fmla="*/ 4429184 w 7145312"/>
                <a:gd name="connsiteY172" fmla="*/ 2496926 h 2639880"/>
                <a:gd name="connsiteX173" fmla="*/ 4429184 w 7145312"/>
                <a:gd name="connsiteY173" fmla="*/ 2492160 h 2639880"/>
                <a:gd name="connsiteX174" fmla="*/ 4438716 w 7145312"/>
                <a:gd name="connsiteY174" fmla="*/ 2468334 h 2639880"/>
                <a:gd name="connsiteX175" fmla="*/ 4443480 w 7145312"/>
                <a:gd name="connsiteY175" fmla="*/ 2449274 h 2639880"/>
                <a:gd name="connsiteX176" fmla="*/ 4448248 w 7145312"/>
                <a:gd name="connsiteY176" fmla="*/ 2434978 h 2639880"/>
                <a:gd name="connsiteX177" fmla="*/ 4476836 w 7145312"/>
                <a:gd name="connsiteY177" fmla="*/ 2406388 h 2639880"/>
                <a:gd name="connsiteX178" fmla="*/ 4491132 w 7145312"/>
                <a:gd name="connsiteY178" fmla="*/ 2396858 h 2639880"/>
                <a:gd name="connsiteX179" fmla="*/ 4500664 w 7145312"/>
                <a:gd name="connsiteY179" fmla="*/ 2392092 h 2639880"/>
                <a:gd name="connsiteX180" fmla="*/ 4524488 w 7145312"/>
                <a:gd name="connsiteY180" fmla="*/ 2377798 h 2639880"/>
                <a:gd name="connsiteX181" fmla="*/ 4562608 w 7145312"/>
                <a:gd name="connsiteY181" fmla="*/ 2368268 h 2639880"/>
                <a:gd name="connsiteX182" fmla="*/ 4586436 w 7145312"/>
                <a:gd name="connsiteY182" fmla="*/ 2363502 h 2639880"/>
                <a:gd name="connsiteX183" fmla="*/ 4595964 w 7145312"/>
                <a:gd name="connsiteY183" fmla="*/ 2353972 h 2639880"/>
                <a:gd name="connsiteX184" fmla="*/ 4605496 w 7145312"/>
                <a:gd name="connsiteY184" fmla="*/ 2349206 h 2639880"/>
                <a:gd name="connsiteX185" fmla="*/ 4634088 w 7145312"/>
                <a:gd name="connsiteY185" fmla="*/ 2330146 h 2639880"/>
                <a:gd name="connsiteX186" fmla="*/ 4638852 w 7145312"/>
                <a:gd name="connsiteY186" fmla="*/ 2330146 h 2639880"/>
                <a:gd name="connsiteX187" fmla="*/ 4653148 w 7145312"/>
                <a:gd name="connsiteY187" fmla="*/ 2315850 h 2639880"/>
                <a:gd name="connsiteX188" fmla="*/ 4667444 w 7145312"/>
                <a:gd name="connsiteY188" fmla="*/ 2292024 h 2639880"/>
                <a:gd name="connsiteX189" fmla="*/ 4676972 w 7145312"/>
                <a:gd name="connsiteY189" fmla="*/ 2282494 h 2639880"/>
                <a:gd name="connsiteX190" fmla="*/ 4700800 w 7145312"/>
                <a:gd name="connsiteY190" fmla="*/ 2272964 h 2639880"/>
                <a:gd name="connsiteX191" fmla="*/ 4710328 w 7145312"/>
                <a:gd name="connsiteY191" fmla="*/ 2268200 h 2639880"/>
                <a:gd name="connsiteX192" fmla="*/ 4777040 w 7145312"/>
                <a:gd name="connsiteY192" fmla="*/ 2258668 h 2639880"/>
                <a:gd name="connsiteX193" fmla="*/ 4791336 w 7145312"/>
                <a:gd name="connsiteY193" fmla="*/ 2258668 h 2639880"/>
                <a:gd name="connsiteX194" fmla="*/ 4834224 w 7145312"/>
                <a:gd name="connsiteY194" fmla="*/ 2258668 h 2639880"/>
                <a:gd name="connsiteX195" fmla="*/ 4891404 w 7145312"/>
                <a:gd name="connsiteY195" fmla="*/ 2253904 h 2639880"/>
                <a:gd name="connsiteX196" fmla="*/ 4900936 w 7145312"/>
                <a:gd name="connsiteY196" fmla="*/ 2253904 h 2639880"/>
                <a:gd name="connsiteX197" fmla="*/ 4919996 w 7145312"/>
                <a:gd name="connsiteY197" fmla="*/ 2244374 h 2639880"/>
                <a:gd name="connsiteX198" fmla="*/ 4939056 w 7145312"/>
                <a:gd name="connsiteY198" fmla="*/ 2239608 h 2639880"/>
                <a:gd name="connsiteX199" fmla="*/ 4948584 w 7145312"/>
                <a:gd name="connsiteY199" fmla="*/ 2234844 h 2639880"/>
                <a:gd name="connsiteX200" fmla="*/ 4372004 w 7145312"/>
                <a:gd name="connsiteY200" fmla="*/ 2215784 h 2639880"/>
                <a:gd name="connsiteX201" fmla="*/ 4391064 w 7145312"/>
                <a:gd name="connsiteY201" fmla="*/ 2220548 h 2639880"/>
                <a:gd name="connsiteX202" fmla="*/ 4386300 w 7145312"/>
                <a:gd name="connsiteY202" fmla="*/ 2234844 h 2639880"/>
                <a:gd name="connsiteX203" fmla="*/ 4381536 w 7145312"/>
                <a:gd name="connsiteY203" fmla="*/ 2244374 h 2639880"/>
                <a:gd name="connsiteX204" fmla="*/ 4343416 w 7145312"/>
                <a:gd name="connsiteY204" fmla="*/ 2239608 h 2639880"/>
                <a:gd name="connsiteX205" fmla="*/ 4343416 w 7145312"/>
                <a:gd name="connsiteY205" fmla="*/ 2230078 h 2639880"/>
                <a:gd name="connsiteX206" fmla="*/ 4352944 w 7145312"/>
                <a:gd name="connsiteY206" fmla="*/ 2220548 h 2639880"/>
                <a:gd name="connsiteX207" fmla="*/ 4357708 w 7145312"/>
                <a:gd name="connsiteY207" fmla="*/ 2220548 h 2639880"/>
                <a:gd name="connsiteX208" fmla="*/ 4529256 w 7145312"/>
                <a:gd name="connsiteY208" fmla="*/ 2211018 h 2639880"/>
                <a:gd name="connsiteX209" fmla="*/ 4534020 w 7145312"/>
                <a:gd name="connsiteY209" fmla="*/ 2211018 h 2639880"/>
                <a:gd name="connsiteX210" fmla="*/ 4538784 w 7145312"/>
                <a:gd name="connsiteY210" fmla="*/ 2211018 h 2639880"/>
                <a:gd name="connsiteX211" fmla="*/ 4543552 w 7145312"/>
                <a:gd name="connsiteY211" fmla="*/ 2215784 h 2639880"/>
                <a:gd name="connsiteX212" fmla="*/ 4538784 w 7145312"/>
                <a:gd name="connsiteY212" fmla="*/ 2230078 h 2639880"/>
                <a:gd name="connsiteX213" fmla="*/ 4529256 w 7145312"/>
                <a:gd name="connsiteY213" fmla="*/ 2239608 h 2639880"/>
                <a:gd name="connsiteX214" fmla="*/ 4524488 w 7145312"/>
                <a:gd name="connsiteY214" fmla="*/ 2258670 h 2639880"/>
                <a:gd name="connsiteX215" fmla="*/ 4514960 w 7145312"/>
                <a:gd name="connsiteY215" fmla="*/ 2263434 h 2639880"/>
                <a:gd name="connsiteX216" fmla="*/ 4505428 w 7145312"/>
                <a:gd name="connsiteY216" fmla="*/ 2268200 h 2639880"/>
                <a:gd name="connsiteX217" fmla="*/ 4495900 w 7145312"/>
                <a:gd name="connsiteY217" fmla="*/ 2249140 h 2639880"/>
                <a:gd name="connsiteX218" fmla="*/ 4481604 w 7145312"/>
                <a:gd name="connsiteY218" fmla="*/ 2249140 h 2639880"/>
                <a:gd name="connsiteX219" fmla="*/ 4491132 w 7145312"/>
                <a:gd name="connsiteY219" fmla="*/ 2234844 h 2639880"/>
                <a:gd name="connsiteX220" fmla="*/ 4495900 w 7145312"/>
                <a:gd name="connsiteY220" fmla="*/ 2230078 h 2639880"/>
                <a:gd name="connsiteX221" fmla="*/ 4505428 w 7145312"/>
                <a:gd name="connsiteY221" fmla="*/ 2230078 h 2639880"/>
                <a:gd name="connsiteX222" fmla="*/ 4510192 w 7145312"/>
                <a:gd name="connsiteY222" fmla="*/ 2234844 h 2639880"/>
                <a:gd name="connsiteX223" fmla="*/ 4457776 w 7145312"/>
                <a:gd name="connsiteY223" fmla="*/ 2211018 h 2639880"/>
                <a:gd name="connsiteX224" fmla="*/ 4472072 w 7145312"/>
                <a:gd name="connsiteY224" fmla="*/ 2211018 h 2639880"/>
                <a:gd name="connsiteX225" fmla="*/ 4476836 w 7145312"/>
                <a:gd name="connsiteY225" fmla="*/ 2215784 h 2639880"/>
                <a:gd name="connsiteX226" fmla="*/ 4481604 w 7145312"/>
                <a:gd name="connsiteY226" fmla="*/ 2220548 h 2639880"/>
                <a:gd name="connsiteX227" fmla="*/ 4457776 w 7145312"/>
                <a:gd name="connsiteY227" fmla="*/ 2225314 h 2639880"/>
                <a:gd name="connsiteX228" fmla="*/ 4448248 w 7145312"/>
                <a:gd name="connsiteY228" fmla="*/ 2244374 h 2639880"/>
                <a:gd name="connsiteX229" fmla="*/ 4433952 w 7145312"/>
                <a:gd name="connsiteY229" fmla="*/ 2244374 h 2639880"/>
                <a:gd name="connsiteX230" fmla="*/ 4429188 w 7145312"/>
                <a:gd name="connsiteY230" fmla="*/ 2253904 h 2639880"/>
                <a:gd name="connsiteX231" fmla="*/ 4429188 w 7145312"/>
                <a:gd name="connsiteY231" fmla="*/ 2258670 h 2639880"/>
                <a:gd name="connsiteX232" fmla="*/ 4429188 w 7145312"/>
                <a:gd name="connsiteY232" fmla="*/ 2263434 h 2639880"/>
                <a:gd name="connsiteX233" fmla="*/ 4424420 w 7145312"/>
                <a:gd name="connsiteY233" fmla="*/ 2268200 h 2639880"/>
                <a:gd name="connsiteX234" fmla="*/ 4414892 w 7145312"/>
                <a:gd name="connsiteY234" fmla="*/ 2263434 h 2639880"/>
                <a:gd name="connsiteX235" fmla="*/ 4405360 w 7145312"/>
                <a:gd name="connsiteY235" fmla="*/ 2268200 h 2639880"/>
                <a:gd name="connsiteX236" fmla="*/ 4400596 w 7145312"/>
                <a:gd name="connsiteY236" fmla="*/ 2272964 h 2639880"/>
                <a:gd name="connsiteX237" fmla="*/ 4391064 w 7145312"/>
                <a:gd name="connsiteY237" fmla="*/ 2263434 h 2639880"/>
                <a:gd name="connsiteX238" fmla="*/ 4376772 w 7145312"/>
                <a:gd name="connsiteY238" fmla="*/ 2263434 h 2639880"/>
                <a:gd name="connsiteX239" fmla="*/ 4372004 w 7145312"/>
                <a:gd name="connsiteY239" fmla="*/ 2263434 h 2639880"/>
                <a:gd name="connsiteX240" fmla="*/ 4391064 w 7145312"/>
                <a:gd name="connsiteY240" fmla="*/ 2249140 h 2639880"/>
                <a:gd name="connsiteX241" fmla="*/ 4410128 w 7145312"/>
                <a:gd name="connsiteY241" fmla="*/ 2234844 h 2639880"/>
                <a:gd name="connsiteX242" fmla="*/ 4410128 w 7145312"/>
                <a:gd name="connsiteY242" fmla="*/ 2230078 h 2639880"/>
                <a:gd name="connsiteX243" fmla="*/ 4405360 w 7145312"/>
                <a:gd name="connsiteY243" fmla="*/ 2230078 h 2639880"/>
                <a:gd name="connsiteX244" fmla="*/ 4400596 w 7145312"/>
                <a:gd name="connsiteY244" fmla="*/ 2225314 h 2639880"/>
                <a:gd name="connsiteX245" fmla="*/ 4410128 w 7145312"/>
                <a:gd name="connsiteY245" fmla="*/ 2220548 h 2639880"/>
                <a:gd name="connsiteX246" fmla="*/ 4419656 w 7145312"/>
                <a:gd name="connsiteY246" fmla="*/ 2220548 h 2639880"/>
                <a:gd name="connsiteX247" fmla="*/ 4429188 w 7145312"/>
                <a:gd name="connsiteY247" fmla="*/ 2225314 h 2639880"/>
                <a:gd name="connsiteX248" fmla="*/ 4433952 w 7145312"/>
                <a:gd name="connsiteY248" fmla="*/ 2225314 h 2639880"/>
                <a:gd name="connsiteX249" fmla="*/ 3304616 w 7145312"/>
                <a:gd name="connsiteY249" fmla="*/ 2211018 h 2639880"/>
                <a:gd name="connsiteX250" fmla="*/ 3347504 w 7145312"/>
                <a:gd name="connsiteY250" fmla="*/ 2225314 h 2639880"/>
                <a:gd name="connsiteX251" fmla="*/ 3352268 w 7145312"/>
                <a:gd name="connsiteY251" fmla="*/ 2225314 h 2639880"/>
                <a:gd name="connsiteX252" fmla="*/ 3357032 w 7145312"/>
                <a:gd name="connsiteY252" fmla="*/ 2230078 h 2639880"/>
                <a:gd name="connsiteX253" fmla="*/ 3357032 w 7145312"/>
                <a:gd name="connsiteY253" fmla="*/ 2239608 h 2639880"/>
                <a:gd name="connsiteX254" fmla="*/ 3342736 w 7145312"/>
                <a:gd name="connsiteY254" fmla="*/ 2277730 h 2639880"/>
                <a:gd name="connsiteX255" fmla="*/ 3323676 w 7145312"/>
                <a:gd name="connsiteY255" fmla="*/ 2311086 h 2639880"/>
                <a:gd name="connsiteX256" fmla="*/ 3333208 w 7145312"/>
                <a:gd name="connsiteY256" fmla="*/ 2315850 h 2639880"/>
                <a:gd name="connsiteX257" fmla="*/ 3337972 w 7145312"/>
                <a:gd name="connsiteY257" fmla="*/ 2320616 h 2639880"/>
                <a:gd name="connsiteX258" fmla="*/ 3304616 w 7145312"/>
                <a:gd name="connsiteY258" fmla="*/ 2325380 h 2639880"/>
                <a:gd name="connsiteX259" fmla="*/ 3290320 w 7145312"/>
                <a:gd name="connsiteY259" fmla="*/ 2320616 h 2639880"/>
                <a:gd name="connsiteX260" fmla="*/ 3280792 w 7145312"/>
                <a:gd name="connsiteY260" fmla="*/ 2325380 h 2639880"/>
                <a:gd name="connsiteX261" fmla="*/ 3247436 w 7145312"/>
                <a:gd name="connsiteY261" fmla="*/ 2315850 h 2639880"/>
                <a:gd name="connsiteX262" fmla="*/ 3223608 w 7145312"/>
                <a:gd name="connsiteY262" fmla="*/ 2311086 h 2639880"/>
                <a:gd name="connsiteX263" fmla="*/ 3223608 w 7145312"/>
                <a:gd name="connsiteY263" fmla="*/ 2301556 h 2639880"/>
                <a:gd name="connsiteX264" fmla="*/ 3223608 w 7145312"/>
                <a:gd name="connsiteY264" fmla="*/ 2296790 h 2639880"/>
                <a:gd name="connsiteX265" fmla="*/ 3233140 w 7145312"/>
                <a:gd name="connsiteY265" fmla="*/ 2296790 h 2639880"/>
                <a:gd name="connsiteX266" fmla="*/ 3247436 w 7145312"/>
                <a:gd name="connsiteY266" fmla="*/ 2301556 h 2639880"/>
                <a:gd name="connsiteX267" fmla="*/ 3256964 w 7145312"/>
                <a:gd name="connsiteY267" fmla="*/ 2296790 h 2639880"/>
                <a:gd name="connsiteX268" fmla="*/ 3256964 w 7145312"/>
                <a:gd name="connsiteY268" fmla="*/ 2277730 h 2639880"/>
                <a:gd name="connsiteX269" fmla="*/ 3252200 w 7145312"/>
                <a:gd name="connsiteY269" fmla="*/ 2249140 h 2639880"/>
                <a:gd name="connsiteX270" fmla="*/ 3280792 w 7145312"/>
                <a:gd name="connsiteY270" fmla="*/ 2225314 h 2639880"/>
                <a:gd name="connsiteX271" fmla="*/ 3290320 w 7145312"/>
                <a:gd name="connsiteY271" fmla="*/ 2215784 h 2639880"/>
                <a:gd name="connsiteX272" fmla="*/ 6802220 w 7145312"/>
                <a:gd name="connsiteY272" fmla="*/ 2206252 h 2639880"/>
                <a:gd name="connsiteX273" fmla="*/ 6806984 w 7145312"/>
                <a:gd name="connsiteY273" fmla="*/ 2206252 h 2639880"/>
                <a:gd name="connsiteX274" fmla="*/ 6821280 w 7145312"/>
                <a:gd name="connsiteY274" fmla="*/ 2230078 h 2639880"/>
                <a:gd name="connsiteX275" fmla="*/ 6821280 w 7145312"/>
                <a:gd name="connsiteY275" fmla="*/ 2239608 h 2639880"/>
                <a:gd name="connsiteX276" fmla="*/ 6811748 w 7145312"/>
                <a:gd name="connsiteY276" fmla="*/ 2244372 h 2639880"/>
                <a:gd name="connsiteX277" fmla="*/ 6773628 w 7145312"/>
                <a:gd name="connsiteY277" fmla="*/ 2239608 h 2639880"/>
                <a:gd name="connsiteX278" fmla="*/ 6768864 w 7145312"/>
                <a:gd name="connsiteY278" fmla="*/ 2230078 h 2639880"/>
                <a:gd name="connsiteX279" fmla="*/ 6778396 w 7145312"/>
                <a:gd name="connsiteY279" fmla="*/ 2220548 h 2639880"/>
                <a:gd name="connsiteX280" fmla="*/ 6787924 w 7145312"/>
                <a:gd name="connsiteY280" fmla="*/ 2211018 h 2639880"/>
                <a:gd name="connsiteX281" fmla="*/ 4748448 w 7145312"/>
                <a:gd name="connsiteY281" fmla="*/ 2201488 h 2639880"/>
                <a:gd name="connsiteX282" fmla="*/ 4753216 w 7145312"/>
                <a:gd name="connsiteY282" fmla="*/ 2201488 h 2639880"/>
                <a:gd name="connsiteX283" fmla="*/ 4738920 w 7145312"/>
                <a:gd name="connsiteY283" fmla="*/ 2230078 h 2639880"/>
                <a:gd name="connsiteX284" fmla="*/ 4729388 w 7145312"/>
                <a:gd name="connsiteY284" fmla="*/ 2220548 h 2639880"/>
                <a:gd name="connsiteX285" fmla="*/ 4743684 w 7145312"/>
                <a:gd name="connsiteY285" fmla="*/ 2206252 h 2639880"/>
                <a:gd name="connsiteX286" fmla="*/ 4572140 w 7145312"/>
                <a:gd name="connsiteY286" fmla="*/ 2201488 h 2639880"/>
                <a:gd name="connsiteX287" fmla="*/ 4586436 w 7145312"/>
                <a:gd name="connsiteY287" fmla="*/ 2201488 h 2639880"/>
                <a:gd name="connsiteX288" fmla="*/ 4586436 w 7145312"/>
                <a:gd name="connsiteY288" fmla="*/ 2211018 h 2639880"/>
                <a:gd name="connsiteX289" fmla="*/ 4600732 w 7145312"/>
                <a:gd name="connsiteY289" fmla="*/ 2206252 h 2639880"/>
                <a:gd name="connsiteX290" fmla="*/ 4610260 w 7145312"/>
                <a:gd name="connsiteY290" fmla="*/ 2206252 h 2639880"/>
                <a:gd name="connsiteX291" fmla="*/ 4638852 w 7145312"/>
                <a:gd name="connsiteY291" fmla="*/ 2206252 h 2639880"/>
                <a:gd name="connsiteX292" fmla="*/ 4657912 w 7145312"/>
                <a:gd name="connsiteY292" fmla="*/ 2206252 h 2639880"/>
                <a:gd name="connsiteX293" fmla="*/ 4667444 w 7145312"/>
                <a:gd name="connsiteY293" fmla="*/ 2211018 h 2639880"/>
                <a:gd name="connsiteX294" fmla="*/ 4672208 w 7145312"/>
                <a:gd name="connsiteY294" fmla="*/ 2230078 h 2639880"/>
                <a:gd name="connsiteX295" fmla="*/ 4667444 w 7145312"/>
                <a:gd name="connsiteY295" fmla="*/ 2234842 h 2639880"/>
                <a:gd name="connsiteX296" fmla="*/ 4562612 w 7145312"/>
                <a:gd name="connsiteY296" fmla="*/ 2249138 h 2639880"/>
                <a:gd name="connsiteX297" fmla="*/ 4553080 w 7145312"/>
                <a:gd name="connsiteY297" fmla="*/ 2244372 h 2639880"/>
                <a:gd name="connsiteX298" fmla="*/ 4548316 w 7145312"/>
                <a:gd name="connsiteY298" fmla="*/ 2239608 h 2639880"/>
                <a:gd name="connsiteX299" fmla="*/ 4557844 w 7145312"/>
                <a:gd name="connsiteY299" fmla="*/ 2225312 h 2639880"/>
                <a:gd name="connsiteX300" fmla="*/ 4553080 w 7145312"/>
                <a:gd name="connsiteY300" fmla="*/ 2220548 h 2639880"/>
                <a:gd name="connsiteX301" fmla="*/ 4562612 w 7145312"/>
                <a:gd name="connsiteY301" fmla="*/ 2206252 h 2639880"/>
                <a:gd name="connsiteX302" fmla="*/ 3723948 w 7145312"/>
                <a:gd name="connsiteY302" fmla="*/ 2201488 h 2639880"/>
                <a:gd name="connsiteX303" fmla="*/ 3728712 w 7145312"/>
                <a:gd name="connsiteY303" fmla="*/ 2201488 h 2639880"/>
                <a:gd name="connsiteX304" fmla="*/ 3733480 w 7145312"/>
                <a:gd name="connsiteY304" fmla="*/ 2206252 h 2639880"/>
                <a:gd name="connsiteX305" fmla="*/ 3733480 w 7145312"/>
                <a:gd name="connsiteY305" fmla="*/ 2211016 h 2639880"/>
                <a:gd name="connsiteX306" fmla="*/ 3728712 w 7145312"/>
                <a:gd name="connsiteY306" fmla="*/ 2215782 h 2639880"/>
                <a:gd name="connsiteX307" fmla="*/ 3723948 w 7145312"/>
                <a:gd name="connsiteY307" fmla="*/ 2215782 h 2639880"/>
                <a:gd name="connsiteX308" fmla="*/ 3719184 w 7145312"/>
                <a:gd name="connsiteY308" fmla="*/ 2215782 h 2639880"/>
                <a:gd name="connsiteX309" fmla="*/ 3714416 w 7145312"/>
                <a:gd name="connsiteY309" fmla="*/ 2211016 h 2639880"/>
                <a:gd name="connsiteX310" fmla="*/ 3719184 w 7145312"/>
                <a:gd name="connsiteY310" fmla="*/ 2206252 h 2639880"/>
                <a:gd name="connsiteX311" fmla="*/ 3485692 w 7145312"/>
                <a:gd name="connsiteY311" fmla="*/ 2201488 h 2639880"/>
                <a:gd name="connsiteX312" fmla="*/ 3504752 w 7145312"/>
                <a:gd name="connsiteY312" fmla="*/ 2201488 h 2639880"/>
                <a:gd name="connsiteX313" fmla="*/ 3504752 w 7145312"/>
                <a:gd name="connsiteY313" fmla="*/ 2211018 h 2639880"/>
                <a:gd name="connsiteX314" fmla="*/ 3485692 w 7145312"/>
                <a:gd name="connsiteY314" fmla="*/ 2239608 h 2639880"/>
                <a:gd name="connsiteX315" fmla="*/ 3476160 w 7145312"/>
                <a:gd name="connsiteY315" fmla="*/ 2234842 h 2639880"/>
                <a:gd name="connsiteX316" fmla="*/ 3480928 w 7145312"/>
                <a:gd name="connsiteY316" fmla="*/ 2225312 h 2639880"/>
                <a:gd name="connsiteX317" fmla="*/ 3476160 w 7145312"/>
                <a:gd name="connsiteY317" fmla="*/ 2215782 h 2639880"/>
                <a:gd name="connsiteX318" fmla="*/ 3476160 w 7145312"/>
                <a:gd name="connsiteY318" fmla="*/ 2206252 h 2639880"/>
                <a:gd name="connsiteX319" fmla="*/ 5086776 w 7145312"/>
                <a:gd name="connsiteY319" fmla="*/ 2196722 h 2639880"/>
                <a:gd name="connsiteX320" fmla="*/ 5091540 w 7145312"/>
                <a:gd name="connsiteY320" fmla="*/ 2196722 h 2639880"/>
                <a:gd name="connsiteX321" fmla="*/ 5120128 w 7145312"/>
                <a:gd name="connsiteY321" fmla="*/ 2201488 h 2639880"/>
                <a:gd name="connsiteX322" fmla="*/ 5134424 w 7145312"/>
                <a:gd name="connsiteY322" fmla="*/ 2201488 h 2639880"/>
                <a:gd name="connsiteX323" fmla="*/ 5139192 w 7145312"/>
                <a:gd name="connsiteY323" fmla="*/ 2206252 h 2639880"/>
                <a:gd name="connsiteX324" fmla="*/ 5120128 w 7145312"/>
                <a:gd name="connsiteY324" fmla="*/ 2220548 h 2639880"/>
                <a:gd name="connsiteX325" fmla="*/ 5091540 w 7145312"/>
                <a:gd name="connsiteY325" fmla="*/ 2211018 h 2639880"/>
                <a:gd name="connsiteX326" fmla="*/ 4314824 w 7145312"/>
                <a:gd name="connsiteY326" fmla="*/ 2196722 h 2639880"/>
                <a:gd name="connsiteX327" fmla="*/ 4324352 w 7145312"/>
                <a:gd name="connsiteY327" fmla="*/ 2196722 h 2639880"/>
                <a:gd name="connsiteX328" fmla="*/ 4333884 w 7145312"/>
                <a:gd name="connsiteY328" fmla="*/ 2201488 h 2639880"/>
                <a:gd name="connsiteX329" fmla="*/ 4338648 w 7145312"/>
                <a:gd name="connsiteY329" fmla="*/ 2230078 h 2639880"/>
                <a:gd name="connsiteX330" fmla="*/ 4329120 w 7145312"/>
                <a:gd name="connsiteY330" fmla="*/ 2234842 h 2639880"/>
                <a:gd name="connsiteX331" fmla="*/ 4324352 w 7145312"/>
                <a:gd name="connsiteY331" fmla="*/ 2239608 h 2639880"/>
                <a:gd name="connsiteX332" fmla="*/ 4324352 w 7145312"/>
                <a:gd name="connsiteY332" fmla="*/ 2244374 h 2639880"/>
                <a:gd name="connsiteX333" fmla="*/ 4310060 w 7145312"/>
                <a:gd name="connsiteY333" fmla="*/ 2253904 h 2639880"/>
                <a:gd name="connsiteX334" fmla="*/ 4314824 w 7145312"/>
                <a:gd name="connsiteY334" fmla="*/ 2268198 h 2639880"/>
                <a:gd name="connsiteX335" fmla="*/ 4310060 w 7145312"/>
                <a:gd name="connsiteY335" fmla="*/ 2272964 h 2639880"/>
                <a:gd name="connsiteX336" fmla="*/ 4305292 w 7145312"/>
                <a:gd name="connsiteY336" fmla="*/ 2277728 h 2639880"/>
                <a:gd name="connsiteX337" fmla="*/ 4281468 w 7145312"/>
                <a:gd name="connsiteY337" fmla="*/ 2282494 h 2639880"/>
                <a:gd name="connsiteX338" fmla="*/ 4267172 w 7145312"/>
                <a:gd name="connsiteY338" fmla="*/ 2287260 h 2639880"/>
                <a:gd name="connsiteX339" fmla="*/ 4252876 w 7145312"/>
                <a:gd name="connsiteY339" fmla="*/ 2292024 h 2639880"/>
                <a:gd name="connsiteX340" fmla="*/ 4248112 w 7145312"/>
                <a:gd name="connsiteY340" fmla="*/ 2296790 h 2639880"/>
                <a:gd name="connsiteX341" fmla="*/ 4233816 w 7145312"/>
                <a:gd name="connsiteY341" fmla="*/ 2296790 h 2639880"/>
                <a:gd name="connsiteX342" fmla="*/ 4209992 w 7145312"/>
                <a:gd name="connsiteY342" fmla="*/ 2296790 h 2639880"/>
                <a:gd name="connsiteX343" fmla="*/ 4195696 w 7145312"/>
                <a:gd name="connsiteY343" fmla="*/ 2296790 h 2639880"/>
                <a:gd name="connsiteX344" fmla="*/ 4157576 w 7145312"/>
                <a:gd name="connsiteY344" fmla="*/ 2315850 h 2639880"/>
                <a:gd name="connsiteX345" fmla="*/ 4138512 w 7145312"/>
                <a:gd name="connsiteY345" fmla="*/ 2315850 h 2639880"/>
                <a:gd name="connsiteX346" fmla="*/ 4128984 w 7145312"/>
                <a:gd name="connsiteY346" fmla="*/ 2320614 h 2639880"/>
                <a:gd name="connsiteX347" fmla="*/ 4124220 w 7145312"/>
                <a:gd name="connsiteY347" fmla="*/ 2315850 h 2639880"/>
                <a:gd name="connsiteX348" fmla="*/ 4114688 w 7145312"/>
                <a:gd name="connsiteY348" fmla="*/ 2306320 h 2639880"/>
                <a:gd name="connsiteX349" fmla="*/ 4105156 w 7145312"/>
                <a:gd name="connsiteY349" fmla="*/ 2306320 h 2639880"/>
                <a:gd name="connsiteX350" fmla="*/ 4090864 w 7145312"/>
                <a:gd name="connsiteY350" fmla="*/ 2306320 h 2639880"/>
                <a:gd name="connsiteX351" fmla="*/ 4076568 w 7145312"/>
                <a:gd name="connsiteY351" fmla="*/ 2325380 h 2639880"/>
                <a:gd name="connsiteX352" fmla="*/ 4057508 w 7145312"/>
                <a:gd name="connsiteY352" fmla="*/ 2320614 h 2639880"/>
                <a:gd name="connsiteX353" fmla="*/ 4047976 w 7145312"/>
                <a:gd name="connsiteY353" fmla="*/ 2320614 h 2639880"/>
                <a:gd name="connsiteX354" fmla="*/ 4038448 w 7145312"/>
                <a:gd name="connsiteY354" fmla="*/ 2325380 h 2639880"/>
                <a:gd name="connsiteX355" fmla="*/ 4028916 w 7145312"/>
                <a:gd name="connsiteY355" fmla="*/ 2325380 h 2639880"/>
                <a:gd name="connsiteX356" fmla="*/ 4024152 w 7145312"/>
                <a:gd name="connsiteY356" fmla="*/ 2325380 h 2639880"/>
                <a:gd name="connsiteX357" fmla="*/ 3990796 w 7145312"/>
                <a:gd name="connsiteY357" fmla="*/ 2315850 h 2639880"/>
                <a:gd name="connsiteX358" fmla="*/ 3952672 w 7145312"/>
                <a:gd name="connsiteY358" fmla="*/ 2306320 h 2639880"/>
                <a:gd name="connsiteX359" fmla="*/ 3919320 w 7145312"/>
                <a:gd name="connsiteY359" fmla="*/ 2306320 h 2639880"/>
                <a:gd name="connsiteX360" fmla="*/ 3885964 w 7145312"/>
                <a:gd name="connsiteY360" fmla="*/ 2301554 h 2639880"/>
                <a:gd name="connsiteX361" fmla="*/ 3871668 w 7145312"/>
                <a:gd name="connsiteY361" fmla="*/ 2306320 h 2639880"/>
                <a:gd name="connsiteX362" fmla="*/ 3852608 w 7145312"/>
                <a:gd name="connsiteY362" fmla="*/ 2315850 h 2639880"/>
                <a:gd name="connsiteX363" fmla="*/ 3847840 w 7145312"/>
                <a:gd name="connsiteY363" fmla="*/ 2306320 h 2639880"/>
                <a:gd name="connsiteX364" fmla="*/ 3843076 w 7145312"/>
                <a:gd name="connsiteY364" fmla="*/ 2301554 h 2639880"/>
                <a:gd name="connsiteX365" fmla="*/ 3838312 w 7145312"/>
                <a:gd name="connsiteY365" fmla="*/ 2287260 h 2639880"/>
                <a:gd name="connsiteX366" fmla="*/ 3838312 w 7145312"/>
                <a:gd name="connsiteY366" fmla="*/ 2277728 h 2639880"/>
                <a:gd name="connsiteX367" fmla="*/ 3843076 w 7145312"/>
                <a:gd name="connsiteY367" fmla="*/ 2268198 h 2639880"/>
                <a:gd name="connsiteX368" fmla="*/ 3843076 w 7145312"/>
                <a:gd name="connsiteY368" fmla="*/ 2263434 h 2639880"/>
                <a:gd name="connsiteX369" fmla="*/ 3847840 w 7145312"/>
                <a:gd name="connsiteY369" fmla="*/ 2253904 h 2639880"/>
                <a:gd name="connsiteX370" fmla="*/ 3847840 w 7145312"/>
                <a:gd name="connsiteY370" fmla="*/ 2244374 h 2639880"/>
                <a:gd name="connsiteX371" fmla="*/ 3857372 w 7145312"/>
                <a:gd name="connsiteY371" fmla="*/ 2249138 h 2639880"/>
                <a:gd name="connsiteX372" fmla="*/ 3862136 w 7145312"/>
                <a:gd name="connsiteY372" fmla="*/ 2249138 h 2639880"/>
                <a:gd name="connsiteX373" fmla="*/ 3885964 w 7145312"/>
                <a:gd name="connsiteY373" fmla="*/ 2239608 h 2639880"/>
                <a:gd name="connsiteX374" fmla="*/ 3905024 w 7145312"/>
                <a:gd name="connsiteY374" fmla="*/ 2225312 h 2639880"/>
                <a:gd name="connsiteX375" fmla="*/ 3924084 w 7145312"/>
                <a:gd name="connsiteY375" fmla="*/ 2220548 h 2639880"/>
                <a:gd name="connsiteX376" fmla="*/ 3933612 w 7145312"/>
                <a:gd name="connsiteY376" fmla="*/ 2220548 h 2639880"/>
                <a:gd name="connsiteX377" fmla="*/ 3943144 w 7145312"/>
                <a:gd name="connsiteY377" fmla="*/ 2220548 h 2639880"/>
                <a:gd name="connsiteX378" fmla="*/ 3952672 w 7145312"/>
                <a:gd name="connsiteY378" fmla="*/ 2220548 h 2639880"/>
                <a:gd name="connsiteX379" fmla="*/ 3962204 w 7145312"/>
                <a:gd name="connsiteY379" fmla="*/ 2215782 h 2639880"/>
                <a:gd name="connsiteX380" fmla="*/ 3981264 w 7145312"/>
                <a:gd name="connsiteY380" fmla="*/ 2230078 h 2639880"/>
                <a:gd name="connsiteX381" fmla="*/ 3986028 w 7145312"/>
                <a:gd name="connsiteY381" fmla="*/ 2230078 h 2639880"/>
                <a:gd name="connsiteX382" fmla="*/ 4005092 w 7145312"/>
                <a:gd name="connsiteY382" fmla="*/ 2230078 h 2639880"/>
                <a:gd name="connsiteX383" fmla="*/ 4028916 w 7145312"/>
                <a:gd name="connsiteY383" fmla="*/ 2239608 h 2639880"/>
                <a:gd name="connsiteX384" fmla="*/ 4043212 w 7145312"/>
                <a:gd name="connsiteY384" fmla="*/ 2244374 h 2639880"/>
                <a:gd name="connsiteX385" fmla="*/ 4067036 w 7145312"/>
                <a:gd name="connsiteY385" fmla="*/ 2253904 h 2639880"/>
                <a:gd name="connsiteX386" fmla="*/ 4081332 w 7145312"/>
                <a:gd name="connsiteY386" fmla="*/ 2268198 h 2639880"/>
                <a:gd name="connsiteX387" fmla="*/ 4095628 w 7145312"/>
                <a:gd name="connsiteY387" fmla="*/ 2268198 h 2639880"/>
                <a:gd name="connsiteX388" fmla="*/ 4105156 w 7145312"/>
                <a:gd name="connsiteY388" fmla="*/ 2272964 h 2639880"/>
                <a:gd name="connsiteX389" fmla="*/ 4109924 w 7145312"/>
                <a:gd name="connsiteY389" fmla="*/ 2268198 h 2639880"/>
                <a:gd name="connsiteX390" fmla="*/ 4119452 w 7145312"/>
                <a:gd name="connsiteY390" fmla="*/ 2263434 h 2639880"/>
                <a:gd name="connsiteX391" fmla="*/ 4133748 w 7145312"/>
                <a:gd name="connsiteY391" fmla="*/ 2258668 h 2639880"/>
                <a:gd name="connsiteX392" fmla="*/ 4143280 w 7145312"/>
                <a:gd name="connsiteY392" fmla="*/ 2258668 h 2639880"/>
                <a:gd name="connsiteX393" fmla="*/ 4162340 w 7145312"/>
                <a:gd name="connsiteY393" fmla="*/ 2258668 h 2639880"/>
                <a:gd name="connsiteX394" fmla="*/ 4167104 w 7145312"/>
                <a:gd name="connsiteY394" fmla="*/ 2253904 h 2639880"/>
                <a:gd name="connsiteX395" fmla="*/ 4176636 w 7145312"/>
                <a:gd name="connsiteY395" fmla="*/ 2249138 h 2639880"/>
                <a:gd name="connsiteX396" fmla="*/ 4186164 w 7145312"/>
                <a:gd name="connsiteY396" fmla="*/ 2253904 h 2639880"/>
                <a:gd name="connsiteX397" fmla="*/ 4190932 w 7145312"/>
                <a:gd name="connsiteY397" fmla="*/ 2258668 h 2639880"/>
                <a:gd name="connsiteX398" fmla="*/ 4224288 w 7145312"/>
                <a:gd name="connsiteY398" fmla="*/ 2277728 h 2639880"/>
                <a:gd name="connsiteX399" fmla="*/ 4233816 w 7145312"/>
                <a:gd name="connsiteY399" fmla="*/ 2277728 h 2639880"/>
                <a:gd name="connsiteX400" fmla="*/ 4248112 w 7145312"/>
                <a:gd name="connsiteY400" fmla="*/ 2272964 h 2639880"/>
                <a:gd name="connsiteX401" fmla="*/ 4252876 w 7145312"/>
                <a:gd name="connsiteY401" fmla="*/ 2268198 h 2639880"/>
                <a:gd name="connsiteX402" fmla="*/ 4257640 w 7145312"/>
                <a:gd name="connsiteY402" fmla="*/ 2258668 h 2639880"/>
                <a:gd name="connsiteX403" fmla="*/ 4262408 w 7145312"/>
                <a:gd name="connsiteY403" fmla="*/ 2253904 h 2639880"/>
                <a:gd name="connsiteX404" fmla="*/ 4267172 w 7145312"/>
                <a:gd name="connsiteY404" fmla="*/ 2249138 h 2639880"/>
                <a:gd name="connsiteX405" fmla="*/ 4276704 w 7145312"/>
                <a:gd name="connsiteY405" fmla="*/ 2244374 h 2639880"/>
                <a:gd name="connsiteX406" fmla="*/ 4300528 w 7145312"/>
                <a:gd name="connsiteY406" fmla="*/ 2234842 h 2639880"/>
                <a:gd name="connsiteX407" fmla="*/ 4314824 w 7145312"/>
                <a:gd name="connsiteY407" fmla="*/ 2225312 h 2639880"/>
                <a:gd name="connsiteX408" fmla="*/ 4324352 w 7145312"/>
                <a:gd name="connsiteY408" fmla="*/ 2215782 h 2639880"/>
                <a:gd name="connsiteX409" fmla="*/ 4300528 w 7145312"/>
                <a:gd name="connsiteY409" fmla="*/ 2206252 h 2639880"/>
                <a:gd name="connsiteX410" fmla="*/ 4305292 w 7145312"/>
                <a:gd name="connsiteY410" fmla="*/ 2201488 h 2639880"/>
                <a:gd name="connsiteX411" fmla="*/ 5591876 w 7145312"/>
                <a:gd name="connsiteY411" fmla="*/ 2191956 h 2639880"/>
                <a:gd name="connsiteX412" fmla="*/ 5601408 w 7145312"/>
                <a:gd name="connsiteY412" fmla="*/ 2201488 h 2639880"/>
                <a:gd name="connsiteX413" fmla="*/ 5615704 w 7145312"/>
                <a:gd name="connsiteY413" fmla="*/ 2201488 h 2639880"/>
                <a:gd name="connsiteX414" fmla="*/ 5591876 w 7145312"/>
                <a:gd name="connsiteY414" fmla="*/ 2211018 h 2639880"/>
                <a:gd name="connsiteX415" fmla="*/ 5572816 w 7145312"/>
                <a:gd name="connsiteY415" fmla="*/ 2220548 h 2639880"/>
                <a:gd name="connsiteX416" fmla="*/ 5568052 w 7145312"/>
                <a:gd name="connsiteY416" fmla="*/ 2230078 h 2639880"/>
                <a:gd name="connsiteX417" fmla="*/ 5553756 w 7145312"/>
                <a:gd name="connsiteY417" fmla="*/ 2234844 h 2639880"/>
                <a:gd name="connsiteX418" fmla="*/ 5563288 w 7145312"/>
                <a:gd name="connsiteY418" fmla="*/ 2220548 h 2639880"/>
                <a:gd name="connsiteX419" fmla="*/ 3542872 w 7145312"/>
                <a:gd name="connsiteY419" fmla="*/ 2191956 h 2639880"/>
                <a:gd name="connsiteX420" fmla="*/ 3576228 w 7145312"/>
                <a:gd name="connsiteY420" fmla="*/ 2196722 h 2639880"/>
                <a:gd name="connsiteX421" fmla="*/ 3580992 w 7145312"/>
                <a:gd name="connsiteY421" fmla="*/ 2201488 h 2639880"/>
                <a:gd name="connsiteX422" fmla="*/ 3590524 w 7145312"/>
                <a:gd name="connsiteY422" fmla="*/ 2220548 h 2639880"/>
                <a:gd name="connsiteX423" fmla="*/ 3595288 w 7145312"/>
                <a:gd name="connsiteY423" fmla="*/ 2230078 h 2639880"/>
                <a:gd name="connsiteX424" fmla="*/ 3600056 w 7145312"/>
                <a:gd name="connsiteY424" fmla="*/ 2234844 h 2639880"/>
                <a:gd name="connsiteX425" fmla="*/ 3609584 w 7145312"/>
                <a:gd name="connsiteY425" fmla="*/ 2234844 h 2639880"/>
                <a:gd name="connsiteX426" fmla="*/ 3623880 w 7145312"/>
                <a:gd name="connsiteY426" fmla="*/ 2225312 h 2639880"/>
                <a:gd name="connsiteX427" fmla="*/ 3633412 w 7145312"/>
                <a:gd name="connsiteY427" fmla="*/ 2220548 h 2639880"/>
                <a:gd name="connsiteX428" fmla="*/ 3642940 w 7145312"/>
                <a:gd name="connsiteY428" fmla="*/ 2220548 h 2639880"/>
                <a:gd name="connsiteX429" fmla="*/ 3652472 w 7145312"/>
                <a:gd name="connsiteY429" fmla="*/ 2225312 h 2639880"/>
                <a:gd name="connsiteX430" fmla="*/ 3662000 w 7145312"/>
                <a:gd name="connsiteY430" fmla="*/ 2230078 h 2639880"/>
                <a:gd name="connsiteX431" fmla="*/ 3666768 w 7145312"/>
                <a:gd name="connsiteY431" fmla="*/ 2239608 h 2639880"/>
                <a:gd name="connsiteX432" fmla="*/ 3666768 w 7145312"/>
                <a:gd name="connsiteY432" fmla="*/ 2244374 h 2639880"/>
                <a:gd name="connsiteX433" fmla="*/ 3671532 w 7145312"/>
                <a:gd name="connsiteY433" fmla="*/ 2230078 h 2639880"/>
                <a:gd name="connsiteX434" fmla="*/ 3681060 w 7145312"/>
                <a:gd name="connsiteY434" fmla="*/ 2225312 h 2639880"/>
                <a:gd name="connsiteX435" fmla="*/ 3690592 w 7145312"/>
                <a:gd name="connsiteY435" fmla="*/ 2225312 h 2639880"/>
                <a:gd name="connsiteX436" fmla="*/ 3700124 w 7145312"/>
                <a:gd name="connsiteY436" fmla="*/ 2225312 h 2639880"/>
                <a:gd name="connsiteX437" fmla="*/ 3709652 w 7145312"/>
                <a:gd name="connsiteY437" fmla="*/ 2230078 h 2639880"/>
                <a:gd name="connsiteX438" fmla="*/ 3719184 w 7145312"/>
                <a:gd name="connsiteY438" fmla="*/ 2249138 h 2639880"/>
                <a:gd name="connsiteX439" fmla="*/ 3719184 w 7145312"/>
                <a:gd name="connsiteY439" fmla="*/ 2268198 h 2639880"/>
                <a:gd name="connsiteX440" fmla="*/ 3723948 w 7145312"/>
                <a:gd name="connsiteY440" fmla="*/ 2272964 h 2639880"/>
                <a:gd name="connsiteX441" fmla="*/ 3728712 w 7145312"/>
                <a:gd name="connsiteY441" fmla="*/ 2277730 h 2639880"/>
                <a:gd name="connsiteX442" fmla="*/ 3733480 w 7145312"/>
                <a:gd name="connsiteY442" fmla="*/ 2282494 h 2639880"/>
                <a:gd name="connsiteX443" fmla="*/ 3728712 w 7145312"/>
                <a:gd name="connsiteY443" fmla="*/ 2292024 h 2639880"/>
                <a:gd name="connsiteX444" fmla="*/ 3723948 w 7145312"/>
                <a:gd name="connsiteY444" fmla="*/ 2296790 h 2639880"/>
                <a:gd name="connsiteX445" fmla="*/ 3714416 w 7145312"/>
                <a:gd name="connsiteY445" fmla="*/ 2296790 h 2639880"/>
                <a:gd name="connsiteX446" fmla="*/ 3709652 w 7145312"/>
                <a:gd name="connsiteY446" fmla="*/ 2296790 h 2639880"/>
                <a:gd name="connsiteX447" fmla="*/ 3704888 w 7145312"/>
                <a:gd name="connsiteY447" fmla="*/ 2292024 h 2639880"/>
                <a:gd name="connsiteX448" fmla="*/ 3695356 w 7145312"/>
                <a:gd name="connsiteY448" fmla="*/ 2292024 h 2639880"/>
                <a:gd name="connsiteX449" fmla="*/ 3685828 w 7145312"/>
                <a:gd name="connsiteY449" fmla="*/ 2292024 h 2639880"/>
                <a:gd name="connsiteX450" fmla="*/ 3671532 w 7145312"/>
                <a:gd name="connsiteY450" fmla="*/ 2296790 h 2639880"/>
                <a:gd name="connsiteX451" fmla="*/ 3676296 w 7145312"/>
                <a:gd name="connsiteY451" fmla="*/ 2301554 h 2639880"/>
                <a:gd name="connsiteX452" fmla="*/ 3685828 w 7145312"/>
                <a:gd name="connsiteY452" fmla="*/ 2306320 h 2639880"/>
                <a:gd name="connsiteX453" fmla="*/ 3685828 w 7145312"/>
                <a:gd name="connsiteY453" fmla="*/ 2311084 h 2639880"/>
                <a:gd name="connsiteX454" fmla="*/ 3681060 w 7145312"/>
                <a:gd name="connsiteY454" fmla="*/ 2311084 h 2639880"/>
                <a:gd name="connsiteX455" fmla="*/ 3671532 w 7145312"/>
                <a:gd name="connsiteY455" fmla="*/ 2306320 h 2639880"/>
                <a:gd name="connsiteX456" fmla="*/ 3662000 w 7145312"/>
                <a:gd name="connsiteY456" fmla="*/ 2306320 h 2639880"/>
                <a:gd name="connsiteX457" fmla="*/ 3633412 w 7145312"/>
                <a:gd name="connsiteY457" fmla="*/ 2315850 h 2639880"/>
                <a:gd name="connsiteX458" fmla="*/ 3623880 w 7145312"/>
                <a:gd name="connsiteY458" fmla="*/ 2315850 h 2639880"/>
                <a:gd name="connsiteX459" fmla="*/ 3619116 w 7145312"/>
                <a:gd name="connsiteY459" fmla="*/ 2306320 h 2639880"/>
                <a:gd name="connsiteX460" fmla="*/ 3619116 w 7145312"/>
                <a:gd name="connsiteY460" fmla="*/ 2292024 h 2639880"/>
                <a:gd name="connsiteX461" fmla="*/ 3614348 w 7145312"/>
                <a:gd name="connsiteY461" fmla="*/ 2287260 h 2639880"/>
                <a:gd name="connsiteX462" fmla="*/ 3595288 w 7145312"/>
                <a:gd name="connsiteY462" fmla="*/ 2306320 h 2639880"/>
                <a:gd name="connsiteX463" fmla="*/ 3585760 w 7145312"/>
                <a:gd name="connsiteY463" fmla="*/ 2311084 h 2639880"/>
                <a:gd name="connsiteX464" fmla="*/ 3576228 w 7145312"/>
                <a:gd name="connsiteY464" fmla="*/ 2315850 h 2639880"/>
                <a:gd name="connsiteX465" fmla="*/ 3566700 w 7145312"/>
                <a:gd name="connsiteY465" fmla="*/ 2315850 h 2639880"/>
                <a:gd name="connsiteX466" fmla="*/ 3533344 w 7145312"/>
                <a:gd name="connsiteY466" fmla="*/ 2325380 h 2639880"/>
                <a:gd name="connsiteX467" fmla="*/ 3523812 w 7145312"/>
                <a:gd name="connsiteY467" fmla="*/ 2325380 h 2639880"/>
                <a:gd name="connsiteX468" fmla="*/ 3514284 w 7145312"/>
                <a:gd name="connsiteY468" fmla="*/ 2325380 h 2639880"/>
                <a:gd name="connsiteX469" fmla="*/ 3480928 w 7145312"/>
                <a:gd name="connsiteY469" fmla="*/ 2339676 h 2639880"/>
                <a:gd name="connsiteX470" fmla="*/ 3461864 w 7145312"/>
                <a:gd name="connsiteY470" fmla="*/ 2344440 h 2639880"/>
                <a:gd name="connsiteX471" fmla="*/ 3452336 w 7145312"/>
                <a:gd name="connsiteY471" fmla="*/ 2344440 h 2639880"/>
                <a:gd name="connsiteX472" fmla="*/ 3442804 w 7145312"/>
                <a:gd name="connsiteY472" fmla="*/ 2339676 h 2639880"/>
                <a:gd name="connsiteX473" fmla="*/ 3433276 w 7145312"/>
                <a:gd name="connsiteY473" fmla="*/ 2344440 h 2639880"/>
                <a:gd name="connsiteX474" fmla="*/ 3428508 w 7145312"/>
                <a:gd name="connsiteY474" fmla="*/ 2349206 h 2639880"/>
                <a:gd name="connsiteX475" fmla="*/ 3409448 w 7145312"/>
                <a:gd name="connsiteY475" fmla="*/ 2353972 h 2639880"/>
                <a:gd name="connsiteX476" fmla="*/ 3395152 w 7145312"/>
                <a:gd name="connsiteY476" fmla="*/ 2349206 h 2639880"/>
                <a:gd name="connsiteX477" fmla="*/ 3380860 w 7145312"/>
                <a:gd name="connsiteY477" fmla="*/ 2344440 h 2639880"/>
                <a:gd name="connsiteX478" fmla="*/ 3366564 w 7145312"/>
                <a:gd name="connsiteY478" fmla="*/ 2339676 h 2639880"/>
                <a:gd name="connsiteX479" fmla="*/ 3361800 w 7145312"/>
                <a:gd name="connsiteY479" fmla="*/ 2330146 h 2639880"/>
                <a:gd name="connsiteX480" fmla="*/ 3366564 w 7145312"/>
                <a:gd name="connsiteY480" fmla="*/ 2320616 h 2639880"/>
                <a:gd name="connsiteX481" fmla="*/ 3371328 w 7145312"/>
                <a:gd name="connsiteY481" fmla="*/ 2306320 h 2639880"/>
                <a:gd name="connsiteX482" fmla="*/ 3366564 w 7145312"/>
                <a:gd name="connsiteY482" fmla="*/ 2282494 h 2639880"/>
                <a:gd name="connsiteX483" fmla="*/ 3371328 w 7145312"/>
                <a:gd name="connsiteY483" fmla="*/ 2272964 h 2639880"/>
                <a:gd name="connsiteX484" fmla="*/ 3376092 w 7145312"/>
                <a:gd name="connsiteY484" fmla="*/ 2263434 h 2639880"/>
                <a:gd name="connsiteX485" fmla="*/ 3380860 w 7145312"/>
                <a:gd name="connsiteY485" fmla="*/ 2258668 h 2639880"/>
                <a:gd name="connsiteX486" fmla="*/ 3395152 w 7145312"/>
                <a:gd name="connsiteY486" fmla="*/ 2258668 h 2639880"/>
                <a:gd name="connsiteX487" fmla="*/ 3409448 w 7145312"/>
                <a:gd name="connsiteY487" fmla="*/ 2249138 h 2639880"/>
                <a:gd name="connsiteX488" fmla="*/ 3428508 w 7145312"/>
                <a:gd name="connsiteY488" fmla="*/ 2239608 h 2639880"/>
                <a:gd name="connsiteX489" fmla="*/ 3433276 w 7145312"/>
                <a:gd name="connsiteY489" fmla="*/ 2239608 h 2639880"/>
                <a:gd name="connsiteX490" fmla="*/ 3457100 w 7145312"/>
                <a:gd name="connsiteY490" fmla="*/ 2249138 h 2639880"/>
                <a:gd name="connsiteX491" fmla="*/ 3466632 w 7145312"/>
                <a:gd name="connsiteY491" fmla="*/ 2249138 h 2639880"/>
                <a:gd name="connsiteX492" fmla="*/ 3490456 w 7145312"/>
                <a:gd name="connsiteY492" fmla="*/ 2244374 h 2639880"/>
                <a:gd name="connsiteX493" fmla="*/ 3499988 w 7145312"/>
                <a:gd name="connsiteY493" fmla="*/ 2253904 h 2639880"/>
                <a:gd name="connsiteX494" fmla="*/ 3499988 w 7145312"/>
                <a:gd name="connsiteY494" fmla="*/ 2263434 h 2639880"/>
                <a:gd name="connsiteX495" fmla="*/ 3504752 w 7145312"/>
                <a:gd name="connsiteY495" fmla="*/ 2268198 h 2639880"/>
                <a:gd name="connsiteX496" fmla="*/ 3514284 w 7145312"/>
                <a:gd name="connsiteY496" fmla="*/ 2272964 h 2639880"/>
                <a:gd name="connsiteX497" fmla="*/ 3523812 w 7145312"/>
                <a:gd name="connsiteY497" fmla="*/ 2292024 h 2639880"/>
                <a:gd name="connsiteX498" fmla="*/ 3538108 w 7145312"/>
                <a:gd name="connsiteY498" fmla="*/ 2292024 h 2639880"/>
                <a:gd name="connsiteX499" fmla="*/ 3552404 w 7145312"/>
                <a:gd name="connsiteY499" fmla="*/ 2296790 h 2639880"/>
                <a:gd name="connsiteX500" fmla="*/ 3571464 w 7145312"/>
                <a:gd name="connsiteY500" fmla="*/ 2282494 h 2639880"/>
                <a:gd name="connsiteX501" fmla="*/ 3590524 w 7145312"/>
                <a:gd name="connsiteY501" fmla="*/ 2282494 h 2639880"/>
                <a:gd name="connsiteX502" fmla="*/ 3595288 w 7145312"/>
                <a:gd name="connsiteY502" fmla="*/ 2272964 h 2639880"/>
                <a:gd name="connsiteX503" fmla="*/ 3585760 w 7145312"/>
                <a:gd name="connsiteY503" fmla="*/ 2263434 h 2639880"/>
                <a:gd name="connsiteX504" fmla="*/ 3571464 w 7145312"/>
                <a:gd name="connsiteY504" fmla="*/ 2253904 h 2639880"/>
                <a:gd name="connsiteX505" fmla="*/ 3566700 w 7145312"/>
                <a:gd name="connsiteY505" fmla="*/ 2253904 h 2639880"/>
                <a:gd name="connsiteX506" fmla="*/ 3557168 w 7145312"/>
                <a:gd name="connsiteY506" fmla="*/ 2253904 h 2639880"/>
                <a:gd name="connsiteX507" fmla="*/ 3552404 w 7145312"/>
                <a:gd name="connsiteY507" fmla="*/ 2249138 h 2639880"/>
                <a:gd name="connsiteX508" fmla="*/ 3528576 w 7145312"/>
                <a:gd name="connsiteY508" fmla="*/ 2234844 h 2639880"/>
                <a:gd name="connsiteX509" fmla="*/ 3519048 w 7145312"/>
                <a:gd name="connsiteY509" fmla="*/ 2225312 h 2639880"/>
                <a:gd name="connsiteX510" fmla="*/ 3514284 w 7145312"/>
                <a:gd name="connsiteY510" fmla="*/ 2211018 h 2639880"/>
                <a:gd name="connsiteX511" fmla="*/ 3519048 w 7145312"/>
                <a:gd name="connsiteY511" fmla="*/ 2201488 h 2639880"/>
                <a:gd name="connsiteX512" fmla="*/ 3538108 w 7145312"/>
                <a:gd name="connsiteY512" fmla="*/ 2196722 h 2639880"/>
                <a:gd name="connsiteX513" fmla="*/ 3114012 w 7145312"/>
                <a:gd name="connsiteY513" fmla="*/ 2187192 h 2639880"/>
                <a:gd name="connsiteX514" fmla="*/ 3118776 w 7145312"/>
                <a:gd name="connsiteY514" fmla="*/ 2191958 h 2639880"/>
                <a:gd name="connsiteX515" fmla="*/ 3156896 w 7145312"/>
                <a:gd name="connsiteY515" fmla="*/ 2201488 h 2639880"/>
                <a:gd name="connsiteX516" fmla="*/ 3175956 w 7145312"/>
                <a:gd name="connsiteY516" fmla="*/ 2211018 h 2639880"/>
                <a:gd name="connsiteX517" fmla="*/ 3195016 w 7145312"/>
                <a:gd name="connsiteY517" fmla="*/ 2234844 h 2639880"/>
                <a:gd name="connsiteX518" fmla="*/ 3199784 w 7145312"/>
                <a:gd name="connsiteY518" fmla="*/ 2244374 h 2639880"/>
                <a:gd name="connsiteX519" fmla="*/ 3190252 w 7145312"/>
                <a:gd name="connsiteY519" fmla="*/ 2249138 h 2639880"/>
                <a:gd name="connsiteX520" fmla="*/ 3175956 w 7145312"/>
                <a:gd name="connsiteY520" fmla="*/ 2258668 h 2639880"/>
                <a:gd name="connsiteX521" fmla="*/ 3142600 w 7145312"/>
                <a:gd name="connsiteY521" fmla="*/ 2277730 h 2639880"/>
                <a:gd name="connsiteX522" fmla="*/ 3133072 w 7145312"/>
                <a:gd name="connsiteY522" fmla="*/ 2282494 h 2639880"/>
                <a:gd name="connsiteX523" fmla="*/ 3128308 w 7145312"/>
                <a:gd name="connsiteY523" fmla="*/ 2296790 h 2639880"/>
                <a:gd name="connsiteX524" fmla="*/ 3123540 w 7145312"/>
                <a:gd name="connsiteY524" fmla="*/ 2306320 h 2639880"/>
                <a:gd name="connsiteX525" fmla="*/ 3118776 w 7145312"/>
                <a:gd name="connsiteY525" fmla="*/ 2311084 h 2639880"/>
                <a:gd name="connsiteX526" fmla="*/ 3109244 w 7145312"/>
                <a:gd name="connsiteY526" fmla="*/ 2315850 h 2639880"/>
                <a:gd name="connsiteX527" fmla="*/ 3104480 w 7145312"/>
                <a:gd name="connsiteY527" fmla="*/ 2311084 h 2639880"/>
                <a:gd name="connsiteX528" fmla="*/ 3109244 w 7145312"/>
                <a:gd name="connsiteY528" fmla="*/ 2301554 h 2639880"/>
                <a:gd name="connsiteX529" fmla="*/ 3109244 w 7145312"/>
                <a:gd name="connsiteY529" fmla="*/ 2287260 h 2639880"/>
                <a:gd name="connsiteX530" fmla="*/ 3104480 w 7145312"/>
                <a:gd name="connsiteY530" fmla="*/ 2277730 h 2639880"/>
                <a:gd name="connsiteX531" fmla="*/ 3094952 w 7145312"/>
                <a:gd name="connsiteY531" fmla="*/ 2268198 h 2639880"/>
                <a:gd name="connsiteX532" fmla="*/ 3080656 w 7145312"/>
                <a:gd name="connsiteY532" fmla="*/ 2258668 h 2639880"/>
                <a:gd name="connsiteX533" fmla="*/ 3061596 w 7145312"/>
                <a:gd name="connsiteY533" fmla="*/ 2249138 h 2639880"/>
                <a:gd name="connsiteX534" fmla="*/ 3047300 w 7145312"/>
                <a:gd name="connsiteY534" fmla="*/ 2239608 h 2639880"/>
                <a:gd name="connsiteX535" fmla="*/ 3028240 w 7145312"/>
                <a:gd name="connsiteY535" fmla="*/ 2239608 h 2639880"/>
                <a:gd name="connsiteX536" fmla="*/ 3023472 w 7145312"/>
                <a:gd name="connsiteY536" fmla="*/ 2234844 h 2639880"/>
                <a:gd name="connsiteX537" fmla="*/ 3009180 w 7145312"/>
                <a:gd name="connsiteY537" fmla="*/ 2220548 h 2639880"/>
                <a:gd name="connsiteX538" fmla="*/ 3004412 w 7145312"/>
                <a:gd name="connsiteY538" fmla="*/ 2211018 h 2639880"/>
                <a:gd name="connsiteX539" fmla="*/ 3004412 w 7145312"/>
                <a:gd name="connsiteY539" fmla="*/ 2206252 h 2639880"/>
                <a:gd name="connsiteX540" fmla="*/ 3004412 w 7145312"/>
                <a:gd name="connsiteY540" fmla="*/ 2196722 h 2639880"/>
                <a:gd name="connsiteX541" fmla="*/ 3009180 w 7145312"/>
                <a:gd name="connsiteY541" fmla="*/ 2196722 h 2639880"/>
                <a:gd name="connsiteX542" fmla="*/ 3028240 w 7145312"/>
                <a:gd name="connsiteY542" fmla="*/ 2201488 h 2639880"/>
                <a:gd name="connsiteX543" fmla="*/ 3061596 w 7145312"/>
                <a:gd name="connsiteY543" fmla="*/ 2206252 h 2639880"/>
                <a:gd name="connsiteX544" fmla="*/ 3080656 w 7145312"/>
                <a:gd name="connsiteY544" fmla="*/ 2211018 h 2639880"/>
                <a:gd name="connsiteX545" fmla="*/ 3085420 w 7145312"/>
                <a:gd name="connsiteY545" fmla="*/ 2206252 h 2639880"/>
                <a:gd name="connsiteX546" fmla="*/ 5367916 w 7145312"/>
                <a:gd name="connsiteY546" fmla="*/ 2149072 h 2639880"/>
                <a:gd name="connsiteX547" fmla="*/ 5377448 w 7145312"/>
                <a:gd name="connsiteY547" fmla="*/ 2149072 h 2639880"/>
                <a:gd name="connsiteX548" fmla="*/ 5401272 w 7145312"/>
                <a:gd name="connsiteY548" fmla="*/ 2149072 h 2639880"/>
                <a:gd name="connsiteX549" fmla="*/ 5406036 w 7145312"/>
                <a:gd name="connsiteY549" fmla="*/ 2163366 h 2639880"/>
                <a:gd name="connsiteX550" fmla="*/ 5406036 w 7145312"/>
                <a:gd name="connsiteY550" fmla="*/ 2172896 h 2639880"/>
                <a:gd name="connsiteX551" fmla="*/ 5396508 w 7145312"/>
                <a:gd name="connsiteY551" fmla="*/ 2187192 h 2639880"/>
                <a:gd name="connsiteX552" fmla="*/ 5386976 w 7145312"/>
                <a:gd name="connsiteY552" fmla="*/ 2187192 h 2639880"/>
                <a:gd name="connsiteX553" fmla="*/ 5367916 w 7145312"/>
                <a:gd name="connsiteY553" fmla="*/ 2168132 h 2639880"/>
                <a:gd name="connsiteX554" fmla="*/ 5367916 w 7145312"/>
                <a:gd name="connsiteY554" fmla="*/ 2153836 h 2639880"/>
                <a:gd name="connsiteX555" fmla="*/ 4900936 w 7145312"/>
                <a:gd name="connsiteY555" fmla="*/ 2110950 h 2639880"/>
                <a:gd name="connsiteX556" fmla="*/ 4919996 w 7145312"/>
                <a:gd name="connsiteY556" fmla="*/ 2125246 h 2639880"/>
                <a:gd name="connsiteX557" fmla="*/ 4929524 w 7145312"/>
                <a:gd name="connsiteY557" fmla="*/ 2125246 h 2639880"/>
                <a:gd name="connsiteX558" fmla="*/ 4934288 w 7145312"/>
                <a:gd name="connsiteY558" fmla="*/ 2134776 h 2639880"/>
                <a:gd name="connsiteX559" fmla="*/ 4934288 w 7145312"/>
                <a:gd name="connsiteY559" fmla="*/ 2139540 h 2639880"/>
                <a:gd name="connsiteX560" fmla="*/ 4915228 w 7145312"/>
                <a:gd name="connsiteY560" fmla="*/ 2139540 h 2639880"/>
                <a:gd name="connsiteX561" fmla="*/ 4896168 w 7145312"/>
                <a:gd name="connsiteY561" fmla="*/ 2149072 h 2639880"/>
                <a:gd name="connsiteX562" fmla="*/ 4886640 w 7145312"/>
                <a:gd name="connsiteY562" fmla="*/ 2158602 h 2639880"/>
                <a:gd name="connsiteX563" fmla="*/ 4881872 w 7145312"/>
                <a:gd name="connsiteY563" fmla="*/ 2172896 h 2639880"/>
                <a:gd name="connsiteX564" fmla="*/ 4853284 w 7145312"/>
                <a:gd name="connsiteY564" fmla="*/ 2168132 h 2639880"/>
                <a:gd name="connsiteX565" fmla="*/ 4834224 w 7145312"/>
                <a:gd name="connsiteY565" fmla="*/ 2163366 h 2639880"/>
                <a:gd name="connsiteX566" fmla="*/ 4824692 w 7145312"/>
                <a:gd name="connsiteY566" fmla="*/ 2163366 h 2639880"/>
                <a:gd name="connsiteX567" fmla="*/ 4810396 w 7145312"/>
                <a:gd name="connsiteY567" fmla="*/ 2163366 h 2639880"/>
                <a:gd name="connsiteX568" fmla="*/ 4800868 w 7145312"/>
                <a:gd name="connsiteY568" fmla="*/ 2163366 h 2639880"/>
                <a:gd name="connsiteX569" fmla="*/ 4781808 w 7145312"/>
                <a:gd name="connsiteY569" fmla="*/ 2177662 h 2639880"/>
                <a:gd name="connsiteX570" fmla="*/ 4772276 w 7145312"/>
                <a:gd name="connsiteY570" fmla="*/ 2177662 h 2639880"/>
                <a:gd name="connsiteX571" fmla="*/ 4777040 w 7145312"/>
                <a:gd name="connsiteY571" fmla="*/ 2158602 h 2639880"/>
                <a:gd name="connsiteX572" fmla="*/ 4781808 w 7145312"/>
                <a:gd name="connsiteY572" fmla="*/ 2149072 h 2639880"/>
                <a:gd name="connsiteX573" fmla="*/ 4800868 w 7145312"/>
                <a:gd name="connsiteY573" fmla="*/ 2125246 h 2639880"/>
                <a:gd name="connsiteX574" fmla="*/ 4819928 w 7145312"/>
                <a:gd name="connsiteY574" fmla="*/ 2130010 h 2639880"/>
                <a:gd name="connsiteX575" fmla="*/ 4838988 w 7145312"/>
                <a:gd name="connsiteY575" fmla="*/ 2134776 h 2639880"/>
                <a:gd name="connsiteX576" fmla="*/ 4862812 w 7145312"/>
                <a:gd name="connsiteY576" fmla="*/ 2130010 h 2639880"/>
                <a:gd name="connsiteX577" fmla="*/ 4877108 w 7145312"/>
                <a:gd name="connsiteY577" fmla="*/ 2115716 h 2639880"/>
                <a:gd name="connsiteX578" fmla="*/ 5020064 w 7145312"/>
                <a:gd name="connsiteY578" fmla="*/ 2101420 h 2639880"/>
                <a:gd name="connsiteX579" fmla="*/ 5039124 w 7145312"/>
                <a:gd name="connsiteY579" fmla="*/ 2106186 h 2639880"/>
                <a:gd name="connsiteX580" fmla="*/ 5034356 w 7145312"/>
                <a:gd name="connsiteY580" fmla="*/ 2110950 h 2639880"/>
                <a:gd name="connsiteX581" fmla="*/ 5034356 w 7145312"/>
                <a:gd name="connsiteY581" fmla="*/ 2115716 h 2639880"/>
                <a:gd name="connsiteX582" fmla="*/ 5029592 w 7145312"/>
                <a:gd name="connsiteY582" fmla="*/ 2120480 h 2639880"/>
                <a:gd name="connsiteX583" fmla="*/ 5020064 w 7145312"/>
                <a:gd name="connsiteY583" fmla="*/ 2125246 h 2639880"/>
                <a:gd name="connsiteX584" fmla="*/ 5020064 w 7145312"/>
                <a:gd name="connsiteY584" fmla="*/ 2110950 h 2639880"/>
                <a:gd name="connsiteX585" fmla="*/ 6764100 w 7145312"/>
                <a:gd name="connsiteY585" fmla="*/ 2082360 h 2639880"/>
                <a:gd name="connsiteX586" fmla="*/ 6802220 w 7145312"/>
                <a:gd name="connsiteY586" fmla="*/ 2082360 h 2639880"/>
                <a:gd name="connsiteX587" fmla="*/ 6806984 w 7145312"/>
                <a:gd name="connsiteY587" fmla="*/ 2087124 h 2639880"/>
                <a:gd name="connsiteX588" fmla="*/ 6821280 w 7145312"/>
                <a:gd name="connsiteY588" fmla="*/ 2101420 h 2639880"/>
                <a:gd name="connsiteX589" fmla="*/ 6830812 w 7145312"/>
                <a:gd name="connsiteY589" fmla="*/ 2115714 h 2639880"/>
                <a:gd name="connsiteX590" fmla="*/ 6835576 w 7145312"/>
                <a:gd name="connsiteY590" fmla="*/ 2130010 h 2639880"/>
                <a:gd name="connsiteX591" fmla="*/ 6821280 w 7145312"/>
                <a:gd name="connsiteY591" fmla="*/ 2158600 h 2639880"/>
                <a:gd name="connsiteX592" fmla="*/ 6802220 w 7145312"/>
                <a:gd name="connsiteY592" fmla="*/ 2187192 h 2639880"/>
                <a:gd name="connsiteX593" fmla="*/ 6778396 w 7145312"/>
                <a:gd name="connsiteY593" fmla="*/ 2211018 h 2639880"/>
                <a:gd name="connsiteX594" fmla="*/ 6764100 w 7145312"/>
                <a:gd name="connsiteY594" fmla="*/ 2220548 h 2639880"/>
                <a:gd name="connsiteX595" fmla="*/ 6725976 w 7145312"/>
                <a:gd name="connsiteY595" fmla="*/ 2244372 h 2639880"/>
                <a:gd name="connsiteX596" fmla="*/ 6678328 w 7145312"/>
                <a:gd name="connsiteY596" fmla="*/ 2239608 h 2639880"/>
                <a:gd name="connsiteX597" fmla="*/ 6659264 w 7145312"/>
                <a:gd name="connsiteY597" fmla="*/ 2239608 h 2639880"/>
                <a:gd name="connsiteX598" fmla="*/ 6630676 w 7145312"/>
                <a:gd name="connsiteY598" fmla="*/ 2244372 h 2639880"/>
                <a:gd name="connsiteX599" fmla="*/ 6625912 w 7145312"/>
                <a:gd name="connsiteY599" fmla="*/ 2239608 h 2639880"/>
                <a:gd name="connsiteX600" fmla="*/ 6630676 w 7145312"/>
                <a:gd name="connsiteY600" fmla="*/ 2220548 h 2639880"/>
                <a:gd name="connsiteX601" fmla="*/ 6654500 w 7145312"/>
                <a:gd name="connsiteY601" fmla="*/ 2168132 h 2639880"/>
                <a:gd name="connsiteX602" fmla="*/ 6683092 w 7145312"/>
                <a:gd name="connsiteY602" fmla="*/ 2125246 h 2639880"/>
                <a:gd name="connsiteX603" fmla="*/ 6692620 w 7145312"/>
                <a:gd name="connsiteY603" fmla="*/ 2110950 h 2639880"/>
                <a:gd name="connsiteX604" fmla="*/ 6711684 w 7145312"/>
                <a:gd name="connsiteY604" fmla="*/ 2101420 h 2639880"/>
                <a:gd name="connsiteX605" fmla="*/ 6725976 w 7145312"/>
                <a:gd name="connsiteY605" fmla="*/ 2091890 h 2639880"/>
                <a:gd name="connsiteX606" fmla="*/ 5706240 w 7145312"/>
                <a:gd name="connsiteY606" fmla="*/ 2039472 h 2639880"/>
                <a:gd name="connsiteX607" fmla="*/ 5730064 w 7145312"/>
                <a:gd name="connsiteY607" fmla="*/ 2039472 h 2639880"/>
                <a:gd name="connsiteX608" fmla="*/ 5739596 w 7145312"/>
                <a:gd name="connsiteY608" fmla="*/ 2053768 h 2639880"/>
                <a:gd name="connsiteX609" fmla="*/ 5739596 w 7145312"/>
                <a:gd name="connsiteY609" fmla="*/ 2063300 h 2639880"/>
                <a:gd name="connsiteX610" fmla="*/ 5730064 w 7145312"/>
                <a:gd name="connsiteY610" fmla="*/ 2058534 h 2639880"/>
                <a:gd name="connsiteX611" fmla="*/ 5725300 w 7145312"/>
                <a:gd name="connsiteY611" fmla="*/ 2049004 h 2639880"/>
                <a:gd name="connsiteX612" fmla="*/ 5715772 w 7145312"/>
                <a:gd name="connsiteY612" fmla="*/ 2049004 h 2639880"/>
                <a:gd name="connsiteX613" fmla="*/ 5711004 w 7145312"/>
                <a:gd name="connsiteY613" fmla="*/ 2044238 h 2639880"/>
                <a:gd name="connsiteX614" fmla="*/ 5687180 w 7145312"/>
                <a:gd name="connsiteY614" fmla="*/ 2039472 h 2639880"/>
                <a:gd name="connsiteX615" fmla="*/ 5696712 w 7145312"/>
                <a:gd name="connsiteY615" fmla="*/ 2044238 h 2639880"/>
                <a:gd name="connsiteX616" fmla="*/ 5701476 w 7145312"/>
                <a:gd name="connsiteY616" fmla="*/ 2053768 h 2639880"/>
                <a:gd name="connsiteX617" fmla="*/ 5687180 w 7145312"/>
                <a:gd name="connsiteY617" fmla="*/ 2063298 h 2639880"/>
                <a:gd name="connsiteX618" fmla="*/ 5696712 w 7145312"/>
                <a:gd name="connsiteY618" fmla="*/ 2091890 h 2639880"/>
                <a:gd name="connsiteX619" fmla="*/ 5687180 w 7145312"/>
                <a:gd name="connsiteY619" fmla="*/ 2120480 h 2639880"/>
                <a:gd name="connsiteX620" fmla="*/ 5677652 w 7145312"/>
                <a:gd name="connsiteY620" fmla="*/ 2130010 h 2639880"/>
                <a:gd name="connsiteX621" fmla="*/ 5663356 w 7145312"/>
                <a:gd name="connsiteY621" fmla="*/ 2139540 h 2639880"/>
                <a:gd name="connsiteX622" fmla="*/ 5663356 w 7145312"/>
                <a:gd name="connsiteY622" fmla="*/ 2144306 h 2639880"/>
                <a:gd name="connsiteX623" fmla="*/ 5644296 w 7145312"/>
                <a:gd name="connsiteY623" fmla="*/ 2158602 h 2639880"/>
                <a:gd name="connsiteX624" fmla="*/ 5639528 w 7145312"/>
                <a:gd name="connsiteY624" fmla="*/ 2172896 h 2639880"/>
                <a:gd name="connsiteX625" fmla="*/ 5639528 w 7145312"/>
                <a:gd name="connsiteY625" fmla="*/ 2177662 h 2639880"/>
                <a:gd name="connsiteX626" fmla="*/ 5634764 w 7145312"/>
                <a:gd name="connsiteY626" fmla="*/ 2182428 h 2639880"/>
                <a:gd name="connsiteX627" fmla="*/ 5615704 w 7145312"/>
                <a:gd name="connsiteY627" fmla="*/ 2177662 h 2639880"/>
                <a:gd name="connsiteX628" fmla="*/ 5606172 w 7145312"/>
                <a:gd name="connsiteY628" fmla="*/ 2177662 h 2639880"/>
                <a:gd name="connsiteX629" fmla="*/ 5606172 w 7145312"/>
                <a:gd name="connsiteY629" fmla="*/ 2168132 h 2639880"/>
                <a:gd name="connsiteX630" fmla="*/ 5601408 w 7145312"/>
                <a:gd name="connsiteY630" fmla="*/ 2158602 h 2639880"/>
                <a:gd name="connsiteX631" fmla="*/ 5610940 w 7145312"/>
                <a:gd name="connsiteY631" fmla="*/ 2144306 h 2639880"/>
                <a:gd name="connsiteX632" fmla="*/ 5610940 w 7145312"/>
                <a:gd name="connsiteY632" fmla="*/ 2130010 h 2639880"/>
                <a:gd name="connsiteX633" fmla="*/ 5615704 w 7145312"/>
                <a:gd name="connsiteY633" fmla="*/ 2125246 h 2639880"/>
                <a:gd name="connsiteX634" fmla="*/ 5615704 w 7145312"/>
                <a:gd name="connsiteY634" fmla="*/ 2120480 h 2639880"/>
                <a:gd name="connsiteX635" fmla="*/ 5630000 w 7145312"/>
                <a:gd name="connsiteY635" fmla="*/ 2096654 h 2639880"/>
                <a:gd name="connsiteX636" fmla="*/ 5634764 w 7145312"/>
                <a:gd name="connsiteY636" fmla="*/ 2091890 h 2639880"/>
                <a:gd name="connsiteX637" fmla="*/ 5644296 w 7145312"/>
                <a:gd name="connsiteY637" fmla="*/ 2087124 h 2639880"/>
                <a:gd name="connsiteX638" fmla="*/ 5649060 w 7145312"/>
                <a:gd name="connsiteY638" fmla="*/ 2072828 h 2639880"/>
                <a:gd name="connsiteX639" fmla="*/ 5658588 w 7145312"/>
                <a:gd name="connsiteY639" fmla="*/ 2072828 h 2639880"/>
                <a:gd name="connsiteX640" fmla="*/ 5663356 w 7145312"/>
                <a:gd name="connsiteY640" fmla="*/ 2063298 h 2639880"/>
                <a:gd name="connsiteX641" fmla="*/ 5672884 w 7145312"/>
                <a:gd name="connsiteY641" fmla="*/ 2058534 h 2639880"/>
                <a:gd name="connsiteX642" fmla="*/ 5668120 w 7145312"/>
                <a:gd name="connsiteY642" fmla="*/ 2049004 h 2639880"/>
                <a:gd name="connsiteX643" fmla="*/ 5672884 w 7145312"/>
                <a:gd name="connsiteY643" fmla="*/ 2044238 h 2639880"/>
                <a:gd name="connsiteX644" fmla="*/ 5210668 w 7145312"/>
                <a:gd name="connsiteY644" fmla="*/ 2034708 h 2639880"/>
                <a:gd name="connsiteX645" fmla="*/ 5215432 w 7145312"/>
                <a:gd name="connsiteY645" fmla="*/ 2034708 h 2639880"/>
                <a:gd name="connsiteX646" fmla="*/ 5220196 w 7145312"/>
                <a:gd name="connsiteY646" fmla="*/ 2034708 h 2639880"/>
                <a:gd name="connsiteX647" fmla="*/ 5224964 w 7145312"/>
                <a:gd name="connsiteY647" fmla="*/ 2039474 h 2639880"/>
                <a:gd name="connsiteX648" fmla="*/ 5224964 w 7145312"/>
                <a:gd name="connsiteY648" fmla="*/ 2044238 h 2639880"/>
                <a:gd name="connsiteX649" fmla="*/ 5224964 w 7145312"/>
                <a:gd name="connsiteY649" fmla="*/ 2049004 h 2639880"/>
                <a:gd name="connsiteX650" fmla="*/ 5215432 w 7145312"/>
                <a:gd name="connsiteY650" fmla="*/ 2053768 h 2639880"/>
                <a:gd name="connsiteX651" fmla="*/ 5205904 w 7145312"/>
                <a:gd name="connsiteY651" fmla="*/ 2044238 h 2639880"/>
                <a:gd name="connsiteX652" fmla="*/ 5201136 w 7145312"/>
                <a:gd name="connsiteY652" fmla="*/ 2044238 h 2639880"/>
                <a:gd name="connsiteX653" fmla="*/ 2980588 w 7145312"/>
                <a:gd name="connsiteY653" fmla="*/ 2034708 h 2639880"/>
                <a:gd name="connsiteX654" fmla="*/ 2985352 w 7145312"/>
                <a:gd name="connsiteY654" fmla="*/ 2034708 h 2639880"/>
                <a:gd name="connsiteX655" fmla="*/ 2990120 w 7145312"/>
                <a:gd name="connsiteY655" fmla="*/ 2034708 h 2639880"/>
                <a:gd name="connsiteX656" fmla="*/ 2994884 w 7145312"/>
                <a:gd name="connsiteY656" fmla="*/ 2044238 h 2639880"/>
                <a:gd name="connsiteX657" fmla="*/ 2994884 w 7145312"/>
                <a:gd name="connsiteY657" fmla="*/ 2049004 h 2639880"/>
                <a:gd name="connsiteX658" fmla="*/ 2985352 w 7145312"/>
                <a:gd name="connsiteY658" fmla="*/ 2049004 h 2639880"/>
                <a:gd name="connsiteX659" fmla="*/ 3966968 w 7145312"/>
                <a:gd name="connsiteY659" fmla="*/ 2025178 h 2639880"/>
                <a:gd name="connsiteX660" fmla="*/ 3986028 w 7145312"/>
                <a:gd name="connsiteY660" fmla="*/ 2029944 h 2639880"/>
                <a:gd name="connsiteX661" fmla="*/ 3990796 w 7145312"/>
                <a:gd name="connsiteY661" fmla="*/ 2029944 h 2639880"/>
                <a:gd name="connsiteX662" fmla="*/ 3990796 w 7145312"/>
                <a:gd name="connsiteY662" fmla="*/ 2039472 h 2639880"/>
                <a:gd name="connsiteX663" fmla="*/ 3971736 w 7145312"/>
                <a:gd name="connsiteY663" fmla="*/ 2039472 h 2639880"/>
                <a:gd name="connsiteX664" fmla="*/ 3966968 w 7145312"/>
                <a:gd name="connsiteY664" fmla="*/ 2039472 h 2639880"/>
                <a:gd name="connsiteX665" fmla="*/ 2785216 w 7145312"/>
                <a:gd name="connsiteY665" fmla="*/ 2001352 h 2639880"/>
                <a:gd name="connsiteX666" fmla="*/ 2928172 w 7145312"/>
                <a:gd name="connsiteY666" fmla="*/ 2001352 h 2639880"/>
                <a:gd name="connsiteX667" fmla="*/ 2942468 w 7145312"/>
                <a:gd name="connsiteY667" fmla="*/ 2015648 h 2639880"/>
                <a:gd name="connsiteX668" fmla="*/ 2947232 w 7145312"/>
                <a:gd name="connsiteY668" fmla="*/ 2020412 h 2639880"/>
                <a:gd name="connsiteX669" fmla="*/ 2913876 w 7145312"/>
                <a:gd name="connsiteY669" fmla="*/ 2029944 h 2639880"/>
                <a:gd name="connsiteX670" fmla="*/ 2909112 w 7145312"/>
                <a:gd name="connsiteY670" fmla="*/ 2039474 h 2639880"/>
                <a:gd name="connsiteX671" fmla="*/ 2904344 w 7145312"/>
                <a:gd name="connsiteY671" fmla="*/ 2039474 h 2639880"/>
                <a:gd name="connsiteX672" fmla="*/ 2880520 w 7145312"/>
                <a:gd name="connsiteY672" fmla="*/ 2039474 h 2639880"/>
                <a:gd name="connsiteX673" fmla="*/ 2861460 w 7145312"/>
                <a:gd name="connsiteY673" fmla="*/ 2053768 h 2639880"/>
                <a:gd name="connsiteX674" fmla="*/ 2847164 w 7145312"/>
                <a:gd name="connsiteY674" fmla="*/ 2053768 h 2639880"/>
                <a:gd name="connsiteX675" fmla="*/ 2809044 w 7145312"/>
                <a:gd name="connsiteY675" fmla="*/ 2053768 h 2639880"/>
                <a:gd name="connsiteX676" fmla="*/ 2804280 w 7145312"/>
                <a:gd name="connsiteY676" fmla="*/ 2053768 h 2639880"/>
                <a:gd name="connsiteX677" fmla="*/ 2799512 w 7145312"/>
                <a:gd name="connsiteY677" fmla="*/ 2053768 h 2639880"/>
                <a:gd name="connsiteX678" fmla="*/ 2794748 w 7145312"/>
                <a:gd name="connsiteY678" fmla="*/ 2058534 h 2639880"/>
                <a:gd name="connsiteX679" fmla="*/ 2780452 w 7145312"/>
                <a:gd name="connsiteY679" fmla="*/ 2053768 h 2639880"/>
                <a:gd name="connsiteX680" fmla="*/ 2737568 w 7145312"/>
                <a:gd name="connsiteY680" fmla="*/ 2044238 h 2639880"/>
                <a:gd name="connsiteX681" fmla="*/ 2732800 w 7145312"/>
                <a:gd name="connsiteY681" fmla="*/ 2034708 h 2639880"/>
                <a:gd name="connsiteX682" fmla="*/ 2737568 w 7145312"/>
                <a:gd name="connsiteY682" fmla="*/ 2020412 h 2639880"/>
                <a:gd name="connsiteX683" fmla="*/ 2756628 w 7145312"/>
                <a:gd name="connsiteY683" fmla="*/ 2006118 h 2639880"/>
                <a:gd name="connsiteX684" fmla="*/ 3142604 w 7145312"/>
                <a:gd name="connsiteY684" fmla="*/ 1996588 h 2639880"/>
                <a:gd name="connsiteX685" fmla="*/ 3152132 w 7145312"/>
                <a:gd name="connsiteY685" fmla="*/ 1996588 h 2639880"/>
                <a:gd name="connsiteX686" fmla="*/ 3161664 w 7145312"/>
                <a:gd name="connsiteY686" fmla="*/ 2001352 h 2639880"/>
                <a:gd name="connsiteX687" fmla="*/ 3171192 w 7145312"/>
                <a:gd name="connsiteY687" fmla="*/ 2006118 h 2639880"/>
                <a:gd name="connsiteX688" fmla="*/ 3171192 w 7145312"/>
                <a:gd name="connsiteY688" fmla="*/ 2010882 h 2639880"/>
                <a:gd name="connsiteX689" fmla="*/ 3156896 w 7145312"/>
                <a:gd name="connsiteY689" fmla="*/ 2010882 h 2639880"/>
                <a:gd name="connsiteX690" fmla="*/ 3147368 w 7145312"/>
                <a:gd name="connsiteY690" fmla="*/ 2015648 h 2639880"/>
                <a:gd name="connsiteX691" fmla="*/ 3133072 w 7145312"/>
                <a:gd name="connsiteY691" fmla="*/ 2020412 h 2639880"/>
                <a:gd name="connsiteX692" fmla="*/ 3123544 w 7145312"/>
                <a:gd name="connsiteY692" fmla="*/ 2015648 h 2639880"/>
                <a:gd name="connsiteX693" fmla="*/ 3123544 w 7145312"/>
                <a:gd name="connsiteY693" fmla="*/ 2006118 h 2639880"/>
                <a:gd name="connsiteX694" fmla="*/ 3123544 w 7145312"/>
                <a:gd name="connsiteY694" fmla="*/ 2001352 h 2639880"/>
                <a:gd name="connsiteX695" fmla="*/ 6163692 w 7145312"/>
                <a:gd name="connsiteY695" fmla="*/ 1963232 h 2639880"/>
                <a:gd name="connsiteX696" fmla="*/ 6173224 w 7145312"/>
                <a:gd name="connsiteY696" fmla="*/ 1963232 h 2639880"/>
                <a:gd name="connsiteX697" fmla="*/ 6168456 w 7145312"/>
                <a:gd name="connsiteY697" fmla="*/ 1967996 h 2639880"/>
                <a:gd name="connsiteX698" fmla="*/ 6158928 w 7145312"/>
                <a:gd name="connsiteY698" fmla="*/ 1982292 h 2639880"/>
                <a:gd name="connsiteX699" fmla="*/ 6158928 w 7145312"/>
                <a:gd name="connsiteY699" fmla="*/ 1987056 h 2639880"/>
                <a:gd name="connsiteX700" fmla="*/ 6154160 w 7145312"/>
                <a:gd name="connsiteY700" fmla="*/ 1982292 h 2639880"/>
                <a:gd name="connsiteX701" fmla="*/ 6154160 w 7145312"/>
                <a:gd name="connsiteY701" fmla="*/ 1977526 h 2639880"/>
                <a:gd name="connsiteX702" fmla="*/ 6158928 w 7145312"/>
                <a:gd name="connsiteY702" fmla="*/ 1967996 h 2639880"/>
                <a:gd name="connsiteX703" fmla="*/ 1555816 w 7145312"/>
                <a:gd name="connsiteY703" fmla="*/ 1948936 h 2639880"/>
                <a:gd name="connsiteX704" fmla="*/ 1560580 w 7145312"/>
                <a:gd name="connsiteY704" fmla="*/ 1948936 h 2639880"/>
                <a:gd name="connsiteX705" fmla="*/ 1565344 w 7145312"/>
                <a:gd name="connsiteY705" fmla="*/ 1948936 h 2639880"/>
                <a:gd name="connsiteX706" fmla="*/ 1565348 w 7145312"/>
                <a:gd name="connsiteY706" fmla="*/ 1948936 h 2639880"/>
                <a:gd name="connsiteX707" fmla="*/ 1570112 w 7145312"/>
                <a:gd name="connsiteY707" fmla="*/ 1953702 h 2639880"/>
                <a:gd name="connsiteX708" fmla="*/ 1565348 w 7145312"/>
                <a:gd name="connsiteY708" fmla="*/ 1963232 h 2639880"/>
                <a:gd name="connsiteX709" fmla="*/ 1555816 w 7145312"/>
                <a:gd name="connsiteY709" fmla="*/ 1967996 h 2639880"/>
                <a:gd name="connsiteX710" fmla="*/ 1546288 w 7145312"/>
                <a:gd name="connsiteY710" fmla="*/ 1967996 h 2639880"/>
                <a:gd name="connsiteX711" fmla="*/ 1546284 w 7145312"/>
                <a:gd name="connsiteY711" fmla="*/ 1967996 h 2639880"/>
                <a:gd name="connsiteX712" fmla="*/ 1546284 w 7145312"/>
                <a:gd name="connsiteY712" fmla="*/ 1963232 h 2639880"/>
                <a:gd name="connsiteX713" fmla="*/ 6163692 w 7145312"/>
                <a:gd name="connsiteY713" fmla="*/ 1934640 h 2639880"/>
                <a:gd name="connsiteX714" fmla="*/ 6168456 w 7145312"/>
                <a:gd name="connsiteY714" fmla="*/ 1944170 h 2639880"/>
                <a:gd name="connsiteX715" fmla="*/ 6168456 w 7145312"/>
                <a:gd name="connsiteY715" fmla="*/ 1948936 h 2639880"/>
                <a:gd name="connsiteX716" fmla="*/ 6158928 w 7145312"/>
                <a:gd name="connsiteY716" fmla="*/ 1953700 h 2639880"/>
                <a:gd name="connsiteX717" fmla="*/ 6154160 w 7145312"/>
                <a:gd name="connsiteY717" fmla="*/ 1939406 h 2639880"/>
                <a:gd name="connsiteX718" fmla="*/ 6187520 w 7145312"/>
                <a:gd name="connsiteY718" fmla="*/ 1915580 h 2639880"/>
                <a:gd name="connsiteX719" fmla="*/ 6192284 w 7145312"/>
                <a:gd name="connsiteY719" fmla="*/ 1915580 h 2639880"/>
                <a:gd name="connsiteX720" fmla="*/ 6182752 w 7145312"/>
                <a:gd name="connsiteY720" fmla="*/ 1934640 h 2639880"/>
                <a:gd name="connsiteX721" fmla="*/ 6177988 w 7145312"/>
                <a:gd name="connsiteY721" fmla="*/ 1934640 h 2639880"/>
                <a:gd name="connsiteX722" fmla="*/ 6177988 w 7145312"/>
                <a:gd name="connsiteY722" fmla="*/ 1925110 h 2639880"/>
                <a:gd name="connsiteX723" fmla="*/ 6182752 w 7145312"/>
                <a:gd name="connsiteY723" fmla="*/ 1920346 h 2639880"/>
                <a:gd name="connsiteX724" fmla="*/ 6082684 w 7145312"/>
                <a:gd name="connsiteY724" fmla="*/ 1891754 h 2639880"/>
                <a:gd name="connsiteX725" fmla="*/ 6092216 w 7145312"/>
                <a:gd name="connsiteY725" fmla="*/ 1901284 h 2639880"/>
                <a:gd name="connsiteX726" fmla="*/ 6106512 w 7145312"/>
                <a:gd name="connsiteY726" fmla="*/ 1915580 h 2639880"/>
                <a:gd name="connsiteX727" fmla="*/ 6120808 w 7145312"/>
                <a:gd name="connsiteY727" fmla="*/ 1925110 h 2639880"/>
                <a:gd name="connsiteX728" fmla="*/ 6139868 w 7145312"/>
                <a:gd name="connsiteY728" fmla="*/ 1934640 h 2639880"/>
                <a:gd name="connsiteX729" fmla="*/ 6135100 w 7145312"/>
                <a:gd name="connsiteY729" fmla="*/ 1944170 h 2639880"/>
                <a:gd name="connsiteX730" fmla="*/ 6135100 w 7145312"/>
                <a:gd name="connsiteY730" fmla="*/ 1958466 h 2639880"/>
                <a:gd name="connsiteX731" fmla="*/ 6120808 w 7145312"/>
                <a:gd name="connsiteY731" fmla="*/ 1972762 h 2639880"/>
                <a:gd name="connsiteX732" fmla="*/ 6111276 w 7145312"/>
                <a:gd name="connsiteY732" fmla="*/ 1991822 h 2639880"/>
                <a:gd name="connsiteX733" fmla="*/ 6106512 w 7145312"/>
                <a:gd name="connsiteY733" fmla="*/ 1996586 h 2639880"/>
                <a:gd name="connsiteX734" fmla="*/ 6087452 w 7145312"/>
                <a:gd name="connsiteY734" fmla="*/ 2006116 h 2639880"/>
                <a:gd name="connsiteX735" fmla="*/ 6068392 w 7145312"/>
                <a:gd name="connsiteY735" fmla="*/ 1996586 h 2639880"/>
                <a:gd name="connsiteX736" fmla="*/ 6063624 w 7145312"/>
                <a:gd name="connsiteY736" fmla="*/ 1987056 h 2639880"/>
                <a:gd name="connsiteX737" fmla="*/ 6073156 w 7145312"/>
                <a:gd name="connsiteY737" fmla="*/ 1939406 h 2639880"/>
                <a:gd name="connsiteX738" fmla="*/ 6077920 w 7145312"/>
                <a:gd name="connsiteY738" fmla="*/ 1939406 h 2639880"/>
                <a:gd name="connsiteX739" fmla="*/ 6082684 w 7145312"/>
                <a:gd name="connsiteY739" fmla="*/ 1939406 h 2639880"/>
                <a:gd name="connsiteX740" fmla="*/ 6087452 w 7145312"/>
                <a:gd name="connsiteY740" fmla="*/ 1934640 h 2639880"/>
                <a:gd name="connsiteX741" fmla="*/ 6073156 w 7145312"/>
                <a:gd name="connsiteY741" fmla="*/ 1929876 h 2639880"/>
                <a:gd name="connsiteX742" fmla="*/ 6073156 w 7145312"/>
                <a:gd name="connsiteY742" fmla="*/ 1906050 h 2639880"/>
                <a:gd name="connsiteX743" fmla="*/ 6073156 w 7145312"/>
                <a:gd name="connsiteY743" fmla="*/ 1896520 h 2639880"/>
                <a:gd name="connsiteX744" fmla="*/ 1694004 w 7145312"/>
                <a:gd name="connsiteY744" fmla="*/ 1848868 h 2639880"/>
                <a:gd name="connsiteX745" fmla="*/ 1708300 w 7145312"/>
                <a:gd name="connsiteY745" fmla="*/ 1858398 h 2639880"/>
                <a:gd name="connsiteX746" fmla="*/ 1736888 w 7145312"/>
                <a:gd name="connsiteY746" fmla="*/ 1863164 h 2639880"/>
                <a:gd name="connsiteX747" fmla="*/ 1755952 w 7145312"/>
                <a:gd name="connsiteY747" fmla="*/ 1867928 h 2639880"/>
                <a:gd name="connsiteX748" fmla="*/ 1770244 w 7145312"/>
                <a:gd name="connsiteY748" fmla="*/ 1867928 h 2639880"/>
                <a:gd name="connsiteX749" fmla="*/ 1789304 w 7145312"/>
                <a:gd name="connsiteY749" fmla="*/ 1872694 h 2639880"/>
                <a:gd name="connsiteX750" fmla="*/ 1813132 w 7145312"/>
                <a:gd name="connsiteY750" fmla="*/ 1877458 h 2639880"/>
                <a:gd name="connsiteX751" fmla="*/ 1817896 w 7145312"/>
                <a:gd name="connsiteY751" fmla="*/ 1877458 h 2639880"/>
                <a:gd name="connsiteX752" fmla="*/ 1827428 w 7145312"/>
                <a:gd name="connsiteY752" fmla="*/ 1877458 h 2639880"/>
                <a:gd name="connsiteX753" fmla="*/ 1841724 w 7145312"/>
                <a:gd name="connsiteY753" fmla="*/ 1867928 h 2639880"/>
                <a:gd name="connsiteX754" fmla="*/ 1846488 w 7145312"/>
                <a:gd name="connsiteY754" fmla="*/ 1848868 h 2639880"/>
                <a:gd name="connsiteX755" fmla="*/ 1865548 w 7145312"/>
                <a:gd name="connsiteY755" fmla="*/ 1858398 h 2639880"/>
                <a:gd name="connsiteX756" fmla="*/ 1889372 w 7145312"/>
                <a:gd name="connsiteY756" fmla="*/ 1863164 h 2639880"/>
                <a:gd name="connsiteX757" fmla="*/ 1898904 w 7145312"/>
                <a:gd name="connsiteY757" fmla="*/ 1867928 h 2639880"/>
                <a:gd name="connsiteX758" fmla="*/ 1913200 w 7145312"/>
                <a:gd name="connsiteY758" fmla="*/ 1882224 h 2639880"/>
                <a:gd name="connsiteX759" fmla="*/ 1927496 w 7145312"/>
                <a:gd name="connsiteY759" fmla="*/ 1891754 h 2639880"/>
                <a:gd name="connsiteX760" fmla="*/ 1941792 w 7145312"/>
                <a:gd name="connsiteY760" fmla="*/ 1896520 h 2639880"/>
                <a:gd name="connsiteX761" fmla="*/ 1960852 w 7145312"/>
                <a:gd name="connsiteY761" fmla="*/ 1896520 h 2639880"/>
                <a:gd name="connsiteX762" fmla="*/ 1975144 w 7145312"/>
                <a:gd name="connsiteY762" fmla="*/ 1901284 h 2639880"/>
                <a:gd name="connsiteX763" fmla="*/ 1994208 w 7145312"/>
                <a:gd name="connsiteY763" fmla="*/ 1906050 h 2639880"/>
                <a:gd name="connsiteX764" fmla="*/ 2018032 w 7145312"/>
                <a:gd name="connsiteY764" fmla="*/ 1910814 h 2639880"/>
                <a:gd name="connsiteX765" fmla="*/ 2027564 w 7145312"/>
                <a:gd name="connsiteY765" fmla="*/ 1910814 h 2639880"/>
                <a:gd name="connsiteX766" fmla="*/ 2032328 w 7145312"/>
                <a:gd name="connsiteY766" fmla="*/ 1906050 h 2639880"/>
                <a:gd name="connsiteX767" fmla="*/ 2041856 w 7145312"/>
                <a:gd name="connsiteY767" fmla="*/ 1906050 h 2639880"/>
                <a:gd name="connsiteX768" fmla="*/ 2046624 w 7145312"/>
                <a:gd name="connsiteY768" fmla="*/ 1910814 h 2639880"/>
                <a:gd name="connsiteX769" fmla="*/ 2060920 w 7145312"/>
                <a:gd name="connsiteY769" fmla="*/ 1925110 h 2639880"/>
                <a:gd name="connsiteX770" fmla="*/ 2075212 w 7145312"/>
                <a:gd name="connsiteY770" fmla="*/ 1939406 h 2639880"/>
                <a:gd name="connsiteX771" fmla="*/ 2079980 w 7145312"/>
                <a:gd name="connsiteY771" fmla="*/ 1944170 h 2639880"/>
                <a:gd name="connsiteX772" fmla="*/ 2089508 w 7145312"/>
                <a:gd name="connsiteY772" fmla="*/ 1977526 h 2639880"/>
                <a:gd name="connsiteX773" fmla="*/ 2099040 w 7145312"/>
                <a:gd name="connsiteY773" fmla="*/ 1987056 h 2639880"/>
                <a:gd name="connsiteX774" fmla="*/ 2118100 w 7145312"/>
                <a:gd name="connsiteY774" fmla="*/ 1991822 h 2639880"/>
                <a:gd name="connsiteX775" fmla="*/ 2137160 w 7145312"/>
                <a:gd name="connsiteY775" fmla="*/ 1991822 h 2639880"/>
                <a:gd name="connsiteX776" fmla="*/ 2151456 w 7145312"/>
                <a:gd name="connsiteY776" fmla="*/ 1991822 h 2639880"/>
                <a:gd name="connsiteX777" fmla="*/ 2199108 w 7145312"/>
                <a:gd name="connsiteY777" fmla="*/ 2001352 h 2639880"/>
                <a:gd name="connsiteX778" fmla="*/ 2213404 w 7145312"/>
                <a:gd name="connsiteY778" fmla="*/ 2001352 h 2639880"/>
                <a:gd name="connsiteX779" fmla="*/ 2227696 w 7145312"/>
                <a:gd name="connsiteY779" fmla="*/ 1991822 h 2639880"/>
                <a:gd name="connsiteX780" fmla="*/ 2241992 w 7145312"/>
                <a:gd name="connsiteY780" fmla="*/ 1996586 h 2639880"/>
                <a:gd name="connsiteX781" fmla="*/ 2280116 w 7145312"/>
                <a:gd name="connsiteY781" fmla="*/ 2006118 h 2639880"/>
                <a:gd name="connsiteX782" fmla="*/ 2299176 w 7145312"/>
                <a:gd name="connsiteY782" fmla="*/ 2010882 h 2639880"/>
                <a:gd name="connsiteX783" fmla="*/ 2318236 w 7145312"/>
                <a:gd name="connsiteY783" fmla="*/ 2006118 h 2639880"/>
                <a:gd name="connsiteX784" fmla="*/ 2337296 w 7145312"/>
                <a:gd name="connsiteY784" fmla="*/ 2006118 h 2639880"/>
                <a:gd name="connsiteX785" fmla="*/ 2346824 w 7145312"/>
                <a:gd name="connsiteY785" fmla="*/ 2006118 h 2639880"/>
                <a:gd name="connsiteX786" fmla="*/ 2356356 w 7145312"/>
                <a:gd name="connsiteY786" fmla="*/ 2010882 h 2639880"/>
                <a:gd name="connsiteX787" fmla="*/ 2365888 w 7145312"/>
                <a:gd name="connsiteY787" fmla="*/ 2015648 h 2639880"/>
                <a:gd name="connsiteX788" fmla="*/ 2375416 w 7145312"/>
                <a:gd name="connsiteY788" fmla="*/ 2015648 h 2639880"/>
                <a:gd name="connsiteX789" fmla="*/ 2389712 w 7145312"/>
                <a:gd name="connsiteY789" fmla="*/ 2006118 h 2639880"/>
                <a:gd name="connsiteX790" fmla="*/ 2399244 w 7145312"/>
                <a:gd name="connsiteY790" fmla="*/ 1991822 h 2639880"/>
                <a:gd name="connsiteX791" fmla="*/ 2404008 w 7145312"/>
                <a:gd name="connsiteY791" fmla="*/ 1972762 h 2639880"/>
                <a:gd name="connsiteX792" fmla="*/ 2413536 w 7145312"/>
                <a:gd name="connsiteY792" fmla="*/ 1953700 h 2639880"/>
                <a:gd name="connsiteX793" fmla="*/ 2418304 w 7145312"/>
                <a:gd name="connsiteY793" fmla="*/ 1944170 h 2639880"/>
                <a:gd name="connsiteX794" fmla="*/ 2423068 w 7145312"/>
                <a:gd name="connsiteY794" fmla="*/ 1939406 h 2639880"/>
                <a:gd name="connsiteX795" fmla="*/ 2427832 w 7145312"/>
                <a:gd name="connsiteY795" fmla="*/ 1934640 h 2639880"/>
                <a:gd name="connsiteX796" fmla="*/ 2437364 w 7145312"/>
                <a:gd name="connsiteY796" fmla="*/ 1929876 h 2639880"/>
                <a:gd name="connsiteX797" fmla="*/ 2461188 w 7145312"/>
                <a:gd name="connsiteY797" fmla="*/ 1934640 h 2639880"/>
                <a:gd name="connsiteX798" fmla="*/ 2461188 w 7145312"/>
                <a:gd name="connsiteY798" fmla="*/ 1939406 h 2639880"/>
                <a:gd name="connsiteX799" fmla="*/ 2485016 w 7145312"/>
                <a:gd name="connsiteY799" fmla="*/ 1967996 h 2639880"/>
                <a:gd name="connsiteX800" fmla="*/ 2489780 w 7145312"/>
                <a:gd name="connsiteY800" fmla="*/ 1972762 h 2639880"/>
                <a:gd name="connsiteX801" fmla="*/ 2518372 w 7145312"/>
                <a:gd name="connsiteY801" fmla="*/ 1972762 h 2639880"/>
                <a:gd name="connsiteX802" fmla="*/ 2523136 w 7145312"/>
                <a:gd name="connsiteY802" fmla="*/ 1972762 h 2639880"/>
                <a:gd name="connsiteX803" fmla="*/ 2537432 w 7145312"/>
                <a:gd name="connsiteY803" fmla="*/ 1967996 h 2639880"/>
                <a:gd name="connsiteX804" fmla="*/ 2546960 w 7145312"/>
                <a:gd name="connsiteY804" fmla="*/ 1967996 h 2639880"/>
                <a:gd name="connsiteX805" fmla="*/ 2566020 w 7145312"/>
                <a:gd name="connsiteY805" fmla="*/ 1972762 h 2639880"/>
                <a:gd name="connsiteX806" fmla="*/ 2570788 w 7145312"/>
                <a:gd name="connsiteY806" fmla="*/ 1982292 h 2639880"/>
                <a:gd name="connsiteX807" fmla="*/ 2580316 w 7145312"/>
                <a:gd name="connsiteY807" fmla="*/ 1987056 h 2639880"/>
                <a:gd name="connsiteX808" fmla="*/ 2618440 w 7145312"/>
                <a:gd name="connsiteY808" fmla="*/ 1991822 h 2639880"/>
                <a:gd name="connsiteX809" fmla="*/ 2632732 w 7145312"/>
                <a:gd name="connsiteY809" fmla="*/ 2006118 h 2639880"/>
                <a:gd name="connsiteX810" fmla="*/ 2642264 w 7145312"/>
                <a:gd name="connsiteY810" fmla="*/ 2006118 h 2639880"/>
                <a:gd name="connsiteX811" fmla="*/ 2670856 w 7145312"/>
                <a:gd name="connsiteY811" fmla="*/ 2006118 h 2639880"/>
                <a:gd name="connsiteX812" fmla="*/ 2689916 w 7145312"/>
                <a:gd name="connsiteY812" fmla="*/ 2006118 h 2639880"/>
                <a:gd name="connsiteX813" fmla="*/ 2704212 w 7145312"/>
                <a:gd name="connsiteY813" fmla="*/ 2010882 h 2639880"/>
                <a:gd name="connsiteX814" fmla="*/ 2708976 w 7145312"/>
                <a:gd name="connsiteY814" fmla="*/ 2029942 h 2639880"/>
                <a:gd name="connsiteX815" fmla="*/ 2718504 w 7145312"/>
                <a:gd name="connsiteY815" fmla="*/ 2049004 h 2639880"/>
                <a:gd name="connsiteX816" fmla="*/ 2718504 w 7145312"/>
                <a:gd name="connsiteY816" fmla="*/ 2058534 h 2639880"/>
                <a:gd name="connsiteX817" fmla="*/ 2737568 w 7145312"/>
                <a:gd name="connsiteY817" fmla="*/ 2063298 h 2639880"/>
                <a:gd name="connsiteX818" fmla="*/ 2742332 w 7145312"/>
                <a:gd name="connsiteY818" fmla="*/ 2068064 h 2639880"/>
                <a:gd name="connsiteX819" fmla="*/ 2742332 w 7145312"/>
                <a:gd name="connsiteY819" fmla="*/ 2091890 h 2639880"/>
                <a:gd name="connsiteX820" fmla="*/ 2742332 w 7145312"/>
                <a:gd name="connsiteY820" fmla="*/ 2110950 h 2639880"/>
                <a:gd name="connsiteX821" fmla="*/ 2775688 w 7145312"/>
                <a:gd name="connsiteY821" fmla="*/ 2125246 h 2639880"/>
                <a:gd name="connsiteX822" fmla="*/ 2813808 w 7145312"/>
                <a:gd name="connsiteY822" fmla="*/ 2134776 h 2639880"/>
                <a:gd name="connsiteX823" fmla="*/ 2851928 w 7145312"/>
                <a:gd name="connsiteY823" fmla="*/ 2134776 h 2639880"/>
                <a:gd name="connsiteX824" fmla="*/ 2894816 w 7145312"/>
                <a:gd name="connsiteY824" fmla="*/ 2130010 h 2639880"/>
                <a:gd name="connsiteX825" fmla="*/ 2913876 w 7145312"/>
                <a:gd name="connsiteY825" fmla="*/ 2130010 h 2639880"/>
                <a:gd name="connsiteX826" fmla="*/ 2937700 w 7145312"/>
                <a:gd name="connsiteY826" fmla="*/ 2120480 h 2639880"/>
                <a:gd name="connsiteX827" fmla="*/ 2942468 w 7145312"/>
                <a:gd name="connsiteY827" fmla="*/ 2120480 h 2639880"/>
                <a:gd name="connsiteX828" fmla="*/ 2990120 w 7145312"/>
                <a:gd name="connsiteY828" fmla="*/ 2144306 h 2639880"/>
                <a:gd name="connsiteX829" fmla="*/ 2994884 w 7145312"/>
                <a:gd name="connsiteY829" fmla="*/ 2144306 h 2639880"/>
                <a:gd name="connsiteX830" fmla="*/ 2999648 w 7145312"/>
                <a:gd name="connsiteY830" fmla="*/ 2163366 h 2639880"/>
                <a:gd name="connsiteX831" fmla="*/ 2999648 w 7145312"/>
                <a:gd name="connsiteY831" fmla="*/ 2182426 h 2639880"/>
                <a:gd name="connsiteX832" fmla="*/ 2990120 w 7145312"/>
                <a:gd name="connsiteY832" fmla="*/ 2220548 h 2639880"/>
                <a:gd name="connsiteX833" fmla="*/ 2990120 w 7145312"/>
                <a:gd name="connsiteY833" fmla="*/ 2230078 h 2639880"/>
                <a:gd name="connsiteX834" fmla="*/ 2990120 w 7145312"/>
                <a:gd name="connsiteY834" fmla="*/ 2244374 h 2639880"/>
                <a:gd name="connsiteX835" fmla="*/ 3004412 w 7145312"/>
                <a:gd name="connsiteY835" fmla="*/ 2268200 h 2639880"/>
                <a:gd name="connsiteX836" fmla="*/ 3009180 w 7145312"/>
                <a:gd name="connsiteY836" fmla="*/ 2272964 h 2639880"/>
                <a:gd name="connsiteX837" fmla="*/ 3023472 w 7145312"/>
                <a:gd name="connsiteY837" fmla="*/ 2287260 h 2639880"/>
                <a:gd name="connsiteX838" fmla="*/ 3023472 w 7145312"/>
                <a:gd name="connsiteY838" fmla="*/ 2296790 h 2639880"/>
                <a:gd name="connsiteX839" fmla="*/ 3023472 w 7145312"/>
                <a:gd name="connsiteY839" fmla="*/ 2301556 h 2639880"/>
                <a:gd name="connsiteX840" fmla="*/ 3004412 w 7145312"/>
                <a:gd name="connsiteY840" fmla="*/ 2296790 h 2639880"/>
                <a:gd name="connsiteX841" fmla="*/ 2990120 w 7145312"/>
                <a:gd name="connsiteY841" fmla="*/ 2292024 h 2639880"/>
                <a:gd name="connsiteX842" fmla="*/ 2985352 w 7145312"/>
                <a:gd name="connsiteY842" fmla="*/ 2282494 h 2639880"/>
                <a:gd name="connsiteX843" fmla="*/ 2975824 w 7145312"/>
                <a:gd name="connsiteY843" fmla="*/ 2277730 h 2639880"/>
                <a:gd name="connsiteX844" fmla="*/ 2956764 w 7145312"/>
                <a:gd name="connsiteY844" fmla="*/ 2277730 h 2639880"/>
                <a:gd name="connsiteX845" fmla="*/ 2923408 w 7145312"/>
                <a:gd name="connsiteY845" fmla="*/ 2268200 h 2639880"/>
                <a:gd name="connsiteX846" fmla="*/ 2885284 w 7145312"/>
                <a:gd name="connsiteY846" fmla="*/ 2253904 h 2639880"/>
                <a:gd name="connsiteX847" fmla="*/ 2813808 w 7145312"/>
                <a:gd name="connsiteY847" fmla="*/ 2225312 h 2639880"/>
                <a:gd name="connsiteX848" fmla="*/ 2794748 w 7145312"/>
                <a:gd name="connsiteY848" fmla="*/ 2225312 h 2639880"/>
                <a:gd name="connsiteX849" fmla="*/ 2780452 w 7145312"/>
                <a:gd name="connsiteY849" fmla="*/ 2230078 h 2639880"/>
                <a:gd name="connsiteX850" fmla="*/ 2761392 w 7145312"/>
                <a:gd name="connsiteY850" fmla="*/ 2234844 h 2639880"/>
                <a:gd name="connsiteX851" fmla="*/ 2737568 w 7145312"/>
                <a:gd name="connsiteY851" fmla="*/ 2239608 h 2639880"/>
                <a:gd name="connsiteX852" fmla="*/ 2728036 w 7145312"/>
                <a:gd name="connsiteY852" fmla="*/ 2244374 h 2639880"/>
                <a:gd name="connsiteX853" fmla="*/ 2708976 w 7145312"/>
                <a:gd name="connsiteY853" fmla="*/ 2244374 h 2639880"/>
                <a:gd name="connsiteX854" fmla="*/ 2675620 w 7145312"/>
                <a:gd name="connsiteY854" fmla="*/ 2234844 h 2639880"/>
                <a:gd name="connsiteX855" fmla="*/ 2637500 w 7145312"/>
                <a:gd name="connsiteY855" fmla="*/ 2230078 h 2639880"/>
                <a:gd name="connsiteX856" fmla="*/ 2542196 w 7145312"/>
                <a:gd name="connsiteY856" fmla="*/ 2225312 h 2639880"/>
                <a:gd name="connsiteX857" fmla="*/ 2518372 w 7145312"/>
                <a:gd name="connsiteY857" fmla="*/ 2220548 h 2639880"/>
                <a:gd name="connsiteX858" fmla="*/ 2470720 w 7145312"/>
                <a:gd name="connsiteY858" fmla="*/ 2215782 h 2639880"/>
                <a:gd name="connsiteX859" fmla="*/ 2437364 w 7145312"/>
                <a:gd name="connsiteY859" fmla="*/ 2211018 h 2639880"/>
                <a:gd name="connsiteX860" fmla="*/ 2404008 w 7145312"/>
                <a:gd name="connsiteY860" fmla="*/ 2201488 h 2639880"/>
                <a:gd name="connsiteX861" fmla="*/ 2313472 w 7145312"/>
                <a:gd name="connsiteY861" fmla="*/ 2163366 h 2639880"/>
                <a:gd name="connsiteX862" fmla="*/ 2284880 w 7145312"/>
                <a:gd name="connsiteY862" fmla="*/ 2153836 h 2639880"/>
                <a:gd name="connsiteX863" fmla="*/ 2194340 w 7145312"/>
                <a:gd name="connsiteY863" fmla="*/ 2134776 h 2639880"/>
                <a:gd name="connsiteX864" fmla="*/ 2180048 w 7145312"/>
                <a:gd name="connsiteY864" fmla="*/ 2130010 h 2639880"/>
                <a:gd name="connsiteX865" fmla="*/ 2146692 w 7145312"/>
                <a:gd name="connsiteY865" fmla="*/ 2134776 h 2639880"/>
                <a:gd name="connsiteX866" fmla="*/ 2127632 w 7145312"/>
                <a:gd name="connsiteY866" fmla="*/ 2125246 h 2639880"/>
                <a:gd name="connsiteX867" fmla="*/ 2108568 w 7145312"/>
                <a:gd name="connsiteY867" fmla="*/ 2125246 h 2639880"/>
                <a:gd name="connsiteX868" fmla="*/ 2084744 w 7145312"/>
                <a:gd name="connsiteY868" fmla="*/ 2134776 h 2639880"/>
                <a:gd name="connsiteX869" fmla="*/ 2075212 w 7145312"/>
                <a:gd name="connsiteY869" fmla="*/ 2139540 h 2639880"/>
                <a:gd name="connsiteX870" fmla="*/ 2065684 w 7145312"/>
                <a:gd name="connsiteY870" fmla="*/ 2149070 h 2639880"/>
                <a:gd name="connsiteX871" fmla="*/ 2046624 w 7145312"/>
                <a:gd name="connsiteY871" fmla="*/ 2149070 h 2639880"/>
                <a:gd name="connsiteX872" fmla="*/ 2027564 w 7145312"/>
                <a:gd name="connsiteY872" fmla="*/ 2144306 h 2639880"/>
                <a:gd name="connsiteX873" fmla="*/ 1979912 w 7145312"/>
                <a:gd name="connsiteY873" fmla="*/ 2134776 h 2639880"/>
                <a:gd name="connsiteX874" fmla="*/ 1965616 w 7145312"/>
                <a:gd name="connsiteY874" fmla="*/ 2130010 h 2639880"/>
                <a:gd name="connsiteX875" fmla="*/ 1946556 w 7145312"/>
                <a:gd name="connsiteY875" fmla="*/ 2120480 h 2639880"/>
                <a:gd name="connsiteX876" fmla="*/ 1932260 w 7145312"/>
                <a:gd name="connsiteY876" fmla="*/ 2110950 h 2639880"/>
                <a:gd name="connsiteX877" fmla="*/ 1922728 w 7145312"/>
                <a:gd name="connsiteY877" fmla="*/ 2106184 h 2639880"/>
                <a:gd name="connsiteX878" fmla="*/ 1884608 w 7145312"/>
                <a:gd name="connsiteY878" fmla="*/ 2096654 h 2639880"/>
                <a:gd name="connsiteX879" fmla="*/ 1851252 w 7145312"/>
                <a:gd name="connsiteY879" fmla="*/ 2091890 h 2639880"/>
                <a:gd name="connsiteX880" fmla="*/ 1779776 w 7145312"/>
                <a:gd name="connsiteY880" fmla="*/ 2087124 h 2639880"/>
                <a:gd name="connsiteX881" fmla="*/ 1765480 w 7145312"/>
                <a:gd name="connsiteY881" fmla="*/ 2082360 h 2639880"/>
                <a:gd name="connsiteX882" fmla="*/ 1755952 w 7145312"/>
                <a:gd name="connsiteY882" fmla="*/ 2082360 h 2639880"/>
                <a:gd name="connsiteX883" fmla="*/ 1746420 w 7145312"/>
                <a:gd name="connsiteY883" fmla="*/ 2072828 h 2639880"/>
                <a:gd name="connsiteX884" fmla="*/ 1746420 w 7145312"/>
                <a:gd name="connsiteY884" fmla="*/ 2058534 h 2639880"/>
                <a:gd name="connsiteX885" fmla="*/ 1751184 w 7145312"/>
                <a:gd name="connsiteY885" fmla="*/ 2049004 h 2639880"/>
                <a:gd name="connsiteX886" fmla="*/ 1760716 w 7145312"/>
                <a:gd name="connsiteY886" fmla="*/ 2039474 h 2639880"/>
                <a:gd name="connsiteX887" fmla="*/ 1765480 w 7145312"/>
                <a:gd name="connsiteY887" fmla="*/ 2029942 h 2639880"/>
                <a:gd name="connsiteX888" fmla="*/ 1713064 w 7145312"/>
                <a:gd name="connsiteY888" fmla="*/ 2010882 h 2639880"/>
                <a:gd name="connsiteX889" fmla="*/ 1674944 w 7145312"/>
                <a:gd name="connsiteY889" fmla="*/ 2001352 h 2639880"/>
                <a:gd name="connsiteX890" fmla="*/ 1655884 w 7145312"/>
                <a:gd name="connsiteY890" fmla="*/ 1996586 h 2639880"/>
                <a:gd name="connsiteX891" fmla="*/ 1641588 w 7145312"/>
                <a:gd name="connsiteY891" fmla="*/ 1996586 h 2639880"/>
                <a:gd name="connsiteX892" fmla="*/ 1617760 w 7145312"/>
                <a:gd name="connsiteY892" fmla="*/ 2001352 h 2639880"/>
                <a:gd name="connsiteX893" fmla="*/ 1598700 w 7145312"/>
                <a:gd name="connsiteY893" fmla="*/ 1996586 h 2639880"/>
                <a:gd name="connsiteX894" fmla="*/ 1593936 w 7145312"/>
                <a:gd name="connsiteY894" fmla="*/ 1996586 h 2639880"/>
                <a:gd name="connsiteX895" fmla="*/ 1584404 w 7145312"/>
                <a:gd name="connsiteY895" fmla="*/ 1996586 h 2639880"/>
                <a:gd name="connsiteX896" fmla="*/ 1574876 w 7145312"/>
                <a:gd name="connsiteY896" fmla="*/ 1996586 h 2639880"/>
                <a:gd name="connsiteX897" fmla="*/ 1565344 w 7145312"/>
                <a:gd name="connsiteY897" fmla="*/ 1996586 h 2639880"/>
                <a:gd name="connsiteX898" fmla="*/ 1565344 w 7145312"/>
                <a:gd name="connsiteY898" fmla="*/ 1987056 h 2639880"/>
                <a:gd name="connsiteX899" fmla="*/ 1570112 w 7145312"/>
                <a:gd name="connsiteY899" fmla="*/ 1977526 h 2639880"/>
                <a:gd name="connsiteX900" fmla="*/ 1579640 w 7145312"/>
                <a:gd name="connsiteY900" fmla="*/ 1972762 h 2639880"/>
                <a:gd name="connsiteX901" fmla="*/ 1584404 w 7145312"/>
                <a:gd name="connsiteY901" fmla="*/ 1967996 h 2639880"/>
                <a:gd name="connsiteX902" fmla="*/ 1584404 w 7145312"/>
                <a:gd name="connsiteY902" fmla="*/ 1982292 h 2639880"/>
                <a:gd name="connsiteX903" fmla="*/ 1589172 w 7145312"/>
                <a:gd name="connsiteY903" fmla="*/ 1987056 h 2639880"/>
                <a:gd name="connsiteX904" fmla="*/ 1598700 w 7145312"/>
                <a:gd name="connsiteY904" fmla="*/ 1987056 h 2639880"/>
                <a:gd name="connsiteX905" fmla="*/ 1603468 w 7145312"/>
                <a:gd name="connsiteY905" fmla="*/ 1987056 h 2639880"/>
                <a:gd name="connsiteX906" fmla="*/ 1617760 w 7145312"/>
                <a:gd name="connsiteY906" fmla="*/ 1967996 h 2639880"/>
                <a:gd name="connsiteX907" fmla="*/ 1622528 w 7145312"/>
                <a:gd name="connsiteY907" fmla="*/ 1963232 h 2639880"/>
                <a:gd name="connsiteX908" fmla="*/ 1627292 w 7145312"/>
                <a:gd name="connsiteY908" fmla="*/ 1939406 h 2639880"/>
                <a:gd name="connsiteX909" fmla="*/ 1636820 w 7145312"/>
                <a:gd name="connsiteY909" fmla="*/ 1944170 h 2639880"/>
                <a:gd name="connsiteX910" fmla="*/ 1646352 w 7145312"/>
                <a:gd name="connsiteY910" fmla="*/ 1939406 h 2639880"/>
                <a:gd name="connsiteX911" fmla="*/ 1651116 w 7145312"/>
                <a:gd name="connsiteY911" fmla="*/ 1934640 h 2639880"/>
                <a:gd name="connsiteX912" fmla="*/ 1660648 w 7145312"/>
                <a:gd name="connsiteY912" fmla="*/ 1882224 h 2639880"/>
                <a:gd name="connsiteX913" fmla="*/ 1674944 w 7145312"/>
                <a:gd name="connsiteY913" fmla="*/ 1867928 h 2639880"/>
                <a:gd name="connsiteX914" fmla="*/ 1689240 w 7145312"/>
                <a:gd name="connsiteY914" fmla="*/ 1853634 h 2639880"/>
                <a:gd name="connsiteX915" fmla="*/ 4491132 w 7145312"/>
                <a:gd name="connsiteY915" fmla="*/ 1844104 h 2639880"/>
                <a:gd name="connsiteX916" fmla="*/ 4495896 w 7145312"/>
                <a:gd name="connsiteY916" fmla="*/ 1848868 h 2639880"/>
                <a:gd name="connsiteX917" fmla="*/ 4500664 w 7145312"/>
                <a:gd name="connsiteY917" fmla="*/ 1858398 h 2639880"/>
                <a:gd name="connsiteX918" fmla="*/ 4500664 w 7145312"/>
                <a:gd name="connsiteY918" fmla="*/ 1867928 h 2639880"/>
                <a:gd name="connsiteX919" fmla="*/ 4495896 w 7145312"/>
                <a:gd name="connsiteY919" fmla="*/ 1858398 h 2639880"/>
                <a:gd name="connsiteX920" fmla="*/ 4491132 w 7145312"/>
                <a:gd name="connsiteY920" fmla="*/ 1853634 h 2639880"/>
                <a:gd name="connsiteX921" fmla="*/ 3943144 w 7145312"/>
                <a:gd name="connsiteY921" fmla="*/ 1829808 h 2639880"/>
                <a:gd name="connsiteX922" fmla="*/ 3952672 w 7145312"/>
                <a:gd name="connsiteY922" fmla="*/ 1848868 h 2639880"/>
                <a:gd name="connsiteX923" fmla="*/ 3952672 w 7145312"/>
                <a:gd name="connsiteY923" fmla="*/ 1858398 h 2639880"/>
                <a:gd name="connsiteX924" fmla="*/ 3952672 w 7145312"/>
                <a:gd name="connsiteY924" fmla="*/ 1910814 h 2639880"/>
                <a:gd name="connsiteX925" fmla="*/ 3943144 w 7145312"/>
                <a:gd name="connsiteY925" fmla="*/ 1939404 h 2639880"/>
                <a:gd name="connsiteX926" fmla="*/ 3943144 w 7145312"/>
                <a:gd name="connsiteY926" fmla="*/ 1929874 h 2639880"/>
                <a:gd name="connsiteX927" fmla="*/ 3943144 w 7145312"/>
                <a:gd name="connsiteY927" fmla="*/ 1906050 h 2639880"/>
                <a:gd name="connsiteX928" fmla="*/ 3938376 w 7145312"/>
                <a:gd name="connsiteY928" fmla="*/ 1891754 h 2639880"/>
                <a:gd name="connsiteX929" fmla="*/ 3938376 w 7145312"/>
                <a:gd name="connsiteY929" fmla="*/ 1877458 h 2639880"/>
                <a:gd name="connsiteX930" fmla="*/ 3938376 w 7145312"/>
                <a:gd name="connsiteY930" fmla="*/ 1844102 h 2639880"/>
                <a:gd name="connsiteX931" fmla="*/ 2728036 w 7145312"/>
                <a:gd name="connsiteY931" fmla="*/ 1820276 h 2639880"/>
                <a:gd name="connsiteX932" fmla="*/ 2732800 w 7145312"/>
                <a:gd name="connsiteY932" fmla="*/ 1825042 h 2639880"/>
                <a:gd name="connsiteX933" fmla="*/ 2732800 w 7145312"/>
                <a:gd name="connsiteY933" fmla="*/ 1834572 h 2639880"/>
                <a:gd name="connsiteX934" fmla="*/ 2728036 w 7145312"/>
                <a:gd name="connsiteY934" fmla="*/ 1839338 h 2639880"/>
                <a:gd name="connsiteX935" fmla="*/ 2713740 w 7145312"/>
                <a:gd name="connsiteY935" fmla="*/ 1839338 h 2639880"/>
                <a:gd name="connsiteX936" fmla="*/ 2708976 w 7145312"/>
                <a:gd name="connsiteY936" fmla="*/ 1834572 h 2639880"/>
                <a:gd name="connsiteX937" fmla="*/ 2718504 w 7145312"/>
                <a:gd name="connsiteY937" fmla="*/ 1825042 h 2639880"/>
                <a:gd name="connsiteX938" fmla="*/ 5839664 w 7145312"/>
                <a:gd name="connsiteY938" fmla="*/ 1801216 h 2639880"/>
                <a:gd name="connsiteX939" fmla="*/ 5853960 w 7145312"/>
                <a:gd name="connsiteY939" fmla="*/ 1801216 h 2639880"/>
                <a:gd name="connsiteX940" fmla="*/ 5853960 w 7145312"/>
                <a:gd name="connsiteY940" fmla="*/ 1810748 h 2639880"/>
                <a:gd name="connsiteX941" fmla="*/ 5858724 w 7145312"/>
                <a:gd name="connsiteY941" fmla="*/ 1810748 h 2639880"/>
                <a:gd name="connsiteX942" fmla="*/ 5868256 w 7145312"/>
                <a:gd name="connsiteY942" fmla="*/ 1829808 h 2639880"/>
                <a:gd name="connsiteX943" fmla="*/ 5868256 w 7145312"/>
                <a:gd name="connsiteY943" fmla="*/ 1839338 h 2639880"/>
                <a:gd name="connsiteX944" fmla="*/ 5858724 w 7145312"/>
                <a:gd name="connsiteY944" fmla="*/ 1858400 h 2639880"/>
                <a:gd name="connsiteX945" fmla="*/ 5853960 w 7145312"/>
                <a:gd name="connsiteY945" fmla="*/ 1848868 h 2639880"/>
                <a:gd name="connsiteX946" fmla="*/ 5849196 w 7145312"/>
                <a:gd name="connsiteY946" fmla="*/ 1848868 h 2639880"/>
                <a:gd name="connsiteX947" fmla="*/ 5849196 w 7145312"/>
                <a:gd name="connsiteY947" fmla="*/ 1839338 h 2639880"/>
                <a:gd name="connsiteX948" fmla="*/ 5849196 w 7145312"/>
                <a:gd name="connsiteY948" fmla="*/ 1825042 h 2639880"/>
                <a:gd name="connsiteX949" fmla="*/ 6144632 w 7145312"/>
                <a:gd name="connsiteY949" fmla="*/ 1772626 h 2639880"/>
                <a:gd name="connsiteX950" fmla="*/ 6154164 w 7145312"/>
                <a:gd name="connsiteY950" fmla="*/ 1777392 h 2639880"/>
                <a:gd name="connsiteX951" fmla="*/ 6158928 w 7145312"/>
                <a:gd name="connsiteY951" fmla="*/ 1786922 h 2639880"/>
                <a:gd name="connsiteX952" fmla="*/ 6158928 w 7145312"/>
                <a:gd name="connsiteY952" fmla="*/ 1791686 h 2639880"/>
                <a:gd name="connsiteX953" fmla="*/ 6158928 w 7145312"/>
                <a:gd name="connsiteY953" fmla="*/ 1796452 h 2639880"/>
                <a:gd name="connsiteX954" fmla="*/ 6163692 w 7145312"/>
                <a:gd name="connsiteY954" fmla="*/ 1801216 h 2639880"/>
                <a:gd name="connsiteX955" fmla="*/ 6173224 w 7145312"/>
                <a:gd name="connsiteY955" fmla="*/ 1820278 h 2639880"/>
                <a:gd name="connsiteX956" fmla="*/ 6173224 w 7145312"/>
                <a:gd name="connsiteY956" fmla="*/ 1825042 h 2639880"/>
                <a:gd name="connsiteX957" fmla="*/ 6173224 w 7145312"/>
                <a:gd name="connsiteY957" fmla="*/ 1834572 h 2639880"/>
                <a:gd name="connsiteX958" fmla="*/ 6173224 w 7145312"/>
                <a:gd name="connsiteY958" fmla="*/ 1844102 h 2639880"/>
                <a:gd name="connsiteX959" fmla="*/ 6168456 w 7145312"/>
                <a:gd name="connsiteY959" fmla="*/ 1858398 h 2639880"/>
                <a:gd name="connsiteX960" fmla="*/ 6173224 w 7145312"/>
                <a:gd name="connsiteY960" fmla="*/ 1872694 h 2639880"/>
                <a:gd name="connsiteX961" fmla="*/ 6173224 w 7145312"/>
                <a:gd name="connsiteY961" fmla="*/ 1882224 h 2639880"/>
                <a:gd name="connsiteX962" fmla="*/ 6173224 w 7145312"/>
                <a:gd name="connsiteY962" fmla="*/ 1891754 h 2639880"/>
                <a:gd name="connsiteX963" fmla="*/ 6173224 w 7145312"/>
                <a:gd name="connsiteY963" fmla="*/ 1896520 h 2639880"/>
                <a:gd name="connsiteX964" fmla="*/ 6168456 w 7145312"/>
                <a:gd name="connsiteY964" fmla="*/ 1910814 h 2639880"/>
                <a:gd name="connsiteX965" fmla="*/ 6163692 w 7145312"/>
                <a:gd name="connsiteY965" fmla="*/ 1915580 h 2639880"/>
                <a:gd name="connsiteX966" fmla="*/ 6158928 w 7145312"/>
                <a:gd name="connsiteY966" fmla="*/ 1915580 h 2639880"/>
                <a:gd name="connsiteX967" fmla="*/ 6154164 w 7145312"/>
                <a:gd name="connsiteY967" fmla="*/ 1920344 h 2639880"/>
                <a:gd name="connsiteX968" fmla="*/ 6125572 w 7145312"/>
                <a:gd name="connsiteY968" fmla="*/ 1915580 h 2639880"/>
                <a:gd name="connsiteX969" fmla="*/ 6111276 w 7145312"/>
                <a:gd name="connsiteY969" fmla="*/ 1906050 h 2639880"/>
                <a:gd name="connsiteX970" fmla="*/ 6101744 w 7145312"/>
                <a:gd name="connsiteY970" fmla="*/ 1896520 h 2639880"/>
                <a:gd name="connsiteX971" fmla="*/ 6096980 w 7145312"/>
                <a:gd name="connsiteY971" fmla="*/ 1891754 h 2639880"/>
                <a:gd name="connsiteX972" fmla="*/ 6082684 w 7145312"/>
                <a:gd name="connsiteY972" fmla="*/ 1877458 h 2639880"/>
                <a:gd name="connsiteX973" fmla="*/ 6077920 w 7145312"/>
                <a:gd name="connsiteY973" fmla="*/ 1872694 h 2639880"/>
                <a:gd name="connsiteX974" fmla="*/ 6077920 w 7145312"/>
                <a:gd name="connsiteY974" fmla="*/ 1867928 h 2639880"/>
                <a:gd name="connsiteX975" fmla="*/ 6092216 w 7145312"/>
                <a:gd name="connsiteY975" fmla="*/ 1867928 h 2639880"/>
                <a:gd name="connsiteX976" fmla="*/ 6101744 w 7145312"/>
                <a:gd name="connsiteY976" fmla="*/ 1867928 h 2639880"/>
                <a:gd name="connsiteX977" fmla="*/ 6101744 w 7145312"/>
                <a:gd name="connsiteY977" fmla="*/ 1858398 h 2639880"/>
                <a:gd name="connsiteX978" fmla="*/ 6111276 w 7145312"/>
                <a:gd name="connsiteY978" fmla="*/ 1839338 h 2639880"/>
                <a:gd name="connsiteX979" fmla="*/ 6092216 w 7145312"/>
                <a:gd name="connsiteY979" fmla="*/ 1825042 h 2639880"/>
                <a:gd name="connsiteX980" fmla="*/ 6087452 w 7145312"/>
                <a:gd name="connsiteY980" fmla="*/ 1820278 h 2639880"/>
                <a:gd name="connsiteX981" fmla="*/ 6096980 w 7145312"/>
                <a:gd name="connsiteY981" fmla="*/ 1815512 h 2639880"/>
                <a:gd name="connsiteX982" fmla="*/ 6111276 w 7145312"/>
                <a:gd name="connsiteY982" fmla="*/ 1820278 h 2639880"/>
                <a:gd name="connsiteX983" fmla="*/ 6125572 w 7145312"/>
                <a:gd name="connsiteY983" fmla="*/ 1796452 h 2639880"/>
                <a:gd name="connsiteX984" fmla="*/ 6130336 w 7145312"/>
                <a:gd name="connsiteY984" fmla="*/ 1791686 h 2639880"/>
                <a:gd name="connsiteX985" fmla="*/ 6135100 w 7145312"/>
                <a:gd name="connsiteY985" fmla="*/ 1777392 h 2639880"/>
                <a:gd name="connsiteX986" fmla="*/ 5915904 w 7145312"/>
                <a:gd name="connsiteY986" fmla="*/ 1758330 h 2639880"/>
                <a:gd name="connsiteX987" fmla="*/ 5920672 w 7145312"/>
                <a:gd name="connsiteY987" fmla="*/ 1758330 h 2639880"/>
                <a:gd name="connsiteX988" fmla="*/ 5925436 w 7145312"/>
                <a:gd name="connsiteY988" fmla="*/ 1763096 h 2639880"/>
                <a:gd name="connsiteX989" fmla="*/ 5920672 w 7145312"/>
                <a:gd name="connsiteY989" fmla="*/ 1796452 h 2639880"/>
                <a:gd name="connsiteX990" fmla="*/ 5896844 w 7145312"/>
                <a:gd name="connsiteY990" fmla="*/ 1825042 h 2639880"/>
                <a:gd name="connsiteX991" fmla="*/ 5887316 w 7145312"/>
                <a:gd name="connsiteY991" fmla="*/ 1848868 h 2639880"/>
                <a:gd name="connsiteX992" fmla="*/ 5877784 w 7145312"/>
                <a:gd name="connsiteY992" fmla="*/ 1863164 h 2639880"/>
                <a:gd name="connsiteX993" fmla="*/ 5887316 w 7145312"/>
                <a:gd name="connsiteY993" fmla="*/ 1829808 h 2639880"/>
                <a:gd name="connsiteX994" fmla="*/ 5887316 w 7145312"/>
                <a:gd name="connsiteY994" fmla="*/ 1815512 h 2639880"/>
                <a:gd name="connsiteX995" fmla="*/ 5901612 w 7145312"/>
                <a:gd name="connsiteY995" fmla="*/ 1805982 h 2639880"/>
                <a:gd name="connsiteX996" fmla="*/ 1084068 w 7145312"/>
                <a:gd name="connsiteY996" fmla="*/ 1753564 h 2639880"/>
                <a:gd name="connsiteX997" fmla="*/ 1088832 w 7145312"/>
                <a:gd name="connsiteY997" fmla="*/ 1753564 h 2639880"/>
                <a:gd name="connsiteX998" fmla="*/ 1117424 w 7145312"/>
                <a:gd name="connsiteY998" fmla="*/ 1763096 h 2639880"/>
                <a:gd name="connsiteX999" fmla="*/ 1122188 w 7145312"/>
                <a:gd name="connsiteY999" fmla="*/ 1772626 h 2639880"/>
                <a:gd name="connsiteX1000" fmla="*/ 1112656 w 7145312"/>
                <a:gd name="connsiteY1000" fmla="*/ 1782156 h 2639880"/>
                <a:gd name="connsiteX1001" fmla="*/ 1103128 w 7145312"/>
                <a:gd name="connsiteY1001" fmla="*/ 1782156 h 2639880"/>
                <a:gd name="connsiteX1002" fmla="*/ 1079304 w 7145312"/>
                <a:gd name="connsiteY1002" fmla="*/ 1763096 h 2639880"/>
                <a:gd name="connsiteX1003" fmla="*/ 1074536 w 7145312"/>
                <a:gd name="connsiteY1003" fmla="*/ 1758330 h 2639880"/>
                <a:gd name="connsiteX1004" fmla="*/ 4424420 w 7145312"/>
                <a:gd name="connsiteY1004" fmla="*/ 1748800 h 2639880"/>
                <a:gd name="connsiteX1005" fmla="*/ 4433952 w 7145312"/>
                <a:gd name="connsiteY1005" fmla="*/ 1748800 h 2639880"/>
                <a:gd name="connsiteX1006" fmla="*/ 4433952 w 7145312"/>
                <a:gd name="connsiteY1006" fmla="*/ 1767860 h 2639880"/>
                <a:gd name="connsiteX1007" fmla="*/ 4429184 w 7145312"/>
                <a:gd name="connsiteY1007" fmla="*/ 1767860 h 2639880"/>
                <a:gd name="connsiteX1008" fmla="*/ 4424420 w 7145312"/>
                <a:gd name="connsiteY1008" fmla="*/ 1758330 h 2639880"/>
                <a:gd name="connsiteX1009" fmla="*/ 4419656 w 7145312"/>
                <a:gd name="connsiteY1009" fmla="*/ 1753566 h 2639880"/>
                <a:gd name="connsiteX1010" fmla="*/ 4162340 w 7145312"/>
                <a:gd name="connsiteY1010" fmla="*/ 1720208 h 2639880"/>
                <a:gd name="connsiteX1011" fmla="*/ 4167104 w 7145312"/>
                <a:gd name="connsiteY1011" fmla="*/ 1720208 h 2639880"/>
                <a:gd name="connsiteX1012" fmla="*/ 4176636 w 7145312"/>
                <a:gd name="connsiteY1012" fmla="*/ 1720208 h 2639880"/>
                <a:gd name="connsiteX1013" fmla="*/ 4181400 w 7145312"/>
                <a:gd name="connsiteY1013" fmla="*/ 1729740 h 2639880"/>
                <a:gd name="connsiteX1014" fmla="*/ 4186164 w 7145312"/>
                <a:gd name="connsiteY1014" fmla="*/ 1734504 h 2639880"/>
                <a:gd name="connsiteX1015" fmla="*/ 4190928 w 7145312"/>
                <a:gd name="connsiteY1015" fmla="*/ 1744034 h 2639880"/>
                <a:gd name="connsiteX1016" fmla="*/ 4186164 w 7145312"/>
                <a:gd name="connsiteY1016" fmla="*/ 1777390 h 2639880"/>
                <a:gd name="connsiteX1017" fmla="*/ 4176636 w 7145312"/>
                <a:gd name="connsiteY1017" fmla="*/ 1782156 h 2639880"/>
                <a:gd name="connsiteX1018" fmla="*/ 4157576 w 7145312"/>
                <a:gd name="connsiteY1018" fmla="*/ 1763096 h 2639880"/>
                <a:gd name="connsiteX1019" fmla="*/ 4152808 w 7145312"/>
                <a:gd name="connsiteY1019" fmla="*/ 1748800 h 2639880"/>
                <a:gd name="connsiteX1020" fmla="*/ 4152808 w 7145312"/>
                <a:gd name="connsiteY1020" fmla="*/ 1739270 h 2639880"/>
                <a:gd name="connsiteX1021" fmla="*/ 4157576 w 7145312"/>
                <a:gd name="connsiteY1021" fmla="*/ 1734504 h 2639880"/>
                <a:gd name="connsiteX1022" fmla="*/ 4162340 w 7145312"/>
                <a:gd name="connsiteY1022" fmla="*/ 1729740 h 2639880"/>
                <a:gd name="connsiteX1023" fmla="*/ 4286232 w 7145312"/>
                <a:gd name="connsiteY1023" fmla="*/ 1648732 h 2639880"/>
                <a:gd name="connsiteX1024" fmla="*/ 4290996 w 7145312"/>
                <a:gd name="connsiteY1024" fmla="*/ 1648732 h 2639880"/>
                <a:gd name="connsiteX1025" fmla="*/ 4295764 w 7145312"/>
                <a:gd name="connsiteY1025" fmla="*/ 1658264 h 2639880"/>
                <a:gd name="connsiteX1026" fmla="*/ 4300528 w 7145312"/>
                <a:gd name="connsiteY1026" fmla="*/ 1696384 h 2639880"/>
                <a:gd name="connsiteX1027" fmla="*/ 4276704 w 7145312"/>
                <a:gd name="connsiteY1027" fmla="*/ 1729740 h 2639880"/>
                <a:gd name="connsiteX1028" fmla="*/ 4281468 w 7145312"/>
                <a:gd name="connsiteY1028" fmla="*/ 1748800 h 2639880"/>
                <a:gd name="connsiteX1029" fmla="*/ 4276704 w 7145312"/>
                <a:gd name="connsiteY1029" fmla="*/ 1758330 h 2639880"/>
                <a:gd name="connsiteX1030" fmla="*/ 4271936 w 7145312"/>
                <a:gd name="connsiteY1030" fmla="*/ 1767860 h 2639880"/>
                <a:gd name="connsiteX1031" fmla="*/ 4262408 w 7145312"/>
                <a:gd name="connsiteY1031" fmla="*/ 1767860 h 2639880"/>
                <a:gd name="connsiteX1032" fmla="*/ 4257640 w 7145312"/>
                <a:gd name="connsiteY1032" fmla="*/ 1767860 h 2639880"/>
                <a:gd name="connsiteX1033" fmla="*/ 4243348 w 7145312"/>
                <a:gd name="connsiteY1033" fmla="*/ 1758330 h 2639880"/>
                <a:gd name="connsiteX1034" fmla="*/ 4238580 w 7145312"/>
                <a:gd name="connsiteY1034" fmla="*/ 1767860 h 2639880"/>
                <a:gd name="connsiteX1035" fmla="*/ 4229052 w 7145312"/>
                <a:gd name="connsiteY1035" fmla="*/ 1767860 h 2639880"/>
                <a:gd name="connsiteX1036" fmla="*/ 4224288 w 7145312"/>
                <a:gd name="connsiteY1036" fmla="*/ 1758330 h 2639880"/>
                <a:gd name="connsiteX1037" fmla="*/ 4233816 w 7145312"/>
                <a:gd name="connsiteY1037" fmla="*/ 1729740 h 2639880"/>
                <a:gd name="connsiteX1038" fmla="*/ 4243348 w 7145312"/>
                <a:gd name="connsiteY1038" fmla="*/ 1720210 h 2639880"/>
                <a:gd name="connsiteX1039" fmla="*/ 4243348 w 7145312"/>
                <a:gd name="connsiteY1039" fmla="*/ 1705914 h 2639880"/>
                <a:gd name="connsiteX1040" fmla="*/ 4233816 w 7145312"/>
                <a:gd name="connsiteY1040" fmla="*/ 1682088 h 2639880"/>
                <a:gd name="connsiteX1041" fmla="*/ 4238580 w 7145312"/>
                <a:gd name="connsiteY1041" fmla="*/ 1672558 h 2639880"/>
                <a:gd name="connsiteX1042" fmla="*/ 4262408 w 7145312"/>
                <a:gd name="connsiteY1042" fmla="*/ 1663028 h 2639880"/>
                <a:gd name="connsiteX1043" fmla="*/ 4343416 w 7145312"/>
                <a:gd name="connsiteY1043" fmla="*/ 1610612 h 2639880"/>
                <a:gd name="connsiteX1044" fmla="*/ 4348180 w 7145312"/>
                <a:gd name="connsiteY1044" fmla="*/ 1610612 h 2639880"/>
                <a:gd name="connsiteX1045" fmla="*/ 4348180 w 7145312"/>
                <a:gd name="connsiteY1045" fmla="*/ 1620142 h 2639880"/>
                <a:gd name="connsiteX1046" fmla="*/ 4367240 w 7145312"/>
                <a:gd name="connsiteY1046" fmla="*/ 1639202 h 2639880"/>
                <a:gd name="connsiteX1047" fmla="*/ 4372004 w 7145312"/>
                <a:gd name="connsiteY1047" fmla="*/ 1672558 h 2639880"/>
                <a:gd name="connsiteX1048" fmla="*/ 4367240 w 7145312"/>
                <a:gd name="connsiteY1048" fmla="*/ 1682088 h 2639880"/>
                <a:gd name="connsiteX1049" fmla="*/ 4357708 w 7145312"/>
                <a:gd name="connsiteY1049" fmla="*/ 1667794 h 2639880"/>
                <a:gd name="connsiteX1050" fmla="*/ 4357708 w 7145312"/>
                <a:gd name="connsiteY1050" fmla="*/ 1663028 h 2639880"/>
                <a:gd name="connsiteX1051" fmla="*/ 4352944 w 7145312"/>
                <a:gd name="connsiteY1051" fmla="*/ 1667794 h 2639880"/>
                <a:gd name="connsiteX1052" fmla="*/ 4348180 w 7145312"/>
                <a:gd name="connsiteY1052" fmla="*/ 1667794 h 2639880"/>
                <a:gd name="connsiteX1053" fmla="*/ 4338648 w 7145312"/>
                <a:gd name="connsiteY1053" fmla="*/ 1682088 h 2639880"/>
                <a:gd name="connsiteX1054" fmla="*/ 4338648 w 7145312"/>
                <a:gd name="connsiteY1054" fmla="*/ 1691620 h 2639880"/>
                <a:gd name="connsiteX1055" fmla="*/ 4333884 w 7145312"/>
                <a:gd name="connsiteY1055" fmla="*/ 1701150 h 2639880"/>
                <a:gd name="connsiteX1056" fmla="*/ 4333884 w 7145312"/>
                <a:gd name="connsiteY1056" fmla="*/ 1729740 h 2639880"/>
                <a:gd name="connsiteX1057" fmla="*/ 4333884 w 7145312"/>
                <a:gd name="connsiteY1057" fmla="*/ 1734506 h 2639880"/>
                <a:gd name="connsiteX1058" fmla="*/ 4343416 w 7145312"/>
                <a:gd name="connsiteY1058" fmla="*/ 1734506 h 2639880"/>
                <a:gd name="connsiteX1059" fmla="*/ 4362476 w 7145312"/>
                <a:gd name="connsiteY1059" fmla="*/ 1744036 h 2639880"/>
                <a:gd name="connsiteX1060" fmla="*/ 4367240 w 7145312"/>
                <a:gd name="connsiteY1060" fmla="*/ 1748800 h 2639880"/>
                <a:gd name="connsiteX1061" fmla="*/ 4367240 w 7145312"/>
                <a:gd name="connsiteY1061" fmla="*/ 1758330 h 2639880"/>
                <a:gd name="connsiteX1062" fmla="*/ 4357708 w 7145312"/>
                <a:gd name="connsiteY1062" fmla="*/ 1767860 h 2639880"/>
                <a:gd name="connsiteX1063" fmla="*/ 4343416 w 7145312"/>
                <a:gd name="connsiteY1063" fmla="*/ 1772626 h 2639880"/>
                <a:gd name="connsiteX1064" fmla="*/ 4333884 w 7145312"/>
                <a:gd name="connsiteY1064" fmla="*/ 1767860 h 2639880"/>
                <a:gd name="connsiteX1065" fmla="*/ 4333884 w 7145312"/>
                <a:gd name="connsiteY1065" fmla="*/ 1772626 h 2639880"/>
                <a:gd name="connsiteX1066" fmla="*/ 4329120 w 7145312"/>
                <a:gd name="connsiteY1066" fmla="*/ 1777392 h 2639880"/>
                <a:gd name="connsiteX1067" fmla="*/ 4324352 w 7145312"/>
                <a:gd name="connsiteY1067" fmla="*/ 1782156 h 2639880"/>
                <a:gd name="connsiteX1068" fmla="*/ 4324352 w 7145312"/>
                <a:gd name="connsiteY1068" fmla="*/ 1786922 h 2639880"/>
                <a:gd name="connsiteX1069" fmla="*/ 4314824 w 7145312"/>
                <a:gd name="connsiteY1069" fmla="*/ 1805982 h 2639880"/>
                <a:gd name="connsiteX1070" fmla="*/ 4310060 w 7145312"/>
                <a:gd name="connsiteY1070" fmla="*/ 1810748 h 2639880"/>
                <a:gd name="connsiteX1071" fmla="*/ 4295764 w 7145312"/>
                <a:gd name="connsiteY1071" fmla="*/ 1805982 h 2639880"/>
                <a:gd name="connsiteX1072" fmla="*/ 4290996 w 7145312"/>
                <a:gd name="connsiteY1072" fmla="*/ 1810748 h 2639880"/>
                <a:gd name="connsiteX1073" fmla="*/ 4281468 w 7145312"/>
                <a:gd name="connsiteY1073" fmla="*/ 1810748 h 2639880"/>
                <a:gd name="connsiteX1074" fmla="*/ 4271936 w 7145312"/>
                <a:gd name="connsiteY1074" fmla="*/ 1791686 h 2639880"/>
                <a:gd name="connsiteX1075" fmla="*/ 4271936 w 7145312"/>
                <a:gd name="connsiteY1075" fmla="*/ 1786922 h 2639880"/>
                <a:gd name="connsiteX1076" fmla="*/ 4281468 w 7145312"/>
                <a:gd name="connsiteY1076" fmla="*/ 1772626 h 2639880"/>
                <a:gd name="connsiteX1077" fmla="*/ 4281468 w 7145312"/>
                <a:gd name="connsiteY1077" fmla="*/ 1767860 h 2639880"/>
                <a:gd name="connsiteX1078" fmla="*/ 4286232 w 7145312"/>
                <a:gd name="connsiteY1078" fmla="*/ 1758330 h 2639880"/>
                <a:gd name="connsiteX1079" fmla="*/ 4295764 w 7145312"/>
                <a:gd name="connsiteY1079" fmla="*/ 1748800 h 2639880"/>
                <a:gd name="connsiteX1080" fmla="*/ 4300528 w 7145312"/>
                <a:gd name="connsiteY1080" fmla="*/ 1739270 h 2639880"/>
                <a:gd name="connsiteX1081" fmla="*/ 4300528 w 7145312"/>
                <a:gd name="connsiteY1081" fmla="*/ 1734506 h 2639880"/>
                <a:gd name="connsiteX1082" fmla="*/ 4305292 w 7145312"/>
                <a:gd name="connsiteY1082" fmla="*/ 1715444 h 2639880"/>
                <a:gd name="connsiteX1083" fmla="*/ 4305292 w 7145312"/>
                <a:gd name="connsiteY1083" fmla="*/ 1705914 h 2639880"/>
                <a:gd name="connsiteX1084" fmla="*/ 4310060 w 7145312"/>
                <a:gd name="connsiteY1084" fmla="*/ 1701150 h 2639880"/>
                <a:gd name="connsiteX1085" fmla="*/ 4314824 w 7145312"/>
                <a:gd name="connsiteY1085" fmla="*/ 1682088 h 2639880"/>
                <a:gd name="connsiteX1086" fmla="*/ 4314824 w 7145312"/>
                <a:gd name="connsiteY1086" fmla="*/ 1648732 h 2639880"/>
                <a:gd name="connsiteX1087" fmla="*/ 4329120 w 7145312"/>
                <a:gd name="connsiteY1087" fmla="*/ 1620142 h 2639880"/>
                <a:gd name="connsiteX1088" fmla="*/ 5949264 w 7145312"/>
                <a:gd name="connsiteY1088" fmla="*/ 1567724 h 2639880"/>
                <a:gd name="connsiteX1089" fmla="*/ 5973088 w 7145312"/>
                <a:gd name="connsiteY1089" fmla="*/ 1582020 h 2639880"/>
                <a:gd name="connsiteX1090" fmla="*/ 5987384 w 7145312"/>
                <a:gd name="connsiteY1090" fmla="*/ 1591550 h 2639880"/>
                <a:gd name="connsiteX1091" fmla="*/ 5996912 w 7145312"/>
                <a:gd name="connsiteY1091" fmla="*/ 1596316 h 2639880"/>
                <a:gd name="connsiteX1092" fmla="*/ 5977852 w 7145312"/>
                <a:gd name="connsiteY1092" fmla="*/ 1591550 h 2639880"/>
                <a:gd name="connsiteX1093" fmla="*/ 5954028 w 7145312"/>
                <a:gd name="connsiteY1093" fmla="*/ 1577256 h 2639880"/>
                <a:gd name="connsiteX1094" fmla="*/ 4343416 w 7145312"/>
                <a:gd name="connsiteY1094" fmla="*/ 1548664 h 2639880"/>
                <a:gd name="connsiteX1095" fmla="*/ 4372004 w 7145312"/>
                <a:gd name="connsiteY1095" fmla="*/ 1548664 h 2639880"/>
                <a:gd name="connsiteX1096" fmla="*/ 4376768 w 7145312"/>
                <a:gd name="connsiteY1096" fmla="*/ 1558196 h 2639880"/>
                <a:gd name="connsiteX1097" fmla="*/ 4376768 w 7145312"/>
                <a:gd name="connsiteY1097" fmla="*/ 1567726 h 2639880"/>
                <a:gd name="connsiteX1098" fmla="*/ 4362476 w 7145312"/>
                <a:gd name="connsiteY1098" fmla="*/ 1586786 h 2639880"/>
                <a:gd name="connsiteX1099" fmla="*/ 4348180 w 7145312"/>
                <a:gd name="connsiteY1099" fmla="*/ 1586786 h 2639880"/>
                <a:gd name="connsiteX1100" fmla="*/ 4338648 w 7145312"/>
                <a:gd name="connsiteY1100" fmla="*/ 1572490 h 2639880"/>
                <a:gd name="connsiteX1101" fmla="*/ 4333884 w 7145312"/>
                <a:gd name="connsiteY1101" fmla="*/ 1558196 h 2639880"/>
                <a:gd name="connsiteX1102" fmla="*/ 4333884 w 7145312"/>
                <a:gd name="connsiteY1102" fmla="*/ 1553430 h 2639880"/>
                <a:gd name="connsiteX1103" fmla="*/ 5186840 w 7145312"/>
                <a:gd name="connsiteY1103" fmla="*/ 1477188 h 2639880"/>
                <a:gd name="connsiteX1104" fmla="*/ 5201136 w 7145312"/>
                <a:gd name="connsiteY1104" fmla="*/ 1477188 h 2639880"/>
                <a:gd name="connsiteX1105" fmla="*/ 5205904 w 7145312"/>
                <a:gd name="connsiteY1105" fmla="*/ 1486718 h 2639880"/>
                <a:gd name="connsiteX1106" fmla="*/ 5182076 w 7145312"/>
                <a:gd name="connsiteY1106" fmla="*/ 1496248 h 2639880"/>
                <a:gd name="connsiteX1107" fmla="*/ 5158252 w 7145312"/>
                <a:gd name="connsiteY1107" fmla="*/ 1477188 h 2639880"/>
                <a:gd name="connsiteX1108" fmla="*/ 5172544 w 7145312"/>
                <a:gd name="connsiteY1108" fmla="*/ 1477188 h 2639880"/>
                <a:gd name="connsiteX1109" fmla="*/ 5167780 w 7145312"/>
                <a:gd name="connsiteY1109" fmla="*/ 1481954 h 2639880"/>
                <a:gd name="connsiteX1110" fmla="*/ 5163016 w 7145312"/>
                <a:gd name="connsiteY1110" fmla="*/ 1486718 h 2639880"/>
                <a:gd name="connsiteX1111" fmla="*/ 5163016 w 7145312"/>
                <a:gd name="connsiteY1111" fmla="*/ 1491484 h 2639880"/>
                <a:gd name="connsiteX1112" fmla="*/ 5163016 w 7145312"/>
                <a:gd name="connsiteY1112" fmla="*/ 1501014 h 2639880"/>
                <a:gd name="connsiteX1113" fmla="*/ 5158252 w 7145312"/>
                <a:gd name="connsiteY1113" fmla="*/ 1505778 h 2639880"/>
                <a:gd name="connsiteX1114" fmla="*/ 5148720 w 7145312"/>
                <a:gd name="connsiteY1114" fmla="*/ 1510544 h 2639880"/>
                <a:gd name="connsiteX1115" fmla="*/ 5139192 w 7145312"/>
                <a:gd name="connsiteY1115" fmla="*/ 1510544 h 2639880"/>
                <a:gd name="connsiteX1116" fmla="*/ 5143956 w 7145312"/>
                <a:gd name="connsiteY1116" fmla="*/ 1505778 h 2639880"/>
                <a:gd name="connsiteX1117" fmla="*/ 5139192 w 7145312"/>
                <a:gd name="connsiteY1117" fmla="*/ 1501014 h 2639880"/>
                <a:gd name="connsiteX1118" fmla="*/ 5134424 w 7145312"/>
                <a:gd name="connsiteY1118" fmla="*/ 1501014 h 2639880"/>
                <a:gd name="connsiteX1119" fmla="*/ 5129660 w 7145312"/>
                <a:gd name="connsiteY1119" fmla="*/ 1505778 h 2639880"/>
                <a:gd name="connsiteX1120" fmla="*/ 5115364 w 7145312"/>
                <a:gd name="connsiteY1120" fmla="*/ 1515308 h 2639880"/>
                <a:gd name="connsiteX1121" fmla="*/ 5105832 w 7145312"/>
                <a:gd name="connsiteY1121" fmla="*/ 1510544 h 2639880"/>
                <a:gd name="connsiteX1122" fmla="*/ 5105832 w 7145312"/>
                <a:gd name="connsiteY1122" fmla="*/ 1505778 h 2639880"/>
                <a:gd name="connsiteX1123" fmla="*/ 5105832 w 7145312"/>
                <a:gd name="connsiteY1123" fmla="*/ 1501014 h 2639880"/>
                <a:gd name="connsiteX1124" fmla="*/ 5120128 w 7145312"/>
                <a:gd name="connsiteY1124" fmla="*/ 1486718 h 2639880"/>
                <a:gd name="connsiteX1125" fmla="*/ 5139192 w 7145312"/>
                <a:gd name="connsiteY1125" fmla="*/ 1486718 h 2639880"/>
                <a:gd name="connsiteX1126" fmla="*/ 5210668 w 7145312"/>
                <a:gd name="connsiteY1126" fmla="*/ 1472424 h 2639880"/>
                <a:gd name="connsiteX1127" fmla="*/ 5224964 w 7145312"/>
                <a:gd name="connsiteY1127" fmla="*/ 1477188 h 2639880"/>
                <a:gd name="connsiteX1128" fmla="*/ 5229728 w 7145312"/>
                <a:gd name="connsiteY1128" fmla="*/ 1481952 h 2639880"/>
                <a:gd name="connsiteX1129" fmla="*/ 5229728 w 7145312"/>
                <a:gd name="connsiteY1129" fmla="*/ 1486718 h 2639880"/>
                <a:gd name="connsiteX1130" fmla="*/ 5220196 w 7145312"/>
                <a:gd name="connsiteY1130" fmla="*/ 1486718 h 2639880"/>
                <a:gd name="connsiteX1131" fmla="*/ 5215432 w 7145312"/>
                <a:gd name="connsiteY1131" fmla="*/ 1486718 h 2639880"/>
                <a:gd name="connsiteX1132" fmla="*/ 5210668 w 7145312"/>
                <a:gd name="connsiteY1132" fmla="*/ 1477188 h 2639880"/>
                <a:gd name="connsiteX1133" fmla="*/ 3309380 w 7145312"/>
                <a:gd name="connsiteY1133" fmla="*/ 1458128 h 2639880"/>
                <a:gd name="connsiteX1134" fmla="*/ 3309380 w 7145312"/>
                <a:gd name="connsiteY1134" fmla="*/ 1467658 h 2639880"/>
                <a:gd name="connsiteX1135" fmla="*/ 3304616 w 7145312"/>
                <a:gd name="connsiteY1135" fmla="*/ 1496248 h 2639880"/>
                <a:gd name="connsiteX1136" fmla="*/ 3295088 w 7145312"/>
                <a:gd name="connsiteY1136" fmla="*/ 1477188 h 2639880"/>
                <a:gd name="connsiteX1137" fmla="*/ 3304616 w 7145312"/>
                <a:gd name="connsiteY1137" fmla="*/ 1462892 h 2639880"/>
                <a:gd name="connsiteX1138" fmla="*/ 5043888 w 7145312"/>
                <a:gd name="connsiteY1138" fmla="*/ 1434302 h 2639880"/>
                <a:gd name="connsiteX1139" fmla="*/ 5048652 w 7145312"/>
                <a:gd name="connsiteY1139" fmla="*/ 1434302 h 2639880"/>
                <a:gd name="connsiteX1140" fmla="*/ 5058184 w 7145312"/>
                <a:gd name="connsiteY1140" fmla="*/ 1443832 h 2639880"/>
                <a:gd name="connsiteX1141" fmla="*/ 5062948 w 7145312"/>
                <a:gd name="connsiteY1141" fmla="*/ 1448596 h 2639880"/>
                <a:gd name="connsiteX1142" fmla="*/ 5043888 w 7145312"/>
                <a:gd name="connsiteY1142" fmla="*/ 1443832 h 2639880"/>
                <a:gd name="connsiteX1143" fmla="*/ 5039124 w 7145312"/>
                <a:gd name="connsiteY1143" fmla="*/ 1439068 h 2639880"/>
                <a:gd name="connsiteX1144" fmla="*/ 3280792 w 7145312"/>
                <a:gd name="connsiteY1144" fmla="*/ 1434302 h 2639880"/>
                <a:gd name="connsiteX1145" fmla="*/ 3285556 w 7145312"/>
                <a:gd name="connsiteY1145" fmla="*/ 1434302 h 2639880"/>
                <a:gd name="connsiteX1146" fmla="*/ 3285556 w 7145312"/>
                <a:gd name="connsiteY1146" fmla="*/ 1458128 h 2639880"/>
                <a:gd name="connsiteX1147" fmla="*/ 3290320 w 7145312"/>
                <a:gd name="connsiteY1147" fmla="*/ 1462892 h 2639880"/>
                <a:gd name="connsiteX1148" fmla="*/ 3290320 w 7145312"/>
                <a:gd name="connsiteY1148" fmla="*/ 1472422 h 2639880"/>
                <a:gd name="connsiteX1149" fmla="*/ 3290320 w 7145312"/>
                <a:gd name="connsiteY1149" fmla="*/ 1477188 h 2639880"/>
                <a:gd name="connsiteX1150" fmla="*/ 3290320 w 7145312"/>
                <a:gd name="connsiteY1150" fmla="*/ 1505778 h 2639880"/>
                <a:gd name="connsiteX1151" fmla="*/ 3295088 w 7145312"/>
                <a:gd name="connsiteY1151" fmla="*/ 1515308 h 2639880"/>
                <a:gd name="connsiteX1152" fmla="*/ 3290320 w 7145312"/>
                <a:gd name="connsiteY1152" fmla="*/ 1524840 h 2639880"/>
                <a:gd name="connsiteX1153" fmla="*/ 3290320 w 7145312"/>
                <a:gd name="connsiteY1153" fmla="*/ 1529604 h 2639880"/>
                <a:gd name="connsiteX1154" fmla="*/ 3256964 w 7145312"/>
                <a:gd name="connsiteY1154" fmla="*/ 1558196 h 2639880"/>
                <a:gd name="connsiteX1155" fmla="*/ 3252200 w 7145312"/>
                <a:gd name="connsiteY1155" fmla="*/ 1553430 h 2639880"/>
                <a:gd name="connsiteX1156" fmla="*/ 3256964 w 7145312"/>
                <a:gd name="connsiteY1156" fmla="*/ 1520074 h 2639880"/>
                <a:gd name="connsiteX1157" fmla="*/ 3247436 w 7145312"/>
                <a:gd name="connsiteY1157" fmla="*/ 1505778 h 2639880"/>
                <a:gd name="connsiteX1158" fmla="*/ 3247436 w 7145312"/>
                <a:gd name="connsiteY1158" fmla="*/ 1491484 h 2639880"/>
                <a:gd name="connsiteX1159" fmla="*/ 3252200 w 7145312"/>
                <a:gd name="connsiteY1159" fmla="*/ 1467658 h 2639880"/>
                <a:gd name="connsiteX1160" fmla="*/ 3261732 w 7145312"/>
                <a:gd name="connsiteY1160" fmla="*/ 1448598 h 2639880"/>
                <a:gd name="connsiteX1161" fmla="*/ 4891404 w 7145312"/>
                <a:gd name="connsiteY1161" fmla="*/ 1405712 h 2639880"/>
                <a:gd name="connsiteX1162" fmla="*/ 4934292 w 7145312"/>
                <a:gd name="connsiteY1162" fmla="*/ 1405712 h 2639880"/>
                <a:gd name="connsiteX1163" fmla="*/ 4939056 w 7145312"/>
                <a:gd name="connsiteY1163" fmla="*/ 1405712 h 2639880"/>
                <a:gd name="connsiteX1164" fmla="*/ 4967648 w 7145312"/>
                <a:gd name="connsiteY1164" fmla="*/ 1420006 h 2639880"/>
                <a:gd name="connsiteX1165" fmla="*/ 4972412 w 7145312"/>
                <a:gd name="connsiteY1165" fmla="*/ 1429536 h 2639880"/>
                <a:gd name="connsiteX1166" fmla="*/ 4977176 w 7145312"/>
                <a:gd name="connsiteY1166" fmla="*/ 1439066 h 2639880"/>
                <a:gd name="connsiteX1167" fmla="*/ 4981940 w 7145312"/>
                <a:gd name="connsiteY1167" fmla="*/ 1443832 h 2639880"/>
                <a:gd name="connsiteX1168" fmla="*/ 4986708 w 7145312"/>
                <a:gd name="connsiteY1168" fmla="*/ 1448598 h 2639880"/>
                <a:gd name="connsiteX1169" fmla="*/ 4996236 w 7145312"/>
                <a:gd name="connsiteY1169" fmla="*/ 1458128 h 2639880"/>
                <a:gd name="connsiteX1170" fmla="*/ 5001000 w 7145312"/>
                <a:gd name="connsiteY1170" fmla="*/ 1467658 h 2639880"/>
                <a:gd name="connsiteX1171" fmla="*/ 4996236 w 7145312"/>
                <a:gd name="connsiteY1171" fmla="*/ 1491484 h 2639880"/>
                <a:gd name="connsiteX1172" fmla="*/ 4986708 w 7145312"/>
                <a:gd name="connsiteY1172" fmla="*/ 1496248 h 2639880"/>
                <a:gd name="connsiteX1173" fmla="*/ 4977176 w 7145312"/>
                <a:gd name="connsiteY1173" fmla="*/ 1501014 h 2639880"/>
                <a:gd name="connsiteX1174" fmla="*/ 4953352 w 7145312"/>
                <a:gd name="connsiteY1174" fmla="*/ 1515308 h 2639880"/>
                <a:gd name="connsiteX1175" fmla="*/ 4943820 w 7145312"/>
                <a:gd name="connsiteY1175" fmla="*/ 1515308 h 2639880"/>
                <a:gd name="connsiteX1176" fmla="*/ 4929524 w 7145312"/>
                <a:gd name="connsiteY1176" fmla="*/ 1520074 h 2639880"/>
                <a:gd name="connsiteX1177" fmla="*/ 4919996 w 7145312"/>
                <a:gd name="connsiteY1177" fmla="*/ 1520074 h 2639880"/>
                <a:gd name="connsiteX1178" fmla="*/ 4915228 w 7145312"/>
                <a:gd name="connsiteY1178" fmla="*/ 1524840 h 2639880"/>
                <a:gd name="connsiteX1179" fmla="*/ 4891404 w 7145312"/>
                <a:gd name="connsiteY1179" fmla="*/ 1515308 h 2639880"/>
                <a:gd name="connsiteX1180" fmla="*/ 4872344 w 7145312"/>
                <a:gd name="connsiteY1180" fmla="*/ 1505778 h 2639880"/>
                <a:gd name="connsiteX1181" fmla="*/ 4838988 w 7145312"/>
                <a:gd name="connsiteY1181" fmla="*/ 1486718 h 2639880"/>
                <a:gd name="connsiteX1182" fmla="*/ 4834224 w 7145312"/>
                <a:gd name="connsiteY1182" fmla="*/ 1486718 h 2639880"/>
                <a:gd name="connsiteX1183" fmla="*/ 4829456 w 7145312"/>
                <a:gd name="connsiteY1183" fmla="*/ 1477188 h 2639880"/>
                <a:gd name="connsiteX1184" fmla="*/ 4815164 w 7145312"/>
                <a:gd name="connsiteY1184" fmla="*/ 1458128 h 2639880"/>
                <a:gd name="connsiteX1185" fmla="*/ 4810396 w 7145312"/>
                <a:gd name="connsiteY1185" fmla="*/ 1448598 h 2639880"/>
                <a:gd name="connsiteX1186" fmla="*/ 4810396 w 7145312"/>
                <a:gd name="connsiteY1186" fmla="*/ 1420006 h 2639880"/>
                <a:gd name="connsiteX1187" fmla="*/ 4815164 w 7145312"/>
                <a:gd name="connsiteY1187" fmla="*/ 1415242 h 2639880"/>
                <a:gd name="connsiteX1188" fmla="*/ 4819928 w 7145312"/>
                <a:gd name="connsiteY1188" fmla="*/ 1410476 h 2639880"/>
                <a:gd name="connsiteX1189" fmla="*/ 4838988 w 7145312"/>
                <a:gd name="connsiteY1189" fmla="*/ 1420006 h 2639880"/>
                <a:gd name="connsiteX1190" fmla="*/ 4853284 w 7145312"/>
                <a:gd name="connsiteY1190" fmla="*/ 1410476 h 2639880"/>
                <a:gd name="connsiteX1191" fmla="*/ 5110600 w 7145312"/>
                <a:gd name="connsiteY1191" fmla="*/ 1386652 h 2639880"/>
                <a:gd name="connsiteX1192" fmla="*/ 5115364 w 7145312"/>
                <a:gd name="connsiteY1192" fmla="*/ 1386652 h 2639880"/>
                <a:gd name="connsiteX1193" fmla="*/ 5110600 w 7145312"/>
                <a:gd name="connsiteY1193" fmla="*/ 1396180 h 2639880"/>
                <a:gd name="connsiteX1194" fmla="*/ 5096304 w 7145312"/>
                <a:gd name="connsiteY1194" fmla="*/ 1396180 h 2639880"/>
                <a:gd name="connsiteX1195" fmla="*/ 5091540 w 7145312"/>
                <a:gd name="connsiteY1195" fmla="*/ 1396180 h 2639880"/>
                <a:gd name="connsiteX1196" fmla="*/ 1808368 w 7145312"/>
                <a:gd name="connsiteY1196" fmla="*/ 1377120 h 2639880"/>
                <a:gd name="connsiteX1197" fmla="*/ 1822664 w 7145312"/>
                <a:gd name="connsiteY1197" fmla="*/ 1381886 h 2639880"/>
                <a:gd name="connsiteX1198" fmla="*/ 1822664 w 7145312"/>
                <a:gd name="connsiteY1198" fmla="*/ 1396180 h 2639880"/>
                <a:gd name="connsiteX1199" fmla="*/ 1817896 w 7145312"/>
                <a:gd name="connsiteY1199" fmla="*/ 1400946 h 2639880"/>
                <a:gd name="connsiteX1200" fmla="*/ 1808368 w 7145312"/>
                <a:gd name="connsiteY1200" fmla="*/ 1396180 h 2639880"/>
                <a:gd name="connsiteX1201" fmla="*/ 1803600 w 7145312"/>
                <a:gd name="connsiteY1201" fmla="*/ 1391416 h 2639880"/>
                <a:gd name="connsiteX1202" fmla="*/ 1798836 w 7145312"/>
                <a:gd name="connsiteY1202" fmla="*/ 1386650 h 2639880"/>
                <a:gd name="connsiteX1203" fmla="*/ 1798836 w 7145312"/>
                <a:gd name="connsiteY1203" fmla="*/ 1381886 h 2639880"/>
                <a:gd name="connsiteX1204" fmla="*/ 1903668 w 7145312"/>
                <a:gd name="connsiteY1204" fmla="*/ 1367590 h 2639880"/>
                <a:gd name="connsiteX1205" fmla="*/ 1913200 w 7145312"/>
                <a:gd name="connsiteY1205" fmla="*/ 1367590 h 2639880"/>
                <a:gd name="connsiteX1206" fmla="*/ 1917964 w 7145312"/>
                <a:gd name="connsiteY1206" fmla="*/ 1372356 h 2639880"/>
                <a:gd name="connsiteX1207" fmla="*/ 1913200 w 7145312"/>
                <a:gd name="connsiteY1207" fmla="*/ 1377120 h 2639880"/>
                <a:gd name="connsiteX1208" fmla="*/ 1908436 w 7145312"/>
                <a:gd name="connsiteY1208" fmla="*/ 1381884 h 2639880"/>
                <a:gd name="connsiteX1209" fmla="*/ 1903668 w 7145312"/>
                <a:gd name="connsiteY1209" fmla="*/ 1377120 h 2639880"/>
                <a:gd name="connsiteX1210" fmla="*/ 1898904 w 7145312"/>
                <a:gd name="connsiteY1210" fmla="*/ 1372356 h 2639880"/>
                <a:gd name="connsiteX1211" fmla="*/ 5339324 w 7145312"/>
                <a:gd name="connsiteY1211" fmla="*/ 1362824 h 2639880"/>
                <a:gd name="connsiteX1212" fmla="*/ 5348856 w 7145312"/>
                <a:gd name="connsiteY1212" fmla="*/ 1362824 h 2639880"/>
                <a:gd name="connsiteX1213" fmla="*/ 5358384 w 7145312"/>
                <a:gd name="connsiteY1213" fmla="*/ 1362824 h 2639880"/>
                <a:gd name="connsiteX1214" fmla="*/ 5367916 w 7145312"/>
                <a:gd name="connsiteY1214" fmla="*/ 1362824 h 2639880"/>
                <a:gd name="connsiteX1215" fmla="*/ 5391740 w 7145312"/>
                <a:gd name="connsiteY1215" fmla="*/ 1372356 h 2639880"/>
                <a:gd name="connsiteX1216" fmla="*/ 5429864 w 7145312"/>
                <a:gd name="connsiteY1216" fmla="*/ 1391416 h 2639880"/>
                <a:gd name="connsiteX1217" fmla="*/ 5448924 w 7145312"/>
                <a:gd name="connsiteY1217" fmla="*/ 1391416 h 2639880"/>
                <a:gd name="connsiteX1218" fmla="*/ 5477512 w 7145312"/>
                <a:gd name="connsiteY1218" fmla="*/ 1391416 h 2639880"/>
                <a:gd name="connsiteX1219" fmla="*/ 5491808 w 7145312"/>
                <a:gd name="connsiteY1219" fmla="*/ 1391416 h 2639880"/>
                <a:gd name="connsiteX1220" fmla="*/ 5520400 w 7145312"/>
                <a:gd name="connsiteY1220" fmla="*/ 1415242 h 2639880"/>
                <a:gd name="connsiteX1221" fmla="*/ 5529932 w 7145312"/>
                <a:gd name="connsiteY1221" fmla="*/ 1429536 h 2639880"/>
                <a:gd name="connsiteX1222" fmla="*/ 5529932 w 7145312"/>
                <a:gd name="connsiteY1222" fmla="*/ 1443832 h 2639880"/>
                <a:gd name="connsiteX1223" fmla="*/ 5534696 w 7145312"/>
                <a:gd name="connsiteY1223" fmla="*/ 1458128 h 2639880"/>
                <a:gd name="connsiteX1224" fmla="*/ 5544224 w 7145312"/>
                <a:gd name="connsiteY1224" fmla="*/ 1458128 h 2639880"/>
                <a:gd name="connsiteX1225" fmla="*/ 5553756 w 7145312"/>
                <a:gd name="connsiteY1225" fmla="*/ 1458128 h 2639880"/>
                <a:gd name="connsiteX1226" fmla="*/ 5563288 w 7145312"/>
                <a:gd name="connsiteY1226" fmla="*/ 1477188 h 2639880"/>
                <a:gd name="connsiteX1227" fmla="*/ 5563288 w 7145312"/>
                <a:gd name="connsiteY1227" fmla="*/ 1481952 h 2639880"/>
                <a:gd name="connsiteX1228" fmla="*/ 5558520 w 7145312"/>
                <a:gd name="connsiteY1228" fmla="*/ 1529604 h 2639880"/>
                <a:gd name="connsiteX1229" fmla="*/ 5520400 w 7145312"/>
                <a:gd name="connsiteY1229" fmla="*/ 1510544 h 2639880"/>
                <a:gd name="connsiteX1230" fmla="*/ 5487044 w 7145312"/>
                <a:gd name="connsiteY1230" fmla="*/ 1491484 h 2639880"/>
                <a:gd name="connsiteX1231" fmla="*/ 5472748 w 7145312"/>
                <a:gd name="connsiteY1231" fmla="*/ 1486718 h 2639880"/>
                <a:gd name="connsiteX1232" fmla="*/ 5434628 w 7145312"/>
                <a:gd name="connsiteY1232" fmla="*/ 1467658 h 2639880"/>
                <a:gd name="connsiteX1233" fmla="*/ 5429864 w 7145312"/>
                <a:gd name="connsiteY1233" fmla="*/ 1462892 h 2639880"/>
                <a:gd name="connsiteX1234" fmla="*/ 5425096 w 7145312"/>
                <a:gd name="connsiteY1234" fmla="*/ 1458128 h 2639880"/>
                <a:gd name="connsiteX1235" fmla="*/ 5406036 w 7145312"/>
                <a:gd name="connsiteY1235" fmla="*/ 1443832 h 2639880"/>
                <a:gd name="connsiteX1236" fmla="*/ 5372680 w 7145312"/>
                <a:gd name="connsiteY1236" fmla="*/ 1443832 h 2639880"/>
                <a:gd name="connsiteX1237" fmla="*/ 5358384 w 7145312"/>
                <a:gd name="connsiteY1237" fmla="*/ 1443832 h 2639880"/>
                <a:gd name="connsiteX1238" fmla="*/ 5353620 w 7145312"/>
                <a:gd name="connsiteY1238" fmla="*/ 1443832 h 2639880"/>
                <a:gd name="connsiteX1239" fmla="*/ 5358384 w 7145312"/>
                <a:gd name="connsiteY1239" fmla="*/ 1448598 h 2639880"/>
                <a:gd name="connsiteX1240" fmla="*/ 5358384 w 7145312"/>
                <a:gd name="connsiteY1240" fmla="*/ 1462892 h 2639880"/>
                <a:gd name="connsiteX1241" fmla="*/ 5348856 w 7145312"/>
                <a:gd name="connsiteY1241" fmla="*/ 1462892 h 2639880"/>
                <a:gd name="connsiteX1242" fmla="*/ 5325028 w 7145312"/>
                <a:gd name="connsiteY1242" fmla="*/ 1458128 h 2639880"/>
                <a:gd name="connsiteX1243" fmla="*/ 5305968 w 7145312"/>
                <a:gd name="connsiteY1243" fmla="*/ 1458128 h 2639880"/>
                <a:gd name="connsiteX1244" fmla="*/ 5291672 w 7145312"/>
                <a:gd name="connsiteY1244" fmla="*/ 1448598 h 2639880"/>
                <a:gd name="connsiteX1245" fmla="*/ 5267848 w 7145312"/>
                <a:gd name="connsiteY1245" fmla="*/ 1443832 h 2639880"/>
                <a:gd name="connsiteX1246" fmla="*/ 5267848 w 7145312"/>
                <a:gd name="connsiteY1246" fmla="*/ 1439066 h 2639880"/>
                <a:gd name="connsiteX1247" fmla="*/ 5267848 w 7145312"/>
                <a:gd name="connsiteY1247" fmla="*/ 1434302 h 2639880"/>
                <a:gd name="connsiteX1248" fmla="*/ 5263084 w 7145312"/>
                <a:gd name="connsiteY1248" fmla="*/ 1429536 h 2639880"/>
                <a:gd name="connsiteX1249" fmla="*/ 5253552 w 7145312"/>
                <a:gd name="connsiteY1249" fmla="*/ 1429536 h 2639880"/>
                <a:gd name="connsiteX1250" fmla="*/ 5244024 w 7145312"/>
                <a:gd name="connsiteY1250" fmla="*/ 1434302 h 2639880"/>
                <a:gd name="connsiteX1251" fmla="*/ 5234492 w 7145312"/>
                <a:gd name="connsiteY1251" fmla="*/ 1443832 h 2639880"/>
                <a:gd name="connsiteX1252" fmla="*/ 5224964 w 7145312"/>
                <a:gd name="connsiteY1252" fmla="*/ 1458128 h 2639880"/>
                <a:gd name="connsiteX1253" fmla="*/ 5220196 w 7145312"/>
                <a:gd name="connsiteY1253" fmla="*/ 1462892 h 2639880"/>
                <a:gd name="connsiteX1254" fmla="*/ 5201136 w 7145312"/>
                <a:gd name="connsiteY1254" fmla="*/ 1462892 h 2639880"/>
                <a:gd name="connsiteX1255" fmla="*/ 5191608 w 7145312"/>
                <a:gd name="connsiteY1255" fmla="*/ 1462892 h 2639880"/>
                <a:gd name="connsiteX1256" fmla="*/ 5182076 w 7145312"/>
                <a:gd name="connsiteY1256" fmla="*/ 1458128 h 2639880"/>
                <a:gd name="connsiteX1257" fmla="*/ 5163016 w 7145312"/>
                <a:gd name="connsiteY1257" fmla="*/ 1434302 h 2639880"/>
                <a:gd name="connsiteX1258" fmla="*/ 5153484 w 7145312"/>
                <a:gd name="connsiteY1258" fmla="*/ 1424772 h 2639880"/>
                <a:gd name="connsiteX1259" fmla="*/ 5148720 w 7145312"/>
                <a:gd name="connsiteY1259" fmla="*/ 1420006 h 2639880"/>
                <a:gd name="connsiteX1260" fmla="*/ 5139188 w 7145312"/>
                <a:gd name="connsiteY1260" fmla="*/ 1420006 h 2639880"/>
                <a:gd name="connsiteX1261" fmla="*/ 5129660 w 7145312"/>
                <a:gd name="connsiteY1261" fmla="*/ 1424772 h 2639880"/>
                <a:gd name="connsiteX1262" fmla="*/ 5129660 w 7145312"/>
                <a:gd name="connsiteY1262" fmla="*/ 1434302 h 2639880"/>
                <a:gd name="connsiteX1263" fmla="*/ 5124896 w 7145312"/>
                <a:gd name="connsiteY1263" fmla="*/ 1443832 h 2639880"/>
                <a:gd name="connsiteX1264" fmla="*/ 5124896 w 7145312"/>
                <a:gd name="connsiteY1264" fmla="*/ 1448598 h 2639880"/>
                <a:gd name="connsiteX1265" fmla="*/ 5115364 w 7145312"/>
                <a:gd name="connsiteY1265" fmla="*/ 1462892 h 2639880"/>
                <a:gd name="connsiteX1266" fmla="*/ 5105836 w 7145312"/>
                <a:gd name="connsiteY1266" fmla="*/ 1472422 h 2639880"/>
                <a:gd name="connsiteX1267" fmla="*/ 5101068 w 7145312"/>
                <a:gd name="connsiteY1267" fmla="*/ 1472422 h 2639880"/>
                <a:gd name="connsiteX1268" fmla="*/ 5105836 w 7145312"/>
                <a:gd name="connsiteY1268" fmla="*/ 1458128 h 2639880"/>
                <a:gd name="connsiteX1269" fmla="*/ 5105836 w 7145312"/>
                <a:gd name="connsiteY1269" fmla="*/ 1448598 h 2639880"/>
                <a:gd name="connsiteX1270" fmla="*/ 5101068 w 7145312"/>
                <a:gd name="connsiteY1270" fmla="*/ 1439066 h 2639880"/>
                <a:gd name="connsiteX1271" fmla="*/ 5101068 w 7145312"/>
                <a:gd name="connsiteY1271" fmla="*/ 1429536 h 2639880"/>
                <a:gd name="connsiteX1272" fmla="*/ 5134424 w 7145312"/>
                <a:gd name="connsiteY1272" fmla="*/ 1381886 h 2639880"/>
                <a:gd name="connsiteX1273" fmla="*/ 5148720 w 7145312"/>
                <a:gd name="connsiteY1273" fmla="*/ 1372356 h 2639880"/>
                <a:gd name="connsiteX1274" fmla="*/ 5205900 w 7145312"/>
                <a:gd name="connsiteY1274" fmla="*/ 1367590 h 2639880"/>
                <a:gd name="connsiteX1275" fmla="*/ 5244024 w 7145312"/>
                <a:gd name="connsiteY1275" fmla="*/ 1372356 h 2639880"/>
                <a:gd name="connsiteX1276" fmla="*/ 5263084 w 7145312"/>
                <a:gd name="connsiteY1276" fmla="*/ 1372356 h 2639880"/>
                <a:gd name="connsiteX1277" fmla="*/ 5272612 w 7145312"/>
                <a:gd name="connsiteY1277" fmla="*/ 1367590 h 2639880"/>
                <a:gd name="connsiteX1278" fmla="*/ 5282144 w 7145312"/>
                <a:gd name="connsiteY1278" fmla="*/ 1367590 h 2639880"/>
                <a:gd name="connsiteX1279" fmla="*/ 5286908 w 7145312"/>
                <a:gd name="connsiteY1279" fmla="*/ 1377120 h 2639880"/>
                <a:gd name="connsiteX1280" fmla="*/ 5291672 w 7145312"/>
                <a:gd name="connsiteY1280" fmla="*/ 1386650 h 2639880"/>
                <a:gd name="connsiteX1281" fmla="*/ 5301204 w 7145312"/>
                <a:gd name="connsiteY1281" fmla="*/ 1381886 h 2639880"/>
                <a:gd name="connsiteX1282" fmla="*/ 5320264 w 7145312"/>
                <a:gd name="connsiteY1282" fmla="*/ 1377120 h 2639880"/>
                <a:gd name="connsiteX1283" fmla="*/ 5334560 w 7145312"/>
                <a:gd name="connsiteY1283" fmla="*/ 1367590 h 2639880"/>
                <a:gd name="connsiteX1284" fmla="*/ 774336 w 7145312"/>
                <a:gd name="connsiteY1284" fmla="*/ 1362824 h 2639880"/>
                <a:gd name="connsiteX1285" fmla="*/ 783864 w 7145312"/>
                <a:gd name="connsiteY1285" fmla="*/ 1362824 h 2639880"/>
                <a:gd name="connsiteX1286" fmla="*/ 817220 w 7145312"/>
                <a:gd name="connsiteY1286" fmla="*/ 1396180 h 2639880"/>
                <a:gd name="connsiteX1287" fmla="*/ 817220 w 7145312"/>
                <a:gd name="connsiteY1287" fmla="*/ 1400946 h 2639880"/>
                <a:gd name="connsiteX1288" fmla="*/ 817220 w 7145312"/>
                <a:gd name="connsiteY1288" fmla="*/ 1410476 h 2639880"/>
                <a:gd name="connsiteX1289" fmla="*/ 812456 w 7145312"/>
                <a:gd name="connsiteY1289" fmla="*/ 1415242 h 2639880"/>
                <a:gd name="connsiteX1290" fmla="*/ 812456 w 7145312"/>
                <a:gd name="connsiteY1290" fmla="*/ 1424772 h 2639880"/>
                <a:gd name="connsiteX1291" fmla="*/ 817220 w 7145312"/>
                <a:gd name="connsiteY1291" fmla="*/ 1443832 h 2639880"/>
                <a:gd name="connsiteX1292" fmla="*/ 798160 w 7145312"/>
                <a:gd name="connsiteY1292" fmla="*/ 1429536 h 2639880"/>
                <a:gd name="connsiteX1293" fmla="*/ 798160 w 7145312"/>
                <a:gd name="connsiteY1293" fmla="*/ 1420006 h 2639880"/>
                <a:gd name="connsiteX1294" fmla="*/ 798160 w 7145312"/>
                <a:gd name="connsiteY1294" fmla="*/ 1410476 h 2639880"/>
                <a:gd name="connsiteX1295" fmla="*/ 783864 w 7145312"/>
                <a:gd name="connsiteY1295" fmla="*/ 1405712 h 2639880"/>
                <a:gd name="connsiteX1296" fmla="*/ 779100 w 7145312"/>
                <a:gd name="connsiteY1296" fmla="*/ 1391416 h 2639880"/>
                <a:gd name="connsiteX1297" fmla="*/ 774336 w 7145312"/>
                <a:gd name="connsiteY1297" fmla="*/ 1367590 h 2639880"/>
                <a:gd name="connsiteX1298" fmla="*/ 1970380 w 7145312"/>
                <a:gd name="connsiteY1298" fmla="*/ 1319940 h 2639880"/>
                <a:gd name="connsiteX1299" fmla="*/ 1975148 w 7145312"/>
                <a:gd name="connsiteY1299" fmla="*/ 1324704 h 2639880"/>
                <a:gd name="connsiteX1300" fmla="*/ 2008504 w 7145312"/>
                <a:gd name="connsiteY1300" fmla="*/ 1329470 h 2639880"/>
                <a:gd name="connsiteX1301" fmla="*/ 2027564 w 7145312"/>
                <a:gd name="connsiteY1301" fmla="*/ 1348530 h 2639880"/>
                <a:gd name="connsiteX1302" fmla="*/ 2041856 w 7145312"/>
                <a:gd name="connsiteY1302" fmla="*/ 1367590 h 2639880"/>
                <a:gd name="connsiteX1303" fmla="*/ 2027564 w 7145312"/>
                <a:gd name="connsiteY1303" fmla="*/ 1396182 h 2639880"/>
                <a:gd name="connsiteX1304" fmla="*/ 2022796 w 7145312"/>
                <a:gd name="connsiteY1304" fmla="*/ 1410476 h 2639880"/>
                <a:gd name="connsiteX1305" fmla="*/ 2022796 w 7145312"/>
                <a:gd name="connsiteY1305" fmla="*/ 1415242 h 2639880"/>
                <a:gd name="connsiteX1306" fmla="*/ 2008504 w 7145312"/>
                <a:gd name="connsiteY1306" fmla="*/ 1424772 h 2639880"/>
                <a:gd name="connsiteX1307" fmla="*/ 2003736 w 7145312"/>
                <a:gd name="connsiteY1307" fmla="*/ 1429536 h 2639880"/>
                <a:gd name="connsiteX1308" fmla="*/ 1989440 w 7145312"/>
                <a:gd name="connsiteY1308" fmla="*/ 1429536 h 2639880"/>
                <a:gd name="connsiteX1309" fmla="*/ 1989440 w 7145312"/>
                <a:gd name="connsiteY1309" fmla="*/ 1420006 h 2639880"/>
                <a:gd name="connsiteX1310" fmla="*/ 1984676 w 7145312"/>
                <a:gd name="connsiteY1310" fmla="*/ 1415242 h 2639880"/>
                <a:gd name="connsiteX1311" fmla="*/ 1970380 w 7145312"/>
                <a:gd name="connsiteY1311" fmla="*/ 1405712 h 2639880"/>
                <a:gd name="connsiteX1312" fmla="*/ 1970380 w 7145312"/>
                <a:gd name="connsiteY1312" fmla="*/ 1410476 h 2639880"/>
                <a:gd name="connsiteX1313" fmla="*/ 1965616 w 7145312"/>
                <a:gd name="connsiteY1313" fmla="*/ 1420006 h 2639880"/>
                <a:gd name="connsiteX1314" fmla="*/ 1941792 w 7145312"/>
                <a:gd name="connsiteY1314" fmla="*/ 1424772 h 2639880"/>
                <a:gd name="connsiteX1315" fmla="*/ 1932260 w 7145312"/>
                <a:gd name="connsiteY1315" fmla="*/ 1424772 h 2639880"/>
                <a:gd name="connsiteX1316" fmla="*/ 1937024 w 7145312"/>
                <a:gd name="connsiteY1316" fmla="*/ 1415242 h 2639880"/>
                <a:gd name="connsiteX1317" fmla="*/ 1932260 w 7145312"/>
                <a:gd name="connsiteY1317" fmla="*/ 1405712 h 2639880"/>
                <a:gd name="connsiteX1318" fmla="*/ 1932260 w 7145312"/>
                <a:gd name="connsiteY1318" fmla="*/ 1391416 h 2639880"/>
                <a:gd name="connsiteX1319" fmla="*/ 1927496 w 7145312"/>
                <a:gd name="connsiteY1319" fmla="*/ 1386650 h 2639880"/>
                <a:gd name="connsiteX1320" fmla="*/ 1927496 w 7145312"/>
                <a:gd name="connsiteY1320" fmla="*/ 1381886 h 2639880"/>
                <a:gd name="connsiteX1321" fmla="*/ 1932260 w 7145312"/>
                <a:gd name="connsiteY1321" fmla="*/ 1372356 h 2639880"/>
                <a:gd name="connsiteX1322" fmla="*/ 1932260 w 7145312"/>
                <a:gd name="connsiteY1322" fmla="*/ 1362826 h 2639880"/>
                <a:gd name="connsiteX1323" fmla="*/ 1937024 w 7145312"/>
                <a:gd name="connsiteY1323" fmla="*/ 1353294 h 2639880"/>
                <a:gd name="connsiteX1324" fmla="*/ 1941792 w 7145312"/>
                <a:gd name="connsiteY1324" fmla="*/ 1324704 h 2639880"/>
                <a:gd name="connsiteX1325" fmla="*/ 740976 w 7145312"/>
                <a:gd name="connsiteY1325" fmla="*/ 1319940 h 2639880"/>
                <a:gd name="connsiteX1326" fmla="*/ 745744 w 7145312"/>
                <a:gd name="connsiteY1326" fmla="*/ 1319940 h 2639880"/>
                <a:gd name="connsiteX1327" fmla="*/ 779100 w 7145312"/>
                <a:gd name="connsiteY1327" fmla="*/ 1343764 h 2639880"/>
                <a:gd name="connsiteX1328" fmla="*/ 779100 w 7145312"/>
                <a:gd name="connsiteY1328" fmla="*/ 1353294 h 2639880"/>
                <a:gd name="connsiteX1329" fmla="*/ 764804 w 7145312"/>
                <a:gd name="connsiteY1329" fmla="*/ 1367590 h 2639880"/>
                <a:gd name="connsiteX1330" fmla="*/ 745744 w 7145312"/>
                <a:gd name="connsiteY1330" fmla="*/ 1367590 h 2639880"/>
                <a:gd name="connsiteX1331" fmla="*/ 745744 w 7145312"/>
                <a:gd name="connsiteY1331" fmla="*/ 1358060 h 2639880"/>
                <a:gd name="connsiteX1332" fmla="*/ 745744 w 7145312"/>
                <a:gd name="connsiteY1332" fmla="*/ 1339000 h 2639880"/>
                <a:gd name="connsiteX1333" fmla="*/ 740976 w 7145312"/>
                <a:gd name="connsiteY1333" fmla="*/ 1334234 h 2639880"/>
                <a:gd name="connsiteX1334" fmla="*/ 740976 w 7145312"/>
                <a:gd name="connsiteY1334" fmla="*/ 1329470 h 2639880"/>
                <a:gd name="connsiteX1335" fmla="*/ 6111276 w 7145312"/>
                <a:gd name="connsiteY1335" fmla="*/ 1243696 h 2639880"/>
                <a:gd name="connsiteX1336" fmla="*/ 6116040 w 7145312"/>
                <a:gd name="connsiteY1336" fmla="*/ 1243696 h 2639880"/>
                <a:gd name="connsiteX1337" fmla="*/ 6120808 w 7145312"/>
                <a:gd name="connsiteY1337" fmla="*/ 1248462 h 2639880"/>
                <a:gd name="connsiteX1338" fmla="*/ 6116040 w 7145312"/>
                <a:gd name="connsiteY1338" fmla="*/ 1257992 h 2639880"/>
                <a:gd name="connsiteX1339" fmla="*/ 6111276 w 7145312"/>
                <a:gd name="connsiteY1339" fmla="*/ 1257992 h 2639880"/>
                <a:gd name="connsiteX1340" fmla="*/ 6106512 w 7145312"/>
                <a:gd name="connsiteY1340" fmla="*/ 1253228 h 2639880"/>
                <a:gd name="connsiteX1341" fmla="*/ 683796 w 7145312"/>
                <a:gd name="connsiteY1341" fmla="*/ 1238932 h 2639880"/>
                <a:gd name="connsiteX1342" fmla="*/ 698092 w 7145312"/>
                <a:gd name="connsiteY1342" fmla="*/ 1248462 h 2639880"/>
                <a:gd name="connsiteX1343" fmla="*/ 702856 w 7145312"/>
                <a:gd name="connsiteY1343" fmla="*/ 1267524 h 2639880"/>
                <a:gd name="connsiteX1344" fmla="*/ 717152 w 7145312"/>
                <a:gd name="connsiteY1344" fmla="*/ 1281818 h 2639880"/>
                <a:gd name="connsiteX1345" fmla="*/ 721916 w 7145312"/>
                <a:gd name="connsiteY1345" fmla="*/ 1291348 h 2639880"/>
                <a:gd name="connsiteX1346" fmla="*/ 721916 w 7145312"/>
                <a:gd name="connsiteY1346" fmla="*/ 1296114 h 2639880"/>
                <a:gd name="connsiteX1347" fmla="*/ 698092 w 7145312"/>
                <a:gd name="connsiteY1347" fmla="*/ 1281818 h 2639880"/>
                <a:gd name="connsiteX1348" fmla="*/ 683796 w 7145312"/>
                <a:gd name="connsiteY1348" fmla="*/ 1277054 h 2639880"/>
                <a:gd name="connsiteX1349" fmla="*/ 674264 w 7145312"/>
                <a:gd name="connsiteY1349" fmla="*/ 1262758 h 2639880"/>
                <a:gd name="connsiteX1350" fmla="*/ 674264 w 7145312"/>
                <a:gd name="connsiteY1350" fmla="*/ 1257992 h 2639880"/>
                <a:gd name="connsiteX1351" fmla="*/ 679032 w 7145312"/>
                <a:gd name="connsiteY1351" fmla="*/ 1248462 h 2639880"/>
                <a:gd name="connsiteX1352" fmla="*/ 679032 w 7145312"/>
                <a:gd name="connsiteY1352" fmla="*/ 1243698 h 2639880"/>
                <a:gd name="connsiteX1353" fmla="*/ 4796100 w 7145312"/>
                <a:gd name="connsiteY1353" fmla="*/ 1234168 h 2639880"/>
                <a:gd name="connsiteX1354" fmla="*/ 4800868 w 7145312"/>
                <a:gd name="connsiteY1354" fmla="*/ 1234168 h 2639880"/>
                <a:gd name="connsiteX1355" fmla="*/ 4805632 w 7145312"/>
                <a:gd name="connsiteY1355" fmla="*/ 1238932 h 2639880"/>
                <a:gd name="connsiteX1356" fmla="*/ 4800868 w 7145312"/>
                <a:gd name="connsiteY1356" fmla="*/ 1262758 h 2639880"/>
                <a:gd name="connsiteX1357" fmla="*/ 4815160 w 7145312"/>
                <a:gd name="connsiteY1357" fmla="*/ 1296114 h 2639880"/>
                <a:gd name="connsiteX1358" fmla="*/ 4815160 w 7145312"/>
                <a:gd name="connsiteY1358" fmla="*/ 1310408 h 2639880"/>
                <a:gd name="connsiteX1359" fmla="*/ 4810396 w 7145312"/>
                <a:gd name="connsiteY1359" fmla="*/ 1310408 h 2639880"/>
                <a:gd name="connsiteX1360" fmla="*/ 4800868 w 7145312"/>
                <a:gd name="connsiteY1360" fmla="*/ 1300878 h 2639880"/>
                <a:gd name="connsiteX1361" fmla="*/ 4796100 w 7145312"/>
                <a:gd name="connsiteY1361" fmla="*/ 1277054 h 2639880"/>
                <a:gd name="connsiteX1362" fmla="*/ 4791336 w 7145312"/>
                <a:gd name="connsiteY1362" fmla="*/ 1272288 h 2639880"/>
                <a:gd name="connsiteX1363" fmla="*/ 4786572 w 7145312"/>
                <a:gd name="connsiteY1363" fmla="*/ 1248462 h 2639880"/>
                <a:gd name="connsiteX1364" fmla="*/ 4786572 w 7145312"/>
                <a:gd name="connsiteY1364" fmla="*/ 1243698 h 2639880"/>
                <a:gd name="connsiteX1365" fmla="*/ 4457776 w 7145312"/>
                <a:gd name="connsiteY1365" fmla="*/ 1219872 h 2639880"/>
                <a:gd name="connsiteX1366" fmla="*/ 4472072 w 7145312"/>
                <a:gd name="connsiteY1366" fmla="*/ 1229402 h 2639880"/>
                <a:gd name="connsiteX1367" fmla="*/ 4472072 w 7145312"/>
                <a:gd name="connsiteY1367" fmla="*/ 1238932 h 2639880"/>
                <a:gd name="connsiteX1368" fmla="*/ 4462544 w 7145312"/>
                <a:gd name="connsiteY1368" fmla="*/ 1238932 h 2639880"/>
                <a:gd name="connsiteX1369" fmla="*/ 4457776 w 7145312"/>
                <a:gd name="connsiteY1369" fmla="*/ 1224636 h 2639880"/>
                <a:gd name="connsiteX1370" fmla="*/ 4729388 w 7145312"/>
                <a:gd name="connsiteY1370" fmla="*/ 1205576 h 2639880"/>
                <a:gd name="connsiteX1371" fmla="*/ 4762744 w 7145312"/>
                <a:gd name="connsiteY1371" fmla="*/ 1210342 h 2639880"/>
                <a:gd name="connsiteX1372" fmla="*/ 4810396 w 7145312"/>
                <a:gd name="connsiteY1372" fmla="*/ 1205576 h 2639880"/>
                <a:gd name="connsiteX1373" fmla="*/ 4858048 w 7145312"/>
                <a:gd name="connsiteY1373" fmla="*/ 1210342 h 2639880"/>
                <a:gd name="connsiteX1374" fmla="*/ 4853284 w 7145312"/>
                <a:gd name="connsiteY1374" fmla="*/ 1215106 h 2639880"/>
                <a:gd name="connsiteX1375" fmla="*/ 4800868 w 7145312"/>
                <a:gd name="connsiteY1375" fmla="*/ 1224636 h 2639880"/>
                <a:gd name="connsiteX1376" fmla="*/ 4781804 w 7145312"/>
                <a:gd name="connsiteY1376" fmla="*/ 1224636 h 2639880"/>
                <a:gd name="connsiteX1377" fmla="*/ 4724624 w 7145312"/>
                <a:gd name="connsiteY1377" fmla="*/ 1229402 h 2639880"/>
                <a:gd name="connsiteX1378" fmla="*/ 4715096 w 7145312"/>
                <a:gd name="connsiteY1378" fmla="*/ 1229402 h 2639880"/>
                <a:gd name="connsiteX1379" fmla="*/ 4715096 w 7145312"/>
                <a:gd name="connsiteY1379" fmla="*/ 1219872 h 2639880"/>
                <a:gd name="connsiteX1380" fmla="*/ 4710328 w 7145312"/>
                <a:gd name="connsiteY1380" fmla="*/ 1215106 h 2639880"/>
                <a:gd name="connsiteX1381" fmla="*/ 4719860 w 7145312"/>
                <a:gd name="connsiteY1381" fmla="*/ 1210342 h 2639880"/>
                <a:gd name="connsiteX1382" fmla="*/ 4357708 w 7145312"/>
                <a:gd name="connsiteY1382" fmla="*/ 1200812 h 2639880"/>
                <a:gd name="connsiteX1383" fmla="*/ 4362472 w 7145312"/>
                <a:gd name="connsiteY1383" fmla="*/ 1210342 h 2639880"/>
                <a:gd name="connsiteX1384" fmla="*/ 4348180 w 7145312"/>
                <a:gd name="connsiteY1384" fmla="*/ 1224636 h 2639880"/>
                <a:gd name="connsiteX1385" fmla="*/ 4348180 w 7145312"/>
                <a:gd name="connsiteY1385" fmla="*/ 1215106 h 2639880"/>
                <a:gd name="connsiteX1386" fmla="*/ 4352944 w 7145312"/>
                <a:gd name="connsiteY1386" fmla="*/ 1210342 h 2639880"/>
                <a:gd name="connsiteX1387" fmla="*/ 4352944 w 7145312"/>
                <a:gd name="connsiteY1387" fmla="*/ 1205576 h 2639880"/>
                <a:gd name="connsiteX1388" fmla="*/ 5482280 w 7145312"/>
                <a:gd name="connsiteY1388" fmla="*/ 1191280 h 2639880"/>
                <a:gd name="connsiteX1389" fmla="*/ 5487044 w 7145312"/>
                <a:gd name="connsiteY1389" fmla="*/ 1191280 h 2639880"/>
                <a:gd name="connsiteX1390" fmla="*/ 5487044 w 7145312"/>
                <a:gd name="connsiteY1390" fmla="*/ 1200810 h 2639880"/>
                <a:gd name="connsiteX1391" fmla="*/ 5496576 w 7145312"/>
                <a:gd name="connsiteY1391" fmla="*/ 1205576 h 2639880"/>
                <a:gd name="connsiteX1392" fmla="*/ 5491808 w 7145312"/>
                <a:gd name="connsiteY1392" fmla="*/ 1219872 h 2639880"/>
                <a:gd name="connsiteX1393" fmla="*/ 5491808 w 7145312"/>
                <a:gd name="connsiteY1393" fmla="*/ 1224636 h 2639880"/>
                <a:gd name="connsiteX1394" fmla="*/ 5491808 w 7145312"/>
                <a:gd name="connsiteY1394" fmla="*/ 1229402 h 2639880"/>
                <a:gd name="connsiteX1395" fmla="*/ 5496576 w 7145312"/>
                <a:gd name="connsiteY1395" fmla="*/ 1234166 h 2639880"/>
                <a:gd name="connsiteX1396" fmla="*/ 5487044 w 7145312"/>
                <a:gd name="connsiteY1396" fmla="*/ 1238932 h 2639880"/>
                <a:gd name="connsiteX1397" fmla="*/ 5482280 w 7145312"/>
                <a:gd name="connsiteY1397" fmla="*/ 1234166 h 2639880"/>
                <a:gd name="connsiteX1398" fmla="*/ 5477516 w 7145312"/>
                <a:gd name="connsiteY1398" fmla="*/ 1238932 h 2639880"/>
                <a:gd name="connsiteX1399" fmla="*/ 5467984 w 7145312"/>
                <a:gd name="connsiteY1399" fmla="*/ 1243696 h 2639880"/>
                <a:gd name="connsiteX1400" fmla="*/ 5453688 w 7145312"/>
                <a:gd name="connsiteY1400" fmla="*/ 1248462 h 2639880"/>
                <a:gd name="connsiteX1401" fmla="*/ 5444160 w 7145312"/>
                <a:gd name="connsiteY1401" fmla="*/ 1243696 h 2639880"/>
                <a:gd name="connsiteX1402" fmla="*/ 5415568 w 7145312"/>
                <a:gd name="connsiteY1402" fmla="*/ 1234166 h 2639880"/>
                <a:gd name="connsiteX1403" fmla="*/ 5391744 w 7145312"/>
                <a:gd name="connsiteY1403" fmla="*/ 1219872 h 2639880"/>
                <a:gd name="connsiteX1404" fmla="*/ 5391744 w 7145312"/>
                <a:gd name="connsiteY1404" fmla="*/ 1215106 h 2639880"/>
                <a:gd name="connsiteX1405" fmla="*/ 5429864 w 7145312"/>
                <a:gd name="connsiteY1405" fmla="*/ 1200810 h 2639880"/>
                <a:gd name="connsiteX1406" fmla="*/ 5448924 w 7145312"/>
                <a:gd name="connsiteY1406" fmla="*/ 1196046 h 2639880"/>
                <a:gd name="connsiteX1407" fmla="*/ 5463220 w 7145312"/>
                <a:gd name="connsiteY1407" fmla="*/ 1196046 h 2639880"/>
                <a:gd name="connsiteX1408" fmla="*/ 4567376 w 7145312"/>
                <a:gd name="connsiteY1408" fmla="*/ 1181750 h 2639880"/>
                <a:gd name="connsiteX1409" fmla="*/ 4595964 w 7145312"/>
                <a:gd name="connsiteY1409" fmla="*/ 1181750 h 2639880"/>
                <a:gd name="connsiteX1410" fmla="*/ 4643616 w 7145312"/>
                <a:gd name="connsiteY1410" fmla="*/ 1191280 h 2639880"/>
                <a:gd name="connsiteX1411" fmla="*/ 4662676 w 7145312"/>
                <a:gd name="connsiteY1411" fmla="*/ 1196046 h 2639880"/>
                <a:gd name="connsiteX1412" fmla="*/ 4667444 w 7145312"/>
                <a:gd name="connsiteY1412" fmla="*/ 1196046 h 2639880"/>
                <a:gd name="connsiteX1413" fmla="*/ 4672208 w 7145312"/>
                <a:gd name="connsiteY1413" fmla="*/ 1191280 h 2639880"/>
                <a:gd name="connsiteX1414" fmla="*/ 4676972 w 7145312"/>
                <a:gd name="connsiteY1414" fmla="*/ 1191280 h 2639880"/>
                <a:gd name="connsiteX1415" fmla="*/ 4681736 w 7145312"/>
                <a:gd name="connsiteY1415" fmla="*/ 1205576 h 2639880"/>
                <a:gd name="connsiteX1416" fmla="*/ 4691268 w 7145312"/>
                <a:gd name="connsiteY1416" fmla="*/ 1200810 h 2639880"/>
                <a:gd name="connsiteX1417" fmla="*/ 4696032 w 7145312"/>
                <a:gd name="connsiteY1417" fmla="*/ 1205576 h 2639880"/>
                <a:gd name="connsiteX1418" fmla="*/ 4700800 w 7145312"/>
                <a:gd name="connsiteY1418" fmla="*/ 1210340 h 2639880"/>
                <a:gd name="connsiteX1419" fmla="*/ 4700800 w 7145312"/>
                <a:gd name="connsiteY1419" fmla="*/ 1219872 h 2639880"/>
                <a:gd name="connsiteX1420" fmla="*/ 4672208 w 7145312"/>
                <a:gd name="connsiteY1420" fmla="*/ 1219872 h 2639880"/>
                <a:gd name="connsiteX1421" fmla="*/ 4653148 w 7145312"/>
                <a:gd name="connsiteY1421" fmla="*/ 1229402 h 2639880"/>
                <a:gd name="connsiteX1422" fmla="*/ 4624556 w 7145312"/>
                <a:gd name="connsiteY1422" fmla="*/ 1219872 h 2639880"/>
                <a:gd name="connsiteX1423" fmla="*/ 4595964 w 7145312"/>
                <a:gd name="connsiteY1423" fmla="*/ 1234166 h 2639880"/>
                <a:gd name="connsiteX1424" fmla="*/ 4576904 w 7145312"/>
                <a:gd name="connsiteY1424" fmla="*/ 1238932 h 2639880"/>
                <a:gd name="connsiteX1425" fmla="*/ 4557844 w 7145312"/>
                <a:gd name="connsiteY1425" fmla="*/ 1238932 h 2639880"/>
                <a:gd name="connsiteX1426" fmla="*/ 4543548 w 7145312"/>
                <a:gd name="connsiteY1426" fmla="*/ 1215106 h 2639880"/>
                <a:gd name="connsiteX1427" fmla="*/ 4553080 w 7145312"/>
                <a:gd name="connsiteY1427" fmla="*/ 1191280 h 2639880"/>
                <a:gd name="connsiteX1428" fmla="*/ 4557844 w 7145312"/>
                <a:gd name="connsiteY1428" fmla="*/ 1186516 h 2639880"/>
                <a:gd name="connsiteX1429" fmla="*/ 6287584 w 7145312"/>
                <a:gd name="connsiteY1429" fmla="*/ 1172220 h 2639880"/>
                <a:gd name="connsiteX1430" fmla="*/ 6349532 w 7145312"/>
                <a:gd name="connsiteY1430" fmla="*/ 1181750 h 2639880"/>
                <a:gd name="connsiteX1431" fmla="*/ 6363828 w 7145312"/>
                <a:gd name="connsiteY1431" fmla="*/ 1181750 h 2639880"/>
                <a:gd name="connsiteX1432" fmla="*/ 6397184 w 7145312"/>
                <a:gd name="connsiteY1432" fmla="*/ 1186516 h 2639880"/>
                <a:gd name="connsiteX1433" fmla="*/ 6430540 w 7145312"/>
                <a:gd name="connsiteY1433" fmla="*/ 1196046 h 2639880"/>
                <a:gd name="connsiteX1434" fmla="*/ 6482956 w 7145312"/>
                <a:gd name="connsiteY1434" fmla="*/ 1196046 h 2639880"/>
                <a:gd name="connsiteX1435" fmla="*/ 6497252 w 7145312"/>
                <a:gd name="connsiteY1435" fmla="*/ 1200810 h 2639880"/>
                <a:gd name="connsiteX1436" fmla="*/ 6506784 w 7145312"/>
                <a:gd name="connsiteY1436" fmla="*/ 1205576 h 2639880"/>
                <a:gd name="connsiteX1437" fmla="*/ 6478192 w 7145312"/>
                <a:gd name="connsiteY1437" fmla="*/ 1210340 h 2639880"/>
                <a:gd name="connsiteX1438" fmla="*/ 6463896 w 7145312"/>
                <a:gd name="connsiteY1438" fmla="*/ 1219872 h 2639880"/>
                <a:gd name="connsiteX1439" fmla="*/ 6440072 w 7145312"/>
                <a:gd name="connsiteY1439" fmla="*/ 1219872 h 2639880"/>
                <a:gd name="connsiteX1440" fmla="*/ 6421008 w 7145312"/>
                <a:gd name="connsiteY1440" fmla="*/ 1219872 h 2639880"/>
                <a:gd name="connsiteX1441" fmla="*/ 6401948 w 7145312"/>
                <a:gd name="connsiteY1441" fmla="*/ 1219872 h 2639880"/>
                <a:gd name="connsiteX1442" fmla="*/ 6397184 w 7145312"/>
                <a:gd name="connsiteY1442" fmla="*/ 1215106 h 2639880"/>
                <a:gd name="connsiteX1443" fmla="*/ 6378124 w 7145312"/>
                <a:gd name="connsiteY1443" fmla="*/ 1210340 h 2639880"/>
                <a:gd name="connsiteX1444" fmla="*/ 6349532 w 7145312"/>
                <a:gd name="connsiteY1444" fmla="*/ 1200810 h 2639880"/>
                <a:gd name="connsiteX1445" fmla="*/ 6287584 w 7145312"/>
                <a:gd name="connsiteY1445" fmla="*/ 1186516 h 2639880"/>
                <a:gd name="connsiteX1446" fmla="*/ 6287584 w 7145312"/>
                <a:gd name="connsiteY1446" fmla="*/ 1176986 h 2639880"/>
                <a:gd name="connsiteX1447" fmla="*/ 2132396 w 7145312"/>
                <a:gd name="connsiteY1447" fmla="*/ 1167456 h 2639880"/>
                <a:gd name="connsiteX1448" fmla="*/ 2146692 w 7145312"/>
                <a:gd name="connsiteY1448" fmla="*/ 1172220 h 2639880"/>
                <a:gd name="connsiteX1449" fmla="*/ 2141924 w 7145312"/>
                <a:gd name="connsiteY1449" fmla="*/ 1176986 h 2639880"/>
                <a:gd name="connsiteX1450" fmla="*/ 2127632 w 7145312"/>
                <a:gd name="connsiteY1450" fmla="*/ 1186516 h 2639880"/>
                <a:gd name="connsiteX1451" fmla="*/ 2122864 w 7145312"/>
                <a:gd name="connsiteY1451" fmla="*/ 1172220 h 2639880"/>
                <a:gd name="connsiteX1452" fmla="*/ 4419656 w 7145312"/>
                <a:gd name="connsiteY1452" fmla="*/ 1162690 h 2639880"/>
                <a:gd name="connsiteX1453" fmla="*/ 4424420 w 7145312"/>
                <a:gd name="connsiteY1453" fmla="*/ 1162690 h 2639880"/>
                <a:gd name="connsiteX1454" fmla="*/ 4424420 w 7145312"/>
                <a:gd name="connsiteY1454" fmla="*/ 1167456 h 2639880"/>
                <a:gd name="connsiteX1455" fmla="*/ 4429188 w 7145312"/>
                <a:gd name="connsiteY1455" fmla="*/ 1172220 h 2639880"/>
                <a:gd name="connsiteX1456" fmla="*/ 4433952 w 7145312"/>
                <a:gd name="connsiteY1456" fmla="*/ 1181750 h 2639880"/>
                <a:gd name="connsiteX1457" fmla="*/ 4429188 w 7145312"/>
                <a:gd name="connsiteY1457" fmla="*/ 1191280 h 2639880"/>
                <a:gd name="connsiteX1458" fmla="*/ 4419656 w 7145312"/>
                <a:gd name="connsiteY1458" fmla="*/ 1191280 h 2639880"/>
                <a:gd name="connsiteX1459" fmla="*/ 4414892 w 7145312"/>
                <a:gd name="connsiteY1459" fmla="*/ 1186516 h 2639880"/>
                <a:gd name="connsiteX1460" fmla="*/ 4414892 w 7145312"/>
                <a:gd name="connsiteY1460" fmla="*/ 1167456 h 2639880"/>
                <a:gd name="connsiteX1461" fmla="*/ 1617760 w 7145312"/>
                <a:gd name="connsiteY1461" fmla="*/ 1162690 h 2639880"/>
                <a:gd name="connsiteX1462" fmla="*/ 1627292 w 7145312"/>
                <a:gd name="connsiteY1462" fmla="*/ 1176986 h 2639880"/>
                <a:gd name="connsiteX1463" fmla="*/ 1632056 w 7145312"/>
                <a:gd name="connsiteY1463" fmla="*/ 1186516 h 2639880"/>
                <a:gd name="connsiteX1464" fmla="*/ 1636820 w 7145312"/>
                <a:gd name="connsiteY1464" fmla="*/ 1196046 h 2639880"/>
                <a:gd name="connsiteX1465" fmla="*/ 1641588 w 7145312"/>
                <a:gd name="connsiteY1465" fmla="*/ 1186516 h 2639880"/>
                <a:gd name="connsiteX1466" fmla="*/ 1636820 w 7145312"/>
                <a:gd name="connsiteY1466" fmla="*/ 1167456 h 2639880"/>
                <a:gd name="connsiteX1467" fmla="*/ 1655880 w 7145312"/>
                <a:gd name="connsiteY1467" fmla="*/ 1162690 h 2639880"/>
                <a:gd name="connsiteX1468" fmla="*/ 1670176 w 7145312"/>
                <a:gd name="connsiteY1468" fmla="*/ 1162690 h 2639880"/>
                <a:gd name="connsiteX1469" fmla="*/ 1679708 w 7145312"/>
                <a:gd name="connsiteY1469" fmla="*/ 1167456 h 2639880"/>
                <a:gd name="connsiteX1470" fmla="*/ 1689236 w 7145312"/>
                <a:gd name="connsiteY1470" fmla="*/ 1172220 h 2639880"/>
                <a:gd name="connsiteX1471" fmla="*/ 1689236 w 7145312"/>
                <a:gd name="connsiteY1471" fmla="*/ 1186516 h 2639880"/>
                <a:gd name="connsiteX1472" fmla="*/ 1694004 w 7145312"/>
                <a:gd name="connsiteY1472" fmla="*/ 1196046 h 2639880"/>
                <a:gd name="connsiteX1473" fmla="*/ 1703532 w 7145312"/>
                <a:gd name="connsiteY1473" fmla="*/ 1205576 h 2639880"/>
                <a:gd name="connsiteX1474" fmla="*/ 1708300 w 7145312"/>
                <a:gd name="connsiteY1474" fmla="*/ 1215106 h 2639880"/>
                <a:gd name="connsiteX1475" fmla="*/ 1713064 w 7145312"/>
                <a:gd name="connsiteY1475" fmla="*/ 1267522 h 2639880"/>
                <a:gd name="connsiteX1476" fmla="*/ 1741656 w 7145312"/>
                <a:gd name="connsiteY1476" fmla="*/ 1310408 h 2639880"/>
                <a:gd name="connsiteX1477" fmla="*/ 1808368 w 7145312"/>
                <a:gd name="connsiteY1477" fmla="*/ 1329470 h 2639880"/>
                <a:gd name="connsiteX1478" fmla="*/ 1798836 w 7145312"/>
                <a:gd name="connsiteY1478" fmla="*/ 1334234 h 2639880"/>
                <a:gd name="connsiteX1479" fmla="*/ 1794072 w 7145312"/>
                <a:gd name="connsiteY1479" fmla="*/ 1339000 h 2639880"/>
                <a:gd name="connsiteX1480" fmla="*/ 1789304 w 7145312"/>
                <a:gd name="connsiteY1480" fmla="*/ 1348530 h 2639880"/>
                <a:gd name="connsiteX1481" fmla="*/ 1779776 w 7145312"/>
                <a:gd name="connsiteY1481" fmla="*/ 1377120 h 2639880"/>
                <a:gd name="connsiteX1482" fmla="*/ 1779776 w 7145312"/>
                <a:gd name="connsiteY1482" fmla="*/ 1386650 h 2639880"/>
                <a:gd name="connsiteX1483" fmla="*/ 1784540 w 7145312"/>
                <a:gd name="connsiteY1483" fmla="*/ 1396180 h 2639880"/>
                <a:gd name="connsiteX1484" fmla="*/ 1784540 w 7145312"/>
                <a:gd name="connsiteY1484" fmla="*/ 1405712 h 2639880"/>
                <a:gd name="connsiteX1485" fmla="*/ 1779776 w 7145312"/>
                <a:gd name="connsiteY1485" fmla="*/ 1405712 h 2639880"/>
                <a:gd name="connsiteX1486" fmla="*/ 1770244 w 7145312"/>
                <a:gd name="connsiteY1486" fmla="*/ 1400946 h 2639880"/>
                <a:gd name="connsiteX1487" fmla="*/ 1760716 w 7145312"/>
                <a:gd name="connsiteY1487" fmla="*/ 1400946 h 2639880"/>
                <a:gd name="connsiteX1488" fmla="*/ 1751184 w 7145312"/>
                <a:gd name="connsiteY1488" fmla="*/ 1396180 h 2639880"/>
                <a:gd name="connsiteX1489" fmla="*/ 1746420 w 7145312"/>
                <a:gd name="connsiteY1489" fmla="*/ 1391416 h 2639880"/>
                <a:gd name="connsiteX1490" fmla="*/ 1736888 w 7145312"/>
                <a:gd name="connsiteY1490" fmla="*/ 1386650 h 2639880"/>
                <a:gd name="connsiteX1491" fmla="*/ 1722592 w 7145312"/>
                <a:gd name="connsiteY1491" fmla="*/ 1377120 h 2639880"/>
                <a:gd name="connsiteX1492" fmla="*/ 1703532 w 7145312"/>
                <a:gd name="connsiteY1492" fmla="*/ 1372356 h 2639880"/>
                <a:gd name="connsiteX1493" fmla="*/ 1679708 w 7145312"/>
                <a:gd name="connsiteY1493" fmla="*/ 1367590 h 2639880"/>
                <a:gd name="connsiteX1494" fmla="*/ 1674944 w 7145312"/>
                <a:gd name="connsiteY1494" fmla="*/ 1353294 h 2639880"/>
                <a:gd name="connsiteX1495" fmla="*/ 1665412 w 7145312"/>
                <a:gd name="connsiteY1495" fmla="*/ 1339000 h 2639880"/>
                <a:gd name="connsiteX1496" fmla="*/ 1674944 w 7145312"/>
                <a:gd name="connsiteY1496" fmla="*/ 1315174 h 2639880"/>
                <a:gd name="connsiteX1497" fmla="*/ 1665412 w 7145312"/>
                <a:gd name="connsiteY1497" fmla="*/ 1310408 h 2639880"/>
                <a:gd name="connsiteX1498" fmla="*/ 1660648 w 7145312"/>
                <a:gd name="connsiteY1498" fmla="*/ 1300878 h 2639880"/>
                <a:gd name="connsiteX1499" fmla="*/ 1651116 w 7145312"/>
                <a:gd name="connsiteY1499" fmla="*/ 1286584 h 2639880"/>
                <a:gd name="connsiteX1500" fmla="*/ 1651116 w 7145312"/>
                <a:gd name="connsiteY1500" fmla="*/ 1267522 h 2639880"/>
                <a:gd name="connsiteX1501" fmla="*/ 1636820 w 7145312"/>
                <a:gd name="connsiteY1501" fmla="*/ 1257992 h 2639880"/>
                <a:gd name="connsiteX1502" fmla="*/ 1617760 w 7145312"/>
                <a:gd name="connsiteY1502" fmla="*/ 1253228 h 2639880"/>
                <a:gd name="connsiteX1503" fmla="*/ 1612996 w 7145312"/>
                <a:gd name="connsiteY1503" fmla="*/ 1248462 h 2639880"/>
                <a:gd name="connsiteX1504" fmla="*/ 1579640 w 7145312"/>
                <a:gd name="connsiteY1504" fmla="*/ 1257992 h 2639880"/>
                <a:gd name="connsiteX1505" fmla="*/ 1570108 w 7145312"/>
                <a:gd name="connsiteY1505" fmla="*/ 1257992 h 2639880"/>
                <a:gd name="connsiteX1506" fmla="*/ 1565344 w 7145312"/>
                <a:gd name="connsiteY1506" fmla="*/ 1248462 h 2639880"/>
                <a:gd name="connsiteX1507" fmla="*/ 1546284 w 7145312"/>
                <a:gd name="connsiteY1507" fmla="*/ 1243696 h 2639880"/>
                <a:gd name="connsiteX1508" fmla="*/ 1546284 w 7145312"/>
                <a:gd name="connsiteY1508" fmla="*/ 1234166 h 2639880"/>
                <a:gd name="connsiteX1509" fmla="*/ 1555816 w 7145312"/>
                <a:gd name="connsiteY1509" fmla="*/ 1224636 h 2639880"/>
                <a:gd name="connsiteX1510" fmla="*/ 1574876 w 7145312"/>
                <a:gd name="connsiteY1510" fmla="*/ 1215106 h 2639880"/>
                <a:gd name="connsiteX1511" fmla="*/ 1584404 w 7145312"/>
                <a:gd name="connsiteY1511" fmla="*/ 1210342 h 2639880"/>
                <a:gd name="connsiteX1512" fmla="*/ 1584404 w 7145312"/>
                <a:gd name="connsiteY1512" fmla="*/ 1200810 h 2639880"/>
                <a:gd name="connsiteX1513" fmla="*/ 1584404 w 7145312"/>
                <a:gd name="connsiteY1513" fmla="*/ 1191280 h 2639880"/>
                <a:gd name="connsiteX1514" fmla="*/ 1584404 w 7145312"/>
                <a:gd name="connsiteY1514" fmla="*/ 1186516 h 2639880"/>
                <a:gd name="connsiteX1515" fmla="*/ 1589172 w 7145312"/>
                <a:gd name="connsiteY1515" fmla="*/ 1176986 h 2639880"/>
                <a:gd name="connsiteX1516" fmla="*/ 1598700 w 7145312"/>
                <a:gd name="connsiteY1516" fmla="*/ 1172220 h 2639880"/>
                <a:gd name="connsiteX1517" fmla="*/ 5053416 w 7145312"/>
                <a:gd name="connsiteY1517" fmla="*/ 1134100 h 2639880"/>
                <a:gd name="connsiteX1518" fmla="*/ 5062948 w 7145312"/>
                <a:gd name="connsiteY1518" fmla="*/ 1134100 h 2639880"/>
                <a:gd name="connsiteX1519" fmla="*/ 5077244 w 7145312"/>
                <a:gd name="connsiteY1519" fmla="*/ 1138864 h 2639880"/>
                <a:gd name="connsiteX1520" fmla="*/ 5105836 w 7145312"/>
                <a:gd name="connsiteY1520" fmla="*/ 1148394 h 2639880"/>
                <a:gd name="connsiteX1521" fmla="*/ 5124896 w 7145312"/>
                <a:gd name="connsiteY1521" fmla="*/ 1162690 h 2639880"/>
                <a:gd name="connsiteX1522" fmla="*/ 5143956 w 7145312"/>
                <a:gd name="connsiteY1522" fmla="*/ 1176986 h 2639880"/>
                <a:gd name="connsiteX1523" fmla="*/ 5143956 w 7145312"/>
                <a:gd name="connsiteY1523" fmla="*/ 1186516 h 2639880"/>
                <a:gd name="connsiteX1524" fmla="*/ 5134424 w 7145312"/>
                <a:gd name="connsiteY1524" fmla="*/ 1191280 h 2639880"/>
                <a:gd name="connsiteX1525" fmla="*/ 5129660 w 7145312"/>
                <a:gd name="connsiteY1525" fmla="*/ 1191280 h 2639880"/>
                <a:gd name="connsiteX1526" fmla="*/ 5105836 w 7145312"/>
                <a:gd name="connsiteY1526" fmla="*/ 1186516 h 2639880"/>
                <a:gd name="connsiteX1527" fmla="*/ 5077244 w 7145312"/>
                <a:gd name="connsiteY1527" fmla="*/ 1191280 h 2639880"/>
                <a:gd name="connsiteX1528" fmla="*/ 5048652 w 7145312"/>
                <a:gd name="connsiteY1528" fmla="*/ 1196046 h 2639880"/>
                <a:gd name="connsiteX1529" fmla="*/ 5034356 w 7145312"/>
                <a:gd name="connsiteY1529" fmla="*/ 1191280 h 2639880"/>
                <a:gd name="connsiteX1530" fmla="*/ 5024828 w 7145312"/>
                <a:gd name="connsiteY1530" fmla="*/ 1181750 h 2639880"/>
                <a:gd name="connsiteX1531" fmla="*/ 5024828 w 7145312"/>
                <a:gd name="connsiteY1531" fmla="*/ 1172220 h 2639880"/>
                <a:gd name="connsiteX1532" fmla="*/ 5034356 w 7145312"/>
                <a:gd name="connsiteY1532" fmla="*/ 1153160 h 2639880"/>
                <a:gd name="connsiteX1533" fmla="*/ 4362476 w 7145312"/>
                <a:gd name="connsiteY1533" fmla="*/ 1105508 h 2639880"/>
                <a:gd name="connsiteX1534" fmla="*/ 4372004 w 7145312"/>
                <a:gd name="connsiteY1534" fmla="*/ 1110274 h 2639880"/>
                <a:gd name="connsiteX1535" fmla="*/ 4376768 w 7145312"/>
                <a:gd name="connsiteY1535" fmla="*/ 1119804 h 2639880"/>
                <a:gd name="connsiteX1536" fmla="*/ 4367240 w 7145312"/>
                <a:gd name="connsiteY1536" fmla="*/ 1124568 h 2639880"/>
                <a:gd name="connsiteX1537" fmla="*/ 4376768 w 7145312"/>
                <a:gd name="connsiteY1537" fmla="*/ 1143630 h 2639880"/>
                <a:gd name="connsiteX1538" fmla="*/ 4391064 w 7145312"/>
                <a:gd name="connsiteY1538" fmla="*/ 1119804 h 2639880"/>
                <a:gd name="connsiteX1539" fmla="*/ 4405360 w 7145312"/>
                <a:gd name="connsiteY1539" fmla="*/ 1119804 h 2639880"/>
                <a:gd name="connsiteX1540" fmla="*/ 4414892 w 7145312"/>
                <a:gd name="connsiteY1540" fmla="*/ 1124568 h 2639880"/>
                <a:gd name="connsiteX1541" fmla="*/ 4419656 w 7145312"/>
                <a:gd name="connsiteY1541" fmla="*/ 1124568 h 2639880"/>
                <a:gd name="connsiteX1542" fmla="*/ 4424420 w 7145312"/>
                <a:gd name="connsiteY1542" fmla="*/ 1134098 h 2639880"/>
                <a:gd name="connsiteX1543" fmla="*/ 4419656 w 7145312"/>
                <a:gd name="connsiteY1543" fmla="*/ 1153160 h 2639880"/>
                <a:gd name="connsiteX1544" fmla="*/ 4410124 w 7145312"/>
                <a:gd name="connsiteY1544" fmla="*/ 1157924 h 2639880"/>
                <a:gd name="connsiteX1545" fmla="*/ 4395832 w 7145312"/>
                <a:gd name="connsiteY1545" fmla="*/ 1162690 h 2639880"/>
                <a:gd name="connsiteX1546" fmla="*/ 4391064 w 7145312"/>
                <a:gd name="connsiteY1546" fmla="*/ 1153160 h 2639880"/>
                <a:gd name="connsiteX1547" fmla="*/ 4381536 w 7145312"/>
                <a:gd name="connsiteY1547" fmla="*/ 1148394 h 2639880"/>
                <a:gd name="connsiteX1548" fmla="*/ 4376768 w 7145312"/>
                <a:gd name="connsiteY1548" fmla="*/ 1172220 h 2639880"/>
                <a:gd name="connsiteX1549" fmla="*/ 4372004 w 7145312"/>
                <a:gd name="connsiteY1549" fmla="*/ 1176984 h 2639880"/>
                <a:gd name="connsiteX1550" fmla="*/ 4362476 w 7145312"/>
                <a:gd name="connsiteY1550" fmla="*/ 1176984 h 2639880"/>
                <a:gd name="connsiteX1551" fmla="*/ 4357708 w 7145312"/>
                <a:gd name="connsiteY1551" fmla="*/ 1172220 h 2639880"/>
                <a:gd name="connsiteX1552" fmla="*/ 4357708 w 7145312"/>
                <a:gd name="connsiteY1552" fmla="*/ 1167454 h 2639880"/>
                <a:gd name="connsiteX1553" fmla="*/ 4367240 w 7145312"/>
                <a:gd name="connsiteY1553" fmla="*/ 1157924 h 2639880"/>
                <a:gd name="connsiteX1554" fmla="*/ 4362476 w 7145312"/>
                <a:gd name="connsiteY1554" fmla="*/ 1129334 h 2639880"/>
                <a:gd name="connsiteX1555" fmla="*/ 4352944 w 7145312"/>
                <a:gd name="connsiteY1555" fmla="*/ 1134098 h 2639880"/>
                <a:gd name="connsiteX1556" fmla="*/ 4333884 w 7145312"/>
                <a:gd name="connsiteY1556" fmla="*/ 1162690 h 2639880"/>
                <a:gd name="connsiteX1557" fmla="*/ 4319588 w 7145312"/>
                <a:gd name="connsiteY1557" fmla="*/ 1172220 h 2639880"/>
                <a:gd name="connsiteX1558" fmla="*/ 4314824 w 7145312"/>
                <a:gd name="connsiteY1558" fmla="*/ 1167454 h 2639880"/>
                <a:gd name="connsiteX1559" fmla="*/ 4310056 w 7145312"/>
                <a:gd name="connsiteY1559" fmla="*/ 1148394 h 2639880"/>
                <a:gd name="connsiteX1560" fmla="*/ 4310056 w 7145312"/>
                <a:gd name="connsiteY1560" fmla="*/ 1124568 h 2639880"/>
                <a:gd name="connsiteX1561" fmla="*/ 4324352 w 7145312"/>
                <a:gd name="connsiteY1561" fmla="*/ 1110274 h 2639880"/>
                <a:gd name="connsiteX1562" fmla="*/ 4333884 w 7145312"/>
                <a:gd name="connsiteY1562" fmla="*/ 1110274 h 2639880"/>
                <a:gd name="connsiteX1563" fmla="*/ 2246756 w 7145312"/>
                <a:gd name="connsiteY1563" fmla="*/ 1076916 h 2639880"/>
                <a:gd name="connsiteX1564" fmla="*/ 2261052 w 7145312"/>
                <a:gd name="connsiteY1564" fmla="*/ 1081682 h 2639880"/>
                <a:gd name="connsiteX1565" fmla="*/ 2265816 w 7145312"/>
                <a:gd name="connsiteY1565" fmla="*/ 1086448 h 2639880"/>
                <a:gd name="connsiteX1566" fmla="*/ 2270584 w 7145312"/>
                <a:gd name="connsiteY1566" fmla="*/ 1095978 h 2639880"/>
                <a:gd name="connsiteX1567" fmla="*/ 2265816 w 7145312"/>
                <a:gd name="connsiteY1567" fmla="*/ 1105508 h 2639880"/>
                <a:gd name="connsiteX1568" fmla="*/ 2261052 w 7145312"/>
                <a:gd name="connsiteY1568" fmla="*/ 1110272 h 2639880"/>
                <a:gd name="connsiteX1569" fmla="*/ 2232464 w 7145312"/>
                <a:gd name="connsiteY1569" fmla="*/ 1124568 h 2639880"/>
                <a:gd name="connsiteX1570" fmla="*/ 2222932 w 7145312"/>
                <a:gd name="connsiteY1570" fmla="*/ 1124568 h 2639880"/>
                <a:gd name="connsiteX1571" fmla="*/ 2218168 w 7145312"/>
                <a:gd name="connsiteY1571" fmla="*/ 1119802 h 2639880"/>
                <a:gd name="connsiteX1572" fmla="*/ 2222932 w 7145312"/>
                <a:gd name="connsiteY1572" fmla="*/ 1086448 h 2639880"/>
                <a:gd name="connsiteX1573" fmla="*/ 2227696 w 7145312"/>
                <a:gd name="connsiteY1573" fmla="*/ 1081682 h 2639880"/>
                <a:gd name="connsiteX1574" fmla="*/ 6197048 w 7145312"/>
                <a:gd name="connsiteY1574" fmla="*/ 1072152 h 2639880"/>
                <a:gd name="connsiteX1575" fmla="*/ 6201812 w 7145312"/>
                <a:gd name="connsiteY1575" fmla="*/ 1076918 h 2639880"/>
                <a:gd name="connsiteX1576" fmla="*/ 6206580 w 7145312"/>
                <a:gd name="connsiteY1576" fmla="*/ 1086448 h 2639880"/>
                <a:gd name="connsiteX1577" fmla="*/ 6211344 w 7145312"/>
                <a:gd name="connsiteY1577" fmla="*/ 1086448 h 2639880"/>
                <a:gd name="connsiteX1578" fmla="*/ 6206580 w 7145312"/>
                <a:gd name="connsiteY1578" fmla="*/ 1100744 h 2639880"/>
                <a:gd name="connsiteX1579" fmla="*/ 6197048 w 7145312"/>
                <a:gd name="connsiteY1579" fmla="*/ 1100744 h 2639880"/>
                <a:gd name="connsiteX1580" fmla="*/ 6192284 w 7145312"/>
                <a:gd name="connsiteY1580" fmla="*/ 1100744 h 2639880"/>
                <a:gd name="connsiteX1581" fmla="*/ 6182752 w 7145312"/>
                <a:gd name="connsiteY1581" fmla="*/ 1086448 h 2639880"/>
                <a:gd name="connsiteX1582" fmla="*/ 6182752 w 7145312"/>
                <a:gd name="connsiteY1582" fmla="*/ 1076918 h 2639880"/>
                <a:gd name="connsiteX1583" fmla="*/ 569432 w 7145312"/>
                <a:gd name="connsiteY1583" fmla="*/ 1067388 h 2639880"/>
                <a:gd name="connsiteX1584" fmla="*/ 578964 w 7145312"/>
                <a:gd name="connsiteY1584" fmla="*/ 1072152 h 2639880"/>
                <a:gd name="connsiteX1585" fmla="*/ 583728 w 7145312"/>
                <a:gd name="connsiteY1585" fmla="*/ 1091212 h 2639880"/>
                <a:gd name="connsiteX1586" fmla="*/ 598024 w 7145312"/>
                <a:gd name="connsiteY1586" fmla="*/ 1119804 h 2639880"/>
                <a:gd name="connsiteX1587" fmla="*/ 602788 w 7145312"/>
                <a:gd name="connsiteY1587" fmla="*/ 1134098 h 2639880"/>
                <a:gd name="connsiteX1588" fmla="*/ 607556 w 7145312"/>
                <a:gd name="connsiteY1588" fmla="*/ 1143630 h 2639880"/>
                <a:gd name="connsiteX1589" fmla="*/ 612320 w 7145312"/>
                <a:gd name="connsiteY1589" fmla="*/ 1148394 h 2639880"/>
                <a:gd name="connsiteX1590" fmla="*/ 607556 w 7145312"/>
                <a:gd name="connsiteY1590" fmla="*/ 1153160 h 2639880"/>
                <a:gd name="connsiteX1591" fmla="*/ 621848 w 7145312"/>
                <a:gd name="connsiteY1591" fmla="*/ 1167454 h 2639880"/>
                <a:gd name="connsiteX1592" fmla="*/ 631380 w 7145312"/>
                <a:gd name="connsiteY1592" fmla="*/ 1181750 h 2639880"/>
                <a:gd name="connsiteX1593" fmla="*/ 631380 w 7145312"/>
                <a:gd name="connsiteY1593" fmla="*/ 1196046 h 2639880"/>
                <a:gd name="connsiteX1594" fmla="*/ 617084 w 7145312"/>
                <a:gd name="connsiteY1594" fmla="*/ 1205576 h 2639880"/>
                <a:gd name="connsiteX1595" fmla="*/ 598024 w 7145312"/>
                <a:gd name="connsiteY1595" fmla="*/ 1205576 h 2639880"/>
                <a:gd name="connsiteX1596" fmla="*/ 569432 w 7145312"/>
                <a:gd name="connsiteY1596" fmla="*/ 1186516 h 2639880"/>
                <a:gd name="connsiteX1597" fmla="*/ 559904 w 7145312"/>
                <a:gd name="connsiteY1597" fmla="*/ 1176986 h 2639880"/>
                <a:gd name="connsiteX1598" fmla="*/ 559904 w 7145312"/>
                <a:gd name="connsiteY1598" fmla="*/ 1167454 h 2639880"/>
                <a:gd name="connsiteX1599" fmla="*/ 531312 w 7145312"/>
                <a:gd name="connsiteY1599" fmla="*/ 1124568 h 2639880"/>
                <a:gd name="connsiteX1600" fmla="*/ 526548 w 7145312"/>
                <a:gd name="connsiteY1600" fmla="*/ 1115038 h 2639880"/>
                <a:gd name="connsiteX1601" fmla="*/ 540844 w 7145312"/>
                <a:gd name="connsiteY1601" fmla="*/ 1076918 h 2639880"/>
                <a:gd name="connsiteX1602" fmla="*/ 5572816 w 7145312"/>
                <a:gd name="connsiteY1602" fmla="*/ 1062622 h 2639880"/>
                <a:gd name="connsiteX1603" fmla="*/ 5577584 w 7145312"/>
                <a:gd name="connsiteY1603" fmla="*/ 1067388 h 2639880"/>
                <a:gd name="connsiteX1604" fmla="*/ 5591876 w 7145312"/>
                <a:gd name="connsiteY1604" fmla="*/ 1067388 h 2639880"/>
                <a:gd name="connsiteX1605" fmla="*/ 5601408 w 7145312"/>
                <a:gd name="connsiteY1605" fmla="*/ 1076918 h 2639880"/>
                <a:gd name="connsiteX1606" fmla="*/ 5596644 w 7145312"/>
                <a:gd name="connsiteY1606" fmla="*/ 1110274 h 2639880"/>
                <a:gd name="connsiteX1607" fmla="*/ 5587112 w 7145312"/>
                <a:gd name="connsiteY1607" fmla="*/ 1129334 h 2639880"/>
                <a:gd name="connsiteX1608" fmla="*/ 5582348 w 7145312"/>
                <a:gd name="connsiteY1608" fmla="*/ 1134100 h 2639880"/>
                <a:gd name="connsiteX1609" fmla="*/ 5563288 w 7145312"/>
                <a:gd name="connsiteY1609" fmla="*/ 1129334 h 2639880"/>
                <a:gd name="connsiteX1610" fmla="*/ 5553756 w 7145312"/>
                <a:gd name="connsiteY1610" fmla="*/ 1119804 h 2639880"/>
                <a:gd name="connsiteX1611" fmla="*/ 5548992 w 7145312"/>
                <a:gd name="connsiteY1611" fmla="*/ 1110274 h 2639880"/>
                <a:gd name="connsiteX1612" fmla="*/ 5544228 w 7145312"/>
                <a:gd name="connsiteY1612" fmla="*/ 1095978 h 2639880"/>
                <a:gd name="connsiteX1613" fmla="*/ 5539460 w 7145312"/>
                <a:gd name="connsiteY1613" fmla="*/ 1091212 h 2639880"/>
                <a:gd name="connsiteX1614" fmla="*/ 5534696 w 7145312"/>
                <a:gd name="connsiteY1614" fmla="*/ 1081682 h 2639880"/>
                <a:gd name="connsiteX1615" fmla="*/ 5534696 w 7145312"/>
                <a:gd name="connsiteY1615" fmla="*/ 1076918 h 2639880"/>
                <a:gd name="connsiteX1616" fmla="*/ 5558520 w 7145312"/>
                <a:gd name="connsiteY1616" fmla="*/ 1043560 h 2639880"/>
                <a:gd name="connsiteX1617" fmla="*/ 5572816 w 7145312"/>
                <a:gd name="connsiteY1617" fmla="*/ 1048326 h 2639880"/>
                <a:gd name="connsiteX1618" fmla="*/ 5568052 w 7145312"/>
                <a:gd name="connsiteY1618" fmla="*/ 1053092 h 2639880"/>
                <a:gd name="connsiteX1619" fmla="*/ 5563288 w 7145312"/>
                <a:gd name="connsiteY1619" fmla="*/ 1057856 h 2639880"/>
                <a:gd name="connsiteX1620" fmla="*/ 5491808 w 7145312"/>
                <a:gd name="connsiteY1620" fmla="*/ 1072152 h 2639880"/>
                <a:gd name="connsiteX1621" fmla="*/ 5501340 w 7145312"/>
                <a:gd name="connsiteY1621" fmla="*/ 1062622 h 2639880"/>
                <a:gd name="connsiteX1622" fmla="*/ 5501340 w 7145312"/>
                <a:gd name="connsiteY1622" fmla="*/ 1057856 h 2639880"/>
                <a:gd name="connsiteX1623" fmla="*/ 5506104 w 7145312"/>
                <a:gd name="connsiteY1623" fmla="*/ 1057856 h 2639880"/>
                <a:gd name="connsiteX1624" fmla="*/ 5515636 w 7145312"/>
                <a:gd name="connsiteY1624" fmla="*/ 1057856 h 2639880"/>
                <a:gd name="connsiteX1625" fmla="*/ 5515636 w 7145312"/>
                <a:gd name="connsiteY1625" fmla="*/ 1053092 h 2639880"/>
                <a:gd name="connsiteX1626" fmla="*/ 5520400 w 7145312"/>
                <a:gd name="connsiteY1626" fmla="*/ 1053092 h 2639880"/>
                <a:gd name="connsiteX1627" fmla="*/ 5525164 w 7145312"/>
                <a:gd name="connsiteY1627" fmla="*/ 1053092 h 2639880"/>
                <a:gd name="connsiteX1628" fmla="*/ 5529932 w 7145312"/>
                <a:gd name="connsiteY1628" fmla="*/ 1053092 h 2639880"/>
                <a:gd name="connsiteX1629" fmla="*/ 5544228 w 7145312"/>
                <a:gd name="connsiteY1629" fmla="*/ 1053092 h 2639880"/>
                <a:gd name="connsiteX1630" fmla="*/ 5558520 w 7145312"/>
                <a:gd name="connsiteY1630" fmla="*/ 1053092 h 2639880"/>
                <a:gd name="connsiteX1631" fmla="*/ 6273292 w 7145312"/>
                <a:gd name="connsiteY1631" fmla="*/ 1029266 h 2639880"/>
                <a:gd name="connsiteX1632" fmla="*/ 6306648 w 7145312"/>
                <a:gd name="connsiteY1632" fmla="*/ 1034032 h 2639880"/>
                <a:gd name="connsiteX1633" fmla="*/ 6316180 w 7145312"/>
                <a:gd name="connsiteY1633" fmla="*/ 1034032 h 2639880"/>
                <a:gd name="connsiteX1634" fmla="*/ 6330472 w 7145312"/>
                <a:gd name="connsiteY1634" fmla="*/ 1038796 h 2639880"/>
                <a:gd name="connsiteX1635" fmla="*/ 6344768 w 7145312"/>
                <a:gd name="connsiteY1635" fmla="*/ 1038796 h 2639880"/>
                <a:gd name="connsiteX1636" fmla="*/ 6349536 w 7145312"/>
                <a:gd name="connsiteY1636" fmla="*/ 1038796 h 2639880"/>
                <a:gd name="connsiteX1637" fmla="*/ 6378124 w 7145312"/>
                <a:gd name="connsiteY1637" fmla="*/ 1062622 h 2639880"/>
                <a:gd name="connsiteX1638" fmla="*/ 6392420 w 7145312"/>
                <a:gd name="connsiteY1638" fmla="*/ 1076918 h 2639880"/>
                <a:gd name="connsiteX1639" fmla="*/ 6411480 w 7145312"/>
                <a:gd name="connsiteY1639" fmla="*/ 1091212 h 2639880"/>
                <a:gd name="connsiteX1640" fmla="*/ 6425776 w 7145312"/>
                <a:gd name="connsiteY1640" fmla="*/ 1095978 h 2639880"/>
                <a:gd name="connsiteX1641" fmla="*/ 6416244 w 7145312"/>
                <a:gd name="connsiteY1641" fmla="*/ 1110272 h 2639880"/>
                <a:gd name="connsiteX1642" fmla="*/ 6392420 w 7145312"/>
                <a:gd name="connsiteY1642" fmla="*/ 1115038 h 2639880"/>
                <a:gd name="connsiteX1643" fmla="*/ 6387656 w 7145312"/>
                <a:gd name="connsiteY1643" fmla="*/ 1115038 h 2639880"/>
                <a:gd name="connsiteX1644" fmla="*/ 6368596 w 7145312"/>
                <a:gd name="connsiteY1644" fmla="*/ 1110272 h 2639880"/>
                <a:gd name="connsiteX1645" fmla="*/ 6354300 w 7145312"/>
                <a:gd name="connsiteY1645" fmla="*/ 1110272 h 2639880"/>
                <a:gd name="connsiteX1646" fmla="*/ 6344768 w 7145312"/>
                <a:gd name="connsiteY1646" fmla="*/ 1100742 h 2639880"/>
                <a:gd name="connsiteX1647" fmla="*/ 6340004 w 7145312"/>
                <a:gd name="connsiteY1647" fmla="*/ 1086448 h 2639880"/>
                <a:gd name="connsiteX1648" fmla="*/ 6330472 w 7145312"/>
                <a:gd name="connsiteY1648" fmla="*/ 1053092 h 2639880"/>
                <a:gd name="connsiteX1649" fmla="*/ 6311412 w 7145312"/>
                <a:gd name="connsiteY1649" fmla="*/ 1062622 h 2639880"/>
                <a:gd name="connsiteX1650" fmla="*/ 6292352 w 7145312"/>
                <a:gd name="connsiteY1650" fmla="*/ 1048326 h 2639880"/>
                <a:gd name="connsiteX1651" fmla="*/ 6287588 w 7145312"/>
                <a:gd name="connsiteY1651" fmla="*/ 1048326 h 2639880"/>
                <a:gd name="connsiteX1652" fmla="*/ 6287588 w 7145312"/>
                <a:gd name="connsiteY1652" fmla="*/ 1053092 h 2639880"/>
                <a:gd name="connsiteX1653" fmla="*/ 6278056 w 7145312"/>
                <a:gd name="connsiteY1653" fmla="*/ 1043562 h 2639880"/>
                <a:gd name="connsiteX1654" fmla="*/ 6273292 w 7145312"/>
                <a:gd name="connsiteY1654" fmla="*/ 1034032 h 2639880"/>
                <a:gd name="connsiteX1655" fmla="*/ 4996240 w 7145312"/>
                <a:gd name="connsiteY1655" fmla="*/ 1019736 h 2639880"/>
                <a:gd name="connsiteX1656" fmla="*/ 5001004 w 7145312"/>
                <a:gd name="connsiteY1656" fmla="*/ 1024502 h 2639880"/>
                <a:gd name="connsiteX1657" fmla="*/ 5010536 w 7145312"/>
                <a:gd name="connsiteY1657" fmla="*/ 1043562 h 2639880"/>
                <a:gd name="connsiteX1658" fmla="*/ 5010536 w 7145312"/>
                <a:gd name="connsiteY1658" fmla="*/ 1048326 h 2639880"/>
                <a:gd name="connsiteX1659" fmla="*/ 5005768 w 7145312"/>
                <a:gd name="connsiteY1659" fmla="*/ 1053092 h 2639880"/>
                <a:gd name="connsiteX1660" fmla="*/ 4991472 w 7145312"/>
                <a:gd name="connsiteY1660" fmla="*/ 1048326 h 2639880"/>
                <a:gd name="connsiteX1661" fmla="*/ 4986708 w 7145312"/>
                <a:gd name="connsiteY1661" fmla="*/ 1043562 h 2639880"/>
                <a:gd name="connsiteX1662" fmla="*/ 5525168 w 7145312"/>
                <a:gd name="connsiteY1662" fmla="*/ 991144 h 2639880"/>
                <a:gd name="connsiteX1663" fmla="*/ 5534696 w 7145312"/>
                <a:gd name="connsiteY1663" fmla="*/ 995910 h 2639880"/>
                <a:gd name="connsiteX1664" fmla="*/ 5539464 w 7145312"/>
                <a:gd name="connsiteY1664" fmla="*/ 1000676 h 2639880"/>
                <a:gd name="connsiteX1665" fmla="*/ 5529932 w 7145312"/>
                <a:gd name="connsiteY1665" fmla="*/ 1010206 h 2639880"/>
                <a:gd name="connsiteX1666" fmla="*/ 5520404 w 7145312"/>
                <a:gd name="connsiteY1666" fmla="*/ 1010206 h 2639880"/>
                <a:gd name="connsiteX1667" fmla="*/ 5506108 w 7145312"/>
                <a:gd name="connsiteY1667" fmla="*/ 1000676 h 2639880"/>
                <a:gd name="connsiteX1668" fmla="*/ 5510872 w 7145312"/>
                <a:gd name="connsiteY1668" fmla="*/ 995910 h 2639880"/>
                <a:gd name="connsiteX1669" fmla="*/ 5520404 w 7145312"/>
                <a:gd name="connsiteY1669" fmla="*/ 995910 h 2639880"/>
                <a:gd name="connsiteX1670" fmla="*/ 4143280 w 7145312"/>
                <a:gd name="connsiteY1670" fmla="*/ 991144 h 2639880"/>
                <a:gd name="connsiteX1671" fmla="*/ 4148044 w 7145312"/>
                <a:gd name="connsiteY1671" fmla="*/ 991144 h 2639880"/>
                <a:gd name="connsiteX1672" fmla="*/ 4162340 w 7145312"/>
                <a:gd name="connsiteY1672" fmla="*/ 991144 h 2639880"/>
                <a:gd name="connsiteX1673" fmla="*/ 4167104 w 7145312"/>
                <a:gd name="connsiteY1673" fmla="*/ 995910 h 2639880"/>
                <a:gd name="connsiteX1674" fmla="*/ 4162340 w 7145312"/>
                <a:gd name="connsiteY1674" fmla="*/ 1005440 h 2639880"/>
                <a:gd name="connsiteX1675" fmla="*/ 4157576 w 7145312"/>
                <a:gd name="connsiteY1675" fmla="*/ 1000676 h 2639880"/>
                <a:gd name="connsiteX1676" fmla="*/ 4143280 w 7145312"/>
                <a:gd name="connsiteY1676" fmla="*/ 1000676 h 2639880"/>
                <a:gd name="connsiteX1677" fmla="*/ 4138516 w 7145312"/>
                <a:gd name="connsiteY1677" fmla="*/ 1005440 h 2639880"/>
                <a:gd name="connsiteX1678" fmla="*/ 4133752 w 7145312"/>
                <a:gd name="connsiteY1678" fmla="*/ 1005440 h 2639880"/>
                <a:gd name="connsiteX1679" fmla="*/ 4128984 w 7145312"/>
                <a:gd name="connsiteY1679" fmla="*/ 1010206 h 2639880"/>
                <a:gd name="connsiteX1680" fmla="*/ 4128984 w 7145312"/>
                <a:gd name="connsiteY1680" fmla="*/ 1000676 h 2639880"/>
                <a:gd name="connsiteX1681" fmla="*/ 5806308 w 7145312"/>
                <a:gd name="connsiteY1681" fmla="*/ 981616 h 2639880"/>
                <a:gd name="connsiteX1682" fmla="*/ 5820604 w 7145312"/>
                <a:gd name="connsiteY1682" fmla="*/ 981616 h 2639880"/>
                <a:gd name="connsiteX1683" fmla="*/ 5839664 w 7145312"/>
                <a:gd name="connsiteY1683" fmla="*/ 981616 h 2639880"/>
                <a:gd name="connsiteX1684" fmla="*/ 5877788 w 7145312"/>
                <a:gd name="connsiteY1684" fmla="*/ 991146 h 2639880"/>
                <a:gd name="connsiteX1685" fmla="*/ 5911144 w 7145312"/>
                <a:gd name="connsiteY1685" fmla="*/ 1005440 h 2639880"/>
                <a:gd name="connsiteX1686" fmla="*/ 5939732 w 7145312"/>
                <a:gd name="connsiteY1686" fmla="*/ 1024502 h 2639880"/>
                <a:gd name="connsiteX1687" fmla="*/ 5973088 w 7145312"/>
                <a:gd name="connsiteY1687" fmla="*/ 1038796 h 2639880"/>
                <a:gd name="connsiteX1688" fmla="*/ 6011212 w 7145312"/>
                <a:gd name="connsiteY1688" fmla="*/ 1043562 h 2639880"/>
                <a:gd name="connsiteX1689" fmla="*/ 6035036 w 7145312"/>
                <a:gd name="connsiteY1689" fmla="*/ 1038796 h 2639880"/>
                <a:gd name="connsiteX1690" fmla="*/ 6054096 w 7145312"/>
                <a:gd name="connsiteY1690" fmla="*/ 1043562 h 2639880"/>
                <a:gd name="connsiteX1691" fmla="*/ 6058860 w 7145312"/>
                <a:gd name="connsiteY1691" fmla="*/ 1048326 h 2639880"/>
                <a:gd name="connsiteX1692" fmla="*/ 6073156 w 7145312"/>
                <a:gd name="connsiteY1692" fmla="*/ 1057858 h 2639880"/>
                <a:gd name="connsiteX1693" fmla="*/ 6068392 w 7145312"/>
                <a:gd name="connsiteY1693" fmla="*/ 1067388 h 2639880"/>
                <a:gd name="connsiteX1694" fmla="*/ 6068392 w 7145312"/>
                <a:gd name="connsiteY1694" fmla="*/ 1081682 h 2639880"/>
                <a:gd name="connsiteX1695" fmla="*/ 6073156 w 7145312"/>
                <a:gd name="connsiteY1695" fmla="*/ 1095978 h 2639880"/>
                <a:gd name="connsiteX1696" fmla="*/ 6082688 w 7145312"/>
                <a:gd name="connsiteY1696" fmla="*/ 1115038 h 2639880"/>
                <a:gd name="connsiteX1697" fmla="*/ 6092216 w 7145312"/>
                <a:gd name="connsiteY1697" fmla="*/ 1129334 h 2639880"/>
                <a:gd name="connsiteX1698" fmla="*/ 6096984 w 7145312"/>
                <a:gd name="connsiteY1698" fmla="*/ 1138864 h 2639880"/>
                <a:gd name="connsiteX1699" fmla="*/ 6092216 w 7145312"/>
                <a:gd name="connsiteY1699" fmla="*/ 1157924 h 2639880"/>
                <a:gd name="connsiteX1700" fmla="*/ 6092216 w 7145312"/>
                <a:gd name="connsiteY1700" fmla="*/ 1162690 h 2639880"/>
                <a:gd name="connsiteX1701" fmla="*/ 6077924 w 7145312"/>
                <a:gd name="connsiteY1701" fmla="*/ 1176986 h 2639880"/>
                <a:gd name="connsiteX1702" fmla="*/ 6073156 w 7145312"/>
                <a:gd name="connsiteY1702" fmla="*/ 1196046 h 2639880"/>
                <a:gd name="connsiteX1703" fmla="*/ 6077924 w 7145312"/>
                <a:gd name="connsiteY1703" fmla="*/ 1215106 h 2639880"/>
                <a:gd name="connsiteX1704" fmla="*/ 6077924 w 7145312"/>
                <a:gd name="connsiteY1704" fmla="*/ 1234166 h 2639880"/>
                <a:gd name="connsiteX1705" fmla="*/ 6077924 w 7145312"/>
                <a:gd name="connsiteY1705" fmla="*/ 1253228 h 2639880"/>
                <a:gd name="connsiteX1706" fmla="*/ 6077924 w 7145312"/>
                <a:gd name="connsiteY1706" fmla="*/ 1267522 h 2639880"/>
                <a:gd name="connsiteX1707" fmla="*/ 6087452 w 7145312"/>
                <a:gd name="connsiteY1707" fmla="*/ 1286584 h 2639880"/>
                <a:gd name="connsiteX1708" fmla="*/ 6111280 w 7145312"/>
                <a:gd name="connsiteY1708" fmla="*/ 1334234 h 2639880"/>
                <a:gd name="connsiteX1709" fmla="*/ 6130340 w 7145312"/>
                <a:gd name="connsiteY1709" fmla="*/ 1367590 h 2639880"/>
                <a:gd name="connsiteX1710" fmla="*/ 6135104 w 7145312"/>
                <a:gd name="connsiteY1710" fmla="*/ 1348530 h 2639880"/>
                <a:gd name="connsiteX1711" fmla="*/ 6130340 w 7145312"/>
                <a:gd name="connsiteY1711" fmla="*/ 1329470 h 2639880"/>
                <a:gd name="connsiteX1712" fmla="*/ 6135104 w 7145312"/>
                <a:gd name="connsiteY1712" fmla="*/ 1319940 h 2639880"/>
                <a:gd name="connsiteX1713" fmla="*/ 6144632 w 7145312"/>
                <a:gd name="connsiteY1713" fmla="*/ 1319940 h 2639880"/>
                <a:gd name="connsiteX1714" fmla="*/ 6154164 w 7145312"/>
                <a:gd name="connsiteY1714" fmla="*/ 1319940 h 2639880"/>
                <a:gd name="connsiteX1715" fmla="*/ 6158928 w 7145312"/>
                <a:gd name="connsiteY1715" fmla="*/ 1329470 h 2639880"/>
                <a:gd name="connsiteX1716" fmla="*/ 6158928 w 7145312"/>
                <a:gd name="connsiteY1716" fmla="*/ 1348530 h 2639880"/>
                <a:gd name="connsiteX1717" fmla="*/ 6163696 w 7145312"/>
                <a:gd name="connsiteY1717" fmla="*/ 1381886 h 2639880"/>
                <a:gd name="connsiteX1718" fmla="*/ 6177988 w 7145312"/>
                <a:gd name="connsiteY1718" fmla="*/ 1386650 h 2639880"/>
                <a:gd name="connsiteX1719" fmla="*/ 6187520 w 7145312"/>
                <a:gd name="connsiteY1719" fmla="*/ 1381886 h 2639880"/>
                <a:gd name="connsiteX1720" fmla="*/ 6187520 w 7145312"/>
                <a:gd name="connsiteY1720" fmla="*/ 1391416 h 2639880"/>
                <a:gd name="connsiteX1721" fmla="*/ 6187520 w 7145312"/>
                <a:gd name="connsiteY1721" fmla="*/ 1410476 h 2639880"/>
                <a:gd name="connsiteX1722" fmla="*/ 6192284 w 7145312"/>
                <a:gd name="connsiteY1722" fmla="*/ 1424772 h 2639880"/>
                <a:gd name="connsiteX1723" fmla="*/ 6197052 w 7145312"/>
                <a:gd name="connsiteY1723" fmla="*/ 1434302 h 2639880"/>
                <a:gd name="connsiteX1724" fmla="*/ 6216112 w 7145312"/>
                <a:gd name="connsiteY1724" fmla="*/ 1448598 h 2639880"/>
                <a:gd name="connsiteX1725" fmla="*/ 6225640 w 7145312"/>
                <a:gd name="connsiteY1725" fmla="*/ 1448598 h 2639880"/>
                <a:gd name="connsiteX1726" fmla="*/ 6249468 w 7145312"/>
                <a:gd name="connsiteY1726" fmla="*/ 1453362 h 2639880"/>
                <a:gd name="connsiteX1727" fmla="*/ 6268528 w 7145312"/>
                <a:gd name="connsiteY1727" fmla="*/ 1453362 h 2639880"/>
                <a:gd name="connsiteX1728" fmla="*/ 6287588 w 7145312"/>
                <a:gd name="connsiteY1728" fmla="*/ 1448598 h 2639880"/>
                <a:gd name="connsiteX1729" fmla="*/ 6297120 w 7145312"/>
                <a:gd name="connsiteY1729" fmla="*/ 1439068 h 2639880"/>
                <a:gd name="connsiteX1730" fmla="*/ 6311412 w 7145312"/>
                <a:gd name="connsiteY1730" fmla="*/ 1424772 h 2639880"/>
                <a:gd name="connsiteX1731" fmla="*/ 6344768 w 7145312"/>
                <a:gd name="connsiteY1731" fmla="*/ 1396182 h 2639880"/>
                <a:gd name="connsiteX1732" fmla="*/ 6354300 w 7145312"/>
                <a:gd name="connsiteY1732" fmla="*/ 1381886 h 2639880"/>
                <a:gd name="connsiteX1733" fmla="*/ 6368596 w 7145312"/>
                <a:gd name="connsiteY1733" fmla="*/ 1358060 h 2639880"/>
                <a:gd name="connsiteX1734" fmla="*/ 6368596 w 7145312"/>
                <a:gd name="connsiteY1734" fmla="*/ 1353296 h 2639880"/>
                <a:gd name="connsiteX1735" fmla="*/ 6406716 w 7145312"/>
                <a:gd name="connsiteY1735" fmla="*/ 1329470 h 2639880"/>
                <a:gd name="connsiteX1736" fmla="*/ 6411480 w 7145312"/>
                <a:gd name="connsiteY1736" fmla="*/ 1319940 h 2639880"/>
                <a:gd name="connsiteX1737" fmla="*/ 6416248 w 7145312"/>
                <a:gd name="connsiteY1737" fmla="*/ 1305644 h 2639880"/>
                <a:gd name="connsiteX1738" fmla="*/ 6425776 w 7145312"/>
                <a:gd name="connsiteY1738" fmla="*/ 1286584 h 2639880"/>
                <a:gd name="connsiteX1739" fmla="*/ 6430540 w 7145312"/>
                <a:gd name="connsiteY1739" fmla="*/ 1281818 h 2639880"/>
                <a:gd name="connsiteX1740" fmla="*/ 6463896 w 7145312"/>
                <a:gd name="connsiteY1740" fmla="*/ 1272288 h 2639880"/>
                <a:gd name="connsiteX1741" fmla="*/ 6497252 w 7145312"/>
                <a:gd name="connsiteY1741" fmla="*/ 1267522 h 2639880"/>
                <a:gd name="connsiteX1742" fmla="*/ 6535376 w 7145312"/>
                <a:gd name="connsiteY1742" fmla="*/ 1253228 h 2639880"/>
                <a:gd name="connsiteX1743" fmla="*/ 6549668 w 7145312"/>
                <a:gd name="connsiteY1743" fmla="*/ 1243698 h 2639880"/>
                <a:gd name="connsiteX1744" fmla="*/ 6549668 w 7145312"/>
                <a:gd name="connsiteY1744" fmla="*/ 1234166 h 2639880"/>
                <a:gd name="connsiteX1745" fmla="*/ 6544904 w 7145312"/>
                <a:gd name="connsiteY1745" fmla="*/ 1219872 h 2639880"/>
                <a:gd name="connsiteX1746" fmla="*/ 6544904 w 7145312"/>
                <a:gd name="connsiteY1746" fmla="*/ 1215106 h 2639880"/>
                <a:gd name="connsiteX1747" fmla="*/ 6549668 w 7145312"/>
                <a:gd name="connsiteY1747" fmla="*/ 1205576 h 2639880"/>
                <a:gd name="connsiteX1748" fmla="*/ 6583024 w 7145312"/>
                <a:gd name="connsiteY1748" fmla="*/ 1191280 h 2639880"/>
                <a:gd name="connsiteX1749" fmla="*/ 6621148 w 7145312"/>
                <a:gd name="connsiteY1749" fmla="*/ 1172220 h 2639880"/>
                <a:gd name="connsiteX1750" fmla="*/ 6649736 w 7145312"/>
                <a:gd name="connsiteY1750" fmla="*/ 1157924 h 2639880"/>
                <a:gd name="connsiteX1751" fmla="*/ 6668800 w 7145312"/>
                <a:gd name="connsiteY1751" fmla="*/ 1157924 h 2639880"/>
                <a:gd name="connsiteX1752" fmla="*/ 6683092 w 7145312"/>
                <a:gd name="connsiteY1752" fmla="*/ 1167456 h 2639880"/>
                <a:gd name="connsiteX1753" fmla="*/ 6697388 w 7145312"/>
                <a:gd name="connsiteY1753" fmla="*/ 1176986 h 2639880"/>
                <a:gd name="connsiteX1754" fmla="*/ 6783160 w 7145312"/>
                <a:gd name="connsiteY1754" fmla="*/ 1205576 h 2639880"/>
                <a:gd name="connsiteX1755" fmla="*/ 6797456 w 7145312"/>
                <a:gd name="connsiteY1755" fmla="*/ 1215106 h 2639880"/>
                <a:gd name="connsiteX1756" fmla="*/ 6806988 w 7145312"/>
                <a:gd name="connsiteY1756" fmla="*/ 1224636 h 2639880"/>
                <a:gd name="connsiteX1757" fmla="*/ 6826048 w 7145312"/>
                <a:gd name="connsiteY1757" fmla="*/ 1234166 h 2639880"/>
                <a:gd name="connsiteX1758" fmla="*/ 6845108 w 7145312"/>
                <a:gd name="connsiteY1758" fmla="*/ 1238932 h 2639880"/>
                <a:gd name="connsiteX1759" fmla="*/ 6859404 w 7145312"/>
                <a:gd name="connsiteY1759" fmla="*/ 1243698 h 2639880"/>
                <a:gd name="connsiteX1760" fmla="*/ 6878464 w 7145312"/>
                <a:gd name="connsiteY1760" fmla="*/ 1253228 h 2639880"/>
                <a:gd name="connsiteX1761" fmla="*/ 6911820 w 7145312"/>
                <a:gd name="connsiteY1761" fmla="*/ 1272288 h 2639880"/>
                <a:gd name="connsiteX1762" fmla="*/ 6959472 w 7145312"/>
                <a:gd name="connsiteY1762" fmla="*/ 1291348 h 2639880"/>
                <a:gd name="connsiteX1763" fmla="*/ 6973768 w 7145312"/>
                <a:gd name="connsiteY1763" fmla="*/ 1291348 h 2639880"/>
                <a:gd name="connsiteX1764" fmla="*/ 7016652 w 7145312"/>
                <a:gd name="connsiteY1764" fmla="*/ 1291348 h 2639880"/>
                <a:gd name="connsiteX1765" fmla="*/ 7026184 w 7145312"/>
                <a:gd name="connsiteY1765" fmla="*/ 1296114 h 2639880"/>
                <a:gd name="connsiteX1766" fmla="*/ 7030948 w 7145312"/>
                <a:gd name="connsiteY1766" fmla="*/ 1300878 h 2639880"/>
                <a:gd name="connsiteX1767" fmla="*/ 7040480 w 7145312"/>
                <a:gd name="connsiteY1767" fmla="*/ 1305644 h 2639880"/>
                <a:gd name="connsiteX1768" fmla="*/ 7088128 w 7145312"/>
                <a:gd name="connsiteY1768" fmla="*/ 1305644 h 2639880"/>
                <a:gd name="connsiteX1769" fmla="*/ 7097660 w 7145312"/>
                <a:gd name="connsiteY1769" fmla="*/ 1310408 h 2639880"/>
                <a:gd name="connsiteX1770" fmla="*/ 7107192 w 7145312"/>
                <a:gd name="connsiteY1770" fmla="*/ 1319940 h 2639880"/>
                <a:gd name="connsiteX1771" fmla="*/ 7111956 w 7145312"/>
                <a:gd name="connsiteY1771" fmla="*/ 1334234 h 2639880"/>
                <a:gd name="connsiteX1772" fmla="*/ 7145312 w 7145312"/>
                <a:gd name="connsiteY1772" fmla="*/ 1334234 h 2639880"/>
                <a:gd name="connsiteX1773" fmla="*/ 7145312 w 7145312"/>
                <a:gd name="connsiteY1773" fmla="*/ 1920346 h 2639880"/>
                <a:gd name="connsiteX1774" fmla="*/ 7140544 w 7145312"/>
                <a:gd name="connsiteY1774" fmla="*/ 1934640 h 2639880"/>
                <a:gd name="connsiteX1775" fmla="*/ 7131016 w 7145312"/>
                <a:gd name="connsiteY1775" fmla="*/ 1963232 h 2639880"/>
                <a:gd name="connsiteX1776" fmla="*/ 7126252 w 7145312"/>
                <a:gd name="connsiteY1776" fmla="*/ 1982292 h 2639880"/>
                <a:gd name="connsiteX1777" fmla="*/ 7135780 w 7145312"/>
                <a:gd name="connsiteY1777" fmla="*/ 1996588 h 2639880"/>
                <a:gd name="connsiteX1778" fmla="*/ 7145312 w 7145312"/>
                <a:gd name="connsiteY1778" fmla="*/ 2006118 h 2639880"/>
                <a:gd name="connsiteX1779" fmla="*/ 7145312 w 7145312"/>
                <a:gd name="connsiteY1779" fmla="*/ 2353972 h 2639880"/>
                <a:gd name="connsiteX1780" fmla="*/ 7135780 w 7145312"/>
                <a:gd name="connsiteY1780" fmla="*/ 2349206 h 2639880"/>
                <a:gd name="connsiteX1781" fmla="*/ 7116720 w 7145312"/>
                <a:gd name="connsiteY1781" fmla="*/ 2334912 h 2639880"/>
                <a:gd name="connsiteX1782" fmla="*/ 7097660 w 7145312"/>
                <a:gd name="connsiteY1782" fmla="*/ 2311086 h 2639880"/>
                <a:gd name="connsiteX1783" fmla="*/ 7083364 w 7145312"/>
                <a:gd name="connsiteY1783" fmla="*/ 2296790 h 2639880"/>
                <a:gd name="connsiteX1784" fmla="*/ 7069068 w 7145312"/>
                <a:gd name="connsiteY1784" fmla="*/ 2277730 h 2639880"/>
                <a:gd name="connsiteX1785" fmla="*/ 7007124 w 7145312"/>
                <a:gd name="connsiteY1785" fmla="*/ 2225314 h 2639880"/>
                <a:gd name="connsiteX1786" fmla="*/ 6992828 w 7145312"/>
                <a:gd name="connsiteY1786" fmla="*/ 2211018 h 2639880"/>
                <a:gd name="connsiteX1787" fmla="*/ 6992828 w 7145312"/>
                <a:gd name="connsiteY1787" fmla="*/ 2206252 h 2639880"/>
                <a:gd name="connsiteX1788" fmla="*/ 6992828 w 7145312"/>
                <a:gd name="connsiteY1788" fmla="*/ 2201488 h 2639880"/>
                <a:gd name="connsiteX1789" fmla="*/ 6997592 w 7145312"/>
                <a:gd name="connsiteY1789" fmla="*/ 2191958 h 2639880"/>
                <a:gd name="connsiteX1790" fmla="*/ 7011888 w 7145312"/>
                <a:gd name="connsiteY1790" fmla="*/ 2168132 h 2639880"/>
                <a:gd name="connsiteX1791" fmla="*/ 6997592 w 7145312"/>
                <a:gd name="connsiteY1791" fmla="*/ 2182428 h 2639880"/>
                <a:gd name="connsiteX1792" fmla="*/ 6983296 w 7145312"/>
                <a:gd name="connsiteY1792" fmla="*/ 2196722 h 2639880"/>
                <a:gd name="connsiteX1793" fmla="*/ 6959472 w 7145312"/>
                <a:gd name="connsiteY1793" fmla="*/ 2196722 h 2639880"/>
                <a:gd name="connsiteX1794" fmla="*/ 6940412 w 7145312"/>
                <a:gd name="connsiteY1794" fmla="*/ 2201488 h 2639880"/>
                <a:gd name="connsiteX1795" fmla="*/ 6916584 w 7145312"/>
                <a:gd name="connsiteY1795" fmla="*/ 2206252 h 2639880"/>
                <a:gd name="connsiteX1796" fmla="*/ 6897524 w 7145312"/>
                <a:gd name="connsiteY1796" fmla="*/ 2211018 h 2639880"/>
                <a:gd name="connsiteX1797" fmla="*/ 6887996 w 7145312"/>
                <a:gd name="connsiteY1797" fmla="*/ 2206252 h 2639880"/>
                <a:gd name="connsiteX1798" fmla="*/ 6878464 w 7145312"/>
                <a:gd name="connsiteY1798" fmla="*/ 2196722 h 2639880"/>
                <a:gd name="connsiteX1799" fmla="*/ 6878464 w 7145312"/>
                <a:gd name="connsiteY1799" fmla="*/ 2187192 h 2639880"/>
                <a:gd name="connsiteX1800" fmla="*/ 6873700 w 7145312"/>
                <a:gd name="connsiteY1800" fmla="*/ 2177662 h 2639880"/>
                <a:gd name="connsiteX1801" fmla="*/ 6868932 w 7145312"/>
                <a:gd name="connsiteY1801" fmla="*/ 2191958 h 2639880"/>
                <a:gd name="connsiteX1802" fmla="*/ 6849872 w 7145312"/>
                <a:gd name="connsiteY1802" fmla="*/ 2201488 h 2639880"/>
                <a:gd name="connsiteX1803" fmla="*/ 6826048 w 7145312"/>
                <a:gd name="connsiteY1803" fmla="*/ 2220548 h 2639880"/>
                <a:gd name="connsiteX1804" fmla="*/ 6821284 w 7145312"/>
                <a:gd name="connsiteY1804" fmla="*/ 2215784 h 2639880"/>
                <a:gd name="connsiteX1805" fmla="*/ 6816516 w 7145312"/>
                <a:gd name="connsiteY1805" fmla="*/ 2211018 h 2639880"/>
                <a:gd name="connsiteX1806" fmla="*/ 6816516 w 7145312"/>
                <a:gd name="connsiteY1806" fmla="*/ 2201488 h 2639880"/>
                <a:gd name="connsiteX1807" fmla="*/ 6821284 w 7145312"/>
                <a:gd name="connsiteY1807" fmla="*/ 2196722 h 2639880"/>
                <a:gd name="connsiteX1808" fmla="*/ 6821284 w 7145312"/>
                <a:gd name="connsiteY1808" fmla="*/ 2187192 h 2639880"/>
                <a:gd name="connsiteX1809" fmla="*/ 6826048 w 7145312"/>
                <a:gd name="connsiteY1809" fmla="*/ 2163366 h 2639880"/>
                <a:gd name="connsiteX1810" fmla="*/ 6835576 w 7145312"/>
                <a:gd name="connsiteY1810" fmla="*/ 2153836 h 2639880"/>
                <a:gd name="connsiteX1811" fmla="*/ 6845108 w 7145312"/>
                <a:gd name="connsiteY1811" fmla="*/ 2130012 h 2639880"/>
                <a:gd name="connsiteX1812" fmla="*/ 6849872 w 7145312"/>
                <a:gd name="connsiteY1812" fmla="*/ 2120480 h 2639880"/>
                <a:gd name="connsiteX1813" fmla="*/ 6849872 w 7145312"/>
                <a:gd name="connsiteY1813" fmla="*/ 2115716 h 2639880"/>
                <a:gd name="connsiteX1814" fmla="*/ 6845108 w 7145312"/>
                <a:gd name="connsiteY1814" fmla="*/ 2106186 h 2639880"/>
                <a:gd name="connsiteX1815" fmla="*/ 6835576 w 7145312"/>
                <a:gd name="connsiteY1815" fmla="*/ 2101420 h 2639880"/>
                <a:gd name="connsiteX1816" fmla="*/ 6826048 w 7145312"/>
                <a:gd name="connsiteY1816" fmla="*/ 2096656 h 2639880"/>
                <a:gd name="connsiteX1817" fmla="*/ 6821284 w 7145312"/>
                <a:gd name="connsiteY1817" fmla="*/ 2082360 h 2639880"/>
                <a:gd name="connsiteX1818" fmla="*/ 6816516 w 7145312"/>
                <a:gd name="connsiteY1818" fmla="*/ 2072830 h 2639880"/>
                <a:gd name="connsiteX1819" fmla="*/ 6802220 w 7145312"/>
                <a:gd name="connsiteY1819" fmla="*/ 2068064 h 2639880"/>
                <a:gd name="connsiteX1820" fmla="*/ 6797456 w 7145312"/>
                <a:gd name="connsiteY1820" fmla="*/ 2063300 h 2639880"/>
                <a:gd name="connsiteX1821" fmla="*/ 6806988 w 7145312"/>
                <a:gd name="connsiteY1821" fmla="*/ 2053768 h 2639880"/>
                <a:gd name="connsiteX1822" fmla="*/ 6816516 w 7145312"/>
                <a:gd name="connsiteY1822" fmla="*/ 2053768 h 2639880"/>
                <a:gd name="connsiteX1823" fmla="*/ 6826048 w 7145312"/>
                <a:gd name="connsiteY1823" fmla="*/ 2053768 h 2639880"/>
                <a:gd name="connsiteX1824" fmla="*/ 6840344 w 7145312"/>
                <a:gd name="connsiteY1824" fmla="*/ 2058534 h 2639880"/>
                <a:gd name="connsiteX1825" fmla="*/ 6845108 w 7145312"/>
                <a:gd name="connsiteY1825" fmla="*/ 2058534 h 2639880"/>
                <a:gd name="connsiteX1826" fmla="*/ 6864168 w 7145312"/>
                <a:gd name="connsiteY1826" fmla="*/ 2053768 h 2639880"/>
                <a:gd name="connsiteX1827" fmla="*/ 6854640 w 7145312"/>
                <a:gd name="connsiteY1827" fmla="*/ 2053768 h 2639880"/>
                <a:gd name="connsiteX1828" fmla="*/ 6845108 w 7145312"/>
                <a:gd name="connsiteY1828" fmla="*/ 2053768 h 2639880"/>
                <a:gd name="connsiteX1829" fmla="*/ 6811752 w 7145312"/>
                <a:gd name="connsiteY1829" fmla="*/ 2044238 h 2639880"/>
                <a:gd name="connsiteX1830" fmla="*/ 6792692 w 7145312"/>
                <a:gd name="connsiteY1830" fmla="*/ 2034708 h 2639880"/>
                <a:gd name="connsiteX1831" fmla="*/ 6773632 w 7145312"/>
                <a:gd name="connsiteY1831" fmla="*/ 2010882 h 2639880"/>
                <a:gd name="connsiteX1832" fmla="*/ 6773632 w 7145312"/>
                <a:gd name="connsiteY1832" fmla="*/ 2006118 h 2639880"/>
                <a:gd name="connsiteX1833" fmla="*/ 6787928 w 7145312"/>
                <a:gd name="connsiteY1833" fmla="*/ 2006118 h 2639880"/>
                <a:gd name="connsiteX1834" fmla="*/ 6816516 w 7145312"/>
                <a:gd name="connsiteY1834" fmla="*/ 2001352 h 2639880"/>
                <a:gd name="connsiteX1835" fmla="*/ 6806988 w 7145312"/>
                <a:gd name="connsiteY1835" fmla="*/ 1987058 h 2639880"/>
                <a:gd name="connsiteX1836" fmla="*/ 6792692 w 7145312"/>
                <a:gd name="connsiteY1836" fmla="*/ 1977526 h 2639880"/>
                <a:gd name="connsiteX1837" fmla="*/ 6787928 w 7145312"/>
                <a:gd name="connsiteY1837" fmla="*/ 1963232 h 2639880"/>
                <a:gd name="connsiteX1838" fmla="*/ 6783160 w 7145312"/>
                <a:gd name="connsiteY1838" fmla="*/ 1953702 h 2639880"/>
                <a:gd name="connsiteX1839" fmla="*/ 6764100 w 7145312"/>
                <a:gd name="connsiteY1839" fmla="*/ 1934640 h 2639880"/>
                <a:gd name="connsiteX1840" fmla="*/ 6749804 w 7145312"/>
                <a:gd name="connsiteY1840" fmla="*/ 1920346 h 2639880"/>
                <a:gd name="connsiteX1841" fmla="*/ 6740276 w 7145312"/>
                <a:gd name="connsiteY1841" fmla="*/ 1882224 h 2639880"/>
                <a:gd name="connsiteX1842" fmla="*/ 6725980 w 7145312"/>
                <a:gd name="connsiteY1842" fmla="*/ 1858398 h 2639880"/>
                <a:gd name="connsiteX1843" fmla="*/ 6730744 w 7145312"/>
                <a:gd name="connsiteY1843" fmla="*/ 1848868 h 2639880"/>
                <a:gd name="connsiteX1844" fmla="*/ 6740276 w 7145312"/>
                <a:gd name="connsiteY1844" fmla="*/ 1839338 h 2639880"/>
                <a:gd name="connsiteX1845" fmla="*/ 6725980 w 7145312"/>
                <a:gd name="connsiteY1845" fmla="*/ 1839338 h 2639880"/>
                <a:gd name="connsiteX1846" fmla="*/ 6711684 w 7145312"/>
                <a:gd name="connsiteY1846" fmla="*/ 1834572 h 2639880"/>
                <a:gd name="connsiteX1847" fmla="*/ 6721216 w 7145312"/>
                <a:gd name="connsiteY1847" fmla="*/ 1820278 h 2639880"/>
                <a:gd name="connsiteX1848" fmla="*/ 6735512 w 7145312"/>
                <a:gd name="connsiteY1848" fmla="*/ 1815512 h 2639880"/>
                <a:gd name="connsiteX1849" fmla="*/ 6721216 w 7145312"/>
                <a:gd name="connsiteY1849" fmla="*/ 1815512 h 2639880"/>
                <a:gd name="connsiteX1850" fmla="*/ 6706920 w 7145312"/>
                <a:gd name="connsiteY1850" fmla="*/ 1820278 h 2639880"/>
                <a:gd name="connsiteX1851" fmla="*/ 6702152 w 7145312"/>
                <a:gd name="connsiteY1851" fmla="*/ 1820278 h 2639880"/>
                <a:gd name="connsiteX1852" fmla="*/ 6692624 w 7145312"/>
                <a:gd name="connsiteY1852" fmla="*/ 1820278 h 2639880"/>
                <a:gd name="connsiteX1853" fmla="*/ 6692624 w 7145312"/>
                <a:gd name="connsiteY1853" fmla="*/ 1815512 h 2639880"/>
                <a:gd name="connsiteX1854" fmla="*/ 6692624 w 7145312"/>
                <a:gd name="connsiteY1854" fmla="*/ 1805982 h 2639880"/>
                <a:gd name="connsiteX1855" fmla="*/ 6692624 w 7145312"/>
                <a:gd name="connsiteY1855" fmla="*/ 1791686 h 2639880"/>
                <a:gd name="connsiteX1856" fmla="*/ 6687860 w 7145312"/>
                <a:gd name="connsiteY1856" fmla="*/ 1782156 h 2639880"/>
                <a:gd name="connsiteX1857" fmla="*/ 6678328 w 7145312"/>
                <a:gd name="connsiteY1857" fmla="*/ 1772626 h 2639880"/>
                <a:gd name="connsiteX1858" fmla="*/ 6668800 w 7145312"/>
                <a:gd name="connsiteY1858" fmla="*/ 1767862 h 2639880"/>
                <a:gd name="connsiteX1859" fmla="*/ 6664032 w 7145312"/>
                <a:gd name="connsiteY1859" fmla="*/ 1763096 h 2639880"/>
                <a:gd name="connsiteX1860" fmla="*/ 6654504 w 7145312"/>
                <a:gd name="connsiteY1860" fmla="*/ 1763096 h 2639880"/>
                <a:gd name="connsiteX1861" fmla="*/ 6649736 w 7145312"/>
                <a:gd name="connsiteY1861" fmla="*/ 1758330 h 2639880"/>
                <a:gd name="connsiteX1862" fmla="*/ 6644972 w 7145312"/>
                <a:gd name="connsiteY1862" fmla="*/ 1748800 h 2639880"/>
                <a:gd name="connsiteX1863" fmla="*/ 6573496 w 7145312"/>
                <a:gd name="connsiteY1863" fmla="*/ 1710680 h 2639880"/>
                <a:gd name="connsiteX1864" fmla="*/ 6568732 w 7145312"/>
                <a:gd name="connsiteY1864" fmla="*/ 1701150 h 2639880"/>
                <a:gd name="connsiteX1865" fmla="*/ 6563964 w 7145312"/>
                <a:gd name="connsiteY1865" fmla="*/ 1705914 h 2639880"/>
                <a:gd name="connsiteX1866" fmla="*/ 6554436 w 7145312"/>
                <a:gd name="connsiteY1866" fmla="*/ 1705914 h 2639880"/>
                <a:gd name="connsiteX1867" fmla="*/ 6544904 w 7145312"/>
                <a:gd name="connsiteY1867" fmla="*/ 1701150 h 2639880"/>
                <a:gd name="connsiteX1868" fmla="*/ 6540140 w 7145312"/>
                <a:gd name="connsiteY1868" fmla="*/ 1696384 h 2639880"/>
                <a:gd name="connsiteX1869" fmla="*/ 6530608 w 7145312"/>
                <a:gd name="connsiteY1869" fmla="*/ 1696384 h 2639880"/>
                <a:gd name="connsiteX1870" fmla="*/ 6521080 w 7145312"/>
                <a:gd name="connsiteY1870" fmla="*/ 1691620 h 2639880"/>
                <a:gd name="connsiteX1871" fmla="*/ 6511548 w 7145312"/>
                <a:gd name="connsiteY1871" fmla="*/ 1691620 h 2639880"/>
                <a:gd name="connsiteX1872" fmla="*/ 6502020 w 7145312"/>
                <a:gd name="connsiteY1872" fmla="*/ 1691620 h 2639880"/>
                <a:gd name="connsiteX1873" fmla="*/ 6463896 w 7145312"/>
                <a:gd name="connsiteY1873" fmla="*/ 1677324 h 2639880"/>
                <a:gd name="connsiteX1874" fmla="*/ 6430540 w 7145312"/>
                <a:gd name="connsiteY1874" fmla="*/ 1663028 h 2639880"/>
                <a:gd name="connsiteX1875" fmla="*/ 6401952 w 7145312"/>
                <a:gd name="connsiteY1875" fmla="*/ 1653498 h 2639880"/>
                <a:gd name="connsiteX1876" fmla="*/ 6382892 w 7145312"/>
                <a:gd name="connsiteY1876" fmla="*/ 1643968 h 2639880"/>
                <a:gd name="connsiteX1877" fmla="*/ 6363828 w 7145312"/>
                <a:gd name="connsiteY1877" fmla="*/ 1634438 h 2639880"/>
                <a:gd name="connsiteX1878" fmla="*/ 6325708 w 7145312"/>
                <a:gd name="connsiteY1878" fmla="*/ 1624908 h 2639880"/>
                <a:gd name="connsiteX1879" fmla="*/ 6282824 w 7145312"/>
                <a:gd name="connsiteY1879" fmla="*/ 1620142 h 2639880"/>
                <a:gd name="connsiteX1880" fmla="*/ 6268528 w 7145312"/>
                <a:gd name="connsiteY1880" fmla="*/ 1620142 h 2639880"/>
                <a:gd name="connsiteX1881" fmla="*/ 6254232 w 7145312"/>
                <a:gd name="connsiteY1881" fmla="*/ 1620142 h 2639880"/>
                <a:gd name="connsiteX1882" fmla="*/ 6244700 w 7145312"/>
                <a:gd name="connsiteY1882" fmla="*/ 1620142 h 2639880"/>
                <a:gd name="connsiteX1883" fmla="*/ 6173224 w 7145312"/>
                <a:gd name="connsiteY1883" fmla="*/ 1582022 h 2639880"/>
                <a:gd name="connsiteX1884" fmla="*/ 6163696 w 7145312"/>
                <a:gd name="connsiteY1884" fmla="*/ 1562960 h 2639880"/>
                <a:gd name="connsiteX1885" fmla="*/ 6163696 w 7145312"/>
                <a:gd name="connsiteY1885" fmla="*/ 1553430 h 2639880"/>
                <a:gd name="connsiteX1886" fmla="*/ 6163696 w 7145312"/>
                <a:gd name="connsiteY1886" fmla="*/ 1543900 h 2639880"/>
                <a:gd name="connsiteX1887" fmla="*/ 6192284 w 7145312"/>
                <a:gd name="connsiteY1887" fmla="*/ 1539136 h 2639880"/>
                <a:gd name="connsiteX1888" fmla="*/ 6173224 w 7145312"/>
                <a:gd name="connsiteY1888" fmla="*/ 1539136 h 2639880"/>
                <a:gd name="connsiteX1889" fmla="*/ 6163696 w 7145312"/>
                <a:gd name="connsiteY1889" fmla="*/ 1539136 h 2639880"/>
                <a:gd name="connsiteX1890" fmla="*/ 6149400 w 7145312"/>
                <a:gd name="connsiteY1890" fmla="*/ 1548666 h 2639880"/>
                <a:gd name="connsiteX1891" fmla="*/ 6139868 w 7145312"/>
                <a:gd name="connsiteY1891" fmla="*/ 1548666 h 2639880"/>
                <a:gd name="connsiteX1892" fmla="*/ 6130340 w 7145312"/>
                <a:gd name="connsiteY1892" fmla="*/ 1543900 h 2639880"/>
                <a:gd name="connsiteX1893" fmla="*/ 6116044 w 7145312"/>
                <a:gd name="connsiteY1893" fmla="*/ 1539136 h 2639880"/>
                <a:gd name="connsiteX1894" fmla="*/ 6096984 w 7145312"/>
                <a:gd name="connsiteY1894" fmla="*/ 1543900 h 2639880"/>
                <a:gd name="connsiteX1895" fmla="*/ 6087452 w 7145312"/>
                <a:gd name="connsiteY1895" fmla="*/ 1534370 h 2639880"/>
                <a:gd name="connsiteX1896" fmla="*/ 6082688 w 7145312"/>
                <a:gd name="connsiteY1896" fmla="*/ 1524840 h 2639880"/>
                <a:gd name="connsiteX1897" fmla="*/ 6077924 w 7145312"/>
                <a:gd name="connsiteY1897" fmla="*/ 1520074 h 2639880"/>
                <a:gd name="connsiteX1898" fmla="*/ 6073156 w 7145312"/>
                <a:gd name="connsiteY1898" fmla="*/ 1520074 h 2639880"/>
                <a:gd name="connsiteX1899" fmla="*/ 6063628 w 7145312"/>
                <a:gd name="connsiteY1899" fmla="*/ 1524840 h 2639880"/>
                <a:gd name="connsiteX1900" fmla="*/ 6054096 w 7145312"/>
                <a:gd name="connsiteY1900" fmla="*/ 1520074 h 2639880"/>
                <a:gd name="connsiteX1901" fmla="*/ 6044568 w 7145312"/>
                <a:gd name="connsiteY1901" fmla="*/ 1515310 h 2639880"/>
                <a:gd name="connsiteX1902" fmla="*/ 6039800 w 7145312"/>
                <a:gd name="connsiteY1902" fmla="*/ 1505780 h 2639880"/>
                <a:gd name="connsiteX1903" fmla="*/ 6035036 w 7145312"/>
                <a:gd name="connsiteY1903" fmla="*/ 1501014 h 2639880"/>
                <a:gd name="connsiteX1904" fmla="*/ 6025504 w 7145312"/>
                <a:gd name="connsiteY1904" fmla="*/ 1496248 h 2639880"/>
                <a:gd name="connsiteX1905" fmla="*/ 6011212 w 7145312"/>
                <a:gd name="connsiteY1905" fmla="*/ 1486718 h 2639880"/>
                <a:gd name="connsiteX1906" fmla="*/ 6006444 w 7145312"/>
                <a:gd name="connsiteY1906" fmla="*/ 1467658 h 2639880"/>
                <a:gd name="connsiteX1907" fmla="*/ 6006444 w 7145312"/>
                <a:gd name="connsiteY1907" fmla="*/ 1443832 h 2639880"/>
                <a:gd name="connsiteX1908" fmla="*/ 6006444 w 7145312"/>
                <a:gd name="connsiteY1908" fmla="*/ 1434302 h 2639880"/>
                <a:gd name="connsiteX1909" fmla="*/ 6020740 w 7145312"/>
                <a:gd name="connsiteY1909" fmla="*/ 1420006 h 2639880"/>
                <a:gd name="connsiteX1910" fmla="*/ 6030272 w 7145312"/>
                <a:gd name="connsiteY1910" fmla="*/ 1400946 h 2639880"/>
                <a:gd name="connsiteX1911" fmla="*/ 6020740 w 7145312"/>
                <a:gd name="connsiteY1911" fmla="*/ 1400946 h 2639880"/>
                <a:gd name="connsiteX1912" fmla="*/ 6006444 w 7145312"/>
                <a:gd name="connsiteY1912" fmla="*/ 1405712 h 2639880"/>
                <a:gd name="connsiteX1913" fmla="*/ 6006444 w 7145312"/>
                <a:gd name="connsiteY1913" fmla="*/ 1415242 h 2639880"/>
                <a:gd name="connsiteX1914" fmla="*/ 6001680 w 7145312"/>
                <a:gd name="connsiteY1914" fmla="*/ 1424772 h 2639880"/>
                <a:gd name="connsiteX1915" fmla="*/ 6001680 w 7145312"/>
                <a:gd name="connsiteY1915" fmla="*/ 1453362 h 2639880"/>
                <a:gd name="connsiteX1916" fmla="*/ 5992148 w 7145312"/>
                <a:gd name="connsiteY1916" fmla="*/ 1458128 h 2639880"/>
                <a:gd name="connsiteX1917" fmla="*/ 5982620 w 7145312"/>
                <a:gd name="connsiteY1917" fmla="*/ 1458128 h 2639880"/>
                <a:gd name="connsiteX1918" fmla="*/ 5982620 w 7145312"/>
                <a:gd name="connsiteY1918" fmla="*/ 1477188 h 2639880"/>
                <a:gd name="connsiteX1919" fmla="*/ 5977856 w 7145312"/>
                <a:gd name="connsiteY1919" fmla="*/ 1491484 h 2639880"/>
                <a:gd name="connsiteX1920" fmla="*/ 5963560 w 7145312"/>
                <a:gd name="connsiteY1920" fmla="*/ 1510544 h 2639880"/>
                <a:gd name="connsiteX1921" fmla="*/ 5963560 w 7145312"/>
                <a:gd name="connsiteY1921" fmla="*/ 1515310 h 2639880"/>
                <a:gd name="connsiteX1922" fmla="*/ 5963560 w 7145312"/>
                <a:gd name="connsiteY1922" fmla="*/ 1524840 h 2639880"/>
                <a:gd name="connsiteX1923" fmla="*/ 5963560 w 7145312"/>
                <a:gd name="connsiteY1923" fmla="*/ 1534370 h 2639880"/>
                <a:gd name="connsiteX1924" fmla="*/ 5939732 w 7145312"/>
                <a:gd name="connsiteY1924" fmla="*/ 1562960 h 2639880"/>
                <a:gd name="connsiteX1925" fmla="*/ 5930204 w 7145312"/>
                <a:gd name="connsiteY1925" fmla="*/ 1562960 h 2639880"/>
                <a:gd name="connsiteX1926" fmla="*/ 5911144 w 7145312"/>
                <a:gd name="connsiteY1926" fmla="*/ 1562960 h 2639880"/>
                <a:gd name="connsiteX1927" fmla="*/ 5896848 w 7145312"/>
                <a:gd name="connsiteY1927" fmla="*/ 1567726 h 2639880"/>
                <a:gd name="connsiteX1928" fmla="*/ 5887316 w 7145312"/>
                <a:gd name="connsiteY1928" fmla="*/ 1558196 h 2639880"/>
                <a:gd name="connsiteX1929" fmla="*/ 5877788 w 7145312"/>
                <a:gd name="connsiteY1929" fmla="*/ 1553430 h 2639880"/>
                <a:gd name="connsiteX1930" fmla="*/ 5873020 w 7145312"/>
                <a:gd name="connsiteY1930" fmla="*/ 1543900 h 2639880"/>
                <a:gd name="connsiteX1931" fmla="*/ 5868256 w 7145312"/>
                <a:gd name="connsiteY1931" fmla="*/ 1524840 h 2639880"/>
                <a:gd name="connsiteX1932" fmla="*/ 5863492 w 7145312"/>
                <a:gd name="connsiteY1932" fmla="*/ 1505780 h 2639880"/>
                <a:gd name="connsiteX1933" fmla="*/ 5877788 w 7145312"/>
                <a:gd name="connsiteY1933" fmla="*/ 1481954 h 2639880"/>
                <a:gd name="connsiteX1934" fmla="*/ 5873020 w 7145312"/>
                <a:gd name="connsiteY1934" fmla="*/ 1458128 h 2639880"/>
                <a:gd name="connsiteX1935" fmla="*/ 5858728 w 7145312"/>
                <a:gd name="connsiteY1935" fmla="*/ 1439068 h 2639880"/>
                <a:gd name="connsiteX1936" fmla="*/ 5830136 w 7145312"/>
                <a:gd name="connsiteY1936" fmla="*/ 1415242 h 2639880"/>
                <a:gd name="connsiteX1937" fmla="*/ 5796780 w 7145312"/>
                <a:gd name="connsiteY1937" fmla="*/ 1391416 h 2639880"/>
                <a:gd name="connsiteX1938" fmla="*/ 5782484 w 7145312"/>
                <a:gd name="connsiteY1938" fmla="*/ 1386650 h 2639880"/>
                <a:gd name="connsiteX1939" fmla="*/ 5758660 w 7145312"/>
                <a:gd name="connsiteY1939" fmla="*/ 1381886 h 2639880"/>
                <a:gd name="connsiteX1940" fmla="*/ 5753892 w 7145312"/>
                <a:gd name="connsiteY1940" fmla="*/ 1381886 h 2639880"/>
                <a:gd name="connsiteX1941" fmla="*/ 5744364 w 7145312"/>
                <a:gd name="connsiteY1941" fmla="*/ 1372356 h 2639880"/>
                <a:gd name="connsiteX1942" fmla="*/ 5739600 w 7145312"/>
                <a:gd name="connsiteY1942" fmla="*/ 1362826 h 2639880"/>
                <a:gd name="connsiteX1943" fmla="*/ 5753892 w 7145312"/>
                <a:gd name="connsiteY1943" fmla="*/ 1358060 h 2639880"/>
                <a:gd name="connsiteX1944" fmla="*/ 5777720 w 7145312"/>
                <a:gd name="connsiteY1944" fmla="*/ 1343764 h 2639880"/>
                <a:gd name="connsiteX1945" fmla="*/ 5792016 w 7145312"/>
                <a:gd name="connsiteY1945" fmla="*/ 1343764 h 2639880"/>
                <a:gd name="connsiteX1946" fmla="*/ 5834900 w 7145312"/>
                <a:gd name="connsiteY1946" fmla="*/ 1353296 h 2639880"/>
                <a:gd name="connsiteX1947" fmla="*/ 5844432 w 7145312"/>
                <a:gd name="connsiteY1947" fmla="*/ 1358060 h 2639880"/>
                <a:gd name="connsiteX1948" fmla="*/ 5858728 w 7145312"/>
                <a:gd name="connsiteY1948" fmla="*/ 1362826 h 2639880"/>
                <a:gd name="connsiteX1949" fmla="*/ 5882552 w 7145312"/>
                <a:gd name="connsiteY1949" fmla="*/ 1339000 h 2639880"/>
                <a:gd name="connsiteX1950" fmla="*/ 5906376 w 7145312"/>
                <a:gd name="connsiteY1950" fmla="*/ 1315174 h 2639880"/>
                <a:gd name="connsiteX1951" fmla="*/ 5920672 w 7145312"/>
                <a:gd name="connsiteY1951" fmla="*/ 1310408 h 2639880"/>
                <a:gd name="connsiteX1952" fmla="*/ 5930204 w 7145312"/>
                <a:gd name="connsiteY1952" fmla="*/ 1305644 h 2639880"/>
                <a:gd name="connsiteX1953" fmla="*/ 5939732 w 7145312"/>
                <a:gd name="connsiteY1953" fmla="*/ 1310408 h 2639880"/>
                <a:gd name="connsiteX1954" fmla="*/ 5963560 w 7145312"/>
                <a:gd name="connsiteY1954" fmla="*/ 1319940 h 2639880"/>
                <a:gd name="connsiteX1955" fmla="*/ 5982620 w 7145312"/>
                <a:gd name="connsiteY1955" fmla="*/ 1324704 h 2639880"/>
                <a:gd name="connsiteX1956" fmla="*/ 5996916 w 7145312"/>
                <a:gd name="connsiteY1956" fmla="*/ 1324704 h 2639880"/>
                <a:gd name="connsiteX1957" fmla="*/ 6001680 w 7145312"/>
                <a:gd name="connsiteY1957" fmla="*/ 1329470 h 2639880"/>
                <a:gd name="connsiteX1958" fmla="*/ 6006444 w 7145312"/>
                <a:gd name="connsiteY1958" fmla="*/ 1334234 h 2639880"/>
                <a:gd name="connsiteX1959" fmla="*/ 6011212 w 7145312"/>
                <a:gd name="connsiteY1959" fmla="*/ 1324704 h 2639880"/>
                <a:gd name="connsiteX1960" fmla="*/ 6015976 w 7145312"/>
                <a:gd name="connsiteY1960" fmla="*/ 1310408 h 2639880"/>
                <a:gd name="connsiteX1961" fmla="*/ 6030272 w 7145312"/>
                <a:gd name="connsiteY1961" fmla="*/ 1305644 h 2639880"/>
                <a:gd name="connsiteX1962" fmla="*/ 6035036 w 7145312"/>
                <a:gd name="connsiteY1962" fmla="*/ 1300878 h 2639880"/>
                <a:gd name="connsiteX1963" fmla="*/ 6039800 w 7145312"/>
                <a:gd name="connsiteY1963" fmla="*/ 1300878 h 2639880"/>
                <a:gd name="connsiteX1964" fmla="*/ 6039800 w 7145312"/>
                <a:gd name="connsiteY1964" fmla="*/ 1286584 h 2639880"/>
                <a:gd name="connsiteX1965" fmla="*/ 6020740 w 7145312"/>
                <a:gd name="connsiteY1965" fmla="*/ 1281818 h 2639880"/>
                <a:gd name="connsiteX1966" fmla="*/ 6030272 w 7145312"/>
                <a:gd name="connsiteY1966" fmla="*/ 1272288 h 2639880"/>
                <a:gd name="connsiteX1967" fmla="*/ 6039800 w 7145312"/>
                <a:gd name="connsiteY1967" fmla="*/ 1267522 h 2639880"/>
                <a:gd name="connsiteX1968" fmla="*/ 6044568 w 7145312"/>
                <a:gd name="connsiteY1968" fmla="*/ 1262758 h 2639880"/>
                <a:gd name="connsiteX1969" fmla="*/ 6044568 w 7145312"/>
                <a:gd name="connsiteY1969" fmla="*/ 1253228 h 2639880"/>
                <a:gd name="connsiteX1970" fmla="*/ 6011212 w 7145312"/>
                <a:gd name="connsiteY1970" fmla="*/ 1267522 h 2639880"/>
                <a:gd name="connsiteX1971" fmla="*/ 5977856 w 7145312"/>
                <a:gd name="connsiteY1971" fmla="*/ 1272288 h 2639880"/>
                <a:gd name="connsiteX1972" fmla="*/ 5954028 w 7145312"/>
                <a:gd name="connsiteY1972" fmla="*/ 1272288 h 2639880"/>
                <a:gd name="connsiteX1973" fmla="*/ 5934968 w 7145312"/>
                <a:gd name="connsiteY1973" fmla="*/ 1272288 h 2639880"/>
                <a:gd name="connsiteX1974" fmla="*/ 5892084 w 7145312"/>
                <a:gd name="connsiteY1974" fmla="*/ 1281818 h 2639880"/>
                <a:gd name="connsiteX1975" fmla="*/ 5877788 w 7145312"/>
                <a:gd name="connsiteY1975" fmla="*/ 1281818 h 2639880"/>
                <a:gd name="connsiteX1976" fmla="*/ 5844432 w 7145312"/>
                <a:gd name="connsiteY1976" fmla="*/ 1277052 h 2639880"/>
                <a:gd name="connsiteX1977" fmla="*/ 5820604 w 7145312"/>
                <a:gd name="connsiteY1977" fmla="*/ 1272288 h 2639880"/>
                <a:gd name="connsiteX1978" fmla="*/ 5806308 w 7145312"/>
                <a:gd name="connsiteY1978" fmla="*/ 1277052 h 2639880"/>
                <a:gd name="connsiteX1979" fmla="*/ 5792016 w 7145312"/>
                <a:gd name="connsiteY1979" fmla="*/ 1277052 h 2639880"/>
                <a:gd name="connsiteX1980" fmla="*/ 5777720 w 7145312"/>
                <a:gd name="connsiteY1980" fmla="*/ 1267522 h 2639880"/>
                <a:gd name="connsiteX1981" fmla="*/ 5763424 w 7145312"/>
                <a:gd name="connsiteY1981" fmla="*/ 1253228 h 2639880"/>
                <a:gd name="connsiteX1982" fmla="*/ 5758660 w 7145312"/>
                <a:gd name="connsiteY1982" fmla="*/ 1243698 h 2639880"/>
                <a:gd name="connsiteX1983" fmla="*/ 5749128 w 7145312"/>
                <a:gd name="connsiteY1983" fmla="*/ 1238932 h 2639880"/>
                <a:gd name="connsiteX1984" fmla="*/ 5744364 w 7145312"/>
                <a:gd name="connsiteY1984" fmla="*/ 1229402 h 2639880"/>
                <a:gd name="connsiteX1985" fmla="*/ 5734832 w 7145312"/>
                <a:gd name="connsiteY1985" fmla="*/ 1191280 h 2639880"/>
                <a:gd name="connsiteX1986" fmla="*/ 5730068 w 7145312"/>
                <a:gd name="connsiteY1986" fmla="*/ 1167456 h 2639880"/>
                <a:gd name="connsiteX1987" fmla="*/ 5715772 w 7145312"/>
                <a:gd name="connsiteY1987" fmla="*/ 1167456 h 2639880"/>
                <a:gd name="connsiteX1988" fmla="*/ 5701476 w 7145312"/>
                <a:gd name="connsiteY1988" fmla="*/ 1167456 h 2639880"/>
                <a:gd name="connsiteX1989" fmla="*/ 5634764 w 7145312"/>
                <a:gd name="connsiteY1989" fmla="*/ 1143630 h 2639880"/>
                <a:gd name="connsiteX1990" fmla="*/ 5625236 w 7145312"/>
                <a:gd name="connsiteY1990" fmla="*/ 1148394 h 2639880"/>
                <a:gd name="connsiteX1991" fmla="*/ 5615704 w 7145312"/>
                <a:gd name="connsiteY1991" fmla="*/ 1153160 h 2639880"/>
                <a:gd name="connsiteX1992" fmla="*/ 5606176 w 7145312"/>
                <a:gd name="connsiteY1992" fmla="*/ 1153160 h 2639880"/>
                <a:gd name="connsiteX1993" fmla="*/ 5596644 w 7145312"/>
                <a:gd name="connsiteY1993" fmla="*/ 1153160 h 2639880"/>
                <a:gd name="connsiteX1994" fmla="*/ 5587112 w 7145312"/>
                <a:gd name="connsiteY1994" fmla="*/ 1148394 h 2639880"/>
                <a:gd name="connsiteX1995" fmla="*/ 5587112 w 7145312"/>
                <a:gd name="connsiteY1995" fmla="*/ 1143630 h 2639880"/>
                <a:gd name="connsiteX1996" fmla="*/ 5596644 w 7145312"/>
                <a:gd name="connsiteY1996" fmla="*/ 1124568 h 2639880"/>
                <a:gd name="connsiteX1997" fmla="*/ 5601408 w 7145312"/>
                <a:gd name="connsiteY1997" fmla="*/ 1119804 h 2639880"/>
                <a:gd name="connsiteX1998" fmla="*/ 5610940 w 7145312"/>
                <a:gd name="connsiteY1998" fmla="*/ 1115038 h 2639880"/>
                <a:gd name="connsiteX1999" fmla="*/ 5615704 w 7145312"/>
                <a:gd name="connsiteY1999" fmla="*/ 1105508 h 2639880"/>
                <a:gd name="connsiteX2000" fmla="*/ 5625236 w 7145312"/>
                <a:gd name="connsiteY2000" fmla="*/ 1081682 h 2639880"/>
                <a:gd name="connsiteX2001" fmla="*/ 5630000 w 7145312"/>
                <a:gd name="connsiteY2001" fmla="*/ 1072152 h 2639880"/>
                <a:gd name="connsiteX2002" fmla="*/ 5625236 w 7145312"/>
                <a:gd name="connsiteY2002" fmla="*/ 1067388 h 2639880"/>
                <a:gd name="connsiteX2003" fmla="*/ 5625236 w 7145312"/>
                <a:gd name="connsiteY2003" fmla="*/ 1057858 h 2639880"/>
                <a:gd name="connsiteX2004" fmla="*/ 5634764 w 7145312"/>
                <a:gd name="connsiteY2004" fmla="*/ 1057858 h 2639880"/>
                <a:gd name="connsiteX2005" fmla="*/ 5658592 w 7145312"/>
                <a:gd name="connsiteY2005" fmla="*/ 1048326 h 2639880"/>
                <a:gd name="connsiteX2006" fmla="*/ 5711008 w 7145312"/>
                <a:gd name="connsiteY2006" fmla="*/ 1034032 h 2639880"/>
                <a:gd name="connsiteX2007" fmla="*/ 5725304 w 7145312"/>
                <a:gd name="connsiteY2007" fmla="*/ 1029266 h 2639880"/>
                <a:gd name="connsiteX2008" fmla="*/ 5734832 w 7145312"/>
                <a:gd name="connsiteY2008" fmla="*/ 1014970 h 2639880"/>
                <a:gd name="connsiteX2009" fmla="*/ 5749128 w 7145312"/>
                <a:gd name="connsiteY2009" fmla="*/ 1010206 h 2639880"/>
                <a:gd name="connsiteX2010" fmla="*/ 5758660 w 7145312"/>
                <a:gd name="connsiteY2010" fmla="*/ 1000676 h 2639880"/>
                <a:gd name="connsiteX2011" fmla="*/ 5763424 w 7145312"/>
                <a:gd name="connsiteY2011" fmla="*/ 995910 h 2639880"/>
                <a:gd name="connsiteX2012" fmla="*/ 1446216 w 7145312"/>
                <a:gd name="connsiteY2012" fmla="*/ 976850 h 2639880"/>
                <a:gd name="connsiteX2013" fmla="*/ 1460512 w 7145312"/>
                <a:gd name="connsiteY2013" fmla="*/ 991146 h 2639880"/>
                <a:gd name="connsiteX2014" fmla="*/ 1460512 w 7145312"/>
                <a:gd name="connsiteY2014" fmla="*/ 1000676 h 2639880"/>
                <a:gd name="connsiteX2015" fmla="*/ 1455748 w 7145312"/>
                <a:gd name="connsiteY2015" fmla="*/ 1005440 h 2639880"/>
                <a:gd name="connsiteX2016" fmla="*/ 1450984 w 7145312"/>
                <a:gd name="connsiteY2016" fmla="*/ 1019736 h 2639880"/>
                <a:gd name="connsiteX2017" fmla="*/ 1446216 w 7145312"/>
                <a:gd name="connsiteY2017" fmla="*/ 1019736 h 2639880"/>
                <a:gd name="connsiteX2018" fmla="*/ 1436688 w 7145312"/>
                <a:gd name="connsiteY2018" fmla="*/ 1014970 h 2639880"/>
                <a:gd name="connsiteX2019" fmla="*/ 1427156 w 7145312"/>
                <a:gd name="connsiteY2019" fmla="*/ 1029266 h 2639880"/>
                <a:gd name="connsiteX2020" fmla="*/ 1422392 w 7145312"/>
                <a:gd name="connsiteY2020" fmla="*/ 1010206 h 2639880"/>
                <a:gd name="connsiteX2021" fmla="*/ 1412864 w 7145312"/>
                <a:gd name="connsiteY2021" fmla="*/ 995910 h 2639880"/>
                <a:gd name="connsiteX2022" fmla="*/ 1417628 w 7145312"/>
                <a:gd name="connsiteY2022" fmla="*/ 986380 h 2639880"/>
                <a:gd name="connsiteX2023" fmla="*/ 1422392 w 7145312"/>
                <a:gd name="connsiteY2023" fmla="*/ 986380 h 2639880"/>
                <a:gd name="connsiteX2024" fmla="*/ 1427156 w 7145312"/>
                <a:gd name="connsiteY2024" fmla="*/ 986380 h 2639880"/>
                <a:gd name="connsiteX2025" fmla="*/ 5043888 w 7145312"/>
                <a:gd name="connsiteY2025" fmla="*/ 972084 h 2639880"/>
                <a:gd name="connsiteX2026" fmla="*/ 5053420 w 7145312"/>
                <a:gd name="connsiteY2026" fmla="*/ 976850 h 2639880"/>
                <a:gd name="connsiteX2027" fmla="*/ 5067716 w 7145312"/>
                <a:gd name="connsiteY2027" fmla="*/ 1000676 h 2639880"/>
                <a:gd name="connsiteX2028" fmla="*/ 5058184 w 7145312"/>
                <a:gd name="connsiteY2028" fmla="*/ 1019736 h 2639880"/>
                <a:gd name="connsiteX2029" fmla="*/ 5062948 w 7145312"/>
                <a:gd name="connsiteY2029" fmla="*/ 1034032 h 2639880"/>
                <a:gd name="connsiteX2030" fmla="*/ 5086776 w 7145312"/>
                <a:gd name="connsiteY2030" fmla="*/ 1034032 h 2639880"/>
                <a:gd name="connsiteX2031" fmla="*/ 5091540 w 7145312"/>
                <a:gd name="connsiteY2031" fmla="*/ 1038796 h 2639880"/>
                <a:gd name="connsiteX2032" fmla="*/ 5096304 w 7145312"/>
                <a:gd name="connsiteY2032" fmla="*/ 1043562 h 2639880"/>
                <a:gd name="connsiteX2033" fmla="*/ 5101072 w 7145312"/>
                <a:gd name="connsiteY2033" fmla="*/ 1053092 h 2639880"/>
                <a:gd name="connsiteX2034" fmla="*/ 5096304 w 7145312"/>
                <a:gd name="connsiteY2034" fmla="*/ 1057856 h 2639880"/>
                <a:gd name="connsiteX2035" fmla="*/ 5082008 w 7145312"/>
                <a:gd name="connsiteY2035" fmla="*/ 1062622 h 2639880"/>
                <a:gd name="connsiteX2036" fmla="*/ 5067716 w 7145312"/>
                <a:gd name="connsiteY2036" fmla="*/ 1053092 h 2639880"/>
                <a:gd name="connsiteX2037" fmla="*/ 5062948 w 7145312"/>
                <a:gd name="connsiteY2037" fmla="*/ 1048326 h 2639880"/>
                <a:gd name="connsiteX2038" fmla="*/ 5058184 w 7145312"/>
                <a:gd name="connsiteY2038" fmla="*/ 1043562 h 2639880"/>
                <a:gd name="connsiteX2039" fmla="*/ 5039124 w 7145312"/>
                <a:gd name="connsiteY2039" fmla="*/ 1053092 h 2639880"/>
                <a:gd name="connsiteX2040" fmla="*/ 5034360 w 7145312"/>
                <a:gd name="connsiteY2040" fmla="*/ 1053092 h 2639880"/>
                <a:gd name="connsiteX2041" fmla="*/ 5029592 w 7145312"/>
                <a:gd name="connsiteY2041" fmla="*/ 1043562 h 2639880"/>
                <a:gd name="connsiteX2042" fmla="*/ 5034360 w 7145312"/>
                <a:gd name="connsiteY2042" fmla="*/ 1024502 h 2639880"/>
                <a:gd name="connsiteX2043" fmla="*/ 5020064 w 7145312"/>
                <a:gd name="connsiteY2043" fmla="*/ 1019736 h 2639880"/>
                <a:gd name="connsiteX2044" fmla="*/ 5010532 w 7145312"/>
                <a:gd name="connsiteY2044" fmla="*/ 1005440 h 2639880"/>
                <a:gd name="connsiteX2045" fmla="*/ 5010532 w 7145312"/>
                <a:gd name="connsiteY2045" fmla="*/ 995910 h 2639880"/>
                <a:gd name="connsiteX2046" fmla="*/ 5015300 w 7145312"/>
                <a:gd name="connsiteY2046" fmla="*/ 986380 h 2639880"/>
                <a:gd name="connsiteX2047" fmla="*/ 5015300 w 7145312"/>
                <a:gd name="connsiteY2047" fmla="*/ 976850 h 2639880"/>
                <a:gd name="connsiteX2048" fmla="*/ 5020064 w 7145312"/>
                <a:gd name="connsiteY2048" fmla="*/ 976850 h 2639880"/>
                <a:gd name="connsiteX2049" fmla="*/ 5034360 w 7145312"/>
                <a:gd name="connsiteY2049" fmla="*/ 991146 h 2639880"/>
                <a:gd name="connsiteX2050" fmla="*/ 5039124 w 7145312"/>
                <a:gd name="connsiteY2050" fmla="*/ 976850 h 2639880"/>
                <a:gd name="connsiteX2051" fmla="*/ 4981944 w 7145312"/>
                <a:gd name="connsiteY2051" fmla="*/ 967320 h 2639880"/>
                <a:gd name="connsiteX2052" fmla="*/ 4991472 w 7145312"/>
                <a:gd name="connsiteY2052" fmla="*/ 967320 h 2639880"/>
                <a:gd name="connsiteX2053" fmla="*/ 5005768 w 7145312"/>
                <a:gd name="connsiteY2053" fmla="*/ 972084 h 2639880"/>
                <a:gd name="connsiteX2054" fmla="*/ 5001004 w 7145312"/>
                <a:gd name="connsiteY2054" fmla="*/ 976850 h 2639880"/>
                <a:gd name="connsiteX2055" fmla="*/ 5005768 w 7145312"/>
                <a:gd name="connsiteY2055" fmla="*/ 986380 h 2639880"/>
                <a:gd name="connsiteX2056" fmla="*/ 5001004 w 7145312"/>
                <a:gd name="connsiteY2056" fmla="*/ 1005440 h 2639880"/>
                <a:gd name="connsiteX2057" fmla="*/ 4991472 w 7145312"/>
                <a:gd name="connsiteY2057" fmla="*/ 1005440 h 2639880"/>
                <a:gd name="connsiteX2058" fmla="*/ 4981944 w 7145312"/>
                <a:gd name="connsiteY2058" fmla="*/ 1005440 h 2639880"/>
                <a:gd name="connsiteX2059" fmla="*/ 4977176 w 7145312"/>
                <a:gd name="connsiteY2059" fmla="*/ 991144 h 2639880"/>
                <a:gd name="connsiteX2060" fmla="*/ 1298500 w 7145312"/>
                <a:gd name="connsiteY2060" fmla="*/ 962554 h 2639880"/>
                <a:gd name="connsiteX2061" fmla="*/ 1308028 w 7145312"/>
                <a:gd name="connsiteY2061" fmla="*/ 962554 h 2639880"/>
                <a:gd name="connsiteX2062" fmla="*/ 1327088 w 7145312"/>
                <a:gd name="connsiteY2062" fmla="*/ 967320 h 2639880"/>
                <a:gd name="connsiteX2063" fmla="*/ 1331856 w 7145312"/>
                <a:gd name="connsiteY2063" fmla="*/ 976850 h 2639880"/>
                <a:gd name="connsiteX2064" fmla="*/ 1327088 w 7145312"/>
                <a:gd name="connsiteY2064" fmla="*/ 981614 h 2639880"/>
                <a:gd name="connsiteX2065" fmla="*/ 1308028 w 7145312"/>
                <a:gd name="connsiteY2065" fmla="*/ 986380 h 2639880"/>
                <a:gd name="connsiteX2066" fmla="*/ 1284204 w 7145312"/>
                <a:gd name="connsiteY2066" fmla="*/ 981614 h 2639880"/>
                <a:gd name="connsiteX2067" fmla="*/ 1288968 w 7145312"/>
                <a:gd name="connsiteY2067" fmla="*/ 972084 h 2639880"/>
                <a:gd name="connsiteX2068" fmla="*/ 5558524 w 7145312"/>
                <a:gd name="connsiteY2068" fmla="*/ 924432 h 2639880"/>
                <a:gd name="connsiteX2069" fmla="*/ 5587116 w 7145312"/>
                <a:gd name="connsiteY2069" fmla="*/ 933964 h 2639880"/>
                <a:gd name="connsiteX2070" fmla="*/ 5591880 w 7145312"/>
                <a:gd name="connsiteY2070" fmla="*/ 933964 h 2639880"/>
                <a:gd name="connsiteX2071" fmla="*/ 5630000 w 7145312"/>
                <a:gd name="connsiteY2071" fmla="*/ 948258 h 2639880"/>
                <a:gd name="connsiteX2072" fmla="*/ 5639532 w 7145312"/>
                <a:gd name="connsiteY2072" fmla="*/ 957788 h 2639880"/>
                <a:gd name="connsiteX2073" fmla="*/ 5634764 w 7145312"/>
                <a:gd name="connsiteY2073" fmla="*/ 962554 h 2639880"/>
                <a:gd name="connsiteX2074" fmla="*/ 5639532 w 7145312"/>
                <a:gd name="connsiteY2074" fmla="*/ 972084 h 2639880"/>
                <a:gd name="connsiteX2075" fmla="*/ 5625236 w 7145312"/>
                <a:gd name="connsiteY2075" fmla="*/ 981614 h 2639880"/>
                <a:gd name="connsiteX2076" fmla="*/ 5620472 w 7145312"/>
                <a:gd name="connsiteY2076" fmla="*/ 986380 h 2639880"/>
                <a:gd name="connsiteX2077" fmla="*/ 5615704 w 7145312"/>
                <a:gd name="connsiteY2077" fmla="*/ 981614 h 2639880"/>
                <a:gd name="connsiteX2078" fmla="*/ 5601408 w 7145312"/>
                <a:gd name="connsiteY2078" fmla="*/ 976850 h 2639880"/>
                <a:gd name="connsiteX2079" fmla="*/ 5587116 w 7145312"/>
                <a:gd name="connsiteY2079" fmla="*/ 981614 h 2639880"/>
                <a:gd name="connsiteX2080" fmla="*/ 5577584 w 7145312"/>
                <a:gd name="connsiteY2080" fmla="*/ 976850 h 2639880"/>
                <a:gd name="connsiteX2081" fmla="*/ 5572820 w 7145312"/>
                <a:gd name="connsiteY2081" fmla="*/ 967320 h 2639880"/>
                <a:gd name="connsiteX2082" fmla="*/ 5558524 w 7145312"/>
                <a:gd name="connsiteY2082" fmla="*/ 962554 h 2639880"/>
                <a:gd name="connsiteX2083" fmla="*/ 5539464 w 7145312"/>
                <a:gd name="connsiteY2083" fmla="*/ 938728 h 2639880"/>
                <a:gd name="connsiteX2084" fmla="*/ 5529932 w 7145312"/>
                <a:gd name="connsiteY2084" fmla="*/ 938728 h 2639880"/>
                <a:gd name="connsiteX2085" fmla="*/ 5529932 w 7145312"/>
                <a:gd name="connsiteY2085" fmla="*/ 948258 h 2639880"/>
                <a:gd name="connsiteX2086" fmla="*/ 5539464 w 7145312"/>
                <a:gd name="connsiteY2086" fmla="*/ 953024 h 2639880"/>
                <a:gd name="connsiteX2087" fmla="*/ 5548992 w 7145312"/>
                <a:gd name="connsiteY2087" fmla="*/ 972084 h 2639880"/>
                <a:gd name="connsiteX2088" fmla="*/ 5553760 w 7145312"/>
                <a:gd name="connsiteY2088" fmla="*/ 972084 h 2639880"/>
                <a:gd name="connsiteX2089" fmla="*/ 5563288 w 7145312"/>
                <a:gd name="connsiteY2089" fmla="*/ 972084 h 2639880"/>
                <a:gd name="connsiteX2090" fmla="*/ 5572820 w 7145312"/>
                <a:gd name="connsiteY2090" fmla="*/ 976850 h 2639880"/>
                <a:gd name="connsiteX2091" fmla="*/ 5572820 w 7145312"/>
                <a:gd name="connsiteY2091" fmla="*/ 991144 h 2639880"/>
                <a:gd name="connsiteX2092" fmla="*/ 5548992 w 7145312"/>
                <a:gd name="connsiteY2092" fmla="*/ 995910 h 2639880"/>
                <a:gd name="connsiteX2093" fmla="*/ 5539464 w 7145312"/>
                <a:gd name="connsiteY2093" fmla="*/ 986380 h 2639880"/>
                <a:gd name="connsiteX2094" fmla="*/ 5539464 w 7145312"/>
                <a:gd name="connsiteY2094" fmla="*/ 972084 h 2639880"/>
                <a:gd name="connsiteX2095" fmla="*/ 5525168 w 7145312"/>
                <a:gd name="connsiteY2095" fmla="*/ 976850 h 2639880"/>
                <a:gd name="connsiteX2096" fmla="*/ 5520404 w 7145312"/>
                <a:gd name="connsiteY2096" fmla="*/ 981614 h 2639880"/>
                <a:gd name="connsiteX2097" fmla="*/ 5515636 w 7145312"/>
                <a:gd name="connsiteY2097" fmla="*/ 981614 h 2639880"/>
                <a:gd name="connsiteX2098" fmla="*/ 5510872 w 7145312"/>
                <a:gd name="connsiteY2098" fmla="*/ 967320 h 2639880"/>
                <a:gd name="connsiteX2099" fmla="*/ 5482280 w 7145312"/>
                <a:gd name="connsiteY2099" fmla="*/ 967320 h 2639880"/>
                <a:gd name="connsiteX2100" fmla="*/ 5467984 w 7145312"/>
                <a:gd name="connsiteY2100" fmla="*/ 957788 h 2639880"/>
                <a:gd name="connsiteX2101" fmla="*/ 5477516 w 7145312"/>
                <a:gd name="connsiteY2101" fmla="*/ 948258 h 2639880"/>
                <a:gd name="connsiteX2102" fmla="*/ 5477516 w 7145312"/>
                <a:gd name="connsiteY2102" fmla="*/ 943494 h 2639880"/>
                <a:gd name="connsiteX2103" fmla="*/ 5487048 w 7145312"/>
                <a:gd name="connsiteY2103" fmla="*/ 938728 h 2639880"/>
                <a:gd name="connsiteX2104" fmla="*/ 5496576 w 7145312"/>
                <a:gd name="connsiteY2104" fmla="*/ 938728 h 2639880"/>
                <a:gd name="connsiteX2105" fmla="*/ 5510872 w 7145312"/>
                <a:gd name="connsiteY2105" fmla="*/ 933964 h 2639880"/>
                <a:gd name="connsiteX2106" fmla="*/ 5515636 w 7145312"/>
                <a:gd name="connsiteY2106" fmla="*/ 938728 h 2639880"/>
                <a:gd name="connsiteX2107" fmla="*/ 5520404 w 7145312"/>
                <a:gd name="connsiteY2107" fmla="*/ 933964 h 2639880"/>
                <a:gd name="connsiteX2108" fmla="*/ 5544228 w 7145312"/>
                <a:gd name="connsiteY2108" fmla="*/ 929198 h 2639880"/>
                <a:gd name="connsiteX2109" fmla="*/ 1455748 w 7145312"/>
                <a:gd name="connsiteY2109" fmla="*/ 924432 h 2639880"/>
                <a:gd name="connsiteX2110" fmla="*/ 1470044 w 7145312"/>
                <a:gd name="connsiteY2110" fmla="*/ 929198 h 2639880"/>
                <a:gd name="connsiteX2111" fmla="*/ 1474808 w 7145312"/>
                <a:gd name="connsiteY2111" fmla="*/ 933964 h 2639880"/>
                <a:gd name="connsiteX2112" fmla="*/ 1470044 w 7145312"/>
                <a:gd name="connsiteY2112" fmla="*/ 938728 h 2639880"/>
                <a:gd name="connsiteX2113" fmla="*/ 1479572 w 7145312"/>
                <a:gd name="connsiteY2113" fmla="*/ 943494 h 2639880"/>
                <a:gd name="connsiteX2114" fmla="*/ 1493868 w 7145312"/>
                <a:gd name="connsiteY2114" fmla="*/ 953024 h 2639880"/>
                <a:gd name="connsiteX2115" fmla="*/ 1498636 w 7145312"/>
                <a:gd name="connsiteY2115" fmla="*/ 957788 h 2639880"/>
                <a:gd name="connsiteX2116" fmla="*/ 1503400 w 7145312"/>
                <a:gd name="connsiteY2116" fmla="*/ 948258 h 2639880"/>
                <a:gd name="connsiteX2117" fmla="*/ 1512928 w 7145312"/>
                <a:gd name="connsiteY2117" fmla="*/ 957788 h 2639880"/>
                <a:gd name="connsiteX2118" fmla="*/ 1517696 w 7145312"/>
                <a:gd name="connsiteY2118" fmla="*/ 962554 h 2639880"/>
                <a:gd name="connsiteX2119" fmla="*/ 1527224 w 7145312"/>
                <a:gd name="connsiteY2119" fmla="*/ 972084 h 2639880"/>
                <a:gd name="connsiteX2120" fmla="*/ 1517696 w 7145312"/>
                <a:gd name="connsiteY2120" fmla="*/ 972084 h 2639880"/>
                <a:gd name="connsiteX2121" fmla="*/ 1512928 w 7145312"/>
                <a:gd name="connsiteY2121" fmla="*/ 976848 h 2639880"/>
                <a:gd name="connsiteX2122" fmla="*/ 1479572 w 7145312"/>
                <a:gd name="connsiteY2122" fmla="*/ 957788 h 2639880"/>
                <a:gd name="connsiteX2123" fmla="*/ 1460512 w 7145312"/>
                <a:gd name="connsiteY2123" fmla="*/ 962554 h 2639880"/>
                <a:gd name="connsiteX2124" fmla="*/ 1446220 w 7145312"/>
                <a:gd name="connsiteY2124" fmla="*/ 957788 h 2639880"/>
                <a:gd name="connsiteX2125" fmla="*/ 1441452 w 7145312"/>
                <a:gd name="connsiteY2125" fmla="*/ 953024 h 2639880"/>
                <a:gd name="connsiteX2126" fmla="*/ 1446220 w 7145312"/>
                <a:gd name="connsiteY2126" fmla="*/ 943494 h 2639880"/>
                <a:gd name="connsiteX2127" fmla="*/ 483664 w 7145312"/>
                <a:gd name="connsiteY2127" fmla="*/ 924432 h 2639880"/>
                <a:gd name="connsiteX2128" fmla="*/ 493192 w 7145312"/>
                <a:gd name="connsiteY2128" fmla="*/ 924432 h 2639880"/>
                <a:gd name="connsiteX2129" fmla="*/ 497960 w 7145312"/>
                <a:gd name="connsiteY2129" fmla="*/ 929198 h 2639880"/>
                <a:gd name="connsiteX2130" fmla="*/ 507488 w 7145312"/>
                <a:gd name="connsiteY2130" fmla="*/ 953024 h 2639880"/>
                <a:gd name="connsiteX2131" fmla="*/ 517020 w 7145312"/>
                <a:gd name="connsiteY2131" fmla="*/ 967318 h 2639880"/>
                <a:gd name="connsiteX2132" fmla="*/ 512252 w 7145312"/>
                <a:gd name="connsiteY2132" fmla="*/ 986380 h 2639880"/>
                <a:gd name="connsiteX2133" fmla="*/ 502724 w 7145312"/>
                <a:gd name="connsiteY2133" fmla="*/ 1010204 h 2639880"/>
                <a:gd name="connsiteX2134" fmla="*/ 493192 w 7145312"/>
                <a:gd name="connsiteY2134" fmla="*/ 1014970 h 2639880"/>
                <a:gd name="connsiteX2135" fmla="*/ 483664 w 7145312"/>
                <a:gd name="connsiteY2135" fmla="*/ 1010204 h 2639880"/>
                <a:gd name="connsiteX2136" fmla="*/ 483664 w 7145312"/>
                <a:gd name="connsiteY2136" fmla="*/ 1000674 h 2639880"/>
                <a:gd name="connsiteX2137" fmla="*/ 488428 w 7145312"/>
                <a:gd name="connsiteY2137" fmla="*/ 986380 h 2639880"/>
                <a:gd name="connsiteX2138" fmla="*/ 497960 w 7145312"/>
                <a:gd name="connsiteY2138" fmla="*/ 972084 h 2639880"/>
                <a:gd name="connsiteX2139" fmla="*/ 497960 w 7145312"/>
                <a:gd name="connsiteY2139" fmla="*/ 962554 h 2639880"/>
                <a:gd name="connsiteX2140" fmla="*/ 5325032 w 7145312"/>
                <a:gd name="connsiteY2140" fmla="*/ 919668 h 2639880"/>
                <a:gd name="connsiteX2141" fmla="*/ 5358388 w 7145312"/>
                <a:gd name="connsiteY2141" fmla="*/ 948258 h 2639880"/>
                <a:gd name="connsiteX2142" fmla="*/ 5358388 w 7145312"/>
                <a:gd name="connsiteY2142" fmla="*/ 953024 h 2639880"/>
                <a:gd name="connsiteX2143" fmla="*/ 5353624 w 7145312"/>
                <a:gd name="connsiteY2143" fmla="*/ 953024 h 2639880"/>
                <a:gd name="connsiteX2144" fmla="*/ 5348856 w 7145312"/>
                <a:gd name="connsiteY2144" fmla="*/ 948258 h 2639880"/>
                <a:gd name="connsiteX2145" fmla="*/ 5334564 w 7145312"/>
                <a:gd name="connsiteY2145" fmla="*/ 933964 h 2639880"/>
                <a:gd name="connsiteX2146" fmla="*/ 5029592 w 7145312"/>
                <a:gd name="connsiteY2146" fmla="*/ 905372 h 2639880"/>
                <a:gd name="connsiteX2147" fmla="*/ 5034360 w 7145312"/>
                <a:gd name="connsiteY2147" fmla="*/ 914904 h 2639880"/>
                <a:gd name="connsiteX2148" fmla="*/ 5034360 w 7145312"/>
                <a:gd name="connsiteY2148" fmla="*/ 929200 h 2639880"/>
                <a:gd name="connsiteX2149" fmla="*/ 5029592 w 7145312"/>
                <a:gd name="connsiteY2149" fmla="*/ 924434 h 2639880"/>
                <a:gd name="connsiteX2150" fmla="*/ 5024828 w 7145312"/>
                <a:gd name="connsiteY2150" fmla="*/ 924434 h 2639880"/>
                <a:gd name="connsiteX2151" fmla="*/ 1446216 w 7145312"/>
                <a:gd name="connsiteY2151" fmla="*/ 891076 h 2639880"/>
                <a:gd name="connsiteX2152" fmla="*/ 1455748 w 7145312"/>
                <a:gd name="connsiteY2152" fmla="*/ 891076 h 2639880"/>
                <a:gd name="connsiteX2153" fmla="*/ 1474808 w 7145312"/>
                <a:gd name="connsiteY2153" fmla="*/ 910138 h 2639880"/>
                <a:gd name="connsiteX2154" fmla="*/ 1479576 w 7145312"/>
                <a:gd name="connsiteY2154" fmla="*/ 914902 h 2639880"/>
                <a:gd name="connsiteX2155" fmla="*/ 1479576 w 7145312"/>
                <a:gd name="connsiteY2155" fmla="*/ 919668 h 2639880"/>
                <a:gd name="connsiteX2156" fmla="*/ 1470044 w 7145312"/>
                <a:gd name="connsiteY2156" fmla="*/ 914902 h 2639880"/>
                <a:gd name="connsiteX2157" fmla="*/ 1465280 w 7145312"/>
                <a:gd name="connsiteY2157" fmla="*/ 914902 h 2639880"/>
                <a:gd name="connsiteX2158" fmla="*/ 1465280 w 7145312"/>
                <a:gd name="connsiteY2158" fmla="*/ 910138 h 2639880"/>
                <a:gd name="connsiteX2159" fmla="*/ 1241320 w 7145312"/>
                <a:gd name="connsiteY2159" fmla="*/ 814836 h 2639880"/>
                <a:gd name="connsiteX2160" fmla="*/ 1250848 w 7145312"/>
                <a:gd name="connsiteY2160" fmla="*/ 814836 h 2639880"/>
                <a:gd name="connsiteX2161" fmla="*/ 1260380 w 7145312"/>
                <a:gd name="connsiteY2161" fmla="*/ 829130 h 2639880"/>
                <a:gd name="connsiteX2162" fmla="*/ 1260380 w 7145312"/>
                <a:gd name="connsiteY2162" fmla="*/ 838660 h 2639880"/>
                <a:gd name="connsiteX2163" fmla="*/ 1241320 w 7145312"/>
                <a:gd name="connsiteY2163" fmla="*/ 843426 h 2639880"/>
                <a:gd name="connsiteX2164" fmla="*/ 1236552 w 7145312"/>
                <a:gd name="connsiteY2164" fmla="*/ 838660 h 2639880"/>
                <a:gd name="connsiteX2165" fmla="*/ 1236552 w 7145312"/>
                <a:gd name="connsiteY2165" fmla="*/ 824366 h 2639880"/>
                <a:gd name="connsiteX2166" fmla="*/ 5020064 w 7145312"/>
                <a:gd name="connsiteY2166" fmla="*/ 810070 h 2639880"/>
                <a:gd name="connsiteX2167" fmla="*/ 5029592 w 7145312"/>
                <a:gd name="connsiteY2167" fmla="*/ 810070 h 2639880"/>
                <a:gd name="connsiteX2168" fmla="*/ 5029592 w 7145312"/>
                <a:gd name="connsiteY2168" fmla="*/ 819600 h 2639880"/>
                <a:gd name="connsiteX2169" fmla="*/ 5029592 w 7145312"/>
                <a:gd name="connsiteY2169" fmla="*/ 824364 h 2639880"/>
                <a:gd name="connsiteX2170" fmla="*/ 5024828 w 7145312"/>
                <a:gd name="connsiteY2170" fmla="*/ 824364 h 2639880"/>
                <a:gd name="connsiteX2171" fmla="*/ 5020064 w 7145312"/>
                <a:gd name="connsiteY2171" fmla="*/ 824364 h 2639880"/>
                <a:gd name="connsiteX2172" fmla="*/ 5020064 w 7145312"/>
                <a:gd name="connsiteY2172" fmla="*/ 819600 h 2639880"/>
                <a:gd name="connsiteX2173" fmla="*/ 5010532 w 7145312"/>
                <a:gd name="connsiteY2173" fmla="*/ 791010 h 2639880"/>
                <a:gd name="connsiteX2174" fmla="*/ 5020064 w 7145312"/>
                <a:gd name="connsiteY2174" fmla="*/ 795776 h 2639880"/>
                <a:gd name="connsiteX2175" fmla="*/ 5020064 w 7145312"/>
                <a:gd name="connsiteY2175" fmla="*/ 800540 h 2639880"/>
                <a:gd name="connsiteX2176" fmla="*/ 5015296 w 7145312"/>
                <a:gd name="connsiteY2176" fmla="*/ 805304 h 2639880"/>
                <a:gd name="connsiteX2177" fmla="*/ 5010532 w 7145312"/>
                <a:gd name="connsiteY2177" fmla="*/ 805304 h 2639880"/>
                <a:gd name="connsiteX2178" fmla="*/ 5005768 w 7145312"/>
                <a:gd name="connsiteY2178" fmla="*/ 800540 h 2639880"/>
                <a:gd name="connsiteX2179" fmla="*/ 5005768 w 7145312"/>
                <a:gd name="connsiteY2179" fmla="*/ 795776 h 2639880"/>
                <a:gd name="connsiteX2180" fmla="*/ 1269908 w 7145312"/>
                <a:gd name="connsiteY2180" fmla="*/ 791010 h 2639880"/>
                <a:gd name="connsiteX2181" fmla="*/ 1274676 w 7145312"/>
                <a:gd name="connsiteY2181" fmla="*/ 791010 h 2639880"/>
                <a:gd name="connsiteX2182" fmla="*/ 1279440 w 7145312"/>
                <a:gd name="connsiteY2182" fmla="*/ 795776 h 2639880"/>
                <a:gd name="connsiteX2183" fmla="*/ 1288968 w 7145312"/>
                <a:gd name="connsiteY2183" fmla="*/ 805306 h 2639880"/>
                <a:gd name="connsiteX2184" fmla="*/ 1288968 w 7145312"/>
                <a:gd name="connsiteY2184" fmla="*/ 814836 h 2639880"/>
                <a:gd name="connsiteX2185" fmla="*/ 1284204 w 7145312"/>
                <a:gd name="connsiteY2185" fmla="*/ 819600 h 2639880"/>
                <a:gd name="connsiteX2186" fmla="*/ 1279440 w 7145312"/>
                <a:gd name="connsiteY2186" fmla="*/ 824366 h 2639880"/>
                <a:gd name="connsiteX2187" fmla="*/ 1269908 w 7145312"/>
                <a:gd name="connsiteY2187" fmla="*/ 805306 h 2639880"/>
                <a:gd name="connsiteX2188" fmla="*/ 1331856 w 7145312"/>
                <a:gd name="connsiteY2188" fmla="*/ 786244 h 2639880"/>
                <a:gd name="connsiteX2189" fmla="*/ 1341384 w 7145312"/>
                <a:gd name="connsiteY2189" fmla="*/ 795776 h 2639880"/>
                <a:gd name="connsiteX2190" fmla="*/ 1341384 w 7145312"/>
                <a:gd name="connsiteY2190" fmla="*/ 800540 h 2639880"/>
                <a:gd name="connsiteX2191" fmla="*/ 1346152 w 7145312"/>
                <a:gd name="connsiteY2191" fmla="*/ 805306 h 2639880"/>
                <a:gd name="connsiteX2192" fmla="*/ 1331856 w 7145312"/>
                <a:gd name="connsiteY2192" fmla="*/ 795776 h 2639880"/>
                <a:gd name="connsiteX2193" fmla="*/ 1327088 w 7145312"/>
                <a:gd name="connsiteY2193" fmla="*/ 791010 h 2639880"/>
                <a:gd name="connsiteX2194" fmla="*/ 1389036 w 7145312"/>
                <a:gd name="connsiteY2194" fmla="*/ 776714 h 2639880"/>
                <a:gd name="connsiteX2195" fmla="*/ 1398568 w 7145312"/>
                <a:gd name="connsiteY2195" fmla="*/ 786244 h 2639880"/>
                <a:gd name="connsiteX2196" fmla="*/ 1403332 w 7145312"/>
                <a:gd name="connsiteY2196" fmla="*/ 786244 h 2639880"/>
                <a:gd name="connsiteX2197" fmla="*/ 1408096 w 7145312"/>
                <a:gd name="connsiteY2197" fmla="*/ 795774 h 2639880"/>
                <a:gd name="connsiteX2198" fmla="*/ 1398568 w 7145312"/>
                <a:gd name="connsiteY2198" fmla="*/ 800540 h 2639880"/>
                <a:gd name="connsiteX2199" fmla="*/ 1384272 w 7145312"/>
                <a:gd name="connsiteY2199" fmla="*/ 786244 h 2639880"/>
                <a:gd name="connsiteX2200" fmla="*/ 1384272 w 7145312"/>
                <a:gd name="connsiteY2200" fmla="*/ 781480 h 2639880"/>
                <a:gd name="connsiteX2201" fmla="*/ 1389036 w 7145312"/>
                <a:gd name="connsiteY2201" fmla="*/ 781480 h 2639880"/>
                <a:gd name="connsiteX2202" fmla="*/ 1274672 w 7145312"/>
                <a:gd name="connsiteY2202" fmla="*/ 748124 h 2639880"/>
                <a:gd name="connsiteX2203" fmla="*/ 1274672 w 7145312"/>
                <a:gd name="connsiteY2203" fmla="*/ 757654 h 2639880"/>
                <a:gd name="connsiteX2204" fmla="*/ 1279440 w 7145312"/>
                <a:gd name="connsiteY2204" fmla="*/ 762420 h 2639880"/>
                <a:gd name="connsiteX2205" fmla="*/ 1279440 w 7145312"/>
                <a:gd name="connsiteY2205" fmla="*/ 771950 h 2639880"/>
                <a:gd name="connsiteX2206" fmla="*/ 1269908 w 7145312"/>
                <a:gd name="connsiteY2206" fmla="*/ 767184 h 2639880"/>
                <a:gd name="connsiteX2207" fmla="*/ 1265144 w 7145312"/>
                <a:gd name="connsiteY2207" fmla="*/ 757654 h 2639880"/>
                <a:gd name="connsiteX2208" fmla="*/ 1269908 w 7145312"/>
                <a:gd name="connsiteY2208" fmla="*/ 752890 h 2639880"/>
                <a:gd name="connsiteX2209" fmla="*/ 1141252 w 7145312"/>
                <a:gd name="connsiteY2209" fmla="*/ 748124 h 2639880"/>
                <a:gd name="connsiteX2210" fmla="*/ 1155544 w 7145312"/>
                <a:gd name="connsiteY2210" fmla="*/ 762420 h 2639880"/>
                <a:gd name="connsiteX2211" fmla="*/ 1169840 w 7145312"/>
                <a:gd name="connsiteY2211" fmla="*/ 771950 h 2639880"/>
                <a:gd name="connsiteX2212" fmla="*/ 1179372 w 7145312"/>
                <a:gd name="connsiteY2212" fmla="*/ 776714 h 2639880"/>
                <a:gd name="connsiteX2213" fmla="*/ 1203196 w 7145312"/>
                <a:gd name="connsiteY2213" fmla="*/ 786246 h 2639880"/>
                <a:gd name="connsiteX2214" fmla="*/ 1212728 w 7145312"/>
                <a:gd name="connsiteY2214" fmla="*/ 791010 h 2639880"/>
                <a:gd name="connsiteX2215" fmla="*/ 1217492 w 7145312"/>
                <a:gd name="connsiteY2215" fmla="*/ 810070 h 2639880"/>
                <a:gd name="connsiteX2216" fmla="*/ 1217492 w 7145312"/>
                <a:gd name="connsiteY2216" fmla="*/ 814836 h 2639880"/>
                <a:gd name="connsiteX2217" fmla="*/ 1207960 w 7145312"/>
                <a:gd name="connsiteY2217" fmla="*/ 810070 h 2639880"/>
                <a:gd name="connsiteX2218" fmla="*/ 1179372 w 7145312"/>
                <a:gd name="connsiteY2218" fmla="*/ 805306 h 2639880"/>
                <a:gd name="connsiteX2219" fmla="*/ 1169840 w 7145312"/>
                <a:gd name="connsiteY2219" fmla="*/ 800540 h 2639880"/>
                <a:gd name="connsiteX2220" fmla="*/ 1141252 w 7145312"/>
                <a:gd name="connsiteY2220" fmla="*/ 795776 h 2639880"/>
                <a:gd name="connsiteX2221" fmla="*/ 1131720 w 7145312"/>
                <a:gd name="connsiteY2221" fmla="*/ 791010 h 2639880"/>
                <a:gd name="connsiteX2222" fmla="*/ 1126956 w 7145312"/>
                <a:gd name="connsiteY2222" fmla="*/ 786246 h 2639880"/>
                <a:gd name="connsiteX2223" fmla="*/ 1131720 w 7145312"/>
                <a:gd name="connsiteY2223" fmla="*/ 776714 h 2639880"/>
                <a:gd name="connsiteX2224" fmla="*/ 1136484 w 7145312"/>
                <a:gd name="connsiteY2224" fmla="*/ 771950 h 2639880"/>
                <a:gd name="connsiteX2225" fmla="*/ 1136484 w 7145312"/>
                <a:gd name="connsiteY2225" fmla="*/ 757654 h 2639880"/>
                <a:gd name="connsiteX2226" fmla="*/ 1374740 w 7145312"/>
                <a:gd name="connsiteY2226" fmla="*/ 743358 h 2639880"/>
                <a:gd name="connsiteX2227" fmla="*/ 1384272 w 7145312"/>
                <a:gd name="connsiteY2227" fmla="*/ 748124 h 2639880"/>
                <a:gd name="connsiteX2228" fmla="*/ 1393800 w 7145312"/>
                <a:gd name="connsiteY2228" fmla="*/ 743358 h 2639880"/>
                <a:gd name="connsiteX2229" fmla="*/ 1389036 w 7145312"/>
                <a:gd name="connsiteY2229" fmla="*/ 748124 h 2639880"/>
                <a:gd name="connsiteX2230" fmla="*/ 1389036 w 7145312"/>
                <a:gd name="connsiteY2230" fmla="*/ 752888 h 2639880"/>
                <a:gd name="connsiteX2231" fmla="*/ 1379508 w 7145312"/>
                <a:gd name="connsiteY2231" fmla="*/ 771948 h 2639880"/>
                <a:gd name="connsiteX2232" fmla="*/ 1365212 w 7145312"/>
                <a:gd name="connsiteY2232" fmla="*/ 767184 h 2639880"/>
                <a:gd name="connsiteX2233" fmla="*/ 1360448 w 7145312"/>
                <a:gd name="connsiteY2233" fmla="*/ 762418 h 2639880"/>
                <a:gd name="connsiteX2234" fmla="*/ 1360448 w 7145312"/>
                <a:gd name="connsiteY2234" fmla="*/ 757654 h 2639880"/>
                <a:gd name="connsiteX2235" fmla="*/ 1365212 w 7145312"/>
                <a:gd name="connsiteY2235" fmla="*/ 748124 h 2639880"/>
                <a:gd name="connsiteX2236" fmla="*/ 1369976 w 7145312"/>
                <a:gd name="connsiteY2236" fmla="*/ 748124 h 2639880"/>
                <a:gd name="connsiteX2237" fmla="*/ 1169840 w 7145312"/>
                <a:gd name="connsiteY2237" fmla="*/ 743358 h 2639880"/>
                <a:gd name="connsiteX2238" fmla="*/ 1179372 w 7145312"/>
                <a:gd name="connsiteY2238" fmla="*/ 743358 h 2639880"/>
                <a:gd name="connsiteX2239" fmla="*/ 1212728 w 7145312"/>
                <a:gd name="connsiteY2239" fmla="*/ 757654 h 2639880"/>
                <a:gd name="connsiteX2240" fmla="*/ 1222256 w 7145312"/>
                <a:gd name="connsiteY2240" fmla="*/ 767184 h 2639880"/>
                <a:gd name="connsiteX2241" fmla="*/ 1241320 w 7145312"/>
                <a:gd name="connsiteY2241" fmla="*/ 791008 h 2639880"/>
                <a:gd name="connsiteX2242" fmla="*/ 1236552 w 7145312"/>
                <a:gd name="connsiteY2242" fmla="*/ 795774 h 2639880"/>
                <a:gd name="connsiteX2243" fmla="*/ 1227024 w 7145312"/>
                <a:gd name="connsiteY2243" fmla="*/ 791008 h 2639880"/>
                <a:gd name="connsiteX2244" fmla="*/ 1217492 w 7145312"/>
                <a:gd name="connsiteY2244" fmla="*/ 786244 h 2639880"/>
                <a:gd name="connsiteX2245" fmla="*/ 1207964 w 7145312"/>
                <a:gd name="connsiteY2245" fmla="*/ 776714 h 2639880"/>
                <a:gd name="connsiteX2246" fmla="*/ 1193668 w 7145312"/>
                <a:gd name="connsiteY2246" fmla="*/ 771948 h 2639880"/>
                <a:gd name="connsiteX2247" fmla="*/ 1179372 w 7145312"/>
                <a:gd name="connsiteY2247" fmla="*/ 767184 h 2639880"/>
                <a:gd name="connsiteX2248" fmla="*/ 1169840 w 7145312"/>
                <a:gd name="connsiteY2248" fmla="*/ 762418 h 2639880"/>
                <a:gd name="connsiteX2249" fmla="*/ 1165076 w 7145312"/>
                <a:gd name="connsiteY2249" fmla="*/ 762418 h 2639880"/>
                <a:gd name="connsiteX2250" fmla="*/ 1460512 w 7145312"/>
                <a:gd name="connsiteY2250" fmla="*/ 733828 h 2639880"/>
                <a:gd name="connsiteX2251" fmla="*/ 1460512 w 7145312"/>
                <a:gd name="connsiteY2251" fmla="*/ 748124 h 2639880"/>
                <a:gd name="connsiteX2252" fmla="*/ 1470044 w 7145312"/>
                <a:gd name="connsiteY2252" fmla="*/ 752888 h 2639880"/>
                <a:gd name="connsiteX2253" fmla="*/ 1474808 w 7145312"/>
                <a:gd name="connsiteY2253" fmla="*/ 762418 h 2639880"/>
                <a:gd name="connsiteX2254" fmla="*/ 1470044 w 7145312"/>
                <a:gd name="connsiteY2254" fmla="*/ 776714 h 2639880"/>
                <a:gd name="connsiteX2255" fmla="*/ 1465280 w 7145312"/>
                <a:gd name="connsiteY2255" fmla="*/ 791010 h 2639880"/>
                <a:gd name="connsiteX2256" fmla="*/ 1460512 w 7145312"/>
                <a:gd name="connsiteY2256" fmla="*/ 795776 h 2639880"/>
                <a:gd name="connsiteX2257" fmla="*/ 1446220 w 7145312"/>
                <a:gd name="connsiteY2257" fmla="*/ 791010 h 2639880"/>
                <a:gd name="connsiteX2258" fmla="*/ 1446220 w 7145312"/>
                <a:gd name="connsiteY2258" fmla="*/ 786244 h 2639880"/>
                <a:gd name="connsiteX2259" fmla="*/ 1441452 w 7145312"/>
                <a:gd name="connsiteY2259" fmla="*/ 781480 h 2639880"/>
                <a:gd name="connsiteX2260" fmla="*/ 1446220 w 7145312"/>
                <a:gd name="connsiteY2260" fmla="*/ 781480 h 2639880"/>
                <a:gd name="connsiteX2261" fmla="*/ 1436688 w 7145312"/>
                <a:gd name="connsiteY2261" fmla="*/ 776714 h 2639880"/>
                <a:gd name="connsiteX2262" fmla="*/ 1441452 w 7145312"/>
                <a:gd name="connsiteY2262" fmla="*/ 771950 h 2639880"/>
                <a:gd name="connsiteX2263" fmla="*/ 1436688 w 7145312"/>
                <a:gd name="connsiteY2263" fmla="*/ 762418 h 2639880"/>
                <a:gd name="connsiteX2264" fmla="*/ 1417628 w 7145312"/>
                <a:gd name="connsiteY2264" fmla="*/ 767184 h 2639880"/>
                <a:gd name="connsiteX2265" fmla="*/ 1408096 w 7145312"/>
                <a:gd name="connsiteY2265" fmla="*/ 767184 h 2639880"/>
                <a:gd name="connsiteX2266" fmla="*/ 1408096 w 7145312"/>
                <a:gd name="connsiteY2266" fmla="*/ 757654 h 2639880"/>
                <a:gd name="connsiteX2267" fmla="*/ 1408096 w 7145312"/>
                <a:gd name="connsiteY2267" fmla="*/ 752888 h 2639880"/>
                <a:gd name="connsiteX2268" fmla="*/ 1427156 w 7145312"/>
                <a:gd name="connsiteY2268" fmla="*/ 743358 h 2639880"/>
                <a:gd name="connsiteX2269" fmla="*/ 1436688 w 7145312"/>
                <a:gd name="connsiteY2269" fmla="*/ 738594 h 2639880"/>
                <a:gd name="connsiteX2270" fmla="*/ 1446220 w 7145312"/>
                <a:gd name="connsiteY2270" fmla="*/ 743358 h 2639880"/>
                <a:gd name="connsiteX2271" fmla="*/ 1098364 w 7145312"/>
                <a:gd name="connsiteY2271" fmla="*/ 705236 h 2639880"/>
                <a:gd name="connsiteX2272" fmla="*/ 1103128 w 7145312"/>
                <a:gd name="connsiteY2272" fmla="*/ 705236 h 2639880"/>
                <a:gd name="connsiteX2273" fmla="*/ 1112660 w 7145312"/>
                <a:gd name="connsiteY2273" fmla="*/ 714768 h 2639880"/>
                <a:gd name="connsiteX2274" fmla="*/ 1122188 w 7145312"/>
                <a:gd name="connsiteY2274" fmla="*/ 729062 h 2639880"/>
                <a:gd name="connsiteX2275" fmla="*/ 1126956 w 7145312"/>
                <a:gd name="connsiteY2275" fmla="*/ 733828 h 2639880"/>
                <a:gd name="connsiteX2276" fmla="*/ 1126956 w 7145312"/>
                <a:gd name="connsiteY2276" fmla="*/ 743358 h 2639880"/>
                <a:gd name="connsiteX2277" fmla="*/ 1126956 w 7145312"/>
                <a:gd name="connsiteY2277" fmla="*/ 757654 h 2639880"/>
                <a:gd name="connsiteX2278" fmla="*/ 1122188 w 7145312"/>
                <a:gd name="connsiteY2278" fmla="*/ 771948 h 2639880"/>
                <a:gd name="connsiteX2279" fmla="*/ 1117424 w 7145312"/>
                <a:gd name="connsiteY2279" fmla="*/ 776714 h 2639880"/>
                <a:gd name="connsiteX2280" fmla="*/ 1107896 w 7145312"/>
                <a:gd name="connsiteY2280" fmla="*/ 767184 h 2639880"/>
                <a:gd name="connsiteX2281" fmla="*/ 1103128 w 7145312"/>
                <a:gd name="connsiteY2281" fmla="*/ 757654 h 2639880"/>
                <a:gd name="connsiteX2282" fmla="*/ 1098364 w 7145312"/>
                <a:gd name="connsiteY2282" fmla="*/ 748124 h 2639880"/>
                <a:gd name="connsiteX2283" fmla="*/ 1093600 w 7145312"/>
                <a:gd name="connsiteY2283" fmla="*/ 729062 h 2639880"/>
                <a:gd name="connsiteX2284" fmla="*/ 1093600 w 7145312"/>
                <a:gd name="connsiteY2284" fmla="*/ 714768 h 2639880"/>
                <a:gd name="connsiteX2285" fmla="*/ 333560 w 7145312"/>
                <a:gd name="connsiteY2285" fmla="*/ 686176 h 2639880"/>
                <a:gd name="connsiteX2286" fmla="*/ 352620 w 7145312"/>
                <a:gd name="connsiteY2286" fmla="*/ 695708 h 2639880"/>
                <a:gd name="connsiteX2287" fmla="*/ 385976 w 7145312"/>
                <a:gd name="connsiteY2287" fmla="*/ 738594 h 2639880"/>
                <a:gd name="connsiteX2288" fmla="*/ 400272 w 7145312"/>
                <a:gd name="connsiteY2288" fmla="*/ 748124 h 2639880"/>
                <a:gd name="connsiteX2289" fmla="*/ 419332 w 7145312"/>
                <a:gd name="connsiteY2289" fmla="*/ 767184 h 2639880"/>
                <a:gd name="connsiteX2290" fmla="*/ 424096 w 7145312"/>
                <a:gd name="connsiteY2290" fmla="*/ 771950 h 2639880"/>
                <a:gd name="connsiteX2291" fmla="*/ 419332 w 7145312"/>
                <a:gd name="connsiteY2291" fmla="*/ 786244 h 2639880"/>
                <a:gd name="connsiteX2292" fmla="*/ 414568 w 7145312"/>
                <a:gd name="connsiteY2292" fmla="*/ 829130 h 2639880"/>
                <a:gd name="connsiteX2293" fmla="*/ 405036 w 7145312"/>
                <a:gd name="connsiteY2293" fmla="*/ 838660 h 2639880"/>
                <a:gd name="connsiteX2294" fmla="*/ 385976 w 7145312"/>
                <a:gd name="connsiteY2294" fmla="*/ 833896 h 2639880"/>
                <a:gd name="connsiteX2295" fmla="*/ 385976 w 7145312"/>
                <a:gd name="connsiteY2295" fmla="*/ 824366 h 2639880"/>
                <a:gd name="connsiteX2296" fmla="*/ 371680 w 7145312"/>
                <a:gd name="connsiteY2296" fmla="*/ 795774 h 2639880"/>
                <a:gd name="connsiteX2297" fmla="*/ 352620 w 7145312"/>
                <a:gd name="connsiteY2297" fmla="*/ 776714 h 2639880"/>
                <a:gd name="connsiteX2298" fmla="*/ 343092 w 7145312"/>
                <a:gd name="connsiteY2298" fmla="*/ 776714 h 2639880"/>
                <a:gd name="connsiteX2299" fmla="*/ 338324 w 7145312"/>
                <a:gd name="connsiteY2299" fmla="*/ 762420 h 2639880"/>
                <a:gd name="connsiteX2300" fmla="*/ 324032 w 7145312"/>
                <a:gd name="connsiteY2300" fmla="*/ 738594 h 2639880"/>
                <a:gd name="connsiteX2301" fmla="*/ 290672 w 7145312"/>
                <a:gd name="connsiteY2301" fmla="*/ 700472 h 2639880"/>
                <a:gd name="connsiteX2302" fmla="*/ 319264 w 7145312"/>
                <a:gd name="connsiteY2302" fmla="*/ 705238 h 2639880"/>
                <a:gd name="connsiteX2303" fmla="*/ 328796 w 7145312"/>
                <a:gd name="connsiteY2303" fmla="*/ 695708 h 2639880"/>
                <a:gd name="connsiteX2304" fmla="*/ 1065008 w 7145312"/>
                <a:gd name="connsiteY2304" fmla="*/ 671882 h 2639880"/>
                <a:gd name="connsiteX2305" fmla="*/ 1131720 w 7145312"/>
                <a:gd name="connsiteY2305" fmla="*/ 690942 h 2639880"/>
                <a:gd name="connsiteX2306" fmla="*/ 1136484 w 7145312"/>
                <a:gd name="connsiteY2306" fmla="*/ 695708 h 2639880"/>
                <a:gd name="connsiteX2307" fmla="*/ 1136484 w 7145312"/>
                <a:gd name="connsiteY2307" fmla="*/ 719532 h 2639880"/>
                <a:gd name="connsiteX2308" fmla="*/ 1122188 w 7145312"/>
                <a:gd name="connsiteY2308" fmla="*/ 714768 h 2639880"/>
                <a:gd name="connsiteX2309" fmla="*/ 1112660 w 7145312"/>
                <a:gd name="connsiteY2309" fmla="*/ 705238 h 2639880"/>
                <a:gd name="connsiteX2310" fmla="*/ 1103128 w 7145312"/>
                <a:gd name="connsiteY2310" fmla="*/ 700472 h 2639880"/>
                <a:gd name="connsiteX2311" fmla="*/ 1084068 w 7145312"/>
                <a:gd name="connsiteY2311" fmla="*/ 695708 h 2639880"/>
                <a:gd name="connsiteX2312" fmla="*/ 1069772 w 7145312"/>
                <a:gd name="connsiteY2312" fmla="*/ 690942 h 2639880"/>
                <a:gd name="connsiteX2313" fmla="*/ 1060244 w 7145312"/>
                <a:gd name="connsiteY2313" fmla="*/ 681412 h 2639880"/>
                <a:gd name="connsiteX2314" fmla="*/ 1060244 w 7145312"/>
                <a:gd name="connsiteY2314" fmla="*/ 676648 h 2639880"/>
                <a:gd name="connsiteX2315" fmla="*/ 4648384 w 7145312"/>
                <a:gd name="connsiteY2315" fmla="*/ 657586 h 2639880"/>
                <a:gd name="connsiteX2316" fmla="*/ 4667444 w 7145312"/>
                <a:gd name="connsiteY2316" fmla="*/ 662352 h 2639880"/>
                <a:gd name="connsiteX2317" fmla="*/ 4676976 w 7145312"/>
                <a:gd name="connsiteY2317" fmla="*/ 667116 h 2639880"/>
                <a:gd name="connsiteX2318" fmla="*/ 4686504 w 7145312"/>
                <a:gd name="connsiteY2318" fmla="*/ 690942 h 2639880"/>
                <a:gd name="connsiteX2319" fmla="*/ 4686504 w 7145312"/>
                <a:gd name="connsiteY2319" fmla="*/ 695708 h 2639880"/>
                <a:gd name="connsiteX2320" fmla="*/ 4672208 w 7145312"/>
                <a:gd name="connsiteY2320" fmla="*/ 705238 h 2639880"/>
                <a:gd name="connsiteX2321" fmla="*/ 4667444 w 7145312"/>
                <a:gd name="connsiteY2321" fmla="*/ 710002 h 2639880"/>
                <a:gd name="connsiteX2322" fmla="*/ 4653148 w 7145312"/>
                <a:gd name="connsiteY2322" fmla="*/ 743358 h 2639880"/>
                <a:gd name="connsiteX2323" fmla="*/ 4643620 w 7145312"/>
                <a:gd name="connsiteY2323" fmla="*/ 757654 h 2639880"/>
                <a:gd name="connsiteX2324" fmla="*/ 4634088 w 7145312"/>
                <a:gd name="connsiteY2324" fmla="*/ 771950 h 2639880"/>
                <a:gd name="connsiteX2325" fmla="*/ 4605496 w 7145312"/>
                <a:gd name="connsiteY2325" fmla="*/ 795774 h 2639880"/>
                <a:gd name="connsiteX2326" fmla="*/ 4595968 w 7145312"/>
                <a:gd name="connsiteY2326" fmla="*/ 810070 h 2639880"/>
                <a:gd name="connsiteX2327" fmla="*/ 4586436 w 7145312"/>
                <a:gd name="connsiteY2327" fmla="*/ 824366 h 2639880"/>
                <a:gd name="connsiteX2328" fmla="*/ 4572140 w 7145312"/>
                <a:gd name="connsiteY2328" fmla="*/ 838660 h 2639880"/>
                <a:gd name="connsiteX2329" fmla="*/ 4562612 w 7145312"/>
                <a:gd name="connsiteY2329" fmla="*/ 852956 h 2639880"/>
                <a:gd name="connsiteX2330" fmla="*/ 4553080 w 7145312"/>
                <a:gd name="connsiteY2330" fmla="*/ 857722 h 2639880"/>
                <a:gd name="connsiteX2331" fmla="*/ 4538788 w 7145312"/>
                <a:gd name="connsiteY2331" fmla="*/ 862486 h 2639880"/>
                <a:gd name="connsiteX2332" fmla="*/ 4529256 w 7145312"/>
                <a:gd name="connsiteY2332" fmla="*/ 867252 h 2639880"/>
                <a:gd name="connsiteX2333" fmla="*/ 4510196 w 7145312"/>
                <a:gd name="connsiteY2333" fmla="*/ 867252 h 2639880"/>
                <a:gd name="connsiteX2334" fmla="*/ 4457780 w 7145312"/>
                <a:gd name="connsiteY2334" fmla="*/ 876782 h 2639880"/>
                <a:gd name="connsiteX2335" fmla="*/ 4438720 w 7145312"/>
                <a:gd name="connsiteY2335" fmla="*/ 876782 h 2639880"/>
                <a:gd name="connsiteX2336" fmla="*/ 4419656 w 7145312"/>
                <a:gd name="connsiteY2336" fmla="*/ 876782 h 2639880"/>
                <a:gd name="connsiteX2337" fmla="*/ 4386300 w 7145312"/>
                <a:gd name="connsiteY2337" fmla="*/ 876782 h 2639880"/>
                <a:gd name="connsiteX2338" fmla="*/ 4376772 w 7145312"/>
                <a:gd name="connsiteY2338" fmla="*/ 876782 h 2639880"/>
                <a:gd name="connsiteX2339" fmla="*/ 4367240 w 7145312"/>
                <a:gd name="connsiteY2339" fmla="*/ 862486 h 2639880"/>
                <a:gd name="connsiteX2340" fmla="*/ 4352948 w 7145312"/>
                <a:gd name="connsiteY2340" fmla="*/ 848192 h 2639880"/>
                <a:gd name="connsiteX2341" fmla="*/ 4338652 w 7145312"/>
                <a:gd name="connsiteY2341" fmla="*/ 848192 h 2639880"/>
                <a:gd name="connsiteX2342" fmla="*/ 4324356 w 7145312"/>
                <a:gd name="connsiteY2342" fmla="*/ 848192 h 2639880"/>
                <a:gd name="connsiteX2343" fmla="*/ 4224288 w 7145312"/>
                <a:gd name="connsiteY2343" fmla="*/ 852956 h 2639880"/>
                <a:gd name="connsiteX2344" fmla="*/ 4190932 w 7145312"/>
                <a:gd name="connsiteY2344" fmla="*/ 852956 h 2639880"/>
                <a:gd name="connsiteX2345" fmla="*/ 4157576 w 7145312"/>
                <a:gd name="connsiteY2345" fmla="*/ 857722 h 2639880"/>
                <a:gd name="connsiteX2346" fmla="*/ 4138516 w 7145312"/>
                <a:gd name="connsiteY2346" fmla="*/ 852956 h 2639880"/>
                <a:gd name="connsiteX2347" fmla="*/ 4119456 w 7145312"/>
                <a:gd name="connsiteY2347" fmla="*/ 848192 h 2639880"/>
                <a:gd name="connsiteX2348" fmla="*/ 4105160 w 7145312"/>
                <a:gd name="connsiteY2348" fmla="*/ 848192 h 2639880"/>
                <a:gd name="connsiteX2349" fmla="*/ 4090864 w 7145312"/>
                <a:gd name="connsiteY2349" fmla="*/ 848192 h 2639880"/>
                <a:gd name="connsiteX2350" fmla="*/ 4028916 w 7145312"/>
                <a:gd name="connsiteY2350" fmla="*/ 857722 h 2639880"/>
                <a:gd name="connsiteX2351" fmla="*/ 4009856 w 7145312"/>
                <a:gd name="connsiteY2351" fmla="*/ 857722 h 2639880"/>
                <a:gd name="connsiteX2352" fmla="*/ 3976500 w 7145312"/>
                <a:gd name="connsiteY2352" fmla="*/ 843426 h 2639880"/>
                <a:gd name="connsiteX2353" fmla="*/ 3957440 w 7145312"/>
                <a:gd name="connsiteY2353" fmla="*/ 843426 h 2639880"/>
                <a:gd name="connsiteX2354" fmla="*/ 3943144 w 7145312"/>
                <a:gd name="connsiteY2354" fmla="*/ 848192 h 2639880"/>
                <a:gd name="connsiteX2355" fmla="*/ 3924084 w 7145312"/>
                <a:gd name="connsiteY2355" fmla="*/ 857722 h 2639880"/>
                <a:gd name="connsiteX2356" fmla="*/ 3914556 w 7145312"/>
                <a:gd name="connsiteY2356" fmla="*/ 862486 h 2639880"/>
                <a:gd name="connsiteX2357" fmla="*/ 3900260 w 7145312"/>
                <a:gd name="connsiteY2357" fmla="*/ 886312 h 2639880"/>
                <a:gd name="connsiteX2358" fmla="*/ 3890728 w 7145312"/>
                <a:gd name="connsiteY2358" fmla="*/ 900608 h 2639880"/>
                <a:gd name="connsiteX2359" fmla="*/ 3881200 w 7145312"/>
                <a:gd name="connsiteY2359" fmla="*/ 919668 h 2639880"/>
                <a:gd name="connsiteX2360" fmla="*/ 3876432 w 7145312"/>
                <a:gd name="connsiteY2360" fmla="*/ 938728 h 2639880"/>
                <a:gd name="connsiteX2361" fmla="*/ 3871668 w 7145312"/>
                <a:gd name="connsiteY2361" fmla="*/ 957790 h 2639880"/>
                <a:gd name="connsiteX2362" fmla="*/ 3871668 w 7145312"/>
                <a:gd name="connsiteY2362" fmla="*/ 972084 h 2639880"/>
                <a:gd name="connsiteX2363" fmla="*/ 3871668 w 7145312"/>
                <a:gd name="connsiteY2363" fmla="*/ 991144 h 2639880"/>
                <a:gd name="connsiteX2364" fmla="*/ 3876432 w 7145312"/>
                <a:gd name="connsiteY2364" fmla="*/ 1010206 h 2639880"/>
                <a:gd name="connsiteX2365" fmla="*/ 3885964 w 7145312"/>
                <a:gd name="connsiteY2365" fmla="*/ 1029266 h 2639880"/>
                <a:gd name="connsiteX2366" fmla="*/ 3905024 w 7145312"/>
                <a:gd name="connsiteY2366" fmla="*/ 1062622 h 2639880"/>
                <a:gd name="connsiteX2367" fmla="*/ 3909788 w 7145312"/>
                <a:gd name="connsiteY2367" fmla="*/ 1067386 h 2639880"/>
                <a:gd name="connsiteX2368" fmla="*/ 3933616 w 7145312"/>
                <a:gd name="connsiteY2368" fmla="*/ 1076918 h 2639880"/>
                <a:gd name="connsiteX2369" fmla="*/ 3947912 w 7145312"/>
                <a:gd name="connsiteY2369" fmla="*/ 1086448 h 2639880"/>
                <a:gd name="connsiteX2370" fmla="*/ 3962204 w 7145312"/>
                <a:gd name="connsiteY2370" fmla="*/ 1124568 h 2639880"/>
                <a:gd name="connsiteX2371" fmla="*/ 3971736 w 7145312"/>
                <a:gd name="connsiteY2371" fmla="*/ 1138864 h 2639880"/>
                <a:gd name="connsiteX2372" fmla="*/ 3981268 w 7145312"/>
                <a:gd name="connsiteY2372" fmla="*/ 1138864 h 2639880"/>
                <a:gd name="connsiteX2373" fmla="*/ 3995560 w 7145312"/>
                <a:gd name="connsiteY2373" fmla="*/ 1138864 h 2639880"/>
                <a:gd name="connsiteX2374" fmla="*/ 4009856 w 7145312"/>
                <a:gd name="connsiteY2374" fmla="*/ 1138864 h 2639880"/>
                <a:gd name="connsiteX2375" fmla="*/ 4028916 w 7145312"/>
                <a:gd name="connsiteY2375" fmla="*/ 1143628 h 2639880"/>
                <a:gd name="connsiteX2376" fmla="*/ 4047976 w 7145312"/>
                <a:gd name="connsiteY2376" fmla="*/ 1134098 h 2639880"/>
                <a:gd name="connsiteX2377" fmla="*/ 4057508 w 7145312"/>
                <a:gd name="connsiteY2377" fmla="*/ 1115038 h 2639880"/>
                <a:gd name="connsiteX2378" fmla="*/ 4067040 w 7145312"/>
                <a:gd name="connsiteY2378" fmla="*/ 1100742 h 2639880"/>
                <a:gd name="connsiteX2379" fmla="*/ 4090864 w 7145312"/>
                <a:gd name="connsiteY2379" fmla="*/ 1072152 h 2639880"/>
                <a:gd name="connsiteX2380" fmla="*/ 4105160 w 7145312"/>
                <a:gd name="connsiteY2380" fmla="*/ 1057856 h 2639880"/>
                <a:gd name="connsiteX2381" fmla="*/ 4114688 w 7145312"/>
                <a:gd name="connsiteY2381" fmla="*/ 1053092 h 2639880"/>
                <a:gd name="connsiteX2382" fmla="*/ 4124220 w 7145312"/>
                <a:gd name="connsiteY2382" fmla="*/ 1057856 h 2639880"/>
                <a:gd name="connsiteX2383" fmla="*/ 4133752 w 7145312"/>
                <a:gd name="connsiteY2383" fmla="*/ 1062622 h 2639880"/>
                <a:gd name="connsiteX2384" fmla="*/ 4138516 w 7145312"/>
                <a:gd name="connsiteY2384" fmla="*/ 1072152 h 2639880"/>
                <a:gd name="connsiteX2385" fmla="*/ 4157576 w 7145312"/>
                <a:gd name="connsiteY2385" fmla="*/ 1072152 h 2639880"/>
                <a:gd name="connsiteX2386" fmla="*/ 4176636 w 7145312"/>
                <a:gd name="connsiteY2386" fmla="*/ 1072152 h 2639880"/>
                <a:gd name="connsiteX2387" fmla="*/ 4195696 w 7145312"/>
                <a:gd name="connsiteY2387" fmla="*/ 1062622 h 2639880"/>
                <a:gd name="connsiteX2388" fmla="*/ 4205228 w 7145312"/>
                <a:gd name="connsiteY2388" fmla="*/ 1057856 h 2639880"/>
                <a:gd name="connsiteX2389" fmla="*/ 4209992 w 7145312"/>
                <a:gd name="connsiteY2389" fmla="*/ 1048326 h 2639880"/>
                <a:gd name="connsiteX2390" fmla="*/ 4224288 w 7145312"/>
                <a:gd name="connsiteY2390" fmla="*/ 1043562 h 2639880"/>
                <a:gd name="connsiteX2391" fmla="*/ 4262408 w 7145312"/>
                <a:gd name="connsiteY2391" fmla="*/ 1043562 h 2639880"/>
                <a:gd name="connsiteX2392" fmla="*/ 4286236 w 7145312"/>
                <a:gd name="connsiteY2392" fmla="*/ 1048326 h 2639880"/>
                <a:gd name="connsiteX2393" fmla="*/ 4319592 w 7145312"/>
                <a:gd name="connsiteY2393" fmla="*/ 1043562 h 2639880"/>
                <a:gd name="connsiteX2394" fmla="*/ 4319592 w 7145312"/>
                <a:gd name="connsiteY2394" fmla="*/ 1038796 h 2639880"/>
                <a:gd name="connsiteX2395" fmla="*/ 4314824 w 7145312"/>
                <a:gd name="connsiteY2395" fmla="*/ 1034032 h 2639880"/>
                <a:gd name="connsiteX2396" fmla="*/ 4310060 w 7145312"/>
                <a:gd name="connsiteY2396" fmla="*/ 1029266 h 2639880"/>
                <a:gd name="connsiteX2397" fmla="*/ 4319592 w 7145312"/>
                <a:gd name="connsiteY2397" fmla="*/ 1024500 h 2639880"/>
                <a:gd name="connsiteX2398" fmla="*/ 4338652 w 7145312"/>
                <a:gd name="connsiteY2398" fmla="*/ 1019736 h 2639880"/>
                <a:gd name="connsiteX2399" fmla="*/ 4362476 w 7145312"/>
                <a:gd name="connsiteY2399" fmla="*/ 1014970 h 2639880"/>
                <a:gd name="connsiteX2400" fmla="*/ 4381536 w 7145312"/>
                <a:gd name="connsiteY2400" fmla="*/ 1019736 h 2639880"/>
                <a:gd name="connsiteX2401" fmla="*/ 4395832 w 7145312"/>
                <a:gd name="connsiteY2401" fmla="*/ 1029266 h 2639880"/>
                <a:gd name="connsiteX2402" fmla="*/ 4400596 w 7145312"/>
                <a:gd name="connsiteY2402" fmla="*/ 1034032 h 2639880"/>
                <a:gd name="connsiteX2403" fmla="*/ 4405364 w 7145312"/>
                <a:gd name="connsiteY2403" fmla="*/ 1048326 h 2639880"/>
                <a:gd name="connsiteX2404" fmla="*/ 4400596 w 7145312"/>
                <a:gd name="connsiteY2404" fmla="*/ 1076918 h 2639880"/>
                <a:gd name="connsiteX2405" fmla="*/ 4395832 w 7145312"/>
                <a:gd name="connsiteY2405" fmla="*/ 1081682 h 2639880"/>
                <a:gd name="connsiteX2406" fmla="*/ 4386300 w 7145312"/>
                <a:gd name="connsiteY2406" fmla="*/ 1086448 h 2639880"/>
                <a:gd name="connsiteX2407" fmla="*/ 4372008 w 7145312"/>
                <a:gd name="connsiteY2407" fmla="*/ 1081682 h 2639880"/>
                <a:gd name="connsiteX2408" fmla="*/ 4362476 w 7145312"/>
                <a:gd name="connsiteY2408" fmla="*/ 1067386 h 2639880"/>
                <a:gd name="connsiteX2409" fmla="*/ 4343416 w 7145312"/>
                <a:gd name="connsiteY2409" fmla="*/ 1062622 h 2639880"/>
                <a:gd name="connsiteX2410" fmla="*/ 4324356 w 7145312"/>
                <a:gd name="connsiteY2410" fmla="*/ 1067386 h 2639880"/>
                <a:gd name="connsiteX2411" fmla="*/ 4314824 w 7145312"/>
                <a:gd name="connsiteY2411" fmla="*/ 1072152 h 2639880"/>
                <a:gd name="connsiteX2412" fmla="*/ 4310060 w 7145312"/>
                <a:gd name="connsiteY2412" fmla="*/ 1076918 h 2639880"/>
                <a:gd name="connsiteX2413" fmla="*/ 4295764 w 7145312"/>
                <a:gd name="connsiteY2413" fmla="*/ 1091212 h 2639880"/>
                <a:gd name="connsiteX2414" fmla="*/ 4281468 w 7145312"/>
                <a:gd name="connsiteY2414" fmla="*/ 1110274 h 2639880"/>
                <a:gd name="connsiteX2415" fmla="*/ 4262408 w 7145312"/>
                <a:gd name="connsiteY2415" fmla="*/ 1134098 h 2639880"/>
                <a:gd name="connsiteX2416" fmla="*/ 4233816 w 7145312"/>
                <a:gd name="connsiteY2416" fmla="*/ 1157924 h 2639880"/>
                <a:gd name="connsiteX2417" fmla="*/ 4219524 w 7145312"/>
                <a:gd name="connsiteY2417" fmla="*/ 1167454 h 2639880"/>
                <a:gd name="connsiteX2418" fmla="*/ 4205228 w 7145312"/>
                <a:gd name="connsiteY2418" fmla="*/ 1172220 h 2639880"/>
                <a:gd name="connsiteX2419" fmla="*/ 4157576 w 7145312"/>
                <a:gd name="connsiteY2419" fmla="*/ 1191280 h 2639880"/>
                <a:gd name="connsiteX2420" fmla="*/ 4148044 w 7145312"/>
                <a:gd name="connsiteY2420" fmla="*/ 1200810 h 2639880"/>
                <a:gd name="connsiteX2421" fmla="*/ 4138516 w 7145312"/>
                <a:gd name="connsiteY2421" fmla="*/ 1215106 h 2639880"/>
                <a:gd name="connsiteX2422" fmla="*/ 4128984 w 7145312"/>
                <a:gd name="connsiteY2422" fmla="*/ 1219872 h 2639880"/>
                <a:gd name="connsiteX2423" fmla="*/ 4114688 w 7145312"/>
                <a:gd name="connsiteY2423" fmla="*/ 1224636 h 2639880"/>
                <a:gd name="connsiteX2424" fmla="*/ 4105160 w 7145312"/>
                <a:gd name="connsiteY2424" fmla="*/ 1219872 h 2639880"/>
                <a:gd name="connsiteX2425" fmla="*/ 4086100 w 7145312"/>
                <a:gd name="connsiteY2425" fmla="*/ 1210340 h 2639880"/>
                <a:gd name="connsiteX2426" fmla="*/ 4081332 w 7145312"/>
                <a:gd name="connsiteY2426" fmla="*/ 1219872 h 2639880"/>
                <a:gd name="connsiteX2427" fmla="*/ 4081332 w 7145312"/>
                <a:gd name="connsiteY2427" fmla="*/ 1229402 h 2639880"/>
                <a:gd name="connsiteX2428" fmla="*/ 4090864 w 7145312"/>
                <a:gd name="connsiteY2428" fmla="*/ 1234166 h 2639880"/>
                <a:gd name="connsiteX2429" fmla="*/ 4105160 w 7145312"/>
                <a:gd name="connsiteY2429" fmla="*/ 1243696 h 2639880"/>
                <a:gd name="connsiteX2430" fmla="*/ 4114688 w 7145312"/>
                <a:gd name="connsiteY2430" fmla="*/ 1262758 h 2639880"/>
                <a:gd name="connsiteX2431" fmla="*/ 4124220 w 7145312"/>
                <a:gd name="connsiteY2431" fmla="*/ 1267522 h 2639880"/>
                <a:gd name="connsiteX2432" fmla="*/ 4138516 w 7145312"/>
                <a:gd name="connsiteY2432" fmla="*/ 1272288 h 2639880"/>
                <a:gd name="connsiteX2433" fmla="*/ 4143280 w 7145312"/>
                <a:gd name="connsiteY2433" fmla="*/ 1277052 h 2639880"/>
                <a:gd name="connsiteX2434" fmla="*/ 4157576 w 7145312"/>
                <a:gd name="connsiteY2434" fmla="*/ 1291348 h 2639880"/>
                <a:gd name="connsiteX2435" fmla="*/ 4176636 w 7145312"/>
                <a:gd name="connsiteY2435" fmla="*/ 1324704 h 2639880"/>
                <a:gd name="connsiteX2436" fmla="*/ 4181400 w 7145312"/>
                <a:gd name="connsiteY2436" fmla="*/ 1339000 h 2639880"/>
                <a:gd name="connsiteX2437" fmla="*/ 4195696 w 7145312"/>
                <a:gd name="connsiteY2437" fmla="*/ 1353294 h 2639880"/>
                <a:gd name="connsiteX2438" fmla="*/ 4229052 w 7145312"/>
                <a:gd name="connsiteY2438" fmla="*/ 1381886 h 2639880"/>
                <a:gd name="connsiteX2439" fmla="*/ 4229052 w 7145312"/>
                <a:gd name="connsiteY2439" fmla="*/ 1386650 h 2639880"/>
                <a:gd name="connsiteX2440" fmla="*/ 4224288 w 7145312"/>
                <a:gd name="connsiteY2440" fmla="*/ 1396180 h 2639880"/>
                <a:gd name="connsiteX2441" fmla="*/ 4229052 w 7145312"/>
                <a:gd name="connsiteY2441" fmla="*/ 1400946 h 2639880"/>
                <a:gd name="connsiteX2442" fmla="*/ 4243348 w 7145312"/>
                <a:gd name="connsiteY2442" fmla="*/ 1415242 h 2639880"/>
                <a:gd name="connsiteX2443" fmla="*/ 4243348 w 7145312"/>
                <a:gd name="connsiteY2443" fmla="*/ 1424772 h 2639880"/>
                <a:gd name="connsiteX2444" fmla="*/ 4229052 w 7145312"/>
                <a:gd name="connsiteY2444" fmla="*/ 1439066 h 2639880"/>
                <a:gd name="connsiteX2445" fmla="*/ 4229052 w 7145312"/>
                <a:gd name="connsiteY2445" fmla="*/ 1453362 h 2639880"/>
                <a:gd name="connsiteX2446" fmla="*/ 4224288 w 7145312"/>
                <a:gd name="connsiteY2446" fmla="*/ 1477188 h 2639880"/>
                <a:gd name="connsiteX2447" fmla="*/ 4219524 w 7145312"/>
                <a:gd name="connsiteY2447" fmla="*/ 1486718 h 2639880"/>
                <a:gd name="connsiteX2448" fmla="*/ 4219524 w 7145312"/>
                <a:gd name="connsiteY2448" fmla="*/ 1491484 h 2639880"/>
                <a:gd name="connsiteX2449" fmla="*/ 4224288 w 7145312"/>
                <a:gd name="connsiteY2449" fmla="*/ 1496248 h 2639880"/>
                <a:gd name="connsiteX2450" fmla="*/ 4233816 w 7145312"/>
                <a:gd name="connsiteY2450" fmla="*/ 1501014 h 2639880"/>
                <a:gd name="connsiteX2451" fmla="*/ 4243348 w 7145312"/>
                <a:gd name="connsiteY2451" fmla="*/ 1505778 h 2639880"/>
                <a:gd name="connsiteX2452" fmla="*/ 4248112 w 7145312"/>
                <a:gd name="connsiteY2452" fmla="*/ 1510544 h 2639880"/>
                <a:gd name="connsiteX2453" fmla="*/ 4262408 w 7145312"/>
                <a:gd name="connsiteY2453" fmla="*/ 1529604 h 2639880"/>
                <a:gd name="connsiteX2454" fmla="*/ 4271940 w 7145312"/>
                <a:gd name="connsiteY2454" fmla="*/ 1534370 h 2639880"/>
                <a:gd name="connsiteX2455" fmla="*/ 4276704 w 7145312"/>
                <a:gd name="connsiteY2455" fmla="*/ 1539134 h 2639880"/>
                <a:gd name="connsiteX2456" fmla="*/ 4276704 w 7145312"/>
                <a:gd name="connsiteY2456" fmla="*/ 1548664 h 2639880"/>
                <a:gd name="connsiteX2457" fmla="*/ 4281468 w 7145312"/>
                <a:gd name="connsiteY2457" fmla="*/ 1553430 h 2639880"/>
                <a:gd name="connsiteX2458" fmla="*/ 4291000 w 7145312"/>
                <a:gd name="connsiteY2458" fmla="*/ 1562960 h 2639880"/>
                <a:gd name="connsiteX2459" fmla="*/ 4300528 w 7145312"/>
                <a:gd name="connsiteY2459" fmla="*/ 1567726 h 2639880"/>
                <a:gd name="connsiteX2460" fmla="*/ 4305296 w 7145312"/>
                <a:gd name="connsiteY2460" fmla="*/ 1562960 h 2639880"/>
                <a:gd name="connsiteX2461" fmla="*/ 4305296 w 7145312"/>
                <a:gd name="connsiteY2461" fmla="*/ 1558196 h 2639880"/>
                <a:gd name="connsiteX2462" fmla="*/ 4314824 w 7145312"/>
                <a:gd name="connsiteY2462" fmla="*/ 1562960 h 2639880"/>
                <a:gd name="connsiteX2463" fmla="*/ 4319592 w 7145312"/>
                <a:gd name="connsiteY2463" fmla="*/ 1567726 h 2639880"/>
                <a:gd name="connsiteX2464" fmla="*/ 4319592 w 7145312"/>
                <a:gd name="connsiteY2464" fmla="*/ 1577256 h 2639880"/>
                <a:gd name="connsiteX2465" fmla="*/ 4319592 w 7145312"/>
                <a:gd name="connsiteY2465" fmla="*/ 1586786 h 2639880"/>
                <a:gd name="connsiteX2466" fmla="*/ 4319592 w 7145312"/>
                <a:gd name="connsiteY2466" fmla="*/ 1605846 h 2639880"/>
                <a:gd name="connsiteX2467" fmla="*/ 4319592 w 7145312"/>
                <a:gd name="connsiteY2467" fmla="*/ 1610612 h 2639880"/>
                <a:gd name="connsiteX2468" fmla="*/ 4310060 w 7145312"/>
                <a:gd name="connsiteY2468" fmla="*/ 1610612 h 2639880"/>
                <a:gd name="connsiteX2469" fmla="*/ 4295764 w 7145312"/>
                <a:gd name="connsiteY2469" fmla="*/ 1605846 h 2639880"/>
                <a:gd name="connsiteX2470" fmla="*/ 4295764 w 7145312"/>
                <a:gd name="connsiteY2470" fmla="*/ 1610612 h 2639880"/>
                <a:gd name="connsiteX2471" fmla="*/ 4295764 w 7145312"/>
                <a:gd name="connsiteY2471" fmla="*/ 1615376 h 2639880"/>
                <a:gd name="connsiteX2472" fmla="*/ 4286236 w 7145312"/>
                <a:gd name="connsiteY2472" fmla="*/ 1615376 h 2639880"/>
                <a:gd name="connsiteX2473" fmla="*/ 4276704 w 7145312"/>
                <a:gd name="connsiteY2473" fmla="*/ 1615376 h 2639880"/>
                <a:gd name="connsiteX2474" fmla="*/ 4257644 w 7145312"/>
                <a:gd name="connsiteY2474" fmla="*/ 1615376 h 2639880"/>
                <a:gd name="connsiteX2475" fmla="*/ 4214756 w 7145312"/>
                <a:gd name="connsiteY2475" fmla="*/ 1629672 h 2639880"/>
                <a:gd name="connsiteX2476" fmla="*/ 4200460 w 7145312"/>
                <a:gd name="connsiteY2476" fmla="*/ 1634438 h 2639880"/>
                <a:gd name="connsiteX2477" fmla="*/ 4190932 w 7145312"/>
                <a:gd name="connsiteY2477" fmla="*/ 1648732 h 2639880"/>
                <a:gd name="connsiteX2478" fmla="*/ 4190932 w 7145312"/>
                <a:gd name="connsiteY2478" fmla="*/ 1658262 h 2639880"/>
                <a:gd name="connsiteX2479" fmla="*/ 4190932 w 7145312"/>
                <a:gd name="connsiteY2479" fmla="*/ 1677324 h 2639880"/>
                <a:gd name="connsiteX2480" fmla="*/ 4186168 w 7145312"/>
                <a:gd name="connsiteY2480" fmla="*/ 1682088 h 2639880"/>
                <a:gd name="connsiteX2481" fmla="*/ 4167108 w 7145312"/>
                <a:gd name="connsiteY2481" fmla="*/ 1682088 h 2639880"/>
                <a:gd name="connsiteX2482" fmla="*/ 4143280 w 7145312"/>
                <a:gd name="connsiteY2482" fmla="*/ 1677324 h 2639880"/>
                <a:gd name="connsiteX2483" fmla="*/ 4124220 w 7145312"/>
                <a:gd name="connsiteY2483" fmla="*/ 1672558 h 2639880"/>
                <a:gd name="connsiteX2484" fmla="*/ 4119456 w 7145312"/>
                <a:gd name="connsiteY2484" fmla="*/ 1672558 h 2639880"/>
                <a:gd name="connsiteX2485" fmla="*/ 4105160 w 7145312"/>
                <a:gd name="connsiteY2485" fmla="*/ 1658262 h 2639880"/>
                <a:gd name="connsiteX2486" fmla="*/ 4100396 w 7145312"/>
                <a:gd name="connsiteY2486" fmla="*/ 1643968 h 2639880"/>
                <a:gd name="connsiteX2487" fmla="*/ 4109924 w 7145312"/>
                <a:gd name="connsiteY2487" fmla="*/ 1596316 h 2639880"/>
                <a:gd name="connsiteX2488" fmla="*/ 4109924 w 7145312"/>
                <a:gd name="connsiteY2488" fmla="*/ 1591552 h 2639880"/>
                <a:gd name="connsiteX2489" fmla="*/ 4114688 w 7145312"/>
                <a:gd name="connsiteY2489" fmla="*/ 1582020 h 2639880"/>
                <a:gd name="connsiteX2490" fmla="*/ 4119456 w 7145312"/>
                <a:gd name="connsiteY2490" fmla="*/ 1577256 h 2639880"/>
                <a:gd name="connsiteX2491" fmla="*/ 4124220 w 7145312"/>
                <a:gd name="connsiteY2491" fmla="*/ 1562960 h 2639880"/>
                <a:gd name="connsiteX2492" fmla="*/ 4109924 w 7145312"/>
                <a:gd name="connsiteY2492" fmla="*/ 1553430 h 2639880"/>
                <a:gd name="connsiteX2493" fmla="*/ 4090864 w 7145312"/>
                <a:gd name="connsiteY2493" fmla="*/ 1548664 h 2639880"/>
                <a:gd name="connsiteX2494" fmla="*/ 4076568 w 7145312"/>
                <a:gd name="connsiteY2494" fmla="*/ 1539134 h 2639880"/>
                <a:gd name="connsiteX2495" fmla="*/ 4009856 w 7145312"/>
                <a:gd name="connsiteY2495" fmla="*/ 1481954 h 2639880"/>
                <a:gd name="connsiteX2496" fmla="*/ 4009856 w 7145312"/>
                <a:gd name="connsiteY2496" fmla="*/ 1477188 h 2639880"/>
                <a:gd name="connsiteX2497" fmla="*/ 4009856 w 7145312"/>
                <a:gd name="connsiteY2497" fmla="*/ 1467658 h 2639880"/>
                <a:gd name="connsiteX2498" fmla="*/ 4009856 w 7145312"/>
                <a:gd name="connsiteY2498" fmla="*/ 1458128 h 2639880"/>
                <a:gd name="connsiteX2499" fmla="*/ 4028916 w 7145312"/>
                <a:gd name="connsiteY2499" fmla="*/ 1424772 h 2639880"/>
                <a:gd name="connsiteX2500" fmla="*/ 4033684 w 7145312"/>
                <a:gd name="connsiteY2500" fmla="*/ 1420006 h 2639880"/>
                <a:gd name="connsiteX2501" fmla="*/ 4038448 w 7145312"/>
                <a:gd name="connsiteY2501" fmla="*/ 1396180 h 2639880"/>
                <a:gd name="connsiteX2502" fmla="*/ 4033684 w 7145312"/>
                <a:gd name="connsiteY2502" fmla="*/ 1377120 h 2639880"/>
                <a:gd name="connsiteX2503" fmla="*/ 4033684 w 7145312"/>
                <a:gd name="connsiteY2503" fmla="*/ 1358060 h 2639880"/>
                <a:gd name="connsiteX2504" fmla="*/ 4024152 w 7145312"/>
                <a:gd name="connsiteY2504" fmla="*/ 1343764 h 2639880"/>
                <a:gd name="connsiteX2505" fmla="*/ 4005092 w 7145312"/>
                <a:gd name="connsiteY2505" fmla="*/ 1339000 h 2639880"/>
                <a:gd name="connsiteX2506" fmla="*/ 3990796 w 7145312"/>
                <a:gd name="connsiteY2506" fmla="*/ 1339000 h 2639880"/>
                <a:gd name="connsiteX2507" fmla="*/ 3971736 w 7145312"/>
                <a:gd name="connsiteY2507" fmla="*/ 1343764 h 2639880"/>
                <a:gd name="connsiteX2508" fmla="*/ 3952676 w 7145312"/>
                <a:gd name="connsiteY2508" fmla="*/ 1353294 h 2639880"/>
                <a:gd name="connsiteX2509" fmla="*/ 3924084 w 7145312"/>
                <a:gd name="connsiteY2509" fmla="*/ 1372356 h 2639880"/>
                <a:gd name="connsiteX2510" fmla="*/ 3909788 w 7145312"/>
                <a:gd name="connsiteY2510" fmla="*/ 1386650 h 2639880"/>
                <a:gd name="connsiteX2511" fmla="*/ 3909788 w 7145312"/>
                <a:gd name="connsiteY2511" fmla="*/ 1400946 h 2639880"/>
                <a:gd name="connsiteX2512" fmla="*/ 3914556 w 7145312"/>
                <a:gd name="connsiteY2512" fmla="*/ 1420006 h 2639880"/>
                <a:gd name="connsiteX2513" fmla="*/ 3924084 w 7145312"/>
                <a:gd name="connsiteY2513" fmla="*/ 1434302 h 2639880"/>
                <a:gd name="connsiteX2514" fmla="*/ 3928848 w 7145312"/>
                <a:gd name="connsiteY2514" fmla="*/ 1448598 h 2639880"/>
                <a:gd name="connsiteX2515" fmla="*/ 3938380 w 7145312"/>
                <a:gd name="connsiteY2515" fmla="*/ 1505778 h 2639880"/>
                <a:gd name="connsiteX2516" fmla="*/ 3938380 w 7145312"/>
                <a:gd name="connsiteY2516" fmla="*/ 1510544 h 2639880"/>
                <a:gd name="connsiteX2517" fmla="*/ 3928848 w 7145312"/>
                <a:gd name="connsiteY2517" fmla="*/ 1529604 h 2639880"/>
                <a:gd name="connsiteX2518" fmla="*/ 3924084 w 7145312"/>
                <a:gd name="connsiteY2518" fmla="*/ 1562960 h 2639880"/>
                <a:gd name="connsiteX2519" fmla="*/ 3928848 w 7145312"/>
                <a:gd name="connsiteY2519" fmla="*/ 1615376 h 2639880"/>
                <a:gd name="connsiteX2520" fmla="*/ 3933616 w 7145312"/>
                <a:gd name="connsiteY2520" fmla="*/ 1648732 h 2639880"/>
                <a:gd name="connsiteX2521" fmla="*/ 3933616 w 7145312"/>
                <a:gd name="connsiteY2521" fmla="*/ 1663028 h 2639880"/>
                <a:gd name="connsiteX2522" fmla="*/ 3919320 w 7145312"/>
                <a:gd name="connsiteY2522" fmla="*/ 1701148 h 2639880"/>
                <a:gd name="connsiteX2523" fmla="*/ 3914556 w 7145312"/>
                <a:gd name="connsiteY2523" fmla="*/ 1720210 h 2639880"/>
                <a:gd name="connsiteX2524" fmla="*/ 3914556 w 7145312"/>
                <a:gd name="connsiteY2524" fmla="*/ 1729740 h 2639880"/>
                <a:gd name="connsiteX2525" fmla="*/ 3928848 w 7145312"/>
                <a:gd name="connsiteY2525" fmla="*/ 1767860 h 2639880"/>
                <a:gd name="connsiteX2526" fmla="*/ 3933616 w 7145312"/>
                <a:gd name="connsiteY2526" fmla="*/ 1786922 h 2639880"/>
                <a:gd name="connsiteX2527" fmla="*/ 3938380 w 7145312"/>
                <a:gd name="connsiteY2527" fmla="*/ 1801216 h 2639880"/>
                <a:gd name="connsiteX2528" fmla="*/ 3919320 w 7145312"/>
                <a:gd name="connsiteY2528" fmla="*/ 1791686 h 2639880"/>
                <a:gd name="connsiteX2529" fmla="*/ 3909788 w 7145312"/>
                <a:gd name="connsiteY2529" fmla="*/ 1791686 h 2639880"/>
                <a:gd name="connsiteX2530" fmla="*/ 3900260 w 7145312"/>
                <a:gd name="connsiteY2530" fmla="*/ 1796452 h 2639880"/>
                <a:gd name="connsiteX2531" fmla="*/ 3881200 w 7145312"/>
                <a:gd name="connsiteY2531" fmla="*/ 1796452 h 2639880"/>
                <a:gd name="connsiteX2532" fmla="*/ 3862136 w 7145312"/>
                <a:gd name="connsiteY2532" fmla="*/ 1796452 h 2639880"/>
                <a:gd name="connsiteX2533" fmla="*/ 3852608 w 7145312"/>
                <a:gd name="connsiteY2533" fmla="*/ 1801216 h 2639880"/>
                <a:gd name="connsiteX2534" fmla="*/ 3843076 w 7145312"/>
                <a:gd name="connsiteY2534" fmla="*/ 1810746 h 2639880"/>
                <a:gd name="connsiteX2535" fmla="*/ 3833548 w 7145312"/>
                <a:gd name="connsiteY2535" fmla="*/ 1815512 h 2639880"/>
                <a:gd name="connsiteX2536" fmla="*/ 3824016 w 7145312"/>
                <a:gd name="connsiteY2536" fmla="*/ 1815512 h 2639880"/>
                <a:gd name="connsiteX2537" fmla="*/ 3800192 w 7145312"/>
                <a:gd name="connsiteY2537" fmla="*/ 1801216 h 2639880"/>
                <a:gd name="connsiteX2538" fmla="*/ 3785896 w 7145312"/>
                <a:gd name="connsiteY2538" fmla="*/ 1791686 h 2639880"/>
                <a:gd name="connsiteX2539" fmla="*/ 3771600 w 7145312"/>
                <a:gd name="connsiteY2539" fmla="*/ 1772626 h 2639880"/>
                <a:gd name="connsiteX2540" fmla="*/ 3771600 w 7145312"/>
                <a:gd name="connsiteY2540" fmla="*/ 1758330 h 2639880"/>
                <a:gd name="connsiteX2541" fmla="*/ 3771600 w 7145312"/>
                <a:gd name="connsiteY2541" fmla="*/ 1739270 h 2639880"/>
                <a:gd name="connsiteX2542" fmla="*/ 3781132 w 7145312"/>
                <a:gd name="connsiteY2542" fmla="*/ 1720210 h 2639880"/>
                <a:gd name="connsiteX2543" fmla="*/ 3795428 w 7145312"/>
                <a:gd name="connsiteY2543" fmla="*/ 1686854 h 2639880"/>
                <a:gd name="connsiteX2544" fmla="*/ 3795428 w 7145312"/>
                <a:gd name="connsiteY2544" fmla="*/ 1667794 h 2639880"/>
                <a:gd name="connsiteX2545" fmla="*/ 3795428 w 7145312"/>
                <a:gd name="connsiteY2545" fmla="*/ 1648732 h 2639880"/>
                <a:gd name="connsiteX2546" fmla="*/ 3804956 w 7145312"/>
                <a:gd name="connsiteY2546" fmla="*/ 1634438 h 2639880"/>
                <a:gd name="connsiteX2547" fmla="*/ 3809720 w 7145312"/>
                <a:gd name="connsiteY2547" fmla="*/ 1615376 h 2639880"/>
                <a:gd name="connsiteX2548" fmla="*/ 3809720 w 7145312"/>
                <a:gd name="connsiteY2548" fmla="*/ 1558196 h 2639880"/>
                <a:gd name="connsiteX2549" fmla="*/ 3809720 w 7145312"/>
                <a:gd name="connsiteY2549" fmla="*/ 1553430 h 2639880"/>
                <a:gd name="connsiteX2550" fmla="*/ 3790660 w 7145312"/>
                <a:gd name="connsiteY2550" fmla="*/ 1515308 h 2639880"/>
                <a:gd name="connsiteX2551" fmla="*/ 3785896 w 7145312"/>
                <a:gd name="connsiteY2551" fmla="*/ 1510544 h 2639880"/>
                <a:gd name="connsiteX2552" fmla="*/ 3785896 w 7145312"/>
                <a:gd name="connsiteY2552" fmla="*/ 1501014 h 2639880"/>
                <a:gd name="connsiteX2553" fmla="*/ 3790660 w 7145312"/>
                <a:gd name="connsiteY2553" fmla="*/ 1491484 h 2639880"/>
                <a:gd name="connsiteX2554" fmla="*/ 3790660 w 7145312"/>
                <a:gd name="connsiteY2554" fmla="*/ 1481954 h 2639880"/>
                <a:gd name="connsiteX2555" fmla="*/ 3785896 w 7145312"/>
                <a:gd name="connsiteY2555" fmla="*/ 1477188 h 2639880"/>
                <a:gd name="connsiteX2556" fmla="*/ 3781132 w 7145312"/>
                <a:gd name="connsiteY2556" fmla="*/ 1467658 h 2639880"/>
                <a:gd name="connsiteX2557" fmla="*/ 3771600 w 7145312"/>
                <a:gd name="connsiteY2557" fmla="*/ 1467658 h 2639880"/>
                <a:gd name="connsiteX2558" fmla="*/ 3752540 w 7145312"/>
                <a:gd name="connsiteY2558" fmla="*/ 1467658 h 2639880"/>
                <a:gd name="connsiteX2559" fmla="*/ 3714420 w 7145312"/>
                <a:gd name="connsiteY2559" fmla="*/ 1477188 h 2639880"/>
                <a:gd name="connsiteX2560" fmla="*/ 3700124 w 7145312"/>
                <a:gd name="connsiteY2560" fmla="*/ 1472422 h 2639880"/>
                <a:gd name="connsiteX2561" fmla="*/ 3690592 w 7145312"/>
                <a:gd name="connsiteY2561" fmla="*/ 1458128 h 2639880"/>
                <a:gd name="connsiteX2562" fmla="*/ 3685828 w 7145312"/>
                <a:gd name="connsiteY2562" fmla="*/ 1439066 h 2639880"/>
                <a:gd name="connsiteX2563" fmla="*/ 3681064 w 7145312"/>
                <a:gd name="connsiteY2563" fmla="*/ 1420006 h 2639880"/>
                <a:gd name="connsiteX2564" fmla="*/ 3685828 w 7145312"/>
                <a:gd name="connsiteY2564" fmla="*/ 1400946 h 2639880"/>
                <a:gd name="connsiteX2565" fmla="*/ 3690592 w 7145312"/>
                <a:gd name="connsiteY2565" fmla="*/ 1381886 h 2639880"/>
                <a:gd name="connsiteX2566" fmla="*/ 3685828 w 7145312"/>
                <a:gd name="connsiteY2566" fmla="*/ 1372356 h 2639880"/>
                <a:gd name="connsiteX2567" fmla="*/ 3681064 w 7145312"/>
                <a:gd name="connsiteY2567" fmla="*/ 1358060 h 2639880"/>
                <a:gd name="connsiteX2568" fmla="*/ 3681064 w 7145312"/>
                <a:gd name="connsiteY2568" fmla="*/ 1348530 h 2639880"/>
                <a:gd name="connsiteX2569" fmla="*/ 3681064 w 7145312"/>
                <a:gd name="connsiteY2569" fmla="*/ 1343764 h 2639880"/>
                <a:gd name="connsiteX2570" fmla="*/ 3690592 w 7145312"/>
                <a:gd name="connsiteY2570" fmla="*/ 1339000 h 2639880"/>
                <a:gd name="connsiteX2571" fmla="*/ 3700124 w 7145312"/>
                <a:gd name="connsiteY2571" fmla="*/ 1339000 h 2639880"/>
                <a:gd name="connsiteX2572" fmla="*/ 3704888 w 7145312"/>
                <a:gd name="connsiteY2572" fmla="*/ 1329468 h 2639880"/>
                <a:gd name="connsiteX2573" fmla="*/ 3728716 w 7145312"/>
                <a:gd name="connsiteY2573" fmla="*/ 1315174 h 2639880"/>
                <a:gd name="connsiteX2574" fmla="*/ 3733480 w 7145312"/>
                <a:gd name="connsiteY2574" fmla="*/ 1296114 h 2639880"/>
                <a:gd name="connsiteX2575" fmla="*/ 3733480 w 7145312"/>
                <a:gd name="connsiteY2575" fmla="*/ 1277052 h 2639880"/>
                <a:gd name="connsiteX2576" fmla="*/ 3738244 w 7145312"/>
                <a:gd name="connsiteY2576" fmla="*/ 1257992 h 2639880"/>
                <a:gd name="connsiteX2577" fmla="*/ 3752540 w 7145312"/>
                <a:gd name="connsiteY2577" fmla="*/ 1243696 h 2639880"/>
                <a:gd name="connsiteX2578" fmla="*/ 3762072 w 7145312"/>
                <a:gd name="connsiteY2578" fmla="*/ 1229402 h 2639880"/>
                <a:gd name="connsiteX2579" fmla="*/ 3766836 w 7145312"/>
                <a:gd name="connsiteY2579" fmla="*/ 1210340 h 2639880"/>
                <a:gd name="connsiteX2580" fmla="*/ 3762072 w 7145312"/>
                <a:gd name="connsiteY2580" fmla="*/ 1186516 h 2639880"/>
                <a:gd name="connsiteX2581" fmla="*/ 3762072 w 7145312"/>
                <a:gd name="connsiteY2581" fmla="*/ 1172220 h 2639880"/>
                <a:gd name="connsiteX2582" fmla="*/ 3762072 w 7145312"/>
                <a:gd name="connsiteY2582" fmla="*/ 1157924 h 2639880"/>
                <a:gd name="connsiteX2583" fmla="*/ 3762072 w 7145312"/>
                <a:gd name="connsiteY2583" fmla="*/ 1143628 h 2639880"/>
                <a:gd name="connsiteX2584" fmla="*/ 3766836 w 7145312"/>
                <a:gd name="connsiteY2584" fmla="*/ 1119804 h 2639880"/>
                <a:gd name="connsiteX2585" fmla="*/ 3790660 w 7145312"/>
                <a:gd name="connsiteY2585" fmla="*/ 1067386 h 2639880"/>
                <a:gd name="connsiteX2586" fmla="*/ 3814488 w 7145312"/>
                <a:gd name="connsiteY2586" fmla="*/ 1038796 h 2639880"/>
                <a:gd name="connsiteX2587" fmla="*/ 3824016 w 7145312"/>
                <a:gd name="connsiteY2587" fmla="*/ 1034032 h 2639880"/>
                <a:gd name="connsiteX2588" fmla="*/ 3833548 w 7145312"/>
                <a:gd name="connsiteY2588" fmla="*/ 1043562 h 2639880"/>
                <a:gd name="connsiteX2589" fmla="*/ 3843076 w 7145312"/>
                <a:gd name="connsiteY2589" fmla="*/ 1057856 h 2639880"/>
                <a:gd name="connsiteX2590" fmla="*/ 3843076 w 7145312"/>
                <a:gd name="connsiteY2590" fmla="*/ 1048326 h 2639880"/>
                <a:gd name="connsiteX2591" fmla="*/ 3843076 w 7145312"/>
                <a:gd name="connsiteY2591" fmla="*/ 1034032 h 2639880"/>
                <a:gd name="connsiteX2592" fmla="*/ 3833548 w 7145312"/>
                <a:gd name="connsiteY2592" fmla="*/ 1000676 h 2639880"/>
                <a:gd name="connsiteX2593" fmla="*/ 3824016 w 7145312"/>
                <a:gd name="connsiteY2593" fmla="*/ 938728 h 2639880"/>
                <a:gd name="connsiteX2594" fmla="*/ 3828780 w 7145312"/>
                <a:gd name="connsiteY2594" fmla="*/ 933964 h 2639880"/>
                <a:gd name="connsiteX2595" fmla="*/ 3833548 w 7145312"/>
                <a:gd name="connsiteY2595" fmla="*/ 933964 h 2639880"/>
                <a:gd name="connsiteX2596" fmla="*/ 3843076 w 7145312"/>
                <a:gd name="connsiteY2596" fmla="*/ 929198 h 2639880"/>
                <a:gd name="connsiteX2597" fmla="*/ 3847844 w 7145312"/>
                <a:gd name="connsiteY2597" fmla="*/ 919668 h 2639880"/>
                <a:gd name="connsiteX2598" fmla="*/ 3838312 w 7145312"/>
                <a:gd name="connsiteY2598" fmla="*/ 895842 h 2639880"/>
                <a:gd name="connsiteX2599" fmla="*/ 3838312 w 7145312"/>
                <a:gd name="connsiteY2599" fmla="*/ 886312 h 2639880"/>
                <a:gd name="connsiteX2600" fmla="*/ 3857372 w 7145312"/>
                <a:gd name="connsiteY2600" fmla="*/ 857722 h 2639880"/>
                <a:gd name="connsiteX2601" fmla="*/ 3866904 w 7145312"/>
                <a:gd name="connsiteY2601" fmla="*/ 843426 h 2639880"/>
                <a:gd name="connsiteX2602" fmla="*/ 3876432 w 7145312"/>
                <a:gd name="connsiteY2602" fmla="*/ 838660 h 2639880"/>
                <a:gd name="connsiteX2603" fmla="*/ 3876432 w 7145312"/>
                <a:gd name="connsiteY2603" fmla="*/ 819600 h 2639880"/>
                <a:gd name="connsiteX2604" fmla="*/ 3885964 w 7145312"/>
                <a:gd name="connsiteY2604" fmla="*/ 810070 h 2639880"/>
                <a:gd name="connsiteX2605" fmla="*/ 3895492 w 7145312"/>
                <a:gd name="connsiteY2605" fmla="*/ 805304 h 2639880"/>
                <a:gd name="connsiteX2606" fmla="*/ 3905024 w 7145312"/>
                <a:gd name="connsiteY2606" fmla="*/ 791010 h 2639880"/>
                <a:gd name="connsiteX2607" fmla="*/ 3909788 w 7145312"/>
                <a:gd name="connsiteY2607" fmla="*/ 771950 h 2639880"/>
                <a:gd name="connsiteX2608" fmla="*/ 3914556 w 7145312"/>
                <a:gd name="connsiteY2608" fmla="*/ 771950 h 2639880"/>
                <a:gd name="connsiteX2609" fmla="*/ 3919320 w 7145312"/>
                <a:gd name="connsiteY2609" fmla="*/ 771950 h 2639880"/>
                <a:gd name="connsiteX2610" fmla="*/ 3924084 w 7145312"/>
                <a:gd name="connsiteY2610" fmla="*/ 786244 h 2639880"/>
                <a:gd name="connsiteX2611" fmla="*/ 3933616 w 7145312"/>
                <a:gd name="connsiteY2611" fmla="*/ 791010 h 2639880"/>
                <a:gd name="connsiteX2612" fmla="*/ 3947912 w 7145312"/>
                <a:gd name="connsiteY2612" fmla="*/ 795774 h 2639880"/>
                <a:gd name="connsiteX2613" fmla="*/ 3962204 w 7145312"/>
                <a:gd name="connsiteY2613" fmla="*/ 791010 h 2639880"/>
                <a:gd name="connsiteX2614" fmla="*/ 3966972 w 7145312"/>
                <a:gd name="connsiteY2614" fmla="*/ 786244 h 2639880"/>
                <a:gd name="connsiteX2615" fmla="*/ 3971736 w 7145312"/>
                <a:gd name="connsiteY2615" fmla="*/ 776714 h 2639880"/>
                <a:gd name="connsiteX2616" fmla="*/ 3981268 w 7145312"/>
                <a:gd name="connsiteY2616" fmla="*/ 771950 h 2639880"/>
                <a:gd name="connsiteX2617" fmla="*/ 3986032 w 7145312"/>
                <a:gd name="connsiteY2617" fmla="*/ 762418 h 2639880"/>
                <a:gd name="connsiteX2618" fmla="*/ 3995560 w 7145312"/>
                <a:gd name="connsiteY2618" fmla="*/ 748124 h 2639880"/>
                <a:gd name="connsiteX2619" fmla="*/ 4005092 w 7145312"/>
                <a:gd name="connsiteY2619" fmla="*/ 729062 h 2639880"/>
                <a:gd name="connsiteX2620" fmla="*/ 4009856 w 7145312"/>
                <a:gd name="connsiteY2620" fmla="*/ 724298 h 2639880"/>
                <a:gd name="connsiteX2621" fmla="*/ 4019388 w 7145312"/>
                <a:gd name="connsiteY2621" fmla="*/ 719532 h 2639880"/>
                <a:gd name="connsiteX2622" fmla="*/ 4028916 w 7145312"/>
                <a:gd name="connsiteY2622" fmla="*/ 719532 h 2639880"/>
                <a:gd name="connsiteX2623" fmla="*/ 4038448 w 7145312"/>
                <a:gd name="connsiteY2623" fmla="*/ 719532 h 2639880"/>
                <a:gd name="connsiteX2624" fmla="*/ 4057508 w 7145312"/>
                <a:gd name="connsiteY2624" fmla="*/ 729062 h 2639880"/>
                <a:gd name="connsiteX2625" fmla="*/ 4067040 w 7145312"/>
                <a:gd name="connsiteY2625" fmla="*/ 729062 h 2639880"/>
                <a:gd name="connsiteX2626" fmla="*/ 4081332 w 7145312"/>
                <a:gd name="connsiteY2626" fmla="*/ 729062 h 2639880"/>
                <a:gd name="connsiteX2627" fmla="*/ 4086100 w 7145312"/>
                <a:gd name="connsiteY2627" fmla="*/ 733828 h 2639880"/>
                <a:gd name="connsiteX2628" fmla="*/ 4095628 w 7145312"/>
                <a:gd name="connsiteY2628" fmla="*/ 733828 h 2639880"/>
                <a:gd name="connsiteX2629" fmla="*/ 4100396 w 7145312"/>
                <a:gd name="connsiteY2629" fmla="*/ 743358 h 2639880"/>
                <a:gd name="connsiteX2630" fmla="*/ 4105160 w 7145312"/>
                <a:gd name="connsiteY2630" fmla="*/ 752888 h 2639880"/>
                <a:gd name="connsiteX2631" fmla="*/ 4109924 w 7145312"/>
                <a:gd name="connsiteY2631" fmla="*/ 757654 h 2639880"/>
                <a:gd name="connsiteX2632" fmla="*/ 4119456 w 7145312"/>
                <a:gd name="connsiteY2632" fmla="*/ 757654 h 2639880"/>
                <a:gd name="connsiteX2633" fmla="*/ 4162340 w 7145312"/>
                <a:gd name="connsiteY2633" fmla="*/ 757654 h 2639880"/>
                <a:gd name="connsiteX2634" fmla="*/ 4200460 w 7145312"/>
                <a:gd name="connsiteY2634" fmla="*/ 767184 h 2639880"/>
                <a:gd name="connsiteX2635" fmla="*/ 4248112 w 7145312"/>
                <a:gd name="connsiteY2635" fmla="*/ 767184 h 2639880"/>
                <a:gd name="connsiteX2636" fmla="*/ 4267172 w 7145312"/>
                <a:gd name="connsiteY2636" fmla="*/ 771950 h 2639880"/>
                <a:gd name="connsiteX2637" fmla="*/ 4286236 w 7145312"/>
                <a:gd name="connsiteY2637" fmla="*/ 776714 h 2639880"/>
                <a:gd name="connsiteX2638" fmla="*/ 4305296 w 7145312"/>
                <a:gd name="connsiteY2638" fmla="*/ 791010 h 2639880"/>
                <a:gd name="connsiteX2639" fmla="*/ 4314824 w 7145312"/>
                <a:gd name="connsiteY2639" fmla="*/ 795774 h 2639880"/>
                <a:gd name="connsiteX2640" fmla="*/ 4319592 w 7145312"/>
                <a:gd name="connsiteY2640" fmla="*/ 791010 h 2639880"/>
                <a:gd name="connsiteX2641" fmla="*/ 4333884 w 7145312"/>
                <a:gd name="connsiteY2641" fmla="*/ 781480 h 2639880"/>
                <a:gd name="connsiteX2642" fmla="*/ 4338652 w 7145312"/>
                <a:gd name="connsiteY2642" fmla="*/ 776714 h 2639880"/>
                <a:gd name="connsiteX2643" fmla="*/ 4348180 w 7145312"/>
                <a:gd name="connsiteY2643" fmla="*/ 776714 h 2639880"/>
                <a:gd name="connsiteX2644" fmla="*/ 4381536 w 7145312"/>
                <a:gd name="connsiteY2644" fmla="*/ 781480 h 2639880"/>
                <a:gd name="connsiteX2645" fmla="*/ 4472076 w 7145312"/>
                <a:gd name="connsiteY2645" fmla="*/ 795774 h 2639880"/>
                <a:gd name="connsiteX2646" fmla="*/ 4481604 w 7145312"/>
                <a:gd name="connsiteY2646" fmla="*/ 791010 h 2639880"/>
                <a:gd name="connsiteX2647" fmla="*/ 4538788 w 7145312"/>
                <a:gd name="connsiteY2647" fmla="*/ 767184 h 2639880"/>
                <a:gd name="connsiteX2648" fmla="*/ 4557848 w 7145312"/>
                <a:gd name="connsiteY2648" fmla="*/ 738594 h 2639880"/>
                <a:gd name="connsiteX2649" fmla="*/ 4576908 w 7145312"/>
                <a:gd name="connsiteY2649" fmla="*/ 733828 h 2639880"/>
                <a:gd name="connsiteX2650" fmla="*/ 4586436 w 7145312"/>
                <a:gd name="connsiteY2650" fmla="*/ 719532 h 2639880"/>
                <a:gd name="connsiteX2651" fmla="*/ 4586436 w 7145312"/>
                <a:gd name="connsiteY2651" fmla="*/ 710002 h 2639880"/>
                <a:gd name="connsiteX2652" fmla="*/ 4595968 w 7145312"/>
                <a:gd name="connsiteY2652" fmla="*/ 705238 h 2639880"/>
                <a:gd name="connsiteX2653" fmla="*/ 4610264 w 7145312"/>
                <a:gd name="connsiteY2653" fmla="*/ 700472 h 2639880"/>
                <a:gd name="connsiteX2654" fmla="*/ 4615028 w 7145312"/>
                <a:gd name="connsiteY2654" fmla="*/ 695708 h 2639880"/>
                <a:gd name="connsiteX2655" fmla="*/ 4629324 w 7145312"/>
                <a:gd name="connsiteY2655" fmla="*/ 681412 h 2639880"/>
                <a:gd name="connsiteX2656" fmla="*/ 4643620 w 7145312"/>
                <a:gd name="connsiteY2656" fmla="*/ 662352 h 2639880"/>
                <a:gd name="connsiteX2657" fmla="*/ 1003060 w 7145312"/>
                <a:gd name="connsiteY2657" fmla="*/ 595640 h 2639880"/>
                <a:gd name="connsiteX2658" fmla="*/ 1012592 w 7145312"/>
                <a:gd name="connsiteY2658" fmla="*/ 600406 h 2639880"/>
                <a:gd name="connsiteX2659" fmla="*/ 1022120 w 7145312"/>
                <a:gd name="connsiteY2659" fmla="*/ 614700 h 2639880"/>
                <a:gd name="connsiteX2660" fmla="*/ 1022120 w 7145312"/>
                <a:gd name="connsiteY2660" fmla="*/ 624230 h 2639880"/>
                <a:gd name="connsiteX2661" fmla="*/ 1017356 w 7145312"/>
                <a:gd name="connsiteY2661" fmla="*/ 633762 h 2639880"/>
                <a:gd name="connsiteX2662" fmla="*/ 1012592 w 7145312"/>
                <a:gd name="connsiteY2662" fmla="*/ 648056 h 2639880"/>
                <a:gd name="connsiteX2663" fmla="*/ 993532 w 7145312"/>
                <a:gd name="connsiteY2663" fmla="*/ 657588 h 2639880"/>
                <a:gd name="connsiteX2664" fmla="*/ 979236 w 7145312"/>
                <a:gd name="connsiteY2664" fmla="*/ 652822 h 2639880"/>
                <a:gd name="connsiteX2665" fmla="*/ 974472 w 7145312"/>
                <a:gd name="connsiteY2665" fmla="*/ 652822 h 2639880"/>
                <a:gd name="connsiteX2666" fmla="*/ 964940 w 7145312"/>
                <a:gd name="connsiteY2666" fmla="*/ 628996 h 2639880"/>
                <a:gd name="connsiteX2667" fmla="*/ 964940 w 7145312"/>
                <a:gd name="connsiteY2667" fmla="*/ 609936 h 2639880"/>
                <a:gd name="connsiteX2668" fmla="*/ 969704 w 7145312"/>
                <a:gd name="connsiteY2668" fmla="*/ 600406 h 2639880"/>
                <a:gd name="connsiteX2669" fmla="*/ 988764 w 7145312"/>
                <a:gd name="connsiteY2669" fmla="*/ 605170 h 2639880"/>
                <a:gd name="connsiteX2670" fmla="*/ 5124896 w 7145312"/>
                <a:gd name="connsiteY2670" fmla="*/ 581344 h 2639880"/>
                <a:gd name="connsiteX2671" fmla="*/ 5124896 w 7145312"/>
                <a:gd name="connsiteY2671" fmla="*/ 586110 h 2639880"/>
                <a:gd name="connsiteX2672" fmla="*/ 5124896 w 7145312"/>
                <a:gd name="connsiteY2672" fmla="*/ 595640 h 2639880"/>
                <a:gd name="connsiteX2673" fmla="*/ 5105836 w 7145312"/>
                <a:gd name="connsiteY2673" fmla="*/ 619466 h 2639880"/>
                <a:gd name="connsiteX2674" fmla="*/ 5101072 w 7145312"/>
                <a:gd name="connsiteY2674" fmla="*/ 628996 h 2639880"/>
                <a:gd name="connsiteX2675" fmla="*/ 5101072 w 7145312"/>
                <a:gd name="connsiteY2675" fmla="*/ 638526 h 2639880"/>
                <a:gd name="connsiteX2676" fmla="*/ 5110600 w 7145312"/>
                <a:gd name="connsiteY2676" fmla="*/ 648056 h 2639880"/>
                <a:gd name="connsiteX2677" fmla="*/ 5120132 w 7145312"/>
                <a:gd name="connsiteY2677" fmla="*/ 657586 h 2639880"/>
                <a:gd name="connsiteX2678" fmla="*/ 5120132 w 7145312"/>
                <a:gd name="connsiteY2678" fmla="*/ 676646 h 2639880"/>
                <a:gd name="connsiteX2679" fmla="*/ 5124896 w 7145312"/>
                <a:gd name="connsiteY2679" fmla="*/ 695708 h 2639880"/>
                <a:gd name="connsiteX2680" fmla="*/ 5120132 w 7145312"/>
                <a:gd name="connsiteY2680" fmla="*/ 719532 h 2639880"/>
                <a:gd name="connsiteX2681" fmla="*/ 5115368 w 7145312"/>
                <a:gd name="connsiteY2681" fmla="*/ 724298 h 2639880"/>
                <a:gd name="connsiteX2682" fmla="*/ 5101072 w 7145312"/>
                <a:gd name="connsiteY2682" fmla="*/ 743358 h 2639880"/>
                <a:gd name="connsiteX2683" fmla="*/ 5062948 w 7145312"/>
                <a:gd name="connsiteY2683" fmla="*/ 767184 h 2639880"/>
                <a:gd name="connsiteX2684" fmla="*/ 5062948 w 7145312"/>
                <a:gd name="connsiteY2684" fmla="*/ 771950 h 2639880"/>
                <a:gd name="connsiteX2685" fmla="*/ 5062948 w 7145312"/>
                <a:gd name="connsiteY2685" fmla="*/ 781480 h 2639880"/>
                <a:gd name="connsiteX2686" fmla="*/ 5067716 w 7145312"/>
                <a:gd name="connsiteY2686" fmla="*/ 786244 h 2639880"/>
                <a:gd name="connsiteX2687" fmla="*/ 5077244 w 7145312"/>
                <a:gd name="connsiteY2687" fmla="*/ 791010 h 2639880"/>
                <a:gd name="connsiteX2688" fmla="*/ 5086776 w 7145312"/>
                <a:gd name="connsiteY2688" fmla="*/ 795774 h 2639880"/>
                <a:gd name="connsiteX2689" fmla="*/ 5101072 w 7145312"/>
                <a:gd name="connsiteY2689" fmla="*/ 795774 h 2639880"/>
                <a:gd name="connsiteX2690" fmla="*/ 5105836 w 7145312"/>
                <a:gd name="connsiteY2690" fmla="*/ 791010 h 2639880"/>
                <a:gd name="connsiteX2691" fmla="*/ 5105836 w 7145312"/>
                <a:gd name="connsiteY2691" fmla="*/ 781480 h 2639880"/>
                <a:gd name="connsiteX2692" fmla="*/ 5115368 w 7145312"/>
                <a:gd name="connsiteY2692" fmla="*/ 762418 h 2639880"/>
                <a:gd name="connsiteX2693" fmla="*/ 5129660 w 7145312"/>
                <a:gd name="connsiteY2693" fmla="*/ 752888 h 2639880"/>
                <a:gd name="connsiteX2694" fmla="*/ 5139192 w 7145312"/>
                <a:gd name="connsiteY2694" fmla="*/ 748124 h 2639880"/>
                <a:gd name="connsiteX2695" fmla="*/ 5143956 w 7145312"/>
                <a:gd name="connsiteY2695" fmla="*/ 743358 h 2639880"/>
                <a:gd name="connsiteX2696" fmla="*/ 5143956 w 7145312"/>
                <a:gd name="connsiteY2696" fmla="*/ 733828 h 2639880"/>
                <a:gd name="connsiteX2697" fmla="*/ 5143956 w 7145312"/>
                <a:gd name="connsiteY2697" fmla="*/ 719532 h 2639880"/>
                <a:gd name="connsiteX2698" fmla="*/ 5153488 w 7145312"/>
                <a:gd name="connsiteY2698" fmla="*/ 705238 h 2639880"/>
                <a:gd name="connsiteX2699" fmla="*/ 5186844 w 7145312"/>
                <a:gd name="connsiteY2699" fmla="*/ 690942 h 2639880"/>
                <a:gd name="connsiteX2700" fmla="*/ 5201140 w 7145312"/>
                <a:gd name="connsiteY2700" fmla="*/ 681412 h 2639880"/>
                <a:gd name="connsiteX2701" fmla="*/ 5224964 w 7145312"/>
                <a:gd name="connsiteY2701" fmla="*/ 681412 h 2639880"/>
                <a:gd name="connsiteX2702" fmla="*/ 5229728 w 7145312"/>
                <a:gd name="connsiteY2702" fmla="*/ 686176 h 2639880"/>
                <a:gd name="connsiteX2703" fmla="*/ 5224964 w 7145312"/>
                <a:gd name="connsiteY2703" fmla="*/ 695708 h 2639880"/>
                <a:gd name="connsiteX2704" fmla="*/ 5229728 w 7145312"/>
                <a:gd name="connsiteY2704" fmla="*/ 710002 h 2639880"/>
                <a:gd name="connsiteX2705" fmla="*/ 5229728 w 7145312"/>
                <a:gd name="connsiteY2705" fmla="*/ 752888 h 2639880"/>
                <a:gd name="connsiteX2706" fmla="*/ 5224964 w 7145312"/>
                <a:gd name="connsiteY2706" fmla="*/ 757654 h 2639880"/>
                <a:gd name="connsiteX2707" fmla="*/ 5201140 w 7145312"/>
                <a:gd name="connsiteY2707" fmla="*/ 771950 h 2639880"/>
                <a:gd name="connsiteX2708" fmla="*/ 5172548 w 7145312"/>
                <a:gd name="connsiteY2708" fmla="*/ 781480 h 2639880"/>
                <a:gd name="connsiteX2709" fmla="*/ 5163016 w 7145312"/>
                <a:gd name="connsiteY2709" fmla="*/ 791010 h 2639880"/>
                <a:gd name="connsiteX2710" fmla="*/ 5158252 w 7145312"/>
                <a:gd name="connsiteY2710" fmla="*/ 800540 h 2639880"/>
                <a:gd name="connsiteX2711" fmla="*/ 5158252 w 7145312"/>
                <a:gd name="connsiteY2711" fmla="*/ 810070 h 2639880"/>
                <a:gd name="connsiteX2712" fmla="*/ 5182080 w 7145312"/>
                <a:gd name="connsiteY2712" fmla="*/ 824366 h 2639880"/>
                <a:gd name="connsiteX2713" fmla="*/ 5215432 w 7145312"/>
                <a:gd name="connsiteY2713" fmla="*/ 838660 h 2639880"/>
                <a:gd name="connsiteX2714" fmla="*/ 5220200 w 7145312"/>
                <a:gd name="connsiteY2714" fmla="*/ 848192 h 2639880"/>
                <a:gd name="connsiteX2715" fmla="*/ 5224964 w 7145312"/>
                <a:gd name="connsiteY2715" fmla="*/ 857722 h 2639880"/>
                <a:gd name="connsiteX2716" fmla="*/ 5224964 w 7145312"/>
                <a:gd name="connsiteY2716" fmla="*/ 867252 h 2639880"/>
                <a:gd name="connsiteX2717" fmla="*/ 5234496 w 7145312"/>
                <a:gd name="connsiteY2717" fmla="*/ 876782 h 2639880"/>
                <a:gd name="connsiteX2718" fmla="*/ 5248788 w 7145312"/>
                <a:gd name="connsiteY2718" fmla="*/ 876782 h 2639880"/>
                <a:gd name="connsiteX2719" fmla="*/ 5253556 w 7145312"/>
                <a:gd name="connsiteY2719" fmla="*/ 886312 h 2639880"/>
                <a:gd name="connsiteX2720" fmla="*/ 5258320 w 7145312"/>
                <a:gd name="connsiteY2720" fmla="*/ 891078 h 2639880"/>
                <a:gd name="connsiteX2721" fmla="*/ 5201140 w 7145312"/>
                <a:gd name="connsiteY2721" fmla="*/ 872016 h 2639880"/>
                <a:gd name="connsiteX2722" fmla="*/ 5186844 w 7145312"/>
                <a:gd name="connsiteY2722" fmla="*/ 862486 h 2639880"/>
                <a:gd name="connsiteX2723" fmla="*/ 5172548 w 7145312"/>
                <a:gd name="connsiteY2723" fmla="*/ 862486 h 2639880"/>
                <a:gd name="connsiteX2724" fmla="*/ 5153488 w 7145312"/>
                <a:gd name="connsiteY2724" fmla="*/ 862486 h 2639880"/>
                <a:gd name="connsiteX2725" fmla="*/ 5134428 w 7145312"/>
                <a:gd name="connsiteY2725" fmla="*/ 852956 h 2639880"/>
                <a:gd name="connsiteX2726" fmla="*/ 5115368 w 7145312"/>
                <a:gd name="connsiteY2726" fmla="*/ 852956 h 2639880"/>
                <a:gd name="connsiteX2727" fmla="*/ 5105836 w 7145312"/>
                <a:gd name="connsiteY2727" fmla="*/ 857722 h 2639880"/>
                <a:gd name="connsiteX2728" fmla="*/ 5101072 w 7145312"/>
                <a:gd name="connsiteY2728" fmla="*/ 867252 h 2639880"/>
                <a:gd name="connsiteX2729" fmla="*/ 5101072 w 7145312"/>
                <a:gd name="connsiteY2729" fmla="*/ 876782 h 2639880"/>
                <a:gd name="connsiteX2730" fmla="*/ 5105836 w 7145312"/>
                <a:gd name="connsiteY2730" fmla="*/ 895842 h 2639880"/>
                <a:gd name="connsiteX2731" fmla="*/ 5105836 w 7145312"/>
                <a:gd name="connsiteY2731" fmla="*/ 900608 h 2639880"/>
                <a:gd name="connsiteX2732" fmla="*/ 5101072 w 7145312"/>
                <a:gd name="connsiteY2732" fmla="*/ 919668 h 2639880"/>
                <a:gd name="connsiteX2733" fmla="*/ 5115368 w 7145312"/>
                <a:gd name="connsiteY2733" fmla="*/ 962554 h 2639880"/>
                <a:gd name="connsiteX2734" fmla="*/ 5134428 w 7145312"/>
                <a:gd name="connsiteY2734" fmla="*/ 1000676 h 2639880"/>
                <a:gd name="connsiteX2735" fmla="*/ 5158252 w 7145312"/>
                <a:gd name="connsiteY2735" fmla="*/ 1038796 h 2639880"/>
                <a:gd name="connsiteX2736" fmla="*/ 5172548 w 7145312"/>
                <a:gd name="connsiteY2736" fmla="*/ 1053092 h 2639880"/>
                <a:gd name="connsiteX2737" fmla="*/ 5186844 w 7145312"/>
                <a:gd name="connsiteY2737" fmla="*/ 1067388 h 2639880"/>
                <a:gd name="connsiteX2738" fmla="*/ 5163016 w 7145312"/>
                <a:gd name="connsiteY2738" fmla="*/ 1062622 h 2639880"/>
                <a:gd name="connsiteX2739" fmla="*/ 5153488 w 7145312"/>
                <a:gd name="connsiteY2739" fmla="*/ 1048326 h 2639880"/>
                <a:gd name="connsiteX2740" fmla="*/ 5124896 w 7145312"/>
                <a:gd name="connsiteY2740" fmla="*/ 1034032 h 2639880"/>
                <a:gd name="connsiteX2741" fmla="*/ 5120132 w 7145312"/>
                <a:gd name="connsiteY2741" fmla="*/ 1029266 h 2639880"/>
                <a:gd name="connsiteX2742" fmla="*/ 5101072 w 7145312"/>
                <a:gd name="connsiteY2742" fmla="*/ 991144 h 2639880"/>
                <a:gd name="connsiteX2743" fmla="*/ 5096304 w 7145312"/>
                <a:gd name="connsiteY2743" fmla="*/ 986380 h 2639880"/>
                <a:gd name="connsiteX2744" fmla="*/ 5077244 w 7145312"/>
                <a:gd name="connsiteY2744" fmla="*/ 972084 h 2639880"/>
                <a:gd name="connsiteX2745" fmla="*/ 5072480 w 7145312"/>
                <a:gd name="connsiteY2745" fmla="*/ 962554 h 2639880"/>
                <a:gd name="connsiteX2746" fmla="*/ 5067716 w 7145312"/>
                <a:gd name="connsiteY2746" fmla="*/ 953024 h 2639880"/>
                <a:gd name="connsiteX2747" fmla="*/ 5067716 w 7145312"/>
                <a:gd name="connsiteY2747" fmla="*/ 938728 h 2639880"/>
                <a:gd name="connsiteX2748" fmla="*/ 5067716 w 7145312"/>
                <a:gd name="connsiteY2748" fmla="*/ 919668 h 2639880"/>
                <a:gd name="connsiteX2749" fmla="*/ 5067716 w 7145312"/>
                <a:gd name="connsiteY2749" fmla="*/ 900608 h 2639880"/>
                <a:gd name="connsiteX2750" fmla="*/ 5072480 w 7145312"/>
                <a:gd name="connsiteY2750" fmla="*/ 881548 h 2639880"/>
                <a:gd name="connsiteX2751" fmla="*/ 5067716 w 7145312"/>
                <a:gd name="connsiteY2751" fmla="*/ 872016 h 2639880"/>
                <a:gd name="connsiteX2752" fmla="*/ 5058184 w 7145312"/>
                <a:gd name="connsiteY2752" fmla="*/ 867252 h 2639880"/>
                <a:gd name="connsiteX2753" fmla="*/ 5048656 w 7145312"/>
                <a:gd name="connsiteY2753" fmla="*/ 848192 h 2639880"/>
                <a:gd name="connsiteX2754" fmla="*/ 5043888 w 7145312"/>
                <a:gd name="connsiteY2754" fmla="*/ 829130 h 2639880"/>
                <a:gd name="connsiteX2755" fmla="*/ 5048656 w 7145312"/>
                <a:gd name="connsiteY2755" fmla="*/ 819600 h 2639880"/>
                <a:gd name="connsiteX2756" fmla="*/ 5053420 w 7145312"/>
                <a:gd name="connsiteY2756" fmla="*/ 810070 h 2639880"/>
                <a:gd name="connsiteX2757" fmla="*/ 5058184 w 7145312"/>
                <a:gd name="connsiteY2757" fmla="*/ 800540 h 2639880"/>
                <a:gd name="connsiteX2758" fmla="*/ 5058184 w 7145312"/>
                <a:gd name="connsiteY2758" fmla="*/ 791010 h 2639880"/>
                <a:gd name="connsiteX2759" fmla="*/ 5043888 w 7145312"/>
                <a:gd name="connsiteY2759" fmla="*/ 781480 h 2639880"/>
                <a:gd name="connsiteX2760" fmla="*/ 5029592 w 7145312"/>
                <a:gd name="connsiteY2760" fmla="*/ 748124 h 2639880"/>
                <a:gd name="connsiteX2761" fmla="*/ 5029592 w 7145312"/>
                <a:gd name="connsiteY2761" fmla="*/ 729062 h 2639880"/>
                <a:gd name="connsiteX2762" fmla="*/ 5043888 w 7145312"/>
                <a:gd name="connsiteY2762" fmla="*/ 695708 h 2639880"/>
                <a:gd name="connsiteX2763" fmla="*/ 5043888 w 7145312"/>
                <a:gd name="connsiteY2763" fmla="*/ 681412 h 2639880"/>
                <a:gd name="connsiteX2764" fmla="*/ 5048656 w 7145312"/>
                <a:gd name="connsiteY2764" fmla="*/ 671882 h 2639880"/>
                <a:gd name="connsiteX2765" fmla="*/ 5053420 w 7145312"/>
                <a:gd name="connsiteY2765" fmla="*/ 662352 h 2639880"/>
                <a:gd name="connsiteX2766" fmla="*/ 5062948 w 7145312"/>
                <a:gd name="connsiteY2766" fmla="*/ 638526 h 2639880"/>
                <a:gd name="connsiteX2767" fmla="*/ 5077244 w 7145312"/>
                <a:gd name="connsiteY2767" fmla="*/ 619466 h 2639880"/>
                <a:gd name="connsiteX2768" fmla="*/ 5101072 w 7145312"/>
                <a:gd name="connsiteY2768" fmla="*/ 590874 h 2639880"/>
                <a:gd name="connsiteX2769" fmla="*/ 5115368 w 7145312"/>
                <a:gd name="connsiteY2769" fmla="*/ 586110 h 2639880"/>
                <a:gd name="connsiteX2770" fmla="*/ 304968 w 7145312"/>
                <a:gd name="connsiteY2770" fmla="*/ 576580 h 2639880"/>
                <a:gd name="connsiteX2771" fmla="*/ 319264 w 7145312"/>
                <a:gd name="connsiteY2771" fmla="*/ 581344 h 2639880"/>
                <a:gd name="connsiteX2772" fmla="*/ 324028 w 7145312"/>
                <a:gd name="connsiteY2772" fmla="*/ 581344 h 2639880"/>
                <a:gd name="connsiteX2773" fmla="*/ 328796 w 7145312"/>
                <a:gd name="connsiteY2773" fmla="*/ 590874 h 2639880"/>
                <a:gd name="connsiteX2774" fmla="*/ 333560 w 7145312"/>
                <a:gd name="connsiteY2774" fmla="*/ 600404 h 2639880"/>
                <a:gd name="connsiteX2775" fmla="*/ 328796 w 7145312"/>
                <a:gd name="connsiteY2775" fmla="*/ 605170 h 2639880"/>
                <a:gd name="connsiteX2776" fmla="*/ 314500 w 7145312"/>
                <a:gd name="connsiteY2776" fmla="*/ 586110 h 2639880"/>
                <a:gd name="connsiteX2777" fmla="*/ 295440 w 7145312"/>
                <a:gd name="connsiteY2777" fmla="*/ 581344 h 2639880"/>
                <a:gd name="connsiteX2778" fmla="*/ 5205904 w 7145312"/>
                <a:gd name="connsiteY2778" fmla="*/ 519396 h 2639880"/>
                <a:gd name="connsiteX2779" fmla="*/ 5210668 w 7145312"/>
                <a:gd name="connsiteY2779" fmla="*/ 519396 h 2639880"/>
                <a:gd name="connsiteX2780" fmla="*/ 5224964 w 7145312"/>
                <a:gd name="connsiteY2780" fmla="*/ 538458 h 2639880"/>
                <a:gd name="connsiteX2781" fmla="*/ 5215432 w 7145312"/>
                <a:gd name="connsiteY2781" fmla="*/ 576578 h 2639880"/>
                <a:gd name="connsiteX2782" fmla="*/ 5205904 w 7145312"/>
                <a:gd name="connsiteY2782" fmla="*/ 600404 h 2639880"/>
                <a:gd name="connsiteX2783" fmla="*/ 5186844 w 7145312"/>
                <a:gd name="connsiteY2783" fmla="*/ 605168 h 2639880"/>
                <a:gd name="connsiteX2784" fmla="*/ 5163016 w 7145312"/>
                <a:gd name="connsiteY2784" fmla="*/ 605168 h 2639880"/>
                <a:gd name="connsiteX2785" fmla="*/ 5158252 w 7145312"/>
                <a:gd name="connsiteY2785" fmla="*/ 600404 h 2639880"/>
                <a:gd name="connsiteX2786" fmla="*/ 5153488 w 7145312"/>
                <a:gd name="connsiteY2786" fmla="*/ 567048 h 2639880"/>
                <a:gd name="connsiteX2787" fmla="*/ 5172548 w 7145312"/>
                <a:gd name="connsiteY2787" fmla="*/ 538458 h 2639880"/>
                <a:gd name="connsiteX2788" fmla="*/ 5191608 w 7145312"/>
                <a:gd name="connsiteY2788" fmla="*/ 524162 h 2639880"/>
                <a:gd name="connsiteX2789" fmla="*/ 4710328 w 7145312"/>
                <a:gd name="connsiteY2789" fmla="*/ 486042 h 2639880"/>
                <a:gd name="connsiteX2790" fmla="*/ 4719860 w 7145312"/>
                <a:gd name="connsiteY2790" fmla="*/ 490808 h 2639880"/>
                <a:gd name="connsiteX2791" fmla="*/ 4719860 w 7145312"/>
                <a:gd name="connsiteY2791" fmla="*/ 495572 h 2639880"/>
                <a:gd name="connsiteX2792" fmla="*/ 4715096 w 7145312"/>
                <a:gd name="connsiteY2792" fmla="*/ 500338 h 2639880"/>
                <a:gd name="connsiteX2793" fmla="*/ 4715096 w 7145312"/>
                <a:gd name="connsiteY2793" fmla="*/ 509868 h 2639880"/>
                <a:gd name="connsiteX2794" fmla="*/ 4710328 w 7145312"/>
                <a:gd name="connsiteY2794" fmla="*/ 514632 h 2639880"/>
                <a:gd name="connsiteX2795" fmla="*/ 4705564 w 7145312"/>
                <a:gd name="connsiteY2795" fmla="*/ 495572 h 2639880"/>
                <a:gd name="connsiteX2796" fmla="*/ 90540 w 7145312"/>
                <a:gd name="connsiteY2796" fmla="*/ 471746 h 2639880"/>
                <a:gd name="connsiteX2797" fmla="*/ 104832 w 7145312"/>
                <a:gd name="connsiteY2797" fmla="*/ 476512 h 2639880"/>
                <a:gd name="connsiteX2798" fmla="*/ 123896 w 7145312"/>
                <a:gd name="connsiteY2798" fmla="*/ 490806 h 2639880"/>
                <a:gd name="connsiteX2799" fmla="*/ 138188 w 7145312"/>
                <a:gd name="connsiteY2799" fmla="*/ 495572 h 2639880"/>
                <a:gd name="connsiteX2800" fmla="*/ 142956 w 7145312"/>
                <a:gd name="connsiteY2800" fmla="*/ 500336 h 2639880"/>
                <a:gd name="connsiteX2801" fmla="*/ 152484 w 7145312"/>
                <a:gd name="connsiteY2801" fmla="*/ 509866 h 2639880"/>
                <a:gd name="connsiteX2802" fmla="*/ 185840 w 7145312"/>
                <a:gd name="connsiteY2802" fmla="*/ 533692 h 2639880"/>
                <a:gd name="connsiteX2803" fmla="*/ 190604 w 7145312"/>
                <a:gd name="connsiteY2803" fmla="*/ 538458 h 2639880"/>
                <a:gd name="connsiteX2804" fmla="*/ 195372 w 7145312"/>
                <a:gd name="connsiteY2804" fmla="*/ 547988 h 2639880"/>
                <a:gd name="connsiteX2805" fmla="*/ 195372 w 7145312"/>
                <a:gd name="connsiteY2805" fmla="*/ 557518 h 2639880"/>
                <a:gd name="connsiteX2806" fmla="*/ 185840 w 7145312"/>
                <a:gd name="connsiteY2806" fmla="*/ 557518 h 2639880"/>
                <a:gd name="connsiteX2807" fmla="*/ 176312 w 7145312"/>
                <a:gd name="connsiteY2807" fmla="*/ 557518 h 2639880"/>
                <a:gd name="connsiteX2808" fmla="*/ 166780 w 7145312"/>
                <a:gd name="connsiteY2808" fmla="*/ 547988 h 2639880"/>
                <a:gd name="connsiteX2809" fmla="*/ 128660 w 7145312"/>
                <a:gd name="connsiteY2809" fmla="*/ 519398 h 2639880"/>
                <a:gd name="connsiteX2810" fmla="*/ 114364 w 7145312"/>
                <a:gd name="connsiteY2810" fmla="*/ 519398 h 2639880"/>
                <a:gd name="connsiteX2811" fmla="*/ 104832 w 7145312"/>
                <a:gd name="connsiteY2811" fmla="*/ 514632 h 2639880"/>
                <a:gd name="connsiteX2812" fmla="*/ 95304 w 7145312"/>
                <a:gd name="connsiteY2812" fmla="*/ 509866 h 2639880"/>
                <a:gd name="connsiteX2813" fmla="*/ 81008 w 7145312"/>
                <a:gd name="connsiteY2813" fmla="*/ 495572 h 2639880"/>
                <a:gd name="connsiteX2814" fmla="*/ 76244 w 7145312"/>
                <a:gd name="connsiteY2814" fmla="*/ 486042 h 2639880"/>
                <a:gd name="connsiteX2815" fmla="*/ 85772 w 7145312"/>
                <a:gd name="connsiteY2815" fmla="*/ 481276 h 2639880"/>
                <a:gd name="connsiteX2816" fmla="*/ 2132396 w 7145312"/>
                <a:gd name="connsiteY2816" fmla="*/ 457452 h 2639880"/>
                <a:gd name="connsiteX2817" fmla="*/ 2132396 w 7145312"/>
                <a:gd name="connsiteY2817" fmla="*/ 471746 h 2639880"/>
                <a:gd name="connsiteX2818" fmla="*/ 2127632 w 7145312"/>
                <a:gd name="connsiteY2818" fmla="*/ 481276 h 2639880"/>
                <a:gd name="connsiteX2819" fmla="*/ 2118100 w 7145312"/>
                <a:gd name="connsiteY2819" fmla="*/ 476512 h 2639880"/>
                <a:gd name="connsiteX2820" fmla="*/ 5610936 w 7145312"/>
                <a:gd name="connsiteY2820" fmla="*/ 447920 h 2639880"/>
                <a:gd name="connsiteX2821" fmla="*/ 5615704 w 7145312"/>
                <a:gd name="connsiteY2821" fmla="*/ 447920 h 2639880"/>
                <a:gd name="connsiteX2822" fmla="*/ 5615704 w 7145312"/>
                <a:gd name="connsiteY2822" fmla="*/ 452686 h 2639880"/>
                <a:gd name="connsiteX2823" fmla="*/ 5610936 w 7145312"/>
                <a:gd name="connsiteY2823" fmla="*/ 452686 h 2639880"/>
                <a:gd name="connsiteX2824" fmla="*/ 1636824 w 7145312"/>
                <a:gd name="connsiteY2824" fmla="*/ 447920 h 2639880"/>
                <a:gd name="connsiteX2825" fmla="*/ 1641588 w 7145312"/>
                <a:gd name="connsiteY2825" fmla="*/ 452686 h 2639880"/>
                <a:gd name="connsiteX2826" fmla="*/ 1646352 w 7145312"/>
                <a:gd name="connsiteY2826" fmla="*/ 457452 h 2639880"/>
                <a:gd name="connsiteX2827" fmla="*/ 1651120 w 7145312"/>
                <a:gd name="connsiteY2827" fmla="*/ 457452 h 2639880"/>
                <a:gd name="connsiteX2828" fmla="*/ 1655884 w 7145312"/>
                <a:gd name="connsiteY2828" fmla="*/ 462216 h 2639880"/>
                <a:gd name="connsiteX2829" fmla="*/ 1651120 w 7145312"/>
                <a:gd name="connsiteY2829" fmla="*/ 471746 h 2639880"/>
                <a:gd name="connsiteX2830" fmla="*/ 1646352 w 7145312"/>
                <a:gd name="connsiteY2830" fmla="*/ 476512 h 2639880"/>
                <a:gd name="connsiteX2831" fmla="*/ 1636824 w 7145312"/>
                <a:gd name="connsiteY2831" fmla="*/ 481276 h 2639880"/>
                <a:gd name="connsiteX2832" fmla="*/ 1636824 w 7145312"/>
                <a:gd name="connsiteY2832" fmla="*/ 476512 h 2639880"/>
                <a:gd name="connsiteX2833" fmla="*/ 1636824 w 7145312"/>
                <a:gd name="connsiteY2833" fmla="*/ 466982 h 2639880"/>
                <a:gd name="connsiteX2834" fmla="*/ 1636824 w 7145312"/>
                <a:gd name="connsiteY2834" fmla="*/ 462216 h 2639880"/>
                <a:gd name="connsiteX2835" fmla="*/ 1636824 w 7145312"/>
                <a:gd name="connsiteY2835" fmla="*/ 457452 h 2639880"/>
                <a:gd name="connsiteX2836" fmla="*/ 1717832 w 7145312"/>
                <a:gd name="connsiteY2836" fmla="*/ 419330 h 2639880"/>
                <a:gd name="connsiteX2837" fmla="*/ 1727360 w 7145312"/>
                <a:gd name="connsiteY2837" fmla="*/ 424096 h 2639880"/>
                <a:gd name="connsiteX2838" fmla="*/ 1727360 w 7145312"/>
                <a:gd name="connsiteY2838" fmla="*/ 433626 h 2639880"/>
                <a:gd name="connsiteX2839" fmla="*/ 1727360 w 7145312"/>
                <a:gd name="connsiteY2839" fmla="*/ 443156 h 2639880"/>
                <a:gd name="connsiteX2840" fmla="*/ 1717832 w 7145312"/>
                <a:gd name="connsiteY2840" fmla="*/ 438390 h 2639880"/>
                <a:gd name="connsiteX2841" fmla="*/ 1713064 w 7145312"/>
                <a:gd name="connsiteY2841" fmla="*/ 424096 h 2639880"/>
                <a:gd name="connsiteX2842" fmla="*/ 3485692 w 7145312"/>
                <a:gd name="connsiteY2842" fmla="*/ 390740 h 2639880"/>
                <a:gd name="connsiteX2843" fmla="*/ 3499988 w 7145312"/>
                <a:gd name="connsiteY2843" fmla="*/ 390740 h 2639880"/>
                <a:gd name="connsiteX2844" fmla="*/ 3509520 w 7145312"/>
                <a:gd name="connsiteY2844" fmla="*/ 390740 h 2639880"/>
                <a:gd name="connsiteX2845" fmla="*/ 3504752 w 7145312"/>
                <a:gd name="connsiteY2845" fmla="*/ 414564 h 2639880"/>
                <a:gd name="connsiteX2846" fmla="*/ 3499988 w 7145312"/>
                <a:gd name="connsiteY2846" fmla="*/ 419330 h 2639880"/>
                <a:gd name="connsiteX2847" fmla="*/ 3485692 w 7145312"/>
                <a:gd name="connsiteY2847" fmla="*/ 405034 h 2639880"/>
                <a:gd name="connsiteX2848" fmla="*/ 3485692 w 7145312"/>
                <a:gd name="connsiteY2848" fmla="*/ 395504 h 2639880"/>
                <a:gd name="connsiteX2849" fmla="*/ 4724628 w 7145312"/>
                <a:gd name="connsiteY2849" fmla="*/ 343088 h 2639880"/>
                <a:gd name="connsiteX2850" fmla="*/ 4734156 w 7145312"/>
                <a:gd name="connsiteY2850" fmla="*/ 352618 h 2639880"/>
                <a:gd name="connsiteX2851" fmla="*/ 4743688 w 7145312"/>
                <a:gd name="connsiteY2851" fmla="*/ 366914 h 2639880"/>
                <a:gd name="connsiteX2852" fmla="*/ 4748452 w 7145312"/>
                <a:gd name="connsiteY2852" fmla="*/ 381208 h 2639880"/>
                <a:gd name="connsiteX2853" fmla="*/ 4753216 w 7145312"/>
                <a:gd name="connsiteY2853" fmla="*/ 390738 h 2639880"/>
                <a:gd name="connsiteX2854" fmla="*/ 4748452 w 7145312"/>
                <a:gd name="connsiteY2854" fmla="*/ 395504 h 2639880"/>
                <a:gd name="connsiteX2855" fmla="*/ 4729392 w 7145312"/>
                <a:gd name="connsiteY2855" fmla="*/ 385974 h 2639880"/>
                <a:gd name="connsiteX2856" fmla="*/ 4729392 w 7145312"/>
                <a:gd name="connsiteY2856" fmla="*/ 371678 h 2639880"/>
                <a:gd name="connsiteX2857" fmla="*/ 4729392 w 7145312"/>
                <a:gd name="connsiteY2857" fmla="*/ 362148 h 2639880"/>
                <a:gd name="connsiteX2858" fmla="*/ 4724628 w 7145312"/>
                <a:gd name="connsiteY2858" fmla="*/ 357384 h 2639880"/>
                <a:gd name="connsiteX2859" fmla="*/ 4719860 w 7145312"/>
                <a:gd name="connsiteY2859" fmla="*/ 347854 h 2639880"/>
                <a:gd name="connsiteX2860" fmla="*/ 4929528 w 7145312"/>
                <a:gd name="connsiteY2860" fmla="*/ 324028 h 2639880"/>
                <a:gd name="connsiteX2861" fmla="*/ 4934292 w 7145312"/>
                <a:gd name="connsiteY2861" fmla="*/ 324028 h 2639880"/>
                <a:gd name="connsiteX2862" fmla="*/ 4939056 w 7145312"/>
                <a:gd name="connsiteY2862" fmla="*/ 328792 h 2639880"/>
                <a:gd name="connsiteX2863" fmla="*/ 4939056 w 7145312"/>
                <a:gd name="connsiteY2863" fmla="*/ 333556 h 2639880"/>
                <a:gd name="connsiteX2864" fmla="*/ 4939056 w 7145312"/>
                <a:gd name="connsiteY2864" fmla="*/ 338322 h 2639880"/>
                <a:gd name="connsiteX2865" fmla="*/ 4929528 w 7145312"/>
                <a:gd name="connsiteY2865" fmla="*/ 333556 h 2639880"/>
                <a:gd name="connsiteX2866" fmla="*/ 4929528 w 7145312"/>
                <a:gd name="connsiteY2866" fmla="*/ 328792 h 2639880"/>
                <a:gd name="connsiteX2867" fmla="*/ 4905700 w 7145312"/>
                <a:gd name="connsiteY2867" fmla="*/ 295436 h 2639880"/>
                <a:gd name="connsiteX2868" fmla="*/ 4915232 w 7145312"/>
                <a:gd name="connsiteY2868" fmla="*/ 300202 h 2639880"/>
                <a:gd name="connsiteX2869" fmla="*/ 4919996 w 7145312"/>
                <a:gd name="connsiteY2869" fmla="*/ 314498 h 2639880"/>
                <a:gd name="connsiteX2870" fmla="*/ 4919996 w 7145312"/>
                <a:gd name="connsiteY2870" fmla="*/ 319262 h 2639880"/>
                <a:gd name="connsiteX2871" fmla="*/ 4919996 w 7145312"/>
                <a:gd name="connsiteY2871" fmla="*/ 328792 h 2639880"/>
                <a:gd name="connsiteX2872" fmla="*/ 4910464 w 7145312"/>
                <a:gd name="connsiteY2872" fmla="*/ 309732 h 2639880"/>
                <a:gd name="connsiteX2873" fmla="*/ 3499988 w 7145312"/>
                <a:gd name="connsiteY2873" fmla="*/ 271612 h 2639880"/>
                <a:gd name="connsiteX2874" fmla="*/ 3519048 w 7145312"/>
                <a:gd name="connsiteY2874" fmla="*/ 276376 h 2639880"/>
                <a:gd name="connsiteX2875" fmla="*/ 3538108 w 7145312"/>
                <a:gd name="connsiteY2875" fmla="*/ 271612 h 2639880"/>
                <a:gd name="connsiteX2876" fmla="*/ 3542872 w 7145312"/>
                <a:gd name="connsiteY2876" fmla="*/ 285906 h 2639880"/>
                <a:gd name="connsiteX2877" fmla="*/ 3542872 w 7145312"/>
                <a:gd name="connsiteY2877" fmla="*/ 290672 h 2639880"/>
                <a:gd name="connsiteX2878" fmla="*/ 3514284 w 7145312"/>
                <a:gd name="connsiteY2878" fmla="*/ 300202 h 2639880"/>
                <a:gd name="connsiteX2879" fmla="*/ 3499988 w 7145312"/>
                <a:gd name="connsiteY2879" fmla="*/ 281142 h 2639880"/>
                <a:gd name="connsiteX2880" fmla="*/ 2027564 w 7145312"/>
                <a:gd name="connsiteY2880" fmla="*/ 266846 h 2639880"/>
                <a:gd name="connsiteX2881" fmla="*/ 2032328 w 7145312"/>
                <a:gd name="connsiteY2881" fmla="*/ 266846 h 2639880"/>
                <a:gd name="connsiteX2882" fmla="*/ 2032328 w 7145312"/>
                <a:gd name="connsiteY2882" fmla="*/ 276376 h 2639880"/>
                <a:gd name="connsiteX2883" fmla="*/ 2056156 w 7145312"/>
                <a:gd name="connsiteY2883" fmla="*/ 304966 h 2639880"/>
                <a:gd name="connsiteX2884" fmla="*/ 2056156 w 7145312"/>
                <a:gd name="connsiteY2884" fmla="*/ 319262 h 2639880"/>
                <a:gd name="connsiteX2885" fmla="*/ 2056156 w 7145312"/>
                <a:gd name="connsiteY2885" fmla="*/ 324028 h 2639880"/>
                <a:gd name="connsiteX2886" fmla="*/ 2046624 w 7145312"/>
                <a:gd name="connsiteY2886" fmla="*/ 347852 h 2639880"/>
                <a:gd name="connsiteX2887" fmla="*/ 2022800 w 7145312"/>
                <a:gd name="connsiteY2887" fmla="*/ 352618 h 2639880"/>
                <a:gd name="connsiteX2888" fmla="*/ 2008504 w 7145312"/>
                <a:gd name="connsiteY2888" fmla="*/ 347852 h 2639880"/>
                <a:gd name="connsiteX2889" fmla="*/ 2022800 w 7145312"/>
                <a:gd name="connsiteY2889" fmla="*/ 338322 h 2639880"/>
                <a:gd name="connsiteX2890" fmla="*/ 2027564 w 7145312"/>
                <a:gd name="connsiteY2890" fmla="*/ 338322 h 2639880"/>
                <a:gd name="connsiteX2891" fmla="*/ 2032328 w 7145312"/>
                <a:gd name="connsiteY2891" fmla="*/ 333558 h 2639880"/>
                <a:gd name="connsiteX2892" fmla="*/ 2032328 w 7145312"/>
                <a:gd name="connsiteY2892" fmla="*/ 328792 h 2639880"/>
                <a:gd name="connsiteX2893" fmla="*/ 2008504 w 7145312"/>
                <a:gd name="connsiteY2893" fmla="*/ 324028 h 2639880"/>
                <a:gd name="connsiteX2894" fmla="*/ 2003740 w 7145312"/>
                <a:gd name="connsiteY2894" fmla="*/ 319262 h 2639880"/>
                <a:gd name="connsiteX2895" fmla="*/ 1994208 w 7145312"/>
                <a:gd name="connsiteY2895" fmla="*/ 304966 h 2639880"/>
                <a:gd name="connsiteX2896" fmla="*/ 1994208 w 7145312"/>
                <a:gd name="connsiteY2896" fmla="*/ 295436 h 2639880"/>
                <a:gd name="connsiteX2897" fmla="*/ 3266496 w 7145312"/>
                <a:gd name="connsiteY2897" fmla="*/ 243020 h 2639880"/>
                <a:gd name="connsiteX2898" fmla="*/ 3280792 w 7145312"/>
                <a:gd name="connsiteY2898" fmla="*/ 243020 h 2639880"/>
                <a:gd name="connsiteX2899" fmla="*/ 3295088 w 7145312"/>
                <a:gd name="connsiteY2899" fmla="*/ 243020 h 2639880"/>
                <a:gd name="connsiteX2900" fmla="*/ 3299852 w 7145312"/>
                <a:gd name="connsiteY2900" fmla="*/ 247786 h 2639880"/>
                <a:gd name="connsiteX2901" fmla="*/ 3309384 w 7145312"/>
                <a:gd name="connsiteY2901" fmla="*/ 252550 h 2639880"/>
                <a:gd name="connsiteX2902" fmla="*/ 3323680 w 7145312"/>
                <a:gd name="connsiteY2902" fmla="*/ 243020 h 2639880"/>
                <a:gd name="connsiteX2903" fmla="*/ 3328444 w 7145312"/>
                <a:gd name="connsiteY2903" fmla="*/ 243020 h 2639880"/>
                <a:gd name="connsiteX2904" fmla="*/ 3337976 w 7145312"/>
                <a:gd name="connsiteY2904" fmla="*/ 247786 h 2639880"/>
                <a:gd name="connsiteX2905" fmla="*/ 3342740 w 7145312"/>
                <a:gd name="connsiteY2905" fmla="*/ 247786 h 2639880"/>
                <a:gd name="connsiteX2906" fmla="*/ 3352268 w 7145312"/>
                <a:gd name="connsiteY2906" fmla="*/ 243020 h 2639880"/>
                <a:gd name="connsiteX2907" fmla="*/ 3376096 w 7145312"/>
                <a:gd name="connsiteY2907" fmla="*/ 247786 h 2639880"/>
                <a:gd name="connsiteX2908" fmla="*/ 3414216 w 7145312"/>
                <a:gd name="connsiteY2908" fmla="*/ 247786 h 2639880"/>
                <a:gd name="connsiteX2909" fmla="*/ 3442808 w 7145312"/>
                <a:gd name="connsiteY2909" fmla="*/ 252550 h 2639880"/>
                <a:gd name="connsiteX2910" fmla="*/ 3471396 w 7145312"/>
                <a:gd name="connsiteY2910" fmla="*/ 271610 h 2639880"/>
                <a:gd name="connsiteX2911" fmla="*/ 3485692 w 7145312"/>
                <a:gd name="connsiteY2911" fmla="*/ 271610 h 2639880"/>
                <a:gd name="connsiteX2912" fmla="*/ 3490460 w 7145312"/>
                <a:gd name="connsiteY2912" fmla="*/ 271610 h 2639880"/>
                <a:gd name="connsiteX2913" fmla="*/ 3490460 w 7145312"/>
                <a:gd name="connsiteY2913" fmla="*/ 276376 h 2639880"/>
                <a:gd name="connsiteX2914" fmla="*/ 3476164 w 7145312"/>
                <a:gd name="connsiteY2914" fmla="*/ 281142 h 2639880"/>
                <a:gd name="connsiteX2915" fmla="*/ 3471396 w 7145312"/>
                <a:gd name="connsiteY2915" fmla="*/ 290672 h 2639880"/>
                <a:gd name="connsiteX2916" fmla="*/ 3485692 w 7145312"/>
                <a:gd name="connsiteY2916" fmla="*/ 300202 h 2639880"/>
                <a:gd name="connsiteX2917" fmla="*/ 3490460 w 7145312"/>
                <a:gd name="connsiteY2917" fmla="*/ 309732 h 2639880"/>
                <a:gd name="connsiteX2918" fmla="*/ 3499988 w 7145312"/>
                <a:gd name="connsiteY2918" fmla="*/ 319262 h 2639880"/>
                <a:gd name="connsiteX2919" fmla="*/ 3514284 w 7145312"/>
                <a:gd name="connsiteY2919" fmla="*/ 333558 h 2639880"/>
                <a:gd name="connsiteX2920" fmla="*/ 3514284 w 7145312"/>
                <a:gd name="connsiteY2920" fmla="*/ 338322 h 2639880"/>
                <a:gd name="connsiteX2921" fmla="*/ 3519048 w 7145312"/>
                <a:gd name="connsiteY2921" fmla="*/ 343088 h 2639880"/>
                <a:gd name="connsiteX2922" fmla="*/ 3523816 w 7145312"/>
                <a:gd name="connsiteY2922" fmla="*/ 347852 h 2639880"/>
                <a:gd name="connsiteX2923" fmla="*/ 3514284 w 7145312"/>
                <a:gd name="connsiteY2923" fmla="*/ 357384 h 2639880"/>
                <a:gd name="connsiteX2924" fmla="*/ 3499988 w 7145312"/>
                <a:gd name="connsiteY2924" fmla="*/ 357384 h 2639880"/>
                <a:gd name="connsiteX2925" fmla="*/ 3490460 w 7145312"/>
                <a:gd name="connsiteY2925" fmla="*/ 352618 h 2639880"/>
                <a:gd name="connsiteX2926" fmla="*/ 3480928 w 7145312"/>
                <a:gd name="connsiteY2926" fmla="*/ 343088 h 2639880"/>
                <a:gd name="connsiteX2927" fmla="*/ 3476164 w 7145312"/>
                <a:gd name="connsiteY2927" fmla="*/ 352618 h 2639880"/>
                <a:gd name="connsiteX2928" fmla="*/ 3471396 w 7145312"/>
                <a:gd name="connsiteY2928" fmla="*/ 357384 h 2639880"/>
                <a:gd name="connsiteX2929" fmla="*/ 3447572 w 7145312"/>
                <a:gd name="connsiteY2929" fmla="*/ 357384 h 2639880"/>
                <a:gd name="connsiteX2930" fmla="*/ 3428512 w 7145312"/>
                <a:gd name="connsiteY2930" fmla="*/ 357384 h 2639880"/>
                <a:gd name="connsiteX2931" fmla="*/ 3409452 w 7145312"/>
                <a:gd name="connsiteY2931" fmla="*/ 357384 h 2639880"/>
                <a:gd name="connsiteX2932" fmla="*/ 3418980 w 7145312"/>
                <a:gd name="connsiteY2932" fmla="*/ 362148 h 2639880"/>
                <a:gd name="connsiteX2933" fmla="*/ 3428512 w 7145312"/>
                <a:gd name="connsiteY2933" fmla="*/ 362148 h 2639880"/>
                <a:gd name="connsiteX2934" fmla="*/ 3457104 w 7145312"/>
                <a:gd name="connsiteY2934" fmla="*/ 390738 h 2639880"/>
                <a:gd name="connsiteX2935" fmla="*/ 3461868 w 7145312"/>
                <a:gd name="connsiteY2935" fmla="*/ 400270 h 2639880"/>
                <a:gd name="connsiteX2936" fmla="*/ 3452336 w 7145312"/>
                <a:gd name="connsiteY2936" fmla="*/ 419330 h 2639880"/>
                <a:gd name="connsiteX2937" fmla="*/ 3457104 w 7145312"/>
                <a:gd name="connsiteY2937" fmla="*/ 428860 h 2639880"/>
                <a:gd name="connsiteX2938" fmla="*/ 3466632 w 7145312"/>
                <a:gd name="connsiteY2938" fmla="*/ 428860 h 2639880"/>
                <a:gd name="connsiteX2939" fmla="*/ 3480928 w 7145312"/>
                <a:gd name="connsiteY2939" fmla="*/ 438390 h 2639880"/>
                <a:gd name="connsiteX2940" fmla="*/ 3490460 w 7145312"/>
                <a:gd name="connsiteY2940" fmla="*/ 443156 h 2639880"/>
                <a:gd name="connsiteX2941" fmla="*/ 3495224 w 7145312"/>
                <a:gd name="connsiteY2941" fmla="*/ 447920 h 2639880"/>
                <a:gd name="connsiteX2942" fmla="*/ 3495224 w 7145312"/>
                <a:gd name="connsiteY2942" fmla="*/ 457450 h 2639880"/>
                <a:gd name="connsiteX2943" fmla="*/ 3499988 w 7145312"/>
                <a:gd name="connsiteY2943" fmla="*/ 462216 h 2639880"/>
                <a:gd name="connsiteX2944" fmla="*/ 3490460 w 7145312"/>
                <a:gd name="connsiteY2944" fmla="*/ 466982 h 2639880"/>
                <a:gd name="connsiteX2945" fmla="*/ 3499988 w 7145312"/>
                <a:gd name="connsiteY2945" fmla="*/ 471746 h 2639880"/>
                <a:gd name="connsiteX2946" fmla="*/ 3509520 w 7145312"/>
                <a:gd name="connsiteY2946" fmla="*/ 476512 h 2639880"/>
                <a:gd name="connsiteX2947" fmla="*/ 3504752 w 7145312"/>
                <a:gd name="connsiteY2947" fmla="*/ 481276 h 2639880"/>
                <a:gd name="connsiteX2948" fmla="*/ 3499988 w 7145312"/>
                <a:gd name="connsiteY2948" fmla="*/ 486042 h 2639880"/>
                <a:gd name="connsiteX2949" fmla="*/ 3504752 w 7145312"/>
                <a:gd name="connsiteY2949" fmla="*/ 486042 h 2639880"/>
                <a:gd name="connsiteX2950" fmla="*/ 3519048 w 7145312"/>
                <a:gd name="connsiteY2950" fmla="*/ 490806 h 2639880"/>
                <a:gd name="connsiteX2951" fmla="*/ 3523816 w 7145312"/>
                <a:gd name="connsiteY2951" fmla="*/ 495572 h 2639880"/>
                <a:gd name="connsiteX2952" fmla="*/ 3523816 w 7145312"/>
                <a:gd name="connsiteY2952" fmla="*/ 509868 h 2639880"/>
                <a:gd name="connsiteX2953" fmla="*/ 3538108 w 7145312"/>
                <a:gd name="connsiteY2953" fmla="*/ 528928 h 2639880"/>
                <a:gd name="connsiteX2954" fmla="*/ 3561936 w 7145312"/>
                <a:gd name="connsiteY2954" fmla="*/ 552754 h 2639880"/>
                <a:gd name="connsiteX2955" fmla="*/ 3566700 w 7145312"/>
                <a:gd name="connsiteY2955" fmla="*/ 562284 h 2639880"/>
                <a:gd name="connsiteX2956" fmla="*/ 3566700 w 7145312"/>
                <a:gd name="connsiteY2956" fmla="*/ 571814 h 2639880"/>
                <a:gd name="connsiteX2957" fmla="*/ 3561936 w 7145312"/>
                <a:gd name="connsiteY2957" fmla="*/ 581344 h 2639880"/>
                <a:gd name="connsiteX2958" fmla="*/ 3552404 w 7145312"/>
                <a:gd name="connsiteY2958" fmla="*/ 586110 h 2639880"/>
                <a:gd name="connsiteX2959" fmla="*/ 3538108 w 7145312"/>
                <a:gd name="connsiteY2959" fmla="*/ 600404 h 2639880"/>
                <a:gd name="connsiteX2960" fmla="*/ 3538108 w 7145312"/>
                <a:gd name="connsiteY2960" fmla="*/ 605170 h 2639880"/>
                <a:gd name="connsiteX2961" fmla="*/ 3523816 w 7145312"/>
                <a:gd name="connsiteY2961" fmla="*/ 609934 h 2639880"/>
                <a:gd name="connsiteX2962" fmla="*/ 3528580 w 7145312"/>
                <a:gd name="connsiteY2962" fmla="*/ 614700 h 2639880"/>
                <a:gd name="connsiteX2963" fmla="*/ 3533344 w 7145312"/>
                <a:gd name="connsiteY2963" fmla="*/ 619466 h 2639880"/>
                <a:gd name="connsiteX2964" fmla="*/ 3547640 w 7145312"/>
                <a:gd name="connsiteY2964" fmla="*/ 633760 h 2639880"/>
                <a:gd name="connsiteX2965" fmla="*/ 3571464 w 7145312"/>
                <a:gd name="connsiteY2965" fmla="*/ 657586 h 2639880"/>
                <a:gd name="connsiteX2966" fmla="*/ 3580996 w 7145312"/>
                <a:gd name="connsiteY2966" fmla="*/ 667116 h 2639880"/>
                <a:gd name="connsiteX2967" fmla="*/ 3628648 w 7145312"/>
                <a:gd name="connsiteY2967" fmla="*/ 705238 h 2639880"/>
                <a:gd name="connsiteX2968" fmla="*/ 3657236 w 7145312"/>
                <a:gd name="connsiteY2968" fmla="*/ 719532 h 2639880"/>
                <a:gd name="connsiteX2969" fmla="*/ 3690592 w 7145312"/>
                <a:gd name="connsiteY2969" fmla="*/ 752888 h 2639880"/>
                <a:gd name="connsiteX2970" fmla="*/ 3709656 w 7145312"/>
                <a:gd name="connsiteY2970" fmla="*/ 762420 h 2639880"/>
                <a:gd name="connsiteX2971" fmla="*/ 3709656 w 7145312"/>
                <a:gd name="connsiteY2971" fmla="*/ 771950 h 2639880"/>
                <a:gd name="connsiteX2972" fmla="*/ 3695360 w 7145312"/>
                <a:gd name="connsiteY2972" fmla="*/ 786244 h 2639880"/>
                <a:gd name="connsiteX2973" fmla="*/ 3676300 w 7145312"/>
                <a:gd name="connsiteY2973" fmla="*/ 795774 h 2639880"/>
                <a:gd name="connsiteX2974" fmla="*/ 3638176 w 7145312"/>
                <a:gd name="connsiteY2974" fmla="*/ 800540 h 2639880"/>
                <a:gd name="connsiteX2975" fmla="*/ 3604820 w 7145312"/>
                <a:gd name="connsiteY2975" fmla="*/ 795774 h 2639880"/>
                <a:gd name="connsiteX2976" fmla="*/ 3585760 w 7145312"/>
                <a:gd name="connsiteY2976" fmla="*/ 791010 h 2639880"/>
                <a:gd name="connsiteX2977" fmla="*/ 3571464 w 7145312"/>
                <a:gd name="connsiteY2977" fmla="*/ 781480 h 2639880"/>
                <a:gd name="connsiteX2978" fmla="*/ 3557168 w 7145312"/>
                <a:gd name="connsiteY2978" fmla="*/ 762420 h 2639880"/>
                <a:gd name="connsiteX2979" fmla="*/ 3542876 w 7145312"/>
                <a:gd name="connsiteY2979" fmla="*/ 752888 h 2639880"/>
                <a:gd name="connsiteX2980" fmla="*/ 3547640 w 7145312"/>
                <a:gd name="connsiteY2980" fmla="*/ 767184 h 2639880"/>
                <a:gd name="connsiteX2981" fmla="*/ 3552404 w 7145312"/>
                <a:gd name="connsiteY2981" fmla="*/ 776714 h 2639880"/>
                <a:gd name="connsiteX2982" fmla="*/ 3552404 w 7145312"/>
                <a:gd name="connsiteY2982" fmla="*/ 786244 h 2639880"/>
                <a:gd name="connsiteX2983" fmla="*/ 3542876 w 7145312"/>
                <a:gd name="connsiteY2983" fmla="*/ 795774 h 2639880"/>
                <a:gd name="connsiteX2984" fmla="*/ 3533344 w 7145312"/>
                <a:gd name="connsiteY2984" fmla="*/ 800540 h 2639880"/>
                <a:gd name="connsiteX2985" fmla="*/ 3523816 w 7145312"/>
                <a:gd name="connsiteY2985" fmla="*/ 810070 h 2639880"/>
                <a:gd name="connsiteX2986" fmla="*/ 3519048 w 7145312"/>
                <a:gd name="connsiteY2986" fmla="*/ 810070 h 2639880"/>
                <a:gd name="connsiteX2987" fmla="*/ 3485692 w 7145312"/>
                <a:gd name="connsiteY2987" fmla="*/ 872016 h 2639880"/>
                <a:gd name="connsiteX2988" fmla="*/ 3480928 w 7145312"/>
                <a:gd name="connsiteY2988" fmla="*/ 891078 h 2639880"/>
                <a:gd name="connsiteX2989" fmla="*/ 3471396 w 7145312"/>
                <a:gd name="connsiteY2989" fmla="*/ 957790 h 2639880"/>
                <a:gd name="connsiteX2990" fmla="*/ 3471396 w 7145312"/>
                <a:gd name="connsiteY2990" fmla="*/ 976850 h 2639880"/>
                <a:gd name="connsiteX2991" fmla="*/ 3485692 w 7145312"/>
                <a:gd name="connsiteY2991" fmla="*/ 1010206 h 2639880"/>
                <a:gd name="connsiteX2992" fmla="*/ 3485692 w 7145312"/>
                <a:gd name="connsiteY2992" fmla="*/ 1029266 h 2639880"/>
                <a:gd name="connsiteX2993" fmla="*/ 3490460 w 7145312"/>
                <a:gd name="connsiteY2993" fmla="*/ 1038796 h 2639880"/>
                <a:gd name="connsiteX2994" fmla="*/ 3485692 w 7145312"/>
                <a:gd name="connsiteY2994" fmla="*/ 1048326 h 2639880"/>
                <a:gd name="connsiteX2995" fmla="*/ 3480928 w 7145312"/>
                <a:gd name="connsiteY2995" fmla="*/ 1048326 h 2639880"/>
                <a:gd name="connsiteX2996" fmla="*/ 3457104 w 7145312"/>
                <a:gd name="connsiteY2996" fmla="*/ 1062622 h 2639880"/>
                <a:gd name="connsiteX2997" fmla="*/ 3438040 w 7145312"/>
                <a:gd name="connsiteY2997" fmla="*/ 1072152 h 2639880"/>
                <a:gd name="connsiteX2998" fmla="*/ 3423748 w 7145312"/>
                <a:gd name="connsiteY2998" fmla="*/ 1081682 h 2639880"/>
                <a:gd name="connsiteX2999" fmla="*/ 3409452 w 7145312"/>
                <a:gd name="connsiteY2999" fmla="*/ 1100744 h 2639880"/>
                <a:gd name="connsiteX3000" fmla="*/ 3399920 w 7145312"/>
                <a:gd name="connsiteY3000" fmla="*/ 1110274 h 2639880"/>
                <a:gd name="connsiteX3001" fmla="*/ 3385624 w 7145312"/>
                <a:gd name="connsiteY3001" fmla="*/ 1115038 h 2639880"/>
                <a:gd name="connsiteX3002" fmla="*/ 3376096 w 7145312"/>
                <a:gd name="connsiteY3002" fmla="*/ 1115038 h 2639880"/>
                <a:gd name="connsiteX3003" fmla="*/ 3366564 w 7145312"/>
                <a:gd name="connsiteY3003" fmla="*/ 1110274 h 2639880"/>
                <a:gd name="connsiteX3004" fmla="*/ 3361800 w 7145312"/>
                <a:gd name="connsiteY3004" fmla="*/ 1100744 h 2639880"/>
                <a:gd name="connsiteX3005" fmla="*/ 3361800 w 7145312"/>
                <a:gd name="connsiteY3005" fmla="*/ 1086448 h 2639880"/>
                <a:gd name="connsiteX3006" fmla="*/ 3357036 w 7145312"/>
                <a:gd name="connsiteY3006" fmla="*/ 1095978 h 2639880"/>
                <a:gd name="connsiteX3007" fmla="*/ 3357036 w 7145312"/>
                <a:gd name="connsiteY3007" fmla="*/ 1105508 h 2639880"/>
                <a:gd name="connsiteX3008" fmla="*/ 3361800 w 7145312"/>
                <a:gd name="connsiteY3008" fmla="*/ 1115038 h 2639880"/>
                <a:gd name="connsiteX3009" fmla="*/ 3366564 w 7145312"/>
                <a:gd name="connsiteY3009" fmla="*/ 1124568 h 2639880"/>
                <a:gd name="connsiteX3010" fmla="*/ 3361800 w 7145312"/>
                <a:gd name="connsiteY3010" fmla="*/ 1134100 h 2639880"/>
                <a:gd name="connsiteX3011" fmla="*/ 3357036 w 7145312"/>
                <a:gd name="connsiteY3011" fmla="*/ 1138864 h 2639880"/>
                <a:gd name="connsiteX3012" fmla="*/ 3337976 w 7145312"/>
                <a:gd name="connsiteY3012" fmla="*/ 1148394 h 2639880"/>
                <a:gd name="connsiteX3013" fmla="*/ 3328444 w 7145312"/>
                <a:gd name="connsiteY3013" fmla="*/ 1157924 h 2639880"/>
                <a:gd name="connsiteX3014" fmla="*/ 3328444 w 7145312"/>
                <a:gd name="connsiteY3014" fmla="*/ 1167454 h 2639880"/>
                <a:gd name="connsiteX3015" fmla="*/ 3323680 w 7145312"/>
                <a:gd name="connsiteY3015" fmla="*/ 1176986 h 2639880"/>
                <a:gd name="connsiteX3016" fmla="*/ 3318912 w 7145312"/>
                <a:gd name="connsiteY3016" fmla="*/ 1181750 h 2639880"/>
                <a:gd name="connsiteX3017" fmla="*/ 3295088 w 7145312"/>
                <a:gd name="connsiteY3017" fmla="*/ 1191280 h 2639880"/>
                <a:gd name="connsiteX3018" fmla="*/ 3290324 w 7145312"/>
                <a:gd name="connsiteY3018" fmla="*/ 1200810 h 2639880"/>
                <a:gd name="connsiteX3019" fmla="*/ 3285556 w 7145312"/>
                <a:gd name="connsiteY3019" fmla="*/ 1205576 h 2639880"/>
                <a:gd name="connsiteX3020" fmla="*/ 3299852 w 7145312"/>
                <a:gd name="connsiteY3020" fmla="*/ 1205576 h 2639880"/>
                <a:gd name="connsiteX3021" fmla="*/ 3309384 w 7145312"/>
                <a:gd name="connsiteY3021" fmla="*/ 1205576 h 2639880"/>
                <a:gd name="connsiteX3022" fmla="*/ 3314148 w 7145312"/>
                <a:gd name="connsiteY3022" fmla="*/ 1215106 h 2639880"/>
                <a:gd name="connsiteX3023" fmla="*/ 3314148 w 7145312"/>
                <a:gd name="connsiteY3023" fmla="*/ 1224636 h 2639880"/>
                <a:gd name="connsiteX3024" fmla="*/ 3309384 w 7145312"/>
                <a:gd name="connsiteY3024" fmla="*/ 1248462 h 2639880"/>
                <a:gd name="connsiteX3025" fmla="*/ 3295088 w 7145312"/>
                <a:gd name="connsiteY3025" fmla="*/ 1257992 h 2639880"/>
                <a:gd name="connsiteX3026" fmla="*/ 3299852 w 7145312"/>
                <a:gd name="connsiteY3026" fmla="*/ 1262758 h 2639880"/>
                <a:gd name="connsiteX3027" fmla="*/ 3309384 w 7145312"/>
                <a:gd name="connsiteY3027" fmla="*/ 1267522 h 2639880"/>
                <a:gd name="connsiteX3028" fmla="*/ 3328444 w 7145312"/>
                <a:gd name="connsiteY3028" fmla="*/ 1272288 h 2639880"/>
                <a:gd name="connsiteX3029" fmla="*/ 3333208 w 7145312"/>
                <a:gd name="connsiteY3029" fmla="*/ 1286584 h 2639880"/>
                <a:gd name="connsiteX3030" fmla="*/ 3328444 w 7145312"/>
                <a:gd name="connsiteY3030" fmla="*/ 1300878 h 2639880"/>
                <a:gd name="connsiteX3031" fmla="*/ 3328444 w 7145312"/>
                <a:gd name="connsiteY3031" fmla="*/ 1319940 h 2639880"/>
                <a:gd name="connsiteX3032" fmla="*/ 3314148 w 7145312"/>
                <a:gd name="connsiteY3032" fmla="*/ 1324704 h 2639880"/>
                <a:gd name="connsiteX3033" fmla="*/ 3304620 w 7145312"/>
                <a:gd name="connsiteY3033" fmla="*/ 1319940 h 2639880"/>
                <a:gd name="connsiteX3034" fmla="*/ 3299852 w 7145312"/>
                <a:gd name="connsiteY3034" fmla="*/ 1319940 h 2639880"/>
                <a:gd name="connsiteX3035" fmla="*/ 3295088 w 7145312"/>
                <a:gd name="connsiteY3035" fmla="*/ 1324704 h 2639880"/>
                <a:gd name="connsiteX3036" fmla="*/ 3290324 w 7145312"/>
                <a:gd name="connsiteY3036" fmla="*/ 1334234 h 2639880"/>
                <a:gd name="connsiteX3037" fmla="*/ 3304620 w 7145312"/>
                <a:gd name="connsiteY3037" fmla="*/ 1329470 h 2639880"/>
                <a:gd name="connsiteX3038" fmla="*/ 3304620 w 7145312"/>
                <a:gd name="connsiteY3038" fmla="*/ 1348530 h 2639880"/>
                <a:gd name="connsiteX3039" fmla="*/ 3299852 w 7145312"/>
                <a:gd name="connsiteY3039" fmla="*/ 1367590 h 2639880"/>
                <a:gd name="connsiteX3040" fmla="*/ 3295088 w 7145312"/>
                <a:gd name="connsiteY3040" fmla="*/ 1377120 h 2639880"/>
                <a:gd name="connsiteX3041" fmla="*/ 3290324 w 7145312"/>
                <a:gd name="connsiteY3041" fmla="*/ 1386650 h 2639880"/>
                <a:gd name="connsiteX3042" fmla="*/ 3280792 w 7145312"/>
                <a:gd name="connsiteY3042" fmla="*/ 1391416 h 2639880"/>
                <a:gd name="connsiteX3043" fmla="*/ 3271264 w 7145312"/>
                <a:gd name="connsiteY3043" fmla="*/ 1381886 h 2639880"/>
                <a:gd name="connsiteX3044" fmla="*/ 3266496 w 7145312"/>
                <a:gd name="connsiteY3044" fmla="*/ 1391416 h 2639880"/>
                <a:gd name="connsiteX3045" fmla="*/ 3271264 w 7145312"/>
                <a:gd name="connsiteY3045" fmla="*/ 1400946 h 2639880"/>
                <a:gd name="connsiteX3046" fmla="*/ 3285556 w 7145312"/>
                <a:gd name="connsiteY3046" fmla="*/ 1415242 h 2639880"/>
                <a:gd name="connsiteX3047" fmla="*/ 3276028 w 7145312"/>
                <a:gd name="connsiteY3047" fmla="*/ 1420006 h 2639880"/>
                <a:gd name="connsiteX3048" fmla="*/ 3271264 w 7145312"/>
                <a:gd name="connsiteY3048" fmla="*/ 1424772 h 2639880"/>
                <a:gd name="connsiteX3049" fmla="*/ 3266496 w 7145312"/>
                <a:gd name="connsiteY3049" fmla="*/ 1429536 h 2639880"/>
                <a:gd name="connsiteX3050" fmla="*/ 3252200 w 7145312"/>
                <a:gd name="connsiteY3050" fmla="*/ 1448598 h 2639880"/>
                <a:gd name="connsiteX3051" fmla="*/ 3247436 w 7145312"/>
                <a:gd name="connsiteY3051" fmla="*/ 1462892 h 2639880"/>
                <a:gd name="connsiteX3052" fmla="*/ 3242672 w 7145312"/>
                <a:gd name="connsiteY3052" fmla="*/ 1477188 h 2639880"/>
                <a:gd name="connsiteX3053" fmla="*/ 3237908 w 7145312"/>
                <a:gd name="connsiteY3053" fmla="*/ 1486718 h 2639880"/>
                <a:gd name="connsiteX3054" fmla="*/ 3128308 w 7145312"/>
                <a:gd name="connsiteY3054" fmla="*/ 1534370 h 2639880"/>
                <a:gd name="connsiteX3055" fmla="*/ 3042536 w 7145312"/>
                <a:gd name="connsiteY3055" fmla="*/ 1577256 h 2639880"/>
                <a:gd name="connsiteX3056" fmla="*/ 3033004 w 7145312"/>
                <a:gd name="connsiteY3056" fmla="*/ 1577256 h 2639880"/>
                <a:gd name="connsiteX3057" fmla="*/ 3028240 w 7145312"/>
                <a:gd name="connsiteY3057" fmla="*/ 1567726 h 2639880"/>
                <a:gd name="connsiteX3058" fmla="*/ 3028240 w 7145312"/>
                <a:gd name="connsiteY3058" fmla="*/ 1505780 h 2639880"/>
                <a:gd name="connsiteX3059" fmla="*/ 3013944 w 7145312"/>
                <a:gd name="connsiteY3059" fmla="*/ 1472424 h 2639880"/>
                <a:gd name="connsiteX3060" fmla="*/ 3013944 w 7145312"/>
                <a:gd name="connsiteY3060" fmla="*/ 1453362 h 2639880"/>
                <a:gd name="connsiteX3061" fmla="*/ 2999652 w 7145312"/>
                <a:gd name="connsiteY3061" fmla="*/ 1472424 h 2639880"/>
                <a:gd name="connsiteX3062" fmla="*/ 2994884 w 7145312"/>
                <a:gd name="connsiteY3062" fmla="*/ 1467658 h 2639880"/>
                <a:gd name="connsiteX3063" fmla="*/ 2985356 w 7145312"/>
                <a:gd name="connsiteY3063" fmla="*/ 1462892 h 2639880"/>
                <a:gd name="connsiteX3064" fmla="*/ 2980588 w 7145312"/>
                <a:gd name="connsiteY3064" fmla="*/ 1458128 h 2639880"/>
                <a:gd name="connsiteX3065" fmla="*/ 2980588 w 7145312"/>
                <a:gd name="connsiteY3065" fmla="*/ 1453362 h 2639880"/>
                <a:gd name="connsiteX3066" fmla="*/ 2985356 w 7145312"/>
                <a:gd name="connsiteY3066" fmla="*/ 1429536 h 2639880"/>
                <a:gd name="connsiteX3067" fmla="*/ 2975824 w 7145312"/>
                <a:gd name="connsiteY3067" fmla="*/ 1443832 h 2639880"/>
                <a:gd name="connsiteX3068" fmla="*/ 2971060 w 7145312"/>
                <a:gd name="connsiteY3068" fmla="*/ 1448598 h 2639880"/>
                <a:gd name="connsiteX3069" fmla="*/ 2961528 w 7145312"/>
                <a:gd name="connsiteY3069" fmla="*/ 1448598 h 2639880"/>
                <a:gd name="connsiteX3070" fmla="*/ 2952000 w 7145312"/>
                <a:gd name="connsiteY3070" fmla="*/ 1443832 h 2639880"/>
                <a:gd name="connsiteX3071" fmla="*/ 2947232 w 7145312"/>
                <a:gd name="connsiteY3071" fmla="*/ 1439068 h 2639880"/>
                <a:gd name="connsiteX3072" fmla="*/ 2923408 w 7145312"/>
                <a:gd name="connsiteY3072" fmla="*/ 1458128 h 2639880"/>
                <a:gd name="connsiteX3073" fmla="*/ 2899584 w 7145312"/>
                <a:gd name="connsiteY3073" fmla="*/ 1467658 h 2639880"/>
                <a:gd name="connsiteX3074" fmla="*/ 2885288 w 7145312"/>
                <a:gd name="connsiteY3074" fmla="*/ 1467658 h 2639880"/>
                <a:gd name="connsiteX3075" fmla="*/ 2875756 w 7145312"/>
                <a:gd name="connsiteY3075" fmla="*/ 1458128 h 2639880"/>
                <a:gd name="connsiteX3076" fmla="*/ 2875756 w 7145312"/>
                <a:gd name="connsiteY3076" fmla="*/ 1448598 h 2639880"/>
                <a:gd name="connsiteX3077" fmla="*/ 2875756 w 7145312"/>
                <a:gd name="connsiteY3077" fmla="*/ 1434302 h 2639880"/>
                <a:gd name="connsiteX3078" fmla="*/ 2870992 w 7145312"/>
                <a:gd name="connsiteY3078" fmla="*/ 1424772 h 2639880"/>
                <a:gd name="connsiteX3079" fmla="*/ 2866228 w 7145312"/>
                <a:gd name="connsiteY3079" fmla="*/ 1420006 h 2639880"/>
                <a:gd name="connsiteX3080" fmla="*/ 2856696 w 7145312"/>
                <a:gd name="connsiteY3080" fmla="*/ 1424772 h 2639880"/>
                <a:gd name="connsiteX3081" fmla="*/ 2842400 w 7145312"/>
                <a:gd name="connsiteY3081" fmla="*/ 1429536 h 2639880"/>
                <a:gd name="connsiteX3082" fmla="*/ 2832872 w 7145312"/>
                <a:gd name="connsiteY3082" fmla="*/ 1429536 h 2639880"/>
                <a:gd name="connsiteX3083" fmla="*/ 2828104 w 7145312"/>
                <a:gd name="connsiteY3083" fmla="*/ 1434302 h 2639880"/>
                <a:gd name="connsiteX3084" fmla="*/ 2780456 w 7145312"/>
                <a:gd name="connsiteY3084" fmla="*/ 1381886 h 2639880"/>
                <a:gd name="connsiteX3085" fmla="*/ 2770924 w 7145312"/>
                <a:gd name="connsiteY3085" fmla="*/ 1424772 h 2639880"/>
                <a:gd name="connsiteX3086" fmla="*/ 2737568 w 7145312"/>
                <a:gd name="connsiteY3086" fmla="*/ 1443832 h 2639880"/>
                <a:gd name="connsiteX3087" fmla="*/ 2713744 w 7145312"/>
                <a:gd name="connsiteY3087" fmla="*/ 1458128 h 2639880"/>
                <a:gd name="connsiteX3088" fmla="*/ 2689916 w 7145312"/>
                <a:gd name="connsiteY3088" fmla="*/ 1453362 h 2639880"/>
                <a:gd name="connsiteX3089" fmla="*/ 2666092 w 7145312"/>
                <a:gd name="connsiteY3089" fmla="*/ 1443832 h 2639880"/>
                <a:gd name="connsiteX3090" fmla="*/ 2637500 w 7145312"/>
                <a:gd name="connsiteY3090" fmla="*/ 1453362 h 2639880"/>
                <a:gd name="connsiteX3091" fmla="*/ 2613676 w 7145312"/>
                <a:gd name="connsiteY3091" fmla="*/ 1477188 h 2639880"/>
                <a:gd name="connsiteX3092" fmla="*/ 2604144 w 7145312"/>
                <a:gd name="connsiteY3092" fmla="*/ 1481954 h 2639880"/>
                <a:gd name="connsiteX3093" fmla="*/ 2599380 w 7145312"/>
                <a:gd name="connsiteY3093" fmla="*/ 1481954 h 2639880"/>
                <a:gd name="connsiteX3094" fmla="*/ 2589848 w 7145312"/>
                <a:gd name="connsiteY3094" fmla="*/ 1477188 h 2639880"/>
                <a:gd name="connsiteX3095" fmla="*/ 2594616 w 7145312"/>
                <a:gd name="connsiteY3095" fmla="*/ 1458128 h 2639880"/>
                <a:gd name="connsiteX3096" fmla="*/ 2594616 w 7145312"/>
                <a:gd name="connsiteY3096" fmla="*/ 1443832 h 2639880"/>
                <a:gd name="connsiteX3097" fmla="*/ 2589848 w 7145312"/>
                <a:gd name="connsiteY3097" fmla="*/ 1405712 h 2639880"/>
                <a:gd name="connsiteX3098" fmla="*/ 2589848 w 7145312"/>
                <a:gd name="connsiteY3098" fmla="*/ 1396182 h 2639880"/>
                <a:gd name="connsiteX3099" fmla="*/ 2580320 w 7145312"/>
                <a:gd name="connsiteY3099" fmla="*/ 1386650 h 2639880"/>
                <a:gd name="connsiteX3100" fmla="*/ 2570788 w 7145312"/>
                <a:gd name="connsiteY3100" fmla="*/ 1377120 h 2639880"/>
                <a:gd name="connsiteX3101" fmla="*/ 2566024 w 7145312"/>
                <a:gd name="connsiteY3101" fmla="*/ 1381886 h 2639880"/>
                <a:gd name="connsiteX3102" fmla="*/ 2561260 w 7145312"/>
                <a:gd name="connsiteY3102" fmla="*/ 1391416 h 2639880"/>
                <a:gd name="connsiteX3103" fmla="*/ 2542196 w 7145312"/>
                <a:gd name="connsiteY3103" fmla="*/ 1391416 h 2639880"/>
                <a:gd name="connsiteX3104" fmla="*/ 2518372 w 7145312"/>
                <a:gd name="connsiteY3104" fmla="*/ 1381886 h 2639880"/>
                <a:gd name="connsiteX3105" fmla="*/ 2504076 w 7145312"/>
                <a:gd name="connsiteY3105" fmla="*/ 1386650 h 2639880"/>
                <a:gd name="connsiteX3106" fmla="*/ 2470720 w 7145312"/>
                <a:gd name="connsiteY3106" fmla="*/ 1400946 h 2639880"/>
                <a:gd name="connsiteX3107" fmla="*/ 2451660 w 7145312"/>
                <a:gd name="connsiteY3107" fmla="*/ 1405712 h 2639880"/>
                <a:gd name="connsiteX3108" fmla="*/ 2442132 w 7145312"/>
                <a:gd name="connsiteY3108" fmla="*/ 1400946 h 2639880"/>
                <a:gd name="connsiteX3109" fmla="*/ 2437364 w 7145312"/>
                <a:gd name="connsiteY3109" fmla="*/ 1396182 h 2639880"/>
                <a:gd name="connsiteX3110" fmla="*/ 2442132 w 7145312"/>
                <a:gd name="connsiteY3110" fmla="*/ 1386650 h 2639880"/>
                <a:gd name="connsiteX3111" fmla="*/ 2446896 w 7145312"/>
                <a:gd name="connsiteY3111" fmla="*/ 1381886 h 2639880"/>
                <a:gd name="connsiteX3112" fmla="*/ 2432600 w 7145312"/>
                <a:gd name="connsiteY3112" fmla="*/ 1386650 h 2639880"/>
                <a:gd name="connsiteX3113" fmla="*/ 2423068 w 7145312"/>
                <a:gd name="connsiteY3113" fmla="*/ 1391416 h 2639880"/>
                <a:gd name="connsiteX3114" fmla="*/ 2418304 w 7145312"/>
                <a:gd name="connsiteY3114" fmla="*/ 1396182 h 2639880"/>
                <a:gd name="connsiteX3115" fmla="*/ 2413540 w 7145312"/>
                <a:gd name="connsiteY3115" fmla="*/ 1396182 h 2639880"/>
                <a:gd name="connsiteX3116" fmla="*/ 2399244 w 7145312"/>
                <a:gd name="connsiteY3116" fmla="*/ 1377120 h 2639880"/>
                <a:gd name="connsiteX3117" fmla="*/ 2365888 w 7145312"/>
                <a:gd name="connsiteY3117" fmla="*/ 1381886 h 2639880"/>
                <a:gd name="connsiteX3118" fmla="*/ 2361124 w 7145312"/>
                <a:gd name="connsiteY3118" fmla="*/ 1386650 h 2639880"/>
                <a:gd name="connsiteX3119" fmla="*/ 2356356 w 7145312"/>
                <a:gd name="connsiteY3119" fmla="*/ 1391416 h 2639880"/>
                <a:gd name="connsiteX3120" fmla="*/ 2346828 w 7145312"/>
                <a:gd name="connsiteY3120" fmla="*/ 1386650 h 2639880"/>
                <a:gd name="connsiteX3121" fmla="*/ 2342064 w 7145312"/>
                <a:gd name="connsiteY3121" fmla="*/ 1381886 h 2639880"/>
                <a:gd name="connsiteX3122" fmla="*/ 2342064 w 7145312"/>
                <a:gd name="connsiteY3122" fmla="*/ 1343764 h 2639880"/>
                <a:gd name="connsiteX3123" fmla="*/ 2327768 w 7145312"/>
                <a:gd name="connsiteY3123" fmla="*/ 1277052 h 2639880"/>
                <a:gd name="connsiteX3124" fmla="*/ 2323000 w 7145312"/>
                <a:gd name="connsiteY3124" fmla="*/ 1238932 h 2639880"/>
                <a:gd name="connsiteX3125" fmla="*/ 2318236 w 7145312"/>
                <a:gd name="connsiteY3125" fmla="*/ 1229402 h 2639880"/>
                <a:gd name="connsiteX3126" fmla="*/ 2299176 w 7145312"/>
                <a:gd name="connsiteY3126" fmla="*/ 1215106 h 2639880"/>
                <a:gd name="connsiteX3127" fmla="*/ 2303940 w 7145312"/>
                <a:gd name="connsiteY3127" fmla="*/ 1196046 h 2639880"/>
                <a:gd name="connsiteX3128" fmla="*/ 2308708 w 7145312"/>
                <a:gd name="connsiteY3128" fmla="*/ 1181750 h 2639880"/>
                <a:gd name="connsiteX3129" fmla="*/ 2313472 w 7145312"/>
                <a:gd name="connsiteY3129" fmla="*/ 1162690 h 2639880"/>
                <a:gd name="connsiteX3130" fmla="*/ 2308708 w 7145312"/>
                <a:gd name="connsiteY3130" fmla="*/ 1143630 h 2639880"/>
                <a:gd name="connsiteX3131" fmla="*/ 2303940 w 7145312"/>
                <a:gd name="connsiteY3131" fmla="*/ 1124568 h 2639880"/>
                <a:gd name="connsiteX3132" fmla="*/ 2299176 w 7145312"/>
                <a:gd name="connsiteY3132" fmla="*/ 1110274 h 2639880"/>
                <a:gd name="connsiteX3133" fmla="*/ 2289648 w 7145312"/>
                <a:gd name="connsiteY3133" fmla="*/ 1095978 h 2639880"/>
                <a:gd name="connsiteX3134" fmla="*/ 2275352 w 7145312"/>
                <a:gd name="connsiteY3134" fmla="*/ 1081682 h 2639880"/>
                <a:gd name="connsiteX3135" fmla="*/ 2256292 w 7145312"/>
                <a:gd name="connsiteY3135" fmla="*/ 1072152 h 2639880"/>
                <a:gd name="connsiteX3136" fmla="*/ 2222936 w 7145312"/>
                <a:gd name="connsiteY3136" fmla="*/ 1062622 h 2639880"/>
                <a:gd name="connsiteX3137" fmla="*/ 2203872 w 7145312"/>
                <a:gd name="connsiteY3137" fmla="*/ 1062622 h 2639880"/>
                <a:gd name="connsiteX3138" fmla="*/ 2194344 w 7145312"/>
                <a:gd name="connsiteY3138" fmla="*/ 1057856 h 2639880"/>
                <a:gd name="connsiteX3139" fmla="*/ 2189580 w 7145312"/>
                <a:gd name="connsiteY3139" fmla="*/ 1053092 h 2639880"/>
                <a:gd name="connsiteX3140" fmla="*/ 2194344 w 7145312"/>
                <a:gd name="connsiteY3140" fmla="*/ 1038796 h 2639880"/>
                <a:gd name="connsiteX3141" fmla="*/ 2199108 w 7145312"/>
                <a:gd name="connsiteY3141" fmla="*/ 1034032 h 2639880"/>
                <a:gd name="connsiteX3142" fmla="*/ 2208640 w 7145312"/>
                <a:gd name="connsiteY3142" fmla="*/ 1029266 h 2639880"/>
                <a:gd name="connsiteX3143" fmla="*/ 2208640 w 7145312"/>
                <a:gd name="connsiteY3143" fmla="*/ 1024502 h 2639880"/>
                <a:gd name="connsiteX3144" fmla="*/ 2189580 w 7145312"/>
                <a:gd name="connsiteY3144" fmla="*/ 1014970 h 2639880"/>
                <a:gd name="connsiteX3145" fmla="*/ 2175284 w 7145312"/>
                <a:gd name="connsiteY3145" fmla="*/ 1005440 h 2639880"/>
                <a:gd name="connsiteX3146" fmla="*/ 2170516 w 7145312"/>
                <a:gd name="connsiteY3146" fmla="*/ 995910 h 2639880"/>
                <a:gd name="connsiteX3147" fmla="*/ 2170516 w 7145312"/>
                <a:gd name="connsiteY3147" fmla="*/ 986380 h 2639880"/>
                <a:gd name="connsiteX3148" fmla="*/ 2170516 w 7145312"/>
                <a:gd name="connsiteY3148" fmla="*/ 967320 h 2639880"/>
                <a:gd name="connsiteX3149" fmla="*/ 2175284 w 7145312"/>
                <a:gd name="connsiteY3149" fmla="*/ 953024 h 2639880"/>
                <a:gd name="connsiteX3150" fmla="*/ 2175284 w 7145312"/>
                <a:gd name="connsiteY3150" fmla="*/ 948260 h 2639880"/>
                <a:gd name="connsiteX3151" fmla="*/ 2180048 w 7145312"/>
                <a:gd name="connsiteY3151" fmla="*/ 929198 h 2639880"/>
                <a:gd name="connsiteX3152" fmla="*/ 2189580 w 7145312"/>
                <a:gd name="connsiteY3152" fmla="*/ 919668 h 2639880"/>
                <a:gd name="connsiteX3153" fmla="*/ 2189580 w 7145312"/>
                <a:gd name="connsiteY3153" fmla="*/ 914904 h 2639880"/>
                <a:gd name="connsiteX3154" fmla="*/ 2184812 w 7145312"/>
                <a:gd name="connsiteY3154" fmla="*/ 914904 h 2639880"/>
                <a:gd name="connsiteX3155" fmla="*/ 2180048 w 7145312"/>
                <a:gd name="connsiteY3155" fmla="*/ 905372 h 2639880"/>
                <a:gd name="connsiteX3156" fmla="*/ 2175284 w 7145312"/>
                <a:gd name="connsiteY3156" fmla="*/ 900608 h 2639880"/>
                <a:gd name="connsiteX3157" fmla="*/ 2160988 w 7145312"/>
                <a:gd name="connsiteY3157" fmla="*/ 886312 h 2639880"/>
                <a:gd name="connsiteX3158" fmla="*/ 2141928 w 7145312"/>
                <a:gd name="connsiteY3158" fmla="*/ 872016 h 2639880"/>
                <a:gd name="connsiteX3159" fmla="*/ 2137160 w 7145312"/>
                <a:gd name="connsiteY3159" fmla="*/ 843426 h 2639880"/>
                <a:gd name="connsiteX3160" fmla="*/ 2137160 w 7145312"/>
                <a:gd name="connsiteY3160" fmla="*/ 800540 h 2639880"/>
                <a:gd name="connsiteX3161" fmla="*/ 2137160 w 7145312"/>
                <a:gd name="connsiteY3161" fmla="*/ 781480 h 2639880"/>
                <a:gd name="connsiteX3162" fmla="*/ 2146692 w 7145312"/>
                <a:gd name="connsiteY3162" fmla="*/ 748124 h 2639880"/>
                <a:gd name="connsiteX3163" fmla="*/ 2156224 w 7145312"/>
                <a:gd name="connsiteY3163" fmla="*/ 738594 h 2639880"/>
                <a:gd name="connsiteX3164" fmla="*/ 2165752 w 7145312"/>
                <a:gd name="connsiteY3164" fmla="*/ 733828 h 2639880"/>
                <a:gd name="connsiteX3165" fmla="*/ 2170516 w 7145312"/>
                <a:gd name="connsiteY3165" fmla="*/ 729064 h 2639880"/>
                <a:gd name="connsiteX3166" fmla="*/ 2165752 w 7145312"/>
                <a:gd name="connsiteY3166" fmla="*/ 729064 h 2639880"/>
                <a:gd name="connsiteX3167" fmla="*/ 2160988 w 7145312"/>
                <a:gd name="connsiteY3167" fmla="*/ 729064 h 2639880"/>
                <a:gd name="connsiteX3168" fmla="*/ 2151456 w 7145312"/>
                <a:gd name="connsiteY3168" fmla="*/ 733828 h 2639880"/>
                <a:gd name="connsiteX3169" fmla="*/ 2160988 w 7145312"/>
                <a:gd name="connsiteY3169" fmla="*/ 700472 h 2639880"/>
                <a:gd name="connsiteX3170" fmla="*/ 2160988 w 7145312"/>
                <a:gd name="connsiteY3170" fmla="*/ 690942 h 2639880"/>
                <a:gd name="connsiteX3171" fmla="*/ 2175284 w 7145312"/>
                <a:gd name="connsiteY3171" fmla="*/ 676646 h 2639880"/>
                <a:gd name="connsiteX3172" fmla="*/ 2194344 w 7145312"/>
                <a:gd name="connsiteY3172" fmla="*/ 657586 h 2639880"/>
                <a:gd name="connsiteX3173" fmla="*/ 2199108 w 7145312"/>
                <a:gd name="connsiteY3173" fmla="*/ 643290 h 2639880"/>
                <a:gd name="connsiteX3174" fmla="*/ 2208640 w 7145312"/>
                <a:gd name="connsiteY3174" fmla="*/ 624230 h 2639880"/>
                <a:gd name="connsiteX3175" fmla="*/ 2246760 w 7145312"/>
                <a:gd name="connsiteY3175" fmla="*/ 609934 h 2639880"/>
                <a:gd name="connsiteX3176" fmla="*/ 2237228 w 7145312"/>
                <a:gd name="connsiteY3176" fmla="*/ 628996 h 2639880"/>
                <a:gd name="connsiteX3177" fmla="*/ 2237228 w 7145312"/>
                <a:gd name="connsiteY3177" fmla="*/ 638526 h 2639880"/>
                <a:gd name="connsiteX3178" fmla="*/ 2241996 w 7145312"/>
                <a:gd name="connsiteY3178" fmla="*/ 643290 h 2639880"/>
                <a:gd name="connsiteX3179" fmla="*/ 2251524 w 7145312"/>
                <a:gd name="connsiteY3179" fmla="*/ 648056 h 2639880"/>
                <a:gd name="connsiteX3180" fmla="*/ 2251524 w 7145312"/>
                <a:gd name="connsiteY3180" fmla="*/ 671882 h 2639880"/>
                <a:gd name="connsiteX3181" fmla="*/ 2265820 w 7145312"/>
                <a:gd name="connsiteY3181" fmla="*/ 686176 h 2639880"/>
                <a:gd name="connsiteX3182" fmla="*/ 2280116 w 7145312"/>
                <a:gd name="connsiteY3182" fmla="*/ 700472 h 2639880"/>
                <a:gd name="connsiteX3183" fmla="*/ 2289648 w 7145312"/>
                <a:gd name="connsiteY3183" fmla="*/ 705238 h 2639880"/>
                <a:gd name="connsiteX3184" fmla="*/ 2299176 w 7145312"/>
                <a:gd name="connsiteY3184" fmla="*/ 714768 h 2639880"/>
                <a:gd name="connsiteX3185" fmla="*/ 2303940 w 7145312"/>
                <a:gd name="connsiteY3185" fmla="*/ 724298 h 2639880"/>
                <a:gd name="connsiteX3186" fmla="*/ 2313472 w 7145312"/>
                <a:gd name="connsiteY3186" fmla="*/ 733828 h 2639880"/>
                <a:gd name="connsiteX3187" fmla="*/ 2323000 w 7145312"/>
                <a:gd name="connsiteY3187" fmla="*/ 738594 h 2639880"/>
                <a:gd name="connsiteX3188" fmla="*/ 2356356 w 7145312"/>
                <a:gd name="connsiteY3188" fmla="*/ 771950 h 2639880"/>
                <a:gd name="connsiteX3189" fmla="*/ 2370652 w 7145312"/>
                <a:gd name="connsiteY3189" fmla="*/ 776714 h 2639880"/>
                <a:gd name="connsiteX3190" fmla="*/ 2380184 w 7145312"/>
                <a:gd name="connsiteY3190" fmla="*/ 786244 h 2639880"/>
                <a:gd name="connsiteX3191" fmla="*/ 2384948 w 7145312"/>
                <a:gd name="connsiteY3191" fmla="*/ 791010 h 2639880"/>
                <a:gd name="connsiteX3192" fmla="*/ 2404008 w 7145312"/>
                <a:gd name="connsiteY3192" fmla="*/ 791010 h 2639880"/>
                <a:gd name="connsiteX3193" fmla="*/ 2451660 w 7145312"/>
                <a:gd name="connsiteY3193" fmla="*/ 767184 h 2639880"/>
                <a:gd name="connsiteX3194" fmla="*/ 2461192 w 7145312"/>
                <a:gd name="connsiteY3194" fmla="*/ 767184 h 2639880"/>
                <a:gd name="connsiteX3195" fmla="*/ 2480252 w 7145312"/>
                <a:gd name="connsiteY3195" fmla="*/ 762420 h 2639880"/>
                <a:gd name="connsiteX3196" fmla="*/ 2508840 w 7145312"/>
                <a:gd name="connsiteY3196" fmla="*/ 762420 h 2639880"/>
                <a:gd name="connsiteX3197" fmla="*/ 2537432 w 7145312"/>
                <a:gd name="connsiteY3197" fmla="*/ 771950 h 2639880"/>
                <a:gd name="connsiteX3198" fmla="*/ 2546964 w 7145312"/>
                <a:gd name="connsiteY3198" fmla="*/ 771950 h 2639880"/>
                <a:gd name="connsiteX3199" fmla="*/ 2556492 w 7145312"/>
                <a:gd name="connsiteY3199" fmla="*/ 767184 h 2639880"/>
                <a:gd name="connsiteX3200" fmla="*/ 2570788 w 7145312"/>
                <a:gd name="connsiteY3200" fmla="*/ 767184 h 2639880"/>
                <a:gd name="connsiteX3201" fmla="*/ 2585084 w 7145312"/>
                <a:gd name="connsiteY3201" fmla="*/ 771950 h 2639880"/>
                <a:gd name="connsiteX3202" fmla="*/ 2589848 w 7145312"/>
                <a:gd name="connsiteY3202" fmla="*/ 767184 h 2639880"/>
                <a:gd name="connsiteX3203" fmla="*/ 2608908 w 7145312"/>
                <a:gd name="connsiteY3203" fmla="*/ 752888 h 2639880"/>
                <a:gd name="connsiteX3204" fmla="*/ 2632736 w 7145312"/>
                <a:gd name="connsiteY3204" fmla="*/ 748124 h 2639880"/>
                <a:gd name="connsiteX3205" fmla="*/ 2637500 w 7145312"/>
                <a:gd name="connsiteY3205" fmla="*/ 733828 h 2639880"/>
                <a:gd name="connsiteX3206" fmla="*/ 2647032 w 7145312"/>
                <a:gd name="connsiteY3206" fmla="*/ 714768 h 2639880"/>
                <a:gd name="connsiteX3207" fmla="*/ 2647032 w 7145312"/>
                <a:gd name="connsiteY3207" fmla="*/ 700472 h 2639880"/>
                <a:gd name="connsiteX3208" fmla="*/ 2656560 w 7145312"/>
                <a:gd name="connsiteY3208" fmla="*/ 695708 h 2639880"/>
                <a:gd name="connsiteX3209" fmla="*/ 2670856 w 7145312"/>
                <a:gd name="connsiteY3209" fmla="*/ 690942 h 2639880"/>
                <a:gd name="connsiteX3210" fmla="*/ 2694680 w 7145312"/>
                <a:gd name="connsiteY3210" fmla="*/ 681412 h 2639880"/>
                <a:gd name="connsiteX3211" fmla="*/ 2766160 w 7145312"/>
                <a:gd name="connsiteY3211" fmla="*/ 681412 h 2639880"/>
                <a:gd name="connsiteX3212" fmla="*/ 2775688 w 7145312"/>
                <a:gd name="connsiteY3212" fmla="*/ 681412 h 2639880"/>
                <a:gd name="connsiteX3213" fmla="*/ 2775688 w 7145312"/>
                <a:gd name="connsiteY3213" fmla="*/ 690942 h 2639880"/>
                <a:gd name="connsiteX3214" fmla="*/ 2775688 w 7145312"/>
                <a:gd name="connsiteY3214" fmla="*/ 695708 h 2639880"/>
                <a:gd name="connsiteX3215" fmla="*/ 2775688 w 7145312"/>
                <a:gd name="connsiteY3215" fmla="*/ 700472 h 2639880"/>
                <a:gd name="connsiteX3216" fmla="*/ 2785220 w 7145312"/>
                <a:gd name="connsiteY3216" fmla="*/ 700472 h 2639880"/>
                <a:gd name="connsiteX3217" fmla="*/ 2794748 w 7145312"/>
                <a:gd name="connsiteY3217" fmla="*/ 705238 h 2639880"/>
                <a:gd name="connsiteX3218" fmla="*/ 2832872 w 7145312"/>
                <a:gd name="connsiteY3218" fmla="*/ 719532 h 2639880"/>
                <a:gd name="connsiteX3219" fmla="*/ 2847164 w 7145312"/>
                <a:gd name="connsiteY3219" fmla="*/ 724298 h 2639880"/>
                <a:gd name="connsiteX3220" fmla="*/ 2856696 w 7145312"/>
                <a:gd name="connsiteY3220" fmla="*/ 719532 h 2639880"/>
                <a:gd name="connsiteX3221" fmla="*/ 2870992 w 7145312"/>
                <a:gd name="connsiteY3221" fmla="*/ 733828 h 2639880"/>
                <a:gd name="connsiteX3222" fmla="*/ 2880520 w 7145312"/>
                <a:gd name="connsiteY3222" fmla="*/ 729064 h 2639880"/>
                <a:gd name="connsiteX3223" fmla="*/ 2894816 w 7145312"/>
                <a:gd name="connsiteY3223" fmla="*/ 719532 h 2639880"/>
                <a:gd name="connsiteX3224" fmla="*/ 2904348 w 7145312"/>
                <a:gd name="connsiteY3224" fmla="*/ 710002 h 2639880"/>
                <a:gd name="connsiteX3225" fmla="*/ 2918644 w 7145312"/>
                <a:gd name="connsiteY3225" fmla="*/ 700472 h 2639880"/>
                <a:gd name="connsiteX3226" fmla="*/ 2932940 w 7145312"/>
                <a:gd name="connsiteY3226" fmla="*/ 700472 h 2639880"/>
                <a:gd name="connsiteX3227" fmla="*/ 2952000 w 7145312"/>
                <a:gd name="connsiteY3227" fmla="*/ 700472 h 2639880"/>
                <a:gd name="connsiteX3228" fmla="*/ 2975824 w 7145312"/>
                <a:gd name="connsiteY3228" fmla="*/ 695708 h 2639880"/>
                <a:gd name="connsiteX3229" fmla="*/ 2990120 w 7145312"/>
                <a:gd name="connsiteY3229" fmla="*/ 690942 h 2639880"/>
                <a:gd name="connsiteX3230" fmla="*/ 3013944 w 7145312"/>
                <a:gd name="connsiteY3230" fmla="*/ 700472 h 2639880"/>
                <a:gd name="connsiteX3231" fmla="*/ 3018712 w 7145312"/>
                <a:gd name="connsiteY3231" fmla="*/ 695708 h 2639880"/>
                <a:gd name="connsiteX3232" fmla="*/ 3018712 w 7145312"/>
                <a:gd name="connsiteY3232" fmla="*/ 690942 h 2639880"/>
                <a:gd name="connsiteX3233" fmla="*/ 3028240 w 7145312"/>
                <a:gd name="connsiteY3233" fmla="*/ 671882 h 2639880"/>
                <a:gd name="connsiteX3234" fmla="*/ 3037772 w 7145312"/>
                <a:gd name="connsiteY3234" fmla="*/ 662352 h 2639880"/>
                <a:gd name="connsiteX3235" fmla="*/ 3037772 w 7145312"/>
                <a:gd name="connsiteY3235" fmla="*/ 643290 h 2639880"/>
                <a:gd name="connsiteX3236" fmla="*/ 3042536 w 7145312"/>
                <a:gd name="connsiteY3236" fmla="*/ 638526 h 2639880"/>
                <a:gd name="connsiteX3237" fmla="*/ 3047300 w 7145312"/>
                <a:gd name="connsiteY3237" fmla="*/ 633760 h 2639880"/>
                <a:gd name="connsiteX3238" fmla="*/ 3056832 w 7145312"/>
                <a:gd name="connsiteY3238" fmla="*/ 628996 h 2639880"/>
                <a:gd name="connsiteX3239" fmla="*/ 3056832 w 7145312"/>
                <a:gd name="connsiteY3239" fmla="*/ 624230 h 2639880"/>
                <a:gd name="connsiteX3240" fmla="*/ 3061596 w 7145312"/>
                <a:gd name="connsiteY3240" fmla="*/ 614700 h 2639880"/>
                <a:gd name="connsiteX3241" fmla="*/ 3061596 w 7145312"/>
                <a:gd name="connsiteY3241" fmla="*/ 609934 h 2639880"/>
                <a:gd name="connsiteX3242" fmla="*/ 3056832 w 7145312"/>
                <a:gd name="connsiteY3242" fmla="*/ 605170 h 2639880"/>
                <a:gd name="connsiteX3243" fmla="*/ 3052068 w 7145312"/>
                <a:gd name="connsiteY3243" fmla="*/ 586110 h 2639880"/>
                <a:gd name="connsiteX3244" fmla="*/ 3052068 w 7145312"/>
                <a:gd name="connsiteY3244" fmla="*/ 581344 h 2639880"/>
                <a:gd name="connsiteX3245" fmla="*/ 3056832 w 7145312"/>
                <a:gd name="connsiteY3245" fmla="*/ 576580 h 2639880"/>
                <a:gd name="connsiteX3246" fmla="*/ 3061596 w 7145312"/>
                <a:gd name="connsiteY3246" fmla="*/ 571814 h 2639880"/>
                <a:gd name="connsiteX3247" fmla="*/ 3085424 w 7145312"/>
                <a:gd name="connsiteY3247" fmla="*/ 557518 h 2639880"/>
                <a:gd name="connsiteX3248" fmla="*/ 3099716 w 7145312"/>
                <a:gd name="connsiteY3248" fmla="*/ 543224 h 2639880"/>
                <a:gd name="connsiteX3249" fmla="*/ 3109248 w 7145312"/>
                <a:gd name="connsiteY3249" fmla="*/ 538458 h 2639880"/>
                <a:gd name="connsiteX3250" fmla="*/ 3118780 w 7145312"/>
                <a:gd name="connsiteY3250" fmla="*/ 533692 h 2639880"/>
                <a:gd name="connsiteX3251" fmla="*/ 3118780 w 7145312"/>
                <a:gd name="connsiteY3251" fmla="*/ 524162 h 2639880"/>
                <a:gd name="connsiteX3252" fmla="*/ 3109248 w 7145312"/>
                <a:gd name="connsiteY3252" fmla="*/ 519398 h 2639880"/>
                <a:gd name="connsiteX3253" fmla="*/ 3099716 w 7145312"/>
                <a:gd name="connsiteY3253" fmla="*/ 514632 h 2639880"/>
                <a:gd name="connsiteX3254" fmla="*/ 3099716 w 7145312"/>
                <a:gd name="connsiteY3254" fmla="*/ 505102 h 2639880"/>
                <a:gd name="connsiteX3255" fmla="*/ 3099716 w 7145312"/>
                <a:gd name="connsiteY3255" fmla="*/ 500336 h 2639880"/>
                <a:gd name="connsiteX3256" fmla="*/ 3104484 w 7145312"/>
                <a:gd name="connsiteY3256" fmla="*/ 495572 h 2639880"/>
                <a:gd name="connsiteX3257" fmla="*/ 3099716 w 7145312"/>
                <a:gd name="connsiteY3257" fmla="*/ 490806 h 2639880"/>
                <a:gd name="connsiteX3258" fmla="*/ 3099716 w 7145312"/>
                <a:gd name="connsiteY3258" fmla="*/ 481276 h 2639880"/>
                <a:gd name="connsiteX3259" fmla="*/ 3104484 w 7145312"/>
                <a:gd name="connsiteY3259" fmla="*/ 471746 h 2639880"/>
                <a:gd name="connsiteX3260" fmla="*/ 3118780 w 7145312"/>
                <a:gd name="connsiteY3260" fmla="*/ 462216 h 2639880"/>
                <a:gd name="connsiteX3261" fmla="*/ 3128308 w 7145312"/>
                <a:gd name="connsiteY3261" fmla="*/ 452686 h 2639880"/>
                <a:gd name="connsiteX3262" fmla="*/ 3137840 w 7145312"/>
                <a:gd name="connsiteY3262" fmla="*/ 457450 h 2639880"/>
                <a:gd name="connsiteX3263" fmla="*/ 3147368 w 7145312"/>
                <a:gd name="connsiteY3263" fmla="*/ 457450 h 2639880"/>
                <a:gd name="connsiteX3264" fmla="*/ 3161664 w 7145312"/>
                <a:gd name="connsiteY3264" fmla="*/ 452686 h 2639880"/>
                <a:gd name="connsiteX3265" fmla="*/ 3166428 w 7145312"/>
                <a:gd name="connsiteY3265" fmla="*/ 438390 h 2639880"/>
                <a:gd name="connsiteX3266" fmla="*/ 3166428 w 7145312"/>
                <a:gd name="connsiteY3266" fmla="*/ 428860 h 2639880"/>
                <a:gd name="connsiteX3267" fmla="*/ 3166428 w 7145312"/>
                <a:gd name="connsiteY3267" fmla="*/ 424094 h 2639880"/>
                <a:gd name="connsiteX3268" fmla="*/ 3166428 w 7145312"/>
                <a:gd name="connsiteY3268" fmla="*/ 405034 h 2639880"/>
                <a:gd name="connsiteX3269" fmla="*/ 3171196 w 7145312"/>
                <a:gd name="connsiteY3269" fmla="*/ 400270 h 2639880"/>
                <a:gd name="connsiteX3270" fmla="*/ 3175960 w 7145312"/>
                <a:gd name="connsiteY3270" fmla="*/ 385974 h 2639880"/>
                <a:gd name="connsiteX3271" fmla="*/ 3175960 w 7145312"/>
                <a:gd name="connsiteY3271" fmla="*/ 376444 h 2639880"/>
                <a:gd name="connsiteX3272" fmla="*/ 3171196 w 7145312"/>
                <a:gd name="connsiteY3272" fmla="*/ 357384 h 2639880"/>
                <a:gd name="connsiteX3273" fmla="*/ 3175960 w 7145312"/>
                <a:gd name="connsiteY3273" fmla="*/ 343088 h 2639880"/>
                <a:gd name="connsiteX3274" fmla="*/ 3175960 w 7145312"/>
                <a:gd name="connsiteY3274" fmla="*/ 309732 h 2639880"/>
                <a:gd name="connsiteX3275" fmla="*/ 3180724 w 7145312"/>
                <a:gd name="connsiteY3275" fmla="*/ 304966 h 2639880"/>
                <a:gd name="connsiteX3276" fmla="*/ 3185488 w 7145312"/>
                <a:gd name="connsiteY3276" fmla="*/ 285906 h 2639880"/>
                <a:gd name="connsiteX3277" fmla="*/ 3195020 w 7145312"/>
                <a:gd name="connsiteY3277" fmla="*/ 271610 h 2639880"/>
                <a:gd name="connsiteX3278" fmla="*/ 3209316 w 7145312"/>
                <a:gd name="connsiteY3278" fmla="*/ 262080 h 2639880"/>
                <a:gd name="connsiteX3279" fmla="*/ 3218844 w 7145312"/>
                <a:gd name="connsiteY3279" fmla="*/ 247786 h 2639880"/>
                <a:gd name="connsiteX3280" fmla="*/ 3223612 w 7145312"/>
                <a:gd name="connsiteY3280" fmla="*/ 247786 h 2639880"/>
                <a:gd name="connsiteX3281" fmla="*/ 3228376 w 7145312"/>
                <a:gd name="connsiteY3281" fmla="*/ 247786 h 2639880"/>
                <a:gd name="connsiteX3282" fmla="*/ 3247436 w 7145312"/>
                <a:gd name="connsiteY3282" fmla="*/ 252550 h 2639880"/>
                <a:gd name="connsiteX3283" fmla="*/ 4924760 w 7145312"/>
                <a:gd name="connsiteY3283" fmla="*/ 214428 h 2639880"/>
                <a:gd name="connsiteX3284" fmla="*/ 4934292 w 7145312"/>
                <a:gd name="connsiteY3284" fmla="*/ 214428 h 2639880"/>
                <a:gd name="connsiteX3285" fmla="*/ 4943820 w 7145312"/>
                <a:gd name="connsiteY3285" fmla="*/ 223960 h 2639880"/>
                <a:gd name="connsiteX3286" fmla="*/ 4943820 w 7145312"/>
                <a:gd name="connsiteY3286" fmla="*/ 243020 h 2639880"/>
                <a:gd name="connsiteX3287" fmla="*/ 4948588 w 7145312"/>
                <a:gd name="connsiteY3287" fmla="*/ 252550 h 2639880"/>
                <a:gd name="connsiteX3288" fmla="*/ 4939056 w 7145312"/>
                <a:gd name="connsiteY3288" fmla="*/ 271610 h 2639880"/>
                <a:gd name="connsiteX3289" fmla="*/ 4934292 w 7145312"/>
                <a:gd name="connsiteY3289" fmla="*/ 295436 h 2639880"/>
                <a:gd name="connsiteX3290" fmla="*/ 4929528 w 7145312"/>
                <a:gd name="connsiteY3290" fmla="*/ 300200 h 2639880"/>
                <a:gd name="connsiteX3291" fmla="*/ 4919996 w 7145312"/>
                <a:gd name="connsiteY3291" fmla="*/ 295436 h 2639880"/>
                <a:gd name="connsiteX3292" fmla="*/ 4915232 w 7145312"/>
                <a:gd name="connsiteY3292" fmla="*/ 290670 h 2639880"/>
                <a:gd name="connsiteX3293" fmla="*/ 4924760 w 7145312"/>
                <a:gd name="connsiteY3293" fmla="*/ 276376 h 2639880"/>
                <a:gd name="connsiteX3294" fmla="*/ 4934292 w 7145312"/>
                <a:gd name="connsiteY3294" fmla="*/ 262080 h 2639880"/>
                <a:gd name="connsiteX3295" fmla="*/ 4924760 w 7145312"/>
                <a:gd name="connsiteY3295" fmla="*/ 257316 h 2639880"/>
                <a:gd name="connsiteX3296" fmla="*/ 4919996 w 7145312"/>
                <a:gd name="connsiteY3296" fmla="*/ 247784 h 2639880"/>
                <a:gd name="connsiteX3297" fmla="*/ 4919996 w 7145312"/>
                <a:gd name="connsiteY3297" fmla="*/ 233490 h 2639880"/>
                <a:gd name="connsiteX3298" fmla="*/ 28592 w 7145312"/>
                <a:gd name="connsiteY3298" fmla="*/ 47650 h 2639880"/>
                <a:gd name="connsiteX3299" fmla="*/ 47652 w 7145312"/>
                <a:gd name="connsiteY3299" fmla="*/ 47650 h 2639880"/>
                <a:gd name="connsiteX3300" fmla="*/ 66712 w 7145312"/>
                <a:gd name="connsiteY3300" fmla="*/ 47650 h 2639880"/>
                <a:gd name="connsiteX3301" fmla="*/ 81008 w 7145312"/>
                <a:gd name="connsiteY3301" fmla="*/ 52416 h 2639880"/>
                <a:gd name="connsiteX3302" fmla="*/ 100068 w 7145312"/>
                <a:gd name="connsiteY3302" fmla="*/ 61946 h 2639880"/>
                <a:gd name="connsiteX3303" fmla="*/ 128660 w 7145312"/>
                <a:gd name="connsiteY3303" fmla="*/ 90536 h 2639880"/>
                <a:gd name="connsiteX3304" fmla="*/ 142956 w 7145312"/>
                <a:gd name="connsiteY3304" fmla="*/ 95302 h 2639880"/>
                <a:gd name="connsiteX3305" fmla="*/ 162016 w 7145312"/>
                <a:gd name="connsiteY3305" fmla="*/ 100066 h 2639880"/>
                <a:gd name="connsiteX3306" fmla="*/ 200136 w 7145312"/>
                <a:gd name="connsiteY3306" fmla="*/ 109596 h 2639880"/>
                <a:gd name="connsiteX3307" fmla="*/ 219196 w 7145312"/>
                <a:gd name="connsiteY3307" fmla="*/ 109596 h 2639880"/>
                <a:gd name="connsiteX3308" fmla="*/ 252552 w 7145312"/>
                <a:gd name="connsiteY3308" fmla="*/ 100066 h 2639880"/>
                <a:gd name="connsiteX3309" fmla="*/ 271612 w 7145312"/>
                <a:gd name="connsiteY3309" fmla="*/ 100066 h 2639880"/>
                <a:gd name="connsiteX3310" fmla="*/ 290672 w 7145312"/>
                <a:gd name="connsiteY3310" fmla="*/ 109596 h 2639880"/>
                <a:gd name="connsiteX3311" fmla="*/ 309736 w 7145312"/>
                <a:gd name="connsiteY3311" fmla="*/ 109596 h 2639880"/>
                <a:gd name="connsiteX3312" fmla="*/ 347856 w 7145312"/>
                <a:gd name="connsiteY3312" fmla="*/ 104832 h 2639880"/>
                <a:gd name="connsiteX3313" fmla="*/ 357384 w 7145312"/>
                <a:gd name="connsiteY3313" fmla="*/ 109596 h 2639880"/>
                <a:gd name="connsiteX3314" fmla="*/ 366916 w 7145312"/>
                <a:gd name="connsiteY3314" fmla="*/ 109596 h 2639880"/>
                <a:gd name="connsiteX3315" fmla="*/ 371680 w 7145312"/>
                <a:gd name="connsiteY3315" fmla="*/ 119126 h 2639880"/>
                <a:gd name="connsiteX3316" fmla="*/ 390740 w 7145312"/>
                <a:gd name="connsiteY3316" fmla="*/ 138188 h 2639880"/>
                <a:gd name="connsiteX3317" fmla="*/ 419332 w 7145312"/>
                <a:gd name="connsiteY3317" fmla="*/ 162014 h 2639880"/>
                <a:gd name="connsiteX3318" fmla="*/ 428864 w 7145312"/>
                <a:gd name="connsiteY3318" fmla="*/ 176308 h 2639880"/>
                <a:gd name="connsiteX3319" fmla="*/ 433628 w 7145312"/>
                <a:gd name="connsiteY3319" fmla="*/ 195368 h 2639880"/>
                <a:gd name="connsiteX3320" fmla="*/ 438392 w 7145312"/>
                <a:gd name="connsiteY3320" fmla="*/ 200134 h 2639880"/>
                <a:gd name="connsiteX3321" fmla="*/ 469368 w 7145312"/>
                <a:gd name="connsiteY3321" fmla="*/ 233490 h 2639880"/>
                <a:gd name="connsiteX3322" fmla="*/ 474132 w 7145312"/>
                <a:gd name="connsiteY3322" fmla="*/ 247786 h 2639880"/>
                <a:gd name="connsiteX3323" fmla="*/ 469368 w 7145312"/>
                <a:gd name="connsiteY3323" fmla="*/ 271610 h 2639880"/>
                <a:gd name="connsiteX3324" fmla="*/ 478896 w 7145312"/>
                <a:gd name="connsiteY3324" fmla="*/ 285906 h 2639880"/>
                <a:gd name="connsiteX3325" fmla="*/ 517016 w 7145312"/>
                <a:gd name="connsiteY3325" fmla="*/ 300202 h 2639880"/>
                <a:gd name="connsiteX3326" fmla="*/ 536076 w 7145312"/>
                <a:gd name="connsiteY3326" fmla="*/ 309732 h 2639880"/>
                <a:gd name="connsiteX3327" fmla="*/ 540844 w 7145312"/>
                <a:gd name="connsiteY3327" fmla="*/ 319262 h 2639880"/>
                <a:gd name="connsiteX3328" fmla="*/ 540844 w 7145312"/>
                <a:gd name="connsiteY3328" fmla="*/ 324028 h 2639880"/>
                <a:gd name="connsiteX3329" fmla="*/ 555140 w 7145312"/>
                <a:gd name="connsiteY3329" fmla="*/ 338322 h 2639880"/>
                <a:gd name="connsiteX3330" fmla="*/ 569432 w 7145312"/>
                <a:gd name="connsiteY3330" fmla="*/ 347852 h 2639880"/>
                <a:gd name="connsiteX3331" fmla="*/ 612320 w 7145312"/>
                <a:gd name="connsiteY3331" fmla="*/ 366914 h 2639880"/>
                <a:gd name="connsiteX3332" fmla="*/ 669500 w 7145312"/>
                <a:gd name="connsiteY3332" fmla="*/ 409800 h 2639880"/>
                <a:gd name="connsiteX3333" fmla="*/ 702856 w 7145312"/>
                <a:gd name="connsiteY3333" fmla="*/ 428860 h 2639880"/>
                <a:gd name="connsiteX3334" fmla="*/ 731448 w 7145312"/>
                <a:gd name="connsiteY3334" fmla="*/ 457450 h 2639880"/>
                <a:gd name="connsiteX3335" fmla="*/ 740980 w 7145312"/>
                <a:gd name="connsiteY3335" fmla="*/ 471746 h 2639880"/>
                <a:gd name="connsiteX3336" fmla="*/ 750508 w 7145312"/>
                <a:gd name="connsiteY3336" fmla="*/ 490806 h 2639880"/>
                <a:gd name="connsiteX3337" fmla="*/ 764804 w 7145312"/>
                <a:gd name="connsiteY3337" fmla="*/ 509868 h 2639880"/>
                <a:gd name="connsiteX3338" fmla="*/ 793396 w 7145312"/>
                <a:gd name="connsiteY3338" fmla="*/ 538458 h 2639880"/>
                <a:gd name="connsiteX3339" fmla="*/ 798160 w 7145312"/>
                <a:gd name="connsiteY3339" fmla="*/ 547988 h 2639880"/>
                <a:gd name="connsiteX3340" fmla="*/ 807692 w 7145312"/>
                <a:gd name="connsiteY3340" fmla="*/ 562284 h 2639880"/>
                <a:gd name="connsiteX3341" fmla="*/ 817220 w 7145312"/>
                <a:gd name="connsiteY3341" fmla="*/ 571814 h 2639880"/>
                <a:gd name="connsiteX3342" fmla="*/ 826752 w 7145312"/>
                <a:gd name="connsiteY3342" fmla="*/ 581344 h 2639880"/>
                <a:gd name="connsiteX3343" fmla="*/ 841048 w 7145312"/>
                <a:gd name="connsiteY3343" fmla="*/ 590874 h 2639880"/>
                <a:gd name="connsiteX3344" fmla="*/ 850576 w 7145312"/>
                <a:gd name="connsiteY3344" fmla="*/ 595640 h 2639880"/>
                <a:gd name="connsiteX3345" fmla="*/ 874400 w 7145312"/>
                <a:gd name="connsiteY3345" fmla="*/ 614700 h 2639880"/>
                <a:gd name="connsiteX3346" fmla="*/ 883932 w 7145312"/>
                <a:gd name="connsiteY3346" fmla="*/ 619466 h 2639880"/>
                <a:gd name="connsiteX3347" fmla="*/ 883932 w 7145312"/>
                <a:gd name="connsiteY3347" fmla="*/ 605170 h 2639880"/>
                <a:gd name="connsiteX3348" fmla="*/ 874400 w 7145312"/>
                <a:gd name="connsiteY3348" fmla="*/ 590874 h 2639880"/>
                <a:gd name="connsiteX3349" fmla="*/ 874400 w 7145312"/>
                <a:gd name="connsiteY3349" fmla="*/ 581344 h 2639880"/>
                <a:gd name="connsiteX3350" fmla="*/ 874400 w 7145312"/>
                <a:gd name="connsiteY3350" fmla="*/ 576580 h 2639880"/>
                <a:gd name="connsiteX3351" fmla="*/ 883932 w 7145312"/>
                <a:gd name="connsiteY3351" fmla="*/ 567048 h 2639880"/>
                <a:gd name="connsiteX3352" fmla="*/ 893464 w 7145312"/>
                <a:gd name="connsiteY3352" fmla="*/ 567048 h 2639880"/>
                <a:gd name="connsiteX3353" fmla="*/ 907756 w 7145312"/>
                <a:gd name="connsiteY3353" fmla="*/ 571814 h 2639880"/>
                <a:gd name="connsiteX3354" fmla="*/ 936348 w 7145312"/>
                <a:gd name="connsiteY3354" fmla="*/ 595640 h 2639880"/>
                <a:gd name="connsiteX3355" fmla="*/ 950644 w 7145312"/>
                <a:gd name="connsiteY3355" fmla="*/ 609936 h 2639880"/>
                <a:gd name="connsiteX3356" fmla="*/ 955408 w 7145312"/>
                <a:gd name="connsiteY3356" fmla="*/ 628996 h 2639880"/>
                <a:gd name="connsiteX3357" fmla="*/ 964940 w 7145312"/>
                <a:gd name="connsiteY3357" fmla="*/ 652822 h 2639880"/>
                <a:gd name="connsiteX3358" fmla="*/ 974468 w 7145312"/>
                <a:gd name="connsiteY3358" fmla="*/ 662352 h 2639880"/>
                <a:gd name="connsiteX3359" fmla="*/ 993532 w 7145312"/>
                <a:gd name="connsiteY3359" fmla="*/ 662352 h 2639880"/>
                <a:gd name="connsiteX3360" fmla="*/ 1007824 w 7145312"/>
                <a:gd name="connsiteY3360" fmla="*/ 667116 h 2639880"/>
                <a:gd name="connsiteX3361" fmla="*/ 1022120 w 7145312"/>
                <a:gd name="connsiteY3361" fmla="*/ 671882 h 2639880"/>
                <a:gd name="connsiteX3362" fmla="*/ 1060240 w 7145312"/>
                <a:gd name="connsiteY3362" fmla="*/ 700472 h 2639880"/>
                <a:gd name="connsiteX3363" fmla="*/ 1074536 w 7145312"/>
                <a:gd name="connsiteY3363" fmla="*/ 714768 h 2639880"/>
                <a:gd name="connsiteX3364" fmla="*/ 1084068 w 7145312"/>
                <a:gd name="connsiteY3364" fmla="*/ 729064 h 2639880"/>
                <a:gd name="connsiteX3365" fmla="*/ 1088832 w 7145312"/>
                <a:gd name="connsiteY3365" fmla="*/ 748124 h 2639880"/>
                <a:gd name="connsiteX3366" fmla="*/ 1093596 w 7145312"/>
                <a:gd name="connsiteY3366" fmla="*/ 767184 h 2639880"/>
                <a:gd name="connsiteX3367" fmla="*/ 1093596 w 7145312"/>
                <a:gd name="connsiteY3367" fmla="*/ 771950 h 2639880"/>
                <a:gd name="connsiteX3368" fmla="*/ 1117424 w 7145312"/>
                <a:gd name="connsiteY3368" fmla="*/ 795774 h 2639880"/>
                <a:gd name="connsiteX3369" fmla="*/ 1131720 w 7145312"/>
                <a:gd name="connsiteY3369" fmla="*/ 805306 h 2639880"/>
                <a:gd name="connsiteX3370" fmla="*/ 1146016 w 7145312"/>
                <a:gd name="connsiteY3370" fmla="*/ 810070 h 2639880"/>
                <a:gd name="connsiteX3371" fmla="*/ 1188900 w 7145312"/>
                <a:gd name="connsiteY3371" fmla="*/ 814836 h 2639880"/>
                <a:gd name="connsiteX3372" fmla="*/ 1207960 w 7145312"/>
                <a:gd name="connsiteY3372" fmla="*/ 819600 h 2639880"/>
                <a:gd name="connsiteX3373" fmla="*/ 1217492 w 7145312"/>
                <a:gd name="connsiteY3373" fmla="*/ 833896 h 2639880"/>
                <a:gd name="connsiteX3374" fmla="*/ 1222256 w 7145312"/>
                <a:gd name="connsiteY3374" fmla="*/ 848192 h 2639880"/>
                <a:gd name="connsiteX3375" fmla="*/ 1217492 w 7145312"/>
                <a:gd name="connsiteY3375" fmla="*/ 862486 h 2639880"/>
                <a:gd name="connsiteX3376" fmla="*/ 1179372 w 7145312"/>
                <a:gd name="connsiteY3376" fmla="*/ 876782 h 2639880"/>
                <a:gd name="connsiteX3377" fmla="*/ 1146016 w 7145312"/>
                <a:gd name="connsiteY3377" fmla="*/ 891078 h 2639880"/>
                <a:gd name="connsiteX3378" fmla="*/ 1179372 w 7145312"/>
                <a:gd name="connsiteY3378" fmla="*/ 886312 h 2639880"/>
                <a:gd name="connsiteX3379" fmla="*/ 1198432 w 7145312"/>
                <a:gd name="connsiteY3379" fmla="*/ 881548 h 2639880"/>
                <a:gd name="connsiteX3380" fmla="*/ 1212728 w 7145312"/>
                <a:gd name="connsiteY3380" fmla="*/ 872016 h 2639880"/>
                <a:gd name="connsiteX3381" fmla="*/ 1231788 w 7145312"/>
                <a:gd name="connsiteY3381" fmla="*/ 862486 h 2639880"/>
                <a:gd name="connsiteX3382" fmla="*/ 1255612 w 7145312"/>
                <a:gd name="connsiteY3382" fmla="*/ 848192 h 2639880"/>
                <a:gd name="connsiteX3383" fmla="*/ 1265144 w 7145312"/>
                <a:gd name="connsiteY3383" fmla="*/ 843426 h 2639880"/>
                <a:gd name="connsiteX3384" fmla="*/ 1279436 w 7145312"/>
                <a:gd name="connsiteY3384" fmla="*/ 848192 h 2639880"/>
                <a:gd name="connsiteX3385" fmla="*/ 1288968 w 7145312"/>
                <a:gd name="connsiteY3385" fmla="*/ 852956 h 2639880"/>
                <a:gd name="connsiteX3386" fmla="*/ 1303264 w 7145312"/>
                <a:gd name="connsiteY3386" fmla="*/ 862486 h 2639880"/>
                <a:gd name="connsiteX3387" fmla="*/ 1317560 w 7145312"/>
                <a:gd name="connsiteY3387" fmla="*/ 881548 h 2639880"/>
                <a:gd name="connsiteX3388" fmla="*/ 1331856 w 7145312"/>
                <a:gd name="connsiteY3388" fmla="*/ 900608 h 2639880"/>
                <a:gd name="connsiteX3389" fmla="*/ 1336620 w 7145312"/>
                <a:gd name="connsiteY3389" fmla="*/ 919668 h 2639880"/>
                <a:gd name="connsiteX3390" fmla="*/ 1322324 w 7145312"/>
                <a:gd name="connsiteY3390" fmla="*/ 929198 h 2639880"/>
                <a:gd name="connsiteX3391" fmla="*/ 1308028 w 7145312"/>
                <a:gd name="connsiteY3391" fmla="*/ 933964 h 2639880"/>
                <a:gd name="connsiteX3392" fmla="*/ 1279436 w 7145312"/>
                <a:gd name="connsiteY3392" fmla="*/ 957790 h 2639880"/>
                <a:gd name="connsiteX3393" fmla="*/ 1279436 w 7145312"/>
                <a:gd name="connsiteY3393" fmla="*/ 962554 h 2639880"/>
                <a:gd name="connsiteX3394" fmla="*/ 1284204 w 7145312"/>
                <a:gd name="connsiteY3394" fmla="*/ 967320 h 2639880"/>
                <a:gd name="connsiteX3395" fmla="*/ 1274672 w 7145312"/>
                <a:gd name="connsiteY3395" fmla="*/ 981614 h 2639880"/>
                <a:gd name="connsiteX3396" fmla="*/ 1288968 w 7145312"/>
                <a:gd name="connsiteY3396" fmla="*/ 991146 h 2639880"/>
                <a:gd name="connsiteX3397" fmla="*/ 1293732 w 7145312"/>
                <a:gd name="connsiteY3397" fmla="*/ 995910 h 2639880"/>
                <a:gd name="connsiteX3398" fmla="*/ 1279436 w 7145312"/>
                <a:gd name="connsiteY3398" fmla="*/ 1010206 h 2639880"/>
                <a:gd name="connsiteX3399" fmla="*/ 1284204 w 7145312"/>
                <a:gd name="connsiteY3399" fmla="*/ 1014970 h 2639880"/>
                <a:gd name="connsiteX3400" fmla="*/ 1298500 w 7145312"/>
                <a:gd name="connsiteY3400" fmla="*/ 1043562 h 2639880"/>
                <a:gd name="connsiteX3401" fmla="*/ 1303264 w 7145312"/>
                <a:gd name="connsiteY3401" fmla="*/ 1048326 h 2639880"/>
                <a:gd name="connsiteX3402" fmla="*/ 1327088 w 7145312"/>
                <a:gd name="connsiteY3402" fmla="*/ 1062622 h 2639880"/>
                <a:gd name="connsiteX3403" fmla="*/ 1360444 w 7145312"/>
                <a:gd name="connsiteY3403" fmla="*/ 1076918 h 2639880"/>
                <a:gd name="connsiteX3404" fmla="*/ 1379504 w 7145312"/>
                <a:gd name="connsiteY3404" fmla="*/ 1086448 h 2639880"/>
                <a:gd name="connsiteX3405" fmla="*/ 1403332 w 7145312"/>
                <a:gd name="connsiteY3405" fmla="*/ 1091212 h 2639880"/>
                <a:gd name="connsiteX3406" fmla="*/ 1412860 w 7145312"/>
                <a:gd name="connsiteY3406" fmla="*/ 1091212 h 2639880"/>
                <a:gd name="connsiteX3407" fmla="*/ 1427156 w 7145312"/>
                <a:gd name="connsiteY3407" fmla="*/ 1086448 h 2639880"/>
                <a:gd name="connsiteX3408" fmla="*/ 1427156 w 7145312"/>
                <a:gd name="connsiteY3408" fmla="*/ 1091212 h 2639880"/>
                <a:gd name="connsiteX3409" fmla="*/ 1436688 w 7145312"/>
                <a:gd name="connsiteY3409" fmla="*/ 1119804 h 2639880"/>
                <a:gd name="connsiteX3410" fmla="*/ 1441452 w 7145312"/>
                <a:gd name="connsiteY3410" fmla="*/ 1138864 h 2639880"/>
                <a:gd name="connsiteX3411" fmla="*/ 1446216 w 7145312"/>
                <a:gd name="connsiteY3411" fmla="*/ 1176986 h 2639880"/>
                <a:gd name="connsiteX3412" fmla="*/ 1450984 w 7145312"/>
                <a:gd name="connsiteY3412" fmla="*/ 1191280 h 2639880"/>
                <a:gd name="connsiteX3413" fmla="*/ 1450984 w 7145312"/>
                <a:gd name="connsiteY3413" fmla="*/ 1210340 h 2639880"/>
                <a:gd name="connsiteX3414" fmla="*/ 1460512 w 7145312"/>
                <a:gd name="connsiteY3414" fmla="*/ 1224636 h 2639880"/>
                <a:gd name="connsiteX3415" fmla="*/ 1474808 w 7145312"/>
                <a:gd name="connsiteY3415" fmla="*/ 1234166 h 2639880"/>
                <a:gd name="connsiteX3416" fmla="*/ 1493868 w 7145312"/>
                <a:gd name="connsiteY3416" fmla="*/ 1243696 h 2639880"/>
                <a:gd name="connsiteX3417" fmla="*/ 1503400 w 7145312"/>
                <a:gd name="connsiteY3417" fmla="*/ 1253228 h 2639880"/>
                <a:gd name="connsiteX3418" fmla="*/ 1503400 w 7145312"/>
                <a:gd name="connsiteY3418" fmla="*/ 1262758 h 2639880"/>
                <a:gd name="connsiteX3419" fmla="*/ 1498632 w 7145312"/>
                <a:gd name="connsiteY3419" fmla="*/ 1277052 h 2639880"/>
                <a:gd name="connsiteX3420" fmla="*/ 1493868 w 7145312"/>
                <a:gd name="connsiteY3420" fmla="*/ 1281818 h 2639880"/>
                <a:gd name="connsiteX3421" fmla="*/ 1474808 w 7145312"/>
                <a:gd name="connsiteY3421" fmla="*/ 1300878 h 2639880"/>
                <a:gd name="connsiteX3422" fmla="*/ 1470044 w 7145312"/>
                <a:gd name="connsiteY3422" fmla="*/ 1305644 h 2639880"/>
                <a:gd name="connsiteX3423" fmla="*/ 1470044 w 7145312"/>
                <a:gd name="connsiteY3423" fmla="*/ 1324704 h 2639880"/>
                <a:gd name="connsiteX3424" fmla="*/ 1470044 w 7145312"/>
                <a:gd name="connsiteY3424" fmla="*/ 1329470 h 2639880"/>
                <a:gd name="connsiteX3425" fmla="*/ 1479572 w 7145312"/>
                <a:gd name="connsiteY3425" fmla="*/ 1329470 h 2639880"/>
                <a:gd name="connsiteX3426" fmla="*/ 1484340 w 7145312"/>
                <a:gd name="connsiteY3426" fmla="*/ 1329470 h 2639880"/>
                <a:gd name="connsiteX3427" fmla="*/ 1508164 w 7145312"/>
                <a:gd name="connsiteY3427" fmla="*/ 1305644 h 2639880"/>
                <a:gd name="connsiteX3428" fmla="*/ 1512928 w 7145312"/>
                <a:gd name="connsiteY3428" fmla="*/ 1300878 h 2639880"/>
                <a:gd name="connsiteX3429" fmla="*/ 1522460 w 7145312"/>
                <a:gd name="connsiteY3429" fmla="*/ 1296114 h 2639880"/>
                <a:gd name="connsiteX3430" fmla="*/ 1531988 w 7145312"/>
                <a:gd name="connsiteY3430" fmla="*/ 1291348 h 2639880"/>
                <a:gd name="connsiteX3431" fmla="*/ 1570112 w 7145312"/>
                <a:gd name="connsiteY3431" fmla="*/ 1291348 h 2639880"/>
                <a:gd name="connsiteX3432" fmla="*/ 1589172 w 7145312"/>
                <a:gd name="connsiteY3432" fmla="*/ 1296114 h 2639880"/>
                <a:gd name="connsiteX3433" fmla="*/ 1603468 w 7145312"/>
                <a:gd name="connsiteY3433" fmla="*/ 1305644 h 2639880"/>
                <a:gd name="connsiteX3434" fmla="*/ 1617760 w 7145312"/>
                <a:gd name="connsiteY3434" fmla="*/ 1315174 h 2639880"/>
                <a:gd name="connsiteX3435" fmla="*/ 1665412 w 7145312"/>
                <a:gd name="connsiteY3435" fmla="*/ 1377120 h 2639880"/>
                <a:gd name="connsiteX3436" fmla="*/ 1689240 w 7145312"/>
                <a:gd name="connsiteY3436" fmla="*/ 1410476 h 2639880"/>
                <a:gd name="connsiteX3437" fmla="*/ 1689240 w 7145312"/>
                <a:gd name="connsiteY3437" fmla="*/ 1420006 h 2639880"/>
                <a:gd name="connsiteX3438" fmla="*/ 1694004 w 7145312"/>
                <a:gd name="connsiteY3438" fmla="*/ 1429536 h 2639880"/>
                <a:gd name="connsiteX3439" fmla="*/ 1689240 w 7145312"/>
                <a:gd name="connsiteY3439" fmla="*/ 1434302 h 2639880"/>
                <a:gd name="connsiteX3440" fmla="*/ 1665412 w 7145312"/>
                <a:gd name="connsiteY3440" fmla="*/ 1458128 h 2639880"/>
                <a:gd name="connsiteX3441" fmla="*/ 1665412 w 7145312"/>
                <a:gd name="connsiteY3441" fmla="*/ 1462892 h 2639880"/>
                <a:gd name="connsiteX3442" fmla="*/ 1655884 w 7145312"/>
                <a:gd name="connsiteY3442" fmla="*/ 1491484 h 2639880"/>
                <a:gd name="connsiteX3443" fmla="*/ 1660648 w 7145312"/>
                <a:gd name="connsiteY3443" fmla="*/ 1510544 h 2639880"/>
                <a:gd name="connsiteX3444" fmla="*/ 1665412 w 7145312"/>
                <a:gd name="connsiteY3444" fmla="*/ 1515310 h 2639880"/>
                <a:gd name="connsiteX3445" fmla="*/ 1670180 w 7145312"/>
                <a:gd name="connsiteY3445" fmla="*/ 1524840 h 2639880"/>
                <a:gd name="connsiteX3446" fmla="*/ 1670180 w 7145312"/>
                <a:gd name="connsiteY3446" fmla="*/ 1534370 h 2639880"/>
                <a:gd name="connsiteX3447" fmla="*/ 1655884 w 7145312"/>
                <a:gd name="connsiteY3447" fmla="*/ 1567726 h 2639880"/>
                <a:gd name="connsiteX3448" fmla="*/ 1655884 w 7145312"/>
                <a:gd name="connsiteY3448" fmla="*/ 1577256 h 2639880"/>
                <a:gd name="connsiteX3449" fmla="*/ 1665412 w 7145312"/>
                <a:gd name="connsiteY3449" fmla="*/ 1639202 h 2639880"/>
                <a:gd name="connsiteX3450" fmla="*/ 1665412 w 7145312"/>
                <a:gd name="connsiteY3450" fmla="*/ 1653498 h 2639880"/>
                <a:gd name="connsiteX3451" fmla="*/ 1665412 w 7145312"/>
                <a:gd name="connsiteY3451" fmla="*/ 1677324 h 2639880"/>
                <a:gd name="connsiteX3452" fmla="*/ 1665412 w 7145312"/>
                <a:gd name="connsiteY3452" fmla="*/ 1710680 h 2639880"/>
                <a:gd name="connsiteX3453" fmla="*/ 1655884 w 7145312"/>
                <a:gd name="connsiteY3453" fmla="*/ 1815512 h 2639880"/>
                <a:gd name="connsiteX3454" fmla="*/ 1651116 w 7145312"/>
                <a:gd name="connsiteY3454" fmla="*/ 1820278 h 2639880"/>
                <a:gd name="connsiteX3455" fmla="*/ 1641588 w 7145312"/>
                <a:gd name="connsiteY3455" fmla="*/ 1834572 h 2639880"/>
                <a:gd name="connsiteX3456" fmla="*/ 1632056 w 7145312"/>
                <a:gd name="connsiteY3456" fmla="*/ 1834572 h 2639880"/>
                <a:gd name="connsiteX3457" fmla="*/ 1622528 w 7145312"/>
                <a:gd name="connsiteY3457" fmla="*/ 1834572 h 2639880"/>
                <a:gd name="connsiteX3458" fmla="*/ 1617760 w 7145312"/>
                <a:gd name="connsiteY3458" fmla="*/ 1825042 h 2639880"/>
                <a:gd name="connsiteX3459" fmla="*/ 1612996 w 7145312"/>
                <a:gd name="connsiteY3459" fmla="*/ 1820278 h 2639880"/>
                <a:gd name="connsiteX3460" fmla="*/ 1608232 w 7145312"/>
                <a:gd name="connsiteY3460" fmla="*/ 1815512 h 2639880"/>
                <a:gd name="connsiteX3461" fmla="*/ 1579640 w 7145312"/>
                <a:gd name="connsiteY3461" fmla="*/ 1791686 h 2639880"/>
                <a:gd name="connsiteX3462" fmla="*/ 1574876 w 7145312"/>
                <a:gd name="connsiteY3462" fmla="*/ 1796452 h 2639880"/>
                <a:gd name="connsiteX3463" fmla="*/ 1546284 w 7145312"/>
                <a:gd name="connsiteY3463" fmla="*/ 1820278 h 2639880"/>
                <a:gd name="connsiteX3464" fmla="*/ 1536756 w 7145312"/>
                <a:gd name="connsiteY3464" fmla="*/ 1825042 h 2639880"/>
                <a:gd name="connsiteX3465" fmla="*/ 1531988 w 7145312"/>
                <a:gd name="connsiteY3465" fmla="*/ 1820278 h 2639880"/>
                <a:gd name="connsiteX3466" fmla="*/ 1517696 w 7145312"/>
                <a:gd name="connsiteY3466" fmla="*/ 1815512 h 2639880"/>
                <a:gd name="connsiteX3467" fmla="*/ 1470044 w 7145312"/>
                <a:gd name="connsiteY3467" fmla="*/ 1791686 h 2639880"/>
                <a:gd name="connsiteX3468" fmla="*/ 1465276 w 7145312"/>
                <a:gd name="connsiteY3468" fmla="*/ 1796452 h 2639880"/>
                <a:gd name="connsiteX3469" fmla="*/ 1465276 w 7145312"/>
                <a:gd name="connsiteY3469" fmla="*/ 1810748 h 2639880"/>
                <a:gd name="connsiteX3470" fmla="*/ 1474808 w 7145312"/>
                <a:gd name="connsiteY3470" fmla="*/ 1834572 h 2639880"/>
                <a:gd name="connsiteX3471" fmla="*/ 1474808 w 7145312"/>
                <a:gd name="connsiteY3471" fmla="*/ 1848868 h 2639880"/>
                <a:gd name="connsiteX3472" fmla="*/ 1470044 w 7145312"/>
                <a:gd name="connsiteY3472" fmla="*/ 1848868 h 2639880"/>
                <a:gd name="connsiteX3473" fmla="*/ 1465276 w 7145312"/>
                <a:gd name="connsiteY3473" fmla="*/ 1848868 h 2639880"/>
                <a:gd name="connsiteX3474" fmla="*/ 1446216 w 7145312"/>
                <a:gd name="connsiteY3474" fmla="*/ 1834572 h 2639880"/>
                <a:gd name="connsiteX3475" fmla="*/ 1427156 w 7145312"/>
                <a:gd name="connsiteY3475" fmla="*/ 1815512 h 2639880"/>
                <a:gd name="connsiteX3476" fmla="*/ 1408096 w 7145312"/>
                <a:gd name="connsiteY3476" fmla="*/ 1791686 h 2639880"/>
                <a:gd name="connsiteX3477" fmla="*/ 1393800 w 7145312"/>
                <a:gd name="connsiteY3477" fmla="*/ 1782156 h 2639880"/>
                <a:gd name="connsiteX3478" fmla="*/ 1379504 w 7145312"/>
                <a:gd name="connsiteY3478" fmla="*/ 1767860 h 2639880"/>
                <a:gd name="connsiteX3479" fmla="*/ 1341384 w 7145312"/>
                <a:gd name="connsiteY3479" fmla="*/ 1720210 h 2639880"/>
                <a:gd name="connsiteX3480" fmla="*/ 1336620 w 7145312"/>
                <a:gd name="connsiteY3480" fmla="*/ 1710680 h 2639880"/>
                <a:gd name="connsiteX3481" fmla="*/ 1274672 w 7145312"/>
                <a:gd name="connsiteY3481" fmla="*/ 1677324 h 2639880"/>
                <a:gd name="connsiteX3482" fmla="*/ 1265144 w 7145312"/>
                <a:gd name="connsiteY3482" fmla="*/ 1672558 h 2639880"/>
                <a:gd name="connsiteX3483" fmla="*/ 1250848 w 7145312"/>
                <a:gd name="connsiteY3483" fmla="*/ 1658262 h 2639880"/>
                <a:gd name="connsiteX3484" fmla="*/ 1236552 w 7145312"/>
                <a:gd name="connsiteY3484" fmla="*/ 1643968 h 2639880"/>
                <a:gd name="connsiteX3485" fmla="*/ 1203196 w 7145312"/>
                <a:gd name="connsiteY3485" fmla="*/ 1624908 h 2639880"/>
                <a:gd name="connsiteX3486" fmla="*/ 1141248 w 7145312"/>
                <a:gd name="connsiteY3486" fmla="*/ 1577256 h 2639880"/>
                <a:gd name="connsiteX3487" fmla="*/ 1117424 w 7145312"/>
                <a:gd name="connsiteY3487" fmla="*/ 1543900 h 2639880"/>
                <a:gd name="connsiteX3488" fmla="*/ 1088832 w 7145312"/>
                <a:gd name="connsiteY3488" fmla="*/ 1501014 h 2639880"/>
                <a:gd name="connsiteX3489" fmla="*/ 1079304 w 7145312"/>
                <a:gd name="connsiteY3489" fmla="*/ 1486718 h 2639880"/>
                <a:gd name="connsiteX3490" fmla="*/ 1031652 w 7145312"/>
                <a:gd name="connsiteY3490" fmla="*/ 1453362 h 2639880"/>
                <a:gd name="connsiteX3491" fmla="*/ 1003060 w 7145312"/>
                <a:gd name="connsiteY3491" fmla="*/ 1434302 h 2639880"/>
                <a:gd name="connsiteX3492" fmla="*/ 993532 w 7145312"/>
                <a:gd name="connsiteY3492" fmla="*/ 1420006 h 2639880"/>
                <a:gd name="connsiteX3493" fmla="*/ 964940 w 7145312"/>
                <a:gd name="connsiteY3493" fmla="*/ 1377120 h 2639880"/>
                <a:gd name="connsiteX3494" fmla="*/ 960176 w 7145312"/>
                <a:gd name="connsiteY3494" fmla="*/ 1362824 h 2639880"/>
                <a:gd name="connsiteX3495" fmla="*/ 950644 w 7145312"/>
                <a:gd name="connsiteY3495" fmla="*/ 1353294 h 2639880"/>
                <a:gd name="connsiteX3496" fmla="*/ 931584 w 7145312"/>
                <a:gd name="connsiteY3496" fmla="*/ 1343764 h 2639880"/>
                <a:gd name="connsiteX3497" fmla="*/ 922052 w 7145312"/>
                <a:gd name="connsiteY3497" fmla="*/ 1329470 h 2639880"/>
                <a:gd name="connsiteX3498" fmla="*/ 893464 w 7145312"/>
                <a:gd name="connsiteY3498" fmla="*/ 1291348 h 2639880"/>
                <a:gd name="connsiteX3499" fmla="*/ 883932 w 7145312"/>
                <a:gd name="connsiteY3499" fmla="*/ 1277052 h 2639880"/>
                <a:gd name="connsiteX3500" fmla="*/ 879168 w 7145312"/>
                <a:gd name="connsiteY3500" fmla="*/ 1262758 h 2639880"/>
                <a:gd name="connsiteX3501" fmla="*/ 879168 w 7145312"/>
                <a:gd name="connsiteY3501" fmla="*/ 1229402 h 2639880"/>
                <a:gd name="connsiteX3502" fmla="*/ 821984 w 7145312"/>
                <a:gd name="connsiteY3502" fmla="*/ 1129334 h 2639880"/>
                <a:gd name="connsiteX3503" fmla="*/ 807692 w 7145312"/>
                <a:gd name="connsiteY3503" fmla="*/ 1095978 h 2639880"/>
                <a:gd name="connsiteX3504" fmla="*/ 793396 w 7145312"/>
                <a:gd name="connsiteY3504" fmla="*/ 1053092 h 2639880"/>
                <a:gd name="connsiteX3505" fmla="*/ 788628 w 7145312"/>
                <a:gd name="connsiteY3505" fmla="*/ 1048326 h 2639880"/>
                <a:gd name="connsiteX3506" fmla="*/ 750508 w 7145312"/>
                <a:gd name="connsiteY3506" fmla="*/ 1000676 h 2639880"/>
                <a:gd name="connsiteX3507" fmla="*/ 736212 w 7145312"/>
                <a:gd name="connsiteY3507" fmla="*/ 986380 h 2639880"/>
                <a:gd name="connsiteX3508" fmla="*/ 721916 w 7145312"/>
                <a:gd name="connsiteY3508" fmla="*/ 976850 h 2639880"/>
                <a:gd name="connsiteX3509" fmla="*/ 702856 w 7145312"/>
                <a:gd name="connsiteY3509" fmla="*/ 929198 h 2639880"/>
                <a:gd name="connsiteX3510" fmla="*/ 693328 w 7145312"/>
                <a:gd name="connsiteY3510" fmla="*/ 919668 h 2639880"/>
                <a:gd name="connsiteX3511" fmla="*/ 683796 w 7145312"/>
                <a:gd name="connsiteY3511" fmla="*/ 910138 h 2639880"/>
                <a:gd name="connsiteX3512" fmla="*/ 640912 w 7145312"/>
                <a:gd name="connsiteY3512" fmla="*/ 891078 h 2639880"/>
                <a:gd name="connsiteX3513" fmla="*/ 626616 w 7145312"/>
                <a:gd name="connsiteY3513" fmla="*/ 886312 h 2639880"/>
                <a:gd name="connsiteX3514" fmla="*/ 612320 w 7145312"/>
                <a:gd name="connsiteY3514" fmla="*/ 872016 h 2639880"/>
                <a:gd name="connsiteX3515" fmla="*/ 607556 w 7145312"/>
                <a:gd name="connsiteY3515" fmla="*/ 852956 h 2639880"/>
                <a:gd name="connsiteX3516" fmla="*/ 598024 w 7145312"/>
                <a:gd name="connsiteY3516" fmla="*/ 819600 h 2639880"/>
                <a:gd name="connsiteX3517" fmla="*/ 578964 w 7145312"/>
                <a:gd name="connsiteY3517" fmla="*/ 767184 h 2639880"/>
                <a:gd name="connsiteX3518" fmla="*/ 555140 w 7145312"/>
                <a:gd name="connsiteY3518" fmla="*/ 690942 h 2639880"/>
                <a:gd name="connsiteX3519" fmla="*/ 540844 w 7145312"/>
                <a:gd name="connsiteY3519" fmla="*/ 657586 h 2639880"/>
                <a:gd name="connsiteX3520" fmla="*/ 526548 w 7145312"/>
                <a:gd name="connsiteY3520" fmla="*/ 633760 h 2639880"/>
                <a:gd name="connsiteX3521" fmla="*/ 521784 w 7145312"/>
                <a:gd name="connsiteY3521" fmla="*/ 628996 h 2639880"/>
                <a:gd name="connsiteX3522" fmla="*/ 447924 w 7145312"/>
                <a:gd name="connsiteY3522" fmla="*/ 581344 h 2639880"/>
                <a:gd name="connsiteX3523" fmla="*/ 433628 w 7145312"/>
                <a:gd name="connsiteY3523" fmla="*/ 576580 h 2639880"/>
                <a:gd name="connsiteX3524" fmla="*/ 424096 w 7145312"/>
                <a:gd name="connsiteY3524" fmla="*/ 571814 h 2639880"/>
                <a:gd name="connsiteX3525" fmla="*/ 405036 w 7145312"/>
                <a:gd name="connsiteY3525" fmla="*/ 567048 h 2639880"/>
                <a:gd name="connsiteX3526" fmla="*/ 390740 w 7145312"/>
                <a:gd name="connsiteY3526" fmla="*/ 557518 h 2639880"/>
                <a:gd name="connsiteX3527" fmla="*/ 381212 w 7145312"/>
                <a:gd name="connsiteY3527" fmla="*/ 538458 h 2639880"/>
                <a:gd name="connsiteX3528" fmla="*/ 381212 w 7145312"/>
                <a:gd name="connsiteY3528" fmla="*/ 505102 h 2639880"/>
                <a:gd name="connsiteX3529" fmla="*/ 376448 w 7145312"/>
                <a:gd name="connsiteY3529" fmla="*/ 490806 h 2639880"/>
                <a:gd name="connsiteX3530" fmla="*/ 371680 w 7145312"/>
                <a:gd name="connsiteY3530" fmla="*/ 481276 h 2639880"/>
                <a:gd name="connsiteX3531" fmla="*/ 338324 w 7145312"/>
                <a:gd name="connsiteY3531" fmla="*/ 462216 h 2639880"/>
                <a:gd name="connsiteX3532" fmla="*/ 328796 w 7145312"/>
                <a:gd name="connsiteY3532" fmla="*/ 443156 h 2639880"/>
                <a:gd name="connsiteX3533" fmla="*/ 319264 w 7145312"/>
                <a:gd name="connsiteY3533" fmla="*/ 428860 h 2639880"/>
                <a:gd name="connsiteX3534" fmla="*/ 309736 w 7145312"/>
                <a:gd name="connsiteY3534" fmla="*/ 414564 h 2639880"/>
                <a:gd name="connsiteX3535" fmla="*/ 276380 w 7145312"/>
                <a:gd name="connsiteY3535" fmla="*/ 366914 h 2639880"/>
                <a:gd name="connsiteX3536" fmla="*/ 262084 w 7145312"/>
                <a:gd name="connsiteY3536" fmla="*/ 352618 h 2639880"/>
                <a:gd name="connsiteX3537" fmla="*/ 247788 w 7145312"/>
                <a:gd name="connsiteY3537" fmla="*/ 347852 h 2639880"/>
                <a:gd name="connsiteX3538" fmla="*/ 204900 w 7145312"/>
                <a:gd name="connsiteY3538" fmla="*/ 338322 h 2639880"/>
                <a:gd name="connsiteX3539" fmla="*/ 190608 w 7145312"/>
                <a:gd name="connsiteY3539" fmla="*/ 328792 h 2639880"/>
                <a:gd name="connsiteX3540" fmla="*/ 171544 w 7145312"/>
                <a:gd name="connsiteY3540" fmla="*/ 304966 h 2639880"/>
                <a:gd name="connsiteX3541" fmla="*/ 157252 w 7145312"/>
                <a:gd name="connsiteY3541" fmla="*/ 290672 h 2639880"/>
                <a:gd name="connsiteX3542" fmla="*/ 119128 w 7145312"/>
                <a:gd name="connsiteY3542" fmla="*/ 257316 h 2639880"/>
                <a:gd name="connsiteX3543" fmla="*/ 57184 w 7145312"/>
                <a:gd name="connsiteY3543" fmla="*/ 195368 h 2639880"/>
                <a:gd name="connsiteX3544" fmla="*/ 42888 w 7145312"/>
                <a:gd name="connsiteY3544" fmla="*/ 181074 h 2639880"/>
                <a:gd name="connsiteX3545" fmla="*/ 33356 w 7145312"/>
                <a:gd name="connsiteY3545" fmla="*/ 166778 h 2639880"/>
                <a:gd name="connsiteX3546" fmla="*/ 28592 w 7145312"/>
                <a:gd name="connsiteY3546" fmla="*/ 147718 h 2639880"/>
                <a:gd name="connsiteX3547" fmla="*/ 0 w 7145312"/>
                <a:gd name="connsiteY3547" fmla="*/ 100066 h 2639880"/>
                <a:gd name="connsiteX3548" fmla="*/ 0 w 7145312"/>
                <a:gd name="connsiteY3548" fmla="*/ 90536 h 2639880"/>
                <a:gd name="connsiteX3549" fmla="*/ 4768 w 7145312"/>
                <a:gd name="connsiteY3549" fmla="*/ 81006 h 2639880"/>
                <a:gd name="connsiteX3550" fmla="*/ 4768 w 7145312"/>
                <a:gd name="connsiteY3550" fmla="*/ 71476 h 2639880"/>
                <a:gd name="connsiteX3551" fmla="*/ 0 w 7145312"/>
                <a:gd name="connsiteY3551" fmla="*/ 61946 h 2639880"/>
                <a:gd name="connsiteX3552" fmla="*/ 0 w 7145312"/>
                <a:gd name="connsiteY3552" fmla="*/ 57180 h 2639880"/>
                <a:gd name="connsiteX3553" fmla="*/ 9532 w 7145312"/>
                <a:gd name="connsiteY3553" fmla="*/ 52416 h 2639880"/>
                <a:gd name="connsiteX3554" fmla="*/ 4768 w 7145312"/>
                <a:gd name="connsiteY3554" fmla="*/ 0 h 2639880"/>
                <a:gd name="connsiteX3555" fmla="*/ 9532 w 7145312"/>
                <a:gd name="connsiteY3555" fmla="*/ 4764 h 2639880"/>
                <a:gd name="connsiteX3556" fmla="*/ 23828 w 7145312"/>
                <a:gd name="connsiteY3556" fmla="*/ 4764 h 2639880"/>
                <a:gd name="connsiteX3557" fmla="*/ 23828 w 7145312"/>
                <a:gd name="connsiteY3557" fmla="*/ 9530 h 2639880"/>
                <a:gd name="connsiteX3558" fmla="*/ 23828 w 7145312"/>
                <a:gd name="connsiteY3558" fmla="*/ 14294 h 2639880"/>
                <a:gd name="connsiteX3559" fmla="*/ 19060 w 7145312"/>
                <a:gd name="connsiteY3559" fmla="*/ 19060 h 2639880"/>
                <a:gd name="connsiteX3560" fmla="*/ 9532 w 7145312"/>
                <a:gd name="connsiteY3560" fmla="*/ 19060 h 2639880"/>
                <a:gd name="connsiteX3561" fmla="*/ 0 w 7145312"/>
                <a:gd name="connsiteY3561" fmla="*/ 4764 h 2639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</a:cxnLst>
              <a:rect l="l" t="t" r="r" b="b"/>
              <a:pathLst>
                <a:path w="7145312" h="2639880">
                  <a:moveTo>
                    <a:pt x="4391064" y="2573168"/>
                  </a:moveTo>
                  <a:lnTo>
                    <a:pt x="4395828" y="2573168"/>
                  </a:lnTo>
                  <a:lnTo>
                    <a:pt x="4395828" y="2587462"/>
                  </a:lnTo>
                  <a:lnTo>
                    <a:pt x="4400596" y="2592228"/>
                  </a:lnTo>
                  <a:lnTo>
                    <a:pt x="4400596" y="2596992"/>
                  </a:lnTo>
                  <a:lnTo>
                    <a:pt x="4386300" y="2606524"/>
                  </a:lnTo>
                  <a:lnTo>
                    <a:pt x="4372004" y="2625584"/>
                  </a:lnTo>
                  <a:lnTo>
                    <a:pt x="4338648" y="2635114"/>
                  </a:lnTo>
                  <a:lnTo>
                    <a:pt x="4329120" y="2639880"/>
                  </a:lnTo>
                  <a:lnTo>
                    <a:pt x="4314824" y="2639880"/>
                  </a:lnTo>
                  <a:lnTo>
                    <a:pt x="4310056" y="2639880"/>
                  </a:lnTo>
                  <a:lnTo>
                    <a:pt x="4310056" y="2625584"/>
                  </a:lnTo>
                  <a:lnTo>
                    <a:pt x="4314824" y="2616054"/>
                  </a:lnTo>
                  <a:lnTo>
                    <a:pt x="4348180" y="2606524"/>
                  </a:lnTo>
                  <a:lnTo>
                    <a:pt x="4362476" y="2596992"/>
                  </a:lnTo>
                  <a:lnTo>
                    <a:pt x="4376768" y="2577932"/>
                  </a:lnTo>
                  <a:close/>
                  <a:moveTo>
                    <a:pt x="4162340" y="2563636"/>
                  </a:moveTo>
                  <a:lnTo>
                    <a:pt x="4171868" y="2563636"/>
                  </a:lnTo>
                  <a:lnTo>
                    <a:pt x="4181400" y="2568402"/>
                  </a:lnTo>
                  <a:lnTo>
                    <a:pt x="4176632" y="2577932"/>
                  </a:lnTo>
                  <a:lnTo>
                    <a:pt x="4162340" y="2587462"/>
                  </a:lnTo>
                  <a:lnTo>
                    <a:pt x="4157572" y="2592228"/>
                  </a:lnTo>
                  <a:lnTo>
                    <a:pt x="4138512" y="2587462"/>
                  </a:lnTo>
                  <a:lnTo>
                    <a:pt x="4133748" y="2582698"/>
                  </a:lnTo>
                  <a:lnTo>
                    <a:pt x="4148044" y="2577932"/>
                  </a:lnTo>
                  <a:close/>
                  <a:moveTo>
                    <a:pt x="1636824" y="2563636"/>
                  </a:moveTo>
                  <a:lnTo>
                    <a:pt x="1641588" y="2573168"/>
                  </a:lnTo>
                  <a:lnTo>
                    <a:pt x="1636824" y="2587464"/>
                  </a:lnTo>
                  <a:lnTo>
                    <a:pt x="1627292" y="2577932"/>
                  </a:lnTo>
                  <a:lnTo>
                    <a:pt x="1617764" y="2577932"/>
                  </a:lnTo>
                  <a:lnTo>
                    <a:pt x="1617764" y="2568402"/>
                  </a:lnTo>
                  <a:lnTo>
                    <a:pt x="1627292" y="2568402"/>
                  </a:lnTo>
                  <a:lnTo>
                    <a:pt x="1632060" y="2568402"/>
                  </a:lnTo>
                  <a:close/>
                  <a:moveTo>
                    <a:pt x="4410124" y="2515986"/>
                  </a:moveTo>
                  <a:lnTo>
                    <a:pt x="4414892" y="2525516"/>
                  </a:lnTo>
                  <a:lnTo>
                    <a:pt x="4400596" y="2530282"/>
                  </a:lnTo>
                  <a:lnTo>
                    <a:pt x="4400596" y="2544576"/>
                  </a:lnTo>
                  <a:lnTo>
                    <a:pt x="4391064" y="2549342"/>
                  </a:lnTo>
                  <a:lnTo>
                    <a:pt x="4391064" y="2539812"/>
                  </a:lnTo>
                  <a:lnTo>
                    <a:pt x="4400596" y="2520752"/>
                  </a:lnTo>
                  <a:close/>
                  <a:moveTo>
                    <a:pt x="4643616" y="2382562"/>
                  </a:moveTo>
                  <a:lnTo>
                    <a:pt x="4648380" y="2387328"/>
                  </a:lnTo>
                  <a:lnTo>
                    <a:pt x="4653148" y="2396858"/>
                  </a:lnTo>
                  <a:lnTo>
                    <a:pt x="4648384" y="2387328"/>
                  </a:lnTo>
                  <a:close/>
                  <a:moveTo>
                    <a:pt x="3862136" y="2382562"/>
                  </a:moveTo>
                  <a:lnTo>
                    <a:pt x="3866900" y="2387328"/>
                  </a:lnTo>
                  <a:lnTo>
                    <a:pt x="3871668" y="2396858"/>
                  </a:lnTo>
                  <a:lnTo>
                    <a:pt x="3876432" y="2401622"/>
                  </a:lnTo>
                  <a:lnTo>
                    <a:pt x="3905024" y="2415918"/>
                  </a:lnTo>
                  <a:lnTo>
                    <a:pt x="3909788" y="2420682"/>
                  </a:lnTo>
                  <a:lnTo>
                    <a:pt x="3909788" y="2434978"/>
                  </a:lnTo>
                  <a:lnTo>
                    <a:pt x="3914552" y="2439744"/>
                  </a:lnTo>
                  <a:lnTo>
                    <a:pt x="3924084" y="2439744"/>
                  </a:lnTo>
                  <a:lnTo>
                    <a:pt x="3938380" y="2439744"/>
                  </a:lnTo>
                  <a:lnTo>
                    <a:pt x="3947908" y="2444508"/>
                  </a:lnTo>
                  <a:lnTo>
                    <a:pt x="3957440" y="2449274"/>
                  </a:lnTo>
                  <a:lnTo>
                    <a:pt x="3966968" y="2463570"/>
                  </a:lnTo>
                  <a:lnTo>
                    <a:pt x="3976500" y="2477864"/>
                  </a:lnTo>
                  <a:lnTo>
                    <a:pt x="3990796" y="2487394"/>
                  </a:lnTo>
                  <a:lnTo>
                    <a:pt x="4000324" y="2501690"/>
                  </a:lnTo>
                  <a:lnTo>
                    <a:pt x="3995560" y="2511220"/>
                  </a:lnTo>
                  <a:lnTo>
                    <a:pt x="3976500" y="2530280"/>
                  </a:lnTo>
                  <a:lnTo>
                    <a:pt x="3966968" y="2530280"/>
                  </a:lnTo>
                  <a:lnTo>
                    <a:pt x="3957440" y="2535046"/>
                  </a:lnTo>
                  <a:lnTo>
                    <a:pt x="3938380" y="2539812"/>
                  </a:lnTo>
                  <a:lnTo>
                    <a:pt x="3928848" y="2535046"/>
                  </a:lnTo>
                  <a:lnTo>
                    <a:pt x="3909788" y="2535046"/>
                  </a:lnTo>
                  <a:lnTo>
                    <a:pt x="3890728" y="2525516"/>
                  </a:lnTo>
                  <a:lnTo>
                    <a:pt x="3876432" y="2515986"/>
                  </a:lnTo>
                  <a:lnTo>
                    <a:pt x="3866900" y="2501690"/>
                  </a:lnTo>
                  <a:lnTo>
                    <a:pt x="3857372" y="2492160"/>
                  </a:lnTo>
                  <a:lnTo>
                    <a:pt x="3838312" y="2482630"/>
                  </a:lnTo>
                  <a:lnTo>
                    <a:pt x="3804956" y="2458804"/>
                  </a:lnTo>
                  <a:lnTo>
                    <a:pt x="3785896" y="2458804"/>
                  </a:lnTo>
                  <a:lnTo>
                    <a:pt x="3776364" y="2458804"/>
                  </a:lnTo>
                  <a:lnTo>
                    <a:pt x="3771600" y="2458804"/>
                  </a:lnTo>
                  <a:lnTo>
                    <a:pt x="3728712" y="2449274"/>
                  </a:lnTo>
                  <a:lnTo>
                    <a:pt x="3719184" y="2444508"/>
                  </a:lnTo>
                  <a:lnTo>
                    <a:pt x="3709652" y="2425448"/>
                  </a:lnTo>
                  <a:lnTo>
                    <a:pt x="3704888" y="2420682"/>
                  </a:lnTo>
                  <a:lnTo>
                    <a:pt x="3709652" y="2411152"/>
                  </a:lnTo>
                  <a:lnTo>
                    <a:pt x="3719184" y="2406388"/>
                  </a:lnTo>
                  <a:lnTo>
                    <a:pt x="3743008" y="2396858"/>
                  </a:lnTo>
                  <a:lnTo>
                    <a:pt x="3757304" y="2396858"/>
                  </a:lnTo>
                  <a:lnTo>
                    <a:pt x="3781128" y="2396858"/>
                  </a:lnTo>
                  <a:lnTo>
                    <a:pt x="3809720" y="2392092"/>
                  </a:lnTo>
                  <a:lnTo>
                    <a:pt x="3838312" y="2396858"/>
                  </a:lnTo>
                  <a:lnTo>
                    <a:pt x="3847840" y="2392092"/>
                  </a:lnTo>
                  <a:close/>
                  <a:moveTo>
                    <a:pt x="4672208" y="2358736"/>
                  </a:moveTo>
                  <a:lnTo>
                    <a:pt x="4667440" y="2368266"/>
                  </a:lnTo>
                  <a:lnTo>
                    <a:pt x="4667444" y="2368266"/>
                  </a:lnTo>
                  <a:close/>
                  <a:moveTo>
                    <a:pt x="4638852" y="2344440"/>
                  </a:moveTo>
                  <a:lnTo>
                    <a:pt x="4638852" y="2344442"/>
                  </a:lnTo>
                  <a:lnTo>
                    <a:pt x="4648380" y="2349206"/>
                  </a:lnTo>
                  <a:lnTo>
                    <a:pt x="4648380" y="2349204"/>
                  </a:lnTo>
                  <a:close/>
                  <a:moveTo>
                    <a:pt x="4667444" y="2339676"/>
                  </a:moveTo>
                  <a:lnTo>
                    <a:pt x="4667440" y="2339678"/>
                  </a:lnTo>
                  <a:lnTo>
                    <a:pt x="4672208" y="2344442"/>
                  </a:lnTo>
                  <a:lnTo>
                    <a:pt x="4672208" y="2344440"/>
                  </a:lnTo>
                  <a:close/>
                  <a:moveTo>
                    <a:pt x="3171192" y="2287260"/>
                  </a:moveTo>
                  <a:lnTo>
                    <a:pt x="3175960" y="2287260"/>
                  </a:lnTo>
                  <a:lnTo>
                    <a:pt x="3185488" y="2292026"/>
                  </a:lnTo>
                  <a:lnTo>
                    <a:pt x="3185488" y="2301556"/>
                  </a:lnTo>
                  <a:lnTo>
                    <a:pt x="3180724" y="2306320"/>
                  </a:lnTo>
                  <a:lnTo>
                    <a:pt x="3166428" y="2296790"/>
                  </a:lnTo>
                  <a:lnTo>
                    <a:pt x="3161664" y="2292026"/>
                  </a:lnTo>
                  <a:close/>
                  <a:moveTo>
                    <a:pt x="4338648" y="2249140"/>
                  </a:moveTo>
                  <a:lnTo>
                    <a:pt x="4352944" y="2249140"/>
                  </a:lnTo>
                  <a:lnTo>
                    <a:pt x="4357708" y="2249140"/>
                  </a:lnTo>
                  <a:lnTo>
                    <a:pt x="4362472" y="2253904"/>
                  </a:lnTo>
                  <a:lnTo>
                    <a:pt x="4343412" y="2258670"/>
                  </a:lnTo>
                  <a:lnTo>
                    <a:pt x="4333884" y="2263434"/>
                  </a:lnTo>
                  <a:lnTo>
                    <a:pt x="4329120" y="2272964"/>
                  </a:lnTo>
                  <a:lnTo>
                    <a:pt x="4319588" y="2272964"/>
                  </a:lnTo>
                  <a:lnTo>
                    <a:pt x="4324352" y="2263434"/>
                  </a:lnTo>
                  <a:lnTo>
                    <a:pt x="4329120" y="2258670"/>
                  </a:lnTo>
                  <a:close/>
                  <a:moveTo>
                    <a:pt x="3781128" y="2249140"/>
                  </a:moveTo>
                  <a:lnTo>
                    <a:pt x="3785896" y="2249140"/>
                  </a:lnTo>
                  <a:lnTo>
                    <a:pt x="3785896" y="2253904"/>
                  </a:lnTo>
                  <a:lnTo>
                    <a:pt x="3790660" y="2253904"/>
                  </a:lnTo>
                  <a:lnTo>
                    <a:pt x="3800192" y="2253904"/>
                  </a:lnTo>
                  <a:lnTo>
                    <a:pt x="3800192" y="2263434"/>
                  </a:lnTo>
                  <a:lnTo>
                    <a:pt x="3800192" y="2268200"/>
                  </a:lnTo>
                  <a:lnTo>
                    <a:pt x="3795424" y="2272964"/>
                  </a:lnTo>
                  <a:lnTo>
                    <a:pt x="3790660" y="2277730"/>
                  </a:lnTo>
                  <a:lnTo>
                    <a:pt x="3781128" y="2287260"/>
                  </a:lnTo>
                  <a:lnTo>
                    <a:pt x="3785896" y="2296790"/>
                  </a:lnTo>
                  <a:lnTo>
                    <a:pt x="3781128" y="2296790"/>
                  </a:lnTo>
                  <a:lnTo>
                    <a:pt x="3771600" y="2296790"/>
                  </a:lnTo>
                  <a:lnTo>
                    <a:pt x="3776364" y="2282494"/>
                  </a:lnTo>
                  <a:lnTo>
                    <a:pt x="3771600" y="2272964"/>
                  </a:lnTo>
                  <a:lnTo>
                    <a:pt x="3781128" y="2263434"/>
                  </a:lnTo>
                  <a:close/>
                  <a:moveTo>
                    <a:pt x="4958116" y="2230078"/>
                  </a:moveTo>
                  <a:lnTo>
                    <a:pt x="4972412" y="2234844"/>
                  </a:lnTo>
                  <a:lnTo>
                    <a:pt x="4996236" y="2239608"/>
                  </a:lnTo>
                  <a:lnTo>
                    <a:pt x="5001000" y="2239608"/>
                  </a:lnTo>
                  <a:lnTo>
                    <a:pt x="5010532" y="2244374"/>
                  </a:lnTo>
                  <a:lnTo>
                    <a:pt x="4981940" y="2272964"/>
                  </a:lnTo>
                  <a:lnTo>
                    <a:pt x="4948584" y="2292024"/>
                  </a:lnTo>
                  <a:lnTo>
                    <a:pt x="4929524" y="2296790"/>
                  </a:lnTo>
                  <a:lnTo>
                    <a:pt x="4910464" y="2301554"/>
                  </a:lnTo>
                  <a:lnTo>
                    <a:pt x="4896168" y="2311086"/>
                  </a:lnTo>
                  <a:lnTo>
                    <a:pt x="4881872" y="2325380"/>
                  </a:lnTo>
                  <a:lnTo>
                    <a:pt x="4867580" y="2330146"/>
                  </a:lnTo>
                  <a:lnTo>
                    <a:pt x="4848516" y="2334910"/>
                  </a:lnTo>
                  <a:lnTo>
                    <a:pt x="4829456" y="2334910"/>
                  </a:lnTo>
                  <a:lnTo>
                    <a:pt x="4819928" y="2344440"/>
                  </a:lnTo>
                  <a:lnTo>
                    <a:pt x="4796100" y="2358736"/>
                  </a:lnTo>
                  <a:lnTo>
                    <a:pt x="4791336" y="2358736"/>
                  </a:lnTo>
                  <a:lnTo>
                    <a:pt x="4781804" y="2358736"/>
                  </a:lnTo>
                  <a:lnTo>
                    <a:pt x="4762744" y="2363502"/>
                  </a:lnTo>
                  <a:lnTo>
                    <a:pt x="4715096" y="2382562"/>
                  </a:lnTo>
                  <a:lnTo>
                    <a:pt x="4681740" y="2401622"/>
                  </a:lnTo>
                  <a:lnTo>
                    <a:pt x="4662676" y="2420684"/>
                  </a:lnTo>
                  <a:lnTo>
                    <a:pt x="4648380" y="2425448"/>
                  </a:lnTo>
                  <a:lnTo>
                    <a:pt x="4643616" y="2444510"/>
                  </a:lnTo>
                  <a:lnTo>
                    <a:pt x="4624556" y="2458804"/>
                  </a:lnTo>
                  <a:lnTo>
                    <a:pt x="4605496" y="2482630"/>
                  </a:lnTo>
                  <a:lnTo>
                    <a:pt x="4586436" y="2496926"/>
                  </a:lnTo>
                  <a:lnTo>
                    <a:pt x="4572140" y="2511220"/>
                  </a:lnTo>
                  <a:lnTo>
                    <a:pt x="4562608" y="2520752"/>
                  </a:lnTo>
                  <a:lnTo>
                    <a:pt x="4543548" y="2520752"/>
                  </a:lnTo>
                  <a:lnTo>
                    <a:pt x="4519724" y="2525516"/>
                  </a:lnTo>
                  <a:lnTo>
                    <a:pt x="4491132" y="2544576"/>
                  </a:lnTo>
                  <a:lnTo>
                    <a:pt x="4472072" y="2549342"/>
                  </a:lnTo>
                  <a:lnTo>
                    <a:pt x="4453012" y="2549342"/>
                  </a:lnTo>
                  <a:lnTo>
                    <a:pt x="4438716" y="2544576"/>
                  </a:lnTo>
                  <a:lnTo>
                    <a:pt x="4433952" y="2539812"/>
                  </a:lnTo>
                  <a:lnTo>
                    <a:pt x="4433952" y="2530282"/>
                  </a:lnTo>
                  <a:lnTo>
                    <a:pt x="4438716" y="2520752"/>
                  </a:lnTo>
                  <a:lnTo>
                    <a:pt x="4443480" y="2515986"/>
                  </a:lnTo>
                  <a:lnTo>
                    <a:pt x="4448248" y="2506456"/>
                  </a:lnTo>
                  <a:lnTo>
                    <a:pt x="4429184" y="2496926"/>
                  </a:lnTo>
                  <a:lnTo>
                    <a:pt x="4429184" y="2492160"/>
                  </a:lnTo>
                  <a:lnTo>
                    <a:pt x="4438716" y="2468334"/>
                  </a:lnTo>
                  <a:lnTo>
                    <a:pt x="4443480" y="2449274"/>
                  </a:lnTo>
                  <a:lnTo>
                    <a:pt x="4448248" y="2434978"/>
                  </a:lnTo>
                  <a:lnTo>
                    <a:pt x="4476836" y="2406388"/>
                  </a:lnTo>
                  <a:lnTo>
                    <a:pt x="4491132" y="2396858"/>
                  </a:lnTo>
                  <a:lnTo>
                    <a:pt x="4500664" y="2392092"/>
                  </a:lnTo>
                  <a:lnTo>
                    <a:pt x="4524488" y="2377798"/>
                  </a:lnTo>
                  <a:lnTo>
                    <a:pt x="4562608" y="2368268"/>
                  </a:lnTo>
                  <a:lnTo>
                    <a:pt x="4586436" y="2363502"/>
                  </a:lnTo>
                  <a:lnTo>
                    <a:pt x="4595964" y="2353972"/>
                  </a:lnTo>
                  <a:lnTo>
                    <a:pt x="4605496" y="2349206"/>
                  </a:lnTo>
                  <a:lnTo>
                    <a:pt x="4634088" y="2330146"/>
                  </a:lnTo>
                  <a:lnTo>
                    <a:pt x="4638852" y="2330146"/>
                  </a:lnTo>
                  <a:lnTo>
                    <a:pt x="4653148" y="2315850"/>
                  </a:lnTo>
                  <a:lnTo>
                    <a:pt x="4667444" y="2292024"/>
                  </a:lnTo>
                  <a:lnTo>
                    <a:pt x="4676972" y="2282494"/>
                  </a:lnTo>
                  <a:lnTo>
                    <a:pt x="4700800" y="2272964"/>
                  </a:lnTo>
                  <a:lnTo>
                    <a:pt x="4710328" y="2268200"/>
                  </a:lnTo>
                  <a:lnTo>
                    <a:pt x="4777040" y="2258668"/>
                  </a:lnTo>
                  <a:lnTo>
                    <a:pt x="4791336" y="2258668"/>
                  </a:lnTo>
                  <a:lnTo>
                    <a:pt x="4834224" y="2258668"/>
                  </a:lnTo>
                  <a:lnTo>
                    <a:pt x="4891404" y="2253904"/>
                  </a:lnTo>
                  <a:lnTo>
                    <a:pt x="4900936" y="2253904"/>
                  </a:lnTo>
                  <a:lnTo>
                    <a:pt x="4919996" y="2244374"/>
                  </a:lnTo>
                  <a:lnTo>
                    <a:pt x="4939056" y="2239608"/>
                  </a:lnTo>
                  <a:lnTo>
                    <a:pt x="4948584" y="2234844"/>
                  </a:lnTo>
                  <a:close/>
                  <a:moveTo>
                    <a:pt x="4372004" y="2215784"/>
                  </a:moveTo>
                  <a:lnTo>
                    <a:pt x="4391064" y="2220548"/>
                  </a:lnTo>
                  <a:lnTo>
                    <a:pt x="4386300" y="2234844"/>
                  </a:lnTo>
                  <a:lnTo>
                    <a:pt x="4381536" y="2244374"/>
                  </a:lnTo>
                  <a:lnTo>
                    <a:pt x="4343416" y="2239608"/>
                  </a:lnTo>
                  <a:lnTo>
                    <a:pt x="4343416" y="2230078"/>
                  </a:lnTo>
                  <a:lnTo>
                    <a:pt x="4352944" y="2220548"/>
                  </a:lnTo>
                  <a:lnTo>
                    <a:pt x="4357708" y="2220548"/>
                  </a:lnTo>
                  <a:close/>
                  <a:moveTo>
                    <a:pt x="4529256" y="2211018"/>
                  </a:moveTo>
                  <a:lnTo>
                    <a:pt x="4534020" y="2211018"/>
                  </a:lnTo>
                  <a:lnTo>
                    <a:pt x="4538784" y="2211018"/>
                  </a:lnTo>
                  <a:lnTo>
                    <a:pt x="4543552" y="2215784"/>
                  </a:lnTo>
                  <a:lnTo>
                    <a:pt x="4538784" y="2230078"/>
                  </a:lnTo>
                  <a:lnTo>
                    <a:pt x="4529256" y="2239608"/>
                  </a:lnTo>
                  <a:lnTo>
                    <a:pt x="4524488" y="2258670"/>
                  </a:lnTo>
                  <a:lnTo>
                    <a:pt x="4514960" y="2263434"/>
                  </a:lnTo>
                  <a:lnTo>
                    <a:pt x="4505428" y="2268200"/>
                  </a:lnTo>
                  <a:lnTo>
                    <a:pt x="4495900" y="2249140"/>
                  </a:lnTo>
                  <a:lnTo>
                    <a:pt x="4481604" y="2249140"/>
                  </a:lnTo>
                  <a:lnTo>
                    <a:pt x="4491132" y="2234844"/>
                  </a:lnTo>
                  <a:lnTo>
                    <a:pt x="4495900" y="2230078"/>
                  </a:lnTo>
                  <a:lnTo>
                    <a:pt x="4505428" y="2230078"/>
                  </a:lnTo>
                  <a:lnTo>
                    <a:pt x="4510192" y="2234844"/>
                  </a:lnTo>
                  <a:close/>
                  <a:moveTo>
                    <a:pt x="4457776" y="2211018"/>
                  </a:moveTo>
                  <a:lnTo>
                    <a:pt x="4472072" y="2211018"/>
                  </a:lnTo>
                  <a:lnTo>
                    <a:pt x="4476836" y="2215784"/>
                  </a:lnTo>
                  <a:lnTo>
                    <a:pt x="4481604" y="2220548"/>
                  </a:lnTo>
                  <a:lnTo>
                    <a:pt x="4457776" y="2225314"/>
                  </a:lnTo>
                  <a:lnTo>
                    <a:pt x="4448248" y="2244374"/>
                  </a:lnTo>
                  <a:lnTo>
                    <a:pt x="4433952" y="2244374"/>
                  </a:lnTo>
                  <a:lnTo>
                    <a:pt x="4429188" y="2253904"/>
                  </a:lnTo>
                  <a:lnTo>
                    <a:pt x="4429188" y="2258670"/>
                  </a:lnTo>
                  <a:lnTo>
                    <a:pt x="4429188" y="2263434"/>
                  </a:lnTo>
                  <a:lnTo>
                    <a:pt x="4424420" y="2268200"/>
                  </a:lnTo>
                  <a:lnTo>
                    <a:pt x="4414892" y="2263434"/>
                  </a:lnTo>
                  <a:lnTo>
                    <a:pt x="4405360" y="2268200"/>
                  </a:lnTo>
                  <a:lnTo>
                    <a:pt x="4400596" y="2272964"/>
                  </a:lnTo>
                  <a:lnTo>
                    <a:pt x="4391064" y="2263434"/>
                  </a:lnTo>
                  <a:lnTo>
                    <a:pt x="4376772" y="2263434"/>
                  </a:lnTo>
                  <a:lnTo>
                    <a:pt x="4372004" y="2263434"/>
                  </a:lnTo>
                  <a:lnTo>
                    <a:pt x="4391064" y="2249140"/>
                  </a:lnTo>
                  <a:lnTo>
                    <a:pt x="4410128" y="2234844"/>
                  </a:lnTo>
                  <a:lnTo>
                    <a:pt x="4410128" y="2230078"/>
                  </a:lnTo>
                  <a:lnTo>
                    <a:pt x="4405360" y="2230078"/>
                  </a:lnTo>
                  <a:lnTo>
                    <a:pt x="4400596" y="2225314"/>
                  </a:lnTo>
                  <a:lnTo>
                    <a:pt x="4410128" y="2220548"/>
                  </a:lnTo>
                  <a:lnTo>
                    <a:pt x="4419656" y="2220548"/>
                  </a:lnTo>
                  <a:lnTo>
                    <a:pt x="4429188" y="2225314"/>
                  </a:lnTo>
                  <a:lnTo>
                    <a:pt x="4433952" y="2225314"/>
                  </a:lnTo>
                  <a:close/>
                  <a:moveTo>
                    <a:pt x="3304616" y="2211018"/>
                  </a:moveTo>
                  <a:lnTo>
                    <a:pt x="3347504" y="2225314"/>
                  </a:lnTo>
                  <a:lnTo>
                    <a:pt x="3352268" y="2225314"/>
                  </a:lnTo>
                  <a:lnTo>
                    <a:pt x="3357032" y="2230078"/>
                  </a:lnTo>
                  <a:lnTo>
                    <a:pt x="3357032" y="2239608"/>
                  </a:lnTo>
                  <a:lnTo>
                    <a:pt x="3342736" y="2277730"/>
                  </a:lnTo>
                  <a:lnTo>
                    <a:pt x="3323676" y="2311086"/>
                  </a:lnTo>
                  <a:lnTo>
                    <a:pt x="3333208" y="2315850"/>
                  </a:lnTo>
                  <a:lnTo>
                    <a:pt x="3337972" y="2320616"/>
                  </a:lnTo>
                  <a:lnTo>
                    <a:pt x="3304616" y="2325380"/>
                  </a:lnTo>
                  <a:lnTo>
                    <a:pt x="3290320" y="2320616"/>
                  </a:lnTo>
                  <a:lnTo>
                    <a:pt x="3280792" y="2325380"/>
                  </a:lnTo>
                  <a:lnTo>
                    <a:pt x="3247436" y="2315850"/>
                  </a:lnTo>
                  <a:lnTo>
                    <a:pt x="3223608" y="2311086"/>
                  </a:lnTo>
                  <a:lnTo>
                    <a:pt x="3223608" y="2301556"/>
                  </a:lnTo>
                  <a:lnTo>
                    <a:pt x="3223608" y="2296790"/>
                  </a:lnTo>
                  <a:lnTo>
                    <a:pt x="3233140" y="2296790"/>
                  </a:lnTo>
                  <a:lnTo>
                    <a:pt x="3247436" y="2301556"/>
                  </a:lnTo>
                  <a:lnTo>
                    <a:pt x="3256964" y="2296790"/>
                  </a:lnTo>
                  <a:lnTo>
                    <a:pt x="3256964" y="2277730"/>
                  </a:lnTo>
                  <a:lnTo>
                    <a:pt x="3252200" y="2249140"/>
                  </a:lnTo>
                  <a:lnTo>
                    <a:pt x="3280792" y="2225314"/>
                  </a:lnTo>
                  <a:lnTo>
                    <a:pt x="3290320" y="2215784"/>
                  </a:lnTo>
                  <a:close/>
                  <a:moveTo>
                    <a:pt x="6802220" y="2206252"/>
                  </a:moveTo>
                  <a:lnTo>
                    <a:pt x="6806984" y="2206252"/>
                  </a:lnTo>
                  <a:lnTo>
                    <a:pt x="6821280" y="2230078"/>
                  </a:lnTo>
                  <a:lnTo>
                    <a:pt x="6821280" y="2239608"/>
                  </a:lnTo>
                  <a:lnTo>
                    <a:pt x="6811748" y="2244372"/>
                  </a:lnTo>
                  <a:lnTo>
                    <a:pt x="6773628" y="2239608"/>
                  </a:lnTo>
                  <a:lnTo>
                    <a:pt x="6768864" y="2230078"/>
                  </a:lnTo>
                  <a:lnTo>
                    <a:pt x="6778396" y="2220548"/>
                  </a:lnTo>
                  <a:lnTo>
                    <a:pt x="6787924" y="2211018"/>
                  </a:lnTo>
                  <a:close/>
                  <a:moveTo>
                    <a:pt x="4748448" y="2201488"/>
                  </a:moveTo>
                  <a:lnTo>
                    <a:pt x="4753216" y="2201488"/>
                  </a:lnTo>
                  <a:lnTo>
                    <a:pt x="4738920" y="2230078"/>
                  </a:lnTo>
                  <a:lnTo>
                    <a:pt x="4729388" y="2220548"/>
                  </a:lnTo>
                  <a:lnTo>
                    <a:pt x="4743684" y="2206252"/>
                  </a:lnTo>
                  <a:close/>
                  <a:moveTo>
                    <a:pt x="4572140" y="2201488"/>
                  </a:moveTo>
                  <a:lnTo>
                    <a:pt x="4586436" y="2201488"/>
                  </a:lnTo>
                  <a:lnTo>
                    <a:pt x="4586436" y="2211018"/>
                  </a:lnTo>
                  <a:lnTo>
                    <a:pt x="4600732" y="2206252"/>
                  </a:lnTo>
                  <a:lnTo>
                    <a:pt x="4610260" y="2206252"/>
                  </a:lnTo>
                  <a:lnTo>
                    <a:pt x="4638852" y="2206252"/>
                  </a:lnTo>
                  <a:lnTo>
                    <a:pt x="4657912" y="2206252"/>
                  </a:lnTo>
                  <a:lnTo>
                    <a:pt x="4667444" y="2211018"/>
                  </a:lnTo>
                  <a:lnTo>
                    <a:pt x="4672208" y="2230078"/>
                  </a:lnTo>
                  <a:lnTo>
                    <a:pt x="4667444" y="2234842"/>
                  </a:lnTo>
                  <a:lnTo>
                    <a:pt x="4562612" y="2249138"/>
                  </a:lnTo>
                  <a:lnTo>
                    <a:pt x="4553080" y="2244372"/>
                  </a:lnTo>
                  <a:lnTo>
                    <a:pt x="4548316" y="2239608"/>
                  </a:lnTo>
                  <a:lnTo>
                    <a:pt x="4557844" y="2225312"/>
                  </a:lnTo>
                  <a:lnTo>
                    <a:pt x="4553080" y="2220548"/>
                  </a:lnTo>
                  <a:lnTo>
                    <a:pt x="4562612" y="2206252"/>
                  </a:lnTo>
                  <a:close/>
                  <a:moveTo>
                    <a:pt x="3723948" y="2201488"/>
                  </a:moveTo>
                  <a:lnTo>
                    <a:pt x="3728712" y="2201488"/>
                  </a:lnTo>
                  <a:lnTo>
                    <a:pt x="3733480" y="2206252"/>
                  </a:lnTo>
                  <a:lnTo>
                    <a:pt x="3733480" y="2211016"/>
                  </a:lnTo>
                  <a:lnTo>
                    <a:pt x="3728712" y="2215782"/>
                  </a:lnTo>
                  <a:lnTo>
                    <a:pt x="3723948" y="2215782"/>
                  </a:lnTo>
                  <a:lnTo>
                    <a:pt x="3719184" y="2215782"/>
                  </a:lnTo>
                  <a:lnTo>
                    <a:pt x="3714416" y="2211016"/>
                  </a:lnTo>
                  <a:lnTo>
                    <a:pt x="3719184" y="2206252"/>
                  </a:lnTo>
                  <a:close/>
                  <a:moveTo>
                    <a:pt x="3485692" y="2201488"/>
                  </a:moveTo>
                  <a:lnTo>
                    <a:pt x="3504752" y="2201488"/>
                  </a:lnTo>
                  <a:lnTo>
                    <a:pt x="3504752" y="2211018"/>
                  </a:lnTo>
                  <a:lnTo>
                    <a:pt x="3485692" y="2239608"/>
                  </a:lnTo>
                  <a:lnTo>
                    <a:pt x="3476160" y="2234842"/>
                  </a:lnTo>
                  <a:lnTo>
                    <a:pt x="3480928" y="2225312"/>
                  </a:lnTo>
                  <a:lnTo>
                    <a:pt x="3476160" y="2215782"/>
                  </a:lnTo>
                  <a:lnTo>
                    <a:pt x="3476160" y="2206252"/>
                  </a:lnTo>
                  <a:close/>
                  <a:moveTo>
                    <a:pt x="5086776" y="2196722"/>
                  </a:moveTo>
                  <a:lnTo>
                    <a:pt x="5091540" y="2196722"/>
                  </a:lnTo>
                  <a:lnTo>
                    <a:pt x="5120128" y="2201488"/>
                  </a:lnTo>
                  <a:lnTo>
                    <a:pt x="5134424" y="2201488"/>
                  </a:lnTo>
                  <a:lnTo>
                    <a:pt x="5139192" y="2206252"/>
                  </a:lnTo>
                  <a:lnTo>
                    <a:pt x="5120128" y="2220548"/>
                  </a:lnTo>
                  <a:lnTo>
                    <a:pt x="5091540" y="2211018"/>
                  </a:lnTo>
                  <a:close/>
                  <a:moveTo>
                    <a:pt x="4314824" y="2196722"/>
                  </a:moveTo>
                  <a:lnTo>
                    <a:pt x="4324352" y="2196722"/>
                  </a:lnTo>
                  <a:lnTo>
                    <a:pt x="4333884" y="2201488"/>
                  </a:lnTo>
                  <a:lnTo>
                    <a:pt x="4338648" y="2230078"/>
                  </a:lnTo>
                  <a:lnTo>
                    <a:pt x="4329120" y="2234842"/>
                  </a:lnTo>
                  <a:lnTo>
                    <a:pt x="4324352" y="2239608"/>
                  </a:lnTo>
                  <a:lnTo>
                    <a:pt x="4324352" y="2244374"/>
                  </a:lnTo>
                  <a:lnTo>
                    <a:pt x="4310060" y="2253904"/>
                  </a:lnTo>
                  <a:lnTo>
                    <a:pt x="4314824" y="2268198"/>
                  </a:lnTo>
                  <a:lnTo>
                    <a:pt x="4310060" y="2272964"/>
                  </a:lnTo>
                  <a:lnTo>
                    <a:pt x="4305292" y="2277728"/>
                  </a:lnTo>
                  <a:lnTo>
                    <a:pt x="4281468" y="2282494"/>
                  </a:lnTo>
                  <a:lnTo>
                    <a:pt x="4267172" y="2287260"/>
                  </a:lnTo>
                  <a:lnTo>
                    <a:pt x="4252876" y="2292024"/>
                  </a:lnTo>
                  <a:lnTo>
                    <a:pt x="4248112" y="2296790"/>
                  </a:lnTo>
                  <a:lnTo>
                    <a:pt x="4233816" y="2296790"/>
                  </a:lnTo>
                  <a:lnTo>
                    <a:pt x="4209992" y="2296790"/>
                  </a:lnTo>
                  <a:lnTo>
                    <a:pt x="4195696" y="2296790"/>
                  </a:lnTo>
                  <a:lnTo>
                    <a:pt x="4157576" y="2315850"/>
                  </a:lnTo>
                  <a:lnTo>
                    <a:pt x="4138512" y="2315850"/>
                  </a:lnTo>
                  <a:lnTo>
                    <a:pt x="4128984" y="2320614"/>
                  </a:lnTo>
                  <a:lnTo>
                    <a:pt x="4124220" y="2315850"/>
                  </a:lnTo>
                  <a:lnTo>
                    <a:pt x="4114688" y="2306320"/>
                  </a:lnTo>
                  <a:lnTo>
                    <a:pt x="4105156" y="2306320"/>
                  </a:lnTo>
                  <a:lnTo>
                    <a:pt x="4090864" y="2306320"/>
                  </a:lnTo>
                  <a:lnTo>
                    <a:pt x="4076568" y="2325380"/>
                  </a:lnTo>
                  <a:lnTo>
                    <a:pt x="4057508" y="2320614"/>
                  </a:lnTo>
                  <a:lnTo>
                    <a:pt x="4047976" y="2320614"/>
                  </a:lnTo>
                  <a:lnTo>
                    <a:pt x="4038448" y="2325380"/>
                  </a:lnTo>
                  <a:lnTo>
                    <a:pt x="4028916" y="2325380"/>
                  </a:lnTo>
                  <a:lnTo>
                    <a:pt x="4024152" y="2325380"/>
                  </a:lnTo>
                  <a:lnTo>
                    <a:pt x="3990796" y="2315850"/>
                  </a:lnTo>
                  <a:lnTo>
                    <a:pt x="3952672" y="2306320"/>
                  </a:lnTo>
                  <a:lnTo>
                    <a:pt x="3919320" y="2306320"/>
                  </a:lnTo>
                  <a:lnTo>
                    <a:pt x="3885964" y="2301554"/>
                  </a:lnTo>
                  <a:lnTo>
                    <a:pt x="3871668" y="2306320"/>
                  </a:lnTo>
                  <a:lnTo>
                    <a:pt x="3852608" y="2315850"/>
                  </a:lnTo>
                  <a:lnTo>
                    <a:pt x="3847840" y="2306320"/>
                  </a:lnTo>
                  <a:lnTo>
                    <a:pt x="3843076" y="2301554"/>
                  </a:lnTo>
                  <a:lnTo>
                    <a:pt x="3838312" y="2287260"/>
                  </a:lnTo>
                  <a:lnTo>
                    <a:pt x="3838312" y="2277728"/>
                  </a:lnTo>
                  <a:lnTo>
                    <a:pt x="3843076" y="2268198"/>
                  </a:lnTo>
                  <a:lnTo>
                    <a:pt x="3843076" y="2263434"/>
                  </a:lnTo>
                  <a:lnTo>
                    <a:pt x="3847840" y="2253904"/>
                  </a:lnTo>
                  <a:lnTo>
                    <a:pt x="3847840" y="2244374"/>
                  </a:lnTo>
                  <a:lnTo>
                    <a:pt x="3857372" y="2249138"/>
                  </a:lnTo>
                  <a:lnTo>
                    <a:pt x="3862136" y="2249138"/>
                  </a:lnTo>
                  <a:lnTo>
                    <a:pt x="3885964" y="2239608"/>
                  </a:lnTo>
                  <a:lnTo>
                    <a:pt x="3905024" y="2225312"/>
                  </a:lnTo>
                  <a:lnTo>
                    <a:pt x="3924084" y="2220548"/>
                  </a:lnTo>
                  <a:lnTo>
                    <a:pt x="3933612" y="2220548"/>
                  </a:lnTo>
                  <a:lnTo>
                    <a:pt x="3943144" y="2220548"/>
                  </a:lnTo>
                  <a:lnTo>
                    <a:pt x="3952672" y="2220548"/>
                  </a:lnTo>
                  <a:lnTo>
                    <a:pt x="3962204" y="2215782"/>
                  </a:lnTo>
                  <a:lnTo>
                    <a:pt x="3981264" y="2230078"/>
                  </a:lnTo>
                  <a:lnTo>
                    <a:pt x="3986028" y="2230078"/>
                  </a:lnTo>
                  <a:lnTo>
                    <a:pt x="4005092" y="2230078"/>
                  </a:lnTo>
                  <a:lnTo>
                    <a:pt x="4028916" y="2239608"/>
                  </a:lnTo>
                  <a:lnTo>
                    <a:pt x="4043212" y="2244374"/>
                  </a:lnTo>
                  <a:lnTo>
                    <a:pt x="4067036" y="2253904"/>
                  </a:lnTo>
                  <a:lnTo>
                    <a:pt x="4081332" y="2268198"/>
                  </a:lnTo>
                  <a:lnTo>
                    <a:pt x="4095628" y="2268198"/>
                  </a:lnTo>
                  <a:lnTo>
                    <a:pt x="4105156" y="2272964"/>
                  </a:lnTo>
                  <a:lnTo>
                    <a:pt x="4109924" y="2268198"/>
                  </a:lnTo>
                  <a:lnTo>
                    <a:pt x="4119452" y="2263434"/>
                  </a:lnTo>
                  <a:lnTo>
                    <a:pt x="4133748" y="2258668"/>
                  </a:lnTo>
                  <a:lnTo>
                    <a:pt x="4143280" y="2258668"/>
                  </a:lnTo>
                  <a:lnTo>
                    <a:pt x="4162340" y="2258668"/>
                  </a:lnTo>
                  <a:lnTo>
                    <a:pt x="4167104" y="2253904"/>
                  </a:lnTo>
                  <a:lnTo>
                    <a:pt x="4176636" y="2249138"/>
                  </a:lnTo>
                  <a:lnTo>
                    <a:pt x="4186164" y="2253904"/>
                  </a:lnTo>
                  <a:lnTo>
                    <a:pt x="4190932" y="2258668"/>
                  </a:lnTo>
                  <a:lnTo>
                    <a:pt x="4224288" y="2277728"/>
                  </a:lnTo>
                  <a:lnTo>
                    <a:pt x="4233816" y="2277728"/>
                  </a:lnTo>
                  <a:lnTo>
                    <a:pt x="4248112" y="2272964"/>
                  </a:lnTo>
                  <a:lnTo>
                    <a:pt x="4252876" y="2268198"/>
                  </a:lnTo>
                  <a:lnTo>
                    <a:pt x="4257640" y="2258668"/>
                  </a:lnTo>
                  <a:lnTo>
                    <a:pt x="4262408" y="2253904"/>
                  </a:lnTo>
                  <a:lnTo>
                    <a:pt x="4267172" y="2249138"/>
                  </a:lnTo>
                  <a:lnTo>
                    <a:pt x="4276704" y="2244374"/>
                  </a:lnTo>
                  <a:lnTo>
                    <a:pt x="4300528" y="2234842"/>
                  </a:lnTo>
                  <a:lnTo>
                    <a:pt x="4314824" y="2225312"/>
                  </a:lnTo>
                  <a:lnTo>
                    <a:pt x="4324352" y="2215782"/>
                  </a:lnTo>
                  <a:lnTo>
                    <a:pt x="4300528" y="2206252"/>
                  </a:lnTo>
                  <a:lnTo>
                    <a:pt x="4305292" y="2201488"/>
                  </a:lnTo>
                  <a:close/>
                  <a:moveTo>
                    <a:pt x="5591876" y="2191956"/>
                  </a:moveTo>
                  <a:lnTo>
                    <a:pt x="5601408" y="2201488"/>
                  </a:lnTo>
                  <a:lnTo>
                    <a:pt x="5615704" y="2201488"/>
                  </a:lnTo>
                  <a:lnTo>
                    <a:pt x="5591876" y="2211018"/>
                  </a:lnTo>
                  <a:lnTo>
                    <a:pt x="5572816" y="2220548"/>
                  </a:lnTo>
                  <a:lnTo>
                    <a:pt x="5568052" y="2230078"/>
                  </a:lnTo>
                  <a:lnTo>
                    <a:pt x="5553756" y="2234844"/>
                  </a:lnTo>
                  <a:lnTo>
                    <a:pt x="5563288" y="2220548"/>
                  </a:lnTo>
                  <a:close/>
                  <a:moveTo>
                    <a:pt x="3542872" y="2191956"/>
                  </a:moveTo>
                  <a:lnTo>
                    <a:pt x="3576228" y="2196722"/>
                  </a:lnTo>
                  <a:lnTo>
                    <a:pt x="3580992" y="2201488"/>
                  </a:lnTo>
                  <a:lnTo>
                    <a:pt x="3590524" y="2220548"/>
                  </a:lnTo>
                  <a:lnTo>
                    <a:pt x="3595288" y="2230078"/>
                  </a:lnTo>
                  <a:lnTo>
                    <a:pt x="3600056" y="2234844"/>
                  </a:lnTo>
                  <a:lnTo>
                    <a:pt x="3609584" y="2234844"/>
                  </a:lnTo>
                  <a:lnTo>
                    <a:pt x="3623880" y="2225312"/>
                  </a:lnTo>
                  <a:lnTo>
                    <a:pt x="3633412" y="2220548"/>
                  </a:lnTo>
                  <a:lnTo>
                    <a:pt x="3642940" y="2220548"/>
                  </a:lnTo>
                  <a:lnTo>
                    <a:pt x="3652472" y="2225312"/>
                  </a:lnTo>
                  <a:lnTo>
                    <a:pt x="3662000" y="2230078"/>
                  </a:lnTo>
                  <a:lnTo>
                    <a:pt x="3666768" y="2239608"/>
                  </a:lnTo>
                  <a:lnTo>
                    <a:pt x="3666768" y="2244374"/>
                  </a:lnTo>
                  <a:lnTo>
                    <a:pt x="3671532" y="2230078"/>
                  </a:lnTo>
                  <a:lnTo>
                    <a:pt x="3681060" y="2225312"/>
                  </a:lnTo>
                  <a:lnTo>
                    <a:pt x="3690592" y="2225312"/>
                  </a:lnTo>
                  <a:lnTo>
                    <a:pt x="3700124" y="2225312"/>
                  </a:lnTo>
                  <a:lnTo>
                    <a:pt x="3709652" y="2230078"/>
                  </a:lnTo>
                  <a:lnTo>
                    <a:pt x="3719184" y="2249138"/>
                  </a:lnTo>
                  <a:lnTo>
                    <a:pt x="3719184" y="2268198"/>
                  </a:lnTo>
                  <a:lnTo>
                    <a:pt x="3723948" y="2272964"/>
                  </a:lnTo>
                  <a:lnTo>
                    <a:pt x="3728712" y="2277730"/>
                  </a:lnTo>
                  <a:lnTo>
                    <a:pt x="3733480" y="2282494"/>
                  </a:lnTo>
                  <a:lnTo>
                    <a:pt x="3728712" y="2292024"/>
                  </a:lnTo>
                  <a:lnTo>
                    <a:pt x="3723948" y="2296790"/>
                  </a:lnTo>
                  <a:lnTo>
                    <a:pt x="3714416" y="2296790"/>
                  </a:lnTo>
                  <a:lnTo>
                    <a:pt x="3709652" y="2296790"/>
                  </a:lnTo>
                  <a:lnTo>
                    <a:pt x="3704888" y="2292024"/>
                  </a:lnTo>
                  <a:lnTo>
                    <a:pt x="3695356" y="2292024"/>
                  </a:lnTo>
                  <a:lnTo>
                    <a:pt x="3685828" y="2292024"/>
                  </a:lnTo>
                  <a:lnTo>
                    <a:pt x="3671532" y="2296790"/>
                  </a:lnTo>
                  <a:lnTo>
                    <a:pt x="3676296" y="2301554"/>
                  </a:lnTo>
                  <a:lnTo>
                    <a:pt x="3685828" y="2306320"/>
                  </a:lnTo>
                  <a:lnTo>
                    <a:pt x="3685828" y="2311084"/>
                  </a:lnTo>
                  <a:lnTo>
                    <a:pt x="3681060" y="2311084"/>
                  </a:lnTo>
                  <a:lnTo>
                    <a:pt x="3671532" y="2306320"/>
                  </a:lnTo>
                  <a:lnTo>
                    <a:pt x="3662000" y="2306320"/>
                  </a:lnTo>
                  <a:lnTo>
                    <a:pt x="3633412" y="2315850"/>
                  </a:lnTo>
                  <a:lnTo>
                    <a:pt x="3623880" y="2315850"/>
                  </a:lnTo>
                  <a:lnTo>
                    <a:pt x="3619116" y="2306320"/>
                  </a:lnTo>
                  <a:lnTo>
                    <a:pt x="3619116" y="2292024"/>
                  </a:lnTo>
                  <a:lnTo>
                    <a:pt x="3614348" y="2287260"/>
                  </a:lnTo>
                  <a:lnTo>
                    <a:pt x="3595288" y="2306320"/>
                  </a:lnTo>
                  <a:lnTo>
                    <a:pt x="3585760" y="2311084"/>
                  </a:lnTo>
                  <a:lnTo>
                    <a:pt x="3576228" y="2315850"/>
                  </a:lnTo>
                  <a:lnTo>
                    <a:pt x="3566700" y="2315850"/>
                  </a:lnTo>
                  <a:lnTo>
                    <a:pt x="3533344" y="2325380"/>
                  </a:lnTo>
                  <a:lnTo>
                    <a:pt x="3523812" y="2325380"/>
                  </a:lnTo>
                  <a:lnTo>
                    <a:pt x="3514284" y="2325380"/>
                  </a:lnTo>
                  <a:lnTo>
                    <a:pt x="3480928" y="2339676"/>
                  </a:lnTo>
                  <a:lnTo>
                    <a:pt x="3461864" y="2344440"/>
                  </a:lnTo>
                  <a:lnTo>
                    <a:pt x="3452336" y="2344440"/>
                  </a:lnTo>
                  <a:lnTo>
                    <a:pt x="3442804" y="2339676"/>
                  </a:lnTo>
                  <a:lnTo>
                    <a:pt x="3433276" y="2344440"/>
                  </a:lnTo>
                  <a:lnTo>
                    <a:pt x="3428508" y="2349206"/>
                  </a:lnTo>
                  <a:lnTo>
                    <a:pt x="3409448" y="2353972"/>
                  </a:lnTo>
                  <a:lnTo>
                    <a:pt x="3395152" y="2349206"/>
                  </a:lnTo>
                  <a:lnTo>
                    <a:pt x="3380860" y="2344440"/>
                  </a:lnTo>
                  <a:lnTo>
                    <a:pt x="3366564" y="2339676"/>
                  </a:lnTo>
                  <a:lnTo>
                    <a:pt x="3361800" y="2330146"/>
                  </a:lnTo>
                  <a:lnTo>
                    <a:pt x="3366564" y="2320616"/>
                  </a:lnTo>
                  <a:lnTo>
                    <a:pt x="3371328" y="2306320"/>
                  </a:lnTo>
                  <a:lnTo>
                    <a:pt x="3366564" y="2282494"/>
                  </a:lnTo>
                  <a:lnTo>
                    <a:pt x="3371328" y="2272964"/>
                  </a:lnTo>
                  <a:lnTo>
                    <a:pt x="3376092" y="2263434"/>
                  </a:lnTo>
                  <a:lnTo>
                    <a:pt x="3380860" y="2258668"/>
                  </a:lnTo>
                  <a:lnTo>
                    <a:pt x="3395152" y="2258668"/>
                  </a:lnTo>
                  <a:lnTo>
                    <a:pt x="3409448" y="2249138"/>
                  </a:lnTo>
                  <a:lnTo>
                    <a:pt x="3428508" y="2239608"/>
                  </a:lnTo>
                  <a:lnTo>
                    <a:pt x="3433276" y="2239608"/>
                  </a:lnTo>
                  <a:lnTo>
                    <a:pt x="3457100" y="2249138"/>
                  </a:lnTo>
                  <a:lnTo>
                    <a:pt x="3466632" y="2249138"/>
                  </a:lnTo>
                  <a:lnTo>
                    <a:pt x="3490456" y="2244374"/>
                  </a:lnTo>
                  <a:lnTo>
                    <a:pt x="3499988" y="2253904"/>
                  </a:lnTo>
                  <a:lnTo>
                    <a:pt x="3499988" y="2263434"/>
                  </a:lnTo>
                  <a:lnTo>
                    <a:pt x="3504752" y="2268198"/>
                  </a:lnTo>
                  <a:lnTo>
                    <a:pt x="3514284" y="2272964"/>
                  </a:lnTo>
                  <a:lnTo>
                    <a:pt x="3523812" y="2292024"/>
                  </a:lnTo>
                  <a:lnTo>
                    <a:pt x="3538108" y="2292024"/>
                  </a:lnTo>
                  <a:lnTo>
                    <a:pt x="3552404" y="2296790"/>
                  </a:lnTo>
                  <a:lnTo>
                    <a:pt x="3571464" y="2282494"/>
                  </a:lnTo>
                  <a:lnTo>
                    <a:pt x="3590524" y="2282494"/>
                  </a:lnTo>
                  <a:lnTo>
                    <a:pt x="3595288" y="2272964"/>
                  </a:lnTo>
                  <a:lnTo>
                    <a:pt x="3585760" y="2263434"/>
                  </a:lnTo>
                  <a:lnTo>
                    <a:pt x="3571464" y="2253904"/>
                  </a:lnTo>
                  <a:lnTo>
                    <a:pt x="3566700" y="2253904"/>
                  </a:lnTo>
                  <a:lnTo>
                    <a:pt x="3557168" y="2253904"/>
                  </a:lnTo>
                  <a:lnTo>
                    <a:pt x="3552404" y="2249138"/>
                  </a:lnTo>
                  <a:lnTo>
                    <a:pt x="3528576" y="2234844"/>
                  </a:lnTo>
                  <a:lnTo>
                    <a:pt x="3519048" y="2225312"/>
                  </a:lnTo>
                  <a:lnTo>
                    <a:pt x="3514284" y="2211018"/>
                  </a:lnTo>
                  <a:lnTo>
                    <a:pt x="3519048" y="2201488"/>
                  </a:lnTo>
                  <a:lnTo>
                    <a:pt x="3538108" y="2196722"/>
                  </a:lnTo>
                  <a:close/>
                  <a:moveTo>
                    <a:pt x="3114012" y="2187192"/>
                  </a:moveTo>
                  <a:lnTo>
                    <a:pt x="3118776" y="2191958"/>
                  </a:lnTo>
                  <a:lnTo>
                    <a:pt x="3156896" y="2201488"/>
                  </a:lnTo>
                  <a:lnTo>
                    <a:pt x="3175956" y="2211018"/>
                  </a:lnTo>
                  <a:lnTo>
                    <a:pt x="3195016" y="2234844"/>
                  </a:lnTo>
                  <a:lnTo>
                    <a:pt x="3199784" y="2244374"/>
                  </a:lnTo>
                  <a:lnTo>
                    <a:pt x="3190252" y="2249138"/>
                  </a:lnTo>
                  <a:lnTo>
                    <a:pt x="3175956" y="2258668"/>
                  </a:lnTo>
                  <a:lnTo>
                    <a:pt x="3142600" y="2277730"/>
                  </a:lnTo>
                  <a:lnTo>
                    <a:pt x="3133072" y="2282494"/>
                  </a:lnTo>
                  <a:lnTo>
                    <a:pt x="3128308" y="2296790"/>
                  </a:lnTo>
                  <a:lnTo>
                    <a:pt x="3123540" y="2306320"/>
                  </a:lnTo>
                  <a:lnTo>
                    <a:pt x="3118776" y="2311084"/>
                  </a:lnTo>
                  <a:lnTo>
                    <a:pt x="3109244" y="2315850"/>
                  </a:lnTo>
                  <a:lnTo>
                    <a:pt x="3104480" y="2311084"/>
                  </a:lnTo>
                  <a:lnTo>
                    <a:pt x="3109244" y="2301554"/>
                  </a:lnTo>
                  <a:lnTo>
                    <a:pt x="3109244" y="2287260"/>
                  </a:lnTo>
                  <a:lnTo>
                    <a:pt x="3104480" y="2277730"/>
                  </a:lnTo>
                  <a:lnTo>
                    <a:pt x="3094952" y="2268198"/>
                  </a:lnTo>
                  <a:lnTo>
                    <a:pt x="3080656" y="2258668"/>
                  </a:lnTo>
                  <a:lnTo>
                    <a:pt x="3061596" y="2249138"/>
                  </a:lnTo>
                  <a:lnTo>
                    <a:pt x="3047300" y="2239608"/>
                  </a:lnTo>
                  <a:lnTo>
                    <a:pt x="3028240" y="2239608"/>
                  </a:lnTo>
                  <a:lnTo>
                    <a:pt x="3023472" y="2234844"/>
                  </a:lnTo>
                  <a:lnTo>
                    <a:pt x="3009180" y="2220548"/>
                  </a:lnTo>
                  <a:lnTo>
                    <a:pt x="3004412" y="2211018"/>
                  </a:lnTo>
                  <a:lnTo>
                    <a:pt x="3004412" y="2206252"/>
                  </a:lnTo>
                  <a:lnTo>
                    <a:pt x="3004412" y="2196722"/>
                  </a:lnTo>
                  <a:lnTo>
                    <a:pt x="3009180" y="2196722"/>
                  </a:lnTo>
                  <a:lnTo>
                    <a:pt x="3028240" y="2201488"/>
                  </a:lnTo>
                  <a:lnTo>
                    <a:pt x="3061596" y="2206252"/>
                  </a:lnTo>
                  <a:lnTo>
                    <a:pt x="3080656" y="2211018"/>
                  </a:lnTo>
                  <a:lnTo>
                    <a:pt x="3085420" y="2206252"/>
                  </a:lnTo>
                  <a:close/>
                  <a:moveTo>
                    <a:pt x="5367916" y="2149072"/>
                  </a:moveTo>
                  <a:lnTo>
                    <a:pt x="5377448" y="2149072"/>
                  </a:lnTo>
                  <a:lnTo>
                    <a:pt x="5401272" y="2149072"/>
                  </a:lnTo>
                  <a:lnTo>
                    <a:pt x="5406036" y="2163366"/>
                  </a:lnTo>
                  <a:lnTo>
                    <a:pt x="5406036" y="2172896"/>
                  </a:lnTo>
                  <a:lnTo>
                    <a:pt x="5396508" y="2187192"/>
                  </a:lnTo>
                  <a:lnTo>
                    <a:pt x="5386976" y="2187192"/>
                  </a:lnTo>
                  <a:lnTo>
                    <a:pt x="5367916" y="2168132"/>
                  </a:lnTo>
                  <a:lnTo>
                    <a:pt x="5367916" y="2153836"/>
                  </a:lnTo>
                  <a:close/>
                  <a:moveTo>
                    <a:pt x="4900936" y="2110950"/>
                  </a:moveTo>
                  <a:lnTo>
                    <a:pt x="4919996" y="2125246"/>
                  </a:lnTo>
                  <a:lnTo>
                    <a:pt x="4929524" y="2125246"/>
                  </a:lnTo>
                  <a:lnTo>
                    <a:pt x="4934288" y="2134776"/>
                  </a:lnTo>
                  <a:lnTo>
                    <a:pt x="4934288" y="2139540"/>
                  </a:lnTo>
                  <a:lnTo>
                    <a:pt x="4915228" y="2139540"/>
                  </a:lnTo>
                  <a:lnTo>
                    <a:pt x="4896168" y="2149072"/>
                  </a:lnTo>
                  <a:lnTo>
                    <a:pt x="4886640" y="2158602"/>
                  </a:lnTo>
                  <a:lnTo>
                    <a:pt x="4881872" y="2172896"/>
                  </a:lnTo>
                  <a:lnTo>
                    <a:pt x="4853284" y="2168132"/>
                  </a:lnTo>
                  <a:lnTo>
                    <a:pt x="4834224" y="2163366"/>
                  </a:lnTo>
                  <a:lnTo>
                    <a:pt x="4824692" y="2163366"/>
                  </a:lnTo>
                  <a:lnTo>
                    <a:pt x="4810396" y="2163366"/>
                  </a:lnTo>
                  <a:lnTo>
                    <a:pt x="4800868" y="2163366"/>
                  </a:lnTo>
                  <a:lnTo>
                    <a:pt x="4781808" y="2177662"/>
                  </a:lnTo>
                  <a:lnTo>
                    <a:pt x="4772276" y="2177662"/>
                  </a:lnTo>
                  <a:lnTo>
                    <a:pt x="4777040" y="2158602"/>
                  </a:lnTo>
                  <a:lnTo>
                    <a:pt x="4781808" y="2149072"/>
                  </a:lnTo>
                  <a:lnTo>
                    <a:pt x="4800868" y="2125246"/>
                  </a:lnTo>
                  <a:lnTo>
                    <a:pt x="4819928" y="2130010"/>
                  </a:lnTo>
                  <a:lnTo>
                    <a:pt x="4838988" y="2134776"/>
                  </a:lnTo>
                  <a:lnTo>
                    <a:pt x="4862812" y="2130010"/>
                  </a:lnTo>
                  <a:lnTo>
                    <a:pt x="4877108" y="2115716"/>
                  </a:lnTo>
                  <a:close/>
                  <a:moveTo>
                    <a:pt x="5020064" y="2101420"/>
                  </a:moveTo>
                  <a:lnTo>
                    <a:pt x="5039124" y="2106186"/>
                  </a:lnTo>
                  <a:lnTo>
                    <a:pt x="5034356" y="2110950"/>
                  </a:lnTo>
                  <a:lnTo>
                    <a:pt x="5034356" y="2115716"/>
                  </a:lnTo>
                  <a:lnTo>
                    <a:pt x="5029592" y="2120480"/>
                  </a:lnTo>
                  <a:lnTo>
                    <a:pt x="5020064" y="2125246"/>
                  </a:lnTo>
                  <a:lnTo>
                    <a:pt x="5020064" y="2110950"/>
                  </a:lnTo>
                  <a:close/>
                  <a:moveTo>
                    <a:pt x="6764100" y="2082360"/>
                  </a:moveTo>
                  <a:lnTo>
                    <a:pt x="6802220" y="2082360"/>
                  </a:lnTo>
                  <a:lnTo>
                    <a:pt x="6806984" y="2087124"/>
                  </a:lnTo>
                  <a:lnTo>
                    <a:pt x="6821280" y="2101420"/>
                  </a:lnTo>
                  <a:lnTo>
                    <a:pt x="6830812" y="2115714"/>
                  </a:lnTo>
                  <a:lnTo>
                    <a:pt x="6835576" y="2130010"/>
                  </a:lnTo>
                  <a:lnTo>
                    <a:pt x="6821280" y="2158600"/>
                  </a:lnTo>
                  <a:lnTo>
                    <a:pt x="6802220" y="2187192"/>
                  </a:lnTo>
                  <a:lnTo>
                    <a:pt x="6778396" y="2211018"/>
                  </a:lnTo>
                  <a:lnTo>
                    <a:pt x="6764100" y="2220548"/>
                  </a:lnTo>
                  <a:lnTo>
                    <a:pt x="6725976" y="2244372"/>
                  </a:lnTo>
                  <a:lnTo>
                    <a:pt x="6678328" y="2239608"/>
                  </a:lnTo>
                  <a:lnTo>
                    <a:pt x="6659264" y="2239608"/>
                  </a:lnTo>
                  <a:lnTo>
                    <a:pt x="6630676" y="2244372"/>
                  </a:lnTo>
                  <a:lnTo>
                    <a:pt x="6625912" y="2239608"/>
                  </a:lnTo>
                  <a:lnTo>
                    <a:pt x="6630676" y="2220548"/>
                  </a:lnTo>
                  <a:lnTo>
                    <a:pt x="6654500" y="2168132"/>
                  </a:lnTo>
                  <a:lnTo>
                    <a:pt x="6683092" y="2125246"/>
                  </a:lnTo>
                  <a:lnTo>
                    <a:pt x="6692620" y="2110950"/>
                  </a:lnTo>
                  <a:lnTo>
                    <a:pt x="6711684" y="2101420"/>
                  </a:lnTo>
                  <a:lnTo>
                    <a:pt x="6725976" y="2091890"/>
                  </a:lnTo>
                  <a:close/>
                  <a:moveTo>
                    <a:pt x="5706240" y="2039472"/>
                  </a:moveTo>
                  <a:lnTo>
                    <a:pt x="5730064" y="2039472"/>
                  </a:lnTo>
                  <a:lnTo>
                    <a:pt x="5739596" y="2053768"/>
                  </a:lnTo>
                  <a:lnTo>
                    <a:pt x="5739596" y="2063300"/>
                  </a:lnTo>
                  <a:lnTo>
                    <a:pt x="5730064" y="2058534"/>
                  </a:lnTo>
                  <a:lnTo>
                    <a:pt x="5725300" y="2049004"/>
                  </a:lnTo>
                  <a:lnTo>
                    <a:pt x="5715772" y="2049004"/>
                  </a:lnTo>
                  <a:lnTo>
                    <a:pt x="5711004" y="2044238"/>
                  </a:lnTo>
                  <a:close/>
                  <a:moveTo>
                    <a:pt x="5687180" y="2039472"/>
                  </a:moveTo>
                  <a:lnTo>
                    <a:pt x="5696712" y="2044238"/>
                  </a:lnTo>
                  <a:lnTo>
                    <a:pt x="5701476" y="2053768"/>
                  </a:lnTo>
                  <a:lnTo>
                    <a:pt x="5687180" y="2063298"/>
                  </a:lnTo>
                  <a:lnTo>
                    <a:pt x="5696712" y="2091890"/>
                  </a:lnTo>
                  <a:lnTo>
                    <a:pt x="5687180" y="2120480"/>
                  </a:lnTo>
                  <a:lnTo>
                    <a:pt x="5677652" y="2130010"/>
                  </a:lnTo>
                  <a:lnTo>
                    <a:pt x="5663356" y="2139540"/>
                  </a:lnTo>
                  <a:lnTo>
                    <a:pt x="5663356" y="2144306"/>
                  </a:lnTo>
                  <a:lnTo>
                    <a:pt x="5644296" y="2158602"/>
                  </a:lnTo>
                  <a:lnTo>
                    <a:pt x="5639528" y="2172896"/>
                  </a:lnTo>
                  <a:lnTo>
                    <a:pt x="5639528" y="2177662"/>
                  </a:lnTo>
                  <a:lnTo>
                    <a:pt x="5634764" y="2182428"/>
                  </a:lnTo>
                  <a:lnTo>
                    <a:pt x="5615704" y="2177662"/>
                  </a:lnTo>
                  <a:lnTo>
                    <a:pt x="5606172" y="2177662"/>
                  </a:lnTo>
                  <a:lnTo>
                    <a:pt x="5606172" y="2168132"/>
                  </a:lnTo>
                  <a:lnTo>
                    <a:pt x="5601408" y="2158602"/>
                  </a:lnTo>
                  <a:lnTo>
                    <a:pt x="5610940" y="2144306"/>
                  </a:lnTo>
                  <a:lnTo>
                    <a:pt x="5610940" y="2130010"/>
                  </a:lnTo>
                  <a:lnTo>
                    <a:pt x="5615704" y="2125246"/>
                  </a:lnTo>
                  <a:lnTo>
                    <a:pt x="5615704" y="2120480"/>
                  </a:lnTo>
                  <a:lnTo>
                    <a:pt x="5630000" y="2096654"/>
                  </a:lnTo>
                  <a:lnTo>
                    <a:pt x="5634764" y="2091890"/>
                  </a:lnTo>
                  <a:lnTo>
                    <a:pt x="5644296" y="2087124"/>
                  </a:lnTo>
                  <a:lnTo>
                    <a:pt x="5649060" y="2072828"/>
                  </a:lnTo>
                  <a:lnTo>
                    <a:pt x="5658588" y="2072828"/>
                  </a:lnTo>
                  <a:lnTo>
                    <a:pt x="5663356" y="2063298"/>
                  </a:lnTo>
                  <a:lnTo>
                    <a:pt x="5672884" y="2058534"/>
                  </a:lnTo>
                  <a:lnTo>
                    <a:pt x="5668120" y="2049004"/>
                  </a:lnTo>
                  <a:lnTo>
                    <a:pt x="5672884" y="2044238"/>
                  </a:lnTo>
                  <a:close/>
                  <a:moveTo>
                    <a:pt x="5210668" y="2034708"/>
                  </a:moveTo>
                  <a:lnTo>
                    <a:pt x="5215432" y="2034708"/>
                  </a:lnTo>
                  <a:lnTo>
                    <a:pt x="5220196" y="2034708"/>
                  </a:lnTo>
                  <a:lnTo>
                    <a:pt x="5224964" y="2039474"/>
                  </a:lnTo>
                  <a:lnTo>
                    <a:pt x="5224964" y="2044238"/>
                  </a:lnTo>
                  <a:lnTo>
                    <a:pt x="5224964" y="2049004"/>
                  </a:lnTo>
                  <a:lnTo>
                    <a:pt x="5215432" y="2053768"/>
                  </a:lnTo>
                  <a:lnTo>
                    <a:pt x="5205904" y="2044238"/>
                  </a:lnTo>
                  <a:lnTo>
                    <a:pt x="5201136" y="2044238"/>
                  </a:lnTo>
                  <a:close/>
                  <a:moveTo>
                    <a:pt x="2980588" y="2034708"/>
                  </a:moveTo>
                  <a:lnTo>
                    <a:pt x="2985352" y="2034708"/>
                  </a:lnTo>
                  <a:lnTo>
                    <a:pt x="2990120" y="2034708"/>
                  </a:lnTo>
                  <a:lnTo>
                    <a:pt x="2994884" y="2044238"/>
                  </a:lnTo>
                  <a:lnTo>
                    <a:pt x="2994884" y="2049004"/>
                  </a:lnTo>
                  <a:lnTo>
                    <a:pt x="2985352" y="2049004"/>
                  </a:lnTo>
                  <a:close/>
                  <a:moveTo>
                    <a:pt x="3966968" y="2025178"/>
                  </a:moveTo>
                  <a:lnTo>
                    <a:pt x="3986028" y="2029944"/>
                  </a:lnTo>
                  <a:lnTo>
                    <a:pt x="3990796" y="2029944"/>
                  </a:lnTo>
                  <a:lnTo>
                    <a:pt x="3990796" y="2039472"/>
                  </a:lnTo>
                  <a:lnTo>
                    <a:pt x="3971736" y="2039472"/>
                  </a:lnTo>
                  <a:lnTo>
                    <a:pt x="3966968" y="2039472"/>
                  </a:lnTo>
                  <a:close/>
                  <a:moveTo>
                    <a:pt x="2785216" y="2001352"/>
                  </a:moveTo>
                  <a:lnTo>
                    <a:pt x="2928172" y="2001352"/>
                  </a:lnTo>
                  <a:lnTo>
                    <a:pt x="2942468" y="2015648"/>
                  </a:lnTo>
                  <a:lnTo>
                    <a:pt x="2947232" y="2020412"/>
                  </a:lnTo>
                  <a:lnTo>
                    <a:pt x="2913876" y="2029944"/>
                  </a:lnTo>
                  <a:lnTo>
                    <a:pt x="2909112" y="2039474"/>
                  </a:lnTo>
                  <a:lnTo>
                    <a:pt x="2904344" y="2039474"/>
                  </a:lnTo>
                  <a:lnTo>
                    <a:pt x="2880520" y="2039474"/>
                  </a:lnTo>
                  <a:lnTo>
                    <a:pt x="2861460" y="2053768"/>
                  </a:lnTo>
                  <a:lnTo>
                    <a:pt x="2847164" y="2053768"/>
                  </a:lnTo>
                  <a:lnTo>
                    <a:pt x="2809044" y="2053768"/>
                  </a:lnTo>
                  <a:lnTo>
                    <a:pt x="2804280" y="2053768"/>
                  </a:lnTo>
                  <a:lnTo>
                    <a:pt x="2799512" y="2053768"/>
                  </a:lnTo>
                  <a:lnTo>
                    <a:pt x="2794748" y="2058534"/>
                  </a:lnTo>
                  <a:lnTo>
                    <a:pt x="2780452" y="2053768"/>
                  </a:lnTo>
                  <a:lnTo>
                    <a:pt x="2737568" y="2044238"/>
                  </a:lnTo>
                  <a:lnTo>
                    <a:pt x="2732800" y="2034708"/>
                  </a:lnTo>
                  <a:lnTo>
                    <a:pt x="2737568" y="2020412"/>
                  </a:lnTo>
                  <a:lnTo>
                    <a:pt x="2756628" y="2006118"/>
                  </a:lnTo>
                  <a:close/>
                  <a:moveTo>
                    <a:pt x="3142604" y="1996588"/>
                  </a:moveTo>
                  <a:lnTo>
                    <a:pt x="3152132" y="1996588"/>
                  </a:lnTo>
                  <a:lnTo>
                    <a:pt x="3161664" y="2001352"/>
                  </a:lnTo>
                  <a:lnTo>
                    <a:pt x="3171192" y="2006118"/>
                  </a:lnTo>
                  <a:lnTo>
                    <a:pt x="3171192" y="2010882"/>
                  </a:lnTo>
                  <a:lnTo>
                    <a:pt x="3156896" y="2010882"/>
                  </a:lnTo>
                  <a:lnTo>
                    <a:pt x="3147368" y="2015648"/>
                  </a:lnTo>
                  <a:lnTo>
                    <a:pt x="3133072" y="2020412"/>
                  </a:lnTo>
                  <a:lnTo>
                    <a:pt x="3123544" y="2015648"/>
                  </a:lnTo>
                  <a:lnTo>
                    <a:pt x="3123544" y="2006118"/>
                  </a:lnTo>
                  <a:lnTo>
                    <a:pt x="3123544" y="2001352"/>
                  </a:lnTo>
                  <a:close/>
                  <a:moveTo>
                    <a:pt x="6163692" y="1963232"/>
                  </a:moveTo>
                  <a:lnTo>
                    <a:pt x="6173224" y="1963232"/>
                  </a:lnTo>
                  <a:lnTo>
                    <a:pt x="6168456" y="1967996"/>
                  </a:lnTo>
                  <a:lnTo>
                    <a:pt x="6158928" y="1982292"/>
                  </a:lnTo>
                  <a:lnTo>
                    <a:pt x="6158928" y="1987056"/>
                  </a:lnTo>
                  <a:lnTo>
                    <a:pt x="6154160" y="1982292"/>
                  </a:lnTo>
                  <a:lnTo>
                    <a:pt x="6154160" y="1977526"/>
                  </a:lnTo>
                  <a:lnTo>
                    <a:pt x="6158928" y="1967996"/>
                  </a:lnTo>
                  <a:close/>
                  <a:moveTo>
                    <a:pt x="1555816" y="1948936"/>
                  </a:moveTo>
                  <a:lnTo>
                    <a:pt x="1560580" y="1948936"/>
                  </a:lnTo>
                  <a:lnTo>
                    <a:pt x="1565344" y="1948936"/>
                  </a:lnTo>
                  <a:lnTo>
                    <a:pt x="1565348" y="1948936"/>
                  </a:lnTo>
                  <a:lnTo>
                    <a:pt x="1570112" y="1953702"/>
                  </a:lnTo>
                  <a:lnTo>
                    <a:pt x="1565348" y="1963232"/>
                  </a:lnTo>
                  <a:lnTo>
                    <a:pt x="1555816" y="1967996"/>
                  </a:lnTo>
                  <a:lnTo>
                    <a:pt x="1546288" y="1967996"/>
                  </a:lnTo>
                  <a:lnTo>
                    <a:pt x="1546284" y="1967996"/>
                  </a:lnTo>
                  <a:lnTo>
                    <a:pt x="1546284" y="1963232"/>
                  </a:lnTo>
                  <a:close/>
                  <a:moveTo>
                    <a:pt x="6163692" y="1934640"/>
                  </a:moveTo>
                  <a:lnTo>
                    <a:pt x="6168456" y="1944170"/>
                  </a:lnTo>
                  <a:lnTo>
                    <a:pt x="6168456" y="1948936"/>
                  </a:lnTo>
                  <a:lnTo>
                    <a:pt x="6158928" y="1953700"/>
                  </a:lnTo>
                  <a:lnTo>
                    <a:pt x="6154160" y="1939406"/>
                  </a:lnTo>
                  <a:close/>
                  <a:moveTo>
                    <a:pt x="6187520" y="1915580"/>
                  </a:moveTo>
                  <a:lnTo>
                    <a:pt x="6192284" y="1915580"/>
                  </a:lnTo>
                  <a:lnTo>
                    <a:pt x="6182752" y="1934640"/>
                  </a:lnTo>
                  <a:lnTo>
                    <a:pt x="6177988" y="1934640"/>
                  </a:lnTo>
                  <a:lnTo>
                    <a:pt x="6177988" y="1925110"/>
                  </a:lnTo>
                  <a:lnTo>
                    <a:pt x="6182752" y="1920346"/>
                  </a:lnTo>
                  <a:close/>
                  <a:moveTo>
                    <a:pt x="6082684" y="1891754"/>
                  </a:moveTo>
                  <a:lnTo>
                    <a:pt x="6092216" y="1901284"/>
                  </a:lnTo>
                  <a:lnTo>
                    <a:pt x="6106512" y="1915580"/>
                  </a:lnTo>
                  <a:lnTo>
                    <a:pt x="6120808" y="1925110"/>
                  </a:lnTo>
                  <a:lnTo>
                    <a:pt x="6139868" y="1934640"/>
                  </a:lnTo>
                  <a:lnTo>
                    <a:pt x="6135100" y="1944170"/>
                  </a:lnTo>
                  <a:lnTo>
                    <a:pt x="6135100" y="1958466"/>
                  </a:lnTo>
                  <a:lnTo>
                    <a:pt x="6120808" y="1972762"/>
                  </a:lnTo>
                  <a:lnTo>
                    <a:pt x="6111276" y="1991822"/>
                  </a:lnTo>
                  <a:lnTo>
                    <a:pt x="6106512" y="1996586"/>
                  </a:lnTo>
                  <a:lnTo>
                    <a:pt x="6087452" y="2006116"/>
                  </a:lnTo>
                  <a:lnTo>
                    <a:pt x="6068392" y="1996586"/>
                  </a:lnTo>
                  <a:lnTo>
                    <a:pt x="6063624" y="1987056"/>
                  </a:lnTo>
                  <a:lnTo>
                    <a:pt x="6073156" y="1939406"/>
                  </a:lnTo>
                  <a:lnTo>
                    <a:pt x="6077920" y="1939406"/>
                  </a:lnTo>
                  <a:lnTo>
                    <a:pt x="6082684" y="1939406"/>
                  </a:lnTo>
                  <a:lnTo>
                    <a:pt x="6087452" y="1934640"/>
                  </a:lnTo>
                  <a:lnTo>
                    <a:pt x="6073156" y="1929876"/>
                  </a:lnTo>
                  <a:lnTo>
                    <a:pt x="6073156" y="1906050"/>
                  </a:lnTo>
                  <a:lnTo>
                    <a:pt x="6073156" y="1896520"/>
                  </a:lnTo>
                  <a:close/>
                  <a:moveTo>
                    <a:pt x="1694004" y="1848868"/>
                  </a:moveTo>
                  <a:lnTo>
                    <a:pt x="1708300" y="1858398"/>
                  </a:lnTo>
                  <a:lnTo>
                    <a:pt x="1736888" y="1863164"/>
                  </a:lnTo>
                  <a:lnTo>
                    <a:pt x="1755952" y="1867928"/>
                  </a:lnTo>
                  <a:lnTo>
                    <a:pt x="1770244" y="1867928"/>
                  </a:lnTo>
                  <a:lnTo>
                    <a:pt x="1789304" y="1872694"/>
                  </a:lnTo>
                  <a:lnTo>
                    <a:pt x="1813132" y="1877458"/>
                  </a:lnTo>
                  <a:lnTo>
                    <a:pt x="1817896" y="1877458"/>
                  </a:lnTo>
                  <a:lnTo>
                    <a:pt x="1827428" y="1877458"/>
                  </a:lnTo>
                  <a:lnTo>
                    <a:pt x="1841724" y="1867928"/>
                  </a:lnTo>
                  <a:lnTo>
                    <a:pt x="1846488" y="1848868"/>
                  </a:lnTo>
                  <a:lnTo>
                    <a:pt x="1865548" y="1858398"/>
                  </a:lnTo>
                  <a:lnTo>
                    <a:pt x="1889372" y="1863164"/>
                  </a:lnTo>
                  <a:lnTo>
                    <a:pt x="1898904" y="1867928"/>
                  </a:lnTo>
                  <a:lnTo>
                    <a:pt x="1913200" y="1882224"/>
                  </a:lnTo>
                  <a:lnTo>
                    <a:pt x="1927496" y="1891754"/>
                  </a:lnTo>
                  <a:lnTo>
                    <a:pt x="1941792" y="1896520"/>
                  </a:lnTo>
                  <a:lnTo>
                    <a:pt x="1960852" y="1896520"/>
                  </a:lnTo>
                  <a:lnTo>
                    <a:pt x="1975144" y="1901284"/>
                  </a:lnTo>
                  <a:lnTo>
                    <a:pt x="1994208" y="1906050"/>
                  </a:lnTo>
                  <a:lnTo>
                    <a:pt x="2018032" y="1910814"/>
                  </a:lnTo>
                  <a:lnTo>
                    <a:pt x="2027564" y="1910814"/>
                  </a:lnTo>
                  <a:lnTo>
                    <a:pt x="2032328" y="1906050"/>
                  </a:lnTo>
                  <a:lnTo>
                    <a:pt x="2041856" y="1906050"/>
                  </a:lnTo>
                  <a:lnTo>
                    <a:pt x="2046624" y="1910814"/>
                  </a:lnTo>
                  <a:lnTo>
                    <a:pt x="2060920" y="1925110"/>
                  </a:lnTo>
                  <a:lnTo>
                    <a:pt x="2075212" y="1939406"/>
                  </a:lnTo>
                  <a:lnTo>
                    <a:pt x="2079980" y="1944170"/>
                  </a:lnTo>
                  <a:lnTo>
                    <a:pt x="2089508" y="1977526"/>
                  </a:lnTo>
                  <a:lnTo>
                    <a:pt x="2099040" y="1987056"/>
                  </a:lnTo>
                  <a:lnTo>
                    <a:pt x="2118100" y="1991822"/>
                  </a:lnTo>
                  <a:lnTo>
                    <a:pt x="2137160" y="1991822"/>
                  </a:lnTo>
                  <a:lnTo>
                    <a:pt x="2151456" y="1991822"/>
                  </a:lnTo>
                  <a:lnTo>
                    <a:pt x="2199108" y="2001352"/>
                  </a:lnTo>
                  <a:lnTo>
                    <a:pt x="2213404" y="2001352"/>
                  </a:lnTo>
                  <a:lnTo>
                    <a:pt x="2227696" y="1991822"/>
                  </a:lnTo>
                  <a:lnTo>
                    <a:pt x="2241992" y="1996586"/>
                  </a:lnTo>
                  <a:lnTo>
                    <a:pt x="2280116" y="2006118"/>
                  </a:lnTo>
                  <a:lnTo>
                    <a:pt x="2299176" y="2010882"/>
                  </a:lnTo>
                  <a:lnTo>
                    <a:pt x="2318236" y="2006118"/>
                  </a:lnTo>
                  <a:lnTo>
                    <a:pt x="2337296" y="2006118"/>
                  </a:lnTo>
                  <a:lnTo>
                    <a:pt x="2346824" y="2006118"/>
                  </a:lnTo>
                  <a:lnTo>
                    <a:pt x="2356356" y="2010882"/>
                  </a:lnTo>
                  <a:lnTo>
                    <a:pt x="2365888" y="2015648"/>
                  </a:lnTo>
                  <a:lnTo>
                    <a:pt x="2375416" y="2015648"/>
                  </a:lnTo>
                  <a:lnTo>
                    <a:pt x="2389712" y="2006118"/>
                  </a:lnTo>
                  <a:lnTo>
                    <a:pt x="2399244" y="1991822"/>
                  </a:lnTo>
                  <a:lnTo>
                    <a:pt x="2404008" y="1972762"/>
                  </a:lnTo>
                  <a:lnTo>
                    <a:pt x="2413536" y="1953700"/>
                  </a:lnTo>
                  <a:lnTo>
                    <a:pt x="2418304" y="1944170"/>
                  </a:lnTo>
                  <a:lnTo>
                    <a:pt x="2423068" y="1939406"/>
                  </a:lnTo>
                  <a:lnTo>
                    <a:pt x="2427832" y="1934640"/>
                  </a:lnTo>
                  <a:lnTo>
                    <a:pt x="2437364" y="1929876"/>
                  </a:lnTo>
                  <a:lnTo>
                    <a:pt x="2461188" y="1934640"/>
                  </a:lnTo>
                  <a:lnTo>
                    <a:pt x="2461188" y="1939406"/>
                  </a:lnTo>
                  <a:lnTo>
                    <a:pt x="2485016" y="1967996"/>
                  </a:lnTo>
                  <a:lnTo>
                    <a:pt x="2489780" y="1972762"/>
                  </a:lnTo>
                  <a:lnTo>
                    <a:pt x="2518372" y="1972762"/>
                  </a:lnTo>
                  <a:lnTo>
                    <a:pt x="2523136" y="1972762"/>
                  </a:lnTo>
                  <a:lnTo>
                    <a:pt x="2537432" y="1967996"/>
                  </a:lnTo>
                  <a:lnTo>
                    <a:pt x="2546960" y="1967996"/>
                  </a:lnTo>
                  <a:lnTo>
                    <a:pt x="2566020" y="1972762"/>
                  </a:lnTo>
                  <a:lnTo>
                    <a:pt x="2570788" y="1982292"/>
                  </a:lnTo>
                  <a:lnTo>
                    <a:pt x="2580316" y="1987056"/>
                  </a:lnTo>
                  <a:lnTo>
                    <a:pt x="2618440" y="1991822"/>
                  </a:lnTo>
                  <a:lnTo>
                    <a:pt x="2632732" y="2006118"/>
                  </a:lnTo>
                  <a:lnTo>
                    <a:pt x="2642264" y="2006118"/>
                  </a:lnTo>
                  <a:lnTo>
                    <a:pt x="2670856" y="2006118"/>
                  </a:lnTo>
                  <a:lnTo>
                    <a:pt x="2689916" y="2006118"/>
                  </a:lnTo>
                  <a:lnTo>
                    <a:pt x="2704212" y="2010882"/>
                  </a:lnTo>
                  <a:lnTo>
                    <a:pt x="2708976" y="2029942"/>
                  </a:lnTo>
                  <a:lnTo>
                    <a:pt x="2718504" y="2049004"/>
                  </a:lnTo>
                  <a:lnTo>
                    <a:pt x="2718504" y="2058534"/>
                  </a:lnTo>
                  <a:lnTo>
                    <a:pt x="2737568" y="2063298"/>
                  </a:lnTo>
                  <a:lnTo>
                    <a:pt x="2742332" y="2068064"/>
                  </a:lnTo>
                  <a:lnTo>
                    <a:pt x="2742332" y="2091890"/>
                  </a:lnTo>
                  <a:lnTo>
                    <a:pt x="2742332" y="2110950"/>
                  </a:lnTo>
                  <a:lnTo>
                    <a:pt x="2775688" y="2125246"/>
                  </a:lnTo>
                  <a:lnTo>
                    <a:pt x="2813808" y="2134776"/>
                  </a:lnTo>
                  <a:lnTo>
                    <a:pt x="2851928" y="2134776"/>
                  </a:lnTo>
                  <a:lnTo>
                    <a:pt x="2894816" y="2130010"/>
                  </a:lnTo>
                  <a:lnTo>
                    <a:pt x="2913876" y="2130010"/>
                  </a:lnTo>
                  <a:lnTo>
                    <a:pt x="2937700" y="2120480"/>
                  </a:lnTo>
                  <a:lnTo>
                    <a:pt x="2942468" y="2120480"/>
                  </a:lnTo>
                  <a:lnTo>
                    <a:pt x="2990120" y="2144306"/>
                  </a:lnTo>
                  <a:lnTo>
                    <a:pt x="2994884" y="2144306"/>
                  </a:lnTo>
                  <a:lnTo>
                    <a:pt x="2999648" y="2163366"/>
                  </a:lnTo>
                  <a:lnTo>
                    <a:pt x="2999648" y="2182426"/>
                  </a:lnTo>
                  <a:lnTo>
                    <a:pt x="2990120" y="2220548"/>
                  </a:lnTo>
                  <a:lnTo>
                    <a:pt x="2990120" y="2230078"/>
                  </a:lnTo>
                  <a:lnTo>
                    <a:pt x="2990120" y="2244374"/>
                  </a:lnTo>
                  <a:lnTo>
                    <a:pt x="3004412" y="2268200"/>
                  </a:lnTo>
                  <a:lnTo>
                    <a:pt x="3009180" y="2272964"/>
                  </a:lnTo>
                  <a:lnTo>
                    <a:pt x="3023472" y="2287260"/>
                  </a:lnTo>
                  <a:lnTo>
                    <a:pt x="3023472" y="2296790"/>
                  </a:lnTo>
                  <a:lnTo>
                    <a:pt x="3023472" y="2301556"/>
                  </a:lnTo>
                  <a:lnTo>
                    <a:pt x="3004412" y="2296790"/>
                  </a:lnTo>
                  <a:lnTo>
                    <a:pt x="2990120" y="2292024"/>
                  </a:lnTo>
                  <a:lnTo>
                    <a:pt x="2985352" y="2282494"/>
                  </a:lnTo>
                  <a:lnTo>
                    <a:pt x="2975824" y="2277730"/>
                  </a:lnTo>
                  <a:lnTo>
                    <a:pt x="2956764" y="2277730"/>
                  </a:lnTo>
                  <a:lnTo>
                    <a:pt x="2923408" y="2268200"/>
                  </a:lnTo>
                  <a:lnTo>
                    <a:pt x="2885284" y="2253904"/>
                  </a:lnTo>
                  <a:lnTo>
                    <a:pt x="2813808" y="2225312"/>
                  </a:lnTo>
                  <a:lnTo>
                    <a:pt x="2794748" y="2225312"/>
                  </a:lnTo>
                  <a:lnTo>
                    <a:pt x="2780452" y="2230078"/>
                  </a:lnTo>
                  <a:lnTo>
                    <a:pt x="2761392" y="2234844"/>
                  </a:lnTo>
                  <a:lnTo>
                    <a:pt x="2737568" y="2239608"/>
                  </a:lnTo>
                  <a:lnTo>
                    <a:pt x="2728036" y="2244374"/>
                  </a:lnTo>
                  <a:lnTo>
                    <a:pt x="2708976" y="2244374"/>
                  </a:lnTo>
                  <a:lnTo>
                    <a:pt x="2675620" y="2234844"/>
                  </a:lnTo>
                  <a:lnTo>
                    <a:pt x="2637500" y="2230078"/>
                  </a:lnTo>
                  <a:lnTo>
                    <a:pt x="2542196" y="2225312"/>
                  </a:lnTo>
                  <a:lnTo>
                    <a:pt x="2518372" y="2220548"/>
                  </a:lnTo>
                  <a:lnTo>
                    <a:pt x="2470720" y="2215782"/>
                  </a:lnTo>
                  <a:lnTo>
                    <a:pt x="2437364" y="2211018"/>
                  </a:lnTo>
                  <a:lnTo>
                    <a:pt x="2404008" y="2201488"/>
                  </a:lnTo>
                  <a:lnTo>
                    <a:pt x="2313472" y="2163366"/>
                  </a:lnTo>
                  <a:lnTo>
                    <a:pt x="2284880" y="2153836"/>
                  </a:lnTo>
                  <a:lnTo>
                    <a:pt x="2194340" y="2134776"/>
                  </a:lnTo>
                  <a:lnTo>
                    <a:pt x="2180048" y="2130010"/>
                  </a:lnTo>
                  <a:lnTo>
                    <a:pt x="2146692" y="2134776"/>
                  </a:lnTo>
                  <a:lnTo>
                    <a:pt x="2127632" y="2125246"/>
                  </a:lnTo>
                  <a:lnTo>
                    <a:pt x="2108568" y="2125246"/>
                  </a:lnTo>
                  <a:lnTo>
                    <a:pt x="2084744" y="2134776"/>
                  </a:lnTo>
                  <a:lnTo>
                    <a:pt x="2075212" y="2139540"/>
                  </a:lnTo>
                  <a:lnTo>
                    <a:pt x="2065684" y="2149070"/>
                  </a:lnTo>
                  <a:lnTo>
                    <a:pt x="2046624" y="2149070"/>
                  </a:lnTo>
                  <a:lnTo>
                    <a:pt x="2027564" y="2144306"/>
                  </a:lnTo>
                  <a:lnTo>
                    <a:pt x="1979912" y="2134776"/>
                  </a:lnTo>
                  <a:lnTo>
                    <a:pt x="1965616" y="2130010"/>
                  </a:lnTo>
                  <a:lnTo>
                    <a:pt x="1946556" y="2120480"/>
                  </a:lnTo>
                  <a:lnTo>
                    <a:pt x="1932260" y="2110950"/>
                  </a:lnTo>
                  <a:lnTo>
                    <a:pt x="1922728" y="2106184"/>
                  </a:lnTo>
                  <a:lnTo>
                    <a:pt x="1884608" y="2096654"/>
                  </a:lnTo>
                  <a:lnTo>
                    <a:pt x="1851252" y="2091890"/>
                  </a:lnTo>
                  <a:lnTo>
                    <a:pt x="1779776" y="2087124"/>
                  </a:lnTo>
                  <a:lnTo>
                    <a:pt x="1765480" y="2082360"/>
                  </a:lnTo>
                  <a:lnTo>
                    <a:pt x="1755952" y="2082360"/>
                  </a:lnTo>
                  <a:lnTo>
                    <a:pt x="1746420" y="2072828"/>
                  </a:lnTo>
                  <a:lnTo>
                    <a:pt x="1746420" y="2058534"/>
                  </a:lnTo>
                  <a:lnTo>
                    <a:pt x="1751184" y="2049004"/>
                  </a:lnTo>
                  <a:lnTo>
                    <a:pt x="1760716" y="2039474"/>
                  </a:lnTo>
                  <a:lnTo>
                    <a:pt x="1765480" y="2029942"/>
                  </a:lnTo>
                  <a:lnTo>
                    <a:pt x="1713064" y="2010882"/>
                  </a:lnTo>
                  <a:lnTo>
                    <a:pt x="1674944" y="2001352"/>
                  </a:lnTo>
                  <a:lnTo>
                    <a:pt x="1655884" y="1996586"/>
                  </a:lnTo>
                  <a:lnTo>
                    <a:pt x="1641588" y="1996586"/>
                  </a:lnTo>
                  <a:lnTo>
                    <a:pt x="1617760" y="2001352"/>
                  </a:lnTo>
                  <a:lnTo>
                    <a:pt x="1598700" y="1996586"/>
                  </a:lnTo>
                  <a:lnTo>
                    <a:pt x="1593936" y="1996586"/>
                  </a:lnTo>
                  <a:lnTo>
                    <a:pt x="1584404" y="1996586"/>
                  </a:lnTo>
                  <a:lnTo>
                    <a:pt x="1574876" y="1996586"/>
                  </a:lnTo>
                  <a:lnTo>
                    <a:pt x="1565344" y="1996586"/>
                  </a:lnTo>
                  <a:lnTo>
                    <a:pt x="1565344" y="1987056"/>
                  </a:lnTo>
                  <a:lnTo>
                    <a:pt x="1570112" y="1977526"/>
                  </a:lnTo>
                  <a:lnTo>
                    <a:pt x="1579640" y="1972762"/>
                  </a:lnTo>
                  <a:lnTo>
                    <a:pt x="1584404" y="1967996"/>
                  </a:lnTo>
                  <a:lnTo>
                    <a:pt x="1584404" y="1982292"/>
                  </a:lnTo>
                  <a:lnTo>
                    <a:pt x="1589172" y="1987056"/>
                  </a:lnTo>
                  <a:lnTo>
                    <a:pt x="1598700" y="1987056"/>
                  </a:lnTo>
                  <a:lnTo>
                    <a:pt x="1603468" y="1987056"/>
                  </a:lnTo>
                  <a:lnTo>
                    <a:pt x="1617760" y="1967996"/>
                  </a:lnTo>
                  <a:lnTo>
                    <a:pt x="1622528" y="1963232"/>
                  </a:lnTo>
                  <a:lnTo>
                    <a:pt x="1627292" y="1939406"/>
                  </a:lnTo>
                  <a:lnTo>
                    <a:pt x="1636820" y="1944170"/>
                  </a:lnTo>
                  <a:lnTo>
                    <a:pt x="1646352" y="1939406"/>
                  </a:lnTo>
                  <a:lnTo>
                    <a:pt x="1651116" y="1934640"/>
                  </a:lnTo>
                  <a:lnTo>
                    <a:pt x="1660648" y="1882224"/>
                  </a:lnTo>
                  <a:lnTo>
                    <a:pt x="1674944" y="1867928"/>
                  </a:lnTo>
                  <a:lnTo>
                    <a:pt x="1689240" y="1853634"/>
                  </a:lnTo>
                  <a:close/>
                  <a:moveTo>
                    <a:pt x="4491132" y="1844104"/>
                  </a:moveTo>
                  <a:lnTo>
                    <a:pt x="4495896" y="1848868"/>
                  </a:lnTo>
                  <a:lnTo>
                    <a:pt x="4500664" y="1858398"/>
                  </a:lnTo>
                  <a:lnTo>
                    <a:pt x="4500664" y="1867928"/>
                  </a:lnTo>
                  <a:lnTo>
                    <a:pt x="4495896" y="1858398"/>
                  </a:lnTo>
                  <a:lnTo>
                    <a:pt x="4491132" y="1853634"/>
                  </a:lnTo>
                  <a:close/>
                  <a:moveTo>
                    <a:pt x="3943144" y="1829808"/>
                  </a:moveTo>
                  <a:lnTo>
                    <a:pt x="3952672" y="1848868"/>
                  </a:lnTo>
                  <a:lnTo>
                    <a:pt x="3952672" y="1858398"/>
                  </a:lnTo>
                  <a:lnTo>
                    <a:pt x="3952672" y="1910814"/>
                  </a:lnTo>
                  <a:lnTo>
                    <a:pt x="3943144" y="1939404"/>
                  </a:lnTo>
                  <a:lnTo>
                    <a:pt x="3943144" y="1929874"/>
                  </a:lnTo>
                  <a:lnTo>
                    <a:pt x="3943144" y="1906050"/>
                  </a:lnTo>
                  <a:lnTo>
                    <a:pt x="3938376" y="1891754"/>
                  </a:lnTo>
                  <a:lnTo>
                    <a:pt x="3938376" y="1877458"/>
                  </a:lnTo>
                  <a:lnTo>
                    <a:pt x="3938376" y="1844102"/>
                  </a:lnTo>
                  <a:close/>
                  <a:moveTo>
                    <a:pt x="2728036" y="1820276"/>
                  </a:moveTo>
                  <a:lnTo>
                    <a:pt x="2732800" y="1825042"/>
                  </a:lnTo>
                  <a:lnTo>
                    <a:pt x="2732800" y="1834572"/>
                  </a:lnTo>
                  <a:lnTo>
                    <a:pt x="2728036" y="1839338"/>
                  </a:lnTo>
                  <a:lnTo>
                    <a:pt x="2713740" y="1839338"/>
                  </a:lnTo>
                  <a:lnTo>
                    <a:pt x="2708976" y="1834572"/>
                  </a:lnTo>
                  <a:lnTo>
                    <a:pt x="2718504" y="1825042"/>
                  </a:lnTo>
                  <a:close/>
                  <a:moveTo>
                    <a:pt x="5839664" y="1801216"/>
                  </a:moveTo>
                  <a:lnTo>
                    <a:pt x="5853960" y="1801216"/>
                  </a:lnTo>
                  <a:lnTo>
                    <a:pt x="5853960" y="1810748"/>
                  </a:lnTo>
                  <a:lnTo>
                    <a:pt x="5858724" y="1810748"/>
                  </a:lnTo>
                  <a:lnTo>
                    <a:pt x="5868256" y="1829808"/>
                  </a:lnTo>
                  <a:lnTo>
                    <a:pt x="5868256" y="1839338"/>
                  </a:lnTo>
                  <a:lnTo>
                    <a:pt x="5858724" y="1858400"/>
                  </a:lnTo>
                  <a:lnTo>
                    <a:pt x="5853960" y="1848868"/>
                  </a:lnTo>
                  <a:lnTo>
                    <a:pt x="5849196" y="1848868"/>
                  </a:lnTo>
                  <a:lnTo>
                    <a:pt x="5849196" y="1839338"/>
                  </a:lnTo>
                  <a:lnTo>
                    <a:pt x="5849196" y="1825042"/>
                  </a:lnTo>
                  <a:close/>
                  <a:moveTo>
                    <a:pt x="6144632" y="1772626"/>
                  </a:moveTo>
                  <a:lnTo>
                    <a:pt x="6154164" y="1777392"/>
                  </a:lnTo>
                  <a:lnTo>
                    <a:pt x="6158928" y="1786922"/>
                  </a:lnTo>
                  <a:lnTo>
                    <a:pt x="6158928" y="1791686"/>
                  </a:lnTo>
                  <a:lnTo>
                    <a:pt x="6158928" y="1796452"/>
                  </a:lnTo>
                  <a:lnTo>
                    <a:pt x="6163692" y="1801216"/>
                  </a:lnTo>
                  <a:lnTo>
                    <a:pt x="6173224" y="1820278"/>
                  </a:lnTo>
                  <a:lnTo>
                    <a:pt x="6173224" y="1825042"/>
                  </a:lnTo>
                  <a:lnTo>
                    <a:pt x="6173224" y="1834572"/>
                  </a:lnTo>
                  <a:lnTo>
                    <a:pt x="6173224" y="1844102"/>
                  </a:lnTo>
                  <a:lnTo>
                    <a:pt x="6168456" y="1858398"/>
                  </a:lnTo>
                  <a:lnTo>
                    <a:pt x="6173224" y="1872694"/>
                  </a:lnTo>
                  <a:lnTo>
                    <a:pt x="6173224" y="1882224"/>
                  </a:lnTo>
                  <a:lnTo>
                    <a:pt x="6173224" y="1891754"/>
                  </a:lnTo>
                  <a:lnTo>
                    <a:pt x="6173224" y="1896520"/>
                  </a:lnTo>
                  <a:lnTo>
                    <a:pt x="6168456" y="1910814"/>
                  </a:lnTo>
                  <a:lnTo>
                    <a:pt x="6163692" y="1915580"/>
                  </a:lnTo>
                  <a:lnTo>
                    <a:pt x="6158928" y="1915580"/>
                  </a:lnTo>
                  <a:lnTo>
                    <a:pt x="6154164" y="1920344"/>
                  </a:lnTo>
                  <a:lnTo>
                    <a:pt x="6125572" y="1915580"/>
                  </a:lnTo>
                  <a:lnTo>
                    <a:pt x="6111276" y="1906050"/>
                  </a:lnTo>
                  <a:lnTo>
                    <a:pt x="6101744" y="1896520"/>
                  </a:lnTo>
                  <a:lnTo>
                    <a:pt x="6096980" y="1891754"/>
                  </a:lnTo>
                  <a:lnTo>
                    <a:pt x="6082684" y="1877458"/>
                  </a:lnTo>
                  <a:lnTo>
                    <a:pt x="6077920" y="1872694"/>
                  </a:lnTo>
                  <a:lnTo>
                    <a:pt x="6077920" y="1867928"/>
                  </a:lnTo>
                  <a:lnTo>
                    <a:pt x="6092216" y="1867928"/>
                  </a:lnTo>
                  <a:lnTo>
                    <a:pt x="6101744" y="1867928"/>
                  </a:lnTo>
                  <a:lnTo>
                    <a:pt x="6101744" y="1858398"/>
                  </a:lnTo>
                  <a:lnTo>
                    <a:pt x="6111276" y="1839338"/>
                  </a:lnTo>
                  <a:lnTo>
                    <a:pt x="6092216" y="1825042"/>
                  </a:lnTo>
                  <a:lnTo>
                    <a:pt x="6087452" y="1820278"/>
                  </a:lnTo>
                  <a:lnTo>
                    <a:pt x="6096980" y="1815512"/>
                  </a:lnTo>
                  <a:lnTo>
                    <a:pt x="6111276" y="1820278"/>
                  </a:lnTo>
                  <a:lnTo>
                    <a:pt x="6125572" y="1796452"/>
                  </a:lnTo>
                  <a:lnTo>
                    <a:pt x="6130336" y="1791686"/>
                  </a:lnTo>
                  <a:lnTo>
                    <a:pt x="6135100" y="1777392"/>
                  </a:lnTo>
                  <a:close/>
                  <a:moveTo>
                    <a:pt x="5915904" y="1758330"/>
                  </a:moveTo>
                  <a:lnTo>
                    <a:pt x="5920672" y="1758330"/>
                  </a:lnTo>
                  <a:lnTo>
                    <a:pt x="5925436" y="1763096"/>
                  </a:lnTo>
                  <a:lnTo>
                    <a:pt x="5920672" y="1796452"/>
                  </a:lnTo>
                  <a:lnTo>
                    <a:pt x="5896844" y="1825042"/>
                  </a:lnTo>
                  <a:lnTo>
                    <a:pt x="5887316" y="1848868"/>
                  </a:lnTo>
                  <a:lnTo>
                    <a:pt x="5877784" y="1863164"/>
                  </a:lnTo>
                  <a:lnTo>
                    <a:pt x="5887316" y="1829808"/>
                  </a:lnTo>
                  <a:lnTo>
                    <a:pt x="5887316" y="1815512"/>
                  </a:lnTo>
                  <a:lnTo>
                    <a:pt x="5901612" y="1805982"/>
                  </a:lnTo>
                  <a:close/>
                  <a:moveTo>
                    <a:pt x="1084068" y="1753564"/>
                  </a:moveTo>
                  <a:lnTo>
                    <a:pt x="1088832" y="1753564"/>
                  </a:lnTo>
                  <a:lnTo>
                    <a:pt x="1117424" y="1763096"/>
                  </a:lnTo>
                  <a:lnTo>
                    <a:pt x="1122188" y="1772626"/>
                  </a:lnTo>
                  <a:lnTo>
                    <a:pt x="1112656" y="1782156"/>
                  </a:lnTo>
                  <a:lnTo>
                    <a:pt x="1103128" y="1782156"/>
                  </a:lnTo>
                  <a:lnTo>
                    <a:pt x="1079304" y="1763096"/>
                  </a:lnTo>
                  <a:lnTo>
                    <a:pt x="1074536" y="1758330"/>
                  </a:lnTo>
                  <a:close/>
                  <a:moveTo>
                    <a:pt x="4424420" y="1748800"/>
                  </a:moveTo>
                  <a:lnTo>
                    <a:pt x="4433952" y="1748800"/>
                  </a:lnTo>
                  <a:lnTo>
                    <a:pt x="4433952" y="1767860"/>
                  </a:lnTo>
                  <a:lnTo>
                    <a:pt x="4429184" y="1767860"/>
                  </a:lnTo>
                  <a:lnTo>
                    <a:pt x="4424420" y="1758330"/>
                  </a:lnTo>
                  <a:lnTo>
                    <a:pt x="4419656" y="1753566"/>
                  </a:lnTo>
                  <a:close/>
                  <a:moveTo>
                    <a:pt x="4162340" y="1720208"/>
                  </a:moveTo>
                  <a:lnTo>
                    <a:pt x="4167104" y="1720208"/>
                  </a:lnTo>
                  <a:lnTo>
                    <a:pt x="4176636" y="1720208"/>
                  </a:lnTo>
                  <a:lnTo>
                    <a:pt x="4181400" y="1729740"/>
                  </a:lnTo>
                  <a:lnTo>
                    <a:pt x="4186164" y="1734504"/>
                  </a:lnTo>
                  <a:lnTo>
                    <a:pt x="4190928" y="1744034"/>
                  </a:lnTo>
                  <a:lnTo>
                    <a:pt x="4186164" y="1777390"/>
                  </a:lnTo>
                  <a:lnTo>
                    <a:pt x="4176636" y="1782156"/>
                  </a:lnTo>
                  <a:lnTo>
                    <a:pt x="4157576" y="1763096"/>
                  </a:lnTo>
                  <a:lnTo>
                    <a:pt x="4152808" y="1748800"/>
                  </a:lnTo>
                  <a:lnTo>
                    <a:pt x="4152808" y="1739270"/>
                  </a:lnTo>
                  <a:lnTo>
                    <a:pt x="4157576" y="1734504"/>
                  </a:lnTo>
                  <a:lnTo>
                    <a:pt x="4162340" y="1729740"/>
                  </a:lnTo>
                  <a:close/>
                  <a:moveTo>
                    <a:pt x="4286232" y="1648732"/>
                  </a:moveTo>
                  <a:lnTo>
                    <a:pt x="4290996" y="1648732"/>
                  </a:lnTo>
                  <a:lnTo>
                    <a:pt x="4295764" y="1658264"/>
                  </a:lnTo>
                  <a:lnTo>
                    <a:pt x="4300528" y="1696384"/>
                  </a:lnTo>
                  <a:lnTo>
                    <a:pt x="4276704" y="1729740"/>
                  </a:lnTo>
                  <a:lnTo>
                    <a:pt x="4281468" y="1748800"/>
                  </a:lnTo>
                  <a:lnTo>
                    <a:pt x="4276704" y="1758330"/>
                  </a:lnTo>
                  <a:lnTo>
                    <a:pt x="4271936" y="1767860"/>
                  </a:lnTo>
                  <a:lnTo>
                    <a:pt x="4262408" y="1767860"/>
                  </a:lnTo>
                  <a:lnTo>
                    <a:pt x="4257640" y="1767860"/>
                  </a:lnTo>
                  <a:lnTo>
                    <a:pt x="4243348" y="1758330"/>
                  </a:lnTo>
                  <a:lnTo>
                    <a:pt x="4238580" y="1767860"/>
                  </a:lnTo>
                  <a:lnTo>
                    <a:pt x="4229052" y="1767860"/>
                  </a:lnTo>
                  <a:lnTo>
                    <a:pt x="4224288" y="1758330"/>
                  </a:lnTo>
                  <a:lnTo>
                    <a:pt x="4233816" y="1729740"/>
                  </a:lnTo>
                  <a:lnTo>
                    <a:pt x="4243348" y="1720210"/>
                  </a:lnTo>
                  <a:lnTo>
                    <a:pt x="4243348" y="1705914"/>
                  </a:lnTo>
                  <a:lnTo>
                    <a:pt x="4233816" y="1682088"/>
                  </a:lnTo>
                  <a:lnTo>
                    <a:pt x="4238580" y="1672558"/>
                  </a:lnTo>
                  <a:lnTo>
                    <a:pt x="4262408" y="1663028"/>
                  </a:lnTo>
                  <a:close/>
                  <a:moveTo>
                    <a:pt x="4343416" y="1610612"/>
                  </a:moveTo>
                  <a:lnTo>
                    <a:pt x="4348180" y="1610612"/>
                  </a:lnTo>
                  <a:lnTo>
                    <a:pt x="4348180" y="1620142"/>
                  </a:lnTo>
                  <a:lnTo>
                    <a:pt x="4367240" y="1639202"/>
                  </a:lnTo>
                  <a:lnTo>
                    <a:pt x="4372004" y="1672558"/>
                  </a:lnTo>
                  <a:lnTo>
                    <a:pt x="4367240" y="1682088"/>
                  </a:lnTo>
                  <a:lnTo>
                    <a:pt x="4357708" y="1667794"/>
                  </a:lnTo>
                  <a:lnTo>
                    <a:pt x="4357708" y="1663028"/>
                  </a:lnTo>
                  <a:lnTo>
                    <a:pt x="4352944" y="1667794"/>
                  </a:lnTo>
                  <a:lnTo>
                    <a:pt x="4348180" y="1667794"/>
                  </a:lnTo>
                  <a:lnTo>
                    <a:pt x="4338648" y="1682088"/>
                  </a:lnTo>
                  <a:lnTo>
                    <a:pt x="4338648" y="1691620"/>
                  </a:lnTo>
                  <a:lnTo>
                    <a:pt x="4333884" y="1701150"/>
                  </a:lnTo>
                  <a:lnTo>
                    <a:pt x="4333884" y="1729740"/>
                  </a:lnTo>
                  <a:lnTo>
                    <a:pt x="4333884" y="1734506"/>
                  </a:lnTo>
                  <a:lnTo>
                    <a:pt x="4343416" y="1734506"/>
                  </a:lnTo>
                  <a:lnTo>
                    <a:pt x="4362476" y="1744036"/>
                  </a:lnTo>
                  <a:lnTo>
                    <a:pt x="4367240" y="1748800"/>
                  </a:lnTo>
                  <a:lnTo>
                    <a:pt x="4367240" y="1758330"/>
                  </a:lnTo>
                  <a:lnTo>
                    <a:pt x="4357708" y="1767860"/>
                  </a:lnTo>
                  <a:lnTo>
                    <a:pt x="4343416" y="1772626"/>
                  </a:lnTo>
                  <a:lnTo>
                    <a:pt x="4333884" y="1767860"/>
                  </a:lnTo>
                  <a:lnTo>
                    <a:pt x="4333884" y="1772626"/>
                  </a:lnTo>
                  <a:lnTo>
                    <a:pt x="4329120" y="1777392"/>
                  </a:lnTo>
                  <a:lnTo>
                    <a:pt x="4324352" y="1782156"/>
                  </a:lnTo>
                  <a:lnTo>
                    <a:pt x="4324352" y="1786922"/>
                  </a:lnTo>
                  <a:lnTo>
                    <a:pt x="4314824" y="1805982"/>
                  </a:lnTo>
                  <a:lnTo>
                    <a:pt x="4310060" y="1810748"/>
                  </a:lnTo>
                  <a:lnTo>
                    <a:pt x="4295764" y="1805982"/>
                  </a:lnTo>
                  <a:lnTo>
                    <a:pt x="4290996" y="1810748"/>
                  </a:lnTo>
                  <a:lnTo>
                    <a:pt x="4281468" y="1810748"/>
                  </a:lnTo>
                  <a:lnTo>
                    <a:pt x="4271936" y="1791686"/>
                  </a:lnTo>
                  <a:lnTo>
                    <a:pt x="4271936" y="1786922"/>
                  </a:lnTo>
                  <a:lnTo>
                    <a:pt x="4281468" y="1772626"/>
                  </a:lnTo>
                  <a:lnTo>
                    <a:pt x="4281468" y="1767860"/>
                  </a:lnTo>
                  <a:lnTo>
                    <a:pt x="4286232" y="1758330"/>
                  </a:lnTo>
                  <a:lnTo>
                    <a:pt x="4295764" y="1748800"/>
                  </a:lnTo>
                  <a:lnTo>
                    <a:pt x="4300528" y="1739270"/>
                  </a:lnTo>
                  <a:lnTo>
                    <a:pt x="4300528" y="1734506"/>
                  </a:lnTo>
                  <a:lnTo>
                    <a:pt x="4305292" y="1715444"/>
                  </a:lnTo>
                  <a:lnTo>
                    <a:pt x="4305292" y="1705914"/>
                  </a:lnTo>
                  <a:lnTo>
                    <a:pt x="4310060" y="1701150"/>
                  </a:lnTo>
                  <a:lnTo>
                    <a:pt x="4314824" y="1682088"/>
                  </a:lnTo>
                  <a:lnTo>
                    <a:pt x="4314824" y="1648732"/>
                  </a:lnTo>
                  <a:lnTo>
                    <a:pt x="4329120" y="1620142"/>
                  </a:lnTo>
                  <a:close/>
                  <a:moveTo>
                    <a:pt x="5949264" y="1567724"/>
                  </a:moveTo>
                  <a:lnTo>
                    <a:pt x="5973088" y="1582020"/>
                  </a:lnTo>
                  <a:lnTo>
                    <a:pt x="5987384" y="1591550"/>
                  </a:lnTo>
                  <a:lnTo>
                    <a:pt x="5996912" y="1596316"/>
                  </a:lnTo>
                  <a:lnTo>
                    <a:pt x="5977852" y="1591550"/>
                  </a:lnTo>
                  <a:lnTo>
                    <a:pt x="5954028" y="1577256"/>
                  </a:lnTo>
                  <a:close/>
                  <a:moveTo>
                    <a:pt x="4343416" y="1548664"/>
                  </a:moveTo>
                  <a:lnTo>
                    <a:pt x="4372004" y="1548664"/>
                  </a:lnTo>
                  <a:lnTo>
                    <a:pt x="4376768" y="1558196"/>
                  </a:lnTo>
                  <a:lnTo>
                    <a:pt x="4376768" y="1567726"/>
                  </a:lnTo>
                  <a:lnTo>
                    <a:pt x="4362476" y="1586786"/>
                  </a:lnTo>
                  <a:lnTo>
                    <a:pt x="4348180" y="1586786"/>
                  </a:lnTo>
                  <a:lnTo>
                    <a:pt x="4338648" y="1572490"/>
                  </a:lnTo>
                  <a:lnTo>
                    <a:pt x="4333884" y="1558196"/>
                  </a:lnTo>
                  <a:lnTo>
                    <a:pt x="4333884" y="1553430"/>
                  </a:lnTo>
                  <a:close/>
                  <a:moveTo>
                    <a:pt x="5186840" y="1477188"/>
                  </a:moveTo>
                  <a:lnTo>
                    <a:pt x="5201136" y="1477188"/>
                  </a:lnTo>
                  <a:lnTo>
                    <a:pt x="5205904" y="1486718"/>
                  </a:lnTo>
                  <a:lnTo>
                    <a:pt x="5182076" y="1496248"/>
                  </a:lnTo>
                  <a:close/>
                  <a:moveTo>
                    <a:pt x="5158252" y="1477188"/>
                  </a:moveTo>
                  <a:lnTo>
                    <a:pt x="5172544" y="1477188"/>
                  </a:lnTo>
                  <a:lnTo>
                    <a:pt x="5167780" y="1481954"/>
                  </a:lnTo>
                  <a:lnTo>
                    <a:pt x="5163016" y="1486718"/>
                  </a:lnTo>
                  <a:lnTo>
                    <a:pt x="5163016" y="1491484"/>
                  </a:lnTo>
                  <a:lnTo>
                    <a:pt x="5163016" y="1501014"/>
                  </a:lnTo>
                  <a:lnTo>
                    <a:pt x="5158252" y="1505778"/>
                  </a:lnTo>
                  <a:lnTo>
                    <a:pt x="5148720" y="1510544"/>
                  </a:lnTo>
                  <a:lnTo>
                    <a:pt x="5139192" y="1510544"/>
                  </a:lnTo>
                  <a:lnTo>
                    <a:pt x="5143956" y="1505778"/>
                  </a:lnTo>
                  <a:lnTo>
                    <a:pt x="5139192" y="1501014"/>
                  </a:lnTo>
                  <a:lnTo>
                    <a:pt x="5134424" y="1501014"/>
                  </a:lnTo>
                  <a:lnTo>
                    <a:pt x="5129660" y="1505778"/>
                  </a:lnTo>
                  <a:lnTo>
                    <a:pt x="5115364" y="1515308"/>
                  </a:lnTo>
                  <a:lnTo>
                    <a:pt x="5105832" y="1510544"/>
                  </a:lnTo>
                  <a:lnTo>
                    <a:pt x="5105832" y="1505778"/>
                  </a:lnTo>
                  <a:lnTo>
                    <a:pt x="5105832" y="1501014"/>
                  </a:lnTo>
                  <a:lnTo>
                    <a:pt x="5120128" y="1486718"/>
                  </a:lnTo>
                  <a:lnTo>
                    <a:pt x="5139192" y="1486718"/>
                  </a:lnTo>
                  <a:close/>
                  <a:moveTo>
                    <a:pt x="5210668" y="1472424"/>
                  </a:moveTo>
                  <a:lnTo>
                    <a:pt x="5224964" y="1477188"/>
                  </a:lnTo>
                  <a:lnTo>
                    <a:pt x="5229728" y="1481952"/>
                  </a:lnTo>
                  <a:lnTo>
                    <a:pt x="5229728" y="1486718"/>
                  </a:lnTo>
                  <a:lnTo>
                    <a:pt x="5220196" y="1486718"/>
                  </a:lnTo>
                  <a:lnTo>
                    <a:pt x="5215432" y="1486718"/>
                  </a:lnTo>
                  <a:lnTo>
                    <a:pt x="5210668" y="1477188"/>
                  </a:lnTo>
                  <a:close/>
                  <a:moveTo>
                    <a:pt x="3309380" y="1458128"/>
                  </a:moveTo>
                  <a:lnTo>
                    <a:pt x="3309380" y="1467658"/>
                  </a:lnTo>
                  <a:lnTo>
                    <a:pt x="3304616" y="1496248"/>
                  </a:lnTo>
                  <a:lnTo>
                    <a:pt x="3295088" y="1477188"/>
                  </a:lnTo>
                  <a:lnTo>
                    <a:pt x="3304616" y="1462892"/>
                  </a:lnTo>
                  <a:close/>
                  <a:moveTo>
                    <a:pt x="5043888" y="1434302"/>
                  </a:moveTo>
                  <a:lnTo>
                    <a:pt x="5048652" y="1434302"/>
                  </a:lnTo>
                  <a:lnTo>
                    <a:pt x="5058184" y="1443832"/>
                  </a:lnTo>
                  <a:lnTo>
                    <a:pt x="5062948" y="1448596"/>
                  </a:lnTo>
                  <a:lnTo>
                    <a:pt x="5043888" y="1443832"/>
                  </a:lnTo>
                  <a:lnTo>
                    <a:pt x="5039124" y="1439068"/>
                  </a:lnTo>
                  <a:close/>
                  <a:moveTo>
                    <a:pt x="3280792" y="1434302"/>
                  </a:moveTo>
                  <a:lnTo>
                    <a:pt x="3285556" y="1434302"/>
                  </a:lnTo>
                  <a:lnTo>
                    <a:pt x="3285556" y="1458128"/>
                  </a:lnTo>
                  <a:lnTo>
                    <a:pt x="3290320" y="1462892"/>
                  </a:lnTo>
                  <a:lnTo>
                    <a:pt x="3290320" y="1472422"/>
                  </a:lnTo>
                  <a:lnTo>
                    <a:pt x="3290320" y="1477188"/>
                  </a:lnTo>
                  <a:lnTo>
                    <a:pt x="3290320" y="1505778"/>
                  </a:lnTo>
                  <a:lnTo>
                    <a:pt x="3295088" y="1515308"/>
                  </a:lnTo>
                  <a:lnTo>
                    <a:pt x="3290320" y="1524840"/>
                  </a:lnTo>
                  <a:lnTo>
                    <a:pt x="3290320" y="1529604"/>
                  </a:lnTo>
                  <a:lnTo>
                    <a:pt x="3256964" y="1558196"/>
                  </a:lnTo>
                  <a:lnTo>
                    <a:pt x="3252200" y="1553430"/>
                  </a:lnTo>
                  <a:lnTo>
                    <a:pt x="3256964" y="1520074"/>
                  </a:lnTo>
                  <a:lnTo>
                    <a:pt x="3247436" y="1505778"/>
                  </a:lnTo>
                  <a:lnTo>
                    <a:pt x="3247436" y="1491484"/>
                  </a:lnTo>
                  <a:lnTo>
                    <a:pt x="3252200" y="1467658"/>
                  </a:lnTo>
                  <a:lnTo>
                    <a:pt x="3261732" y="1448598"/>
                  </a:lnTo>
                  <a:close/>
                  <a:moveTo>
                    <a:pt x="4891404" y="1405712"/>
                  </a:moveTo>
                  <a:lnTo>
                    <a:pt x="4934292" y="1405712"/>
                  </a:lnTo>
                  <a:lnTo>
                    <a:pt x="4939056" y="1405712"/>
                  </a:lnTo>
                  <a:lnTo>
                    <a:pt x="4967648" y="1420006"/>
                  </a:lnTo>
                  <a:lnTo>
                    <a:pt x="4972412" y="1429536"/>
                  </a:lnTo>
                  <a:lnTo>
                    <a:pt x="4977176" y="1439066"/>
                  </a:lnTo>
                  <a:lnTo>
                    <a:pt x="4981940" y="1443832"/>
                  </a:lnTo>
                  <a:lnTo>
                    <a:pt x="4986708" y="1448598"/>
                  </a:lnTo>
                  <a:lnTo>
                    <a:pt x="4996236" y="1458128"/>
                  </a:lnTo>
                  <a:lnTo>
                    <a:pt x="5001000" y="1467658"/>
                  </a:lnTo>
                  <a:lnTo>
                    <a:pt x="4996236" y="1491484"/>
                  </a:lnTo>
                  <a:lnTo>
                    <a:pt x="4986708" y="1496248"/>
                  </a:lnTo>
                  <a:lnTo>
                    <a:pt x="4977176" y="1501014"/>
                  </a:lnTo>
                  <a:lnTo>
                    <a:pt x="4953352" y="1515308"/>
                  </a:lnTo>
                  <a:lnTo>
                    <a:pt x="4943820" y="1515308"/>
                  </a:lnTo>
                  <a:lnTo>
                    <a:pt x="4929524" y="1520074"/>
                  </a:lnTo>
                  <a:lnTo>
                    <a:pt x="4919996" y="1520074"/>
                  </a:lnTo>
                  <a:lnTo>
                    <a:pt x="4915228" y="1524840"/>
                  </a:lnTo>
                  <a:lnTo>
                    <a:pt x="4891404" y="1515308"/>
                  </a:lnTo>
                  <a:lnTo>
                    <a:pt x="4872344" y="1505778"/>
                  </a:lnTo>
                  <a:lnTo>
                    <a:pt x="4838988" y="1486718"/>
                  </a:lnTo>
                  <a:lnTo>
                    <a:pt x="4834224" y="1486718"/>
                  </a:lnTo>
                  <a:lnTo>
                    <a:pt x="4829456" y="1477188"/>
                  </a:lnTo>
                  <a:lnTo>
                    <a:pt x="4815164" y="1458128"/>
                  </a:lnTo>
                  <a:lnTo>
                    <a:pt x="4810396" y="1448598"/>
                  </a:lnTo>
                  <a:lnTo>
                    <a:pt x="4810396" y="1420006"/>
                  </a:lnTo>
                  <a:lnTo>
                    <a:pt x="4815164" y="1415242"/>
                  </a:lnTo>
                  <a:lnTo>
                    <a:pt x="4819928" y="1410476"/>
                  </a:lnTo>
                  <a:lnTo>
                    <a:pt x="4838988" y="1420006"/>
                  </a:lnTo>
                  <a:lnTo>
                    <a:pt x="4853284" y="1410476"/>
                  </a:lnTo>
                  <a:close/>
                  <a:moveTo>
                    <a:pt x="5110600" y="1386652"/>
                  </a:moveTo>
                  <a:lnTo>
                    <a:pt x="5115364" y="1386652"/>
                  </a:lnTo>
                  <a:lnTo>
                    <a:pt x="5110600" y="1396180"/>
                  </a:lnTo>
                  <a:lnTo>
                    <a:pt x="5096304" y="1396180"/>
                  </a:lnTo>
                  <a:lnTo>
                    <a:pt x="5091540" y="1396180"/>
                  </a:lnTo>
                  <a:close/>
                  <a:moveTo>
                    <a:pt x="1808368" y="1377120"/>
                  </a:moveTo>
                  <a:lnTo>
                    <a:pt x="1822664" y="1381886"/>
                  </a:lnTo>
                  <a:lnTo>
                    <a:pt x="1822664" y="1396180"/>
                  </a:lnTo>
                  <a:lnTo>
                    <a:pt x="1817896" y="1400946"/>
                  </a:lnTo>
                  <a:lnTo>
                    <a:pt x="1808368" y="1396180"/>
                  </a:lnTo>
                  <a:lnTo>
                    <a:pt x="1803600" y="1391416"/>
                  </a:lnTo>
                  <a:lnTo>
                    <a:pt x="1798836" y="1386650"/>
                  </a:lnTo>
                  <a:lnTo>
                    <a:pt x="1798836" y="1381886"/>
                  </a:lnTo>
                  <a:close/>
                  <a:moveTo>
                    <a:pt x="1903668" y="1367590"/>
                  </a:moveTo>
                  <a:lnTo>
                    <a:pt x="1913200" y="1367590"/>
                  </a:lnTo>
                  <a:lnTo>
                    <a:pt x="1917964" y="1372356"/>
                  </a:lnTo>
                  <a:lnTo>
                    <a:pt x="1913200" y="1377120"/>
                  </a:lnTo>
                  <a:lnTo>
                    <a:pt x="1908436" y="1381884"/>
                  </a:lnTo>
                  <a:lnTo>
                    <a:pt x="1903668" y="1377120"/>
                  </a:lnTo>
                  <a:lnTo>
                    <a:pt x="1898904" y="1372356"/>
                  </a:lnTo>
                  <a:close/>
                  <a:moveTo>
                    <a:pt x="5339324" y="1362824"/>
                  </a:moveTo>
                  <a:lnTo>
                    <a:pt x="5348856" y="1362824"/>
                  </a:lnTo>
                  <a:lnTo>
                    <a:pt x="5358384" y="1362824"/>
                  </a:lnTo>
                  <a:lnTo>
                    <a:pt x="5367916" y="1362824"/>
                  </a:lnTo>
                  <a:lnTo>
                    <a:pt x="5391740" y="1372356"/>
                  </a:lnTo>
                  <a:lnTo>
                    <a:pt x="5429864" y="1391416"/>
                  </a:lnTo>
                  <a:lnTo>
                    <a:pt x="5448924" y="1391416"/>
                  </a:lnTo>
                  <a:lnTo>
                    <a:pt x="5477512" y="1391416"/>
                  </a:lnTo>
                  <a:lnTo>
                    <a:pt x="5491808" y="1391416"/>
                  </a:lnTo>
                  <a:lnTo>
                    <a:pt x="5520400" y="1415242"/>
                  </a:lnTo>
                  <a:lnTo>
                    <a:pt x="5529932" y="1429536"/>
                  </a:lnTo>
                  <a:lnTo>
                    <a:pt x="5529932" y="1443832"/>
                  </a:lnTo>
                  <a:lnTo>
                    <a:pt x="5534696" y="1458128"/>
                  </a:lnTo>
                  <a:lnTo>
                    <a:pt x="5544224" y="1458128"/>
                  </a:lnTo>
                  <a:lnTo>
                    <a:pt x="5553756" y="1458128"/>
                  </a:lnTo>
                  <a:lnTo>
                    <a:pt x="5563288" y="1477188"/>
                  </a:lnTo>
                  <a:lnTo>
                    <a:pt x="5563288" y="1481952"/>
                  </a:lnTo>
                  <a:lnTo>
                    <a:pt x="5558520" y="1529604"/>
                  </a:lnTo>
                  <a:lnTo>
                    <a:pt x="5520400" y="1510544"/>
                  </a:lnTo>
                  <a:lnTo>
                    <a:pt x="5487044" y="1491484"/>
                  </a:lnTo>
                  <a:lnTo>
                    <a:pt x="5472748" y="1486718"/>
                  </a:lnTo>
                  <a:lnTo>
                    <a:pt x="5434628" y="1467658"/>
                  </a:lnTo>
                  <a:lnTo>
                    <a:pt x="5429864" y="1462892"/>
                  </a:lnTo>
                  <a:lnTo>
                    <a:pt x="5425096" y="1458128"/>
                  </a:lnTo>
                  <a:lnTo>
                    <a:pt x="5406036" y="1443832"/>
                  </a:lnTo>
                  <a:lnTo>
                    <a:pt x="5372680" y="1443832"/>
                  </a:lnTo>
                  <a:lnTo>
                    <a:pt x="5358384" y="1443832"/>
                  </a:lnTo>
                  <a:lnTo>
                    <a:pt x="5353620" y="1443832"/>
                  </a:lnTo>
                  <a:lnTo>
                    <a:pt x="5358384" y="1448598"/>
                  </a:lnTo>
                  <a:lnTo>
                    <a:pt x="5358384" y="1462892"/>
                  </a:lnTo>
                  <a:lnTo>
                    <a:pt x="5348856" y="1462892"/>
                  </a:lnTo>
                  <a:lnTo>
                    <a:pt x="5325028" y="1458128"/>
                  </a:lnTo>
                  <a:lnTo>
                    <a:pt x="5305968" y="1458128"/>
                  </a:lnTo>
                  <a:lnTo>
                    <a:pt x="5291672" y="1448598"/>
                  </a:lnTo>
                  <a:lnTo>
                    <a:pt x="5267848" y="1443832"/>
                  </a:lnTo>
                  <a:lnTo>
                    <a:pt x="5267848" y="1439066"/>
                  </a:lnTo>
                  <a:lnTo>
                    <a:pt x="5267848" y="1434302"/>
                  </a:lnTo>
                  <a:lnTo>
                    <a:pt x="5263084" y="1429536"/>
                  </a:lnTo>
                  <a:lnTo>
                    <a:pt x="5253552" y="1429536"/>
                  </a:lnTo>
                  <a:lnTo>
                    <a:pt x="5244024" y="1434302"/>
                  </a:lnTo>
                  <a:lnTo>
                    <a:pt x="5234492" y="1443832"/>
                  </a:lnTo>
                  <a:lnTo>
                    <a:pt x="5224964" y="1458128"/>
                  </a:lnTo>
                  <a:lnTo>
                    <a:pt x="5220196" y="1462892"/>
                  </a:lnTo>
                  <a:lnTo>
                    <a:pt x="5201136" y="1462892"/>
                  </a:lnTo>
                  <a:lnTo>
                    <a:pt x="5191608" y="1462892"/>
                  </a:lnTo>
                  <a:lnTo>
                    <a:pt x="5182076" y="1458128"/>
                  </a:lnTo>
                  <a:lnTo>
                    <a:pt x="5163016" y="1434302"/>
                  </a:lnTo>
                  <a:lnTo>
                    <a:pt x="5153484" y="1424772"/>
                  </a:lnTo>
                  <a:lnTo>
                    <a:pt x="5148720" y="1420006"/>
                  </a:lnTo>
                  <a:lnTo>
                    <a:pt x="5139188" y="1420006"/>
                  </a:lnTo>
                  <a:lnTo>
                    <a:pt x="5129660" y="1424772"/>
                  </a:lnTo>
                  <a:lnTo>
                    <a:pt x="5129660" y="1434302"/>
                  </a:lnTo>
                  <a:lnTo>
                    <a:pt x="5124896" y="1443832"/>
                  </a:lnTo>
                  <a:lnTo>
                    <a:pt x="5124896" y="1448598"/>
                  </a:lnTo>
                  <a:lnTo>
                    <a:pt x="5115364" y="1462892"/>
                  </a:lnTo>
                  <a:lnTo>
                    <a:pt x="5105836" y="1472422"/>
                  </a:lnTo>
                  <a:lnTo>
                    <a:pt x="5101068" y="1472422"/>
                  </a:lnTo>
                  <a:lnTo>
                    <a:pt x="5105836" y="1458128"/>
                  </a:lnTo>
                  <a:lnTo>
                    <a:pt x="5105836" y="1448598"/>
                  </a:lnTo>
                  <a:lnTo>
                    <a:pt x="5101068" y="1439066"/>
                  </a:lnTo>
                  <a:lnTo>
                    <a:pt x="5101068" y="1429536"/>
                  </a:lnTo>
                  <a:lnTo>
                    <a:pt x="5134424" y="1381886"/>
                  </a:lnTo>
                  <a:lnTo>
                    <a:pt x="5148720" y="1372356"/>
                  </a:lnTo>
                  <a:lnTo>
                    <a:pt x="5205900" y="1367590"/>
                  </a:lnTo>
                  <a:lnTo>
                    <a:pt x="5244024" y="1372356"/>
                  </a:lnTo>
                  <a:lnTo>
                    <a:pt x="5263084" y="1372356"/>
                  </a:lnTo>
                  <a:lnTo>
                    <a:pt x="5272612" y="1367590"/>
                  </a:lnTo>
                  <a:lnTo>
                    <a:pt x="5282144" y="1367590"/>
                  </a:lnTo>
                  <a:lnTo>
                    <a:pt x="5286908" y="1377120"/>
                  </a:lnTo>
                  <a:lnTo>
                    <a:pt x="5291672" y="1386650"/>
                  </a:lnTo>
                  <a:lnTo>
                    <a:pt x="5301204" y="1381886"/>
                  </a:lnTo>
                  <a:lnTo>
                    <a:pt x="5320264" y="1377120"/>
                  </a:lnTo>
                  <a:lnTo>
                    <a:pt x="5334560" y="1367590"/>
                  </a:lnTo>
                  <a:close/>
                  <a:moveTo>
                    <a:pt x="774336" y="1362824"/>
                  </a:moveTo>
                  <a:lnTo>
                    <a:pt x="783864" y="1362824"/>
                  </a:lnTo>
                  <a:lnTo>
                    <a:pt x="817220" y="1396180"/>
                  </a:lnTo>
                  <a:lnTo>
                    <a:pt x="817220" y="1400946"/>
                  </a:lnTo>
                  <a:lnTo>
                    <a:pt x="817220" y="1410476"/>
                  </a:lnTo>
                  <a:lnTo>
                    <a:pt x="812456" y="1415242"/>
                  </a:lnTo>
                  <a:lnTo>
                    <a:pt x="812456" y="1424772"/>
                  </a:lnTo>
                  <a:lnTo>
                    <a:pt x="817220" y="1443832"/>
                  </a:lnTo>
                  <a:lnTo>
                    <a:pt x="798160" y="1429536"/>
                  </a:lnTo>
                  <a:lnTo>
                    <a:pt x="798160" y="1420006"/>
                  </a:lnTo>
                  <a:lnTo>
                    <a:pt x="798160" y="1410476"/>
                  </a:lnTo>
                  <a:lnTo>
                    <a:pt x="783864" y="1405712"/>
                  </a:lnTo>
                  <a:lnTo>
                    <a:pt x="779100" y="1391416"/>
                  </a:lnTo>
                  <a:lnTo>
                    <a:pt x="774336" y="1367590"/>
                  </a:lnTo>
                  <a:close/>
                  <a:moveTo>
                    <a:pt x="1970380" y="1319940"/>
                  </a:moveTo>
                  <a:lnTo>
                    <a:pt x="1975148" y="1324704"/>
                  </a:lnTo>
                  <a:lnTo>
                    <a:pt x="2008504" y="1329470"/>
                  </a:lnTo>
                  <a:lnTo>
                    <a:pt x="2027564" y="1348530"/>
                  </a:lnTo>
                  <a:lnTo>
                    <a:pt x="2041856" y="1367590"/>
                  </a:lnTo>
                  <a:lnTo>
                    <a:pt x="2027564" y="1396182"/>
                  </a:lnTo>
                  <a:lnTo>
                    <a:pt x="2022796" y="1410476"/>
                  </a:lnTo>
                  <a:lnTo>
                    <a:pt x="2022796" y="1415242"/>
                  </a:lnTo>
                  <a:lnTo>
                    <a:pt x="2008504" y="1424772"/>
                  </a:lnTo>
                  <a:lnTo>
                    <a:pt x="2003736" y="1429536"/>
                  </a:lnTo>
                  <a:lnTo>
                    <a:pt x="1989440" y="1429536"/>
                  </a:lnTo>
                  <a:lnTo>
                    <a:pt x="1989440" y="1420006"/>
                  </a:lnTo>
                  <a:lnTo>
                    <a:pt x="1984676" y="1415242"/>
                  </a:lnTo>
                  <a:lnTo>
                    <a:pt x="1970380" y="1405712"/>
                  </a:lnTo>
                  <a:lnTo>
                    <a:pt x="1970380" y="1410476"/>
                  </a:lnTo>
                  <a:lnTo>
                    <a:pt x="1965616" y="1420006"/>
                  </a:lnTo>
                  <a:lnTo>
                    <a:pt x="1941792" y="1424772"/>
                  </a:lnTo>
                  <a:lnTo>
                    <a:pt x="1932260" y="1424772"/>
                  </a:lnTo>
                  <a:lnTo>
                    <a:pt x="1937024" y="1415242"/>
                  </a:lnTo>
                  <a:lnTo>
                    <a:pt x="1932260" y="1405712"/>
                  </a:lnTo>
                  <a:lnTo>
                    <a:pt x="1932260" y="1391416"/>
                  </a:lnTo>
                  <a:lnTo>
                    <a:pt x="1927496" y="1386650"/>
                  </a:lnTo>
                  <a:lnTo>
                    <a:pt x="1927496" y="1381886"/>
                  </a:lnTo>
                  <a:lnTo>
                    <a:pt x="1932260" y="1372356"/>
                  </a:lnTo>
                  <a:lnTo>
                    <a:pt x="1932260" y="1362826"/>
                  </a:lnTo>
                  <a:lnTo>
                    <a:pt x="1937024" y="1353294"/>
                  </a:lnTo>
                  <a:lnTo>
                    <a:pt x="1941792" y="1324704"/>
                  </a:lnTo>
                  <a:close/>
                  <a:moveTo>
                    <a:pt x="740976" y="1319940"/>
                  </a:moveTo>
                  <a:lnTo>
                    <a:pt x="745744" y="1319940"/>
                  </a:lnTo>
                  <a:lnTo>
                    <a:pt x="779100" y="1343764"/>
                  </a:lnTo>
                  <a:lnTo>
                    <a:pt x="779100" y="1353294"/>
                  </a:lnTo>
                  <a:lnTo>
                    <a:pt x="764804" y="1367590"/>
                  </a:lnTo>
                  <a:lnTo>
                    <a:pt x="745744" y="1367590"/>
                  </a:lnTo>
                  <a:lnTo>
                    <a:pt x="745744" y="1358060"/>
                  </a:lnTo>
                  <a:lnTo>
                    <a:pt x="745744" y="1339000"/>
                  </a:lnTo>
                  <a:lnTo>
                    <a:pt x="740976" y="1334234"/>
                  </a:lnTo>
                  <a:lnTo>
                    <a:pt x="740976" y="1329470"/>
                  </a:lnTo>
                  <a:close/>
                  <a:moveTo>
                    <a:pt x="6111276" y="1243696"/>
                  </a:moveTo>
                  <a:lnTo>
                    <a:pt x="6116040" y="1243696"/>
                  </a:lnTo>
                  <a:lnTo>
                    <a:pt x="6120808" y="1248462"/>
                  </a:lnTo>
                  <a:lnTo>
                    <a:pt x="6116040" y="1257992"/>
                  </a:lnTo>
                  <a:lnTo>
                    <a:pt x="6111276" y="1257992"/>
                  </a:lnTo>
                  <a:lnTo>
                    <a:pt x="6106512" y="1253228"/>
                  </a:lnTo>
                  <a:close/>
                  <a:moveTo>
                    <a:pt x="683796" y="1238932"/>
                  </a:moveTo>
                  <a:lnTo>
                    <a:pt x="698092" y="1248462"/>
                  </a:lnTo>
                  <a:lnTo>
                    <a:pt x="702856" y="1267524"/>
                  </a:lnTo>
                  <a:lnTo>
                    <a:pt x="717152" y="1281818"/>
                  </a:lnTo>
                  <a:lnTo>
                    <a:pt x="721916" y="1291348"/>
                  </a:lnTo>
                  <a:lnTo>
                    <a:pt x="721916" y="1296114"/>
                  </a:lnTo>
                  <a:lnTo>
                    <a:pt x="698092" y="1281818"/>
                  </a:lnTo>
                  <a:lnTo>
                    <a:pt x="683796" y="1277054"/>
                  </a:lnTo>
                  <a:lnTo>
                    <a:pt x="674264" y="1262758"/>
                  </a:lnTo>
                  <a:lnTo>
                    <a:pt x="674264" y="1257992"/>
                  </a:lnTo>
                  <a:lnTo>
                    <a:pt x="679032" y="1248462"/>
                  </a:lnTo>
                  <a:lnTo>
                    <a:pt x="679032" y="1243698"/>
                  </a:lnTo>
                  <a:close/>
                  <a:moveTo>
                    <a:pt x="4796100" y="1234168"/>
                  </a:moveTo>
                  <a:lnTo>
                    <a:pt x="4800868" y="1234168"/>
                  </a:lnTo>
                  <a:lnTo>
                    <a:pt x="4805632" y="1238932"/>
                  </a:lnTo>
                  <a:lnTo>
                    <a:pt x="4800868" y="1262758"/>
                  </a:lnTo>
                  <a:lnTo>
                    <a:pt x="4815160" y="1296114"/>
                  </a:lnTo>
                  <a:lnTo>
                    <a:pt x="4815160" y="1310408"/>
                  </a:lnTo>
                  <a:lnTo>
                    <a:pt x="4810396" y="1310408"/>
                  </a:lnTo>
                  <a:lnTo>
                    <a:pt x="4800868" y="1300878"/>
                  </a:lnTo>
                  <a:lnTo>
                    <a:pt x="4796100" y="1277054"/>
                  </a:lnTo>
                  <a:lnTo>
                    <a:pt x="4791336" y="1272288"/>
                  </a:lnTo>
                  <a:lnTo>
                    <a:pt x="4786572" y="1248462"/>
                  </a:lnTo>
                  <a:lnTo>
                    <a:pt x="4786572" y="1243698"/>
                  </a:lnTo>
                  <a:close/>
                  <a:moveTo>
                    <a:pt x="4457776" y="1219872"/>
                  </a:moveTo>
                  <a:lnTo>
                    <a:pt x="4472072" y="1229402"/>
                  </a:lnTo>
                  <a:lnTo>
                    <a:pt x="4472072" y="1238932"/>
                  </a:lnTo>
                  <a:lnTo>
                    <a:pt x="4462544" y="1238932"/>
                  </a:lnTo>
                  <a:lnTo>
                    <a:pt x="4457776" y="1224636"/>
                  </a:lnTo>
                  <a:close/>
                  <a:moveTo>
                    <a:pt x="4729388" y="1205576"/>
                  </a:moveTo>
                  <a:lnTo>
                    <a:pt x="4762744" y="1210342"/>
                  </a:lnTo>
                  <a:lnTo>
                    <a:pt x="4810396" y="1205576"/>
                  </a:lnTo>
                  <a:lnTo>
                    <a:pt x="4858048" y="1210342"/>
                  </a:lnTo>
                  <a:lnTo>
                    <a:pt x="4853284" y="1215106"/>
                  </a:lnTo>
                  <a:lnTo>
                    <a:pt x="4800868" y="1224636"/>
                  </a:lnTo>
                  <a:lnTo>
                    <a:pt x="4781804" y="1224636"/>
                  </a:lnTo>
                  <a:lnTo>
                    <a:pt x="4724624" y="1229402"/>
                  </a:lnTo>
                  <a:lnTo>
                    <a:pt x="4715096" y="1229402"/>
                  </a:lnTo>
                  <a:lnTo>
                    <a:pt x="4715096" y="1219872"/>
                  </a:lnTo>
                  <a:lnTo>
                    <a:pt x="4710328" y="1215106"/>
                  </a:lnTo>
                  <a:lnTo>
                    <a:pt x="4719860" y="1210342"/>
                  </a:lnTo>
                  <a:close/>
                  <a:moveTo>
                    <a:pt x="4357708" y="1200812"/>
                  </a:moveTo>
                  <a:lnTo>
                    <a:pt x="4362472" y="1210342"/>
                  </a:lnTo>
                  <a:lnTo>
                    <a:pt x="4348180" y="1224636"/>
                  </a:lnTo>
                  <a:lnTo>
                    <a:pt x="4348180" y="1215106"/>
                  </a:lnTo>
                  <a:lnTo>
                    <a:pt x="4352944" y="1210342"/>
                  </a:lnTo>
                  <a:lnTo>
                    <a:pt x="4352944" y="1205576"/>
                  </a:lnTo>
                  <a:close/>
                  <a:moveTo>
                    <a:pt x="5482280" y="1191280"/>
                  </a:moveTo>
                  <a:lnTo>
                    <a:pt x="5487044" y="1191280"/>
                  </a:lnTo>
                  <a:lnTo>
                    <a:pt x="5487044" y="1200810"/>
                  </a:lnTo>
                  <a:lnTo>
                    <a:pt x="5496576" y="1205576"/>
                  </a:lnTo>
                  <a:lnTo>
                    <a:pt x="5491808" y="1219872"/>
                  </a:lnTo>
                  <a:lnTo>
                    <a:pt x="5491808" y="1224636"/>
                  </a:lnTo>
                  <a:lnTo>
                    <a:pt x="5491808" y="1229402"/>
                  </a:lnTo>
                  <a:lnTo>
                    <a:pt x="5496576" y="1234166"/>
                  </a:lnTo>
                  <a:lnTo>
                    <a:pt x="5487044" y="1238932"/>
                  </a:lnTo>
                  <a:lnTo>
                    <a:pt x="5482280" y="1234166"/>
                  </a:lnTo>
                  <a:lnTo>
                    <a:pt x="5477516" y="1238932"/>
                  </a:lnTo>
                  <a:lnTo>
                    <a:pt x="5467984" y="1243696"/>
                  </a:lnTo>
                  <a:lnTo>
                    <a:pt x="5453688" y="1248462"/>
                  </a:lnTo>
                  <a:lnTo>
                    <a:pt x="5444160" y="1243696"/>
                  </a:lnTo>
                  <a:lnTo>
                    <a:pt x="5415568" y="1234166"/>
                  </a:lnTo>
                  <a:lnTo>
                    <a:pt x="5391744" y="1219872"/>
                  </a:lnTo>
                  <a:lnTo>
                    <a:pt x="5391744" y="1215106"/>
                  </a:lnTo>
                  <a:lnTo>
                    <a:pt x="5429864" y="1200810"/>
                  </a:lnTo>
                  <a:lnTo>
                    <a:pt x="5448924" y="1196046"/>
                  </a:lnTo>
                  <a:lnTo>
                    <a:pt x="5463220" y="1196046"/>
                  </a:lnTo>
                  <a:close/>
                  <a:moveTo>
                    <a:pt x="4567376" y="1181750"/>
                  </a:moveTo>
                  <a:lnTo>
                    <a:pt x="4595964" y="1181750"/>
                  </a:lnTo>
                  <a:lnTo>
                    <a:pt x="4643616" y="1191280"/>
                  </a:lnTo>
                  <a:lnTo>
                    <a:pt x="4662676" y="1196046"/>
                  </a:lnTo>
                  <a:lnTo>
                    <a:pt x="4667444" y="1196046"/>
                  </a:lnTo>
                  <a:lnTo>
                    <a:pt x="4672208" y="1191280"/>
                  </a:lnTo>
                  <a:lnTo>
                    <a:pt x="4676972" y="1191280"/>
                  </a:lnTo>
                  <a:lnTo>
                    <a:pt x="4681736" y="1205576"/>
                  </a:lnTo>
                  <a:lnTo>
                    <a:pt x="4691268" y="1200810"/>
                  </a:lnTo>
                  <a:lnTo>
                    <a:pt x="4696032" y="1205576"/>
                  </a:lnTo>
                  <a:lnTo>
                    <a:pt x="4700800" y="1210340"/>
                  </a:lnTo>
                  <a:lnTo>
                    <a:pt x="4700800" y="1219872"/>
                  </a:lnTo>
                  <a:lnTo>
                    <a:pt x="4672208" y="1219872"/>
                  </a:lnTo>
                  <a:lnTo>
                    <a:pt x="4653148" y="1229402"/>
                  </a:lnTo>
                  <a:lnTo>
                    <a:pt x="4624556" y="1219872"/>
                  </a:lnTo>
                  <a:lnTo>
                    <a:pt x="4595964" y="1234166"/>
                  </a:lnTo>
                  <a:lnTo>
                    <a:pt x="4576904" y="1238932"/>
                  </a:lnTo>
                  <a:lnTo>
                    <a:pt x="4557844" y="1238932"/>
                  </a:lnTo>
                  <a:lnTo>
                    <a:pt x="4543548" y="1215106"/>
                  </a:lnTo>
                  <a:lnTo>
                    <a:pt x="4553080" y="1191280"/>
                  </a:lnTo>
                  <a:lnTo>
                    <a:pt x="4557844" y="1186516"/>
                  </a:lnTo>
                  <a:close/>
                  <a:moveTo>
                    <a:pt x="6287584" y="1172220"/>
                  </a:moveTo>
                  <a:lnTo>
                    <a:pt x="6349532" y="1181750"/>
                  </a:lnTo>
                  <a:lnTo>
                    <a:pt x="6363828" y="1181750"/>
                  </a:lnTo>
                  <a:lnTo>
                    <a:pt x="6397184" y="1186516"/>
                  </a:lnTo>
                  <a:lnTo>
                    <a:pt x="6430540" y="1196046"/>
                  </a:lnTo>
                  <a:lnTo>
                    <a:pt x="6482956" y="1196046"/>
                  </a:lnTo>
                  <a:lnTo>
                    <a:pt x="6497252" y="1200810"/>
                  </a:lnTo>
                  <a:lnTo>
                    <a:pt x="6506784" y="1205576"/>
                  </a:lnTo>
                  <a:lnTo>
                    <a:pt x="6478192" y="1210340"/>
                  </a:lnTo>
                  <a:lnTo>
                    <a:pt x="6463896" y="1219872"/>
                  </a:lnTo>
                  <a:lnTo>
                    <a:pt x="6440072" y="1219872"/>
                  </a:lnTo>
                  <a:lnTo>
                    <a:pt x="6421008" y="1219872"/>
                  </a:lnTo>
                  <a:lnTo>
                    <a:pt x="6401948" y="1219872"/>
                  </a:lnTo>
                  <a:lnTo>
                    <a:pt x="6397184" y="1215106"/>
                  </a:lnTo>
                  <a:lnTo>
                    <a:pt x="6378124" y="1210340"/>
                  </a:lnTo>
                  <a:lnTo>
                    <a:pt x="6349532" y="1200810"/>
                  </a:lnTo>
                  <a:lnTo>
                    <a:pt x="6287584" y="1186516"/>
                  </a:lnTo>
                  <a:lnTo>
                    <a:pt x="6287584" y="1176986"/>
                  </a:lnTo>
                  <a:close/>
                  <a:moveTo>
                    <a:pt x="2132396" y="1167456"/>
                  </a:moveTo>
                  <a:lnTo>
                    <a:pt x="2146692" y="1172220"/>
                  </a:lnTo>
                  <a:lnTo>
                    <a:pt x="2141924" y="1176986"/>
                  </a:lnTo>
                  <a:lnTo>
                    <a:pt x="2127632" y="1186516"/>
                  </a:lnTo>
                  <a:lnTo>
                    <a:pt x="2122864" y="1172220"/>
                  </a:lnTo>
                  <a:close/>
                  <a:moveTo>
                    <a:pt x="4419656" y="1162690"/>
                  </a:moveTo>
                  <a:lnTo>
                    <a:pt x="4424420" y="1162690"/>
                  </a:lnTo>
                  <a:lnTo>
                    <a:pt x="4424420" y="1167456"/>
                  </a:lnTo>
                  <a:lnTo>
                    <a:pt x="4429188" y="1172220"/>
                  </a:lnTo>
                  <a:lnTo>
                    <a:pt x="4433952" y="1181750"/>
                  </a:lnTo>
                  <a:lnTo>
                    <a:pt x="4429188" y="1191280"/>
                  </a:lnTo>
                  <a:lnTo>
                    <a:pt x="4419656" y="1191280"/>
                  </a:lnTo>
                  <a:lnTo>
                    <a:pt x="4414892" y="1186516"/>
                  </a:lnTo>
                  <a:lnTo>
                    <a:pt x="4414892" y="1167456"/>
                  </a:lnTo>
                  <a:close/>
                  <a:moveTo>
                    <a:pt x="1617760" y="1162690"/>
                  </a:moveTo>
                  <a:lnTo>
                    <a:pt x="1627292" y="1176986"/>
                  </a:lnTo>
                  <a:lnTo>
                    <a:pt x="1632056" y="1186516"/>
                  </a:lnTo>
                  <a:lnTo>
                    <a:pt x="1636820" y="1196046"/>
                  </a:lnTo>
                  <a:lnTo>
                    <a:pt x="1641588" y="1186516"/>
                  </a:lnTo>
                  <a:lnTo>
                    <a:pt x="1636820" y="1167456"/>
                  </a:lnTo>
                  <a:lnTo>
                    <a:pt x="1655880" y="1162690"/>
                  </a:lnTo>
                  <a:lnTo>
                    <a:pt x="1670176" y="1162690"/>
                  </a:lnTo>
                  <a:lnTo>
                    <a:pt x="1679708" y="1167456"/>
                  </a:lnTo>
                  <a:lnTo>
                    <a:pt x="1689236" y="1172220"/>
                  </a:lnTo>
                  <a:lnTo>
                    <a:pt x="1689236" y="1186516"/>
                  </a:lnTo>
                  <a:lnTo>
                    <a:pt x="1694004" y="1196046"/>
                  </a:lnTo>
                  <a:lnTo>
                    <a:pt x="1703532" y="1205576"/>
                  </a:lnTo>
                  <a:lnTo>
                    <a:pt x="1708300" y="1215106"/>
                  </a:lnTo>
                  <a:lnTo>
                    <a:pt x="1713064" y="1267522"/>
                  </a:lnTo>
                  <a:lnTo>
                    <a:pt x="1741656" y="1310408"/>
                  </a:lnTo>
                  <a:lnTo>
                    <a:pt x="1808368" y="1329470"/>
                  </a:lnTo>
                  <a:lnTo>
                    <a:pt x="1798836" y="1334234"/>
                  </a:lnTo>
                  <a:lnTo>
                    <a:pt x="1794072" y="1339000"/>
                  </a:lnTo>
                  <a:lnTo>
                    <a:pt x="1789304" y="1348530"/>
                  </a:lnTo>
                  <a:lnTo>
                    <a:pt x="1779776" y="1377120"/>
                  </a:lnTo>
                  <a:lnTo>
                    <a:pt x="1779776" y="1386650"/>
                  </a:lnTo>
                  <a:lnTo>
                    <a:pt x="1784540" y="1396180"/>
                  </a:lnTo>
                  <a:lnTo>
                    <a:pt x="1784540" y="1405712"/>
                  </a:lnTo>
                  <a:lnTo>
                    <a:pt x="1779776" y="1405712"/>
                  </a:lnTo>
                  <a:lnTo>
                    <a:pt x="1770244" y="1400946"/>
                  </a:lnTo>
                  <a:lnTo>
                    <a:pt x="1760716" y="1400946"/>
                  </a:lnTo>
                  <a:lnTo>
                    <a:pt x="1751184" y="1396180"/>
                  </a:lnTo>
                  <a:lnTo>
                    <a:pt x="1746420" y="1391416"/>
                  </a:lnTo>
                  <a:lnTo>
                    <a:pt x="1736888" y="1386650"/>
                  </a:lnTo>
                  <a:lnTo>
                    <a:pt x="1722592" y="1377120"/>
                  </a:lnTo>
                  <a:lnTo>
                    <a:pt x="1703532" y="1372356"/>
                  </a:lnTo>
                  <a:lnTo>
                    <a:pt x="1679708" y="1367590"/>
                  </a:lnTo>
                  <a:lnTo>
                    <a:pt x="1674944" y="1353294"/>
                  </a:lnTo>
                  <a:lnTo>
                    <a:pt x="1665412" y="1339000"/>
                  </a:lnTo>
                  <a:lnTo>
                    <a:pt x="1674944" y="1315174"/>
                  </a:lnTo>
                  <a:lnTo>
                    <a:pt x="1665412" y="1310408"/>
                  </a:lnTo>
                  <a:lnTo>
                    <a:pt x="1660648" y="1300878"/>
                  </a:lnTo>
                  <a:lnTo>
                    <a:pt x="1651116" y="1286584"/>
                  </a:lnTo>
                  <a:lnTo>
                    <a:pt x="1651116" y="1267522"/>
                  </a:lnTo>
                  <a:lnTo>
                    <a:pt x="1636820" y="1257992"/>
                  </a:lnTo>
                  <a:lnTo>
                    <a:pt x="1617760" y="1253228"/>
                  </a:lnTo>
                  <a:lnTo>
                    <a:pt x="1612996" y="1248462"/>
                  </a:lnTo>
                  <a:lnTo>
                    <a:pt x="1579640" y="1257992"/>
                  </a:lnTo>
                  <a:lnTo>
                    <a:pt x="1570108" y="1257992"/>
                  </a:lnTo>
                  <a:lnTo>
                    <a:pt x="1565344" y="1248462"/>
                  </a:lnTo>
                  <a:lnTo>
                    <a:pt x="1546284" y="1243696"/>
                  </a:lnTo>
                  <a:lnTo>
                    <a:pt x="1546284" y="1234166"/>
                  </a:lnTo>
                  <a:lnTo>
                    <a:pt x="1555816" y="1224636"/>
                  </a:lnTo>
                  <a:lnTo>
                    <a:pt x="1574876" y="1215106"/>
                  </a:lnTo>
                  <a:lnTo>
                    <a:pt x="1584404" y="1210342"/>
                  </a:lnTo>
                  <a:lnTo>
                    <a:pt x="1584404" y="1200810"/>
                  </a:lnTo>
                  <a:lnTo>
                    <a:pt x="1584404" y="1191280"/>
                  </a:lnTo>
                  <a:lnTo>
                    <a:pt x="1584404" y="1186516"/>
                  </a:lnTo>
                  <a:lnTo>
                    <a:pt x="1589172" y="1176986"/>
                  </a:lnTo>
                  <a:lnTo>
                    <a:pt x="1598700" y="1172220"/>
                  </a:lnTo>
                  <a:close/>
                  <a:moveTo>
                    <a:pt x="5053416" y="1134100"/>
                  </a:moveTo>
                  <a:lnTo>
                    <a:pt x="5062948" y="1134100"/>
                  </a:lnTo>
                  <a:lnTo>
                    <a:pt x="5077244" y="1138864"/>
                  </a:lnTo>
                  <a:lnTo>
                    <a:pt x="5105836" y="1148394"/>
                  </a:lnTo>
                  <a:lnTo>
                    <a:pt x="5124896" y="1162690"/>
                  </a:lnTo>
                  <a:lnTo>
                    <a:pt x="5143956" y="1176986"/>
                  </a:lnTo>
                  <a:lnTo>
                    <a:pt x="5143956" y="1186516"/>
                  </a:lnTo>
                  <a:lnTo>
                    <a:pt x="5134424" y="1191280"/>
                  </a:lnTo>
                  <a:lnTo>
                    <a:pt x="5129660" y="1191280"/>
                  </a:lnTo>
                  <a:lnTo>
                    <a:pt x="5105836" y="1186516"/>
                  </a:lnTo>
                  <a:lnTo>
                    <a:pt x="5077244" y="1191280"/>
                  </a:lnTo>
                  <a:lnTo>
                    <a:pt x="5048652" y="1196046"/>
                  </a:lnTo>
                  <a:lnTo>
                    <a:pt x="5034356" y="1191280"/>
                  </a:lnTo>
                  <a:lnTo>
                    <a:pt x="5024828" y="1181750"/>
                  </a:lnTo>
                  <a:lnTo>
                    <a:pt x="5024828" y="1172220"/>
                  </a:lnTo>
                  <a:lnTo>
                    <a:pt x="5034356" y="1153160"/>
                  </a:lnTo>
                  <a:close/>
                  <a:moveTo>
                    <a:pt x="4362476" y="1105508"/>
                  </a:moveTo>
                  <a:lnTo>
                    <a:pt x="4372004" y="1110274"/>
                  </a:lnTo>
                  <a:lnTo>
                    <a:pt x="4376768" y="1119804"/>
                  </a:lnTo>
                  <a:lnTo>
                    <a:pt x="4367240" y="1124568"/>
                  </a:lnTo>
                  <a:lnTo>
                    <a:pt x="4376768" y="1143630"/>
                  </a:lnTo>
                  <a:lnTo>
                    <a:pt x="4391064" y="1119804"/>
                  </a:lnTo>
                  <a:lnTo>
                    <a:pt x="4405360" y="1119804"/>
                  </a:lnTo>
                  <a:lnTo>
                    <a:pt x="4414892" y="1124568"/>
                  </a:lnTo>
                  <a:lnTo>
                    <a:pt x="4419656" y="1124568"/>
                  </a:lnTo>
                  <a:lnTo>
                    <a:pt x="4424420" y="1134098"/>
                  </a:lnTo>
                  <a:lnTo>
                    <a:pt x="4419656" y="1153160"/>
                  </a:lnTo>
                  <a:lnTo>
                    <a:pt x="4410124" y="1157924"/>
                  </a:lnTo>
                  <a:lnTo>
                    <a:pt x="4395832" y="1162690"/>
                  </a:lnTo>
                  <a:lnTo>
                    <a:pt x="4391064" y="1153160"/>
                  </a:lnTo>
                  <a:lnTo>
                    <a:pt x="4381536" y="1148394"/>
                  </a:lnTo>
                  <a:lnTo>
                    <a:pt x="4376768" y="1172220"/>
                  </a:lnTo>
                  <a:lnTo>
                    <a:pt x="4372004" y="1176984"/>
                  </a:lnTo>
                  <a:lnTo>
                    <a:pt x="4362476" y="1176984"/>
                  </a:lnTo>
                  <a:lnTo>
                    <a:pt x="4357708" y="1172220"/>
                  </a:lnTo>
                  <a:lnTo>
                    <a:pt x="4357708" y="1167454"/>
                  </a:lnTo>
                  <a:lnTo>
                    <a:pt x="4367240" y="1157924"/>
                  </a:lnTo>
                  <a:lnTo>
                    <a:pt x="4362476" y="1129334"/>
                  </a:lnTo>
                  <a:lnTo>
                    <a:pt x="4352944" y="1134098"/>
                  </a:lnTo>
                  <a:lnTo>
                    <a:pt x="4333884" y="1162690"/>
                  </a:lnTo>
                  <a:lnTo>
                    <a:pt x="4319588" y="1172220"/>
                  </a:lnTo>
                  <a:lnTo>
                    <a:pt x="4314824" y="1167454"/>
                  </a:lnTo>
                  <a:lnTo>
                    <a:pt x="4310056" y="1148394"/>
                  </a:lnTo>
                  <a:lnTo>
                    <a:pt x="4310056" y="1124568"/>
                  </a:lnTo>
                  <a:lnTo>
                    <a:pt x="4324352" y="1110274"/>
                  </a:lnTo>
                  <a:lnTo>
                    <a:pt x="4333884" y="1110274"/>
                  </a:lnTo>
                  <a:close/>
                  <a:moveTo>
                    <a:pt x="2246756" y="1076916"/>
                  </a:moveTo>
                  <a:lnTo>
                    <a:pt x="2261052" y="1081682"/>
                  </a:lnTo>
                  <a:lnTo>
                    <a:pt x="2265816" y="1086448"/>
                  </a:lnTo>
                  <a:lnTo>
                    <a:pt x="2270584" y="1095978"/>
                  </a:lnTo>
                  <a:lnTo>
                    <a:pt x="2265816" y="1105508"/>
                  </a:lnTo>
                  <a:lnTo>
                    <a:pt x="2261052" y="1110272"/>
                  </a:lnTo>
                  <a:lnTo>
                    <a:pt x="2232464" y="1124568"/>
                  </a:lnTo>
                  <a:lnTo>
                    <a:pt x="2222932" y="1124568"/>
                  </a:lnTo>
                  <a:lnTo>
                    <a:pt x="2218168" y="1119802"/>
                  </a:lnTo>
                  <a:lnTo>
                    <a:pt x="2222932" y="1086448"/>
                  </a:lnTo>
                  <a:lnTo>
                    <a:pt x="2227696" y="1081682"/>
                  </a:lnTo>
                  <a:close/>
                  <a:moveTo>
                    <a:pt x="6197048" y="1072152"/>
                  </a:moveTo>
                  <a:lnTo>
                    <a:pt x="6201812" y="1076918"/>
                  </a:lnTo>
                  <a:lnTo>
                    <a:pt x="6206580" y="1086448"/>
                  </a:lnTo>
                  <a:lnTo>
                    <a:pt x="6211344" y="1086448"/>
                  </a:lnTo>
                  <a:lnTo>
                    <a:pt x="6206580" y="1100744"/>
                  </a:lnTo>
                  <a:lnTo>
                    <a:pt x="6197048" y="1100744"/>
                  </a:lnTo>
                  <a:lnTo>
                    <a:pt x="6192284" y="1100744"/>
                  </a:lnTo>
                  <a:lnTo>
                    <a:pt x="6182752" y="1086448"/>
                  </a:lnTo>
                  <a:lnTo>
                    <a:pt x="6182752" y="1076918"/>
                  </a:lnTo>
                  <a:close/>
                  <a:moveTo>
                    <a:pt x="569432" y="1067388"/>
                  </a:moveTo>
                  <a:lnTo>
                    <a:pt x="578964" y="1072152"/>
                  </a:lnTo>
                  <a:lnTo>
                    <a:pt x="583728" y="1091212"/>
                  </a:lnTo>
                  <a:lnTo>
                    <a:pt x="598024" y="1119804"/>
                  </a:lnTo>
                  <a:lnTo>
                    <a:pt x="602788" y="1134098"/>
                  </a:lnTo>
                  <a:lnTo>
                    <a:pt x="607556" y="1143630"/>
                  </a:lnTo>
                  <a:lnTo>
                    <a:pt x="612320" y="1148394"/>
                  </a:lnTo>
                  <a:lnTo>
                    <a:pt x="607556" y="1153160"/>
                  </a:lnTo>
                  <a:lnTo>
                    <a:pt x="621848" y="1167454"/>
                  </a:lnTo>
                  <a:lnTo>
                    <a:pt x="631380" y="1181750"/>
                  </a:lnTo>
                  <a:lnTo>
                    <a:pt x="631380" y="1196046"/>
                  </a:lnTo>
                  <a:lnTo>
                    <a:pt x="617084" y="1205576"/>
                  </a:lnTo>
                  <a:lnTo>
                    <a:pt x="598024" y="1205576"/>
                  </a:lnTo>
                  <a:lnTo>
                    <a:pt x="569432" y="1186516"/>
                  </a:lnTo>
                  <a:lnTo>
                    <a:pt x="559904" y="1176986"/>
                  </a:lnTo>
                  <a:lnTo>
                    <a:pt x="559904" y="1167454"/>
                  </a:lnTo>
                  <a:lnTo>
                    <a:pt x="531312" y="1124568"/>
                  </a:lnTo>
                  <a:lnTo>
                    <a:pt x="526548" y="1115038"/>
                  </a:lnTo>
                  <a:lnTo>
                    <a:pt x="540844" y="1076918"/>
                  </a:lnTo>
                  <a:close/>
                  <a:moveTo>
                    <a:pt x="5572816" y="1062622"/>
                  </a:moveTo>
                  <a:lnTo>
                    <a:pt x="5577584" y="1067388"/>
                  </a:lnTo>
                  <a:lnTo>
                    <a:pt x="5591876" y="1067388"/>
                  </a:lnTo>
                  <a:lnTo>
                    <a:pt x="5601408" y="1076918"/>
                  </a:lnTo>
                  <a:lnTo>
                    <a:pt x="5596644" y="1110274"/>
                  </a:lnTo>
                  <a:lnTo>
                    <a:pt x="5587112" y="1129334"/>
                  </a:lnTo>
                  <a:lnTo>
                    <a:pt x="5582348" y="1134100"/>
                  </a:lnTo>
                  <a:lnTo>
                    <a:pt x="5563288" y="1129334"/>
                  </a:lnTo>
                  <a:lnTo>
                    <a:pt x="5553756" y="1119804"/>
                  </a:lnTo>
                  <a:lnTo>
                    <a:pt x="5548992" y="1110274"/>
                  </a:lnTo>
                  <a:lnTo>
                    <a:pt x="5544228" y="1095978"/>
                  </a:lnTo>
                  <a:lnTo>
                    <a:pt x="5539460" y="1091212"/>
                  </a:lnTo>
                  <a:lnTo>
                    <a:pt x="5534696" y="1081682"/>
                  </a:lnTo>
                  <a:lnTo>
                    <a:pt x="5534696" y="1076918"/>
                  </a:lnTo>
                  <a:close/>
                  <a:moveTo>
                    <a:pt x="5558520" y="1043560"/>
                  </a:moveTo>
                  <a:lnTo>
                    <a:pt x="5572816" y="1048326"/>
                  </a:lnTo>
                  <a:lnTo>
                    <a:pt x="5568052" y="1053092"/>
                  </a:lnTo>
                  <a:lnTo>
                    <a:pt x="5563288" y="1057856"/>
                  </a:lnTo>
                  <a:lnTo>
                    <a:pt x="5491808" y="1072152"/>
                  </a:lnTo>
                  <a:lnTo>
                    <a:pt x="5501340" y="1062622"/>
                  </a:lnTo>
                  <a:lnTo>
                    <a:pt x="5501340" y="1057856"/>
                  </a:lnTo>
                  <a:lnTo>
                    <a:pt x="5506104" y="1057856"/>
                  </a:lnTo>
                  <a:lnTo>
                    <a:pt x="5515636" y="1057856"/>
                  </a:lnTo>
                  <a:lnTo>
                    <a:pt x="5515636" y="1053092"/>
                  </a:lnTo>
                  <a:lnTo>
                    <a:pt x="5520400" y="1053092"/>
                  </a:lnTo>
                  <a:lnTo>
                    <a:pt x="5525164" y="1053092"/>
                  </a:lnTo>
                  <a:lnTo>
                    <a:pt x="5529932" y="1053092"/>
                  </a:lnTo>
                  <a:lnTo>
                    <a:pt x="5544228" y="1053092"/>
                  </a:lnTo>
                  <a:lnTo>
                    <a:pt x="5558520" y="1053092"/>
                  </a:lnTo>
                  <a:close/>
                  <a:moveTo>
                    <a:pt x="6273292" y="1029266"/>
                  </a:moveTo>
                  <a:lnTo>
                    <a:pt x="6306648" y="1034032"/>
                  </a:lnTo>
                  <a:lnTo>
                    <a:pt x="6316180" y="1034032"/>
                  </a:lnTo>
                  <a:lnTo>
                    <a:pt x="6330472" y="1038796"/>
                  </a:lnTo>
                  <a:lnTo>
                    <a:pt x="6344768" y="1038796"/>
                  </a:lnTo>
                  <a:lnTo>
                    <a:pt x="6349536" y="1038796"/>
                  </a:lnTo>
                  <a:lnTo>
                    <a:pt x="6378124" y="1062622"/>
                  </a:lnTo>
                  <a:lnTo>
                    <a:pt x="6392420" y="1076918"/>
                  </a:lnTo>
                  <a:lnTo>
                    <a:pt x="6411480" y="1091212"/>
                  </a:lnTo>
                  <a:lnTo>
                    <a:pt x="6425776" y="1095978"/>
                  </a:lnTo>
                  <a:lnTo>
                    <a:pt x="6416244" y="1110272"/>
                  </a:lnTo>
                  <a:lnTo>
                    <a:pt x="6392420" y="1115038"/>
                  </a:lnTo>
                  <a:lnTo>
                    <a:pt x="6387656" y="1115038"/>
                  </a:lnTo>
                  <a:lnTo>
                    <a:pt x="6368596" y="1110272"/>
                  </a:lnTo>
                  <a:lnTo>
                    <a:pt x="6354300" y="1110272"/>
                  </a:lnTo>
                  <a:lnTo>
                    <a:pt x="6344768" y="1100742"/>
                  </a:lnTo>
                  <a:lnTo>
                    <a:pt x="6340004" y="1086448"/>
                  </a:lnTo>
                  <a:lnTo>
                    <a:pt x="6330472" y="1053092"/>
                  </a:lnTo>
                  <a:lnTo>
                    <a:pt x="6311412" y="1062622"/>
                  </a:lnTo>
                  <a:lnTo>
                    <a:pt x="6292352" y="1048326"/>
                  </a:lnTo>
                  <a:lnTo>
                    <a:pt x="6287588" y="1048326"/>
                  </a:lnTo>
                  <a:lnTo>
                    <a:pt x="6287588" y="1053092"/>
                  </a:lnTo>
                  <a:lnTo>
                    <a:pt x="6278056" y="1043562"/>
                  </a:lnTo>
                  <a:lnTo>
                    <a:pt x="6273292" y="1034032"/>
                  </a:lnTo>
                  <a:close/>
                  <a:moveTo>
                    <a:pt x="4996240" y="1019736"/>
                  </a:moveTo>
                  <a:lnTo>
                    <a:pt x="5001004" y="1024502"/>
                  </a:lnTo>
                  <a:lnTo>
                    <a:pt x="5010536" y="1043562"/>
                  </a:lnTo>
                  <a:lnTo>
                    <a:pt x="5010536" y="1048326"/>
                  </a:lnTo>
                  <a:lnTo>
                    <a:pt x="5005768" y="1053092"/>
                  </a:lnTo>
                  <a:lnTo>
                    <a:pt x="4991472" y="1048326"/>
                  </a:lnTo>
                  <a:lnTo>
                    <a:pt x="4986708" y="1043562"/>
                  </a:lnTo>
                  <a:close/>
                  <a:moveTo>
                    <a:pt x="5525168" y="991144"/>
                  </a:moveTo>
                  <a:lnTo>
                    <a:pt x="5534696" y="995910"/>
                  </a:lnTo>
                  <a:lnTo>
                    <a:pt x="5539464" y="1000676"/>
                  </a:lnTo>
                  <a:lnTo>
                    <a:pt x="5529932" y="1010206"/>
                  </a:lnTo>
                  <a:lnTo>
                    <a:pt x="5520404" y="1010206"/>
                  </a:lnTo>
                  <a:lnTo>
                    <a:pt x="5506108" y="1000676"/>
                  </a:lnTo>
                  <a:lnTo>
                    <a:pt x="5510872" y="995910"/>
                  </a:lnTo>
                  <a:lnTo>
                    <a:pt x="5520404" y="995910"/>
                  </a:lnTo>
                  <a:close/>
                  <a:moveTo>
                    <a:pt x="4143280" y="991144"/>
                  </a:moveTo>
                  <a:lnTo>
                    <a:pt x="4148044" y="991144"/>
                  </a:lnTo>
                  <a:lnTo>
                    <a:pt x="4162340" y="991144"/>
                  </a:lnTo>
                  <a:lnTo>
                    <a:pt x="4167104" y="995910"/>
                  </a:lnTo>
                  <a:lnTo>
                    <a:pt x="4162340" y="1005440"/>
                  </a:lnTo>
                  <a:lnTo>
                    <a:pt x="4157576" y="1000676"/>
                  </a:lnTo>
                  <a:lnTo>
                    <a:pt x="4143280" y="1000676"/>
                  </a:lnTo>
                  <a:lnTo>
                    <a:pt x="4138516" y="1005440"/>
                  </a:lnTo>
                  <a:lnTo>
                    <a:pt x="4133752" y="1005440"/>
                  </a:lnTo>
                  <a:lnTo>
                    <a:pt x="4128984" y="1010206"/>
                  </a:lnTo>
                  <a:lnTo>
                    <a:pt x="4128984" y="1000676"/>
                  </a:lnTo>
                  <a:close/>
                  <a:moveTo>
                    <a:pt x="5806308" y="981616"/>
                  </a:moveTo>
                  <a:lnTo>
                    <a:pt x="5820604" y="981616"/>
                  </a:lnTo>
                  <a:lnTo>
                    <a:pt x="5839664" y="981616"/>
                  </a:lnTo>
                  <a:lnTo>
                    <a:pt x="5877788" y="991146"/>
                  </a:lnTo>
                  <a:lnTo>
                    <a:pt x="5911144" y="1005440"/>
                  </a:lnTo>
                  <a:lnTo>
                    <a:pt x="5939732" y="1024502"/>
                  </a:lnTo>
                  <a:lnTo>
                    <a:pt x="5973088" y="1038796"/>
                  </a:lnTo>
                  <a:lnTo>
                    <a:pt x="6011212" y="1043562"/>
                  </a:lnTo>
                  <a:lnTo>
                    <a:pt x="6035036" y="1038796"/>
                  </a:lnTo>
                  <a:lnTo>
                    <a:pt x="6054096" y="1043562"/>
                  </a:lnTo>
                  <a:lnTo>
                    <a:pt x="6058860" y="1048326"/>
                  </a:lnTo>
                  <a:lnTo>
                    <a:pt x="6073156" y="1057858"/>
                  </a:lnTo>
                  <a:lnTo>
                    <a:pt x="6068392" y="1067388"/>
                  </a:lnTo>
                  <a:lnTo>
                    <a:pt x="6068392" y="1081682"/>
                  </a:lnTo>
                  <a:lnTo>
                    <a:pt x="6073156" y="1095978"/>
                  </a:lnTo>
                  <a:lnTo>
                    <a:pt x="6082688" y="1115038"/>
                  </a:lnTo>
                  <a:lnTo>
                    <a:pt x="6092216" y="1129334"/>
                  </a:lnTo>
                  <a:lnTo>
                    <a:pt x="6096984" y="1138864"/>
                  </a:lnTo>
                  <a:lnTo>
                    <a:pt x="6092216" y="1157924"/>
                  </a:lnTo>
                  <a:lnTo>
                    <a:pt x="6092216" y="1162690"/>
                  </a:lnTo>
                  <a:lnTo>
                    <a:pt x="6077924" y="1176986"/>
                  </a:lnTo>
                  <a:lnTo>
                    <a:pt x="6073156" y="1196046"/>
                  </a:lnTo>
                  <a:lnTo>
                    <a:pt x="6077924" y="1215106"/>
                  </a:lnTo>
                  <a:lnTo>
                    <a:pt x="6077924" y="1234166"/>
                  </a:lnTo>
                  <a:lnTo>
                    <a:pt x="6077924" y="1253228"/>
                  </a:lnTo>
                  <a:lnTo>
                    <a:pt x="6077924" y="1267522"/>
                  </a:lnTo>
                  <a:lnTo>
                    <a:pt x="6087452" y="1286584"/>
                  </a:lnTo>
                  <a:lnTo>
                    <a:pt x="6111280" y="1334234"/>
                  </a:lnTo>
                  <a:lnTo>
                    <a:pt x="6130340" y="1367590"/>
                  </a:lnTo>
                  <a:lnTo>
                    <a:pt x="6135104" y="1348530"/>
                  </a:lnTo>
                  <a:lnTo>
                    <a:pt x="6130340" y="1329470"/>
                  </a:lnTo>
                  <a:lnTo>
                    <a:pt x="6135104" y="1319940"/>
                  </a:lnTo>
                  <a:lnTo>
                    <a:pt x="6144632" y="1319940"/>
                  </a:lnTo>
                  <a:lnTo>
                    <a:pt x="6154164" y="1319940"/>
                  </a:lnTo>
                  <a:lnTo>
                    <a:pt x="6158928" y="1329470"/>
                  </a:lnTo>
                  <a:lnTo>
                    <a:pt x="6158928" y="1348530"/>
                  </a:lnTo>
                  <a:lnTo>
                    <a:pt x="6163696" y="1381886"/>
                  </a:lnTo>
                  <a:lnTo>
                    <a:pt x="6177988" y="1386650"/>
                  </a:lnTo>
                  <a:lnTo>
                    <a:pt x="6187520" y="1381886"/>
                  </a:lnTo>
                  <a:lnTo>
                    <a:pt x="6187520" y="1391416"/>
                  </a:lnTo>
                  <a:lnTo>
                    <a:pt x="6187520" y="1410476"/>
                  </a:lnTo>
                  <a:lnTo>
                    <a:pt x="6192284" y="1424772"/>
                  </a:lnTo>
                  <a:lnTo>
                    <a:pt x="6197052" y="1434302"/>
                  </a:lnTo>
                  <a:lnTo>
                    <a:pt x="6216112" y="1448598"/>
                  </a:lnTo>
                  <a:lnTo>
                    <a:pt x="6225640" y="1448598"/>
                  </a:lnTo>
                  <a:lnTo>
                    <a:pt x="6249468" y="1453362"/>
                  </a:lnTo>
                  <a:lnTo>
                    <a:pt x="6268528" y="1453362"/>
                  </a:lnTo>
                  <a:lnTo>
                    <a:pt x="6287588" y="1448598"/>
                  </a:lnTo>
                  <a:lnTo>
                    <a:pt x="6297120" y="1439068"/>
                  </a:lnTo>
                  <a:lnTo>
                    <a:pt x="6311412" y="1424772"/>
                  </a:lnTo>
                  <a:lnTo>
                    <a:pt x="6344768" y="1396182"/>
                  </a:lnTo>
                  <a:lnTo>
                    <a:pt x="6354300" y="1381886"/>
                  </a:lnTo>
                  <a:lnTo>
                    <a:pt x="6368596" y="1358060"/>
                  </a:lnTo>
                  <a:lnTo>
                    <a:pt x="6368596" y="1353296"/>
                  </a:lnTo>
                  <a:lnTo>
                    <a:pt x="6406716" y="1329470"/>
                  </a:lnTo>
                  <a:lnTo>
                    <a:pt x="6411480" y="1319940"/>
                  </a:lnTo>
                  <a:lnTo>
                    <a:pt x="6416248" y="1305644"/>
                  </a:lnTo>
                  <a:lnTo>
                    <a:pt x="6425776" y="1286584"/>
                  </a:lnTo>
                  <a:lnTo>
                    <a:pt x="6430540" y="1281818"/>
                  </a:lnTo>
                  <a:lnTo>
                    <a:pt x="6463896" y="1272288"/>
                  </a:lnTo>
                  <a:lnTo>
                    <a:pt x="6497252" y="1267522"/>
                  </a:lnTo>
                  <a:lnTo>
                    <a:pt x="6535376" y="1253228"/>
                  </a:lnTo>
                  <a:lnTo>
                    <a:pt x="6549668" y="1243698"/>
                  </a:lnTo>
                  <a:lnTo>
                    <a:pt x="6549668" y="1234166"/>
                  </a:lnTo>
                  <a:lnTo>
                    <a:pt x="6544904" y="1219872"/>
                  </a:lnTo>
                  <a:lnTo>
                    <a:pt x="6544904" y="1215106"/>
                  </a:lnTo>
                  <a:lnTo>
                    <a:pt x="6549668" y="1205576"/>
                  </a:lnTo>
                  <a:lnTo>
                    <a:pt x="6583024" y="1191280"/>
                  </a:lnTo>
                  <a:lnTo>
                    <a:pt x="6621148" y="1172220"/>
                  </a:lnTo>
                  <a:lnTo>
                    <a:pt x="6649736" y="1157924"/>
                  </a:lnTo>
                  <a:lnTo>
                    <a:pt x="6668800" y="1157924"/>
                  </a:lnTo>
                  <a:lnTo>
                    <a:pt x="6683092" y="1167456"/>
                  </a:lnTo>
                  <a:lnTo>
                    <a:pt x="6697388" y="1176986"/>
                  </a:lnTo>
                  <a:lnTo>
                    <a:pt x="6783160" y="1205576"/>
                  </a:lnTo>
                  <a:lnTo>
                    <a:pt x="6797456" y="1215106"/>
                  </a:lnTo>
                  <a:lnTo>
                    <a:pt x="6806988" y="1224636"/>
                  </a:lnTo>
                  <a:lnTo>
                    <a:pt x="6826048" y="1234166"/>
                  </a:lnTo>
                  <a:lnTo>
                    <a:pt x="6845108" y="1238932"/>
                  </a:lnTo>
                  <a:lnTo>
                    <a:pt x="6859404" y="1243698"/>
                  </a:lnTo>
                  <a:lnTo>
                    <a:pt x="6878464" y="1253228"/>
                  </a:lnTo>
                  <a:lnTo>
                    <a:pt x="6911820" y="1272288"/>
                  </a:lnTo>
                  <a:lnTo>
                    <a:pt x="6959472" y="1291348"/>
                  </a:lnTo>
                  <a:lnTo>
                    <a:pt x="6973768" y="1291348"/>
                  </a:lnTo>
                  <a:lnTo>
                    <a:pt x="7016652" y="1291348"/>
                  </a:lnTo>
                  <a:lnTo>
                    <a:pt x="7026184" y="1296114"/>
                  </a:lnTo>
                  <a:lnTo>
                    <a:pt x="7030948" y="1300878"/>
                  </a:lnTo>
                  <a:lnTo>
                    <a:pt x="7040480" y="1305644"/>
                  </a:lnTo>
                  <a:lnTo>
                    <a:pt x="7088128" y="1305644"/>
                  </a:lnTo>
                  <a:lnTo>
                    <a:pt x="7097660" y="1310408"/>
                  </a:lnTo>
                  <a:lnTo>
                    <a:pt x="7107192" y="1319940"/>
                  </a:lnTo>
                  <a:lnTo>
                    <a:pt x="7111956" y="1334234"/>
                  </a:lnTo>
                  <a:lnTo>
                    <a:pt x="7145312" y="1334234"/>
                  </a:lnTo>
                  <a:lnTo>
                    <a:pt x="7145312" y="1920346"/>
                  </a:lnTo>
                  <a:lnTo>
                    <a:pt x="7140544" y="1934640"/>
                  </a:lnTo>
                  <a:lnTo>
                    <a:pt x="7131016" y="1963232"/>
                  </a:lnTo>
                  <a:lnTo>
                    <a:pt x="7126252" y="1982292"/>
                  </a:lnTo>
                  <a:lnTo>
                    <a:pt x="7135780" y="1996588"/>
                  </a:lnTo>
                  <a:lnTo>
                    <a:pt x="7145312" y="2006118"/>
                  </a:lnTo>
                  <a:lnTo>
                    <a:pt x="7145312" y="2353972"/>
                  </a:lnTo>
                  <a:lnTo>
                    <a:pt x="7135780" y="2349206"/>
                  </a:lnTo>
                  <a:lnTo>
                    <a:pt x="7116720" y="2334912"/>
                  </a:lnTo>
                  <a:lnTo>
                    <a:pt x="7097660" y="2311086"/>
                  </a:lnTo>
                  <a:lnTo>
                    <a:pt x="7083364" y="2296790"/>
                  </a:lnTo>
                  <a:lnTo>
                    <a:pt x="7069068" y="2277730"/>
                  </a:lnTo>
                  <a:lnTo>
                    <a:pt x="7007124" y="2225314"/>
                  </a:lnTo>
                  <a:lnTo>
                    <a:pt x="6992828" y="2211018"/>
                  </a:lnTo>
                  <a:lnTo>
                    <a:pt x="6992828" y="2206252"/>
                  </a:lnTo>
                  <a:lnTo>
                    <a:pt x="6992828" y="2201488"/>
                  </a:lnTo>
                  <a:lnTo>
                    <a:pt x="6997592" y="2191958"/>
                  </a:lnTo>
                  <a:lnTo>
                    <a:pt x="7011888" y="2168132"/>
                  </a:lnTo>
                  <a:lnTo>
                    <a:pt x="6997592" y="2182428"/>
                  </a:lnTo>
                  <a:lnTo>
                    <a:pt x="6983296" y="2196722"/>
                  </a:lnTo>
                  <a:lnTo>
                    <a:pt x="6959472" y="2196722"/>
                  </a:lnTo>
                  <a:lnTo>
                    <a:pt x="6940412" y="2201488"/>
                  </a:lnTo>
                  <a:lnTo>
                    <a:pt x="6916584" y="2206252"/>
                  </a:lnTo>
                  <a:lnTo>
                    <a:pt x="6897524" y="2211018"/>
                  </a:lnTo>
                  <a:lnTo>
                    <a:pt x="6887996" y="2206252"/>
                  </a:lnTo>
                  <a:lnTo>
                    <a:pt x="6878464" y="2196722"/>
                  </a:lnTo>
                  <a:lnTo>
                    <a:pt x="6878464" y="2187192"/>
                  </a:lnTo>
                  <a:lnTo>
                    <a:pt x="6873700" y="2177662"/>
                  </a:lnTo>
                  <a:lnTo>
                    <a:pt x="6868932" y="2191958"/>
                  </a:lnTo>
                  <a:lnTo>
                    <a:pt x="6849872" y="2201488"/>
                  </a:lnTo>
                  <a:lnTo>
                    <a:pt x="6826048" y="2220548"/>
                  </a:lnTo>
                  <a:lnTo>
                    <a:pt x="6821284" y="2215784"/>
                  </a:lnTo>
                  <a:lnTo>
                    <a:pt x="6816516" y="2211018"/>
                  </a:lnTo>
                  <a:lnTo>
                    <a:pt x="6816516" y="2201488"/>
                  </a:lnTo>
                  <a:lnTo>
                    <a:pt x="6821284" y="2196722"/>
                  </a:lnTo>
                  <a:lnTo>
                    <a:pt x="6821284" y="2187192"/>
                  </a:lnTo>
                  <a:lnTo>
                    <a:pt x="6826048" y="2163366"/>
                  </a:lnTo>
                  <a:lnTo>
                    <a:pt x="6835576" y="2153836"/>
                  </a:lnTo>
                  <a:lnTo>
                    <a:pt x="6845108" y="2130012"/>
                  </a:lnTo>
                  <a:lnTo>
                    <a:pt x="6849872" y="2120480"/>
                  </a:lnTo>
                  <a:lnTo>
                    <a:pt x="6849872" y="2115716"/>
                  </a:lnTo>
                  <a:lnTo>
                    <a:pt x="6845108" y="2106186"/>
                  </a:lnTo>
                  <a:lnTo>
                    <a:pt x="6835576" y="2101420"/>
                  </a:lnTo>
                  <a:lnTo>
                    <a:pt x="6826048" y="2096656"/>
                  </a:lnTo>
                  <a:lnTo>
                    <a:pt x="6821284" y="2082360"/>
                  </a:lnTo>
                  <a:lnTo>
                    <a:pt x="6816516" y="2072830"/>
                  </a:lnTo>
                  <a:lnTo>
                    <a:pt x="6802220" y="2068064"/>
                  </a:lnTo>
                  <a:lnTo>
                    <a:pt x="6797456" y="2063300"/>
                  </a:lnTo>
                  <a:lnTo>
                    <a:pt x="6806988" y="2053768"/>
                  </a:lnTo>
                  <a:lnTo>
                    <a:pt x="6816516" y="2053768"/>
                  </a:lnTo>
                  <a:lnTo>
                    <a:pt x="6826048" y="2053768"/>
                  </a:lnTo>
                  <a:lnTo>
                    <a:pt x="6840344" y="2058534"/>
                  </a:lnTo>
                  <a:lnTo>
                    <a:pt x="6845108" y="2058534"/>
                  </a:lnTo>
                  <a:lnTo>
                    <a:pt x="6864168" y="2053768"/>
                  </a:lnTo>
                  <a:lnTo>
                    <a:pt x="6854640" y="2053768"/>
                  </a:lnTo>
                  <a:lnTo>
                    <a:pt x="6845108" y="2053768"/>
                  </a:lnTo>
                  <a:lnTo>
                    <a:pt x="6811752" y="2044238"/>
                  </a:lnTo>
                  <a:lnTo>
                    <a:pt x="6792692" y="2034708"/>
                  </a:lnTo>
                  <a:lnTo>
                    <a:pt x="6773632" y="2010882"/>
                  </a:lnTo>
                  <a:lnTo>
                    <a:pt x="6773632" y="2006118"/>
                  </a:lnTo>
                  <a:lnTo>
                    <a:pt x="6787928" y="2006118"/>
                  </a:lnTo>
                  <a:lnTo>
                    <a:pt x="6816516" y="2001352"/>
                  </a:lnTo>
                  <a:lnTo>
                    <a:pt x="6806988" y="1987058"/>
                  </a:lnTo>
                  <a:lnTo>
                    <a:pt x="6792692" y="1977526"/>
                  </a:lnTo>
                  <a:lnTo>
                    <a:pt x="6787928" y="1963232"/>
                  </a:lnTo>
                  <a:lnTo>
                    <a:pt x="6783160" y="1953702"/>
                  </a:lnTo>
                  <a:lnTo>
                    <a:pt x="6764100" y="1934640"/>
                  </a:lnTo>
                  <a:lnTo>
                    <a:pt x="6749804" y="1920346"/>
                  </a:lnTo>
                  <a:lnTo>
                    <a:pt x="6740276" y="1882224"/>
                  </a:lnTo>
                  <a:lnTo>
                    <a:pt x="6725980" y="1858398"/>
                  </a:lnTo>
                  <a:lnTo>
                    <a:pt x="6730744" y="1848868"/>
                  </a:lnTo>
                  <a:lnTo>
                    <a:pt x="6740276" y="1839338"/>
                  </a:lnTo>
                  <a:lnTo>
                    <a:pt x="6725980" y="1839338"/>
                  </a:lnTo>
                  <a:lnTo>
                    <a:pt x="6711684" y="1834572"/>
                  </a:lnTo>
                  <a:lnTo>
                    <a:pt x="6721216" y="1820278"/>
                  </a:lnTo>
                  <a:lnTo>
                    <a:pt x="6735512" y="1815512"/>
                  </a:lnTo>
                  <a:lnTo>
                    <a:pt x="6721216" y="1815512"/>
                  </a:lnTo>
                  <a:lnTo>
                    <a:pt x="6706920" y="1820278"/>
                  </a:lnTo>
                  <a:lnTo>
                    <a:pt x="6702152" y="1820278"/>
                  </a:lnTo>
                  <a:lnTo>
                    <a:pt x="6692624" y="1820278"/>
                  </a:lnTo>
                  <a:lnTo>
                    <a:pt x="6692624" y="1815512"/>
                  </a:lnTo>
                  <a:lnTo>
                    <a:pt x="6692624" y="1805982"/>
                  </a:lnTo>
                  <a:lnTo>
                    <a:pt x="6692624" y="1791686"/>
                  </a:lnTo>
                  <a:lnTo>
                    <a:pt x="6687860" y="1782156"/>
                  </a:lnTo>
                  <a:lnTo>
                    <a:pt x="6678328" y="1772626"/>
                  </a:lnTo>
                  <a:lnTo>
                    <a:pt x="6668800" y="1767862"/>
                  </a:lnTo>
                  <a:lnTo>
                    <a:pt x="6664032" y="1763096"/>
                  </a:lnTo>
                  <a:lnTo>
                    <a:pt x="6654504" y="1763096"/>
                  </a:lnTo>
                  <a:lnTo>
                    <a:pt x="6649736" y="1758330"/>
                  </a:lnTo>
                  <a:lnTo>
                    <a:pt x="6644972" y="1748800"/>
                  </a:lnTo>
                  <a:lnTo>
                    <a:pt x="6573496" y="1710680"/>
                  </a:lnTo>
                  <a:lnTo>
                    <a:pt x="6568732" y="1701150"/>
                  </a:lnTo>
                  <a:lnTo>
                    <a:pt x="6563964" y="1705914"/>
                  </a:lnTo>
                  <a:lnTo>
                    <a:pt x="6554436" y="1705914"/>
                  </a:lnTo>
                  <a:lnTo>
                    <a:pt x="6544904" y="1701150"/>
                  </a:lnTo>
                  <a:lnTo>
                    <a:pt x="6540140" y="1696384"/>
                  </a:lnTo>
                  <a:lnTo>
                    <a:pt x="6530608" y="1696384"/>
                  </a:lnTo>
                  <a:lnTo>
                    <a:pt x="6521080" y="1691620"/>
                  </a:lnTo>
                  <a:lnTo>
                    <a:pt x="6511548" y="1691620"/>
                  </a:lnTo>
                  <a:lnTo>
                    <a:pt x="6502020" y="1691620"/>
                  </a:lnTo>
                  <a:lnTo>
                    <a:pt x="6463896" y="1677324"/>
                  </a:lnTo>
                  <a:lnTo>
                    <a:pt x="6430540" y="1663028"/>
                  </a:lnTo>
                  <a:lnTo>
                    <a:pt x="6401952" y="1653498"/>
                  </a:lnTo>
                  <a:lnTo>
                    <a:pt x="6382892" y="1643968"/>
                  </a:lnTo>
                  <a:lnTo>
                    <a:pt x="6363828" y="1634438"/>
                  </a:lnTo>
                  <a:lnTo>
                    <a:pt x="6325708" y="1624908"/>
                  </a:lnTo>
                  <a:lnTo>
                    <a:pt x="6282824" y="1620142"/>
                  </a:lnTo>
                  <a:lnTo>
                    <a:pt x="6268528" y="1620142"/>
                  </a:lnTo>
                  <a:lnTo>
                    <a:pt x="6254232" y="1620142"/>
                  </a:lnTo>
                  <a:lnTo>
                    <a:pt x="6244700" y="1620142"/>
                  </a:lnTo>
                  <a:lnTo>
                    <a:pt x="6173224" y="1582022"/>
                  </a:lnTo>
                  <a:lnTo>
                    <a:pt x="6163696" y="1562960"/>
                  </a:lnTo>
                  <a:lnTo>
                    <a:pt x="6163696" y="1553430"/>
                  </a:lnTo>
                  <a:lnTo>
                    <a:pt x="6163696" y="1543900"/>
                  </a:lnTo>
                  <a:lnTo>
                    <a:pt x="6192284" y="1539136"/>
                  </a:lnTo>
                  <a:lnTo>
                    <a:pt x="6173224" y="1539136"/>
                  </a:lnTo>
                  <a:lnTo>
                    <a:pt x="6163696" y="1539136"/>
                  </a:lnTo>
                  <a:lnTo>
                    <a:pt x="6149400" y="1548666"/>
                  </a:lnTo>
                  <a:lnTo>
                    <a:pt x="6139868" y="1548666"/>
                  </a:lnTo>
                  <a:lnTo>
                    <a:pt x="6130340" y="1543900"/>
                  </a:lnTo>
                  <a:lnTo>
                    <a:pt x="6116044" y="1539136"/>
                  </a:lnTo>
                  <a:lnTo>
                    <a:pt x="6096984" y="1543900"/>
                  </a:lnTo>
                  <a:lnTo>
                    <a:pt x="6087452" y="1534370"/>
                  </a:lnTo>
                  <a:lnTo>
                    <a:pt x="6082688" y="1524840"/>
                  </a:lnTo>
                  <a:lnTo>
                    <a:pt x="6077924" y="1520074"/>
                  </a:lnTo>
                  <a:lnTo>
                    <a:pt x="6073156" y="1520074"/>
                  </a:lnTo>
                  <a:lnTo>
                    <a:pt x="6063628" y="1524840"/>
                  </a:lnTo>
                  <a:lnTo>
                    <a:pt x="6054096" y="1520074"/>
                  </a:lnTo>
                  <a:lnTo>
                    <a:pt x="6044568" y="1515310"/>
                  </a:lnTo>
                  <a:lnTo>
                    <a:pt x="6039800" y="1505780"/>
                  </a:lnTo>
                  <a:lnTo>
                    <a:pt x="6035036" y="1501014"/>
                  </a:lnTo>
                  <a:lnTo>
                    <a:pt x="6025504" y="1496248"/>
                  </a:lnTo>
                  <a:lnTo>
                    <a:pt x="6011212" y="1486718"/>
                  </a:lnTo>
                  <a:lnTo>
                    <a:pt x="6006444" y="1467658"/>
                  </a:lnTo>
                  <a:lnTo>
                    <a:pt x="6006444" y="1443832"/>
                  </a:lnTo>
                  <a:lnTo>
                    <a:pt x="6006444" y="1434302"/>
                  </a:lnTo>
                  <a:lnTo>
                    <a:pt x="6020740" y="1420006"/>
                  </a:lnTo>
                  <a:lnTo>
                    <a:pt x="6030272" y="1400946"/>
                  </a:lnTo>
                  <a:lnTo>
                    <a:pt x="6020740" y="1400946"/>
                  </a:lnTo>
                  <a:lnTo>
                    <a:pt x="6006444" y="1405712"/>
                  </a:lnTo>
                  <a:lnTo>
                    <a:pt x="6006444" y="1415242"/>
                  </a:lnTo>
                  <a:lnTo>
                    <a:pt x="6001680" y="1424772"/>
                  </a:lnTo>
                  <a:lnTo>
                    <a:pt x="6001680" y="1453362"/>
                  </a:lnTo>
                  <a:lnTo>
                    <a:pt x="5992148" y="1458128"/>
                  </a:lnTo>
                  <a:lnTo>
                    <a:pt x="5982620" y="1458128"/>
                  </a:lnTo>
                  <a:lnTo>
                    <a:pt x="5982620" y="1477188"/>
                  </a:lnTo>
                  <a:lnTo>
                    <a:pt x="5977856" y="1491484"/>
                  </a:lnTo>
                  <a:lnTo>
                    <a:pt x="5963560" y="1510544"/>
                  </a:lnTo>
                  <a:lnTo>
                    <a:pt x="5963560" y="1515310"/>
                  </a:lnTo>
                  <a:lnTo>
                    <a:pt x="5963560" y="1524840"/>
                  </a:lnTo>
                  <a:lnTo>
                    <a:pt x="5963560" y="1534370"/>
                  </a:lnTo>
                  <a:lnTo>
                    <a:pt x="5939732" y="1562960"/>
                  </a:lnTo>
                  <a:lnTo>
                    <a:pt x="5930204" y="1562960"/>
                  </a:lnTo>
                  <a:lnTo>
                    <a:pt x="5911144" y="1562960"/>
                  </a:lnTo>
                  <a:lnTo>
                    <a:pt x="5896848" y="1567726"/>
                  </a:lnTo>
                  <a:lnTo>
                    <a:pt x="5887316" y="1558196"/>
                  </a:lnTo>
                  <a:lnTo>
                    <a:pt x="5877788" y="1553430"/>
                  </a:lnTo>
                  <a:lnTo>
                    <a:pt x="5873020" y="1543900"/>
                  </a:lnTo>
                  <a:lnTo>
                    <a:pt x="5868256" y="1524840"/>
                  </a:lnTo>
                  <a:lnTo>
                    <a:pt x="5863492" y="1505780"/>
                  </a:lnTo>
                  <a:lnTo>
                    <a:pt x="5877788" y="1481954"/>
                  </a:lnTo>
                  <a:lnTo>
                    <a:pt x="5873020" y="1458128"/>
                  </a:lnTo>
                  <a:lnTo>
                    <a:pt x="5858728" y="1439068"/>
                  </a:lnTo>
                  <a:lnTo>
                    <a:pt x="5830136" y="1415242"/>
                  </a:lnTo>
                  <a:lnTo>
                    <a:pt x="5796780" y="1391416"/>
                  </a:lnTo>
                  <a:lnTo>
                    <a:pt x="5782484" y="1386650"/>
                  </a:lnTo>
                  <a:lnTo>
                    <a:pt x="5758660" y="1381886"/>
                  </a:lnTo>
                  <a:lnTo>
                    <a:pt x="5753892" y="1381886"/>
                  </a:lnTo>
                  <a:lnTo>
                    <a:pt x="5744364" y="1372356"/>
                  </a:lnTo>
                  <a:lnTo>
                    <a:pt x="5739600" y="1362826"/>
                  </a:lnTo>
                  <a:lnTo>
                    <a:pt x="5753892" y="1358060"/>
                  </a:lnTo>
                  <a:lnTo>
                    <a:pt x="5777720" y="1343764"/>
                  </a:lnTo>
                  <a:lnTo>
                    <a:pt x="5792016" y="1343764"/>
                  </a:lnTo>
                  <a:lnTo>
                    <a:pt x="5834900" y="1353296"/>
                  </a:lnTo>
                  <a:lnTo>
                    <a:pt x="5844432" y="1358060"/>
                  </a:lnTo>
                  <a:lnTo>
                    <a:pt x="5858728" y="1362826"/>
                  </a:lnTo>
                  <a:lnTo>
                    <a:pt x="5882552" y="1339000"/>
                  </a:lnTo>
                  <a:lnTo>
                    <a:pt x="5906376" y="1315174"/>
                  </a:lnTo>
                  <a:lnTo>
                    <a:pt x="5920672" y="1310408"/>
                  </a:lnTo>
                  <a:lnTo>
                    <a:pt x="5930204" y="1305644"/>
                  </a:lnTo>
                  <a:lnTo>
                    <a:pt x="5939732" y="1310408"/>
                  </a:lnTo>
                  <a:lnTo>
                    <a:pt x="5963560" y="1319940"/>
                  </a:lnTo>
                  <a:lnTo>
                    <a:pt x="5982620" y="1324704"/>
                  </a:lnTo>
                  <a:lnTo>
                    <a:pt x="5996916" y="1324704"/>
                  </a:lnTo>
                  <a:lnTo>
                    <a:pt x="6001680" y="1329470"/>
                  </a:lnTo>
                  <a:lnTo>
                    <a:pt x="6006444" y="1334234"/>
                  </a:lnTo>
                  <a:lnTo>
                    <a:pt x="6011212" y="1324704"/>
                  </a:lnTo>
                  <a:lnTo>
                    <a:pt x="6015976" y="1310408"/>
                  </a:lnTo>
                  <a:lnTo>
                    <a:pt x="6030272" y="1305644"/>
                  </a:lnTo>
                  <a:lnTo>
                    <a:pt x="6035036" y="1300878"/>
                  </a:lnTo>
                  <a:lnTo>
                    <a:pt x="6039800" y="1300878"/>
                  </a:lnTo>
                  <a:lnTo>
                    <a:pt x="6039800" y="1286584"/>
                  </a:lnTo>
                  <a:lnTo>
                    <a:pt x="6020740" y="1281818"/>
                  </a:lnTo>
                  <a:lnTo>
                    <a:pt x="6030272" y="1272288"/>
                  </a:lnTo>
                  <a:lnTo>
                    <a:pt x="6039800" y="1267522"/>
                  </a:lnTo>
                  <a:lnTo>
                    <a:pt x="6044568" y="1262758"/>
                  </a:lnTo>
                  <a:lnTo>
                    <a:pt x="6044568" y="1253228"/>
                  </a:lnTo>
                  <a:lnTo>
                    <a:pt x="6011212" y="1267522"/>
                  </a:lnTo>
                  <a:lnTo>
                    <a:pt x="5977856" y="1272288"/>
                  </a:lnTo>
                  <a:lnTo>
                    <a:pt x="5954028" y="1272288"/>
                  </a:lnTo>
                  <a:lnTo>
                    <a:pt x="5934968" y="1272288"/>
                  </a:lnTo>
                  <a:lnTo>
                    <a:pt x="5892084" y="1281818"/>
                  </a:lnTo>
                  <a:lnTo>
                    <a:pt x="5877788" y="1281818"/>
                  </a:lnTo>
                  <a:lnTo>
                    <a:pt x="5844432" y="1277052"/>
                  </a:lnTo>
                  <a:lnTo>
                    <a:pt x="5820604" y="1272288"/>
                  </a:lnTo>
                  <a:lnTo>
                    <a:pt x="5806308" y="1277052"/>
                  </a:lnTo>
                  <a:lnTo>
                    <a:pt x="5792016" y="1277052"/>
                  </a:lnTo>
                  <a:lnTo>
                    <a:pt x="5777720" y="1267522"/>
                  </a:lnTo>
                  <a:lnTo>
                    <a:pt x="5763424" y="1253228"/>
                  </a:lnTo>
                  <a:lnTo>
                    <a:pt x="5758660" y="1243698"/>
                  </a:lnTo>
                  <a:lnTo>
                    <a:pt x="5749128" y="1238932"/>
                  </a:lnTo>
                  <a:lnTo>
                    <a:pt x="5744364" y="1229402"/>
                  </a:lnTo>
                  <a:lnTo>
                    <a:pt x="5734832" y="1191280"/>
                  </a:lnTo>
                  <a:lnTo>
                    <a:pt x="5730068" y="1167456"/>
                  </a:lnTo>
                  <a:lnTo>
                    <a:pt x="5715772" y="1167456"/>
                  </a:lnTo>
                  <a:lnTo>
                    <a:pt x="5701476" y="1167456"/>
                  </a:lnTo>
                  <a:lnTo>
                    <a:pt x="5634764" y="1143630"/>
                  </a:lnTo>
                  <a:lnTo>
                    <a:pt x="5625236" y="1148394"/>
                  </a:lnTo>
                  <a:lnTo>
                    <a:pt x="5615704" y="1153160"/>
                  </a:lnTo>
                  <a:lnTo>
                    <a:pt x="5606176" y="1153160"/>
                  </a:lnTo>
                  <a:lnTo>
                    <a:pt x="5596644" y="1153160"/>
                  </a:lnTo>
                  <a:lnTo>
                    <a:pt x="5587112" y="1148394"/>
                  </a:lnTo>
                  <a:lnTo>
                    <a:pt x="5587112" y="1143630"/>
                  </a:lnTo>
                  <a:lnTo>
                    <a:pt x="5596644" y="1124568"/>
                  </a:lnTo>
                  <a:lnTo>
                    <a:pt x="5601408" y="1119804"/>
                  </a:lnTo>
                  <a:lnTo>
                    <a:pt x="5610940" y="1115038"/>
                  </a:lnTo>
                  <a:lnTo>
                    <a:pt x="5615704" y="1105508"/>
                  </a:lnTo>
                  <a:lnTo>
                    <a:pt x="5625236" y="1081682"/>
                  </a:lnTo>
                  <a:lnTo>
                    <a:pt x="5630000" y="1072152"/>
                  </a:lnTo>
                  <a:lnTo>
                    <a:pt x="5625236" y="1067388"/>
                  </a:lnTo>
                  <a:lnTo>
                    <a:pt x="5625236" y="1057858"/>
                  </a:lnTo>
                  <a:lnTo>
                    <a:pt x="5634764" y="1057858"/>
                  </a:lnTo>
                  <a:lnTo>
                    <a:pt x="5658592" y="1048326"/>
                  </a:lnTo>
                  <a:lnTo>
                    <a:pt x="5711008" y="1034032"/>
                  </a:lnTo>
                  <a:lnTo>
                    <a:pt x="5725304" y="1029266"/>
                  </a:lnTo>
                  <a:lnTo>
                    <a:pt x="5734832" y="1014970"/>
                  </a:lnTo>
                  <a:lnTo>
                    <a:pt x="5749128" y="1010206"/>
                  </a:lnTo>
                  <a:lnTo>
                    <a:pt x="5758660" y="1000676"/>
                  </a:lnTo>
                  <a:lnTo>
                    <a:pt x="5763424" y="995910"/>
                  </a:lnTo>
                  <a:close/>
                  <a:moveTo>
                    <a:pt x="1446216" y="976850"/>
                  </a:moveTo>
                  <a:lnTo>
                    <a:pt x="1460512" y="991146"/>
                  </a:lnTo>
                  <a:lnTo>
                    <a:pt x="1460512" y="1000676"/>
                  </a:lnTo>
                  <a:lnTo>
                    <a:pt x="1455748" y="1005440"/>
                  </a:lnTo>
                  <a:lnTo>
                    <a:pt x="1450984" y="1019736"/>
                  </a:lnTo>
                  <a:lnTo>
                    <a:pt x="1446216" y="1019736"/>
                  </a:lnTo>
                  <a:lnTo>
                    <a:pt x="1436688" y="1014970"/>
                  </a:lnTo>
                  <a:lnTo>
                    <a:pt x="1427156" y="1029266"/>
                  </a:lnTo>
                  <a:lnTo>
                    <a:pt x="1422392" y="1010206"/>
                  </a:lnTo>
                  <a:lnTo>
                    <a:pt x="1412864" y="995910"/>
                  </a:lnTo>
                  <a:lnTo>
                    <a:pt x="1417628" y="986380"/>
                  </a:lnTo>
                  <a:lnTo>
                    <a:pt x="1422392" y="986380"/>
                  </a:lnTo>
                  <a:lnTo>
                    <a:pt x="1427156" y="986380"/>
                  </a:lnTo>
                  <a:close/>
                  <a:moveTo>
                    <a:pt x="5043888" y="972084"/>
                  </a:moveTo>
                  <a:lnTo>
                    <a:pt x="5053420" y="976850"/>
                  </a:lnTo>
                  <a:lnTo>
                    <a:pt x="5067716" y="1000676"/>
                  </a:lnTo>
                  <a:lnTo>
                    <a:pt x="5058184" y="1019736"/>
                  </a:lnTo>
                  <a:lnTo>
                    <a:pt x="5062948" y="1034032"/>
                  </a:lnTo>
                  <a:lnTo>
                    <a:pt x="5086776" y="1034032"/>
                  </a:lnTo>
                  <a:lnTo>
                    <a:pt x="5091540" y="1038796"/>
                  </a:lnTo>
                  <a:lnTo>
                    <a:pt x="5096304" y="1043562"/>
                  </a:lnTo>
                  <a:lnTo>
                    <a:pt x="5101072" y="1053092"/>
                  </a:lnTo>
                  <a:lnTo>
                    <a:pt x="5096304" y="1057856"/>
                  </a:lnTo>
                  <a:lnTo>
                    <a:pt x="5082008" y="1062622"/>
                  </a:lnTo>
                  <a:lnTo>
                    <a:pt x="5067716" y="1053092"/>
                  </a:lnTo>
                  <a:lnTo>
                    <a:pt x="5062948" y="1048326"/>
                  </a:lnTo>
                  <a:lnTo>
                    <a:pt x="5058184" y="1043562"/>
                  </a:lnTo>
                  <a:lnTo>
                    <a:pt x="5039124" y="1053092"/>
                  </a:lnTo>
                  <a:lnTo>
                    <a:pt x="5034360" y="1053092"/>
                  </a:lnTo>
                  <a:lnTo>
                    <a:pt x="5029592" y="1043562"/>
                  </a:lnTo>
                  <a:lnTo>
                    <a:pt x="5034360" y="1024502"/>
                  </a:lnTo>
                  <a:lnTo>
                    <a:pt x="5020064" y="1019736"/>
                  </a:lnTo>
                  <a:lnTo>
                    <a:pt x="5010532" y="1005440"/>
                  </a:lnTo>
                  <a:lnTo>
                    <a:pt x="5010532" y="995910"/>
                  </a:lnTo>
                  <a:lnTo>
                    <a:pt x="5015300" y="986380"/>
                  </a:lnTo>
                  <a:lnTo>
                    <a:pt x="5015300" y="976850"/>
                  </a:lnTo>
                  <a:lnTo>
                    <a:pt x="5020064" y="976850"/>
                  </a:lnTo>
                  <a:lnTo>
                    <a:pt x="5034360" y="991146"/>
                  </a:lnTo>
                  <a:lnTo>
                    <a:pt x="5039124" y="976850"/>
                  </a:lnTo>
                  <a:close/>
                  <a:moveTo>
                    <a:pt x="4981944" y="967320"/>
                  </a:moveTo>
                  <a:lnTo>
                    <a:pt x="4991472" y="967320"/>
                  </a:lnTo>
                  <a:lnTo>
                    <a:pt x="5005768" y="972084"/>
                  </a:lnTo>
                  <a:lnTo>
                    <a:pt x="5001004" y="976850"/>
                  </a:lnTo>
                  <a:lnTo>
                    <a:pt x="5005768" y="986380"/>
                  </a:lnTo>
                  <a:lnTo>
                    <a:pt x="5001004" y="1005440"/>
                  </a:lnTo>
                  <a:lnTo>
                    <a:pt x="4991472" y="1005440"/>
                  </a:lnTo>
                  <a:lnTo>
                    <a:pt x="4981944" y="1005440"/>
                  </a:lnTo>
                  <a:lnTo>
                    <a:pt x="4977176" y="991144"/>
                  </a:lnTo>
                  <a:close/>
                  <a:moveTo>
                    <a:pt x="1298500" y="962554"/>
                  </a:moveTo>
                  <a:lnTo>
                    <a:pt x="1308028" y="962554"/>
                  </a:lnTo>
                  <a:lnTo>
                    <a:pt x="1327088" y="967320"/>
                  </a:lnTo>
                  <a:lnTo>
                    <a:pt x="1331856" y="976850"/>
                  </a:lnTo>
                  <a:lnTo>
                    <a:pt x="1327088" y="981614"/>
                  </a:lnTo>
                  <a:lnTo>
                    <a:pt x="1308028" y="986380"/>
                  </a:lnTo>
                  <a:lnTo>
                    <a:pt x="1284204" y="981614"/>
                  </a:lnTo>
                  <a:lnTo>
                    <a:pt x="1288968" y="972084"/>
                  </a:lnTo>
                  <a:close/>
                  <a:moveTo>
                    <a:pt x="5558524" y="924432"/>
                  </a:moveTo>
                  <a:lnTo>
                    <a:pt x="5587116" y="933964"/>
                  </a:lnTo>
                  <a:lnTo>
                    <a:pt x="5591880" y="933964"/>
                  </a:lnTo>
                  <a:lnTo>
                    <a:pt x="5630000" y="948258"/>
                  </a:lnTo>
                  <a:lnTo>
                    <a:pt x="5639532" y="957788"/>
                  </a:lnTo>
                  <a:lnTo>
                    <a:pt x="5634764" y="962554"/>
                  </a:lnTo>
                  <a:lnTo>
                    <a:pt x="5639532" y="972084"/>
                  </a:lnTo>
                  <a:lnTo>
                    <a:pt x="5625236" y="981614"/>
                  </a:lnTo>
                  <a:lnTo>
                    <a:pt x="5620472" y="986380"/>
                  </a:lnTo>
                  <a:lnTo>
                    <a:pt x="5615704" y="981614"/>
                  </a:lnTo>
                  <a:lnTo>
                    <a:pt x="5601408" y="976850"/>
                  </a:lnTo>
                  <a:lnTo>
                    <a:pt x="5587116" y="981614"/>
                  </a:lnTo>
                  <a:lnTo>
                    <a:pt x="5577584" y="976850"/>
                  </a:lnTo>
                  <a:lnTo>
                    <a:pt x="5572820" y="967320"/>
                  </a:lnTo>
                  <a:lnTo>
                    <a:pt x="5558524" y="962554"/>
                  </a:lnTo>
                  <a:lnTo>
                    <a:pt x="5539464" y="938728"/>
                  </a:lnTo>
                  <a:lnTo>
                    <a:pt x="5529932" y="938728"/>
                  </a:lnTo>
                  <a:lnTo>
                    <a:pt x="5529932" y="948258"/>
                  </a:lnTo>
                  <a:lnTo>
                    <a:pt x="5539464" y="953024"/>
                  </a:lnTo>
                  <a:lnTo>
                    <a:pt x="5548992" y="972084"/>
                  </a:lnTo>
                  <a:lnTo>
                    <a:pt x="5553760" y="972084"/>
                  </a:lnTo>
                  <a:lnTo>
                    <a:pt x="5563288" y="972084"/>
                  </a:lnTo>
                  <a:lnTo>
                    <a:pt x="5572820" y="976850"/>
                  </a:lnTo>
                  <a:lnTo>
                    <a:pt x="5572820" y="991144"/>
                  </a:lnTo>
                  <a:lnTo>
                    <a:pt x="5548992" y="995910"/>
                  </a:lnTo>
                  <a:lnTo>
                    <a:pt x="5539464" y="986380"/>
                  </a:lnTo>
                  <a:lnTo>
                    <a:pt x="5539464" y="972084"/>
                  </a:lnTo>
                  <a:lnTo>
                    <a:pt x="5525168" y="976850"/>
                  </a:lnTo>
                  <a:lnTo>
                    <a:pt x="5520404" y="981614"/>
                  </a:lnTo>
                  <a:lnTo>
                    <a:pt x="5515636" y="981614"/>
                  </a:lnTo>
                  <a:lnTo>
                    <a:pt x="5510872" y="967320"/>
                  </a:lnTo>
                  <a:lnTo>
                    <a:pt x="5482280" y="967320"/>
                  </a:lnTo>
                  <a:lnTo>
                    <a:pt x="5467984" y="957788"/>
                  </a:lnTo>
                  <a:lnTo>
                    <a:pt x="5477516" y="948258"/>
                  </a:lnTo>
                  <a:lnTo>
                    <a:pt x="5477516" y="943494"/>
                  </a:lnTo>
                  <a:lnTo>
                    <a:pt x="5487048" y="938728"/>
                  </a:lnTo>
                  <a:lnTo>
                    <a:pt x="5496576" y="938728"/>
                  </a:lnTo>
                  <a:lnTo>
                    <a:pt x="5510872" y="933964"/>
                  </a:lnTo>
                  <a:lnTo>
                    <a:pt x="5515636" y="938728"/>
                  </a:lnTo>
                  <a:lnTo>
                    <a:pt x="5520404" y="933964"/>
                  </a:lnTo>
                  <a:lnTo>
                    <a:pt x="5544228" y="929198"/>
                  </a:lnTo>
                  <a:close/>
                  <a:moveTo>
                    <a:pt x="1455748" y="924432"/>
                  </a:moveTo>
                  <a:lnTo>
                    <a:pt x="1470044" y="929198"/>
                  </a:lnTo>
                  <a:lnTo>
                    <a:pt x="1474808" y="933964"/>
                  </a:lnTo>
                  <a:lnTo>
                    <a:pt x="1470044" y="938728"/>
                  </a:lnTo>
                  <a:lnTo>
                    <a:pt x="1479572" y="943494"/>
                  </a:lnTo>
                  <a:lnTo>
                    <a:pt x="1493868" y="953024"/>
                  </a:lnTo>
                  <a:lnTo>
                    <a:pt x="1498636" y="957788"/>
                  </a:lnTo>
                  <a:lnTo>
                    <a:pt x="1503400" y="948258"/>
                  </a:lnTo>
                  <a:lnTo>
                    <a:pt x="1512928" y="957788"/>
                  </a:lnTo>
                  <a:lnTo>
                    <a:pt x="1517696" y="962554"/>
                  </a:lnTo>
                  <a:lnTo>
                    <a:pt x="1527224" y="972084"/>
                  </a:lnTo>
                  <a:lnTo>
                    <a:pt x="1517696" y="972084"/>
                  </a:lnTo>
                  <a:lnTo>
                    <a:pt x="1512928" y="976848"/>
                  </a:lnTo>
                  <a:lnTo>
                    <a:pt x="1479572" y="957788"/>
                  </a:lnTo>
                  <a:lnTo>
                    <a:pt x="1460512" y="962554"/>
                  </a:lnTo>
                  <a:lnTo>
                    <a:pt x="1446220" y="957788"/>
                  </a:lnTo>
                  <a:lnTo>
                    <a:pt x="1441452" y="953024"/>
                  </a:lnTo>
                  <a:lnTo>
                    <a:pt x="1446220" y="943494"/>
                  </a:lnTo>
                  <a:close/>
                  <a:moveTo>
                    <a:pt x="483664" y="924432"/>
                  </a:moveTo>
                  <a:lnTo>
                    <a:pt x="493192" y="924432"/>
                  </a:lnTo>
                  <a:lnTo>
                    <a:pt x="497960" y="929198"/>
                  </a:lnTo>
                  <a:lnTo>
                    <a:pt x="507488" y="953024"/>
                  </a:lnTo>
                  <a:lnTo>
                    <a:pt x="517020" y="967318"/>
                  </a:lnTo>
                  <a:lnTo>
                    <a:pt x="512252" y="986380"/>
                  </a:lnTo>
                  <a:lnTo>
                    <a:pt x="502724" y="1010204"/>
                  </a:lnTo>
                  <a:lnTo>
                    <a:pt x="493192" y="1014970"/>
                  </a:lnTo>
                  <a:lnTo>
                    <a:pt x="483664" y="1010204"/>
                  </a:lnTo>
                  <a:lnTo>
                    <a:pt x="483664" y="1000674"/>
                  </a:lnTo>
                  <a:lnTo>
                    <a:pt x="488428" y="986380"/>
                  </a:lnTo>
                  <a:lnTo>
                    <a:pt x="497960" y="972084"/>
                  </a:lnTo>
                  <a:lnTo>
                    <a:pt x="497960" y="962554"/>
                  </a:lnTo>
                  <a:close/>
                  <a:moveTo>
                    <a:pt x="5325032" y="919668"/>
                  </a:moveTo>
                  <a:lnTo>
                    <a:pt x="5358388" y="948258"/>
                  </a:lnTo>
                  <a:lnTo>
                    <a:pt x="5358388" y="953024"/>
                  </a:lnTo>
                  <a:lnTo>
                    <a:pt x="5353624" y="953024"/>
                  </a:lnTo>
                  <a:lnTo>
                    <a:pt x="5348856" y="948258"/>
                  </a:lnTo>
                  <a:lnTo>
                    <a:pt x="5334564" y="933964"/>
                  </a:lnTo>
                  <a:close/>
                  <a:moveTo>
                    <a:pt x="5029592" y="905372"/>
                  </a:moveTo>
                  <a:lnTo>
                    <a:pt x="5034360" y="914904"/>
                  </a:lnTo>
                  <a:lnTo>
                    <a:pt x="5034360" y="929200"/>
                  </a:lnTo>
                  <a:lnTo>
                    <a:pt x="5029592" y="924434"/>
                  </a:lnTo>
                  <a:lnTo>
                    <a:pt x="5024828" y="924434"/>
                  </a:lnTo>
                  <a:close/>
                  <a:moveTo>
                    <a:pt x="1446216" y="891076"/>
                  </a:moveTo>
                  <a:lnTo>
                    <a:pt x="1455748" y="891076"/>
                  </a:lnTo>
                  <a:lnTo>
                    <a:pt x="1474808" y="910138"/>
                  </a:lnTo>
                  <a:lnTo>
                    <a:pt x="1479576" y="914902"/>
                  </a:lnTo>
                  <a:lnTo>
                    <a:pt x="1479576" y="919668"/>
                  </a:lnTo>
                  <a:lnTo>
                    <a:pt x="1470044" y="914902"/>
                  </a:lnTo>
                  <a:lnTo>
                    <a:pt x="1465280" y="914902"/>
                  </a:lnTo>
                  <a:lnTo>
                    <a:pt x="1465280" y="910138"/>
                  </a:lnTo>
                  <a:close/>
                  <a:moveTo>
                    <a:pt x="1241320" y="814836"/>
                  </a:moveTo>
                  <a:lnTo>
                    <a:pt x="1250848" y="814836"/>
                  </a:lnTo>
                  <a:lnTo>
                    <a:pt x="1260380" y="829130"/>
                  </a:lnTo>
                  <a:lnTo>
                    <a:pt x="1260380" y="838660"/>
                  </a:lnTo>
                  <a:lnTo>
                    <a:pt x="1241320" y="843426"/>
                  </a:lnTo>
                  <a:lnTo>
                    <a:pt x="1236552" y="838660"/>
                  </a:lnTo>
                  <a:lnTo>
                    <a:pt x="1236552" y="824366"/>
                  </a:lnTo>
                  <a:close/>
                  <a:moveTo>
                    <a:pt x="5020064" y="810070"/>
                  </a:moveTo>
                  <a:lnTo>
                    <a:pt x="5029592" y="810070"/>
                  </a:lnTo>
                  <a:lnTo>
                    <a:pt x="5029592" y="819600"/>
                  </a:lnTo>
                  <a:lnTo>
                    <a:pt x="5029592" y="824364"/>
                  </a:lnTo>
                  <a:lnTo>
                    <a:pt x="5024828" y="824364"/>
                  </a:lnTo>
                  <a:lnTo>
                    <a:pt x="5020064" y="824364"/>
                  </a:lnTo>
                  <a:lnTo>
                    <a:pt x="5020064" y="819600"/>
                  </a:lnTo>
                  <a:close/>
                  <a:moveTo>
                    <a:pt x="5010532" y="791010"/>
                  </a:moveTo>
                  <a:lnTo>
                    <a:pt x="5020064" y="795776"/>
                  </a:lnTo>
                  <a:lnTo>
                    <a:pt x="5020064" y="800540"/>
                  </a:lnTo>
                  <a:lnTo>
                    <a:pt x="5015296" y="805304"/>
                  </a:lnTo>
                  <a:lnTo>
                    <a:pt x="5010532" y="805304"/>
                  </a:lnTo>
                  <a:lnTo>
                    <a:pt x="5005768" y="800540"/>
                  </a:lnTo>
                  <a:lnTo>
                    <a:pt x="5005768" y="795776"/>
                  </a:lnTo>
                  <a:close/>
                  <a:moveTo>
                    <a:pt x="1269908" y="791010"/>
                  </a:moveTo>
                  <a:lnTo>
                    <a:pt x="1274676" y="791010"/>
                  </a:lnTo>
                  <a:lnTo>
                    <a:pt x="1279440" y="795776"/>
                  </a:lnTo>
                  <a:lnTo>
                    <a:pt x="1288968" y="805306"/>
                  </a:lnTo>
                  <a:lnTo>
                    <a:pt x="1288968" y="814836"/>
                  </a:lnTo>
                  <a:lnTo>
                    <a:pt x="1284204" y="819600"/>
                  </a:lnTo>
                  <a:lnTo>
                    <a:pt x="1279440" y="824366"/>
                  </a:lnTo>
                  <a:lnTo>
                    <a:pt x="1269908" y="805306"/>
                  </a:lnTo>
                  <a:close/>
                  <a:moveTo>
                    <a:pt x="1331856" y="786244"/>
                  </a:moveTo>
                  <a:lnTo>
                    <a:pt x="1341384" y="795776"/>
                  </a:lnTo>
                  <a:lnTo>
                    <a:pt x="1341384" y="800540"/>
                  </a:lnTo>
                  <a:lnTo>
                    <a:pt x="1346152" y="805306"/>
                  </a:lnTo>
                  <a:lnTo>
                    <a:pt x="1331856" y="795776"/>
                  </a:lnTo>
                  <a:lnTo>
                    <a:pt x="1327088" y="791010"/>
                  </a:lnTo>
                  <a:close/>
                  <a:moveTo>
                    <a:pt x="1389036" y="776714"/>
                  </a:moveTo>
                  <a:lnTo>
                    <a:pt x="1398568" y="786244"/>
                  </a:lnTo>
                  <a:lnTo>
                    <a:pt x="1403332" y="786244"/>
                  </a:lnTo>
                  <a:lnTo>
                    <a:pt x="1408096" y="795774"/>
                  </a:lnTo>
                  <a:lnTo>
                    <a:pt x="1398568" y="800540"/>
                  </a:lnTo>
                  <a:lnTo>
                    <a:pt x="1384272" y="786244"/>
                  </a:lnTo>
                  <a:lnTo>
                    <a:pt x="1384272" y="781480"/>
                  </a:lnTo>
                  <a:lnTo>
                    <a:pt x="1389036" y="781480"/>
                  </a:lnTo>
                  <a:close/>
                  <a:moveTo>
                    <a:pt x="1274672" y="748124"/>
                  </a:moveTo>
                  <a:lnTo>
                    <a:pt x="1274672" y="757654"/>
                  </a:lnTo>
                  <a:lnTo>
                    <a:pt x="1279440" y="762420"/>
                  </a:lnTo>
                  <a:lnTo>
                    <a:pt x="1279440" y="771950"/>
                  </a:lnTo>
                  <a:lnTo>
                    <a:pt x="1269908" y="767184"/>
                  </a:lnTo>
                  <a:lnTo>
                    <a:pt x="1265144" y="757654"/>
                  </a:lnTo>
                  <a:lnTo>
                    <a:pt x="1269908" y="752890"/>
                  </a:lnTo>
                  <a:close/>
                  <a:moveTo>
                    <a:pt x="1141252" y="748124"/>
                  </a:moveTo>
                  <a:lnTo>
                    <a:pt x="1155544" y="762420"/>
                  </a:lnTo>
                  <a:lnTo>
                    <a:pt x="1169840" y="771950"/>
                  </a:lnTo>
                  <a:lnTo>
                    <a:pt x="1179372" y="776714"/>
                  </a:lnTo>
                  <a:lnTo>
                    <a:pt x="1203196" y="786246"/>
                  </a:lnTo>
                  <a:lnTo>
                    <a:pt x="1212728" y="791010"/>
                  </a:lnTo>
                  <a:lnTo>
                    <a:pt x="1217492" y="810070"/>
                  </a:lnTo>
                  <a:lnTo>
                    <a:pt x="1217492" y="814836"/>
                  </a:lnTo>
                  <a:lnTo>
                    <a:pt x="1207960" y="810070"/>
                  </a:lnTo>
                  <a:lnTo>
                    <a:pt x="1179372" y="805306"/>
                  </a:lnTo>
                  <a:lnTo>
                    <a:pt x="1169840" y="800540"/>
                  </a:lnTo>
                  <a:lnTo>
                    <a:pt x="1141252" y="795776"/>
                  </a:lnTo>
                  <a:lnTo>
                    <a:pt x="1131720" y="791010"/>
                  </a:lnTo>
                  <a:lnTo>
                    <a:pt x="1126956" y="786246"/>
                  </a:lnTo>
                  <a:lnTo>
                    <a:pt x="1131720" y="776714"/>
                  </a:lnTo>
                  <a:lnTo>
                    <a:pt x="1136484" y="771950"/>
                  </a:lnTo>
                  <a:lnTo>
                    <a:pt x="1136484" y="757654"/>
                  </a:lnTo>
                  <a:close/>
                  <a:moveTo>
                    <a:pt x="1374740" y="743358"/>
                  </a:moveTo>
                  <a:lnTo>
                    <a:pt x="1384272" y="748124"/>
                  </a:lnTo>
                  <a:lnTo>
                    <a:pt x="1393800" y="743358"/>
                  </a:lnTo>
                  <a:lnTo>
                    <a:pt x="1389036" y="748124"/>
                  </a:lnTo>
                  <a:lnTo>
                    <a:pt x="1389036" y="752888"/>
                  </a:lnTo>
                  <a:lnTo>
                    <a:pt x="1379508" y="771948"/>
                  </a:lnTo>
                  <a:lnTo>
                    <a:pt x="1365212" y="767184"/>
                  </a:lnTo>
                  <a:lnTo>
                    <a:pt x="1360448" y="762418"/>
                  </a:lnTo>
                  <a:lnTo>
                    <a:pt x="1360448" y="757654"/>
                  </a:lnTo>
                  <a:lnTo>
                    <a:pt x="1365212" y="748124"/>
                  </a:lnTo>
                  <a:lnTo>
                    <a:pt x="1369976" y="748124"/>
                  </a:lnTo>
                  <a:close/>
                  <a:moveTo>
                    <a:pt x="1169840" y="743358"/>
                  </a:moveTo>
                  <a:lnTo>
                    <a:pt x="1179372" y="743358"/>
                  </a:lnTo>
                  <a:lnTo>
                    <a:pt x="1212728" y="757654"/>
                  </a:lnTo>
                  <a:lnTo>
                    <a:pt x="1222256" y="767184"/>
                  </a:lnTo>
                  <a:lnTo>
                    <a:pt x="1241320" y="791008"/>
                  </a:lnTo>
                  <a:lnTo>
                    <a:pt x="1236552" y="795774"/>
                  </a:lnTo>
                  <a:lnTo>
                    <a:pt x="1227024" y="791008"/>
                  </a:lnTo>
                  <a:lnTo>
                    <a:pt x="1217492" y="786244"/>
                  </a:lnTo>
                  <a:lnTo>
                    <a:pt x="1207964" y="776714"/>
                  </a:lnTo>
                  <a:lnTo>
                    <a:pt x="1193668" y="771948"/>
                  </a:lnTo>
                  <a:lnTo>
                    <a:pt x="1179372" y="767184"/>
                  </a:lnTo>
                  <a:lnTo>
                    <a:pt x="1169840" y="762418"/>
                  </a:lnTo>
                  <a:lnTo>
                    <a:pt x="1165076" y="762418"/>
                  </a:lnTo>
                  <a:close/>
                  <a:moveTo>
                    <a:pt x="1460512" y="733828"/>
                  </a:moveTo>
                  <a:lnTo>
                    <a:pt x="1460512" y="748124"/>
                  </a:lnTo>
                  <a:lnTo>
                    <a:pt x="1470044" y="752888"/>
                  </a:lnTo>
                  <a:lnTo>
                    <a:pt x="1474808" y="762418"/>
                  </a:lnTo>
                  <a:lnTo>
                    <a:pt x="1470044" y="776714"/>
                  </a:lnTo>
                  <a:lnTo>
                    <a:pt x="1465280" y="791010"/>
                  </a:lnTo>
                  <a:lnTo>
                    <a:pt x="1460512" y="795776"/>
                  </a:lnTo>
                  <a:lnTo>
                    <a:pt x="1446220" y="791010"/>
                  </a:lnTo>
                  <a:lnTo>
                    <a:pt x="1446220" y="786244"/>
                  </a:lnTo>
                  <a:lnTo>
                    <a:pt x="1441452" y="781480"/>
                  </a:lnTo>
                  <a:lnTo>
                    <a:pt x="1446220" y="781480"/>
                  </a:lnTo>
                  <a:lnTo>
                    <a:pt x="1436688" y="776714"/>
                  </a:lnTo>
                  <a:lnTo>
                    <a:pt x="1441452" y="771950"/>
                  </a:lnTo>
                  <a:lnTo>
                    <a:pt x="1436688" y="762418"/>
                  </a:lnTo>
                  <a:lnTo>
                    <a:pt x="1417628" y="767184"/>
                  </a:lnTo>
                  <a:lnTo>
                    <a:pt x="1408096" y="767184"/>
                  </a:lnTo>
                  <a:lnTo>
                    <a:pt x="1408096" y="757654"/>
                  </a:lnTo>
                  <a:lnTo>
                    <a:pt x="1408096" y="752888"/>
                  </a:lnTo>
                  <a:lnTo>
                    <a:pt x="1427156" y="743358"/>
                  </a:lnTo>
                  <a:lnTo>
                    <a:pt x="1436688" y="738594"/>
                  </a:lnTo>
                  <a:lnTo>
                    <a:pt x="1446220" y="743358"/>
                  </a:lnTo>
                  <a:close/>
                  <a:moveTo>
                    <a:pt x="1098364" y="705236"/>
                  </a:moveTo>
                  <a:lnTo>
                    <a:pt x="1103128" y="705236"/>
                  </a:lnTo>
                  <a:lnTo>
                    <a:pt x="1112660" y="714768"/>
                  </a:lnTo>
                  <a:lnTo>
                    <a:pt x="1122188" y="729062"/>
                  </a:lnTo>
                  <a:lnTo>
                    <a:pt x="1126956" y="733828"/>
                  </a:lnTo>
                  <a:lnTo>
                    <a:pt x="1126956" y="743358"/>
                  </a:lnTo>
                  <a:lnTo>
                    <a:pt x="1126956" y="757654"/>
                  </a:lnTo>
                  <a:lnTo>
                    <a:pt x="1122188" y="771948"/>
                  </a:lnTo>
                  <a:lnTo>
                    <a:pt x="1117424" y="776714"/>
                  </a:lnTo>
                  <a:lnTo>
                    <a:pt x="1107896" y="767184"/>
                  </a:lnTo>
                  <a:lnTo>
                    <a:pt x="1103128" y="757654"/>
                  </a:lnTo>
                  <a:lnTo>
                    <a:pt x="1098364" y="748124"/>
                  </a:lnTo>
                  <a:lnTo>
                    <a:pt x="1093600" y="729062"/>
                  </a:lnTo>
                  <a:lnTo>
                    <a:pt x="1093600" y="714768"/>
                  </a:lnTo>
                  <a:close/>
                  <a:moveTo>
                    <a:pt x="333560" y="686176"/>
                  </a:moveTo>
                  <a:lnTo>
                    <a:pt x="352620" y="695708"/>
                  </a:lnTo>
                  <a:lnTo>
                    <a:pt x="385976" y="738594"/>
                  </a:lnTo>
                  <a:lnTo>
                    <a:pt x="400272" y="748124"/>
                  </a:lnTo>
                  <a:lnTo>
                    <a:pt x="419332" y="767184"/>
                  </a:lnTo>
                  <a:lnTo>
                    <a:pt x="424096" y="771950"/>
                  </a:lnTo>
                  <a:lnTo>
                    <a:pt x="419332" y="786244"/>
                  </a:lnTo>
                  <a:lnTo>
                    <a:pt x="414568" y="829130"/>
                  </a:lnTo>
                  <a:lnTo>
                    <a:pt x="405036" y="838660"/>
                  </a:lnTo>
                  <a:lnTo>
                    <a:pt x="385976" y="833896"/>
                  </a:lnTo>
                  <a:lnTo>
                    <a:pt x="385976" y="824366"/>
                  </a:lnTo>
                  <a:lnTo>
                    <a:pt x="371680" y="795774"/>
                  </a:lnTo>
                  <a:lnTo>
                    <a:pt x="352620" y="776714"/>
                  </a:lnTo>
                  <a:lnTo>
                    <a:pt x="343092" y="776714"/>
                  </a:lnTo>
                  <a:lnTo>
                    <a:pt x="338324" y="762420"/>
                  </a:lnTo>
                  <a:lnTo>
                    <a:pt x="324032" y="738594"/>
                  </a:lnTo>
                  <a:lnTo>
                    <a:pt x="290672" y="700472"/>
                  </a:lnTo>
                  <a:lnTo>
                    <a:pt x="319264" y="705238"/>
                  </a:lnTo>
                  <a:lnTo>
                    <a:pt x="328796" y="695708"/>
                  </a:lnTo>
                  <a:close/>
                  <a:moveTo>
                    <a:pt x="1065008" y="671882"/>
                  </a:moveTo>
                  <a:lnTo>
                    <a:pt x="1131720" y="690942"/>
                  </a:lnTo>
                  <a:lnTo>
                    <a:pt x="1136484" y="695708"/>
                  </a:lnTo>
                  <a:lnTo>
                    <a:pt x="1136484" y="719532"/>
                  </a:lnTo>
                  <a:lnTo>
                    <a:pt x="1122188" y="714768"/>
                  </a:lnTo>
                  <a:lnTo>
                    <a:pt x="1112660" y="705238"/>
                  </a:lnTo>
                  <a:lnTo>
                    <a:pt x="1103128" y="700472"/>
                  </a:lnTo>
                  <a:lnTo>
                    <a:pt x="1084068" y="695708"/>
                  </a:lnTo>
                  <a:lnTo>
                    <a:pt x="1069772" y="690942"/>
                  </a:lnTo>
                  <a:lnTo>
                    <a:pt x="1060244" y="681412"/>
                  </a:lnTo>
                  <a:lnTo>
                    <a:pt x="1060244" y="676648"/>
                  </a:lnTo>
                  <a:close/>
                  <a:moveTo>
                    <a:pt x="4648384" y="657586"/>
                  </a:moveTo>
                  <a:lnTo>
                    <a:pt x="4667444" y="662352"/>
                  </a:lnTo>
                  <a:lnTo>
                    <a:pt x="4676976" y="667116"/>
                  </a:lnTo>
                  <a:lnTo>
                    <a:pt x="4686504" y="690942"/>
                  </a:lnTo>
                  <a:lnTo>
                    <a:pt x="4686504" y="695708"/>
                  </a:lnTo>
                  <a:lnTo>
                    <a:pt x="4672208" y="705238"/>
                  </a:lnTo>
                  <a:lnTo>
                    <a:pt x="4667444" y="710002"/>
                  </a:lnTo>
                  <a:lnTo>
                    <a:pt x="4653148" y="743358"/>
                  </a:lnTo>
                  <a:lnTo>
                    <a:pt x="4643620" y="757654"/>
                  </a:lnTo>
                  <a:lnTo>
                    <a:pt x="4634088" y="771950"/>
                  </a:lnTo>
                  <a:lnTo>
                    <a:pt x="4605496" y="795774"/>
                  </a:lnTo>
                  <a:lnTo>
                    <a:pt x="4595968" y="810070"/>
                  </a:lnTo>
                  <a:lnTo>
                    <a:pt x="4586436" y="824366"/>
                  </a:lnTo>
                  <a:lnTo>
                    <a:pt x="4572140" y="838660"/>
                  </a:lnTo>
                  <a:lnTo>
                    <a:pt x="4562612" y="852956"/>
                  </a:lnTo>
                  <a:lnTo>
                    <a:pt x="4553080" y="857722"/>
                  </a:lnTo>
                  <a:lnTo>
                    <a:pt x="4538788" y="862486"/>
                  </a:lnTo>
                  <a:lnTo>
                    <a:pt x="4529256" y="867252"/>
                  </a:lnTo>
                  <a:lnTo>
                    <a:pt x="4510196" y="867252"/>
                  </a:lnTo>
                  <a:lnTo>
                    <a:pt x="4457780" y="876782"/>
                  </a:lnTo>
                  <a:lnTo>
                    <a:pt x="4438720" y="876782"/>
                  </a:lnTo>
                  <a:lnTo>
                    <a:pt x="4419656" y="876782"/>
                  </a:lnTo>
                  <a:lnTo>
                    <a:pt x="4386300" y="876782"/>
                  </a:lnTo>
                  <a:lnTo>
                    <a:pt x="4376772" y="876782"/>
                  </a:lnTo>
                  <a:lnTo>
                    <a:pt x="4367240" y="862486"/>
                  </a:lnTo>
                  <a:lnTo>
                    <a:pt x="4352948" y="848192"/>
                  </a:lnTo>
                  <a:lnTo>
                    <a:pt x="4338652" y="848192"/>
                  </a:lnTo>
                  <a:lnTo>
                    <a:pt x="4324356" y="848192"/>
                  </a:lnTo>
                  <a:lnTo>
                    <a:pt x="4224288" y="852956"/>
                  </a:lnTo>
                  <a:lnTo>
                    <a:pt x="4190932" y="852956"/>
                  </a:lnTo>
                  <a:lnTo>
                    <a:pt x="4157576" y="857722"/>
                  </a:lnTo>
                  <a:lnTo>
                    <a:pt x="4138516" y="852956"/>
                  </a:lnTo>
                  <a:lnTo>
                    <a:pt x="4119456" y="848192"/>
                  </a:lnTo>
                  <a:lnTo>
                    <a:pt x="4105160" y="848192"/>
                  </a:lnTo>
                  <a:lnTo>
                    <a:pt x="4090864" y="848192"/>
                  </a:lnTo>
                  <a:lnTo>
                    <a:pt x="4028916" y="857722"/>
                  </a:lnTo>
                  <a:lnTo>
                    <a:pt x="4009856" y="857722"/>
                  </a:lnTo>
                  <a:lnTo>
                    <a:pt x="3976500" y="843426"/>
                  </a:lnTo>
                  <a:lnTo>
                    <a:pt x="3957440" y="843426"/>
                  </a:lnTo>
                  <a:lnTo>
                    <a:pt x="3943144" y="848192"/>
                  </a:lnTo>
                  <a:lnTo>
                    <a:pt x="3924084" y="857722"/>
                  </a:lnTo>
                  <a:lnTo>
                    <a:pt x="3914556" y="862486"/>
                  </a:lnTo>
                  <a:lnTo>
                    <a:pt x="3900260" y="886312"/>
                  </a:lnTo>
                  <a:lnTo>
                    <a:pt x="3890728" y="900608"/>
                  </a:lnTo>
                  <a:lnTo>
                    <a:pt x="3881200" y="919668"/>
                  </a:lnTo>
                  <a:lnTo>
                    <a:pt x="3876432" y="938728"/>
                  </a:lnTo>
                  <a:lnTo>
                    <a:pt x="3871668" y="957790"/>
                  </a:lnTo>
                  <a:lnTo>
                    <a:pt x="3871668" y="972084"/>
                  </a:lnTo>
                  <a:lnTo>
                    <a:pt x="3871668" y="991144"/>
                  </a:lnTo>
                  <a:lnTo>
                    <a:pt x="3876432" y="1010206"/>
                  </a:lnTo>
                  <a:lnTo>
                    <a:pt x="3885964" y="1029266"/>
                  </a:lnTo>
                  <a:lnTo>
                    <a:pt x="3905024" y="1062622"/>
                  </a:lnTo>
                  <a:lnTo>
                    <a:pt x="3909788" y="1067386"/>
                  </a:lnTo>
                  <a:lnTo>
                    <a:pt x="3933616" y="1076918"/>
                  </a:lnTo>
                  <a:lnTo>
                    <a:pt x="3947912" y="1086448"/>
                  </a:lnTo>
                  <a:lnTo>
                    <a:pt x="3962204" y="1124568"/>
                  </a:lnTo>
                  <a:lnTo>
                    <a:pt x="3971736" y="1138864"/>
                  </a:lnTo>
                  <a:lnTo>
                    <a:pt x="3981268" y="1138864"/>
                  </a:lnTo>
                  <a:lnTo>
                    <a:pt x="3995560" y="1138864"/>
                  </a:lnTo>
                  <a:lnTo>
                    <a:pt x="4009856" y="1138864"/>
                  </a:lnTo>
                  <a:lnTo>
                    <a:pt x="4028916" y="1143628"/>
                  </a:lnTo>
                  <a:lnTo>
                    <a:pt x="4047976" y="1134098"/>
                  </a:lnTo>
                  <a:lnTo>
                    <a:pt x="4057508" y="1115038"/>
                  </a:lnTo>
                  <a:lnTo>
                    <a:pt x="4067040" y="1100742"/>
                  </a:lnTo>
                  <a:lnTo>
                    <a:pt x="4090864" y="1072152"/>
                  </a:lnTo>
                  <a:lnTo>
                    <a:pt x="4105160" y="1057856"/>
                  </a:lnTo>
                  <a:lnTo>
                    <a:pt x="4114688" y="1053092"/>
                  </a:lnTo>
                  <a:lnTo>
                    <a:pt x="4124220" y="1057856"/>
                  </a:lnTo>
                  <a:lnTo>
                    <a:pt x="4133752" y="1062622"/>
                  </a:lnTo>
                  <a:lnTo>
                    <a:pt x="4138516" y="1072152"/>
                  </a:lnTo>
                  <a:lnTo>
                    <a:pt x="4157576" y="1072152"/>
                  </a:lnTo>
                  <a:lnTo>
                    <a:pt x="4176636" y="1072152"/>
                  </a:lnTo>
                  <a:lnTo>
                    <a:pt x="4195696" y="1062622"/>
                  </a:lnTo>
                  <a:lnTo>
                    <a:pt x="4205228" y="1057856"/>
                  </a:lnTo>
                  <a:lnTo>
                    <a:pt x="4209992" y="1048326"/>
                  </a:lnTo>
                  <a:lnTo>
                    <a:pt x="4224288" y="1043562"/>
                  </a:lnTo>
                  <a:lnTo>
                    <a:pt x="4262408" y="1043562"/>
                  </a:lnTo>
                  <a:lnTo>
                    <a:pt x="4286236" y="1048326"/>
                  </a:lnTo>
                  <a:lnTo>
                    <a:pt x="4319592" y="1043562"/>
                  </a:lnTo>
                  <a:lnTo>
                    <a:pt x="4319592" y="1038796"/>
                  </a:lnTo>
                  <a:lnTo>
                    <a:pt x="4314824" y="1034032"/>
                  </a:lnTo>
                  <a:lnTo>
                    <a:pt x="4310060" y="1029266"/>
                  </a:lnTo>
                  <a:lnTo>
                    <a:pt x="4319592" y="1024500"/>
                  </a:lnTo>
                  <a:lnTo>
                    <a:pt x="4338652" y="1019736"/>
                  </a:lnTo>
                  <a:lnTo>
                    <a:pt x="4362476" y="1014970"/>
                  </a:lnTo>
                  <a:lnTo>
                    <a:pt x="4381536" y="1019736"/>
                  </a:lnTo>
                  <a:lnTo>
                    <a:pt x="4395832" y="1029266"/>
                  </a:lnTo>
                  <a:lnTo>
                    <a:pt x="4400596" y="1034032"/>
                  </a:lnTo>
                  <a:lnTo>
                    <a:pt x="4405364" y="1048326"/>
                  </a:lnTo>
                  <a:lnTo>
                    <a:pt x="4400596" y="1076918"/>
                  </a:lnTo>
                  <a:lnTo>
                    <a:pt x="4395832" y="1081682"/>
                  </a:lnTo>
                  <a:lnTo>
                    <a:pt x="4386300" y="1086448"/>
                  </a:lnTo>
                  <a:lnTo>
                    <a:pt x="4372008" y="1081682"/>
                  </a:lnTo>
                  <a:lnTo>
                    <a:pt x="4362476" y="1067386"/>
                  </a:lnTo>
                  <a:lnTo>
                    <a:pt x="4343416" y="1062622"/>
                  </a:lnTo>
                  <a:lnTo>
                    <a:pt x="4324356" y="1067386"/>
                  </a:lnTo>
                  <a:lnTo>
                    <a:pt x="4314824" y="1072152"/>
                  </a:lnTo>
                  <a:lnTo>
                    <a:pt x="4310060" y="1076918"/>
                  </a:lnTo>
                  <a:lnTo>
                    <a:pt x="4295764" y="1091212"/>
                  </a:lnTo>
                  <a:lnTo>
                    <a:pt x="4281468" y="1110274"/>
                  </a:lnTo>
                  <a:lnTo>
                    <a:pt x="4262408" y="1134098"/>
                  </a:lnTo>
                  <a:lnTo>
                    <a:pt x="4233816" y="1157924"/>
                  </a:lnTo>
                  <a:lnTo>
                    <a:pt x="4219524" y="1167454"/>
                  </a:lnTo>
                  <a:lnTo>
                    <a:pt x="4205228" y="1172220"/>
                  </a:lnTo>
                  <a:lnTo>
                    <a:pt x="4157576" y="1191280"/>
                  </a:lnTo>
                  <a:lnTo>
                    <a:pt x="4148044" y="1200810"/>
                  </a:lnTo>
                  <a:lnTo>
                    <a:pt x="4138516" y="1215106"/>
                  </a:lnTo>
                  <a:lnTo>
                    <a:pt x="4128984" y="1219872"/>
                  </a:lnTo>
                  <a:lnTo>
                    <a:pt x="4114688" y="1224636"/>
                  </a:lnTo>
                  <a:lnTo>
                    <a:pt x="4105160" y="1219872"/>
                  </a:lnTo>
                  <a:lnTo>
                    <a:pt x="4086100" y="1210340"/>
                  </a:lnTo>
                  <a:lnTo>
                    <a:pt x="4081332" y="1219872"/>
                  </a:lnTo>
                  <a:lnTo>
                    <a:pt x="4081332" y="1229402"/>
                  </a:lnTo>
                  <a:lnTo>
                    <a:pt x="4090864" y="1234166"/>
                  </a:lnTo>
                  <a:lnTo>
                    <a:pt x="4105160" y="1243696"/>
                  </a:lnTo>
                  <a:lnTo>
                    <a:pt x="4114688" y="1262758"/>
                  </a:lnTo>
                  <a:lnTo>
                    <a:pt x="4124220" y="1267522"/>
                  </a:lnTo>
                  <a:lnTo>
                    <a:pt x="4138516" y="1272288"/>
                  </a:lnTo>
                  <a:lnTo>
                    <a:pt x="4143280" y="1277052"/>
                  </a:lnTo>
                  <a:lnTo>
                    <a:pt x="4157576" y="1291348"/>
                  </a:lnTo>
                  <a:lnTo>
                    <a:pt x="4176636" y="1324704"/>
                  </a:lnTo>
                  <a:lnTo>
                    <a:pt x="4181400" y="1339000"/>
                  </a:lnTo>
                  <a:lnTo>
                    <a:pt x="4195696" y="1353294"/>
                  </a:lnTo>
                  <a:lnTo>
                    <a:pt x="4229052" y="1381886"/>
                  </a:lnTo>
                  <a:lnTo>
                    <a:pt x="4229052" y="1386650"/>
                  </a:lnTo>
                  <a:lnTo>
                    <a:pt x="4224288" y="1396180"/>
                  </a:lnTo>
                  <a:lnTo>
                    <a:pt x="4229052" y="1400946"/>
                  </a:lnTo>
                  <a:lnTo>
                    <a:pt x="4243348" y="1415242"/>
                  </a:lnTo>
                  <a:lnTo>
                    <a:pt x="4243348" y="1424772"/>
                  </a:lnTo>
                  <a:lnTo>
                    <a:pt x="4229052" y="1439066"/>
                  </a:lnTo>
                  <a:lnTo>
                    <a:pt x="4229052" y="1453362"/>
                  </a:lnTo>
                  <a:lnTo>
                    <a:pt x="4224288" y="1477188"/>
                  </a:lnTo>
                  <a:lnTo>
                    <a:pt x="4219524" y="1486718"/>
                  </a:lnTo>
                  <a:lnTo>
                    <a:pt x="4219524" y="1491484"/>
                  </a:lnTo>
                  <a:lnTo>
                    <a:pt x="4224288" y="1496248"/>
                  </a:lnTo>
                  <a:lnTo>
                    <a:pt x="4233816" y="1501014"/>
                  </a:lnTo>
                  <a:lnTo>
                    <a:pt x="4243348" y="1505778"/>
                  </a:lnTo>
                  <a:lnTo>
                    <a:pt x="4248112" y="1510544"/>
                  </a:lnTo>
                  <a:lnTo>
                    <a:pt x="4262408" y="1529604"/>
                  </a:lnTo>
                  <a:lnTo>
                    <a:pt x="4271940" y="1534370"/>
                  </a:lnTo>
                  <a:lnTo>
                    <a:pt x="4276704" y="1539134"/>
                  </a:lnTo>
                  <a:lnTo>
                    <a:pt x="4276704" y="1548664"/>
                  </a:lnTo>
                  <a:lnTo>
                    <a:pt x="4281468" y="1553430"/>
                  </a:lnTo>
                  <a:lnTo>
                    <a:pt x="4291000" y="1562960"/>
                  </a:lnTo>
                  <a:lnTo>
                    <a:pt x="4300528" y="1567726"/>
                  </a:lnTo>
                  <a:lnTo>
                    <a:pt x="4305296" y="1562960"/>
                  </a:lnTo>
                  <a:lnTo>
                    <a:pt x="4305296" y="1558196"/>
                  </a:lnTo>
                  <a:lnTo>
                    <a:pt x="4314824" y="1562960"/>
                  </a:lnTo>
                  <a:lnTo>
                    <a:pt x="4319592" y="1567726"/>
                  </a:lnTo>
                  <a:lnTo>
                    <a:pt x="4319592" y="1577256"/>
                  </a:lnTo>
                  <a:lnTo>
                    <a:pt x="4319592" y="1586786"/>
                  </a:lnTo>
                  <a:lnTo>
                    <a:pt x="4319592" y="1605846"/>
                  </a:lnTo>
                  <a:lnTo>
                    <a:pt x="4319592" y="1610612"/>
                  </a:lnTo>
                  <a:lnTo>
                    <a:pt x="4310060" y="1610612"/>
                  </a:lnTo>
                  <a:lnTo>
                    <a:pt x="4295764" y="1605846"/>
                  </a:lnTo>
                  <a:lnTo>
                    <a:pt x="4295764" y="1610612"/>
                  </a:lnTo>
                  <a:lnTo>
                    <a:pt x="4295764" y="1615376"/>
                  </a:lnTo>
                  <a:lnTo>
                    <a:pt x="4286236" y="1615376"/>
                  </a:lnTo>
                  <a:lnTo>
                    <a:pt x="4276704" y="1615376"/>
                  </a:lnTo>
                  <a:lnTo>
                    <a:pt x="4257644" y="1615376"/>
                  </a:lnTo>
                  <a:lnTo>
                    <a:pt x="4214756" y="1629672"/>
                  </a:lnTo>
                  <a:lnTo>
                    <a:pt x="4200460" y="1634438"/>
                  </a:lnTo>
                  <a:lnTo>
                    <a:pt x="4190932" y="1648732"/>
                  </a:lnTo>
                  <a:lnTo>
                    <a:pt x="4190932" y="1658262"/>
                  </a:lnTo>
                  <a:lnTo>
                    <a:pt x="4190932" y="1677324"/>
                  </a:lnTo>
                  <a:lnTo>
                    <a:pt x="4186168" y="1682088"/>
                  </a:lnTo>
                  <a:lnTo>
                    <a:pt x="4167108" y="1682088"/>
                  </a:lnTo>
                  <a:lnTo>
                    <a:pt x="4143280" y="1677324"/>
                  </a:lnTo>
                  <a:lnTo>
                    <a:pt x="4124220" y="1672558"/>
                  </a:lnTo>
                  <a:lnTo>
                    <a:pt x="4119456" y="1672558"/>
                  </a:lnTo>
                  <a:lnTo>
                    <a:pt x="4105160" y="1658262"/>
                  </a:lnTo>
                  <a:lnTo>
                    <a:pt x="4100396" y="1643968"/>
                  </a:lnTo>
                  <a:lnTo>
                    <a:pt x="4109924" y="1596316"/>
                  </a:lnTo>
                  <a:lnTo>
                    <a:pt x="4109924" y="1591552"/>
                  </a:lnTo>
                  <a:lnTo>
                    <a:pt x="4114688" y="1582020"/>
                  </a:lnTo>
                  <a:lnTo>
                    <a:pt x="4119456" y="1577256"/>
                  </a:lnTo>
                  <a:lnTo>
                    <a:pt x="4124220" y="1562960"/>
                  </a:lnTo>
                  <a:lnTo>
                    <a:pt x="4109924" y="1553430"/>
                  </a:lnTo>
                  <a:lnTo>
                    <a:pt x="4090864" y="1548664"/>
                  </a:lnTo>
                  <a:lnTo>
                    <a:pt x="4076568" y="1539134"/>
                  </a:lnTo>
                  <a:lnTo>
                    <a:pt x="4009856" y="1481954"/>
                  </a:lnTo>
                  <a:lnTo>
                    <a:pt x="4009856" y="1477188"/>
                  </a:lnTo>
                  <a:lnTo>
                    <a:pt x="4009856" y="1467658"/>
                  </a:lnTo>
                  <a:lnTo>
                    <a:pt x="4009856" y="1458128"/>
                  </a:lnTo>
                  <a:lnTo>
                    <a:pt x="4028916" y="1424772"/>
                  </a:lnTo>
                  <a:lnTo>
                    <a:pt x="4033684" y="1420006"/>
                  </a:lnTo>
                  <a:lnTo>
                    <a:pt x="4038448" y="1396180"/>
                  </a:lnTo>
                  <a:lnTo>
                    <a:pt x="4033684" y="1377120"/>
                  </a:lnTo>
                  <a:lnTo>
                    <a:pt x="4033684" y="1358060"/>
                  </a:lnTo>
                  <a:lnTo>
                    <a:pt x="4024152" y="1343764"/>
                  </a:lnTo>
                  <a:lnTo>
                    <a:pt x="4005092" y="1339000"/>
                  </a:lnTo>
                  <a:lnTo>
                    <a:pt x="3990796" y="1339000"/>
                  </a:lnTo>
                  <a:lnTo>
                    <a:pt x="3971736" y="1343764"/>
                  </a:lnTo>
                  <a:lnTo>
                    <a:pt x="3952676" y="1353294"/>
                  </a:lnTo>
                  <a:lnTo>
                    <a:pt x="3924084" y="1372356"/>
                  </a:lnTo>
                  <a:lnTo>
                    <a:pt x="3909788" y="1386650"/>
                  </a:lnTo>
                  <a:lnTo>
                    <a:pt x="3909788" y="1400946"/>
                  </a:lnTo>
                  <a:lnTo>
                    <a:pt x="3914556" y="1420006"/>
                  </a:lnTo>
                  <a:lnTo>
                    <a:pt x="3924084" y="1434302"/>
                  </a:lnTo>
                  <a:lnTo>
                    <a:pt x="3928848" y="1448598"/>
                  </a:lnTo>
                  <a:lnTo>
                    <a:pt x="3938380" y="1505778"/>
                  </a:lnTo>
                  <a:lnTo>
                    <a:pt x="3938380" y="1510544"/>
                  </a:lnTo>
                  <a:lnTo>
                    <a:pt x="3928848" y="1529604"/>
                  </a:lnTo>
                  <a:lnTo>
                    <a:pt x="3924084" y="1562960"/>
                  </a:lnTo>
                  <a:lnTo>
                    <a:pt x="3928848" y="1615376"/>
                  </a:lnTo>
                  <a:lnTo>
                    <a:pt x="3933616" y="1648732"/>
                  </a:lnTo>
                  <a:lnTo>
                    <a:pt x="3933616" y="1663028"/>
                  </a:lnTo>
                  <a:lnTo>
                    <a:pt x="3919320" y="1701148"/>
                  </a:lnTo>
                  <a:lnTo>
                    <a:pt x="3914556" y="1720210"/>
                  </a:lnTo>
                  <a:lnTo>
                    <a:pt x="3914556" y="1729740"/>
                  </a:lnTo>
                  <a:lnTo>
                    <a:pt x="3928848" y="1767860"/>
                  </a:lnTo>
                  <a:lnTo>
                    <a:pt x="3933616" y="1786922"/>
                  </a:lnTo>
                  <a:lnTo>
                    <a:pt x="3938380" y="1801216"/>
                  </a:lnTo>
                  <a:lnTo>
                    <a:pt x="3919320" y="1791686"/>
                  </a:lnTo>
                  <a:lnTo>
                    <a:pt x="3909788" y="1791686"/>
                  </a:lnTo>
                  <a:lnTo>
                    <a:pt x="3900260" y="1796452"/>
                  </a:lnTo>
                  <a:lnTo>
                    <a:pt x="3881200" y="1796452"/>
                  </a:lnTo>
                  <a:lnTo>
                    <a:pt x="3862136" y="1796452"/>
                  </a:lnTo>
                  <a:lnTo>
                    <a:pt x="3852608" y="1801216"/>
                  </a:lnTo>
                  <a:lnTo>
                    <a:pt x="3843076" y="1810746"/>
                  </a:lnTo>
                  <a:lnTo>
                    <a:pt x="3833548" y="1815512"/>
                  </a:lnTo>
                  <a:lnTo>
                    <a:pt x="3824016" y="1815512"/>
                  </a:lnTo>
                  <a:lnTo>
                    <a:pt x="3800192" y="1801216"/>
                  </a:lnTo>
                  <a:lnTo>
                    <a:pt x="3785896" y="1791686"/>
                  </a:lnTo>
                  <a:lnTo>
                    <a:pt x="3771600" y="1772626"/>
                  </a:lnTo>
                  <a:lnTo>
                    <a:pt x="3771600" y="1758330"/>
                  </a:lnTo>
                  <a:lnTo>
                    <a:pt x="3771600" y="1739270"/>
                  </a:lnTo>
                  <a:lnTo>
                    <a:pt x="3781132" y="1720210"/>
                  </a:lnTo>
                  <a:lnTo>
                    <a:pt x="3795428" y="1686854"/>
                  </a:lnTo>
                  <a:lnTo>
                    <a:pt x="3795428" y="1667794"/>
                  </a:lnTo>
                  <a:lnTo>
                    <a:pt x="3795428" y="1648732"/>
                  </a:lnTo>
                  <a:lnTo>
                    <a:pt x="3804956" y="1634438"/>
                  </a:lnTo>
                  <a:lnTo>
                    <a:pt x="3809720" y="1615376"/>
                  </a:lnTo>
                  <a:lnTo>
                    <a:pt x="3809720" y="1558196"/>
                  </a:lnTo>
                  <a:lnTo>
                    <a:pt x="3809720" y="1553430"/>
                  </a:lnTo>
                  <a:lnTo>
                    <a:pt x="3790660" y="1515308"/>
                  </a:lnTo>
                  <a:lnTo>
                    <a:pt x="3785896" y="1510544"/>
                  </a:lnTo>
                  <a:lnTo>
                    <a:pt x="3785896" y="1501014"/>
                  </a:lnTo>
                  <a:lnTo>
                    <a:pt x="3790660" y="1491484"/>
                  </a:lnTo>
                  <a:lnTo>
                    <a:pt x="3790660" y="1481954"/>
                  </a:lnTo>
                  <a:lnTo>
                    <a:pt x="3785896" y="1477188"/>
                  </a:lnTo>
                  <a:lnTo>
                    <a:pt x="3781132" y="1467658"/>
                  </a:lnTo>
                  <a:lnTo>
                    <a:pt x="3771600" y="1467658"/>
                  </a:lnTo>
                  <a:lnTo>
                    <a:pt x="3752540" y="1467658"/>
                  </a:lnTo>
                  <a:lnTo>
                    <a:pt x="3714420" y="1477188"/>
                  </a:lnTo>
                  <a:lnTo>
                    <a:pt x="3700124" y="1472422"/>
                  </a:lnTo>
                  <a:lnTo>
                    <a:pt x="3690592" y="1458128"/>
                  </a:lnTo>
                  <a:lnTo>
                    <a:pt x="3685828" y="1439066"/>
                  </a:lnTo>
                  <a:lnTo>
                    <a:pt x="3681064" y="1420006"/>
                  </a:lnTo>
                  <a:lnTo>
                    <a:pt x="3685828" y="1400946"/>
                  </a:lnTo>
                  <a:lnTo>
                    <a:pt x="3690592" y="1381886"/>
                  </a:lnTo>
                  <a:lnTo>
                    <a:pt x="3685828" y="1372356"/>
                  </a:lnTo>
                  <a:lnTo>
                    <a:pt x="3681064" y="1358060"/>
                  </a:lnTo>
                  <a:lnTo>
                    <a:pt x="3681064" y="1348530"/>
                  </a:lnTo>
                  <a:lnTo>
                    <a:pt x="3681064" y="1343764"/>
                  </a:lnTo>
                  <a:lnTo>
                    <a:pt x="3690592" y="1339000"/>
                  </a:lnTo>
                  <a:lnTo>
                    <a:pt x="3700124" y="1339000"/>
                  </a:lnTo>
                  <a:lnTo>
                    <a:pt x="3704888" y="1329468"/>
                  </a:lnTo>
                  <a:lnTo>
                    <a:pt x="3728716" y="1315174"/>
                  </a:lnTo>
                  <a:lnTo>
                    <a:pt x="3733480" y="1296114"/>
                  </a:lnTo>
                  <a:lnTo>
                    <a:pt x="3733480" y="1277052"/>
                  </a:lnTo>
                  <a:lnTo>
                    <a:pt x="3738244" y="1257992"/>
                  </a:lnTo>
                  <a:lnTo>
                    <a:pt x="3752540" y="1243696"/>
                  </a:lnTo>
                  <a:lnTo>
                    <a:pt x="3762072" y="1229402"/>
                  </a:lnTo>
                  <a:lnTo>
                    <a:pt x="3766836" y="1210340"/>
                  </a:lnTo>
                  <a:lnTo>
                    <a:pt x="3762072" y="1186516"/>
                  </a:lnTo>
                  <a:lnTo>
                    <a:pt x="3762072" y="1172220"/>
                  </a:lnTo>
                  <a:lnTo>
                    <a:pt x="3762072" y="1157924"/>
                  </a:lnTo>
                  <a:lnTo>
                    <a:pt x="3762072" y="1143628"/>
                  </a:lnTo>
                  <a:lnTo>
                    <a:pt x="3766836" y="1119804"/>
                  </a:lnTo>
                  <a:lnTo>
                    <a:pt x="3790660" y="1067386"/>
                  </a:lnTo>
                  <a:lnTo>
                    <a:pt x="3814488" y="1038796"/>
                  </a:lnTo>
                  <a:lnTo>
                    <a:pt x="3824016" y="1034032"/>
                  </a:lnTo>
                  <a:lnTo>
                    <a:pt x="3833548" y="1043562"/>
                  </a:lnTo>
                  <a:lnTo>
                    <a:pt x="3843076" y="1057856"/>
                  </a:lnTo>
                  <a:lnTo>
                    <a:pt x="3843076" y="1048326"/>
                  </a:lnTo>
                  <a:lnTo>
                    <a:pt x="3843076" y="1034032"/>
                  </a:lnTo>
                  <a:lnTo>
                    <a:pt x="3833548" y="1000676"/>
                  </a:lnTo>
                  <a:lnTo>
                    <a:pt x="3824016" y="938728"/>
                  </a:lnTo>
                  <a:lnTo>
                    <a:pt x="3828780" y="933964"/>
                  </a:lnTo>
                  <a:lnTo>
                    <a:pt x="3833548" y="933964"/>
                  </a:lnTo>
                  <a:lnTo>
                    <a:pt x="3843076" y="929198"/>
                  </a:lnTo>
                  <a:lnTo>
                    <a:pt x="3847844" y="919668"/>
                  </a:lnTo>
                  <a:lnTo>
                    <a:pt x="3838312" y="895842"/>
                  </a:lnTo>
                  <a:lnTo>
                    <a:pt x="3838312" y="886312"/>
                  </a:lnTo>
                  <a:lnTo>
                    <a:pt x="3857372" y="857722"/>
                  </a:lnTo>
                  <a:lnTo>
                    <a:pt x="3866904" y="843426"/>
                  </a:lnTo>
                  <a:lnTo>
                    <a:pt x="3876432" y="838660"/>
                  </a:lnTo>
                  <a:lnTo>
                    <a:pt x="3876432" y="819600"/>
                  </a:lnTo>
                  <a:lnTo>
                    <a:pt x="3885964" y="810070"/>
                  </a:lnTo>
                  <a:lnTo>
                    <a:pt x="3895492" y="805304"/>
                  </a:lnTo>
                  <a:lnTo>
                    <a:pt x="3905024" y="791010"/>
                  </a:lnTo>
                  <a:lnTo>
                    <a:pt x="3909788" y="771950"/>
                  </a:lnTo>
                  <a:lnTo>
                    <a:pt x="3914556" y="771950"/>
                  </a:lnTo>
                  <a:lnTo>
                    <a:pt x="3919320" y="771950"/>
                  </a:lnTo>
                  <a:lnTo>
                    <a:pt x="3924084" y="786244"/>
                  </a:lnTo>
                  <a:lnTo>
                    <a:pt x="3933616" y="791010"/>
                  </a:lnTo>
                  <a:lnTo>
                    <a:pt x="3947912" y="795774"/>
                  </a:lnTo>
                  <a:lnTo>
                    <a:pt x="3962204" y="791010"/>
                  </a:lnTo>
                  <a:lnTo>
                    <a:pt x="3966972" y="786244"/>
                  </a:lnTo>
                  <a:lnTo>
                    <a:pt x="3971736" y="776714"/>
                  </a:lnTo>
                  <a:lnTo>
                    <a:pt x="3981268" y="771950"/>
                  </a:lnTo>
                  <a:lnTo>
                    <a:pt x="3986032" y="762418"/>
                  </a:lnTo>
                  <a:lnTo>
                    <a:pt x="3995560" y="748124"/>
                  </a:lnTo>
                  <a:lnTo>
                    <a:pt x="4005092" y="729062"/>
                  </a:lnTo>
                  <a:lnTo>
                    <a:pt x="4009856" y="724298"/>
                  </a:lnTo>
                  <a:lnTo>
                    <a:pt x="4019388" y="719532"/>
                  </a:lnTo>
                  <a:lnTo>
                    <a:pt x="4028916" y="719532"/>
                  </a:lnTo>
                  <a:lnTo>
                    <a:pt x="4038448" y="719532"/>
                  </a:lnTo>
                  <a:lnTo>
                    <a:pt x="4057508" y="729062"/>
                  </a:lnTo>
                  <a:lnTo>
                    <a:pt x="4067040" y="729062"/>
                  </a:lnTo>
                  <a:lnTo>
                    <a:pt x="4081332" y="729062"/>
                  </a:lnTo>
                  <a:lnTo>
                    <a:pt x="4086100" y="733828"/>
                  </a:lnTo>
                  <a:lnTo>
                    <a:pt x="4095628" y="733828"/>
                  </a:lnTo>
                  <a:lnTo>
                    <a:pt x="4100396" y="743358"/>
                  </a:lnTo>
                  <a:lnTo>
                    <a:pt x="4105160" y="752888"/>
                  </a:lnTo>
                  <a:lnTo>
                    <a:pt x="4109924" y="757654"/>
                  </a:lnTo>
                  <a:lnTo>
                    <a:pt x="4119456" y="757654"/>
                  </a:lnTo>
                  <a:lnTo>
                    <a:pt x="4162340" y="757654"/>
                  </a:lnTo>
                  <a:lnTo>
                    <a:pt x="4200460" y="767184"/>
                  </a:lnTo>
                  <a:lnTo>
                    <a:pt x="4248112" y="767184"/>
                  </a:lnTo>
                  <a:lnTo>
                    <a:pt x="4267172" y="771950"/>
                  </a:lnTo>
                  <a:lnTo>
                    <a:pt x="4286236" y="776714"/>
                  </a:lnTo>
                  <a:lnTo>
                    <a:pt x="4305296" y="791010"/>
                  </a:lnTo>
                  <a:lnTo>
                    <a:pt x="4314824" y="795774"/>
                  </a:lnTo>
                  <a:lnTo>
                    <a:pt x="4319592" y="791010"/>
                  </a:lnTo>
                  <a:lnTo>
                    <a:pt x="4333884" y="781480"/>
                  </a:lnTo>
                  <a:lnTo>
                    <a:pt x="4338652" y="776714"/>
                  </a:lnTo>
                  <a:lnTo>
                    <a:pt x="4348180" y="776714"/>
                  </a:lnTo>
                  <a:lnTo>
                    <a:pt x="4381536" y="781480"/>
                  </a:lnTo>
                  <a:lnTo>
                    <a:pt x="4472076" y="795774"/>
                  </a:lnTo>
                  <a:lnTo>
                    <a:pt x="4481604" y="791010"/>
                  </a:lnTo>
                  <a:lnTo>
                    <a:pt x="4538788" y="767184"/>
                  </a:lnTo>
                  <a:lnTo>
                    <a:pt x="4557848" y="738594"/>
                  </a:lnTo>
                  <a:lnTo>
                    <a:pt x="4576908" y="733828"/>
                  </a:lnTo>
                  <a:lnTo>
                    <a:pt x="4586436" y="719532"/>
                  </a:lnTo>
                  <a:lnTo>
                    <a:pt x="4586436" y="710002"/>
                  </a:lnTo>
                  <a:lnTo>
                    <a:pt x="4595968" y="705238"/>
                  </a:lnTo>
                  <a:lnTo>
                    <a:pt x="4610264" y="700472"/>
                  </a:lnTo>
                  <a:lnTo>
                    <a:pt x="4615028" y="695708"/>
                  </a:lnTo>
                  <a:lnTo>
                    <a:pt x="4629324" y="681412"/>
                  </a:lnTo>
                  <a:lnTo>
                    <a:pt x="4643620" y="662352"/>
                  </a:lnTo>
                  <a:close/>
                  <a:moveTo>
                    <a:pt x="1003060" y="595640"/>
                  </a:moveTo>
                  <a:lnTo>
                    <a:pt x="1012592" y="600406"/>
                  </a:lnTo>
                  <a:lnTo>
                    <a:pt x="1022120" y="614700"/>
                  </a:lnTo>
                  <a:lnTo>
                    <a:pt x="1022120" y="624230"/>
                  </a:lnTo>
                  <a:lnTo>
                    <a:pt x="1017356" y="633762"/>
                  </a:lnTo>
                  <a:lnTo>
                    <a:pt x="1012592" y="648056"/>
                  </a:lnTo>
                  <a:lnTo>
                    <a:pt x="993532" y="657588"/>
                  </a:lnTo>
                  <a:lnTo>
                    <a:pt x="979236" y="652822"/>
                  </a:lnTo>
                  <a:lnTo>
                    <a:pt x="974472" y="652822"/>
                  </a:lnTo>
                  <a:lnTo>
                    <a:pt x="964940" y="628996"/>
                  </a:lnTo>
                  <a:lnTo>
                    <a:pt x="964940" y="609936"/>
                  </a:lnTo>
                  <a:lnTo>
                    <a:pt x="969704" y="600406"/>
                  </a:lnTo>
                  <a:lnTo>
                    <a:pt x="988764" y="605170"/>
                  </a:lnTo>
                  <a:close/>
                  <a:moveTo>
                    <a:pt x="5124896" y="581344"/>
                  </a:moveTo>
                  <a:lnTo>
                    <a:pt x="5124896" y="586110"/>
                  </a:lnTo>
                  <a:lnTo>
                    <a:pt x="5124896" y="595640"/>
                  </a:lnTo>
                  <a:lnTo>
                    <a:pt x="5105836" y="619466"/>
                  </a:lnTo>
                  <a:lnTo>
                    <a:pt x="5101072" y="628996"/>
                  </a:lnTo>
                  <a:lnTo>
                    <a:pt x="5101072" y="638526"/>
                  </a:lnTo>
                  <a:lnTo>
                    <a:pt x="5110600" y="648056"/>
                  </a:lnTo>
                  <a:lnTo>
                    <a:pt x="5120132" y="657586"/>
                  </a:lnTo>
                  <a:lnTo>
                    <a:pt x="5120132" y="676646"/>
                  </a:lnTo>
                  <a:lnTo>
                    <a:pt x="5124896" y="695708"/>
                  </a:lnTo>
                  <a:lnTo>
                    <a:pt x="5120132" y="719532"/>
                  </a:lnTo>
                  <a:lnTo>
                    <a:pt x="5115368" y="724298"/>
                  </a:lnTo>
                  <a:lnTo>
                    <a:pt x="5101072" y="743358"/>
                  </a:lnTo>
                  <a:lnTo>
                    <a:pt x="5062948" y="767184"/>
                  </a:lnTo>
                  <a:lnTo>
                    <a:pt x="5062948" y="771950"/>
                  </a:lnTo>
                  <a:lnTo>
                    <a:pt x="5062948" y="781480"/>
                  </a:lnTo>
                  <a:lnTo>
                    <a:pt x="5067716" y="786244"/>
                  </a:lnTo>
                  <a:lnTo>
                    <a:pt x="5077244" y="791010"/>
                  </a:lnTo>
                  <a:lnTo>
                    <a:pt x="5086776" y="795774"/>
                  </a:lnTo>
                  <a:lnTo>
                    <a:pt x="5101072" y="795774"/>
                  </a:lnTo>
                  <a:lnTo>
                    <a:pt x="5105836" y="791010"/>
                  </a:lnTo>
                  <a:lnTo>
                    <a:pt x="5105836" y="781480"/>
                  </a:lnTo>
                  <a:lnTo>
                    <a:pt x="5115368" y="762418"/>
                  </a:lnTo>
                  <a:lnTo>
                    <a:pt x="5129660" y="752888"/>
                  </a:lnTo>
                  <a:lnTo>
                    <a:pt x="5139192" y="748124"/>
                  </a:lnTo>
                  <a:lnTo>
                    <a:pt x="5143956" y="743358"/>
                  </a:lnTo>
                  <a:lnTo>
                    <a:pt x="5143956" y="733828"/>
                  </a:lnTo>
                  <a:lnTo>
                    <a:pt x="5143956" y="719532"/>
                  </a:lnTo>
                  <a:lnTo>
                    <a:pt x="5153488" y="705238"/>
                  </a:lnTo>
                  <a:lnTo>
                    <a:pt x="5186844" y="690942"/>
                  </a:lnTo>
                  <a:lnTo>
                    <a:pt x="5201140" y="681412"/>
                  </a:lnTo>
                  <a:lnTo>
                    <a:pt x="5224964" y="681412"/>
                  </a:lnTo>
                  <a:lnTo>
                    <a:pt x="5229728" y="686176"/>
                  </a:lnTo>
                  <a:lnTo>
                    <a:pt x="5224964" y="695708"/>
                  </a:lnTo>
                  <a:lnTo>
                    <a:pt x="5229728" y="710002"/>
                  </a:lnTo>
                  <a:lnTo>
                    <a:pt x="5229728" y="752888"/>
                  </a:lnTo>
                  <a:lnTo>
                    <a:pt x="5224964" y="757654"/>
                  </a:lnTo>
                  <a:lnTo>
                    <a:pt x="5201140" y="771950"/>
                  </a:lnTo>
                  <a:lnTo>
                    <a:pt x="5172548" y="781480"/>
                  </a:lnTo>
                  <a:lnTo>
                    <a:pt x="5163016" y="791010"/>
                  </a:lnTo>
                  <a:lnTo>
                    <a:pt x="5158252" y="800540"/>
                  </a:lnTo>
                  <a:lnTo>
                    <a:pt x="5158252" y="810070"/>
                  </a:lnTo>
                  <a:lnTo>
                    <a:pt x="5182080" y="824366"/>
                  </a:lnTo>
                  <a:lnTo>
                    <a:pt x="5215432" y="838660"/>
                  </a:lnTo>
                  <a:lnTo>
                    <a:pt x="5220200" y="848192"/>
                  </a:lnTo>
                  <a:lnTo>
                    <a:pt x="5224964" y="857722"/>
                  </a:lnTo>
                  <a:lnTo>
                    <a:pt x="5224964" y="867252"/>
                  </a:lnTo>
                  <a:lnTo>
                    <a:pt x="5234496" y="876782"/>
                  </a:lnTo>
                  <a:lnTo>
                    <a:pt x="5248788" y="876782"/>
                  </a:lnTo>
                  <a:lnTo>
                    <a:pt x="5253556" y="886312"/>
                  </a:lnTo>
                  <a:lnTo>
                    <a:pt x="5258320" y="891078"/>
                  </a:lnTo>
                  <a:lnTo>
                    <a:pt x="5201140" y="872016"/>
                  </a:lnTo>
                  <a:lnTo>
                    <a:pt x="5186844" y="862486"/>
                  </a:lnTo>
                  <a:lnTo>
                    <a:pt x="5172548" y="862486"/>
                  </a:lnTo>
                  <a:lnTo>
                    <a:pt x="5153488" y="862486"/>
                  </a:lnTo>
                  <a:lnTo>
                    <a:pt x="5134428" y="852956"/>
                  </a:lnTo>
                  <a:lnTo>
                    <a:pt x="5115368" y="852956"/>
                  </a:lnTo>
                  <a:lnTo>
                    <a:pt x="5105836" y="857722"/>
                  </a:lnTo>
                  <a:lnTo>
                    <a:pt x="5101072" y="867252"/>
                  </a:lnTo>
                  <a:lnTo>
                    <a:pt x="5101072" y="876782"/>
                  </a:lnTo>
                  <a:lnTo>
                    <a:pt x="5105836" y="895842"/>
                  </a:lnTo>
                  <a:lnTo>
                    <a:pt x="5105836" y="900608"/>
                  </a:lnTo>
                  <a:lnTo>
                    <a:pt x="5101072" y="919668"/>
                  </a:lnTo>
                  <a:lnTo>
                    <a:pt x="5115368" y="962554"/>
                  </a:lnTo>
                  <a:lnTo>
                    <a:pt x="5134428" y="1000676"/>
                  </a:lnTo>
                  <a:lnTo>
                    <a:pt x="5158252" y="1038796"/>
                  </a:lnTo>
                  <a:lnTo>
                    <a:pt x="5172548" y="1053092"/>
                  </a:lnTo>
                  <a:lnTo>
                    <a:pt x="5186844" y="1067388"/>
                  </a:lnTo>
                  <a:lnTo>
                    <a:pt x="5163016" y="1062622"/>
                  </a:lnTo>
                  <a:lnTo>
                    <a:pt x="5153488" y="1048326"/>
                  </a:lnTo>
                  <a:lnTo>
                    <a:pt x="5124896" y="1034032"/>
                  </a:lnTo>
                  <a:lnTo>
                    <a:pt x="5120132" y="1029266"/>
                  </a:lnTo>
                  <a:lnTo>
                    <a:pt x="5101072" y="991144"/>
                  </a:lnTo>
                  <a:lnTo>
                    <a:pt x="5096304" y="986380"/>
                  </a:lnTo>
                  <a:lnTo>
                    <a:pt x="5077244" y="972084"/>
                  </a:lnTo>
                  <a:lnTo>
                    <a:pt x="5072480" y="962554"/>
                  </a:lnTo>
                  <a:lnTo>
                    <a:pt x="5067716" y="953024"/>
                  </a:lnTo>
                  <a:lnTo>
                    <a:pt x="5067716" y="938728"/>
                  </a:lnTo>
                  <a:lnTo>
                    <a:pt x="5067716" y="919668"/>
                  </a:lnTo>
                  <a:lnTo>
                    <a:pt x="5067716" y="900608"/>
                  </a:lnTo>
                  <a:lnTo>
                    <a:pt x="5072480" y="881548"/>
                  </a:lnTo>
                  <a:lnTo>
                    <a:pt x="5067716" y="872016"/>
                  </a:lnTo>
                  <a:lnTo>
                    <a:pt x="5058184" y="867252"/>
                  </a:lnTo>
                  <a:lnTo>
                    <a:pt x="5048656" y="848192"/>
                  </a:lnTo>
                  <a:lnTo>
                    <a:pt x="5043888" y="829130"/>
                  </a:lnTo>
                  <a:lnTo>
                    <a:pt x="5048656" y="819600"/>
                  </a:lnTo>
                  <a:lnTo>
                    <a:pt x="5053420" y="810070"/>
                  </a:lnTo>
                  <a:lnTo>
                    <a:pt x="5058184" y="800540"/>
                  </a:lnTo>
                  <a:lnTo>
                    <a:pt x="5058184" y="791010"/>
                  </a:lnTo>
                  <a:lnTo>
                    <a:pt x="5043888" y="781480"/>
                  </a:lnTo>
                  <a:lnTo>
                    <a:pt x="5029592" y="748124"/>
                  </a:lnTo>
                  <a:lnTo>
                    <a:pt x="5029592" y="729062"/>
                  </a:lnTo>
                  <a:lnTo>
                    <a:pt x="5043888" y="695708"/>
                  </a:lnTo>
                  <a:lnTo>
                    <a:pt x="5043888" y="681412"/>
                  </a:lnTo>
                  <a:lnTo>
                    <a:pt x="5048656" y="671882"/>
                  </a:lnTo>
                  <a:lnTo>
                    <a:pt x="5053420" y="662352"/>
                  </a:lnTo>
                  <a:lnTo>
                    <a:pt x="5062948" y="638526"/>
                  </a:lnTo>
                  <a:lnTo>
                    <a:pt x="5077244" y="619466"/>
                  </a:lnTo>
                  <a:lnTo>
                    <a:pt x="5101072" y="590874"/>
                  </a:lnTo>
                  <a:lnTo>
                    <a:pt x="5115368" y="586110"/>
                  </a:lnTo>
                  <a:close/>
                  <a:moveTo>
                    <a:pt x="304968" y="576580"/>
                  </a:moveTo>
                  <a:lnTo>
                    <a:pt x="319264" y="581344"/>
                  </a:lnTo>
                  <a:lnTo>
                    <a:pt x="324028" y="581344"/>
                  </a:lnTo>
                  <a:lnTo>
                    <a:pt x="328796" y="590874"/>
                  </a:lnTo>
                  <a:lnTo>
                    <a:pt x="333560" y="600404"/>
                  </a:lnTo>
                  <a:lnTo>
                    <a:pt x="328796" y="605170"/>
                  </a:lnTo>
                  <a:lnTo>
                    <a:pt x="314500" y="586110"/>
                  </a:lnTo>
                  <a:lnTo>
                    <a:pt x="295440" y="581344"/>
                  </a:lnTo>
                  <a:close/>
                  <a:moveTo>
                    <a:pt x="5205904" y="519396"/>
                  </a:moveTo>
                  <a:lnTo>
                    <a:pt x="5210668" y="519396"/>
                  </a:lnTo>
                  <a:lnTo>
                    <a:pt x="5224964" y="538458"/>
                  </a:lnTo>
                  <a:lnTo>
                    <a:pt x="5215432" y="576578"/>
                  </a:lnTo>
                  <a:lnTo>
                    <a:pt x="5205904" y="600404"/>
                  </a:lnTo>
                  <a:lnTo>
                    <a:pt x="5186844" y="605168"/>
                  </a:lnTo>
                  <a:lnTo>
                    <a:pt x="5163016" y="605168"/>
                  </a:lnTo>
                  <a:lnTo>
                    <a:pt x="5158252" y="600404"/>
                  </a:lnTo>
                  <a:lnTo>
                    <a:pt x="5153488" y="567048"/>
                  </a:lnTo>
                  <a:lnTo>
                    <a:pt x="5172548" y="538458"/>
                  </a:lnTo>
                  <a:lnTo>
                    <a:pt x="5191608" y="524162"/>
                  </a:lnTo>
                  <a:close/>
                  <a:moveTo>
                    <a:pt x="4710328" y="486042"/>
                  </a:moveTo>
                  <a:lnTo>
                    <a:pt x="4719860" y="490808"/>
                  </a:lnTo>
                  <a:lnTo>
                    <a:pt x="4719860" y="495572"/>
                  </a:lnTo>
                  <a:lnTo>
                    <a:pt x="4715096" y="500338"/>
                  </a:lnTo>
                  <a:lnTo>
                    <a:pt x="4715096" y="509868"/>
                  </a:lnTo>
                  <a:lnTo>
                    <a:pt x="4710328" y="514632"/>
                  </a:lnTo>
                  <a:lnTo>
                    <a:pt x="4705564" y="495572"/>
                  </a:lnTo>
                  <a:close/>
                  <a:moveTo>
                    <a:pt x="90540" y="471746"/>
                  </a:moveTo>
                  <a:lnTo>
                    <a:pt x="104832" y="476512"/>
                  </a:lnTo>
                  <a:lnTo>
                    <a:pt x="123896" y="490806"/>
                  </a:lnTo>
                  <a:lnTo>
                    <a:pt x="138188" y="495572"/>
                  </a:lnTo>
                  <a:lnTo>
                    <a:pt x="142956" y="500336"/>
                  </a:lnTo>
                  <a:lnTo>
                    <a:pt x="152484" y="509866"/>
                  </a:lnTo>
                  <a:lnTo>
                    <a:pt x="185840" y="533692"/>
                  </a:lnTo>
                  <a:lnTo>
                    <a:pt x="190604" y="538458"/>
                  </a:lnTo>
                  <a:lnTo>
                    <a:pt x="195372" y="547988"/>
                  </a:lnTo>
                  <a:lnTo>
                    <a:pt x="195372" y="557518"/>
                  </a:lnTo>
                  <a:lnTo>
                    <a:pt x="185840" y="557518"/>
                  </a:lnTo>
                  <a:lnTo>
                    <a:pt x="176312" y="557518"/>
                  </a:lnTo>
                  <a:lnTo>
                    <a:pt x="166780" y="547988"/>
                  </a:lnTo>
                  <a:lnTo>
                    <a:pt x="128660" y="519398"/>
                  </a:lnTo>
                  <a:lnTo>
                    <a:pt x="114364" y="519398"/>
                  </a:lnTo>
                  <a:lnTo>
                    <a:pt x="104832" y="514632"/>
                  </a:lnTo>
                  <a:lnTo>
                    <a:pt x="95304" y="509866"/>
                  </a:lnTo>
                  <a:lnTo>
                    <a:pt x="81008" y="495572"/>
                  </a:lnTo>
                  <a:lnTo>
                    <a:pt x="76244" y="486042"/>
                  </a:lnTo>
                  <a:lnTo>
                    <a:pt x="85772" y="481276"/>
                  </a:lnTo>
                  <a:close/>
                  <a:moveTo>
                    <a:pt x="2132396" y="457452"/>
                  </a:moveTo>
                  <a:lnTo>
                    <a:pt x="2132396" y="471746"/>
                  </a:lnTo>
                  <a:lnTo>
                    <a:pt x="2127632" y="481276"/>
                  </a:lnTo>
                  <a:lnTo>
                    <a:pt x="2118100" y="476512"/>
                  </a:lnTo>
                  <a:close/>
                  <a:moveTo>
                    <a:pt x="5610936" y="447920"/>
                  </a:moveTo>
                  <a:lnTo>
                    <a:pt x="5615704" y="447920"/>
                  </a:lnTo>
                  <a:lnTo>
                    <a:pt x="5615704" y="452686"/>
                  </a:lnTo>
                  <a:lnTo>
                    <a:pt x="5610936" y="452686"/>
                  </a:lnTo>
                  <a:close/>
                  <a:moveTo>
                    <a:pt x="1636824" y="447920"/>
                  </a:moveTo>
                  <a:lnTo>
                    <a:pt x="1641588" y="452686"/>
                  </a:lnTo>
                  <a:lnTo>
                    <a:pt x="1646352" y="457452"/>
                  </a:lnTo>
                  <a:lnTo>
                    <a:pt x="1651120" y="457452"/>
                  </a:lnTo>
                  <a:lnTo>
                    <a:pt x="1655884" y="462216"/>
                  </a:lnTo>
                  <a:lnTo>
                    <a:pt x="1651120" y="471746"/>
                  </a:lnTo>
                  <a:lnTo>
                    <a:pt x="1646352" y="476512"/>
                  </a:lnTo>
                  <a:lnTo>
                    <a:pt x="1636824" y="481276"/>
                  </a:lnTo>
                  <a:lnTo>
                    <a:pt x="1636824" y="476512"/>
                  </a:lnTo>
                  <a:lnTo>
                    <a:pt x="1636824" y="466982"/>
                  </a:lnTo>
                  <a:lnTo>
                    <a:pt x="1636824" y="462216"/>
                  </a:lnTo>
                  <a:lnTo>
                    <a:pt x="1636824" y="457452"/>
                  </a:lnTo>
                  <a:close/>
                  <a:moveTo>
                    <a:pt x="1717832" y="419330"/>
                  </a:moveTo>
                  <a:lnTo>
                    <a:pt x="1727360" y="424096"/>
                  </a:lnTo>
                  <a:lnTo>
                    <a:pt x="1727360" y="433626"/>
                  </a:lnTo>
                  <a:lnTo>
                    <a:pt x="1727360" y="443156"/>
                  </a:lnTo>
                  <a:lnTo>
                    <a:pt x="1717832" y="438390"/>
                  </a:lnTo>
                  <a:lnTo>
                    <a:pt x="1713064" y="424096"/>
                  </a:lnTo>
                  <a:close/>
                  <a:moveTo>
                    <a:pt x="3485692" y="390740"/>
                  </a:moveTo>
                  <a:lnTo>
                    <a:pt x="3499988" y="390740"/>
                  </a:lnTo>
                  <a:lnTo>
                    <a:pt x="3509520" y="390740"/>
                  </a:lnTo>
                  <a:lnTo>
                    <a:pt x="3504752" y="414564"/>
                  </a:lnTo>
                  <a:lnTo>
                    <a:pt x="3499988" y="419330"/>
                  </a:lnTo>
                  <a:lnTo>
                    <a:pt x="3485692" y="405034"/>
                  </a:lnTo>
                  <a:lnTo>
                    <a:pt x="3485692" y="395504"/>
                  </a:lnTo>
                  <a:close/>
                  <a:moveTo>
                    <a:pt x="4724628" y="343088"/>
                  </a:moveTo>
                  <a:lnTo>
                    <a:pt x="4734156" y="352618"/>
                  </a:lnTo>
                  <a:lnTo>
                    <a:pt x="4743688" y="366914"/>
                  </a:lnTo>
                  <a:lnTo>
                    <a:pt x="4748452" y="381208"/>
                  </a:lnTo>
                  <a:lnTo>
                    <a:pt x="4753216" y="390738"/>
                  </a:lnTo>
                  <a:lnTo>
                    <a:pt x="4748452" y="395504"/>
                  </a:lnTo>
                  <a:lnTo>
                    <a:pt x="4729392" y="385974"/>
                  </a:lnTo>
                  <a:lnTo>
                    <a:pt x="4729392" y="371678"/>
                  </a:lnTo>
                  <a:lnTo>
                    <a:pt x="4729392" y="362148"/>
                  </a:lnTo>
                  <a:lnTo>
                    <a:pt x="4724628" y="357384"/>
                  </a:lnTo>
                  <a:lnTo>
                    <a:pt x="4719860" y="347854"/>
                  </a:lnTo>
                  <a:close/>
                  <a:moveTo>
                    <a:pt x="4929528" y="324028"/>
                  </a:moveTo>
                  <a:lnTo>
                    <a:pt x="4934292" y="324028"/>
                  </a:lnTo>
                  <a:lnTo>
                    <a:pt x="4939056" y="328792"/>
                  </a:lnTo>
                  <a:lnTo>
                    <a:pt x="4939056" y="333556"/>
                  </a:lnTo>
                  <a:lnTo>
                    <a:pt x="4939056" y="338322"/>
                  </a:lnTo>
                  <a:lnTo>
                    <a:pt x="4929528" y="333556"/>
                  </a:lnTo>
                  <a:lnTo>
                    <a:pt x="4929528" y="328792"/>
                  </a:lnTo>
                  <a:close/>
                  <a:moveTo>
                    <a:pt x="4905700" y="295436"/>
                  </a:moveTo>
                  <a:lnTo>
                    <a:pt x="4915232" y="300202"/>
                  </a:lnTo>
                  <a:lnTo>
                    <a:pt x="4919996" y="314498"/>
                  </a:lnTo>
                  <a:lnTo>
                    <a:pt x="4919996" y="319262"/>
                  </a:lnTo>
                  <a:lnTo>
                    <a:pt x="4919996" y="328792"/>
                  </a:lnTo>
                  <a:lnTo>
                    <a:pt x="4910464" y="309732"/>
                  </a:lnTo>
                  <a:close/>
                  <a:moveTo>
                    <a:pt x="3499988" y="271612"/>
                  </a:moveTo>
                  <a:lnTo>
                    <a:pt x="3519048" y="276376"/>
                  </a:lnTo>
                  <a:lnTo>
                    <a:pt x="3538108" y="271612"/>
                  </a:lnTo>
                  <a:lnTo>
                    <a:pt x="3542872" y="285906"/>
                  </a:lnTo>
                  <a:lnTo>
                    <a:pt x="3542872" y="290672"/>
                  </a:lnTo>
                  <a:lnTo>
                    <a:pt x="3514284" y="300202"/>
                  </a:lnTo>
                  <a:lnTo>
                    <a:pt x="3499988" y="281142"/>
                  </a:lnTo>
                  <a:close/>
                  <a:moveTo>
                    <a:pt x="2027564" y="266846"/>
                  </a:moveTo>
                  <a:lnTo>
                    <a:pt x="2032328" y="266846"/>
                  </a:lnTo>
                  <a:lnTo>
                    <a:pt x="2032328" y="276376"/>
                  </a:lnTo>
                  <a:lnTo>
                    <a:pt x="2056156" y="304966"/>
                  </a:lnTo>
                  <a:lnTo>
                    <a:pt x="2056156" y="319262"/>
                  </a:lnTo>
                  <a:lnTo>
                    <a:pt x="2056156" y="324028"/>
                  </a:lnTo>
                  <a:lnTo>
                    <a:pt x="2046624" y="347852"/>
                  </a:lnTo>
                  <a:lnTo>
                    <a:pt x="2022800" y="352618"/>
                  </a:lnTo>
                  <a:lnTo>
                    <a:pt x="2008504" y="347852"/>
                  </a:lnTo>
                  <a:lnTo>
                    <a:pt x="2022800" y="338322"/>
                  </a:lnTo>
                  <a:lnTo>
                    <a:pt x="2027564" y="338322"/>
                  </a:lnTo>
                  <a:lnTo>
                    <a:pt x="2032328" y="333558"/>
                  </a:lnTo>
                  <a:lnTo>
                    <a:pt x="2032328" y="328792"/>
                  </a:lnTo>
                  <a:lnTo>
                    <a:pt x="2008504" y="324028"/>
                  </a:lnTo>
                  <a:lnTo>
                    <a:pt x="2003740" y="319262"/>
                  </a:lnTo>
                  <a:lnTo>
                    <a:pt x="1994208" y="304966"/>
                  </a:lnTo>
                  <a:lnTo>
                    <a:pt x="1994208" y="295436"/>
                  </a:lnTo>
                  <a:close/>
                  <a:moveTo>
                    <a:pt x="3266496" y="243020"/>
                  </a:moveTo>
                  <a:lnTo>
                    <a:pt x="3280792" y="243020"/>
                  </a:lnTo>
                  <a:lnTo>
                    <a:pt x="3295088" y="243020"/>
                  </a:lnTo>
                  <a:lnTo>
                    <a:pt x="3299852" y="247786"/>
                  </a:lnTo>
                  <a:lnTo>
                    <a:pt x="3309384" y="252550"/>
                  </a:lnTo>
                  <a:lnTo>
                    <a:pt x="3323680" y="243020"/>
                  </a:lnTo>
                  <a:lnTo>
                    <a:pt x="3328444" y="243020"/>
                  </a:lnTo>
                  <a:lnTo>
                    <a:pt x="3337976" y="247786"/>
                  </a:lnTo>
                  <a:lnTo>
                    <a:pt x="3342740" y="247786"/>
                  </a:lnTo>
                  <a:lnTo>
                    <a:pt x="3352268" y="243020"/>
                  </a:lnTo>
                  <a:lnTo>
                    <a:pt x="3376096" y="247786"/>
                  </a:lnTo>
                  <a:lnTo>
                    <a:pt x="3414216" y="247786"/>
                  </a:lnTo>
                  <a:lnTo>
                    <a:pt x="3442808" y="252550"/>
                  </a:lnTo>
                  <a:lnTo>
                    <a:pt x="3471396" y="271610"/>
                  </a:lnTo>
                  <a:lnTo>
                    <a:pt x="3485692" y="271610"/>
                  </a:lnTo>
                  <a:lnTo>
                    <a:pt x="3490460" y="271610"/>
                  </a:lnTo>
                  <a:lnTo>
                    <a:pt x="3490460" y="276376"/>
                  </a:lnTo>
                  <a:lnTo>
                    <a:pt x="3476164" y="281142"/>
                  </a:lnTo>
                  <a:lnTo>
                    <a:pt x="3471396" y="290672"/>
                  </a:lnTo>
                  <a:lnTo>
                    <a:pt x="3485692" y="300202"/>
                  </a:lnTo>
                  <a:lnTo>
                    <a:pt x="3490460" y="309732"/>
                  </a:lnTo>
                  <a:lnTo>
                    <a:pt x="3499988" y="319262"/>
                  </a:lnTo>
                  <a:lnTo>
                    <a:pt x="3514284" y="333558"/>
                  </a:lnTo>
                  <a:lnTo>
                    <a:pt x="3514284" y="338322"/>
                  </a:lnTo>
                  <a:lnTo>
                    <a:pt x="3519048" y="343088"/>
                  </a:lnTo>
                  <a:lnTo>
                    <a:pt x="3523816" y="347852"/>
                  </a:lnTo>
                  <a:lnTo>
                    <a:pt x="3514284" y="357384"/>
                  </a:lnTo>
                  <a:lnTo>
                    <a:pt x="3499988" y="357384"/>
                  </a:lnTo>
                  <a:lnTo>
                    <a:pt x="3490460" y="352618"/>
                  </a:lnTo>
                  <a:lnTo>
                    <a:pt x="3480928" y="343088"/>
                  </a:lnTo>
                  <a:lnTo>
                    <a:pt x="3476164" y="352618"/>
                  </a:lnTo>
                  <a:lnTo>
                    <a:pt x="3471396" y="357384"/>
                  </a:lnTo>
                  <a:lnTo>
                    <a:pt x="3447572" y="357384"/>
                  </a:lnTo>
                  <a:lnTo>
                    <a:pt x="3428512" y="357384"/>
                  </a:lnTo>
                  <a:lnTo>
                    <a:pt x="3409452" y="357384"/>
                  </a:lnTo>
                  <a:lnTo>
                    <a:pt x="3418980" y="362148"/>
                  </a:lnTo>
                  <a:lnTo>
                    <a:pt x="3428512" y="362148"/>
                  </a:lnTo>
                  <a:lnTo>
                    <a:pt x="3457104" y="390738"/>
                  </a:lnTo>
                  <a:lnTo>
                    <a:pt x="3461868" y="400270"/>
                  </a:lnTo>
                  <a:lnTo>
                    <a:pt x="3452336" y="419330"/>
                  </a:lnTo>
                  <a:lnTo>
                    <a:pt x="3457104" y="428860"/>
                  </a:lnTo>
                  <a:lnTo>
                    <a:pt x="3466632" y="428860"/>
                  </a:lnTo>
                  <a:lnTo>
                    <a:pt x="3480928" y="438390"/>
                  </a:lnTo>
                  <a:lnTo>
                    <a:pt x="3490460" y="443156"/>
                  </a:lnTo>
                  <a:lnTo>
                    <a:pt x="3495224" y="447920"/>
                  </a:lnTo>
                  <a:lnTo>
                    <a:pt x="3495224" y="457450"/>
                  </a:lnTo>
                  <a:lnTo>
                    <a:pt x="3499988" y="462216"/>
                  </a:lnTo>
                  <a:lnTo>
                    <a:pt x="3490460" y="466982"/>
                  </a:lnTo>
                  <a:lnTo>
                    <a:pt x="3499988" y="471746"/>
                  </a:lnTo>
                  <a:lnTo>
                    <a:pt x="3509520" y="476512"/>
                  </a:lnTo>
                  <a:lnTo>
                    <a:pt x="3504752" y="481276"/>
                  </a:lnTo>
                  <a:lnTo>
                    <a:pt x="3499988" y="486042"/>
                  </a:lnTo>
                  <a:lnTo>
                    <a:pt x="3504752" y="486042"/>
                  </a:lnTo>
                  <a:lnTo>
                    <a:pt x="3519048" y="490806"/>
                  </a:lnTo>
                  <a:lnTo>
                    <a:pt x="3523816" y="495572"/>
                  </a:lnTo>
                  <a:lnTo>
                    <a:pt x="3523816" y="509868"/>
                  </a:lnTo>
                  <a:lnTo>
                    <a:pt x="3538108" y="528928"/>
                  </a:lnTo>
                  <a:lnTo>
                    <a:pt x="3561936" y="552754"/>
                  </a:lnTo>
                  <a:lnTo>
                    <a:pt x="3566700" y="562284"/>
                  </a:lnTo>
                  <a:lnTo>
                    <a:pt x="3566700" y="571814"/>
                  </a:lnTo>
                  <a:lnTo>
                    <a:pt x="3561936" y="581344"/>
                  </a:lnTo>
                  <a:lnTo>
                    <a:pt x="3552404" y="586110"/>
                  </a:lnTo>
                  <a:lnTo>
                    <a:pt x="3538108" y="600404"/>
                  </a:lnTo>
                  <a:lnTo>
                    <a:pt x="3538108" y="605170"/>
                  </a:lnTo>
                  <a:lnTo>
                    <a:pt x="3523816" y="609934"/>
                  </a:lnTo>
                  <a:lnTo>
                    <a:pt x="3528580" y="614700"/>
                  </a:lnTo>
                  <a:lnTo>
                    <a:pt x="3533344" y="619466"/>
                  </a:lnTo>
                  <a:lnTo>
                    <a:pt x="3547640" y="633760"/>
                  </a:lnTo>
                  <a:lnTo>
                    <a:pt x="3571464" y="657586"/>
                  </a:lnTo>
                  <a:lnTo>
                    <a:pt x="3580996" y="667116"/>
                  </a:lnTo>
                  <a:lnTo>
                    <a:pt x="3628648" y="705238"/>
                  </a:lnTo>
                  <a:lnTo>
                    <a:pt x="3657236" y="719532"/>
                  </a:lnTo>
                  <a:lnTo>
                    <a:pt x="3690592" y="752888"/>
                  </a:lnTo>
                  <a:lnTo>
                    <a:pt x="3709656" y="762420"/>
                  </a:lnTo>
                  <a:lnTo>
                    <a:pt x="3709656" y="771950"/>
                  </a:lnTo>
                  <a:lnTo>
                    <a:pt x="3695360" y="786244"/>
                  </a:lnTo>
                  <a:lnTo>
                    <a:pt x="3676300" y="795774"/>
                  </a:lnTo>
                  <a:lnTo>
                    <a:pt x="3638176" y="800540"/>
                  </a:lnTo>
                  <a:lnTo>
                    <a:pt x="3604820" y="795774"/>
                  </a:lnTo>
                  <a:lnTo>
                    <a:pt x="3585760" y="791010"/>
                  </a:lnTo>
                  <a:lnTo>
                    <a:pt x="3571464" y="781480"/>
                  </a:lnTo>
                  <a:lnTo>
                    <a:pt x="3557168" y="762420"/>
                  </a:lnTo>
                  <a:lnTo>
                    <a:pt x="3542876" y="752888"/>
                  </a:lnTo>
                  <a:lnTo>
                    <a:pt x="3547640" y="767184"/>
                  </a:lnTo>
                  <a:lnTo>
                    <a:pt x="3552404" y="776714"/>
                  </a:lnTo>
                  <a:lnTo>
                    <a:pt x="3552404" y="786244"/>
                  </a:lnTo>
                  <a:lnTo>
                    <a:pt x="3542876" y="795774"/>
                  </a:lnTo>
                  <a:lnTo>
                    <a:pt x="3533344" y="800540"/>
                  </a:lnTo>
                  <a:lnTo>
                    <a:pt x="3523816" y="810070"/>
                  </a:lnTo>
                  <a:lnTo>
                    <a:pt x="3519048" y="810070"/>
                  </a:lnTo>
                  <a:lnTo>
                    <a:pt x="3485692" y="872016"/>
                  </a:lnTo>
                  <a:lnTo>
                    <a:pt x="3480928" y="891078"/>
                  </a:lnTo>
                  <a:lnTo>
                    <a:pt x="3471396" y="957790"/>
                  </a:lnTo>
                  <a:lnTo>
                    <a:pt x="3471396" y="976850"/>
                  </a:lnTo>
                  <a:lnTo>
                    <a:pt x="3485692" y="1010206"/>
                  </a:lnTo>
                  <a:lnTo>
                    <a:pt x="3485692" y="1029266"/>
                  </a:lnTo>
                  <a:lnTo>
                    <a:pt x="3490460" y="1038796"/>
                  </a:lnTo>
                  <a:lnTo>
                    <a:pt x="3485692" y="1048326"/>
                  </a:lnTo>
                  <a:lnTo>
                    <a:pt x="3480928" y="1048326"/>
                  </a:lnTo>
                  <a:lnTo>
                    <a:pt x="3457104" y="1062622"/>
                  </a:lnTo>
                  <a:lnTo>
                    <a:pt x="3438040" y="1072152"/>
                  </a:lnTo>
                  <a:lnTo>
                    <a:pt x="3423748" y="1081682"/>
                  </a:lnTo>
                  <a:lnTo>
                    <a:pt x="3409452" y="1100744"/>
                  </a:lnTo>
                  <a:lnTo>
                    <a:pt x="3399920" y="1110274"/>
                  </a:lnTo>
                  <a:lnTo>
                    <a:pt x="3385624" y="1115038"/>
                  </a:lnTo>
                  <a:lnTo>
                    <a:pt x="3376096" y="1115038"/>
                  </a:lnTo>
                  <a:lnTo>
                    <a:pt x="3366564" y="1110274"/>
                  </a:lnTo>
                  <a:lnTo>
                    <a:pt x="3361800" y="1100744"/>
                  </a:lnTo>
                  <a:lnTo>
                    <a:pt x="3361800" y="1086448"/>
                  </a:lnTo>
                  <a:lnTo>
                    <a:pt x="3357036" y="1095978"/>
                  </a:lnTo>
                  <a:lnTo>
                    <a:pt x="3357036" y="1105508"/>
                  </a:lnTo>
                  <a:lnTo>
                    <a:pt x="3361800" y="1115038"/>
                  </a:lnTo>
                  <a:lnTo>
                    <a:pt x="3366564" y="1124568"/>
                  </a:lnTo>
                  <a:lnTo>
                    <a:pt x="3361800" y="1134100"/>
                  </a:lnTo>
                  <a:lnTo>
                    <a:pt x="3357036" y="1138864"/>
                  </a:lnTo>
                  <a:lnTo>
                    <a:pt x="3337976" y="1148394"/>
                  </a:lnTo>
                  <a:lnTo>
                    <a:pt x="3328444" y="1157924"/>
                  </a:lnTo>
                  <a:lnTo>
                    <a:pt x="3328444" y="1167454"/>
                  </a:lnTo>
                  <a:lnTo>
                    <a:pt x="3323680" y="1176986"/>
                  </a:lnTo>
                  <a:lnTo>
                    <a:pt x="3318912" y="1181750"/>
                  </a:lnTo>
                  <a:lnTo>
                    <a:pt x="3295088" y="1191280"/>
                  </a:lnTo>
                  <a:lnTo>
                    <a:pt x="3290324" y="1200810"/>
                  </a:lnTo>
                  <a:lnTo>
                    <a:pt x="3285556" y="1205576"/>
                  </a:lnTo>
                  <a:lnTo>
                    <a:pt x="3299852" y="1205576"/>
                  </a:lnTo>
                  <a:lnTo>
                    <a:pt x="3309384" y="1205576"/>
                  </a:lnTo>
                  <a:lnTo>
                    <a:pt x="3314148" y="1215106"/>
                  </a:lnTo>
                  <a:lnTo>
                    <a:pt x="3314148" y="1224636"/>
                  </a:lnTo>
                  <a:lnTo>
                    <a:pt x="3309384" y="1248462"/>
                  </a:lnTo>
                  <a:lnTo>
                    <a:pt x="3295088" y="1257992"/>
                  </a:lnTo>
                  <a:lnTo>
                    <a:pt x="3299852" y="1262758"/>
                  </a:lnTo>
                  <a:lnTo>
                    <a:pt x="3309384" y="1267522"/>
                  </a:lnTo>
                  <a:lnTo>
                    <a:pt x="3328444" y="1272288"/>
                  </a:lnTo>
                  <a:lnTo>
                    <a:pt x="3333208" y="1286584"/>
                  </a:lnTo>
                  <a:lnTo>
                    <a:pt x="3328444" y="1300878"/>
                  </a:lnTo>
                  <a:lnTo>
                    <a:pt x="3328444" y="1319940"/>
                  </a:lnTo>
                  <a:lnTo>
                    <a:pt x="3314148" y="1324704"/>
                  </a:lnTo>
                  <a:lnTo>
                    <a:pt x="3304620" y="1319940"/>
                  </a:lnTo>
                  <a:lnTo>
                    <a:pt x="3299852" y="1319940"/>
                  </a:lnTo>
                  <a:lnTo>
                    <a:pt x="3295088" y="1324704"/>
                  </a:lnTo>
                  <a:lnTo>
                    <a:pt x="3290324" y="1334234"/>
                  </a:lnTo>
                  <a:lnTo>
                    <a:pt x="3304620" y="1329470"/>
                  </a:lnTo>
                  <a:lnTo>
                    <a:pt x="3304620" y="1348530"/>
                  </a:lnTo>
                  <a:lnTo>
                    <a:pt x="3299852" y="1367590"/>
                  </a:lnTo>
                  <a:lnTo>
                    <a:pt x="3295088" y="1377120"/>
                  </a:lnTo>
                  <a:lnTo>
                    <a:pt x="3290324" y="1386650"/>
                  </a:lnTo>
                  <a:lnTo>
                    <a:pt x="3280792" y="1391416"/>
                  </a:lnTo>
                  <a:lnTo>
                    <a:pt x="3271264" y="1381886"/>
                  </a:lnTo>
                  <a:lnTo>
                    <a:pt x="3266496" y="1391416"/>
                  </a:lnTo>
                  <a:lnTo>
                    <a:pt x="3271264" y="1400946"/>
                  </a:lnTo>
                  <a:lnTo>
                    <a:pt x="3285556" y="1415242"/>
                  </a:lnTo>
                  <a:lnTo>
                    <a:pt x="3276028" y="1420006"/>
                  </a:lnTo>
                  <a:lnTo>
                    <a:pt x="3271264" y="1424772"/>
                  </a:lnTo>
                  <a:lnTo>
                    <a:pt x="3266496" y="1429536"/>
                  </a:lnTo>
                  <a:lnTo>
                    <a:pt x="3252200" y="1448598"/>
                  </a:lnTo>
                  <a:lnTo>
                    <a:pt x="3247436" y="1462892"/>
                  </a:lnTo>
                  <a:lnTo>
                    <a:pt x="3242672" y="1477188"/>
                  </a:lnTo>
                  <a:lnTo>
                    <a:pt x="3237908" y="1486718"/>
                  </a:lnTo>
                  <a:lnTo>
                    <a:pt x="3128308" y="1534370"/>
                  </a:lnTo>
                  <a:lnTo>
                    <a:pt x="3042536" y="1577256"/>
                  </a:lnTo>
                  <a:lnTo>
                    <a:pt x="3033004" y="1577256"/>
                  </a:lnTo>
                  <a:lnTo>
                    <a:pt x="3028240" y="1567726"/>
                  </a:lnTo>
                  <a:lnTo>
                    <a:pt x="3028240" y="1505780"/>
                  </a:lnTo>
                  <a:lnTo>
                    <a:pt x="3013944" y="1472424"/>
                  </a:lnTo>
                  <a:lnTo>
                    <a:pt x="3013944" y="1453362"/>
                  </a:lnTo>
                  <a:lnTo>
                    <a:pt x="2999652" y="1472424"/>
                  </a:lnTo>
                  <a:lnTo>
                    <a:pt x="2994884" y="1467658"/>
                  </a:lnTo>
                  <a:lnTo>
                    <a:pt x="2985356" y="1462892"/>
                  </a:lnTo>
                  <a:lnTo>
                    <a:pt x="2980588" y="1458128"/>
                  </a:lnTo>
                  <a:lnTo>
                    <a:pt x="2980588" y="1453362"/>
                  </a:lnTo>
                  <a:lnTo>
                    <a:pt x="2985356" y="1429536"/>
                  </a:lnTo>
                  <a:lnTo>
                    <a:pt x="2975824" y="1443832"/>
                  </a:lnTo>
                  <a:lnTo>
                    <a:pt x="2971060" y="1448598"/>
                  </a:lnTo>
                  <a:lnTo>
                    <a:pt x="2961528" y="1448598"/>
                  </a:lnTo>
                  <a:lnTo>
                    <a:pt x="2952000" y="1443832"/>
                  </a:lnTo>
                  <a:lnTo>
                    <a:pt x="2947232" y="1439068"/>
                  </a:lnTo>
                  <a:lnTo>
                    <a:pt x="2923408" y="1458128"/>
                  </a:lnTo>
                  <a:lnTo>
                    <a:pt x="2899584" y="1467658"/>
                  </a:lnTo>
                  <a:lnTo>
                    <a:pt x="2885288" y="1467658"/>
                  </a:lnTo>
                  <a:lnTo>
                    <a:pt x="2875756" y="1458128"/>
                  </a:lnTo>
                  <a:lnTo>
                    <a:pt x="2875756" y="1448598"/>
                  </a:lnTo>
                  <a:lnTo>
                    <a:pt x="2875756" y="1434302"/>
                  </a:lnTo>
                  <a:lnTo>
                    <a:pt x="2870992" y="1424772"/>
                  </a:lnTo>
                  <a:lnTo>
                    <a:pt x="2866228" y="1420006"/>
                  </a:lnTo>
                  <a:lnTo>
                    <a:pt x="2856696" y="1424772"/>
                  </a:lnTo>
                  <a:lnTo>
                    <a:pt x="2842400" y="1429536"/>
                  </a:lnTo>
                  <a:lnTo>
                    <a:pt x="2832872" y="1429536"/>
                  </a:lnTo>
                  <a:lnTo>
                    <a:pt x="2828104" y="1434302"/>
                  </a:lnTo>
                  <a:lnTo>
                    <a:pt x="2780456" y="1381886"/>
                  </a:lnTo>
                  <a:lnTo>
                    <a:pt x="2770924" y="1424772"/>
                  </a:lnTo>
                  <a:lnTo>
                    <a:pt x="2737568" y="1443832"/>
                  </a:lnTo>
                  <a:lnTo>
                    <a:pt x="2713744" y="1458128"/>
                  </a:lnTo>
                  <a:lnTo>
                    <a:pt x="2689916" y="1453362"/>
                  </a:lnTo>
                  <a:lnTo>
                    <a:pt x="2666092" y="1443832"/>
                  </a:lnTo>
                  <a:lnTo>
                    <a:pt x="2637500" y="1453362"/>
                  </a:lnTo>
                  <a:lnTo>
                    <a:pt x="2613676" y="1477188"/>
                  </a:lnTo>
                  <a:lnTo>
                    <a:pt x="2604144" y="1481954"/>
                  </a:lnTo>
                  <a:lnTo>
                    <a:pt x="2599380" y="1481954"/>
                  </a:lnTo>
                  <a:lnTo>
                    <a:pt x="2589848" y="1477188"/>
                  </a:lnTo>
                  <a:lnTo>
                    <a:pt x="2594616" y="1458128"/>
                  </a:lnTo>
                  <a:lnTo>
                    <a:pt x="2594616" y="1443832"/>
                  </a:lnTo>
                  <a:lnTo>
                    <a:pt x="2589848" y="1405712"/>
                  </a:lnTo>
                  <a:lnTo>
                    <a:pt x="2589848" y="1396182"/>
                  </a:lnTo>
                  <a:lnTo>
                    <a:pt x="2580320" y="1386650"/>
                  </a:lnTo>
                  <a:lnTo>
                    <a:pt x="2570788" y="1377120"/>
                  </a:lnTo>
                  <a:lnTo>
                    <a:pt x="2566024" y="1381886"/>
                  </a:lnTo>
                  <a:lnTo>
                    <a:pt x="2561260" y="1391416"/>
                  </a:lnTo>
                  <a:lnTo>
                    <a:pt x="2542196" y="1391416"/>
                  </a:lnTo>
                  <a:lnTo>
                    <a:pt x="2518372" y="1381886"/>
                  </a:lnTo>
                  <a:lnTo>
                    <a:pt x="2504076" y="1386650"/>
                  </a:lnTo>
                  <a:lnTo>
                    <a:pt x="2470720" y="1400946"/>
                  </a:lnTo>
                  <a:lnTo>
                    <a:pt x="2451660" y="1405712"/>
                  </a:lnTo>
                  <a:lnTo>
                    <a:pt x="2442132" y="1400946"/>
                  </a:lnTo>
                  <a:lnTo>
                    <a:pt x="2437364" y="1396182"/>
                  </a:lnTo>
                  <a:lnTo>
                    <a:pt x="2442132" y="1386650"/>
                  </a:lnTo>
                  <a:lnTo>
                    <a:pt x="2446896" y="1381886"/>
                  </a:lnTo>
                  <a:lnTo>
                    <a:pt x="2432600" y="1386650"/>
                  </a:lnTo>
                  <a:lnTo>
                    <a:pt x="2423068" y="1391416"/>
                  </a:lnTo>
                  <a:lnTo>
                    <a:pt x="2418304" y="1396182"/>
                  </a:lnTo>
                  <a:lnTo>
                    <a:pt x="2413540" y="1396182"/>
                  </a:lnTo>
                  <a:lnTo>
                    <a:pt x="2399244" y="1377120"/>
                  </a:lnTo>
                  <a:lnTo>
                    <a:pt x="2365888" y="1381886"/>
                  </a:lnTo>
                  <a:lnTo>
                    <a:pt x="2361124" y="1386650"/>
                  </a:lnTo>
                  <a:lnTo>
                    <a:pt x="2356356" y="1391416"/>
                  </a:lnTo>
                  <a:lnTo>
                    <a:pt x="2346828" y="1386650"/>
                  </a:lnTo>
                  <a:lnTo>
                    <a:pt x="2342064" y="1381886"/>
                  </a:lnTo>
                  <a:lnTo>
                    <a:pt x="2342064" y="1343764"/>
                  </a:lnTo>
                  <a:lnTo>
                    <a:pt x="2327768" y="1277052"/>
                  </a:lnTo>
                  <a:lnTo>
                    <a:pt x="2323000" y="1238932"/>
                  </a:lnTo>
                  <a:lnTo>
                    <a:pt x="2318236" y="1229402"/>
                  </a:lnTo>
                  <a:lnTo>
                    <a:pt x="2299176" y="1215106"/>
                  </a:lnTo>
                  <a:lnTo>
                    <a:pt x="2303940" y="1196046"/>
                  </a:lnTo>
                  <a:lnTo>
                    <a:pt x="2308708" y="1181750"/>
                  </a:lnTo>
                  <a:lnTo>
                    <a:pt x="2313472" y="1162690"/>
                  </a:lnTo>
                  <a:lnTo>
                    <a:pt x="2308708" y="1143630"/>
                  </a:lnTo>
                  <a:lnTo>
                    <a:pt x="2303940" y="1124568"/>
                  </a:lnTo>
                  <a:lnTo>
                    <a:pt x="2299176" y="1110274"/>
                  </a:lnTo>
                  <a:lnTo>
                    <a:pt x="2289648" y="1095978"/>
                  </a:lnTo>
                  <a:lnTo>
                    <a:pt x="2275352" y="1081682"/>
                  </a:lnTo>
                  <a:lnTo>
                    <a:pt x="2256292" y="1072152"/>
                  </a:lnTo>
                  <a:lnTo>
                    <a:pt x="2222936" y="1062622"/>
                  </a:lnTo>
                  <a:lnTo>
                    <a:pt x="2203872" y="1062622"/>
                  </a:lnTo>
                  <a:lnTo>
                    <a:pt x="2194344" y="1057856"/>
                  </a:lnTo>
                  <a:lnTo>
                    <a:pt x="2189580" y="1053092"/>
                  </a:lnTo>
                  <a:lnTo>
                    <a:pt x="2194344" y="1038796"/>
                  </a:lnTo>
                  <a:lnTo>
                    <a:pt x="2199108" y="1034032"/>
                  </a:lnTo>
                  <a:lnTo>
                    <a:pt x="2208640" y="1029266"/>
                  </a:lnTo>
                  <a:lnTo>
                    <a:pt x="2208640" y="1024502"/>
                  </a:lnTo>
                  <a:lnTo>
                    <a:pt x="2189580" y="1014970"/>
                  </a:lnTo>
                  <a:lnTo>
                    <a:pt x="2175284" y="1005440"/>
                  </a:lnTo>
                  <a:lnTo>
                    <a:pt x="2170516" y="995910"/>
                  </a:lnTo>
                  <a:lnTo>
                    <a:pt x="2170516" y="986380"/>
                  </a:lnTo>
                  <a:lnTo>
                    <a:pt x="2170516" y="967320"/>
                  </a:lnTo>
                  <a:lnTo>
                    <a:pt x="2175284" y="953024"/>
                  </a:lnTo>
                  <a:lnTo>
                    <a:pt x="2175284" y="948260"/>
                  </a:lnTo>
                  <a:lnTo>
                    <a:pt x="2180048" y="929198"/>
                  </a:lnTo>
                  <a:lnTo>
                    <a:pt x="2189580" y="919668"/>
                  </a:lnTo>
                  <a:lnTo>
                    <a:pt x="2189580" y="914904"/>
                  </a:lnTo>
                  <a:lnTo>
                    <a:pt x="2184812" y="914904"/>
                  </a:lnTo>
                  <a:lnTo>
                    <a:pt x="2180048" y="905372"/>
                  </a:lnTo>
                  <a:lnTo>
                    <a:pt x="2175284" y="900608"/>
                  </a:lnTo>
                  <a:lnTo>
                    <a:pt x="2160988" y="886312"/>
                  </a:lnTo>
                  <a:lnTo>
                    <a:pt x="2141928" y="872016"/>
                  </a:lnTo>
                  <a:lnTo>
                    <a:pt x="2137160" y="843426"/>
                  </a:lnTo>
                  <a:lnTo>
                    <a:pt x="2137160" y="800540"/>
                  </a:lnTo>
                  <a:lnTo>
                    <a:pt x="2137160" y="781480"/>
                  </a:lnTo>
                  <a:lnTo>
                    <a:pt x="2146692" y="748124"/>
                  </a:lnTo>
                  <a:lnTo>
                    <a:pt x="2156224" y="738594"/>
                  </a:lnTo>
                  <a:lnTo>
                    <a:pt x="2165752" y="733828"/>
                  </a:lnTo>
                  <a:lnTo>
                    <a:pt x="2170516" y="729064"/>
                  </a:lnTo>
                  <a:lnTo>
                    <a:pt x="2165752" y="729064"/>
                  </a:lnTo>
                  <a:lnTo>
                    <a:pt x="2160988" y="729064"/>
                  </a:lnTo>
                  <a:lnTo>
                    <a:pt x="2151456" y="733828"/>
                  </a:lnTo>
                  <a:lnTo>
                    <a:pt x="2160988" y="700472"/>
                  </a:lnTo>
                  <a:lnTo>
                    <a:pt x="2160988" y="690942"/>
                  </a:lnTo>
                  <a:lnTo>
                    <a:pt x="2175284" y="676646"/>
                  </a:lnTo>
                  <a:lnTo>
                    <a:pt x="2194344" y="657586"/>
                  </a:lnTo>
                  <a:lnTo>
                    <a:pt x="2199108" y="643290"/>
                  </a:lnTo>
                  <a:lnTo>
                    <a:pt x="2208640" y="624230"/>
                  </a:lnTo>
                  <a:lnTo>
                    <a:pt x="2246760" y="609934"/>
                  </a:lnTo>
                  <a:lnTo>
                    <a:pt x="2237228" y="628996"/>
                  </a:lnTo>
                  <a:lnTo>
                    <a:pt x="2237228" y="638526"/>
                  </a:lnTo>
                  <a:lnTo>
                    <a:pt x="2241996" y="643290"/>
                  </a:lnTo>
                  <a:lnTo>
                    <a:pt x="2251524" y="648056"/>
                  </a:lnTo>
                  <a:lnTo>
                    <a:pt x="2251524" y="671882"/>
                  </a:lnTo>
                  <a:lnTo>
                    <a:pt x="2265820" y="686176"/>
                  </a:lnTo>
                  <a:lnTo>
                    <a:pt x="2280116" y="700472"/>
                  </a:lnTo>
                  <a:lnTo>
                    <a:pt x="2289648" y="705238"/>
                  </a:lnTo>
                  <a:lnTo>
                    <a:pt x="2299176" y="714768"/>
                  </a:lnTo>
                  <a:lnTo>
                    <a:pt x="2303940" y="724298"/>
                  </a:lnTo>
                  <a:lnTo>
                    <a:pt x="2313472" y="733828"/>
                  </a:lnTo>
                  <a:lnTo>
                    <a:pt x="2323000" y="738594"/>
                  </a:lnTo>
                  <a:lnTo>
                    <a:pt x="2356356" y="771950"/>
                  </a:lnTo>
                  <a:lnTo>
                    <a:pt x="2370652" y="776714"/>
                  </a:lnTo>
                  <a:lnTo>
                    <a:pt x="2380184" y="786244"/>
                  </a:lnTo>
                  <a:lnTo>
                    <a:pt x="2384948" y="791010"/>
                  </a:lnTo>
                  <a:lnTo>
                    <a:pt x="2404008" y="791010"/>
                  </a:lnTo>
                  <a:lnTo>
                    <a:pt x="2451660" y="767184"/>
                  </a:lnTo>
                  <a:lnTo>
                    <a:pt x="2461192" y="767184"/>
                  </a:lnTo>
                  <a:lnTo>
                    <a:pt x="2480252" y="762420"/>
                  </a:lnTo>
                  <a:lnTo>
                    <a:pt x="2508840" y="762420"/>
                  </a:lnTo>
                  <a:lnTo>
                    <a:pt x="2537432" y="771950"/>
                  </a:lnTo>
                  <a:lnTo>
                    <a:pt x="2546964" y="771950"/>
                  </a:lnTo>
                  <a:lnTo>
                    <a:pt x="2556492" y="767184"/>
                  </a:lnTo>
                  <a:lnTo>
                    <a:pt x="2570788" y="767184"/>
                  </a:lnTo>
                  <a:lnTo>
                    <a:pt x="2585084" y="771950"/>
                  </a:lnTo>
                  <a:lnTo>
                    <a:pt x="2589848" y="767184"/>
                  </a:lnTo>
                  <a:lnTo>
                    <a:pt x="2608908" y="752888"/>
                  </a:lnTo>
                  <a:lnTo>
                    <a:pt x="2632736" y="748124"/>
                  </a:lnTo>
                  <a:lnTo>
                    <a:pt x="2637500" y="733828"/>
                  </a:lnTo>
                  <a:lnTo>
                    <a:pt x="2647032" y="714768"/>
                  </a:lnTo>
                  <a:lnTo>
                    <a:pt x="2647032" y="700472"/>
                  </a:lnTo>
                  <a:lnTo>
                    <a:pt x="2656560" y="695708"/>
                  </a:lnTo>
                  <a:lnTo>
                    <a:pt x="2670856" y="690942"/>
                  </a:lnTo>
                  <a:lnTo>
                    <a:pt x="2694680" y="681412"/>
                  </a:lnTo>
                  <a:lnTo>
                    <a:pt x="2766160" y="681412"/>
                  </a:lnTo>
                  <a:lnTo>
                    <a:pt x="2775688" y="681412"/>
                  </a:lnTo>
                  <a:lnTo>
                    <a:pt x="2775688" y="690942"/>
                  </a:lnTo>
                  <a:lnTo>
                    <a:pt x="2775688" y="695708"/>
                  </a:lnTo>
                  <a:lnTo>
                    <a:pt x="2775688" y="700472"/>
                  </a:lnTo>
                  <a:lnTo>
                    <a:pt x="2785220" y="700472"/>
                  </a:lnTo>
                  <a:lnTo>
                    <a:pt x="2794748" y="705238"/>
                  </a:lnTo>
                  <a:lnTo>
                    <a:pt x="2832872" y="719532"/>
                  </a:lnTo>
                  <a:lnTo>
                    <a:pt x="2847164" y="724298"/>
                  </a:lnTo>
                  <a:lnTo>
                    <a:pt x="2856696" y="719532"/>
                  </a:lnTo>
                  <a:lnTo>
                    <a:pt x="2870992" y="733828"/>
                  </a:lnTo>
                  <a:lnTo>
                    <a:pt x="2880520" y="729064"/>
                  </a:lnTo>
                  <a:lnTo>
                    <a:pt x="2894816" y="719532"/>
                  </a:lnTo>
                  <a:lnTo>
                    <a:pt x="2904348" y="710002"/>
                  </a:lnTo>
                  <a:lnTo>
                    <a:pt x="2918644" y="700472"/>
                  </a:lnTo>
                  <a:lnTo>
                    <a:pt x="2932940" y="700472"/>
                  </a:lnTo>
                  <a:lnTo>
                    <a:pt x="2952000" y="700472"/>
                  </a:lnTo>
                  <a:lnTo>
                    <a:pt x="2975824" y="695708"/>
                  </a:lnTo>
                  <a:lnTo>
                    <a:pt x="2990120" y="690942"/>
                  </a:lnTo>
                  <a:lnTo>
                    <a:pt x="3013944" y="700472"/>
                  </a:lnTo>
                  <a:lnTo>
                    <a:pt x="3018712" y="695708"/>
                  </a:lnTo>
                  <a:lnTo>
                    <a:pt x="3018712" y="690942"/>
                  </a:lnTo>
                  <a:lnTo>
                    <a:pt x="3028240" y="671882"/>
                  </a:lnTo>
                  <a:lnTo>
                    <a:pt x="3037772" y="662352"/>
                  </a:lnTo>
                  <a:lnTo>
                    <a:pt x="3037772" y="643290"/>
                  </a:lnTo>
                  <a:lnTo>
                    <a:pt x="3042536" y="638526"/>
                  </a:lnTo>
                  <a:lnTo>
                    <a:pt x="3047300" y="633760"/>
                  </a:lnTo>
                  <a:lnTo>
                    <a:pt x="3056832" y="628996"/>
                  </a:lnTo>
                  <a:lnTo>
                    <a:pt x="3056832" y="624230"/>
                  </a:lnTo>
                  <a:lnTo>
                    <a:pt x="3061596" y="614700"/>
                  </a:lnTo>
                  <a:lnTo>
                    <a:pt x="3061596" y="609934"/>
                  </a:lnTo>
                  <a:lnTo>
                    <a:pt x="3056832" y="605170"/>
                  </a:lnTo>
                  <a:lnTo>
                    <a:pt x="3052068" y="586110"/>
                  </a:lnTo>
                  <a:lnTo>
                    <a:pt x="3052068" y="581344"/>
                  </a:lnTo>
                  <a:lnTo>
                    <a:pt x="3056832" y="576580"/>
                  </a:lnTo>
                  <a:lnTo>
                    <a:pt x="3061596" y="571814"/>
                  </a:lnTo>
                  <a:lnTo>
                    <a:pt x="3085424" y="557518"/>
                  </a:lnTo>
                  <a:lnTo>
                    <a:pt x="3099716" y="543224"/>
                  </a:lnTo>
                  <a:lnTo>
                    <a:pt x="3109248" y="538458"/>
                  </a:lnTo>
                  <a:lnTo>
                    <a:pt x="3118780" y="533692"/>
                  </a:lnTo>
                  <a:lnTo>
                    <a:pt x="3118780" y="524162"/>
                  </a:lnTo>
                  <a:lnTo>
                    <a:pt x="3109248" y="519398"/>
                  </a:lnTo>
                  <a:lnTo>
                    <a:pt x="3099716" y="514632"/>
                  </a:lnTo>
                  <a:lnTo>
                    <a:pt x="3099716" y="505102"/>
                  </a:lnTo>
                  <a:lnTo>
                    <a:pt x="3099716" y="500336"/>
                  </a:lnTo>
                  <a:lnTo>
                    <a:pt x="3104484" y="495572"/>
                  </a:lnTo>
                  <a:lnTo>
                    <a:pt x="3099716" y="490806"/>
                  </a:lnTo>
                  <a:lnTo>
                    <a:pt x="3099716" y="481276"/>
                  </a:lnTo>
                  <a:lnTo>
                    <a:pt x="3104484" y="471746"/>
                  </a:lnTo>
                  <a:lnTo>
                    <a:pt x="3118780" y="462216"/>
                  </a:lnTo>
                  <a:lnTo>
                    <a:pt x="3128308" y="452686"/>
                  </a:lnTo>
                  <a:lnTo>
                    <a:pt x="3137840" y="457450"/>
                  </a:lnTo>
                  <a:lnTo>
                    <a:pt x="3147368" y="457450"/>
                  </a:lnTo>
                  <a:lnTo>
                    <a:pt x="3161664" y="452686"/>
                  </a:lnTo>
                  <a:lnTo>
                    <a:pt x="3166428" y="438390"/>
                  </a:lnTo>
                  <a:lnTo>
                    <a:pt x="3166428" y="428860"/>
                  </a:lnTo>
                  <a:lnTo>
                    <a:pt x="3166428" y="424094"/>
                  </a:lnTo>
                  <a:lnTo>
                    <a:pt x="3166428" y="405034"/>
                  </a:lnTo>
                  <a:lnTo>
                    <a:pt x="3171196" y="400270"/>
                  </a:lnTo>
                  <a:lnTo>
                    <a:pt x="3175960" y="385974"/>
                  </a:lnTo>
                  <a:lnTo>
                    <a:pt x="3175960" y="376444"/>
                  </a:lnTo>
                  <a:lnTo>
                    <a:pt x="3171196" y="357384"/>
                  </a:lnTo>
                  <a:lnTo>
                    <a:pt x="3175960" y="343088"/>
                  </a:lnTo>
                  <a:lnTo>
                    <a:pt x="3175960" y="309732"/>
                  </a:lnTo>
                  <a:lnTo>
                    <a:pt x="3180724" y="304966"/>
                  </a:lnTo>
                  <a:lnTo>
                    <a:pt x="3185488" y="285906"/>
                  </a:lnTo>
                  <a:lnTo>
                    <a:pt x="3195020" y="271610"/>
                  </a:lnTo>
                  <a:lnTo>
                    <a:pt x="3209316" y="262080"/>
                  </a:lnTo>
                  <a:lnTo>
                    <a:pt x="3218844" y="247786"/>
                  </a:lnTo>
                  <a:lnTo>
                    <a:pt x="3223612" y="247786"/>
                  </a:lnTo>
                  <a:lnTo>
                    <a:pt x="3228376" y="247786"/>
                  </a:lnTo>
                  <a:lnTo>
                    <a:pt x="3247436" y="252550"/>
                  </a:lnTo>
                  <a:close/>
                  <a:moveTo>
                    <a:pt x="4924760" y="214428"/>
                  </a:moveTo>
                  <a:lnTo>
                    <a:pt x="4934292" y="214428"/>
                  </a:lnTo>
                  <a:lnTo>
                    <a:pt x="4943820" y="223960"/>
                  </a:lnTo>
                  <a:lnTo>
                    <a:pt x="4943820" y="243020"/>
                  </a:lnTo>
                  <a:lnTo>
                    <a:pt x="4948588" y="252550"/>
                  </a:lnTo>
                  <a:lnTo>
                    <a:pt x="4939056" y="271610"/>
                  </a:lnTo>
                  <a:lnTo>
                    <a:pt x="4934292" y="295436"/>
                  </a:lnTo>
                  <a:lnTo>
                    <a:pt x="4929528" y="300200"/>
                  </a:lnTo>
                  <a:lnTo>
                    <a:pt x="4919996" y="295436"/>
                  </a:lnTo>
                  <a:lnTo>
                    <a:pt x="4915232" y="290670"/>
                  </a:lnTo>
                  <a:lnTo>
                    <a:pt x="4924760" y="276376"/>
                  </a:lnTo>
                  <a:lnTo>
                    <a:pt x="4934292" y="262080"/>
                  </a:lnTo>
                  <a:lnTo>
                    <a:pt x="4924760" y="257316"/>
                  </a:lnTo>
                  <a:lnTo>
                    <a:pt x="4919996" y="247784"/>
                  </a:lnTo>
                  <a:lnTo>
                    <a:pt x="4919996" y="233490"/>
                  </a:lnTo>
                  <a:close/>
                  <a:moveTo>
                    <a:pt x="28592" y="47650"/>
                  </a:moveTo>
                  <a:lnTo>
                    <a:pt x="47652" y="47650"/>
                  </a:lnTo>
                  <a:lnTo>
                    <a:pt x="66712" y="47650"/>
                  </a:lnTo>
                  <a:lnTo>
                    <a:pt x="81008" y="52416"/>
                  </a:lnTo>
                  <a:lnTo>
                    <a:pt x="100068" y="61946"/>
                  </a:lnTo>
                  <a:lnTo>
                    <a:pt x="128660" y="90536"/>
                  </a:lnTo>
                  <a:lnTo>
                    <a:pt x="142956" y="95302"/>
                  </a:lnTo>
                  <a:lnTo>
                    <a:pt x="162016" y="100066"/>
                  </a:lnTo>
                  <a:lnTo>
                    <a:pt x="200136" y="109596"/>
                  </a:lnTo>
                  <a:lnTo>
                    <a:pt x="219196" y="109596"/>
                  </a:lnTo>
                  <a:lnTo>
                    <a:pt x="252552" y="100066"/>
                  </a:lnTo>
                  <a:lnTo>
                    <a:pt x="271612" y="100066"/>
                  </a:lnTo>
                  <a:lnTo>
                    <a:pt x="290672" y="109596"/>
                  </a:lnTo>
                  <a:lnTo>
                    <a:pt x="309736" y="109596"/>
                  </a:lnTo>
                  <a:lnTo>
                    <a:pt x="347856" y="104832"/>
                  </a:lnTo>
                  <a:lnTo>
                    <a:pt x="357384" y="109596"/>
                  </a:lnTo>
                  <a:lnTo>
                    <a:pt x="366916" y="109596"/>
                  </a:lnTo>
                  <a:lnTo>
                    <a:pt x="371680" y="119126"/>
                  </a:lnTo>
                  <a:lnTo>
                    <a:pt x="390740" y="138188"/>
                  </a:lnTo>
                  <a:lnTo>
                    <a:pt x="419332" y="162014"/>
                  </a:lnTo>
                  <a:lnTo>
                    <a:pt x="428864" y="176308"/>
                  </a:lnTo>
                  <a:lnTo>
                    <a:pt x="433628" y="195368"/>
                  </a:lnTo>
                  <a:lnTo>
                    <a:pt x="438392" y="200134"/>
                  </a:lnTo>
                  <a:lnTo>
                    <a:pt x="469368" y="233490"/>
                  </a:lnTo>
                  <a:lnTo>
                    <a:pt x="474132" y="247786"/>
                  </a:lnTo>
                  <a:lnTo>
                    <a:pt x="469368" y="271610"/>
                  </a:lnTo>
                  <a:lnTo>
                    <a:pt x="478896" y="285906"/>
                  </a:lnTo>
                  <a:lnTo>
                    <a:pt x="517016" y="300202"/>
                  </a:lnTo>
                  <a:lnTo>
                    <a:pt x="536076" y="309732"/>
                  </a:lnTo>
                  <a:lnTo>
                    <a:pt x="540844" y="319262"/>
                  </a:lnTo>
                  <a:lnTo>
                    <a:pt x="540844" y="324028"/>
                  </a:lnTo>
                  <a:lnTo>
                    <a:pt x="555140" y="338322"/>
                  </a:lnTo>
                  <a:lnTo>
                    <a:pt x="569432" y="347852"/>
                  </a:lnTo>
                  <a:lnTo>
                    <a:pt x="612320" y="366914"/>
                  </a:lnTo>
                  <a:lnTo>
                    <a:pt x="669500" y="409800"/>
                  </a:lnTo>
                  <a:lnTo>
                    <a:pt x="702856" y="428860"/>
                  </a:lnTo>
                  <a:lnTo>
                    <a:pt x="731448" y="457450"/>
                  </a:lnTo>
                  <a:lnTo>
                    <a:pt x="740980" y="471746"/>
                  </a:lnTo>
                  <a:lnTo>
                    <a:pt x="750508" y="490806"/>
                  </a:lnTo>
                  <a:lnTo>
                    <a:pt x="764804" y="509868"/>
                  </a:lnTo>
                  <a:lnTo>
                    <a:pt x="793396" y="538458"/>
                  </a:lnTo>
                  <a:lnTo>
                    <a:pt x="798160" y="547988"/>
                  </a:lnTo>
                  <a:lnTo>
                    <a:pt x="807692" y="562284"/>
                  </a:lnTo>
                  <a:lnTo>
                    <a:pt x="817220" y="571814"/>
                  </a:lnTo>
                  <a:lnTo>
                    <a:pt x="826752" y="581344"/>
                  </a:lnTo>
                  <a:lnTo>
                    <a:pt x="841048" y="590874"/>
                  </a:lnTo>
                  <a:lnTo>
                    <a:pt x="850576" y="595640"/>
                  </a:lnTo>
                  <a:lnTo>
                    <a:pt x="874400" y="614700"/>
                  </a:lnTo>
                  <a:lnTo>
                    <a:pt x="883932" y="619466"/>
                  </a:lnTo>
                  <a:lnTo>
                    <a:pt x="883932" y="605170"/>
                  </a:lnTo>
                  <a:lnTo>
                    <a:pt x="874400" y="590874"/>
                  </a:lnTo>
                  <a:lnTo>
                    <a:pt x="874400" y="581344"/>
                  </a:lnTo>
                  <a:lnTo>
                    <a:pt x="874400" y="576580"/>
                  </a:lnTo>
                  <a:lnTo>
                    <a:pt x="883932" y="567048"/>
                  </a:lnTo>
                  <a:lnTo>
                    <a:pt x="893464" y="567048"/>
                  </a:lnTo>
                  <a:lnTo>
                    <a:pt x="907756" y="571814"/>
                  </a:lnTo>
                  <a:lnTo>
                    <a:pt x="936348" y="595640"/>
                  </a:lnTo>
                  <a:lnTo>
                    <a:pt x="950644" y="609936"/>
                  </a:lnTo>
                  <a:lnTo>
                    <a:pt x="955408" y="628996"/>
                  </a:lnTo>
                  <a:lnTo>
                    <a:pt x="964940" y="652822"/>
                  </a:lnTo>
                  <a:lnTo>
                    <a:pt x="974468" y="662352"/>
                  </a:lnTo>
                  <a:lnTo>
                    <a:pt x="993532" y="662352"/>
                  </a:lnTo>
                  <a:lnTo>
                    <a:pt x="1007824" y="667116"/>
                  </a:lnTo>
                  <a:lnTo>
                    <a:pt x="1022120" y="671882"/>
                  </a:lnTo>
                  <a:lnTo>
                    <a:pt x="1060240" y="700472"/>
                  </a:lnTo>
                  <a:lnTo>
                    <a:pt x="1074536" y="714768"/>
                  </a:lnTo>
                  <a:lnTo>
                    <a:pt x="1084068" y="729064"/>
                  </a:lnTo>
                  <a:lnTo>
                    <a:pt x="1088832" y="748124"/>
                  </a:lnTo>
                  <a:lnTo>
                    <a:pt x="1093596" y="767184"/>
                  </a:lnTo>
                  <a:lnTo>
                    <a:pt x="1093596" y="771950"/>
                  </a:lnTo>
                  <a:lnTo>
                    <a:pt x="1117424" y="795774"/>
                  </a:lnTo>
                  <a:lnTo>
                    <a:pt x="1131720" y="805306"/>
                  </a:lnTo>
                  <a:lnTo>
                    <a:pt x="1146016" y="810070"/>
                  </a:lnTo>
                  <a:lnTo>
                    <a:pt x="1188900" y="814836"/>
                  </a:lnTo>
                  <a:lnTo>
                    <a:pt x="1207960" y="819600"/>
                  </a:lnTo>
                  <a:lnTo>
                    <a:pt x="1217492" y="833896"/>
                  </a:lnTo>
                  <a:lnTo>
                    <a:pt x="1222256" y="848192"/>
                  </a:lnTo>
                  <a:lnTo>
                    <a:pt x="1217492" y="862486"/>
                  </a:lnTo>
                  <a:lnTo>
                    <a:pt x="1179372" y="876782"/>
                  </a:lnTo>
                  <a:lnTo>
                    <a:pt x="1146016" y="891078"/>
                  </a:lnTo>
                  <a:lnTo>
                    <a:pt x="1179372" y="886312"/>
                  </a:lnTo>
                  <a:lnTo>
                    <a:pt x="1198432" y="881548"/>
                  </a:lnTo>
                  <a:lnTo>
                    <a:pt x="1212728" y="872016"/>
                  </a:lnTo>
                  <a:lnTo>
                    <a:pt x="1231788" y="862486"/>
                  </a:lnTo>
                  <a:lnTo>
                    <a:pt x="1255612" y="848192"/>
                  </a:lnTo>
                  <a:lnTo>
                    <a:pt x="1265144" y="843426"/>
                  </a:lnTo>
                  <a:lnTo>
                    <a:pt x="1279436" y="848192"/>
                  </a:lnTo>
                  <a:lnTo>
                    <a:pt x="1288968" y="852956"/>
                  </a:lnTo>
                  <a:lnTo>
                    <a:pt x="1303264" y="862486"/>
                  </a:lnTo>
                  <a:lnTo>
                    <a:pt x="1317560" y="881548"/>
                  </a:lnTo>
                  <a:lnTo>
                    <a:pt x="1331856" y="900608"/>
                  </a:lnTo>
                  <a:lnTo>
                    <a:pt x="1336620" y="919668"/>
                  </a:lnTo>
                  <a:lnTo>
                    <a:pt x="1322324" y="929198"/>
                  </a:lnTo>
                  <a:lnTo>
                    <a:pt x="1308028" y="933964"/>
                  </a:lnTo>
                  <a:lnTo>
                    <a:pt x="1279436" y="957790"/>
                  </a:lnTo>
                  <a:lnTo>
                    <a:pt x="1279436" y="962554"/>
                  </a:lnTo>
                  <a:lnTo>
                    <a:pt x="1284204" y="967320"/>
                  </a:lnTo>
                  <a:lnTo>
                    <a:pt x="1274672" y="981614"/>
                  </a:lnTo>
                  <a:lnTo>
                    <a:pt x="1288968" y="991146"/>
                  </a:lnTo>
                  <a:lnTo>
                    <a:pt x="1293732" y="995910"/>
                  </a:lnTo>
                  <a:lnTo>
                    <a:pt x="1279436" y="1010206"/>
                  </a:lnTo>
                  <a:lnTo>
                    <a:pt x="1284204" y="1014970"/>
                  </a:lnTo>
                  <a:lnTo>
                    <a:pt x="1298500" y="1043562"/>
                  </a:lnTo>
                  <a:lnTo>
                    <a:pt x="1303264" y="1048326"/>
                  </a:lnTo>
                  <a:lnTo>
                    <a:pt x="1327088" y="1062622"/>
                  </a:lnTo>
                  <a:lnTo>
                    <a:pt x="1360444" y="1076918"/>
                  </a:lnTo>
                  <a:lnTo>
                    <a:pt x="1379504" y="1086448"/>
                  </a:lnTo>
                  <a:lnTo>
                    <a:pt x="1403332" y="1091212"/>
                  </a:lnTo>
                  <a:lnTo>
                    <a:pt x="1412860" y="1091212"/>
                  </a:lnTo>
                  <a:lnTo>
                    <a:pt x="1427156" y="1086448"/>
                  </a:lnTo>
                  <a:lnTo>
                    <a:pt x="1427156" y="1091212"/>
                  </a:lnTo>
                  <a:lnTo>
                    <a:pt x="1436688" y="1119804"/>
                  </a:lnTo>
                  <a:lnTo>
                    <a:pt x="1441452" y="1138864"/>
                  </a:lnTo>
                  <a:lnTo>
                    <a:pt x="1446216" y="1176986"/>
                  </a:lnTo>
                  <a:lnTo>
                    <a:pt x="1450984" y="1191280"/>
                  </a:lnTo>
                  <a:lnTo>
                    <a:pt x="1450984" y="1210340"/>
                  </a:lnTo>
                  <a:lnTo>
                    <a:pt x="1460512" y="1224636"/>
                  </a:lnTo>
                  <a:lnTo>
                    <a:pt x="1474808" y="1234166"/>
                  </a:lnTo>
                  <a:lnTo>
                    <a:pt x="1493868" y="1243696"/>
                  </a:lnTo>
                  <a:lnTo>
                    <a:pt x="1503400" y="1253228"/>
                  </a:lnTo>
                  <a:lnTo>
                    <a:pt x="1503400" y="1262758"/>
                  </a:lnTo>
                  <a:lnTo>
                    <a:pt x="1498632" y="1277052"/>
                  </a:lnTo>
                  <a:lnTo>
                    <a:pt x="1493868" y="1281818"/>
                  </a:lnTo>
                  <a:lnTo>
                    <a:pt x="1474808" y="1300878"/>
                  </a:lnTo>
                  <a:lnTo>
                    <a:pt x="1470044" y="1305644"/>
                  </a:lnTo>
                  <a:lnTo>
                    <a:pt x="1470044" y="1324704"/>
                  </a:lnTo>
                  <a:lnTo>
                    <a:pt x="1470044" y="1329470"/>
                  </a:lnTo>
                  <a:lnTo>
                    <a:pt x="1479572" y="1329470"/>
                  </a:lnTo>
                  <a:lnTo>
                    <a:pt x="1484340" y="1329470"/>
                  </a:lnTo>
                  <a:lnTo>
                    <a:pt x="1508164" y="1305644"/>
                  </a:lnTo>
                  <a:lnTo>
                    <a:pt x="1512928" y="1300878"/>
                  </a:lnTo>
                  <a:lnTo>
                    <a:pt x="1522460" y="1296114"/>
                  </a:lnTo>
                  <a:lnTo>
                    <a:pt x="1531988" y="1291348"/>
                  </a:lnTo>
                  <a:lnTo>
                    <a:pt x="1570112" y="1291348"/>
                  </a:lnTo>
                  <a:lnTo>
                    <a:pt x="1589172" y="1296114"/>
                  </a:lnTo>
                  <a:lnTo>
                    <a:pt x="1603468" y="1305644"/>
                  </a:lnTo>
                  <a:lnTo>
                    <a:pt x="1617760" y="1315174"/>
                  </a:lnTo>
                  <a:lnTo>
                    <a:pt x="1665412" y="1377120"/>
                  </a:lnTo>
                  <a:lnTo>
                    <a:pt x="1689240" y="1410476"/>
                  </a:lnTo>
                  <a:lnTo>
                    <a:pt x="1689240" y="1420006"/>
                  </a:lnTo>
                  <a:lnTo>
                    <a:pt x="1694004" y="1429536"/>
                  </a:lnTo>
                  <a:lnTo>
                    <a:pt x="1689240" y="1434302"/>
                  </a:lnTo>
                  <a:lnTo>
                    <a:pt x="1665412" y="1458128"/>
                  </a:lnTo>
                  <a:lnTo>
                    <a:pt x="1665412" y="1462892"/>
                  </a:lnTo>
                  <a:lnTo>
                    <a:pt x="1655884" y="1491484"/>
                  </a:lnTo>
                  <a:lnTo>
                    <a:pt x="1660648" y="1510544"/>
                  </a:lnTo>
                  <a:lnTo>
                    <a:pt x="1665412" y="1515310"/>
                  </a:lnTo>
                  <a:lnTo>
                    <a:pt x="1670180" y="1524840"/>
                  </a:lnTo>
                  <a:lnTo>
                    <a:pt x="1670180" y="1534370"/>
                  </a:lnTo>
                  <a:lnTo>
                    <a:pt x="1655884" y="1567726"/>
                  </a:lnTo>
                  <a:lnTo>
                    <a:pt x="1655884" y="1577256"/>
                  </a:lnTo>
                  <a:lnTo>
                    <a:pt x="1665412" y="1639202"/>
                  </a:lnTo>
                  <a:lnTo>
                    <a:pt x="1665412" y="1653498"/>
                  </a:lnTo>
                  <a:lnTo>
                    <a:pt x="1665412" y="1677324"/>
                  </a:lnTo>
                  <a:lnTo>
                    <a:pt x="1665412" y="1710680"/>
                  </a:lnTo>
                  <a:lnTo>
                    <a:pt x="1655884" y="1815512"/>
                  </a:lnTo>
                  <a:lnTo>
                    <a:pt x="1651116" y="1820278"/>
                  </a:lnTo>
                  <a:lnTo>
                    <a:pt x="1641588" y="1834572"/>
                  </a:lnTo>
                  <a:lnTo>
                    <a:pt x="1632056" y="1834572"/>
                  </a:lnTo>
                  <a:lnTo>
                    <a:pt x="1622528" y="1834572"/>
                  </a:lnTo>
                  <a:lnTo>
                    <a:pt x="1617760" y="1825042"/>
                  </a:lnTo>
                  <a:lnTo>
                    <a:pt x="1612996" y="1820278"/>
                  </a:lnTo>
                  <a:lnTo>
                    <a:pt x="1608232" y="1815512"/>
                  </a:lnTo>
                  <a:lnTo>
                    <a:pt x="1579640" y="1791686"/>
                  </a:lnTo>
                  <a:lnTo>
                    <a:pt x="1574876" y="1796452"/>
                  </a:lnTo>
                  <a:lnTo>
                    <a:pt x="1546284" y="1820278"/>
                  </a:lnTo>
                  <a:lnTo>
                    <a:pt x="1536756" y="1825042"/>
                  </a:lnTo>
                  <a:lnTo>
                    <a:pt x="1531988" y="1820278"/>
                  </a:lnTo>
                  <a:lnTo>
                    <a:pt x="1517696" y="1815512"/>
                  </a:lnTo>
                  <a:lnTo>
                    <a:pt x="1470044" y="1791686"/>
                  </a:lnTo>
                  <a:lnTo>
                    <a:pt x="1465276" y="1796452"/>
                  </a:lnTo>
                  <a:lnTo>
                    <a:pt x="1465276" y="1810748"/>
                  </a:lnTo>
                  <a:lnTo>
                    <a:pt x="1474808" y="1834572"/>
                  </a:lnTo>
                  <a:lnTo>
                    <a:pt x="1474808" y="1848868"/>
                  </a:lnTo>
                  <a:lnTo>
                    <a:pt x="1470044" y="1848868"/>
                  </a:lnTo>
                  <a:lnTo>
                    <a:pt x="1465276" y="1848868"/>
                  </a:lnTo>
                  <a:lnTo>
                    <a:pt x="1446216" y="1834572"/>
                  </a:lnTo>
                  <a:lnTo>
                    <a:pt x="1427156" y="1815512"/>
                  </a:lnTo>
                  <a:lnTo>
                    <a:pt x="1408096" y="1791686"/>
                  </a:lnTo>
                  <a:lnTo>
                    <a:pt x="1393800" y="1782156"/>
                  </a:lnTo>
                  <a:lnTo>
                    <a:pt x="1379504" y="1767860"/>
                  </a:lnTo>
                  <a:lnTo>
                    <a:pt x="1341384" y="1720210"/>
                  </a:lnTo>
                  <a:lnTo>
                    <a:pt x="1336620" y="1710680"/>
                  </a:lnTo>
                  <a:lnTo>
                    <a:pt x="1274672" y="1677324"/>
                  </a:lnTo>
                  <a:lnTo>
                    <a:pt x="1265144" y="1672558"/>
                  </a:lnTo>
                  <a:lnTo>
                    <a:pt x="1250848" y="1658262"/>
                  </a:lnTo>
                  <a:lnTo>
                    <a:pt x="1236552" y="1643968"/>
                  </a:lnTo>
                  <a:lnTo>
                    <a:pt x="1203196" y="1624908"/>
                  </a:lnTo>
                  <a:lnTo>
                    <a:pt x="1141248" y="1577256"/>
                  </a:lnTo>
                  <a:lnTo>
                    <a:pt x="1117424" y="1543900"/>
                  </a:lnTo>
                  <a:lnTo>
                    <a:pt x="1088832" y="1501014"/>
                  </a:lnTo>
                  <a:lnTo>
                    <a:pt x="1079304" y="1486718"/>
                  </a:lnTo>
                  <a:lnTo>
                    <a:pt x="1031652" y="1453362"/>
                  </a:lnTo>
                  <a:lnTo>
                    <a:pt x="1003060" y="1434302"/>
                  </a:lnTo>
                  <a:lnTo>
                    <a:pt x="993532" y="1420006"/>
                  </a:lnTo>
                  <a:lnTo>
                    <a:pt x="964940" y="1377120"/>
                  </a:lnTo>
                  <a:lnTo>
                    <a:pt x="960176" y="1362824"/>
                  </a:lnTo>
                  <a:lnTo>
                    <a:pt x="950644" y="1353294"/>
                  </a:lnTo>
                  <a:lnTo>
                    <a:pt x="931584" y="1343764"/>
                  </a:lnTo>
                  <a:lnTo>
                    <a:pt x="922052" y="1329470"/>
                  </a:lnTo>
                  <a:lnTo>
                    <a:pt x="893464" y="1291348"/>
                  </a:lnTo>
                  <a:lnTo>
                    <a:pt x="883932" y="1277052"/>
                  </a:lnTo>
                  <a:lnTo>
                    <a:pt x="879168" y="1262758"/>
                  </a:lnTo>
                  <a:lnTo>
                    <a:pt x="879168" y="1229402"/>
                  </a:lnTo>
                  <a:lnTo>
                    <a:pt x="821984" y="1129334"/>
                  </a:lnTo>
                  <a:lnTo>
                    <a:pt x="807692" y="1095978"/>
                  </a:lnTo>
                  <a:lnTo>
                    <a:pt x="793396" y="1053092"/>
                  </a:lnTo>
                  <a:lnTo>
                    <a:pt x="788628" y="1048326"/>
                  </a:lnTo>
                  <a:lnTo>
                    <a:pt x="750508" y="1000676"/>
                  </a:lnTo>
                  <a:lnTo>
                    <a:pt x="736212" y="986380"/>
                  </a:lnTo>
                  <a:lnTo>
                    <a:pt x="721916" y="976850"/>
                  </a:lnTo>
                  <a:lnTo>
                    <a:pt x="702856" y="929198"/>
                  </a:lnTo>
                  <a:lnTo>
                    <a:pt x="693328" y="919668"/>
                  </a:lnTo>
                  <a:lnTo>
                    <a:pt x="683796" y="910138"/>
                  </a:lnTo>
                  <a:lnTo>
                    <a:pt x="640912" y="891078"/>
                  </a:lnTo>
                  <a:lnTo>
                    <a:pt x="626616" y="886312"/>
                  </a:lnTo>
                  <a:lnTo>
                    <a:pt x="612320" y="872016"/>
                  </a:lnTo>
                  <a:lnTo>
                    <a:pt x="607556" y="852956"/>
                  </a:lnTo>
                  <a:lnTo>
                    <a:pt x="598024" y="819600"/>
                  </a:lnTo>
                  <a:lnTo>
                    <a:pt x="578964" y="767184"/>
                  </a:lnTo>
                  <a:lnTo>
                    <a:pt x="555140" y="690942"/>
                  </a:lnTo>
                  <a:lnTo>
                    <a:pt x="540844" y="657586"/>
                  </a:lnTo>
                  <a:lnTo>
                    <a:pt x="526548" y="633760"/>
                  </a:lnTo>
                  <a:lnTo>
                    <a:pt x="521784" y="628996"/>
                  </a:lnTo>
                  <a:lnTo>
                    <a:pt x="447924" y="581344"/>
                  </a:lnTo>
                  <a:lnTo>
                    <a:pt x="433628" y="576580"/>
                  </a:lnTo>
                  <a:lnTo>
                    <a:pt x="424096" y="571814"/>
                  </a:lnTo>
                  <a:lnTo>
                    <a:pt x="405036" y="567048"/>
                  </a:lnTo>
                  <a:lnTo>
                    <a:pt x="390740" y="557518"/>
                  </a:lnTo>
                  <a:lnTo>
                    <a:pt x="381212" y="538458"/>
                  </a:lnTo>
                  <a:lnTo>
                    <a:pt x="381212" y="505102"/>
                  </a:lnTo>
                  <a:lnTo>
                    <a:pt x="376448" y="490806"/>
                  </a:lnTo>
                  <a:lnTo>
                    <a:pt x="371680" y="481276"/>
                  </a:lnTo>
                  <a:lnTo>
                    <a:pt x="338324" y="462216"/>
                  </a:lnTo>
                  <a:lnTo>
                    <a:pt x="328796" y="443156"/>
                  </a:lnTo>
                  <a:lnTo>
                    <a:pt x="319264" y="428860"/>
                  </a:lnTo>
                  <a:lnTo>
                    <a:pt x="309736" y="414564"/>
                  </a:lnTo>
                  <a:lnTo>
                    <a:pt x="276380" y="366914"/>
                  </a:lnTo>
                  <a:lnTo>
                    <a:pt x="262084" y="352618"/>
                  </a:lnTo>
                  <a:lnTo>
                    <a:pt x="247788" y="347852"/>
                  </a:lnTo>
                  <a:lnTo>
                    <a:pt x="204900" y="338322"/>
                  </a:lnTo>
                  <a:lnTo>
                    <a:pt x="190608" y="328792"/>
                  </a:lnTo>
                  <a:lnTo>
                    <a:pt x="171544" y="304966"/>
                  </a:lnTo>
                  <a:lnTo>
                    <a:pt x="157252" y="290672"/>
                  </a:lnTo>
                  <a:lnTo>
                    <a:pt x="119128" y="257316"/>
                  </a:lnTo>
                  <a:lnTo>
                    <a:pt x="57184" y="195368"/>
                  </a:lnTo>
                  <a:lnTo>
                    <a:pt x="42888" y="181074"/>
                  </a:lnTo>
                  <a:lnTo>
                    <a:pt x="33356" y="166778"/>
                  </a:lnTo>
                  <a:lnTo>
                    <a:pt x="28592" y="147718"/>
                  </a:lnTo>
                  <a:lnTo>
                    <a:pt x="0" y="100066"/>
                  </a:lnTo>
                  <a:lnTo>
                    <a:pt x="0" y="90536"/>
                  </a:lnTo>
                  <a:lnTo>
                    <a:pt x="4768" y="81006"/>
                  </a:lnTo>
                  <a:lnTo>
                    <a:pt x="4768" y="71476"/>
                  </a:lnTo>
                  <a:lnTo>
                    <a:pt x="0" y="61946"/>
                  </a:lnTo>
                  <a:lnTo>
                    <a:pt x="0" y="57180"/>
                  </a:lnTo>
                  <a:lnTo>
                    <a:pt x="9532" y="52416"/>
                  </a:lnTo>
                  <a:close/>
                  <a:moveTo>
                    <a:pt x="4768" y="0"/>
                  </a:moveTo>
                  <a:lnTo>
                    <a:pt x="9532" y="4764"/>
                  </a:lnTo>
                  <a:lnTo>
                    <a:pt x="23828" y="4764"/>
                  </a:lnTo>
                  <a:lnTo>
                    <a:pt x="23828" y="9530"/>
                  </a:lnTo>
                  <a:lnTo>
                    <a:pt x="23828" y="14294"/>
                  </a:lnTo>
                  <a:lnTo>
                    <a:pt x="19060" y="19060"/>
                  </a:lnTo>
                  <a:lnTo>
                    <a:pt x="9532" y="19060"/>
                  </a:lnTo>
                  <a:lnTo>
                    <a:pt x="0" y="4764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6" name="Freeform 6291">
              <a:extLst>
                <a:ext uri="{FF2B5EF4-FFF2-40B4-BE49-F238E27FC236}">
                  <a16:creationId xmlns:a16="http://schemas.microsoft.com/office/drawing/2014/main" id="{1998BD27-E8B8-4980-BF02-8791DBA59F82}"/>
                </a:ext>
              </a:extLst>
            </p:cNvPr>
            <p:cNvSpPr/>
            <p:nvPr/>
          </p:nvSpPr>
          <p:spPr bwMode="auto">
            <a:xfrm>
              <a:off x="7916736" y="5373180"/>
              <a:ext cx="9251" cy="4625"/>
            </a:xfrm>
            <a:custGeom>
              <a:avLst/>
              <a:gdLst>
                <a:gd name="T0" fmla="*/ 22 w 24"/>
                <a:gd name="T1" fmla="*/ 8 h 12"/>
                <a:gd name="T2" fmla="*/ 24 w 24"/>
                <a:gd name="T3" fmla="*/ 6 h 12"/>
                <a:gd name="T4" fmla="*/ 22 w 24"/>
                <a:gd name="T5" fmla="*/ 4 h 12"/>
                <a:gd name="T6" fmla="*/ 18 w 24"/>
                <a:gd name="T7" fmla="*/ 2 h 12"/>
                <a:gd name="T8" fmla="*/ 12 w 24"/>
                <a:gd name="T9" fmla="*/ 0 h 12"/>
                <a:gd name="T10" fmla="*/ 4 w 24"/>
                <a:gd name="T11" fmla="*/ 2 h 12"/>
                <a:gd name="T12" fmla="*/ 0 w 24"/>
                <a:gd name="T13" fmla="*/ 8 h 12"/>
                <a:gd name="T14" fmla="*/ 12 w 24"/>
                <a:gd name="T15" fmla="*/ 12 h 12"/>
                <a:gd name="T16" fmla="*/ 22 w 24"/>
                <a:gd name="T1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2">
                  <a:moveTo>
                    <a:pt x="22" y="8"/>
                  </a:moveTo>
                  <a:lnTo>
                    <a:pt x="24" y="6"/>
                  </a:lnTo>
                  <a:lnTo>
                    <a:pt x="22" y="4"/>
                  </a:lnTo>
                  <a:lnTo>
                    <a:pt x="18" y="2"/>
                  </a:lnTo>
                  <a:lnTo>
                    <a:pt x="12" y="0"/>
                  </a:lnTo>
                  <a:lnTo>
                    <a:pt x="4" y="2"/>
                  </a:lnTo>
                  <a:lnTo>
                    <a:pt x="0" y="8"/>
                  </a:lnTo>
                  <a:lnTo>
                    <a:pt x="12" y="12"/>
                  </a:lnTo>
                  <a:lnTo>
                    <a:pt x="22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7" name="Freeform 355">
              <a:extLst>
                <a:ext uri="{FF2B5EF4-FFF2-40B4-BE49-F238E27FC236}">
                  <a16:creationId xmlns:a16="http://schemas.microsoft.com/office/drawing/2014/main" id="{3A63887F-A756-4D6F-9023-1BD07F85404E}"/>
                </a:ext>
              </a:extLst>
            </p:cNvPr>
            <p:cNvSpPr/>
            <p:nvPr/>
          </p:nvSpPr>
          <p:spPr bwMode="auto">
            <a:xfrm>
              <a:off x="3734344" y="5121874"/>
              <a:ext cx="34690" cy="32377"/>
            </a:xfrm>
            <a:custGeom>
              <a:avLst/>
              <a:gdLst>
                <a:gd name="connsiteX0" fmla="*/ 128658 w 214432"/>
                <a:gd name="connsiteY0" fmla="*/ 76244 h 200136"/>
                <a:gd name="connsiteX1" fmla="*/ 152484 w 214432"/>
                <a:gd name="connsiteY1" fmla="*/ 76244 h 200136"/>
                <a:gd name="connsiteX2" fmla="*/ 142954 w 214432"/>
                <a:gd name="connsiteY2" fmla="*/ 95304 h 200136"/>
                <a:gd name="connsiteX3" fmla="*/ 133424 w 214432"/>
                <a:gd name="connsiteY3" fmla="*/ 100068 h 200136"/>
                <a:gd name="connsiteX4" fmla="*/ 138188 w 214432"/>
                <a:gd name="connsiteY4" fmla="*/ 119130 h 200136"/>
                <a:gd name="connsiteX5" fmla="*/ 133424 w 214432"/>
                <a:gd name="connsiteY5" fmla="*/ 133424 h 200136"/>
                <a:gd name="connsiteX6" fmla="*/ 138188 w 214432"/>
                <a:gd name="connsiteY6" fmla="*/ 147720 h 200136"/>
                <a:gd name="connsiteX7" fmla="*/ 147718 w 214432"/>
                <a:gd name="connsiteY7" fmla="*/ 157250 h 200136"/>
                <a:gd name="connsiteX8" fmla="*/ 142954 w 214432"/>
                <a:gd name="connsiteY8" fmla="*/ 166780 h 200136"/>
                <a:gd name="connsiteX9" fmla="*/ 138188 w 214432"/>
                <a:gd name="connsiteY9" fmla="*/ 181076 h 200136"/>
                <a:gd name="connsiteX10" fmla="*/ 138188 w 214432"/>
                <a:gd name="connsiteY10" fmla="*/ 185840 h 200136"/>
                <a:gd name="connsiteX11" fmla="*/ 114364 w 214432"/>
                <a:gd name="connsiteY11" fmla="*/ 195370 h 200136"/>
                <a:gd name="connsiteX12" fmla="*/ 47652 w 214432"/>
                <a:gd name="connsiteY12" fmla="*/ 200136 h 200136"/>
                <a:gd name="connsiteX13" fmla="*/ 19060 w 214432"/>
                <a:gd name="connsiteY13" fmla="*/ 195370 h 200136"/>
                <a:gd name="connsiteX14" fmla="*/ 0 w 214432"/>
                <a:gd name="connsiteY14" fmla="*/ 200136 h 200136"/>
                <a:gd name="connsiteX15" fmla="*/ 38120 w 214432"/>
                <a:gd name="connsiteY15" fmla="*/ 176310 h 200136"/>
                <a:gd name="connsiteX16" fmla="*/ 42886 w 214432"/>
                <a:gd name="connsiteY16" fmla="*/ 171546 h 200136"/>
                <a:gd name="connsiteX17" fmla="*/ 57182 w 214432"/>
                <a:gd name="connsiteY17" fmla="*/ 166780 h 200136"/>
                <a:gd name="connsiteX18" fmla="*/ 61946 w 214432"/>
                <a:gd name="connsiteY18" fmla="*/ 166780 h 200136"/>
                <a:gd name="connsiteX19" fmla="*/ 66712 w 214432"/>
                <a:gd name="connsiteY19" fmla="*/ 123894 h 200136"/>
                <a:gd name="connsiteX20" fmla="*/ 66712 w 214432"/>
                <a:gd name="connsiteY20" fmla="*/ 114364 h 200136"/>
                <a:gd name="connsiteX21" fmla="*/ 61946 w 214432"/>
                <a:gd name="connsiteY21" fmla="*/ 104834 h 200136"/>
                <a:gd name="connsiteX22" fmla="*/ 57182 w 214432"/>
                <a:gd name="connsiteY22" fmla="*/ 104834 h 200136"/>
                <a:gd name="connsiteX23" fmla="*/ 42886 w 214432"/>
                <a:gd name="connsiteY23" fmla="*/ 100068 h 200136"/>
                <a:gd name="connsiteX24" fmla="*/ 38120 w 214432"/>
                <a:gd name="connsiteY24" fmla="*/ 95304 h 200136"/>
                <a:gd name="connsiteX25" fmla="*/ 47652 w 214432"/>
                <a:gd name="connsiteY25" fmla="*/ 90538 h 200136"/>
                <a:gd name="connsiteX26" fmla="*/ 66712 w 214432"/>
                <a:gd name="connsiteY26" fmla="*/ 85774 h 200136"/>
                <a:gd name="connsiteX27" fmla="*/ 81008 w 214432"/>
                <a:gd name="connsiteY27" fmla="*/ 81008 h 200136"/>
                <a:gd name="connsiteX28" fmla="*/ 114364 w 214432"/>
                <a:gd name="connsiteY28" fmla="*/ 81008 h 200136"/>
                <a:gd name="connsiteX29" fmla="*/ 209666 w 214432"/>
                <a:gd name="connsiteY29" fmla="*/ 0 h 200136"/>
                <a:gd name="connsiteX30" fmla="*/ 214432 w 214432"/>
                <a:gd name="connsiteY30" fmla="*/ 0 h 200136"/>
                <a:gd name="connsiteX31" fmla="*/ 209666 w 214432"/>
                <a:gd name="connsiteY31" fmla="*/ 9532 h 200136"/>
                <a:gd name="connsiteX32" fmla="*/ 181076 w 214432"/>
                <a:gd name="connsiteY32" fmla="*/ 23828 h 200136"/>
                <a:gd name="connsiteX33" fmla="*/ 171544 w 214432"/>
                <a:gd name="connsiteY33" fmla="*/ 23828 h 200136"/>
                <a:gd name="connsiteX34" fmla="*/ 171544 w 214432"/>
                <a:gd name="connsiteY34" fmla="*/ 14296 h 200136"/>
                <a:gd name="connsiteX35" fmla="*/ 185840 w 214432"/>
                <a:gd name="connsiteY35" fmla="*/ 4766 h 200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14432" h="200136">
                  <a:moveTo>
                    <a:pt x="128658" y="76244"/>
                  </a:moveTo>
                  <a:lnTo>
                    <a:pt x="152484" y="76244"/>
                  </a:lnTo>
                  <a:lnTo>
                    <a:pt x="142954" y="95304"/>
                  </a:lnTo>
                  <a:lnTo>
                    <a:pt x="133424" y="100068"/>
                  </a:lnTo>
                  <a:lnTo>
                    <a:pt x="138188" y="119130"/>
                  </a:lnTo>
                  <a:lnTo>
                    <a:pt x="133424" y="133424"/>
                  </a:lnTo>
                  <a:lnTo>
                    <a:pt x="138188" y="147720"/>
                  </a:lnTo>
                  <a:lnTo>
                    <a:pt x="147718" y="157250"/>
                  </a:lnTo>
                  <a:lnTo>
                    <a:pt x="142954" y="166780"/>
                  </a:lnTo>
                  <a:lnTo>
                    <a:pt x="138188" y="181076"/>
                  </a:lnTo>
                  <a:lnTo>
                    <a:pt x="138188" y="185840"/>
                  </a:lnTo>
                  <a:lnTo>
                    <a:pt x="114364" y="195370"/>
                  </a:lnTo>
                  <a:lnTo>
                    <a:pt x="47652" y="200136"/>
                  </a:lnTo>
                  <a:lnTo>
                    <a:pt x="19060" y="195370"/>
                  </a:lnTo>
                  <a:lnTo>
                    <a:pt x="0" y="200136"/>
                  </a:lnTo>
                  <a:lnTo>
                    <a:pt x="38120" y="176310"/>
                  </a:lnTo>
                  <a:lnTo>
                    <a:pt x="42886" y="171546"/>
                  </a:lnTo>
                  <a:lnTo>
                    <a:pt x="57182" y="166780"/>
                  </a:lnTo>
                  <a:lnTo>
                    <a:pt x="61946" y="166780"/>
                  </a:lnTo>
                  <a:lnTo>
                    <a:pt x="66712" y="123894"/>
                  </a:lnTo>
                  <a:lnTo>
                    <a:pt x="66712" y="114364"/>
                  </a:lnTo>
                  <a:lnTo>
                    <a:pt x="61946" y="104834"/>
                  </a:lnTo>
                  <a:lnTo>
                    <a:pt x="57182" y="104834"/>
                  </a:lnTo>
                  <a:lnTo>
                    <a:pt x="42886" y="100068"/>
                  </a:lnTo>
                  <a:lnTo>
                    <a:pt x="38120" y="95304"/>
                  </a:lnTo>
                  <a:lnTo>
                    <a:pt x="47652" y="90538"/>
                  </a:lnTo>
                  <a:lnTo>
                    <a:pt x="66712" y="85774"/>
                  </a:lnTo>
                  <a:lnTo>
                    <a:pt x="81008" y="81008"/>
                  </a:lnTo>
                  <a:lnTo>
                    <a:pt x="114364" y="81008"/>
                  </a:lnTo>
                  <a:close/>
                  <a:moveTo>
                    <a:pt x="209666" y="0"/>
                  </a:moveTo>
                  <a:lnTo>
                    <a:pt x="214432" y="0"/>
                  </a:lnTo>
                  <a:lnTo>
                    <a:pt x="209666" y="9532"/>
                  </a:lnTo>
                  <a:lnTo>
                    <a:pt x="181076" y="23828"/>
                  </a:lnTo>
                  <a:lnTo>
                    <a:pt x="171544" y="23828"/>
                  </a:lnTo>
                  <a:lnTo>
                    <a:pt x="171544" y="14296"/>
                  </a:lnTo>
                  <a:lnTo>
                    <a:pt x="185840" y="476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8" name="Freeform 356">
              <a:extLst>
                <a:ext uri="{FF2B5EF4-FFF2-40B4-BE49-F238E27FC236}">
                  <a16:creationId xmlns:a16="http://schemas.microsoft.com/office/drawing/2014/main" id="{12EEECA2-2A1A-42D4-86FA-4F6CB7DD08C8}"/>
                </a:ext>
              </a:extLst>
            </p:cNvPr>
            <p:cNvSpPr/>
            <p:nvPr/>
          </p:nvSpPr>
          <p:spPr bwMode="auto">
            <a:xfrm>
              <a:off x="5488089" y="4391083"/>
              <a:ext cx="101756" cy="216616"/>
            </a:xfrm>
            <a:custGeom>
              <a:avLst/>
              <a:gdLst>
                <a:gd name="connsiteX0" fmla="*/ 505104 w 628996"/>
                <a:gd name="connsiteY0" fmla="*/ 662352 h 1339000"/>
                <a:gd name="connsiteX1" fmla="*/ 533692 w 628996"/>
                <a:gd name="connsiteY1" fmla="*/ 662352 h 1339000"/>
                <a:gd name="connsiteX2" fmla="*/ 547988 w 628996"/>
                <a:gd name="connsiteY2" fmla="*/ 676648 h 1339000"/>
                <a:gd name="connsiteX3" fmla="*/ 552756 w 628996"/>
                <a:gd name="connsiteY3" fmla="*/ 681412 h 1339000"/>
                <a:gd name="connsiteX4" fmla="*/ 543224 w 628996"/>
                <a:gd name="connsiteY4" fmla="*/ 690944 h 1339000"/>
                <a:gd name="connsiteX5" fmla="*/ 538460 w 628996"/>
                <a:gd name="connsiteY5" fmla="*/ 695708 h 1339000"/>
                <a:gd name="connsiteX6" fmla="*/ 533692 w 628996"/>
                <a:gd name="connsiteY6" fmla="*/ 695708 h 1339000"/>
                <a:gd name="connsiteX7" fmla="*/ 528928 w 628996"/>
                <a:gd name="connsiteY7" fmla="*/ 700472 h 1339000"/>
                <a:gd name="connsiteX8" fmla="*/ 524164 w 628996"/>
                <a:gd name="connsiteY8" fmla="*/ 700472 h 1339000"/>
                <a:gd name="connsiteX9" fmla="*/ 514632 w 628996"/>
                <a:gd name="connsiteY9" fmla="*/ 695708 h 1339000"/>
                <a:gd name="connsiteX10" fmla="*/ 509868 w 628996"/>
                <a:gd name="connsiteY10" fmla="*/ 695708 h 1339000"/>
                <a:gd name="connsiteX11" fmla="*/ 505104 w 628996"/>
                <a:gd name="connsiteY11" fmla="*/ 690944 h 1339000"/>
                <a:gd name="connsiteX12" fmla="*/ 505104 w 628996"/>
                <a:gd name="connsiteY12" fmla="*/ 671884 h 1339000"/>
                <a:gd name="connsiteX13" fmla="*/ 586112 w 628996"/>
                <a:gd name="connsiteY13" fmla="*/ 486044 h 1339000"/>
                <a:gd name="connsiteX14" fmla="*/ 590876 w 628996"/>
                <a:gd name="connsiteY14" fmla="*/ 490810 h 1339000"/>
                <a:gd name="connsiteX15" fmla="*/ 590876 w 628996"/>
                <a:gd name="connsiteY15" fmla="*/ 500340 h 1339000"/>
                <a:gd name="connsiteX16" fmla="*/ 567052 w 628996"/>
                <a:gd name="connsiteY16" fmla="*/ 514636 h 1339000"/>
                <a:gd name="connsiteX17" fmla="*/ 571816 w 628996"/>
                <a:gd name="connsiteY17" fmla="*/ 500340 h 1339000"/>
                <a:gd name="connsiteX18" fmla="*/ 343088 w 628996"/>
                <a:gd name="connsiteY18" fmla="*/ 0 h 1339000"/>
                <a:gd name="connsiteX19" fmla="*/ 352620 w 628996"/>
                <a:gd name="connsiteY19" fmla="*/ 4764 h 1339000"/>
                <a:gd name="connsiteX20" fmla="*/ 366916 w 628996"/>
                <a:gd name="connsiteY20" fmla="*/ 4764 h 1339000"/>
                <a:gd name="connsiteX21" fmla="*/ 362148 w 628996"/>
                <a:gd name="connsiteY21" fmla="*/ 19060 h 1339000"/>
                <a:gd name="connsiteX22" fmla="*/ 357384 w 628996"/>
                <a:gd name="connsiteY22" fmla="*/ 23824 h 1339000"/>
                <a:gd name="connsiteX23" fmla="*/ 362148 w 628996"/>
                <a:gd name="connsiteY23" fmla="*/ 42888 h 1339000"/>
                <a:gd name="connsiteX24" fmla="*/ 371680 w 628996"/>
                <a:gd name="connsiteY24" fmla="*/ 33356 h 1339000"/>
                <a:gd name="connsiteX25" fmla="*/ 371680 w 628996"/>
                <a:gd name="connsiteY25" fmla="*/ 23824 h 1339000"/>
                <a:gd name="connsiteX26" fmla="*/ 371680 w 628996"/>
                <a:gd name="connsiteY26" fmla="*/ 19060 h 1339000"/>
                <a:gd name="connsiteX27" fmla="*/ 385976 w 628996"/>
                <a:gd name="connsiteY27" fmla="*/ 19060 h 1339000"/>
                <a:gd name="connsiteX28" fmla="*/ 405036 w 628996"/>
                <a:gd name="connsiteY28" fmla="*/ 19060 h 1339000"/>
                <a:gd name="connsiteX29" fmla="*/ 419332 w 628996"/>
                <a:gd name="connsiteY29" fmla="*/ 28592 h 1339000"/>
                <a:gd name="connsiteX30" fmla="*/ 419332 w 628996"/>
                <a:gd name="connsiteY30" fmla="*/ 61948 h 1339000"/>
                <a:gd name="connsiteX31" fmla="*/ 443156 w 628996"/>
                <a:gd name="connsiteY31" fmla="*/ 95304 h 1339000"/>
                <a:gd name="connsiteX32" fmla="*/ 433628 w 628996"/>
                <a:gd name="connsiteY32" fmla="*/ 109596 h 1339000"/>
                <a:gd name="connsiteX33" fmla="*/ 452688 w 628996"/>
                <a:gd name="connsiteY33" fmla="*/ 119128 h 1339000"/>
                <a:gd name="connsiteX34" fmla="*/ 471748 w 628996"/>
                <a:gd name="connsiteY34" fmla="*/ 109596 h 1339000"/>
                <a:gd name="connsiteX35" fmla="*/ 476512 w 628996"/>
                <a:gd name="connsiteY35" fmla="*/ 90536 h 1339000"/>
                <a:gd name="connsiteX36" fmla="*/ 509868 w 628996"/>
                <a:gd name="connsiteY36" fmla="*/ 81008 h 1339000"/>
                <a:gd name="connsiteX37" fmla="*/ 538460 w 628996"/>
                <a:gd name="connsiteY37" fmla="*/ 57180 h 1339000"/>
                <a:gd name="connsiteX38" fmla="*/ 552756 w 628996"/>
                <a:gd name="connsiteY38" fmla="*/ 52416 h 1339000"/>
                <a:gd name="connsiteX39" fmla="*/ 557520 w 628996"/>
                <a:gd name="connsiteY39" fmla="*/ 76244 h 1339000"/>
                <a:gd name="connsiteX40" fmla="*/ 567052 w 628996"/>
                <a:gd name="connsiteY40" fmla="*/ 90536 h 1339000"/>
                <a:gd name="connsiteX41" fmla="*/ 552756 w 628996"/>
                <a:gd name="connsiteY41" fmla="*/ 100068 h 1339000"/>
                <a:gd name="connsiteX42" fmla="*/ 543224 w 628996"/>
                <a:gd name="connsiteY42" fmla="*/ 119128 h 1339000"/>
                <a:gd name="connsiteX43" fmla="*/ 514632 w 628996"/>
                <a:gd name="connsiteY43" fmla="*/ 166780 h 1339000"/>
                <a:gd name="connsiteX44" fmla="*/ 490808 w 628996"/>
                <a:gd name="connsiteY44" fmla="*/ 181076 h 1339000"/>
                <a:gd name="connsiteX45" fmla="*/ 471748 w 628996"/>
                <a:gd name="connsiteY45" fmla="*/ 200136 h 1339000"/>
                <a:gd name="connsiteX46" fmla="*/ 466984 w 628996"/>
                <a:gd name="connsiteY46" fmla="*/ 214432 h 1339000"/>
                <a:gd name="connsiteX47" fmla="*/ 462216 w 628996"/>
                <a:gd name="connsiteY47" fmla="*/ 228728 h 1339000"/>
                <a:gd name="connsiteX48" fmla="*/ 466984 w 628996"/>
                <a:gd name="connsiteY48" fmla="*/ 257316 h 1339000"/>
                <a:gd name="connsiteX49" fmla="*/ 481280 w 628996"/>
                <a:gd name="connsiteY49" fmla="*/ 281144 h 1339000"/>
                <a:gd name="connsiteX50" fmla="*/ 495572 w 628996"/>
                <a:gd name="connsiteY50" fmla="*/ 300204 h 1339000"/>
                <a:gd name="connsiteX51" fmla="*/ 514632 w 628996"/>
                <a:gd name="connsiteY51" fmla="*/ 304968 h 1339000"/>
                <a:gd name="connsiteX52" fmla="*/ 547988 w 628996"/>
                <a:gd name="connsiteY52" fmla="*/ 333560 h 1339000"/>
                <a:gd name="connsiteX53" fmla="*/ 547988 w 628996"/>
                <a:gd name="connsiteY53" fmla="*/ 347856 h 1339000"/>
                <a:gd name="connsiteX54" fmla="*/ 552756 w 628996"/>
                <a:gd name="connsiteY54" fmla="*/ 366916 h 1339000"/>
                <a:gd name="connsiteX55" fmla="*/ 552756 w 628996"/>
                <a:gd name="connsiteY55" fmla="*/ 390740 h 1339000"/>
                <a:gd name="connsiteX56" fmla="*/ 567052 w 628996"/>
                <a:gd name="connsiteY56" fmla="*/ 409800 h 1339000"/>
                <a:gd name="connsiteX57" fmla="*/ 538460 w 628996"/>
                <a:gd name="connsiteY57" fmla="*/ 447924 h 1339000"/>
                <a:gd name="connsiteX58" fmla="*/ 524164 w 628996"/>
                <a:gd name="connsiteY58" fmla="*/ 476512 h 1339000"/>
                <a:gd name="connsiteX59" fmla="*/ 495572 w 628996"/>
                <a:gd name="connsiteY59" fmla="*/ 514632 h 1339000"/>
                <a:gd name="connsiteX60" fmla="*/ 471748 w 628996"/>
                <a:gd name="connsiteY60" fmla="*/ 538460 h 1339000"/>
                <a:gd name="connsiteX61" fmla="*/ 419332 w 628996"/>
                <a:gd name="connsiteY61" fmla="*/ 576580 h 1339000"/>
                <a:gd name="connsiteX62" fmla="*/ 409800 w 628996"/>
                <a:gd name="connsiteY62" fmla="*/ 590876 h 1339000"/>
                <a:gd name="connsiteX63" fmla="*/ 400272 w 628996"/>
                <a:gd name="connsiteY63" fmla="*/ 605172 h 1339000"/>
                <a:gd name="connsiteX64" fmla="*/ 395504 w 628996"/>
                <a:gd name="connsiteY64" fmla="*/ 614700 h 1339000"/>
                <a:gd name="connsiteX65" fmla="*/ 395504 w 628996"/>
                <a:gd name="connsiteY65" fmla="*/ 633764 h 1339000"/>
                <a:gd name="connsiteX66" fmla="*/ 414568 w 628996"/>
                <a:gd name="connsiteY66" fmla="*/ 671884 h 1339000"/>
                <a:gd name="connsiteX67" fmla="*/ 438392 w 628996"/>
                <a:gd name="connsiteY67" fmla="*/ 695708 h 1339000"/>
                <a:gd name="connsiteX68" fmla="*/ 462216 w 628996"/>
                <a:gd name="connsiteY68" fmla="*/ 705240 h 1339000"/>
                <a:gd name="connsiteX69" fmla="*/ 500340 w 628996"/>
                <a:gd name="connsiteY69" fmla="*/ 700472 h 1339000"/>
                <a:gd name="connsiteX70" fmla="*/ 500340 w 628996"/>
                <a:gd name="connsiteY70" fmla="*/ 714768 h 1339000"/>
                <a:gd name="connsiteX71" fmla="*/ 505104 w 628996"/>
                <a:gd name="connsiteY71" fmla="*/ 733828 h 1339000"/>
                <a:gd name="connsiteX72" fmla="*/ 519400 w 628996"/>
                <a:gd name="connsiteY72" fmla="*/ 733828 h 1339000"/>
                <a:gd name="connsiteX73" fmla="*/ 528928 w 628996"/>
                <a:gd name="connsiteY73" fmla="*/ 729064 h 1339000"/>
                <a:gd name="connsiteX74" fmla="*/ 538460 w 628996"/>
                <a:gd name="connsiteY74" fmla="*/ 714768 h 1339000"/>
                <a:gd name="connsiteX75" fmla="*/ 557520 w 628996"/>
                <a:gd name="connsiteY75" fmla="*/ 724300 h 1339000"/>
                <a:gd name="connsiteX76" fmla="*/ 571816 w 628996"/>
                <a:gd name="connsiteY76" fmla="*/ 762420 h 1339000"/>
                <a:gd name="connsiteX77" fmla="*/ 586112 w 628996"/>
                <a:gd name="connsiteY77" fmla="*/ 771952 h 1339000"/>
                <a:gd name="connsiteX78" fmla="*/ 586112 w 628996"/>
                <a:gd name="connsiteY78" fmla="*/ 776716 h 1339000"/>
                <a:gd name="connsiteX79" fmla="*/ 581344 w 628996"/>
                <a:gd name="connsiteY79" fmla="*/ 781480 h 1339000"/>
                <a:gd name="connsiteX80" fmla="*/ 576580 w 628996"/>
                <a:gd name="connsiteY80" fmla="*/ 786248 h 1339000"/>
                <a:gd name="connsiteX81" fmla="*/ 581344 w 628996"/>
                <a:gd name="connsiteY81" fmla="*/ 786248 h 1339000"/>
                <a:gd name="connsiteX82" fmla="*/ 600408 w 628996"/>
                <a:gd name="connsiteY82" fmla="*/ 791012 h 1339000"/>
                <a:gd name="connsiteX83" fmla="*/ 609936 w 628996"/>
                <a:gd name="connsiteY83" fmla="*/ 786248 h 1339000"/>
                <a:gd name="connsiteX84" fmla="*/ 624232 w 628996"/>
                <a:gd name="connsiteY84" fmla="*/ 795776 h 1339000"/>
                <a:gd name="connsiteX85" fmla="*/ 624232 w 628996"/>
                <a:gd name="connsiteY85" fmla="*/ 800540 h 1339000"/>
                <a:gd name="connsiteX86" fmla="*/ 619468 w 628996"/>
                <a:gd name="connsiteY86" fmla="*/ 838664 h 1339000"/>
                <a:gd name="connsiteX87" fmla="*/ 619468 w 628996"/>
                <a:gd name="connsiteY87" fmla="*/ 848192 h 1339000"/>
                <a:gd name="connsiteX88" fmla="*/ 614700 w 628996"/>
                <a:gd name="connsiteY88" fmla="*/ 872020 h 1339000"/>
                <a:gd name="connsiteX89" fmla="*/ 614700 w 628996"/>
                <a:gd name="connsiteY89" fmla="*/ 895844 h 1339000"/>
                <a:gd name="connsiteX90" fmla="*/ 628996 w 628996"/>
                <a:gd name="connsiteY90" fmla="*/ 919668 h 1339000"/>
                <a:gd name="connsiteX91" fmla="*/ 628996 w 628996"/>
                <a:gd name="connsiteY91" fmla="*/ 929200 h 1339000"/>
                <a:gd name="connsiteX92" fmla="*/ 624232 w 628996"/>
                <a:gd name="connsiteY92" fmla="*/ 938732 h 1339000"/>
                <a:gd name="connsiteX93" fmla="*/ 600408 w 628996"/>
                <a:gd name="connsiteY93" fmla="*/ 953024 h 1339000"/>
                <a:gd name="connsiteX94" fmla="*/ 571816 w 628996"/>
                <a:gd name="connsiteY94" fmla="*/ 967320 h 1339000"/>
                <a:gd name="connsiteX95" fmla="*/ 547988 w 628996"/>
                <a:gd name="connsiteY95" fmla="*/ 981616 h 1339000"/>
                <a:gd name="connsiteX96" fmla="*/ 519400 w 628996"/>
                <a:gd name="connsiteY96" fmla="*/ 1000676 h 1339000"/>
                <a:gd name="connsiteX97" fmla="*/ 509868 w 628996"/>
                <a:gd name="connsiteY97" fmla="*/ 1010208 h 1339000"/>
                <a:gd name="connsiteX98" fmla="*/ 495572 w 628996"/>
                <a:gd name="connsiteY98" fmla="*/ 1019736 h 1339000"/>
                <a:gd name="connsiteX99" fmla="*/ 486044 w 628996"/>
                <a:gd name="connsiteY99" fmla="*/ 1029268 h 1339000"/>
                <a:gd name="connsiteX100" fmla="*/ 481280 w 628996"/>
                <a:gd name="connsiteY100" fmla="*/ 1038796 h 1339000"/>
                <a:gd name="connsiteX101" fmla="*/ 476512 w 628996"/>
                <a:gd name="connsiteY101" fmla="*/ 1053092 h 1339000"/>
                <a:gd name="connsiteX102" fmla="*/ 462216 w 628996"/>
                <a:gd name="connsiteY102" fmla="*/ 1062624 h 1339000"/>
                <a:gd name="connsiteX103" fmla="*/ 438392 w 628996"/>
                <a:gd name="connsiteY103" fmla="*/ 1072152 h 1339000"/>
                <a:gd name="connsiteX104" fmla="*/ 433628 w 628996"/>
                <a:gd name="connsiteY104" fmla="*/ 1072152 h 1339000"/>
                <a:gd name="connsiteX105" fmla="*/ 419332 w 628996"/>
                <a:gd name="connsiteY105" fmla="*/ 1091216 h 1339000"/>
                <a:gd name="connsiteX106" fmla="*/ 414568 w 628996"/>
                <a:gd name="connsiteY106" fmla="*/ 1100744 h 1339000"/>
                <a:gd name="connsiteX107" fmla="*/ 409800 w 628996"/>
                <a:gd name="connsiteY107" fmla="*/ 1115040 h 1339000"/>
                <a:gd name="connsiteX108" fmla="*/ 414568 w 628996"/>
                <a:gd name="connsiteY108" fmla="*/ 1153160 h 1339000"/>
                <a:gd name="connsiteX109" fmla="*/ 428860 w 628996"/>
                <a:gd name="connsiteY109" fmla="*/ 1191284 h 1339000"/>
                <a:gd name="connsiteX110" fmla="*/ 428860 w 628996"/>
                <a:gd name="connsiteY110" fmla="*/ 1210344 h 1339000"/>
                <a:gd name="connsiteX111" fmla="*/ 428860 w 628996"/>
                <a:gd name="connsiteY111" fmla="*/ 1224636 h 1339000"/>
                <a:gd name="connsiteX112" fmla="*/ 424096 w 628996"/>
                <a:gd name="connsiteY112" fmla="*/ 1238932 h 1339000"/>
                <a:gd name="connsiteX113" fmla="*/ 409800 w 628996"/>
                <a:gd name="connsiteY113" fmla="*/ 1257992 h 1339000"/>
                <a:gd name="connsiteX114" fmla="*/ 400272 w 628996"/>
                <a:gd name="connsiteY114" fmla="*/ 1277056 h 1339000"/>
                <a:gd name="connsiteX115" fmla="*/ 381212 w 628996"/>
                <a:gd name="connsiteY115" fmla="*/ 1300880 h 1339000"/>
                <a:gd name="connsiteX116" fmla="*/ 371680 w 628996"/>
                <a:gd name="connsiteY116" fmla="*/ 1310412 h 1339000"/>
                <a:gd name="connsiteX117" fmla="*/ 357384 w 628996"/>
                <a:gd name="connsiteY117" fmla="*/ 1319940 h 1339000"/>
                <a:gd name="connsiteX118" fmla="*/ 333560 w 628996"/>
                <a:gd name="connsiteY118" fmla="*/ 1329472 h 1339000"/>
                <a:gd name="connsiteX119" fmla="*/ 314500 w 628996"/>
                <a:gd name="connsiteY119" fmla="*/ 1339000 h 1339000"/>
                <a:gd name="connsiteX120" fmla="*/ 304968 w 628996"/>
                <a:gd name="connsiteY120" fmla="*/ 1296116 h 1339000"/>
                <a:gd name="connsiteX121" fmla="*/ 295440 w 628996"/>
                <a:gd name="connsiteY121" fmla="*/ 1257992 h 1339000"/>
                <a:gd name="connsiteX122" fmla="*/ 290672 w 628996"/>
                <a:gd name="connsiteY122" fmla="*/ 1229404 h 1339000"/>
                <a:gd name="connsiteX123" fmla="*/ 276376 w 628996"/>
                <a:gd name="connsiteY123" fmla="*/ 1176988 h 1339000"/>
                <a:gd name="connsiteX124" fmla="*/ 266848 w 628996"/>
                <a:gd name="connsiteY124" fmla="*/ 1129336 h 1339000"/>
                <a:gd name="connsiteX125" fmla="*/ 257316 w 628996"/>
                <a:gd name="connsiteY125" fmla="*/ 1086448 h 1339000"/>
                <a:gd name="connsiteX126" fmla="*/ 238256 w 628996"/>
                <a:gd name="connsiteY126" fmla="*/ 1000676 h 1339000"/>
                <a:gd name="connsiteX127" fmla="*/ 238256 w 628996"/>
                <a:gd name="connsiteY127" fmla="*/ 995912 h 1339000"/>
                <a:gd name="connsiteX128" fmla="*/ 209664 w 628996"/>
                <a:gd name="connsiteY128" fmla="*/ 976852 h 1339000"/>
                <a:gd name="connsiteX129" fmla="*/ 185840 w 628996"/>
                <a:gd name="connsiteY129" fmla="*/ 957792 h 1339000"/>
                <a:gd name="connsiteX130" fmla="*/ 157248 w 628996"/>
                <a:gd name="connsiteY130" fmla="*/ 938732 h 1339000"/>
                <a:gd name="connsiteX131" fmla="*/ 128660 w 628996"/>
                <a:gd name="connsiteY131" fmla="*/ 914904 h 1339000"/>
                <a:gd name="connsiteX132" fmla="*/ 123892 w 628996"/>
                <a:gd name="connsiteY132" fmla="*/ 886312 h 1339000"/>
                <a:gd name="connsiteX133" fmla="*/ 109596 w 628996"/>
                <a:gd name="connsiteY133" fmla="*/ 843428 h 1339000"/>
                <a:gd name="connsiteX134" fmla="*/ 95304 w 628996"/>
                <a:gd name="connsiteY134" fmla="*/ 819604 h 1339000"/>
                <a:gd name="connsiteX135" fmla="*/ 90536 w 628996"/>
                <a:gd name="connsiteY135" fmla="*/ 814836 h 1339000"/>
                <a:gd name="connsiteX136" fmla="*/ 57180 w 628996"/>
                <a:gd name="connsiteY136" fmla="*/ 800540 h 1339000"/>
                <a:gd name="connsiteX137" fmla="*/ 38120 w 628996"/>
                <a:gd name="connsiteY137" fmla="*/ 786248 h 1339000"/>
                <a:gd name="connsiteX138" fmla="*/ 38120 w 628996"/>
                <a:gd name="connsiteY138" fmla="*/ 781480 h 1339000"/>
                <a:gd name="connsiteX139" fmla="*/ 33356 w 628996"/>
                <a:gd name="connsiteY139" fmla="*/ 762420 h 1339000"/>
                <a:gd name="connsiteX140" fmla="*/ 19060 w 628996"/>
                <a:gd name="connsiteY140" fmla="*/ 729064 h 1339000"/>
                <a:gd name="connsiteX141" fmla="*/ 4764 w 628996"/>
                <a:gd name="connsiteY141" fmla="*/ 695708 h 1339000"/>
                <a:gd name="connsiteX142" fmla="*/ 0 w 628996"/>
                <a:gd name="connsiteY142" fmla="*/ 676648 h 1339000"/>
                <a:gd name="connsiteX143" fmla="*/ 0 w 628996"/>
                <a:gd name="connsiteY143" fmla="*/ 648056 h 1339000"/>
                <a:gd name="connsiteX144" fmla="*/ 0 w 628996"/>
                <a:gd name="connsiteY144" fmla="*/ 628996 h 1339000"/>
                <a:gd name="connsiteX145" fmla="*/ 9532 w 628996"/>
                <a:gd name="connsiteY145" fmla="*/ 619468 h 1339000"/>
                <a:gd name="connsiteX146" fmla="*/ 38120 w 628996"/>
                <a:gd name="connsiteY146" fmla="*/ 595640 h 1339000"/>
                <a:gd name="connsiteX147" fmla="*/ 52416 w 628996"/>
                <a:gd name="connsiteY147" fmla="*/ 567052 h 1339000"/>
                <a:gd name="connsiteX148" fmla="*/ 71476 w 628996"/>
                <a:gd name="connsiteY148" fmla="*/ 552756 h 1339000"/>
                <a:gd name="connsiteX149" fmla="*/ 85772 w 628996"/>
                <a:gd name="connsiteY149" fmla="*/ 547988 h 1339000"/>
                <a:gd name="connsiteX150" fmla="*/ 95304 w 628996"/>
                <a:gd name="connsiteY150" fmla="*/ 538460 h 1339000"/>
                <a:gd name="connsiteX151" fmla="*/ 109596 w 628996"/>
                <a:gd name="connsiteY151" fmla="*/ 519400 h 1339000"/>
                <a:gd name="connsiteX152" fmla="*/ 114364 w 628996"/>
                <a:gd name="connsiteY152" fmla="*/ 505104 h 1339000"/>
                <a:gd name="connsiteX153" fmla="*/ 119128 w 628996"/>
                <a:gd name="connsiteY153" fmla="*/ 486044 h 1339000"/>
                <a:gd name="connsiteX154" fmla="*/ 119128 w 628996"/>
                <a:gd name="connsiteY154" fmla="*/ 457452 h 1339000"/>
                <a:gd name="connsiteX155" fmla="*/ 123892 w 628996"/>
                <a:gd name="connsiteY155" fmla="*/ 438392 h 1339000"/>
                <a:gd name="connsiteX156" fmla="*/ 138188 w 628996"/>
                <a:gd name="connsiteY156" fmla="*/ 414568 h 1339000"/>
                <a:gd name="connsiteX157" fmla="*/ 133424 w 628996"/>
                <a:gd name="connsiteY157" fmla="*/ 395504 h 1339000"/>
                <a:gd name="connsiteX158" fmla="*/ 128660 w 628996"/>
                <a:gd name="connsiteY158" fmla="*/ 376444 h 1339000"/>
                <a:gd name="connsiteX159" fmla="*/ 128660 w 628996"/>
                <a:gd name="connsiteY159" fmla="*/ 343088 h 1339000"/>
                <a:gd name="connsiteX160" fmla="*/ 128660 w 628996"/>
                <a:gd name="connsiteY160" fmla="*/ 328792 h 1339000"/>
                <a:gd name="connsiteX161" fmla="*/ 123892 w 628996"/>
                <a:gd name="connsiteY161" fmla="*/ 314500 h 1339000"/>
                <a:gd name="connsiteX162" fmla="*/ 114364 w 628996"/>
                <a:gd name="connsiteY162" fmla="*/ 300204 h 1339000"/>
                <a:gd name="connsiteX163" fmla="*/ 114364 w 628996"/>
                <a:gd name="connsiteY163" fmla="*/ 285908 h 1339000"/>
                <a:gd name="connsiteX164" fmla="*/ 119128 w 628996"/>
                <a:gd name="connsiteY164" fmla="*/ 252552 h 1339000"/>
                <a:gd name="connsiteX165" fmla="*/ 123892 w 628996"/>
                <a:gd name="connsiteY165" fmla="*/ 223960 h 1339000"/>
                <a:gd name="connsiteX166" fmla="*/ 133424 w 628996"/>
                <a:gd name="connsiteY166" fmla="*/ 190604 h 1339000"/>
                <a:gd name="connsiteX167" fmla="*/ 128660 w 628996"/>
                <a:gd name="connsiteY167" fmla="*/ 181076 h 1339000"/>
                <a:gd name="connsiteX168" fmla="*/ 123892 w 628996"/>
                <a:gd name="connsiteY168" fmla="*/ 171544 h 1339000"/>
                <a:gd name="connsiteX169" fmla="*/ 109596 w 628996"/>
                <a:gd name="connsiteY169" fmla="*/ 166780 h 1339000"/>
                <a:gd name="connsiteX170" fmla="*/ 109596 w 628996"/>
                <a:gd name="connsiteY170" fmla="*/ 162016 h 1339000"/>
                <a:gd name="connsiteX171" fmla="*/ 114364 w 628996"/>
                <a:gd name="connsiteY171" fmla="*/ 157248 h 1339000"/>
                <a:gd name="connsiteX172" fmla="*/ 133424 w 628996"/>
                <a:gd name="connsiteY172" fmla="*/ 138188 h 1339000"/>
                <a:gd name="connsiteX173" fmla="*/ 147720 w 628996"/>
                <a:gd name="connsiteY173" fmla="*/ 114364 h 1339000"/>
                <a:gd name="connsiteX174" fmla="*/ 157248 w 628996"/>
                <a:gd name="connsiteY174" fmla="*/ 109596 h 1339000"/>
                <a:gd name="connsiteX175" fmla="*/ 171544 w 628996"/>
                <a:gd name="connsiteY175" fmla="*/ 100068 h 1339000"/>
                <a:gd name="connsiteX176" fmla="*/ 171544 w 628996"/>
                <a:gd name="connsiteY176" fmla="*/ 90536 h 1339000"/>
                <a:gd name="connsiteX177" fmla="*/ 166780 w 628996"/>
                <a:gd name="connsiteY177" fmla="*/ 81008 h 1339000"/>
                <a:gd name="connsiteX178" fmla="*/ 204900 w 628996"/>
                <a:gd name="connsiteY178" fmla="*/ 66712 h 1339000"/>
                <a:gd name="connsiteX179" fmla="*/ 243020 w 628996"/>
                <a:gd name="connsiteY179" fmla="*/ 38120 h 1339000"/>
                <a:gd name="connsiteX180" fmla="*/ 257316 w 628996"/>
                <a:gd name="connsiteY180" fmla="*/ 28592 h 133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</a:cxnLst>
              <a:rect l="l" t="t" r="r" b="b"/>
              <a:pathLst>
                <a:path w="628996" h="1339000">
                  <a:moveTo>
                    <a:pt x="505104" y="662352"/>
                  </a:moveTo>
                  <a:lnTo>
                    <a:pt x="533692" y="662352"/>
                  </a:lnTo>
                  <a:lnTo>
                    <a:pt x="547988" y="676648"/>
                  </a:lnTo>
                  <a:lnTo>
                    <a:pt x="552756" y="681412"/>
                  </a:lnTo>
                  <a:lnTo>
                    <a:pt x="543224" y="690944"/>
                  </a:lnTo>
                  <a:lnTo>
                    <a:pt x="538460" y="695708"/>
                  </a:lnTo>
                  <a:lnTo>
                    <a:pt x="533692" y="695708"/>
                  </a:lnTo>
                  <a:lnTo>
                    <a:pt x="528928" y="700472"/>
                  </a:lnTo>
                  <a:lnTo>
                    <a:pt x="524164" y="700472"/>
                  </a:lnTo>
                  <a:lnTo>
                    <a:pt x="514632" y="695708"/>
                  </a:lnTo>
                  <a:lnTo>
                    <a:pt x="509868" y="695708"/>
                  </a:lnTo>
                  <a:lnTo>
                    <a:pt x="505104" y="690944"/>
                  </a:lnTo>
                  <a:lnTo>
                    <a:pt x="505104" y="671884"/>
                  </a:lnTo>
                  <a:close/>
                  <a:moveTo>
                    <a:pt x="586112" y="486044"/>
                  </a:moveTo>
                  <a:lnTo>
                    <a:pt x="590876" y="490810"/>
                  </a:lnTo>
                  <a:lnTo>
                    <a:pt x="590876" y="500340"/>
                  </a:lnTo>
                  <a:lnTo>
                    <a:pt x="567052" y="514636"/>
                  </a:lnTo>
                  <a:lnTo>
                    <a:pt x="571816" y="500340"/>
                  </a:lnTo>
                  <a:close/>
                  <a:moveTo>
                    <a:pt x="343088" y="0"/>
                  </a:moveTo>
                  <a:lnTo>
                    <a:pt x="352620" y="4764"/>
                  </a:lnTo>
                  <a:lnTo>
                    <a:pt x="366916" y="4764"/>
                  </a:lnTo>
                  <a:lnTo>
                    <a:pt x="362148" y="19060"/>
                  </a:lnTo>
                  <a:lnTo>
                    <a:pt x="357384" y="23824"/>
                  </a:lnTo>
                  <a:lnTo>
                    <a:pt x="362148" y="42888"/>
                  </a:lnTo>
                  <a:lnTo>
                    <a:pt x="371680" y="33356"/>
                  </a:lnTo>
                  <a:lnTo>
                    <a:pt x="371680" y="23824"/>
                  </a:lnTo>
                  <a:lnTo>
                    <a:pt x="371680" y="19060"/>
                  </a:lnTo>
                  <a:lnTo>
                    <a:pt x="385976" y="19060"/>
                  </a:lnTo>
                  <a:lnTo>
                    <a:pt x="405036" y="19060"/>
                  </a:lnTo>
                  <a:lnTo>
                    <a:pt x="419332" y="28592"/>
                  </a:lnTo>
                  <a:lnTo>
                    <a:pt x="419332" y="61948"/>
                  </a:lnTo>
                  <a:lnTo>
                    <a:pt x="443156" y="95304"/>
                  </a:lnTo>
                  <a:lnTo>
                    <a:pt x="433628" y="109596"/>
                  </a:lnTo>
                  <a:lnTo>
                    <a:pt x="452688" y="119128"/>
                  </a:lnTo>
                  <a:lnTo>
                    <a:pt x="471748" y="109596"/>
                  </a:lnTo>
                  <a:lnTo>
                    <a:pt x="476512" y="90536"/>
                  </a:lnTo>
                  <a:lnTo>
                    <a:pt x="509868" y="81008"/>
                  </a:lnTo>
                  <a:lnTo>
                    <a:pt x="538460" y="57180"/>
                  </a:lnTo>
                  <a:lnTo>
                    <a:pt x="552756" y="52416"/>
                  </a:lnTo>
                  <a:lnTo>
                    <a:pt x="557520" y="76244"/>
                  </a:lnTo>
                  <a:lnTo>
                    <a:pt x="567052" y="90536"/>
                  </a:lnTo>
                  <a:lnTo>
                    <a:pt x="552756" y="100068"/>
                  </a:lnTo>
                  <a:lnTo>
                    <a:pt x="543224" y="119128"/>
                  </a:lnTo>
                  <a:lnTo>
                    <a:pt x="514632" y="166780"/>
                  </a:lnTo>
                  <a:lnTo>
                    <a:pt x="490808" y="181076"/>
                  </a:lnTo>
                  <a:lnTo>
                    <a:pt x="471748" y="200136"/>
                  </a:lnTo>
                  <a:lnTo>
                    <a:pt x="466984" y="214432"/>
                  </a:lnTo>
                  <a:lnTo>
                    <a:pt x="462216" y="228728"/>
                  </a:lnTo>
                  <a:lnTo>
                    <a:pt x="466984" y="257316"/>
                  </a:lnTo>
                  <a:lnTo>
                    <a:pt x="481280" y="281144"/>
                  </a:lnTo>
                  <a:lnTo>
                    <a:pt x="495572" y="300204"/>
                  </a:lnTo>
                  <a:lnTo>
                    <a:pt x="514632" y="304968"/>
                  </a:lnTo>
                  <a:lnTo>
                    <a:pt x="547988" y="333560"/>
                  </a:lnTo>
                  <a:lnTo>
                    <a:pt x="547988" y="347856"/>
                  </a:lnTo>
                  <a:lnTo>
                    <a:pt x="552756" y="366916"/>
                  </a:lnTo>
                  <a:lnTo>
                    <a:pt x="552756" y="390740"/>
                  </a:lnTo>
                  <a:lnTo>
                    <a:pt x="567052" y="409800"/>
                  </a:lnTo>
                  <a:lnTo>
                    <a:pt x="538460" y="447924"/>
                  </a:lnTo>
                  <a:lnTo>
                    <a:pt x="524164" y="476512"/>
                  </a:lnTo>
                  <a:lnTo>
                    <a:pt x="495572" y="514632"/>
                  </a:lnTo>
                  <a:lnTo>
                    <a:pt x="471748" y="538460"/>
                  </a:lnTo>
                  <a:lnTo>
                    <a:pt x="419332" y="576580"/>
                  </a:lnTo>
                  <a:lnTo>
                    <a:pt x="409800" y="590876"/>
                  </a:lnTo>
                  <a:lnTo>
                    <a:pt x="400272" y="605172"/>
                  </a:lnTo>
                  <a:lnTo>
                    <a:pt x="395504" y="614700"/>
                  </a:lnTo>
                  <a:lnTo>
                    <a:pt x="395504" y="633764"/>
                  </a:lnTo>
                  <a:lnTo>
                    <a:pt x="414568" y="671884"/>
                  </a:lnTo>
                  <a:lnTo>
                    <a:pt x="438392" y="695708"/>
                  </a:lnTo>
                  <a:lnTo>
                    <a:pt x="462216" y="705240"/>
                  </a:lnTo>
                  <a:lnTo>
                    <a:pt x="500340" y="700472"/>
                  </a:lnTo>
                  <a:lnTo>
                    <a:pt x="500340" y="714768"/>
                  </a:lnTo>
                  <a:lnTo>
                    <a:pt x="505104" y="733828"/>
                  </a:lnTo>
                  <a:lnTo>
                    <a:pt x="519400" y="733828"/>
                  </a:lnTo>
                  <a:lnTo>
                    <a:pt x="528928" y="729064"/>
                  </a:lnTo>
                  <a:lnTo>
                    <a:pt x="538460" y="714768"/>
                  </a:lnTo>
                  <a:lnTo>
                    <a:pt x="557520" y="724300"/>
                  </a:lnTo>
                  <a:lnTo>
                    <a:pt x="571816" y="762420"/>
                  </a:lnTo>
                  <a:lnTo>
                    <a:pt x="586112" y="771952"/>
                  </a:lnTo>
                  <a:lnTo>
                    <a:pt x="586112" y="776716"/>
                  </a:lnTo>
                  <a:lnTo>
                    <a:pt x="581344" y="781480"/>
                  </a:lnTo>
                  <a:lnTo>
                    <a:pt x="576580" y="786248"/>
                  </a:lnTo>
                  <a:lnTo>
                    <a:pt x="581344" y="786248"/>
                  </a:lnTo>
                  <a:lnTo>
                    <a:pt x="600408" y="791012"/>
                  </a:lnTo>
                  <a:lnTo>
                    <a:pt x="609936" y="786248"/>
                  </a:lnTo>
                  <a:lnTo>
                    <a:pt x="624232" y="795776"/>
                  </a:lnTo>
                  <a:lnTo>
                    <a:pt x="624232" y="800540"/>
                  </a:lnTo>
                  <a:lnTo>
                    <a:pt x="619468" y="838664"/>
                  </a:lnTo>
                  <a:lnTo>
                    <a:pt x="619468" y="848192"/>
                  </a:lnTo>
                  <a:lnTo>
                    <a:pt x="614700" y="872020"/>
                  </a:lnTo>
                  <a:lnTo>
                    <a:pt x="614700" y="895844"/>
                  </a:lnTo>
                  <a:lnTo>
                    <a:pt x="628996" y="919668"/>
                  </a:lnTo>
                  <a:lnTo>
                    <a:pt x="628996" y="929200"/>
                  </a:lnTo>
                  <a:lnTo>
                    <a:pt x="624232" y="938732"/>
                  </a:lnTo>
                  <a:lnTo>
                    <a:pt x="600408" y="953024"/>
                  </a:lnTo>
                  <a:lnTo>
                    <a:pt x="571816" y="967320"/>
                  </a:lnTo>
                  <a:lnTo>
                    <a:pt x="547988" y="981616"/>
                  </a:lnTo>
                  <a:lnTo>
                    <a:pt x="519400" y="1000676"/>
                  </a:lnTo>
                  <a:lnTo>
                    <a:pt x="509868" y="1010208"/>
                  </a:lnTo>
                  <a:lnTo>
                    <a:pt x="495572" y="1019736"/>
                  </a:lnTo>
                  <a:lnTo>
                    <a:pt x="486044" y="1029268"/>
                  </a:lnTo>
                  <a:lnTo>
                    <a:pt x="481280" y="1038796"/>
                  </a:lnTo>
                  <a:lnTo>
                    <a:pt x="476512" y="1053092"/>
                  </a:lnTo>
                  <a:lnTo>
                    <a:pt x="462216" y="1062624"/>
                  </a:lnTo>
                  <a:lnTo>
                    <a:pt x="438392" y="1072152"/>
                  </a:lnTo>
                  <a:lnTo>
                    <a:pt x="433628" y="1072152"/>
                  </a:lnTo>
                  <a:lnTo>
                    <a:pt x="419332" y="1091216"/>
                  </a:lnTo>
                  <a:lnTo>
                    <a:pt x="414568" y="1100744"/>
                  </a:lnTo>
                  <a:lnTo>
                    <a:pt x="409800" y="1115040"/>
                  </a:lnTo>
                  <a:lnTo>
                    <a:pt x="414568" y="1153160"/>
                  </a:lnTo>
                  <a:lnTo>
                    <a:pt x="428860" y="1191284"/>
                  </a:lnTo>
                  <a:lnTo>
                    <a:pt x="428860" y="1210344"/>
                  </a:lnTo>
                  <a:lnTo>
                    <a:pt x="428860" y="1224636"/>
                  </a:lnTo>
                  <a:lnTo>
                    <a:pt x="424096" y="1238932"/>
                  </a:lnTo>
                  <a:lnTo>
                    <a:pt x="409800" y="1257992"/>
                  </a:lnTo>
                  <a:lnTo>
                    <a:pt x="400272" y="1277056"/>
                  </a:lnTo>
                  <a:lnTo>
                    <a:pt x="381212" y="1300880"/>
                  </a:lnTo>
                  <a:lnTo>
                    <a:pt x="371680" y="1310412"/>
                  </a:lnTo>
                  <a:lnTo>
                    <a:pt x="357384" y="1319940"/>
                  </a:lnTo>
                  <a:lnTo>
                    <a:pt x="333560" y="1329472"/>
                  </a:lnTo>
                  <a:lnTo>
                    <a:pt x="314500" y="1339000"/>
                  </a:lnTo>
                  <a:lnTo>
                    <a:pt x="304968" y="1296116"/>
                  </a:lnTo>
                  <a:lnTo>
                    <a:pt x="295440" y="1257992"/>
                  </a:lnTo>
                  <a:lnTo>
                    <a:pt x="290672" y="1229404"/>
                  </a:lnTo>
                  <a:lnTo>
                    <a:pt x="276376" y="1176988"/>
                  </a:lnTo>
                  <a:lnTo>
                    <a:pt x="266848" y="1129336"/>
                  </a:lnTo>
                  <a:lnTo>
                    <a:pt x="257316" y="1086448"/>
                  </a:lnTo>
                  <a:lnTo>
                    <a:pt x="238256" y="1000676"/>
                  </a:lnTo>
                  <a:lnTo>
                    <a:pt x="238256" y="995912"/>
                  </a:lnTo>
                  <a:lnTo>
                    <a:pt x="209664" y="976852"/>
                  </a:lnTo>
                  <a:lnTo>
                    <a:pt x="185840" y="957792"/>
                  </a:lnTo>
                  <a:lnTo>
                    <a:pt x="157248" y="938732"/>
                  </a:lnTo>
                  <a:lnTo>
                    <a:pt x="128660" y="914904"/>
                  </a:lnTo>
                  <a:lnTo>
                    <a:pt x="123892" y="886312"/>
                  </a:lnTo>
                  <a:lnTo>
                    <a:pt x="109596" y="843428"/>
                  </a:lnTo>
                  <a:lnTo>
                    <a:pt x="95304" y="819604"/>
                  </a:lnTo>
                  <a:lnTo>
                    <a:pt x="90536" y="814836"/>
                  </a:lnTo>
                  <a:lnTo>
                    <a:pt x="57180" y="800540"/>
                  </a:lnTo>
                  <a:lnTo>
                    <a:pt x="38120" y="786248"/>
                  </a:lnTo>
                  <a:lnTo>
                    <a:pt x="38120" y="781480"/>
                  </a:lnTo>
                  <a:lnTo>
                    <a:pt x="33356" y="762420"/>
                  </a:lnTo>
                  <a:lnTo>
                    <a:pt x="19060" y="729064"/>
                  </a:lnTo>
                  <a:lnTo>
                    <a:pt x="4764" y="695708"/>
                  </a:lnTo>
                  <a:lnTo>
                    <a:pt x="0" y="676648"/>
                  </a:lnTo>
                  <a:lnTo>
                    <a:pt x="0" y="648056"/>
                  </a:lnTo>
                  <a:lnTo>
                    <a:pt x="0" y="628996"/>
                  </a:lnTo>
                  <a:lnTo>
                    <a:pt x="9532" y="619468"/>
                  </a:lnTo>
                  <a:lnTo>
                    <a:pt x="38120" y="595640"/>
                  </a:lnTo>
                  <a:lnTo>
                    <a:pt x="52416" y="567052"/>
                  </a:lnTo>
                  <a:lnTo>
                    <a:pt x="71476" y="552756"/>
                  </a:lnTo>
                  <a:lnTo>
                    <a:pt x="85772" y="547988"/>
                  </a:lnTo>
                  <a:lnTo>
                    <a:pt x="95304" y="538460"/>
                  </a:lnTo>
                  <a:lnTo>
                    <a:pt x="109596" y="519400"/>
                  </a:lnTo>
                  <a:lnTo>
                    <a:pt x="114364" y="505104"/>
                  </a:lnTo>
                  <a:lnTo>
                    <a:pt x="119128" y="486044"/>
                  </a:lnTo>
                  <a:lnTo>
                    <a:pt x="119128" y="457452"/>
                  </a:lnTo>
                  <a:lnTo>
                    <a:pt x="123892" y="438392"/>
                  </a:lnTo>
                  <a:lnTo>
                    <a:pt x="138188" y="414568"/>
                  </a:lnTo>
                  <a:lnTo>
                    <a:pt x="133424" y="395504"/>
                  </a:lnTo>
                  <a:lnTo>
                    <a:pt x="128660" y="376444"/>
                  </a:lnTo>
                  <a:lnTo>
                    <a:pt x="128660" y="343088"/>
                  </a:lnTo>
                  <a:lnTo>
                    <a:pt x="128660" y="328792"/>
                  </a:lnTo>
                  <a:lnTo>
                    <a:pt x="123892" y="314500"/>
                  </a:lnTo>
                  <a:lnTo>
                    <a:pt x="114364" y="300204"/>
                  </a:lnTo>
                  <a:lnTo>
                    <a:pt x="114364" y="285908"/>
                  </a:lnTo>
                  <a:lnTo>
                    <a:pt x="119128" y="252552"/>
                  </a:lnTo>
                  <a:lnTo>
                    <a:pt x="123892" y="223960"/>
                  </a:lnTo>
                  <a:lnTo>
                    <a:pt x="133424" y="190604"/>
                  </a:lnTo>
                  <a:lnTo>
                    <a:pt x="128660" y="181076"/>
                  </a:lnTo>
                  <a:lnTo>
                    <a:pt x="123892" y="171544"/>
                  </a:lnTo>
                  <a:lnTo>
                    <a:pt x="109596" y="166780"/>
                  </a:lnTo>
                  <a:lnTo>
                    <a:pt x="109596" y="162016"/>
                  </a:lnTo>
                  <a:lnTo>
                    <a:pt x="114364" y="157248"/>
                  </a:lnTo>
                  <a:lnTo>
                    <a:pt x="133424" y="138188"/>
                  </a:lnTo>
                  <a:lnTo>
                    <a:pt x="147720" y="114364"/>
                  </a:lnTo>
                  <a:lnTo>
                    <a:pt x="157248" y="109596"/>
                  </a:lnTo>
                  <a:lnTo>
                    <a:pt x="171544" y="100068"/>
                  </a:lnTo>
                  <a:lnTo>
                    <a:pt x="171544" y="90536"/>
                  </a:lnTo>
                  <a:lnTo>
                    <a:pt x="166780" y="81008"/>
                  </a:lnTo>
                  <a:lnTo>
                    <a:pt x="204900" y="66712"/>
                  </a:lnTo>
                  <a:lnTo>
                    <a:pt x="243020" y="38120"/>
                  </a:lnTo>
                  <a:lnTo>
                    <a:pt x="257316" y="2859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9" name="Freeform 357">
              <a:extLst>
                <a:ext uri="{FF2B5EF4-FFF2-40B4-BE49-F238E27FC236}">
                  <a16:creationId xmlns:a16="http://schemas.microsoft.com/office/drawing/2014/main" id="{FBEC51D6-1568-46CC-BF33-DB034BFCEEF1}"/>
                </a:ext>
              </a:extLst>
            </p:cNvPr>
            <p:cNvSpPr/>
            <p:nvPr/>
          </p:nvSpPr>
          <p:spPr bwMode="auto">
            <a:xfrm>
              <a:off x="5946761" y="4234595"/>
              <a:ext cx="484111" cy="204282"/>
            </a:xfrm>
            <a:custGeom>
              <a:avLst/>
              <a:gdLst>
                <a:gd name="connsiteX0" fmla="*/ 33354 w 2992500"/>
                <a:gd name="connsiteY0" fmla="*/ 385976 h 1262758"/>
                <a:gd name="connsiteX1" fmla="*/ 42884 w 2992500"/>
                <a:gd name="connsiteY1" fmla="*/ 385976 h 1262758"/>
                <a:gd name="connsiteX2" fmla="*/ 47650 w 2992500"/>
                <a:gd name="connsiteY2" fmla="*/ 400270 h 1262758"/>
                <a:gd name="connsiteX3" fmla="*/ 47650 w 2992500"/>
                <a:gd name="connsiteY3" fmla="*/ 409800 h 1262758"/>
                <a:gd name="connsiteX4" fmla="*/ 14294 w 2992500"/>
                <a:gd name="connsiteY4" fmla="*/ 414566 h 1262758"/>
                <a:gd name="connsiteX5" fmla="*/ 0 w 2992500"/>
                <a:gd name="connsiteY5" fmla="*/ 409800 h 1262758"/>
                <a:gd name="connsiteX6" fmla="*/ 14294 w 2992500"/>
                <a:gd name="connsiteY6" fmla="*/ 395506 h 1262758"/>
                <a:gd name="connsiteX7" fmla="*/ 1458128 w 2992500"/>
                <a:gd name="connsiteY7" fmla="*/ 9530 h 1262758"/>
                <a:gd name="connsiteX8" fmla="*/ 1481952 w 2992500"/>
                <a:gd name="connsiteY8" fmla="*/ 14296 h 1262758"/>
                <a:gd name="connsiteX9" fmla="*/ 1481952 w 2992500"/>
                <a:gd name="connsiteY9" fmla="*/ 23826 h 1262758"/>
                <a:gd name="connsiteX10" fmla="*/ 1477188 w 2992500"/>
                <a:gd name="connsiteY10" fmla="*/ 28590 h 1262758"/>
                <a:gd name="connsiteX11" fmla="*/ 1477188 w 2992500"/>
                <a:gd name="connsiteY11" fmla="*/ 42886 h 1262758"/>
                <a:gd name="connsiteX12" fmla="*/ 1491484 w 2992500"/>
                <a:gd name="connsiteY12" fmla="*/ 66712 h 1262758"/>
                <a:gd name="connsiteX13" fmla="*/ 1505780 w 2992500"/>
                <a:gd name="connsiteY13" fmla="*/ 76242 h 1262758"/>
                <a:gd name="connsiteX14" fmla="*/ 1548664 w 2992500"/>
                <a:gd name="connsiteY14" fmla="*/ 100068 h 1262758"/>
                <a:gd name="connsiteX15" fmla="*/ 1601080 w 2992500"/>
                <a:gd name="connsiteY15" fmla="*/ 81006 h 1262758"/>
                <a:gd name="connsiteX16" fmla="*/ 1610612 w 2992500"/>
                <a:gd name="connsiteY16" fmla="*/ 85772 h 1262758"/>
                <a:gd name="connsiteX17" fmla="*/ 1624908 w 2992500"/>
                <a:gd name="connsiteY17" fmla="*/ 90538 h 1262758"/>
                <a:gd name="connsiteX18" fmla="*/ 1643968 w 2992500"/>
                <a:gd name="connsiteY18" fmla="*/ 142954 h 1262758"/>
                <a:gd name="connsiteX19" fmla="*/ 1658264 w 2992500"/>
                <a:gd name="connsiteY19" fmla="*/ 162014 h 1262758"/>
                <a:gd name="connsiteX20" fmla="*/ 1677324 w 2992500"/>
                <a:gd name="connsiteY20" fmla="*/ 171544 h 1262758"/>
                <a:gd name="connsiteX21" fmla="*/ 1696384 w 2992500"/>
                <a:gd name="connsiteY21" fmla="*/ 176310 h 1262758"/>
                <a:gd name="connsiteX22" fmla="*/ 1705916 w 2992500"/>
                <a:gd name="connsiteY22" fmla="*/ 162014 h 1262758"/>
                <a:gd name="connsiteX23" fmla="*/ 1715444 w 2992500"/>
                <a:gd name="connsiteY23" fmla="*/ 157248 h 1262758"/>
                <a:gd name="connsiteX24" fmla="*/ 1739272 w 2992500"/>
                <a:gd name="connsiteY24" fmla="*/ 152484 h 1262758"/>
                <a:gd name="connsiteX25" fmla="*/ 1772628 w 2992500"/>
                <a:gd name="connsiteY25" fmla="*/ 171544 h 1262758"/>
                <a:gd name="connsiteX26" fmla="*/ 1782156 w 2992500"/>
                <a:gd name="connsiteY26" fmla="*/ 190604 h 1262758"/>
                <a:gd name="connsiteX27" fmla="*/ 1839340 w 2992500"/>
                <a:gd name="connsiteY27" fmla="*/ 204900 h 1262758"/>
                <a:gd name="connsiteX28" fmla="*/ 1891756 w 2992500"/>
                <a:gd name="connsiteY28" fmla="*/ 214430 h 1262758"/>
                <a:gd name="connsiteX29" fmla="*/ 1915580 w 2992500"/>
                <a:gd name="connsiteY29" fmla="*/ 228726 h 1262758"/>
                <a:gd name="connsiteX30" fmla="*/ 1987056 w 2992500"/>
                <a:gd name="connsiteY30" fmla="*/ 247786 h 1262758"/>
                <a:gd name="connsiteX31" fmla="*/ 2015648 w 2992500"/>
                <a:gd name="connsiteY31" fmla="*/ 243022 h 1262758"/>
                <a:gd name="connsiteX32" fmla="*/ 2063300 w 2992500"/>
                <a:gd name="connsiteY32" fmla="*/ 228726 h 1262758"/>
                <a:gd name="connsiteX33" fmla="*/ 2149072 w 2992500"/>
                <a:gd name="connsiteY33" fmla="*/ 209666 h 1262758"/>
                <a:gd name="connsiteX34" fmla="*/ 2211020 w 2992500"/>
                <a:gd name="connsiteY34" fmla="*/ 233490 h 1262758"/>
                <a:gd name="connsiteX35" fmla="*/ 2225312 w 2992500"/>
                <a:gd name="connsiteY35" fmla="*/ 238256 h 1262758"/>
                <a:gd name="connsiteX36" fmla="*/ 2239608 w 2992500"/>
                <a:gd name="connsiteY36" fmla="*/ 233490 h 1262758"/>
                <a:gd name="connsiteX37" fmla="*/ 2258668 w 2992500"/>
                <a:gd name="connsiteY37" fmla="*/ 243022 h 1262758"/>
                <a:gd name="connsiteX38" fmla="*/ 2282496 w 2992500"/>
                <a:gd name="connsiteY38" fmla="*/ 238256 h 1262758"/>
                <a:gd name="connsiteX39" fmla="*/ 2349208 w 2992500"/>
                <a:gd name="connsiteY39" fmla="*/ 209666 h 1262758"/>
                <a:gd name="connsiteX40" fmla="*/ 2368268 w 2992500"/>
                <a:gd name="connsiteY40" fmla="*/ 190604 h 1262758"/>
                <a:gd name="connsiteX41" fmla="*/ 2392092 w 2992500"/>
                <a:gd name="connsiteY41" fmla="*/ 185840 h 1262758"/>
                <a:gd name="connsiteX42" fmla="*/ 2411152 w 2992500"/>
                <a:gd name="connsiteY42" fmla="*/ 176310 h 1262758"/>
                <a:gd name="connsiteX43" fmla="*/ 2463568 w 2992500"/>
                <a:gd name="connsiteY43" fmla="*/ 142954 h 1262758"/>
                <a:gd name="connsiteX44" fmla="*/ 2477864 w 2992500"/>
                <a:gd name="connsiteY44" fmla="*/ 123894 h 1262758"/>
                <a:gd name="connsiteX45" fmla="*/ 2487396 w 2992500"/>
                <a:gd name="connsiteY45" fmla="*/ 128658 h 1262758"/>
                <a:gd name="connsiteX46" fmla="*/ 2506456 w 2992500"/>
                <a:gd name="connsiteY46" fmla="*/ 133424 h 1262758"/>
                <a:gd name="connsiteX47" fmla="*/ 2520752 w 2992500"/>
                <a:gd name="connsiteY47" fmla="*/ 138188 h 1262758"/>
                <a:gd name="connsiteX48" fmla="*/ 2525516 w 2992500"/>
                <a:gd name="connsiteY48" fmla="*/ 142954 h 1262758"/>
                <a:gd name="connsiteX49" fmla="*/ 2539812 w 2992500"/>
                <a:gd name="connsiteY49" fmla="*/ 128658 h 1262758"/>
                <a:gd name="connsiteX50" fmla="*/ 2563636 w 2992500"/>
                <a:gd name="connsiteY50" fmla="*/ 128658 h 1262758"/>
                <a:gd name="connsiteX51" fmla="*/ 2587464 w 2992500"/>
                <a:gd name="connsiteY51" fmla="*/ 128658 h 1262758"/>
                <a:gd name="connsiteX52" fmla="*/ 2596992 w 2992500"/>
                <a:gd name="connsiteY52" fmla="*/ 133424 h 1262758"/>
                <a:gd name="connsiteX53" fmla="*/ 2611288 w 2992500"/>
                <a:gd name="connsiteY53" fmla="*/ 138188 h 1262758"/>
                <a:gd name="connsiteX54" fmla="*/ 2625584 w 2992500"/>
                <a:gd name="connsiteY54" fmla="*/ 138188 h 1262758"/>
                <a:gd name="connsiteX55" fmla="*/ 2630348 w 2992500"/>
                <a:gd name="connsiteY55" fmla="*/ 133424 h 1262758"/>
                <a:gd name="connsiteX56" fmla="*/ 2639880 w 2992500"/>
                <a:gd name="connsiteY56" fmla="*/ 114362 h 1262758"/>
                <a:gd name="connsiteX57" fmla="*/ 2644644 w 2992500"/>
                <a:gd name="connsiteY57" fmla="*/ 109598 h 1262758"/>
                <a:gd name="connsiteX58" fmla="*/ 2649408 w 2992500"/>
                <a:gd name="connsiteY58" fmla="*/ 109598 h 1262758"/>
                <a:gd name="connsiteX59" fmla="*/ 2658940 w 2992500"/>
                <a:gd name="connsiteY59" fmla="*/ 109598 h 1262758"/>
                <a:gd name="connsiteX60" fmla="*/ 2668472 w 2992500"/>
                <a:gd name="connsiteY60" fmla="*/ 109598 h 1262758"/>
                <a:gd name="connsiteX61" fmla="*/ 2678000 w 2992500"/>
                <a:gd name="connsiteY61" fmla="*/ 114362 h 1262758"/>
                <a:gd name="connsiteX62" fmla="*/ 2682764 w 2992500"/>
                <a:gd name="connsiteY62" fmla="*/ 128658 h 1262758"/>
                <a:gd name="connsiteX63" fmla="*/ 2692296 w 2992500"/>
                <a:gd name="connsiteY63" fmla="*/ 133424 h 1262758"/>
                <a:gd name="connsiteX64" fmla="*/ 2716120 w 2992500"/>
                <a:gd name="connsiteY64" fmla="*/ 157248 h 1262758"/>
                <a:gd name="connsiteX65" fmla="*/ 2730416 w 2992500"/>
                <a:gd name="connsiteY65" fmla="*/ 166780 h 1262758"/>
                <a:gd name="connsiteX66" fmla="*/ 2735184 w 2992500"/>
                <a:gd name="connsiteY66" fmla="*/ 171544 h 1262758"/>
                <a:gd name="connsiteX67" fmla="*/ 2730416 w 2992500"/>
                <a:gd name="connsiteY67" fmla="*/ 176310 h 1262758"/>
                <a:gd name="connsiteX68" fmla="*/ 2730416 w 2992500"/>
                <a:gd name="connsiteY68" fmla="*/ 181074 h 1262758"/>
                <a:gd name="connsiteX69" fmla="*/ 2739948 w 2992500"/>
                <a:gd name="connsiteY69" fmla="*/ 190604 h 1262758"/>
                <a:gd name="connsiteX70" fmla="*/ 2754244 w 2992500"/>
                <a:gd name="connsiteY70" fmla="*/ 190604 h 1262758"/>
                <a:gd name="connsiteX71" fmla="*/ 2763772 w 2992500"/>
                <a:gd name="connsiteY71" fmla="*/ 190604 h 1262758"/>
                <a:gd name="connsiteX72" fmla="*/ 2773304 w 2992500"/>
                <a:gd name="connsiteY72" fmla="*/ 195370 h 1262758"/>
                <a:gd name="connsiteX73" fmla="*/ 2778068 w 2992500"/>
                <a:gd name="connsiteY73" fmla="*/ 200136 h 1262758"/>
                <a:gd name="connsiteX74" fmla="*/ 2778068 w 2992500"/>
                <a:gd name="connsiteY74" fmla="*/ 204900 h 1262758"/>
                <a:gd name="connsiteX75" fmla="*/ 2778068 w 2992500"/>
                <a:gd name="connsiteY75" fmla="*/ 209666 h 1262758"/>
                <a:gd name="connsiteX76" fmla="*/ 2778068 w 2992500"/>
                <a:gd name="connsiteY76" fmla="*/ 214430 h 1262758"/>
                <a:gd name="connsiteX77" fmla="*/ 2792364 w 2992500"/>
                <a:gd name="connsiteY77" fmla="*/ 228726 h 1262758"/>
                <a:gd name="connsiteX78" fmla="*/ 2801896 w 2992500"/>
                <a:gd name="connsiteY78" fmla="*/ 238256 h 1262758"/>
                <a:gd name="connsiteX79" fmla="*/ 2806660 w 2992500"/>
                <a:gd name="connsiteY79" fmla="*/ 243022 h 1262758"/>
                <a:gd name="connsiteX80" fmla="*/ 2816188 w 2992500"/>
                <a:gd name="connsiteY80" fmla="*/ 271612 h 1262758"/>
                <a:gd name="connsiteX81" fmla="*/ 2820956 w 2992500"/>
                <a:gd name="connsiteY81" fmla="*/ 285908 h 1262758"/>
                <a:gd name="connsiteX82" fmla="*/ 2820956 w 2992500"/>
                <a:gd name="connsiteY82" fmla="*/ 304968 h 1262758"/>
                <a:gd name="connsiteX83" fmla="*/ 2811424 w 2992500"/>
                <a:gd name="connsiteY83" fmla="*/ 319264 h 1262758"/>
                <a:gd name="connsiteX84" fmla="*/ 2797128 w 2992500"/>
                <a:gd name="connsiteY84" fmla="*/ 338324 h 1262758"/>
                <a:gd name="connsiteX85" fmla="*/ 2801896 w 2992500"/>
                <a:gd name="connsiteY85" fmla="*/ 343088 h 1262758"/>
                <a:gd name="connsiteX86" fmla="*/ 2806660 w 2992500"/>
                <a:gd name="connsiteY86" fmla="*/ 357384 h 1262758"/>
                <a:gd name="connsiteX87" fmla="*/ 2801896 w 2992500"/>
                <a:gd name="connsiteY87" fmla="*/ 362150 h 1262758"/>
                <a:gd name="connsiteX88" fmla="*/ 2816188 w 2992500"/>
                <a:gd name="connsiteY88" fmla="*/ 385974 h 1262758"/>
                <a:gd name="connsiteX89" fmla="*/ 2820956 w 2992500"/>
                <a:gd name="connsiteY89" fmla="*/ 400270 h 1262758"/>
                <a:gd name="connsiteX90" fmla="*/ 2816188 w 2992500"/>
                <a:gd name="connsiteY90" fmla="*/ 405036 h 1262758"/>
                <a:gd name="connsiteX91" fmla="*/ 2811424 w 2992500"/>
                <a:gd name="connsiteY91" fmla="*/ 409800 h 1262758"/>
                <a:gd name="connsiteX92" fmla="*/ 2835248 w 2992500"/>
                <a:gd name="connsiteY92" fmla="*/ 419330 h 1262758"/>
                <a:gd name="connsiteX93" fmla="*/ 2854312 w 2992500"/>
                <a:gd name="connsiteY93" fmla="*/ 428862 h 1262758"/>
                <a:gd name="connsiteX94" fmla="*/ 2863840 w 2992500"/>
                <a:gd name="connsiteY94" fmla="*/ 433626 h 1262758"/>
                <a:gd name="connsiteX95" fmla="*/ 2892432 w 2992500"/>
                <a:gd name="connsiteY95" fmla="*/ 428862 h 1262758"/>
                <a:gd name="connsiteX96" fmla="*/ 2911492 w 2992500"/>
                <a:gd name="connsiteY96" fmla="*/ 428862 h 1262758"/>
                <a:gd name="connsiteX97" fmla="*/ 2925788 w 2992500"/>
                <a:gd name="connsiteY97" fmla="*/ 438392 h 1262758"/>
                <a:gd name="connsiteX98" fmla="*/ 2954376 w 2992500"/>
                <a:gd name="connsiteY98" fmla="*/ 457452 h 1262758"/>
                <a:gd name="connsiteX99" fmla="*/ 2978204 w 2992500"/>
                <a:gd name="connsiteY99" fmla="*/ 486042 h 1262758"/>
                <a:gd name="connsiteX100" fmla="*/ 2987732 w 2992500"/>
                <a:gd name="connsiteY100" fmla="*/ 495572 h 1262758"/>
                <a:gd name="connsiteX101" fmla="*/ 2987732 w 2992500"/>
                <a:gd name="connsiteY101" fmla="*/ 500338 h 1262758"/>
                <a:gd name="connsiteX102" fmla="*/ 2992500 w 2992500"/>
                <a:gd name="connsiteY102" fmla="*/ 505104 h 1262758"/>
                <a:gd name="connsiteX103" fmla="*/ 2987732 w 2992500"/>
                <a:gd name="connsiteY103" fmla="*/ 505104 h 1262758"/>
                <a:gd name="connsiteX104" fmla="*/ 2978204 w 2992500"/>
                <a:gd name="connsiteY104" fmla="*/ 500338 h 1262758"/>
                <a:gd name="connsiteX105" fmla="*/ 2959144 w 2992500"/>
                <a:gd name="connsiteY105" fmla="*/ 481278 h 1262758"/>
                <a:gd name="connsiteX106" fmla="*/ 2944848 w 2992500"/>
                <a:gd name="connsiteY106" fmla="*/ 490808 h 1262758"/>
                <a:gd name="connsiteX107" fmla="*/ 2935316 w 2992500"/>
                <a:gd name="connsiteY107" fmla="*/ 505104 h 1262758"/>
                <a:gd name="connsiteX108" fmla="*/ 2925788 w 2992500"/>
                <a:gd name="connsiteY108" fmla="*/ 552754 h 1262758"/>
                <a:gd name="connsiteX109" fmla="*/ 2916256 w 2992500"/>
                <a:gd name="connsiteY109" fmla="*/ 557520 h 1262758"/>
                <a:gd name="connsiteX110" fmla="*/ 2901960 w 2992500"/>
                <a:gd name="connsiteY110" fmla="*/ 557520 h 1262758"/>
                <a:gd name="connsiteX111" fmla="*/ 2882900 w 2992500"/>
                <a:gd name="connsiteY111" fmla="*/ 557520 h 1262758"/>
                <a:gd name="connsiteX112" fmla="*/ 2873372 w 2992500"/>
                <a:gd name="connsiteY112" fmla="*/ 557520 h 1262758"/>
                <a:gd name="connsiteX113" fmla="*/ 2868604 w 2992500"/>
                <a:gd name="connsiteY113" fmla="*/ 562284 h 1262758"/>
                <a:gd name="connsiteX114" fmla="*/ 2868604 w 2992500"/>
                <a:gd name="connsiteY114" fmla="*/ 567050 h 1262758"/>
                <a:gd name="connsiteX115" fmla="*/ 2873372 w 2992500"/>
                <a:gd name="connsiteY115" fmla="*/ 576580 h 1262758"/>
                <a:gd name="connsiteX116" fmla="*/ 2878136 w 2992500"/>
                <a:gd name="connsiteY116" fmla="*/ 586110 h 1262758"/>
                <a:gd name="connsiteX117" fmla="*/ 2878136 w 2992500"/>
                <a:gd name="connsiteY117" fmla="*/ 595640 h 1262758"/>
                <a:gd name="connsiteX118" fmla="*/ 2882900 w 2992500"/>
                <a:gd name="connsiteY118" fmla="*/ 600406 h 1262758"/>
                <a:gd name="connsiteX119" fmla="*/ 2892432 w 2992500"/>
                <a:gd name="connsiteY119" fmla="*/ 609936 h 1262758"/>
                <a:gd name="connsiteX120" fmla="*/ 2892432 w 2992500"/>
                <a:gd name="connsiteY120" fmla="*/ 614700 h 1262758"/>
                <a:gd name="connsiteX121" fmla="*/ 2892432 w 2992500"/>
                <a:gd name="connsiteY121" fmla="*/ 628996 h 1262758"/>
                <a:gd name="connsiteX122" fmla="*/ 2887668 w 2992500"/>
                <a:gd name="connsiteY122" fmla="*/ 633762 h 1262758"/>
                <a:gd name="connsiteX123" fmla="*/ 2887668 w 2992500"/>
                <a:gd name="connsiteY123" fmla="*/ 638526 h 1262758"/>
                <a:gd name="connsiteX124" fmla="*/ 2892432 w 2992500"/>
                <a:gd name="connsiteY124" fmla="*/ 652822 h 1262758"/>
                <a:gd name="connsiteX125" fmla="*/ 2901960 w 2992500"/>
                <a:gd name="connsiteY125" fmla="*/ 667118 h 1262758"/>
                <a:gd name="connsiteX126" fmla="*/ 2906728 w 2992500"/>
                <a:gd name="connsiteY126" fmla="*/ 671882 h 1262758"/>
                <a:gd name="connsiteX127" fmla="*/ 2906728 w 2992500"/>
                <a:gd name="connsiteY127" fmla="*/ 700474 h 1262758"/>
                <a:gd name="connsiteX128" fmla="*/ 2911492 w 2992500"/>
                <a:gd name="connsiteY128" fmla="*/ 710004 h 1262758"/>
                <a:gd name="connsiteX129" fmla="*/ 2911492 w 2992500"/>
                <a:gd name="connsiteY129" fmla="*/ 724298 h 1262758"/>
                <a:gd name="connsiteX130" fmla="*/ 2911492 w 2992500"/>
                <a:gd name="connsiteY130" fmla="*/ 752890 h 1262758"/>
                <a:gd name="connsiteX131" fmla="*/ 2911492 w 2992500"/>
                <a:gd name="connsiteY131" fmla="*/ 762420 h 1262758"/>
                <a:gd name="connsiteX132" fmla="*/ 2916256 w 2992500"/>
                <a:gd name="connsiteY132" fmla="*/ 762420 h 1262758"/>
                <a:gd name="connsiteX133" fmla="*/ 2925788 w 2992500"/>
                <a:gd name="connsiteY133" fmla="*/ 762420 h 1262758"/>
                <a:gd name="connsiteX134" fmla="*/ 2930552 w 2992500"/>
                <a:gd name="connsiteY134" fmla="*/ 767184 h 1262758"/>
                <a:gd name="connsiteX135" fmla="*/ 2935316 w 2992500"/>
                <a:gd name="connsiteY135" fmla="*/ 771950 h 1262758"/>
                <a:gd name="connsiteX136" fmla="*/ 2935316 w 2992500"/>
                <a:gd name="connsiteY136" fmla="*/ 776716 h 1262758"/>
                <a:gd name="connsiteX137" fmla="*/ 2925788 w 2992500"/>
                <a:gd name="connsiteY137" fmla="*/ 786246 h 1262758"/>
                <a:gd name="connsiteX138" fmla="*/ 2921024 w 2992500"/>
                <a:gd name="connsiteY138" fmla="*/ 795776 h 1262758"/>
                <a:gd name="connsiteX139" fmla="*/ 2921024 w 2992500"/>
                <a:gd name="connsiteY139" fmla="*/ 810072 h 1262758"/>
                <a:gd name="connsiteX140" fmla="*/ 2916256 w 2992500"/>
                <a:gd name="connsiteY140" fmla="*/ 814836 h 1262758"/>
                <a:gd name="connsiteX141" fmla="*/ 2906728 w 2992500"/>
                <a:gd name="connsiteY141" fmla="*/ 829132 h 1262758"/>
                <a:gd name="connsiteX142" fmla="*/ 2901960 w 2992500"/>
                <a:gd name="connsiteY142" fmla="*/ 843426 h 1262758"/>
                <a:gd name="connsiteX143" fmla="*/ 2897196 w 2992500"/>
                <a:gd name="connsiteY143" fmla="*/ 857722 h 1262758"/>
                <a:gd name="connsiteX144" fmla="*/ 2901960 w 2992500"/>
                <a:gd name="connsiteY144" fmla="*/ 862488 h 1262758"/>
                <a:gd name="connsiteX145" fmla="*/ 2916256 w 2992500"/>
                <a:gd name="connsiteY145" fmla="*/ 862488 h 1262758"/>
                <a:gd name="connsiteX146" fmla="*/ 2925788 w 2992500"/>
                <a:gd name="connsiteY146" fmla="*/ 872018 h 1262758"/>
                <a:gd name="connsiteX147" fmla="*/ 2954376 w 2992500"/>
                <a:gd name="connsiteY147" fmla="*/ 886314 h 1262758"/>
                <a:gd name="connsiteX148" fmla="*/ 2959144 w 2992500"/>
                <a:gd name="connsiteY148" fmla="*/ 895844 h 1262758"/>
                <a:gd name="connsiteX149" fmla="*/ 2949612 w 2992500"/>
                <a:gd name="connsiteY149" fmla="*/ 905374 h 1262758"/>
                <a:gd name="connsiteX150" fmla="*/ 2949612 w 2992500"/>
                <a:gd name="connsiteY150" fmla="*/ 910138 h 1262758"/>
                <a:gd name="connsiteX151" fmla="*/ 2954376 w 2992500"/>
                <a:gd name="connsiteY151" fmla="*/ 914904 h 1262758"/>
                <a:gd name="connsiteX152" fmla="*/ 2954376 w 2992500"/>
                <a:gd name="connsiteY152" fmla="*/ 924434 h 1262758"/>
                <a:gd name="connsiteX153" fmla="*/ 2954376 w 2992500"/>
                <a:gd name="connsiteY153" fmla="*/ 933964 h 1262758"/>
                <a:gd name="connsiteX154" fmla="*/ 2954376 w 2992500"/>
                <a:gd name="connsiteY154" fmla="*/ 948260 h 1262758"/>
                <a:gd name="connsiteX155" fmla="*/ 2959144 w 2992500"/>
                <a:gd name="connsiteY155" fmla="*/ 953024 h 1262758"/>
                <a:gd name="connsiteX156" fmla="*/ 2978204 w 2992500"/>
                <a:gd name="connsiteY156" fmla="*/ 962556 h 1262758"/>
                <a:gd name="connsiteX157" fmla="*/ 2987732 w 2992500"/>
                <a:gd name="connsiteY157" fmla="*/ 976850 h 1262758"/>
                <a:gd name="connsiteX158" fmla="*/ 2987732 w 2992500"/>
                <a:gd name="connsiteY158" fmla="*/ 981616 h 1262758"/>
                <a:gd name="connsiteX159" fmla="*/ 2982968 w 2992500"/>
                <a:gd name="connsiteY159" fmla="*/ 991146 h 1262758"/>
                <a:gd name="connsiteX160" fmla="*/ 2987732 w 2992500"/>
                <a:gd name="connsiteY160" fmla="*/ 1005442 h 1262758"/>
                <a:gd name="connsiteX161" fmla="*/ 2982968 w 2992500"/>
                <a:gd name="connsiteY161" fmla="*/ 1005442 h 1262758"/>
                <a:gd name="connsiteX162" fmla="*/ 2978204 w 2992500"/>
                <a:gd name="connsiteY162" fmla="*/ 1000676 h 1262758"/>
                <a:gd name="connsiteX163" fmla="*/ 2968672 w 2992500"/>
                <a:gd name="connsiteY163" fmla="*/ 1000676 h 1262758"/>
                <a:gd name="connsiteX164" fmla="*/ 2959144 w 2992500"/>
                <a:gd name="connsiteY164" fmla="*/ 1000676 h 1262758"/>
                <a:gd name="connsiteX165" fmla="*/ 2954376 w 2992500"/>
                <a:gd name="connsiteY165" fmla="*/ 1005442 h 1262758"/>
                <a:gd name="connsiteX166" fmla="*/ 2944848 w 2992500"/>
                <a:gd name="connsiteY166" fmla="*/ 1014972 h 1262758"/>
                <a:gd name="connsiteX167" fmla="*/ 2925788 w 2992500"/>
                <a:gd name="connsiteY167" fmla="*/ 1024502 h 1262758"/>
                <a:gd name="connsiteX168" fmla="*/ 2916256 w 2992500"/>
                <a:gd name="connsiteY168" fmla="*/ 1034032 h 1262758"/>
                <a:gd name="connsiteX169" fmla="*/ 2911492 w 2992500"/>
                <a:gd name="connsiteY169" fmla="*/ 1038798 h 1262758"/>
                <a:gd name="connsiteX170" fmla="*/ 2901960 w 2992500"/>
                <a:gd name="connsiteY170" fmla="*/ 1038798 h 1262758"/>
                <a:gd name="connsiteX171" fmla="*/ 2897196 w 2992500"/>
                <a:gd name="connsiteY171" fmla="*/ 1034032 h 1262758"/>
                <a:gd name="connsiteX172" fmla="*/ 2897196 w 2992500"/>
                <a:gd name="connsiteY172" fmla="*/ 1024502 h 1262758"/>
                <a:gd name="connsiteX173" fmla="*/ 2897196 w 2992500"/>
                <a:gd name="connsiteY173" fmla="*/ 995912 h 1262758"/>
                <a:gd name="connsiteX174" fmla="*/ 2897196 w 2992500"/>
                <a:gd name="connsiteY174" fmla="*/ 986380 h 1262758"/>
                <a:gd name="connsiteX175" fmla="*/ 2887668 w 2992500"/>
                <a:gd name="connsiteY175" fmla="*/ 976850 h 1262758"/>
                <a:gd name="connsiteX176" fmla="*/ 2882900 w 2992500"/>
                <a:gd name="connsiteY176" fmla="*/ 976850 h 1262758"/>
                <a:gd name="connsiteX177" fmla="*/ 2873372 w 2992500"/>
                <a:gd name="connsiteY177" fmla="*/ 972086 h 1262758"/>
                <a:gd name="connsiteX178" fmla="*/ 2868604 w 2992500"/>
                <a:gd name="connsiteY178" fmla="*/ 972086 h 1262758"/>
                <a:gd name="connsiteX179" fmla="*/ 2854312 w 2992500"/>
                <a:gd name="connsiteY179" fmla="*/ 981616 h 1262758"/>
                <a:gd name="connsiteX180" fmla="*/ 2840016 w 2992500"/>
                <a:gd name="connsiteY180" fmla="*/ 991146 h 1262758"/>
                <a:gd name="connsiteX181" fmla="*/ 2816188 w 2992500"/>
                <a:gd name="connsiteY181" fmla="*/ 991146 h 1262758"/>
                <a:gd name="connsiteX182" fmla="*/ 2797128 w 2992500"/>
                <a:gd name="connsiteY182" fmla="*/ 986380 h 1262758"/>
                <a:gd name="connsiteX183" fmla="*/ 2792364 w 2992500"/>
                <a:gd name="connsiteY183" fmla="*/ 986380 h 1262758"/>
                <a:gd name="connsiteX184" fmla="*/ 2759008 w 2992500"/>
                <a:gd name="connsiteY184" fmla="*/ 972086 h 1262758"/>
                <a:gd name="connsiteX185" fmla="*/ 2749476 w 2992500"/>
                <a:gd name="connsiteY185" fmla="*/ 972086 h 1262758"/>
                <a:gd name="connsiteX186" fmla="*/ 2739948 w 2992500"/>
                <a:gd name="connsiteY186" fmla="*/ 967320 h 1262758"/>
                <a:gd name="connsiteX187" fmla="*/ 2725652 w 2992500"/>
                <a:gd name="connsiteY187" fmla="*/ 962556 h 1262758"/>
                <a:gd name="connsiteX188" fmla="*/ 2697060 w 2992500"/>
                <a:gd name="connsiteY188" fmla="*/ 972086 h 1262758"/>
                <a:gd name="connsiteX189" fmla="*/ 2687532 w 2992500"/>
                <a:gd name="connsiteY189" fmla="*/ 967320 h 1262758"/>
                <a:gd name="connsiteX190" fmla="*/ 2673236 w 2992500"/>
                <a:gd name="connsiteY190" fmla="*/ 962556 h 1262758"/>
                <a:gd name="connsiteX191" fmla="*/ 2668472 w 2992500"/>
                <a:gd name="connsiteY191" fmla="*/ 962556 h 1262758"/>
                <a:gd name="connsiteX192" fmla="*/ 2654176 w 2992500"/>
                <a:gd name="connsiteY192" fmla="*/ 986380 h 1262758"/>
                <a:gd name="connsiteX193" fmla="*/ 2625584 w 2992500"/>
                <a:gd name="connsiteY193" fmla="*/ 1010206 h 1262758"/>
                <a:gd name="connsiteX194" fmla="*/ 2606524 w 2992500"/>
                <a:gd name="connsiteY194" fmla="*/ 1014972 h 1262758"/>
                <a:gd name="connsiteX195" fmla="*/ 2601760 w 2992500"/>
                <a:gd name="connsiteY195" fmla="*/ 991146 h 1262758"/>
                <a:gd name="connsiteX196" fmla="*/ 2596992 w 2992500"/>
                <a:gd name="connsiteY196" fmla="*/ 981616 h 1262758"/>
                <a:gd name="connsiteX197" fmla="*/ 2592228 w 2992500"/>
                <a:gd name="connsiteY197" fmla="*/ 976850 h 1262758"/>
                <a:gd name="connsiteX198" fmla="*/ 2582696 w 2992500"/>
                <a:gd name="connsiteY198" fmla="*/ 976850 h 1262758"/>
                <a:gd name="connsiteX199" fmla="*/ 2577932 w 2992500"/>
                <a:gd name="connsiteY199" fmla="*/ 976850 h 1262758"/>
                <a:gd name="connsiteX200" fmla="*/ 2563636 w 2992500"/>
                <a:gd name="connsiteY200" fmla="*/ 995912 h 1262758"/>
                <a:gd name="connsiteX201" fmla="*/ 2535048 w 2992500"/>
                <a:gd name="connsiteY201" fmla="*/ 1005442 h 1262758"/>
                <a:gd name="connsiteX202" fmla="*/ 2511220 w 2992500"/>
                <a:gd name="connsiteY202" fmla="*/ 1010206 h 1262758"/>
                <a:gd name="connsiteX203" fmla="*/ 2477864 w 2992500"/>
                <a:gd name="connsiteY203" fmla="*/ 1014972 h 1262758"/>
                <a:gd name="connsiteX204" fmla="*/ 2449276 w 2992500"/>
                <a:gd name="connsiteY204" fmla="*/ 1019736 h 1262758"/>
                <a:gd name="connsiteX205" fmla="*/ 2439744 w 2992500"/>
                <a:gd name="connsiteY205" fmla="*/ 1019736 h 1262758"/>
                <a:gd name="connsiteX206" fmla="*/ 2411152 w 2992500"/>
                <a:gd name="connsiteY206" fmla="*/ 1019736 h 1262758"/>
                <a:gd name="connsiteX207" fmla="*/ 2392092 w 2992500"/>
                <a:gd name="connsiteY207" fmla="*/ 1014972 h 1262758"/>
                <a:gd name="connsiteX208" fmla="*/ 2368268 w 2992500"/>
                <a:gd name="connsiteY208" fmla="*/ 1014972 h 1262758"/>
                <a:gd name="connsiteX209" fmla="*/ 2349208 w 2992500"/>
                <a:gd name="connsiteY209" fmla="*/ 1014972 h 1262758"/>
                <a:gd name="connsiteX210" fmla="*/ 2311084 w 2992500"/>
                <a:gd name="connsiteY210" fmla="*/ 1034032 h 1262758"/>
                <a:gd name="connsiteX211" fmla="*/ 2244376 w 2992500"/>
                <a:gd name="connsiteY211" fmla="*/ 1067388 h 1262758"/>
                <a:gd name="connsiteX212" fmla="*/ 2191956 w 2992500"/>
                <a:gd name="connsiteY212" fmla="*/ 1086448 h 1262758"/>
                <a:gd name="connsiteX213" fmla="*/ 2163368 w 2992500"/>
                <a:gd name="connsiteY213" fmla="*/ 1091214 h 1262758"/>
                <a:gd name="connsiteX214" fmla="*/ 2139540 w 2992500"/>
                <a:gd name="connsiteY214" fmla="*/ 1095978 h 1262758"/>
                <a:gd name="connsiteX215" fmla="*/ 2101420 w 2992500"/>
                <a:gd name="connsiteY215" fmla="*/ 1095978 h 1262758"/>
                <a:gd name="connsiteX216" fmla="*/ 2068064 w 2992500"/>
                <a:gd name="connsiteY216" fmla="*/ 1095978 h 1262758"/>
                <a:gd name="connsiteX217" fmla="*/ 2049004 w 2992500"/>
                <a:gd name="connsiteY217" fmla="*/ 1095978 h 1262758"/>
                <a:gd name="connsiteX218" fmla="*/ 2034708 w 2992500"/>
                <a:gd name="connsiteY218" fmla="*/ 1091214 h 1262758"/>
                <a:gd name="connsiteX219" fmla="*/ 2020412 w 2992500"/>
                <a:gd name="connsiteY219" fmla="*/ 1076918 h 1262758"/>
                <a:gd name="connsiteX220" fmla="*/ 1996588 w 2992500"/>
                <a:gd name="connsiteY220" fmla="*/ 1062622 h 1262758"/>
                <a:gd name="connsiteX221" fmla="*/ 1987056 w 2992500"/>
                <a:gd name="connsiteY221" fmla="*/ 1057858 h 1262758"/>
                <a:gd name="connsiteX222" fmla="*/ 1977528 w 2992500"/>
                <a:gd name="connsiteY222" fmla="*/ 1053092 h 1262758"/>
                <a:gd name="connsiteX223" fmla="*/ 1958468 w 2992500"/>
                <a:gd name="connsiteY223" fmla="*/ 1053092 h 1262758"/>
                <a:gd name="connsiteX224" fmla="*/ 1915580 w 2992500"/>
                <a:gd name="connsiteY224" fmla="*/ 1076918 h 1262758"/>
                <a:gd name="connsiteX225" fmla="*/ 1901284 w 2992500"/>
                <a:gd name="connsiteY225" fmla="*/ 1081684 h 1262758"/>
                <a:gd name="connsiteX226" fmla="*/ 1882224 w 2992500"/>
                <a:gd name="connsiteY226" fmla="*/ 1086448 h 1262758"/>
                <a:gd name="connsiteX227" fmla="*/ 1853632 w 2992500"/>
                <a:gd name="connsiteY227" fmla="*/ 1095978 h 1262758"/>
                <a:gd name="connsiteX228" fmla="*/ 1839340 w 2992500"/>
                <a:gd name="connsiteY228" fmla="*/ 1105508 h 1262758"/>
                <a:gd name="connsiteX229" fmla="*/ 1825044 w 2992500"/>
                <a:gd name="connsiteY229" fmla="*/ 1105508 h 1262758"/>
                <a:gd name="connsiteX230" fmla="*/ 1801216 w 2992500"/>
                <a:gd name="connsiteY230" fmla="*/ 1100744 h 1262758"/>
                <a:gd name="connsiteX231" fmla="*/ 1782156 w 2992500"/>
                <a:gd name="connsiteY231" fmla="*/ 1100744 h 1262758"/>
                <a:gd name="connsiteX232" fmla="*/ 1767860 w 2992500"/>
                <a:gd name="connsiteY232" fmla="*/ 1091214 h 1262758"/>
                <a:gd name="connsiteX233" fmla="*/ 1763096 w 2992500"/>
                <a:gd name="connsiteY233" fmla="*/ 1081684 h 1262758"/>
                <a:gd name="connsiteX234" fmla="*/ 1739272 w 2992500"/>
                <a:gd name="connsiteY234" fmla="*/ 1076918 h 1262758"/>
                <a:gd name="connsiteX235" fmla="*/ 1720212 w 2992500"/>
                <a:gd name="connsiteY235" fmla="*/ 1072152 h 1262758"/>
                <a:gd name="connsiteX236" fmla="*/ 1715444 w 2992500"/>
                <a:gd name="connsiteY236" fmla="*/ 1076918 h 1262758"/>
                <a:gd name="connsiteX237" fmla="*/ 1710680 w 2992500"/>
                <a:gd name="connsiteY237" fmla="*/ 1091214 h 1262758"/>
                <a:gd name="connsiteX238" fmla="*/ 1701148 w 2992500"/>
                <a:gd name="connsiteY238" fmla="*/ 1129334 h 1262758"/>
                <a:gd name="connsiteX239" fmla="*/ 1701148 w 2992500"/>
                <a:gd name="connsiteY239" fmla="*/ 1138864 h 1262758"/>
                <a:gd name="connsiteX240" fmla="*/ 1715444 w 2992500"/>
                <a:gd name="connsiteY240" fmla="*/ 1176986 h 1262758"/>
                <a:gd name="connsiteX241" fmla="*/ 1715444 w 2992500"/>
                <a:gd name="connsiteY241" fmla="*/ 1181750 h 1262758"/>
                <a:gd name="connsiteX242" fmla="*/ 1705916 w 2992500"/>
                <a:gd name="connsiteY242" fmla="*/ 1186516 h 1262758"/>
                <a:gd name="connsiteX243" fmla="*/ 1691620 w 2992500"/>
                <a:gd name="connsiteY243" fmla="*/ 1186516 h 1262758"/>
                <a:gd name="connsiteX244" fmla="*/ 1682088 w 2992500"/>
                <a:gd name="connsiteY244" fmla="*/ 1191282 h 1262758"/>
                <a:gd name="connsiteX245" fmla="*/ 1672560 w 2992500"/>
                <a:gd name="connsiteY245" fmla="*/ 1196046 h 1262758"/>
                <a:gd name="connsiteX246" fmla="*/ 1667792 w 2992500"/>
                <a:gd name="connsiteY246" fmla="*/ 1229402 h 1262758"/>
                <a:gd name="connsiteX247" fmla="*/ 1653500 w 2992500"/>
                <a:gd name="connsiteY247" fmla="*/ 1234168 h 1262758"/>
                <a:gd name="connsiteX248" fmla="*/ 1648732 w 2992500"/>
                <a:gd name="connsiteY248" fmla="*/ 1238932 h 1262758"/>
                <a:gd name="connsiteX249" fmla="*/ 1639204 w 2992500"/>
                <a:gd name="connsiteY249" fmla="*/ 1262758 h 1262758"/>
                <a:gd name="connsiteX250" fmla="*/ 1634436 w 2992500"/>
                <a:gd name="connsiteY250" fmla="*/ 1262758 h 1262758"/>
                <a:gd name="connsiteX251" fmla="*/ 1610612 w 2992500"/>
                <a:gd name="connsiteY251" fmla="*/ 1248462 h 1262758"/>
                <a:gd name="connsiteX252" fmla="*/ 1601080 w 2992500"/>
                <a:gd name="connsiteY252" fmla="*/ 1243698 h 1262758"/>
                <a:gd name="connsiteX253" fmla="*/ 1610612 w 2992500"/>
                <a:gd name="connsiteY253" fmla="*/ 1229402 h 1262758"/>
                <a:gd name="connsiteX254" fmla="*/ 1596316 w 2992500"/>
                <a:gd name="connsiteY254" fmla="*/ 1200812 h 1262758"/>
                <a:gd name="connsiteX255" fmla="*/ 1586788 w 2992500"/>
                <a:gd name="connsiteY255" fmla="*/ 1167456 h 1262758"/>
                <a:gd name="connsiteX256" fmla="*/ 1596316 w 2992500"/>
                <a:gd name="connsiteY256" fmla="*/ 1148396 h 1262758"/>
                <a:gd name="connsiteX257" fmla="*/ 1620144 w 2992500"/>
                <a:gd name="connsiteY257" fmla="*/ 1129334 h 1262758"/>
                <a:gd name="connsiteX258" fmla="*/ 1643968 w 2992500"/>
                <a:gd name="connsiteY258" fmla="*/ 1100744 h 1262758"/>
                <a:gd name="connsiteX259" fmla="*/ 1643968 w 2992500"/>
                <a:gd name="connsiteY259" fmla="*/ 1086448 h 1262758"/>
                <a:gd name="connsiteX260" fmla="*/ 1643968 w 2992500"/>
                <a:gd name="connsiteY260" fmla="*/ 1072152 h 1262758"/>
                <a:gd name="connsiteX261" fmla="*/ 1639204 w 2992500"/>
                <a:gd name="connsiteY261" fmla="*/ 1062622 h 1262758"/>
                <a:gd name="connsiteX262" fmla="*/ 1624908 w 2992500"/>
                <a:gd name="connsiteY262" fmla="*/ 1053092 h 1262758"/>
                <a:gd name="connsiteX263" fmla="*/ 1601080 w 2992500"/>
                <a:gd name="connsiteY263" fmla="*/ 1062622 h 1262758"/>
                <a:gd name="connsiteX264" fmla="*/ 1586788 w 2992500"/>
                <a:gd name="connsiteY264" fmla="*/ 1076918 h 1262758"/>
                <a:gd name="connsiteX265" fmla="*/ 1572492 w 2992500"/>
                <a:gd name="connsiteY265" fmla="*/ 1081684 h 1262758"/>
                <a:gd name="connsiteX266" fmla="*/ 1562960 w 2992500"/>
                <a:gd name="connsiteY266" fmla="*/ 1086448 h 1262758"/>
                <a:gd name="connsiteX267" fmla="*/ 1558196 w 2992500"/>
                <a:gd name="connsiteY267" fmla="*/ 1100744 h 1262758"/>
                <a:gd name="connsiteX268" fmla="*/ 1543900 w 2992500"/>
                <a:gd name="connsiteY268" fmla="*/ 1115040 h 1262758"/>
                <a:gd name="connsiteX269" fmla="*/ 1520076 w 2992500"/>
                <a:gd name="connsiteY269" fmla="*/ 1115040 h 1262758"/>
                <a:gd name="connsiteX270" fmla="*/ 1486720 w 2992500"/>
                <a:gd name="connsiteY270" fmla="*/ 1105508 h 1262758"/>
                <a:gd name="connsiteX271" fmla="*/ 1448596 w 2992500"/>
                <a:gd name="connsiteY271" fmla="*/ 1086448 h 1262758"/>
                <a:gd name="connsiteX272" fmla="*/ 1429536 w 2992500"/>
                <a:gd name="connsiteY272" fmla="*/ 1072152 h 1262758"/>
                <a:gd name="connsiteX273" fmla="*/ 1415240 w 2992500"/>
                <a:gd name="connsiteY273" fmla="*/ 1072152 h 1262758"/>
                <a:gd name="connsiteX274" fmla="*/ 1396180 w 2992500"/>
                <a:gd name="connsiteY274" fmla="*/ 1076918 h 1262758"/>
                <a:gd name="connsiteX275" fmla="*/ 1348532 w 2992500"/>
                <a:gd name="connsiteY275" fmla="*/ 1110274 h 1262758"/>
                <a:gd name="connsiteX276" fmla="*/ 1305644 w 2992500"/>
                <a:gd name="connsiteY276" fmla="*/ 1162690 h 1262758"/>
                <a:gd name="connsiteX277" fmla="*/ 1296112 w 2992500"/>
                <a:gd name="connsiteY277" fmla="*/ 1172220 h 1262758"/>
                <a:gd name="connsiteX278" fmla="*/ 1257992 w 2992500"/>
                <a:gd name="connsiteY278" fmla="*/ 1191282 h 1262758"/>
                <a:gd name="connsiteX279" fmla="*/ 1229400 w 2992500"/>
                <a:gd name="connsiteY279" fmla="*/ 1200812 h 1262758"/>
                <a:gd name="connsiteX280" fmla="*/ 1215108 w 2992500"/>
                <a:gd name="connsiteY280" fmla="*/ 1200812 h 1262758"/>
                <a:gd name="connsiteX281" fmla="*/ 1162692 w 2992500"/>
                <a:gd name="connsiteY281" fmla="*/ 1210342 h 1262758"/>
                <a:gd name="connsiteX282" fmla="*/ 1134100 w 2992500"/>
                <a:gd name="connsiteY282" fmla="*/ 1210342 h 1262758"/>
                <a:gd name="connsiteX283" fmla="*/ 1115040 w 2992500"/>
                <a:gd name="connsiteY283" fmla="*/ 1219872 h 1262758"/>
                <a:gd name="connsiteX284" fmla="*/ 1072152 w 2992500"/>
                <a:gd name="connsiteY284" fmla="*/ 1210342 h 1262758"/>
                <a:gd name="connsiteX285" fmla="*/ 1048328 w 2992500"/>
                <a:gd name="connsiteY285" fmla="*/ 1191282 h 1262758"/>
                <a:gd name="connsiteX286" fmla="*/ 1034032 w 2992500"/>
                <a:gd name="connsiteY286" fmla="*/ 1176986 h 1262758"/>
                <a:gd name="connsiteX287" fmla="*/ 1010208 w 2992500"/>
                <a:gd name="connsiteY287" fmla="*/ 1143630 h 1262758"/>
                <a:gd name="connsiteX288" fmla="*/ 995912 w 2992500"/>
                <a:gd name="connsiteY288" fmla="*/ 1124570 h 1262758"/>
                <a:gd name="connsiteX289" fmla="*/ 957788 w 2992500"/>
                <a:gd name="connsiteY289" fmla="*/ 1110274 h 1262758"/>
                <a:gd name="connsiteX290" fmla="*/ 891078 w 2992500"/>
                <a:gd name="connsiteY290" fmla="*/ 1072152 h 1262758"/>
                <a:gd name="connsiteX291" fmla="*/ 872018 w 2992500"/>
                <a:gd name="connsiteY291" fmla="*/ 1067388 h 1262758"/>
                <a:gd name="connsiteX292" fmla="*/ 829132 w 2992500"/>
                <a:gd name="connsiteY292" fmla="*/ 1062622 h 1262758"/>
                <a:gd name="connsiteX293" fmla="*/ 781480 w 2992500"/>
                <a:gd name="connsiteY293" fmla="*/ 1062622 h 1262758"/>
                <a:gd name="connsiteX294" fmla="*/ 767184 w 2992500"/>
                <a:gd name="connsiteY294" fmla="*/ 1072152 h 1262758"/>
                <a:gd name="connsiteX295" fmla="*/ 767184 w 2992500"/>
                <a:gd name="connsiteY295" fmla="*/ 1129334 h 1262758"/>
                <a:gd name="connsiteX296" fmla="*/ 757654 w 2992500"/>
                <a:gd name="connsiteY296" fmla="*/ 1143630 h 1262758"/>
                <a:gd name="connsiteX297" fmla="*/ 752890 w 2992500"/>
                <a:gd name="connsiteY297" fmla="*/ 1167456 h 1262758"/>
                <a:gd name="connsiteX298" fmla="*/ 748124 w 2992500"/>
                <a:gd name="connsiteY298" fmla="*/ 1176986 h 1262758"/>
                <a:gd name="connsiteX299" fmla="*/ 738594 w 2992500"/>
                <a:gd name="connsiteY299" fmla="*/ 1181750 h 1262758"/>
                <a:gd name="connsiteX300" fmla="*/ 724298 w 2992500"/>
                <a:gd name="connsiteY300" fmla="*/ 1172220 h 1262758"/>
                <a:gd name="connsiteX301" fmla="*/ 714768 w 2992500"/>
                <a:gd name="connsiteY301" fmla="*/ 1167456 h 1262758"/>
                <a:gd name="connsiteX302" fmla="*/ 690942 w 2992500"/>
                <a:gd name="connsiteY302" fmla="*/ 1181750 h 1262758"/>
                <a:gd name="connsiteX303" fmla="*/ 648056 w 2992500"/>
                <a:gd name="connsiteY303" fmla="*/ 1196046 h 1262758"/>
                <a:gd name="connsiteX304" fmla="*/ 628996 w 2992500"/>
                <a:gd name="connsiteY304" fmla="*/ 1200812 h 1262758"/>
                <a:gd name="connsiteX305" fmla="*/ 576580 w 2992500"/>
                <a:gd name="connsiteY305" fmla="*/ 1176986 h 1262758"/>
                <a:gd name="connsiteX306" fmla="*/ 557520 w 2992500"/>
                <a:gd name="connsiteY306" fmla="*/ 1167456 h 1262758"/>
                <a:gd name="connsiteX307" fmla="*/ 543224 w 2992500"/>
                <a:gd name="connsiteY307" fmla="*/ 1153160 h 1262758"/>
                <a:gd name="connsiteX308" fmla="*/ 543224 w 2992500"/>
                <a:gd name="connsiteY308" fmla="*/ 1129334 h 1262758"/>
                <a:gd name="connsiteX309" fmla="*/ 533694 w 2992500"/>
                <a:gd name="connsiteY309" fmla="*/ 1115040 h 1262758"/>
                <a:gd name="connsiteX310" fmla="*/ 533694 w 2992500"/>
                <a:gd name="connsiteY310" fmla="*/ 1105508 h 1262758"/>
                <a:gd name="connsiteX311" fmla="*/ 528928 w 2992500"/>
                <a:gd name="connsiteY311" fmla="*/ 1095978 h 1262758"/>
                <a:gd name="connsiteX312" fmla="*/ 519398 w 2992500"/>
                <a:gd name="connsiteY312" fmla="*/ 1091214 h 1262758"/>
                <a:gd name="connsiteX313" fmla="*/ 505102 w 2992500"/>
                <a:gd name="connsiteY313" fmla="*/ 1100744 h 1262758"/>
                <a:gd name="connsiteX314" fmla="*/ 495572 w 2992500"/>
                <a:gd name="connsiteY314" fmla="*/ 1100744 h 1262758"/>
                <a:gd name="connsiteX315" fmla="*/ 476512 w 2992500"/>
                <a:gd name="connsiteY315" fmla="*/ 1091214 h 1262758"/>
                <a:gd name="connsiteX316" fmla="*/ 443156 w 2992500"/>
                <a:gd name="connsiteY316" fmla="*/ 1072152 h 1262758"/>
                <a:gd name="connsiteX317" fmla="*/ 414566 w 2992500"/>
                <a:gd name="connsiteY317" fmla="*/ 1072152 h 1262758"/>
                <a:gd name="connsiteX318" fmla="*/ 395504 w 2992500"/>
                <a:gd name="connsiteY318" fmla="*/ 1095978 h 1262758"/>
                <a:gd name="connsiteX319" fmla="*/ 385974 w 2992500"/>
                <a:gd name="connsiteY319" fmla="*/ 1105508 h 1262758"/>
                <a:gd name="connsiteX320" fmla="*/ 371680 w 2992500"/>
                <a:gd name="connsiteY320" fmla="*/ 1105508 h 1262758"/>
                <a:gd name="connsiteX321" fmla="*/ 366914 w 2992500"/>
                <a:gd name="connsiteY321" fmla="*/ 1100744 h 1262758"/>
                <a:gd name="connsiteX322" fmla="*/ 381210 w 2992500"/>
                <a:gd name="connsiteY322" fmla="*/ 1081684 h 1262758"/>
                <a:gd name="connsiteX323" fmla="*/ 333558 w 2992500"/>
                <a:gd name="connsiteY323" fmla="*/ 1086448 h 1262758"/>
                <a:gd name="connsiteX324" fmla="*/ 314498 w 2992500"/>
                <a:gd name="connsiteY324" fmla="*/ 1100744 h 1262758"/>
                <a:gd name="connsiteX325" fmla="*/ 295438 w 2992500"/>
                <a:gd name="connsiteY325" fmla="*/ 1095978 h 1262758"/>
                <a:gd name="connsiteX326" fmla="*/ 281142 w 2992500"/>
                <a:gd name="connsiteY326" fmla="*/ 1091214 h 1262758"/>
                <a:gd name="connsiteX327" fmla="*/ 281142 w 2992500"/>
                <a:gd name="connsiteY327" fmla="*/ 1086448 h 1262758"/>
                <a:gd name="connsiteX328" fmla="*/ 295438 w 2992500"/>
                <a:gd name="connsiteY328" fmla="*/ 1081684 h 1262758"/>
                <a:gd name="connsiteX329" fmla="*/ 309732 w 2992500"/>
                <a:gd name="connsiteY329" fmla="*/ 1076918 h 1262758"/>
                <a:gd name="connsiteX330" fmla="*/ 357384 w 2992500"/>
                <a:gd name="connsiteY330" fmla="*/ 1072152 h 1262758"/>
                <a:gd name="connsiteX331" fmla="*/ 366914 w 2992500"/>
                <a:gd name="connsiteY331" fmla="*/ 1067388 h 1262758"/>
                <a:gd name="connsiteX332" fmla="*/ 381210 w 2992500"/>
                <a:gd name="connsiteY332" fmla="*/ 1048328 h 1262758"/>
                <a:gd name="connsiteX333" fmla="*/ 400270 w 2992500"/>
                <a:gd name="connsiteY333" fmla="*/ 1034032 h 1262758"/>
                <a:gd name="connsiteX334" fmla="*/ 405036 w 2992500"/>
                <a:gd name="connsiteY334" fmla="*/ 1029266 h 1262758"/>
                <a:gd name="connsiteX335" fmla="*/ 385974 w 2992500"/>
                <a:gd name="connsiteY335" fmla="*/ 1029266 h 1262758"/>
                <a:gd name="connsiteX336" fmla="*/ 314498 w 2992500"/>
                <a:gd name="connsiteY336" fmla="*/ 1034032 h 1262758"/>
                <a:gd name="connsiteX337" fmla="*/ 262082 w 2992500"/>
                <a:gd name="connsiteY337" fmla="*/ 1029266 h 1262758"/>
                <a:gd name="connsiteX338" fmla="*/ 257316 w 2992500"/>
                <a:gd name="connsiteY338" fmla="*/ 1038798 h 1262758"/>
                <a:gd name="connsiteX339" fmla="*/ 252550 w 2992500"/>
                <a:gd name="connsiteY339" fmla="*/ 1038798 h 1262758"/>
                <a:gd name="connsiteX340" fmla="*/ 247786 w 2992500"/>
                <a:gd name="connsiteY340" fmla="*/ 1019736 h 1262758"/>
                <a:gd name="connsiteX341" fmla="*/ 257316 w 2992500"/>
                <a:gd name="connsiteY341" fmla="*/ 1010206 h 1262758"/>
                <a:gd name="connsiteX342" fmla="*/ 266846 w 2992500"/>
                <a:gd name="connsiteY342" fmla="*/ 1010206 h 1262758"/>
                <a:gd name="connsiteX343" fmla="*/ 295438 w 2992500"/>
                <a:gd name="connsiteY343" fmla="*/ 1000676 h 1262758"/>
                <a:gd name="connsiteX344" fmla="*/ 290672 w 2992500"/>
                <a:gd name="connsiteY344" fmla="*/ 986380 h 1262758"/>
                <a:gd name="connsiteX345" fmla="*/ 271612 w 2992500"/>
                <a:gd name="connsiteY345" fmla="*/ 976850 h 1262758"/>
                <a:gd name="connsiteX346" fmla="*/ 266846 w 2992500"/>
                <a:gd name="connsiteY346" fmla="*/ 967320 h 1262758"/>
                <a:gd name="connsiteX347" fmla="*/ 257316 w 2992500"/>
                <a:gd name="connsiteY347" fmla="*/ 967320 h 1262758"/>
                <a:gd name="connsiteX348" fmla="*/ 243020 w 2992500"/>
                <a:gd name="connsiteY348" fmla="*/ 957790 h 1262758"/>
                <a:gd name="connsiteX349" fmla="*/ 243020 w 2992500"/>
                <a:gd name="connsiteY349" fmla="*/ 938730 h 1262758"/>
                <a:gd name="connsiteX350" fmla="*/ 233490 w 2992500"/>
                <a:gd name="connsiteY350" fmla="*/ 914904 h 1262758"/>
                <a:gd name="connsiteX351" fmla="*/ 219196 w 2992500"/>
                <a:gd name="connsiteY351" fmla="*/ 905374 h 1262758"/>
                <a:gd name="connsiteX352" fmla="*/ 223960 w 2992500"/>
                <a:gd name="connsiteY352" fmla="*/ 900608 h 1262758"/>
                <a:gd name="connsiteX353" fmla="*/ 243020 w 2992500"/>
                <a:gd name="connsiteY353" fmla="*/ 891078 h 1262758"/>
                <a:gd name="connsiteX354" fmla="*/ 247786 w 2992500"/>
                <a:gd name="connsiteY354" fmla="*/ 862488 h 1262758"/>
                <a:gd name="connsiteX355" fmla="*/ 247786 w 2992500"/>
                <a:gd name="connsiteY355" fmla="*/ 843426 h 1262758"/>
                <a:gd name="connsiteX356" fmla="*/ 233490 w 2992500"/>
                <a:gd name="connsiteY356" fmla="*/ 838662 h 1262758"/>
                <a:gd name="connsiteX357" fmla="*/ 200134 w 2992500"/>
                <a:gd name="connsiteY357" fmla="*/ 824366 h 1262758"/>
                <a:gd name="connsiteX358" fmla="*/ 190604 w 2992500"/>
                <a:gd name="connsiteY358" fmla="*/ 829132 h 1262758"/>
                <a:gd name="connsiteX359" fmla="*/ 181074 w 2992500"/>
                <a:gd name="connsiteY359" fmla="*/ 810072 h 1262758"/>
                <a:gd name="connsiteX360" fmla="*/ 162014 w 2992500"/>
                <a:gd name="connsiteY360" fmla="*/ 800540 h 1262758"/>
                <a:gd name="connsiteX361" fmla="*/ 152484 w 2992500"/>
                <a:gd name="connsiteY361" fmla="*/ 800540 h 1262758"/>
                <a:gd name="connsiteX362" fmla="*/ 142954 w 2992500"/>
                <a:gd name="connsiteY362" fmla="*/ 810072 h 1262758"/>
                <a:gd name="connsiteX363" fmla="*/ 138188 w 2992500"/>
                <a:gd name="connsiteY363" fmla="*/ 805306 h 1262758"/>
                <a:gd name="connsiteX364" fmla="*/ 119128 w 2992500"/>
                <a:gd name="connsiteY364" fmla="*/ 795776 h 1262758"/>
                <a:gd name="connsiteX365" fmla="*/ 104832 w 2992500"/>
                <a:gd name="connsiteY365" fmla="*/ 791010 h 1262758"/>
                <a:gd name="connsiteX366" fmla="*/ 100066 w 2992500"/>
                <a:gd name="connsiteY366" fmla="*/ 781480 h 1262758"/>
                <a:gd name="connsiteX367" fmla="*/ 109598 w 2992500"/>
                <a:gd name="connsiteY367" fmla="*/ 762420 h 1262758"/>
                <a:gd name="connsiteX368" fmla="*/ 119128 w 2992500"/>
                <a:gd name="connsiteY368" fmla="*/ 762420 h 1262758"/>
                <a:gd name="connsiteX369" fmla="*/ 119128 w 2992500"/>
                <a:gd name="connsiteY369" fmla="*/ 748124 h 1262758"/>
                <a:gd name="connsiteX370" fmla="*/ 114362 w 2992500"/>
                <a:gd name="connsiteY370" fmla="*/ 724298 h 1262758"/>
                <a:gd name="connsiteX371" fmla="*/ 114362 w 2992500"/>
                <a:gd name="connsiteY371" fmla="*/ 714768 h 1262758"/>
                <a:gd name="connsiteX372" fmla="*/ 123892 w 2992500"/>
                <a:gd name="connsiteY372" fmla="*/ 710004 h 1262758"/>
                <a:gd name="connsiteX373" fmla="*/ 133422 w 2992500"/>
                <a:gd name="connsiteY373" fmla="*/ 714768 h 1262758"/>
                <a:gd name="connsiteX374" fmla="*/ 142954 w 2992500"/>
                <a:gd name="connsiteY374" fmla="*/ 724298 h 1262758"/>
                <a:gd name="connsiteX375" fmla="*/ 147718 w 2992500"/>
                <a:gd name="connsiteY375" fmla="*/ 738594 h 1262758"/>
                <a:gd name="connsiteX376" fmla="*/ 147718 w 2992500"/>
                <a:gd name="connsiteY376" fmla="*/ 752890 h 1262758"/>
                <a:gd name="connsiteX377" fmla="*/ 152484 w 2992500"/>
                <a:gd name="connsiteY377" fmla="*/ 767184 h 1262758"/>
                <a:gd name="connsiteX378" fmla="*/ 157248 w 2992500"/>
                <a:gd name="connsiteY378" fmla="*/ 771950 h 1262758"/>
                <a:gd name="connsiteX379" fmla="*/ 162014 w 2992500"/>
                <a:gd name="connsiteY379" fmla="*/ 757654 h 1262758"/>
                <a:gd name="connsiteX380" fmla="*/ 166778 w 2992500"/>
                <a:gd name="connsiteY380" fmla="*/ 752890 h 1262758"/>
                <a:gd name="connsiteX381" fmla="*/ 176308 w 2992500"/>
                <a:gd name="connsiteY381" fmla="*/ 762420 h 1262758"/>
                <a:gd name="connsiteX382" fmla="*/ 190604 w 2992500"/>
                <a:gd name="connsiteY382" fmla="*/ 762420 h 1262758"/>
                <a:gd name="connsiteX383" fmla="*/ 223960 w 2992500"/>
                <a:gd name="connsiteY383" fmla="*/ 752890 h 1262758"/>
                <a:gd name="connsiteX384" fmla="*/ 233490 w 2992500"/>
                <a:gd name="connsiteY384" fmla="*/ 748124 h 1262758"/>
                <a:gd name="connsiteX385" fmla="*/ 204900 w 2992500"/>
                <a:gd name="connsiteY385" fmla="*/ 748124 h 1262758"/>
                <a:gd name="connsiteX386" fmla="*/ 195370 w 2992500"/>
                <a:gd name="connsiteY386" fmla="*/ 743360 h 1262758"/>
                <a:gd name="connsiteX387" fmla="*/ 185840 w 2992500"/>
                <a:gd name="connsiteY387" fmla="*/ 724298 h 1262758"/>
                <a:gd name="connsiteX388" fmla="*/ 176308 w 2992500"/>
                <a:gd name="connsiteY388" fmla="*/ 714768 h 1262758"/>
                <a:gd name="connsiteX389" fmla="*/ 176308 w 2992500"/>
                <a:gd name="connsiteY389" fmla="*/ 705238 h 1262758"/>
                <a:gd name="connsiteX390" fmla="*/ 171544 w 2992500"/>
                <a:gd name="connsiteY390" fmla="*/ 695708 h 1262758"/>
                <a:gd name="connsiteX391" fmla="*/ 176308 w 2992500"/>
                <a:gd name="connsiteY391" fmla="*/ 690942 h 1262758"/>
                <a:gd name="connsiteX392" fmla="*/ 195370 w 2992500"/>
                <a:gd name="connsiteY392" fmla="*/ 681412 h 1262758"/>
                <a:gd name="connsiteX393" fmla="*/ 214430 w 2992500"/>
                <a:gd name="connsiteY393" fmla="*/ 662352 h 1262758"/>
                <a:gd name="connsiteX394" fmla="*/ 204900 w 2992500"/>
                <a:gd name="connsiteY394" fmla="*/ 652822 h 1262758"/>
                <a:gd name="connsiteX395" fmla="*/ 195370 w 2992500"/>
                <a:gd name="connsiteY395" fmla="*/ 652822 h 1262758"/>
                <a:gd name="connsiteX396" fmla="*/ 190604 w 2992500"/>
                <a:gd name="connsiteY396" fmla="*/ 652822 h 1262758"/>
                <a:gd name="connsiteX397" fmla="*/ 181074 w 2992500"/>
                <a:gd name="connsiteY397" fmla="*/ 648056 h 1262758"/>
                <a:gd name="connsiteX398" fmla="*/ 181074 w 2992500"/>
                <a:gd name="connsiteY398" fmla="*/ 633762 h 1262758"/>
                <a:gd name="connsiteX399" fmla="*/ 185840 w 2992500"/>
                <a:gd name="connsiteY399" fmla="*/ 624232 h 1262758"/>
                <a:gd name="connsiteX400" fmla="*/ 185840 w 2992500"/>
                <a:gd name="connsiteY400" fmla="*/ 614700 h 1262758"/>
                <a:gd name="connsiteX401" fmla="*/ 166778 w 2992500"/>
                <a:gd name="connsiteY401" fmla="*/ 586110 h 1262758"/>
                <a:gd name="connsiteX402" fmla="*/ 162014 w 2992500"/>
                <a:gd name="connsiteY402" fmla="*/ 581346 h 1262758"/>
                <a:gd name="connsiteX403" fmla="*/ 166778 w 2992500"/>
                <a:gd name="connsiteY403" fmla="*/ 571814 h 1262758"/>
                <a:gd name="connsiteX404" fmla="*/ 181074 w 2992500"/>
                <a:gd name="connsiteY404" fmla="*/ 552754 h 1262758"/>
                <a:gd name="connsiteX405" fmla="*/ 195370 w 2992500"/>
                <a:gd name="connsiteY405" fmla="*/ 533694 h 1262758"/>
                <a:gd name="connsiteX406" fmla="*/ 195370 w 2992500"/>
                <a:gd name="connsiteY406" fmla="*/ 528928 h 1262758"/>
                <a:gd name="connsiteX407" fmla="*/ 181074 w 2992500"/>
                <a:gd name="connsiteY407" fmla="*/ 524164 h 1262758"/>
                <a:gd name="connsiteX408" fmla="*/ 128658 w 2992500"/>
                <a:gd name="connsiteY408" fmla="*/ 533694 h 1262758"/>
                <a:gd name="connsiteX409" fmla="*/ 109598 w 2992500"/>
                <a:gd name="connsiteY409" fmla="*/ 538458 h 1262758"/>
                <a:gd name="connsiteX410" fmla="*/ 71476 w 2992500"/>
                <a:gd name="connsiteY410" fmla="*/ 543224 h 1262758"/>
                <a:gd name="connsiteX411" fmla="*/ 66712 w 2992500"/>
                <a:gd name="connsiteY411" fmla="*/ 533694 h 1262758"/>
                <a:gd name="connsiteX412" fmla="*/ 71476 w 2992500"/>
                <a:gd name="connsiteY412" fmla="*/ 524164 h 1262758"/>
                <a:gd name="connsiteX413" fmla="*/ 76242 w 2992500"/>
                <a:gd name="connsiteY413" fmla="*/ 505104 h 1262758"/>
                <a:gd name="connsiteX414" fmla="*/ 76242 w 2992500"/>
                <a:gd name="connsiteY414" fmla="*/ 462216 h 1262758"/>
                <a:gd name="connsiteX415" fmla="*/ 81006 w 2992500"/>
                <a:gd name="connsiteY415" fmla="*/ 438392 h 1262758"/>
                <a:gd name="connsiteX416" fmla="*/ 104832 w 2992500"/>
                <a:gd name="connsiteY416" fmla="*/ 428862 h 1262758"/>
                <a:gd name="connsiteX417" fmla="*/ 128658 w 2992500"/>
                <a:gd name="connsiteY417" fmla="*/ 395506 h 1262758"/>
                <a:gd name="connsiteX418" fmla="*/ 166778 w 2992500"/>
                <a:gd name="connsiteY418" fmla="*/ 352620 h 1262758"/>
                <a:gd name="connsiteX419" fmla="*/ 214430 w 2992500"/>
                <a:gd name="connsiteY419" fmla="*/ 352620 h 1262758"/>
                <a:gd name="connsiteX420" fmla="*/ 228726 w 2992500"/>
                <a:gd name="connsiteY420" fmla="*/ 343088 h 1262758"/>
                <a:gd name="connsiteX421" fmla="*/ 252550 w 2992500"/>
                <a:gd name="connsiteY421" fmla="*/ 343088 h 1262758"/>
                <a:gd name="connsiteX422" fmla="*/ 257316 w 2992500"/>
                <a:gd name="connsiteY422" fmla="*/ 352620 h 1262758"/>
                <a:gd name="connsiteX423" fmla="*/ 262082 w 2992500"/>
                <a:gd name="connsiteY423" fmla="*/ 357384 h 1262758"/>
                <a:gd name="connsiteX424" fmla="*/ 285906 w 2992500"/>
                <a:gd name="connsiteY424" fmla="*/ 371680 h 1262758"/>
                <a:gd name="connsiteX425" fmla="*/ 324028 w 2992500"/>
                <a:gd name="connsiteY425" fmla="*/ 366914 h 1262758"/>
                <a:gd name="connsiteX426" fmla="*/ 333558 w 2992500"/>
                <a:gd name="connsiteY426" fmla="*/ 362150 h 1262758"/>
                <a:gd name="connsiteX427" fmla="*/ 343088 w 2992500"/>
                <a:gd name="connsiteY427" fmla="*/ 357384 h 1262758"/>
                <a:gd name="connsiteX428" fmla="*/ 324028 w 2992500"/>
                <a:gd name="connsiteY428" fmla="*/ 338324 h 1262758"/>
                <a:gd name="connsiteX429" fmla="*/ 328792 w 2992500"/>
                <a:gd name="connsiteY429" fmla="*/ 333558 h 1262758"/>
                <a:gd name="connsiteX430" fmla="*/ 347854 w 2992500"/>
                <a:gd name="connsiteY430" fmla="*/ 328794 h 1262758"/>
                <a:gd name="connsiteX431" fmla="*/ 362148 w 2992500"/>
                <a:gd name="connsiteY431" fmla="*/ 338324 h 1262758"/>
                <a:gd name="connsiteX432" fmla="*/ 366914 w 2992500"/>
                <a:gd name="connsiteY432" fmla="*/ 338324 h 1262758"/>
                <a:gd name="connsiteX433" fmla="*/ 362148 w 2992500"/>
                <a:gd name="connsiteY433" fmla="*/ 347854 h 1262758"/>
                <a:gd name="connsiteX434" fmla="*/ 357384 w 2992500"/>
                <a:gd name="connsiteY434" fmla="*/ 357384 h 1262758"/>
                <a:gd name="connsiteX435" fmla="*/ 362148 w 2992500"/>
                <a:gd name="connsiteY435" fmla="*/ 362150 h 1262758"/>
                <a:gd name="connsiteX436" fmla="*/ 409800 w 2992500"/>
                <a:gd name="connsiteY436" fmla="*/ 352620 h 1262758"/>
                <a:gd name="connsiteX437" fmla="*/ 466982 w 2992500"/>
                <a:gd name="connsiteY437" fmla="*/ 357384 h 1262758"/>
                <a:gd name="connsiteX438" fmla="*/ 481278 w 2992500"/>
                <a:gd name="connsiteY438" fmla="*/ 357384 h 1262758"/>
                <a:gd name="connsiteX439" fmla="*/ 524164 w 2992500"/>
                <a:gd name="connsiteY439" fmla="*/ 357384 h 1262758"/>
                <a:gd name="connsiteX440" fmla="*/ 528928 w 2992500"/>
                <a:gd name="connsiteY440" fmla="*/ 347854 h 1262758"/>
                <a:gd name="connsiteX441" fmla="*/ 519398 w 2992500"/>
                <a:gd name="connsiteY441" fmla="*/ 338324 h 1262758"/>
                <a:gd name="connsiteX442" fmla="*/ 505102 w 2992500"/>
                <a:gd name="connsiteY442" fmla="*/ 338324 h 1262758"/>
                <a:gd name="connsiteX443" fmla="*/ 495572 w 2992500"/>
                <a:gd name="connsiteY443" fmla="*/ 333558 h 1262758"/>
                <a:gd name="connsiteX444" fmla="*/ 490808 w 2992500"/>
                <a:gd name="connsiteY444" fmla="*/ 328794 h 1262758"/>
                <a:gd name="connsiteX445" fmla="*/ 514632 w 2992500"/>
                <a:gd name="connsiteY445" fmla="*/ 304968 h 1262758"/>
                <a:gd name="connsiteX446" fmla="*/ 528928 w 2992500"/>
                <a:gd name="connsiteY446" fmla="*/ 304968 h 1262758"/>
                <a:gd name="connsiteX447" fmla="*/ 600406 w 2992500"/>
                <a:gd name="connsiteY447" fmla="*/ 290672 h 1262758"/>
                <a:gd name="connsiteX448" fmla="*/ 652822 w 2992500"/>
                <a:gd name="connsiteY448" fmla="*/ 285908 h 1262758"/>
                <a:gd name="connsiteX449" fmla="*/ 652822 w 2992500"/>
                <a:gd name="connsiteY449" fmla="*/ 281142 h 1262758"/>
                <a:gd name="connsiteX450" fmla="*/ 648056 w 2992500"/>
                <a:gd name="connsiteY450" fmla="*/ 281142 h 1262758"/>
                <a:gd name="connsiteX451" fmla="*/ 581344 w 2992500"/>
                <a:gd name="connsiteY451" fmla="*/ 271612 h 1262758"/>
                <a:gd name="connsiteX452" fmla="*/ 562284 w 2992500"/>
                <a:gd name="connsiteY452" fmla="*/ 262082 h 1262758"/>
                <a:gd name="connsiteX453" fmla="*/ 538458 w 2992500"/>
                <a:gd name="connsiteY453" fmla="*/ 243022 h 1262758"/>
                <a:gd name="connsiteX454" fmla="*/ 533694 w 2992500"/>
                <a:gd name="connsiteY454" fmla="*/ 238256 h 1262758"/>
                <a:gd name="connsiteX455" fmla="*/ 528928 w 2992500"/>
                <a:gd name="connsiteY455" fmla="*/ 228726 h 1262758"/>
                <a:gd name="connsiteX456" fmla="*/ 533694 w 2992500"/>
                <a:gd name="connsiteY456" fmla="*/ 209666 h 1262758"/>
                <a:gd name="connsiteX457" fmla="*/ 538458 w 2992500"/>
                <a:gd name="connsiteY457" fmla="*/ 195370 h 1262758"/>
                <a:gd name="connsiteX458" fmla="*/ 547988 w 2992500"/>
                <a:gd name="connsiteY458" fmla="*/ 185840 h 1262758"/>
                <a:gd name="connsiteX459" fmla="*/ 571814 w 2992500"/>
                <a:gd name="connsiteY459" fmla="*/ 181074 h 1262758"/>
                <a:gd name="connsiteX460" fmla="*/ 667116 w 2992500"/>
                <a:gd name="connsiteY460" fmla="*/ 200136 h 1262758"/>
                <a:gd name="connsiteX461" fmla="*/ 733828 w 2992500"/>
                <a:gd name="connsiteY461" fmla="*/ 190604 h 1262758"/>
                <a:gd name="connsiteX462" fmla="*/ 805306 w 2992500"/>
                <a:gd name="connsiteY462" fmla="*/ 214430 h 1262758"/>
                <a:gd name="connsiteX463" fmla="*/ 872018 w 2992500"/>
                <a:gd name="connsiteY463" fmla="*/ 209666 h 1262758"/>
                <a:gd name="connsiteX464" fmla="*/ 891078 w 2992500"/>
                <a:gd name="connsiteY464" fmla="*/ 195370 h 1262758"/>
                <a:gd name="connsiteX465" fmla="*/ 905374 w 2992500"/>
                <a:gd name="connsiteY465" fmla="*/ 162014 h 1262758"/>
                <a:gd name="connsiteX466" fmla="*/ 1005440 w 2992500"/>
                <a:gd name="connsiteY466" fmla="*/ 109598 h 1262758"/>
                <a:gd name="connsiteX467" fmla="*/ 1038796 w 2992500"/>
                <a:gd name="connsiteY467" fmla="*/ 76242 h 1262758"/>
                <a:gd name="connsiteX468" fmla="*/ 1076916 w 2992500"/>
                <a:gd name="connsiteY468" fmla="*/ 61946 h 1262758"/>
                <a:gd name="connsiteX469" fmla="*/ 1138864 w 2992500"/>
                <a:gd name="connsiteY469" fmla="*/ 42886 h 1262758"/>
                <a:gd name="connsiteX470" fmla="*/ 1191280 w 2992500"/>
                <a:gd name="connsiteY470" fmla="*/ 19060 h 1262758"/>
                <a:gd name="connsiteX471" fmla="*/ 1205576 w 2992500"/>
                <a:gd name="connsiteY471" fmla="*/ 19060 h 1262758"/>
                <a:gd name="connsiteX472" fmla="*/ 1334236 w 2992500"/>
                <a:gd name="connsiteY472" fmla="*/ 28590 h 1262758"/>
                <a:gd name="connsiteX473" fmla="*/ 1420008 w 2992500"/>
                <a:gd name="connsiteY473" fmla="*/ 28590 h 1262758"/>
                <a:gd name="connsiteX474" fmla="*/ 247786 w 2992500"/>
                <a:gd name="connsiteY474" fmla="*/ 0 h 1262758"/>
                <a:gd name="connsiteX475" fmla="*/ 257316 w 2992500"/>
                <a:gd name="connsiteY475" fmla="*/ 4766 h 1262758"/>
                <a:gd name="connsiteX476" fmla="*/ 266846 w 2992500"/>
                <a:gd name="connsiteY476" fmla="*/ 14296 h 1262758"/>
                <a:gd name="connsiteX477" fmla="*/ 285906 w 2992500"/>
                <a:gd name="connsiteY477" fmla="*/ 33356 h 1262758"/>
                <a:gd name="connsiteX478" fmla="*/ 295436 w 2992500"/>
                <a:gd name="connsiteY478" fmla="*/ 38120 h 1262758"/>
                <a:gd name="connsiteX479" fmla="*/ 300202 w 2992500"/>
                <a:gd name="connsiteY479" fmla="*/ 38120 h 1262758"/>
                <a:gd name="connsiteX480" fmla="*/ 314498 w 2992500"/>
                <a:gd name="connsiteY480" fmla="*/ 28590 h 1262758"/>
                <a:gd name="connsiteX481" fmla="*/ 324028 w 2992500"/>
                <a:gd name="connsiteY481" fmla="*/ 28590 h 1262758"/>
                <a:gd name="connsiteX482" fmla="*/ 333558 w 2992500"/>
                <a:gd name="connsiteY482" fmla="*/ 33356 h 1262758"/>
                <a:gd name="connsiteX483" fmla="*/ 338324 w 2992500"/>
                <a:gd name="connsiteY483" fmla="*/ 23826 h 1262758"/>
                <a:gd name="connsiteX484" fmla="*/ 347854 w 2992500"/>
                <a:gd name="connsiteY484" fmla="*/ 23826 h 1262758"/>
                <a:gd name="connsiteX485" fmla="*/ 366914 w 2992500"/>
                <a:gd name="connsiteY485" fmla="*/ 28590 h 1262758"/>
                <a:gd name="connsiteX486" fmla="*/ 362148 w 2992500"/>
                <a:gd name="connsiteY486" fmla="*/ 52416 h 1262758"/>
                <a:gd name="connsiteX487" fmla="*/ 371678 w 2992500"/>
                <a:gd name="connsiteY487" fmla="*/ 76242 h 1262758"/>
                <a:gd name="connsiteX488" fmla="*/ 395504 w 2992500"/>
                <a:gd name="connsiteY488" fmla="*/ 114364 h 1262758"/>
                <a:gd name="connsiteX489" fmla="*/ 419330 w 2992500"/>
                <a:gd name="connsiteY489" fmla="*/ 133424 h 1262758"/>
                <a:gd name="connsiteX490" fmla="*/ 514632 w 2992500"/>
                <a:gd name="connsiteY490" fmla="*/ 181074 h 1262758"/>
                <a:gd name="connsiteX491" fmla="*/ 528928 w 2992500"/>
                <a:gd name="connsiteY491" fmla="*/ 181074 h 1262758"/>
                <a:gd name="connsiteX492" fmla="*/ 528928 w 2992500"/>
                <a:gd name="connsiteY492" fmla="*/ 200136 h 1262758"/>
                <a:gd name="connsiteX493" fmla="*/ 519398 w 2992500"/>
                <a:gd name="connsiteY493" fmla="*/ 219196 h 1262758"/>
                <a:gd name="connsiteX494" fmla="*/ 514632 w 2992500"/>
                <a:gd name="connsiteY494" fmla="*/ 228726 h 1262758"/>
                <a:gd name="connsiteX495" fmla="*/ 486042 w 2992500"/>
                <a:gd name="connsiteY495" fmla="*/ 233492 h 1262758"/>
                <a:gd name="connsiteX496" fmla="*/ 414566 w 2992500"/>
                <a:gd name="connsiteY496" fmla="*/ 214430 h 1262758"/>
                <a:gd name="connsiteX497" fmla="*/ 390740 w 2992500"/>
                <a:gd name="connsiteY497" fmla="*/ 214430 h 1262758"/>
                <a:gd name="connsiteX498" fmla="*/ 381210 w 2992500"/>
                <a:gd name="connsiteY498" fmla="*/ 219196 h 1262758"/>
                <a:gd name="connsiteX499" fmla="*/ 352618 w 2992500"/>
                <a:gd name="connsiteY499" fmla="*/ 233492 h 1262758"/>
                <a:gd name="connsiteX500" fmla="*/ 324028 w 2992500"/>
                <a:gd name="connsiteY500" fmla="*/ 228726 h 1262758"/>
                <a:gd name="connsiteX501" fmla="*/ 285906 w 2992500"/>
                <a:gd name="connsiteY501" fmla="*/ 233492 h 1262758"/>
                <a:gd name="connsiteX502" fmla="*/ 276376 w 2992500"/>
                <a:gd name="connsiteY502" fmla="*/ 262082 h 1262758"/>
                <a:gd name="connsiteX503" fmla="*/ 252550 w 2992500"/>
                <a:gd name="connsiteY503" fmla="*/ 295438 h 1262758"/>
                <a:gd name="connsiteX504" fmla="*/ 204900 w 2992500"/>
                <a:gd name="connsiteY504" fmla="*/ 319264 h 1262758"/>
                <a:gd name="connsiteX505" fmla="*/ 176308 w 2992500"/>
                <a:gd name="connsiteY505" fmla="*/ 333558 h 1262758"/>
                <a:gd name="connsiteX506" fmla="*/ 128658 w 2992500"/>
                <a:gd name="connsiteY506" fmla="*/ 381210 h 1262758"/>
                <a:gd name="connsiteX507" fmla="*/ 104832 w 2992500"/>
                <a:gd name="connsiteY507" fmla="*/ 409800 h 1262758"/>
                <a:gd name="connsiteX508" fmla="*/ 95302 w 2992500"/>
                <a:gd name="connsiteY508" fmla="*/ 414566 h 1262758"/>
                <a:gd name="connsiteX509" fmla="*/ 85772 w 2992500"/>
                <a:gd name="connsiteY509" fmla="*/ 419332 h 1262758"/>
                <a:gd name="connsiteX510" fmla="*/ 90536 w 2992500"/>
                <a:gd name="connsiteY510" fmla="*/ 405036 h 1262758"/>
                <a:gd name="connsiteX511" fmla="*/ 95302 w 2992500"/>
                <a:gd name="connsiteY511" fmla="*/ 395506 h 1262758"/>
                <a:gd name="connsiteX512" fmla="*/ 95302 w 2992500"/>
                <a:gd name="connsiteY512" fmla="*/ 385976 h 1262758"/>
                <a:gd name="connsiteX513" fmla="*/ 95302 w 2992500"/>
                <a:gd name="connsiteY513" fmla="*/ 371680 h 1262758"/>
                <a:gd name="connsiteX514" fmla="*/ 109598 w 2992500"/>
                <a:gd name="connsiteY514" fmla="*/ 357384 h 1262758"/>
                <a:gd name="connsiteX515" fmla="*/ 123892 w 2992500"/>
                <a:gd name="connsiteY515" fmla="*/ 343088 h 1262758"/>
                <a:gd name="connsiteX516" fmla="*/ 166778 w 2992500"/>
                <a:gd name="connsiteY516" fmla="*/ 324028 h 1262758"/>
                <a:gd name="connsiteX517" fmla="*/ 176308 w 2992500"/>
                <a:gd name="connsiteY517" fmla="*/ 309734 h 1262758"/>
                <a:gd name="connsiteX518" fmla="*/ 142954 w 2992500"/>
                <a:gd name="connsiteY518" fmla="*/ 309734 h 1262758"/>
                <a:gd name="connsiteX519" fmla="*/ 109598 w 2992500"/>
                <a:gd name="connsiteY519" fmla="*/ 309734 h 1262758"/>
                <a:gd name="connsiteX520" fmla="*/ 90536 w 2992500"/>
                <a:gd name="connsiteY520" fmla="*/ 309734 h 1262758"/>
                <a:gd name="connsiteX521" fmla="*/ 71476 w 2992500"/>
                <a:gd name="connsiteY521" fmla="*/ 309734 h 1262758"/>
                <a:gd name="connsiteX522" fmla="*/ 61946 w 2992500"/>
                <a:gd name="connsiteY522" fmla="*/ 295438 h 1262758"/>
                <a:gd name="connsiteX523" fmla="*/ 61946 w 2992500"/>
                <a:gd name="connsiteY523" fmla="*/ 285908 h 1262758"/>
                <a:gd name="connsiteX524" fmla="*/ 66712 w 2992500"/>
                <a:gd name="connsiteY524" fmla="*/ 285908 h 1262758"/>
                <a:gd name="connsiteX525" fmla="*/ 71476 w 2992500"/>
                <a:gd name="connsiteY525" fmla="*/ 281142 h 1262758"/>
                <a:gd name="connsiteX526" fmla="*/ 81006 w 2992500"/>
                <a:gd name="connsiteY526" fmla="*/ 266848 h 1262758"/>
                <a:gd name="connsiteX527" fmla="*/ 90536 w 2992500"/>
                <a:gd name="connsiteY527" fmla="*/ 252552 h 1262758"/>
                <a:gd name="connsiteX528" fmla="*/ 104832 w 2992500"/>
                <a:gd name="connsiteY528" fmla="*/ 238256 h 1262758"/>
                <a:gd name="connsiteX529" fmla="*/ 109598 w 2992500"/>
                <a:gd name="connsiteY529" fmla="*/ 228726 h 1262758"/>
                <a:gd name="connsiteX530" fmla="*/ 109598 w 2992500"/>
                <a:gd name="connsiteY530" fmla="*/ 223960 h 1262758"/>
                <a:gd name="connsiteX531" fmla="*/ 104832 w 2992500"/>
                <a:gd name="connsiteY531" fmla="*/ 214430 h 1262758"/>
                <a:gd name="connsiteX532" fmla="*/ 104832 w 2992500"/>
                <a:gd name="connsiteY532" fmla="*/ 209666 h 1262758"/>
                <a:gd name="connsiteX533" fmla="*/ 104832 w 2992500"/>
                <a:gd name="connsiteY533" fmla="*/ 200136 h 1262758"/>
                <a:gd name="connsiteX534" fmla="*/ 104832 w 2992500"/>
                <a:gd name="connsiteY534" fmla="*/ 181074 h 1262758"/>
                <a:gd name="connsiteX535" fmla="*/ 138188 w 2992500"/>
                <a:gd name="connsiteY535" fmla="*/ 157250 h 1262758"/>
                <a:gd name="connsiteX536" fmla="*/ 147718 w 2992500"/>
                <a:gd name="connsiteY536" fmla="*/ 157250 h 1262758"/>
                <a:gd name="connsiteX537" fmla="*/ 152484 w 2992500"/>
                <a:gd name="connsiteY537" fmla="*/ 147718 h 1262758"/>
                <a:gd name="connsiteX538" fmla="*/ 147718 w 2992500"/>
                <a:gd name="connsiteY538" fmla="*/ 123894 h 1262758"/>
                <a:gd name="connsiteX539" fmla="*/ 142954 w 2992500"/>
                <a:gd name="connsiteY539" fmla="*/ 104832 h 1262758"/>
                <a:gd name="connsiteX540" fmla="*/ 138188 w 2992500"/>
                <a:gd name="connsiteY540" fmla="*/ 104832 h 1262758"/>
                <a:gd name="connsiteX541" fmla="*/ 133422 w 2992500"/>
                <a:gd name="connsiteY541" fmla="*/ 100068 h 1262758"/>
                <a:gd name="connsiteX542" fmla="*/ 123892 w 2992500"/>
                <a:gd name="connsiteY542" fmla="*/ 90538 h 1262758"/>
                <a:gd name="connsiteX543" fmla="*/ 119128 w 2992500"/>
                <a:gd name="connsiteY543" fmla="*/ 85772 h 1262758"/>
                <a:gd name="connsiteX544" fmla="*/ 104832 w 2992500"/>
                <a:gd name="connsiteY544" fmla="*/ 81008 h 1262758"/>
                <a:gd name="connsiteX545" fmla="*/ 104832 w 2992500"/>
                <a:gd name="connsiteY545" fmla="*/ 76242 h 1262758"/>
                <a:gd name="connsiteX546" fmla="*/ 104832 w 2992500"/>
                <a:gd name="connsiteY546" fmla="*/ 71476 h 1262758"/>
                <a:gd name="connsiteX547" fmla="*/ 109598 w 2992500"/>
                <a:gd name="connsiteY547" fmla="*/ 61946 h 1262758"/>
                <a:gd name="connsiteX548" fmla="*/ 133422 w 2992500"/>
                <a:gd name="connsiteY548" fmla="*/ 57182 h 1262758"/>
                <a:gd name="connsiteX549" fmla="*/ 138188 w 2992500"/>
                <a:gd name="connsiteY549" fmla="*/ 52416 h 1262758"/>
                <a:gd name="connsiteX550" fmla="*/ 138188 w 2992500"/>
                <a:gd name="connsiteY550" fmla="*/ 42886 h 1262758"/>
                <a:gd name="connsiteX551" fmla="*/ 142954 w 2992500"/>
                <a:gd name="connsiteY551" fmla="*/ 33356 h 1262758"/>
                <a:gd name="connsiteX552" fmla="*/ 152484 w 2992500"/>
                <a:gd name="connsiteY552" fmla="*/ 28590 h 1262758"/>
                <a:gd name="connsiteX553" fmla="*/ 162014 w 2992500"/>
                <a:gd name="connsiteY553" fmla="*/ 28590 h 1262758"/>
                <a:gd name="connsiteX554" fmla="*/ 181074 w 2992500"/>
                <a:gd name="connsiteY554" fmla="*/ 28590 h 1262758"/>
                <a:gd name="connsiteX555" fmla="*/ 190604 w 2992500"/>
                <a:gd name="connsiteY555" fmla="*/ 23826 h 1262758"/>
                <a:gd name="connsiteX556" fmla="*/ 204900 w 2992500"/>
                <a:gd name="connsiteY556" fmla="*/ 14296 h 1262758"/>
                <a:gd name="connsiteX557" fmla="*/ 209664 w 2992500"/>
                <a:gd name="connsiteY557" fmla="*/ 9530 h 1262758"/>
                <a:gd name="connsiteX558" fmla="*/ 238256 w 2992500"/>
                <a:gd name="connsiteY558" fmla="*/ 4766 h 1262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</a:cxnLst>
              <a:rect l="l" t="t" r="r" b="b"/>
              <a:pathLst>
                <a:path w="2992500" h="1262758">
                  <a:moveTo>
                    <a:pt x="33354" y="385976"/>
                  </a:moveTo>
                  <a:lnTo>
                    <a:pt x="42884" y="385976"/>
                  </a:lnTo>
                  <a:lnTo>
                    <a:pt x="47650" y="400270"/>
                  </a:lnTo>
                  <a:lnTo>
                    <a:pt x="47650" y="409800"/>
                  </a:lnTo>
                  <a:lnTo>
                    <a:pt x="14294" y="414566"/>
                  </a:lnTo>
                  <a:lnTo>
                    <a:pt x="0" y="409800"/>
                  </a:lnTo>
                  <a:lnTo>
                    <a:pt x="14294" y="395506"/>
                  </a:lnTo>
                  <a:close/>
                  <a:moveTo>
                    <a:pt x="1458128" y="9530"/>
                  </a:moveTo>
                  <a:lnTo>
                    <a:pt x="1481952" y="14296"/>
                  </a:lnTo>
                  <a:lnTo>
                    <a:pt x="1481952" y="23826"/>
                  </a:lnTo>
                  <a:lnTo>
                    <a:pt x="1477188" y="28590"/>
                  </a:lnTo>
                  <a:lnTo>
                    <a:pt x="1477188" y="42886"/>
                  </a:lnTo>
                  <a:lnTo>
                    <a:pt x="1491484" y="66712"/>
                  </a:lnTo>
                  <a:lnTo>
                    <a:pt x="1505780" y="76242"/>
                  </a:lnTo>
                  <a:lnTo>
                    <a:pt x="1548664" y="100068"/>
                  </a:lnTo>
                  <a:lnTo>
                    <a:pt x="1601080" y="81006"/>
                  </a:lnTo>
                  <a:lnTo>
                    <a:pt x="1610612" y="85772"/>
                  </a:lnTo>
                  <a:lnTo>
                    <a:pt x="1624908" y="90538"/>
                  </a:lnTo>
                  <a:lnTo>
                    <a:pt x="1643968" y="142954"/>
                  </a:lnTo>
                  <a:lnTo>
                    <a:pt x="1658264" y="162014"/>
                  </a:lnTo>
                  <a:lnTo>
                    <a:pt x="1677324" y="171544"/>
                  </a:lnTo>
                  <a:lnTo>
                    <a:pt x="1696384" y="176310"/>
                  </a:lnTo>
                  <a:lnTo>
                    <a:pt x="1705916" y="162014"/>
                  </a:lnTo>
                  <a:lnTo>
                    <a:pt x="1715444" y="157248"/>
                  </a:lnTo>
                  <a:lnTo>
                    <a:pt x="1739272" y="152484"/>
                  </a:lnTo>
                  <a:lnTo>
                    <a:pt x="1772628" y="171544"/>
                  </a:lnTo>
                  <a:lnTo>
                    <a:pt x="1782156" y="190604"/>
                  </a:lnTo>
                  <a:lnTo>
                    <a:pt x="1839340" y="204900"/>
                  </a:lnTo>
                  <a:lnTo>
                    <a:pt x="1891756" y="214430"/>
                  </a:lnTo>
                  <a:lnTo>
                    <a:pt x="1915580" y="228726"/>
                  </a:lnTo>
                  <a:lnTo>
                    <a:pt x="1987056" y="247786"/>
                  </a:lnTo>
                  <a:lnTo>
                    <a:pt x="2015648" y="243022"/>
                  </a:lnTo>
                  <a:lnTo>
                    <a:pt x="2063300" y="228726"/>
                  </a:lnTo>
                  <a:lnTo>
                    <a:pt x="2149072" y="209666"/>
                  </a:lnTo>
                  <a:lnTo>
                    <a:pt x="2211020" y="233490"/>
                  </a:lnTo>
                  <a:lnTo>
                    <a:pt x="2225312" y="238256"/>
                  </a:lnTo>
                  <a:lnTo>
                    <a:pt x="2239608" y="233490"/>
                  </a:lnTo>
                  <a:lnTo>
                    <a:pt x="2258668" y="243022"/>
                  </a:lnTo>
                  <a:lnTo>
                    <a:pt x="2282496" y="238256"/>
                  </a:lnTo>
                  <a:lnTo>
                    <a:pt x="2349208" y="209666"/>
                  </a:lnTo>
                  <a:lnTo>
                    <a:pt x="2368268" y="190604"/>
                  </a:lnTo>
                  <a:lnTo>
                    <a:pt x="2392092" y="185840"/>
                  </a:lnTo>
                  <a:lnTo>
                    <a:pt x="2411152" y="176310"/>
                  </a:lnTo>
                  <a:lnTo>
                    <a:pt x="2463568" y="142954"/>
                  </a:lnTo>
                  <a:lnTo>
                    <a:pt x="2477864" y="123894"/>
                  </a:lnTo>
                  <a:lnTo>
                    <a:pt x="2487396" y="128658"/>
                  </a:lnTo>
                  <a:lnTo>
                    <a:pt x="2506456" y="133424"/>
                  </a:lnTo>
                  <a:lnTo>
                    <a:pt x="2520752" y="138188"/>
                  </a:lnTo>
                  <a:lnTo>
                    <a:pt x="2525516" y="142954"/>
                  </a:lnTo>
                  <a:lnTo>
                    <a:pt x="2539812" y="128658"/>
                  </a:lnTo>
                  <a:lnTo>
                    <a:pt x="2563636" y="128658"/>
                  </a:lnTo>
                  <a:lnTo>
                    <a:pt x="2587464" y="128658"/>
                  </a:lnTo>
                  <a:lnTo>
                    <a:pt x="2596992" y="133424"/>
                  </a:lnTo>
                  <a:lnTo>
                    <a:pt x="2611288" y="138188"/>
                  </a:lnTo>
                  <a:lnTo>
                    <a:pt x="2625584" y="138188"/>
                  </a:lnTo>
                  <a:lnTo>
                    <a:pt x="2630348" y="133424"/>
                  </a:lnTo>
                  <a:lnTo>
                    <a:pt x="2639880" y="114362"/>
                  </a:lnTo>
                  <a:lnTo>
                    <a:pt x="2644644" y="109598"/>
                  </a:lnTo>
                  <a:lnTo>
                    <a:pt x="2649408" y="109598"/>
                  </a:lnTo>
                  <a:lnTo>
                    <a:pt x="2658940" y="109598"/>
                  </a:lnTo>
                  <a:lnTo>
                    <a:pt x="2668472" y="109598"/>
                  </a:lnTo>
                  <a:lnTo>
                    <a:pt x="2678000" y="114362"/>
                  </a:lnTo>
                  <a:lnTo>
                    <a:pt x="2682764" y="128658"/>
                  </a:lnTo>
                  <a:lnTo>
                    <a:pt x="2692296" y="133424"/>
                  </a:lnTo>
                  <a:lnTo>
                    <a:pt x="2716120" y="157248"/>
                  </a:lnTo>
                  <a:lnTo>
                    <a:pt x="2730416" y="166780"/>
                  </a:lnTo>
                  <a:lnTo>
                    <a:pt x="2735184" y="171544"/>
                  </a:lnTo>
                  <a:lnTo>
                    <a:pt x="2730416" y="176310"/>
                  </a:lnTo>
                  <a:lnTo>
                    <a:pt x="2730416" y="181074"/>
                  </a:lnTo>
                  <a:lnTo>
                    <a:pt x="2739948" y="190604"/>
                  </a:lnTo>
                  <a:lnTo>
                    <a:pt x="2754244" y="190604"/>
                  </a:lnTo>
                  <a:lnTo>
                    <a:pt x="2763772" y="190604"/>
                  </a:lnTo>
                  <a:lnTo>
                    <a:pt x="2773304" y="195370"/>
                  </a:lnTo>
                  <a:lnTo>
                    <a:pt x="2778068" y="200136"/>
                  </a:lnTo>
                  <a:lnTo>
                    <a:pt x="2778068" y="204900"/>
                  </a:lnTo>
                  <a:lnTo>
                    <a:pt x="2778068" y="209666"/>
                  </a:lnTo>
                  <a:lnTo>
                    <a:pt x="2778068" y="214430"/>
                  </a:lnTo>
                  <a:lnTo>
                    <a:pt x="2792364" y="228726"/>
                  </a:lnTo>
                  <a:lnTo>
                    <a:pt x="2801896" y="238256"/>
                  </a:lnTo>
                  <a:lnTo>
                    <a:pt x="2806660" y="243022"/>
                  </a:lnTo>
                  <a:lnTo>
                    <a:pt x="2816188" y="271612"/>
                  </a:lnTo>
                  <a:lnTo>
                    <a:pt x="2820956" y="285908"/>
                  </a:lnTo>
                  <a:lnTo>
                    <a:pt x="2820956" y="304968"/>
                  </a:lnTo>
                  <a:lnTo>
                    <a:pt x="2811424" y="319264"/>
                  </a:lnTo>
                  <a:lnTo>
                    <a:pt x="2797128" y="338324"/>
                  </a:lnTo>
                  <a:lnTo>
                    <a:pt x="2801896" y="343088"/>
                  </a:lnTo>
                  <a:lnTo>
                    <a:pt x="2806660" y="357384"/>
                  </a:lnTo>
                  <a:lnTo>
                    <a:pt x="2801896" y="362150"/>
                  </a:lnTo>
                  <a:lnTo>
                    <a:pt x="2816188" y="385974"/>
                  </a:lnTo>
                  <a:lnTo>
                    <a:pt x="2820956" y="400270"/>
                  </a:lnTo>
                  <a:lnTo>
                    <a:pt x="2816188" y="405036"/>
                  </a:lnTo>
                  <a:lnTo>
                    <a:pt x="2811424" y="409800"/>
                  </a:lnTo>
                  <a:lnTo>
                    <a:pt x="2835248" y="419330"/>
                  </a:lnTo>
                  <a:lnTo>
                    <a:pt x="2854312" y="428862"/>
                  </a:lnTo>
                  <a:lnTo>
                    <a:pt x="2863840" y="433626"/>
                  </a:lnTo>
                  <a:lnTo>
                    <a:pt x="2892432" y="428862"/>
                  </a:lnTo>
                  <a:lnTo>
                    <a:pt x="2911492" y="428862"/>
                  </a:lnTo>
                  <a:lnTo>
                    <a:pt x="2925788" y="438392"/>
                  </a:lnTo>
                  <a:lnTo>
                    <a:pt x="2954376" y="457452"/>
                  </a:lnTo>
                  <a:lnTo>
                    <a:pt x="2978204" y="486042"/>
                  </a:lnTo>
                  <a:lnTo>
                    <a:pt x="2987732" y="495572"/>
                  </a:lnTo>
                  <a:lnTo>
                    <a:pt x="2987732" y="500338"/>
                  </a:lnTo>
                  <a:lnTo>
                    <a:pt x="2992500" y="505104"/>
                  </a:lnTo>
                  <a:lnTo>
                    <a:pt x="2987732" y="505104"/>
                  </a:lnTo>
                  <a:lnTo>
                    <a:pt x="2978204" y="500338"/>
                  </a:lnTo>
                  <a:lnTo>
                    <a:pt x="2959144" y="481278"/>
                  </a:lnTo>
                  <a:lnTo>
                    <a:pt x="2944848" y="490808"/>
                  </a:lnTo>
                  <a:lnTo>
                    <a:pt x="2935316" y="505104"/>
                  </a:lnTo>
                  <a:lnTo>
                    <a:pt x="2925788" y="552754"/>
                  </a:lnTo>
                  <a:lnTo>
                    <a:pt x="2916256" y="557520"/>
                  </a:lnTo>
                  <a:lnTo>
                    <a:pt x="2901960" y="557520"/>
                  </a:lnTo>
                  <a:lnTo>
                    <a:pt x="2882900" y="557520"/>
                  </a:lnTo>
                  <a:lnTo>
                    <a:pt x="2873372" y="557520"/>
                  </a:lnTo>
                  <a:lnTo>
                    <a:pt x="2868604" y="562284"/>
                  </a:lnTo>
                  <a:lnTo>
                    <a:pt x="2868604" y="567050"/>
                  </a:lnTo>
                  <a:lnTo>
                    <a:pt x="2873372" y="576580"/>
                  </a:lnTo>
                  <a:lnTo>
                    <a:pt x="2878136" y="586110"/>
                  </a:lnTo>
                  <a:lnTo>
                    <a:pt x="2878136" y="595640"/>
                  </a:lnTo>
                  <a:lnTo>
                    <a:pt x="2882900" y="600406"/>
                  </a:lnTo>
                  <a:lnTo>
                    <a:pt x="2892432" y="609936"/>
                  </a:lnTo>
                  <a:lnTo>
                    <a:pt x="2892432" y="614700"/>
                  </a:lnTo>
                  <a:lnTo>
                    <a:pt x="2892432" y="628996"/>
                  </a:lnTo>
                  <a:lnTo>
                    <a:pt x="2887668" y="633762"/>
                  </a:lnTo>
                  <a:lnTo>
                    <a:pt x="2887668" y="638526"/>
                  </a:lnTo>
                  <a:lnTo>
                    <a:pt x="2892432" y="652822"/>
                  </a:lnTo>
                  <a:lnTo>
                    <a:pt x="2901960" y="667118"/>
                  </a:lnTo>
                  <a:lnTo>
                    <a:pt x="2906728" y="671882"/>
                  </a:lnTo>
                  <a:lnTo>
                    <a:pt x="2906728" y="700474"/>
                  </a:lnTo>
                  <a:lnTo>
                    <a:pt x="2911492" y="710004"/>
                  </a:lnTo>
                  <a:lnTo>
                    <a:pt x="2911492" y="724298"/>
                  </a:lnTo>
                  <a:lnTo>
                    <a:pt x="2911492" y="752890"/>
                  </a:lnTo>
                  <a:lnTo>
                    <a:pt x="2911492" y="762420"/>
                  </a:lnTo>
                  <a:lnTo>
                    <a:pt x="2916256" y="762420"/>
                  </a:lnTo>
                  <a:lnTo>
                    <a:pt x="2925788" y="762420"/>
                  </a:lnTo>
                  <a:lnTo>
                    <a:pt x="2930552" y="767184"/>
                  </a:lnTo>
                  <a:lnTo>
                    <a:pt x="2935316" y="771950"/>
                  </a:lnTo>
                  <a:lnTo>
                    <a:pt x="2935316" y="776716"/>
                  </a:lnTo>
                  <a:lnTo>
                    <a:pt x="2925788" y="786246"/>
                  </a:lnTo>
                  <a:lnTo>
                    <a:pt x="2921024" y="795776"/>
                  </a:lnTo>
                  <a:lnTo>
                    <a:pt x="2921024" y="810072"/>
                  </a:lnTo>
                  <a:lnTo>
                    <a:pt x="2916256" y="814836"/>
                  </a:lnTo>
                  <a:lnTo>
                    <a:pt x="2906728" y="829132"/>
                  </a:lnTo>
                  <a:lnTo>
                    <a:pt x="2901960" y="843426"/>
                  </a:lnTo>
                  <a:lnTo>
                    <a:pt x="2897196" y="857722"/>
                  </a:lnTo>
                  <a:lnTo>
                    <a:pt x="2901960" y="862488"/>
                  </a:lnTo>
                  <a:lnTo>
                    <a:pt x="2916256" y="862488"/>
                  </a:lnTo>
                  <a:lnTo>
                    <a:pt x="2925788" y="872018"/>
                  </a:lnTo>
                  <a:lnTo>
                    <a:pt x="2954376" y="886314"/>
                  </a:lnTo>
                  <a:lnTo>
                    <a:pt x="2959144" y="895844"/>
                  </a:lnTo>
                  <a:lnTo>
                    <a:pt x="2949612" y="905374"/>
                  </a:lnTo>
                  <a:lnTo>
                    <a:pt x="2949612" y="910138"/>
                  </a:lnTo>
                  <a:lnTo>
                    <a:pt x="2954376" y="914904"/>
                  </a:lnTo>
                  <a:lnTo>
                    <a:pt x="2954376" y="924434"/>
                  </a:lnTo>
                  <a:lnTo>
                    <a:pt x="2954376" y="933964"/>
                  </a:lnTo>
                  <a:lnTo>
                    <a:pt x="2954376" y="948260"/>
                  </a:lnTo>
                  <a:lnTo>
                    <a:pt x="2959144" y="953024"/>
                  </a:lnTo>
                  <a:lnTo>
                    <a:pt x="2978204" y="962556"/>
                  </a:lnTo>
                  <a:lnTo>
                    <a:pt x="2987732" y="976850"/>
                  </a:lnTo>
                  <a:lnTo>
                    <a:pt x="2987732" y="981616"/>
                  </a:lnTo>
                  <a:lnTo>
                    <a:pt x="2982968" y="991146"/>
                  </a:lnTo>
                  <a:lnTo>
                    <a:pt x="2987732" y="1005442"/>
                  </a:lnTo>
                  <a:lnTo>
                    <a:pt x="2982968" y="1005442"/>
                  </a:lnTo>
                  <a:lnTo>
                    <a:pt x="2978204" y="1000676"/>
                  </a:lnTo>
                  <a:lnTo>
                    <a:pt x="2968672" y="1000676"/>
                  </a:lnTo>
                  <a:lnTo>
                    <a:pt x="2959144" y="1000676"/>
                  </a:lnTo>
                  <a:lnTo>
                    <a:pt x="2954376" y="1005442"/>
                  </a:lnTo>
                  <a:lnTo>
                    <a:pt x="2944848" y="1014972"/>
                  </a:lnTo>
                  <a:lnTo>
                    <a:pt x="2925788" y="1024502"/>
                  </a:lnTo>
                  <a:lnTo>
                    <a:pt x="2916256" y="1034032"/>
                  </a:lnTo>
                  <a:lnTo>
                    <a:pt x="2911492" y="1038798"/>
                  </a:lnTo>
                  <a:lnTo>
                    <a:pt x="2901960" y="1038798"/>
                  </a:lnTo>
                  <a:lnTo>
                    <a:pt x="2897196" y="1034032"/>
                  </a:lnTo>
                  <a:lnTo>
                    <a:pt x="2897196" y="1024502"/>
                  </a:lnTo>
                  <a:lnTo>
                    <a:pt x="2897196" y="995912"/>
                  </a:lnTo>
                  <a:lnTo>
                    <a:pt x="2897196" y="986380"/>
                  </a:lnTo>
                  <a:lnTo>
                    <a:pt x="2887668" y="976850"/>
                  </a:lnTo>
                  <a:lnTo>
                    <a:pt x="2882900" y="976850"/>
                  </a:lnTo>
                  <a:lnTo>
                    <a:pt x="2873372" y="972086"/>
                  </a:lnTo>
                  <a:lnTo>
                    <a:pt x="2868604" y="972086"/>
                  </a:lnTo>
                  <a:lnTo>
                    <a:pt x="2854312" y="981616"/>
                  </a:lnTo>
                  <a:lnTo>
                    <a:pt x="2840016" y="991146"/>
                  </a:lnTo>
                  <a:lnTo>
                    <a:pt x="2816188" y="991146"/>
                  </a:lnTo>
                  <a:lnTo>
                    <a:pt x="2797128" y="986380"/>
                  </a:lnTo>
                  <a:lnTo>
                    <a:pt x="2792364" y="986380"/>
                  </a:lnTo>
                  <a:lnTo>
                    <a:pt x="2759008" y="972086"/>
                  </a:lnTo>
                  <a:lnTo>
                    <a:pt x="2749476" y="972086"/>
                  </a:lnTo>
                  <a:lnTo>
                    <a:pt x="2739948" y="967320"/>
                  </a:lnTo>
                  <a:lnTo>
                    <a:pt x="2725652" y="962556"/>
                  </a:lnTo>
                  <a:lnTo>
                    <a:pt x="2697060" y="972086"/>
                  </a:lnTo>
                  <a:lnTo>
                    <a:pt x="2687532" y="967320"/>
                  </a:lnTo>
                  <a:lnTo>
                    <a:pt x="2673236" y="962556"/>
                  </a:lnTo>
                  <a:lnTo>
                    <a:pt x="2668472" y="962556"/>
                  </a:lnTo>
                  <a:lnTo>
                    <a:pt x="2654176" y="986380"/>
                  </a:lnTo>
                  <a:lnTo>
                    <a:pt x="2625584" y="1010206"/>
                  </a:lnTo>
                  <a:lnTo>
                    <a:pt x="2606524" y="1014972"/>
                  </a:lnTo>
                  <a:lnTo>
                    <a:pt x="2601760" y="991146"/>
                  </a:lnTo>
                  <a:lnTo>
                    <a:pt x="2596992" y="981616"/>
                  </a:lnTo>
                  <a:lnTo>
                    <a:pt x="2592228" y="976850"/>
                  </a:lnTo>
                  <a:lnTo>
                    <a:pt x="2582696" y="976850"/>
                  </a:lnTo>
                  <a:lnTo>
                    <a:pt x="2577932" y="976850"/>
                  </a:lnTo>
                  <a:lnTo>
                    <a:pt x="2563636" y="995912"/>
                  </a:lnTo>
                  <a:lnTo>
                    <a:pt x="2535048" y="1005442"/>
                  </a:lnTo>
                  <a:lnTo>
                    <a:pt x="2511220" y="1010206"/>
                  </a:lnTo>
                  <a:lnTo>
                    <a:pt x="2477864" y="1014972"/>
                  </a:lnTo>
                  <a:lnTo>
                    <a:pt x="2449276" y="1019736"/>
                  </a:lnTo>
                  <a:lnTo>
                    <a:pt x="2439744" y="1019736"/>
                  </a:lnTo>
                  <a:lnTo>
                    <a:pt x="2411152" y="1019736"/>
                  </a:lnTo>
                  <a:lnTo>
                    <a:pt x="2392092" y="1014972"/>
                  </a:lnTo>
                  <a:lnTo>
                    <a:pt x="2368268" y="1014972"/>
                  </a:lnTo>
                  <a:lnTo>
                    <a:pt x="2349208" y="1014972"/>
                  </a:lnTo>
                  <a:lnTo>
                    <a:pt x="2311084" y="1034032"/>
                  </a:lnTo>
                  <a:lnTo>
                    <a:pt x="2244376" y="1067388"/>
                  </a:lnTo>
                  <a:lnTo>
                    <a:pt x="2191956" y="1086448"/>
                  </a:lnTo>
                  <a:lnTo>
                    <a:pt x="2163368" y="1091214"/>
                  </a:lnTo>
                  <a:lnTo>
                    <a:pt x="2139540" y="1095978"/>
                  </a:lnTo>
                  <a:lnTo>
                    <a:pt x="2101420" y="1095978"/>
                  </a:lnTo>
                  <a:lnTo>
                    <a:pt x="2068064" y="1095978"/>
                  </a:lnTo>
                  <a:lnTo>
                    <a:pt x="2049004" y="1095978"/>
                  </a:lnTo>
                  <a:lnTo>
                    <a:pt x="2034708" y="1091214"/>
                  </a:lnTo>
                  <a:lnTo>
                    <a:pt x="2020412" y="1076918"/>
                  </a:lnTo>
                  <a:lnTo>
                    <a:pt x="1996588" y="1062622"/>
                  </a:lnTo>
                  <a:lnTo>
                    <a:pt x="1987056" y="1057858"/>
                  </a:lnTo>
                  <a:lnTo>
                    <a:pt x="1977528" y="1053092"/>
                  </a:lnTo>
                  <a:lnTo>
                    <a:pt x="1958468" y="1053092"/>
                  </a:lnTo>
                  <a:lnTo>
                    <a:pt x="1915580" y="1076918"/>
                  </a:lnTo>
                  <a:lnTo>
                    <a:pt x="1901284" y="1081684"/>
                  </a:lnTo>
                  <a:lnTo>
                    <a:pt x="1882224" y="1086448"/>
                  </a:lnTo>
                  <a:lnTo>
                    <a:pt x="1853632" y="1095978"/>
                  </a:lnTo>
                  <a:lnTo>
                    <a:pt x="1839340" y="1105508"/>
                  </a:lnTo>
                  <a:lnTo>
                    <a:pt x="1825044" y="1105508"/>
                  </a:lnTo>
                  <a:lnTo>
                    <a:pt x="1801216" y="1100744"/>
                  </a:lnTo>
                  <a:lnTo>
                    <a:pt x="1782156" y="1100744"/>
                  </a:lnTo>
                  <a:lnTo>
                    <a:pt x="1767860" y="1091214"/>
                  </a:lnTo>
                  <a:lnTo>
                    <a:pt x="1763096" y="1081684"/>
                  </a:lnTo>
                  <a:lnTo>
                    <a:pt x="1739272" y="1076918"/>
                  </a:lnTo>
                  <a:lnTo>
                    <a:pt x="1720212" y="1072152"/>
                  </a:lnTo>
                  <a:lnTo>
                    <a:pt x="1715444" y="1076918"/>
                  </a:lnTo>
                  <a:lnTo>
                    <a:pt x="1710680" y="1091214"/>
                  </a:lnTo>
                  <a:lnTo>
                    <a:pt x="1701148" y="1129334"/>
                  </a:lnTo>
                  <a:lnTo>
                    <a:pt x="1701148" y="1138864"/>
                  </a:lnTo>
                  <a:lnTo>
                    <a:pt x="1715444" y="1176986"/>
                  </a:lnTo>
                  <a:lnTo>
                    <a:pt x="1715444" y="1181750"/>
                  </a:lnTo>
                  <a:lnTo>
                    <a:pt x="1705916" y="1186516"/>
                  </a:lnTo>
                  <a:lnTo>
                    <a:pt x="1691620" y="1186516"/>
                  </a:lnTo>
                  <a:lnTo>
                    <a:pt x="1682088" y="1191282"/>
                  </a:lnTo>
                  <a:lnTo>
                    <a:pt x="1672560" y="1196046"/>
                  </a:lnTo>
                  <a:lnTo>
                    <a:pt x="1667792" y="1229402"/>
                  </a:lnTo>
                  <a:lnTo>
                    <a:pt x="1653500" y="1234168"/>
                  </a:lnTo>
                  <a:lnTo>
                    <a:pt x="1648732" y="1238932"/>
                  </a:lnTo>
                  <a:lnTo>
                    <a:pt x="1639204" y="1262758"/>
                  </a:lnTo>
                  <a:lnTo>
                    <a:pt x="1634436" y="1262758"/>
                  </a:lnTo>
                  <a:lnTo>
                    <a:pt x="1610612" y="1248462"/>
                  </a:lnTo>
                  <a:lnTo>
                    <a:pt x="1601080" y="1243698"/>
                  </a:lnTo>
                  <a:lnTo>
                    <a:pt x="1610612" y="1229402"/>
                  </a:lnTo>
                  <a:lnTo>
                    <a:pt x="1596316" y="1200812"/>
                  </a:lnTo>
                  <a:lnTo>
                    <a:pt x="1586788" y="1167456"/>
                  </a:lnTo>
                  <a:lnTo>
                    <a:pt x="1596316" y="1148396"/>
                  </a:lnTo>
                  <a:lnTo>
                    <a:pt x="1620144" y="1129334"/>
                  </a:lnTo>
                  <a:lnTo>
                    <a:pt x="1643968" y="1100744"/>
                  </a:lnTo>
                  <a:lnTo>
                    <a:pt x="1643968" y="1086448"/>
                  </a:lnTo>
                  <a:lnTo>
                    <a:pt x="1643968" y="1072152"/>
                  </a:lnTo>
                  <a:lnTo>
                    <a:pt x="1639204" y="1062622"/>
                  </a:lnTo>
                  <a:lnTo>
                    <a:pt x="1624908" y="1053092"/>
                  </a:lnTo>
                  <a:lnTo>
                    <a:pt x="1601080" y="1062622"/>
                  </a:lnTo>
                  <a:lnTo>
                    <a:pt x="1586788" y="1076918"/>
                  </a:lnTo>
                  <a:lnTo>
                    <a:pt x="1572492" y="1081684"/>
                  </a:lnTo>
                  <a:lnTo>
                    <a:pt x="1562960" y="1086448"/>
                  </a:lnTo>
                  <a:lnTo>
                    <a:pt x="1558196" y="1100744"/>
                  </a:lnTo>
                  <a:lnTo>
                    <a:pt x="1543900" y="1115040"/>
                  </a:lnTo>
                  <a:lnTo>
                    <a:pt x="1520076" y="1115040"/>
                  </a:lnTo>
                  <a:lnTo>
                    <a:pt x="1486720" y="1105508"/>
                  </a:lnTo>
                  <a:lnTo>
                    <a:pt x="1448596" y="1086448"/>
                  </a:lnTo>
                  <a:lnTo>
                    <a:pt x="1429536" y="1072152"/>
                  </a:lnTo>
                  <a:lnTo>
                    <a:pt x="1415240" y="1072152"/>
                  </a:lnTo>
                  <a:lnTo>
                    <a:pt x="1396180" y="1076918"/>
                  </a:lnTo>
                  <a:lnTo>
                    <a:pt x="1348532" y="1110274"/>
                  </a:lnTo>
                  <a:lnTo>
                    <a:pt x="1305644" y="1162690"/>
                  </a:lnTo>
                  <a:lnTo>
                    <a:pt x="1296112" y="1172220"/>
                  </a:lnTo>
                  <a:lnTo>
                    <a:pt x="1257992" y="1191282"/>
                  </a:lnTo>
                  <a:lnTo>
                    <a:pt x="1229400" y="1200812"/>
                  </a:lnTo>
                  <a:lnTo>
                    <a:pt x="1215108" y="1200812"/>
                  </a:lnTo>
                  <a:lnTo>
                    <a:pt x="1162692" y="1210342"/>
                  </a:lnTo>
                  <a:lnTo>
                    <a:pt x="1134100" y="1210342"/>
                  </a:lnTo>
                  <a:lnTo>
                    <a:pt x="1115040" y="1219872"/>
                  </a:lnTo>
                  <a:lnTo>
                    <a:pt x="1072152" y="1210342"/>
                  </a:lnTo>
                  <a:lnTo>
                    <a:pt x="1048328" y="1191282"/>
                  </a:lnTo>
                  <a:lnTo>
                    <a:pt x="1034032" y="1176986"/>
                  </a:lnTo>
                  <a:lnTo>
                    <a:pt x="1010208" y="1143630"/>
                  </a:lnTo>
                  <a:lnTo>
                    <a:pt x="995912" y="1124570"/>
                  </a:lnTo>
                  <a:lnTo>
                    <a:pt x="957788" y="1110274"/>
                  </a:lnTo>
                  <a:lnTo>
                    <a:pt x="891078" y="1072152"/>
                  </a:lnTo>
                  <a:lnTo>
                    <a:pt x="872018" y="1067388"/>
                  </a:lnTo>
                  <a:lnTo>
                    <a:pt x="829132" y="1062622"/>
                  </a:lnTo>
                  <a:lnTo>
                    <a:pt x="781480" y="1062622"/>
                  </a:lnTo>
                  <a:lnTo>
                    <a:pt x="767184" y="1072152"/>
                  </a:lnTo>
                  <a:lnTo>
                    <a:pt x="767184" y="1129334"/>
                  </a:lnTo>
                  <a:lnTo>
                    <a:pt x="757654" y="1143630"/>
                  </a:lnTo>
                  <a:lnTo>
                    <a:pt x="752890" y="1167456"/>
                  </a:lnTo>
                  <a:lnTo>
                    <a:pt x="748124" y="1176986"/>
                  </a:lnTo>
                  <a:lnTo>
                    <a:pt x="738594" y="1181750"/>
                  </a:lnTo>
                  <a:lnTo>
                    <a:pt x="724298" y="1172220"/>
                  </a:lnTo>
                  <a:lnTo>
                    <a:pt x="714768" y="1167456"/>
                  </a:lnTo>
                  <a:lnTo>
                    <a:pt x="690942" y="1181750"/>
                  </a:lnTo>
                  <a:lnTo>
                    <a:pt x="648056" y="1196046"/>
                  </a:lnTo>
                  <a:lnTo>
                    <a:pt x="628996" y="1200812"/>
                  </a:lnTo>
                  <a:lnTo>
                    <a:pt x="576580" y="1176986"/>
                  </a:lnTo>
                  <a:lnTo>
                    <a:pt x="557520" y="1167456"/>
                  </a:lnTo>
                  <a:lnTo>
                    <a:pt x="543224" y="1153160"/>
                  </a:lnTo>
                  <a:lnTo>
                    <a:pt x="543224" y="1129334"/>
                  </a:lnTo>
                  <a:lnTo>
                    <a:pt x="533694" y="1115040"/>
                  </a:lnTo>
                  <a:lnTo>
                    <a:pt x="533694" y="1105508"/>
                  </a:lnTo>
                  <a:lnTo>
                    <a:pt x="528928" y="1095978"/>
                  </a:lnTo>
                  <a:lnTo>
                    <a:pt x="519398" y="1091214"/>
                  </a:lnTo>
                  <a:lnTo>
                    <a:pt x="505102" y="1100744"/>
                  </a:lnTo>
                  <a:lnTo>
                    <a:pt x="495572" y="1100744"/>
                  </a:lnTo>
                  <a:lnTo>
                    <a:pt x="476512" y="1091214"/>
                  </a:lnTo>
                  <a:lnTo>
                    <a:pt x="443156" y="1072152"/>
                  </a:lnTo>
                  <a:lnTo>
                    <a:pt x="414566" y="1072152"/>
                  </a:lnTo>
                  <a:lnTo>
                    <a:pt x="395504" y="1095978"/>
                  </a:lnTo>
                  <a:lnTo>
                    <a:pt x="385974" y="1105508"/>
                  </a:lnTo>
                  <a:lnTo>
                    <a:pt x="371680" y="1105508"/>
                  </a:lnTo>
                  <a:lnTo>
                    <a:pt x="366914" y="1100744"/>
                  </a:lnTo>
                  <a:lnTo>
                    <a:pt x="381210" y="1081684"/>
                  </a:lnTo>
                  <a:lnTo>
                    <a:pt x="333558" y="1086448"/>
                  </a:lnTo>
                  <a:lnTo>
                    <a:pt x="314498" y="1100744"/>
                  </a:lnTo>
                  <a:lnTo>
                    <a:pt x="295438" y="1095978"/>
                  </a:lnTo>
                  <a:lnTo>
                    <a:pt x="281142" y="1091214"/>
                  </a:lnTo>
                  <a:lnTo>
                    <a:pt x="281142" y="1086448"/>
                  </a:lnTo>
                  <a:lnTo>
                    <a:pt x="295438" y="1081684"/>
                  </a:lnTo>
                  <a:lnTo>
                    <a:pt x="309732" y="1076918"/>
                  </a:lnTo>
                  <a:lnTo>
                    <a:pt x="357384" y="1072152"/>
                  </a:lnTo>
                  <a:lnTo>
                    <a:pt x="366914" y="1067388"/>
                  </a:lnTo>
                  <a:lnTo>
                    <a:pt x="381210" y="1048328"/>
                  </a:lnTo>
                  <a:lnTo>
                    <a:pt x="400270" y="1034032"/>
                  </a:lnTo>
                  <a:lnTo>
                    <a:pt x="405036" y="1029266"/>
                  </a:lnTo>
                  <a:lnTo>
                    <a:pt x="385974" y="1029266"/>
                  </a:lnTo>
                  <a:lnTo>
                    <a:pt x="314498" y="1034032"/>
                  </a:lnTo>
                  <a:lnTo>
                    <a:pt x="262082" y="1029266"/>
                  </a:lnTo>
                  <a:lnTo>
                    <a:pt x="257316" y="1038798"/>
                  </a:lnTo>
                  <a:lnTo>
                    <a:pt x="252550" y="1038798"/>
                  </a:lnTo>
                  <a:lnTo>
                    <a:pt x="247786" y="1019736"/>
                  </a:lnTo>
                  <a:lnTo>
                    <a:pt x="257316" y="1010206"/>
                  </a:lnTo>
                  <a:lnTo>
                    <a:pt x="266846" y="1010206"/>
                  </a:lnTo>
                  <a:lnTo>
                    <a:pt x="295438" y="1000676"/>
                  </a:lnTo>
                  <a:lnTo>
                    <a:pt x="290672" y="986380"/>
                  </a:lnTo>
                  <a:lnTo>
                    <a:pt x="271612" y="976850"/>
                  </a:lnTo>
                  <a:lnTo>
                    <a:pt x="266846" y="967320"/>
                  </a:lnTo>
                  <a:lnTo>
                    <a:pt x="257316" y="967320"/>
                  </a:lnTo>
                  <a:lnTo>
                    <a:pt x="243020" y="957790"/>
                  </a:lnTo>
                  <a:lnTo>
                    <a:pt x="243020" y="938730"/>
                  </a:lnTo>
                  <a:lnTo>
                    <a:pt x="233490" y="914904"/>
                  </a:lnTo>
                  <a:lnTo>
                    <a:pt x="219196" y="905374"/>
                  </a:lnTo>
                  <a:lnTo>
                    <a:pt x="223960" y="900608"/>
                  </a:lnTo>
                  <a:lnTo>
                    <a:pt x="243020" y="891078"/>
                  </a:lnTo>
                  <a:lnTo>
                    <a:pt x="247786" y="862488"/>
                  </a:lnTo>
                  <a:lnTo>
                    <a:pt x="247786" y="843426"/>
                  </a:lnTo>
                  <a:lnTo>
                    <a:pt x="233490" y="838662"/>
                  </a:lnTo>
                  <a:lnTo>
                    <a:pt x="200134" y="824366"/>
                  </a:lnTo>
                  <a:lnTo>
                    <a:pt x="190604" y="829132"/>
                  </a:lnTo>
                  <a:lnTo>
                    <a:pt x="181074" y="810072"/>
                  </a:lnTo>
                  <a:lnTo>
                    <a:pt x="162014" y="800540"/>
                  </a:lnTo>
                  <a:lnTo>
                    <a:pt x="152484" y="800540"/>
                  </a:lnTo>
                  <a:lnTo>
                    <a:pt x="142954" y="810072"/>
                  </a:lnTo>
                  <a:lnTo>
                    <a:pt x="138188" y="805306"/>
                  </a:lnTo>
                  <a:lnTo>
                    <a:pt x="119128" y="795776"/>
                  </a:lnTo>
                  <a:lnTo>
                    <a:pt x="104832" y="791010"/>
                  </a:lnTo>
                  <a:lnTo>
                    <a:pt x="100066" y="781480"/>
                  </a:lnTo>
                  <a:lnTo>
                    <a:pt x="109598" y="762420"/>
                  </a:lnTo>
                  <a:lnTo>
                    <a:pt x="119128" y="762420"/>
                  </a:lnTo>
                  <a:lnTo>
                    <a:pt x="119128" y="748124"/>
                  </a:lnTo>
                  <a:lnTo>
                    <a:pt x="114362" y="724298"/>
                  </a:lnTo>
                  <a:lnTo>
                    <a:pt x="114362" y="714768"/>
                  </a:lnTo>
                  <a:lnTo>
                    <a:pt x="123892" y="710004"/>
                  </a:lnTo>
                  <a:lnTo>
                    <a:pt x="133422" y="714768"/>
                  </a:lnTo>
                  <a:lnTo>
                    <a:pt x="142954" y="724298"/>
                  </a:lnTo>
                  <a:lnTo>
                    <a:pt x="147718" y="738594"/>
                  </a:lnTo>
                  <a:lnTo>
                    <a:pt x="147718" y="752890"/>
                  </a:lnTo>
                  <a:lnTo>
                    <a:pt x="152484" y="767184"/>
                  </a:lnTo>
                  <a:lnTo>
                    <a:pt x="157248" y="771950"/>
                  </a:lnTo>
                  <a:lnTo>
                    <a:pt x="162014" y="757654"/>
                  </a:lnTo>
                  <a:lnTo>
                    <a:pt x="166778" y="752890"/>
                  </a:lnTo>
                  <a:lnTo>
                    <a:pt x="176308" y="762420"/>
                  </a:lnTo>
                  <a:lnTo>
                    <a:pt x="190604" y="762420"/>
                  </a:lnTo>
                  <a:lnTo>
                    <a:pt x="223960" y="752890"/>
                  </a:lnTo>
                  <a:lnTo>
                    <a:pt x="233490" y="748124"/>
                  </a:lnTo>
                  <a:lnTo>
                    <a:pt x="204900" y="748124"/>
                  </a:lnTo>
                  <a:lnTo>
                    <a:pt x="195370" y="743360"/>
                  </a:lnTo>
                  <a:lnTo>
                    <a:pt x="185840" y="724298"/>
                  </a:lnTo>
                  <a:lnTo>
                    <a:pt x="176308" y="714768"/>
                  </a:lnTo>
                  <a:lnTo>
                    <a:pt x="176308" y="705238"/>
                  </a:lnTo>
                  <a:lnTo>
                    <a:pt x="171544" y="695708"/>
                  </a:lnTo>
                  <a:lnTo>
                    <a:pt x="176308" y="690942"/>
                  </a:lnTo>
                  <a:lnTo>
                    <a:pt x="195370" y="681412"/>
                  </a:lnTo>
                  <a:lnTo>
                    <a:pt x="214430" y="662352"/>
                  </a:lnTo>
                  <a:lnTo>
                    <a:pt x="204900" y="652822"/>
                  </a:lnTo>
                  <a:lnTo>
                    <a:pt x="195370" y="652822"/>
                  </a:lnTo>
                  <a:lnTo>
                    <a:pt x="190604" y="652822"/>
                  </a:lnTo>
                  <a:lnTo>
                    <a:pt x="181074" y="648056"/>
                  </a:lnTo>
                  <a:lnTo>
                    <a:pt x="181074" y="633762"/>
                  </a:lnTo>
                  <a:lnTo>
                    <a:pt x="185840" y="624232"/>
                  </a:lnTo>
                  <a:lnTo>
                    <a:pt x="185840" y="614700"/>
                  </a:lnTo>
                  <a:lnTo>
                    <a:pt x="166778" y="586110"/>
                  </a:lnTo>
                  <a:lnTo>
                    <a:pt x="162014" y="581346"/>
                  </a:lnTo>
                  <a:lnTo>
                    <a:pt x="166778" y="571814"/>
                  </a:lnTo>
                  <a:lnTo>
                    <a:pt x="181074" y="552754"/>
                  </a:lnTo>
                  <a:lnTo>
                    <a:pt x="195370" y="533694"/>
                  </a:lnTo>
                  <a:lnTo>
                    <a:pt x="195370" y="528928"/>
                  </a:lnTo>
                  <a:lnTo>
                    <a:pt x="181074" y="524164"/>
                  </a:lnTo>
                  <a:lnTo>
                    <a:pt x="128658" y="533694"/>
                  </a:lnTo>
                  <a:lnTo>
                    <a:pt x="109598" y="538458"/>
                  </a:lnTo>
                  <a:lnTo>
                    <a:pt x="71476" y="543224"/>
                  </a:lnTo>
                  <a:lnTo>
                    <a:pt x="66712" y="533694"/>
                  </a:lnTo>
                  <a:lnTo>
                    <a:pt x="71476" y="524164"/>
                  </a:lnTo>
                  <a:lnTo>
                    <a:pt x="76242" y="505104"/>
                  </a:lnTo>
                  <a:lnTo>
                    <a:pt x="76242" y="462216"/>
                  </a:lnTo>
                  <a:lnTo>
                    <a:pt x="81006" y="438392"/>
                  </a:lnTo>
                  <a:lnTo>
                    <a:pt x="104832" y="428862"/>
                  </a:lnTo>
                  <a:lnTo>
                    <a:pt x="128658" y="395506"/>
                  </a:lnTo>
                  <a:lnTo>
                    <a:pt x="166778" y="352620"/>
                  </a:lnTo>
                  <a:lnTo>
                    <a:pt x="214430" y="352620"/>
                  </a:lnTo>
                  <a:lnTo>
                    <a:pt x="228726" y="343088"/>
                  </a:lnTo>
                  <a:lnTo>
                    <a:pt x="252550" y="343088"/>
                  </a:lnTo>
                  <a:lnTo>
                    <a:pt x="257316" y="352620"/>
                  </a:lnTo>
                  <a:lnTo>
                    <a:pt x="262082" y="357384"/>
                  </a:lnTo>
                  <a:lnTo>
                    <a:pt x="285906" y="371680"/>
                  </a:lnTo>
                  <a:lnTo>
                    <a:pt x="324028" y="366914"/>
                  </a:lnTo>
                  <a:lnTo>
                    <a:pt x="333558" y="362150"/>
                  </a:lnTo>
                  <a:lnTo>
                    <a:pt x="343088" y="357384"/>
                  </a:lnTo>
                  <a:lnTo>
                    <a:pt x="324028" y="338324"/>
                  </a:lnTo>
                  <a:lnTo>
                    <a:pt x="328792" y="333558"/>
                  </a:lnTo>
                  <a:lnTo>
                    <a:pt x="347854" y="328794"/>
                  </a:lnTo>
                  <a:lnTo>
                    <a:pt x="362148" y="338324"/>
                  </a:lnTo>
                  <a:lnTo>
                    <a:pt x="366914" y="338324"/>
                  </a:lnTo>
                  <a:lnTo>
                    <a:pt x="362148" y="347854"/>
                  </a:lnTo>
                  <a:lnTo>
                    <a:pt x="357384" y="357384"/>
                  </a:lnTo>
                  <a:lnTo>
                    <a:pt x="362148" y="362150"/>
                  </a:lnTo>
                  <a:lnTo>
                    <a:pt x="409800" y="352620"/>
                  </a:lnTo>
                  <a:lnTo>
                    <a:pt x="466982" y="357384"/>
                  </a:lnTo>
                  <a:lnTo>
                    <a:pt x="481278" y="357384"/>
                  </a:lnTo>
                  <a:lnTo>
                    <a:pt x="524164" y="357384"/>
                  </a:lnTo>
                  <a:lnTo>
                    <a:pt x="528928" y="347854"/>
                  </a:lnTo>
                  <a:lnTo>
                    <a:pt x="519398" y="338324"/>
                  </a:lnTo>
                  <a:lnTo>
                    <a:pt x="505102" y="338324"/>
                  </a:lnTo>
                  <a:lnTo>
                    <a:pt x="495572" y="333558"/>
                  </a:lnTo>
                  <a:lnTo>
                    <a:pt x="490808" y="328794"/>
                  </a:lnTo>
                  <a:lnTo>
                    <a:pt x="514632" y="304968"/>
                  </a:lnTo>
                  <a:lnTo>
                    <a:pt x="528928" y="304968"/>
                  </a:lnTo>
                  <a:lnTo>
                    <a:pt x="600406" y="290672"/>
                  </a:lnTo>
                  <a:lnTo>
                    <a:pt x="652822" y="285908"/>
                  </a:lnTo>
                  <a:lnTo>
                    <a:pt x="652822" y="281142"/>
                  </a:lnTo>
                  <a:lnTo>
                    <a:pt x="648056" y="281142"/>
                  </a:lnTo>
                  <a:lnTo>
                    <a:pt x="581344" y="271612"/>
                  </a:lnTo>
                  <a:lnTo>
                    <a:pt x="562284" y="262082"/>
                  </a:lnTo>
                  <a:lnTo>
                    <a:pt x="538458" y="243022"/>
                  </a:lnTo>
                  <a:lnTo>
                    <a:pt x="533694" y="238256"/>
                  </a:lnTo>
                  <a:lnTo>
                    <a:pt x="528928" y="228726"/>
                  </a:lnTo>
                  <a:lnTo>
                    <a:pt x="533694" y="209666"/>
                  </a:lnTo>
                  <a:lnTo>
                    <a:pt x="538458" y="195370"/>
                  </a:lnTo>
                  <a:lnTo>
                    <a:pt x="547988" y="185840"/>
                  </a:lnTo>
                  <a:lnTo>
                    <a:pt x="571814" y="181074"/>
                  </a:lnTo>
                  <a:lnTo>
                    <a:pt x="667116" y="200136"/>
                  </a:lnTo>
                  <a:lnTo>
                    <a:pt x="733828" y="190604"/>
                  </a:lnTo>
                  <a:lnTo>
                    <a:pt x="805306" y="214430"/>
                  </a:lnTo>
                  <a:lnTo>
                    <a:pt x="872018" y="209666"/>
                  </a:lnTo>
                  <a:lnTo>
                    <a:pt x="891078" y="195370"/>
                  </a:lnTo>
                  <a:lnTo>
                    <a:pt x="905374" y="162014"/>
                  </a:lnTo>
                  <a:lnTo>
                    <a:pt x="1005440" y="109598"/>
                  </a:lnTo>
                  <a:lnTo>
                    <a:pt x="1038796" y="76242"/>
                  </a:lnTo>
                  <a:lnTo>
                    <a:pt x="1076916" y="61946"/>
                  </a:lnTo>
                  <a:lnTo>
                    <a:pt x="1138864" y="42886"/>
                  </a:lnTo>
                  <a:lnTo>
                    <a:pt x="1191280" y="19060"/>
                  </a:lnTo>
                  <a:lnTo>
                    <a:pt x="1205576" y="19060"/>
                  </a:lnTo>
                  <a:lnTo>
                    <a:pt x="1334236" y="28590"/>
                  </a:lnTo>
                  <a:lnTo>
                    <a:pt x="1420008" y="28590"/>
                  </a:lnTo>
                  <a:close/>
                  <a:moveTo>
                    <a:pt x="247786" y="0"/>
                  </a:moveTo>
                  <a:lnTo>
                    <a:pt x="257316" y="4766"/>
                  </a:lnTo>
                  <a:lnTo>
                    <a:pt x="266846" y="14296"/>
                  </a:lnTo>
                  <a:lnTo>
                    <a:pt x="285906" y="33356"/>
                  </a:lnTo>
                  <a:lnTo>
                    <a:pt x="295436" y="38120"/>
                  </a:lnTo>
                  <a:lnTo>
                    <a:pt x="300202" y="38120"/>
                  </a:lnTo>
                  <a:lnTo>
                    <a:pt x="314498" y="28590"/>
                  </a:lnTo>
                  <a:lnTo>
                    <a:pt x="324028" y="28590"/>
                  </a:lnTo>
                  <a:lnTo>
                    <a:pt x="333558" y="33356"/>
                  </a:lnTo>
                  <a:lnTo>
                    <a:pt x="338324" y="23826"/>
                  </a:lnTo>
                  <a:lnTo>
                    <a:pt x="347854" y="23826"/>
                  </a:lnTo>
                  <a:lnTo>
                    <a:pt x="366914" y="28590"/>
                  </a:lnTo>
                  <a:lnTo>
                    <a:pt x="362148" y="52416"/>
                  </a:lnTo>
                  <a:lnTo>
                    <a:pt x="371678" y="76242"/>
                  </a:lnTo>
                  <a:lnTo>
                    <a:pt x="395504" y="114364"/>
                  </a:lnTo>
                  <a:lnTo>
                    <a:pt x="419330" y="133424"/>
                  </a:lnTo>
                  <a:lnTo>
                    <a:pt x="514632" y="181074"/>
                  </a:lnTo>
                  <a:lnTo>
                    <a:pt x="528928" y="181074"/>
                  </a:lnTo>
                  <a:lnTo>
                    <a:pt x="528928" y="200136"/>
                  </a:lnTo>
                  <a:lnTo>
                    <a:pt x="519398" y="219196"/>
                  </a:lnTo>
                  <a:lnTo>
                    <a:pt x="514632" y="228726"/>
                  </a:lnTo>
                  <a:lnTo>
                    <a:pt x="486042" y="233492"/>
                  </a:lnTo>
                  <a:lnTo>
                    <a:pt x="414566" y="214430"/>
                  </a:lnTo>
                  <a:lnTo>
                    <a:pt x="390740" y="214430"/>
                  </a:lnTo>
                  <a:lnTo>
                    <a:pt x="381210" y="219196"/>
                  </a:lnTo>
                  <a:lnTo>
                    <a:pt x="352618" y="233492"/>
                  </a:lnTo>
                  <a:lnTo>
                    <a:pt x="324028" y="228726"/>
                  </a:lnTo>
                  <a:lnTo>
                    <a:pt x="285906" y="233492"/>
                  </a:lnTo>
                  <a:lnTo>
                    <a:pt x="276376" y="262082"/>
                  </a:lnTo>
                  <a:lnTo>
                    <a:pt x="252550" y="295438"/>
                  </a:lnTo>
                  <a:lnTo>
                    <a:pt x="204900" y="319264"/>
                  </a:lnTo>
                  <a:lnTo>
                    <a:pt x="176308" y="333558"/>
                  </a:lnTo>
                  <a:lnTo>
                    <a:pt x="128658" y="381210"/>
                  </a:lnTo>
                  <a:lnTo>
                    <a:pt x="104832" y="409800"/>
                  </a:lnTo>
                  <a:lnTo>
                    <a:pt x="95302" y="414566"/>
                  </a:lnTo>
                  <a:lnTo>
                    <a:pt x="85772" y="419332"/>
                  </a:lnTo>
                  <a:lnTo>
                    <a:pt x="90536" y="405036"/>
                  </a:lnTo>
                  <a:lnTo>
                    <a:pt x="95302" y="395506"/>
                  </a:lnTo>
                  <a:lnTo>
                    <a:pt x="95302" y="385976"/>
                  </a:lnTo>
                  <a:lnTo>
                    <a:pt x="95302" y="371680"/>
                  </a:lnTo>
                  <a:lnTo>
                    <a:pt x="109598" y="357384"/>
                  </a:lnTo>
                  <a:lnTo>
                    <a:pt x="123892" y="343088"/>
                  </a:lnTo>
                  <a:lnTo>
                    <a:pt x="166778" y="324028"/>
                  </a:lnTo>
                  <a:lnTo>
                    <a:pt x="176308" y="309734"/>
                  </a:lnTo>
                  <a:lnTo>
                    <a:pt x="142954" y="309734"/>
                  </a:lnTo>
                  <a:lnTo>
                    <a:pt x="109598" y="309734"/>
                  </a:lnTo>
                  <a:lnTo>
                    <a:pt x="90536" y="309734"/>
                  </a:lnTo>
                  <a:lnTo>
                    <a:pt x="71476" y="309734"/>
                  </a:lnTo>
                  <a:lnTo>
                    <a:pt x="61946" y="295438"/>
                  </a:lnTo>
                  <a:lnTo>
                    <a:pt x="61946" y="285908"/>
                  </a:lnTo>
                  <a:lnTo>
                    <a:pt x="66712" y="285908"/>
                  </a:lnTo>
                  <a:lnTo>
                    <a:pt x="71476" y="281142"/>
                  </a:lnTo>
                  <a:lnTo>
                    <a:pt x="81006" y="266848"/>
                  </a:lnTo>
                  <a:lnTo>
                    <a:pt x="90536" y="252552"/>
                  </a:lnTo>
                  <a:lnTo>
                    <a:pt x="104832" y="238256"/>
                  </a:lnTo>
                  <a:lnTo>
                    <a:pt x="109598" y="228726"/>
                  </a:lnTo>
                  <a:lnTo>
                    <a:pt x="109598" y="223960"/>
                  </a:lnTo>
                  <a:lnTo>
                    <a:pt x="104832" y="214430"/>
                  </a:lnTo>
                  <a:lnTo>
                    <a:pt x="104832" y="209666"/>
                  </a:lnTo>
                  <a:lnTo>
                    <a:pt x="104832" y="200136"/>
                  </a:lnTo>
                  <a:lnTo>
                    <a:pt x="104832" y="181074"/>
                  </a:lnTo>
                  <a:lnTo>
                    <a:pt x="138188" y="157250"/>
                  </a:lnTo>
                  <a:lnTo>
                    <a:pt x="147718" y="157250"/>
                  </a:lnTo>
                  <a:lnTo>
                    <a:pt x="152484" y="147718"/>
                  </a:lnTo>
                  <a:lnTo>
                    <a:pt x="147718" y="123894"/>
                  </a:lnTo>
                  <a:lnTo>
                    <a:pt x="142954" y="104832"/>
                  </a:lnTo>
                  <a:lnTo>
                    <a:pt x="138188" y="104832"/>
                  </a:lnTo>
                  <a:lnTo>
                    <a:pt x="133422" y="100068"/>
                  </a:lnTo>
                  <a:lnTo>
                    <a:pt x="123892" y="90538"/>
                  </a:lnTo>
                  <a:lnTo>
                    <a:pt x="119128" y="85772"/>
                  </a:lnTo>
                  <a:lnTo>
                    <a:pt x="104832" y="81008"/>
                  </a:lnTo>
                  <a:lnTo>
                    <a:pt x="104832" y="76242"/>
                  </a:lnTo>
                  <a:lnTo>
                    <a:pt x="104832" y="71476"/>
                  </a:lnTo>
                  <a:lnTo>
                    <a:pt x="109598" y="61946"/>
                  </a:lnTo>
                  <a:lnTo>
                    <a:pt x="133422" y="57182"/>
                  </a:lnTo>
                  <a:lnTo>
                    <a:pt x="138188" y="52416"/>
                  </a:lnTo>
                  <a:lnTo>
                    <a:pt x="138188" y="42886"/>
                  </a:lnTo>
                  <a:lnTo>
                    <a:pt x="142954" y="33356"/>
                  </a:lnTo>
                  <a:lnTo>
                    <a:pt x="152484" y="28590"/>
                  </a:lnTo>
                  <a:lnTo>
                    <a:pt x="162014" y="28590"/>
                  </a:lnTo>
                  <a:lnTo>
                    <a:pt x="181074" y="28590"/>
                  </a:lnTo>
                  <a:lnTo>
                    <a:pt x="190604" y="23826"/>
                  </a:lnTo>
                  <a:lnTo>
                    <a:pt x="204900" y="14296"/>
                  </a:lnTo>
                  <a:lnTo>
                    <a:pt x="209664" y="9530"/>
                  </a:lnTo>
                  <a:lnTo>
                    <a:pt x="238256" y="476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0" name="Freeform 358">
              <a:extLst>
                <a:ext uri="{FF2B5EF4-FFF2-40B4-BE49-F238E27FC236}">
                  <a16:creationId xmlns:a16="http://schemas.microsoft.com/office/drawing/2014/main" id="{69D9C7A9-F443-4807-9B15-240E134E88E3}"/>
                </a:ext>
              </a:extLst>
            </p:cNvPr>
            <p:cNvSpPr/>
            <p:nvPr/>
          </p:nvSpPr>
          <p:spPr bwMode="auto">
            <a:xfrm>
              <a:off x="7158579" y="3801363"/>
              <a:ext cx="1544451" cy="1140126"/>
            </a:xfrm>
            <a:custGeom>
              <a:avLst/>
              <a:gdLst>
                <a:gd name="connsiteX0" fmla="*/ 5782480 w 9546932"/>
                <a:gd name="connsiteY0" fmla="*/ 6728358 h 7047620"/>
                <a:gd name="connsiteX1" fmla="*/ 5787244 w 9546932"/>
                <a:gd name="connsiteY1" fmla="*/ 6728358 h 7047620"/>
                <a:gd name="connsiteX2" fmla="*/ 5796776 w 9546932"/>
                <a:gd name="connsiteY2" fmla="*/ 6742654 h 7047620"/>
                <a:gd name="connsiteX3" fmla="*/ 5806308 w 9546932"/>
                <a:gd name="connsiteY3" fmla="*/ 6747418 h 7047620"/>
                <a:gd name="connsiteX4" fmla="*/ 5820600 w 9546932"/>
                <a:gd name="connsiteY4" fmla="*/ 6752184 h 7047620"/>
                <a:gd name="connsiteX5" fmla="*/ 5825368 w 9546932"/>
                <a:gd name="connsiteY5" fmla="*/ 6761714 h 7047620"/>
                <a:gd name="connsiteX6" fmla="*/ 5834896 w 9546932"/>
                <a:gd name="connsiteY6" fmla="*/ 6771244 h 7047620"/>
                <a:gd name="connsiteX7" fmla="*/ 5834896 w 9546932"/>
                <a:gd name="connsiteY7" fmla="*/ 6790304 h 7047620"/>
                <a:gd name="connsiteX8" fmla="*/ 5839660 w 9546932"/>
                <a:gd name="connsiteY8" fmla="*/ 6809366 h 7047620"/>
                <a:gd name="connsiteX9" fmla="*/ 5825368 w 9546932"/>
                <a:gd name="connsiteY9" fmla="*/ 6818896 h 7047620"/>
                <a:gd name="connsiteX10" fmla="*/ 5811072 w 9546932"/>
                <a:gd name="connsiteY10" fmla="*/ 6823660 h 7047620"/>
                <a:gd name="connsiteX11" fmla="*/ 5782480 w 9546932"/>
                <a:gd name="connsiteY11" fmla="*/ 6871312 h 7047620"/>
                <a:gd name="connsiteX12" fmla="*/ 5772952 w 9546932"/>
                <a:gd name="connsiteY12" fmla="*/ 6885606 h 7047620"/>
                <a:gd name="connsiteX13" fmla="*/ 5768184 w 9546932"/>
                <a:gd name="connsiteY13" fmla="*/ 6890372 h 7047620"/>
                <a:gd name="connsiteX14" fmla="*/ 5768184 w 9546932"/>
                <a:gd name="connsiteY14" fmla="*/ 6895138 h 7047620"/>
                <a:gd name="connsiteX15" fmla="*/ 5768184 w 9546932"/>
                <a:gd name="connsiteY15" fmla="*/ 6899902 h 7047620"/>
                <a:gd name="connsiteX16" fmla="*/ 5763420 w 9546932"/>
                <a:gd name="connsiteY16" fmla="*/ 6923728 h 7047620"/>
                <a:gd name="connsiteX17" fmla="*/ 5753888 w 9546932"/>
                <a:gd name="connsiteY17" fmla="*/ 6947554 h 7047620"/>
                <a:gd name="connsiteX18" fmla="*/ 5753888 w 9546932"/>
                <a:gd name="connsiteY18" fmla="*/ 6957084 h 7047620"/>
                <a:gd name="connsiteX19" fmla="*/ 5744360 w 9546932"/>
                <a:gd name="connsiteY19" fmla="*/ 6966614 h 7047620"/>
                <a:gd name="connsiteX20" fmla="*/ 5734828 w 9546932"/>
                <a:gd name="connsiteY20" fmla="*/ 6971380 h 7047620"/>
                <a:gd name="connsiteX21" fmla="*/ 5725300 w 9546932"/>
                <a:gd name="connsiteY21" fmla="*/ 6971380 h 7047620"/>
                <a:gd name="connsiteX22" fmla="*/ 5720532 w 9546932"/>
                <a:gd name="connsiteY22" fmla="*/ 6976144 h 7047620"/>
                <a:gd name="connsiteX23" fmla="*/ 5706240 w 9546932"/>
                <a:gd name="connsiteY23" fmla="*/ 6990440 h 7047620"/>
                <a:gd name="connsiteX24" fmla="*/ 5687176 w 9546932"/>
                <a:gd name="connsiteY24" fmla="*/ 6999970 h 7047620"/>
                <a:gd name="connsiteX25" fmla="*/ 5691944 w 9546932"/>
                <a:gd name="connsiteY25" fmla="*/ 7004734 h 7047620"/>
                <a:gd name="connsiteX26" fmla="*/ 5691944 w 9546932"/>
                <a:gd name="connsiteY26" fmla="*/ 7009500 h 7047620"/>
                <a:gd name="connsiteX27" fmla="*/ 5682412 w 9546932"/>
                <a:gd name="connsiteY27" fmla="*/ 7014266 h 7047620"/>
                <a:gd name="connsiteX28" fmla="*/ 5677648 w 9546932"/>
                <a:gd name="connsiteY28" fmla="*/ 7014266 h 7047620"/>
                <a:gd name="connsiteX29" fmla="*/ 5653820 w 9546932"/>
                <a:gd name="connsiteY29" fmla="*/ 7019030 h 7047620"/>
                <a:gd name="connsiteX30" fmla="*/ 5644292 w 9546932"/>
                <a:gd name="connsiteY30" fmla="*/ 7023796 h 7047620"/>
                <a:gd name="connsiteX31" fmla="*/ 5634760 w 9546932"/>
                <a:gd name="connsiteY31" fmla="*/ 7038090 h 7047620"/>
                <a:gd name="connsiteX32" fmla="*/ 5629996 w 9546932"/>
                <a:gd name="connsiteY32" fmla="*/ 7042856 h 7047620"/>
                <a:gd name="connsiteX33" fmla="*/ 5615700 w 9546932"/>
                <a:gd name="connsiteY33" fmla="*/ 7047620 h 7047620"/>
                <a:gd name="connsiteX34" fmla="*/ 5606172 w 9546932"/>
                <a:gd name="connsiteY34" fmla="*/ 7047620 h 7047620"/>
                <a:gd name="connsiteX35" fmla="*/ 5587112 w 9546932"/>
                <a:gd name="connsiteY35" fmla="*/ 7038090 h 7047620"/>
                <a:gd name="connsiteX36" fmla="*/ 5577580 w 9546932"/>
                <a:gd name="connsiteY36" fmla="*/ 7033326 h 7047620"/>
                <a:gd name="connsiteX37" fmla="*/ 5553756 w 9546932"/>
                <a:gd name="connsiteY37" fmla="*/ 7028560 h 7047620"/>
                <a:gd name="connsiteX38" fmla="*/ 5529928 w 9546932"/>
                <a:gd name="connsiteY38" fmla="*/ 7023796 h 7047620"/>
                <a:gd name="connsiteX39" fmla="*/ 5510868 w 9546932"/>
                <a:gd name="connsiteY39" fmla="*/ 7014266 h 7047620"/>
                <a:gd name="connsiteX40" fmla="*/ 5477512 w 9546932"/>
                <a:gd name="connsiteY40" fmla="*/ 6995204 h 7047620"/>
                <a:gd name="connsiteX41" fmla="*/ 5472748 w 9546932"/>
                <a:gd name="connsiteY41" fmla="*/ 6957084 h 7047620"/>
                <a:gd name="connsiteX42" fmla="*/ 5467980 w 9546932"/>
                <a:gd name="connsiteY42" fmla="*/ 6938024 h 7047620"/>
                <a:gd name="connsiteX43" fmla="*/ 5467980 w 9546932"/>
                <a:gd name="connsiteY43" fmla="*/ 6933258 h 7047620"/>
                <a:gd name="connsiteX44" fmla="*/ 5467980 w 9546932"/>
                <a:gd name="connsiteY44" fmla="*/ 6876076 h 7047620"/>
                <a:gd name="connsiteX45" fmla="*/ 5472748 w 9546932"/>
                <a:gd name="connsiteY45" fmla="*/ 6866546 h 7047620"/>
                <a:gd name="connsiteX46" fmla="*/ 5477512 w 9546932"/>
                <a:gd name="connsiteY46" fmla="*/ 6861782 h 7047620"/>
                <a:gd name="connsiteX47" fmla="*/ 5491808 w 9546932"/>
                <a:gd name="connsiteY47" fmla="*/ 6847486 h 7047620"/>
                <a:gd name="connsiteX48" fmla="*/ 5510868 w 9546932"/>
                <a:gd name="connsiteY48" fmla="*/ 6837956 h 7047620"/>
                <a:gd name="connsiteX49" fmla="*/ 5534692 w 9546932"/>
                <a:gd name="connsiteY49" fmla="*/ 6814130 h 7047620"/>
                <a:gd name="connsiteX50" fmla="*/ 5553756 w 9546932"/>
                <a:gd name="connsiteY50" fmla="*/ 6804600 h 7047620"/>
                <a:gd name="connsiteX51" fmla="*/ 5568048 w 9546932"/>
                <a:gd name="connsiteY51" fmla="*/ 6790304 h 7047620"/>
                <a:gd name="connsiteX52" fmla="*/ 5558520 w 9546932"/>
                <a:gd name="connsiteY52" fmla="*/ 6790304 h 7047620"/>
                <a:gd name="connsiteX53" fmla="*/ 5553756 w 9546932"/>
                <a:gd name="connsiteY53" fmla="*/ 6790304 h 7047620"/>
                <a:gd name="connsiteX54" fmla="*/ 5558520 w 9546932"/>
                <a:gd name="connsiteY54" fmla="*/ 6776010 h 7047620"/>
                <a:gd name="connsiteX55" fmla="*/ 5563284 w 9546932"/>
                <a:gd name="connsiteY55" fmla="*/ 6771244 h 7047620"/>
                <a:gd name="connsiteX56" fmla="*/ 5572816 w 9546932"/>
                <a:gd name="connsiteY56" fmla="*/ 6766478 h 7047620"/>
                <a:gd name="connsiteX57" fmla="*/ 5591876 w 9546932"/>
                <a:gd name="connsiteY57" fmla="*/ 6771244 h 7047620"/>
                <a:gd name="connsiteX58" fmla="*/ 5606172 w 9546932"/>
                <a:gd name="connsiteY58" fmla="*/ 6766478 h 7047620"/>
                <a:gd name="connsiteX59" fmla="*/ 5615700 w 9546932"/>
                <a:gd name="connsiteY59" fmla="*/ 6756948 h 7047620"/>
                <a:gd name="connsiteX60" fmla="*/ 5625232 w 9546932"/>
                <a:gd name="connsiteY60" fmla="*/ 6756948 h 7047620"/>
                <a:gd name="connsiteX61" fmla="*/ 5668116 w 9546932"/>
                <a:gd name="connsiteY61" fmla="*/ 6756948 h 7047620"/>
                <a:gd name="connsiteX62" fmla="*/ 5691944 w 9546932"/>
                <a:gd name="connsiteY62" fmla="*/ 6752184 h 7047620"/>
                <a:gd name="connsiteX63" fmla="*/ 5706240 w 9546932"/>
                <a:gd name="connsiteY63" fmla="*/ 6742654 h 7047620"/>
                <a:gd name="connsiteX64" fmla="*/ 5715768 w 9546932"/>
                <a:gd name="connsiteY64" fmla="*/ 6742654 h 7047620"/>
                <a:gd name="connsiteX65" fmla="*/ 5734828 w 9546932"/>
                <a:gd name="connsiteY65" fmla="*/ 6747418 h 7047620"/>
                <a:gd name="connsiteX66" fmla="*/ 5739596 w 9546932"/>
                <a:gd name="connsiteY66" fmla="*/ 6756948 h 7047620"/>
                <a:gd name="connsiteX67" fmla="*/ 5739596 w 9546932"/>
                <a:gd name="connsiteY67" fmla="*/ 6747418 h 7047620"/>
                <a:gd name="connsiteX68" fmla="*/ 5744360 w 9546932"/>
                <a:gd name="connsiteY68" fmla="*/ 6742654 h 7047620"/>
                <a:gd name="connsiteX69" fmla="*/ 5772952 w 9546932"/>
                <a:gd name="connsiteY69" fmla="*/ 6756948 h 7047620"/>
                <a:gd name="connsiteX70" fmla="*/ 5772952 w 9546932"/>
                <a:gd name="connsiteY70" fmla="*/ 6737888 h 7047620"/>
                <a:gd name="connsiteX71" fmla="*/ 5730064 w 9546932"/>
                <a:gd name="connsiteY71" fmla="*/ 6571108 h 7047620"/>
                <a:gd name="connsiteX72" fmla="*/ 5739596 w 9546932"/>
                <a:gd name="connsiteY72" fmla="*/ 6571108 h 7047620"/>
                <a:gd name="connsiteX73" fmla="*/ 5749124 w 9546932"/>
                <a:gd name="connsiteY73" fmla="*/ 6575874 h 7047620"/>
                <a:gd name="connsiteX74" fmla="*/ 5763420 w 9546932"/>
                <a:gd name="connsiteY74" fmla="*/ 6571108 h 7047620"/>
                <a:gd name="connsiteX75" fmla="*/ 5763420 w 9546932"/>
                <a:gd name="connsiteY75" fmla="*/ 6580640 h 7047620"/>
                <a:gd name="connsiteX76" fmla="*/ 5758656 w 9546932"/>
                <a:gd name="connsiteY76" fmla="*/ 6590170 h 7047620"/>
                <a:gd name="connsiteX77" fmla="*/ 5749124 w 9546932"/>
                <a:gd name="connsiteY77" fmla="*/ 6585404 h 7047620"/>
                <a:gd name="connsiteX78" fmla="*/ 5734828 w 9546932"/>
                <a:gd name="connsiteY78" fmla="*/ 6585404 h 7047620"/>
                <a:gd name="connsiteX79" fmla="*/ 5725300 w 9546932"/>
                <a:gd name="connsiteY79" fmla="*/ 6585404 h 7047620"/>
                <a:gd name="connsiteX80" fmla="*/ 5720532 w 9546932"/>
                <a:gd name="connsiteY80" fmla="*/ 6580640 h 7047620"/>
                <a:gd name="connsiteX81" fmla="*/ 6092212 w 9546932"/>
                <a:gd name="connsiteY81" fmla="*/ 6466276 h 7047620"/>
                <a:gd name="connsiteX82" fmla="*/ 6092212 w 9546932"/>
                <a:gd name="connsiteY82" fmla="*/ 6475806 h 7047620"/>
                <a:gd name="connsiteX83" fmla="*/ 6077920 w 9546932"/>
                <a:gd name="connsiteY83" fmla="*/ 6480572 h 7047620"/>
                <a:gd name="connsiteX84" fmla="*/ 6073152 w 9546932"/>
                <a:gd name="connsiteY84" fmla="*/ 6480572 h 7047620"/>
                <a:gd name="connsiteX85" fmla="*/ 6082684 w 9546932"/>
                <a:gd name="connsiteY85" fmla="*/ 6471040 h 7047620"/>
                <a:gd name="connsiteX86" fmla="*/ 6116040 w 9546932"/>
                <a:gd name="connsiteY86" fmla="*/ 6456746 h 7047620"/>
                <a:gd name="connsiteX87" fmla="*/ 6125568 w 9546932"/>
                <a:gd name="connsiteY87" fmla="*/ 6456746 h 7047620"/>
                <a:gd name="connsiteX88" fmla="*/ 6130336 w 9546932"/>
                <a:gd name="connsiteY88" fmla="*/ 6461512 h 7047620"/>
                <a:gd name="connsiteX89" fmla="*/ 6120804 w 9546932"/>
                <a:gd name="connsiteY89" fmla="*/ 6466276 h 7047620"/>
                <a:gd name="connsiteX90" fmla="*/ 6116040 w 9546932"/>
                <a:gd name="connsiteY90" fmla="*/ 6485336 h 7047620"/>
                <a:gd name="connsiteX91" fmla="*/ 6111276 w 9546932"/>
                <a:gd name="connsiteY91" fmla="*/ 6485336 h 7047620"/>
                <a:gd name="connsiteX92" fmla="*/ 6111276 w 9546932"/>
                <a:gd name="connsiteY92" fmla="*/ 6480572 h 7047620"/>
                <a:gd name="connsiteX93" fmla="*/ 6106508 w 9546932"/>
                <a:gd name="connsiteY93" fmla="*/ 6471042 h 7047620"/>
                <a:gd name="connsiteX94" fmla="*/ 6106508 w 9546932"/>
                <a:gd name="connsiteY94" fmla="*/ 6466276 h 7047620"/>
                <a:gd name="connsiteX95" fmla="*/ 6111276 w 9546932"/>
                <a:gd name="connsiteY95" fmla="*/ 6461512 h 7047620"/>
                <a:gd name="connsiteX96" fmla="*/ 6211340 w 9546932"/>
                <a:gd name="connsiteY96" fmla="*/ 6266140 h 7047620"/>
                <a:gd name="connsiteX97" fmla="*/ 6220872 w 9546932"/>
                <a:gd name="connsiteY97" fmla="*/ 6266140 h 7047620"/>
                <a:gd name="connsiteX98" fmla="*/ 6230404 w 9546932"/>
                <a:gd name="connsiteY98" fmla="*/ 6270906 h 7047620"/>
                <a:gd name="connsiteX99" fmla="*/ 6235168 w 9546932"/>
                <a:gd name="connsiteY99" fmla="*/ 6280436 h 7047620"/>
                <a:gd name="connsiteX100" fmla="*/ 6239932 w 9546932"/>
                <a:gd name="connsiteY100" fmla="*/ 6289966 h 7047620"/>
                <a:gd name="connsiteX101" fmla="*/ 6225636 w 9546932"/>
                <a:gd name="connsiteY101" fmla="*/ 6275670 h 7047620"/>
                <a:gd name="connsiteX102" fmla="*/ 6220872 w 9546932"/>
                <a:gd name="connsiteY102" fmla="*/ 6275670 h 7047620"/>
                <a:gd name="connsiteX103" fmla="*/ 6216108 w 9546932"/>
                <a:gd name="connsiteY103" fmla="*/ 6270906 h 7047620"/>
                <a:gd name="connsiteX104" fmla="*/ 6992824 w 9546932"/>
                <a:gd name="connsiteY104" fmla="*/ 5989764 h 7047620"/>
                <a:gd name="connsiteX105" fmla="*/ 7002352 w 9546932"/>
                <a:gd name="connsiteY105" fmla="*/ 5999292 h 7047620"/>
                <a:gd name="connsiteX106" fmla="*/ 6997588 w 9546932"/>
                <a:gd name="connsiteY106" fmla="*/ 6008824 h 7047620"/>
                <a:gd name="connsiteX107" fmla="*/ 6978528 w 9546932"/>
                <a:gd name="connsiteY107" fmla="*/ 6004056 h 7047620"/>
                <a:gd name="connsiteX108" fmla="*/ 6973764 w 9546932"/>
                <a:gd name="connsiteY108" fmla="*/ 5994528 h 7047620"/>
                <a:gd name="connsiteX109" fmla="*/ 6983292 w 9546932"/>
                <a:gd name="connsiteY109" fmla="*/ 5999292 h 7047620"/>
                <a:gd name="connsiteX110" fmla="*/ 6945172 w 9546932"/>
                <a:gd name="connsiteY110" fmla="*/ 5984996 h 7047620"/>
                <a:gd name="connsiteX111" fmla="*/ 6959468 w 9546932"/>
                <a:gd name="connsiteY111" fmla="*/ 5989764 h 7047620"/>
                <a:gd name="connsiteX112" fmla="*/ 6959468 w 9546932"/>
                <a:gd name="connsiteY112" fmla="*/ 5994528 h 7047620"/>
                <a:gd name="connsiteX113" fmla="*/ 6954700 w 9546932"/>
                <a:gd name="connsiteY113" fmla="*/ 6004060 h 7047620"/>
                <a:gd name="connsiteX114" fmla="*/ 6945172 w 9546932"/>
                <a:gd name="connsiteY114" fmla="*/ 5999292 h 7047620"/>
                <a:gd name="connsiteX115" fmla="*/ 6945172 w 9546932"/>
                <a:gd name="connsiteY115" fmla="*/ 5994528 h 7047620"/>
                <a:gd name="connsiteX116" fmla="*/ 6940404 w 9546932"/>
                <a:gd name="connsiteY116" fmla="*/ 5994528 h 7047620"/>
                <a:gd name="connsiteX117" fmla="*/ 7197724 w 9546932"/>
                <a:gd name="connsiteY117" fmla="*/ 5794392 h 7047620"/>
                <a:gd name="connsiteX118" fmla="*/ 7207252 w 9546932"/>
                <a:gd name="connsiteY118" fmla="*/ 5794392 h 7047620"/>
                <a:gd name="connsiteX119" fmla="*/ 7212020 w 9546932"/>
                <a:gd name="connsiteY119" fmla="*/ 5799156 h 7047620"/>
                <a:gd name="connsiteX120" fmla="*/ 7216784 w 9546932"/>
                <a:gd name="connsiteY120" fmla="*/ 5799156 h 7047620"/>
                <a:gd name="connsiteX121" fmla="*/ 7216784 w 9546932"/>
                <a:gd name="connsiteY121" fmla="*/ 5803924 h 7047620"/>
                <a:gd name="connsiteX122" fmla="*/ 7216784 w 9546932"/>
                <a:gd name="connsiteY122" fmla="*/ 5808688 h 7047620"/>
                <a:gd name="connsiteX123" fmla="*/ 7212020 w 9546932"/>
                <a:gd name="connsiteY123" fmla="*/ 5818216 h 7047620"/>
                <a:gd name="connsiteX124" fmla="*/ 7216784 w 9546932"/>
                <a:gd name="connsiteY124" fmla="*/ 5822984 h 7047620"/>
                <a:gd name="connsiteX125" fmla="*/ 7216784 w 9546932"/>
                <a:gd name="connsiteY125" fmla="*/ 5827748 h 7047620"/>
                <a:gd name="connsiteX126" fmla="*/ 7202488 w 9546932"/>
                <a:gd name="connsiteY126" fmla="*/ 5837280 h 7047620"/>
                <a:gd name="connsiteX127" fmla="*/ 7197724 w 9546932"/>
                <a:gd name="connsiteY127" fmla="*/ 5832512 h 7047620"/>
                <a:gd name="connsiteX128" fmla="*/ 7197724 w 9546932"/>
                <a:gd name="connsiteY128" fmla="*/ 5822984 h 7047620"/>
                <a:gd name="connsiteX129" fmla="*/ 7197724 w 9546932"/>
                <a:gd name="connsiteY129" fmla="*/ 5808688 h 7047620"/>
                <a:gd name="connsiteX130" fmla="*/ 7197724 w 9546932"/>
                <a:gd name="connsiteY130" fmla="*/ 5803924 h 7047620"/>
                <a:gd name="connsiteX131" fmla="*/ 7431212 w 9546932"/>
                <a:gd name="connsiteY131" fmla="*/ 5346472 h 7047620"/>
                <a:gd name="connsiteX132" fmla="*/ 7435980 w 9546932"/>
                <a:gd name="connsiteY132" fmla="*/ 5351236 h 7047620"/>
                <a:gd name="connsiteX133" fmla="*/ 7435980 w 9546932"/>
                <a:gd name="connsiteY133" fmla="*/ 5356000 h 7047620"/>
                <a:gd name="connsiteX134" fmla="*/ 7435980 w 9546932"/>
                <a:gd name="connsiteY134" fmla="*/ 5365532 h 7047620"/>
                <a:gd name="connsiteX135" fmla="*/ 7426448 w 9546932"/>
                <a:gd name="connsiteY135" fmla="*/ 5370296 h 7047620"/>
                <a:gd name="connsiteX136" fmla="*/ 7421684 w 9546932"/>
                <a:gd name="connsiteY136" fmla="*/ 5370296 h 7047620"/>
                <a:gd name="connsiteX137" fmla="*/ 7421684 w 9546932"/>
                <a:gd name="connsiteY137" fmla="*/ 5360764 h 7047620"/>
                <a:gd name="connsiteX138" fmla="*/ 7564640 w 9546932"/>
                <a:gd name="connsiteY138" fmla="*/ 5065328 h 7047620"/>
                <a:gd name="connsiteX139" fmla="*/ 7574168 w 9546932"/>
                <a:gd name="connsiteY139" fmla="*/ 5065328 h 7047620"/>
                <a:gd name="connsiteX140" fmla="*/ 7578932 w 9546932"/>
                <a:gd name="connsiteY140" fmla="*/ 5079624 h 7047620"/>
                <a:gd name="connsiteX141" fmla="*/ 7583700 w 9546932"/>
                <a:gd name="connsiteY141" fmla="*/ 5084388 h 7047620"/>
                <a:gd name="connsiteX142" fmla="*/ 7569404 w 9546932"/>
                <a:gd name="connsiteY142" fmla="*/ 5074856 h 7047620"/>
                <a:gd name="connsiteX143" fmla="*/ 7559872 w 9546932"/>
                <a:gd name="connsiteY143" fmla="*/ 5074856 h 7047620"/>
                <a:gd name="connsiteX144" fmla="*/ 7612288 w 9546932"/>
                <a:gd name="connsiteY144" fmla="*/ 5031972 h 7047620"/>
                <a:gd name="connsiteX145" fmla="*/ 7617052 w 9546932"/>
                <a:gd name="connsiteY145" fmla="*/ 5036736 h 7047620"/>
                <a:gd name="connsiteX146" fmla="*/ 7617052 w 9546932"/>
                <a:gd name="connsiteY146" fmla="*/ 5046268 h 7047620"/>
                <a:gd name="connsiteX147" fmla="*/ 7617052 w 9546932"/>
                <a:gd name="connsiteY147" fmla="*/ 5051032 h 7047620"/>
                <a:gd name="connsiteX148" fmla="*/ 7612288 w 9546932"/>
                <a:gd name="connsiteY148" fmla="*/ 5051032 h 7047620"/>
                <a:gd name="connsiteX149" fmla="*/ 7607524 w 9546932"/>
                <a:gd name="connsiteY149" fmla="*/ 5036736 h 7047620"/>
                <a:gd name="connsiteX150" fmla="*/ 7550344 w 9546932"/>
                <a:gd name="connsiteY150" fmla="*/ 4998616 h 7047620"/>
                <a:gd name="connsiteX151" fmla="*/ 7574168 w 9546932"/>
                <a:gd name="connsiteY151" fmla="*/ 4998616 h 7047620"/>
                <a:gd name="connsiteX152" fmla="*/ 7597996 w 9546932"/>
                <a:gd name="connsiteY152" fmla="*/ 5012912 h 7047620"/>
                <a:gd name="connsiteX153" fmla="*/ 7607524 w 9546932"/>
                <a:gd name="connsiteY153" fmla="*/ 5017676 h 7047620"/>
                <a:gd name="connsiteX154" fmla="*/ 7602760 w 9546932"/>
                <a:gd name="connsiteY154" fmla="*/ 5031972 h 7047620"/>
                <a:gd name="connsiteX155" fmla="*/ 7597996 w 9546932"/>
                <a:gd name="connsiteY155" fmla="*/ 5036736 h 7047620"/>
                <a:gd name="connsiteX156" fmla="*/ 7578932 w 9546932"/>
                <a:gd name="connsiteY156" fmla="*/ 5027208 h 7047620"/>
                <a:gd name="connsiteX157" fmla="*/ 7559872 w 9546932"/>
                <a:gd name="connsiteY157" fmla="*/ 5022440 h 7047620"/>
                <a:gd name="connsiteX158" fmla="*/ 7550344 w 9546932"/>
                <a:gd name="connsiteY158" fmla="*/ 5012912 h 7047620"/>
                <a:gd name="connsiteX159" fmla="*/ 7431212 w 9546932"/>
                <a:gd name="connsiteY159" fmla="*/ 4698412 h 7047620"/>
                <a:gd name="connsiteX160" fmla="*/ 7450276 w 9546932"/>
                <a:gd name="connsiteY160" fmla="*/ 4698412 h 7047620"/>
                <a:gd name="connsiteX161" fmla="*/ 7469336 w 9546932"/>
                <a:gd name="connsiteY161" fmla="*/ 4707944 h 7047620"/>
                <a:gd name="connsiteX162" fmla="*/ 7474100 w 9546932"/>
                <a:gd name="connsiteY162" fmla="*/ 4717472 h 7047620"/>
                <a:gd name="connsiteX163" fmla="*/ 7483632 w 9546932"/>
                <a:gd name="connsiteY163" fmla="*/ 4722240 h 7047620"/>
                <a:gd name="connsiteX164" fmla="*/ 7488396 w 9546932"/>
                <a:gd name="connsiteY164" fmla="*/ 4727004 h 7047620"/>
                <a:gd name="connsiteX165" fmla="*/ 7526516 w 9546932"/>
                <a:gd name="connsiteY165" fmla="*/ 4741300 h 7047620"/>
                <a:gd name="connsiteX166" fmla="*/ 7531280 w 9546932"/>
                <a:gd name="connsiteY166" fmla="*/ 4746064 h 7047620"/>
                <a:gd name="connsiteX167" fmla="*/ 7536048 w 9546932"/>
                <a:gd name="connsiteY167" fmla="*/ 4755596 h 7047620"/>
                <a:gd name="connsiteX168" fmla="*/ 7521752 w 9546932"/>
                <a:gd name="connsiteY168" fmla="*/ 4760360 h 7047620"/>
                <a:gd name="connsiteX169" fmla="*/ 7478864 w 9546932"/>
                <a:gd name="connsiteY169" fmla="*/ 4746064 h 7047620"/>
                <a:gd name="connsiteX170" fmla="*/ 7450276 w 9546932"/>
                <a:gd name="connsiteY170" fmla="*/ 4727004 h 7047620"/>
                <a:gd name="connsiteX171" fmla="*/ 7435980 w 9546932"/>
                <a:gd name="connsiteY171" fmla="*/ 4703180 h 7047620"/>
                <a:gd name="connsiteX172" fmla="*/ 7736184 w 9546932"/>
                <a:gd name="connsiteY172" fmla="*/ 0 h 7047620"/>
                <a:gd name="connsiteX173" fmla="*/ 7760008 w 9546932"/>
                <a:gd name="connsiteY173" fmla="*/ 0 h 7047620"/>
                <a:gd name="connsiteX174" fmla="*/ 7779068 w 9546932"/>
                <a:gd name="connsiteY174" fmla="*/ 4764 h 7047620"/>
                <a:gd name="connsiteX175" fmla="*/ 7788600 w 9546932"/>
                <a:gd name="connsiteY175" fmla="*/ 4764 h 7047620"/>
                <a:gd name="connsiteX176" fmla="*/ 7793364 w 9546932"/>
                <a:gd name="connsiteY176" fmla="*/ 4764 h 7047620"/>
                <a:gd name="connsiteX177" fmla="*/ 7798132 w 9546932"/>
                <a:gd name="connsiteY177" fmla="*/ 4764 h 7047620"/>
                <a:gd name="connsiteX178" fmla="*/ 7807660 w 9546932"/>
                <a:gd name="connsiteY178" fmla="*/ 0 h 7047620"/>
                <a:gd name="connsiteX179" fmla="*/ 7826720 w 9546932"/>
                <a:gd name="connsiteY179" fmla="*/ 9528 h 7047620"/>
                <a:gd name="connsiteX180" fmla="*/ 7864844 w 9546932"/>
                <a:gd name="connsiteY180" fmla="*/ 38120 h 7047620"/>
                <a:gd name="connsiteX181" fmla="*/ 7893432 w 9546932"/>
                <a:gd name="connsiteY181" fmla="*/ 47648 h 7047620"/>
                <a:gd name="connsiteX182" fmla="*/ 7902964 w 9546932"/>
                <a:gd name="connsiteY182" fmla="*/ 47648 h 7047620"/>
                <a:gd name="connsiteX183" fmla="*/ 7912492 w 9546932"/>
                <a:gd name="connsiteY183" fmla="*/ 52416 h 7047620"/>
                <a:gd name="connsiteX184" fmla="*/ 7926788 w 9546932"/>
                <a:gd name="connsiteY184" fmla="*/ 71476 h 7047620"/>
                <a:gd name="connsiteX185" fmla="*/ 7941084 w 9546932"/>
                <a:gd name="connsiteY185" fmla="*/ 85772 h 7047620"/>
                <a:gd name="connsiteX186" fmla="*/ 7969676 w 9546932"/>
                <a:gd name="connsiteY186" fmla="*/ 90536 h 7047620"/>
                <a:gd name="connsiteX187" fmla="*/ 7993500 w 9546932"/>
                <a:gd name="connsiteY187" fmla="*/ 109596 h 7047620"/>
                <a:gd name="connsiteX188" fmla="*/ 8003032 w 9546932"/>
                <a:gd name="connsiteY188" fmla="*/ 109596 h 7047620"/>
                <a:gd name="connsiteX189" fmla="*/ 8007796 w 9546932"/>
                <a:gd name="connsiteY189" fmla="*/ 100064 h 7047620"/>
                <a:gd name="connsiteX190" fmla="*/ 8017324 w 9546932"/>
                <a:gd name="connsiteY190" fmla="*/ 90536 h 7047620"/>
                <a:gd name="connsiteX191" fmla="*/ 8036388 w 9546932"/>
                <a:gd name="connsiteY191" fmla="*/ 90536 h 7047620"/>
                <a:gd name="connsiteX192" fmla="*/ 8060212 w 9546932"/>
                <a:gd name="connsiteY192" fmla="*/ 100064 h 7047620"/>
                <a:gd name="connsiteX193" fmla="*/ 8088804 w 9546932"/>
                <a:gd name="connsiteY193" fmla="*/ 123892 h 7047620"/>
                <a:gd name="connsiteX194" fmla="*/ 8107864 w 9546932"/>
                <a:gd name="connsiteY194" fmla="*/ 128656 h 7047620"/>
                <a:gd name="connsiteX195" fmla="*/ 8117392 w 9546932"/>
                <a:gd name="connsiteY195" fmla="*/ 128656 h 7047620"/>
                <a:gd name="connsiteX196" fmla="*/ 8126924 w 9546932"/>
                <a:gd name="connsiteY196" fmla="*/ 133420 h 7047620"/>
                <a:gd name="connsiteX197" fmla="*/ 8131688 w 9546932"/>
                <a:gd name="connsiteY197" fmla="*/ 142952 h 7047620"/>
                <a:gd name="connsiteX198" fmla="*/ 8131688 w 9546932"/>
                <a:gd name="connsiteY198" fmla="*/ 152484 h 7047620"/>
                <a:gd name="connsiteX199" fmla="*/ 8131688 w 9546932"/>
                <a:gd name="connsiteY199" fmla="*/ 162012 h 7047620"/>
                <a:gd name="connsiteX200" fmla="*/ 8136456 w 9546932"/>
                <a:gd name="connsiteY200" fmla="*/ 171544 h 7047620"/>
                <a:gd name="connsiteX201" fmla="*/ 8145984 w 9546932"/>
                <a:gd name="connsiteY201" fmla="*/ 171544 h 7047620"/>
                <a:gd name="connsiteX202" fmla="*/ 8160280 w 9546932"/>
                <a:gd name="connsiteY202" fmla="*/ 176308 h 7047620"/>
                <a:gd name="connsiteX203" fmla="*/ 8169812 w 9546932"/>
                <a:gd name="connsiteY203" fmla="*/ 195368 h 7047620"/>
                <a:gd name="connsiteX204" fmla="*/ 8179340 w 9546932"/>
                <a:gd name="connsiteY204" fmla="*/ 204900 h 7047620"/>
                <a:gd name="connsiteX205" fmla="*/ 8188872 w 9546932"/>
                <a:gd name="connsiteY205" fmla="*/ 209664 h 7047620"/>
                <a:gd name="connsiteX206" fmla="*/ 8188872 w 9546932"/>
                <a:gd name="connsiteY206" fmla="*/ 223960 h 7047620"/>
                <a:gd name="connsiteX207" fmla="*/ 8188872 w 9546932"/>
                <a:gd name="connsiteY207" fmla="*/ 228724 h 7047620"/>
                <a:gd name="connsiteX208" fmla="*/ 8184104 w 9546932"/>
                <a:gd name="connsiteY208" fmla="*/ 233488 h 7047620"/>
                <a:gd name="connsiteX209" fmla="*/ 8184104 w 9546932"/>
                <a:gd name="connsiteY209" fmla="*/ 243020 h 7047620"/>
                <a:gd name="connsiteX210" fmla="*/ 8188872 w 9546932"/>
                <a:gd name="connsiteY210" fmla="*/ 252548 h 7047620"/>
                <a:gd name="connsiteX211" fmla="*/ 8203164 w 9546932"/>
                <a:gd name="connsiteY211" fmla="*/ 262080 h 7047620"/>
                <a:gd name="connsiteX212" fmla="*/ 8207932 w 9546932"/>
                <a:gd name="connsiteY212" fmla="*/ 266844 h 7047620"/>
                <a:gd name="connsiteX213" fmla="*/ 8212696 w 9546932"/>
                <a:gd name="connsiteY213" fmla="*/ 276376 h 7047620"/>
                <a:gd name="connsiteX214" fmla="*/ 8217460 w 9546932"/>
                <a:gd name="connsiteY214" fmla="*/ 285904 h 7047620"/>
                <a:gd name="connsiteX215" fmla="*/ 8226992 w 9546932"/>
                <a:gd name="connsiteY215" fmla="*/ 300200 h 7047620"/>
                <a:gd name="connsiteX216" fmla="*/ 8231756 w 9546932"/>
                <a:gd name="connsiteY216" fmla="*/ 309732 h 7047620"/>
                <a:gd name="connsiteX217" fmla="*/ 8231756 w 9546932"/>
                <a:gd name="connsiteY217" fmla="*/ 314496 h 7047620"/>
                <a:gd name="connsiteX218" fmla="*/ 8236524 w 9546932"/>
                <a:gd name="connsiteY218" fmla="*/ 324028 h 7047620"/>
                <a:gd name="connsiteX219" fmla="*/ 8241288 w 9546932"/>
                <a:gd name="connsiteY219" fmla="*/ 328792 h 7047620"/>
                <a:gd name="connsiteX220" fmla="*/ 8241288 w 9546932"/>
                <a:gd name="connsiteY220" fmla="*/ 343088 h 7047620"/>
                <a:gd name="connsiteX221" fmla="*/ 8241288 w 9546932"/>
                <a:gd name="connsiteY221" fmla="*/ 357384 h 7047620"/>
                <a:gd name="connsiteX222" fmla="*/ 8250816 w 9546932"/>
                <a:gd name="connsiteY222" fmla="*/ 366912 h 7047620"/>
                <a:gd name="connsiteX223" fmla="*/ 8255584 w 9546932"/>
                <a:gd name="connsiteY223" fmla="*/ 390740 h 7047620"/>
                <a:gd name="connsiteX224" fmla="*/ 8260348 w 9546932"/>
                <a:gd name="connsiteY224" fmla="*/ 419328 h 7047620"/>
                <a:gd name="connsiteX225" fmla="*/ 8284172 w 9546932"/>
                <a:gd name="connsiteY225" fmla="*/ 457452 h 7047620"/>
                <a:gd name="connsiteX226" fmla="*/ 8288940 w 9546932"/>
                <a:gd name="connsiteY226" fmla="*/ 476512 h 7047620"/>
                <a:gd name="connsiteX227" fmla="*/ 8288940 w 9546932"/>
                <a:gd name="connsiteY227" fmla="*/ 500336 h 7047620"/>
                <a:gd name="connsiteX228" fmla="*/ 8288940 w 9546932"/>
                <a:gd name="connsiteY228" fmla="*/ 509868 h 7047620"/>
                <a:gd name="connsiteX229" fmla="*/ 8303232 w 9546932"/>
                <a:gd name="connsiteY229" fmla="*/ 514632 h 7047620"/>
                <a:gd name="connsiteX230" fmla="*/ 8308000 w 9546932"/>
                <a:gd name="connsiteY230" fmla="*/ 524164 h 7047620"/>
                <a:gd name="connsiteX231" fmla="*/ 8308000 w 9546932"/>
                <a:gd name="connsiteY231" fmla="*/ 538456 h 7047620"/>
                <a:gd name="connsiteX232" fmla="*/ 8312764 w 9546932"/>
                <a:gd name="connsiteY232" fmla="*/ 557516 h 7047620"/>
                <a:gd name="connsiteX233" fmla="*/ 8312764 w 9546932"/>
                <a:gd name="connsiteY233" fmla="*/ 571812 h 7047620"/>
                <a:gd name="connsiteX234" fmla="*/ 8312764 w 9546932"/>
                <a:gd name="connsiteY234" fmla="*/ 586108 h 7047620"/>
                <a:gd name="connsiteX235" fmla="*/ 8317528 w 9546932"/>
                <a:gd name="connsiteY235" fmla="*/ 595640 h 7047620"/>
                <a:gd name="connsiteX236" fmla="*/ 8322292 w 9546932"/>
                <a:gd name="connsiteY236" fmla="*/ 609936 h 7047620"/>
                <a:gd name="connsiteX237" fmla="*/ 8322292 w 9546932"/>
                <a:gd name="connsiteY237" fmla="*/ 624228 h 7047620"/>
                <a:gd name="connsiteX238" fmla="*/ 8341356 w 9546932"/>
                <a:gd name="connsiteY238" fmla="*/ 652820 h 7047620"/>
                <a:gd name="connsiteX239" fmla="*/ 8365180 w 9546932"/>
                <a:gd name="connsiteY239" fmla="*/ 690940 h 7047620"/>
                <a:gd name="connsiteX240" fmla="*/ 8384240 w 9546932"/>
                <a:gd name="connsiteY240" fmla="*/ 724296 h 7047620"/>
                <a:gd name="connsiteX241" fmla="*/ 8389004 w 9546932"/>
                <a:gd name="connsiteY241" fmla="*/ 743356 h 7047620"/>
                <a:gd name="connsiteX242" fmla="*/ 8389004 w 9546932"/>
                <a:gd name="connsiteY242" fmla="*/ 762420 h 7047620"/>
                <a:gd name="connsiteX243" fmla="*/ 8384240 w 9546932"/>
                <a:gd name="connsiteY243" fmla="*/ 776712 h 7047620"/>
                <a:gd name="connsiteX244" fmla="*/ 8384240 w 9546932"/>
                <a:gd name="connsiteY244" fmla="*/ 786244 h 7047620"/>
                <a:gd name="connsiteX245" fmla="*/ 8389004 w 9546932"/>
                <a:gd name="connsiteY245" fmla="*/ 791008 h 7047620"/>
                <a:gd name="connsiteX246" fmla="*/ 8389004 w 9546932"/>
                <a:gd name="connsiteY246" fmla="*/ 800540 h 7047620"/>
                <a:gd name="connsiteX247" fmla="*/ 8389004 w 9546932"/>
                <a:gd name="connsiteY247" fmla="*/ 810068 h 7047620"/>
                <a:gd name="connsiteX248" fmla="*/ 8398536 w 9546932"/>
                <a:gd name="connsiteY248" fmla="*/ 824364 h 7047620"/>
                <a:gd name="connsiteX249" fmla="*/ 8427128 w 9546932"/>
                <a:gd name="connsiteY249" fmla="*/ 843424 h 7047620"/>
                <a:gd name="connsiteX250" fmla="*/ 8417596 w 9546932"/>
                <a:gd name="connsiteY250" fmla="*/ 876780 h 7047620"/>
                <a:gd name="connsiteX251" fmla="*/ 8412832 w 9546932"/>
                <a:gd name="connsiteY251" fmla="*/ 900608 h 7047620"/>
                <a:gd name="connsiteX252" fmla="*/ 8412832 w 9546932"/>
                <a:gd name="connsiteY252" fmla="*/ 929196 h 7047620"/>
                <a:gd name="connsiteX253" fmla="*/ 8422364 w 9546932"/>
                <a:gd name="connsiteY253" fmla="*/ 943492 h 7047620"/>
                <a:gd name="connsiteX254" fmla="*/ 8436656 w 9546932"/>
                <a:gd name="connsiteY254" fmla="*/ 953024 h 7047620"/>
                <a:gd name="connsiteX255" fmla="*/ 8441420 w 9546932"/>
                <a:gd name="connsiteY255" fmla="*/ 967320 h 7047620"/>
                <a:gd name="connsiteX256" fmla="*/ 8446188 w 9546932"/>
                <a:gd name="connsiteY256" fmla="*/ 976848 h 7047620"/>
                <a:gd name="connsiteX257" fmla="*/ 8465248 w 9546932"/>
                <a:gd name="connsiteY257" fmla="*/ 986380 h 7047620"/>
                <a:gd name="connsiteX258" fmla="*/ 8493840 w 9546932"/>
                <a:gd name="connsiteY258" fmla="*/ 1000676 h 7047620"/>
                <a:gd name="connsiteX259" fmla="*/ 8527196 w 9546932"/>
                <a:gd name="connsiteY259" fmla="*/ 1005440 h 7047620"/>
                <a:gd name="connsiteX260" fmla="*/ 8574844 w 9546932"/>
                <a:gd name="connsiteY260" fmla="*/ 995908 h 7047620"/>
                <a:gd name="connsiteX261" fmla="*/ 8603436 w 9546932"/>
                <a:gd name="connsiteY261" fmla="*/ 991144 h 7047620"/>
                <a:gd name="connsiteX262" fmla="*/ 8612968 w 9546932"/>
                <a:gd name="connsiteY262" fmla="*/ 1000676 h 7047620"/>
                <a:gd name="connsiteX263" fmla="*/ 8617732 w 9546932"/>
                <a:gd name="connsiteY263" fmla="*/ 1005440 h 7047620"/>
                <a:gd name="connsiteX264" fmla="*/ 8612968 w 9546932"/>
                <a:gd name="connsiteY264" fmla="*/ 1019736 h 7047620"/>
                <a:gd name="connsiteX265" fmla="*/ 8622496 w 9546932"/>
                <a:gd name="connsiteY265" fmla="*/ 1024500 h 7047620"/>
                <a:gd name="connsiteX266" fmla="*/ 8636792 w 9546932"/>
                <a:gd name="connsiteY266" fmla="*/ 1029264 h 7047620"/>
                <a:gd name="connsiteX267" fmla="*/ 8651088 w 9546932"/>
                <a:gd name="connsiteY267" fmla="*/ 1034032 h 7047620"/>
                <a:gd name="connsiteX268" fmla="*/ 8660620 w 9546932"/>
                <a:gd name="connsiteY268" fmla="*/ 1048328 h 7047620"/>
                <a:gd name="connsiteX269" fmla="*/ 8665384 w 9546932"/>
                <a:gd name="connsiteY269" fmla="*/ 1048328 h 7047620"/>
                <a:gd name="connsiteX270" fmla="*/ 8674916 w 9546932"/>
                <a:gd name="connsiteY270" fmla="*/ 1043560 h 7047620"/>
                <a:gd name="connsiteX271" fmla="*/ 8689208 w 9546932"/>
                <a:gd name="connsiteY271" fmla="*/ 1048328 h 7047620"/>
                <a:gd name="connsiteX272" fmla="*/ 8698740 w 9546932"/>
                <a:gd name="connsiteY272" fmla="*/ 1053092 h 7047620"/>
                <a:gd name="connsiteX273" fmla="*/ 8703504 w 9546932"/>
                <a:gd name="connsiteY273" fmla="*/ 1048328 h 7047620"/>
                <a:gd name="connsiteX274" fmla="*/ 8708268 w 9546932"/>
                <a:gd name="connsiteY274" fmla="*/ 1043560 h 7047620"/>
                <a:gd name="connsiteX275" fmla="*/ 8727332 w 9546932"/>
                <a:gd name="connsiteY275" fmla="*/ 1043560 h 7047620"/>
                <a:gd name="connsiteX276" fmla="*/ 8732096 w 9546932"/>
                <a:gd name="connsiteY276" fmla="*/ 1057856 h 7047620"/>
                <a:gd name="connsiteX277" fmla="*/ 8741624 w 9546932"/>
                <a:gd name="connsiteY277" fmla="*/ 1067388 h 7047620"/>
                <a:gd name="connsiteX278" fmla="*/ 8751156 w 9546932"/>
                <a:gd name="connsiteY278" fmla="*/ 1072152 h 7047620"/>
                <a:gd name="connsiteX279" fmla="*/ 8770216 w 9546932"/>
                <a:gd name="connsiteY279" fmla="*/ 1091212 h 7047620"/>
                <a:gd name="connsiteX280" fmla="*/ 8808336 w 9546932"/>
                <a:gd name="connsiteY280" fmla="*/ 1143628 h 7047620"/>
                <a:gd name="connsiteX281" fmla="*/ 8836928 w 9546932"/>
                <a:gd name="connsiteY281" fmla="*/ 1162688 h 7047620"/>
                <a:gd name="connsiteX282" fmla="*/ 8860756 w 9546932"/>
                <a:gd name="connsiteY282" fmla="*/ 1167456 h 7047620"/>
                <a:gd name="connsiteX283" fmla="*/ 8889344 w 9546932"/>
                <a:gd name="connsiteY283" fmla="*/ 1167456 h 7047620"/>
                <a:gd name="connsiteX284" fmla="*/ 8903640 w 9546932"/>
                <a:gd name="connsiteY284" fmla="*/ 1191280 h 7047620"/>
                <a:gd name="connsiteX285" fmla="*/ 8894108 w 9546932"/>
                <a:gd name="connsiteY285" fmla="*/ 1210340 h 7047620"/>
                <a:gd name="connsiteX286" fmla="*/ 8889344 w 9546932"/>
                <a:gd name="connsiteY286" fmla="*/ 1229400 h 7047620"/>
                <a:gd name="connsiteX287" fmla="*/ 8898876 w 9546932"/>
                <a:gd name="connsiteY287" fmla="*/ 1238932 h 7047620"/>
                <a:gd name="connsiteX288" fmla="*/ 8908404 w 9546932"/>
                <a:gd name="connsiteY288" fmla="*/ 1257992 h 7047620"/>
                <a:gd name="connsiteX289" fmla="*/ 8922700 w 9546932"/>
                <a:gd name="connsiteY289" fmla="*/ 1272288 h 7047620"/>
                <a:gd name="connsiteX290" fmla="*/ 8922700 w 9546932"/>
                <a:gd name="connsiteY290" fmla="*/ 1281816 h 7047620"/>
                <a:gd name="connsiteX291" fmla="*/ 8932232 w 9546932"/>
                <a:gd name="connsiteY291" fmla="*/ 1291348 h 7047620"/>
                <a:gd name="connsiteX292" fmla="*/ 8927464 w 9546932"/>
                <a:gd name="connsiteY292" fmla="*/ 1315172 h 7047620"/>
                <a:gd name="connsiteX293" fmla="*/ 8917936 w 9546932"/>
                <a:gd name="connsiteY293" fmla="*/ 1343764 h 7047620"/>
                <a:gd name="connsiteX294" fmla="*/ 8917936 w 9546932"/>
                <a:gd name="connsiteY294" fmla="*/ 1367588 h 7047620"/>
                <a:gd name="connsiteX295" fmla="*/ 8936996 w 9546932"/>
                <a:gd name="connsiteY295" fmla="*/ 1386652 h 7047620"/>
                <a:gd name="connsiteX296" fmla="*/ 8946524 w 9546932"/>
                <a:gd name="connsiteY296" fmla="*/ 1410476 h 7047620"/>
                <a:gd name="connsiteX297" fmla="*/ 8951292 w 9546932"/>
                <a:gd name="connsiteY297" fmla="*/ 1429536 h 7047620"/>
                <a:gd name="connsiteX298" fmla="*/ 8956056 w 9546932"/>
                <a:gd name="connsiteY298" fmla="*/ 1439068 h 7047620"/>
                <a:gd name="connsiteX299" fmla="*/ 8960820 w 9546932"/>
                <a:gd name="connsiteY299" fmla="*/ 1443832 h 7047620"/>
                <a:gd name="connsiteX300" fmla="*/ 8979884 w 9546932"/>
                <a:gd name="connsiteY300" fmla="*/ 1443832 h 7047620"/>
                <a:gd name="connsiteX301" fmla="*/ 9013236 w 9546932"/>
                <a:gd name="connsiteY301" fmla="*/ 1434300 h 7047620"/>
                <a:gd name="connsiteX302" fmla="*/ 9032300 w 9546932"/>
                <a:gd name="connsiteY302" fmla="*/ 1439068 h 7047620"/>
                <a:gd name="connsiteX303" fmla="*/ 9046596 w 9546932"/>
                <a:gd name="connsiteY303" fmla="*/ 1448596 h 7047620"/>
                <a:gd name="connsiteX304" fmla="*/ 9084716 w 9546932"/>
                <a:gd name="connsiteY304" fmla="*/ 1448596 h 7047620"/>
                <a:gd name="connsiteX305" fmla="*/ 9141896 w 9546932"/>
                <a:gd name="connsiteY305" fmla="*/ 1439068 h 7047620"/>
                <a:gd name="connsiteX306" fmla="*/ 9175252 w 9546932"/>
                <a:gd name="connsiteY306" fmla="*/ 1434300 h 7047620"/>
                <a:gd name="connsiteX307" fmla="*/ 9189548 w 9546932"/>
                <a:gd name="connsiteY307" fmla="*/ 1439068 h 7047620"/>
                <a:gd name="connsiteX308" fmla="*/ 9203844 w 9546932"/>
                <a:gd name="connsiteY308" fmla="*/ 1424772 h 7047620"/>
                <a:gd name="connsiteX309" fmla="*/ 9218140 w 9546932"/>
                <a:gd name="connsiteY309" fmla="*/ 1396180 h 7047620"/>
                <a:gd name="connsiteX310" fmla="*/ 9227668 w 9546932"/>
                <a:gd name="connsiteY310" fmla="*/ 1386652 h 7047620"/>
                <a:gd name="connsiteX311" fmla="*/ 9237200 w 9546932"/>
                <a:gd name="connsiteY311" fmla="*/ 1386652 h 7047620"/>
                <a:gd name="connsiteX312" fmla="*/ 9256260 w 9546932"/>
                <a:gd name="connsiteY312" fmla="*/ 1377120 h 7047620"/>
                <a:gd name="connsiteX313" fmla="*/ 9275320 w 9546932"/>
                <a:gd name="connsiteY313" fmla="*/ 1358060 h 7047620"/>
                <a:gd name="connsiteX314" fmla="*/ 9294380 w 9546932"/>
                <a:gd name="connsiteY314" fmla="*/ 1348528 h 7047620"/>
                <a:gd name="connsiteX315" fmla="*/ 9318204 w 9546932"/>
                <a:gd name="connsiteY315" fmla="*/ 1348528 h 7047620"/>
                <a:gd name="connsiteX316" fmla="*/ 9346796 w 9546932"/>
                <a:gd name="connsiteY316" fmla="*/ 1348528 h 7047620"/>
                <a:gd name="connsiteX317" fmla="*/ 9361092 w 9546932"/>
                <a:gd name="connsiteY317" fmla="*/ 1343764 h 7047620"/>
                <a:gd name="connsiteX318" fmla="*/ 9380152 w 9546932"/>
                <a:gd name="connsiteY318" fmla="*/ 1324704 h 7047620"/>
                <a:gd name="connsiteX319" fmla="*/ 9403980 w 9546932"/>
                <a:gd name="connsiteY319" fmla="*/ 1310408 h 7047620"/>
                <a:gd name="connsiteX320" fmla="*/ 9461160 w 9546932"/>
                <a:gd name="connsiteY320" fmla="*/ 1286584 h 7047620"/>
                <a:gd name="connsiteX321" fmla="*/ 9475456 w 9546932"/>
                <a:gd name="connsiteY321" fmla="*/ 1286584 h 7047620"/>
                <a:gd name="connsiteX322" fmla="*/ 9480220 w 9546932"/>
                <a:gd name="connsiteY322" fmla="*/ 1286584 h 7047620"/>
                <a:gd name="connsiteX323" fmla="*/ 9499280 w 9546932"/>
                <a:gd name="connsiteY323" fmla="*/ 1291348 h 7047620"/>
                <a:gd name="connsiteX324" fmla="*/ 9518340 w 9546932"/>
                <a:gd name="connsiteY324" fmla="*/ 1296112 h 7047620"/>
                <a:gd name="connsiteX325" fmla="*/ 9532636 w 9546932"/>
                <a:gd name="connsiteY325" fmla="*/ 1315172 h 7047620"/>
                <a:gd name="connsiteX326" fmla="*/ 9537404 w 9546932"/>
                <a:gd name="connsiteY326" fmla="*/ 1324704 h 7047620"/>
                <a:gd name="connsiteX327" fmla="*/ 9532636 w 9546932"/>
                <a:gd name="connsiteY327" fmla="*/ 1339000 h 7047620"/>
                <a:gd name="connsiteX328" fmla="*/ 9532636 w 9546932"/>
                <a:gd name="connsiteY328" fmla="*/ 1343764 h 7047620"/>
                <a:gd name="connsiteX329" fmla="*/ 9523108 w 9546932"/>
                <a:gd name="connsiteY329" fmla="*/ 1353296 h 7047620"/>
                <a:gd name="connsiteX330" fmla="*/ 9518340 w 9546932"/>
                <a:gd name="connsiteY330" fmla="*/ 1367588 h 7047620"/>
                <a:gd name="connsiteX331" fmla="*/ 9523108 w 9546932"/>
                <a:gd name="connsiteY331" fmla="*/ 1377120 h 7047620"/>
                <a:gd name="connsiteX332" fmla="*/ 9532636 w 9546932"/>
                <a:gd name="connsiteY332" fmla="*/ 1400944 h 7047620"/>
                <a:gd name="connsiteX333" fmla="*/ 9537404 w 9546932"/>
                <a:gd name="connsiteY333" fmla="*/ 1420004 h 7047620"/>
                <a:gd name="connsiteX334" fmla="*/ 9546932 w 9546932"/>
                <a:gd name="connsiteY334" fmla="*/ 1439068 h 7047620"/>
                <a:gd name="connsiteX335" fmla="*/ 9542168 w 9546932"/>
                <a:gd name="connsiteY335" fmla="*/ 1443832 h 7047620"/>
                <a:gd name="connsiteX336" fmla="*/ 9537404 w 9546932"/>
                <a:gd name="connsiteY336" fmla="*/ 1458128 h 7047620"/>
                <a:gd name="connsiteX337" fmla="*/ 9523108 w 9546932"/>
                <a:gd name="connsiteY337" fmla="*/ 1481952 h 7047620"/>
                <a:gd name="connsiteX338" fmla="*/ 9504044 w 9546932"/>
                <a:gd name="connsiteY338" fmla="*/ 1501012 h 7047620"/>
                <a:gd name="connsiteX339" fmla="*/ 9489748 w 9546932"/>
                <a:gd name="connsiteY339" fmla="*/ 1501012 h 7047620"/>
                <a:gd name="connsiteX340" fmla="*/ 9484984 w 9546932"/>
                <a:gd name="connsiteY340" fmla="*/ 1505780 h 7047620"/>
                <a:gd name="connsiteX341" fmla="*/ 9475456 w 9546932"/>
                <a:gd name="connsiteY341" fmla="*/ 1510544 h 7047620"/>
                <a:gd name="connsiteX342" fmla="*/ 9470692 w 9546932"/>
                <a:gd name="connsiteY342" fmla="*/ 1515308 h 7047620"/>
                <a:gd name="connsiteX343" fmla="*/ 9465924 w 9546932"/>
                <a:gd name="connsiteY343" fmla="*/ 1524840 h 7047620"/>
                <a:gd name="connsiteX344" fmla="*/ 9456396 w 9546932"/>
                <a:gd name="connsiteY344" fmla="*/ 1534368 h 7047620"/>
                <a:gd name="connsiteX345" fmla="*/ 9456396 w 9546932"/>
                <a:gd name="connsiteY345" fmla="*/ 1543900 h 7047620"/>
                <a:gd name="connsiteX346" fmla="*/ 9461160 w 9546932"/>
                <a:gd name="connsiteY346" fmla="*/ 1558196 h 7047620"/>
                <a:gd name="connsiteX347" fmla="*/ 9461160 w 9546932"/>
                <a:gd name="connsiteY347" fmla="*/ 1572492 h 7047620"/>
                <a:gd name="connsiteX348" fmla="*/ 9451628 w 9546932"/>
                <a:gd name="connsiteY348" fmla="*/ 1586784 h 7047620"/>
                <a:gd name="connsiteX349" fmla="*/ 9442100 w 9546932"/>
                <a:gd name="connsiteY349" fmla="*/ 1610612 h 7047620"/>
                <a:gd name="connsiteX350" fmla="*/ 9442100 w 9546932"/>
                <a:gd name="connsiteY350" fmla="*/ 1615376 h 7047620"/>
                <a:gd name="connsiteX351" fmla="*/ 9437332 w 9546932"/>
                <a:gd name="connsiteY351" fmla="*/ 1629672 h 7047620"/>
                <a:gd name="connsiteX352" fmla="*/ 9437332 w 9546932"/>
                <a:gd name="connsiteY352" fmla="*/ 1634436 h 7047620"/>
                <a:gd name="connsiteX353" fmla="*/ 9432568 w 9546932"/>
                <a:gd name="connsiteY353" fmla="*/ 1667792 h 7047620"/>
                <a:gd name="connsiteX354" fmla="*/ 9423040 w 9546932"/>
                <a:gd name="connsiteY354" fmla="*/ 1691620 h 7047620"/>
                <a:gd name="connsiteX355" fmla="*/ 9408744 w 9546932"/>
                <a:gd name="connsiteY355" fmla="*/ 1720208 h 7047620"/>
                <a:gd name="connsiteX356" fmla="*/ 9413508 w 9546932"/>
                <a:gd name="connsiteY356" fmla="*/ 1734504 h 7047620"/>
                <a:gd name="connsiteX357" fmla="*/ 9413508 w 9546932"/>
                <a:gd name="connsiteY357" fmla="*/ 1748800 h 7047620"/>
                <a:gd name="connsiteX358" fmla="*/ 9408744 w 9546932"/>
                <a:gd name="connsiteY358" fmla="*/ 1753564 h 7047620"/>
                <a:gd name="connsiteX359" fmla="*/ 9408744 w 9546932"/>
                <a:gd name="connsiteY359" fmla="*/ 1763096 h 7047620"/>
                <a:gd name="connsiteX360" fmla="*/ 9408744 w 9546932"/>
                <a:gd name="connsiteY360" fmla="*/ 1772624 h 7047620"/>
                <a:gd name="connsiteX361" fmla="*/ 9403980 w 9546932"/>
                <a:gd name="connsiteY361" fmla="*/ 1782156 h 7047620"/>
                <a:gd name="connsiteX362" fmla="*/ 9389684 w 9546932"/>
                <a:gd name="connsiteY362" fmla="*/ 1786920 h 7047620"/>
                <a:gd name="connsiteX363" fmla="*/ 9380152 w 9546932"/>
                <a:gd name="connsiteY363" fmla="*/ 1801216 h 7047620"/>
                <a:gd name="connsiteX364" fmla="*/ 9384916 w 9546932"/>
                <a:gd name="connsiteY364" fmla="*/ 1815512 h 7047620"/>
                <a:gd name="connsiteX365" fmla="*/ 9380152 w 9546932"/>
                <a:gd name="connsiteY365" fmla="*/ 1829808 h 7047620"/>
                <a:gd name="connsiteX366" fmla="*/ 9375388 w 9546932"/>
                <a:gd name="connsiteY366" fmla="*/ 1839336 h 7047620"/>
                <a:gd name="connsiteX367" fmla="*/ 9370620 w 9546932"/>
                <a:gd name="connsiteY367" fmla="*/ 1848868 h 7047620"/>
                <a:gd name="connsiteX368" fmla="*/ 9361092 w 9546932"/>
                <a:gd name="connsiteY368" fmla="*/ 1853632 h 7047620"/>
                <a:gd name="connsiteX369" fmla="*/ 9351564 w 9546932"/>
                <a:gd name="connsiteY369" fmla="*/ 1858396 h 7047620"/>
                <a:gd name="connsiteX370" fmla="*/ 9351564 w 9546932"/>
                <a:gd name="connsiteY370" fmla="*/ 1872692 h 7047620"/>
                <a:gd name="connsiteX371" fmla="*/ 9346796 w 9546932"/>
                <a:gd name="connsiteY371" fmla="*/ 1886988 h 7047620"/>
                <a:gd name="connsiteX372" fmla="*/ 9342032 w 9546932"/>
                <a:gd name="connsiteY372" fmla="*/ 1896520 h 7047620"/>
                <a:gd name="connsiteX373" fmla="*/ 9346796 w 9546932"/>
                <a:gd name="connsiteY373" fmla="*/ 1910816 h 7047620"/>
                <a:gd name="connsiteX374" fmla="*/ 9342032 w 9546932"/>
                <a:gd name="connsiteY374" fmla="*/ 1920344 h 7047620"/>
                <a:gd name="connsiteX375" fmla="*/ 9327736 w 9546932"/>
                <a:gd name="connsiteY375" fmla="*/ 1925108 h 7047620"/>
                <a:gd name="connsiteX376" fmla="*/ 9322972 w 9546932"/>
                <a:gd name="connsiteY376" fmla="*/ 1929876 h 7047620"/>
                <a:gd name="connsiteX377" fmla="*/ 9313440 w 9546932"/>
                <a:gd name="connsiteY377" fmla="*/ 1934640 h 7047620"/>
                <a:gd name="connsiteX378" fmla="*/ 9303908 w 9546932"/>
                <a:gd name="connsiteY378" fmla="*/ 1944168 h 7047620"/>
                <a:gd name="connsiteX379" fmla="*/ 9289616 w 9546932"/>
                <a:gd name="connsiteY379" fmla="*/ 1982292 h 7047620"/>
                <a:gd name="connsiteX380" fmla="*/ 9289616 w 9546932"/>
                <a:gd name="connsiteY380" fmla="*/ 2006116 h 7047620"/>
                <a:gd name="connsiteX381" fmla="*/ 9289616 w 9546932"/>
                <a:gd name="connsiteY381" fmla="*/ 2025176 h 7047620"/>
                <a:gd name="connsiteX382" fmla="*/ 9275320 w 9546932"/>
                <a:gd name="connsiteY382" fmla="*/ 2039472 h 7047620"/>
                <a:gd name="connsiteX383" fmla="*/ 9261024 w 9546932"/>
                <a:gd name="connsiteY383" fmla="*/ 2049004 h 7047620"/>
                <a:gd name="connsiteX384" fmla="*/ 9256260 w 9546932"/>
                <a:gd name="connsiteY384" fmla="*/ 2044236 h 7047620"/>
                <a:gd name="connsiteX385" fmla="*/ 9246728 w 9546932"/>
                <a:gd name="connsiteY385" fmla="*/ 2039472 h 7047620"/>
                <a:gd name="connsiteX386" fmla="*/ 9241964 w 9546932"/>
                <a:gd name="connsiteY386" fmla="*/ 2039472 h 7047620"/>
                <a:gd name="connsiteX387" fmla="*/ 9241964 w 9546932"/>
                <a:gd name="connsiteY387" fmla="*/ 2020412 h 7047620"/>
                <a:gd name="connsiteX388" fmla="*/ 9232436 w 9546932"/>
                <a:gd name="connsiteY388" fmla="*/ 2001352 h 7047620"/>
                <a:gd name="connsiteX389" fmla="*/ 9208608 w 9546932"/>
                <a:gd name="connsiteY389" fmla="*/ 1987056 h 7047620"/>
                <a:gd name="connsiteX390" fmla="*/ 9180016 w 9546932"/>
                <a:gd name="connsiteY390" fmla="*/ 1982292 h 7047620"/>
                <a:gd name="connsiteX391" fmla="*/ 9151428 w 9546932"/>
                <a:gd name="connsiteY391" fmla="*/ 1982292 h 7047620"/>
                <a:gd name="connsiteX392" fmla="*/ 9127600 w 9546932"/>
                <a:gd name="connsiteY392" fmla="*/ 1991820 h 7047620"/>
                <a:gd name="connsiteX393" fmla="*/ 9122836 w 9546932"/>
                <a:gd name="connsiteY393" fmla="*/ 2001352 h 7047620"/>
                <a:gd name="connsiteX394" fmla="*/ 9113304 w 9546932"/>
                <a:gd name="connsiteY394" fmla="*/ 2001352 h 7047620"/>
                <a:gd name="connsiteX395" fmla="*/ 9103776 w 9546932"/>
                <a:gd name="connsiteY395" fmla="*/ 1991820 h 7047620"/>
                <a:gd name="connsiteX396" fmla="*/ 9094244 w 9546932"/>
                <a:gd name="connsiteY396" fmla="*/ 1982292 h 7047620"/>
                <a:gd name="connsiteX397" fmla="*/ 9084716 w 9546932"/>
                <a:gd name="connsiteY397" fmla="*/ 1987056 h 7047620"/>
                <a:gd name="connsiteX398" fmla="*/ 9075184 w 9546932"/>
                <a:gd name="connsiteY398" fmla="*/ 2001352 h 7047620"/>
                <a:gd name="connsiteX399" fmla="*/ 9060888 w 9546932"/>
                <a:gd name="connsiteY399" fmla="*/ 2006116 h 7047620"/>
                <a:gd name="connsiteX400" fmla="*/ 9056124 w 9546932"/>
                <a:gd name="connsiteY400" fmla="*/ 2025176 h 7047620"/>
                <a:gd name="connsiteX401" fmla="*/ 9051360 w 9546932"/>
                <a:gd name="connsiteY401" fmla="*/ 2034708 h 7047620"/>
                <a:gd name="connsiteX402" fmla="*/ 9037064 w 9546932"/>
                <a:gd name="connsiteY402" fmla="*/ 2049004 h 7047620"/>
                <a:gd name="connsiteX403" fmla="*/ 9032300 w 9546932"/>
                <a:gd name="connsiteY403" fmla="*/ 2058532 h 7047620"/>
                <a:gd name="connsiteX404" fmla="*/ 9003708 w 9546932"/>
                <a:gd name="connsiteY404" fmla="*/ 2068064 h 7047620"/>
                <a:gd name="connsiteX405" fmla="*/ 8998940 w 9546932"/>
                <a:gd name="connsiteY405" fmla="*/ 2072828 h 7047620"/>
                <a:gd name="connsiteX406" fmla="*/ 8975116 w 9546932"/>
                <a:gd name="connsiteY406" fmla="*/ 2072828 h 7047620"/>
                <a:gd name="connsiteX407" fmla="*/ 8965588 w 9546932"/>
                <a:gd name="connsiteY407" fmla="*/ 2077592 h 7047620"/>
                <a:gd name="connsiteX408" fmla="*/ 8956056 w 9546932"/>
                <a:gd name="connsiteY408" fmla="*/ 2087124 h 7047620"/>
                <a:gd name="connsiteX409" fmla="*/ 8956056 w 9546932"/>
                <a:gd name="connsiteY409" fmla="*/ 2096656 h 7047620"/>
                <a:gd name="connsiteX410" fmla="*/ 8960820 w 9546932"/>
                <a:gd name="connsiteY410" fmla="*/ 2106184 h 7047620"/>
                <a:gd name="connsiteX411" fmla="*/ 8970352 w 9546932"/>
                <a:gd name="connsiteY411" fmla="*/ 2130008 h 7047620"/>
                <a:gd name="connsiteX412" fmla="*/ 8975116 w 9546932"/>
                <a:gd name="connsiteY412" fmla="*/ 2144304 h 7047620"/>
                <a:gd name="connsiteX413" fmla="*/ 8979884 w 9546932"/>
                <a:gd name="connsiteY413" fmla="*/ 2168132 h 7047620"/>
                <a:gd name="connsiteX414" fmla="*/ 8998940 w 9546932"/>
                <a:gd name="connsiteY414" fmla="*/ 2258668 h 7047620"/>
                <a:gd name="connsiteX415" fmla="*/ 8994176 w 9546932"/>
                <a:gd name="connsiteY415" fmla="*/ 2272964 h 7047620"/>
                <a:gd name="connsiteX416" fmla="*/ 8989412 w 9546932"/>
                <a:gd name="connsiteY416" fmla="*/ 2334912 h 7047620"/>
                <a:gd name="connsiteX417" fmla="*/ 8989412 w 9546932"/>
                <a:gd name="connsiteY417" fmla="*/ 2349204 h 7047620"/>
                <a:gd name="connsiteX418" fmla="*/ 8989412 w 9546932"/>
                <a:gd name="connsiteY418" fmla="*/ 2368268 h 7047620"/>
                <a:gd name="connsiteX419" fmla="*/ 8989412 w 9546932"/>
                <a:gd name="connsiteY419" fmla="*/ 2377796 h 7047620"/>
                <a:gd name="connsiteX420" fmla="*/ 8994176 w 9546932"/>
                <a:gd name="connsiteY420" fmla="*/ 2382560 h 7047620"/>
                <a:gd name="connsiteX421" fmla="*/ 8998940 w 9546932"/>
                <a:gd name="connsiteY421" fmla="*/ 2387328 h 7047620"/>
                <a:gd name="connsiteX422" fmla="*/ 9003708 w 9546932"/>
                <a:gd name="connsiteY422" fmla="*/ 2396856 h 7047620"/>
                <a:gd name="connsiteX423" fmla="*/ 8998940 w 9546932"/>
                <a:gd name="connsiteY423" fmla="*/ 2406388 h 7047620"/>
                <a:gd name="connsiteX424" fmla="*/ 8998940 w 9546932"/>
                <a:gd name="connsiteY424" fmla="*/ 2415916 h 7047620"/>
                <a:gd name="connsiteX425" fmla="*/ 8994176 w 9546932"/>
                <a:gd name="connsiteY425" fmla="*/ 2434980 h 7047620"/>
                <a:gd name="connsiteX426" fmla="*/ 8989412 w 9546932"/>
                <a:gd name="connsiteY426" fmla="*/ 2458804 h 7047620"/>
                <a:gd name="connsiteX427" fmla="*/ 8979884 w 9546932"/>
                <a:gd name="connsiteY427" fmla="*/ 2468332 h 7047620"/>
                <a:gd name="connsiteX428" fmla="*/ 8979884 w 9546932"/>
                <a:gd name="connsiteY428" fmla="*/ 2473100 h 7047620"/>
                <a:gd name="connsiteX429" fmla="*/ 8975116 w 9546932"/>
                <a:gd name="connsiteY429" fmla="*/ 2477864 h 7047620"/>
                <a:gd name="connsiteX430" fmla="*/ 8975116 w 9546932"/>
                <a:gd name="connsiteY430" fmla="*/ 2496924 h 7047620"/>
                <a:gd name="connsiteX431" fmla="*/ 8970352 w 9546932"/>
                <a:gd name="connsiteY431" fmla="*/ 2511220 h 7047620"/>
                <a:gd name="connsiteX432" fmla="*/ 8960820 w 9546932"/>
                <a:gd name="connsiteY432" fmla="*/ 2511220 h 7047620"/>
                <a:gd name="connsiteX433" fmla="*/ 8951292 w 9546932"/>
                <a:gd name="connsiteY433" fmla="*/ 2520752 h 7047620"/>
                <a:gd name="connsiteX434" fmla="*/ 8941760 w 9546932"/>
                <a:gd name="connsiteY434" fmla="*/ 2515984 h 7047620"/>
                <a:gd name="connsiteX435" fmla="*/ 8932232 w 9546932"/>
                <a:gd name="connsiteY435" fmla="*/ 2520752 h 7047620"/>
                <a:gd name="connsiteX436" fmla="*/ 8917936 w 9546932"/>
                <a:gd name="connsiteY436" fmla="*/ 2520752 h 7047620"/>
                <a:gd name="connsiteX437" fmla="*/ 8894108 w 9546932"/>
                <a:gd name="connsiteY437" fmla="*/ 2530280 h 7047620"/>
                <a:gd name="connsiteX438" fmla="*/ 8879812 w 9546932"/>
                <a:gd name="connsiteY438" fmla="*/ 2535044 h 7047620"/>
                <a:gd name="connsiteX439" fmla="*/ 8875048 w 9546932"/>
                <a:gd name="connsiteY439" fmla="*/ 2539812 h 7047620"/>
                <a:gd name="connsiteX440" fmla="*/ 8870284 w 9546932"/>
                <a:gd name="connsiteY440" fmla="*/ 2544576 h 7047620"/>
                <a:gd name="connsiteX441" fmla="*/ 8870284 w 9546932"/>
                <a:gd name="connsiteY441" fmla="*/ 2554108 h 7047620"/>
                <a:gd name="connsiteX442" fmla="*/ 8875048 w 9546932"/>
                <a:gd name="connsiteY442" fmla="*/ 2554108 h 7047620"/>
                <a:gd name="connsiteX443" fmla="*/ 8884580 w 9546932"/>
                <a:gd name="connsiteY443" fmla="*/ 2558872 h 7047620"/>
                <a:gd name="connsiteX444" fmla="*/ 8894108 w 9546932"/>
                <a:gd name="connsiteY444" fmla="*/ 2568400 h 7047620"/>
                <a:gd name="connsiteX445" fmla="*/ 8894108 w 9546932"/>
                <a:gd name="connsiteY445" fmla="*/ 2577932 h 7047620"/>
                <a:gd name="connsiteX446" fmla="*/ 8889344 w 9546932"/>
                <a:gd name="connsiteY446" fmla="*/ 2587464 h 7047620"/>
                <a:gd name="connsiteX447" fmla="*/ 8884580 w 9546932"/>
                <a:gd name="connsiteY447" fmla="*/ 2577932 h 7047620"/>
                <a:gd name="connsiteX448" fmla="*/ 8875048 w 9546932"/>
                <a:gd name="connsiteY448" fmla="*/ 2577932 h 7047620"/>
                <a:gd name="connsiteX449" fmla="*/ 8860756 w 9546932"/>
                <a:gd name="connsiteY449" fmla="*/ 2568400 h 7047620"/>
                <a:gd name="connsiteX450" fmla="*/ 8851224 w 9546932"/>
                <a:gd name="connsiteY450" fmla="*/ 2554108 h 7047620"/>
                <a:gd name="connsiteX451" fmla="*/ 8841692 w 9546932"/>
                <a:gd name="connsiteY451" fmla="*/ 2544576 h 7047620"/>
                <a:gd name="connsiteX452" fmla="*/ 8841692 w 9546932"/>
                <a:gd name="connsiteY452" fmla="*/ 2515984 h 7047620"/>
                <a:gd name="connsiteX453" fmla="*/ 8841692 w 9546932"/>
                <a:gd name="connsiteY453" fmla="*/ 2511220 h 7047620"/>
                <a:gd name="connsiteX454" fmla="*/ 8827396 w 9546932"/>
                <a:gd name="connsiteY454" fmla="*/ 2506456 h 7047620"/>
                <a:gd name="connsiteX455" fmla="*/ 8822632 w 9546932"/>
                <a:gd name="connsiteY455" fmla="*/ 2496924 h 7047620"/>
                <a:gd name="connsiteX456" fmla="*/ 8817868 w 9546932"/>
                <a:gd name="connsiteY456" fmla="*/ 2492160 h 7047620"/>
                <a:gd name="connsiteX457" fmla="*/ 8808336 w 9546932"/>
                <a:gd name="connsiteY457" fmla="*/ 2496924 h 7047620"/>
                <a:gd name="connsiteX458" fmla="*/ 8803572 w 9546932"/>
                <a:gd name="connsiteY458" fmla="*/ 2492160 h 7047620"/>
                <a:gd name="connsiteX459" fmla="*/ 8794044 w 9546932"/>
                <a:gd name="connsiteY459" fmla="*/ 2487396 h 7047620"/>
                <a:gd name="connsiteX460" fmla="*/ 8789276 w 9546932"/>
                <a:gd name="connsiteY460" fmla="*/ 2487396 h 7047620"/>
                <a:gd name="connsiteX461" fmla="*/ 8784512 w 9546932"/>
                <a:gd name="connsiteY461" fmla="*/ 2496924 h 7047620"/>
                <a:gd name="connsiteX462" fmla="*/ 8779748 w 9546932"/>
                <a:gd name="connsiteY462" fmla="*/ 2511220 h 7047620"/>
                <a:gd name="connsiteX463" fmla="*/ 8770216 w 9546932"/>
                <a:gd name="connsiteY463" fmla="*/ 2535044 h 7047620"/>
                <a:gd name="connsiteX464" fmla="*/ 8770216 w 9546932"/>
                <a:gd name="connsiteY464" fmla="*/ 2549340 h 7047620"/>
                <a:gd name="connsiteX465" fmla="*/ 8765452 w 9546932"/>
                <a:gd name="connsiteY465" fmla="*/ 2573168 h 7047620"/>
                <a:gd name="connsiteX466" fmla="*/ 8760684 w 9546932"/>
                <a:gd name="connsiteY466" fmla="*/ 2601756 h 7047620"/>
                <a:gd name="connsiteX467" fmla="*/ 8755920 w 9546932"/>
                <a:gd name="connsiteY467" fmla="*/ 2606524 h 7047620"/>
                <a:gd name="connsiteX468" fmla="*/ 8746392 w 9546932"/>
                <a:gd name="connsiteY468" fmla="*/ 2606524 h 7047620"/>
                <a:gd name="connsiteX469" fmla="*/ 8741624 w 9546932"/>
                <a:gd name="connsiteY469" fmla="*/ 2606524 h 7047620"/>
                <a:gd name="connsiteX470" fmla="*/ 8736860 w 9546932"/>
                <a:gd name="connsiteY470" fmla="*/ 2616052 h 7047620"/>
                <a:gd name="connsiteX471" fmla="*/ 8732096 w 9546932"/>
                <a:gd name="connsiteY471" fmla="*/ 2620820 h 7047620"/>
                <a:gd name="connsiteX472" fmla="*/ 8722564 w 9546932"/>
                <a:gd name="connsiteY472" fmla="*/ 2611288 h 7047620"/>
                <a:gd name="connsiteX473" fmla="*/ 8713036 w 9546932"/>
                <a:gd name="connsiteY473" fmla="*/ 2606524 h 7047620"/>
                <a:gd name="connsiteX474" fmla="*/ 8703504 w 9546932"/>
                <a:gd name="connsiteY474" fmla="*/ 2606524 h 7047620"/>
                <a:gd name="connsiteX475" fmla="*/ 8698740 w 9546932"/>
                <a:gd name="connsiteY475" fmla="*/ 2611288 h 7047620"/>
                <a:gd name="connsiteX476" fmla="*/ 8689208 w 9546932"/>
                <a:gd name="connsiteY476" fmla="*/ 2625584 h 7047620"/>
                <a:gd name="connsiteX477" fmla="*/ 8684444 w 9546932"/>
                <a:gd name="connsiteY477" fmla="*/ 2635112 h 7047620"/>
                <a:gd name="connsiteX478" fmla="*/ 8679680 w 9546932"/>
                <a:gd name="connsiteY478" fmla="*/ 2644644 h 7047620"/>
                <a:gd name="connsiteX479" fmla="*/ 8679680 w 9546932"/>
                <a:gd name="connsiteY479" fmla="*/ 2654172 h 7047620"/>
                <a:gd name="connsiteX480" fmla="*/ 8670148 w 9546932"/>
                <a:gd name="connsiteY480" fmla="*/ 2663704 h 7047620"/>
                <a:gd name="connsiteX481" fmla="*/ 8660620 w 9546932"/>
                <a:gd name="connsiteY481" fmla="*/ 2668468 h 7047620"/>
                <a:gd name="connsiteX482" fmla="*/ 8641556 w 9546932"/>
                <a:gd name="connsiteY482" fmla="*/ 2687528 h 7047620"/>
                <a:gd name="connsiteX483" fmla="*/ 8636792 w 9546932"/>
                <a:gd name="connsiteY483" fmla="*/ 2692296 h 7047620"/>
                <a:gd name="connsiteX484" fmla="*/ 8608204 w 9546932"/>
                <a:gd name="connsiteY484" fmla="*/ 2692296 h 7047620"/>
                <a:gd name="connsiteX485" fmla="*/ 8589140 w 9546932"/>
                <a:gd name="connsiteY485" fmla="*/ 2697060 h 7047620"/>
                <a:gd name="connsiteX486" fmla="*/ 8560552 w 9546932"/>
                <a:gd name="connsiteY486" fmla="*/ 2697060 h 7047620"/>
                <a:gd name="connsiteX487" fmla="*/ 8541492 w 9546932"/>
                <a:gd name="connsiteY487" fmla="*/ 2692296 h 7047620"/>
                <a:gd name="connsiteX488" fmla="*/ 8517664 w 9546932"/>
                <a:gd name="connsiteY488" fmla="*/ 2697060 h 7047620"/>
                <a:gd name="connsiteX489" fmla="*/ 8498604 w 9546932"/>
                <a:gd name="connsiteY489" fmla="*/ 2701824 h 7047620"/>
                <a:gd name="connsiteX490" fmla="*/ 8498604 w 9546932"/>
                <a:gd name="connsiteY490" fmla="*/ 2711356 h 7047620"/>
                <a:gd name="connsiteX491" fmla="*/ 8498604 w 9546932"/>
                <a:gd name="connsiteY491" fmla="*/ 2720884 h 7047620"/>
                <a:gd name="connsiteX492" fmla="*/ 8503368 w 9546932"/>
                <a:gd name="connsiteY492" fmla="*/ 2730416 h 7047620"/>
                <a:gd name="connsiteX493" fmla="*/ 8508132 w 9546932"/>
                <a:gd name="connsiteY493" fmla="*/ 2735180 h 7047620"/>
                <a:gd name="connsiteX494" fmla="*/ 8512900 w 9546932"/>
                <a:gd name="connsiteY494" fmla="*/ 2749476 h 7047620"/>
                <a:gd name="connsiteX495" fmla="*/ 8522428 w 9546932"/>
                <a:gd name="connsiteY495" fmla="*/ 2763772 h 7047620"/>
                <a:gd name="connsiteX496" fmla="*/ 8531960 w 9546932"/>
                <a:gd name="connsiteY496" fmla="*/ 2773304 h 7047620"/>
                <a:gd name="connsiteX497" fmla="*/ 8536724 w 9546932"/>
                <a:gd name="connsiteY497" fmla="*/ 2782832 h 7047620"/>
                <a:gd name="connsiteX498" fmla="*/ 8536724 w 9546932"/>
                <a:gd name="connsiteY498" fmla="*/ 2792364 h 7047620"/>
                <a:gd name="connsiteX499" fmla="*/ 8531960 w 9546932"/>
                <a:gd name="connsiteY499" fmla="*/ 2801892 h 7047620"/>
                <a:gd name="connsiteX500" fmla="*/ 8522428 w 9546932"/>
                <a:gd name="connsiteY500" fmla="*/ 2820952 h 7047620"/>
                <a:gd name="connsiteX501" fmla="*/ 8517664 w 9546932"/>
                <a:gd name="connsiteY501" fmla="*/ 2825720 h 7047620"/>
                <a:gd name="connsiteX502" fmla="*/ 8508132 w 9546932"/>
                <a:gd name="connsiteY502" fmla="*/ 2825720 h 7047620"/>
                <a:gd name="connsiteX503" fmla="*/ 8503368 w 9546932"/>
                <a:gd name="connsiteY503" fmla="*/ 2820952 h 7047620"/>
                <a:gd name="connsiteX504" fmla="*/ 8493840 w 9546932"/>
                <a:gd name="connsiteY504" fmla="*/ 2816188 h 7047620"/>
                <a:gd name="connsiteX505" fmla="*/ 8479544 w 9546932"/>
                <a:gd name="connsiteY505" fmla="*/ 2811424 h 7047620"/>
                <a:gd name="connsiteX506" fmla="*/ 8441420 w 9546932"/>
                <a:gd name="connsiteY506" fmla="*/ 2816188 h 7047620"/>
                <a:gd name="connsiteX507" fmla="*/ 8427128 w 9546932"/>
                <a:gd name="connsiteY507" fmla="*/ 2811424 h 7047620"/>
                <a:gd name="connsiteX508" fmla="*/ 8417596 w 9546932"/>
                <a:gd name="connsiteY508" fmla="*/ 2806660 h 7047620"/>
                <a:gd name="connsiteX509" fmla="*/ 8403300 w 9546932"/>
                <a:gd name="connsiteY509" fmla="*/ 2806660 h 7047620"/>
                <a:gd name="connsiteX510" fmla="*/ 8379476 w 9546932"/>
                <a:gd name="connsiteY510" fmla="*/ 2801892 h 7047620"/>
                <a:gd name="connsiteX511" fmla="*/ 8365180 w 9546932"/>
                <a:gd name="connsiteY511" fmla="*/ 2797128 h 7047620"/>
                <a:gd name="connsiteX512" fmla="*/ 8355652 w 9546932"/>
                <a:gd name="connsiteY512" fmla="*/ 2792364 h 7047620"/>
                <a:gd name="connsiteX513" fmla="*/ 8355652 w 9546932"/>
                <a:gd name="connsiteY513" fmla="*/ 2782832 h 7047620"/>
                <a:gd name="connsiteX514" fmla="*/ 8350884 w 9546932"/>
                <a:gd name="connsiteY514" fmla="*/ 2773304 h 7047620"/>
                <a:gd name="connsiteX515" fmla="*/ 8346120 w 9546932"/>
                <a:gd name="connsiteY515" fmla="*/ 2763772 h 7047620"/>
                <a:gd name="connsiteX516" fmla="*/ 8336588 w 9546932"/>
                <a:gd name="connsiteY516" fmla="*/ 2754240 h 7047620"/>
                <a:gd name="connsiteX517" fmla="*/ 8327060 w 9546932"/>
                <a:gd name="connsiteY517" fmla="*/ 2749476 h 7047620"/>
                <a:gd name="connsiteX518" fmla="*/ 8322292 w 9546932"/>
                <a:gd name="connsiteY518" fmla="*/ 2744712 h 7047620"/>
                <a:gd name="connsiteX519" fmla="*/ 8312764 w 9546932"/>
                <a:gd name="connsiteY519" fmla="*/ 2754240 h 7047620"/>
                <a:gd name="connsiteX520" fmla="*/ 8303232 w 9546932"/>
                <a:gd name="connsiteY520" fmla="*/ 2759008 h 7047620"/>
                <a:gd name="connsiteX521" fmla="*/ 8298468 w 9546932"/>
                <a:gd name="connsiteY521" fmla="*/ 2759008 h 7047620"/>
                <a:gd name="connsiteX522" fmla="*/ 8293704 w 9546932"/>
                <a:gd name="connsiteY522" fmla="*/ 2759008 h 7047620"/>
                <a:gd name="connsiteX523" fmla="*/ 8288940 w 9546932"/>
                <a:gd name="connsiteY523" fmla="*/ 2763772 h 7047620"/>
                <a:gd name="connsiteX524" fmla="*/ 8274644 w 9546932"/>
                <a:gd name="connsiteY524" fmla="*/ 2773304 h 7047620"/>
                <a:gd name="connsiteX525" fmla="*/ 8269876 w 9546932"/>
                <a:gd name="connsiteY525" fmla="*/ 2782832 h 7047620"/>
                <a:gd name="connsiteX526" fmla="*/ 8265112 w 9546932"/>
                <a:gd name="connsiteY526" fmla="*/ 2806660 h 7047620"/>
                <a:gd name="connsiteX527" fmla="*/ 8260348 w 9546932"/>
                <a:gd name="connsiteY527" fmla="*/ 2825720 h 7047620"/>
                <a:gd name="connsiteX528" fmla="*/ 8255584 w 9546932"/>
                <a:gd name="connsiteY528" fmla="*/ 2835248 h 7047620"/>
                <a:gd name="connsiteX529" fmla="*/ 8250816 w 9546932"/>
                <a:gd name="connsiteY529" fmla="*/ 2835248 h 7047620"/>
                <a:gd name="connsiteX530" fmla="*/ 8246052 w 9546932"/>
                <a:gd name="connsiteY530" fmla="*/ 2840012 h 7047620"/>
                <a:gd name="connsiteX531" fmla="*/ 8231756 w 9546932"/>
                <a:gd name="connsiteY531" fmla="*/ 2863840 h 7047620"/>
                <a:gd name="connsiteX532" fmla="*/ 8217460 w 9546932"/>
                <a:gd name="connsiteY532" fmla="*/ 2878136 h 7047620"/>
                <a:gd name="connsiteX533" fmla="*/ 8203164 w 9546932"/>
                <a:gd name="connsiteY533" fmla="*/ 2892432 h 7047620"/>
                <a:gd name="connsiteX534" fmla="*/ 8193636 w 9546932"/>
                <a:gd name="connsiteY534" fmla="*/ 2901960 h 7047620"/>
                <a:gd name="connsiteX535" fmla="*/ 8188872 w 9546932"/>
                <a:gd name="connsiteY535" fmla="*/ 2911492 h 7047620"/>
                <a:gd name="connsiteX536" fmla="*/ 8179340 w 9546932"/>
                <a:gd name="connsiteY536" fmla="*/ 2925788 h 7047620"/>
                <a:gd name="connsiteX537" fmla="*/ 8160280 w 9546932"/>
                <a:gd name="connsiteY537" fmla="*/ 2930552 h 7047620"/>
                <a:gd name="connsiteX538" fmla="*/ 8145984 w 9546932"/>
                <a:gd name="connsiteY538" fmla="*/ 2935316 h 7047620"/>
                <a:gd name="connsiteX539" fmla="*/ 8136456 w 9546932"/>
                <a:gd name="connsiteY539" fmla="*/ 2935316 h 7047620"/>
                <a:gd name="connsiteX540" fmla="*/ 8131688 w 9546932"/>
                <a:gd name="connsiteY540" fmla="*/ 2940080 h 7047620"/>
                <a:gd name="connsiteX541" fmla="*/ 8126924 w 9546932"/>
                <a:gd name="connsiteY541" fmla="*/ 2949612 h 7047620"/>
                <a:gd name="connsiteX542" fmla="*/ 8122160 w 9546932"/>
                <a:gd name="connsiteY542" fmla="*/ 2954376 h 7047620"/>
                <a:gd name="connsiteX543" fmla="*/ 8117392 w 9546932"/>
                <a:gd name="connsiteY543" fmla="*/ 2954376 h 7047620"/>
                <a:gd name="connsiteX544" fmla="*/ 8107864 w 9546932"/>
                <a:gd name="connsiteY544" fmla="*/ 2963908 h 7047620"/>
                <a:gd name="connsiteX545" fmla="*/ 8088804 w 9546932"/>
                <a:gd name="connsiteY545" fmla="*/ 2978204 h 7047620"/>
                <a:gd name="connsiteX546" fmla="*/ 8074508 w 9546932"/>
                <a:gd name="connsiteY546" fmla="*/ 2982968 h 7047620"/>
                <a:gd name="connsiteX547" fmla="*/ 8050684 w 9546932"/>
                <a:gd name="connsiteY547" fmla="*/ 2992496 h 7047620"/>
                <a:gd name="connsiteX548" fmla="*/ 8036388 w 9546932"/>
                <a:gd name="connsiteY548" fmla="*/ 3002028 h 7047620"/>
                <a:gd name="connsiteX549" fmla="*/ 8026856 w 9546932"/>
                <a:gd name="connsiteY549" fmla="*/ 3006792 h 7047620"/>
                <a:gd name="connsiteX550" fmla="*/ 8026856 w 9546932"/>
                <a:gd name="connsiteY550" fmla="*/ 3011560 h 7047620"/>
                <a:gd name="connsiteX551" fmla="*/ 8022092 w 9546932"/>
                <a:gd name="connsiteY551" fmla="*/ 3021088 h 7047620"/>
                <a:gd name="connsiteX552" fmla="*/ 8017324 w 9546932"/>
                <a:gd name="connsiteY552" fmla="*/ 3021088 h 7047620"/>
                <a:gd name="connsiteX553" fmla="*/ 8007796 w 9546932"/>
                <a:gd name="connsiteY553" fmla="*/ 3021088 h 7047620"/>
                <a:gd name="connsiteX554" fmla="*/ 7988736 w 9546932"/>
                <a:gd name="connsiteY554" fmla="*/ 3035384 h 7047620"/>
                <a:gd name="connsiteX555" fmla="*/ 7979204 w 9546932"/>
                <a:gd name="connsiteY555" fmla="*/ 3049680 h 7047620"/>
                <a:gd name="connsiteX556" fmla="*/ 7941084 w 9546932"/>
                <a:gd name="connsiteY556" fmla="*/ 3078272 h 7047620"/>
                <a:gd name="connsiteX557" fmla="*/ 7926788 w 9546932"/>
                <a:gd name="connsiteY557" fmla="*/ 3092564 h 7047620"/>
                <a:gd name="connsiteX558" fmla="*/ 7922024 w 9546932"/>
                <a:gd name="connsiteY558" fmla="*/ 3111628 h 7047620"/>
                <a:gd name="connsiteX559" fmla="*/ 7907728 w 9546932"/>
                <a:gd name="connsiteY559" fmla="*/ 3130688 h 7047620"/>
                <a:gd name="connsiteX560" fmla="*/ 7883904 w 9546932"/>
                <a:gd name="connsiteY560" fmla="*/ 3144984 h 7047620"/>
                <a:gd name="connsiteX561" fmla="*/ 7831484 w 9546932"/>
                <a:gd name="connsiteY561" fmla="*/ 3149748 h 7047620"/>
                <a:gd name="connsiteX562" fmla="*/ 7812424 w 9546932"/>
                <a:gd name="connsiteY562" fmla="*/ 3140216 h 7047620"/>
                <a:gd name="connsiteX563" fmla="*/ 7807660 w 9546932"/>
                <a:gd name="connsiteY563" fmla="*/ 3144984 h 7047620"/>
                <a:gd name="connsiteX564" fmla="*/ 7802896 w 9546932"/>
                <a:gd name="connsiteY564" fmla="*/ 3159276 h 7047620"/>
                <a:gd name="connsiteX565" fmla="*/ 7788600 w 9546932"/>
                <a:gd name="connsiteY565" fmla="*/ 3159276 h 7047620"/>
                <a:gd name="connsiteX566" fmla="*/ 7764776 w 9546932"/>
                <a:gd name="connsiteY566" fmla="*/ 3164044 h 7047620"/>
                <a:gd name="connsiteX567" fmla="*/ 7755244 w 9546932"/>
                <a:gd name="connsiteY567" fmla="*/ 3168808 h 7047620"/>
                <a:gd name="connsiteX568" fmla="*/ 7745716 w 9546932"/>
                <a:gd name="connsiteY568" fmla="*/ 3178336 h 7047620"/>
                <a:gd name="connsiteX569" fmla="*/ 7717124 w 9546932"/>
                <a:gd name="connsiteY569" fmla="*/ 3178336 h 7047620"/>
                <a:gd name="connsiteX570" fmla="*/ 7707592 w 9546932"/>
                <a:gd name="connsiteY570" fmla="*/ 3192632 h 7047620"/>
                <a:gd name="connsiteX571" fmla="*/ 7688532 w 9546932"/>
                <a:gd name="connsiteY571" fmla="*/ 3197400 h 7047620"/>
                <a:gd name="connsiteX572" fmla="*/ 7607524 w 9546932"/>
                <a:gd name="connsiteY572" fmla="*/ 3240284 h 7047620"/>
                <a:gd name="connsiteX573" fmla="*/ 7588464 w 9546932"/>
                <a:gd name="connsiteY573" fmla="*/ 3264112 h 7047620"/>
                <a:gd name="connsiteX574" fmla="*/ 7574168 w 9546932"/>
                <a:gd name="connsiteY574" fmla="*/ 3283172 h 7047620"/>
                <a:gd name="connsiteX575" fmla="*/ 7564640 w 9546932"/>
                <a:gd name="connsiteY575" fmla="*/ 3297468 h 7047620"/>
                <a:gd name="connsiteX576" fmla="*/ 7550344 w 9546932"/>
                <a:gd name="connsiteY576" fmla="*/ 3306996 h 7047620"/>
                <a:gd name="connsiteX577" fmla="*/ 7540812 w 9546932"/>
                <a:gd name="connsiteY577" fmla="*/ 3306996 h 7047620"/>
                <a:gd name="connsiteX578" fmla="*/ 7536048 w 9546932"/>
                <a:gd name="connsiteY578" fmla="*/ 3316528 h 7047620"/>
                <a:gd name="connsiteX579" fmla="*/ 7526516 w 9546932"/>
                <a:gd name="connsiteY579" fmla="*/ 3316528 h 7047620"/>
                <a:gd name="connsiteX580" fmla="*/ 7516988 w 9546932"/>
                <a:gd name="connsiteY580" fmla="*/ 3316528 h 7047620"/>
                <a:gd name="connsiteX581" fmla="*/ 7502692 w 9546932"/>
                <a:gd name="connsiteY581" fmla="*/ 3316528 h 7047620"/>
                <a:gd name="connsiteX582" fmla="*/ 7497928 w 9546932"/>
                <a:gd name="connsiteY582" fmla="*/ 3326056 h 7047620"/>
                <a:gd name="connsiteX583" fmla="*/ 7502692 w 9546932"/>
                <a:gd name="connsiteY583" fmla="*/ 3335588 h 7047620"/>
                <a:gd name="connsiteX584" fmla="*/ 7502692 w 9546932"/>
                <a:gd name="connsiteY584" fmla="*/ 3345116 h 7047620"/>
                <a:gd name="connsiteX585" fmla="*/ 7478868 w 9546932"/>
                <a:gd name="connsiteY585" fmla="*/ 3349884 h 7047620"/>
                <a:gd name="connsiteX586" fmla="*/ 7450276 w 9546932"/>
                <a:gd name="connsiteY586" fmla="*/ 3354648 h 7047620"/>
                <a:gd name="connsiteX587" fmla="*/ 7435980 w 9546932"/>
                <a:gd name="connsiteY587" fmla="*/ 3364176 h 7047620"/>
                <a:gd name="connsiteX588" fmla="*/ 7431216 w 9546932"/>
                <a:gd name="connsiteY588" fmla="*/ 3368944 h 7047620"/>
                <a:gd name="connsiteX589" fmla="*/ 7426452 w 9546932"/>
                <a:gd name="connsiteY589" fmla="*/ 3368944 h 7047620"/>
                <a:gd name="connsiteX590" fmla="*/ 7416920 w 9546932"/>
                <a:gd name="connsiteY590" fmla="*/ 3354648 h 7047620"/>
                <a:gd name="connsiteX591" fmla="*/ 7416920 w 9546932"/>
                <a:gd name="connsiteY591" fmla="*/ 3330820 h 7047620"/>
                <a:gd name="connsiteX592" fmla="*/ 7426452 w 9546932"/>
                <a:gd name="connsiteY592" fmla="*/ 3326056 h 7047620"/>
                <a:gd name="connsiteX593" fmla="*/ 7440744 w 9546932"/>
                <a:gd name="connsiteY593" fmla="*/ 3326056 h 7047620"/>
                <a:gd name="connsiteX594" fmla="*/ 7502692 w 9546932"/>
                <a:gd name="connsiteY594" fmla="*/ 3292700 h 7047620"/>
                <a:gd name="connsiteX595" fmla="*/ 7497928 w 9546932"/>
                <a:gd name="connsiteY595" fmla="*/ 3273640 h 7047620"/>
                <a:gd name="connsiteX596" fmla="*/ 7502692 w 9546932"/>
                <a:gd name="connsiteY596" fmla="*/ 3264112 h 7047620"/>
                <a:gd name="connsiteX597" fmla="*/ 7516988 w 9546932"/>
                <a:gd name="connsiteY597" fmla="*/ 3245048 h 7047620"/>
                <a:gd name="connsiteX598" fmla="*/ 7526516 w 9546932"/>
                <a:gd name="connsiteY598" fmla="*/ 3240284 h 7047620"/>
                <a:gd name="connsiteX599" fmla="*/ 7521752 w 9546932"/>
                <a:gd name="connsiteY599" fmla="*/ 3235520 h 7047620"/>
                <a:gd name="connsiteX600" fmla="*/ 7478868 w 9546932"/>
                <a:gd name="connsiteY600" fmla="*/ 3240284 h 7047620"/>
                <a:gd name="connsiteX601" fmla="*/ 7455040 w 9546932"/>
                <a:gd name="connsiteY601" fmla="*/ 3240284 h 7047620"/>
                <a:gd name="connsiteX602" fmla="*/ 7440744 w 9546932"/>
                <a:gd name="connsiteY602" fmla="*/ 3240284 h 7047620"/>
                <a:gd name="connsiteX603" fmla="*/ 7445512 w 9546932"/>
                <a:gd name="connsiteY603" fmla="*/ 3225988 h 7047620"/>
                <a:gd name="connsiteX604" fmla="*/ 7445512 w 9546932"/>
                <a:gd name="connsiteY604" fmla="*/ 3211692 h 7047620"/>
                <a:gd name="connsiteX605" fmla="*/ 7440744 w 9546932"/>
                <a:gd name="connsiteY605" fmla="*/ 3206928 h 7047620"/>
                <a:gd name="connsiteX606" fmla="*/ 7464572 w 9546932"/>
                <a:gd name="connsiteY606" fmla="*/ 3192632 h 7047620"/>
                <a:gd name="connsiteX607" fmla="*/ 7474100 w 9546932"/>
                <a:gd name="connsiteY607" fmla="*/ 3187868 h 7047620"/>
                <a:gd name="connsiteX608" fmla="*/ 7478868 w 9546932"/>
                <a:gd name="connsiteY608" fmla="*/ 3187868 h 7047620"/>
                <a:gd name="connsiteX609" fmla="*/ 7478868 w 9546932"/>
                <a:gd name="connsiteY609" fmla="*/ 3178336 h 7047620"/>
                <a:gd name="connsiteX610" fmla="*/ 7474100 w 9546932"/>
                <a:gd name="connsiteY610" fmla="*/ 3164044 h 7047620"/>
                <a:gd name="connsiteX611" fmla="*/ 7478868 w 9546932"/>
                <a:gd name="connsiteY611" fmla="*/ 3144984 h 7047620"/>
                <a:gd name="connsiteX612" fmla="*/ 7521752 w 9546932"/>
                <a:gd name="connsiteY612" fmla="*/ 3125920 h 7047620"/>
                <a:gd name="connsiteX613" fmla="*/ 7536048 w 9546932"/>
                <a:gd name="connsiteY613" fmla="*/ 3102096 h 7047620"/>
                <a:gd name="connsiteX614" fmla="*/ 7550344 w 9546932"/>
                <a:gd name="connsiteY614" fmla="*/ 3087800 h 7047620"/>
                <a:gd name="connsiteX615" fmla="*/ 7583700 w 9546932"/>
                <a:gd name="connsiteY615" fmla="*/ 3040148 h 7047620"/>
                <a:gd name="connsiteX616" fmla="*/ 7588464 w 9546932"/>
                <a:gd name="connsiteY616" fmla="*/ 3030620 h 7047620"/>
                <a:gd name="connsiteX617" fmla="*/ 7597996 w 9546932"/>
                <a:gd name="connsiteY617" fmla="*/ 3011560 h 7047620"/>
                <a:gd name="connsiteX618" fmla="*/ 7597996 w 9546932"/>
                <a:gd name="connsiteY618" fmla="*/ 3002028 h 7047620"/>
                <a:gd name="connsiteX619" fmla="*/ 7583700 w 9546932"/>
                <a:gd name="connsiteY619" fmla="*/ 2992496 h 7047620"/>
                <a:gd name="connsiteX620" fmla="*/ 7578936 w 9546932"/>
                <a:gd name="connsiteY620" fmla="*/ 2973436 h 7047620"/>
                <a:gd name="connsiteX621" fmla="*/ 7531284 w 9546932"/>
                <a:gd name="connsiteY621" fmla="*/ 2940080 h 7047620"/>
                <a:gd name="connsiteX622" fmla="*/ 7531284 w 9546932"/>
                <a:gd name="connsiteY622" fmla="*/ 2911492 h 7047620"/>
                <a:gd name="connsiteX623" fmla="*/ 7526516 w 9546932"/>
                <a:gd name="connsiteY623" fmla="*/ 2916256 h 7047620"/>
                <a:gd name="connsiteX624" fmla="*/ 7516988 w 9546932"/>
                <a:gd name="connsiteY624" fmla="*/ 2935316 h 7047620"/>
                <a:gd name="connsiteX625" fmla="*/ 7512224 w 9546932"/>
                <a:gd name="connsiteY625" fmla="*/ 2940080 h 7047620"/>
                <a:gd name="connsiteX626" fmla="*/ 7493164 w 9546932"/>
                <a:gd name="connsiteY626" fmla="*/ 2940080 h 7047620"/>
                <a:gd name="connsiteX627" fmla="*/ 7483632 w 9546932"/>
                <a:gd name="connsiteY627" fmla="*/ 2935316 h 7047620"/>
                <a:gd name="connsiteX628" fmla="*/ 7426452 w 9546932"/>
                <a:gd name="connsiteY628" fmla="*/ 2930552 h 7047620"/>
                <a:gd name="connsiteX629" fmla="*/ 7412156 w 9546932"/>
                <a:gd name="connsiteY629" fmla="*/ 2940080 h 7047620"/>
                <a:gd name="connsiteX630" fmla="*/ 7397860 w 9546932"/>
                <a:gd name="connsiteY630" fmla="*/ 2959144 h 7047620"/>
                <a:gd name="connsiteX631" fmla="*/ 7388328 w 9546932"/>
                <a:gd name="connsiteY631" fmla="*/ 2973436 h 7047620"/>
                <a:gd name="connsiteX632" fmla="*/ 7374036 w 9546932"/>
                <a:gd name="connsiteY632" fmla="*/ 2982968 h 7047620"/>
                <a:gd name="connsiteX633" fmla="*/ 7364504 w 9546932"/>
                <a:gd name="connsiteY633" fmla="*/ 2992496 h 7047620"/>
                <a:gd name="connsiteX634" fmla="*/ 7316852 w 9546932"/>
                <a:gd name="connsiteY634" fmla="*/ 3068740 h 7047620"/>
                <a:gd name="connsiteX635" fmla="*/ 7302556 w 9546932"/>
                <a:gd name="connsiteY635" fmla="*/ 3073504 h 7047620"/>
                <a:gd name="connsiteX636" fmla="*/ 7221548 w 9546932"/>
                <a:gd name="connsiteY636" fmla="*/ 3116392 h 7047620"/>
                <a:gd name="connsiteX637" fmla="*/ 7178664 w 9546932"/>
                <a:gd name="connsiteY637" fmla="*/ 3135452 h 7047620"/>
                <a:gd name="connsiteX638" fmla="*/ 7145308 w 9546932"/>
                <a:gd name="connsiteY638" fmla="*/ 3164044 h 7047620"/>
                <a:gd name="connsiteX639" fmla="*/ 7135776 w 9546932"/>
                <a:gd name="connsiteY639" fmla="*/ 3183104 h 7047620"/>
                <a:gd name="connsiteX640" fmla="*/ 7126248 w 9546932"/>
                <a:gd name="connsiteY640" fmla="*/ 3202164 h 7047620"/>
                <a:gd name="connsiteX641" fmla="*/ 7121484 w 9546932"/>
                <a:gd name="connsiteY641" fmla="*/ 3235520 h 7047620"/>
                <a:gd name="connsiteX642" fmla="*/ 7092892 w 9546932"/>
                <a:gd name="connsiteY642" fmla="*/ 3273640 h 7047620"/>
                <a:gd name="connsiteX643" fmla="*/ 7083360 w 9546932"/>
                <a:gd name="connsiteY643" fmla="*/ 3278404 h 7047620"/>
                <a:gd name="connsiteX644" fmla="*/ 7073832 w 9546932"/>
                <a:gd name="connsiteY644" fmla="*/ 3283172 h 7047620"/>
                <a:gd name="connsiteX645" fmla="*/ 7059536 w 9546932"/>
                <a:gd name="connsiteY645" fmla="*/ 3283172 h 7047620"/>
                <a:gd name="connsiteX646" fmla="*/ 7050004 w 9546932"/>
                <a:gd name="connsiteY646" fmla="*/ 3283172 h 7047620"/>
                <a:gd name="connsiteX647" fmla="*/ 7026180 w 9546932"/>
                <a:gd name="connsiteY647" fmla="*/ 3278404 h 7047620"/>
                <a:gd name="connsiteX648" fmla="*/ 7002356 w 9546932"/>
                <a:gd name="connsiteY648" fmla="*/ 3292700 h 7047620"/>
                <a:gd name="connsiteX649" fmla="*/ 6978528 w 9546932"/>
                <a:gd name="connsiteY649" fmla="*/ 3302232 h 7047620"/>
                <a:gd name="connsiteX650" fmla="*/ 6954704 w 9546932"/>
                <a:gd name="connsiteY650" fmla="*/ 3278404 h 7047620"/>
                <a:gd name="connsiteX651" fmla="*/ 6935644 w 9546932"/>
                <a:gd name="connsiteY651" fmla="*/ 3268876 h 7047620"/>
                <a:gd name="connsiteX652" fmla="*/ 6911816 w 9546932"/>
                <a:gd name="connsiteY652" fmla="*/ 3278404 h 7047620"/>
                <a:gd name="connsiteX653" fmla="*/ 6897520 w 9546932"/>
                <a:gd name="connsiteY653" fmla="*/ 3287936 h 7047620"/>
                <a:gd name="connsiteX654" fmla="*/ 6868932 w 9546932"/>
                <a:gd name="connsiteY654" fmla="*/ 3345116 h 7047620"/>
                <a:gd name="connsiteX655" fmla="*/ 6859400 w 9546932"/>
                <a:gd name="connsiteY655" fmla="*/ 3378472 h 7047620"/>
                <a:gd name="connsiteX656" fmla="*/ 6859400 w 9546932"/>
                <a:gd name="connsiteY656" fmla="*/ 3392768 h 7047620"/>
                <a:gd name="connsiteX657" fmla="*/ 6878460 w 9546932"/>
                <a:gd name="connsiteY657" fmla="*/ 3430888 h 7047620"/>
                <a:gd name="connsiteX658" fmla="*/ 6892756 w 9546932"/>
                <a:gd name="connsiteY658" fmla="*/ 3454716 h 7047620"/>
                <a:gd name="connsiteX659" fmla="*/ 6930876 w 9546932"/>
                <a:gd name="connsiteY659" fmla="*/ 3478540 h 7047620"/>
                <a:gd name="connsiteX660" fmla="*/ 7016648 w 9546932"/>
                <a:gd name="connsiteY660" fmla="*/ 3497600 h 7047620"/>
                <a:gd name="connsiteX661" fmla="*/ 7035708 w 9546932"/>
                <a:gd name="connsiteY661" fmla="*/ 3492836 h 7047620"/>
                <a:gd name="connsiteX662" fmla="*/ 7054772 w 9546932"/>
                <a:gd name="connsiteY662" fmla="*/ 3492836 h 7047620"/>
                <a:gd name="connsiteX663" fmla="*/ 7078596 w 9546932"/>
                <a:gd name="connsiteY663" fmla="*/ 3507132 h 7047620"/>
                <a:gd name="connsiteX664" fmla="*/ 7092892 w 9546932"/>
                <a:gd name="connsiteY664" fmla="*/ 3535724 h 7047620"/>
                <a:gd name="connsiteX665" fmla="*/ 7092892 w 9546932"/>
                <a:gd name="connsiteY665" fmla="*/ 3554784 h 7047620"/>
                <a:gd name="connsiteX666" fmla="*/ 7092892 w 9546932"/>
                <a:gd name="connsiteY666" fmla="*/ 3559548 h 7047620"/>
                <a:gd name="connsiteX667" fmla="*/ 7097656 w 9546932"/>
                <a:gd name="connsiteY667" fmla="*/ 3564312 h 7047620"/>
                <a:gd name="connsiteX668" fmla="*/ 7102420 w 9546932"/>
                <a:gd name="connsiteY668" fmla="*/ 3573844 h 7047620"/>
                <a:gd name="connsiteX669" fmla="*/ 7092892 w 9546932"/>
                <a:gd name="connsiteY669" fmla="*/ 3583372 h 7047620"/>
                <a:gd name="connsiteX670" fmla="*/ 7083360 w 9546932"/>
                <a:gd name="connsiteY670" fmla="*/ 3588140 h 7047620"/>
                <a:gd name="connsiteX671" fmla="*/ 7078596 w 9546932"/>
                <a:gd name="connsiteY671" fmla="*/ 3616728 h 7047620"/>
                <a:gd name="connsiteX672" fmla="*/ 7078596 w 9546932"/>
                <a:gd name="connsiteY672" fmla="*/ 3650084 h 7047620"/>
                <a:gd name="connsiteX673" fmla="*/ 7088124 w 9546932"/>
                <a:gd name="connsiteY673" fmla="*/ 3659616 h 7047620"/>
                <a:gd name="connsiteX674" fmla="*/ 7102420 w 9546932"/>
                <a:gd name="connsiteY674" fmla="*/ 3673912 h 7047620"/>
                <a:gd name="connsiteX675" fmla="*/ 7131012 w 9546932"/>
                <a:gd name="connsiteY675" fmla="*/ 3683440 h 7047620"/>
                <a:gd name="connsiteX676" fmla="*/ 7154836 w 9546932"/>
                <a:gd name="connsiteY676" fmla="*/ 3688208 h 7047620"/>
                <a:gd name="connsiteX677" fmla="*/ 7207256 w 9546932"/>
                <a:gd name="connsiteY677" fmla="*/ 3683440 h 7047620"/>
                <a:gd name="connsiteX678" fmla="*/ 7226316 w 9546932"/>
                <a:gd name="connsiteY678" fmla="*/ 3664380 h 7047620"/>
                <a:gd name="connsiteX679" fmla="*/ 7226316 w 9546932"/>
                <a:gd name="connsiteY679" fmla="*/ 3654852 h 7047620"/>
                <a:gd name="connsiteX680" fmla="*/ 7226316 w 9546932"/>
                <a:gd name="connsiteY680" fmla="*/ 3645320 h 7047620"/>
                <a:gd name="connsiteX681" fmla="*/ 7269200 w 9546932"/>
                <a:gd name="connsiteY681" fmla="*/ 3616728 h 7047620"/>
                <a:gd name="connsiteX682" fmla="*/ 7293028 w 9546932"/>
                <a:gd name="connsiteY682" fmla="*/ 3588140 h 7047620"/>
                <a:gd name="connsiteX683" fmla="*/ 7288260 w 9546932"/>
                <a:gd name="connsiteY683" fmla="*/ 3583372 h 7047620"/>
                <a:gd name="connsiteX684" fmla="*/ 7283496 w 9546932"/>
                <a:gd name="connsiteY684" fmla="*/ 3578608 h 7047620"/>
                <a:gd name="connsiteX685" fmla="*/ 7288260 w 9546932"/>
                <a:gd name="connsiteY685" fmla="*/ 3578608 h 7047620"/>
                <a:gd name="connsiteX686" fmla="*/ 7302556 w 9546932"/>
                <a:gd name="connsiteY686" fmla="*/ 3573844 h 7047620"/>
                <a:gd name="connsiteX687" fmla="*/ 7359740 w 9546932"/>
                <a:gd name="connsiteY687" fmla="*/ 3550016 h 7047620"/>
                <a:gd name="connsiteX688" fmla="*/ 7407388 w 9546932"/>
                <a:gd name="connsiteY688" fmla="*/ 3569080 h 7047620"/>
                <a:gd name="connsiteX689" fmla="*/ 7431216 w 9546932"/>
                <a:gd name="connsiteY689" fmla="*/ 3592904 h 7047620"/>
                <a:gd name="connsiteX690" fmla="*/ 7459804 w 9546932"/>
                <a:gd name="connsiteY690" fmla="*/ 3597668 h 7047620"/>
                <a:gd name="connsiteX691" fmla="*/ 7478868 w 9546932"/>
                <a:gd name="connsiteY691" fmla="*/ 3611964 h 7047620"/>
                <a:gd name="connsiteX692" fmla="*/ 7497928 w 9546932"/>
                <a:gd name="connsiteY692" fmla="*/ 3621496 h 7047620"/>
                <a:gd name="connsiteX693" fmla="*/ 7526516 w 9546932"/>
                <a:gd name="connsiteY693" fmla="*/ 3621496 h 7047620"/>
                <a:gd name="connsiteX694" fmla="*/ 7550344 w 9546932"/>
                <a:gd name="connsiteY694" fmla="*/ 3626260 h 7047620"/>
                <a:gd name="connsiteX695" fmla="*/ 7555108 w 9546932"/>
                <a:gd name="connsiteY695" fmla="*/ 3616728 h 7047620"/>
                <a:gd name="connsiteX696" fmla="*/ 7564640 w 9546932"/>
                <a:gd name="connsiteY696" fmla="*/ 3607200 h 7047620"/>
                <a:gd name="connsiteX697" fmla="*/ 7574168 w 9546932"/>
                <a:gd name="connsiteY697" fmla="*/ 3611964 h 7047620"/>
                <a:gd name="connsiteX698" fmla="*/ 7583700 w 9546932"/>
                <a:gd name="connsiteY698" fmla="*/ 3621496 h 7047620"/>
                <a:gd name="connsiteX699" fmla="*/ 7607524 w 9546932"/>
                <a:gd name="connsiteY699" fmla="*/ 3631024 h 7047620"/>
                <a:gd name="connsiteX700" fmla="*/ 7631352 w 9546932"/>
                <a:gd name="connsiteY700" fmla="*/ 3631024 h 7047620"/>
                <a:gd name="connsiteX701" fmla="*/ 7650412 w 9546932"/>
                <a:gd name="connsiteY701" fmla="*/ 3631024 h 7047620"/>
                <a:gd name="connsiteX702" fmla="*/ 7659940 w 9546932"/>
                <a:gd name="connsiteY702" fmla="*/ 3635792 h 7047620"/>
                <a:gd name="connsiteX703" fmla="*/ 7645644 w 9546932"/>
                <a:gd name="connsiteY703" fmla="*/ 3650084 h 7047620"/>
                <a:gd name="connsiteX704" fmla="*/ 7645644 w 9546932"/>
                <a:gd name="connsiteY704" fmla="*/ 3678676 h 7047620"/>
                <a:gd name="connsiteX705" fmla="*/ 7636116 w 9546932"/>
                <a:gd name="connsiteY705" fmla="*/ 3688208 h 7047620"/>
                <a:gd name="connsiteX706" fmla="*/ 7626584 w 9546932"/>
                <a:gd name="connsiteY706" fmla="*/ 3697736 h 7047620"/>
                <a:gd name="connsiteX707" fmla="*/ 7631352 w 9546932"/>
                <a:gd name="connsiteY707" fmla="*/ 3707268 h 7047620"/>
                <a:gd name="connsiteX708" fmla="*/ 7636116 w 9546932"/>
                <a:gd name="connsiteY708" fmla="*/ 3712032 h 7047620"/>
                <a:gd name="connsiteX709" fmla="*/ 7636116 w 9546932"/>
                <a:gd name="connsiteY709" fmla="*/ 3721564 h 7047620"/>
                <a:gd name="connsiteX710" fmla="*/ 7626584 w 9546932"/>
                <a:gd name="connsiteY710" fmla="*/ 3731092 h 7047620"/>
                <a:gd name="connsiteX711" fmla="*/ 7607524 w 9546932"/>
                <a:gd name="connsiteY711" fmla="*/ 3745388 h 7047620"/>
                <a:gd name="connsiteX712" fmla="*/ 7597996 w 9546932"/>
                <a:gd name="connsiteY712" fmla="*/ 3745388 h 7047620"/>
                <a:gd name="connsiteX713" fmla="*/ 7593228 w 9546932"/>
                <a:gd name="connsiteY713" fmla="*/ 3740624 h 7047620"/>
                <a:gd name="connsiteX714" fmla="*/ 7588464 w 9546932"/>
                <a:gd name="connsiteY714" fmla="*/ 3735856 h 7047620"/>
                <a:gd name="connsiteX715" fmla="*/ 7588464 w 9546932"/>
                <a:gd name="connsiteY715" fmla="*/ 3726328 h 7047620"/>
                <a:gd name="connsiteX716" fmla="*/ 7578936 w 9546932"/>
                <a:gd name="connsiteY716" fmla="*/ 3721564 h 7047620"/>
                <a:gd name="connsiteX717" fmla="*/ 7564640 w 9546932"/>
                <a:gd name="connsiteY717" fmla="*/ 3716796 h 7047620"/>
                <a:gd name="connsiteX718" fmla="*/ 7545580 w 9546932"/>
                <a:gd name="connsiteY718" fmla="*/ 3721564 h 7047620"/>
                <a:gd name="connsiteX719" fmla="*/ 7502692 w 9546932"/>
                <a:gd name="connsiteY719" fmla="*/ 3745388 h 7047620"/>
                <a:gd name="connsiteX720" fmla="*/ 7464572 w 9546932"/>
                <a:gd name="connsiteY720" fmla="*/ 3764448 h 7047620"/>
                <a:gd name="connsiteX721" fmla="*/ 7421684 w 9546932"/>
                <a:gd name="connsiteY721" fmla="*/ 3778744 h 7047620"/>
                <a:gd name="connsiteX722" fmla="*/ 7407388 w 9546932"/>
                <a:gd name="connsiteY722" fmla="*/ 3788276 h 7047620"/>
                <a:gd name="connsiteX723" fmla="*/ 7397860 w 9546932"/>
                <a:gd name="connsiteY723" fmla="*/ 3793040 h 7047620"/>
                <a:gd name="connsiteX724" fmla="*/ 7378800 w 9546932"/>
                <a:gd name="connsiteY724" fmla="*/ 3783508 h 7047620"/>
                <a:gd name="connsiteX725" fmla="*/ 7369268 w 9546932"/>
                <a:gd name="connsiteY725" fmla="*/ 3783508 h 7047620"/>
                <a:gd name="connsiteX726" fmla="*/ 7369268 w 9546932"/>
                <a:gd name="connsiteY726" fmla="*/ 3788276 h 7047620"/>
                <a:gd name="connsiteX727" fmla="*/ 7378800 w 9546932"/>
                <a:gd name="connsiteY727" fmla="*/ 3802568 h 7047620"/>
                <a:gd name="connsiteX728" fmla="*/ 7383564 w 9546932"/>
                <a:gd name="connsiteY728" fmla="*/ 3812100 h 7047620"/>
                <a:gd name="connsiteX729" fmla="*/ 7383564 w 9546932"/>
                <a:gd name="connsiteY729" fmla="*/ 3821632 h 7047620"/>
                <a:gd name="connsiteX730" fmla="*/ 7374036 w 9546932"/>
                <a:gd name="connsiteY730" fmla="*/ 3826396 h 7047620"/>
                <a:gd name="connsiteX731" fmla="*/ 7364504 w 9546932"/>
                <a:gd name="connsiteY731" fmla="*/ 3816864 h 7047620"/>
                <a:gd name="connsiteX732" fmla="*/ 7354972 w 9546932"/>
                <a:gd name="connsiteY732" fmla="*/ 3826396 h 7047620"/>
                <a:gd name="connsiteX733" fmla="*/ 7350208 w 9546932"/>
                <a:gd name="connsiteY733" fmla="*/ 3840692 h 7047620"/>
                <a:gd name="connsiteX734" fmla="*/ 7350208 w 9546932"/>
                <a:gd name="connsiteY734" fmla="*/ 3874048 h 7047620"/>
                <a:gd name="connsiteX735" fmla="*/ 7340676 w 9546932"/>
                <a:gd name="connsiteY735" fmla="*/ 3883576 h 7047620"/>
                <a:gd name="connsiteX736" fmla="*/ 7321616 w 9546932"/>
                <a:gd name="connsiteY736" fmla="*/ 3888340 h 7047620"/>
                <a:gd name="connsiteX737" fmla="*/ 7302556 w 9546932"/>
                <a:gd name="connsiteY737" fmla="*/ 3897872 h 7047620"/>
                <a:gd name="connsiteX738" fmla="*/ 7297792 w 9546932"/>
                <a:gd name="connsiteY738" fmla="*/ 3893108 h 7047620"/>
                <a:gd name="connsiteX739" fmla="*/ 7293028 w 9546932"/>
                <a:gd name="connsiteY739" fmla="*/ 3883576 h 7047620"/>
                <a:gd name="connsiteX740" fmla="*/ 7297792 w 9546932"/>
                <a:gd name="connsiteY740" fmla="*/ 3869280 h 7047620"/>
                <a:gd name="connsiteX741" fmla="*/ 7293028 w 9546932"/>
                <a:gd name="connsiteY741" fmla="*/ 3864516 h 7047620"/>
                <a:gd name="connsiteX742" fmla="*/ 7283496 w 9546932"/>
                <a:gd name="connsiteY742" fmla="*/ 3864516 h 7047620"/>
                <a:gd name="connsiteX743" fmla="*/ 7273964 w 9546932"/>
                <a:gd name="connsiteY743" fmla="*/ 3869280 h 7047620"/>
                <a:gd name="connsiteX744" fmla="*/ 7259672 w 9546932"/>
                <a:gd name="connsiteY744" fmla="*/ 3878812 h 7047620"/>
                <a:gd name="connsiteX745" fmla="*/ 7259672 w 9546932"/>
                <a:gd name="connsiteY745" fmla="*/ 3883576 h 7047620"/>
                <a:gd name="connsiteX746" fmla="*/ 7269200 w 9546932"/>
                <a:gd name="connsiteY746" fmla="*/ 3902636 h 7047620"/>
                <a:gd name="connsiteX747" fmla="*/ 7283496 w 9546932"/>
                <a:gd name="connsiteY747" fmla="*/ 3907404 h 7047620"/>
                <a:gd name="connsiteX748" fmla="*/ 7288260 w 9546932"/>
                <a:gd name="connsiteY748" fmla="*/ 3912168 h 7047620"/>
                <a:gd name="connsiteX749" fmla="*/ 7278732 w 9546932"/>
                <a:gd name="connsiteY749" fmla="*/ 3921696 h 7047620"/>
                <a:gd name="connsiteX750" fmla="*/ 7250140 w 9546932"/>
                <a:gd name="connsiteY750" fmla="*/ 3935992 h 7047620"/>
                <a:gd name="connsiteX751" fmla="*/ 7245376 w 9546932"/>
                <a:gd name="connsiteY751" fmla="*/ 3945524 h 7047620"/>
                <a:gd name="connsiteX752" fmla="*/ 7240612 w 9546932"/>
                <a:gd name="connsiteY752" fmla="*/ 3955052 h 7047620"/>
                <a:gd name="connsiteX753" fmla="*/ 7231080 w 9546932"/>
                <a:gd name="connsiteY753" fmla="*/ 3964584 h 7047620"/>
                <a:gd name="connsiteX754" fmla="*/ 7221548 w 9546932"/>
                <a:gd name="connsiteY754" fmla="*/ 3974116 h 7047620"/>
                <a:gd name="connsiteX755" fmla="*/ 7212020 w 9546932"/>
                <a:gd name="connsiteY755" fmla="*/ 3978880 h 7047620"/>
                <a:gd name="connsiteX756" fmla="*/ 7197724 w 9546932"/>
                <a:gd name="connsiteY756" fmla="*/ 3988408 h 7047620"/>
                <a:gd name="connsiteX757" fmla="*/ 7183428 w 9546932"/>
                <a:gd name="connsiteY757" fmla="*/ 4007472 h 7047620"/>
                <a:gd name="connsiteX758" fmla="*/ 7169132 w 9546932"/>
                <a:gd name="connsiteY758" fmla="*/ 4031296 h 7047620"/>
                <a:gd name="connsiteX759" fmla="*/ 7154836 w 9546932"/>
                <a:gd name="connsiteY759" fmla="*/ 4040824 h 7047620"/>
                <a:gd name="connsiteX760" fmla="*/ 7140544 w 9546932"/>
                <a:gd name="connsiteY760" fmla="*/ 4078948 h 7047620"/>
                <a:gd name="connsiteX761" fmla="*/ 7121484 w 9546932"/>
                <a:gd name="connsiteY761" fmla="*/ 4098008 h 7047620"/>
                <a:gd name="connsiteX762" fmla="*/ 7111952 w 9546932"/>
                <a:gd name="connsiteY762" fmla="*/ 4126600 h 7047620"/>
                <a:gd name="connsiteX763" fmla="*/ 7116716 w 9546932"/>
                <a:gd name="connsiteY763" fmla="*/ 4145660 h 7047620"/>
                <a:gd name="connsiteX764" fmla="*/ 7140544 w 9546932"/>
                <a:gd name="connsiteY764" fmla="*/ 4145660 h 7047620"/>
                <a:gd name="connsiteX765" fmla="*/ 7154836 w 9546932"/>
                <a:gd name="connsiteY765" fmla="*/ 4155188 h 7047620"/>
                <a:gd name="connsiteX766" fmla="*/ 7178664 w 9546932"/>
                <a:gd name="connsiteY766" fmla="*/ 4179016 h 7047620"/>
                <a:gd name="connsiteX767" fmla="*/ 7207256 w 9546932"/>
                <a:gd name="connsiteY767" fmla="*/ 4193312 h 7047620"/>
                <a:gd name="connsiteX768" fmla="*/ 7235844 w 9546932"/>
                <a:gd name="connsiteY768" fmla="*/ 4202840 h 7047620"/>
                <a:gd name="connsiteX769" fmla="*/ 7273964 w 9546932"/>
                <a:gd name="connsiteY769" fmla="*/ 4226668 h 7047620"/>
                <a:gd name="connsiteX770" fmla="*/ 7283496 w 9546932"/>
                <a:gd name="connsiteY770" fmla="*/ 4236196 h 7047620"/>
                <a:gd name="connsiteX771" fmla="*/ 7293028 w 9546932"/>
                <a:gd name="connsiteY771" fmla="*/ 4255256 h 7047620"/>
                <a:gd name="connsiteX772" fmla="*/ 7312088 w 9546932"/>
                <a:gd name="connsiteY772" fmla="*/ 4312440 h 7047620"/>
                <a:gd name="connsiteX773" fmla="*/ 7321616 w 9546932"/>
                <a:gd name="connsiteY773" fmla="*/ 4341028 h 7047620"/>
                <a:gd name="connsiteX774" fmla="*/ 7321616 w 9546932"/>
                <a:gd name="connsiteY774" fmla="*/ 4355324 h 7047620"/>
                <a:gd name="connsiteX775" fmla="*/ 7340676 w 9546932"/>
                <a:gd name="connsiteY775" fmla="*/ 4383916 h 7047620"/>
                <a:gd name="connsiteX776" fmla="*/ 7359740 w 9546932"/>
                <a:gd name="connsiteY776" fmla="*/ 4431568 h 7047620"/>
                <a:gd name="connsiteX777" fmla="*/ 7378800 w 9546932"/>
                <a:gd name="connsiteY777" fmla="*/ 4474452 h 7047620"/>
                <a:gd name="connsiteX778" fmla="*/ 7383564 w 9546932"/>
                <a:gd name="connsiteY778" fmla="*/ 4503044 h 7047620"/>
                <a:gd name="connsiteX779" fmla="*/ 7374036 w 9546932"/>
                <a:gd name="connsiteY779" fmla="*/ 4522104 h 7047620"/>
                <a:gd name="connsiteX780" fmla="*/ 7374036 w 9546932"/>
                <a:gd name="connsiteY780" fmla="*/ 4536400 h 7047620"/>
                <a:gd name="connsiteX781" fmla="*/ 7397860 w 9546932"/>
                <a:gd name="connsiteY781" fmla="*/ 4555460 h 7047620"/>
                <a:gd name="connsiteX782" fmla="*/ 7445512 w 9546932"/>
                <a:gd name="connsiteY782" fmla="*/ 4574520 h 7047620"/>
                <a:gd name="connsiteX783" fmla="*/ 7450276 w 9546932"/>
                <a:gd name="connsiteY783" fmla="*/ 4584052 h 7047620"/>
                <a:gd name="connsiteX784" fmla="*/ 7459804 w 9546932"/>
                <a:gd name="connsiteY784" fmla="*/ 4593580 h 7047620"/>
                <a:gd name="connsiteX785" fmla="*/ 7459804 w 9546932"/>
                <a:gd name="connsiteY785" fmla="*/ 4622172 h 7047620"/>
                <a:gd name="connsiteX786" fmla="*/ 7469336 w 9546932"/>
                <a:gd name="connsiteY786" fmla="*/ 4631700 h 7047620"/>
                <a:gd name="connsiteX787" fmla="*/ 7474100 w 9546932"/>
                <a:gd name="connsiteY787" fmla="*/ 4641232 h 7047620"/>
                <a:gd name="connsiteX788" fmla="*/ 7502692 w 9546932"/>
                <a:gd name="connsiteY788" fmla="*/ 4650764 h 7047620"/>
                <a:gd name="connsiteX789" fmla="*/ 7516988 w 9546932"/>
                <a:gd name="connsiteY789" fmla="*/ 4660292 h 7047620"/>
                <a:gd name="connsiteX790" fmla="*/ 7531284 w 9546932"/>
                <a:gd name="connsiteY790" fmla="*/ 4679352 h 7047620"/>
                <a:gd name="connsiteX791" fmla="*/ 7531284 w 9546932"/>
                <a:gd name="connsiteY791" fmla="*/ 4693648 h 7047620"/>
                <a:gd name="connsiteX792" fmla="*/ 7536048 w 9546932"/>
                <a:gd name="connsiteY792" fmla="*/ 4717476 h 7047620"/>
                <a:gd name="connsiteX793" fmla="*/ 7516988 w 9546932"/>
                <a:gd name="connsiteY793" fmla="*/ 4717476 h 7047620"/>
                <a:gd name="connsiteX794" fmla="*/ 7502692 w 9546932"/>
                <a:gd name="connsiteY794" fmla="*/ 4712708 h 7047620"/>
                <a:gd name="connsiteX795" fmla="*/ 7455040 w 9546932"/>
                <a:gd name="connsiteY795" fmla="*/ 4688884 h 7047620"/>
                <a:gd name="connsiteX796" fmla="*/ 7440744 w 9546932"/>
                <a:gd name="connsiteY796" fmla="*/ 4684120 h 7047620"/>
                <a:gd name="connsiteX797" fmla="*/ 7421684 w 9546932"/>
                <a:gd name="connsiteY797" fmla="*/ 4688884 h 7047620"/>
                <a:gd name="connsiteX798" fmla="*/ 7393096 w 9546932"/>
                <a:gd name="connsiteY798" fmla="*/ 4684120 h 7047620"/>
                <a:gd name="connsiteX799" fmla="*/ 7364504 w 9546932"/>
                <a:gd name="connsiteY799" fmla="*/ 4655528 h 7047620"/>
                <a:gd name="connsiteX800" fmla="*/ 7345444 w 9546932"/>
                <a:gd name="connsiteY800" fmla="*/ 4645996 h 7047620"/>
                <a:gd name="connsiteX801" fmla="*/ 7321616 w 9546932"/>
                <a:gd name="connsiteY801" fmla="*/ 4641232 h 7047620"/>
                <a:gd name="connsiteX802" fmla="*/ 7273964 w 9546932"/>
                <a:gd name="connsiteY802" fmla="*/ 4665056 h 7047620"/>
                <a:gd name="connsiteX803" fmla="*/ 7259672 w 9546932"/>
                <a:gd name="connsiteY803" fmla="*/ 4665056 h 7047620"/>
                <a:gd name="connsiteX804" fmla="*/ 7254904 w 9546932"/>
                <a:gd name="connsiteY804" fmla="*/ 4669824 h 7047620"/>
                <a:gd name="connsiteX805" fmla="*/ 7250140 w 9546932"/>
                <a:gd name="connsiteY805" fmla="*/ 4674588 h 7047620"/>
                <a:gd name="connsiteX806" fmla="*/ 7273964 w 9546932"/>
                <a:gd name="connsiteY806" fmla="*/ 4679352 h 7047620"/>
                <a:gd name="connsiteX807" fmla="*/ 7297792 w 9546932"/>
                <a:gd name="connsiteY807" fmla="*/ 4669824 h 7047620"/>
                <a:gd name="connsiteX808" fmla="*/ 7321616 w 9546932"/>
                <a:gd name="connsiteY808" fmla="*/ 4655528 h 7047620"/>
                <a:gd name="connsiteX809" fmla="*/ 7354972 w 9546932"/>
                <a:gd name="connsiteY809" fmla="*/ 4665056 h 7047620"/>
                <a:gd name="connsiteX810" fmla="*/ 7359740 w 9546932"/>
                <a:gd name="connsiteY810" fmla="*/ 4674588 h 7047620"/>
                <a:gd name="connsiteX811" fmla="*/ 7364504 w 9546932"/>
                <a:gd name="connsiteY811" fmla="*/ 4693648 h 7047620"/>
                <a:gd name="connsiteX812" fmla="*/ 7388328 w 9546932"/>
                <a:gd name="connsiteY812" fmla="*/ 4707944 h 7047620"/>
                <a:gd name="connsiteX813" fmla="*/ 7407388 w 9546932"/>
                <a:gd name="connsiteY813" fmla="*/ 4712708 h 7047620"/>
                <a:gd name="connsiteX814" fmla="*/ 7431216 w 9546932"/>
                <a:gd name="connsiteY814" fmla="*/ 4727004 h 7047620"/>
                <a:gd name="connsiteX815" fmla="*/ 7455040 w 9546932"/>
                <a:gd name="connsiteY815" fmla="*/ 4755596 h 7047620"/>
                <a:gd name="connsiteX816" fmla="*/ 7502692 w 9546932"/>
                <a:gd name="connsiteY816" fmla="*/ 4784184 h 7047620"/>
                <a:gd name="connsiteX817" fmla="*/ 7521752 w 9546932"/>
                <a:gd name="connsiteY817" fmla="*/ 4812776 h 7047620"/>
                <a:gd name="connsiteX818" fmla="*/ 7531284 w 9546932"/>
                <a:gd name="connsiteY818" fmla="*/ 4831836 h 7047620"/>
                <a:gd name="connsiteX819" fmla="*/ 7536048 w 9546932"/>
                <a:gd name="connsiteY819" fmla="*/ 4860428 h 7047620"/>
                <a:gd name="connsiteX820" fmla="*/ 7516988 w 9546932"/>
                <a:gd name="connsiteY820" fmla="*/ 4865192 h 7047620"/>
                <a:gd name="connsiteX821" fmla="*/ 7502692 w 9546932"/>
                <a:gd name="connsiteY821" fmla="*/ 4869960 h 7047620"/>
                <a:gd name="connsiteX822" fmla="*/ 7483632 w 9546932"/>
                <a:gd name="connsiteY822" fmla="*/ 4874724 h 7047620"/>
                <a:gd name="connsiteX823" fmla="*/ 7464572 w 9546932"/>
                <a:gd name="connsiteY823" fmla="*/ 4884252 h 7047620"/>
                <a:gd name="connsiteX824" fmla="*/ 7445512 w 9546932"/>
                <a:gd name="connsiteY824" fmla="*/ 4898548 h 7047620"/>
                <a:gd name="connsiteX825" fmla="*/ 7397860 w 9546932"/>
                <a:gd name="connsiteY825" fmla="*/ 4922376 h 7047620"/>
                <a:gd name="connsiteX826" fmla="*/ 7388328 w 9546932"/>
                <a:gd name="connsiteY826" fmla="*/ 4941436 h 7047620"/>
                <a:gd name="connsiteX827" fmla="*/ 7383564 w 9546932"/>
                <a:gd name="connsiteY827" fmla="*/ 4955732 h 7047620"/>
                <a:gd name="connsiteX828" fmla="*/ 7369268 w 9546932"/>
                <a:gd name="connsiteY828" fmla="*/ 4960496 h 7047620"/>
                <a:gd name="connsiteX829" fmla="*/ 7340676 w 9546932"/>
                <a:gd name="connsiteY829" fmla="*/ 4955732 h 7047620"/>
                <a:gd name="connsiteX830" fmla="*/ 7312088 w 9546932"/>
                <a:gd name="connsiteY830" fmla="*/ 4955732 h 7047620"/>
                <a:gd name="connsiteX831" fmla="*/ 7283496 w 9546932"/>
                <a:gd name="connsiteY831" fmla="*/ 4974792 h 7047620"/>
                <a:gd name="connsiteX832" fmla="*/ 7273964 w 9546932"/>
                <a:gd name="connsiteY832" fmla="*/ 4979556 h 7047620"/>
                <a:gd name="connsiteX833" fmla="*/ 7278732 w 9546932"/>
                <a:gd name="connsiteY833" fmla="*/ 4979556 h 7047620"/>
                <a:gd name="connsiteX834" fmla="*/ 7283496 w 9546932"/>
                <a:gd name="connsiteY834" fmla="*/ 4979556 h 7047620"/>
                <a:gd name="connsiteX835" fmla="*/ 7297792 w 9546932"/>
                <a:gd name="connsiteY835" fmla="*/ 4979556 h 7047620"/>
                <a:gd name="connsiteX836" fmla="*/ 7321616 w 9546932"/>
                <a:gd name="connsiteY836" fmla="*/ 4970024 h 7047620"/>
                <a:gd name="connsiteX837" fmla="*/ 7340676 w 9546932"/>
                <a:gd name="connsiteY837" fmla="*/ 5003380 h 7047620"/>
                <a:gd name="connsiteX838" fmla="*/ 7383564 w 9546932"/>
                <a:gd name="connsiteY838" fmla="*/ 4998616 h 7047620"/>
                <a:gd name="connsiteX839" fmla="*/ 7421684 w 9546932"/>
                <a:gd name="connsiteY839" fmla="*/ 4970024 h 7047620"/>
                <a:gd name="connsiteX840" fmla="*/ 7440744 w 9546932"/>
                <a:gd name="connsiteY840" fmla="*/ 4970024 h 7047620"/>
                <a:gd name="connsiteX841" fmla="*/ 7450276 w 9546932"/>
                <a:gd name="connsiteY841" fmla="*/ 4974792 h 7047620"/>
                <a:gd name="connsiteX842" fmla="*/ 7469336 w 9546932"/>
                <a:gd name="connsiteY842" fmla="*/ 4984320 h 7047620"/>
                <a:gd name="connsiteX843" fmla="*/ 7502692 w 9546932"/>
                <a:gd name="connsiteY843" fmla="*/ 5027208 h 7047620"/>
                <a:gd name="connsiteX844" fmla="*/ 7526516 w 9546932"/>
                <a:gd name="connsiteY844" fmla="*/ 5031972 h 7047620"/>
                <a:gd name="connsiteX845" fmla="*/ 7545580 w 9546932"/>
                <a:gd name="connsiteY845" fmla="*/ 5046268 h 7047620"/>
                <a:gd name="connsiteX846" fmla="*/ 7559876 w 9546932"/>
                <a:gd name="connsiteY846" fmla="*/ 5046268 h 7047620"/>
                <a:gd name="connsiteX847" fmla="*/ 7569404 w 9546932"/>
                <a:gd name="connsiteY847" fmla="*/ 5051032 h 7047620"/>
                <a:gd name="connsiteX848" fmla="*/ 7540812 w 9546932"/>
                <a:gd name="connsiteY848" fmla="*/ 5065328 h 7047620"/>
                <a:gd name="connsiteX849" fmla="*/ 7502692 w 9546932"/>
                <a:gd name="connsiteY849" fmla="*/ 5098684 h 7047620"/>
                <a:gd name="connsiteX850" fmla="*/ 7488396 w 9546932"/>
                <a:gd name="connsiteY850" fmla="*/ 5108216 h 7047620"/>
                <a:gd name="connsiteX851" fmla="*/ 7478868 w 9546932"/>
                <a:gd name="connsiteY851" fmla="*/ 5117744 h 7047620"/>
                <a:gd name="connsiteX852" fmla="*/ 7507456 w 9546932"/>
                <a:gd name="connsiteY852" fmla="*/ 5112980 h 7047620"/>
                <a:gd name="connsiteX853" fmla="*/ 7526516 w 9546932"/>
                <a:gd name="connsiteY853" fmla="*/ 5098684 h 7047620"/>
                <a:gd name="connsiteX854" fmla="*/ 7536048 w 9546932"/>
                <a:gd name="connsiteY854" fmla="*/ 5093920 h 7047620"/>
                <a:gd name="connsiteX855" fmla="*/ 7545580 w 9546932"/>
                <a:gd name="connsiteY855" fmla="*/ 5098684 h 7047620"/>
                <a:gd name="connsiteX856" fmla="*/ 7550344 w 9546932"/>
                <a:gd name="connsiteY856" fmla="*/ 5117744 h 7047620"/>
                <a:gd name="connsiteX857" fmla="*/ 7540812 w 9546932"/>
                <a:gd name="connsiteY857" fmla="*/ 5179692 h 7047620"/>
                <a:gd name="connsiteX858" fmla="*/ 7531284 w 9546932"/>
                <a:gd name="connsiteY858" fmla="*/ 5179692 h 7047620"/>
                <a:gd name="connsiteX859" fmla="*/ 7521752 w 9546932"/>
                <a:gd name="connsiteY859" fmla="*/ 5165396 h 7047620"/>
                <a:gd name="connsiteX860" fmla="*/ 7512224 w 9546932"/>
                <a:gd name="connsiteY860" fmla="*/ 5160632 h 7047620"/>
                <a:gd name="connsiteX861" fmla="*/ 7502692 w 9546932"/>
                <a:gd name="connsiteY861" fmla="*/ 5160632 h 7047620"/>
                <a:gd name="connsiteX862" fmla="*/ 7483632 w 9546932"/>
                <a:gd name="connsiteY862" fmla="*/ 5160632 h 7047620"/>
                <a:gd name="connsiteX863" fmla="*/ 7474100 w 9546932"/>
                <a:gd name="connsiteY863" fmla="*/ 5170160 h 7047620"/>
                <a:gd name="connsiteX864" fmla="*/ 7469336 w 9546932"/>
                <a:gd name="connsiteY864" fmla="*/ 5179692 h 7047620"/>
                <a:gd name="connsiteX865" fmla="*/ 7478868 w 9546932"/>
                <a:gd name="connsiteY865" fmla="*/ 5184456 h 7047620"/>
                <a:gd name="connsiteX866" fmla="*/ 7502692 w 9546932"/>
                <a:gd name="connsiteY866" fmla="*/ 5203516 h 7047620"/>
                <a:gd name="connsiteX867" fmla="*/ 7502692 w 9546932"/>
                <a:gd name="connsiteY867" fmla="*/ 5213048 h 7047620"/>
                <a:gd name="connsiteX868" fmla="*/ 7497928 w 9546932"/>
                <a:gd name="connsiteY868" fmla="*/ 5217812 h 7047620"/>
                <a:gd name="connsiteX869" fmla="*/ 7483632 w 9546932"/>
                <a:gd name="connsiteY869" fmla="*/ 5217812 h 7047620"/>
                <a:gd name="connsiteX870" fmla="*/ 7502692 w 9546932"/>
                <a:gd name="connsiteY870" fmla="*/ 5232108 h 7047620"/>
                <a:gd name="connsiteX871" fmla="*/ 7497928 w 9546932"/>
                <a:gd name="connsiteY871" fmla="*/ 5246404 h 7047620"/>
                <a:gd name="connsiteX872" fmla="*/ 7493164 w 9546932"/>
                <a:gd name="connsiteY872" fmla="*/ 5251168 h 7047620"/>
                <a:gd name="connsiteX873" fmla="*/ 7478868 w 9546932"/>
                <a:gd name="connsiteY873" fmla="*/ 5255932 h 7047620"/>
                <a:gd name="connsiteX874" fmla="*/ 7474100 w 9546932"/>
                <a:gd name="connsiteY874" fmla="*/ 5270228 h 7047620"/>
                <a:gd name="connsiteX875" fmla="*/ 7483632 w 9546932"/>
                <a:gd name="connsiteY875" fmla="*/ 5289288 h 7047620"/>
                <a:gd name="connsiteX876" fmla="*/ 7493164 w 9546932"/>
                <a:gd name="connsiteY876" fmla="*/ 5317880 h 7047620"/>
                <a:gd name="connsiteX877" fmla="*/ 7493164 w 9546932"/>
                <a:gd name="connsiteY877" fmla="*/ 5332176 h 7047620"/>
                <a:gd name="connsiteX878" fmla="*/ 7478868 w 9546932"/>
                <a:gd name="connsiteY878" fmla="*/ 5327412 h 7047620"/>
                <a:gd name="connsiteX879" fmla="*/ 7455040 w 9546932"/>
                <a:gd name="connsiteY879" fmla="*/ 5341704 h 7047620"/>
                <a:gd name="connsiteX880" fmla="*/ 7440744 w 9546932"/>
                <a:gd name="connsiteY880" fmla="*/ 5341704 h 7047620"/>
                <a:gd name="connsiteX881" fmla="*/ 7431216 w 9546932"/>
                <a:gd name="connsiteY881" fmla="*/ 5322644 h 7047620"/>
                <a:gd name="connsiteX882" fmla="*/ 7421684 w 9546932"/>
                <a:gd name="connsiteY882" fmla="*/ 5322644 h 7047620"/>
                <a:gd name="connsiteX883" fmla="*/ 7412156 w 9546932"/>
                <a:gd name="connsiteY883" fmla="*/ 5332176 h 7047620"/>
                <a:gd name="connsiteX884" fmla="*/ 7402624 w 9546932"/>
                <a:gd name="connsiteY884" fmla="*/ 5356000 h 7047620"/>
                <a:gd name="connsiteX885" fmla="*/ 7393096 w 9546932"/>
                <a:gd name="connsiteY885" fmla="*/ 5375060 h 7047620"/>
                <a:gd name="connsiteX886" fmla="*/ 7383564 w 9546932"/>
                <a:gd name="connsiteY886" fmla="*/ 5384592 h 7047620"/>
                <a:gd name="connsiteX887" fmla="*/ 7369268 w 9546932"/>
                <a:gd name="connsiteY887" fmla="*/ 5379828 h 7047620"/>
                <a:gd name="connsiteX888" fmla="*/ 7359740 w 9546932"/>
                <a:gd name="connsiteY888" fmla="*/ 5379828 h 7047620"/>
                <a:gd name="connsiteX889" fmla="*/ 7359740 w 9546932"/>
                <a:gd name="connsiteY889" fmla="*/ 5384592 h 7047620"/>
                <a:gd name="connsiteX890" fmla="*/ 7374036 w 9546932"/>
                <a:gd name="connsiteY890" fmla="*/ 5394124 h 7047620"/>
                <a:gd name="connsiteX891" fmla="*/ 7374036 w 9546932"/>
                <a:gd name="connsiteY891" fmla="*/ 5403652 h 7047620"/>
                <a:gd name="connsiteX892" fmla="*/ 7350208 w 9546932"/>
                <a:gd name="connsiteY892" fmla="*/ 5427480 h 7047620"/>
                <a:gd name="connsiteX893" fmla="*/ 7345444 w 9546932"/>
                <a:gd name="connsiteY893" fmla="*/ 5437008 h 7047620"/>
                <a:gd name="connsiteX894" fmla="*/ 7345444 w 9546932"/>
                <a:gd name="connsiteY894" fmla="*/ 5446540 h 7047620"/>
                <a:gd name="connsiteX895" fmla="*/ 7335912 w 9546932"/>
                <a:gd name="connsiteY895" fmla="*/ 5456068 h 7047620"/>
                <a:gd name="connsiteX896" fmla="*/ 7340676 w 9546932"/>
                <a:gd name="connsiteY896" fmla="*/ 5475128 h 7047620"/>
                <a:gd name="connsiteX897" fmla="*/ 7335912 w 9546932"/>
                <a:gd name="connsiteY897" fmla="*/ 5484660 h 7047620"/>
                <a:gd name="connsiteX898" fmla="*/ 7326384 w 9546932"/>
                <a:gd name="connsiteY898" fmla="*/ 5503720 h 7047620"/>
                <a:gd name="connsiteX899" fmla="*/ 7316852 w 9546932"/>
                <a:gd name="connsiteY899" fmla="*/ 5513252 h 7047620"/>
                <a:gd name="connsiteX900" fmla="*/ 7302556 w 9546932"/>
                <a:gd name="connsiteY900" fmla="*/ 5532312 h 7047620"/>
                <a:gd name="connsiteX901" fmla="*/ 7288260 w 9546932"/>
                <a:gd name="connsiteY901" fmla="*/ 5541840 h 7047620"/>
                <a:gd name="connsiteX902" fmla="*/ 7264436 w 9546932"/>
                <a:gd name="connsiteY902" fmla="*/ 5579964 h 7047620"/>
                <a:gd name="connsiteX903" fmla="*/ 7259672 w 9546932"/>
                <a:gd name="connsiteY903" fmla="*/ 5599024 h 7047620"/>
                <a:gd name="connsiteX904" fmla="*/ 7254904 w 9546932"/>
                <a:gd name="connsiteY904" fmla="*/ 5618084 h 7047620"/>
                <a:gd name="connsiteX905" fmla="*/ 7250140 w 9546932"/>
                <a:gd name="connsiteY905" fmla="*/ 5622848 h 7047620"/>
                <a:gd name="connsiteX906" fmla="*/ 7235844 w 9546932"/>
                <a:gd name="connsiteY906" fmla="*/ 5632380 h 7047620"/>
                <a:gd name="connsiteX907" fmla="*/ 7226316 w 9546932"/>
                <a:gd name="connsiteY907" fmla="*/ 5627612 h 7047620"/>
                <a:gd name="connsiteX908" fmla="*/ 7226316 w 9546932"/>
                <a:gd name="connsiteY908" fmla="*/ 5613320 h 7047620"/>
                <a:gd name="connsiteX909" fmla="*/ 7216784 w 9546932"/>
                <a:gd name="connsiteY909" fmla="*/ 5613320 h 7047620"/>
                <a:gd name="connsiteX910" fmla="*/ 7216784 w 9546932"/>
                <a:gd name="connsiteY910" fmla="*/ 5603788 h 7047620"/>
                <a:gd name="connsiteX911" fmla="*/ 7212020 w 9546932"/>
                <a:gd name="connsiteY911" fmla="*/ 5594256 h 7047620"/>
                <a:gd name="connsiteX912" fmla="*/ 7216784 w 9546932"/>
                <a:gd name="connsiteY912" fmla="*/ 5584728 h 7047620"/>
                <a:gd name="connsiteX913" fmla="*/ 7207256 w 9546932"/>
                <a:gd name="connsiteY913" fmla="*/ 5589492 h 7047620"/>
                <a:gd name="connsiteX914" fmla="*/ 7207256 w 9546932"/>
                <a:gd name="connsiteY914" fmla="*/ 5599024 h 7047620"/>
                <a:gd name="connsiteX915" fmla="*/ 7197724 w 9546932"/>
                <a:gd name="connsiteY915" fmla="*/ 5608552 h 7047620"/>
                <a:gd name="connsiteX916" fmla="*/ 7188196 w 9546932"/>
                <a:gd name="connsiteY916" fmla="*/ 5603788 h 7047620"/>
                <a:gd name="connsiteX917" fmla="*/ 7178664 w 9546932"/>
                <a:gd name="connsiteY917" fmla="*/ 5599024 h 7047620"/>
                <a:gd name="connsiteX918" fmla="*/ 7178664 w 9546932"/>
                <a:gd name="connsiteY918" fmla="*/ 5603788 h 7047620"/>
                <a:gd name="connsiteX919" fmla="*/ 7183428 w 9546932"/>
                <a:gd name="connsiteY919" fmla="*/ 5613320 h 7047620"/>
                <a:gd name="connsiteX920" fmla="*/ 7188196 w 9546932"/>
                <a:gd name="connsiteY920" fmla="*/ 5622848 h 7047620"/>
                <a:gd name="connsiteX921" fmla="*/ 7202488 w 9546932"/>
                <a:gd name="connsiteY921" fmla="*/ 5627612 h 7047620"/>
                <a:gd name="connsiteX922" fmla="*/ 7207256 w 9546932"/>
                <a:gd name="connsiteY922" fmla="*/ 5637144 h 7047620"/>
                <a:gd name="connsiteX923" fmla="*/ 7216784 w 9546932"/>
                <a:gd name="connsiteY923" fmla="*/ 5656204 h 7047620"/>
                <a:gd name="connsiteX924" fmla="*/ 7216784 w 9546932"/>
                <a:gd name="connsiteY924" fmla="*/ 5660968 h 7047620"/>
                <a:gd name="connsiteX925" fmla="*/ 7221548 w 9546932"/>
                <a:gd name="connsiteY925" fmla="*/ 5670500 h 7047620"/>
                <a:gd name="connsiteX926" fmla="*/ 7226316 w 9546932"/>
                <a:gd name="connsiteY926" fmla="*/ 5675264 h 7047620"/>
                <a:gd name="connsiteX927" fmla="*/ 7212020 w 9546932"/>
                <a:gd name="connsiteY927" fmla="*/ 5680028 h 7047620"/>
                <a:gd name="connsiteX928" fmla="*/ 7192960 w 9546932"/>
                <a:gd name="connsiteY928" fmla="*/ 5689560 h 7047620"/>
                <a:gd name="connsiteX929" fmla="*/ 7173900 w 9546932"/>
                <a:gd name="connsiteY929" fmla="*/ 5708620 h 7047620"/>
                <a:gd name="connsiteX930" fmla="*/ 7159604 w 9546932"/>
                <a:gd name="connsiteY930" fmla="*/ 5722916 h 7047620"/>
                <a:gd name="connsiteX931" fmla="*/ 7145308 w 9546932"/>
                <a:gd name="connsiteY931" fmla="*/ 5722916 h 7047620"/>
                <a:gd name="connsiteX932" fmla="*/ 7135776 w 9546932"/>
                <a:gd name="connsiteY932" fmla="*/ 5722916 h 7047620"/>
                <a:gd name="connsiteX933" fmla="*/ 7121484 w 9546932"/>
                <a:gd name="connsiteY933" fmla="*/ 5713384 h 7047620"/>
                <a:gd name="connsiteX934" fmla="*/ 7107188 w 9546932"/>
                <a:gd name="connsiteY934" fmla="*/ 5713384 h 7047620"/>
                <a:gd name="connsiteX935" fmla="*/ 7126248 w 9546932"/>
                <a:gd name="connsiteY935" fmla="*/ 5737212 h 7047620"/>
                <a:gd name="connsiteX936" fmla="*/ 7140544 w 9546932"/>
                <a:gd name="connsiteY936" fmla="*/ 5741976 h 7047620"/>
                <a:gd name="connsiteX937" fmla="*/ 7150072 w 9546932"/>
                <a:gd name="connsiteY937" fmla="*/ 5741976 h 7047620"/>
                <a:gd name="connsiteX938" fmla="*/ 7164368 w 9546932"/>
                <a:gd name="connsiteY938" fmla="*/ 5732448 h 7047620"/>
                <a:gd name="connsiteX939" fmla="*/ 7183428 w 9546932"/>
                <a:gd name="connsiteY939" fmla="*/ 5732448 h 7047620"/>
                <a:gd name="connsiteX940" fmla="*/ 7188196 w 9546932"/>
                <a:gd name="connsiteY940" fmla="*/ 5746740 h 7047620"/>
                <a:gd name="connsiteX941" fmla="*/ 7183428 w 9546932"/>
                <a:gd name="connsiteY941" fmla="*/ 5765804 h 7047620"/>
                <a:gd name="connsiteX942" fmla="*/ 7173900 w 9546932"/>
                <a:gd name="connsiteY942" fmla="*/ 5784864 h 7047620"/>
                <a:gd name="connsiteX943" fmla="*/ 7169132 w 9546932"/>
                <a:gd name="connsiteY943" fmla="*/ 5803924 h 7047620"/>
                <a:gd name="connsiteX944" fmla="*/ 7183428 w 9546932"/>
                <a:gd name="connsiteY944" fmla="*/ 5832512 h 7047620"/>
                <a:gd name="connsiteX945" fmla="*/ 7183428 w 9546932"/>
                <a:gd name="connsiteY945" fmla="*/ 5837280 h 7047620"/>
                <a:gd name="connsiteX946" fmla="*/ 7178664 w 9546932"/>
                <a:gd name="connsiteY946" fmla="*/ 5842044 h 7047620"/>
                <a:gd name="connsiteX947" fmla="*/ 7164368 w 9546932"/>
                <a:gd name="connsiteY947" fmla="*/ 5837280 h 7047620"/>
                <a:gd name="connsiteX948" fmla="*/ 7154836 w 9546932"/>
                <a:gd name="connsiteY948" fmla="*/ 5827748 h 7047620"/>
                <a:gd name="connsiteX949" fmla="*/ 7140544 w 9546932"/>
                <a:gd name="connsiteY949" fmla="*/ 5827748 h 7047620"/>
                <a:gd name="connsiteX950" fmla="*/ 7126248 w 9546932"/>
                <a:gd name="connsiteY950" fmla="*/ 5822984 h 7047620"/>
                <a:gd name="connsiteX951" fmla="*/ 7116716 w 9546932"/>
                <a:gd name="connsiteY951" fmla="*/ 5827748 h 7047620"/>
                <a:gd name="connsiteX952" fmla="*/ 7107188 w 9546932"/>
                <a:gd name="connsiteY952" fmla="*/ 5837280 h 7047620"/>
                <a:gd name="connsiteX953" fmla="*/ 7111952 w 9546932"/>
                <a:gd name="connsiteY953" fmla="*/ 5846808 h 7047620"/>
                <a:gd name="connsiteX954" fmla="*/ 7126248 w 9546932"/>
                <a:gd name="connsiteY954" fmla="*/ 5851576 h 7047620"/>
                <a:gd name="connsiteX955" fmla="*/ 7131012 w 9546932"/>
                <a:gd name="connsiteY955" fmla="*/ 5865868 h 7047620"/>
                <a:gd name="connsiteX956" fmla="*/ 7121484 w 9546932"/>
                <a:gd name="connsiteY956" fmla="*/ 5870636 h 7047620"/>
                <a:gd name="connsiteX957" fmla="*/ 7088124 w 9546932"/>
                <a:gd name="connsiteY957" fmla="*/ 5865868 h 7047620"/>
                <a:gd name="connsiteX958" fmla="*/ 7083360 w 9546932"/>
                <a:gd name="connsiteY958" fmla="*/ 5870636 h 7047620"/>
                <a:gd name="connsiteX959" fmla="*/ 7073832 w 9546932"/>
                <a:gd name="connsiteY959" fmla="*/ 5884932 h 7047620"/>
                <a:gd name="connsiteX960" fmla="*/ 7078596 w 9546932"/>
                <a:gd name="connsiteY960" fmla="*/ 5903992 h 7047620"/>
                <a:gd name="connsiteX961" fmla="*/ 7073832 w 9546932"/>
                <a:gd name="connsiteY961" fmla="*/ 5918288 h 7047620"/>
                <a:gd name="connsiteX962" fmla="*/ 7059536 w 9546932"/>
                <a:gd name="connsiteY962" fmla="*/ 5923052 h 7047620"/>
                <a:gd name="connsiteX963" fmla="*/ 7040476 w 9546932"/>
                <a:gd name="connsiteY963" fmla="*/ 5932580 h 7047620"/>
                <a:gd name="connsiteX964" fmla="*/ 7030944 w 9546932"/>
                <a:gd name="connsiteY964" fmla="*/ 5932580 h 7047620"/>
                <a:gd name="connsiteX965" fmla="*/ 7030944 w 9546932"/>
                <a:gd name="connsiteY965" fmla="*/ 5937348 h 7047620"/>
                <a:gd name="connsiteX966" fmla="*/ 7040476 w 9546932"/>
                <a:gd name="connsiteY966" fmla="*/ 5942112 h 7047620"/>
                <a:gd name="connsiteX967" fmla="*/ 7045240 w 9546932"/>
                <a:gd name="connsiteY967" fmla="*/ 5951644 h 7047620"/>
                <a:gd name="connsiteX968" fmla="*/ 7030944 w 9546932"/>
                <a:gd name="connsiteY968" fmla="*/ 5970704 h 7047620"/>
                <a:gd name="connsiteX969" fmla="*/ 7016648 w 9546932"/>
                <a:gd name="connsiteY969" fmla="*/ 5980232 h 7047620"/>
                <a:gd name="connsiteX970" fmla="*/ 6992824 w 9546932"/>
                <a:gd name="connsiteY970" fmla="*/ 5975468 h 7047620"/>
                <a:gd name="connsiteX971" fmla="*/ 6978528 w 9546932"/>
                <a:gd name="connsiteY971" fmla="*/ 5980232 h 7047620"/>
                <a:gd name="connsiteX972" fmla="*/ 6959468 w 9546932"/>
                <a:gd name="connsiteY972" fmla="*/ 5970704 h 7047620"/>
                <a:gd name="connsiteX973" fmla="*/ 6945172 w 9546932"/>
                <a:gd name="connsiteY973" fmla="*/ 5970704 h 7047620"/>
                <a:gd name="connsiteX974" fmla="*/ 6930876 w 9546932"/>
                <a:gd name="connsiteY974" fmla="*/ 5980232 h 7047620"/>
                <a:gd name="connsiteX975" fmla="*/ 6930876 w 9546932"/>
                <a:gd name="connsiteY975" fmla="*/ 5994528 h 7047620"/>
                <a:gd name="connsiteX976" fmla="*/ 6921348 w 9546932"/>
                <a:gd name="connsiteY976" fmla="*/ 5994528 h 7047620"/>
                <a:gd name="connsiteX977" fmla="*/ 6911816 w 9546932"/>
                <a:gd name="connsiteY977" fmla="*/ 5994528 h 7047620"/>
                <a:gd name="connsiteX978" fmla="*/ 6907052 w 9546932"/>
                <a:gd name="connsiteY978" fmla="*/ 5994528 h 7047620"/>
                <a:gd name="connsiteX979" fmla="*/ 6907052 w 9546932"/>
                <a:gd name="connsiteY979" fmla="*/ 6004060 h 7047620"/>
                <a:gd name="connsiteX980" fmla="*/ 6911816 w 9546932"/>
                <a:gd name="connsiteY980" fmla="*/ 6008824 h 7047620"/>
                <a:gd name="connsiteX981" fmla="*/ 6935644 w 9546932"/>
                <a:gd name="connsiteY981" fmla="*/ 6013588 h 7047620"/>
                <a:gd name="connsiteX982" fmla="*/ 6940408 w 9546932"/>
                <a:gd name="connsiteY982" fmla="*/ 6023120 h 7047620"/>
                <a:gd name="connsiteX983" fmla="*/ 6940408 w 9546932"/>
                <a:gd name="connsiteY983" fmla="*/ 6037416 h 7047620"/>
                <a:gd name="connsiteX984" fmla="*/ 6916580 w 9546932"/>
                <a:gd name="connsiteY984" fmla="*/ 6061240 h 7047620"/>
                <a:gd name="connsiteX985" fmla="*/ 6907052 w 9546932"/>
                <a:gd name="connsiteY985" fmla="*/ 6075536 h 7047620"/>
                <a:gd name="connsiteX986" fmla="*/ 6887992 w 9546932"/>
                <a:gd name="connsiteY986" fmla="*/ 6075536 h 7047620"/>
                <a:gd name="connsiteX987" fmla="*/ 6878460 w 9546932"/>
                <a:gd name="connsiteY987" fmla="*/ 6089832 h 7047620"/>
                <a:gd name="connsiteX988" fmla="*/ 6873696 w 9546932"/>
                <a:gd name="connsiteY988" fmla="*/ 6104128 h 7047620"/>
                <a:gd name="connsiteX989" fmla="*/ 6864164 w 9546932"/>
                <a:gd name="connsiteY989" fmla="*/ 6104128 h 7047620"/>
                <a:gd name="connsiteX990" fmla="*/ 6845104 w 9546932"/>
                <a:gd name="connsiteY990" fmla="*/ 6104128 h 7047620"/>
                <a:gd name="connsiteX991" fmla="*/ 6840340 w 9546932"/>
                <a:gd name="connsiteY991" fmla="*/ 6113656 h 7047620"/>
                <a:gd name="connsiteX992" fmla="*/ 6845104 w 9546932"/>
                <a:gd name="connsiteY992" fmla="*/ 6118420 h 7047620"/>
                <a:gd name="connsiteX993" fmla="*/ 6845104 w 9546932"/>
                <a:gd name="connsiteY993" fmla="*/ 6123188 h 7047620"/>
                <a:gd name="connsiteX994" fmla="*/ 6840340 w 9546932"/>
                <a:gd name="connsiteY994" fmla="*/ 6142248 h 7047620"/>
                <a:gd name="connsiteX995" fmla="*/ 6830808 w 9546932"/>
                <a:gd name="connsiteY995" fmla="*/ 6147012 h 7047620"/>
                <a:gd name="connsiteX996" fmla="*/ 6830808 w 9546932"/>
                <a:gd name="connsiteY996" fmla="*/ 6142248 h 7047620"/>
                <a:gd name="connsiteX997" fmla="*/ 6826044 w 9546932"/>
                <a:gd name="connsiteY997" fmla="*/ 6127952 h 7047620"/>
                <a:gd name="connsiteX998" fmla="*/ 6821280 w 9546932"/>
                <a:gd name="connsiteY998" fmla="*/ 6127952 h 7047620"/>
                <a:gd name="connsiteX999" fmla="*/ 6811748 w 9546932"/>
                <a:gd name="connsiteY999" fmla="*/ 6137480 h 7047620"/>
                <a:gd name="connsiteX1000" fmla="*/ 6797452 w 9546932"/>
                <a:gd name="connsiteY1000" fmla="*/ 6147012 h 7047620"/>
                <a:gd name="connsiteX1001" fmla="*/ 6787924 w 9546932"/>
                <a:gd name="connsiteY1001" fmla="*/ 6151776 h 7047620"/>
                <a:gd name="connsiteX1002" fmla="*/ 6778392 w 9546932"/>
                <a:gd name="connsiteY1002" fmla="*/ 6142248 h 7047620"/>
                <a:gd name="connsiteX1003" fmla="*/ 6759332 w 9546932"/>
                <a:gd name="connsiteY1003" fmla="*/ 6137480 h 7047620"/>
                <a:gd name="connsiteX1004" fmla="*/ 6754568 w 9546932"/>
                <a:gd name="connsiteY1004" fmla="*/ 6170836 h 7047620"/>
                <a:gd name="connsiteX1005" fmla="*/ 6735508 w 9546932"/>
                <a:gd name="connsiteY1005" fmla="*/ 6185132 h 7047620"/>
                <a:gd name="connsiteX1006" fmla="*/ 6730740 w 9546932"/>
                <a:gd name="connsiteY1006" fmla="*/ 6185132 h 7047620"/>
                <a:gd name="connsiteX1007" fmla="*/ 6716444 w 9546932"/>
                <a:gd name="connsiteY1007" fmla="*/ 6189900 h 7047620"/>
                <a:gd name="connsiteX1008" fmla="*/ 6725976 w 9546932"/>
                <a:gd name="connsiteY1008" fmla="*/ 6194664 h 7047620"/>
                <a:gd name="connsiteX1009" fmla="*/ 6725976 w 9546932"/>
                <a:gd name="connsiteY1009" fmla="*/ 6199428 h 7047620"/>
                <a:gd name="connsiteX1010" fmla="*/ 6721212 w 9546932"/>
                <a:gd name="connsiteY1010" fmla="*/ 6208960 h 7047620"/>
                <a:gd name="connsiteX1011" fmla="*/ 6711680 w 9546932"/>
                <a:gd name="connsiteY1011" fmla="*/ 6208960 h 7047620"/>
                <a:gd name="connsiteX1012" fmla="*/ 6702152 w 9546932"/>
                <a:gd name="connsiteY1012" fmla="*/ 6218488 h 7047620"/>
                <a:gd name="connsiteX1013" fmla="*/ 6697384 w 9546932"/>
                <a:gd name="connsiteY1013" fmla="*/ 6247080 h 7047620"/>
                <a:gd name="connsiteX1014" fmla="*/ 6692620 w 9546932"/>
                <a:gd name="connsiteY1014" fmla="*/ 6256612 h 7047620"/>
                <a:gd name="connsiteX1015" fmla="*/ 6673560 w 9546932"/>
                <a:gd name="connsiteY1015" fmla="*/ 6256612 h 7047620"/>
                <a:gd name="connsiteX1016" fmla="*/ 6659264 w 9546932"/>
                <a:gd name="connsiteY1016" fmla="*/ 6251844 h 7047620"/>
                <a:gd name="connsiteX1017" fmla="*/ 6654500 w 9546932"/>
                <a:gd name="connsiteY1017" fmla="*/ 6256612 h 7047620"/>
                <a:gd name="connsiteX1018" fmla="*/ 6649736 w 9546932"/>
                <a:gd name="connsiteY1018" fmla="*/ 6261376 h 7047620"/>
                <a:gd name="connsiteX1019" fmla="*/ 6644968 w 9546932"/>
                <a:gd name="connsiteY1019" fmla="*/ 6266140 h 7047620"/>
                <a:gd name="connsiteX1020" fmla="*/ 6625908 w 9546932"/>
                <a:gd name="connsiteY1020" fmla="*/ 6270904 h 7047620"/>
                <a:gd name="connsiteX1021" fmla="*/ 6597316 w 9546932"/>
                <a:gd name="connsiteY1021" fmla="*/ 6280436 h 7047620"/>
                <a:gd name="connsiteX1022" fmla="*/ 6578256 w 9546932"/>
                <a:gd name="connsiteY1022" fmla="*/ 6275672 h 7047620"/>
                <a:gd name="connsiteX1023" fmla="*/ 6563964 w 9546932"/>
                <a:gd name="connsiteY1023" fmla="*/ 6270904 h 7047620"/>
                <a:gd name="connsiteX1024" fmla="*/ 6549668 w 9546932"/>
                <a:gd name="connsiteY1024" fmla="*/ 6275672 h 7047620"/>
                <a:gd name="connsiteX1025" fmla="*/ 6544900 w 9546932"/>
                <a:gd name="connsiteY1025" fmla="*/ 6289968 h 7047620"/>
                <a:gd name="connsiteX1026" fmla="*/ 6540136 w 9546932"/>
                <a:gd name="connsiteY1026" fmla="*/ 6294732 h 7047620"/>
                <a:gd name="connsiteX1027" fmla="*/ 6521076 w 9546932"/>
                <a:gd name="connsiteY1027" fmla="*/ 6294732 h 7047620"/>
                <a:gd name="connsiteX1028" fmla="*/ 6506780 w 9546932"/>
                <a:gd name="connsiteY1028" fmla="*/ 6285200 h 7047620"/>
                <a:gd name="connsiteX1029" fmla="*/ 6492484 w 9546932"/>
                <a:gd name="connsiteY1029" fmla="*/ 6280436 h 7047620"/>
                <a:gd name="connsiteX1030" fmla="*/ 6478188 w 9546932"/>
                <a:gd name="connsiteY1030" fmla="*/ 6285200 h 7047620"/>
                <a:gd name="connsiteX1031" fmla="*/ 6463896 w 9546932"/>
                <a:gd name="connsiteY1031" fmla="*/ 6299496 h 7047620"/>
                <a:gd name="connsiteX1032" fmla="*/ 6449600 w 9546932"/>
                <a:gd name="connsiteY1032" fmla="*/ 6304260 h 7047620"/>
                <a:gd name="connsiteX1033" fmla="*/ 6444836 w 9546932"/>
                <a:gd name="connsiteY1033" fmla="*/ 6309028 h 7047620"/>
                <a:gd name="connsiteX1034" fmla="*/ 6440068 w 9546932"/>
                <a:gd name="connsiteY1034" fmla="*/ 6313792 h 7047620"/>
                <a:gd name="connsiteX1035" fmla="*/ 6421008 w 9546932"/>
                <a:gd name="connsiteY1035" fmla="*/ 6313792 h 7047620"/>
                <a:gd name="connsiteX1036" fmla="*/ 6416244 w 9546932"/>
                <a:gd name="connsiteY1036" fmla="*/ 6294732 h 7047620"/>
                <a:gd name="connsiteX1037" fmla="*/ 6406712 w 9546932"/>
                <a:gd name="connsiteY1037" fmla="*/ 6289968 h 7047620"/>
                <a:gd name="connsiteX1038" fmla="*/ 6397184 w 9546932"/>
                <a:gd name="connsiteY1038" fmla="*/ 6299496 h 7047620"/>
                <a:gd name="connsiteX1039" fmla="*/ 6397184 w 9546932"/>
                <a:gd name="connsiteY1039" fmla="*/ 6309028 h 7047620"/>
                <a:gd name="connsiteX1040" fmla="*/ 6392416 w 9546932"/>
                <a:gd name="connsiteY1040" fmla="*/ 6313792 h 7047620"/>
                <a:gd name="connsiteX1041" fmla="*/ 6392416 w 9546932"/>
                <a:gd name="connsiteY1041" fmla="*/ 6328088 h 7047620"/>
                <a:gd name="connsiteX1042" fmla="*/ 6382888 w 9546932"/>
                <a:gd name="connsiteY1042" fmla="*/ 6328088 h 7047620"/>
                <a:gd name="connsiteX1043" fmla="*/ 6373356 w 9546932"/>
                <a:gd name="connsiteY1043" fmla="*/ 6318556 h 7047620"/>
                <a:gd name="connsiteX1044" fmla="*/ 6359060 w 9546932"/>
                <a:gd name="connsiteY1044" fmla="*/ 6318556 h 7047620"/>
                <a:gd name="connsiteX1045" fmla="*/ 6344768 w 9546932"/>
                <a:gd name="connsiteY1045" fmla="*/ 6328088 h 7047620"/>
                <a:gd name="connsiteX1046" fmla="*/ 6340000 w 9546932"/>
                <a:gd name="connsiteY1046" fmla="*/ 6323320 h 7047620"/>
                <a:gd name="connsiteX1047" fmla="*/ 6335236 w 9546932"/>
                <a:gd name="connsiteY1047" fmla="*/ 6323320 h 7047620"/>
                <a:gd name="connsiteX1048" fmla="*/ 6325708 w 9546932"/>
                <a:gd name="connsiteY1048" fmla="*/ 6323320 h 7047620"/>
                <a:gd name="connsiteX1049" fmla="*/ 6320940 w 9546932"/>
                <a:gd name="connsiteY1049" fmla="*/ 6323320 h 7047620"/>
                <a:gd name="connsiteX1050" fmla="*/ 6316176 w 9546932"/>
                <a:gd name="connsiteY1050" fmla="*/ 6328088 h 7047620"/>
                <a:gd name="connsiteX1051" fmla="*/ 6306644 w 9546932"/>
                <a:gd name="connsiteY1051" fmla="*/ 6332852 h 7047620"/>
                <a:gd name="connsiteX1052" fmla="*/ 6297116 w 9546932"/>
                <a:gd name="connsiteY1052" fmla="*/ 6328088 h 7047620"/>
                <a:gd name="connsiteX1053" fmla="*/ 6278056 w 9546932"/>
                <a:gd name="connsiteY1053" fmla="*/ 6313792 h 7047620"/>
                <a:gd name="connsiteX1054" fmla="*/ 6268524 w 9546932"/>
                <a:gd name="connsiteY1054" fmla="*/ 6294732 h 7047620"/>
                <a:gd name="connsiteX1055" fmla="*/ 6254228 w 9546932"/>
                <a:gd name="connsiteY1055" fmla="*/ 6280436 h 7047620"/>
                <a:gd name="connsiteX1056" fmla="*/ 6244700 w 9546932"/>
                <a:gd name="connsiteY1056" fmla="*/ 6270904 h 7047620"/>
                <a:gd name="connsiteX1057" fmla="*/ 6244700 w 9546932"/>
                <a:gd name="connsiteY1057" fmla="*/ 6251844 h 7047620"/>
                <a:gd name="connsiteX1058" fmla="*/ 6239932 w 9546932"/>
                <a:gd name="connsiteY1058" fmla="*/ 6247080 h 7047620"/>
                <a:gd name="connsiteX1059" fmla="*/ 6239932 w 9546932"/>
                <a:gd name="connsiteY1059" fmla="*/ 6232784 h 7047620"/>
                <a:gd name="connsiteX1060" fmla="*/ 6244700 w 9546932"/>
                <a:gd name="connsiteY1060" fmla="*/ 6228020 h 7047620"/>
                <a:gd name="connsiteX1061" fmla="*/ 6230404 w 9546932"/>
                <a:gd name="connsiteY1061" fmla="*/ 6232784 h 7047620"/>
                <a:gd name="connsiteX1062" fmla="*/ 6220872 w 9546932"/>
                <a:gd name="connsiteY1062" fmla="*/ 6237548 h 7047620"/>
                <a:gd name="connsiteX1063" fmla="*/ 6220872 w 9546932"/>
                <a:gd name="connsiteY1063" fmla="*/ 6247080 h 7047620"/>
                <a:gd name="connsiteX1064" fmla="*/ 6220872 w 9546932"/>
                <a:gd name="connsiteY1064" fmla="*/ 6256612 h 7047620"/>
                <a:gd name="connsiteX1065" fmla="*/ 6201812 w 9546932"/>
                <a:gd name="connsiteY1065" fmla="*/ 6261376 h 7047620"/>
                <a:gd name="connsiteX1066" fmla="*/ 6201812 w 9546932"/>
                <a:gd name="connsiteY1066" fmla="*/ 6266140 h 7047620"/>
                <a:gd name="connsiteX1067" fmla="*/ 6201812 w 9546932"/>
                <a:gd name="connsiteY1067" fmla="*/ 6270904 h 7047620"/>
                <a:gd name="connsiteX1068" fmla="*/ 6216108 w 9546932"/>
                <a:gd name="connsiteY1068" fmla="*/ 6285200 h 7047620"/>
                <a:gd name="connsiteX1069" fmla="*/ 6220872 w 9546932"/>
                <a:gd name="connsiteY1069" fmla="*/ 6294732 h 7047620"/>
                <a:gd name="connsiteX1070" fmla="*/ 6225636 w 9546932"/>
                <a:gd name="connsiteY1070" fmla="*/ 6299496 h 7047620"/>
                <a:gd name="connsiteX1071" fmla="*/ 6235168 w 9546932"/>
                <a:gd name="connsiteY1071" fmla="*/ 6318556 h 7047620"/>
                <a:gd name="connsiteX1072" fmla="*/ 6235168 w 9546932"/>
                <a:gd name="connsiteY1072" fmla="*/ 6347148 h 7047620"/>
                <a:gd name="connsiteX1073" fmla="*/ 6239932 w 9546932"/>
                <a:gd name="connsiteY1073" fmla="*/ 6356676 h 7047620"/>
                <a:gd name="connsiteX1074" fmla="*/ 6239932 w 9546932"/>
                <a:gd name="connsiteY1074" fmla="*/ 6366208 h 7047620"/>
                <a:gd name="connsiteX1075" fmla="*/ 6235168 w 9546932"/>
                <a:gd name="connsiteY1075" fmla="*/ 6380504 h 7047620"/>
                <a:gd name="connsiteX1076" fmla="*/ 6225636 w 9546932"/>
                <a:gd name="connsiteY1076" fmla="*/ 6385268 h 7047620"/>
                <a:gd name="connsiteX1077" fmla="*/ 6216108 w 9546932"/>
                <a:gd name="connsiteY1077" fmla="*/ 6385268 h 7047620"/>
                <a:gd name="connsiteX1078" fmla="*/ 6206576 w 9546932"/>
                <a:gd name="connsiteY1078" fmla="*/ 6390032 h 7047620"/>
                <a:gd name="connsiteX1079" fmla="*/ 6201812 w 9546932"/>
                <a:gd name="connsiteY1079" fmla="*/ 6394800 h 7047620"/>
                <a:gd name="connsiteX1080" fmla="*/ 6192284 w 9546932"/>
                <a:gd name="connsiteY1080" fmla="*/ 6404328 h 7047620"/>
                <a:gd name="connsiteX1081" fmla="*/ 6173220 w 9546932"/>
                <a:gd name="connsiteY1081" fmla="*/ 6404328 h 7047620"/>
                <a:gd name="connsiteX1082" fmla="*/ 6163692 w 9546932"/>
                <a:gd name="connsiteY1082" fmla="*/ 6380504 h 7047620"/>
                <a:gd name="connsiteX1083" fmla="*/ 6149396 w 9546932"/>
                <a:gd name="connsiteY1083" fmla="*/ 6394800 h 7047620"/>
                <a:gd name="connsiteX1084" fmla="*/ 6144632 w 9546932"/>
                <a:gd name="connsiteY1084" fmla="*/ 6428156 h 7047620"/>
                <a:gd name="connsiteX1085" fmla="*/ 6144632 w 9546932"/>
                <a:gd name="connsiteY1085" fmla="*/ 6432920 h 7047620"/>
                <a:gd name="connsiteX1086" fmla="*/ 6135100 w 9546932"/>
                <a:gd name="connsiteY1086" fmla="*/ 6437684 h 7047620"/>
                <a:gd name="connsiteX1087" fmla="*/ 6120804 w 9546932"/>
                <a:gd name="connsiteY1087" fmla="*/ 6428156 h 7047620"/>
                <a:gd name="connsiteX1088" fmla="*/ 6106508 w 9546932"/>
                <a:gd name="connsiteY1088" fmla="*/ 6432920 h 7047620"/>
                <a:gd name="connsiteX1089" fmla="*/ 6096980 w 9546932"/>
                <a:gd name="connsiteY1089" fmla="*/ 6442452 h 7047620"/>
                <a:gd name="connsiteX1090" fmla="*/ 6092216 w 9546932"/>
                <a:gd name="connsiteY1090" fmla="*/ 6447216 h 7047620"/>
                <a:gd name="connsiteX1091" fmla="*/ 6082684 w 9546932"/>
                <a:gd name="connsiteY1091" fmla="*/ 6456744 h 7047620"/>
                <a:gd name="connsiteX1092" fmla="*/ 6068388 w 9546932"/>
                <a:gd name="connsiteY1092" fmla="*/ 6447216 h 7047620"/>
                <a:gd name="connsiteX1093" fmla="*/ 6058860 w 9546932"/>
                <a:gd name="connsiteY1093" fmla="*/ 6437684 h 7047620"/>
                <a:gd name="connsiteX1094" fmla="*/ 6063624 w 9546932"/>
                <a:gd name="connsiteY1094" fmla="*/ 6428156 h 7047620"/>
                <a:gd name="connsiteX1095" fmla="*/ 6058860 w 9546932"/>
                <a:gd name="connsiteY1095" fmla="*/ 6423388 h 7047620"/>
                <a:gd name="connsiteX1096" fmla="*/ 6054092 w 9546932"/>
                <a:gd name="connsiteY1096" fmla="*/ 6418624 h 7047620"/>
                <a:gd name="connsiteX1097" fmla="*/ 6049328 w 9546932"/>
                <a:gd name="connsiteY1097" fmla="*/ 6423388 h 7047620"/>
                <a:gd name="connsiteX1098" fmla="*/ 6054092 w 9546932"/>
                <a:gd name="connsiteY1098" fmla="*/ 6432920 h 7047620"/>
                <a:gd name="connsiteX1099" fmla="*/ 6054092 w 9546932"/>
                <a:gd name="connsiteY1099" fmla="*/ 6451980 h 7047620"/>
                <a:gd name="connsiteX1100" fmla="*/ 6049328 w 9546932"/>
                <a:gd name="connsiteY1100" fmla="*/ 6456744 h 7047620"/>
                <a:gd name="connsiteX1101" fmla="*/ 6039796 w 9546932"/>
                <a:gd name="connsiteY1101" fmla="*/ 6461512 h 7047620"/>
                <a:gd name="connsiteX1102" fmla="*/ 6025504 w 9546932"/>
                <a:gd name="connsiteY1102" fmla="*/ 6456744 h 7047620"/>
                <a:gd name="connsiteX1103" fmla="*/ 6011208 w 9546932"/>
                <a:gd name="connsiteY1103" fmla="*/ 6451980 h 7047620"/>
                <a:gd name="connsiteX1104" fmla="*/ 5996912 w 9546932"/>
                <a:gd name="connsiteY1104" fmla="*/ 6442452 h 7047620"/>
                <a:gd name="connsiteX1105" fmla="*/ 5982616 w 9546932"/>
                <a:gd name="connsiteY1105" fmla="*/ 6442452 h 7047620"/>
                <a:gd name="connsiteX1106" fmla="*/ 5982616 w 9546932"/>
                <a:gd name="connsiteY1106" fmla="*/ 6456744 h 7047620"/>
                <a:gd name="connsiteX1107" fmla="*/ 5973088 w 9546932"/>
                <a:gd name="connsiteY1107" fmla="*/ 6466276 h 7047620"/>
                <a:gd name="connsiteX1108" fmla="*/ 5968320 w 9546932"/>
                <a:gd name="connsiteY1108" fmla="*/ 6466276 h 7047620"/>
                <a:gd name="connsiteX1109" fmla="*/ 5958792 w 9546932"/>
                <a:gd name="connsiteY1109" fmla="*/ 6466276 h 7047620"/>
                <a:gd name="connsiteX1110" fmla="*/ 5949260 w 9546932"/>
                <a:gd name="connsiteY1110" fmla="*/ 6475808 h 7047620"/>
                <a:gd name="connsiteX1111" fmla="*/ 5944496 w 9546932"/>
                <a:gd name="connsiteY1111" fmla="*/ 6485336 h 7047620"/>
                <a:gd name="connsiteX1112" fmla="*/ 5930200 w 9546932"/>
                <a:gd name="connsiteY1112" fmla="*/ 6490100 h 7047620"/>
                <a:gd name="connsiteX1113" fmla="*/ 5896844 w 9546932"/>
                <a:gd name="connsiteY1113" fmla="*/ 6494868 h 7047620"/>
                <a:gd name="connsiteX1114" fmla="*/ 5887316 w 9546932"/>
                <a:gd name="connsiteY1114" fmla="*/ 6504396 h 7047620"/>
                <a:gd name="connsiteX1115" fmla="*/ 5873020 w 9546932"/>
                <a:gd name="connsiteY1115" fmla="*/ 6504396 h 7047620"/>
                <a:gd name="connsiteX1116" fmla="*/ 5858724 w 9546932"/>
                <a:gd name="connsiteY1116" fmla="*/ 6504396 h 7047620"/>
                <a:gd name="connsiteX1117" fmla="*/ 5853956 w 9546932"/>
                <a:gd name="connsiteY1117" fmla="*/ 6504396 h 7047620"/>
                <a:gd name="connsiteX1118" fmla="*/ 5849192 w 9546932"/>
                <a:gd name="connsiteY1118" fmla="*/ 6499632 h 7047620"/>
                <a:gd name="connsiteX1119" fmla="*/ 5839664 w 9546932"/>
                <a:gd name="connsiteY1119" fmla="*/ 6499632 h 7047620"/>
                <a:gd name="connsiteX1120" fmla="*/ 5834896 w 9546932"/>
                <a:gd name="connsiteY1120" fmla="*/ 6513928 h 7047620"/>
                <a:gd name="connsiteX1121" fmla="*/ 5815836 w 9546932"/>
                <a:gd name="connsiteY1121" fmla="*/ 6518692 h 7047620"/>
                <a:gd name="connsiteX1122" fmla="*/ 5801540 w 9546932"/>
                <a:gd name="connsiteY1122" fmla="*/ 6518692 h 7047620"/>
                <a:gd name="connsiteX1123" fmla="*/ 5782480 w 9546932"/>
                <a:gd name="connsiteY1123" fmla="*/ 6537752 h 7047620"/>
                <a:gd name="connsiteX1124" fmla="*/ 5768188 w 9546932"/>
                <a:gd name="connsiteY1124" fmla="*/ 6547284 h 7047620"/>
                <a:gd name="connsiteX1125" fmla="*/ 5758656 w 9546932"/>
                <a:gd name="connsiteY1125" fmla="*/ 6552048 h 7047620"/>
                <a:gd name="connsiteX1126" fmla="*/ 5753892 w 9546932"/>
                <a:gd name="connsiteY1126" fmla="*/ 6547284 h 7047620"/>
                <a:gd name="connsiteX1127" fmla="*/ 5749124 w 9546932"/>
                <a:gd name="connsiteY1127" fmla="*/ 6528224 h 7047620"/>
                <a:gd name="connsiteX1128" fmla="*/ 5744360 w 9546932"/>
                <a:gd name="connsiteY1128" fmla="*/ 6528224 h 7047620"/>
                <a:gd name="connsiteX1129" fmla="*/ 5744360 w 9546932"/>
                <a:gd name="connsiteY1129" fmla="*/ 6542516 h 7047620"/>
                <a:gd name="connsiteX1130" fmla="*/ 5739596 w 9546932"/>
                <a:gd name="connsiteY1130" fmla="*/ 6556812 h 7047620"/>
                <a:gd name="connsiteX1131" fmla="*/ 5734828 w 9546932"/>
                <a:gd name="connsiteY1131" fmla="*/ 6561580 h 7047620"/>
                <a:gd name="connsiteX1132" fmla="*/ 5711004 w 9546932"/>
                <a:gd name="connsiteY1132" fmla="*/ 6580640 h 7047620"/>
                <a:gd name="connsiteX1133" fmla="*/ 5706240 w 9546932"/>
                <a:gd name="connsiteY1133" fmla="*/ 6594936 h 7047620"/>
                <a:gd name="connsiteX1134" fmla="*/ 5711004 w 9546932"/>
                <a:gd name="connsiteY1134" fmla="*/ 6609228 h 7047620"/>
                <a:gd name="connsiteX1135" fmla="*/ 5739596 w 9546932"/>
                <a:gd name="connsiteY1135" fmla="*/ 6613996 h 7047620"/>
                <a:gd name="connsiteX1136" fmla="*/ 5739596 w 9546932"/>
                <a:gd name="connsiteY1136" fmla="*/ 6618760 h 7047620"/>
                <a:gd name="connsiteX1137" fmla="*/ 5739596 w 9546932"/>
                <a:gd name="connsiteY1137" fmla="*/ 6628292 h 7047620"/>
                <a:gd name="connsiteX1138" fmla="*/ 5730064 w 9546932"/>
                <a:gd name="connsiteY1138" fmla="*/ 6633056 h 7047620"/>
                <a:gd name="connsiteX1139" fmla="*/ 5730064 w 9546932"/>
                <a:gd name="connsiteY1139" fmla="*/ 6637820 h 7047620"/>
                <a:gd name="connsiteX1140" fmla="*/ 5758656 w 9546932"/>
                <a:gd name="connsiteY1140" fmla="*/ 6666412 h 7047620"/>
                <a:gd name="connsiteX1141" fmla="*/ 5763420 w 9546932"/>
                <a:gd name="connsiteY1141" fmla="*/ 6675940 h 7047620"/>
                <a:gd name="connsiteX1142" fmla="*/ 5758656 w 9546932"/>
                <a:gd name="connsiteY1142" fmla="*/ 6680708 h 7047620"/>
                <a:gd name="connsiteX1143" fmla="*/ 5749124 w 9546932"/>
                <a:gd name="connsiteY1143" fmla="*/ 6695000 h 7047620"/>
                <a:gd name="connsiteX1144" fmla="*/ 5734828 w 9546932"/>
                <a:gd name="connsiteY1144" fmla="*/ 6704532 h 7047620"/>
                <a:gd name="connsiteX1145" fmla="*/ 5701476 w 9546932"/>
                <a:gd name="connsiteY1145" fmla="*/ 6709296 h 7047620"/>
                <a:gd name="connsiteX1146" fmla="*/ 5672884 w 9546932"/>
                <a:gd name="connsiteY1146" fmla="*/ 6704532 h 7047620"/>
                <a:gd name="connsiteX1147" fmla="*/ 5663352 w 9546932"/>
                <a:gd name="connsiteY1147" fmla="*/ 6690236 h 7047620"/>
                <a:gd name="connsiteX1148" fmla="*/ 5663352 w 9546932"/>
                <a:gd name="connsiteY1148" fmla="*/ 6685472 h 7047620"/>
                <a:gd name="connsiteX1149" fmla="*/ 5668116 w 9546932"/>
                <a:gd name="connsiteY1149" fmla="*/ 6685472 h 7047620"/>
                <a:gd name="connsiteX1150" fmla="*/ 5677648 w 9546932"/>
                <a:gd name="connsiteY1150" fmla="*/ 6685472 h 7047620"/>
                <a:gd name="connsiteX1151" fmla="*/ 5677648 w 9546932"/>
                <a:gd name="connsiteY1151" fmla="*/ 6675940 h 7047620"/>
                <a:gd name="connsiteX1152" fmla="*/ 5672884 w 9546932"/>
                <a:gd name="connsiteY1152" fmla="*/ 6671176 h 7047620"/>
                <a:gd name="connsiteX1153" fmla="*/ 5658588 w 9546932"/>
                <a:gd name="connsiteY1153" fmla="*/ 6666412 h 7047620"/>
                <a:gd name="connsiteX1154" fmla="*/ 5649056 w 9546932"/>
                <a:gd name="connsiteY1154" fmla="*/ 6647352 h 7047620"/>
                <a:gd name="connsiteX1155" fmla="*/ 5649056 w 9546932"/>
                <a:gd name="connsiteY1155" fmla="*/ 6633056 h 7047620"/>
                <a:gd name="connsiteX1156" fmla="*/ 5644292 w 9546932"/>
                <a:gd name="connsiteY1156" fmla="*/ 6623524 h 7047620"/>
                <a:gd name="connsiteX1157" fmla="*/ 5639528 w 9546932"/>
                <a:gd name="connsiteY1157" fmla="*/ 6613996 h 7047620"/>
                <a:gd name="connsiteX1158" fmla="*/ 5629996 w 9546932"/>
                <a:gd name="connsiteY1158" fmla="*/ 6604464 h 7047620"/>
                <a:gd name="connsiteX1159" fmla="*/ 5629996 w 9546932"/>
                <a:gd name="connsiteY1159" fmla="*/ 6599700 h 7047620"/>
                <a:gd name="connsiteX1160" fmla="*/ 5634764 w 9546932"/>
                <a:gd name="connsiteY1160" fmla="*/ 6575872 h 7047620"/>
                <a:gd name="connsiteX1161" fmla="*/ 5629996 w 9546932"/>
                <a:gd name="connsiteY1161" fmla="*/ 6561580 h 7047620"/>
                <a:gd name="connsiteX1162" fmla="*/ 5644292 w 9546932"/>
                <a:gd name="connsiteY1162" fmla="*/ 6547284 h 7047620"/>
                <a:gd name="connsiteX1163" fmla="*/ 5644292 w 9546932"/>
                <a:gd name="connsiteY1163" fmla="*/ 6528224 h 7047620"/>
                <a:gd name="connsiteX1164" fmla="*/ 5668116 w 9546932"/>
                <a:gd name="connsiteY1164" fmla="*/ 6523456 h 7047620"/>
                <a:gd name="connsiteX1165" fmla="*/ 5668116 w 9546932"/>
                <a:gd name="connsiteY1165" fmla="*/ 6504396 h 7047620"/>
                <a:gd name="connsiteX1166" fmla="*/ 5653824 w 9546932"/>
                <a:gd name="connsiteY1166" fmla="*/ 6504396 h 7047620"/>
                <a:gd name="connsiteX1167" fmla="*/ 5644292 w 9546932"/>
                <a:gd name="connsiteY1167" fmla="*/ 6490100 h 7047620"/>
                <a:gd name="connsiteX1168" fmla="*/ 5639528 w 9546932"/>
                <a:gd name="connsiteY1168" fmla="*/ 6494868 h 7047620"/>
                <a:gd name="connsiteX1169" fmla="*/ 5629996 w 9546932"/>
                <a:gd name="connsiteY1169" fmla="*/ 6499632 h 7047620"/>
                <a:gd name="connsiteX1170" fmla="*/ 5615700 w 9546932"/>
                <a:gd name="connsiteY1170" fmla="*/ 6471040 h 7047620"/>
                <a:gd name="connsiteX1171" fmla="*/ 5606172 w 9546932"/>
                <a:gd name="connsiteY1171" fmla="*/ 6471040 h 7047620"/>
                <a:gd name="connsiteX1172" fmla="*/ 5610936 w 9546932"/>
                <a:gd name="connsiteY1172" fmla="*/ 6494868 h 7047620"/>
                <a:gd name="connsiteX1173" fmla="*/ 5591876 w 9546932"/>
                <a:gd name="connsiteY1173" fmla="*/ 6504396 h 7047620"/>
                <a:gd name="connsiteX1174" fmla="*/ 5577580 w 9546932"/>
                <a:gd name="connsiteY1174" fmla="*/ 6509160 h 7047620"/>
                <a:gd name="connsiteX1175" fmla="*/ 5558520 w 9546932"/>
                <a:gd name="connsiteY1175" fmla="*/ 6509160 h 7047620"/>
                <a:gd name="connsiteX1176" fmla="*/ 5548988 w 9546932"/>
                <a:gd name="connsiteY1176" fmla="*/ 6513928 h 7047620"/>
                <a:gd name="connsiteX1177" fmla="*/ 5539460 w 9546932"/>
                <a:gd name="connsiteY1177" fmla="*/ 6509160 h 7047620"/>
                <a:gd name="connsiteX1178" fmla="*/ 5539460 w 9546932"/>
                <a:gd name="connsiteY1178" fmla="*/ 6504396 h 7047620"/>
                <a:gd name="connsiteX1179" fmla="*/ 5544224 w 9546932"/>
                <a:gd name="connsiteY1179" fmla="*/ 6494868 h 7047620"/>
                <a:gd name="connsiteX1180" fmla="*/ 5539460 w 9546932"/>
                <a:gd name="connsiteY1180" fmla="*/ 6485336 h 7047620"/>
                <a:gd name="connsiteX1181" fmla="*/ 5529928 w 9546932"/>
                <a:gd name="connsiteY1181" fmla="*/ 6480572 h 7047620"/>
                <a:gd name="connsiteX1182" fmla="*/ 5510868 w 9546932"/>
                <a:gd name="connsiteY1182" fmla="*/ 6480572 h 7047620"/>
                <a:gd name="connsiteX1183" fmla="*/ 5501340 w 9546932"/>
                <a:gd name="connsiteY1183" fmla="*/ 6480572 h 7047620"/>
                <a:gd name="connsiteX1184" fmla="*/ 5487044 w 9546932"/>
                <a:gd name="connsiteY1184" fmla="*/ 6480572 h 7047620"/>
                <a:gd name="connsiteX1185" fmla="*/ 5482276 w 9546932"/>
                <a:gd name="connsiteY1185" fmla="*/ 6475808 h 7047620"/>
                <a:gd name="connsiteX1186" fmla="*/ 5472748 w 9546932"/>
                <a:gd name="connsiteY1186" fmla="*/ 6461512 h 7047620"/>
                <a:gd name="connsiteX1187" fmla="*/ 5463216 w 9546932"/>
                <a:gd name="connsiteY1187" fmla="*/ 6456744 h 7047620"/>
                <a:gd name="connsiteX1188" fmla="*/ 5458452 w 9546932"/>
                <a:gd name="connsiteY1188" fmla="*/ 6447216 h 7047620"/>
                <a:gd name="connsiteX1189" fmla="*/ 5463216 w 9546932"/>
                <a:gd name="connsiteY1189" fmla="*/ 6437684 h 7047620"/>
                <a:gd name="connsiteX1190" fmla="*/ 5463216 w 9546932"/>
                <a:gd name="connsiteY1190" fmla="*/ 6432920 h 7047620"/>
                <a:gd name="connsiteX1191" fmla="*/ 5444156 w 9546932"/>
                <a:gd name="connsiteY1191" fmla="*/ 6432920 h 7047620"/>
                <a:gd name="connsiteX1192" fmla="*/ 5444156 w 9546932"/>
                <a:gd name="connsiteY1192" fmla="*/ 6447216 h 7047620"/>
                <a:gd name="connsiteX1193" fmla="*/ 5444156 w 9546932"/>
                <a:gd name="connsiteY1193" fmla="*/ 6461512 h 7047620"/>
                <a:gd name="connsiteX1194" fmla="*/ 5448924 w 9546932"/>
                <a:gd name="connsiteY1194" fmla="*/ 6471040 h 7047620"/>
                <a:gd name="connsiteX1195" fmla="*/ 5448924 w 9546932"/>
                <a:gd name="connsiteY1195" fmla="*/ 6480572 h 7047620"/>
                <a:gd name="connsiteX1196" fmla="*/ 5439392 w 9546932"/>
                <a:gd name="connsiteY1196" fmla="*/ 6485336 h 7047620"/>
                <a:gd name="connsiteX1197" fmla="*/ 5429860 w 9546932"/>
                <a:gd name="connsiteY1197" fmla="*/ 6471040 h 7047620"/>
                <a:gd name="connsiteX1198" fmla="*/ 5425096 w 9546932"/>
                <a:gd name="connsiteY1198" fmla="*/ 6466276 h 7047620"/>
                <a:gd name="connsiteX1199" fmla="*/ 5420332 w 9546932"/>
                <a:gd name="connsiteY1199" fmla="*/ 6471040 h 7047620"/>
                <a:gd name="connsiteX1200" fmla="*/ 5415568 w 9546932"/>
                <a:gd name="connsiteY1200" fmla="*/ 6480572 h 7047620"/>
                <a:gd name="connsiteX1201" fmla="*/ 5406036 w 9546932"/>
                <a:gd name="connsiteY1201" fmla="*/ 6490100 h 7047620"/>
                <a:gd name="connsiteX1202" fmla="*/ 5391740 w 9546932"/>
                <a:gd name="connsiteY1202" fmla="*/ 6490100 h 7047620"/>
                <a:gd name="connsiteX1203" fmla="*/ 5377444 w 9546932"/>
                <a:gd name="connsiteY1203" fmla="*/ 6499632 h 7047620"/>
                <a:gd name="connsiteX1204" fmla="*/ 5363148 w 9546932"/>
                <a:gd name="connsiteY1204" fmla="*/ 6499632 h 7047620"/>
                <a:gd name="connsiteX1205" fmla="*/ 5353620 w 9546932"/>
                <a:gd name="connsiteY1205" fmla="*/ 6490100 h 7047620"/>
                <a:gd name="connsiteX1206" fmla="*/ 5339324 w 9546932"/>
                <a:gd name="connsiteY1206" fmla="*/ 6475808 h 7047620"/>
                <a:gd name="connsiteX1207" fmla="*/ 5329796 w 9546932"/>
                <a:gd name="connsiteY1207" fmla="*/ 6475808 h 7047620"/>
                <a:gd name="connsiteX1208" fmla="*/ 5310732 w 9546932"/>
                <a:gd name="connsiteY1208" fmla="*/ 6480572 h 7047620"/>
                <a:gd name="connsiteX1209" fmla="*/ 5286908 w 9546932"/>
                <a:gd name="connsiteY1209" fmla="*/ 6485336 h 7047620"/>
                <a:gd name="connsiteX1210" fmla="*/ 5282144 w 9546932"/>
                <a:gd name="connsiteY1210" fmla="*/ 6475808 h 7047620"/>
                <a:gd name="connsiteX1211" fmla="*/ 5267848 w 9546932"/>
                <a:gd name="connsiteY1211" fmla="*/ 6485336 h 7047620"/>
                <a:gd name="connsiteX1212" fmla="*/ 5253552 w 9546932"/>
                <a:gd name="connsiteY1212" fmla="*/ 6466276 h 7047620"/>
                <a:gd name="connsiteX1213" fmla="*/ 5239256 w 9546932"/>
                <a:gd name="connsiteY1213" fmla="*/ 6466276 h 7047620"/>
                <a:gd name="connsiteX1214" fmla="*/ 5220196 w 9546932"/>
                <a:gd name="connsiteY1214" fmla="*/ 6451980 h 7047620"/>
                <a:gd name="connsiteX1215" fmla="*/ 5215432 w 9546932"/>
                <a:gd name="connsiteY1215" fmla="*/ 6447216 h 7047620"/>
                <a:gd name="connsiteX1216" fmla="*/ 5215432 w 9546932"/>
                <a:gd name="connsiteY1216" fmla="*/ 6432920 h 7047620"/>
                <a:gd name="connsiteX1217" fmla="*/ 5205900 w 9546932"/>
                <a:gd name="connsiteY1217" fmla="*/ 6428156 h 7047620"/>
                <a:gd name="connsiteX1218" fmla="*/ 5201136 w 9546932"/>
                <a:gd name="connsiteY1218" fmla="*/ 6432920 h 7047620"/>
                <a:gd name="connsiteX1219" fmla="*/ 5191604 w 9546932"/>
                <a:gd name="connsiteY1219" fmla="*/ 6423388 h 7047620"/>
                <a:gd name="connsiteX1220" fmla="*/ 5182076 w 9546932"/>
                <a:gd name="connsiteY1220" fmla="*/ 6418624 h 7047620"/>
                <a:gd name="connsiteX1221" fmla="*/ 5167780 w 9546932"/>
                <a:gd name="connsiteY1221" fmla="*/ 6418624 h 7047620"/>
                <a:gd name="connsiteX1222" fmla="*/ 5163016 w 9546932"/>
                <a:gd name="connsiteY1222" fmla="*/ 6418624 h 7047620"/>
                <a:gd name="connsiteX1223" fmla="*/ 5158248 w 9546932"/>
                <a:gd name="connsiteY1223" fmla="*/ 6423388 h 7047620"/>
                <a:gd name="connsiteX1224" fmla="*/ 5158248 w 9546932"/>
                <a:gd name="connsiteY1224" fmla="*/ 6413860 h 7047620"/>
                <a:gd name="connsiteX1225" fmla="*/ 5158248 w 9546932"/>
                <a:gd name="connsiteY1225" fmla="*/ 6394800 h 7047620"/>
                <a:gd name="connsiteX1226" fmla="*/ 5158248 w 9546932"/>
                <a:gd name="connsiteY1226" fmla="*/ 6375740 h 7047620"/>
                <a:gd name="connsiteX1227" fmla="*/ 5153484 w 9546932"/>
                <a:gd name="connsiteY1227" fmla="*/ 6370972 h 7047620"/>
                <a:gd name="connsiteX1228" fmla="*/ 5148720 w 9546932"/>
                <a:gd name="connsiteY1228" fmla="*/ 6361444 h 7047620"/>
                <a:gd name="connsiteX1229" fmla="*/ 5143956 w 9546932"/>
                <a:gd name="connsiteY1229" fmla="*/ 6361444 h 7047620"/>
                <a:gd name="connsiteX1230" fmla="*/ 5139188 w 9546932"/>
                <a:gd name="connsiteY1230" fmla="*/ 6351912 h 7047620"/>
                <a:gd name="connsiteX1231" fmla="*/ 5143956 w 9546932"/>
                <a:gd name="connsiteY1231" fmla="*/ 6332852 h 7047620"/>
                <a:gd name="connsiteX1232" fmla="*/ 5148720 w 9546932"/>
                <a:gd name="connsiteY1232" fmla="*/ 6318556 h 7047620"/>
                <a:gd name="connsiteX1233" fmla="*/ 5153484 w 9546932"/>
                <a:gd name="connsiteY1233" fmla="*/ 6318556 h 7047620"/>
                <a:gd name="connsiteX1234" fmla="*/ 5167780 w 9546932"/>
                <a:gd name="connsiteY1234" fmla="*/ 6309028 h 7047620"/>
                <a:gd name="connsiteX1235" fmla="*/ 5172544 w 9546932"/>
                <a:gd name="connsiteY1235" fmla="*/ 6294732 h 7047620"/>
                <a:gd name="connsiteX1236" fmla="*/ 5177308 w 9546932"/>
                <a:gd name="connsiteY1236" fmla="*/ 6285200 h 7047620"/>
                <a:gd name="connsiteX1237" fmla="*/ 5153484 w 9546932"/>
                <a:gd name="connsiteY1237" fmla="*/ 6270904 h 7047620"/>
                <a:gd name="connsiteX1238" fmla="*/ 5139188 w 9546932"/>
                <a:gd name="connsiteY1238" fmla="*/ 6266140 h 7047620"/>
                <a:gd name="connsiteX1239" fmla="*/ 5124892 w 9546932"/>
                <a:gd name="connsiteY1239" fmla="*/ 6266140 h 7047620"/>
                <a:gd name="connsiteX1240" fmla="*/ 5110600 w 9546932"/>
                <a:gd name="connsiteY1240" fmla="*/ 6270904 h 7047620"/>
                <a:gd name="connsiteX1241" fmla="*/ 5101068 w 9546932"/>
                <a:gd name="connsiteY1241" fmla="*/ 6270904 h 7047620"/>
                <a:gd name="connsiteX1242" fmla="*/ 5096304 w 9546932"/>
                <a:gd name="connsiteY1242" fmla="*/ 6270904 h 7047620"/>
                <a:gd name="connsiteX1243" fmla="*/ 5086772 w 9546932"/>
                <a:gd name="connsiteY1243" fmla="*/ 6256612 h 7047620"/>
                <a:gd name="connsiteX1244" fmla="*/ 5077244 w 9546932"/>
                <a:gd name="connsiteY1244" fmla="*/ 6251844 h 7047620"/>
                <a:gd name="connsiteX1245" fmla="*/ 5067712 w 9546932"/>
                <a:gd name="connsiteY1245" fmla="*/ 6251844 h 7047620"/>
                <a:gd name="connsiteX1246" fmla="*/ 5058180 w 9546932"/>
                <a:gd name="connsiteY1246" fmla="*/ 6251844 h 7047620"/>
                <a:gd name="connsiteX1247" fmla="*/ 5048652 w 9546932"/>
                <a:gd name="connsiteY1247" fmla="*/ 6261376 h 7047620"/>
                <a:gd name="connsiteX1248" fmla="*/ 5039120 w 9546932"/>
                <a:gd name="connsiteY1248" fmla="*/ 6261376 h 7047620"/>
                <a:gd name="connsiteX1249" fmla="*/ 5029592 w 9546932"/>
                <a:gd name="connsiteY1249" fmla="*/ 6261376 h 7047620"/>
                <a:gd name="connsiteX1250" fmla="*/ 5020060 w 9546932"/>
                <a:gd name="connsiteY1250" fmla="*/ 6251844 h 7047620"/>
                <a:gd name="connsiteX1251" fmla="*/ 5005764 w 9546932"/>
                <a:gd name="connsiteY1251" fmla="*/ 6242316 h 7047620"/>
                <a:gd name="connsiteX1252" fmla="*/ 4986704 w 9546932"/>
                <a:gd name="connsiteY1252" fmla="*/ 6237548 h 7047620"/>
                <a:gd name="connsiteX1253" fmla="*/ 4981940 w 9546932"/>
                <a:gd name="connsiteY1253" fmla="*/ 6228020 h 7047620"/>
                <a:gd name="connsiteX1254" fmla="*/ 4977176 w 9546932"/>
                <a:gd name="connsiteY1254" fmla="*/ 6218488 h 7047620"/>
                <a:gd name="connsiteX1255" fmla="*/ 4967644 w 9546932"/>
                <a:gd name="connsiteY1255" fmla="*/ 6208960 h 7047620"/>
                <a:gd name="connsiteX1256" fmla="*/ 4953348 w 9546932"/>
                <a:gd name="connsiteY1256" fmla="*/ 6194664 h 7047620"/>
                <a:gd name="connsiteX1257" fmla="*/ 4943820 w 9546932"/>
                <a:gd name="connsiteY1257" fmla="*/ 6189900 h 7047620"/>
                <a:gd name="connsiteX1258" fmla="*/ 4939052 w 9546932"/>
                <a:gd name="connsiteY1258" fmla="*/ 6194664 h 7047620"/>
                <a:gd name="connsiteX1259" fmla="*/ 4929524 w 9546932"/>
                <a:gd name="connsiteY1259" fmla="*/ 6199428 h 7047620"/>
                <a:gd name="connsiteX1260" fmla="*/ 4900932 w 9546932"/>
                <a:gd name="connsiteY1260" fmla="*/ 6213724 h 7047620"/>
                <a:gd name="connsiteX1261" fmla="*/ 4886636 w 9546932"/>
                <a:gd name="connsiteY1261" fmla="*/ 6223256 h 7047620"/>
                <a:gd name="connsiteX1262" fmla="*/ 4877108 w 9546932"/>
                <a:gd name="connsiteY1262" fmla="*/ 6223256 h 7047620"/>
                <a:gd name="connsiteX1263" fmla="*/ 4872340 w 9546932"/>
                <a:gd name="connsiteY1263" fmla="*/ 6232784 h 7047620"/>
                <a:gd name="connsiteX1264" fmla="*/ 4872340 w 9546932"/>
                <a:gd name="connsiteY1264" fmla="*/ 6247080 h 7047620"/>
                <a:gd name="connsiteX1265" fmla="*/ 4867576 w 9546932"/>
                <a:gd name="connsiteY1265" fmla="*/ 6261376 h 7047620"/>
                <a:gd name="connsiteX1266" fmla="*/ 4858048 w 9546932"/>
                <a:gd name="connsiteY1266" fmla="*/ 6270904 h 7047620"/>
                <a:gd name="connsiteX1267" fmla="*/ 4853280 w 9546932"/>
                <a:gd name="connsiteY1267" fmla="*/ 6280436 h 7047620"/>
                <a:gd name="connsiteX1268" fmla="*/ 4843752 w 9546932"/>
                <a:gd name="connsiteY1268" fmla="*/ 6280436 h 7047620"/>
                <a:gd name="connsiteX1269" fmla="*/ 4834220 w 9546932"/>
                <a:gd name="connsiteY1269" fmla="*/ 6280436 h 7047620"/>
                <a:gd name="connsiteX1270" fmla="*/ 4824692 w 9546932"/>
                <a:gd name="connsiteY1270" fmla="*/ 6280436 h 7047620"/>
                <a:gd name="connsiteX1271" fmla="*/ 4800864 w 9546932"/>
                <a:gd name="connsiteY1271" fmla="*/ 6299496 h 7047620"/>
                <a:gd name="connsiteX1272" fmla="*/ 4791336 w 9546932"/>
                <a:gd name="connsiteY1272" fmla="*/ 6294732 h 7047620"/>
                <a:gd name="connsiteX1273" fmla="*/ 4781804 w 9546932"/>
                <a:gd name="connsiteY1273" fmla="*/ 6289968 h 7047620"/>
                <a:gd name="connsiteX1274" fmla="*/ 4777040 w 9546932"/>
                <a:gd name="connsiteY1274" fmla="*/ 6280436 h 7047620"/>
                <a:gd name="connsiteX1275" fmla="*/ 4767508 w 9546932"/>
                <a:gd name="connsiteY1275" fmla="*/ 6280436 h 7047620"/>
                <a:gd name="connsiteX1276" fmla="*/ 4753212 w 9546932"/>
                <a:gd name="connsiteY1276" fmla="*/ 6289968 h 7047620"/>
                <a:gd name="connsiteX1277" fmla="*/ 4748448 w 9546932"/>
                <a:gd name="connsiteY1277" fmla="*/ 6304260 h 7047620"/>
                <a:gd name="connsiteX1278" fmla="*/ 4743684 w 9546932"/>
                <a:gd name="connsiteY1278" fmla="*/ 6318556 h 7047620"/>
                <a:gd name="connsiteX1279" fmla="*/ 4738920 w 9546932"/>
                <a:gd name="connsiteY1279" fmla="*/ 6323320 h 7047620"/>
                <a:gd name="connsiteX1280" fmla="*/ 4734152 w 9546932"/>
                <a:gd name="connsiteY1280" fmla="*/ 6328088 h 7047620"/>
                <a:gd name="connsiteX1281" fmla="*/ 4729388 w 9546932"/>
                <a:gd name="connsiteY1281" fmla="*/ 6328088 h 7047620"/>
                <a:gd name="connsiteX1282" fmla="*/ 4686500 w 9546932"/>
                <a:gd name="connsiteY1282" fmla="*/ 6285200 h 7047620"/>
                <a:gd name="connsiteX1283" fmla="*/ 4676972 w 9546932"/>
                <a:gd name="connsiteY1283" fmla="*/ 6294732 h 7047620"/>
                <a:gd name="connsiteX1284" fmla="*/ 4672208 w 9546932"/>
                <a:gd name="connsiteY1284" fmla="*/ 6313792 h 7047620"/>
                <a:gd name="connsiteX1285" fmla="*/ 4662676 w 9546932"/>
                <a:gd name="connsiteY1285" fmla="*/ 6318556 h 7047620"/>
                <a:gd name="connsiteX1286" fmla="*/ 4643616 w 9546932"/>
                <a:gd name="connsiteY1286" fmla="*/ 6289968 h 7047620"/>
                <a:gd name="connsiteX1287" fmla="*/ 4638852 w 9546932"/>
                <a:gd name="connsiteY1287" fmla="*/ 6285200 h 7047620"/>
                <a:gd name="connsiteX1288" fmla="*/ 4634084 w 9546932"/>
                <a:gd name="connsiteY1288" fmla="*/ 6289968 h 7047620"/>
                <a:gd name="connsiteX1289" fmla="*/ 4629320 w 9546932"/>
                <a:gd name="connsiteY1289" fmla="*/ 6294732 h 7047620"/>
                <a:gd name="connsiteX1290" fmla="*/ 4619788 w 9546932"/>
                <a:gd name="connsiteY1290" fmla="*/ 6309028 h 7047620"/>
                <a:gd name="connsiteX1291" fmla="*/ 4610260 w 9546932"/>
                <a:gd name="connsiteY1291" fmla="*/ 6318556 h 7047620"/>
                <a:gd name="connsiteX1292" fmla="*/ 4610260 w 9546932"/>
                <a:gd name="connsiteY1292" fmla="*/ 6328088 h 7047620"/>
                <a:gd name="connsiteX1293" fmla="*/ 4600728 w 9546932"/>
                <a:gd name="connsiteY1293" fmla="*/ 6332852 h 7047620"/>
                <a:gd name="connsiteX1294" fmla="*/ 4586436 w 9546932"/>
                <a:gd name="connsiteY1294" fmla="*/ 6342384 h 7047620"/>
                <a:gd name="connsiteX1295" fmla="*/ 4576904 w 9546932"/>
                <a:gd name="connsiteY1295" fmla="*/ 6337616 h 7047620"/>
                <a:gd name="connsiteX1296" fmla="*/ 4567372 w 9546932"/>
                <a:gd name="connsiteY1296" fmla="*/ 6328088 h 7047620"/>
                <a:gd name="connsiteX1297" fmla="*/ 4562608 w 9546932"/>
                <a:gd name="connsiteY1297" fmla="*/ 6318556 h 7047620"/>
                <a:gd name="connsiteX1298" fmla="*/ 4543548 w 9546932"/>
                <a:gd name="connsiteY1298" fmla="*/ 6309028 h 7047620"/>
                <a:gd name="connsiteX1299" fmla="*/ 4524488 w 9546932"/>
                <a:gd name="connsiteY1299" fmla="*/ 6299496 h 7047620"/>
                <a:gd name="connsiteX1300" fmla="*/ 4510192 w 9546932"/>
                <a:gd name="connsiteY1300" fmla="*/ 6289968 h 7047620"/>
                <a:gd name="connsiteX1301" fmla="*/ 4505428 w 9546932"/>
                <a:gd name="connsiteY1301" fmla="*/ 6289968 h 7047620"/>
                <a:gd name="connsiteX1302" fmla="*/ 4500660 w 9546932"/>
                <a:gd name="connsiteY1302" fmla="*/ 6294732 h 7047620"/>
                <a:gd name="connsiteX1303" fmla="*/ 4495896 w 9546932"/>
                <a:gd name="connsiteY1303" fmla="*/ 6299496 h 7047620"/>
                <a:gd name="connsiteX1304" fmla="*/ 4491132 w 9546932"/>
                <a:gd name="connsiteY1304" fmla="*/ 6309028 h 7047620"/>
                <a:gd name="connsiteX1305" fmla="*/ 4476836 w 9546932"/>
                <a:gd name="connsiteY1305" fmla="*/ 6323320 h 7047620"/>
                <a:gd name="connsiteX1306" fmla="*/ 4467308 w 9546932"/>
                <a:gd name="connsiteY1306" fmla="*/ 6337616 h 7047620"/>
                <a:gd name="connsiteX1307" fmla="*/ 4457776 w 9546932"/>
                <a:gd name="connsiteY1307" fmla="*/ 6347148 h 7047620"/>
                <a:gd name="connsiteX1308" fmla="*/ 4453012 w 9546932"/>
                <a:gd name="connsiteY1308" fmla="*/ 6351912 h 7047620"/>
                <a:gd name="connsiteX1309" fmla="*/ 4443480 w 9546932"/>
                <a:gd name="connsiteY1309" fmla="*/ 6347148 h 7047620"/>
                <a:gd name="connsiteX1310" fmla="*/ 4433948 w 9546932"/>
                <a:gd name="connsiteY1310" fmla="*/ 6342384 h 7047620"/>
                <a:gd name="connsiteX1311" fmla="*/ 4424420 w 9546932"/>
                <a:gd name="connsiteY1311" fmla="*/ 6342384 h 7047620"/>
                <a:gd name="connsiteX1312" fmla="*/ 4405360 w 9546932"/>
                <a:gd name="connsiteY1312" fmla="*/ 6351912 h 7047620"/>
                <a:gd name="connsiteX1313" fmla="*/ 4395828 w 9546932"/>
                <a:gd name="connsiteY1313" fmla="*/ 6332852 h 7047620"/>
                <a:gd name="connsiteX1314" fmla="*/ 4391064 w 9546932"/>
                <a:gd name="connsiteY1314" fmla="*/ 6332852 h 7047620"/>
                <a:gd name="connsiteX1315" fmla="*/ 4386300 w 9546932"/>
                <a:gd name="connsiteY1315" fmla="*/ 6332852 h 7047620"/>
                <a:gd name="connsiteX1316" fmla="*/ 4381532 w 9546932"/>
                <a:gd name="connsiteY1316" fmla="*/ 6337616 h 7047620"/>
                <a:gd name="connsiteX1317" fmla="*/ 4376768 w 9546932"/>
                <a:gd name="connsiteY1317" fmla="*/ 6347148 h 7047620"/>
                <a:gd name="connsiteX1318" fmla="*/ 4372004 w 9546932"/>
                <a:gd name="connsiteY1318" fmla="*/ 6361444 h 7047620"/>
                <a:gd name="connsiteX1319" fmla="*/ 4362472 w 9546932"/>
                <a:gd name="connsiteY1319" fmla="*/ 6370972 h 7047620"/>
                <a:gd name="connsiteX1320" fmla="*/ 4357708 w 9546932"/>
                <a:gd name="connsiteY1320" fmla="*/ 6375740 h 7047620"/>
                <a:gd name="connsiteX1321" fmla="*/ 4357708 w 9546932"/>
                <a:gd name="connsiteY1321" fmla="*/ 6380504 h 7047620"/>
                <a:gd name="connsiteX1322" fmla="*/ 4362472 w 9546932"/>
                <a:gd name="connsiteY1322" fmla="*/ 6390032 h 7047620"/>
                <a:gd name="connsiteX1323" fmla="*/ 4362472 w 9546932"/>
                <a:gd name="connsiteY1323" fmla="*/ 6394800 h 7047620"/>
                <a:gd name="connsiteX1324" fmla="*/ 4367240 w 9546932"/>
                <a:gd name="connsiteY1324" fmla="*/ 6409096 h 7047620"/>
                <a:gd name="connsiteX1325" fmla="*/ 4367240 w 9546932"/>
                <a:gd name="connsiteY1325" fmla="*/ 6418624 h 7047620"/>
                <a:gd name="connsiteX1326" fmla="*/ 4386300 w 9546932"/>
                <a:gd name="connsiteY1326" fmla="*/ 6437684 h 7047620"/>
                <a:gd name="connsiteX1327" fmla="*/ 4391064 w 9546932"/>
                <a:gd name="connsiteY1327" fmla="*/ 6447216 h 7047620"/>
                <a:gd name="connsiteX1328" fmla="*/ 4391064 w 9546932"/>
                <a:gd name="connsiteY1328" fmla="*/ 6456744 h 7047620"/>
                <a:gd name="connsiteX1329" fmla="*/ 4391064 w 9546932"/>
                <a:gd name="connsiteY1329" fmla="*/ 6485336 h 7047620"/>
                <a:gd name="connsiteX1330" fmla="*/ 4391064 w 9546932"/>
                <a:gd name="connsiteY1330" fmla="*/ 6494868 h 7047620"/>
                <a:gd name="connsiteX1331" fmla="*/ 4386300 w 9546932"/>
                <a:gd name="connsiteY1331" fmla="*/ 6518692 h 7047620"/>
                <a:gd name="connsiteX1332" fmla="*/ 4386300 w 9546932"/>
                <a:gd name="connsiteY1332" fmla="*/ 6532988 h 7047620"/>
                <a:gd name="connsiteX1333" fmla="*/ 4395828 w 9546932"/>
                <a:gd name="connsiteY1333" fmla="*/ 6537752 h 7047620"/>
                <a:gd name="connsiteX1334" fmla="*/ 4400596 w 9546932"/>
                <a:gd name="connsiteY1334" fmla="*/ 6547284 h 7047620"/>
                <a:gd name="connsiteX1335" fmla="*/ 4395828 w 9546932"/>
                <a:gd name="connsiteY1335" fmla="*/ 6552048 h 7047620"/>
                <a:gd name="connsiteX1336" fmla="*/ 4391064 w 9546932"/>
                <a:gd name="connsiteY1336" fmla="*/ 6561580 h 7047620"/>
                <a:gd name="connsiteX1337" fmla="*/ 4386300 w 9546932"/>
                <a:gd name="connsiteY1337" fmla="*/ 6561580 h 7047620"/>
                <a:gd name="connsiteX1338" fmla="*/ 4381532 w 9546932"/>
                <a:gd name="connsiteY1338" fmla="*/ 6556812 h 7047620"/>
                <a:gd name="connsiteX1339" fmla="*/ 4372004 w 9546932"/>
                <a:gd name="connsiteY1339" fmla="*/ 6552048 h 7047620"/>
                <a:gd name="connsiteX1340" fmla="*/ 4367240 w 9546932"/>
                <a:gd name="connsiteY1340" fmla="*/ 6552048 h 7047620"/>
                <a:gd name="connsiteX1341" fmla="*/ 4357708 w 9546932"/>
                <a:gd name="connsiteY1341" fmla="*/ 6547284 h 7047620"/>
                <a:gd name="connsiteX1342" fmla="*/ 4343412 w 9546932"/>
                <a:gd name="connsiteY1342" fmla="*/ 6547284 h 7047620"/>
                <a:gd name="connsiteX1343" fmla="*/ 4319588 w 9546932"/>
                <a:gd name="connsiteY1343" fmla="*/ 6552048 h 7047620"/>
                <a:gd name="connsiteX1344" fmla="*/ 4314820 w 9546932"/>
                <a:gd name="connsiteY1344" fmla="*/ 6552048 h 7047620"/>
                <a:gd name="connsiteX1345" fmla="*/ 4310056 w 9546932"/>
                <a:gd name="connsiteY1345" fmla="*/ 6547284 h 7047620"/>
                <a:gd name="connsiteX1346" fmla="*/ 4310056 w 9546932"/>
                <a:gd name="connsiteY1346" fmla="*/ 6537752 h 7047620"/>
                <a:gd name="connsiteX1347" fmla="*/ 4310056 w 9546932"/>
                <a:gd name="connsiteY1347" fmla="*/ 6528224 h 7047620"/>
                <a:gd name="connsiteX1348" fmla="*/ 4305292 w 9546932"/>
                <a:gd name="connsiteY1348" fmla="*/ 6523456 h 7047620"/>
                <a:gd name="connsiteX1349" fmla="*/ 4300528 w 9546932"/>
                <a:gd name="connsiteY1349" fmla="*/ 6518692 h 7047620"/>
                <a:gd name="connsiteX1350" fmla="*/ 4305292 w 9546932"/>
                <a:gd name="connsiteY1350" fmla="*/ 6499632 h 7047620"/>
                <a:gd name="connsiteX1351" fmla="*/ 4295760 w 9546932"/>
                <a:gd name="connsiteY1351" fmla="*/ 6490100 h 7047620"/>
                <a:gd name="connsiteX1352" fmla="*/ 4300528 w 9546932"/>
                <a:gd name="connsiteY1352" fmla="*/ 6485336 h 7047620"/>
                <a:gd name="connsiteX1353" fmla="*/ 4295760 w 9546932"/>
                <a:gd name="connsiteY1353" fmla="*/ 6466276 h 7047620"/>
                <a:gd name="connsiteX1354" fmla="*/ 4295760 w 9546932"/>
                <a:gd name="connsiteY1354" fmla="*/ 6461512 h 7047620"/>
                <a:gd name="connsiteX1355" fmla="*/ 4286232 w 9546932"/>
                <a:gd name="connsiteY1355" fmla="*/ 6456744 h 7047620"/>
                <a:gd name="connsiteX1356" fmla="*/ 4276700 w 9546932"/>
                <a:gd name="connsiteY1356" fmla="*/ 6461512 h 7047620"/>
                <a:gd name="connsiteX1357" fmla="*/ 4248108 w 9546932"/>
                <a:gd name="connsiteY1357" fmla="*/ 6475808 h 7047620"/>
                <a:gd name="connsiteX1358" fmla="*/ 4224284 w 9546932"/>
                <a:gd name="connsiteY1358" fmla="*/ 6499632 h 7047620"/>
                <a:gd name="connsiteX1359" fmla="*/ 4214756 w 9546932"/>
                <a:gd name="connsiteY1359" fmla="*/ 6504396 h 7047620"/>
                <a:gd name="connsiteX1360" fmla="*/ 4200460 w 9546932"/>
                <a:gd name="connsiteY1360" fmla="*/ 6509160 h 7047620"/>
                <a:gd name="connsiteX1361" fmla="*/ 4190928 w 9546932"/>
                <a:gd name="connsiteY1361" fmla="*/ 6504396 h 7047620"/>
                <a:gd name="connsiteX1362" fmla="*/ 4171868 w 9546932"/>
                <a:gd name="connsiteY1362" fmla="*/ 6499632 h 7047620"/>
                <a:gd name="connsiteX1363" fmla="*/ 4152808 w 9546932"/>
                <a:gd name="connsiteY1363" fmla="*/ 6509160 h 7047620"/>
                <a:gd name="connsiteX1364" fmla="*/ 4143276 w 9546932"/>
                <a:gd name="connsiteY1364" fmla="*/ 6504396 h 7047620"/>
                <a:gd name="connsiteX1365" fmla="*/ 4138512 w 9546932"/>
                <a:gd name="connsiteY1365" fmla="*/ 6499632 h 7047620"/>
                <a:gd name="connsiteX1366" fmla="*/ 4133748 w 9546932"/>
                <a:gd name="connsiteY1366" fmla="*/ 6490100 h 7047620"/>
                <a:gd name="connsiteX1367" fmla="*/ 4133748 w 9546932"/>
                <a:gd name="connsiteY1367" fmla="*/ 6480572 h 7047620"/>
                <a:gd name="connsiteX1368" fmla="*/ 4133748 w 9546932"/>
                <a:gd name="connsiteY1368" fmla="*/ 6475808 h 7047620"/>
                <a:gd name="connsiteX1369" fmla="*/ 4124216 w 9546932"/>
                <a:gd name="connsiteY1369" fmla="*/ 6471040 h 7047620"/>
                <a:gd name="connsiteX1370" fmla="*/ 4114688 w 9546932"/>
                <a:gd name="connsiteY1370" fmla="*/ 6466276 h 7047620"/>
                <a:gd name="connsiteX1371" fmla="*/ 4109920 w 9546932"/>
                <a:gd name="connsiteY1371" fmla="*/ 6456744 h 7047620"/>
                <a:gd name="connsiteX1372" fmla="*/ 4105156 w 9546932"/>
                <a:gd name="connsiteY1372" fmla="*/ 6447216 h 7047620"/>
                <a:gd name="connsiteX1373" fmla="*/ 4109920 w 9546932"/>
                <a:gd name="connsiteY1373" fmla="*/ 6432920 h 7047620"/>
                <a:gd name="connsiteX1374" fmla="*/ 4109920 w 9546932"/>
                <a:gd name="connsiteY1374" fmla="*/ 6418624 h 7047620"/>
                <a:gd name="connsiteX1375" fmla="*/ 4105156 w 9546932"/>
                <a:gd name="connsiteY1375" fmla="*/ 6413860 h 7047620"/>
                <a:gd name="connsiteX1376" fmla="*/ 4090860 w 9546932"/>
                <a:gd name="connsiteY1376" fmla="*/ 6409096 h 7047620"/>
                <a:gd name="connsiteX1377" fmla="*/ 4057504 w 9546932"/>
                <a:gd name="connsiteY1377" fmla="*/ 6404328 h 7047620"/>
                <a:gd name="connsiteX1378" fmla="*/ 4024148 w 9546932"/>
                <a:gd name="connsiteY1378" fmla="*/ 6399564 h 7047620"/>
                <a:gd name="connsiteX1379" fmla="*/ 4009852 w 9546932"/>
                <a:gd name="connsiteY1379" fmla="*/ 6399564 h 7047620"/>
                <a:gd name="connsiteX1380" fmla="*/ 4000324 w 9546932"/>
                <a:gd name="connsiteY1380" fmla="*/ 6399564 h 7047620"/>
                <a:gd name="connsiteX1381" fmla="*/ 3990792 w 9546932"/>
                <a:gd name="connsiteY1381" fmla="*/ 6394800 h 7047620"/>
                <a:gd name="connsiteX1382" fmla="*/ 3990792 w 9546932"/>
                <a:gd name="connsiteY1382" fmla="*/ 6390032 h 7047620"/>
                <a:gd name="connsiteX1383" fmla="*/ 3990792 w 9546932"/>
                <a:gd name="connsiteY1383" fmla="*/ 6385268 h 7047620"/>
                <a:gd name="connsiteX1384" fmla="*/ 3995560 w 9546932"/>
                <a:gd name="connsiteY1384" fmla="*/ 6370972 h 7047620"/>
                <a:gd name="connsiteX1385" fmla="*/ 4000324 w 9546932"/>
                <a:gd name="connsiteY1385" fmla="*/ 6356676 h 7047620"/>
                <a:gd name="connsiteX1386" fmla="*/ 4014620 w 9546932"/>
                <a:gd name="connsiteY1386" fmla="*/ 6332852 h 7047620"/>
                <a:gd name="connsiteX1387" fmla="*/ 4014620 w 9546932"/>
                <a:gd name="connsiteY1387" fmla="*/ 6318556 h 7047620"/>
                <a:gd name="connsiteX1388" fmla="*/ 4014620 w 9546932"/>
                <a:gd name="connsiteY1388" fmla="*/ 6299496 h 7047620"/>
                <a:gd name="connsiteX1389" fmla="*/ 4024148 w 9546932"/>
                <a:gd name="connsiteY1389" fmla="*/ 6275672 h 7047620"/>
                <a:gd name="connsiteX1390" fmla="*/ 4033680 w 9546932"/>
                <a:gd name="connsiteY1390" fmla="*/ 6261376 h 7047620"/>
                <a:gd name="connsiteX1391" fmla="*/ 4043208 w 9546932"/>
                <a:gd name="connsiteY1391" fmla="*/ 6256612 h 7047620"/>
                <a:gd name="connsiteX1392" fmla="*/ 4038444 w 9546932"/>
                <a:gd name="connsiteY1392" fmla="*/ 6247080 h 7047620"/>
                <a:gd name="connsiteX1393" fmla="*/ 4033680 w 9546932"/>
                <a:gd name="connsiteY1393" fmla="*/ 6242316 h 7047620"/>
                <a:gd name="connsiteX1394" fmla="*/ 4028916 w 9546932"/>
                <a:gd name="connsiteY1394" fmla="*/ 6237548 h 7047620"/>
                <a:gd name="connsiteX1395" fmla="*/ 4014620 w 9546932"/>
                <a:gd name="connsiteY1395" fmla="*/ 6232784 h 7047620"/>
                <a:gd name="connsiteX1396" fmla="*/ 3995560 w 9546932"/>
                <a:gd name="connsiteY1396" fmla="*/ 6232784 h 7047620"/>
                <a:gd name="connsiteX1397" fmla="*/ 3971732 w 9546932"/>
                <a:gd name="connsiteY1397" fmla="*/ 6228020 h 7047620"/>
                <a:gd name="connsiteX1398" fmla="*/ 3943140 w 9546932"/>
                <a:gd name="connsiteY1398" fmla="*/ 6213724 h 7047620"/>
                <a:gd name="connsiteX1399" fmla="*/ 3943140 w 9546932"/>
                <a:gd name="connsiteY1399" fmla="*/ 6194664 h 7047620"/>
                <a:gd name="connsiteX1400" fmla="*/ 3943140 w 9546932"/>
                <a:gd name="connsiteY1400" fmla="*/ 6185132 h 7047620"/>
                <a:gd name="connsiteX1401" fmla="*/ 3938376 w 9546932"/>
                <a:gd name="connsiteY1401" fmla="*/ 6175604 h 7047620"/>
                <a:gd name="connsiteX1402" fmla="*/ 3933612 w 9546932"/>
                <a:gd name="connsiteY1402" fmla="*/ 6166072 h 7047620"/>
                <a:gd name="connsiteX1403" fmla="*/ 3933612 w 9546932"/>
                <a:gd name="connsiteY1403" fmla="*/ 6161308 h 7047620"/>
                <a:gd name="connsiteX1404" fmla="*/ 3938376 w 9546932"/>
                <a:gd name="connsiteY1404" fmla="*/ 6142248 h 7047620"/>
                <a:gd name="connsiteX1405" fmla="*/ 3928848 w 9546932"/>
                <a:gd name="connsiteY1405" fmla="*/ 6123188 h 7047620"/>
                <a:gd name="connsiteX1406" fmla="*/ 3919316 w 9546932"/>
                <a:gd name="connsiteY1406" fmla="*/ 6113656 h 7047620"/>
                <a:gd name="connsiteX1407" fmla="*/ 3914552 w 9546932"/>
                <a:gd name="connsiteY1407" fmla="*/ 6104128 h 7047620"/>
                <a:gd name="connsiteX1408" fmla="*/ 3914552 w 9546932"/>
                <a:gd name="connsiteY1408" fmla="*/ 6094596 h 7047620"/>
                <a:gd name="connsiteX1409" fmla="*/ 3914552 w 9546932"/>
                <a:gd name="connsiteY1409" fmla="*/ 6085064 h 7047620"/>
                <a:gd name="connsiteX1410" fmla="*/ 3938376 w 9546932"/>
                <a:gd name="connsiteY1410" fmla="*/ 6061240 h 7047620"/>
                <a:gd name="connsiteX1411" fmla="*/ 3938376 w 9546932"/>
                <a:gd name="connsiteY1411" fmla="*/ 6056476 h 7047620"/>
                <a:gd name="connsiteX1412" fmla="*/ 3933612 w 9546932"/>
                <a:gd name="connsiteY1412" fmla="*/ 6056476 h 7047620"/>
                <a:gd name="connsiteX1413" fmla="*/ 3924080 w 9546932"/>
                <a:gd name="connsiteY1413" fmla="*/ 6056476 h 7047620"/>
                <a:gd name="connsiteX1414" fmla="*/ 3895492 w 9546932"/>
                <a:gd name="connsiteY1414" fmla="*/ 6066004 h 7047620"/>
                <a:gd name="connsiteX1415" fmla="*/ 3895492 w 9546932"/>
                <a:gd name="connsiteY1415" fmla="*/ 6061240 h 7047620"/>
                <a:gd name="connsiteX1416" fmla="*/ 3885960 w 9546932"/>
                <a:gd name="connsiteY1416" fmla="*/ 6056476 h 7047620"/>
                <a:gd name="connsiteX1417" fmla="*/ 3862136 w 9546932"/>
                <a:gd name="connsiteY1417" fmla="*/ 6056476 h 7047620"/>
                <a:gd name="connsiteX1418" fmla="*/ 3838308 w 9546932"/>
                <a:gd name="connsiteY1418" fmla="*/ 6061240 h 7047620"/>
                <a:gd name="connsiteX1419" fmla="*/ 3812100 w 9546932"/>
                <a:gd name="connsiteY1419" fmla="*/ 6066004 h 7047620"/>
                <a:gd name="connsiteX1420" fmla="*/ 3783512 w 9546932"/>
                <a:gd name="connsiteY1420" fmla="*/ 6080300 h 7047620"/>
                <a:gd name="connsiteX1421" fmla="*/ 3769216 w 9546932"/>
                <a:gd name="connsiteY1421" fmla="*/ 6089832 h 7047620"/>
                <a:gd name="connsiteX1422" fmla="*/ 3759684 w 9546932"/>
                <a:gd name="connsiteY1422" fmla="*/ 6094596 h 7047620"/>
                <a:gd name="connsiteX1423" fmla="*/ 3750156 w 9546932"/>
                <a:gd name="connsiteY1423" fmla="*/ 6099360 h 7047620"/>
                <a:gd name="connsiteX1424" fmla="*/ 3740624 w 9546932"/>
                <a:gd name="connsiteY1424" fmla="*/ 6094596 h 7047620"/>
                <a:gd name="connsiteX1425" fmla="*/ 3740624 w 9546932"/>
                <a:gd name="connsiteY1425" fmla="*/ 6080300 h 7047620"/>
                <a:gd name="connsiteX1426" fmla="*/ 3759684 w 9546932"/>
                <a:gd name="connsiteY1426" fmla="*/ 6056476 h 7047620"/>
                <a:gd name="connsiteX1427" fmla="*/ 3764448 w 9546932"/>
                <a:gd name="connsiteY1427" fmla="*/ 6037416 h 7047620"/>
                <a:gd name="connsiteX1428" fmla="*/ 3759684 w 9546932"/>
                <a:gd name="connsiteY1428" fmla="*/ 6023120 h 7047620"/>
                <a:gd name="connsiteX1429" fmla="*/ 3754920 w 9546932"/>
                <a:gd name="connsiteY1429" fmla="*/ 6013588 h 7047620"/>
                <a:gd name="connsiteX1430" fmla="*/ 3750156 w 9546932"/>
                <a:gd name="connsiteY1430" fmla="*/ 6004060 h 7047620"/>
                <a:gd name="connsiteX1431" fmla="*/ 3740624 w 9546932"/>
                <a:gd name="connsiteY1431" fmla="*/ 6004060 h 7047620"/>
                <a:gd name="connsiteX1432" fmla="*/ 3735860 w 9546932"/>
                <a:gd name="connsiteY1432" fmla="*/ 5994528 h 7047620"/>
                <a:gd name="connsiteX1433" fmla="*/ 3735860 w 9546932"/>
                <a:gd name="connsiteY1433" fmla="*/ 5970704 h 7047620"/>
                <a:gd name="connsiteX1434" fmla="*/ 3745388 w 9546932"/>
                <a:gd name="connsiteY1434" fmla="*/ 5946876 h 7047620"/>
                <a:gd name="connsiteX1435" fmla="*/ 3759684 w 9546932"/>
                <a:gd name="connsiteY1435" fmla="*/ 5937348 h 7047620"/>
                <a:gd name="connsiteX1436" fmla="*/ 3764448 w 9546932"/>
                <a:gd name="connsiteY1436" fmla="*/ 5932580 h 7047620"/>
                <a:gd name="connsiteX1437" fmla="*/ 3769216 w 9546932"/>
                <a:gd name="connsiteY1437" fmla="*/ 5927816 h 7047620"/>
                <a:gd name="connsiteX1438" fmla="*/ 3764448 w 9546932"/>
                <a:gd name="connsiteY1438" fmla="*/ 5913520 h 7047620"/>
                <a:gd name="connsiteX1439" fmla="*/ 3764448 w 9546932"/>
                <a:gd name="connsiteY1439" fmla="*/ 5899224 h 7047620"/>
                <a:gd name="connsiteX1440" fmla="*/ 3773980 w 9546932"/>
                <a:gd name="connsiteY1440" fmla="*/ 5880164 h 7047620"/>
                <a:gd name="connsiteX1441" fmla="*/ 3778744 w 9546932"/>
                <a:gd name="connsiteY1441" fmla="*/ 5861104 h 7047620"/>
                <a:gd name="connsiteX1442" fmla="*/ 3797804 w 9546932"/>
                <a:gd name="connsiteY1442" fmla="*/ 5865868 h 7047620"/>
                <a:gd name="connsiteX1443" fmla="*/ 3802572 w 9546932"/>
                <a:gd name="connsiteY1443" fmla="*/ 5861104 h 7047620"/>
                <a:gd name="connsiteX1444" fmla="*/ 3812100 w 9546932"/>
                <a:gd name="connsiteY1444" fmla="*/ 5856340 h 7047620"/>
                <a:gd name="connsiteX1445" fmla="*/ 3816868 w 9546932"/>
                <a:gd name="connsiteY1445" fmla="*/ 5846808 h 7047620"/>
                <a:gd name="connsiteX1446" fmla="*/ 3826396 w 9546932"/>
                <a:gd name="connsiteY1446" fmla="*/ 5832512 h 7047620"/>
                <a:gd name="connsiteX1447" fmla="*/ 3831160 w 9546932"/>
                <a:gd name="connsiteY1447" fmla="*/ 5808688 h 7047620"/>
                <a:gd name="connsiteX1448" fmla="*/ 3833544 w 9546932"/>
                <a:gd name="connsiteY1448" fmla="*/ 5803924 h 7047620"/>
                <a:gd name="connsiteX1449" fmla="*/ 3852604 w 9546932"/>
                <a:gd name="connsiteY1449" fmla="*/ 5808688 h 7047620"/>
                <a:gd name="connsiteX1450" fmla="*/ 3857368 w 9546932"/>
                <a:gd name="connsiteY1450" fmla="*/ 5803924 h 7047620"/>
                <a:gd name="connsiteX1451" fmla="*/ 3871664 w 9546932"/>
                <a:gd name="connsiteY1451" fmla="*/ 5789628 h 7047620"/>
                <a:gd name="connsiteX1452" fmla="*/ 3881196 w 9546932"/>
                <a:gd name="connsiteY1452" fmla="*/ 5770568 h 7047620"/>
                <a:gd name="connsiteX1453" fmla="*/ 3895492 w 9546932"/>
                <a:gd name="connsiteY1453" fmla="*/ 5765804 h 7047620"/>
                <a:gd name="connsiteX1454" fmla="*/ 3905020 w 9546932"/>
                <a:gd name="connsiteY1454" fmla="*/ 5761036 h 7047620"/>
                <a:gd name="connsiteX1455" fmla="*/ 3909788 w 9546932"/>
                <a:gd name="connsiteY1455" fmla="*/ 5756272 h 7047620"/>
                <a:gd name="connsiteX1456" fmla="*/ 3909788 w 9546932"/>
                <a:gd name="connsiteY1456" fmla="*/ 5746740 h 7047620"/>
                <a:gd name="connsiteX1457" fmla="*/ 3900256 w 9546932"/>
                <a:gd name="connsiteY1457" fmla="*/ 5732448 h 7047620"/>
                <a:gd name="connsiteX1458" fmla="*/ 3895492 w 9546932"/>
                <a:gd name="connsiteY1458" fmla="*/ 5722916 h 7047620"/>
                <a:gd name="connsiteX1459" fmla="*/ 3895492 w 9546932"/>
                <a:gd name="connsiteY1459" fmla="*/ 5713384 h 7047620"/>
                <a:gd name="connsiteX1460" fmla="*/ 3909788 w 9546932"/>
                <a:gd name="connsiteY1460" fmla="*/ 5708620 h 7047620"/>
                <a:gd name="connsiteX1461" fmla="*/ 3914552 w 9546932"/>
                <a:gd name="connsiteY1461" fmla="*/ 5699092 h 7047620"/>
                <a:gd name="connsiteX1462" fmla="*/ 3909788 w 9546932"/>
                <a:gd name="connsiteY1462" fmla="*/ 5680028 h 7047620"/>
                <a:gd name="connsiteX1463" fmla="*/ 3919316 w 9546932"/>
                <a:gd name="connsiteY1463" fmla="*/ 5660968 h 7047620"/>
                <a:gd name="connsiteX1464" fmla="*/ 3919316 w 9546932"/>
                <a:gd name="connsiteY1464" fmla="*/ 5632380 h 7047620"/>
                <a:gd name="connsiteX1465" fmla="*/ 3924080 w 9546932"/>
                <a:gd name="connsiteY1465" fmla="*/ 5613320 h 7047620"/>
                <a:gd name="connsiteX1466" fmla="*/ 3924080 w 9546932"/>
                <a:gd name="connsiteY1466" fmla="*/ 5594256 h 7047620"/>
                <a:gd name="connsiteX1467" fmla="*/ 3919316 w 9546932"/>
                <a:gd name="connsiteY1467" fmla="*/ 5579964 h 7047620"/>
                <a:gd name="connsiteX1468" fmla="*/ 3919316 w 9546932"/>
                <a:gd name="connsiteY1468" fmla="*/ 5551372 h 7047620"/>
                <a:gd name="connsiteX1469" fmla="*/ 3909788 w 9546932"/>
                <a:gd name="connsiteY1469" fmla="*/ 5527544 h 7047620"/>
                <a:gd name="connsiteX1470" fmla="*/ 3914552 w 9546932"/>
                <a:gd name="connsiteY1470" fmla="*/ 5513252 h 7047620"/>
                <a:gd name="connsiteX1471" fmla="*/ 3914552 w 9546932"/>
                <a:gd name="connsiteY1471" fmla="*/ 5484660 h 7047620"/>
                <a:gd name="connsiteX1472" fmla="*/ 3909788 w 9546932"/>
                <a:gd name="connsiteY1472" fmla="*/ 5456068 h 7047620"/>
                <a:gd name="connsiteX1473" fmla="*/ 3900256 w 9546932"/>
                <a:gd name="connsiteY1473" fmla="*/ 5451304 h 7047620"/>
                <a:gd name="connsiteX1474" fmla="*/ 3885960 w 9546932"/>
                <a:gd name="connsiteY1474" fmla="*/ 5446540 h 7047620"/>
                <a:gd name="connsiteX1475" fmla="*/ 3876432 w 9546932"/>
                <a:gd name="connsiteY1475" fmla="*/ 5441772 h 7047620"/>
                <a:gd name="connsiteX1476" fmla="*/ 3871664 w 9546932"/>
                <a:gd name="connsiteY1476" fmla="*/ 5446540 h 7047620"/>
                <a:gd name="connsiteX1477" fmla="*/ 3866900 w 9546932"/>
                <a:gd name="connsiteY1477" fmla="*/ 5456068 h 7047620"/>
                <a:gd name="connsiteX1478" fmla="*/ 3862136 w 9546932"/>
                <a:gd name="connsiteY1478" fmla="*/ 5465600 h 7047620"/>
                <a:gd name="connsiteX1479" fmla="*/ 3852604 w 9546932"/>
                <a:gd name="connsiteY1479" fmla="*/ 5460832 h 7047620"/>
                <a:gd name="connsiteX1480" fmla="*/ 3847840 w 9546932"/>
                <a:gd name="connsiteY1480" fmla="*/ 5451304 h 7047620"/>
                <a:gd name="connsiteX1481" fmla="*/ 3843076 w 9546932"/>
                <a:gd name="connsiteY1481" fmla="*/ 5441772 h 7047620"/>
                <a:gd name="connsiteX1482" fmla="*/ 3831160 w 9546932"/>
                <a:gd name="connsiteY1482" fmla="*/ 5389356 h 7047620"/>
                <a:gd name="connsiteX1483" fmla="*/ 3826396 w 9546932"/>
                <a:gd name="connsiteY1483" fmla="*/ 5375060 h 7047620"/>
                <a:gd name="connsiteX1484" fmla="*/ 3826396 w 9546932"/>
                <a:gd name="connsiteY1484" fmla="*/ 5356000 h 7047620"/>
                <a:gd name="connsiteX1485" fmla="*/ 3816868 w 9546932"/>
                <a:gd name="connsiteY1485" fmla="*/ 5351236 h 7047620"/>
                <a:gd name="connsiteX1486" fmla="*/ 3812100 w 9546932"/>
                <a:gd name="connsiteY1486" fmla="*/ 5346472 h 7047620"/>
                <a:gd name="connsiteX1487" fmla="*/ 3797804 w 9546932"/>
                <a:gd name="connsiteY1487" fmla="*/ 5327412 h 7047620"/>
                <a:gd name="connsiteX1488" fmla="*/ 3793040 w 9546932"/>
                <a:gd name="connsiteY1488" fmla="*/ 5317880 h 7047620"/>
                <a:gd name="connsiteX1489" fmla="*/ 3788276 w 9546932"/>
                <a:gd name="connsiteY1489" fmla="*/ 5317880 h 7047620"/>
                <a:gd name="connsiteX1490" fmla="*/ 3778744 w 9546932"/>
                <a:gd name="connsiteY1490" fmla="*/ 5317880 h 7047620"/>
                <a:gd name="connsiteX1491" fmla="*/ 3773980 w 9546932"/>
                <a:gd name="connsiteY1491" fmla="*/ 5317880 h 7047620"/>
                <a:gd name="connsiteX1492" fmla="*/ 3764448 w 9546932"/>
                <a:gd name="connsiteY1492" fmla="*/ 5308348 h 7047620"/>
                <a:gd name="connsiteX1493" fmla="*/ 3759684 w 9546932"/>
                <a:gd name="connsiteY1493" fmla="*/ 5298820 h 7047620"/>
                <a:gd name="connsiteX1494" fmla="*/ 3754920 w 9546932"/>
                <a:gd name="connsiteY1494" fmla="*/ 5294056 h 7047620"/>
                <a:gd name="connsiteX1495" fmla="*/ 3745388 w 9546932"/>
                <a:gd name="connsiteY1495" fmla="*/ 5289288 h 7047620"/>
                <a:gd name="connsiteX1496" fmla="*/ 3735860 w 9546932"/>
                <a:gd name="connsiteY1496" fmla="*/ 5294056 h 7047620"/>
                <a:gd name="connsiteX1497" fmla="*/ 3731092 w 9546932"/>
                <a:gd name="connsiteY1497" fmla="*/ 5303584 h 7047620"/>
                <a:gd name="connsiteX1498" fmla="*/ 3726328 w 9546932"/>
                <a:gd name="connsiteY1498" fmla="*/ 5308348 h 7047620"/>
                <a:gd name="connsiteX1499" fmla="*/ 3721564 w 9546932"/>
                <a:gd name="connsiteY1499" fmla="*/ 5317880 h 7047620"/>
                <a:gd name="connsiteX1500" fmla="*/ 3707268 w 9546932"/>
                <a:gd name="connsiteY1500" fmla="*/ 5336940 h 7047620"/>
                <a:gd name="connsiteX1501" fmla="*/ 3702504 w 9546932"/>
                <a:gd name="connsiteY1501" fmla="*/ 5346472 h 7047620"/>
                <a:gd name="connsiteX1502" fmla="*/ 3697740 w 9546932"/>
                <a:gd name="connsiteY1502" fmla="*/ 5341704 h 7047620"/>
                <a:gd name="connsiteX1503" fmla="*/ 3673912 w 9546932"/>
                <a:gd name="connsiteY1503" fmla="*/ 5322644 h 7047620"/>
                <a:gd name="connsiteX1504" fmla="*/ 3664380 w 9546932"/>
                <a:gd name="connsiteY1504" fmla="*/ 5317880 h 7047620"/>
                <a:gd name="connsiteX1505" fmla="*/ 3650088 w 9546932"/>
                <a:gd name="connsiteY1505" fmla="*/ 5322644 h 7047620"/>
                <a:gd name="connsiteX1506" fmla="*/ 3626260 w 9546932"/>
                <a:gd name="connsiteY1506" fmla="*/ 5317880 h 7047620"/>
                <a:gd name="connsiteX1507" fmla="*/ 3616732 w 9546932"/>
                <a:gd name="connsiteY1507" fmla="*/ 5317880 h 7047620"/>
                <a:gd name="connsiteX1508" fmla="*/ 3597672 w 9546932"/>
                <a:gd name="connsiteY1508" fmla="*/ 5303584 h 7047620"/>
                <a:gd name="connsiteX1509" fmla="*/ 3592904 w 9546932"/>
                <a:gd name="connsiteY1509" fmla="*/ 5298820 h 7047620"/>
                <a:gd name="connsiteX1510" fmla="*/ 3564316 w 9546932"/>
                <a:gd name="connsiteY1510" fmla="*/ 5308348 h 7047620"/>
                <a:gd name="connsiteX1511" fmla="*/ 3559548 w 9546932"/>
                <a:gd name="connsiteY1511" fmla="*/ 5317880 h 7047620"/>
                <a:gd name="connsiteX1512" fmla="*/ 3554784 w 9546932"/>
                <a:gd name="connsiteY1512" fmla="*/ 5317880 h 7047620"/>
                <a:gd name="connsiteX1513" fmla="*/ 3545252 w 9546932"/>
                <a:gd name="connsiteY1513" fmla="*/ 5313116 h 7047620"/>
                <a:gd name="connsiteX1514" fmla="*/ 3540488 w 9546932"/>
                <a:gd name="connsiteY1514" fmla="*/ 5308348 h 7047620"/>
                <a:gd name="connsiteX1515" fmla="*/ 3545252 w 9546932"/>
                <a:gd name="connsiteY1515" fmla="*/ 5298820 h 7047620"/>
                <a:gd name="connsiteX1516" fmla="*/ 3550020 w 9546932"/>
                <a:gd name="connsiteY1516" fmla="*/ 5294056 h 7047620"/>
                <a:gd name="connsiteX1517" fmla="*/ 3550020 w 9546932"/>
                <a:gd name="connsiteY1517" fmla="*/ 5289288 h 7047620"/>
                <a:gd name="connsiteX1518" fmla="*/ 3559548 w 9546932"/>
                <a:gd name="connsiteY1518" fmla="*/ 5274992 h 7047620"/>
                <a:gd name="connsiteX1519" fmla="*/ 3588140 w 9546932"/>
                <a:gd name="connsiteY1519" fmla="*/ 5246404 h 7047620"/>
                <a:gd name="connsiteX1520" fmla="*/ 3583376 w 9546932"/>
                <a:gd name="connsiteY1520" fmla="*/ 5236872 h 7047620"/>
                <a:gd name="connsiteX1521" fmla="*/ 3569080 w 9546932"/>
                <a:gd name="connsiteY1521" fmla="*/ 5213048 h 7047620"/>
                <a:gd name="connsiteX1522" fmla="*/ 3569080 w 9546932"/>
                <a:gd name="connsiteY1522" fmla="*/ 5198752 h 7047620"/>
                <a:gd name="connsiteX1523" fmla="*/ 3564316 w 9546932"/>
                <a:gd name="connsiteY1523" fmla="*/ 5193988 h 7047620"/>
                <a:gd name="connsiteX1524" fmla="*/ 3550020 w 9546932"/>
                <a:gd name="connsiteY1524" fmla="*/ 5198752 h 7047620"/>
                <a:gd name="connsiteX1525" fmla="*/ 3521428 w 9546932"/>
                <a:gd name="connsiteY1525" fmla="*/ 5222576 h 7047620"/>
                <a:gd name="connsiteX1526" fmla="*/ 3516664 w 9546932"/>
                <a:gd name="connsiteY1526" fmla="*/ 5217812 h 7047620"/>
                <a:gd name="connsiteX1527" fmla="*/ 3516664 w 9546932"/>
                <a:gd name="connsiteY1527" fmla="*/ 5213048 h 7047620"/>
                <a:gd name="connsiteX1528" fmla="*/ 3516664 w 9546932"/>
                <a:gd name="connsiteY1528" fmla="*/ 5189220 h 7047620"/>
                <a:gd name="connsiteX1529" fmla="*/ 3526192 w 9546932"/>
                <a:gd name="connsiteY1529" fmla="*/ 5184456 h 7047620"/>
                <a:gd name="connsiteX1530" fmla="*/ 3540488 w 9546932"/>
                <a:gd name="connsiteY1530" fmla="*/ 5174928 h 7047620"/>
                <a:gd name="connsiteX1531" fmla="*/ 3550020 w 9546932"/>
                <a:gd name="connsiteY1531" fmla="*/ 5165396 h 7047620"/>
                <a:gd name="connsiteX1532" fmla="*/ 3550020 w 9546932"/>
                <a:gd name="connsiteY1532" fmla="*/ 5160632 h 7047620"/>
                <a:gd name="connsiteX1533" fmla="*/ 3550020 w 9546932"/>
                <a:gd name="connsiteY1533" fmla="*/ 5155864 h 7047620"/>
                <a:gd name="connsiteX1534" fmla="*/ 3530960 w 9546932"/>
                <a:gd name="connsiteY1534" fmla="*/ 5160632 h 7047620"/>
                <a:gd name="connsiteX1535" fmla="*/ 3526192 w 9546932"/>
                <a:gd name="connsiteY1535" fmla="*/ 5155864 h 7047620"/>
                <a:gd name="connsiteX1536" fmla="*/ 3516664 w 9546932"/>
                <a:gd name="connsiteY1536" fmla="*/ 5136804 h 7047620"/>
                <a:gd name="connsiteX1537" fmla="*/ 3507132 w 9546932"/>
                <a:gd name="connsiteY1537" fmla="*/ 5127276 h 7047620"/>
                <a:gd name="connsiteX1538" fmla="*/ 3502368 w 9546932"/>
                <a:gd name="connsiteY1538" fmla="*/ 5122508 h 7047620"/>
                <a:gd name="connsiteX1539" fmla="*/ 3478540 w 9546932"/>
                <a:gd name="connsiteY1539" fmla="*/ 5136804 h 7047620"/>
                <a:gd name="connsiteX1540" fmla="*/ 3449952 w 9546932"/>
                <a:gd name="connsiteY1540" fmla="*/ 5151100 h 7047620"/>
                <a:gd name="connsiteX1541" fmla="*/ 3421360 w 9546932"/>
                <a:gd name="connsiteY1541" fmla="*/ 5170160 h 7047620"/>
                <a:gd name="connsiteX1542" fmla="*/ 3421360 w 9546932"/>
                <a:gd name="connsiteY1542" fmla="*/ 5179692 h 7047620"/>
                <a:gd name="connsiteX1543" fmla="*/ 3416596 w 9546932"/>
                <a:gd name="connsiteY1543" fmla="*/ 5179692 h 7047620"/>
                <a:gd name="connsiteX1544" fmla="*/ 3411832 w 9546932"/>
                <a:gd name="connsiteY1544" fmla="*/ 5189220 h 7047620"/>
                <a:gd name="connsiteX1545" fmla="*/ 3407064 w 9546932"/>
                <a:gd name="connsiteY1545" fmla="*/ 5193988 h 7047620"/>
                <a:gd name="connsiteX1546" fmla="*/ 3402300 w 9546932"/>
                <a:gd name="connsiteY1546" fmla="*/ 5198752 h 7047620"/>
                <a:gd name="connsiteX1547" fmla="*/ 3397536 w 9546932"/>
                <a:gd name="connsiteY1547" fmla="*/ 5198752 h 7047620"/>
                <a:gd name="connsiteX1548" fmla="*/ 3383240 w 9546932"/>
                <a:gd name="connsiteY1548" fmla="*/ 5193988 h 7047620"/>
                <a:gd name="connsiteX1549" fmla="*/ 3364180 w 9546932"/>
                <a:gd name="connsiteY1549" fmla="*/ 5184456 h 7047620"/>
                <a:gd name="connsiteX1550" fmla="*/ 3340352 w 9546932"/>
                <a:gd name="connsiteY1550" fmla="*/ 5179692 h 7047620"/>
                <a:gd name="connsiteX1551" fmla="*/ 3335588 w 9546932"/>
                <a:gd name="connsiteY1551" fmla="*/ 5179692 h 7047620"/>
                <a:gd name="connsiteX1552" fmla="*/ 3306996 w 9546932"/>
                <a:gd name="connsiteY1552" fmla="*/ 5174928 h 7047620"/>
                <a:gd name="connsiteX1553" fmla="*/ 3302232 w 9546932"/>
                <a:gd name="connsiteY1553" fmla="*/ 5170160 h 7047620"/>
                <a:gd name="connsiteX1554" fmla="*/ 3297468 w 9546932"/>
                <a:gd name="connsiteY1554" fmla="*/ 5160632 h 7047620"/>
                <a:gd name="connsiteX1555" fmla="*/ 3287936 w 9546932"/>
                <a:gd name="connsiteY1555" fmla="*/ 5151100 h 7047620"/>
                <a:gd name="connsiteX1556" fmla="*/ 3283172 w 9546932"/>
                <a:gd name="connsiteY1556" fmla="*/ 5151100 h 7047620"/>
                <a:gd name="connsiteX1557" fmla="*/ 3259348 w 9546932"/>
                <a:gd name="connsiteY1557" fmla="*/ 5165396 h 7047620"/>
                <a:gd name="connsiteX1558" fmla="*/ 3230756 w 9546932"/>
                <a:gd name="connsiteY1558" fmla="*/ 5179692 h 7047620"/>
                <a:gd name="connsiteX1559" fmla="*/ 3216460 w 9546932"/>
                <a:gd name="connsiteY1559" fmla="*/ 5193988 h 7047620"/>
                <a:gd name="connsiteX1560" fmla="*/ 3202164 w 9546932"/>
                <a:gd name="connsiteY1560" fmla="*/ 5208284 h 7047620"/>
                <a:gd name="connsiteX1561" fmla="*/ 3187868 w 9546932"/>
                <a:gd name="connsiteY1561" fmla="*/ 5213048 h 7047620"/>
                <a:gd name="connsiteX1562" fmla="*/ 3187868 w 9546932"/>
                <a:gd name="connsiteY1562" fmla="*/ 5222576 h 7047620"/>
                <a:gd name="connsiteX1563" fmla="*/ 3178340 w 9546932"/>
                <a:gd name="connsiteY1563" fmla="*/ 5232108 h 7047620"/>
                <a:gd name="connsiteX1564" fmla="*/ 3168808 w 9546932"/>
                <a:gd name="connsiteY1564" fmla="*/ 5241640 h 7047620"/>
                <a:gd name="connsiteX1565" fmla="*/ 3144984 w 9546932"/>
                <a:gd name="connsiteY1565" fmla="*/ 5251168 h 7047620"/>
                <a:gd name="connsiteX1566" fmla="*/ 3130688 w 9546932"/>
                <a:gd name="connsiteY1566" fmla="*/ 5260700 h 7047620"/>
                <a:gd name="connsiteX1567" fmla="*/ 3083036 w 9546932"/>
                <a:gd name="connsiteY1567" fmla="*/ 5265464 h 7047620"/>
                <a:gd name="connsiteX1568" fmla="*/ 3068740 w 9546932"/>
                <a:gd name="connsiteY1568" fmla="*/ 5270228 h 7047620"/>
                <a:gd name="connsiteX1569" fmla="*/ 3059212 w 9546932"/>
                <a:gd name="connsiteY1569" fmla="*/ 5279760 h 7047620"/>
                <a:gd name="connsiteX1570" fmla="*/ 3054444 w 9546932"/>
                <a:gd name="connsiteY1570" fmla="*/ 5294056 h 7047620"/>
                <a:gd name="connsiteX1571" fmla="*/ 3044916 w 9546932"/>
                <a:gd name="connsiteY1571" fmla="*/ 5313116 h 7047620"/>
                <a:gd name="connsiteX1572" fmla="*/ 3035384 w 9546932"/>
                <a:gd name="connsiteY1572" fmla="*/ 5322644 h 7047620"/>
                <a:gd name="connsiteX1573" fmla="*/ 3011560 w 9546932"/>
                <a:gd name="connsiteY1573" fmla="*/ 5341704 h 7047620"/>
                <a:gd name="connsiteX1574" fmla="*/ 2982968 w 9546932"/>
                <a:gd name="connsiteY1574" fmla="*/ 5356000 h 7047620"/>
                <a:gd name="connsiteX1575" fmla="*/ 2973440 w 9546932"/>
                <a:gd name="connsiteY1575" fmla="*/ 5365532 h 7047620"/>
                <a:gd name="connsiteX1576" fmla="*/ 2973440 w 9546932"/>
                <a:gd name="connsiteY1576" fmla="*/ 5370296 h 7047620"/>
                <a:gd name="connsiteX1577" fmla="*/ 2978204 w 9546932"/>
                <a:gd name="connsiteY1577" fmla="*/ 5375060 h 7047620"/>
                <a:gd name="connsiteX1578" fmla="*/ 2978204 w 9546932"/>
                <a:gd name="connsiteY1578" fmla="*/ 5379828 h 7047620"/>
                <a:gd name="connsiteX1579" fmla="*/ 2978204 w 9546932"/>
                <a:gd name="connsiteY1579" fmla="*/ 5384592 h 7047620"/>
                <a:gd name="connsiteX1580" fmla="*/ 2973440 w 9546932"/>
                <a:gd name="connsiteY1580" fmla="*/ 5389356 h 7047620"/>
                <a:gd name="connsiteX1581" fmla="*/ 2959144 w 9546932"/>
                <a:gd name="connsiteY1581" fmla="*/ 5403652 h 7047620"/>
                <a:gd name="connsiteX1582" fmla="*/ 2944848 w 9546932"/>
                <a:gd name="connsiteY1582" fmla="*/ 5408416 h 7047620"/>
                <a:gd name="connsiteX1583" fmla="*/ 2935316 w 9546932"/>
                <a:gd name="connsiteY1583" fmla="*/ 5413184 h 7047620"/>
                <a:gd name="connsiteX1584" fmla="*/ 2925788 w 9546932"/>
                <a:gd name="connsiteY1584" fmla="*/ 5413184 h 7047620"/>
                <a:gd name="connsiteX1585" fmla="*/ 2916256 w 9546932"/>
                <a:gd name="connsiteY1585" fmla="*/ 5413184 h 7047620"/>
                <a:gd name="connsiteX1586" fmla="*/ 2911492 w 9546932"/>
                <a:gd name="connsiteY1586" fmla="*/ 5408416 h 7047620"/>
                <a:gd name="connsiteX1587" fmla="*/ 2906728 w 9546932"/>
                <a:gd name="connsiteY1587" fmla="*/ 5413184 h 7047620"/>
                <a:gd name="connsiteX1588" fmla="*/ 2897196 w 9546932"/>
                <a:gd name="connsiteY1588" fmla="*/ 5417948 h 7047620"/>
                <a:gd name="connsiteX1589" fmla="*/ 2887668 w 9546932"/>
                <a:gd name="connsiteY1589" fmla="*/ 5417948 h 7047620"/>
                <a:gd name="connsiteX1590" fmla="*/ 2868604 w 9546932"/>
                <a:gd name="connsiteY1590" fmla="*/ 5432244 h 7047620"/>
                <a:gd name="connsiteX1591" fmla="*/ 2859076 w 9546932"/>
                <a:gd name="connsiteY1591" fmla="*/ 5432244 h 7047620"/>
                <a:gd name="connsiteX1592" fmla="*/ 2844780 w 9546932"/>
                <a:gd name="connsiteY1592" fmla="*/ 5427480 h 7047620"/>
                <a:gd name="connsiteX1593" fmla="*/ 2825720 w 9546932"/>
                <a:gd name="connsiteY1593" fmla="*/ 5427480 h 7047620"/>
                <a:gd name="connsiteX1594" fmla="*/ 2816188 w 9546932"/>
                <a:gd name="connsiteY1594" fmla="*/ 5427480 h 7047620"/>
                <a:gd name="connsiteX1595" fmla="*/ 2816188 w 9546932"/>
                <a:gd name="connsiteY1595" fmla="*/ 5417948 h 7047620"/>
                <a:gd name="connsiteX1596" fmla="*/ 2816188 w 9546932"/>
                <a:gd name="connsiteY1596" fmla="*/ 5394124 h 7047620"/>
                <a:gd name="connsiteX1597" fmla="*/ 2811424 w 9546932"/>
                <a:gd name="connsiteY1597" fmla="*/ 5389356 h 7047620"/>
                <a:gd name="connsiteX1598" fmla="*/ 2792364 w 9546932"/>
                <a:gd name="connsiteY1598" fmla="*/ 5384592 h 7047620"/>
                <a:gd name="connsiteX1599" fmla="*/ 2773304 w 9546932"/>
                <a:gd name="connsiteY1599" fmla="*/ 5379828 h 7047620"/>
                <a:gd name="connsiteX1600" fmla="*/ 2763772 w 9546932"/>
                <a:gd name="connsiteY1600" fmla="*/ 5370296 h 7047620"/>
                <a:gd name="connsiteX1601" fmla="*/ 2759008 w 9546932"/>
                <a:gd name="connsiteY1601" fmla="*/ 5370296 h 7047620"/>
                <a:gd name="connsiteX1602" fmla="*/ 2749476 w 9546932"/>
                <a:gd name="connsiteY1602" fmla="*/ 5370296 h 7047620"/>
                <a:gd name="connsiteX1603" fmla="*/ 2739948 w 9546932"/>
                <a:gd name="connsiteY1603" fmla="*/ 5379828 h 7047620"/>
                <a:gd name="connsiteX1604" fmla="*/ 2725652 w 9546932"/>
                <a:gd name="connsiteY1604" fmla="*/ 5389356 h 7047620"/>
                <a:gd name="connsiteX1605" fmla="*/ 2720888 w 9546932"/>
                <a:gd name="connsiteY1605" fmla="*/ 5389356 h 7047620"/>
                <a:gd name="connsiteX1606" fmla="*/ 2711356 w 9546932"/>
                <a:gd name="connsiteY1606" fmla="*/ 5384592 h 7047620"/>
                <a:gd name="connsiteX1607" fmla="*/ 2701828 w 9546932"/>
                <a:gd name="connsiteY1607" fmla="*/ 5379828 h 7047620"/>
                <a:gd name="connsiteX1608" fmla="*/ 2673236 w 9546932"/>
                <a:gd name="connsiteY1608" fmla="*/ 5370296 h 7047620"/>
                <a:gd name="connsiteX1609" fmla="*/ 2658940 w 9546932"/>
                <a:gd name="connsiteY1609" fmla="*/ 5370296 h 7047620"/>
                <a:gd name="connsiteX1610" fmla="*/ 2635116 w 9546932"/>
                <a:gd name="connsiteY1610" fmla="*/ 5370296 h 7047620"/>
                <a:gd name="connsiteX1611" fmla="*/ 2616052 w 9546932"/>
                <a:gd name="connsiteY1611" fmla="*/ 5370296 h 7047620"/>
                <a:gd name="connsiteX1612" fmla="*/ 2611288 w 9546932"/>
                <a:gd name="connsiteY1612" fmla="*/ 5365532 h 7047620"/>
                <a:gd name="connsiteX1613" fmla="*/ 2611288 w 9546932"/>
                <a:gd name="connsiteY1613" fmla="*/ 5360768 h 7047620"/>
                <a:gd name="connsiteX1614" fmla="*/ 2616052 w 9546932"/>
                <a:gd name="connsiteY1614" fmla="*/ 5351236 h 7047620"/>
                <a:gd name="connsiteX1615" fmla="*/ 2616052 w 9546932"/>
                <a:gd name="connsiteY1615" fmla="*/ 5346472 h 7047620"/>
                <a:gd name="connsiteX1616" fmla="*/ 2611288 w 9546932"/>
                <a:gd name="connsiteY1616" fmla="*/ 5336940 h 7047620"/>
                <a:gd name="connsiteX1617" fmla="*/ 2592228 w 9546932"/>
                <a:gd name="connsiteY1617" fmla="*/ 5332176 h 7047620"/>
                <a:gd name="connsiteX1618" fmla="*/ 2577932 w 9546932"/>
                <a:gd name="connsiteY1618" fmla="*/ 5327412 h 7047620"/>
                <a:gd name="connsiteX1619" fmla="*/ 2554108 w 9546932"/>
                <a:gd name="connsiteY1619" fmla="*/ 5327412 h 7047620"/>
                <a:gd name="connsiteX1620" fmla="*/ 2544576 w 9546932"/>
                <a:gd name="connsiteY1620" fmla="*/ 5332176 h 7047620"/>
                <a:gd name="connsiteX1621" fmla="*/ 2530280 w 9546932"/>
                <a:gd name="connsiteY1621" fmla="*/ 5336940 h 7047620"/>
                <a:gd name="connsiteX1622" fmla="*/ 2520752 w 9546932"/>
                <a:gd name="connsiteY1622" fmla="*/ 5351236 h 7047620"/>
                <a:gd name="connsiteX1623" fmla="*/ 2506456 w 9546932"/>
                <a:gd name="connsiteY1623" fmla="*/ 5356000 h 7047620"/>
                <a:gd name="connsiteX1624" fmla="*/ 2487396 w 9546932"/>
                <a:gd name="connsiteY1624" fmla="*/ 5365532 h 7047620"/>
                <a:gd name="connsiteX1625" fmla="*/ 2477864 w 9546932"/>
                <a:gd name="connsiteY1625" fmla="*/ 5370296 h 7047620"/>
                <a:gd name="connsiteX1626" fmla="*/ 2463572 w 9546932"/>
                <a:gd name="connsiteY1626" fmla="*/ 5389356 h 7047620"/>
                <a:gd name="connsiteX1627" fmla="*/ 2444508 w 9546932"/>
                <a:gd name="connsiteY1627" fmla="*/ 5413184 h 7047620"/>
                <a:gd name="connsiteX1628" fmla="*/ 2430212 w 9546932"/>
                <a:gd name="connsiteY1628" fmla="*/ 5432244 h 7047620"/>
                <a:gd name="connsiteX1629" fmla="*/ 2420684 w 9546932"/>
                <a:gd name="connsiteY1629" fmla="*/ 5456068 h 7047620"/>
                <a:gd name="connsiteX1630" fmla="*/ 2406388 w 9546932"/>
                <a:gd name="connsiteY1630" fmla="*/ 5465600 h 7047620"/>
                <a:gd name="connsiteX1631" fmla="*/ 2396860 w 9546932"/>
                <a:gd name="connsiteY1631" fmla="*/ 5479896 h 7047620"/>
                <a:gd name="connsiteX1632" fmla="*/ 2387328 w 9546932"/>
                <a:gd name="connsiteY1632" fmla="*/ 5503720 h 7047620"/>
                <a:gd name="connsiteX1633" fmla="*/ 2377796 w 9546932"/>
                <a:gd name="connsiteY1633" fmla="*/ 5494188 h 7047620"/>
                <a:gd name="connsiteX1634" fmla="*/ 2368268 w 9546932"/>
                <a:gd name="connsiteY1634" fmla="*/ 5484660 h 7047620"/>
                <a:gd name="connsiteX1635" fmla="*/ 2363504 w 9546932"/>
                <a:gd name="connsiteY1635" fmla="*/ 5465600 h 7047620"/>
                <a:gd name="connsiteX1636" fmla="*/ 2377796 w 9546932"/>
                <a:gd name="connsiteY1636" fmla="*/ 5422712 h 7047620"/>
                <a:gd name="connsiteX1637" fmla="*/ 2377796 w 9546932"/>
                <a:gd name="connsiteY1637" fmla="*/ 5403652 h 7047620"/>
                <a:gd name="connsiteX1638" fmla="*/ 2377796 w 9546932"/>
                <a:gd name="connsiteY1638" fmla="*/ 5398888 h 7047620"/>
                <a:gd name="connsiteX1639" fmla="*/ 2373032 w 9546932"/>
                <a:gd name="connsiteY1639" fmla="*/ 5379828 h 7047620"/>
                <a:gd name="connsiteX1640" fmla="*/ 2363504 w 9546932"/>
                <a:gd name="connsiteY1640" fmla="*/ 5375060 h 7047620"/>
                <a:gd name="connsiteX1641" fmla="*/ 2344440 w 9546932"/>
                <a:gd name="connsiteY1641" fmla="*/ 5365532 h 7047620"/>
                <a:gd name="connsiteX1642" fmla="*/ 2334912 w 9546932"/>
                <a:gd name="connsiteY1642" fmla="*/ 5365532 h 7047620"/>
                <a:gd name="connsiteX1643" fmla="*/ 2330148 w 9546932"/>
                <a:gd name="connsiteY1643" fmla="*/ 5370296 h 7047620"/>
                <a:gd name="connsiteX1644" fmla="*/ 2320616 w 9546932"/>
                <a:gd name="connsiteY1644" fmla="*/ 5375060 h 7047620"/>
                <a:gd name="connsiteX1645" fmla="*/ 2315852 w 9546932"/>
                <a:gd name="connsiteY1645" fmla="*/ 5379828 h 7047620"/>
                <a:gd name="connsiteX1646" fmla="*/ 2292024 w 9546932"/>
                <a:gd name="connsiteY1646" fmla="*/ 5389356 h 7047620"/>
                <a:gd name="connsiteX1647" fmla="*/ 2268200 w 9546932"/>
                <a:gd name="connsiteY1647" fmla="*/ 5389356 h 7047620"/>
                <a:gd name="connsiteX1648" fmla="*/ 2263436 w 9546932"/>
                <a:gd name="connsiteY1648" fmla="*/ 5394124 h 7047620"/>
                <a:gd name="connsiteX1649" fmla="*/ 2263436 w 9546932"/>
                <a:gd name="connsiteY1649" fmla="*/ 5398888 h 7047620"/>
                <a:gd name="connsiteX1650" fmla="*/ 2263436 w 9546932"/>
                <a:gd name="connsiteY1650" fmla="*/ 5403652 h 7047620"/>
                <a:gd name="connsiteX1651" fmla="*/ 2249140 w 9546932"/>
                <a:gd name="connsiteY1651" fmla="*/ 5403652 h 7047620"/>
                <a:gd name="connsiteX1652" fmla="*/ 2234844 w 9546932"/>
                <a:gd name="connsiteY1652" fmla="*/ 5403652 h 7047620"/>
                <a:gd name="connsiteX1653" fmla="*/ 2225312 w 9546932"/>
                <a:gd name="connsiteY1653" fmla="*/ 5403652 h 7047620"/>
                <a:gd name="connsiteX1654" fmla="*/ 2196724 w 9546932"/>
                <a:gd name="connsiteY1654" fmla="*/ 5413184 h 7047620"/>
                <a:gd name="connsiteX1655" fmla="*/ 2187192 w 9546932"/>
                <a:gd name="connsiteY1655" fmla="*/ 5413184 h 7047620"/>
                <a:gd name="connsiteX1656" fmla="*/ 2177664 w 9546932"/>
                <a:gd name="connsiteY1656" fmla="*/ 5413184 h 7047620"/>
                <a:gd name="connsiteX1657" fmla="*/ 2134776 w 9546932"/>
                <a:gd name="connsiteY1657" fmla="*/ 5413184 h 7047620"/>
                <a:gd name="connsiteX1658" fmla="*/ 2110952 w 9546932"/>
                <a:gd name="connsiteY1658" fmla="*/ 5413184 h 7047620"/>
                <a:gd name="connsiteX1659" fmla="*/ 2091892 w 9546932"/>
                <a:gd name="connsiteY1659" fmla="*/ 5394124 h 7047620"/>
                <a:gd name="connsiteX1660" fmla="*/ 2082360 w 9546932"/>
                <a:gd name="connsiteY1660" fmla="*/ 5389356 h 7047620"/>
                <a:gd name="connsiteX1661" fmla="*/ 2068064 w 9546932"/>
                <a:gd name="connsiteY1661" fmla="*/ 5384592 h 7047620"/>
                <a:gd name="connsiteX1662" fmla="*/ 2053768 w 9546932"/>
                <a:gd name="connsiteY1662" fmla="*/ 5379828 h 7047620"/>
                <a:gd name="connsiteX1663" fmla="*/ 2049004 w 9546932"/>
                <a:gd name="connsiteY1663" fmla="*/ 5370296 h 7047620"/>
                <a:gd name="connsiteX1664" fmla="*/ 2044240 w 9546932"/>
                <a:gd name="connsiteY1664" fmla="*/ 5365532 h 7047620"/>
                <a:gd name="connsiteX1665" fmla="*/ 2029944 w 9546932"/>
                <a:gd name="connsiteY1665" fmla="*/ 5365532 h 7047620"/>
                <a:gd name="connsiteX1666" fmla="*/ 2020412 w 9546932"/>
                <a:gd name="connsiteY1666" fmla="*/ 5365532 h 7047620"/>
                <a:gd name="connsiteX1667" fmla="*/ 2015648 w 9546932"/>
                <a:gd name="connsiteY1667" fmla="*/ 5389356 h 7047620"/>
                <a:gd name="connsiteX1668" fmla="*/ 2010884 w 9546932"/>
                <a:gd name="connsiteY1668" fmla="*/ 5394124 h 7047620"/>
                <a:gd name="connsiteX1669" fmla="*/ 1996588 w 9546932"/>
                <a:gd name="connsiteY1669" fmla="*/ 5394124 h 7047620"/>
                <a:gd name="connsiteX1670" fmla="*/ 1987056 w 9546932"/>
                <a:gd name="connsiteY1670" fmla="*/ 5389356 h 7047620"/>
                <a:gd name="connsiteX1671" fmla="*/ 1967996 w 9546932"/>
                <a:gd name="connsiteY1671" fmla="*/ 5379828 h 7047620"/>
                <a:gd name="connsiteX1672" fmla="*/ 1963232 w 9546932"/>
                <a:gd name="connsiteY1672" fmla="*/ 5365532 h 7047620"/>
                <a:gd name="connsiteX1673" fmla="*/ 1958468 w 9546932"/>
                <a:gd name="connsiteY1673" fmla="*/ 5360768 h 7047620"/>
                <a:gd name="connsiteX1674" fmla="*/ 1948936 w 9546932"/>
                <a:gd name="connsiteY1674" fmla="*/ 5370296 h 7047620"/>
                <a:gd name="connsiteX1675" fmla="*/ 1944172 w 9546932"/>
                <a:gd name="connsiteY1675" fmla="*/ 5384592 h 7047620"/>
                <a:gd name="connsiteX1676" fmla="*/ 1944172 w 9546932"/>
                <a:gd name="connsiteY1676" fmla="*/ 5394124 h 7047620"/>
                <a:gd name="connsiteX1677" fmla="*/ 1934640 w 9546932"/>
                <a:gd name="connsiteY1677" fmla="*/ 5398888 h 7047620"/>
                <a:gd name="connsiteX1678" fmla="*/ 1925112 w 9546932"/>
                <a:gd name="connsiteY1678" fmla="*/ 5394124 h 7047620"/>
                <a:gd name="connsiteX1679" fmla="*/ 1920344 w 9546932"/>
                <a:gd name="connsiteY1679" fmla="*/ 5384592 h 7047620"/>
                <a:gd name="connsiteX1680" fmla="*/ 1910816 w 9546932"/>
                <a:gd name="connsiteY1680" fmla="*/ 5360768 h 7047620"/>
                <a:gd name="connsiteX1681" fmla="*/ 1896520 w 9546932"/>
                <a:gd name="connsiteY1681" fmla="*/ 5341704 h 7047620"/>
                <a:gd name="connsiteX1682" fmla="*/ 1882224 w 9546932"/>
                <a:gd name="connsiteY1682" fmla="*/ 5332176 h 7047620"/>
                <a:gd name="connsiteX1683" fmla="*/ 1844104 w 9546932"/>
                <a:gd name="connsiteY1683" fmla="*/ 5332176 h 7047620"/>
                <a:gd name="connsiteX1684" fmla="*/ 1810748 w 9546932"/>
                <a:gd name="connsiteY1684" fmla="*/ 5332176 h 7047620"/>
                <a:gd name="connsiteX1685" fmla="*/ 1796452 w 9546932"/>
                <a:gd name="connsiteY1685" fmla="*/ 5327412 h 7047620"/>
                <a:gd name="connsiteX1686" fmla="*/ 1791688 w 9546932"/>
                <a:gd name="connsiteY1686" fmla="*/ 5317880 h 7047620"/>
                <a:gd name="connsiteX1687" fmla="*/ 1796452 w 9546932"/>
                <a:gd name="connsiteY1687" fmla="*/ 5298820 h 7047620"/>
                <a:gd name="connsiteX1688" fmla="*/ 1801216 w 9546932"/>
                <a:gd name="connsiteY1688" fmla="*/ 5279760 h 7047620"/>
                <a:gd name="connsiteX1689" fmla="*/ 1796452 w 9546932"/>
                <a:gd name="connsiteY1689" fmla="*/ 5274992 h 7047620"/>
                <a:gd name="connsiteX1690" fmla="*/ 1786920 w 9546932"/>
                <a:gd name="connsiteY1690" fmla="*/ 5274992 h 7047620"/>
                <a:gd name="connsiteX1691" fmla="*/ 1753564 w 9546932"/>
                <a:gd name="connsiteY1691" fmla="*/ 5284524 h 7047620"/>
                <a:gd name="connsiteX1692" fmla="*/ 1748800 w 9546932"/>
                <a:gd name="connsiteY1692" fmla="*/ 5284524 h 7047620"/>
                <a:gd name="connsiteX1693" fmla="*/ 1739272 w 9546932"/>
                <a:gd name="connsiteY1693" fmla="*/ 5279760 h 7047620"/>
                <a:gd name="connsiteX1694" fmla="*/ 1734504 w 9546932"/>
                <a:gd name="connsiteY1694" fmla="*/ 5274992 h 7047620"/>
                <a:gd name="connsiteX1695" fmla="*/ 1729740 w 9546932"/>
                <a:gd name="connsiteY1695" fmla="*/ 5270228 h 7047620"/>
                <a:gd name="connsiteX1696" fmla="*/ 1724976 w 9546932"/>
                <a:gd name="connsiteY1696" fmla="*/ 5265464 h 7047620"/>
                <a:gd name="connsiteX1697" fmla="*/ 1696384 w 9546932"/>
                <a:gd name="connsiteY1697" fmla="*/ 5251168 h 7047620"/>
                <a:gd name="connsiteX1698" fmla="*/ 1686856 w 9546932"/>
                <a:gd name="connsiteY1698" fmla="*/ 5241640 h 7047620"/>
                <a:gd name="connsiteX1699" fmla="*/ 1672560 w 9546932"/>
                <a:gd name="connsiteY1699" fmla="*/ 5227344 h 7047620"/>
                <a:gd name="connsiteX1700" fmla="*/ 1658264 w 9546932"/>
                <a:gd name="connsiteY1700" fmla="*/ 5222576 h 7047620"/>
                <a:gd name="connsiteX1701" fmla="*/ 1648732 w 9546932"/>
                <a:gd name="connsiteY1701" fmla="*/ 5198752 h 7047620"/>
                <a:gd name="connsiteX1702" fmla="*/ 1643968 w 9546932"/>
                <a:gd name="connsiteY1702" fmla="*/ 5174928 h 7047620"/>
                <a:gd name="connsiteX1703" fmla="*/ 1639204 w 9546932"/>
                <a:gd name="connsiteY1703" fmla="*/ 5165396 h 7047620"/>
                <a:gd name="connsiteX1704" fmla="*/ 1624908 w 9546932"/>
                <a:gd name="connsiteY1704" fmla="*/ 5160632 h 7047620"/>
                <a:gd name="connsiteX1705" fmla="*/ 1610612 w 9546932"/>
                <a:gd name="connsiteY1705" fmla="*/ 5155864 h 7047620"/>
                <a:gd name="connsiteX1706" fmla="*/ 1591552 w 9546932"/>
                <a:gd name="connsiteY1706" fmla="*/ 5165396 h 7047620"/>
                <a:gd name="connsiteX1707" fmla="*/ 1572492 w 9546932"/>
                <a:gd name="connsiteY1707" fmla="*/ 5170160 h 7047620"/>
                <a:gd name="connsiteX1708" fmla="*/ 1558196 w 9546932"/>
                <a:gd name="connsiteY1708" fmla="*/ 5170160 h 7047620"/>
                <a:gd name="connsiteX1709" fmla="*/ 1539136 w 9546932"/>
                <a:gd name="connsiteY1709" fmla="*/ 5151100 h 7047620"/>
                <a:gd name="connsiteX1710" fmla="*/ 1520076 w 9546932"/>
                <a:gd name="connsiteY1710" fmla="*/ 5127276 h 7047620"/>
                <a:gd name="connsiteX1711" fmla="*/ 1501016 w 9546932"/>
                <a:gd name="connsiteY1711" fmla="*/ 5103448 h 7047620"/>
                <a:gd name="connsiteX1712" fmla="*/ 1491484 w 9546932"/>
                <a:gd name="connsiteY1712" fmla="*/ 5093920 h 7047620"/>
                <a:gd name="connsiteX1713" fmla="*/ 1467660 w 9546932"/>
                <a:gd name="connsiteY1713" fmla="*/ 5093920 h 7047620"/>
                <a:gd name="connsiteX1714" fmla="*/ 1443832 w 9546932"/>
                <a:gd name="connsiteY1714" fmla="*/ 5084388 h 7047620"/>
                <a:gd name="connsiteX1715" fmla="*/ 1410476 w 9546932"/>
                <a:gd name="connsiteY1715" fmla="*/ 5055800 h 7047620"/>
                <a:gd name="connsiteX1716" fmla="*/ 1386652 w 9546932"/>
                <a:gd name="connsiteY1716" fmla="*/ 5036736 h 7047620"/>
                <a:gd name="connsiteX1717" fmla="*/ 1343764 w 9546932"/>
                <a:gd name="connsiteY1717" fmla="*/ 5012912 h 7047620"/>
                <a:gd name="connsiteX1718" fmla="*/ 1334236 w 9546932"/>
                <a:gd name="connsiteY1718" fmla="*/ 5003380 h 7047620"/>
                <a:gd name="connsiteX1719" fmla="*/ 1329468 w 9546932"/>
                <a:gd name="connsiteY1719" fmla="*/ 4998616 h 7047620"/>
                <a:gd name="connsiteX1720" fmla="*/ 1324704 w 9546932"/>
                <a:gd name="connsiteY1720" fmla="*/ 4979556 h 7047620"/>
                <a:gd name="connsiteX1721" fmla="*/ 1315176 w 9546932"/>
                <a:gd name="connsiteY1721" fmla="*/ 4965260 h 7047620"/>
                <a:gd name="connsiteX1722" fmla="*/ 1286584 w 9546932"/>
                <a:gd name="connsiteY1722" fmla="*/ 4960496 h 7047620"/>
                <a:gd name="connsiteX1723" fmla="*/ 1253228 w 9546932"/>
                <a:gd name="connsiteY1723" fmla="*/ 4955732 h 7047620"/>
                <a:gd name="connsiteX1724" fmla="*/ 1219872 w 9546932"/>
                <a:gd name="connsiteY1724" fmla="*/ 4965260 h 7047620"/>
                <a:gd name="connsiteX1725" fmla="*/ 1196044 w 9546932"/>
                <a:gd name="connsiteY1725" fmla="*/ 5008148 h 7047620"/>
                <a:gd name="connsiteX1726" fmla="*/ 1181752 w 9546932"/>
                <a:gd name="connsiteY1726" fmla="*/ 5017676 h 7047620"/>
                <a:gd name="connsiteX1727" fmla="*/ 1172220 w 9546932"/>
                <a:gd name="connsiteY1727" fmla="*/ 5017676 h 7047620"/>
                <a:gd name="connsiteX1728" fmla="*/ 1162692 w 9546932"/>
                <a:gd name="connsiteY1728" fmla="*/ 5008148 h 7047620"/>
                <a:gd name="connsiteX1729" fmla="*/ 1153160 w 9546932"/>
                <a:gd name="connsiteY1729" fmla="*/ 4993852 h 7047620"/>
                <a:gd name="connsiteX1730" fmla="*/ 1153160 w 9546932"/>
                <a:gd name="connsiteY1730" fmla="*/ 4984320 h 7047620"/>
                <a:gd name="connsiteX1731" fmla="*/ 1134100 w 9546932"/>
                <a:gd name="connsiteY1731" fmla="*/ 4974792 h 7047620"/>
                <a:gd name="connsiteX1732" fmla="*/ 1115040 w 9546932"/>
                <a:gd name="connsiteY1732" fmla="*/ 4960496 h 7047620"/>
                <a:gd name="connsiteX1733" fmla="*/ 1105508 w 9546932"/>
                <a:gd name="connsiteY1733" fmla="*/ 4950964 h 7047620"/>
                <a:gd name="connsiteX1734" fmla="*/ 1091212 w 9546932"/>
                <a:gd name="connsiteY1734" fmla="*/ 4946200 h 7047620"/>
                <a:gd name="connsiteX1735" fmla="*/ 1081684 w 9546932"/>
                <a:gd name="connsiteY1735" fmla="*/ 4941436 h 7047620"/>
                <a:gd name="connsiteX1736" fmla="*/ 1062624 w 9546932"/>
                <a:gd name="connsiteY1736" fmla="*/ 4931904 h 7047620"/>
                <a:gd name="connsiteX1737" fmla="*/ 1038796 w 9546932"/>
                <a:gd name="connsiteY1737" fmla="*/ 4922376 h 7047620"/>
                <a:gd name="connsiteX1738" fmla="*/ 1029268 w 9546932"/>
                <a:gd name="connsiteY1738" fmla="*/ 4922376 h 7047620"/>
                <a:gd name="connsiteX1739" fmla="*/ 1024500 w 9546932"/>
                <a:gd name="connsiteY1739" fmla="*/ 4917608 h 7047620"/>
                <a:gd name="connsiteX1740" fmla="*/ 1029268 w 9546932"/>
                <a:gd name="connsiteY1740" fmla="*/ 4903316 h 7047620"/>
                <a:gd name="connsiteX1741" fmla="*/ 1029268 w 9546932"/>
                <a:gd name="connsiteY1741" fmla="*/ 4889020 h 7047620"/>
                <a:gd name="connsiteX1742" fmla="*/ 1019736 w 9546932"/>
                <a:gd name="connsiteY1742" fmla="*/ 4884252 h 7047620"/>
                <a:gd name="connsiteX1743" fmla="*/ 1010208 w 9546932"/>
                <a:gd name="connsiteY1743" fmla="*/ 4884252 h 7047620"/>
                <a:gd name="connsiteX1744" fmla="*/ 986380 w 9546932"/>
                <a:gd name="connsiteY1744" fmla="*/ 4865192 h 7047620"/>
                <a:gd name="connsiteX1745" fmla="*/ 976852 w 9546932"/>
                <a:gd name="connsiteY1745" fmla="*/ 4855664 h 7047620"/>
                <a:gd name="connsiteX1746" fmla="*/ 967320 w 9546932"/>
                <a:gd name="connsiteY1746" fmla="*/ 4850896 h 7047620"/>
                <a:gd name="connsiteX1747" fmla="*/ 943496 w 9546932"/>
                <a:gd name="connsiteY1747" fmla="*/ 4850896 h 7047620"/>
                <a:gd name="connsiteX1748" fmla="*/ 929200 w 9546932"/>
                <a:gd name="connsiteY1748" fmla="*/ 4850896 h 7047620"/>
                <a:gd name="connsiteX1749" fmla="*/ 919668 w 9546932"/>
                <a:gd name="connsiteY1749" fmla="*/ 4846132 h 7047620"/>
                <a:gd name="connsiteX1750" fmla="*/ 900608 w 9546932"/>
                <a:gd name="connsiteY1750" fmla="*/ 4831836 h 7047620"/>
                <a:gd name="connsiteX1751" fmla="*/ 900608 w 9546932"/>
                <a:gd name="connsiteY1751" fmla="*/ 4827072 h 7047620"/>
                <a:gd name="connsiteX1752" fmla="*/ 895844 w 9546932"/>
                <a:gd name="connsiteY1752" fmla="*/ 4827072 h 7047620"/>
                <a:gd name="connsiteX1753" fmla="*/ 876784 w 9546932"/>
                <a:gd name="connsiteY1753" fmla="*/ 4798480 h 7047620"/>
                <a:gd name="connsiteX1754" fmla="*/ 857720 w 9546932"/>
                <a:gd name="connsiteY1754" fmla="*/ 4769892 h 7047620"/>
                <a:gd name="connsiteX1755" fmla="*/ 848192 w 9546932"/>
                <a:gd name="connsiteY1755" fmla="*/ 4765124 h 7047620"/>
                <a:gd name="connsiteX1756" fmla="*/ 843428 w 9546932"/>
                <a:gd name="connsiteY1756" fmla="*/ 4769892 h 7047620"/>
                <a:gd name="connsiteX1757" fmla="*/ 838660 w 9546932"/>
                <a:gd name="connsiteY1757" fmla="*/ 4784184 h 7047620"/>
                <a:gd name="connsiteX1758" fmla="*/ 833896 w 9546932"/>
                <a:gd name="connsiteY1758" fmla="*/ 4784184 h 7047620"/>
                <a:gd name="connsiteX1759" fmla="*/ 824368 w 9546932"/>
                <a:gd name="connsiteY1759" fmla="*/ 4784184 h 7047620"/>
                <a:gd name="connsiteX1760" fmla="*/ 814836 w 9546932"/>
                <a:gd name="connsiteY1760" fmla="*/ 4788952 h 7047620"/>
                <a:gd name="connsiteX1761" fmla="*/ 810072 w 9546932"/>
                <a:gd name="connsiteY1761" fmla="*/ 4788952 h 7047620"/>
                <a:gd name="connsiteX1762" fmla="*/ 805304 w 9546932"/>
                <a:gd name="connsiteY1762" fmla="*/ 4788952 h 7047620"/>
                <a:gd name="connsiteX1763" fmla="*/ 800540 w 9546932"/>
                <a:gd name="connsiteY1763" fmla="*/ 4784184 h 7047620"/>
                <a:gd name="connsiteX1764" fmla="*/ 805304 w 9546932"/>
                <a:gd name="connsiteY1764" fmla="*/ 4765124 h 7047620"/>
                <a:gd name="connsiteX1765" fmla="*/ 800540 w 9546932"/>
                <a:gd name="connsiteY1765" fmla="*/ 4760360 h 7047620"/>
                <a:gd name="connsiteX1766" fmla="*/ 805304 w 9546932"/>
                <a:gd name="connsiteY1766" fmla="*/ 4741300 h 7047620"/>
                <a:gd name="connsiteX1767" fmla="*/ 810072 w 9546932"/>
                <a:gd name="connsiteY1767" fmla="*/ 4731768 h 7047620"/>
                <a:gd name="connsiteX1768" fmla="*/ 805304 w 9546932"/>
                <a:gd name="connsiteY1768" fmla="*/ 4722240 h 7047620"/>
                <a:gd name="connsiteX1769" fmla="*/ 791012 w 9546932"/>
                <a:gd name="connsiteY1769" fmla="*/ 4707944 h 7047620"/>
                <a:gd name="connsiteX1770" fmla="*/ 791012 w 9546932"/>
                <a:gd name="connsiteY1770" fmla="*/ 4698412 h 7047620"/>
                <a:gd name="connsiteX1771" fmla="*/ 795776 w 9546932"/>
                <a:gd name="connsiteY1771" fmla="*/ 4684120 h 7047620"/>
                <a:gd name="connsiteX1772" fmla="*/ 800540 w 9546932"/>
                <a:gd name="connsiteY1772" fmla="*/ 4669824 h 7047620"/>
                <a:gd name="connsiteX1773" fmla="*/ 800540 w 9546932"/>
                <a:gd name="connsiteY1773" fmla="*/ 4665056 h 7047620"/>
                <a:gd name="connsiteX1774" fmla="*/ 791012 w 9546932"/>
                <a:gd name="connsiteY1774" fmla="*/ 4655528 h 7047620"/>
                <a:gd name="connsiteX1775" fmla="*/ 762420 w 9546932"/>
                <a:gd name="connsiteY1775" fmla="*/ 4622172 h 7047620"/>
                <a:gd name="connsiteX1776" fmla="*/ 762420 w 9546932"/>
                <a:gd name="connsiteY1776" fmla="*/ 4617408 h 7047620"/>
                <a:gd name="connsiteX1777" fmla="*/ 757656 w 9546932"/>
                <a:gd name="connsiteY1777" fmla="*/ 4607876 h 7047620"/>
                <a:gd name="connsiteX1778" fmla="*/ 752888 w 9546932"/>
                <a:gd name="connsiteY1778" fmla="*/ 4588816 h 7047620"/>
                <a:gd name="connsiteX1779" fmla="*/ 748124 w 9546932"/>
                <a:gd name="connsiteY1779" fmla="*/ 4574520 h 7047620"/>
                <a:gd name="connsiteX1780" fmla="*/ 748124 w 9546932"/>
                <a:gd name="connsiteY1780" fmla="*/ 4564992 h 7047620"/>
                <a:gd name="connsiteX1781" fmla="*/ 748124 w 9546932"/>
                <a:gd name="connsiteY1781" fmla="*/ 4560224 h 7047620"/>
                <a:gd name="connsiteX1782" fmla="*/ 767184 w 9546932"/>
                <a:gd name="connsiteY1782" fmla="*/ 4555460 h 7047620"/>
                <a:gd name="connsiteX1783" fmla="*/ 786244 w 9546932"/>
                <a:gd name="connsiteY1783" fmla="*/ 4555460 h 7047620"/>
                <a:gd name="connsiteX1784" fmla="*/ 795776 w 9546932"/>
                <a:gd name="connsiteY1784" fmla="*/ 4550696 h 7047620"/>
                <a:gd name="connsiteX1785" fmla="*/ 800540 w 9546932"/>
                <a:gd name="connsiteY1785" fmla="*/ 4560224 h 7047620"/>
                <a:gd name="connsiteX1786" fmla="*/ 805304 w 9546932"/>
                <a:gd name="connsiteY1786" fmla="*/ 4569756 h 7047620"/>
                <a:gd name="connsiteX1787" fmla="*/ 805304 w 9546932"/>
                <a:gd name="connsiteY1787" fmla="*/ 4574520 h 7047620"/>
                <a:gd name="connsiteX1788" fmla="*/ 814836 w 9546932"/>
                <a:gd name="connsiteY1788" fmla="*/ 4584052 h 7047620"/>
                <a:gd name="connsiteX1789" fmla="*/ 829132 w 9546932"/>
                <a:gd name="connsiteY1789" fmla="*/ 4593580 h 7047620"/>
                <a:gd name="connsiteX1790" fmla="*/ 843428 w 9546932"/>
                <a:gd name="connsiteY1790" fmla="*/ 4593580 h 7047620"/>
                <a:gd name="connsiteX1791" fmla="*/ 852956 w 9546932"/>
                <a:gd name="connsiteY1791" fmla="*/ 4588816 h 7047620"/>
                <a:gd name="connsiteX1792" fmla="*/ 862488 w 9546932"/>
                <a:gd name="connsiteY1792" fmla="*/ 4574520 h 7047620"/>
                <a:gd name="connsiteX1793" fmla="*/ 867252 w 9546932"/>
                <a:gd name="connsiteY1793" fmla="*/ 4569756 h 7047620"/>
                <a:gd name="connsiteX1794" fmla="*/ 876784 w 9546932"/>
                <a:gd name="connsiteY1794" fmla="*/ 4569756 h 7047620"/>
                <a:gd name="connsiteX1795" fmla="*/ 876784 w 9546932"/>
                <a:gd name="connsiteY1795" fmla="*/ 4564992 h 7047620"/>
                <a:gd name="connsiteX1796" fmla="*/ 876784 w 9546932"/>
                <a:gd name="connsiteY1796" fmla="*/ 4555460 h 7047620"/>
                <a:gd name="connsiteX1797" fmla="*/ 876784 w 9546932"/>
                <a:gd name="connsiteY1797" fmla="*/ 4531636 h 7047620"/>
                <a:gd name="connsiteX1798" fmla="*/ 876784 w 9546932"/>
                <a:gd name="connsiteY1798" fmla="*/ 4522104 h 7047620"/>
                <a:gd name="connsiteX1799" fmla="*/ 872016 w 9546932"/>
                <a:gd name="connsiteY1799" fmla="*/ 4512572 h 7047620"/>
                <a:gd name="connsiteX1800" fmla="*/ 876784 w 9546932"/>
                <a:gd name="connsiteY1800" fmla="*/ 4498280 h 7047620"/>
                <a:gd name="connsiteX1801" fmla="*/ 872016 w 9546932"/>
                <a:gd name="connsiteY1801" fmla="*/ 4483984 h 7047620"/>
                <a:gd name="connsiteX1802" fmla="*/ 862488 w 9546932"/>
                <a:gd name="connsiteY1802" fmla="*/ 4474452 h 7047620"/>
                <a:gd name="connsiteX1803" fmla="*/ 857720 w 9546932"/>
                <a:gd name="connsiteY1803" fmla="*/ 4469688 h 7047620"/>
                <a:gd name="connsiteX1804" fmla="*/ 857720 w 9546932"/>
                <a:gd name="connsiteY1804" fmla="*/ 4464924 h 7047620"/>
                <a:gd name="connsiteX1805" fmla="*/ 862488 w 9546932"/>
                <a:gd name="connsiteY1805" fmla="*/ 4455392 h 7047620"/>
                <a:gd name="connsiteX1806" fmla="*/ 862488 w 9546932"/>
                <a:gd name="connsiteY1806" fmla="*/ 4445860 h 7047620"/>
                <a:gd name="connsiteX1807" fmla="*/ 857720 w 9546932"/>
                <a:gd name="connsiteY1807" fmla="*/ 4436332 h 7047620"/>
                <a:gd name="connsiteX1808" fmla="*/ 857720 w 9546932"/>
                <a:gd name="connsiteY1808" fmla="*/ 4431568 h 7047620"/>
                <a:gd name="connsiteX1809" fmla="*/ 852956 w 9546932"/>
                <a:gd name="connsiteY1809" fmla="*/ 4426800 h 7047620"/>
                <a:gd name="connsiteX1810" fmla="*/ 843428 w 9546932"/>
                <a:gd name="connsiteY1810" fmla="*/ 4422036 h 7047620"/>
                <a:gd name="connsiteX1811" fmla="*/ 833896 w 9546932"/>
                <a:gd name="connsiteY1811" fmla="*/ 4412504 h 7047620"/>
                <a:gd name="connsiteX1812" fmla="*/ 829132 w 9546932"/>
                <a:gd name="connsiteY1812" fmla="*/ 4402976 h 7047620"/>
                <a:gd name="connsiteX1813" fmla="*/ 819600 w 9546932"/>
                <a:gd name="connsiteY1813" fmla="*/ 4393444 h 7047620"/>
                <a:gd name="connsiteX1814" fmla="*/ 810072 w 9546932"/>
                <a:gd name="connsiteY1814" fmla="*/ 4383916 h 7047620"/>
                <a:gd name="connsiteX1815" fmla="*/ 810072 w 9546932"/>
                <a:gd name="connsiteY1815" fmla="*/ 4355324 h 7047620"/>
                <a:gd name="connsiteX1816" fmla="*/ 805304 w 9546932"/>
                <a:gd name="connsiteY1816" fmla="*/ 4326732 h 7047620"/>
                <a:gd name="connsiteX1817" fmla="*/ 805304 w 9546932"/>
                <a:gd name="connsiteY1817" fmla="*/ 4307672 h 7047620"/>
                <a:gd name="connsiteX1818" fmla="*/ 800540 w 9546932"/>
                <a:gd name="connsiteY1818" fmla="*/ 4283848 h 7047620"/>
                <a:gd name="connsiteX1819" fmla="*/ 800540 w 9546932"/>
                <a:gd name="connsiteY1819" fmla="*/ 4279084 h 7047620"/>
                <a:gd name="connsiteX1820" fmla="*/ 800540 w 9546932"/>
                <a:gd name="connsiteY1820" fmla="*/ 4274316 h 7047620"/>
                <a:gd name="connsiteX1821" fmla="*/ 829132 w 9546932"/>
                <a:gd name="connsiteY1821" fmla="*/ 4255256 h 7047620"/>
                <a:gd name="connsiteX1822" fmla="*/ 838660 w 9546932"/>
                <a:gd name="connsiteY1822" fmla="*/ 4245728 h 7047620"/>
                <a:gd name="connsiteX1823" fmla="*/ 838660 w 9546932"/>
                <a:gd name="connsiteY1823" fmla="*/ 4240960 h 7047620"/>
                <a:gd name="connsiteX1824" fmla="*/ 838660 w 9546932"/>
                <a:gd name="connsiteY1824" fmla="*/ 4231432 h 7047620"/>
                <a:gd name="connsiteX1825" fmla="*/ 829132 w 9546932"/>
                <a:gd name="connsiteY1825" fmla="*/ 4221900 h 7047620"/>
                <a:gd name="connsiteX1826" fmla="*/ 819600 w 9546932"/>
                <a:gd name="connsiteY1826" fmla="*/ 4217136 h 7047620"/>
                <a:gd name="connsiteX1827" fmla="*/ 805304 w 9546932"/>
                <a:gd name="connsiteY1827" fmla="*/ 4202840 h 7047620"/>
                <a:gd name="connsiteX1828" fmla="*/ 791012 w 9546932"/>
                <a:gd name="connsiteY1828" fmla="*/ 4188544 h 7047620"/>
                <a:gd name="connsiteX1829" fmla="*/ 767184 w 9546932"/>
                <a:gd name="connsiteY1829" fmla="*/ 4183780 h 7047620"/>
                <a:gd name="connsiteX1830" fmla="*/ 733828 w 9546932"/>
                <a:gd name="connsiteY1830" fmla="*/ 4174248 h 7047620"/>
                <a:gd name="connsiteX1831" fmla="*/ 729064 w 9546932"/>
                <a:gd name="connsiteY1831" fmla="*/ 4164720 h 7047620"/>
                <a:gd name="connsiteX1832" fmla="*/ 724300 w 9546932"/>
                <a:gd name="connsiteY1832" fmla="*/ 4140892 h 7047620"/>
                <a:gd name="connsiteX1833" fmla="*/ 710004 w 9546932"/>
                <a:gd name="connsiteY1833" fmla="*/ 4107536 h 7047620"/>
                <a:gd name="connsiteX1834" fmla="*/ 695708 w 9546932"/>
                <a:gd name="connsiteY1834" fmla="*/ 4074180 h 7047620"/>
                <a:gd name="connsiteX1835" fmla="*/ 686176 w 9546932"/>
                <a:gd name="connsiteY1835" fmla="*/ 4050356 h 7047620"/>
                <a:gd name="connsiteX1836" fmla="*/ 686176 w 9546932"/>
                <a:gd name="connsiteY1836" fmla="*/ 4040824 h 7047620"/>
                <a:gd name="connsiteX1837" fmla="*/ 690944 w 9546932"/>
                <a:gd name="connsiteY1837" fmla="*/ 4012236 h 7047620"/>
                <a:gd name="connsiteX1838" fmla="*/ 690944 w 9546932"/>
                <a:gd name="connsiteY1838" fmla="*/ 4007472 h 7047620"/>
                <a:gd name="connsiteX1839" fmla="*/ 686176 w 9546932"/>
                <a:gd name="connsiteY1839" fmla="*/ 4002704 h 7047620"/>
                <a:gd name="connsiteX1840" fmla="*/ 676648 w 9546932"/>
                <a:gd name="connsiteY1840" fmla="*/ 4007472 h 7047620"/>
                <a:gd name="connsiteX1841" fmla="*/ 667116 w 9546932"/>
                <a:gd name="connsiteY1841" fmla="*/ 4012236 h 7047620"/>
                <a:gd name="connsiteX1842" fmla="*/ 662352 w 9546932"/>
                <a:gd name="connsiteY1842" fmla="*/ 4012236 h 7047620"/>
                <a:gd name="connsiteX1843" fmla="*/ 657588 w 9546932"/>
                <a:gd name="connsiteY1843" fmla="*/ 4007472 h 7047620"/>
                <a:gd name="connsiteX1844" fmla="*/ 652820 w 9546932"/>
                <a:gd name="connsiteY1844" fmla="*/ 4002704 h 7047620"/>
                <a:gd name="connsiteX1845" fmla="*/ 643292 w 9546932"/>
                <a:gd name="connsiteY1845" fmla="*/ 4007472 h 7047620"/>
                <a:gd name="connsiteX1846" fmla="*/ 619464 w 9546932"/>
                <a:gd name="connsiteY1846" fmla="*/ 4007472 h 7047620"/>
                <a:gd name="connsiteX1847" fmla="*/ 609936 w 9546932"/>
                <a:gd name="connsiteY1847" fmla="*/ 4007472 h 7047620"/>
                <a:gd name="connsiteX1848" fmla="*/ 600404 w 9546932"/>
                <a:gd name="connsiteY1848" fmla="*/ 4007472 h 7047620"/>
                <a:gd name="connsiteX1849" fmla="*/ 576580 w 9546932"/>
                <a:gd name="connsiteY1849" fmla="*/ 4002704 h 7047620"/>
                <a:gd name="connsiteX1850" fmla="*/ 543224 w 9546932"/>
                <a:gd name="connsiteY1850" fmla="*/ 3993176 h 7047620"/>
                <a:gd name="connsiteX1851" fmla="*/ 509868 w 9546932"/>
                <a:gd name="connsiteY1851" fmla="*/ 3983644 h 7047620"/>
                <a:gd name="connsiteX1852" fmla="*/ 490808 w 9546932"/>
                <a:gd name="connsiteY1852" fmla="*/ 3974116 h 7047620"/>
                <a:gd name="connsiteX1853" fmla="*/ 486044 w 9546932"/>
                <a:gd name="connsiteY1853" fmla="*/ 3969348 h 7047620"/>
                <a:gd name="connsiteX1854" fmla="*/ 471748 w 9546932"/>
                <a:gd name="connsiteY1854" fmla="*/ 3959820 h 7047620"/>
                <a:gd name="connsiteX1855" fmla="*/ 462216 w 9546932"/>
                <a:gd name="connsiteY1855" fmla="*/ 3950288 h 7047620"/>
                <a:gd name="connsiteX1856" fmla="*/ 457452 w 9546932"/>
                <a:gd name="connsiteY1856" fmla="*/ 3926464 h 7047620"/>
                <a:gd name="connsiteX1857" fmla="*/ 452688 w 9546932"/>
                <a:gd name="connsiteY1857" fmla="*/ 3931228 h 7047620"/>
                <a:gd name="connsiteX1858" fmla="*/ 433624 w 9546932"/>
                <a:gd name="connsiteY1858" fmla="*/ 3940760 h 7047620"/>
                <a:gd name="connsiteX1859" fmla="*/ 409800 w 9546932"/>
                <a:gd name="connsiteY1859" fmla="*/ 3945524 h 7047620"/>
                <a:gd name="connsiteX1860" fmla="*/ 400268 w 9546932"/>
                <a:gd name="connsiteY1860" fmla="*/ 3945524 h 7047620"/>
                <a:gd name="connsiteX1861" fmla="*/ 395504 w 9546932"/>
                <a:gd name="connsiteY1861" fmla="*/ 3940760 h 7047620"/>
                <a:gd name="connsiteX1862" fmla="*/ 390740 w 9546932"/>
                <a:gd name="connsiteY1862" fmla="*/ 3916932 h 7047620"/>
                <a:gd name="connsiteX1863" fmla="*/ 381208 w 9546932"/>
                <a:gd name="connsiteY1863" fmla="*/ 3912168 h 7047620"/>
                <a:gd name="connsiteX1864" fmla="*/ 376444 w 9546932"/>
                <a:gd name="connsiteY1864" fmla="*/ 3907404 h 7047620"/>
                <a:gd name="connsiteX1865" fmla="*/ 362148 w 9546932"/>
                <a:gd name="connsiteY1865" fmla="*/ 3902636 h 7047620"/>
                <a:gd name="connsiteX1866" fmla="*/ 357384 w 9546932"/>
                <a:gd name="connsiteY1866" fmla="*/ 3897872 h 7047620"/>
                <a:gd name="connsiteX1867" fmla="*/ 357384 w 9546932"/>
                <a:gd name="connsiteY1867" fmla="*/ 3888340 h 7047620"/>
                <a:gd name="connsiteX1868" fmla="*/ 362148 w 9546932"/>
                <a:gd name="connsiteY1868" fmla="*/ 3883576 h 7047620"/>
                <a:gd name="connsiteX1869" fmla="*/ 366912 w 9546932"/>
                <a:gd name="connsiteY1869" fmla="*/ 3874048 h 7047620"/>
                <a:gd name="connsiteX1870" fmla="*/ 366912 w 9546932"/>
                <a:gd name="connsiteY1870" fmla="*/ 3831160 h 7047620"/>
                <a:gd name="connsiteX1871" fmla="*/ 366912 w 9546932"/>
                <a:gd name="connsiteY1871" fmla="*/ 3816864 h 7047620"/>
                <a:gd name="connsiteX1872" fmla="*/ 362148 w 9546932"/>
                <a:gd name="connsiteY1872" fmla="*/ 3807336 h 7047620"/>
                <a:gd name="connsiteX1873" fmla="*/ 352620 w 9546932"/>
                <a:gd name="connsiteY1873" fmla="*/ 3788276 h 7047620"/>
                <a:gd name="connsiteX1874" fmla="*/ 347852 w 9546932"/>
                <a:gd name="connsiteY1874" fmla="*/ 3783508 h 7047620"/>
                <a:gd name="connsiteX1875" fmla="*/ 338324 w 9546932"/>
                <a:gd name="connsiteY1875" fmla="*/ 3773980 h 7047620"/>
                <a:gd name="connsiteX1876" fmla="*/ 319264 w 9546932"/>
                <a:gd name="connsiteY1876" fmla="*/ 3764448 h 7047620"/>
                <a:gd name="connsiteX1877" fmla="*/ 304968 w 9546932"/>
                <a:gd name="connsiteY1877" fmla="*/ 3759684 h 7047620"/>
                <a:gd name="connsiteX1878" fmla="*/ 290672 w 9546932"/>
                <a:gd name="connsiteY1878" fmla="*/ 3764448 h 7047620"/>
                <a:gd name="connsiteX1879" fmla="*/ 281140 w 9546932"/>
                <a:gd name="connsiteY1879" fmla="*/ 3764448 h 7047620"/>
                <a:gd name="connsiteX1880" fmla="*/ 276376 w 9546932"/>
                <a:gd name="connsiteY1880" fmla="*/ 3735856 h 7047620"/>
                <a:gd name="connsiteX1881" fmla="*/ 271612 w 9546932"/>
                <a:gd name="connsiteY1881" fmla="*/ 3731092 h 7047620"/>
                <a:gd name="connsiteX1882" fmla="*/ 238256 w 9546932"/>
                <a:gd name="connsiteY1882" fmla="*/ 3716796 h 7047620"/>
                <a:gd name="connsiteX1883" fmla="*/ 223960 w 9546932"/>
                <a:gd name="connsiteY1883" fmla="*/ 3716796 h 7047620"/>
                <a:gd name="connsiteX1884" fmla="*/ 209664 w 9546932"/>
                <a:gd name="connsiteY1884" fmla="*/ 3721564 h 7047620"/>
                <a:gd name="connsiteX1885" fmla="*/ 200136 w 9546932"/>
                <a:gd name="connsiteY1885" fmla="*/ 3721564 h 7047620"/>
                <a:gd name="connsiteX1886" fmla="*/ 190604 w 9546932"/>
                <a:gd name="connsiteY1886" fmla="*/ 3716796 h 7047620"/>
                <a:gd name="connsiteX1887" fmla="*/ 181072 w 9546932"/>
                <a:gd name="connsiteY1887" fmla="*/ 3712032 h 7047620"/>
                <a:gd name="connsiteX1888" fmla="*/ 166780 w 9546932"/>
                <a:gd name="connsiteY1888" fmla="*/ 3707268 h 7047620"/>
                <a:gd name="connsiteX1889" fmla="*/ 152484 w 9546932"/>
                <a:gd name="connsiteY1889" fmla="*/ 3707268 h 7047620"/>
                <a:gd name="connsiteX1890" fmla="*/ 142952 w 9546932"/>
                <a:gd name="connsiteY1890" fmla="*/ 3707268 h 7047620"/>
                <a:gd name="connsiteX1891" fmla="*/ 138188 w 9546932"/>
                <a:gd name="connsiteY1891" fmla="*/ 3702500 h 7047620"/>
                <a:gd name="connsiteX1892" fmla="*/ 119128 w 9546932"/>
                <a:gd name="connsiteY1892" fmla="*/ 3688208 h 7047620"/>
                <a:gd name="connsiteX1893" fmla="*/ 119128 w 9546932"/>
                <a:gd name="connsiteY1893" fmla="*/ 3683440 h 7047620"/>
                <a:gd name="connsiteX1894" fmla="*/ 147716 w 9546932"/>
                <a:gd name="connsiteY1894" fmla="*/ 3664380 h 7047620"/>
                <a:gd name="connsiteX1895" fmla="*/ 166780 w 9546932"/>
                <a:gd name="connsiteY1895" fmla="*/ 3659616 h 7047620"/>
                <a:gd name="connsiteX1896" fmla="*/ 176308 w 9546932"/>
                <a:gd name="connsiteY1896" fmla="*/ 3654852 h 7047620"/>
                <a:gd name="connsiteX1897" fmla="*/ 181072 w 9546932"/>
                <a:gd name="connsiteY1897" fmla="*/ 3664380 h 7047620"/>
                <a:gd name="connsiteX1898" fmla="*/ 190604 w 9546932"/>
                <a:gd name="connsiteY1898" fmla="*/ 3669148 h 7047620"/>
                <a:gd name="connsiteX1899" fmla="*/ 200136 w 9546932"/>
                <a:gd name="connsiteY1899" fmla="*/ 3669148 h 7047620"/>
                <a:gd name="connsiteX1900" fmla="*/ 204900 w 9546932"/>
                <a:gd name="connsiteY1900" fmla="*/ 3664380 h 7047620"/>
                <a:gd name="connsiteX1901" fmla="*/ 219196 w 9546932"/>
                <a:gd name="connsiteY1901" fmla="*/ 3654852 h 7047620"/>
                <a:gd name="connsiteX1902" fmla="*/ 228724 w 9546932"/>
                <a:gd name="connsiteY1902" fmla="*/ 3645320 h 7047620"/>
                <a:gd name="connsiteX1903" fmla="*/ 233492 w 9546932"/>
                <a:gd name="connsiteY1903" fmla="*/ 3635792 h 7047620"/>
                <a:gd name="connsiteX1904" fmla="*/ 233492 w 9546932"/>
                <a:gd name="connsiteY1904" fmla="*/ 3626260 h 7047620"/>
                <a:gd name="connsiteX1905" fmla="*/ 214428 w 9546932"/>
                <a:gd name="connsiteY1905" fmla="*/ 3607200 h 7047620"/>
                <a:gd name="connsiteX1906" fmla="*/ 204900 w 9546932"/>
                <a:gd name="connsiteY1906" fmla="*/ 3597668 h 7047620"/>
                <a:gd name="connsiteX1907" fmla="*/ 200136 w 9546932"/>
                <a:gd name="connsiteY1907" fmla="*/ 3592904 h 7047620"/>
                <a:gd name="connsiteX1908" fmla="*/ 204900 w 9546932"/>
                <a:gd name="connsiteY1908" fmla="*/ 3578608 h 7047620"/>
                <a:gd name="connsiteX1909" fmla="*/ 204900 w 9546932"/>
                <a:gd name="connsiteY1909" fmla="*/ 3559548 h 7047620"/>
                <a:gd name="connsiteX1910" fmla="*/ 204900 w 9546932"/>
                <a:gd name="connsiteY1910" fmla="*/ 3554784 h 7047620"/>
                <a:gd name="connsiteX1911" fmla="*/ 200136 w 9546932"/>
                <a:gd name="connsiteY1911" fmla="*/ 3550016 h 7047620"/>
                <a:gd name="connsiteX1912" fmla="*/ 200136 w 9546932"/>
                <a:gd name="connsiteY1912" fmla="*/ 3530956 h 7047620"/>
                <a:gd name="connsiteX1913" fmla="*/ 190604 w 9546932"/>
                <a:gd name="connsiteY1913" fmla="*/ 3507132 h 7047620"/>
                <a:gd name="connsiteX1914" fmla="*/ 185840 w 9546932"/>
                <a:gd name="connsiteY1914" fmla="*/ 3492836 h 7047620"/>
                <a:gd name="connsiteX1915" fmla="*/ 181072 w 9546932"/>
                <a:gd name="connsiteY1915" fmla="*/ 3478540 h 7047620"/>
                <a:gd name="connsiteX1916" fmla="*/ 181072 w 9546932"/>
                <a:gd name="connsiteY1916" fmla="*/ 3459480 h 7047620"/>
                <a:gd name="connsiteX1917" fmla="*/ 190604 w 9546932"/>
                <a:gd name="connsiteY1917" fmla="*/ 3435656 h 7047620"/>
                <a:gd name="connsiteX1918" fmla="*/ 185840 w 9546932"/>
                <a:gd name="connsiteY1918" fmla="*/ 3426124 h 7047620"/>
                <a:gd name="connsiteX1919" fmla="*/ 176308 w 9546932"/>
                <a:gd name="connsiteY1919" fmla="*/ 3416596 h 7047620"/>
                <a:gd name="connsiteX1920" fmla="*/ 142952 w 9546932"/>
                <a:gd name="connsiteY1920" fmla="*/ 3397532 h 7047620"/>
                <a:gd name="connsiteX1921" fmla="*/ 104832 w 9546932"/>
                <a:gd name="connsiteY1921" fmla="*/ 3383240 h 7047620"/>
                <a:gd name="connsiteX1922" fmla="*/ 90536 w 9546932"/>
                <a:gd name="connsiteY1922" fmla="*/ 3383240 h 7047620"/>
                <a:gd name="connsiteX1923" fmla="*/ 81008 w 9546932"/>
                <a:gd name="connsiteY1923" fmla="*/ 3383240 h 7047620"/>
                <a:gd name="connsiteX1924" fmla="*/ 71476 w 9546932"/>
                <a:gd name="connsiteY1924" fmla="*/ 3392768 h 7047620"/>
                <a:gd name="connsiteX1925" fmla="*/ 61944 w 9546932"/>
                <a:gd name="connsiteY1925" fmla="*/ 3407064 h 7047620"/>
                <a:gd name="connsiteX1926" fmla="*/ 57180 w 9546932"/>
                <a:gd name="connsiteY1926" fmla="*/ 3411828 h 7047620"/>
                <a:gd name="connsiteX1927" fmla="*/ 38120 w 9546932"/>
                <a:gd name="connsiteY1927" fmla="*/ 3402300 h 7047620"/>
                <a:gd name="connsiteX1928" fmla="*/ 28588 w 9546932"/>
                <a:gd name="connsiteY1928" fmla="*/ 3392768 h 7047620"/>
                <a:gd name="connsiteX1929" fmla="*/ 23824 w 9546932"/>
                <a:gd name="connsiteY1929" fmla="*/ 3378472 h 7047620"/>
                <a:gd name="connsiteX1930" fmla="*/ 14296 w 9546932"/>
                <a:gd name="connsiteY1930" fmla="*/ 3354648 h 7047620"/>
                <a:gd name="connsiteX1931" fmla="*/ 14296 w 9546932"/>
                <a:gd name="connsiteY1931" fmla="*/ 3345116 h 7047620"/>
                <a:gd name="connsiteX1932" fmla="*/ 14296 w 9546932"/>
                <a:gd name="connsiteY1932" fmla="*/ 3340352 h 7047620"/>
                <a:gd name="connsiteX1933" fmla="*/ 19060 w 9546932"/>
                <a:gd name="connsiteY1933" fmla="*/ 3335588 h 7047620"/>
                <a:gd name="connsiteX1934" fmla="*/ 28588 w 9546932"/>
                <a:gd name="connsiteY1934" fmla="*/ 3326056 h 7047620"/>
                <a:gd name="connsiteX1935" fmla="*/ 28588 w 9546932"/>
                <a:gd name="connsiteY1935" fmla="*/ 3321292 h 7047620"/>
                <a:gd name="connsiteX1936" fmla="*/ 28588 w 9546932"/>
                <a:gd name="connsiteY1936" fmla="*/ 3316528 h 7047620"/>
                <a:gd name="connsiteX1937" fmla="*/ 19060 w 9546932"/>
                <a:gd name="connsiteY1937" fmla="*/ 3306996 h 7047620"/>
                <a:gd name="connsiteX1938" fmla="*/ 9528 w 9546932"/>
                <a:gd name="connsiteY1938" fmla="*/ 3297468 h 7047620"/>
                <a:gd name="connsiteX1939" fmla="*/ 0 w 9546932"/>
                <a:gd name="connsiteY1939" fmla="*/ 3268876 h 7047620"/>
                <a:gd name="connsiteX1940" fmla="*/ 0 w 9546932"/>
                <a:gd name="connsiteY1940" fmla="*/ 3254580 h 7047620"/>
                <a:gd name="connsiteX1941" fmla="*/ 4764 w 9546932"/>
                <a:gd name="connsiteY1941" fmla="*/ 3235520 h 7047620"/>
                <a:gd name="connsiteX1942" fmla="*/ 4764 w 9546932"/>
                <a:gd name="connsiteY1942" fmla="*/ 3225988 h 7047620"/>
                <a:gd name="connsiteX1943" fmla="*/ 14296 w 9546932"/>
                <a:gd name="connsiteY1943" fmla="*/ 3221224 h 7047620"/>
                <a:gd name="connsiteX1944" fmla="*/ 33356 w 9546932"/>
                <a:gd name="connsiteY1944" fmla="*/ 3216460 h 7047620"/>
                <a:gd name="connsiteX1945" fmla="*/ 42884 w 9546932"/>
                <a:gd name="connsiteY1945" fmla="*/ 3206928 h 7047620"/>
                <a:gd name="connsiteX1946" fmla="*/ 47652 w 9546932"/>
                <a:gd name="connsiteY1946" fmla="*/ 3197400 h 7047620"/>
                <a:gd name="connsiteX1947" fmla="*/ 47652 w 9546932"/>
                <a:gd name="connsiteY1947" fmla="*/ 3192632 h 7047620"/>
                <a:gd name="connsiteX1948" fmla="*/ 42884 w 9546932"/>
                <a:gd name="connsiteY1948" fmla="*/ 3173572 h 7047620"/>
                <a:gd name="connsiteX1949" fmla="*/ 33356 w 9546932"/>
                <a:gd name="connsiteY1949" fmla="*/ 3164044 h 7047620"/>
                <a:gd name="connsiteX1950" fmla="*/ 33356 w 9546932"/>
                <a:gd name="connsiteY1950" fmla="*/ 3154512 h 7047620"/>
                <a:gd name="connsiteX1951" fmla="*/ 38120 w 9546932"/>
                <a:gd name="connsiteY1951" fmla="*/ 3149748 h 7047620"/>
                <a:gd name="connsiteX1952" fmla="*/ 42884 w 9546932"/>
                <a:gd name="connsiteY1952" fmla="*/ 3140216 h 7047620"/>
                <a:gd name="connsiteX1953" fmla="*/ 52416 w 9546932"/>
                <a:gd name="connsiteY1953" fmla="*/ 3116392 h 7047620"/>
                <a:gd name="connsiteX1954" fmla="*/ 57180 w 9546932"/>
                <a:gd name="connsiteY1954" fmla="*/ 3106860 h 7047620"/>
                <a:gd name="connsiteX1955" fmla="*/ 61944 w 9546932"/>
                <a:gd name="connsiteY1955" fmla="*/ 3102096 h 7047620"/>
                <a:gd name="connsiteX1956" fmla="*/ 76240 w 9546932"/>
                <a:gd name="connsiteY1956" fmla="*/ 3097332 h 7047620"/>
                <a:gd name="connsiteX1957" fmla="*/ 100068 w 9546932"/>
                <a:gd name="connsiteY1957" fmla="*/ 3097332 h 7047620"/>
                <a:gd name="connsiteX1958" fmla="*/ 123892 w 9546932"/>
                <a:gd name="connsiteY1958" fmla="*/ 3087800 h 7047620"/>
                <a:gd name="connsiteX1959" fmla="*/ 157248 w 9546932"/>
                <a:gd name="connsiteY1959" fmla="*/ 3059208 h 7047620"/>
                <a:gd name="connsiteX1960" fmla="*/ 166780 w 9546932"/>
                <a:gd name="connsiteY1960" fmla="*/ 3049680 h 7047620"/>
                <a:gd name="connsiteX1961" fmla="*/ 181072 w 9546932"/>
                <a:gd name="connsiteY1961" fmla="*/ 3044916 h 7047620"/>
                <a:gd name="connsiteX1962" fmla="*/ 190604 w 9546932"/>
                <a:gd name="connsiteY1962" fmla="*/ 3044916 h 7047620"/>
                <a:gd name="connsiteX1963" fmla="*/ 185840 w 9546932"/>
                <a:gd name="connsiteY1963" fmla="*/ 3025852 h 7047620"/>
                <a:gd name="connsiteX1964" fmla="*/ 185840 w 9546932"/>
                <a:gd name="connsiteY1964" fmla="*/ 3021088 h 7047620"/>
                <a:gd name="connsiteX1965" fmla="*/ 190604 w 9546932"/>
                <a:gd name="connsiteY1965" fmla="*/ 3016324 h 7047620"/>
                <a:gd name="connsiteX1966" fmla="*/ 195368 w 9546932"/>
                <a:gd name="connsiteY1966" fmla="*/ 3011560 h 7047620"/>
                <a:gd name="connsiteX1967" fmla="*/ 219196 w 9546932"/>
                <a:gd name="connsiteY1967" fmla="*/ 3021088 h 7047620"/>
                <a:gd name="connsiteX1968" fmla="*/ 233492 w 9546932"/>
                <a:gd name="connsiteY1968" fmla="*/ 3021088 h 7047620"/>
                <a:gd name="connsiteX1969" fmla="*/ 252552 w 9546932"/>
                <a:gd name="connsiteY1969" fmla="*/ 3016324 h 7047620"/>
                <a:gd name="connsiteX1970" fmla="*/ 300204 w 9546932"/>
                <a:gd name="connsiteY1970" fmla="*/ 2982968 h 7047620"/>
                <a:gd name="connsiteX1971" fmla="*/ 304968 w 9546932"/>
                <a:gd name="connsiteY1971" fmla="*/ 2987732 h 7047620"/>
                <a:gd name="connsiteX1972" fmla="*/ 314496 w 9546932"/>
                <a:gd name="connsiteY1972" fmla="*/ 3006792 h 7047620"/>
                <a:gd name="connsiteX1973" fmla="*/ 319264 w 9546932"/>
                <a:gd name="connsiteY1973" fmla="*/ 3044916 h 7047620"/>
                <a:gd name="connsiteX1974" fmla="*/ 324028 w 9546932"/>
                <a:gd name="connsiteY1974" fmla="*/ 3049680 h 7047620"/>
                <a:gd name="connsiteX1975" fmla="*/ 352620 w 9546932"/>
                <a:gd name="connsiteY1975" fmla="*/ 3054444 h 7047620"/>
                <a:gd name="connsiteX1976" fmla="*/ 371680 w 9546932"/>
                <a:gd name="connsiteY1976" fmla="*/ 3040148 h 7047620"/>
                <a:gd name="connsiteX1977" fmla="*/ 381208 w 9546932"/>
                <a:gd name="connsiteY1977" fmla="*/ 3035384 h 7047620"/>
                <a:gd name="connsiteX1978" fmla="*/ 395504 w 9546932"/>
                <a:gd name="connsiteY1978" fmla="*/ 3035384 h 7047620"/>
                <a:gd name="connsiteX1979" fmla="*/ 405036 w 9546932"/>
                <a:gd name="connsiteY1979" fmla="*/ 3030620 h 7047620"/>
                <a:gd name="connsiteX1980" fmla="*/ 414564 w 9546932"/>
                <a:gd name="connsiteY1980" fmla="*/ 3025852 h 7047620"/>
                <a:gd name="connsiteX1981" fmla="*/ 424096 w 9546932"/>
                <a:gd name="connsiteY1981" fmla="*/ 3040148 h 7047620"/>
                <a:gd name="connsiteX1982" fmla="*/ 433624 w 9546932"/>
                <a:gd name="connsiteY1982" fmla="*/ 3035384 h 7047620"/>
                <a:gd name="connsiteX1983" fmla="*/ 447920 w 9546932"/>
                <a:gd name="connsiteY1983" fmla="*/ 3021088 h 7047620"/>
                <a:gd name="connsiteX1984" fmla="*/ 452688 w 9546932"/>
                <a:gd name="connsiteY1984" fmla="*/ 3006792 h 7047620"/>
                <a:gd name="connsiteX1985" fmla="*/ 462216 w 9546932"/>
                <a:gd name="connsiteY1985" fmla="*/ 2997264 h 7047620"/>
                <a:gd name="connsiteX1986" fmla="*/ 471748 w 9546932"/>
                <a:gd name="connsiteY1986" fmla="*/ 2978204 h 7047620"/>
                <a:gd name="connsiteX1987" fmla="*/ 471748 w 9546932"/>
                <a:gd name="connsiteY1987" fmla="*/ 2963908 h 7047620"/>
                <a:gd name="connsiteX1988" fmla="*/ 476512 w 9546932"/>
                <a:gd name="connsiteY1988" fmla="*/ 2954376 h 7047620"/>
                <a:gd name="connsiteX1989" fmla="*/ 486044 w 9546932"/>
                <a:gd name="connsiteY1989" fmla="*/ 2944848 h 7047620"/>
                <a:gd name="connsiteX1990" fmla="*/ 500336 w 9546932"/>
                <a:gd name="connsiteY1990" fmla="*/ 2911492 h 7047620"/>
                <a:gd name="connsiteX1991" fmla="*/ 514632 w 9546932"/>
                <a:gd name="connsiteY1991" fmla="*/ 2901960 h 7047620"/>
                <a:gd name="connsiteX1992" fmla="*/ 528928 w 9546932"/>
                <a:gd name="connsiteY1992" fmla="*/ 2901960 h 7047620"/>
                <a:gd name="connsiteX1993" fmla="*/ 557520 w 9546932"/>
                <a:gd name="connsiteY1993" fmla="*/ 2906724 h 7047620"/>
                <a:gd name="connsiteX1994" fmla="*/ 571816 w 9546932"/>
                <a:gd name="connsiteY1994" fmla="*/ 2906724 h 7047620"/>
                <a:gd name="connsiteX1995" fmla="*/ 619464 w 9546932"/>
                <a:gd name="connsiteY1995" fmla="*/ 2911492 h 7047620"/>
                <a:gd name="connsiteX1996" fmla="*/ 643292 w 9546932"/>
                <a:gd name="connsiteY1996" fmla="*/ 2901960 h 7047620"/>
                <a:gd name="connsiteX1997" fmla="*/ 657588 w 9546932"/>
                <a:gd name="connsiteY1997" fmla="*/ 2897196 h 7047620"/>
                <a:gd name="connsiteX1998" fmla="*/ 676648 w 9546932"/>
                <a:gd name="connsiteY1998" fmla="*/ 2897196 h 7047620"/>
                <a:gd name="connsiteX1999" fmla="*/ 705236 w 9546932"/>
                <a:gd name="connsiteY1999" fmla="*/ 2892432 h 7047620"/>
                <a:gd name="connsiteX2000" fmla="*/ 738592 w 9546932"/>
                <a:gd name="connsiteY2000" fmla="*/ 2849544 h 7047620"/>
                <a:gd name="connsiteX2001" fmla="*/ 738592 w 9546932"/>
                <a:gd name="connsiteY2001" fmla="*/ 2840012 h 7047620"/>
                <a:gd name="connsiteX2002" fmla="*/ 743360 w 9546932"/>
                <a:gd name="connsiteY2002" fmla="*/ 2830484 h 7047620"/>
                <a:gd name="connsiteX2003" fmla="*/ 752888 w 9546932"/>
                <a:gd name="connsiteY2003" fmla="*/ 2820952 h 7047620"/>
                <a:gd name="connsiteX2004" fmla="*/ 771948 w 9546932"/>
                <a:gd name="connsiteY2004" fmla="*/ 2811424 h 7047620"/>
                <a:gd name="connsiteX2005" fmla="*/ 800540 w 9546932"/>
                <a:gd name="connsiteY2005" fmla="*/ 2792364 h 7047620"/>
                <a:gd name="connsiteX2006" fmla="*/ 862488 w 9546932"/>
                <a:gd name="connsiteY2006" fmla="*/ 2759008 h 7047620"/>
                <a:gd name="connsiteX2007" fmla="*/ 886312 w 9546932"/>
                <a:gd name="connsiteY2007" fmla="*/ 2744712 h 7047620"/>
                <a:gd name="connsiteX2008" fmla="*/ 895844 w 9546932"/>
                <a:gd name="connsiteY2008" fmla="*/ 2744712 h 7047620"/>
                <a:gd name="connsiteX2009" fmla="*/ 919668 w 9546932"/>
                <a:gd name="connsiteY2009" fmla="*/ 2735180 h 7047620"/>
                <a:gd name="connsiteX2010" fmla="*/ 962556 w 9546932"/>
                <a:gd name="connsiteY2010" fmla="*/ 2720884 h 7047620"/>
                <a:gd name="connsiteX2011" fmla="*/ 972084 w 9546932"/>
                <a:gd name="connsiteY2011" fmla="*/ 2701824 h 7047620"/>
                <a:gd name="connsiteX2012" fmla="*/ 981616 w 9546932"/>
                <a:gd name="connsiteY2012" fmla="*/ 2697060 h 7047620"/>
                <a:gd name="connsiteX2013" fmla="*/ 1029268 w 9546932"/>
                <a:gd name="connsiteY2013" fmla="*/ 2692296 h 7047620"/>
                <a:gd name="connsiteX2014" fmla="*/ 1034032 w 9546932"/>
                <a:gd name="connsiteY2014" fmla="*/ 2692296 h 7047620"/>
                <a:gd name="connsiteX2015" fmla="*/ 1034032 w 9546932"/>
                <a:gd name="connsiteY2015" fmla="*/ 2687528 h 7047620"/>
                <a:gd name="connsiteX2016" fmla="*/ 1034032 w 9546932"/>
                <a:gd name="connsiteY2016" fmla="*/ 2673236 h 7047620"/>
                <a:gd name="connsiteX2017" fmla="*/ 1029268 w 9546932"/>
                <a:gd name="connsiteY2017" fmla="*/ 2658940 h 7047620"/>
                <a:gd name="connsiteX2018" fmla="*/ 1034032 w 9546932"/>
                <a:gd name="connsiteY2018" fmla="*/ 2654172 h 7047620"/>
                <a:gd name="connsiteX2019" fmla="*/ 1038796 w 9546932"/>
                <a:gd name="connsiteY2019" fmla="*/ 2649408 h 7047620"/>
                <a:gd name="connsiteX2020" fmla="*/ 1038796 w 9546932"/>
                <a:gd name="connsiteY2020" fmla="*/ 2639880 h 7047620"/>
                <a:gd name="connsiteX2021" fmla="*/ 1029268 w 9546932"/>
                <a:gd name="connsiteY2021" fmla="*/ 2616052 h 7047620"/>
                <a:gd name="connsiteX2022" fmla="*/ 1024500 w 9546932"/>
                <a:gd name="connsiteY2022" fmla="*/ 2592228 h 7047620"/>
                <a:gd name="connsiteX2023" fmla="*/ 1024500 w 9546932"/>
                <a:gd name="connsiteY2023" fmla="*/ 2568400 h 7047620"/>
                <a:gd name="connsiteX2024" fmla="*/ 1024500 w 9546932"/>
                <a:gd name="connsiteY2024" fmla="*/ 2558872 h 7047620"/>
                <a:gd name="connsiteX2025" fmla="*/ 1029268 w 9546932"/>
                <a:gd name="connsiteY2025" fmla="*/ 2544576 h 7047620"/>
                <a:gd name="connsiteX2026" fmla="*/ 1038796 w 9546932"/>
                <a:gd name="connsiteY2026" fmla="*/ 2530280 h 7047620"/>
                <a:gd name="connsiteX2027" fmla="*/ 1062624 w 9546932"/>
                <a:gd name="connsiteY2027" fmla="*/ 2520752 h 7047620"/>
                <a:gd name="connsiteX2028" fmla="*/ 1081684 w 9546932"/>
                <a:gd name="connsiteY2028" fmla="*/ 2515984 h 7047620"/>
                <a:gd name="connsiteX2029" fmla="*/ 1081684 w 9546932"/>
                <a:gd name="connsiteY2029" fmla="*/ 2506456 h 7047620"/>
                <a:gd name="connsiteX2030" fmla="*/ 1067388 w 9546932"/>
                <a:gd name="connsiteY2030" fmla="*/ 2501688 h 7047620"/>
                <a:gd name="connsiteX2031" fmla="*/ 1057856 w 9546932"/>
                <a:gd name="connsiteY2031" fmla="*/ 2492160 h 7047620"/>
                <a:gd name="connsiteX2032" fmla="*/ 1057856 w 9546932"/>
                <a:gd name="connsiteY2032" fmla="*/ 2487396 h 7047620"/>
                <a:gd name="connsiteX2033" fmla="*/ 1057856 w 9546932"/>
                <a:gd name="connsiteY2033" fmla="*/ 2482628 h 7047620"/>
                <a:gd name="connsiteX2034" fmla="*/ 1057856 w 9546932"/>
                <a:gd name="connsiteY2034" fmla="*/ 2477864 h 7047620"/>
                <a:gd name="connsiteX2035" fmla="*/ 1076916 w 9546932"/>
                <a:gd name="connsiteY2035" fmla="*/ 2468332 h 7047620"/>
                <a:gd name="connsiteX2036" fmla="*/ 1095980 w 9546932"/>
                <a:gd name="connsiteY2036" fmla="*/ 2458804 h 7047620"/>
                <a:gd name="connsiteX2037" fmla="*/ 1115040 w 9546932"/>
                <a:gd name="connsiteY2037" fmla="*/ 2468332 h 7047620"/>
                <a:gd name="connsiteX2038" fmla="*/ 1119804 w 9546932"/>
                <a:gd name="connsiteY2038" fmla="*/ 2463568 h 7047620"/>
                <a:gd name="connsiteX2039" fmla="*/ 1119804 w 9546932"/>
                <a:gd name="connsiteY2039" fmla="*/ 2454040 h 7047620"/>
                <a:gd name="connsiteX2040" fmla="*/ 1115040 w 9546932"/>
                <a:gd name="connsiteY2040" fmla="*/ 2444508 h 7047620"/>
                <a:gd name="connsiteX2041" fmla="*/ 1110272 w 9546932"/>
                <a:gd name="connsiteY2041" fmla="*/ 2430212 h 7047620"/>
                <a:gd name="connsiteX2042" fmla="*/ 1100744 w 9546932"/>
                <a:gd name="connsiteY2042" fmla="*/ 2420684 h 7047620"/>
                <a:gd name="connsiteX2043" fmla="*/ 1100744 w 9546932"/>
                <a:gd name="connsiteY2043" fmla="*/ 2411152 h 7047620"/>
                <a:gd name="connsiteX2044" fmla="*/ 1105508 w 9546932"/>
                <a:gd name="connsiteY2044" fmla="*/ 2396856 h 7047620"/>
                <a:gd name="connsiteX2045" fmla="*/ 1100744 w 9546932"/>
                <a:gd name="connsiteY2045" fmla="*/ 2368268 h 7047620"/>
                <a:gd name="connsiteX2046" fmla="*/ 1091212 w 9546932"/>
                <a:gd name="connsiteY2046" fmla="*/ 2339676 h 7047620"/>
                <a:gd name="connsiteX2047" fmla="*/ 1076916 w 9546932"/>
                <a:gd name="connsiteY2047" fmla="*/ 2296788 h 7047620"/>
                <a:gd name="connsiteX2048" fmla="*/ 1062624 w 9546932"/>
                <a:gd name="connsiteY2048" fmla="*/ 2282496 h 7047620"/>
                <a:gd name="connsiteX2049" fmla="*/ 1057856 w 9546932"/>
                <a:gd name="connsiteY2049" fmla="*/ 2263432 h 7047620"/>
                <a:gd name="connsiteX2050" fmla="*/ 1053092 w 9546932"/>
                <a:gd name="connsiteY2050" fmla="*/ 2249140 h 7047620"/>
                <a:gd name="connsiteX2051" fmla="*/ 1053092 w 9546932"/>
                <a:gd name="connsiteY2051" fmla="*/ 2234844 h 7047620"/>
                <a:gd name="connsiteX2052" fmla="*/ 1053092 w 9546932"/>
                <a:gd name="connsiteY2052" fmla="*/ 2225312 h 7047620"/>
                <a:gd name="connsiteX2053" fmla="*/ 1053092 w 9546932"/>
                <a:gd name="connsiteY2053" fmla="*/ 2201488 h 7047620"/>
                <a:gd name="connsiteX2054" fmla="*/ 1048328 w 9546932"/>
                <a:gd name="connsiteY2054" fmla="*/ 2177660 h 7047620"/>
                <a:gd name="connsiteX2055" fmla="*/ 1053092 w 9546932"/>
                <a:gd name="connsiteY2055" fmla="*/ 2153836 h 7047620"/>
                <a:gd name="connsiteX2056" fmla="*/ 1057856 w 9546932"/>
                <a:gd name="connsiteY2056" fmla="*/ 2134776 h 7047620"/>
                <a:gd name="connsiteX2057" fmla="*/ 1057856 w 9546932"/>
                <a:gd name="connsiteY2057" fmla="*/ 2130008 h 7047620"/>
                <a:gd name="connsiteX2058" fmla="*/ 1057856 w 9546932"/>
                <a:gd name="connsiteY2058" fmla="*/ 2125244 h 7047620"/>
                <a:gd name="connsiteX2059" fmla="*/ 1067388 w 9546932"/>
                <a:gd name="connsiteY2059" fmla="*/ 2125244 h 7047620"/>
                <a:gd name="connsiteX2060" fmla="*/ 1072152 w 9546932"/>
                <a:gd name="connsiteY2060" fmla="*/ 2115716 h 7047620"/>
                <a:gd name="connsiteX2061" fmla="*/ 1067388 w 9546932"/>
                <a:gd name="connsiteY2061" fmla="*/ 2110948 h 7047620"/>
                <a:gd name="connsiteX2062" fmla="*/ 1053092 w 9546932"/>
                <a:gd name="connsiteY2062" fmla="*/ 2106184 h 7047620"/>
                <a:gd name="connsiteX2063" fmla="*/ 1038796 w 9546932"/>
                <a:gd name="connsiteY2063" fmla="*/ 2096656 h 7047620"/>
                <a:gd name="connsiteX2064" fmla="*/ 1019736 w 9546932"/>
                <a:gd name="connsiteY2064" fmla="*/ 2096656 h 7047620"/>
                <a:gd name="connsiteX2065" fmla="*/ 995912 w 9546932"/>
                <a:gd name="connsiteY2065" fmla="*/ 2096656 h 7047620"/>
                <a:gd name="connsiteX2066" fmla="*/ 986380 w 9546932"/>
                <a:gd name="connsiteY2066" fmla="*/ 2091888 h 7047620"/>
                <a:gd name="connsiteX2067" fmla="*/ 976852 w 9546932"/>
                <a:gd name="connsiteY2067" fmla="*/ 2082360 h 7047620"/>
                <a:gd name="connsiteX2068" fmla="*/ 976852 w 9546932"/>
                <a:gd name="connsiteY2068" fmla="*/ 2077592 h 7047620"/>
                <a:gd name="connsiteX2069" fmla="*/ 991144 w 9546932"/>
                <a:gd name="connsiteY2069" fmla="*/ 2068064 h 7047620"/>
                <a:gd name="connsiteX2070" fmla="*/ 1005440 w 9546932"/>
                <a:gd name="connsiteY2070" fmla="*/ 2053768 h 7047620"/>
                <a:gd name="connsiteX2071" fmla="*/ 1034032 w 9546932"/>
                <a:gd name="connsiteY2071" fmla="*/ 2044236 h 7047620"/>
                <a:gd name="connsiteX2072" fmla="*/ 1062624 w 9546932"/>
                <a:gd name="connsiteY2072" fmla="*/ 2039472 h 7047620"/>
                <a:gd name="connsiteX2073" fmla="*/ 1076916 w 9546932"/>
                <a:gd name="connsiteY2073" fmla="*/ 2029944 h 7047620"/>
                <a:gd name="connsiteX2074" fmla="*/ 1095980 w 9546932"/>
                <a:gd name="connsiteY2074" fmla="*/ 2025176 h 7047620"/>
                <a:gd name="connsiteX2075" fmla="*/ 1119804 w 9546932"/>
                <a:gd name="connsiteY2075" fmla="*/ 2025176 h 7047620"/>
                <a:gd name="connsiteX2076" fmla="*/ 1129336 w 9546932"/>
                <a:gd name="connsiteY2076" fmla="*/ 2025176 h 7047620"/>
                <a:gd name="connsiteX2077" fmla="*/ 1157924 w 9546932"/>
                <a:gd name="connsiteY2077" fmla="*/ 2015648 h 7047620"/>
                <a:gd name="connsiteX2078" fmla="*/ 1205576 w 9546932"/>
                <a:gd name="connsiteY2078" fmla="*/ 2001352 h 7047620"/>
                <a:gd name="connsiteX2079" fmla="*/ 1248464 w 9546932"/>
                <a:gd name="connsiteY2079" fmla="*/ 1987056 h 7047620"/>
                <a:gd name="connsiteX2080" fmla="*/ 1262756 w 9546932"/>
                <a:gd name="connsiteY2080" fmla="*/ 1977524 h 7047620"/>
                <a:gd name="connsiteX2081" fmla="*/ 1272288 w 9546932"/>
                <a:gd name="connsiteY2081" fmla="*/ 1987056 h 7047620"/>
                <a:gd name="connsiteX2082" fmla="*/ 1277052 w 9546932"/>
                <a:gd name="connsiteY2082" fmla="*/ 2001352 h 7047620"/>
                <a:gd name="connsiteX2083" fmla="*/ 1291348 w 9546932"/>
                <a:gd name="connsiteY2083" fmla="*/ 2010880 h 7047620"/>
                <a:gd name="connsiteX2084" fmla="*/ 1300880 w 9546932"/>
                <a:gd name="connsiteY2084" fmla="*/ 2020412 h 7047620"/>
                <a:gd name="connsiteX2085" fmla="*/ 1310408 w 9546932"/>
                <a:gd name="connsiteY2085" fmla="*/ 2020412 h 7047620"/>
                <a:gd name="connsiteX2086" fmla="*/ 1329468 w 9546932"/>
                <a:gd name="connsiteY2086" fmla="*/ 2010880 h 7047620"/>
                <a:gd name="connsiteX2087" fmla="*/ 1353296 w 9546932"/>
                <a:gd name="connsiteY2087" fmla="*/ 2006116 h 7047620"/>
                <a:gd name="connsiteX2088" fmla="*/ 1358060 w 9546932"/>
                <a:gd name="connsiteY2088" fmla="*/ 2006116 h 7047620"/>
                <a:gd name="connsiteX2089" fmla="*/ 1372356 w 9546932"/>
                <a:gd name="connsiteY2089" fmla="*/ 2015648 h 7047620"/>
                <a:gd name="connsiteX2090" fmla="*/ 1386652 w 9546932"/>
                <a:gd name="connsiteY2090" fmla="*/ 2025176 h 7047620"/>
                <a:gd name="connsiteX2091" fmla="*/ 1391416 w 9546932"/>
                <a:gd name="connsiteY2091" fmla="*/ 2025176 h 7047620"/>
                <a:gd name="connsiteX2092" fmla="*/ 1396180 w 9546932"/>
                <a:gd name="connsiteY2092" fmla="*/ 2020412 h 7047620"/>
                <a:gd name="connsiteX2093" fmla="*/ 1400948 w 9546932"/>
                <a:gd name="connsiteY2093" fmla="*/ 2006116 h 7047620"/>
                <a:gd name="connsiteX2094" fmla="*/ 1405712 w 9546932"/>
                <a:gd name="connsiteY2094" fmla="*/ 1987056 h 7047620"/>
                <a:gd name="connsiteX2095" fmla="*/ 1405712 w 9546932"/>
                <a:gd name="connsiteY2095" fmla="*/ 1972760 h 7047620"/>
                <a:gd name="connsiteX2096" fmla="*/ 1405712 w 9546932"/>
                <a:gd name="connsiteY2096" fmla="*/ 1958464 h 7047620"/>
                <a:gd name="connsiteX2097" fmla="*/ 1400948 w 9546932"/>
                <a:gd name="connsiteY2097" fmla="*/ 1953700 h 7047620"/>
                <a:gd name="connsiteX2098" fmla="*/ 1381884 w 9546932"/>
                <a:gd name="connsiteY2098" fmla="*/ 1948936 h 7047620"/>
                <a:gd name="connsiteX2099" fmla="*/ 1362824 w 9546932"/>
                <a:gd name="connsiteY2099" fmla="*/ 1939404 h 7047620"/>
                <a:gd name="connsiteX2100" fmla="*/ 1358060 w 9546932"/>
                <a:gd name="connsiteY2100" fmla="*/ 1929876 h 7047620"/>
                <a:gd name="connsiteX2101" fmla="*/ 1358060 w 9546932"/>
                <a:gd name="connsiteY2101" fmla="*/ 1920344 h 7047620"/>
                <a:gd name="connsiteX2102" fmla="*/ 1362824 w 9546932"/>
                <a:gd name="connsiteY2102" fmla="*/ 1906048 h 7047620"/>
                <a:gd name="connsiteX2103" fmla="*/ 1377120 w 9546932"/>
                <a:gd name="connsiteY2103" fmla="*/ 1872692 h 7047620"/>
                <a:gd name="connsiteX2104" fmla="*/ 1391416 w 9546932"/>
                <a:gd name="connsiteY2104" fmla="*/ 1829808 h 7047620"/>
                <a:gd name="connsiteX2105" fmla="*/ 1396180 w 9546932"/>
                <a:gd name="connsiteY2105" fmla="*/ 1796452 h 7047620"/>
                <a:gd name="connsiteX2106" fmla="*/ 1420008 w 9546932"/>
                <a:gd name="connsiteY2106" fmla="*/ 1744036 h 7047620"/>
                <a:gd name="connsiteX2107" fmla="*/ 1434304 w 9546932"/>
                <a:gd name="connsiteY2107" fmla="*/ 1691620 h 7047620"/>
                <a:gd name="connsiteX2108" fmla="*/ 1462892 w 9546932"/>
                <a:gd name="connsiteY2108" fmla="*/ 1610612 h 7047620"/>
                <a:gd name="connsiteX2109" fmla="*/ 1467660 w 9546932"/>
                <a:gd name="connsiteY2109" fmla="*/ 1596316 h 7047620"/>
                <a:gd name="connsiteX2110" fmla="*/ 1467660 w 9546932"/>
                <a:gd name="connsiteY2110" fmla="*/ 1572492 h 7047620"/>
                <a:gd name="connsiteX2111" fmla="*/ 1472424 w 9546932"/>
                <a:gd name="connsiteY2111" fmla="*/ 1562960 h 7047620"/>
                <a:gd name="connsiteX2112" fmla="*/ 1481952 w 9546932"/>
                <a:gd name="connsiteY2112" fmla="*/ 1558196 h 7047620"/>
                <a:gd name="connsiteX2113" fmla="*/ 1496248 w 9546932"/>
                <a:gd name="connsiteY2113" fmla="*/ 1562960 h 7047620"/>
                <a:gd name="connsiteX2114" fmla="*/ 1534372 w 9546932"/>
                <a:gd name="connsiteY2114" fmla="*/ 1577256 h 7047620"/>
                <a:gd name="connsiteX2115" fmla="*/ 1562960 w 9546932"/>
                <a:gd name="connsiteY2115" fmla="*/ 1596316 h 7047620"/>
                <a:gd name="connsiteX2116" fmla="*/ 1577256 w 9546932"/>
                <a:gd name="connsiteY2116" fmla="*/ 1601080 h 7047620"/>
                <a:gd name="connsiteX2117" fmla="*/ 1596316 w 9546932"/>
                <a:gd name="connsiteY2117" fmla="*/ 1605844 h 7047620"/>
                <a:gd name="connsiteX2118" fmla="*/ 1624908 w 9546932"/>
                <a:gd name="connsiteY2118" fmla="*/ 1610612 h 7047620"/>
                <a:gd name="connsiteX2119" fmla="*/ 1639204 w 9546932"/>
                <a:gd name="connsiteY2119" fmla="*/ 1610612 h 7047620"/>
                <a:gd name="connsiteX2120" fmla="*/ 1653500 w 9546932"/>
                <a:gd name="connsiteY2120" fmla="*/ 1605844 h 7047620"/>
                <a:gd name="connsiteX2121" fmla="*/ 1672560 w 9546932"/>
                <a:gd name="connsiteY2121" fmla="*/ 1605844 h 7047620"/>
                <a:gd name="connsiteX2122" fmla="*/ 1705916 w 9546932"/>
                <a:gd name="connsiteY2122" fmla="*/ 1610612 h 7047620"/>
                <a:gd name="connsiteX2123" fmla="*/ 1715444 w 9546932"/>
                <a:gd name="connsiteY2123" fmla="*/ 1610612 h 7047620"/>
                <a:gd name="connsiteX2124" fmla="*/ 1724976 w 9546932"/>
                <a:gd name="connsiteY2124" fmla="*/ 1610612 h 7047620"/>
                <a:gd name="connsiteX2125" fmla="*/ 1734504 w 9546932"/>
                <a:gd name="connsiteY2125" fmla="*/ 1615376 h 7047620"/>
                <a:gd name="connsiteX2126" fmla="*/ 1739272 w 9546932"/>
                <a:gd name="connsiteY2126" fmla="*/ 1634436 h 7047620"/>
                <a:gd name="connsiteX2127" fmla="*/ 1744036 w 9546932"/>
                <a:gd name="connsiteY2127" fmla="*/ 1643968 h 7047620"/>
                <a:gd name="connsiteX2128" fmla="*/ 1758332 w 9546932"/>
                <a:gd name="connsiteY2128" fmla="*/ 1639200 h 7047620"/>
                <a:gd name="connsiteX2129" fmla="*/ 1782156 w 9546932"/>
                <a:gd name="connsiteY2129" fmla="*/ 1624908 h 7047620"/>
                <a:gd name="connsiteX2130" fmla="*/ 1796452 w 9546932"/>
                <a:gd name="connsiteY2130" fmla="*/ 1610612 h 7047620"/>
                <a:gd name="connsiteX2131" fmla="*/ 1815512 w 9546932"/>
                <a:gd name="connsiteY2131" fmla="*/ 1596316 h 7047620"/>
                <a:gd name="connsiteX2132" fmla="*/ 1834572 w 9546932"/>
                <a:gd name="connsiteY2132" fmla="*/ 1591552 h 7047620"/>
                <a:gd name="connsiteX2133" fmla="*/ 1853632 w 9546932"/>
                <a:gd name="connsiteY2133" fmla="*/ 1591552 h 7047620"/>
                <a:gd name="connsiteX2134" fmla="*/ 1863164 w 9546932"/>
                <a:gd name="connsiteY2134" fmla="*/ 1582020 h 7047620"/>
                <a:gd name="connsiteX2135" fmla="*/ 1867928 w 9546932"/>
                <a:gd name="connsiteY2135" fmla="*/ 1558196 h 7047620"/>
                <a:gd name="connsiteX2136" fmla="*/ 1882224 w 9546932"/>
                <a:gd name="connsiteY2136" fmla="*/ 1543900 h 7047620"/>
                <a:gd name="connsiteX2137" fmla="*/ 1882224 w 9546932"/>
                <a:gd name="connsiteY2137" fmla="*/ 1524840 h 7047620"/>
                <a:gd name="connsiteX2138" fmla="*/ 1877460 w 9546932"/>
                <a:gd name="connsiteY2138" fmla="*/ 1510544 h 7047620"/>
                <a:gd name="connsiteX2139" fmla="*/ 1867928 w 9546932"/>
                <a:gd name="connsiteY2139" fmla="*/ 1491484 h 7047620"/>
                <a:gd name="connsiteX2140" fmla="*/ 1867928 w 9546932"/>
                <a:gd name="connsiteY2140" fmla="*/ 1477188 h 7047620"/>
                <a:gd name="connsiteX2141" fmla="*/ 1867928 w 9546932"/>
                <a:gd name="connsiteY2141" fmla="*/ 1434300 h 7047620"/>
                <a:gd name="connsiteX2142" fmla="*/ 1858400 w 9546932"/>
                <a:gd name="connsiteY2142" fmla="*/ 1391416 h 7047620"/>
                <a:gd name="connsiteX2143" fmla="*/ 1867928 w 9546932"/>
                <a:gd name="connsiteY2143" fmla="*/ 1362824 h 7047620"/>
                <a:gd name="connsiteX2144" fmla="*/ 1877460 w 9546932"/>
                <a:gd name="connsiteY2144" fmla="*/ 1324704 h 7047620"/>
                <a:gd name="connsiteX2145" fmla="*/ 1882224 w 9546932"/>
                <a:gd name="connsiteY2145" fmla="*/ 1315172 h 7047620"/>
                <a:gd name="connsiteX2146" fmla="*/ 1886988 w 9546932"/>
                <a:gd name="connsiteY2146" fmla="*/ 1300876 h 7047620"/>
                <a:gd name="connsiteX2147" fmla="*/ 1896520 w 9546932"/>
                <a:gd name="connsiteY2147" fmla="*/ 1281816 h 7047620"/>
                <a:gd name="connsiteX2148" fmla="*/ 1906052 w 9546932"/>
                <a:gd name="connsiteY2148" fmla="*/ 1277052 h 7047620"/>
                <a:gd name="connsiteX2149" fmla="*/ 1944172 w 9546932"/>
                <a:gd name="connsiteY2149" fmla="*/ 1272288 h 7047620"/>
                <a:gd name="connsiteX2150" fmla="*/ 1977528 w 9546932"/>
                <a:gd name="connsiteY2150" fmla="*/ 1267520 h 7047620"/>
                <a:gd name="connsiteX2151" fmla="*/ 1991824 w 9546932"/>
                <a:gd name="connsiteY2151" fmla="*/ 1257992 h 7047620"/>
                <a:gd name="connsiteX2152" fmla="*/ 2010884 w 9546932"/>
                <a:gd name="connsiteY2152" fmla="*/ 1253228 h 7047620"/>
                <a:gd name="connsiteX2153" fmla="*/ 2020412 w 9546932"/>
                <a:gd name="connsiteY2153" fmla="*/ 1248460 h 7047620"/>
                <a:gd name="connsiteX2154" fmla="*/ 2039472 w 9546932"/>
                <a:gd name="connsiteY2154" fmla="*/ 1224636 h 7047620"/>
                <a:gd name="connsiteX2155" fmla="*/ 2044240 w 9546932"/>
                <a:gd name="connsiteY2155" fmla="*/ 1210340 h 7047620"/>
                <a:gd name="connsiteX2156" fmla="*/ 2053768 w 9546932"/>
                <a:gd name="connsiteY2156" fmla="*/ 1172220 h 7047620"/>
                <a:gd name="connsiteX2157" fmla="*/ 2049004 w 9546932"/>
                <a:gd name="connsiteY2157" fmla="*/ 1153160 h 7047620"/>
                <a:gd name="connsiteX2158" fmla="*/ 2053768 w 9546932"/>
                <a:gd name="connsiteY2158" fmla="*/ 1134100 h 7047620"/>
                <a:gd name="connsiteX2159" fmla="*/ 2058536 w 9546932"/>
                <a:gd name="connsiteY2159" fmla="*/ 1124568 h 7047620"/>
                <a:gd name="connsiteX2160" fmla="*/ 2072828 w 9546932"/>
                <a:gd name="connsiteY2160" fmla="*/ 1115036 h 7047620"/>
                <a:gd name="connsiteX2161" fmla="*/ 2082360 w 9546932"/>
                <a:gd name="connsiteY2161" fmla="*/ 1115036 h 7047620"/>
                <a:gd name="connsiteX2162" fmla="*/ 2096656 w 9546932"/>
                <a:gd name="connsiteY2162" fmla="*/ 1110272 h 7047620"/>
                <a:gd name="connsiteX2163" fmla="*/ 2125244 w 9546932"/>
                <a:gd name="connsiteY2163" fmla="*/ 1110272 h 7047620"/>
                <a:gd name="connsiteX2164" fmla="*/ 2139540 w 9546932"/>
                <a:gd name="connsiteY2164" fmla="*/ 1115036 h 7047620"/>
                <a:gd name="connsiteX2165" fmla="*/ 2153836 w 9546932"/>
                <a:gd name="connsiteY2165" fmla="*/ 1119804 h 7047620"/>
                <a:gd name="connsiteX2166" fmla="*/ 2163368 w 9546932"/>
                <a:gd name="connsiteY2166" fmla="*/ 1115036 h 7047620"/>
                <a:gd name="connsiteX2167" fmla="*/ 2172896 w 9546932"/>
                <a:gd name="connsiteY2167" fmla="*/ 1105508 h 7047620"/>
                <a:gd name="connsiteX2168" fmla="*/ 2182428 w 9546932"/>
                <a:gd name="connsiteY2168" fmla="*/ 1105508 h 7047620"/>
                <a:gd name="connsiteX2169" fmla="*/ 2196724 w 9546932"/>
                <a:gd name="connsiteY2169" fmla="*/ 1100744 h 7047620"/>
                <a:gd name="connsiteX2170" fmla="*/ 2211020 w 9546932"/>
                <a:gd name="connsiteY2170" fmla="*/ 1095976 h 7047620"/>
                <a:gd name="connsiteX2171" fmla="*/ 2215784 w 9546932"/>
                <a:gd name="connsiteY2171" fmla="*/ 1100744 h 7047620"/>
                <a:gd name="connsiteX2172" fmla="*/ 2220548 w 9546932"/>
                <a:gd name="connsiteY2172" fmla="*/ 1110272 h 7047620"/>
                <a:gd name="connsiteX2173" fmla="*/ 2220548 w 9546932"/>
                <a:gd name="connsiteY2173" fmla="*/ 1119804 h 7047620"/>
                <a:gd name="connsiteX2174" fmla="*/ 2220548 w 9546932"/>
                <a:gd name="connsiteY2174" fmla="*/ 1129332 h 7047620"/>
                <a:gd name="connsiteX2175" fmla="*/ 2225312 w 9546932"/>
                <a:gd name="connsiteY2175" fmla="*/ 1138864 h 7047620"/>
                <a:gd name="connsiteX2176" fmla="*/ 2225312 w 9546932"/>
                <a:gd name="connsiteY2176" fmla="*/ 1143628 h 7047620"/>
                <a:gd name="connsiteX2177" fmla="*/ 2215784 w 9546932"/>
                <a:gd name="connsiteY2177" fmla="*/ 1148392 h 7047620"/>
                <a:gd name="connsiteX2178" fmla="*/ 2211020 w 9546932"/>
                <a:gd name="connsiteY2178" fmla="*/ 1157924 h 7047620"/>
                <a:gd name="connsiteX2179" fmla="*/ 2206252 w 9546932"/>
                <a:gd name="connsiteY2179" fmla="*/ 1167456 h 7047620"/>
                <a:gd name="connsiteX2180" fmla="*/ 2215784 w 9546932"/>
                <a:gd name="connsiteY2180" fmla="*/ 1176984 h 7047620"/>
                <a:gd name="connsiteX2181" fmla="*/ 2220548 w 9546932"/>
                <a:gd name="connsiteY2181" fmla="*/ 1186516 h 7047620"/>
                <a:gd name="connsiteX2182" fmla="*/ 2239608 w 9546932"/>
                <a:gd name="connsiteY2182" fmla="*/ 1191280 h 7047620"/>
                <a:gd name="connsiteX2183" fmla="*/ 2253904 w 9546932"/>
                <a:gd name="connsiteY2183" fmla="*/ 1200812 h 7047620"/>
                <a:gd name="connsiteX2184" fmla="*/ 2258668 w 9546932"/>
                <a:gd name="connsiteY2184" fmla="*/ 1205576 h 7047620"/>
                <a:gd name="connsiteX2185" fmla="*/ 2253904 w 9546932"/>
                <a:gd name="connsiteY2185" fmla="*/ 1215104 h 7047620"/>
                <a:gd name="connsiteX2186" fmla="*/ 2249140 w 9546932"/>
                <a:gd name="connsiteY2186" fmla="*/ 1224636 h 7047620"/>
                <a:gd name="connsiteX2187" fmla="*/ 2244372 w 9546932"/>
                <a:gd name="connsiteY2187" fmla="*/ 1229400 h 7047620"/>
                <a:gd name="connsiteX2188" fmla="*/ 2239608 w 9546932"/>
                <a:gd name="connsiteY2188" fmla="*/ 1234164 h 7047620"/>
                <a:gd name="connsiteX2189" fmla="*/ 2244372 w 9546932"/>
                <a:gd name="connsiteY2189" fmla="*/ 1243696 h 7047620"/>
                <a:gd name="connsiteX2190" fmla="*/ 2258668 w 9546932"/>
                <a:gd name="connsiteY2190" fmla="*/ 1248460 h 7047620"/>
                <a:gd name="connsiteX2191" fmla="*/ 2272964 w 9546932"/>
                <a:gd name="connsiteY2191" fmla="*/ 1253228 h 7047620"/>
                <a:gd name="connsiteX2192" fmla="*/ 2296792 w 9546932"/>
                <a:gd name="connsiteY2192" fmla="*/ 1262756 h 7047620"/>
                <a:gd name="connsiteX2193" fmla="*/ 2311084 w 9546932"/>
                <a:gd name="connsiteY2193" fmla="*/ 1277052 h 7047620"/>
                <a:gd name="connsiteX2194" fmla="*/ 2330148 w 9546932"/>
                <a:gd name="connsiteY2194" fmla="*/ 1281816 h 7047620"/>
                <a:gd name="connsiteX2195" fmla="*/ 2334912 w 9546932"/>
                <a:gd name="connsiteY2195" fmla="*/ 1296112 h 7047620"/>
                <a:gd name="connsiteX2196" fmla="*/ 2334912 w 9546932"/>
                <a:gd name="connsiteY2196" fmla="*/ 1319940 h 7047620"/>
                <a:gd name="connsiteX2197" fmla="*/ 2353972 w 9546932"/>
                <a:gd name="connsiteY2197" fmla="*/ 1334232 h 7047620"/>
                <a:gd name="connsiteX2198" fmla="*/ 2377796 w 9546932"/>
                <a:gd name="connsiteY2198" fmla="*/ 1348528 h 7047620"/>
                <a:gd name="connsiteX2199" fmla="*/ 2392092 w 9546932"/>
                <a:gd name="connsiteY2199" fmla="*/ 1353296 h 7047620"/>
                <a:gd name="connsiteX2200" fmla="*/ 2396860 w 9546932"/>
                <a:gd name="connsiteY2200" fmla="*/ 1362824 h 7047620"/>
                <a:gd name="connsiteX2201" fmla="*/ 2411152 w 9546932"/>
                <a:gd name="connsiteY2201" fmla="*/ 1372356 h 7047620"/>
                <a:gd name="connsiteX2202" fmla="*/ 2420684 w 9546932"/>
                <a:gd name="connsiteY2202" fmla="*/ 1377120 h 7047620"/>
                <a:gd name="connsiteX2203" fmla="*/ 2434980 w 9546932"/>
                <a:gd name="connsiteY2203" fmla="*/ 1377120 h 7047620"/>
                <a:gd name="connsiteX2204" fmla="*/ 2454040 w 9546932"/>
                <a:gd name="connsiteY2204" fmla="*/ 1367588 h 7047620"/>
                <a:gd name="connsiteX2205" fmla="*/ 2477864 w 9546932"/>
                <a:gd name="connsiteY2205" fmla="*/ 1367588 h 7047620"/>
                <a:gd name="connsiteX2206" fmla="*/ 2492160 w 9546932"/>
                <a:gd name="connsiteY2206" fmla="*/ 1372356 h 7047620"/>
                <a:gd name="connsiteX2207" fmla="*/ 2501692 w 9546932"/>
                <a:gd name="connsiteY2207" fmla="*/ 1396180 h 7047620"/>
                <a:gd name="connsiteX2208" fmla="*/ 2511220 w 9546932"/>
                <a:gd name="connsiteY2208" fmla="*/ 1400944 h 7047620"/>
                <a:gd name="connsiteX2209" fmla="*/ 2515988 w 9546932"/>
                <a:gd name="connsiteY2209" fmla="*/ 1405712 h 7047620"/>
                <a:gd name="connsiteX2210" fmla="*/ 2525516 w 9546932"/>
                <a:gd name="connsiteY2210" fmla="*/ 1415240 h 7047620"/>
                <a:gd name="connsiteX2211" fmla="*/ 2535048 w 9546932"/>
                <a:gd name="connsiteY2211" fmla="*/ 1415240 h 7047620"/>
                <a:gd name="connsiteX2212" fmla="*/ 2544576 w 9546932"/>
                <a:gd name="connsiteY2212" fmla="*/ 1410476 h 7047620"/>
                <a:gd name="connsiteX2213" fmla="*/ 2554108 w 9546932"/>
                <a:gd name="connsiteY2213" fmla="*/ 1400944 h 7047620"/>
                <a:gd name="connsiteX2214" fmla="*/ 2563636 w 9546932"/>
                <a:gd name="connsiteY2214" fmla="*/ 1400944 h 7047620"/>
                <a:gd name="connsiteX2215" fmla="*/ 2568404 w 9546932"/>
                <a:gd name="connsiteY2215" fmla="*/ 1405712 h 7047620"/>
                <a:gd name="connsiteX2216" fmla="*/ 2568404 w 9546932"/>
                <a:gd name="connsiteY2216" fmla="*/ 1420004 h 7047620"/>
                <a:gd name="connsiteX2217" fmla="*/ 2577932 w 9546932"/>
                <a:gd name="connsiteY2217" fmla="*/ 1434300 h 7047620"/>
                <a:gd name="connsiteX2218" fmla="*/ 2587464 w 9546932"/>
                <a:gd name="connsiteY2218" fmla="*/ 1443832 h 7047620"/>
                <a:gd name="connsiteX2219" fmla="*/ 2606524 w 9546932"/>
                <a:gd name="connsiteY2219" fmla="*/ 1448596 h 7047620"/>
                <a:gd name="connsiteX2220" fmla="*/ 2611288 w 9546932"/>
                <a:gd name="connsiteY2220" fmla="*/ 1453360 h 7047620"/>
                <a:gd name="connsiteX2221" fmla="*/ 2611288 w 9546932"/>
                <a:gd name="connsiteY2221" fmla="*/ 1467656 h 7047620"/>
                <a:gd name="connsiteX2222" fmla="*/ 2620820 w 9546932"/>
                <a:gd name="connsiteY2222" fmla="*/ 1477188 h 7047620"/>
                <a:gd name="connsiteX2223" fmla="*/ 2625584 w 9546932"/>
                <a:gd name="connsiteY2223" fmla="*/ 1486716 h 7047620"/>
                <a:gd name="connsiteX2224" fmla="*/ 2630348 w 9546932"/>
                <a:gd name="connsiteY2224" fmla="*/ 1510544 h 7047620"/>
                <a:gd name="connsiteX2225" fmla="*/ 2635116 w 9546932"/>
                <a:gd name="connsiteY2225" fmla="*/ 1529604 h 7047620"/>
                <a:gd name="connsiteX2226" fmla="*/ 2635116 w 9546932"/>
                <a:gd name="connsiteY2226" fmla="*/ 1539136 h 7047620"/>
                <a:gd name="connsiteX2227" fmla="*/ 2644644 w 9546932"/>
                <a:gd name="connsiteY2227" fmla="*/ 1553428 h 7047620"/>
                <a:gd name="connsiteX2228" fmla="*/ 2658940 w 9546932"/>
                <a:gd name="connsiteY2228" fmla="*/ 1582020 h 7047620"/>
                <a:gd name="connsiteX2229" fmla="*/ 2673236 w 9546932"/>
                <a:gd name="connsiteY2229" fmla="*/ 1601080 h 7047620"/>
                <a:gd name="connsiteX2230" fmla="*/ 2682764 w 9546932"/>
                <a:gd name="connsiteY2230" fmla="*/ 1605844 h 7047620"/>
                <a:gd name="connsiteX2231" fmla="*/ 2697060 w 9546932"/>
                <a:gd name="connsiteY2231" fmla="*/ 1615376 h 7047620"/>
                <a:gd name="connsiteX2232" fmla="*/ 2701828 w 9546932"/>
                <a:gd name="connsiteY2232" fmla="*/ 1629672 h 7047620"/>
                <a:gd name="connsiteX2233" fmla="*/ 2711356 w 9546932"/>
                <a:gd name="connsiteY2233" fmla="*/ 1663028 h 7047620"/>
                <a:gd name="connsiteX2234" fmla="*/ 2716120 w 9546932"/>
                <a:gd name="connsiteY2234" fmla="*/ 1682088 h 7047620"/>
                <a:gd name="connsiteX2235" fmla="*/ 2716120 w 9546932"/>
                <a:gd name="connsiteY2235" fmla="*/ 1696384 h 7047620"/>
                <a:gd name="connsiteX2236" fmla="*/ 2720888 w 9546932"/>
                <a:gd name="connsiteY2236" fmla="*/ 1701148 h 7047620"/>
                <a:gd name="connsiteX2237" fmla="*/ 2720888 w 9546932"/>
                <a:gd name="connsiteY2237" fmla="*/ 1710680 h 7047620"/>
                <a:gd name="connsiteX2238" fmla="*/ 2711356 w 9546932"/>
                <a:gd name="connsiteY2238" fmla="*/ 1744036 h 7047620"/>
                <a:gd name="connsiteX2239" fmla="*/ 2701828 w 9546932"/>
                <a:gd name="connsiteY2239" fmla="*/ 1758328 h 7047620"/>
                <a:gd name="connsiteX2240" fmla="*/ 2701828 w 9546932"/>
                <a:gd name="connsiteY2240" fmla="*/ 1767860 h 7047620"/>
                <a:gd name="connsiteX2241" fmla="*/ 2706592 w 9546932"/>
                <a:gd name="connsiteY2241" fmla="*/ 1791684 h 7047620"/>
                <a:gd name="connsiteX2242" fmla="*/ 2716120 w 9546932"/>
                <a:gd name="connsiteY2242" fmla="*/ 1805980 h 7047620"/>
                <a:gd name="connsiteX2243" fmla="*/ 2716120 w 9546932"/>
                <a:gd name="connsiteY2243" fmla="*/ 1825040 h 7047620"/>
                <a:gd name="connsiteX2244" fmla="*/ 2711356 w 9546932"/>
                <a:gd name="connsiteY2244" fmla="*/ 1834572 h 7047620"/>
                <a:gd name="connsiteX2245" fmla="*/ 2697060 w 9546932"/>
                <a:gd name="connsiteY2245" fmla="*/ 1848868 h 7047620"/>
                <a:gd name="connsiteX2246" fmla="*/ 2692296 w 9546932"/>
                <a:gd name="connsiteY2246" fmla="*/ 1858396 h 7047620"/>
                <a:gd name="connsiteX2247" fmla="*/ 2682764 w 9546932"/>
                <a:gd name="connsiteY2247" fmla="*/ 1863164 h 7047620"/>
                <a:gd name="connsiteX2248" fmla="*/ 2668472 w 9546932"/>
                <a:gd name="connsiteY2248" fmla="*/ 1891752 h 7047620"/>
                <a:gd name="connsiteX2249" fmla="*/ 2663704 w 9546932"/>
                <a:gd name="connsiteY2249" fmla="*/ 1920344 h 7047620"/>
                <a:gd name="connsiteX2250" fmla="*/ 2663704 w 9546932"/>
                <a:gd name="connsiteY2250" fmla="*/ 1934640 h 7047620"/>
                <a:gd name="connsiteX2251" fmla="*/ 2668472 w 9546932"/>
                <a:gd name="connsiteY2251" fmla="*/ 1948936 h 7047620"/>
                <a:gd name="connsiteX2252" fmla="*/ 2678000 w 9546932"/>
                <a:gd name="connsiteY2252" fmla="*/ 1963232 h 7047620"/>
                <a:gd name="connsiteX2253" fmla="*/ 2678000 w 9546932"/>
                <a:gd name="connsiteY2253" fmla="*/ 1972760 h 7047620"/>
                <a:gd name="connsiteX2254" fmla="*/ 2692296 w 9546932"/>
                <a:gd name="connsiteY2254" fmla="*/ 1996588 h 7047620"/>
                <a:gd name="connsiteX2255" fmla="*/ 2697060 w 9546932"/>
                <a:gd name="connsiteY2255" fmla="*/ 2010880 h 7047620"/>
                <a:gd name="connsiteX2256" fmla="*/ 2701828 w 9546932"/>
                <a:gd name="connsiteY2256" fmla="*/ 2010880 h 7047620"/>
                <a:gd name="connsiteX2257" fmla="*/ 2706592 w 9546932"/>
                <a:gd name="connsiteY2257" fmla="*/ 2006116 h 7047620"/>
                <a:gd name="connsiteX2258" fmla="*/ 2725652 w 9546932"/>
                <a:gd name="connsiteY2258" fmla="*/ 2006116 h 7047620"/>
                <a:gd name="connsiteX2259" fmla="*/ 2735184 w 9546932"/>
                <a:gd name="connsiteY2259" fmla="*/ 2010880 h 7047620"/>
                <a:gd name="connsiteX2260" fmla="*/ 2749476 w 9546932"/>
                <a:gd name="connsiteY2260" fmla="*/ 2020412 h 7047620"/>
                <a:gd name="connsiteX2261" fmla="*/ 2763772 w 9546932"/>
                <a:gd name="connsiteY2261" fmla="*/ 2025176 h 7047620"/>
                <a:gd name="connsiteX2262" fmla="*/ 2782832 w 9546932"/>
                <a:gd name="connsiteY2262" fmla="*/ 2025176 h 7047620"/>
                <a:gd name="connsiteX2263" fmla="*/ 2797128 w 9546932"/>
                <a:gd name="connsiteY2263" fmla="*/ 2029944 h 7047620"/>
                <a:gd name="connsiteX2264" fmla="*/ 2806660 w 9546932"/>
                <a:gd name="connsiteY2264" fmla="*/ 2034708 h 7047620"/>
                <a:gd name="connsiteX2265" fmla="*/ 2830484 w 9546932"/>
                <a:gd name="connsiteY2265" fmla="*/ 2039472 h 7047620"/>
                <a:gd name="connsiteX2266" fmla="*/ 2878136 w 9546932"/>
                <a:gd name="connsiteY2266" fmla="*/ 2039472 h 7047620"/>
                <a:gd name="connsiteX2267" fmla="*/ 2897196 w 9546932"/>
                <a:gd name="connsiteY2267" fmla="*/ 2044236 h 7047620"/>
                <a:gd name="connsiteX2268" fmla="*/ 2940084 w 9546932"/>
                <a:gd name="connsiteY2268" fmla="*/ 2053768 h 7047620"/>
                <a:gd name="connsiteX2269" fmla="*/ 2963908 w 9546932"/>
                <a:gd name="connsiteY2269" fmla="*/ 2049004 h 7047620"/>
                <a:gd name="connsiteX2270" fmla="*/ 2997264 w 9546932"/>
                <a:gd name="connsiteY2270" fmla="*/ 2044236 h 7047620"/>
                <a:gd name="connsiteX2271" fmla="*/ 3016324 w 9546932"/>
                <a:gd name="connsiteY2271" fmla="*/ 2049004 h 7047620"/>
                <a:gd name="connsiteX2272" fmla="*/ 3073508 w 9546932"/>
                <a:gd name="connsiteY2272" fmla="*/ 2058532 h 7047620"/>
                <a:gd name="connsiteX2273" fmla="*/ 3106864 w 9546932"/>
                <a:gd name="connsiteY2273" fmla="*/ 2068064 h 7047620"/>
                <a:gd name="connsiteX2274" fmla="*/ 3130688 w 9546932"/>
                <a:gd name="connsiteY2274" fmla="*/ 2077592 h 7047620"/>
                <a:gd name="connsiteX2275" fmla="*/ 3144984 w 9546932"/>
                <a:gd name="connsiteY2275" fmla="*/ 2091888 h 7047620"/>
                <a:gd name="connsiteX2276" fmla="*/ 3164044 w 9546932"/>
                <a:gd name="connsiteY2276" fmla="*/ 2115716 h 7047620"/>
                <a:gd name="connsiteX2277" fmla="*/ 3178340 w 9546932"/>
                <a:gd name="connsiteY2277" fmla="*/ 2125244 h 7047620"/>
                <a:gd name="connsiteX2278" fmla="*/ 3216460 w 9546932"/>
                <a:gd name="connsiteY2278" fmla="*/ 2130008 h 7047620"/>
                <a:gd name="connsiteX2279" fmla="*/ 3240284 w 9546932"/>
                <a:gd name="connsiteY2279" fmla="*/ 2158600 h 7047620"/>
                <a:gd name="connsiteX2280" fmla="*/ 3259348 w 9546932"/>
                <a:gd name="connsiteY2280" fmla="*/ 2168132 h 7047620"/>
                <a:gd name="connsiteX2281" fmla="*/ 3297468 w 9546932"/>
                <a:gd name="connsiteY2281" fmla="*/ 2196720 h 7047620"/>
                <a:gd name="connsiteX2282" fmla="*/ 3321292 w 9546932"/>
                <a:gd name="connsiteY2282" fmla="*/ 2206252 h 7047620"/>
                <a:gd name="connsiteX2283" fmla="*/ 3349884 w 9546932"/>
                <a:gd name="connsiteY2283" fmla="*/ 2215784 h 7047620"/>
                <a:gd name="connsiteX2284" fmla="*/ 3392768 w 9546932"/>
                <a:gd name="connsiteY2284" fmla="*/ 2211016 h 7047620"/>
                <a:gd name="connsiteX2285" fmla="*/ 3397536 w 9546932"/>
                <a:gd name="connsiteY2285" fmla="*/ 2215784 h 7047620"/>
                <a:gd name="connsiteX2286" fmla="*/ 3392768 w 9546932"/>
                <a:gd name="connsiteY2286" fmla="*/ 2230076 h 7047620"/>
                <a:gd name="connsiteX2287" fmla="*/ 3392768 w 9546932"/>
                <a:gd name="connsiteY2287" fmla="*/ 2249140 h 7047620"/>
                <a:gd name="connsiteX2288" fmla="*/ 3392768 w 9546932"/>
                <a:gd name="connsiteY2288" fmla="*/ 2263432 h 7047620"/>
                <a:gd name="connsiteX2289" fmla="*/ 3397536 w 9546932"/>
                <a:gd name="connsiteY2289" fmla="*/ 2272964 h 7047620"/>
                <a:gd name="connsiteX2290" fmla="*/ 3411832 w 9546932"/>
                <a:gd name="connsiteY2290" fmla="*/ 2277728 h 7047620"/>
                <a:gd name="connsiteX2291" fmla="*/ 3421360 w 9546932"/>
                <a:gd name="connsiteY2291" fmla="*/ 2282496 h 7047620"/>
                <a:gd name="connsiteX2292" fmla="*/ 3430892 w 9546932"/>
                <a:gd name="connsiteY2292" fmla="*/ 2296788 h 7047620"/>
                <a:gd name="connsiteX2293" fmla="*/ 3430892 w 9546932"/>
                <a:gd name="connsiteY2293" fmla="*/ 2306320 h 7047620"/>
                <a:gd name="connsiteX2294" fmla="*/ 3449952 w 9546932"/>
                <a:gd name="connsiteY2294" fmla="*/ 2344440 h 7047620"/>
                <a:gd name="connsiteX2295" fmla="*/ 3473776 w 9546932"/>
                <a:gd name="connsiteY2295" fmla="*/ 2406388 h 7047620"/>
                <a:gd name="connsiteX2296" fmla="*/ 3473776 w 9546932"/>
                <a:gd name="connsiteY2296" fmla="*/ 2430212 h 7047620"/>
                <a:gd name="connsiteX2297" fmla="*/ 3483308 w 9546932"/>
                <a:gd name="connsiteY2297" fmla="*/ 2444508 h 7047620"/>
                <a:gd name="connsiteX2298" fmla="*/ 3507132 w 9546932"/>
                <a:gd name="connsiteY2298" fmla="*/ 2468332 h 7047620"/>
                <a:gd name="connsiteX2299" fmla="*/ 3521428 w 9546932"/>
                <a:gd name="connsiteY2299" fmla="*/ 2482628 h 7047620"/>
                <a:gd name="connsiteX2300" fmla="*/ 3545252 w 9546932"/>
                <a:gd name="connsiteY2300" fmla="*/ 2501688 h 7047620"/>
                <a:gd name="connsiteX2301" fmla="*/ 3550020 w 9546932"/>
                <a:gd name="connsiteY2301" fmla="*/ 2520752 h 7047620"/>
                <a:gd name="connsiteX2302" fmla="*/ 3550020 w 9546932"/>
                <a:gd name="connsiteY2302" fmla="*/ 2544576 h 7047620"/>
                <a:gd name="connsiteX2303" fmla="*/ 3554784 w 9546932"/>
                <a:gd name="connsiteY2303" fmla="*/ 2549340 h 7047620"/>
                <a:gd name="connsiteX2304" fmla="*/ 3592904 w 9546932"/>
                <a:gd name="connsiteY2304" fmla="*/ 2544576 h 7047620"/>
                <a:gd name="connsiteX2305" fmla="*/ 3626260 w 9546932"/>
                <a:gd name="connsiteY2305" fmla="*/ 2539812 h 7047620"/>
                <a:gd name="connsiteX2306" fmla="*/ 3683444 w 9546932"/>
                <a:gd name="connsiteY2306" fmla="*/ 2535044 h 7047620"/>
                <a:gd name="connsiteX2307" fmla="*/ 3764448 w 9546932"/>
                <a:gd name="connsiteY2307" fmla="*/ 2544576 h 7047620"/>
                <a:gd name="connsiteX2308" fmla="*/ 3843076 w 9546932"/>
                <a:gd name="connsiteY2308" fmla="*/ 2554108 h 7047620"/>
                <a:gd name="connsiteX2309" fmla="*/ 3919316 w 9546932"/>
                <a:gd name="connsiteY2309" fmla="*/ 2563636 h 7047620"/>
                <a:gd name="connsiteX2310" fmla="*/ 3952672 w 9546932"/>
                <a:gd name="connsiteY2310" fmla="*/ 2568400 h 7047620"/>
                <a:gd name="connsiteX2311" fmla="*/ 4033680 w 9546932"/>
                <a:gd name="connsiteY2311" fmla="*/ 2577932 h 7047620"/>
                <a:gd name="connsiteX2312" fmla="*/ 4081332 w 9546932"/>
                <a:gd name="connsiteY2312" fmla="*/ 2568400 h 7047620"/>
                <a:gd name="connsiteX2313" fmla="*/ 4114688 w 9546932"/>
                <a:gd name="connsiteY2313" fmla="*/ 2558872 h 7047620"/>
                <a:gd name="connsiteX2314" fmla="*/ 4133748 w 9546932"/>
                <a:gd name="connsiteY2314" fmla="*/ 2558872 h 7047620"/>
                <a:gd name="connsiteX2315" fmla="*/ 4200460 w 9546932"/>
                <a:gd name="connsiteY2315" fmla="*/ 2568400 h 7047620"/>
                <a:gd name="connsiteX2316" fmla="*/ 4238580 w 9546932"/>
                <a:gd name="connsiteY2316" fmla="*/ 2577932 h 7047620"/>
                <a:gd name="connsiteX2317" fmla="*/ 4290996 w 9546932"/>
                <a:gd name="connsiteY2317" fmla="*/ 2582696 h 7047620"/>
                <a:gd name="connsiteX2318" fmla="*/ 4324352 w 9546932"/>
                <a:gd name="connsiteY2318" fmla="*/ 2587464 h 7047620"/>
                <a:gd name="connsiteX2319" fmla="*/ 4352944 w 9546932"/>
                <a:gd name="connsiteY2319" fmla="*/ 2587464 h 7047620"/>
                <a:gd name="connsiteX2320" fmla="*/ 4367240 w 9546932"/>
                <a:gd name="connsiteY2320" fmla="*/ 2587464 h 7047620"/>
                <a:gd name="connsiteX2321" fmla="*/ 4376768 w 9546932"/>
                <a:gd name="connsiteY2321" fmla="*/ 2592228 h 7047620"/>
                <a:gd name="connsiteX2322" fmla="*/ 4386300 w 9546932"/>
                <a:gd name="connsiteY2322" fmla="*/ 2601756 h 7047620"/>
                <a:gd name="connsiteX2323" fmla="*/ 4410124 w 9546932"/>
                <a:gd name="connsiteY2323" fmla="*/ 2639880 h 7047620"/>
                <a:gd name="connsiteX2324" fmla="*/ 4429184 w 9546932"/>
                <a:gd name="connsiteY2324" fmla="*/ 2654172 h 7047620"/>
                <a:gd name="connsiteX2325" fmla="*/ 4457776 w 9546932"/>
                <a:gd name="connsiteY2325" fmla="*/ 2668468 h 7047620"/>
                <a:gd name="connsiteX2326" fmla="*/ 4519724 w 9546932"/>
                <a:gd name="connsiteY2326" fmla="*/ 2678000 h 7047620"/>
                <a:gd name="connsiteX2327" fmla="*/ 4557844 w 9546932"/>
                <a:gd name="connsiteY2327" fmla="*/ 2687528 h 7047620"/>
                <a:gd name="connsiteX2328" fmla="*/ 4600728 w 9546932"/>
                <a:gd name="connsiteY2328" fmla="*/ 2697060 h 7047620"/>
                <a:gd name="connsiteX2329" fmla="*/ 4624556 w 9546932"/>
                <a:gd name="connsiteY2329" fmla="*/ 2711356 h 7047620"/>
                <a:gd name="connsiteX2330" fmla="*/ 4657912 w 9546932"/>
                <a:gd name="connsiteY2330" fmla="*/ 2730416 h 7047620"/>
                <a:gd name="connsiteX2331" fmla="*/ 4700796 w 9546932"/>
                <a:gd name="connsiteY2331" fmla="*/ 2754240 h 7047620"/>
                <a:gd name="connsiteX2332" fmla="*/ 4743684 w 9546932"/>
                <a:gd name="connsiteY2332" fmla="*/ 2744712 h 7047620"/>
                <a:gd name="connsiteX2333" fmla="*/ 4791336 w 9546932"/>
                <a:gd name="connsiteY2333" fmla="*/ 2730416 h 7047620"/>
                <a:gd name="connsiteX2334" fmla="*/ 4819924 w 9546932"/>
                <a:gd name="connsiteY2334" fmla="*/ 2725652 h 7047620"/>
                <a:gd name="connsiteX2335" fmla="*/ 4819924 w 9546932"/>
                <a:gd name="connsiteY2335" fmla="*/ 2773304 h 7047620"/>
                <a:gd name="connsiteX2336" fmla="*/ 4862812 w 9546932"/>
                <a:gd name="connsiteY2336" fmla="*/ 2773304 h 7047620"/>
                <a:gd name="connsiteX2337" fmla="*/ 4877108 w 9546932"/>
                <a:gd name="connsiteY2337" fmla="*/ 2773304 h 7047620"/>
                <a:gd name="connsiteX2338" fmla="*/ 4896168 w 9546932"/>
                <a:gd name="connsiteY2338" fmla="*/ 2782832 h 7047620"/>
                <a:gd name="connsiteX2339" fmla="*/ 4905700 w 9546932"/>
                <a:gd name="connsiteY2339" fmla="*/ 2782832 h 7047620"/>
                <a:gd name="connsiteX2340" fmla="*/ 4919992 w 9546932"/>
                <a:gd name="connsiteY2340" fmla="*/ 2768536 h 7047620"/>
                <a:gd name="connsiteX2341" fmla="*/ 4929524 w 9546932"/>
                <a:gd name="connsiteY2341" fmla="*/ 2754240 h 7047620"/>
                <a:gd name="connsiteX2342" fmla="*/ 4948584 w 9546932"/>
                <a:gd name="connsiteY2342" fmla="*/ 2749476 h 7047620"/>
                <a:gd name="connsiteX2343" fmla="*/ 4981940 w 9546932"/>
                <a:gd name="connsiteY2343" fmla="*/ 2730416 h 7047620"/>
                <a:gd name="connsiteX2344" fmla="*/ 5034356 w 9546932"/>
                <a:gd name="connsiteY2344" fmla="*/ 2701824 h 7047620"/>
                <a:gd name="connsiteX2345" fmla="*/ 5105832 w 9546932"/>
                <a:gd name="connsiteY2345" fmla="*/ 2668468 h 7047620"/>
                <a:gd name="connsiteX2346" fmla="*/ 5139188 w 9546932"/>
                <a:gd name="connsiteY2346" fmla="*/ 2654172 h 7047620"/>
                <a:gd name="connsiteX2347" fmla="*/ 5148720 w 9546932"/>
                <a:gd name="connsiteY2347" fmla="*/ 2654172 h 7047620"/>
                <a:gd name="connsiteX2348" fmla="*/ 5163016 w 9546932"/>
                <a:gd name="connsiteY2348" fmla="*/ 2644644 h 7047620"/>
                <a:gd name="connsiteX2349" fmla="*/ 5177308 w 9546932"/>
                <a:gd name="connsiteY2349" fmla="*/ 2639880 h 7047620"/>
                <a:gd name="connsiteX2350" fmla="*/ 5196372 w 9546932"/>
                <a:gd name="connsiteY2350" fmla="*/ 2635112 h 7047620"/>
                <a:gd name="connsiteX2351" fmla="*/ 5224960 w 9546932"/>
                <a:gd name="connsiteY2351" fmla="*/ 2630348 h 7047620"/>
                <a:gd name="connsiteX2352" fmla="*/ 5258316 w 9546932"/>
                <a:gd name="connsiteY2352" fmla="*/ 2625584 h 7047620"/>
                <a:gd name="connsiteX2353" fmla="*/ 5329796 w 9546932"/>
                <a:gd name="connsiteY2353" fmla="*/ 2616052 h 7047620"/>
                <a:gd name="connsiteX2354" fmla="*/ 5339324 w 9546932"/>
                <a:gd name="connsiteY2354" fmla="*/ 2616052 h 7047620"/>
                <a:gd name="connsiteX2355" fmla="*/ 5377444 w 9546932"/>
                <a:gd name="connsiteY2355" fmla="*/ 2611288 h 7047620"/>
                <a:gd name="connsiteX2356" fmla="*/ 5396508 w 9546932"/>
                <a:gd name="connsiteY2356" fmla="*/ 2606524 h 7047620"/>
                <a:gd name="connsiteX2357" fmla="*/ 5420332 w 9546932"/>
                <a:gd name="connsiteY2357" fmla="*/ 2606524 h 7047620"/>
                <a:gd name="connsiteX2358" fmla="*/ 5453688 w 9546932"/>
                <a:gd name="connsiteY2358" fmla="*/ 2611288 h 7047620"/>
                <a:gd name="connsiteX2359" fmla="*/ 5477512 w 9546932"/>
                <a:gd name="connsiteY2359" fmla="*/ 2611288 h 7047620"/>
                <a:gd name="connsiteX2360" fmla="*/ 5506104 w 9546932"/>
                <a:gd name="connsiteY2360" fmla="*/ 2611288 h 7047620"/>
                <a:gd name="connsiteX2361" fmla="*/ 5544224 w 9546932"/>
                <a:gd name="connsiteY2361" fmla="*/ 2606524 h 7047620"/>
                <a:gd name="connsiteX2362" fmla="*/ 5577580 w 9546932"/>
                <a:gd name="connsiteY2362" fmla="*/ 2606524 h 7047620"/>
                <a:gd name="connsiteX2363" fmla="*/ 5591876 w 9546932"/>
                <a:gd name="connsiteY2363" fmla="*/ 2601756 h 7047620"/>
                <a:gd name="connsiteX2364" fmla="*/ 5615700 w 9546932"/>
                <a:gd name="connsiteY2364" fmla="*/ 2592228 h 7047620"/>
                <a:gd name="connsiteX2365" fmla="*/ 5634764 w 9546932"/>
                <a:gd name="connsiteY2365" fmla="*/ 2582696 h 7047620"/>
                <a:gd name="connsiteX2366" fmla="*/ 5658588 w 9546932"/>
                <a:gd name="connsiteY2366" fmla="*/ 2573168 h 7047620"/>
                <a:gd name="connsiteX2367" fmla="*/ 5691944 w 9546932"/>
                <a:gd name="connsiteY2367" fmla="*/ 2558872 h 7047620"/>
                <a:gd name="connsiteX2368" fmla="*/ 5711004 w 9546932"/>
                <a:gd name="connsiteY2368" fmla="*/ 2549340 h 7047620"/>
                <a:gd name="connsiteX2369" fmla="*/ 5725300 w 9546932"/>
                <a:gd name="connsiteY2369" fmla="*/ 2544576 h 7047620"/>
                <a:gd name="connsiteX2370" fmla="*/ 5744360 w 9546932"/>
                <a:gd name="connsiteY2370" fmla="*/ 2535044 h 7047620"/>
                <a:gd name="connsiteX2371" fmla="*/ 5749124 w 9546932"/>
                <a:gd name="connsiteY2371" fmla="*/ 2530280 h 7047620"/>
                <a:gd name="connsiteX2372" fmla="*/ 5753892 w 9546932"/>
                <a:gd name="connsiteY2372" fmla="*/ 2520752 h 7047620"/>
                <a:gd name="connsiteX2373" fmla="*/ 5763420 w 9546932"/>
                <a:gd name="connsiteY2373" fmla="*/ 2511220 h 7047620"/>
                <a:gd name="connsiteX2374" fmla="*/ 5777716 w 9546932"/>
                <a:gd name="connsiteY2374" fmla="*/ 2492160 h 7047620"/>
                <a:gd name="connsiteX2375" fmla="*/ 5792012 w 9546932"/>
                <a:gd name="connsiteY2375" fmla="*/ 2473100 h 7047620"/>
                <a:gd name="connsiteX2376" fmla="*/ 5796776 w 9546932"/>
                <a:gd name="connsiteY2376" fmla="*/ 2463568 h 7047620"/>
                <a:gd name="connsiteX2377" fmla="*/ 5811072 w 9546932"/>
                <a:gd name="connsiteY2377" fmla="*/ 2444508 h 7047620"/>
                <a:gd name="connsiteX2378" fmla="*/ 5825368 w 9546932"/>
                <a:gd name="connsiteY2378" fmla="*/ 2434980 h 7047620"/>
                <a:gd name="connsiteX2379" fmla="*/ 5839664 w 9546932"/>
                <a:gd name="connsiteY2379" fmla="*/ 2415916 h 7047620"/>
                <a:gd name="connsiteX2380" fmla="*/ 5849192 w 9546932"/>
                <a:gd name="connsiteY2380" fmla="*/ 2411152 h 7047620"/>
                <a:gd name="connsiteX2381" fmla="*/ 5868252 w 9546932"/>
                <a:gd name="connsiteY2381" fmla="*/ 2401624 h 7047620"/>
                <a:gd name="connsiteX2382" fmla="*/ 5906376 w 9546932"/>
                <a:gd name="connsiteY2382" fmla="*/ 2387328 h 7047620"/>
                <a:gd name="connsiteX2383" fmla="*/ 5915904 w 9546932"/>
                <a:gd name="connsiteY2383" fmla="*/ 2382560 h 7047620"/>
                <a:gd name="connsiteX2384" fmla="*/ 5920668 w 9546932"/>
                <a:gd name="connsiteY2384" fmla="*/ 2382560 h 7047620"/>
                <a:gd name="connsiteX2385" fmla="*/ 5934964 w 9546932"/>
                <a:gd name="connsiteY2385" fmla="*/ 2368268 h 7047620"/>
                <a:gd name="connsiteX2386" fmla="*/ 5949260 w 9546932"/>
                <a:gd name="connsiteY2386" fmla="*/ 2353972 h 7047620"/>
                <a:gd name="connsiteX2387" fmla="*/ 5958792 w 9546932"/>
                <a:gd name="connsiteY2387" fmla="*/ 2344440 h 7047620"/>
                <a:gd name="connsiteX2388" fmla="*/ 5973088 w 9546932"/>
                <a:gd name="connsiteY2388" fmla="*/ 2339676 h 7047620"/>
                <a:gd name="connsiteX2389" fmla="*/ 5982616 w 9546932"/>
                <a:gd name="connsiteY2389" fmla="*/ 2334912 h 7047620"/>
                <a:gd name="connsiteX2390" fmla="*/ 5982616 w 9546932"/>
                <a:gd name="connsiteY2390" fmla="*/ 2325380 h 7047620"/>
                <a:gd name="connsiteX2391" fmla="*/ 5982616 w 9546932"/>
                <a:gd name="connsiteY2391" fmla="*/ 2311084 h 7047620"/>
                <a:gd name="connsiteX2392" fmla="*/ 5973088 w 9546932"/>
                <a:gd name="connsiteY2392" fmla="*/ 2296788 h 7047620"/>
                <a:gd name="connsiteX2393" fmla="*/ 5968320 w 9546932"/>
                <a:gd name="connsiteY2393" fmla="*/ 2287260 h 7047620"/>
                <a:gd name="connsiteX2394" fmla="*/ 5944496 w 9546932"/>
                <a:gd name="connsiteY2394" fmla="*/ 2263432 h 7047620"/>
                <a:gd name="connsiteX2395" fmla="*/ 5930200 w 9546932"/>
                <a:gd name="connsiteY2395" fmla="*/ 2249140 h 7047620"/>
                <a:gd name="connsiteX2396" fmla="*/ 5915904 w 9546932"/>
                <a:gd name="connsiteY2396" fmla="*/ 2230076 h 7047620"/>
                <a:gd name="connsiteX2397" fmla="*/ 5911140 w 9546932"/>
                <a:gd name="connsiteY2397" fmla="*/ 2215784 h 7047620"/>
                <a:gd name="connsiteX2398" fmla="*/ 5906376 w 9546932"/>
                <a:gd name="connsiteY2398" fmla="*/ 2201488 h 7047620"/>
                <a:gd name="connsiteX2399" fmla="*/ 5901608 w 9546932"/>
                <a:gd name="connsiteY2399" fmla="*/ 2191956 h 7047620"/>
                <a:gd name="connsiteX2400" fmla="*/ 5901608 w 9546932"/>
                <a:gd name="connsiteY2400" fmla="*/ 2182428 h 7047620"/>
                <a:gd name="connsiteX2401" fmla="*/ 5911140 w 9546932"/>
                <a:gd name="connsiteY2401" fmla="*/ 2163364 h 7047620"/>
                <a:gd name="connsiteX2402" fmla="*/ 5915904 w 9546932"/>
                <a:gd name="connsiteY2402" fmla="*/ 2149072 h 7047620"/>
                <a:gd name="connsiteX2403" fmla="*/ 5920668 w 9546932"/>
                <a:gd name="connsiteY2403" fmla="*/ 2125244 h 7047620"/>
                <a:gd name="connsiteX2404" fmla="*/ 5934964 w 9546932"/>
                <a:gd name="connsiteY2404" fmla="*/ 2091888 h 7047620"/>
                <a:gd name="connsiteX2405" fmla="*/ 5944496 w 9546932"/>
                <a:gd name="connsiteY2405" fmla="*/ 2077592 h 7047620"/>
                <a:gd name="connsiteX2406" fmla="*/ 5954028 w 9546932"/>
                <a:gd name="connsiteY2406" fmla="*/ 2058532 h 7047620"/>
                <a:gd name="connsiteX2407" fmla="*/ 5977852 w 9546932"/>
                <a:gd name="connsiteY2407" fmla="*/ 2039472 h 7047620"/>
                <a:gd name="connsiteX2408" fmla="*/ 5996912 w 9546932"/>
                <a:gd name="connsiteY2408" fmla="*/ 2034708 h 7047620"/>
                <a:gd name="connsiteX2409" fmla="*/ 6011208 w 9546932"/>
                <a:gd name="connsiteY2409" fmla="*/ 2039472 h 7047620"/>
                <a:gd name="connsiteX2410" fmla="*/ 6039796 w 9546932"/>
                <a:gd name="connsiteY2410" fmla="*/ 2039472 h 7047620"/>
                <a:gd name="connsiteX2411" fmla="*/ 6058860 w 9546932"/>
                <a:gd name="connsiteY2411" fmla="*/ 2039472 h 7047620"/>
                <a:gd name="connsiteX2412" fmla="*/ 6073156 w 9546932"/>
                <a:gd name="connsiteY2412" fmla="*/ 2049004 h 7047620"/>
                <a:gd name="connsiteX2413" fmla="*/ 6087448 w 9546932"/>
                <a:gd name="connsiteY2413" fmla="*/ 2072828 h 7047620"/>
                <a:gd name="connsiteX2414" fmla="*/ 6101744 w 9546932"/>
                <a:gd name="connsiteY2414" fmla="*/ 2077592 h 7047620"/>
                <a:gd name="connsiteX2415" fmla="*/ 6158928 w 9546932"/>
                <a:gd name="connsiteY2415" fmla="*/ 2096656 h 7047620"/>
                <a:gd name="connsiteX2416" fmla="*/ 6177988 w 9546932"/>
                <a:gd name="connsiteY2416" fmla="*/ 2101420 h 7047620"/>
                <a:gd name="connsiteX2417" fmla="*/ 6197048 w 9546932"/>
                <a:gd name="connsiteY2417" fmla="*/ 2101420 h 7047620"/>
                <a:gd name="connsiteX2418" fmla="*/ 6220872 w 9546932"/>
                <a:gd name="connsiteY2418" fmla="*/ 2106184 h 7047620"/>
                <a:gd name="connsiteX2419" fmla="*/ 6230404 w 9546932"/>
                <a:gd name="connsiteY2419" fmla="*/ 2106184 h 7047620"/>
                <a:gd name="connsiteX2420" fmla="*/ 6239932 w 9546932"/>
                <a:gd name="connsiteY2420" fmla="*/ 2110948 h 7047620"/>
                <a:gd name="connsiteX2421" fmla="*/ 6254228 w 9546932"/>
                <a:gd name="connsiteY2421" fmla="*/ 2106184 h 7047620"/>
                <a:gd name="connsiteX2422" fmla="*/ 6268524 w 9546932"/>
                <a:gd name="connsiteY2422" fmla="*/ 2091888 h 7047620"/>
                <a:gd name="connsiteX2423" fmla="*/ 6287584 w 9546932"/>
                <a:gd name="connsiteY2423" fmla="*/ 2077592 h 7047620"/>
                <a:gd name="connsiteX2424" fmla="*/ 6297116 w 9546932"/>
                <a:gd name="connsiteY2424" fmla="*/ 2072828 h 7047620"/>
                <a:gd name="connsiteX2425" fmla="*/ 6311412 w 9546932"/>
                <a:gd name="connsiteY2425" fmla="*/ 2068064 h 7047620"/>
                <a:gd name="connsiteX2426" fmla="*/ 6316176 w 9546932"/>
                <a:gd name="connsiteY2426" fmla="*/ 2058532 h 7047620"/>
                <a:gd name="connsiteX2427" fmla="*/ 6330472 w 9546932"/>
                <a:gd name="connsiteY2427" fmla="*/ 2044236 h 7047620"/>
                <a:gd name="connsiteX2428" fmla="*/ 6349532 w 9546932"/>
                <a:gd name="connsiteY2428" fmla="*/ 2029944 h 7047620"/>
                <a:gd name="connsiteX2429" fmla="*/ 6373356 w 9546932"/>
                <a:gd name="connsiteY2429" fmla="*/ 2010880 h 7047620"/>
                <a:gd name="connsiteX2430" fmla="*/ 6382888 w 9546932"/>
                <a:gd name="connsiteY2430" fmla="*/ 1991820 h 7047620"/>
                <a:gd name="connsiteX2431" fmla="*/ 6382888 w 9546932"/>
                <a:gd name="connsiteY2431" fmla="*/ 1982292 h 7047620"/>
                <a:gd name="connsiteX2432" fmla="*/ 6387652 w 9546932"/>
                <a:gd name="connsiteY2432" fmla="*/ 1972760 h 7047620"/>
                <a:gd name="connsiteX2433" fmla="*/ 6392416 w 9546932"/>
                <a:gd name="connsiteY2433" fmla="*/ 1967996 h 7047620"/>
                <a:gd name="connsiteX2434" fmla="*/ 6406712 w 9546932"/>
                <a:gd name="connsiteY2434" fmla="*/ 1963232 h 7047620"/>
                <a:gd name="connsiteX2435" fmla="*/ 6421008 w 9546932"/>
                <a:gd name="connsiteY2435" fmla="*/ 1958464 h 7047620"/>
                <a:gd name="connsiteX2436" fmla="*/ 6449600 w 9546932"/>
                <a:gd name="connsiteY2436" fmla="*/ 1967996 h 7047620"/>
                <a:gd name="connsiteX2437" fmla="*/ 6487720 w 9546932"/>
                <a:gd name="connsiteY2437" fmla="*/ 1967996 h 7047620"/>
                <a:gd name="connsiteX2438" fmla="*/ 6497252 w 9546932"/>
                <a:gd name="connsiteY2438" fmla="*/ 1967996 h 7047620"/>
                <a:gd name="connsiteX2439" fmla="*/ 6530608 w 9546932"/>
                <a:gd name="connsiteY2439" fmla="*/ 1958464 h 7047620"/>
                <a:gd name="connsiteX2440" fmla="*/ 6544900 w 9546932"/>
                <a:gd name="connsiteY2440" fmla="*/ 1958464 h 7047620"/>
                <a:gd name="connsiteX2441" fmla="*/ 6568728 w 9546932"/>
                <a:gd name="connsiteY2441" fmla="*/ 1953700 h 7047620"/>
                <a:gd name="connsiteX2442" fmla="*/ 6583024 w 9546932"/>
                <a:gd name="connsiteY2442" fmla="*/ 1934640 h 7047620"/>
                <a:gd name="connsiteX2443" fmla="*/ 6606848 w 9546932"/>
                <a:gd name="connsiteY2443" fmla="*/ 1915580 h 7047620"/>
                <a:gd name="connsiteX2444" fmla="*/ 6625908 w 9546932"/>
                <a:gd name="connsiteY2444" fmla="*/ 1901284 h 7047620"/>
                <a:gd name="connsiteX2445" fmla="*/ 6635440 w 9546932"/>
                <a:gd name="connsiteY2445" fmla="*/ 1901284 h 7047620"/>
                <a:gd name="connsiteX2446" fmla="*/ 6649736 w 9546932"/>
                <a:gd name="connsiteY2446" fmla="*/ 1886988 h 7047620"/>
                <a:gd name="connsiteX2447" fmla="*/ 6654500 w 9546932"/>
                <a:gd name="connsiteY2447" fmla="*/ 1877460 h 7047620"/>
                <a:gd name="connsiteX2448" fmla="*/ 6654500 w 9546932"/>
                <a:gd name="connsiteY2448" fmla="*/ 1867928 h 7047620"/>
                <a:gd name="connsiteX2449" fmla="*/ 6649736 w 9546932"/>
                <a:gd name="connsiteY2449" fmla="*/ 1853632 h 7047620"/>
                <a:gd name="connsiteX2450" fmla="*/ 6659264 w 9546932"/>
                <a:gd name="connsiteY2450" fmla="*/ 1839336 h 7047620"/>
                <a:gd name="connsiteX2451" fmla="*/ 6673560 w 9546932"/>
                <a:gd name="connsiteY2451" fmla="*/ 1810748 h 7047620"/>
                <a:gd name="connsiteX2452" fmla="*/ 6687856 w 9546932"/>
                <a:gd name="connsiteY2452" fmla="*/ 1796452 h 7047620"/>
                <a:gd name="connsiteX2453" fmla="*/ 6697384 w 9546932"/>
                <a:gd name="connsiteY2453" fmla="*/ 1782156 h 7047620"/>
                <a:gd name="connsiteX2454" fmla="*/ 6706916 w 9546932"/>
                <a:gd name="connsiteY2454" fmla="*/ 1767860 h 7047620"/>
                <a:gd name="connsiteX2455" fmla="*/ 6716444 w 9546932"/>
                <a:gd name="connsiteY2455" fmla="*/ 1758328 h 7047620"/>
                <a:gd name="connsiteX2456" fmla="*/ 6725976 w 9546932"/>
                <a:gd name="connsiteY2456" fmla="*/ 1758328 h 7047620"/>
                <a:gd name="connsiteX2457" fmla="*/ 6740272 w 9546932"/>
                <a:gd name="connsiteY2457" fmla="*/ 1744036 h 7047620"/>
                <a:gd name="connsiteX2458" fmla="*/ 6754568 w 9546932"/>
                <a:gd name="connsiteY2458" fmla="*/ 1744036 h 7047620"/>
                <a:gd name="connsiteX2459" fmla="*/ 6768864 w 9546932"/>
                <a:gd name="connsiteY2459" fmla="*/ 1748800 h 7047620"/>
                <a:gd name="connsiteX2460" fmla="*/ 6797452 w 9546932"/>
                <a:gd name="connsiteY2460" fmla="*/ 1748800 h 7047620"/>
                <a:gd name="connsiteX2461" fmla="*/ 6816516 w 9546932"/>
                <a:gd name="connsiteY2461" fmla="*/ 1753564 h 7047620"/>
                <a:gd name="connsiteX2462" fmla="*/ 6826044 w 9546932"/>
                <a:gd name="connsiteY2462" fmla="*/ 1748800 h 7047620"/>
                <a:gd name="connsiteX2463" fmla="*/ 6830808 w 9546932"/>
                <a:gd name="connsiteY2463" fmla="*/ 1744036 h 7047620"/>
                <a:gd name="connsiteX2464" fmla="*/ 6830808 w 9546932"/>
                <a:gd name="connsiteY2464" fmla="*/ 1734504 h 7047620"/>
                <a:gd name="connsiteX2465" fmla="*/ 6835576 w 9546932"/>
                <a:gd name="connsiteY2465" fmla="*/ 1710680 h 7047620"/>
                <a:gd name="connsiteX2466" fmla="*/ 6835576 w 9546932"/>
                <a:gd name="connsiteY2466" fmla="*/ 1701148 h 7047620"/>
                <a:gd name="connsiteX2467" fmla="*/ 6845104 w 9546932"/>
                <a:gd name="connsiteY2467" fmla="*/ 1696384 h 7047620"/>
                <a:gd name="connsiteX2468" fmla="*/ 6859400 w 9546932"/>
                <a:gd name="connsiteY2468" fmla="*/ 1696384 h 7047620"/>
                <a:gd name="connsiteX2469" fmla="*/ 6868932 w 9546932"/>
                <a:gd name="connsiteY2469" fmla="*/ 1705912 h 7047620"/>
                <a:gd name="connsiteX2470" fmla="*/ 6878460 w 9546932"/>
                <a:gd name="connsiteY2470" fmla="*/ 1710680 h 7047620"/>
                <a:gd name="connsiteX2471" fmla="*/ 6887992 w 9546932"/>
                <a:gd name="connsiteY2471" fmla="*/ 1715444 h 7047620"/>
                <a:gd name="connsiteX2472" fmla="*/ 6902284 w 9546932"/>
                <a:gd name="connsiteY2472" fmla="*/ 1710680 h 7047620"/>
                <a:gd name="connsiteX2473" fmla="*/ 6916580 w 9546932"/>
                <a:gd name="connsiteY2473" fmla="*/ 1691620 h 7047620"/>
                <a:gd name="connsiteX2474" fmla="*/ 6940408 w 9546932"/>
                <a:gd name="connsiteY2474" fmla="*/ 1682088 h 7047620"/>
                <a:gd name="connsiteX2475" fmla="*/ 6954704 w 9546932"/>
                <a:gd name="connsiteY2475" fmla="*/ 1677324 h 7047620"/>
                <a:gd name="connsiteX2476" fmla="*/ 6978528 w 9546932"/>
                <a:gd name="connsiteY2476" fmla="*/ 1667792 h 7047620"/>
                <a:gd name="connsiteX2477" fmla="*/ 6992824 w 9546932"/>
                <a:gd name="connsiteY2477" fmla="*/ 1672556 h 7047620"/>
                <a:gd name="connsiteX2478" fmla="*/ 7021416 w 9546932"/>
                <a:gd name="connsiteY2478" fmla="*/ 1672556 h 7047620"/>
                <a:gd name="connsiteX2479" fmla="*/ 7030944 w 9546932"/>
                <a:gd name="connsiteY2479" fmla="*/ 1672556 h 7047620"/>
                <a:gd name="connsiteX2480" fmla="*/ 7045240 w 9546932"/>
                <a:gd name="connsiteY2480" fmla="*/ 1672556 h 7047620"/>
                <a:gd name="connsiteX2481" fmla="*/ 7054772 w 9546932"/>
                <a:gd name="connsiteY2481" fmla="*/ 1663028 h 7047620"/>
                <a:gd name="connsiteX2482" fmla="*/ 7064300 w 9546932"/>
                <a:gd name="connsiteY2482" fmla="*/ 1658264 h 7047620"/>
                <a:gd name="connsiteX2483" fmla="*/ 7078596 w 9546932"/>
                <a:gd name="connsiteY2483" fmla="*/ 1663028 h 7047620"/>
                <a:gd name="connsiteX2484" fmla="*/ 7092892 w 9546932"/>
                <a:gd name="connsiteY2484" fmla="*/ 1672556 h 7047620"/>
                <a:gd name="connsiteX2485" fmla="*/ 7111952 w 9546932"/>
                <a:gd name="connsiteY2485" fmla="*/ 1686852 h 7047620"/>
                <a:gd name="connsiteX2486" fmla="*/ 7140544 w 9546932"/>
                <a:gd name="connsiteY2486" fmla="*/ 1691620 h 7047620"/>
                <a:gd name="connsiteX2487" fmla="*/ 7159604 w 9546932"/>
                <a:gd name="connsiteY2487" fmla="*/ 1686852 h 7047620"/>
                <a:gd name="connsiteX2488" fmla="*/ 7183428 w 9546932"/>
                <a:gd name="connsiteY2488" fmla="*/ 1696384 h 7047620"/>
                <a:gd name="connsiteX2489" fmla="*/ 7197724 w 9546932"/>
                <a:gd name="connsiteY2489" fmla="*/ 1691620 h 7047620"/>
                <a:gd name="connsiteX2490" fmla="*/ 7202488 w 9546932"/>
                <a:gd name="connsiteY2490" fmla="*/ 1686852 h 7047620"/>
                <a:gd name="connsiteX2491" fmla="*/ 7221548 w 9546932"/>
                <a:gd name="connsiteY2491" fmla="*/ 1677324 h 7047620"/>
                <a:gd name="connsiteX2492" fmla="*/ 7226316 w 9546932"/>
                <a:gd name="connsiteY2492" fmla="*/ 1663028 h 7047620"/>
                <a:gd name="connsiteX2493" fmla="*/ 7226316 w 9546932"/>
                <a:gd name="connsiteY2493" fmla="*/ 1653496 h 7047620"/>
                <a:gd name="connsiteX2494" fmla="*/ 7226316 w 9546932"/>
                <a:gd name="connsiteY2494" fmla="*/ 1634436 h 7047620"/>
                <a:gd name="connsiteX2495" fmla="*/ 7221548 w 9546932"/>
                <a:gd name="connsiteY2495" fmla="*/ 1624908 h 7047620"/>
                <a:gd name="connsiteX2496" fmla="*/ 7207256 w 9546932"/>
                <a:gd name="connsiteY2496" fmla="*/ 1610612 h 7047620"/>
                <a:gd name="connsiteX2497" fmla="*/ 7207256 w 9546932"/>
                <a:gd name="connsiteY2497" fmla="*/ 1596316 h 7047620"/>
                <a:gd name="connsiteX2498" fmla="*/ 7202488 w 9546932"/>
                <a:gd name="connsiteY2498" fmla="*/ 1582020 h 7047620"/>
                <a:gd name="connsiteX2499" fmla="*/ 7197724 w 9546932"/>
                <a:gd name="connsiteY2499" fmla="*/ 1567724 h 7047620"/>
                <a:gd name="connsiteX2500" fmla="*/ 7178664 w 9546932"/>
                <a:gd name="connsiteY2500" fmla="*/ 1553428 h 7047620"/>
                <a:gd name="connsiteX2501" fmla="*/ 7169132 w 9546932"/>
                <a:gd name="connsiteY2501" fmla="*/ 1543900 h 7047620"/>
                <a:gd name="connsiteX2502" fmla="*/ 7145308 w 9546932"/>
                <a:gd name="connsiteY2502" fmla="*/ 1515308 h 7047620"/>
                <a:gd name="connsiteX2503" fmla="*/ 7135776 w 9546932"/>
                <a:gd name="connsiteY2503" fmla="*/ 1510544 h 7047620"/>
                <a:gd name="connsiteX2504" fmla="*/ 7135776 w 9546932"/>
                <a:gd name="connsiteY2504" fmla="*/ 1505780 h 7047620"/>
                <a:gd name="connsiteX2505" fmla="*/ 7131012 w 9546932"/>
                <a:gd name="connsiteY2505" fmla="*/ 1496248 h 7047620"/>
                <a:gd name="connsiteX2506" fmla="*/ 7121484 w 9546932"/>
                <a:gd name="connsiteY2506" fmla="*/ 1491484 h 7047620"/>
                <a:gd name="connsiteX2507" fmla="*/ 7111952 w 9546932"/>
                <a:gd name="connsiteY2507" fmla="*/ 1481952 h 7047620"/>
                <a:gd name="connsiteX2508" fmla="*/ 7107188 w 9546932"/>
                <a:gd name="connsiteY2508" fmla="*/ 1477188 h 7047620"/>
                <a:gd name="connsiteX2509" fmla="*/ 7102420 w 9546932"/>
                <a:gd name="connsiteY2509" fmla="*/ 1462892 h 7047620"/>
                <a:gd name="connsiteX2510" fmla="*/ 7097656 w 9546932"/>
                <a:gd name="connsiteY2510" fmla="*/ 1453360 h 7047620"/>
                <a:gd name="connsiteX2511" fmla="*/ 7088124 w 9546932"/>
                <a:gd name="connsiteY2511" fmla="*/ 1443832 h 7047620"/>
                <a:gd name="connsiteX2512" fmla="*/ 7078596 w 9546932"/>
                <a:gd name="connsiteY2512" fmla="*/ 1443832 h 7047620"/>
                <a:gd name="connsiteX2513" fmla="*/ 7069064 w 9546932"/>
                <a:gd name="connsiteY2513" fmla="*/ 1439068 h 7047620"/>
                <a:gd name="connsiteX2514" fmla="*/ 7050004 w 9546932"/>
                <a:gd name="connsiteY2514" fmla="*/ 1429536 h 7047620"/>
                <a:gd name="connsiteX2515" fmla="*/ 7040476 w 9546932"/>
                <a:gd name="connsiteY2515" fmla="*/ 1415240 h 7047620"/>
                <a:gd name="connsiteX2516" fmla="*/ 7021416 w 9546932"/>
                <a:gd name="connsiteY2516" fmla="*/ 1386652 h 7047620"/>
                <a:gd name="connsiteX2517" fmla="*/ 7007120 w 9546932"/>
                <a:gd name="connsiteY2517" fmla="*/ 1377120 h 7047620"/>
                <a:gd name="connsiteX2518" fmla="*/ 6968996 w 9546932"/>
                <a:gd name="connsiteY2518" fmla="*/ 1372356 h 7047620"/>
                <a:gd name="connsiteX2519" fmla="*/ 6954704 w 9546932"/>
                <a:gd name="connsiteY2519" fmla="*/ 1367588 h 7047620"/>
                <a:gd name="connsiteX2520" fmla="*/ 6935644 w 9546932"/>
                <a:gd name="connsiteY2520" fmla="*/ 1367588 h 7047620"/>
                <a:gd name="connsiteX2521" fmla="*/ 6926112 w 9546932"/>
                <a:gd name="connsiteY2521" fmla="*/ 1372356 h 7047620"/>
                <a:gd name="connsiteX2522" fmla="*/ 6907052 w 9546932"/>
                <a:gd name="connsiteY2522" fmla="*/ 1372356 h 7047620"/>
                <a:gd name="connsiteX2523" fmla="*/ 6892756 w 9546932"/>
                <a:gd name="connsiteY2523" fmla="*/ 1377120 h 7047620"/>
                <a:gd name="connsiteX2524" fmla="*/ 6878460 w 9546932"/>
                <a:gd name="connsiteY2524" fmla="*/ 1396180 h 7047620"/>
                <a:gd name="connsiteX2525" fmla="*/ 6859400 w 9546932"/>
                <a:gd name="connsiteY2525" fmla="*/ 1420004 h 7047620"/>
                <a:gd name="connsiteX2526" fmla="*/ 6845104 w 9546932"/>
                <a:gd name="connsiteY2526" fmla="*/ 1434300 h 7047620"/>
                <a:gd name="connsiteX2527" fmla="*/ 6835576 w 9546932"/>
                <a:gd name="connsiteY2527" fmla="*/ 1448596 h 7047620"/>
                <a:gd name="connsiteX2528" fmla="*/ 6830808 w 9546932"/>
                <a:gd name="connsiteY2528" fmla="*/ 1453360 h 7047620"/>
                <a:gd name="connsiteX2529" fmla="*/ 6816516 w 9546932"/>
                <a:gd name="connsiteY2529" fmla="*/ 1448596 h 7047620"/>
                <a:gd name="connsiteX2530" fmla="*/ 6806984 w 9546932"/>
                <a:gd name="connsiteY2530" fmla="*/ 1434300 h 7047620"/>
                <a:gd name="connsiteX2531" fmla="*/ 6783156 w 9546932"/>
                <a:gd name="connsiteY2531" fmla="*/ 1420004 h 7047620"/>
                <a:gd name="connsiteX2532" fmla="*/ 6768864 w 9546932"/>
                <a:gd name="connsiteY2532" fmla="*/ 1410476 h 7047620"/>
                <a:gd name="connsiteX2533" fmla="*/ 6759332 w 9546932"/>
                <a:gd name="connsiteY2533" fmla="*/ 1405712 h 7047620"/>
                <a:gd name="connsiteX2534" fmla="*/ 6735508 w 9546932"/>
                <a:gd name="connsiteY2534" fmla="*/ 1400944 h 7047620"/>
                <a:gd name="connsiteX2535" fmla="*/ 6721212 w 9546932"/>
                <a:gd name="connsiteY2535" fmla="*/ 1405712 h 7047620"/>
                <a:gd name="connsiteX2536" fmla="*/ 6697384 w 9546932"/>
                <a:gd name="connsiteY2536" fmla="*/ 1410476 h 7047620"/>
                <a:gd name="connsiteX2537" fmla="*/ 6678324 w 9546932"/>
                <a:gd name="connsiteY2537" fmla="*/ 1410476 h 7047620"/>
                <a:gd name="connsiteX2538" fmla="*/ 6668796 w 9546932"/>
                <a:gd name="connsiteY2538" fmla="*/ 1405712 h 7047620"/>
                <a:gd name="connsiteX2539" fmla="*/ 6654500 w 9546932"/>
                <a:gd name="connsiteY2539" fmla="*/ 1405712 h 7047620"/>
                <a:gd name="connsiteX2540" fmla="*/ 6630676 w 9546932"/>
                <a:gd name="connsiteY2540" fmla="*/ 1420004 h 7047620"/>
                <a:gd name="connsiteX2541" fmla="*/ 6616380 w 9546932"/>
                <a:gd name="connsiteY2541" fmla="*/ 1439068 h 7047620"/>
                <a:gd name="connsiteX2542" fmla="*/ 6602084 w 9546932"/>
                <a:gd name="connsiteY2542" fmla="*/ 1443832 h 7047620"/>
                <a:gd name="connsiteX2543" fmla="*/ 6587788 w 9546932"/>
                <a:gd name="connsiteY2543" fmla="*/ 1434300 h 7047620"/>
                <a:gd name="connsiteX2544" fmla="*/ 6573492 w 9546932"/>
                <a:gd name="connsiteY2544" fmla="*/ 1420004 h 7047620"/>
                <a:gd name="connsiteX2545" fmla="*/ 6559196 w 9546932"/>
                <a:gd name="connsiteY2545" fmla="*/ 1400944 h 7047620"/>
                <a:gd name="connsiteX2546" fmla="*/ 6549668 w 9546932"/>
                <a:gd name="connsiteY2546" fmla="*/ 1386652 h 7047620"/>
                <a:gd name="connsiteX2547" fmla="*/ 6544900 w 9546932"/>
                <a:gd name="connsiteY2547" fmla="*/ 1343764 h 7047620"/>
                <a:gd name="connsiteX2548" fmla="*/ 6563964 w 9546932"/>
                <a:gd name="connsiteY2548" fmla="*/ 1329468 h 7047620"/>
                <a:gd name="connsiteX2549" fmla="*/ 6583024 w 9546932"/>
                <a:gd name="connsiteY2549" fmla="*/ 1315172 h 7047620"/>
                <a:gd name="connsiteX2550" fmla="*/ 6587788 w 9546932"/>
                <a:gd name="connsiteY2550" fmla="*/ 1291348 h 7047620"/>
                <a:gd name="connsiteX2551" fmla="*/ 6583024 w 9546932"/>
                <a:gd name="connsiteY2551" fmla="*/ 1267520 h 7047620"/>
                <a:gd name="connsiteX2552" fmla="*/ 6592552 w 9546932"/>
                <a:gd name="connsiteY2552" fmla="*/ 1238932 h 7047620"/>
                <a:gd name="connsiteX2553" fmla="*/ 6611612 w 9546932"/>
                <a:gd name="connsiteY2553" fmla="*/ 1210340 h 7047620"/>
                <a:gd name="connsiteX2554" fmla="*/ 6621144 w 9546932"/>
                <a:gd name="connsiteY2554" fmla="*/ 1186516 h 7047620"/>
                <a:gd name="connsiteX2555" fmla="*/ 6621144 w 9546932"/>
                <a:gd name="connsiteY2555" fmla="*/ 1176984 h 7047620"/>
                <a:gd name="connsiteX2556" fmla="*/ 6635440 w 9546932"/>
                <a:gd name="connsiteY2556" fmla="*/ 1153160 h 7047620"/>
                <a:gd name="connsiteX2557" fmla="*/ 6644968 w 9546932"/>
                <a:gd name="connsiteY2557" fmla="*/ 1129332 h 7047620"/>
                <a:gd name="connsiteX2558" fmla="*/ 6654500 w 9546932"/>
                <a:gd name="connsiteY2558" fmla="*/ 1095976 h 7047620"/>
                <a:gd name="connsiteX2559" fmla="*/ 6678324 w 9546932"/>
                <a:gd name="connsiteY2559" fmla="*/ 1038796 h 7047620"/>
                <a:gd name="connsiteX2560" fmla="*/ 6711680 w 9546932"/>
                <a:gd name="connsiteY2560" fmla="*/ 972084 h 7047620"/>
                <a:gd name="connsiteX2561" fmla="*/ 6725976 w 9546932"/>
                <a:gd name="connsiteY2561" fmla="*/ 938728 h 7047620"/>
                <a:gd name="connsiteX2562" fmla="*/ 6754568 w 9546932"/>
                <a:gd name="connsiteY2562" fmla="*/ 962552 h 7047620"/>
                <a:gd name="connsiteX2563" fmla="*/ 6778392 w 9546932"/>
                <a:gd name="connsiteY2563" fmla="*/ 972084 h 7047620"/>
                <a:gd name="connsiteX2564" fmla="*/ 6811748 w 9546932"/>
                <a:gd name="connsiteY2564" fmla="*/ 986380 h 7047620"/>
                <a:gd name="connsiteX2565" fmla="*/ 6849868 w 9546932"/>
                <a:gd name="connsiteY2565" fmla="*/ 991144 h 7047620"/>
                <a:gd name="connsiteX2566" fmla="*/ 6883224 w 9546932"/>
                <a:gd name="connsiteY2566" fmla="*/ 1010204 h 7047620"/>
                <a:gd name="connsiteX2567" fmla="*/ 6902284 w 9546932"/>
                <a:gd name="connsiteY2567" fmla="*/ 1014972 h 7047620"/>
                <a:gd name="connsiteX2568" fmla="*/ 6911816 w 9546932"/>
                <a:gd name="connsiteY2568" fmla="*/ 1014972 h 7047620"/>
                <a:gd name="connsiteX2569" fmla="*/ 6959468 w 9546932"/>
                <a:gd name="connsiteY2569" fmla="*/ 972084 h 7047620"/>
                <a:gd name="connsiteX2570" fmla="*/ 7002356 w 9546932"/>
                <a:gd name="connsiteY2570" fmla="*/ 933964 h 7047620"/>
                <a:gd name="connsiteX2571" fmla="*/ 7050004 w 9546932"/>
                <a:gd name="connsiteY2571" fmla="*/ 905372 h 7047620"/>
                <a:gd name="connsiteX2572" fmla="*/ 7083360 w 9546932"/>
                <a:gd name="connsiteY2572" fmla="*/ 900608 h 7047620"/>
                <a:gd name="connsiteX2573" fmla="*/ 7107188 w 9546932"/>
                <a:gd name="connsiteY2573" fmla="*/ 891076 h 7047620"/>
                <a:gd name="connsiteX2574" fmla="*/ 7126248 w 9546932"/>
                <a:gd name="connsiteY2574" fmla="*/ 881548 h 7047620"/>
                <a:gd name="connsiteX2575" fmla="*/ 7135776 w 9546932"/>
                <a:gd name="connsiteY2575" fmla="*/ 857720 h 7047620"/>
                <a:gd name="connsiteX2576" fmla="*/ 7140544 w 9546932"/>
                <a:gd name="connsiteY2576" fmla="*/ 829132 h 7047620"/>
                <a:gd name="connsiteX2577" fmla="*/ 7135776 w 9546932"/>
                <a:gd name="connsiteY2577" fmla="*/ 810068 h 7047620"/>
                <a:gd name="connsiteX2578" fmla="*/ 7116716 w 9546932"/>
                <a:gd name="connsiteY2578" fmla="*/ 805304 h 7047620"/>
                <a:gd name="connsiteX2579" fmla="*/ 7111952 w 9546932"/>
                <a:gd name="connsiteY2579" fmla="*/ 795776 h 7047620"/>
                <a:gd name="connsiteX2580" fmla="*/ 7121484 w 9546932"/>
                <a:gd name="connsiteY2580" fmla="*/ 791008 h 7047620"/>
                <a:gd name="connsiteX2581" fmla="*/ 7126248 w 9546932"/>
                <a:gd name="connsiteY2581" fmla="*/ 776712 h 7047620"/>
                <a:gd name="connsiteX2582" fmla="*/ 7131012 w 9546932"/>
                <a:gd name="connsiteY2582" fmla="*/ 757652 h 7047620"/>
                <a:gd name="connsiteX2583" fmla="*/ 7140544 w 9546932"/>
                <a:gd name="connsiteY2583" fmla="*/ 743356 h 7047620"/>
                <a:gd name="connsiteX2584" fmla="*/ 7154836 w 9546932"/>
                <a:gd name="connsiteY2584" fmla="*/ 724296 h 7047620"/>
                <a:gd name="connsiteX2585" fmla="*/ 7164368 w 9546932"/>
                <a:gd name="connsiteY2585" fmla="*/ 705236 h 7047620"/>
                <a:gd name="connsiteX2586" fmla="*/ 7164368 w 9546932"/>
                <a:gd name="connsiteY2586" fmla="*/ 686176 h 7047620"/>
                <a:gd name="connsiteX2587" fmla="*/ 7178664 w 9546932"/>
                <a:gd name="connsiteY2587" fmla="*/ 662352 h 7047620"/>
                <a:gd name="connsiteX2588" fmla="*/ 7192960 w 9546932"/>
                <a:gd name="connsiteY2588" fmla="*/ 643292 h 7047620"/>
                <a:gd name="connsiteX2589" fmla="*/ 7202488 w 9546932"/>
                <a:gd name="connsiteY2589" fmla="*/ 624228 h 7047620"/>
                <a:gd name="connsiteX2590" fmla="*/ 7202488 w 9546932"/>
                <a:gd name="connsiteY2590" fmla="*/ 605168 h 7047620"/>
                <a:gd name="connsiteX2591" fmla="*/ 7212020 w 9546932"/>
                <a:gd name="connsiteY2591" fmla="*/ 586108 h 7047620"/>
                <a:gd name="connsiteX2592" fmla="*/ 7235844 w 9546932"/>
                <a:gd name="connsiteY2592" fmla="*/ 543224 h 7047620"/>
                <a:gd name="connsiteX2593" fmla="*/ 7254904 w 9546932"/>
                <a:gd name="connsiteY2593" fmla="*/ 500336 h 7047620"/>
                <a:gd name="connsiteX2594" fmla="*/ 7278732 w 9546932"/>
                <a:gd name="connsiteY2594" fmla="*/ 471744 h 7047620"/>
                <a:gd name="connsiteX2595" fmla="*/ 7321616 w 9546932"/>
                <a:gd name="connsiteY2595" fmla="*/ 438388 h 7047620"/>
                <a:gd name="connsiteX2596" fmla="*/ 7350208 w 9546932"/>
                <a:gd name="connsiteY2596" fmla="*/ 405032 h 7047620"/>
                <a:gd name="connsiteX2597" fmla="*/ 7359740 w 9546932"/>
                <a:gd name="connsiteY2597" fmla="*/ 376444 h 7047620"/>
                <a:gd name="connsiteX2598" fmla="*/ 7359740 w 9546932"/>
                <a:gd name="connsiteY2598" fmla="*/ 347852 h 7047620"/>
                <a:gd name="connsiteX2599" fmla="*/ 7345444 w 9546932"/>
                <a:gd name="connsiteY2599" fmla="*/ 324028 h 7047620"/>
                <a:gd name="connsiteX2600" fmla="*/ 7345444 w 9546932"/>
                <a:gd name="connsiteY2600" fmla="*/ 300200 h 7047620"/>
                <a:gd name="connsiteX2601" fmla="*/ 7350208 w 9546932"/>
                <a:gd name="connsiteY2601" fmla="*/ 271612 h 7047620"/>
                <a:gd name="connsiteX2602" fmla="*/ 7345444 w 9546932"/>
                <a:gd name="connsiteY2602" fmla="*/ 257316 h 7047620"/>
                <a:gd name="connsiteX2603" fmla="*/ 7326384 w 9546932"/>
                <a:gd name="connsiteY2603" fmla="*/ 243020 h 7047620"/>
                <a:gd name="connsiteX2604" fmla="*/ 7297792 w 9546932"/>
                <a:gd name="connsiteY2604" fmla="*/ 238256 h 7047620"/>
                <a:gd name="connsiteX2605" fmla="*/ 7269200 w 9546932"/>
                <a:gd name="connsiteY2605" fmla="*/ 247784 h 7047620"/>
                <a:gd name="connsiteX2606" fmla="*/ 7254904 w 9546932"/>
                <a:gd name="connsiteY2606" fmla="*/ 238256 h 7047620"/>
                <a:gd name="connsiteX2607" fmla="*/ 7250140 w 9546932"/>
                <a:gd name="connsiteY2607" fmla="*/ 214428 h 7047620"/>
                <a:gd name="connsiteX2608" fmla="*/ 7259672 w 9546932"/>
                <a:gd name="connsiteY2608" fmla="*/ 200132 h 7047620"/>
                <a:gd name="connsiteX2609" fmla="*/ 7278732 w 9546932"/>
                <a:gd name="connsiteY2609" fmla="*/ 185836 h 7047620"/>
                <a:gd name="connsiteX2610" fmla="*/ 7307324 w 9546932"/>
                <a:gd name="connsiteY2610" fmla="*/ 152484 h 7047620"/>
                <a:gd name="connsiteX2611" fmla="*/ 7354972 w 9546932"/>
                <a:gd name="connsiteY2611" fmla="*/ 100064 h 7047620"/>
                <a:gd name="connsiteX2612" fmla="*/ 7397860 w 9546932"/>
                <a:gd name="connsiteY2612" fmla="*/ 71476 h 7047620"/>
                <a:gd name="connsiteX2613" fmla="*/ 7459804 w 9546932"/>
                <a:gd name="connsiteY2613" fmla="*/ 61944 h 7047620"/>
                <a:gd name="connsiteX2614" fmla="*/ 7516988 w 9546932"/>
                <a:gd name="connsiteY2614" fmla="*/ 42884 h 7047620"/>
                <a:gd name="connsiteX2615" fmla="*/ 7569404 w 9546932"/>
                <a:gd name="connsiteY2615" fmla="*/ 23824 h 7047620"/>
                <a:gd name="connsiteX2616" fmla="*/ 7607524 w 9546932"/>
                <a:gd name="connsiteY2616" fmla="*/ 14292 h 7047620"/>
                <a:gd name="connsiteX2617" fmla="*/ 7612292 w 9546932"/>
                <a:gd name="connsiteY2617" fmla="*/ 23824 h 7047620"/>
                <a:gd name="connsiteX2618" fmla="*/ 7636116 w 9546932"/>
                <a:gd name="connsiteY2618" fmla="*/ 23824 h 7047620"/>
                <a:gd name="connsiteX2619" fmla="*/ 7669472 w 9546932"/>
                <a:gd name="connsiteY2619" fmla="*/ 19060 h 7047620"/>
                <a:gd name="connsiteX2620" fmla="*/ 7702828 w 9546932"/>
                <a:gd name="connsiteY2620" fmla="*/ 14292 h 704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</a:cxnLst>
              <a:rect l="l" t="t" r="r" b="b"/>
              <a:pathLst>
                <a:path w="9546932" h="7047619">
                  <a:moveTo>
                    <a:pt x="5782480" y="6728358"/>
                  </a:moveTo>
                  <a:lnTo>
                    <a:pt x="5787244" y="6728358"/>
                  </a:lnTo>
                  <a:lnTo>
                    <a:pt x="5796776" y="6742654"/>
                  </a:lnTo>
                  <a:lnTo>
                    <a:pt x="5806308" y="6747418"/>
                  </a:lnTo>
                  <a:lnTo>
                    <a:pt x="5820600" y="6752184"/>
                  </a:lnTo>
                  <a:lnTo>
                    <a:pt x="5825368" y="6761714"/>
                  </a:lnTo>
                  <a:lnTo>
                    <a:pt x="5834896" y="6771244"/>
                  </a:lnTo>
                  <a:lnTo>
                    <a:pt x="5834896" y="6790304"/>
                  </a:lnTo>
                  <a:lnTo>
                    <a:pt x="5839660" y="6809366"/>
                  </a:lnTo>
                  <a:lnTo>
                    <a:pt x="5825368" y="6818896"/>
                  </a:lnTo>
                  <a:lnTo>
                    <a:pt x="5811072" y="6823660"/>
                  </a:lnTo>
                  <a:lnTo>
                    <a:pt x="5782480" y="6871312"/>
                  </a:lnTo>
                  <a:lnTo>
                    <a:pt x="5772952" y="6885606"/>
                  </a:lnTo>
                  <a:lnTo>
                    <a:pt x="5768184" y="6890372"/>
                  </a:lnTo>
                  <a:lnTo>
                    <a:pt x="5768184" y="6895138"/>
                  </a:lnTo>
                  <a:lnTo>
                    <a:pt x="5768184" y="6899902"/>
                  </a:lnTo>
                  <a:lnTo>
                    <a:pt x="5763420" y="6923728"/>
                  </a:lnTo>
                  <a:lnTo>
                    <a:pt x="5753888" y="6947554"/>
                  </a:lnTo>
                  <a:lnTo>
                    <a:pt x="5753888" y="6957084"/>
                  </a:lnTo>
                  <a:lnTo>
                    <a:pt x="5744360" y="6966614"/>
                  </a:lnTo>
                  <a:lnTo>
                    <a:pt x="5734828" y="6971380"/>
                  </a:lnTo>
                  <a:lnTo>
                    <a:pt x="5725300" y="6971380"/>
                  </a:lnTo>
                  <a:lnTo>
                    <a:pt x="5720532" y="6976144"/>
                  </a:lnTo>
                  <a:lnTo>
                    <a:pt x="5706240" y="6990440"/>
                  </a:lnTo>
                  <a:lnTo>
                    <a:pt x="5687176" y="6999970"/>
                  </a:lnTo>
                  <a:lnTo>
                    <a:pt x="5691944" y="7004734"/>
                  </a:lnTo>
                  <a:lnTo>
                    <a:pt x="5691944" y="7009500"/>
                  </a:lnTo>
                  <a:lnTo>
                    <a:pt x="5682412" y="7014266"/>
                  </a:lnTo>
                  <a:lnTo>
                    <a:pt x="5677648" y="7014266"/>
                  </a:lnTo>
                  <a:lnTo>
                    <a:pt x="5653820" y="7019030"/>
                  </a:lnTo>
                  <a:lnTo>
                    <a:pt x="5644292" y="7023796"/>
                  </a:lnTo>
                  <a:lnTo>
                    <a:pt x="5634760" y="7038090"/>
                  </a:lnTo>
                  <a:lnTo>
                    <a:pt x="5629996" y="7042856"/>
                  </a:lnTo>
                  <a:lnTo>
                    <a:pt x="5615700" y="7047620"/>
                  </a:lnTo>
                  <a:lnTo>
                    <a:pt x="5606172" y="7047620"/>
                  </a:lnTo>
                  <a:lnTo>
                    <a:pt x="5587112" y="7038090"/>
                  </a:lnTo>
                  <a:lnTo>
                    <a:pt x="5577580" y="7033326"/>
                  </a:lnTo>
                  <a:lnTo>
                    <a:pt x="5553756" y="7028560"/>
                  </a:lnTo>
                  <a:lnTo>
                    <a:pt x="5529928" y="7023796"/>
                  </a:lnTo>
                  <a:lnTo>
                    <a:pt x="5510868" y="7014266"/>
                  </a:lnTo>
                  <a:lnTo>
                    <a:pt x="5477512" y="6995204"/>
                  </a:lnTo>
                  <a:lnTo>
                    <a:pt x="5472748" y="6957084"/>
                  </a:lnTo>
                  <a:lnTo>
                    <a:pt x="5467980" y="6938024"/>
                  </a:lnTo>
                  <a:lnTo>
                    <a:pt x="5467980" y="6933258"/>
                  </a:lnTo>
                  <a:lnTo>
                    <a:pt x="5467980" y="6876076"/>
                  </a:lnTo>
                  <a:lnTo>
                    <a:pt x="5472748" y="6866546"/>
                  </a:lnTo>
                  <a:lnTo>
                    <a:pt x="5477512" y="6861782"/>
                  </a:lnTo>
                  <a:lnTo>
                    <a:pt x="5491808" y="6847486"/>
                  </a:lnTo>
                  <a:lnTo>
                    <a:pt x="5510868" y="6837956"/>
                  </a:lnTo>
                  <a:lnTo>
                    <a:pt x="5534692" y="6814130"/>
                  </a:lnTo>
                  <a:lnTo>
                    <a:pt x="5553756" y="6804600"/>
                  </a:lnTo>
                  <a:lnTo>
                    <a:pt x="5568048" y="6790304"/>
                  </a:lnTo>
                  <a:lnTo>
                    <a:pt x="5558520" y="6790304"/>
                  </a:lnTo>
                  <a:lnTo>
                    <a:pt x="5553756" y="6790304"/>
                  </a:lnTo>
                  <a:lnTo>
                    <a:pt x="5558520" y="6776010"/>
                  </a:lnTo>
                  <a:lnTo>
                    <a:pt x="5563284" y="6771244"/>
                  </a:lnTo>
                  <a:lnTo>
                    <a:pt x="5572816" y="6766478"/>
                  </a:lnTo>
                  <a:lnTo>
                    <a:pt x="5591876" y="6771244"/>
                  </a:lnTo>
                  <a:lnTo>
                    <a:pt x="5606172" y="6766478"/>
                  </a:lnTo>
                  <a:lnTo>
                    <a:pt x="5615700" y="6756948"/>
                  </a:lnTo>
                  <a:lnTo>
                    <a:pt x="5625232" y="6756948"/>
                  </a:lnTo>
                  <a:lnTo>
                    <a:pt x="5668116" y="6756948"/>
                  </a:lnTo>
                  <a:lnTo>
                    <a:pt x="5691944" y="6752184"/>
                  </a:lnTo>
                  <a:lnTo>
                    <a:pt x="5706240" y="6742654"/>
                  </a:lnTo>
                  <a:lnTo>
                    <a:pt x="5715768" y="6742654"/>
                  </a:lnTo>
                  <a:lnTo>
                    <a:pt x="5734828" y="6747418"/>
                  </a:lnTo>
                  <a:lnTo>
                    <a:pt x="5739596" y="6756948"/>
                  </a:lnTo>
                  <a:lnTo>
                    <a:pt x="5739596" y="6747418"/>
                  </a:lnTo>
                  <a:lnTo>
                    <a:pt x="5744360" y="6742654"/>
                  </a:lnTo>
                  <a:lnTo>
                    <a:pt x="5772952" y="6756948"/>
                  </a:lnTo>
                  <a:lnTo>
                    <a:pt x="5772952" y="6737888"/>
                  </a:lnTo>
                  <a:close/>
                  <a:moveTo>
                    <a:pt x="5730064" y="6571108"/>
                  </a:moveTo>
                  <a:lnTo>
                    <a:pt x="5739596" y="6571108"/>
                  </a:lnTo>
                  <a:lnTo>
                    <a:pt x="5749124" y="6575874"/>
                  </a:lnTo>
                  <a:lnTo>
                    <a:pt x="5763420" y="6571108"/>
                  </a:lnTo>
                  <a:lnTo>
                    <a:pt x="5763420" y="6580640"/>
                  </a:lnTo>
                  <a:lnTo>
                    <a:pt x="5758656" y="6590170"/>
                  </a:lnTo>
                  <a:lnTo>
                    <a:pt x="5749124" y="6585404"/>
                  </a:lnTo>
                  <a:lnTo>
                    <a:pt x="5734828" y="6585404"/>
                  </a:lnTo>
                  <a:lnTo>
                    <a:pt x="5725300" y="6585404"/>
                  </a:lnTo>
                  <a:lnTo>
                    <a:pt x="5720532" y="6580640"/>
                  </a:lnTo>
                  <a:close/>
                  <a:moveTo>
                    <a:pt x="6092212" y="6466276"/>
                  </a:moveTo>
                  <a:lnTo>
                    <a:pt x="6092212" y="6475806"/>
                  </a:lnTo>
                  <a:lnTo>
                    <a:pt x="6077920" y="6480572"/>
                  </a:lnTo>
                  <a:lnTo>
                    <a:pt x="6073152" y="6480572"/>
                  </a:lnTo>
                  <a:lnTo>
                    <a:pt x="6082684" y="6471040"/>
                  </a:lnTo>
                  <a:close/>
                  <a:moveTo>
                    <a:pt x="6116040" y="6456746"/>
                  </a:moveTo>
                  <a:lnTo>
                    <a:pt x="6125568" y="6456746"/>
                  </a:lnTo>
                  <a:lnTo>
                    <a:pt x="6130336" y="6461512"/>
                  </a:lnTo>
                  <a:lnTo>
                    <a:pt x="6120804" y="6466276"/>
                  </a:lnTo>
                  <a:lnTo>
                    <a:pt x="6116040" y="6485336"/>
                  </a:lnTo>
                  <a:lnTo>
                    <a:pt x="6111276" y="6485336"/>
                  </a:lnTo>
                  <a:lnTo>
                    <a:pt x="6111276" y="6480572"/>
                  </a:lnTo>
                  <a:lnTo>
                    <a:pt x="6106508" y="6471042"/>
                  </a:lnTo>
                  <a:lnTo>
                    <a:pt x="6106508" y="6466276"/>
                  </a:lnTo>
                  <a:lnTo>
                    <a:pt x="6111276" y="6461512"/>
                  </a:lnTo>
                  <a:close/>
                  <a:moveTo>
                    <a:pt x="6211340" y="6266140"/>
                  </a:moveTo>
                  <a:lnTo>
                    <a:pt x="6220872" y="6266140"/>
                  </a:lnTo>
                  <a:lnTo>
                    <a:pt x="6230404" y="6270906"/>
                  </a:lnTo>
                  <a:lnTo>
                    <a:pt x="6235168" y="6280436"/>
                  </a:lnTo>
                  <a:lnTo>
                    <a:pt x="6239932" y="6289966"/>
                  </a:lnTo>
                  <a:lnTo>
                    <a:pt x="6225636" y="6275670"/>
                  </a:lnTo>
                  <a:lnTo>
                    <a:pt x="6220872" y="6275670"/>
                  </a:lnTo>
                  <a:lnTo>
                    <a:pt x="6216108" y="6270906"/>
                  </a:lnTo>
                  <a:close/>
                  <a:moveTo>
                    <a:pt x="6992824" y="5989764"/>
                  </a:moveTo>
                  <a:lnTo>
                    <a:pt x="7002352" y="5999292"/>
                  </a:lnTo>
                  <a:lnTo>
                    <a:pt x="6997588" y="6008824"/>
                  </a:lnTo>
                  <a:lnTo>
                    <a:pt x="6978528" y="6004056"/>
                  </a:lnTo>
                  <a:lnTo>
                    <a:pt x="6973764" y="5994528"/>
                  </a:lnTo>
                  <a:lnTo>
                    <a:pt x="6983292" y="5999292"/>
                  </a:lnTo>
                  <a:close/>
                  <a:moveTo>
                    <a:pt x="6945172" y="5984996"/>
                  </a:moveTo>
                  <a:lnTo>
                    <a:pt x="6959468" y="5989764"/>
                  </a:lnTo>
                  <a:lnTo>
                    <a:pt x="6959468" y="5994528"/>
                  </a:lnTo>
                  <a:lnTo>
                    <a:pt x="6954700" y="6004060"/>
                  </a:lnTo>
                  <a:lnTo>
                    <a:pt x="6945172" y="5999292"/>
                  </a:lnTo>
                  <a:lnTo>
                    <a:pt x="6945172" y="5994528"/>
                  </a:lnTo>
                  <a:lnTo>
                    <a:pt x="6940404" y="5994528"/>
                  </a:lnTo>
                  <a:close/>
                  <a:moveTo>
                    <a:pt x="7197724" y="5794392"/>
                  </a:moveTo>
                  <a:lnTo>
                    <a:pt x="7207252" y="5794392"/>
                  </a:lnTo>
                  <a:lnTo>
                    <a:pt x="7212020" y="5799156"/>
                  </a:lnTo>
                  <a:lnTo>
                    <a:pt x="7216784" y="5799156"/>
                  </a:lnTo>
                  <a:lnTo>
                    <a:pt x="7216784" y="5803924"/>
                  </a:lnTo>
                  <a:lnTo>
                    <a:pt x="7216784" y="5808688"/>
                  </a:lnTo>
                  <a:lnTo>
                    <a:pt x="7212020" y="5818216"/>
                  </a:lnTo>
                  <a:lnTo>
                    <a:pt x="7216784" y="5822984"/>
                  </a:lnTo>
                  <a:lnTo>
                    <a:pt x="7216784" y="5827748"/>
                  </a:lnTo>
                  <a:lnTo>
                    <a:pt x="7202488" y="5837280"/>
                  </a:lnTo>
                  <a:lnTo>
                    <a:pt x="7197724" y="5832512"/>
                  </a:lnTo>
                  <a:lnTo>
                    <a:pt x="7197724" y="5822984"/>
                  </a:lnTo>
                  <a:lnTo>
                    <a:pt x="7197724" y="5808688"/>
                  </a:lnTo>
                  <a:lnTo>
                    <a:pt x="7197724" y="5803924"/>
                  </a:lnTo>
                  <a:close/>
                  <a:moveTo>
                    <a:pt x="7431212" y="5346472"/>
                  </a:moveTo>
                  <a:lnTo>
                    <a:pt x="7435980" y="5351236"/>
                  </a:lnTo>
                  <a:lnTo>
                    <a:pt x="7435980" y="5356000"/>
                  </a:lnTo>
                  <a:lnTo>
                    <a:pt x="7435980" y="5365532"/>
                  </a:lnTo>
                  <a:lnTo>
                    <a:pt x="7426448" y="5370296"/>
                  </a:lnTo>
                  <a:lnTo>
                    <a:pt x="7421684" y="5370296"/>
                  </a:lnTo>
                  <a:lnTo>
                    <a:pt x="7421684" y="5360764"/>
                  </a:lnTo>
                  <a:close/>
                  <a:moveTo>
                    <a:pt x="7564640" y="5065328"/>
                  </a:moveTo>
                  <a:lnTo>
                    <a:pt x="7574168" y="5065328"/>
                  </a:lnTo>
                  <a:lnTo>
                    <a:pt x="7578932" y="5079624"/>
                  </a:lnTo>
                  <a:lnTo>
                    <a:pt x="7583700" y="5084388"/>
                  </a:lnTo>
                  <a:lnTo>
                    <a:pt x="7569404" y="5074856"/>
                  </a:lnTo>
                  <a:lnTo>
                    <a:pt x="7559872" y="5074856"/>
                  </a:lnTo>
                  <a:close/>
                  <a:moveTo>
                    <a:pt x="7612288" y="5031972"/>
                  </a:moveTo>
                  <a:lnTo>
                    <a:pt x="7617052" y="5036736"/>
                  </a:lnTo>
                  <a:lnTo>
                    <a:pt x="7617052" y="5046268"/>
                  </a:lnTo>
                  <a:lnTo>
                    <a:pt x="7617052" y="5051032"/>
                  </a:lnTo>
                  <a:lnTo>
                    <a:pt x="7612288" y="5051032"/>
                  </a:lnTo>
                  <a:lnTo>
                    <a:pt x="7607524" y="5036736"/>
                  </a:lnTo>
                  <a:close/>
                  <a:moveTo>
                    <a:pt x="7550344" y="4998616"/>
                  </a:moveTo>
                  <a:lnTo>
                    <a:pt x="7574168" y="4998616"/>
                  </a:lnTo>
                  <a:lnTo>
                    <a:pt x="7597996" y="5012912"/>
                  </a:lnTo>
                  <a:lnTo>
                    <a:pt x="7607524" y="5017676"/>
                  </a:lnTo>
                  <a:lnTo>
                    <a:pt x="7602760" y="5031972"/>
                  </a:lnTo>
                  <a:lnTo>
                    <a:pt x="7597996" y="5036736"/>
                  </a:lnTo>
                  <a:lnTo>
                    <a:pt x="7578932" y="5027208"/>
                  </a:lnTo>
                  <a:lnTo>
                    <a:pt x="7559872" y="5022440"/>
                  </a:lnTo>
                  <a:lnTo>
                    <a:pt x="7550344" y="5012912"/>
                  </a:lnTo>
                  <a:close/>
                  <a:moveTo>
                    <a:pt x="7431212" y="4698412"/>
                  </a:moveTo>
                  <a:lnTo>
                    <a:pt x="7450276" y="4698412"/>
                  </a:lnTo>
                  <a:lnTo>
                    <a:pt x="7469336" y="4707944"/>
                  </a:lnTo>
                  <a:lnTo>
                    <a:pt x="7474100" y="4717472"/>
                  </a:lnTo>
                  <a:lnTo>
                    <a:pt x="7483632" y="4722240"/>
                  </a:lnTo>
                  <a:lnTo>
                    <a:pt x="7488396" y="4727004"/>
                  </a:lnTo>
                  <a:lnTo>
                    <a:pt x="7526516" y="4741300"/>
                  </a:lnTo>
                  <a:lnTo>
                    <a:pt x="7531280" y="4746064"/>
                  </a:lnTo>
                  <a:lnTo>
                    <a:pt x="7536048" y="4755596"/>
                  </a:lnTo>
                  <a:lnTo>
                    <a:pt x="7521752" y="4760360"/>
                  </a:lnTo>
                  <a:lnTo>
                    <a:pt x="7478864" y="4746064"/>
                  </a:lnTo>
                  <a:lnTo>
                    <a:pt x="7450276" y="4727004"/>
                  </a:lnTo>
                  <a:lnTo>
                    <a:pt x="7435980" y="4703180"/>
                  </a:lnTo>
                  <a:close/>
                  <a:moveTo>
                    <a:pt x="7736184" y="0"/>
                  </a:moveTo>
                  <a:lnTo>
                    <a:pt x="7760008" y="0"/>
                  </a:lnTo>
                  <a:lnTo>
                    <a:pt x="7779068" y="4764"/>
                  </a:lnTo>
                  <a:lnTo>
                    <a:pt x="7788600" y="4764"/>
                  </a:lnTo>
                  <a:lnTo>
                    <a:pt x="7793364" y="4764"/>
                  </a:lnTo>
                  <a:lnTo>
                    <a:pt x="7798132" y="4764"/>
                  </a:lnTo>
                  <a:lnTo>
                    <a:pt x="7807660" y="0"/>
                  </a:lnTo>
                  <a:lnTo>
                    <a:pt x="7826720" y="9528"/>
                  </a:lnTo>
                  <a:lnTo>
                    <a:pt x="7864844" y="38120"/>
                  </a:lnTo>
                  <a:lnTo>
                    <a:pt x="7893432" y="47648"/>
                  </a:lnTo>
                  <a:lnTo>
                    <a:pt x="7902964" y="47648"/>
                  </a:lnTo>
                  <a:lnTo>
                    <a:pt x="7912492" y="52416"/>
                  </a:lnTo>
                  <a:lnTo>
                    <a:pt x="7926788" y="71476"/>
                  </a:lnTo>
                  <a:lnTo>
                    <a:pt x="7941084" y="85772"/>
                  </a:lnTo>
                  <a:lnTo>
                    <a:pt x="7969676" y="90536"/>
                  </a:lnTo>
                  <a:lnTo>
                    <a:pt x="7993500" y="109596"/>
                  </a:lnTo>
                  <a:lnTo>
                    <a:pt x="8003032" y="109596"/>
                  </a:lnTo>
                  <a:lnTo>
                    <a:pt x="8007796" y="100064"/>
                  </a:lnTo>
                  <a:lnTo>
                    <a:pt x="8017324" y="90536"/>
                  </a:lnTo>
                  <a:lnTo>
                    <a:pt x="8036388" y="90536"/>
                  </a:lnTo>
                  <a:lnTo>
                    <a:pt x="8060212" y="100064"/>
                  </a:lnTo>
                  <a:lnTo>
                    <a:pt x="8088804" y="123892"/>
                  </a:lnTo>
                  <a:lnTo>
                    <a:pt x="8107864" y="128656"/>
                  </a:lnTo>
                  <a:lnTo>
                    <a:pt x="8117392" y="128656"/>
                  </a:lnTo>
                  <a:lnTo>
                    <a:pt x="8126924" y="133420"/>
                  </a:lnTo>
                  <a:lnTo>
                    <a:pt x="8131688" y="142952"/>
                  </a:lnTo>
                  <a:lnTo>
                    <a:pt x="8131688" y="152484"/>
                  </a:lnTo>
                  <a:lnTo>
                    <a:pt x="8131688" y="162012"/>
                  </a:lnTo>
                  <a:lnTo>
                    <a:pt x="8136456" y="171544"/>
                  </a:lnTo>
                  <a:lnTo>
                    <a:pt x="8145984" y="171544"/>
                  </a:lnTo>
                  <a:lnTo>
                    <a:pt x="8160280" y="176308"/>
                  </a:lnTo>
                  <a:lnTo>
                    <a:pt x="8169812" y="195368"/>
                  </a:lnTo>
                  <a:lnTo>
                    <a:pt x="8179340" y="204900"/>
                  </a:lnTo>
                  <a:lnTo>
                    <a:pt x="8188872" y="209664"/>
                  </a:lnTo>
                  <a:lnTo>
                    <a:pt x="8188872" y="223960"/>
                  </a:lnTo>
                  <a:lnTo>
                    <a:pt x="8188872" y="228724"/>
                  </a:lnTo>
                  <a:lnTo>
                    <a:pt x="8184104" y="233488"/>
                  </a:lnTo>
                  <a:lnTo>
                    <a:pt x="8184104" y="243020"/>
                  </a:lnTo>
                  <a:lnTo>
                    <a:pt x="8188872" y="252548"/>
                  </a:lnTo>
                  <a:lnTo>
                    <a:pt x="8203164" y="262080"/>
                  </a:lnTo>
                  <a:lnTo>
                    <a:pt x="8207932" y="266844"/>
                  </a:lnTo>
                  <a:lnTo>
                    <a:pt x="8212696" y="276376"/>
                  </a:lnTo>
                  <a:lnTo>
                    <a:pt x="8217460" y="285904"/>
                  </a:lnTo>
                  <a:lnTo>
                    <a:pt x="8226992" y="300200"/>
                  </a:lnTo>
                  <a:lnTo>
                    <a:pt x="8231756" y="309732"/>
                  </a:lnTo>
                  <a:lnTo>
                    <a:pt x="8231756" y="314496"/>
                  </a:lnTo>
                  <a:lnTo>
                    <a:pt x="8236524" y="324028"/>
                  </a:lnTo>
                  <a:lnTo>
                    <a:pt x="8241288" y="328792"/>
                  </a:lnTo>
                  <a:lnTo>
                    <a:pt x="8241288" y="343088"/>
                  </a:lnTo>
                  <a:lnTo>
                    <a:pt x="8241288" y="357384"/>
                  </a:lnTo>
                  <a:lnTo>
                    <a:pt x="8250816" y="366912"/>
                  </a:lnTo>
                  <a:lnTo>
                    <a:pt x="8255584" y="390740"/>
                  </a:lnTo>
                  <a:lnTo>
                    <a:pt x="8260348" y="419328"/>
                  </a:lnTo>
                  <a:lnTo>
                    <a:pt x="8284172" y="457452"/>
                  </a:lnTo>
                  <a:lnTo>
                    <a:pt x="8288940" y="476512"/>
                  </a:lnTo>
                  <a:lnTo>
                    <a:pt x="8288940" y="500336"/>
                  </a:lnTo>
                  <a:lnTo>
                    <a:pt x="8288940" y="509868"/>
                  </a:lnTo>
                  <a:lnTo>
                    <a:pt x="8303232" y="514632"/>
                  </a:lnTo>
                  <a:lnTo>
                    <a:pt x="8308000" y="524164"/>
                  </a:lnTo>
                  <a:lnTo>
                    <a:pt x="8308000" y="538456"/>
                  </a:lnTo>
                  <a:lnTo>
                    <a:pt x="8312764" y="557516"/>
                  </a:lnTo>
                  <a:lnTo>
                    <a:pt x="8312764" y="571812"/>
                  </a:lnTo>
                  <a:lnTo>
                    <a:pt x="8312764" y="586108"/>
                  </a:lnTo>
                  <a:lnTo>
                    <a:pt x="8317528" y="595640"/>
                  </a:lnTo>
                  <a:lnTo>
                    <a:pt x="8322292" y="609936"/>
                  </a:lnTo>
                  <a:lnTo>
                    <a:pt x="8322292" y="624228"/>
                  </a:lnTo>
                  <a:lnTo>
                    <a:pt x="8341356" y="652820"/>
                  </a:lnTo>
                  <a:lnTo>
                    <a:pt x="8365180" y="690940"/>
                  </a:lnTo>
                  <a:lnTo>
                    <a:pt x="8384240" y="724296"/>
                  </a:lnTo>
                  <a:lnTo>
                    <a:pt x="8389004" y="743356"/>
                  </a:lnTo>
                  <a:lnTo>
                    <a:pt x="8389004" y="762420"/>
                  </a:lnTo>
                  <a:lnTo>
                    <a:pt x="8384240" y="776712"/>
                  </a:lnTo>
                  <a:lnTo>
                    <a:pt x="8384240" y="786244"/>
                  </a:lnTo>
                  <a:lnTo>
                    <a:pt x="8389004" y="791008"/>
                  </a:lnTo>
                  <a:lnTo>
                    <a:pt x="8389004" y="800540"/>
                  </a:lnTo>
                  <a:lnTo>
                    <a:pt x="8389004" y="810068"/>
                  </a:lnTo>
                  <a:lnTo>
                    <a:pt x="8398536" y="824364"/>
                  </a:lnTo>
                  <a:lnTo>
                    <a:pt x="8427128" y="843424"/>
                  </a:lnTo>
                  <a:lnTo>
                    <a:pt x="8417596" y="876780"/>
                  </a:lnTo>
                  <a:lnTo>
                    <a:pt x="8412832" y="900608"/>
                  </a:lnTo>
                  <a:lnTo>
                    <a:pt x="8412832" y="929196"/>
                  </a:lnTo>
                  <a:lnTo>
                    <a:pt x="8422364" y="943492"/>
                  </a:lnTo>
                  <a:lnTo>
                    <a:pt x="8436656" y="953024"/>
                  </a:lnTo>
                  <a:lnTo>
                    <a:pt x="8441420" y="967320"/>
                  </a:lnTo>
                  <a:lnTo>
                    <a:pt x="8446188" y="976848"/>
                  </a:lnTo>
                  <a:lnTo>
                    <a:pt x="8465248" y="986380"/>
                  </a:lnTo>
                  <a:lnTo>
                    <a:pt x="8493840" y="1000676"/>
                  </a:lnTo>
                  <a:lnTo>
                    <a:pt x="8527196" y="1005440"/>
                  </a:lnTo>
                  <a:lnTo>
                    <a:pt x="8574844" y="995908"/>
                  </a:lnTo>
                  <a:lnTo>
                    <a:pt x="8603436" y="991144"/>
                  </a:lnTo>
                  <a:lnTo>
                    <a:pt x="8612968" y="1000676"/>
                  </a:lnTo>
                  <a:lnTo>
                    <a:pt x="8617732" y="1005440"/>
                  </a:lnTo>
                  <a:lnTo>
                    <a:pt x="8612968" y="1019736"/>
                  </a:lnTo>
                  <a:lnTo>
                    <a:pt x="8622496" y="1024500"/>
                  </a:lnTo>
                  <a:lnTo>
                    <a:pt x="8636792" y="1029264"/>
                  </a:lnTo>
                  <a:lnTo>
                    <a:pt x="8651088" y="1034032"/>
                  </a:lnTo>
                  <a:lnTo>
                    <a:pt x="8660620" y="1048328"/>
                  </a:lnTo>
                  <a:lnTo>
                    <a:pt x="8665384" y="1048328"/>
                  </a:lnTo>
                  <a:lnTo>
                    <a:pt x="8674916" y="1043560"/>
                  </a:lnTo>
                  <a:lnTo>
                    <a:pt x="8689208" y="1048328"/>
                  </a:lnTo>
                  <a:lnTo>
                    <a:pt x="8698740" y="1053092"/>
                  </a:lnTo>
                  <a:lnTo>
                    <a:pt x="8703504" y="1048328"/>
                  </a:lnTo>
                  <a:lnTo>
                    <a:pt x="8708268" y="1043560"/>
                  </a:lnTo>
                  <a:lnTo>
                    <a:pt x="8727332" y="1043560"/>
                  </a:lnTo>
                  <a:lnTo>
                    <a:pt x="8732096" y="1057856"/>
                  </a:lnTo>
                  <a:lnTo>
                    <a:pt x="8741624" y="1067388"/>
                  </a:lnTo>
                  <a:lnTo>
                    <a:pt x="8751156" y="1072152"/>
                  </a:lnTo>
                  <a:lnTo>
                    <a:pt x="8770216" y="1091212"/>
                  </a:lnTo>
                  <a:lnTo>
                    <a:pt x="8808336" y="1143628"/>
                  </a:lnTo>
                  <a:lnTo>
                    <a:pt x="8836928" y="1162688"/>
                  </a:lnTo>
                  <a:lnTo>
                    <a:pt x="8860756" y="1167456"/>
                  </a:lnTo>
                  <a:lnTo>
                    <a:pt x="8889344" y="1167456"/>
                  </a:lnTo>
                  <a:lnTo>
                    <a:pt x="8903640" y="1191280"/>
                  </a:lnTo>
                  <a:lnTo>
                    <a:pt x="8894108" y="1210340"/>
                  </a:lnTo>
                  <a:lnTo>
                    <a:pt x="8889344" y="1229400"/>
                  </a:lnTo>
                  <a:lnTo>
                    <a:pt x="8898876" y="1238932"/>
                  </a:lnTo>
                  <a:lnTo>
                    <a:pt x="8908404" y="1257992"/>
                  </a:lnTo>
                  <a:lnTo>
                    <a:pt x="8922700" y="1272288"/>
                  </a:lnTo>
                  <a:lnTo>
                    <a:pt x="8922700" y="1281816"/>
                  </a:lnTo>
                  <a:lnTo>
                    <a:pt x="8932232" y="1291348"/>
                  </a:lnTo>
                  <a:lnTo>
                    <a:pt x="8927464" y="1315172"/>
                  </a:lnTo>
                  <a:lnTo>
                    <a:pt x="8917936" y="1343764"/>
                  </a:lnTo>
                  <a:lnTo>
                    <a:pt x="8917936" y="1367588"/>
                  </a:lnTo>
                  <a:lnTo>
                    <a:pt x="8936996" y="1386652"/>
                  </a:lnTo>
                  <a:lnTo>
                    <a:pt x="8946524" y="1410476"/>
                  </a:lnTo>
                  <a:lnTo>
                    <a:pt x="8951292" y="1429536"/>
                  </a:lnTo>
                  <a:lnTo>
                    <a:pt x="8956056" y="1439068"/>
                  </a:lnTo>
                  <a:lnTo>
                    <a:pt x="8960820" y="1443832"/>
                  </a:lnTo>
                  <a:lnTo>
                    <a:pt x="8979884" y="1443832"/>
                  </a:lnTo>
                  <a:lnTo>
                    <a:pt x="9013236" y="1434300"/>
                  </a:lnTo>
                  <a:lnTo>
                    <a:pt x="9032300" y="1439068"/>
                  </a:lnTo>
                  <a:lnTo>
                    <a:pt x="9046596" y="1448596"/>
                  </a:lnTo>
                  <a:lnTo>
                    <a:pt x="9084716" y="1448596"/>
                  </a:lnTo>
                  <a:lnTo>
                    <a:pt x="9141896" y="1439068"/>
                  </a:lnTo>
                  <a:lnTo>
                    <a:pt x="9175252" y="1434300"/>
                  </a:lnTo>
                  <a:lnTo>
                    <a:pt x="9189548" y="1439068"/>
                  </a:lnTo>
                  <a:lnTo>
                    <a:pt x="9203844" y="1424772"/>
                  </a:lnTo>
                  <a:lnTo>
                    <a:pt x="9218140" y="1396180"/>
                  </a:lnTo>
                  <a:lnTo>
                    <a:pt x="9227668" y="1386652"/>
                  </a:lnTo>
                  <a:lnTo>
                    <a:pt x="9237200" y="1386652"/>
                  </a:lnTo>
                  <a:lnTo>
                    <a:pt x="9256260" y="1377120"/>
                  </a:lnTo>
                  <a:lnTo>
                    <a:pt x="9275320" y="1358060"/>
                  </a:lnTo>
                  <a:lnTo>
                    <a:pt x="9294380" y="1348528"/>
                  </a:lnTo>
                  <a:lnTo>
                    <a:pt x="9318204" y="1348528"/>
                  </a:lnTo>
                  <a:lnTo>
                    <a:pt x="9346796" y="1348528"/>
                  </a:lnTo>
                  <a:lnTo>
                    <a:pt x="9361092" y="1343764"/>
                  </a:lnTo>
                  <a:lnTo>
                    <a:pt x="9380152" y="1324704"/>
                  </a:lnTo>
                  <a:lnTo>
                    <a:pt x="9403980" y="1310408"/>
                  </a:lnTo>
                  <a:lnTo>
                    <a:pt x="9461160" y="1286584"/>
                  </a:lnTo>
                  <a:lnTo>
                    <a:pt x="9475456" y="1286584"/>
                  </a:lnTo>
                  <a:lnTo>
                    <a:pt x="9480220" y="1286584"/>
                  </a:lnTo>
                  <a:lnTo>
                    <a:pt x="9499280" y="1291348"/>
                  </a:lnTo>
                  <a:lnTo>
                    <a:pt x="9518340" y="1296112"/>
                  </a:lnTo>
                  <a:lnTo>
                    <a:pt x="9532636" y="1315172"/>
                  </a:lnTo>
                  <a:lnTo>
                    <a:pt x="9537404" y="1324704"/>
                  </a:lnTo>
                  <a:lnTo>
                    <a:pt x="9532636" y="1339000"/>
                  </a:lnTo>
                  <a:lnTo>
                    <a:pt x="9532636" y="1343764"/>
                  </a:lnTo>
                  <a:lnTo>
                    <a:pt x="9523108" y="1353296"/>
                  </a:lnTo>
                  <a:lnTo>
                    <a:pt x="9518340" y="1367588"/>
                  </a:lnTo>
                  <a:lnTo>
                    <a:pt x="9523108" y="1377120"/>
                  </a:lnTo>
                  <a:lnTo>
                    <a:pt x="9532636" y="1400944"/>
                  </a:lnTo>
                  <a:lnTo>
                    <a:pt x="9537404" y="1420004"/>
                  </a:lnTo>
                  <a:lnTo>
                    <a:pt x="9546932" y="1439068"/>
                  </a:lnTo>
                  <a:lnTo>
                    <a:pt x="9542168" y="1443832"/>
                  </a:lnTo>
                  <a:lnTo>
                    <a:pt x="9537404" y="1458128"/>
                  </a:lnTo>
                  <a:lnTo>
                    <a:pt x="9523108" y="1481952"/>
                  </a:lnTo>
                  <a:lnTo>
                    <a:pt x="9504044" y="1501012"/>
                  </a:lnTo>
                  <a:lnTo>
                    <a:pt x="9489748" y="1501012"/>
                  </a:lnTo>
                  <a:lnTo>
                    <a:pt x="9484984" y="1505780"/>
                  </a:lnTo>
                  <a:lnTo>
                    <a:pt x="9475456" y="1510544"/>
                  </a:lnTo>
                  <a:lnTo>
                    <a:pt x="9470692" y="1515308"/>
                  </a:lnTo>
                  <a:lnTo>
                    <a:pt x="9465924" y="1524840"/>
                  </a:lnTo>
                  <a:lnTo>
                    <a:pt x="9456396" y="1534368"/>
                  </a:lnTo>
                  <a:lnTo>
                    <a:pt x="9456396" y="1543900"/>
                  </a:lnTo>
                  <a:lnTo>
                    <a:pt x="9461160" y="1558196"/>
                  </a:lnTo>
                  <a:lnTo>
                    <a:pt x="9461160" y="1572492"/>
                  </a:lnTo>
                  <a:lnTo>
                    <a:pt x="9451628" y="1586784"/>
                  </a:lnTo>
                  <a:lnTo>
                    <a:pt x="9442100" y="1610612"/>
                  </a:lnTo>
                  <a:lnTo>
                    <a:pt x="9442100" y="1615376"/>
                  </a:lnTo>
                  <a:lnTo>
                    <a:pt x="9437332" y="1629672"/>
                  </a:lnTo>
                  <a:lnTo>
                    <a:pt x="9437332" y="1634436"/>
                  </a:lnTo>
                  <a:lnTo>
                    <a:pt x="9432568" y="1667792"/>
                  </a:lnTo>
                  <a:lnTo>
                    <a:pt x="9423040" y="1691620"/>
                  </a:lnTo>
                  <a:lnTo>
                    <a:pt x="9408744" y="1720208"/>
                  </a:lnTo>
                  <a:lnTo>
                    <a:pt x="9413508" y="1734504"/>
                  </a:lnTo>
                  <a:lnTo>
                    <a:pt x="9413508" y="1748800"/>
                  </a:lnTo>
                  <a:lnTo>
                    <a:pt x="9408744" y="1753564"/>
                  </a:lnTo>
                  <a:lnTo>
                    <a:pt x="9408744" y="1763096"/>
                  </a:lnTo>
                  <a:lnTo>
                    <a:pt x="9408744" y="1772624"/>
                  </a:lnTo>
                  <a:lnTo>
                    <a:pt x="9403980" y="1782156"/>
                  </a:lnTo>
                  <a:lnTo>
                    <a:pt x="9389684" y="1786920"/>
                  </a:lnTo>
                  <a:lnTo>
                    <a:pt x="9380152" y="1801216"/>
                  </a:lnTo>
                  <a:lnTo>
                    <a:pt x="9384916" y="1815512"/>
                  </a:lnTo>
                  <a:lnTo>
                    <a:pt x="9380152" y="1829808"/>
                  </a:lnTo>
                  <a:lnTo>
                    <a:pt x="9375388" y="1839336"/>
                  </a:lnTo>
                  <a:lnTo>
                    <a:pt x="9370620" y="1848868"/>
                  </a:lnTo>
                  <a:lnTo>
                    <a:pt x="9361092" y="1853632"/>
                  </a:lnTo>
                  <a:lnTo>
                    <a:pt x="9351564" y="1858396"/>
                  </a:lnTo>
                  <a:lnTo>
                    <a:pt x="9351564" y="1872692"/>
                  </a:lnTo>
                  <a:lnTo>
                    <a:pt x="9346796" y="1886988"/>
                  </a:lnTo>
                  <a:lnTo>
                    <a:pt x="9342032" y="1896520"/>
                  </a:lnTo>
                  <a:lnTo>
                    <a:pt x="9346796" y="1910816"/>
                  </a:lnTo>
                  <a:lnTo>
                    <a:pt x="9342032" y="1920344"/>
                  </a:lnTo>
                  <a:lnTo>
                    <a:pt x="9327736" y="1925108"/>
                  </a:lnTo>
                  <a:lnTo>
                    <a:pt x="9322972" y="1929876"/>
                  </a:lnTo>
                  <a:lnTo>
                    <a:pt x="9313440" y="1934640"/>
                  </a:lnTo>
                  <a:lnTo>
                    <a:pt x="9303908" y="1944168"/>
                  </a:lnTo>
                  <a:lnTo>
                    <a:pt x="9289616" y="1982292"/>
                  </a:lnTo>
                  <a:lnTo>
                    <a:pt x="9289616" y="2006116"/>
                  </a:lnTo>
                  <a:lnTo>
                    <a:pt x="9289616" y="2025176"/>
                  </a:lnTo>
                  <a:lnTo>
                    <a:pt x="9275320" y="2039472"/>
                  </a:lnTo>
                  <a:lnTo>
                    <a:pt x="9261024" y="2049004"/>
                  </a:lnTo>
                  <a:lnTo>
                    <a:pt x="9256260" y="2044236"/>
                  </a:lnTo>
                  <a:lnTo>
                    <a:pt x="9246728" y="2039472"/>
                  </a:lnTo>
                  <a:lnTo>
                    <a:pt x="9241964" y="2039472"/>
                  </a:lnTo>
                  <a:lnTo>
                    <a:pt x="9241964" y="2020412"/>
                  </a:lnTo>
                  <a:lnTo>
                    <a:pt x="9232436" y="2001352"/>
                  </a:lnTo>
                  <a:lnTo>
                    <a:pt x="9208608" y="1987056"/>
                  </a:lnTo>
                  <a:lnTo>
                    <a:pt x="9180016" y="1982292"/>
                  </a:lnTo>
                  <a:lnTo>
                    <a:pt x="9151428" y="1982292"/>
                  </a:lnTo>
                  <a:lnTo>
                    <a:pt x="9127600" y="1991820"/>
                  </a:lnTo>
                  <a:lnTo>
                    <a:pt x="9122836" y="2001352"/>
                  </a:lnTo>
                  <a:lnTo>
                    <a:pt x="9113304" y="2001352"/>
                  </a:lnTo>
                  <a:lnTo>
                    <a:pt x="9103776" y="1991820"/>
                  </a:lnTo>
                  <a:lnTo>
                    <a:pt x="9094244" y="1982292"/>
                  </a:lnTo>
                  <a:lnTo>
                    <a:pt x="9084716" y="1987056"/>
                  </a:lnTo>
                  <a:lnTo>
                    <a:pt x="9075184" y="2001352"/>
                  </a:lnTo>
                  <a:lnTo>
                    <a:pt x="9060888" y="2006116"/>
                  </a:lnTo>
                  <a:lnTo>
                    <a:pt x="9056124" y="2025176"/>
                  </a:lnTo>
                  <a:lnTo>
                    <a:pt x="9051360" y="2034708"/>
                  </a:lnTo>
                  <a:lnTo>
                    <a:pt x="9037064" y="2049004"/>
                  </a:lnTo>
                  <a:lnTo>
                    <a:pt x="9032300" y="2058532"/>
                  </a:lnTo>
                  <a:lnTo>
                    <a:pt x="9003708" y="2068064"/>
                  </a:lnTo>
                  <a:lnTo>
                    <a:pt x="8998940" y="2072828"/>
                  </a:lnTo>
                  <a:lnTo>
                    <a:pt x="8975116" y="2072828"/>
                  </a:lnTo>
                  <a:lnTo>
                    <a:pt x="8965588" y="2077592"/>
                  </a:lnTo>
                  <a:lnTo>
                    <a:pt x="8956056" y="2087124"/>
                  </a:lnTo>
                  <a:lnTo>
                    <a:pt x="8956056" y="2096656"/>
                  </a:lnTo>
                  <a:lnTo>
                    <a:pt x="8960820" y="2106184"/>
                  </a:lnTo>
                  <a:lnTo>
                    <a:pt x="8970352" y="2130008"/>
                  </a:lnTo>
                  <a:lnTo>
                    <a:pt x="8975116" y="2144304"/>
                  </a:lnTo>
                  <a:lnTo>
                    <a:pt x="8979884" y="2168132"/>
                  </a:lnTo>
                  <a:lnTo>
                    <a:pt x="8998940" y="2258668"/>
                  </a:lnTo>
                  <a:lnTo>
                    <a:pt x="8994176" y="2272964"/>
                  </a:lnTo>
                  <a:lnTo>
                    <a:pt x="8989412" y="2334912"/>
                  </a:lnTo>
                  <a:lnTo>
                    <a:pt x="8989412" y="2349204"/>
                  </a:lnTo>
                  <a:lnTo>
                    <a:pt x="8989412" y="2368268"/>
                  </a:lnTo>
                  <a:lnTo>
                    <a:pt x="8989412" y="2377796"/>
                  </a:lnTo>
                  <a:lnTo>
                    <a:pt x="8994176" y="2382560"/>
                  </a:lnTo>
                  <a:lnTo>
                    <a:pt x="8998940" y="2387328"/>
                  </a:lnTo>
                  <a:lnTo>
                    <a:pt x="9003708" y="2396856"/>
                  </a:lnTo>
                  <a:lnTo>
                    <a:pt x="8998940" y="2406388"/>
                  </a:lnTo>
                  <a:lnTo>
                    <a:pt x="8998940" y="2415916"/>
                  </a:lnTo>
                  <a:lnTo>
                    <a:pt x="8994176" y="2434980"/>
                  </a:lnTo>
                  <a:lnTo>
                    <a:pt x="8989412" y="2458804"/>
                  </a:lnTo>
                  <a:lnTo>
                    <a:pt x="8979884" y="2468332"/>
                  </a:lnTo>
                  <a:lnTo>
                    <a:pt x="8979884" y="2473100"/>
                  </a:lnTo>
                  <a:lnTo>
                    <a:pt x="8975116" y="2477864"/>
                  </a:lnTo>
                  <a:lnTo>
                    <a:pt x="8975116" y="2496924"/>
                  </a:lnTo>
                  <a:lnTo>
                    <a:pt x="8970352" y="2511220"/>
                  </a:lnTo>
                  <a:lnTo>
                    <a:pt x="8960820" y="2511220"/>
                  </a:lnTo>
                  <a:lnTo>
                    <a:pt x="8951292" y="2520752"/>
                  </a:lnTo>
                  <a:lnTo>
                    <a:pt x="8941760" y="2515984"/>
                  </a:lnTo>
                  <a:lnTo>
                    <a:pt x="8932232" y="2520752"/>
                  </a:lnTo>
                  <a:lnTo>
                    <a:pt x="8917936" y="2520752"/>
                  </a:lnTo>
                  <a:lnTo>
                    <a:pt x="8894108" y="2530280"/>
                  </a:lnTo>
                  <a:lnTo>
                    <a:pt x="8879812" y="2535044"/>
                  </a:lnTo>
                  <a:lnTo>
                    <a:pt x="8875048" y="2539812"/>
                  </a:lnTo>
                  <a:lnTo>
                    <a:pt x="8870284" y="2544576"/>
                  </a:lnTo>
                  <a:lnTo>
                    <a:pt x="8870284" y="2554108"/>
                  </a:lnTo>
                  <a:lnTo>
                    <a:pt x="8875048" y="2554108"/>
                  </a:lnTo>
                  <a:lnTo>
                    <a:pt x="8884580" y="2558872"/>
                  </a:lnTo>
                  <a:lnTo>
                    <a:pt x="8894108" y="2568400"/>
                  </a:lnTo>
                  <a:lnTo>
                    <a:pt x="8894108" y="2577932"/>
                  </a:lnTo>
                  <a:lnTo>
                    <a:pt x="8889344" y="2587464"/>
                  </a:lnTo>
                  <a:lnTo>
                    <a:pt x="8884580" y="2577932"/>
                  </a:lnTo>
                  <a:lnTo>
                    <a:pt x="8875048" y="2577932"/>
                  </a:lnTo>
                  <a:lnTo>
                    <a:pt x="8860756" y="2568400"/>
                  </a:lnTo>
                  <a:lnTo>
                    <a:pt x="8851224" y="2554108"/>
                  </a:lnTo>
                  <a:lnTo>
                    <a:pt x="8841692" y="2544576"/>
                  </a:lnTo>
                  <a:lnTo>
                    <a:pt x="8841692" y="2515984"/>
                  </a:lnTo>
                  <a:lnTo>
                    <a:pt x="8841692" y="2511220"/>
                  </a:lnTo>
                  <a:lnTo>
                    <a:pt x="8827396" y="2506456"/>
                  </a:lnTo>
                  <a:lnTo>
                    <a:pt x="8822632" y="2496924"/>
                  </a:lnTo>
                  <a:lnTo>
                    <a:pt x="8817868" y="2492160"/>
                  </a:lnTo>
                  <a:lnTo>
                    <a:pt x="8808336" y="2496924"/>
                  </a:lnTo>
                  <a:lnTo>
                    <a:pt x="8803572" y="2492160"/>
                  </a:lnTo>
                  <a:lnTo>
                    <a:pt x="8794044" y="2487396"/>
                  </a:lnTo>
                  <a:lnTo>
                    <a:pt x="8789276" y="2487396"/>
                  </a:lnTo>
                  <a:lnTo>
                    <a:pt x="8784512" y="2496924"/>
                  </a:lnTo>
                  <a:lnTo>
                    <a:pt x="8779748" y="2511220"/>
                  </a:lnTo>
                  <a:lnTo>
                    <a:pt x="8770216" y="2535044"/>
                  </a:lnTo>
                  <a:lnTo>
                    <a:pt x="8770216" y="2549340"/>
                  </a:lnTo>
                  <a:lnTo>
                    <a:pt x="8765452" y="2573168"/>
                  </a:lnTo>
                  <a:lnTo>
                    <a:pt x="8760684" y="2601756"/>
                  </a:lnTo>
                  <a:lnTo>
                    <a:pt x="8755920" y="2606524"/>
                  </a:lnTo>
                  <a:lnTo>
                    <a:pt x="8746392" y="2606524"/>
                  </a:lnTo>
                  <a:lnTo>
                    <a:pt x="8741624" y="2606524"/>
                  </a:lnTo>
                  <a:lnTo>
                    <a:pt x="8736860" y="2616052"/>
                  </a:lnTo>
                  <a:lnTo>
                    <a:pt x="8732096" y="2620820"/>
                  </a:lnTo>
                  <a:lnTo>
                    <a:pt x="8722564" y="2611288"/>
                  </a:lnTo>
                  <a:lnTo>
                    <a:pt x="8713036" y="2606524"/>
                  </a:lnTo>
                  <a:lnTo>
                    <a:pt x="8703504" y="2606524"/>
                  </a:lnTo>
                  <a:lnTo>
                    <a:pt x="8698740" y="2611288"/>
                  </a:lnTo>
                  <a:lnTo>
                    <a:pt x="8689208" y="2625584"/>
                  </a:lnTo>
                  <a:lnTo>
                    <a:pt x="8684444" y="2635112"/>
                  </a:lnTo>
                  <a:lnTo>
                    <a:pt x="8679680" y="2644644"/>
                  </a:lnTo>
                  <a:lnTo>
                    <a:pt x="8679680" y="2654172"/>
                  </a:lnTo>
                  <a:lnTo>
                    <a:pt x="8670148" y="2663704"/>
                  </a:lnTo>
                  <a:lnTo>
                    <a:pt x="8660620" y="2668468"/>
                  </a:lnTo>
                  <a:lnTo>
                    <a:pt x="8641556" y="2687528"/>
                  </a:lnTo>
                  <a:lnTo>
                    <a:pt x="8636792" y="2692296"/>
                  </a:lnTo>
                  <a:lnTo>
                    <a:pt x="8608204" y="2692296"/>
                  </a:lnTo>
                  <a:lnTo>
                    <a:pt x="8589140" y="2697060"/>
                  </a:lnTo>
                  <a:lnTo>
                    <a:pt x="8560552" y="2697060"/>
                  </a:lnTo>
                  <a:lnTo>
                    <a:pt x="8541492" y="2692296"/>
                  </a:lnTo>
                  <a:lnTo>
                    <a:pt x="8517664" y="2697060"/>
                  </a:lnTo>
                  <a:lnTo>
                    <a:pt x="8498604" y="2701824"/>
                  </a:lnTo>
                  <a:lnTo>
                    <a:pt x="8498604" y="2711356"/>
                  </a:lnTo>
                  <a:lnTo>
                    <a:pt x="8498604" y="2720884"/>
                  </a:lnTo>
                  <a:lnTo>
                    <a:pt x="8503368" y="2730416"/>
                  </a:lnTo>
                  <a:lnTo>
                    <a:pt x="8508132" y="2735180"/>
                  </a:lnTo>
                  <a:lnTo>
                    <a:pt x="8512900" y="2749476"/>
                  </a:lnTo>
                  <a:lnTo>
                    <a:pt x="8522428" y="2763772"/>
                  </a:lnTo>
                  <a:lnTo>
                    <a:pt x="8531960" y="2773304"/>
                  </a:lnTo>
                  <a:lnTo>
                    <a:pt x="8536724" y="2782832"/>
                  </a:lnTo>
                  <a:lnTo>
                    <a:pt x="8536724" y="2792364"/>
                  </a:lnTo>
                  <a:lnTo>
                    <a:pt x="8531960" y="2801892"/>
                  </a:lnTo>
                  <a:lnTo>
                    <a:pt x="8522428" y="2820952"/>
                  </a:lnTo>
                  <a:lnTo>
                    <a:pt x="8517664" y="2825720"/>
                  </a:lnTo>
                  <a:lnTo>
                    <a:pt x="8508132" y="2825720"/>
                  </a:lnTo>
                  <a:lnTo>
                    <a:pt x="8503368" y="2820952"/>
                  </a:lnTo>
                  <a:lnTo>
                    <a:pt x="8493840" y="2816188"/>
                  </a:lnTo>
                  <a:lnTo>
                    <a:pt x="8479544" y="2811424"/>
                  </a:lnTo>
                  <a:lnTo>
                    <a:pt x="8441420" y="2816188"/>
                  </a:lnTo>
                  <a:lnTo>
                    <a:pt x="8427128" y="2811424"/>
                  </a:lnTo>
                  <a:lnTo>
                    <a:pt x="8417596" y="2806660"/>
                  </a:lnTo>
                  <a:lnTo>
                    <a:pt x="8403300" y="2806660"/>
                  </a:lnTo>
                  <a:lnTo>
                    <a:pt x="8379476" y="2801892"/>
                  </a:lnTo>
                  <a:lnTo>
                    <a:pt x="8365180" y="2797128"/>
                  </a:lnTo>
                  <a:lnTo>
                    <a:pt x="8355652" y="2792364"/>
                  </a:lnTo>
                  <a:lnTo>
                    <a:pt x="8355652" y="2782832"/>
                  </a:lnTo>
                  <a:lnTo>
                    <a:pt x="8350884" y="2773304"/>
                  </a:lnTo>
                  <a:lnTo>
                    <a:pt x="8346120" y="2763772"/>
                  </a:lnTo>
                  <a:lnTo>
                    <a:pt x="8336588" y="2754240"/>
                  </a:lnTo>
                  <a:lnTo>
                    <a:pt x="8327060" y="2749476"/>
                  </a:lnTo>
                  <a:lnTo>
                    <a:pt x="8322292" y="2744712"/>
                  </a:lnTo>
                  <a:lnTo>
                    <a:pt x="8312764" y="2754240"/>
                  </a:lnTo>
                  <a:lnTo>
                    <a:pt x="8303232" y="2759008"/>
                  </a:lnTo>
                  <a:lnTo>
                    <a:pt x="8298468" y="2759008"/>
                  </a:lnTo>
                  <a:lnTo>
                    <a:pt x="8293704" y="2759008"/>
                  </a:lnTo>
                  <a:lnTo>
                    <a:pt x="8288940" y="2763772"/>
                  </a:lnTo>
                  <a:lnTo>
                    <a:pt x="8274644" y="2773304"/>
                  </a:lnTo>
                  <a:lnTo>
                    <a:pt x="8269876" y="2782832"/>
                  </a:lnTo>
                  <a:lnTo>
                    <a:pt x="8265112" y="2806660"/>
                  </a:lnTo>
                  <a:lnTo>
                    <a:pt x="8260348" y="2825720"/>
                  </a:lnTo>
                  <a:lnTo>
                    <a:pt x="8255584" y="2835248"/>
                  </a:lnTo>
                  <a:lnTo>
                    <a:pt x="8250816" y="2835248"/>
                  </a:lnTo>
                  <a:lnTo>
                    <a:pt x="8246052" y="2840012"/>
                  </a:lnTo>
                  <a:lnTo>
                    <a:pt x="8231756" y="2863840"/>
                  </a:lnTo>
                  <a:lnTo>
                    <a:pt x="8217460" y="2878136"/>
                  </a:lnTo>
                  <a:lnTo>
                    <a:pt x="8203164" y="2892432"/>
                  </a:lnTo>
                  <a:lnTo>
                    <a:pt x="8193636" y="2901960"/>
                  </a:lnTo>
                  <a:lnTo>
                    <a:pt x="8188872" y="2911492"/>
                  </a:lnTo>
                  <a:lnTo>
                    <a:pt x="8179340" y="2925788"/>
                  </a:lnTo>
                  <a:lnTo>
                    <a:pt x="8160280" y="2930552"/>
                  </a:lnTo>
                  <a:lnTo>
                    <a:pt x="8145984" y="2935316"/>
                  </a:lnTo>
                  <a:lnTo>
                    <a:pt x="8136456" y="2935316"/>
                  </a:lnTo>
                  <a:lnTo>
                    <a:pt x="8131688" y="2940080"/>
                  </a:lnTo>
                  <a:lnTo>
                    <a:pt x="8126924" y="2949612"/>
                  </a:lnTo>
                  <a:lnTo>
                    <a:pt x="8122160" y="2954376"/>
                  </a:lnTo>
                  <a:lnTo>
                    <a:pt x="8117392" y="2954376"/>
                  </a:lnTo>
                  <a:lnTo>
                    <a:pt x="8107864" y="2963908"/>
                  </a:lnTo>
                  <a:lnTo>
                    <a:pt x="8088804" y="2978204"/>
                  </a:lnTo>
                  <a:lnTo>
                    <a:pt x="8074508" y="2982968"/>
                  </a:lnTo>
                  <a:lnTo>
                    <a:pt x="8050684" y="2992496"/>
                  </a:lnTo>
                  <a:lnTo>
                    <a:pt x="8036388" y="3002028"/>
                  </a:lnTo>
                  <a:lnTo>
                    <a:pt x="8026856" y="3006792"/>
                  </a:lnTo>
                  <a:lnTo>
                    <a:pt x="8026856" y="3011560"/>
                  </a:lnTo>
                  <a:lnTo>
                    <a:pt x="8022092" y="3021088"/>
                  </a:lnTo>
                  <a:lnTo>
                    <a:pt x="8017324" y="3021088"/>
                  </a:lnTo>
                  <a:lnTo>
                    <a:pt x="8007796" y="3021088"/>
                  </a:lnTo>
                  <a:lnTo>
                    <a:pt x="7988736" y="3035384"/>
                  </a:lnTo>
                  <a:lnTo>
                    <a:pt x="7979204" y="3049680"/>
                  </a:lnTo>
                  <a:lnTo>
                    <a:pt x="7941084" y="3078272"/>
                  </a:lnTo>
                  <a:lnTo>
                    <a:pt x="7926788" y="3092564"/>
                  </a:lnTo>
                  <a:lnTo>
                    <a:pt x="7922024" y="3111628"/>
                  </a:lnTo>
                  <a:lnTo>
                    <a:pt x="7907728" y="3130688"/>
                  </a:lnTo>
                  <a:lnTo>
                    <a:pt x="7883904" y="3144984"/>
                  </a:lnTo>
                  <a:lnTo>
                    <a:pt x="7831484" y="3149748"/>
                  </a:lnTo>
                  <a:lnTo>
                    <a:pt x="7812424" y="3140216"/>
                  </a:lnTo>
                  <a:lnTo>
                    <a:pt x="7807660" y="3144984"/>
                  </a:lnTo>
                  <a:lnTo>
                    <a:pt x="7802896" y="3159276"/>
                  </a:lnTo>
                  <a:lnTo>
                    <a:pt x="7788600" y="3159276"/>
                  </a:lnTo>
                  <a:lnTo>
                    <a:pt x="7764776" y="3164044"/>
                  </a:lnTo>
                  <a:lnTo>
                    <a:pt x="7755244" y="3168808"/>
                  </a:lnTo>
                  <a:lnTo>
                    <a:pt x="7745716" y="3178336"/>
                  </a:lnTo>
                  <a:lnTo>
                    <a:pt x="7717124" y="3178336"/>
                  </a:lnTo>
                  <a:lnTo>
                    <a:pt x="7707592" y="3192632"/>
                  </a:lnTo>
                  <a:lnTo>
                    <a:pt x="7688532" y="3197400"/>
                  </a:lnTo>
                  <a:lnTo>
                    <a:pt x="7607524" y="3240284"/>
                  </a:lnTo>
                  <a:lnTo>
                    <a:pt x="7588464" y="3264112"/>
                  </a:lnTo>
                  <a:lnTo>
                    <a:pt x="7574168" y="3283172"/>
                  </a:lnTo>
                  <a:lnTo>
                    <a:pt x="7564640" y="3297468"/>
                  </a:lnTo>
                  <a:lnTo>
                    <a:pt x="7550344" y="3306996"/>
                  </a:lnTo>
                  <a:lnTo>
                    <a:pt x="7540812" y="3306996"/>
                  </a:lnTo>
                  <a:lnTo>
                    <a:pt x="7536048" y="3316528"/>
                  </a:lnTo>
                  <a:lnTo>
                    <a:pt x="7526516" y="3316528"/>
                  </a:lnTo>
                  <a:lnTo>
                    <a:pt x="7516988" y="3316528"/>
                  </a:lnTo>
                  <a:lnTo>
                    <a:pt x="7502692" y="3316528"/>
                  </a:lnTo>
                  <a:lnTo>
                    <a:pt x="7497928" y="3326056"/>
                  </a:lnTo>
                  <a:lnTo>
                    <a:pt x="7502692" y="3335588"/>
                  </a:lnTo>
                  <a:lnTo>
                    <a:pt x="7502692" y="3345116"/>
                  </a:lnTo>
                  <a:lnTo>
                    <a:pt x="7478868" y="3349884"/>
                  </a:lnTo>
                  <a:lnTo>
                    <a:pt x="7450276" y="3354648"/>
                  </a:lnTo>
                  <a:lnTo>
                    <a:pt x="7435980" y="3364176"/>
                  </a:lnTo>
                  <a:lnTo>
                    <a:pt x="7431216" y="3368944"/>
                  </a:lnTo>
                  <a:lnTo>
                    <a:pt x="7426452" y="3368944"/>
                  </a:lnTo>
                  <a:lnTo>
                    <a:pt x="7416920" y="3354648"/>
                  </a:lnTo>
                  <a:lnTo>
                    <a:pt x="7416920" y="3330820"/>
                  </a:lnTo>
                  <a:lnTo>
                    <a:pt x="7426452" y="3326056"/>
                  </a:lnTo>
                  <a:lnTo>
                    <a:pt x="7440744" y="3326056"/>
                  </a:lnTo>
                  <a:lnTo>
                    <a:pt x="7502692" y="3292700"/>
                  </a:lnTo>
                  <a:lnTo>
                    <a:pt x="7497928" y="3273640"/>
                  </a:lnTo>
                  <a:lnTo>
                    <a:pt x="7502692" y="3264112"/>
                  </a:lnTo>
                  <a:lnTo>
                    <a:pt x="7516988" y="3245048"/>
                  </a:lnTo>
                  <a:lnTo>
                    <a:pt x="7526516" y="3240284"/>
                  </a:lnTo>
                  <a:lnTo>
                    <a:pt x="7521752" y="3235520"/>
                  </a:lnTo>
                  <a:lnTo>
                    <a:pt x="7478868" y="3240284"/>
                  </a:lnTo>
                  <a:lnTo>
                    <a:pt x="7455040" y="3240284"/>
                  </a:lnTo>
                  <a:lnTo>
                    <a:pt x="7440744" y="3240284"/>
                  </a:lnTo>
                  <a:lnTo>
                    <a:pt x="7445512" y="3225988"/>
                  </a:lnTo>
                  <a:lnTo>
                    <a:pt x="7445512" y="3211692"/>
                  </a:lnTo>
                  <a:lnTo>
                    <a:pt x="7440744" y="3206928"/>
                  </a:lnTo>
                  <a:lnTo>
                    <a:pt x="7464572" y="3192632"/>
                  </a:lnTo>
                  <a:lnTo>
                    <a:pt x="7474100" y="3187868"/>
                  </a:lnTo>
                  <a:lnTo>
                    <a:pt x="7478868" y="3187868"/>
                  </a:lnTo>
                  <a:lnTo>
                    <a:pt x="7478868" y="3178336"/>
                  </a:lnTo>
                  <a:lnTo>
                    <a:pt x="7474100" y="3164044"/>
                  </a:lnTo>
                  <a:lnTo>
                    <a:pt x="7478868" y="3144984"/>
                  </a:lnTo>
                  <a:lnTo>
                    <a:pt x="7521752" y="3125920"/>
                  </a:lnTo>
                  <a:lnTo>
                    <a:pt x="7536048" y="3102096"/>
                  </a:lnTo>
                  <a:lnTo>
                    <a:pt x="7550344" y="3087800"/>
                  </a:lnTo>
                  <a:lnTo>
                    <a:pt x="7583700" y="3040148"/>
                  </a:lnTo>
                  <a:lnTo>
                    <a:pt x="7588464" y="3030620"/>
                  </a:lnTo>
                  <a:lnTo>
                    <a:pt x="7597996" y="3011560"/>
                  </a:lnTo>
                  <a:lnTo>
                    <a:pt x="7597996" y="3002028"/>
                  </a:lnTo>
                  <a:lnTo>
                    <a:pt x="7583700" y="2992496"/>
                  </a:lnTo>
                  <a:lnTo>
                    <a:pt x="7578936" y="2973436"/>
                  </a:lnTo>
                  <a:lnTo>
                    <a:pt x="7531284" y="2940080"/>
                  </a:lnTo>
                  <a:lnTo>
                    <a:pt x="7531284" y="2911492"/>
                  </a:lnTo>
                  <a:lnTo>
                    <a:pt x="7526516" y="2916256"/>
                  </a:lnTo>
                  <a:lnTo>
                    <a:pt x="7516988" y="2935316"/>
                  </a:lnTo>
                  <a:lnTo>
                    <a:pt x="7512224" y="2940080"/>
                  </a:lnTo>
                  <a:lnTo>
                    <a:pt x="7493164" y="2940080"/>
                  </a:lnTo>
                  <a:lnTo>
                    <a:pt x="7483632" y="2935316"/>
                  </a:lnTo>
                  <a:lnTo>
                    <a:pt x="7426452" y="2930552"/>
                  </a:lnTo>
                  <a:lnTo>
                    <a:pt x="7412156" y="2940080"/>
                  </a:lnTo>
                  <a:lnTo>
                    <a:pt x="7397860" y="2959144"/>
                  </a:lnTo>
                  <a:lnTo>
                    <a:pt x="7388328" y="2973436"/>
                  </a:lnTo>
                  <a:lnTo>
                    <a:pt x="7374036" y="2982968"/>
                  </a:lnTo>
                  <a:lnTo>
                    <a:pt x="7364504" y="2992496"/>
                  </a:lnTo>
                  <a:lnTo>
                    <a:pt x="7316852" y="3068740"/>
                  </a:lnTo>
                  <a:lnTo>
                    <a:pt x="7302556" y="3073504"/>
                  </a:lnTo>
                  <a:lnTo>
                    <a:pt x="7221548" y="3116392"/>
                  </a:lnTo>
                  <a:lnTo>
                    <a:pt x="7178664" y="3135452"/>
                  </a:lnTo>
                  <a:lnTo>
                    <a:pt x="7145308" y="3164044"/>
                  </a:lnTo>
                  <a:lnTo>
                    <a:pt x="7135776" y="3183104"/>
                  </a:lnTo>
                  <a:lnTo>
                    <a:pt x="7126248" y="3202164"/>
                  </a:lnTo>
                  <a:lnTo>
                    <a:pt x="7121484" y="3235520"/>
                  </a:lnTo>
                  <a:lnTo>
                    <a:pt x="7092892" y="3273640"/>
                  </a:lnTo>
                  <a:lnTo>
                    <a:pt x="7083360" y="3278404"/>
                  </a:lnTo>
                  <a:lnTo>
                    <a:pt x="7073832" y="3283172"/>
                  </a:lnTo>
                  <a:lnTo>
                    <a:pt x="7059536" y="3283172"/>
                  </a:lnTo>
                  <a:lnTo>
                    <a:pt x="7050004" y="3283172"/>
                  </a:lnTo>
                  <a:lnTo>
                    <a:pt x="7026180" y="3278404"/>
                  </a:lnTo>
                  <a:lnTo>
                    <a:pt x="7002356" y="3292700"/>
                  </a:lnTo>
                  <a:lnTo>
                    <a:pt x="6978528" y="3302232"/>
                  </a:lnTo>
                  <a:lnTo>
                    <a:pt x="6954704" y="3278404"/>
                  </a:lnTo>
                  <a:lnTo>
                    <a:pt x="6935644" y="3268876"/>
                  </a:lnTo>
                  <a:lnTo>
                    <a:pt x="6911816" y="3278404"/>
                  </a:lnTo>
                  <a:lnTo>
                    <a:pt x="6897520" y="3287936"/>
                  </a:lnTo>
                  <a:lnTo>
                    <a:pt x="6868932" y="3345116"/>
                  </a:lnTo>
                  <a:lnTo>
                    <a:pt x="6859400" y="3378472"/>
                  </a:lnTo>
                  <a:lnTo>
                    <a:pt x="6859400" y="3392768"/>
                  </a:lnTo>
                  <a:lnTo>
                    <a:pt x="6878460" y="3430888"/>
                  </a:lnTo>
                  <a:lnTo>
                    <a:pt x="6892756" y="3454716"/>
                  </a:lnTo>
                  <a:lnTo>
                    <a:pt x="6930876" y="3478540"/>
                  </a:lnTo>
                  <a:lnTo>
                    <a:pt x="7016648" y="3497600"/>
                  </a:lnTo>
                  <a:lnTo>
                    <a:pt x="7035708" y="3492836"/>
                  </a:lnTo>
                  <a:lnTo>
                    <a:pt x="7054772" y="3492836"/>
                  </a:lnTo>
                  <a:lnTo>
                    <a:pt x="7078596" y="3507132"/>
                  </a:lnTo>
                  <a:lnTo>
                    <a:pt x="7092892" y="3535724"/>
                  </a:lnTo>
                  <a:lnTo>
                    <a:pt x="7092892" y="3554784"/>
                  </a:lnTo>
                  <a:lnTo>
                    <a:pt x="7092892" y="3559548"/>
                  </a:lnTo>
                  <a:lnTo>
                    <a:pt x="7097656" y="3564312"/>
                  </a:lnTo>
                  <a:lnTo>
                    <a:pt x="7102420" y="3573844"/>
                  </a:lnTo>
                  <a:lnTo>
                    <a:pt x="7092892" y="3583372"/>
                  </a:lnTo>
                  <a:lnTo>
                    <a:pt x="7083360" y="3588140"/>
                  </a:lnTo>
                  <a:lnTo>
                    <a:pt x="7078596" y="3616728"/>
                  </a:lnTo>
                  <a:lnTo>
                    <a:pt x="7078596" y="3650084"/>
                  </a:lnTo>
                  <a:lnTo>
                    <a:pt x="7088124" y="3659616"/>
                  </a:lnTo>
                  <a:lnTo>
                    <a:pt x="7102420" y="3673912"/>
                  </a:lnTo>
                  <a:lnTo>
                    <a:pt x="7131012" y="3683440"/>
                  </a:lnTo>
                  <a:lnTo>
                    <a:pt x="7154836" y="3688208"/>
                  </a:lnTo>
                  <a:lnTo>
                    <a:pt x="7207256" y="3683440"/>
                  </a:lnTo>
                  <a:lnTo>
                    <a:pt x="7226316" y="3664380"/>
                  </a:lnTo>
                  <a:lnTo>
                    <a:pt x="7226316" y="3654852"/>
                  </a:lnTo>
                  <a:lnTo>
                    <a:pt x="7226316" y="3645320"/>
                  </a:lnTo>
                  <a:lnTo>
                    <a:pt x="7269200" y="3616728"/>
                  </a:lnTo>
                  <a:lnTo>
                    <a:pt x="7293028" y="3588140"/>
                  </a:lnTo>
                  <a:lnTo>
                    <a:pt x="7288260" y="3583372"/>
                  </a:lnTo>
                  <a:lnTo>
                    <a:pt x="7283496" y="3578608"/>
                  </a:lnTo>
                  <a:lnTo>
                    <a:pt x="7288260" y="3578608"/>
                  </a:lnTo>
                  <a:lnTo>
                    <a:pt x="7302556" y="3573844"/>
                  </a:lnTo>
                  <a:lnTo>
                    <a:pt x="7359740" y="3550016"/>
                  </a:lnTo>
                  <a:lnTo>
                    <a:pt x="7407388" y="3569080"/>
                  </a:lnTo>
                  <a:lnTo>
                    <a:pt x="7431216" y="3592904"/>
                  </a:lnTo>
                  <a:lnTo>
                    <a:pt x="7459804" y="3597668"/>
                  </a:lnTo>
                  <a:lnTo>
                    <a:pt x="7478868" y="3611964"/>
                  </a:lnTo>
                  <a:lnTo>
                    <a:pt x="7497928" y="3621496"/>
                  </a:lnTo>
                  <a:lnTo>
                    <a:pt x="7526516" y="3621496"/>
                  </a:lnTo>
                  <a:lnTo>
                    <a:pt x="7550344" y="3626260"/>
                  </a:lnTo>
                  <a:lnTo>
                    <a:pt x="7555108" y="3616728"/>
                  </a:lnTo>
                  <a:lnTo>
                    <a:pt x="7564640" y="3607200"/>
                  </a:lnTo>
                  <a:lnTo>
                    <a:pt x="7574168" y="3611964"/>
                  </a:lnTo>
                  <a:lnTo>
                    <a:pt x="7583700" y="3621496"/>
                  </a:lnTo>
                  <a:lnTo>
                    <a:pt x="7607524" y="3631024"/>
                  </a:lnTo>
                  <a:lnTo>
                    <a:pt x="7631352" y="3631024"/>
                  </a:lnTo>
                  <a:lnTo>
                    <a:pt x="7650412" y="3631024"/>
                  </a:lnTo>
                  <a:lnTo>
                    <a:pt x="7659940" y="3635792"/>
                  </a:lnTo>
                  <a:lnTo>
                    <a:pt x="7645644" y="3650084"/>
                  </a:lnTo>
                  <a:lnTo>
                    <a:pt x="7645644" y="3678676"/>
                  </a:lnTo>
                  <a:lnTo>
                    <a:pt x="7636116" y="3688208"/>
                  </a:lnTo>
                  <a:lnTo>
                    <a:pt x="7626584" y="3697736"/>
                  </a:lnTo>
                  <a:lnTo>
                    <a:pt x="7631352" y="3707268"/>
                  </a:lnTo>
                  <a:lnTo>
                    <a:pt x="7636116" y="3712032"/>
                  </a:lnTo>
                  <a:lnTo>
                    <a:pt x="7636116" y="3721564"/>
                  </a:lnTo>
                  <a:lnTo>
                    <a:pt x="7626584" y="3731092"/>
                  </a:lnTo>
                  <a:lnTo>
                    <a:pt x="7607524" y="3745388"/>
                  </a:lnTo>
                  <a:lnTo>
                    <a:pt x="7597996" y="3745388"/>
                  </a:lnTo>
                  <a:lnTo>
                    <a:pt x="7593228" y="3740624"/>
                  </a:lnTo>
                  <a:lnTo>
                    <a:pt x="7588464" y="3735856"/>
                  </a:lnTo>
                  <a:lnTo>
                    <a:pt x="7588464" y="3726328"/>
                  </a:lnTo>
                  <a:lnTo>
                    <a:pt x="7578936" y="3721564"/>
                  </a:lnTo>
                  <a:lnTo>
                    <a:pt x="7564640" y="3716796"/>
                  </a:lnTo>
                  <a:lnTo>
                    <a:pt x="7545580" y="3721564"/>
                  </a:lnTo>
                  <a:lnTo>
                    <a:pt x="7502692" y="3745388"/>
                  </a:lnTo>
                  <a:lnTo>
                    <a:pt x="7464572" y="3764448"/>
                  </a:lnTo>
                  <a:lnTo>
                    <a:pt x="7421684" y="3778744"/>
                  </a:lnTo>
                  <a:lnTo>
                    <a:pt x="7407388" y="3788276"/>
                  </a:lnTo>
                  <a:lnTo>
                    <a:pt x="7397860" y="3793040"/>
                  </a:lnTo>
                  <a:lnTo>
                    <a:pt x="7378800" y="3783508"/>
                  </a:lnTo>
                  <a:lnTo>
                    <a:pt x="7369268" y="3783508"/>
                  </a:lnTo>
                  <a:lnTo>
                    <a:pt x="7369268" y="3788276"/>
                  </a:lnTo>
                  <a:lnTo>
                    <a:pt x="7378800" y="3802568"/>
                  </a:lnTo>
                  <a:lnTo>
                    <a:pt x="7383564" y="3812100"/>
                  </a:lnTo>
                  <a:lnTo>
                    <a:pt x="7383564" y="3821632"/>
                  </a:lnTo>
                  <a:lnTo>
                    <a:pt x="7374036" y="3826396"/>
                  </a:lnTo>
                  <a:lnTo>
                    <a:pt x="7364504" y="3816864"/>
                  </a:lnTo>
                  <a:lnTo>
                    <a:pt x="7354972" y="3826396"/>
                  </a:lnTo>
                  <a:lnTo>
                    <a:pt x="7350208" y="3840692"/>
                  </a:lnTo>
                  <a:lnTo>
                    <a:pt x="7350208" y="3874048"/>
                  </a:lnTo>
                  <a:lnTo>
                    <a:pt x="7340676" y="3883576"/>
                  </a:lnTo>
                  <a:lnTo>
                    <a:pt x="7321616" y="3888340"/>
                  </a:lnTo>
                  <a:lnTo>
                    <a:pt x="7302556" y="3897872"/>
                  </a:lnTo>
                  <a:lnTo>
                    <a:pt x="7297792" y="3893108"/>
                  </a:lnTo>
                  <a:lnTo>
                    <a:pt x="7293028" y="3883576"/>
                  </a:lnTo>
                  <a:lnTo>
                    <a:pt x="7297792" y="3869280"/>
                  </a:lnTo>
                  <a:lnTo>
                    <a:pt x="7293028" y="3864516"/>
                  </a:lnTo>
                  <a:lnTo>
                    <a:pt x="7283496" y="3864516"/>
                  </a:lnTo>
                  <a:lnTo>
                    <a:pt x="7273964" y="3869280"/>
                  </a:lnTo>
                  <a:lnTo>
                    <a:pt x="7259672" y="3878812"/>
                  </a:lnTo>
                  <a:lnTo>
                    <a:pt x="7259672" y="3883576"/>
                  </a:lnTo>
                  <a:lnTo>
                    <a:pt x="7269200" y="3902636"/>
                  </a:lnTo>
                  <a:lnTo>
                    <a:pt x="7283496" y="3907404"/>
                  </a:lnTo>
                  <a:lnTo>
                    <a:pt x="7288260" y="3912168"/>
                  </a:lnTo>
                  <a:lnTo>
                    <a:pt x="7278732" y="3921696"/>
                  </a:lnTo>
                  <a:lnTo>
                    <a:pt x="7250140" y="3935992"/>
                  </a:lnTo>
                  <a:lnTo>
                    <a:pt x="7245376" y="3945524"/>
                  </a:lnTo>
                  <a:lnTo>
                    <a:pt x="7240612" y="3955052"/>
                  </a:lnTo>
                  <a:lnTo>
                    <a:pt x="7231080" y="3964584"/>
                  </a:lnTo>
                  <a:lnTo>
                    <a:pt x="7221548" y="3974116"/>
                  </a:lnTo>
                  <a:lnTo>
                    <a:pt x="7212020" y="3978880"/>
                  </a:lnTo>
                  <a:lnTo>
                    <a:pt x="7197724" y="3988408"/>
                  </a:lnTo>
                  <a:lnTo>
                    <a:pt x="7183428" y="4007472"/>
                  </a:lnTo>
                  <a:lnTo>
                    <a:pt x="7169132" y="4031296"/>
                  </a:lnTo>
                  <a:lnTo>
                    <a:pt x="7154836" y="4040824"/>
                  </a:lnTo>
                  <a:lnTo>
                    <a:pt x="7140544" y="4078948"/>
                  </a:lnTo>
                  <a:lnTo>
                    <a:pt x="7121484" y="4098008"/>
                  </a:lnTo>
                  <a:lnTo>
                    <a:pt x="7111952" y="4126600"/>
                  </a:lnTo>
                  <a:lnTo>
                    <a:pt x="7116716" y="4145660"/>
                  </a:lnTo>
                  <a:lnTo>
                    <a:pt x="7140544" y="4145660"/>
                  </a:lnTo>
                  <a:lnTo>
                    <a:pt x="7154836" y="4155188"/>
                  </a:lnTo>
                  <a:lnTo>
                    <a:pt x="7178664" y="4179016"/>
                  </a:lnTo>
                  <a:lnTo>
                    <a:pt x="7207256" y="4193312"/>
                  </a:lnTo>
                  <a:lnTo>
                    <a:pt x="7235844" y="4202840"/>
                  </a:lnTo>
                  <a:lnTo>
                    <a:pt x="7273964" y="4226668"/>
                  </a:lnTo>
                  <a:lnTo>
                    <a:pt x="7283496" y="4236196"/>
                  </a:lnTo>
                  <a:lnTo>
                    <a:pt x="7293028" y="4255256"/>
                  </a:lnTo>
                  <a:lnTo>
                    <a:pt x="7312088" y="4312440"/>
                  </a:lnTo>
                  <a:lnTo>
                    <a:pt x="7321616" y="4341028"/>
                  </a:lnTo>
                  <a:lnTo>
                    <a:pt x="7321616" y="4355324"/>
                  </a:lnTo>
                  <a:lnTo>
                    <a:pt x="7340676" y="4383916"/>
                  </a:lnTo>
                  <a:lnTo>
                    <a:pt x="7359740" y="4431568"/>
                  </a:lnTo>
                  <a:lnTo>
                    <a:pt x="7378800" y="4474452"/>
                  </a:lnTo>
                  <a:lnTo>
                    <a:pt x="7383564" y="4503044"/>
                  </a:lnTo>
                  <a:lnTo>
                    <a:pt x="7374036" y="4522104"/>
                  </a:lnTo>
                  <a:lnTo>
                    <a:pt x="7374036" y="4536400"/>
                  </a:lnTo>
                  <a:lnTo>
                    <a:pt x="7397860" y="4555460"/>
                  </a:lnTo>
                  <a:lnTo>
                    <a:pt x="7445512" y="4574520"/>
                  </a:lnTo>
                  <a:lnTo>
                    <a:pt x="7450276" y="4584052"/>
                  </a:lnTo>
                  <a:lnTo>
                    <a:pt x="7459804" y="4593580"/>
                  </a:lnTo>
                  <a:lnTo>
                    <a:pt x="7459804" y="4622172"/>
                  </a:lnTo>
                  <a:lnTo>
                    <a:pt x="7469336" y="4631700"/>
                  </a:lnTo>
                  <a:lnTo>
                    <a:pt x="7474100" y="4641232"/>
                  </a:lnTo>
                  <a:lnTo>
                    <a:pt x="7502692" y="4650764"/>
                  </a:lnTo>
                  <a:lnTo>
                    <a:pt x="7516988" y="4660292"/>
                  </a:lnTo>
                  <a:lnTo>
                    <a:pt x="7531284" y="4679352"/>
                  </a:lnTo>
                  <a:lnTo>
                    <a:pt x="7531284" y="4693648"/>
                  </a:lnTo>
                  <a:lnTo>
                    <a:pt x="7536048" y="4717476"/>
                  </a:lnTo>
                  <a:lnTo>
                    <a:pt x="7516988" y="4717476"/>
                  </a:lnTo>
                  <a:lnTo>
                    <a:pt x="7502692" y="4712708"/>
                  </a:lnTo>
                  <a:lnTo>
                    <a:pt x="7455040" y="4688884"/>
                  </a:lnTo>
                  <a:lnTo>
                    <a:pt x="7440744" y="4684120"/>
                  </a:lnTo>
                  <a:lnTo>
                    <a:pt x="7421684" y="4688884"/>
                  </a:lnTo>
                  <a:lnTo>
                    <a:pt x="7393096" y="4684120"/>
                  </a:lnTo>
                  <a:lnTo>
                    <a:pt x="7364504" y="4655528"/>
                  </a:lnTo>
                  <a:lnTo>
                    <a:pt x="7345444" y="4645996"/>
                  </a:lnTo>
                  <a:lnTo>
                    <a:pt x="7321616" y="4641232"/>
                  </a:lnTo>
                  <a:lnTo>
                    <a:pt x="7273964" y="4665056"/>
                  </a:lnTo>
                  <a:lnTo>
                    <a:pt x="7259672" y="4665056"/>
                  </a:lnTo>
                  <a:lnTo>
                    <a:pt x="7254904" y="4669824"/>
                  </a:lnTo>
                  <a:lnTo>
                    <a:pt x="7250140" y="4674588"/>
                  </a:lnTo>
                  <a:lnTo>
                    <a:pt x="7273964" y="4679352"/>
                  </a:lnTo>
                  <a:lnTo>
                    <a:pt x="7297792" y="4669824"/>
                  </a:lnTo>
                  <a:lnTo>
                    <a:pt x="7321616" y="4655528"/>
                  </a:lnTo>
                  <a:lnTo>
                    <a:pt x="7354972" y="4665056"/>
                  </a:lnTo>
                  <a:lnTo>
                    <a:pt x="7359740" y="4674588"/>
                  </a:lnTo>
                  <a:lnTo>
                    <a:pt x="7364504" y="4693648"/>
                  </a:lnTo>
                  <a:lnTo>
                    <a:pt x="7388328" y="4707944"/>
                  </a:lnTo>
                  <a:lnTo>
                    <a:pt x="7407388" y="4712708"/>
                  </a:lnTo>
                  <a:lnTo>
                    <a:pt x="7431216" y="4727004"/>
                  </a:lnTo>
                  <a:lnTo>
                    <a:pt x="7455040" y="4755596"/>
                  </a:lnTo>
                  <a:lnTo>
                    <a:pt x="7502692" y="4784184"/>
                  </a:lnTo>
                  <a:lnTo>
                    <a:pt x="7521752" y="4812776"/>
                  </a:lnTo>
                  <a:lnTo>
                    <a:pt x="7531284" y="4831836"/>
                  </a:lnTo>
                  <a:lnTo>
                    <a:pt x="7536048" y="4860428"/>
                  </a:lnTo>
                  <a:lnTo>
                    <a:pt x="7516988" y="4865192"/>
                  </a:lnTo>
                  <a:lnTo>
                    <a:pt x="7502692" y="4869960"/>
                  </a:lnTo>
                  <a:lnTo>
                    <a:pt x="7483632" y="4874724"/>
                  </a:lnTo>
                  <a:lnTo>
                    <a:pt x="7464572" y="4884252"/>
                  </a:lnTo>
                  <a:lnTo>
                    <a:pt x="7445512" y="4898548"/>
                  </a:lnTo>
                  <a:lnTo>
                    <a:pt x="7397860" y="4922376"/>
                  </a:lnTo>
                  <a:lnTo>
                    <a:pt x="7388328" y="4941436"/>
                  </a:lnTo>
                  <a:lnTo>
                    <a:pt x="7383564" y="4955732"/>
                  </a:lnTo>
                  <a:lnTo>
                    <a:pt x="7369268" y="4960496"/>
                  </a:lnTo>
                  <a:lnTo>
                    <a:pt x="7340676" y="4955732"/>
                  </a:lnTo>
                  <a:lnTo>
                    <a:pt x="7312088" y="4955732"/>
                  </a:lnTo>
                  <a:lnTo>
                    <a:pt x="7283496" y="4974792"/>
                  </a:lnTo>
                  <a:lnTo>
                    <a:pt x="7273964" y="4979556"/>
                  </a:lnTo>
                  <a:lnTo>
                    <a:pt x="7278732" y="4979556"/>
                  </a:lnTo>
                  <a:lnTo>
                    <a:pt x="7283496" y="4979556"/>
                  </a:lnTo>
                  <a:lnTo>
                    <a:pt x="7297792" y="4979556"/>
                  </a:lnTo>
                  <a:lnTo>
                    <a:pt x="7321616" y="4970024"/>
                  </a:lnTo>
                  <a:lnTo>
                    <a:pt x="7340676" y="5003380"/>
                  </a:lnTo>
                  <a:lnTo>
                    <a:pt x="7383564" y="4998616"/>
                  </a:lnTo>
                  <a:lnTo>
                    <a:pt x="7421684" y="4970024"/>
                  </a:lnTo>
                  <a:lnTo>
                    <a:pt x="7440744" y="4970024"/>
                  </a:lnTo>
                  <a:lnTo>
                    <a:pt x="7450276" y="4974792"/>
                  </a:lnTo>
                  <a:lnTo>
                    <a:pt x="7469336" y="4984320"/>
                  </a:lnTo>
                  <a:lnTo>
                    <a:pt x="7502692" y="5027208"/>
                  </a:lnTo>
                  <a:lnTo>
                    <a:pt x="7526516" y="5031972"/>
                  </a:lnTo>
                  <a:lnTo>
                    <a:pt x="7545580" y="5046268"/>
                  </a:lnTo>
                  <a:lnTo>
                    <a:pt x="7559876" y="5046268"/>
                  </a:lnTo>
                  <a:lnTo>
                    <a:pt x="7569404" y="5051032"/>
                  </a:lnTo>
                  <a:lnTo>
                    <a:pt x="7540812" y="5065328"/>
                  </a:lnTo>
                  <a:lnTo>
                    <a:pt x="7502692" y="5098684"/>
                  </a:lnTo>
                  <a:lnTo>
                    <a:pt x="7488396" y="5108216"/>
                  </a:lnTo>
                  <a:lnTo>
                    <a:pt x="7478868" y="5117744"/>
                  </a:lnTo>
                  <a:lnTo>
                    <a:pt x="7507456" y="5112980"/>
                  </a:lnTo>
                  <a:lnTo>
                    <a:pt x="7526516" y="5098684"/>
                  </a:lnTo>
                  <a:lnTo>
                    <a:pt x="7536048" y="5093920"/>
                  </a:lnTo>
                  <a:lnTo>
                    <a:pt x="7545580" y="5098684"/>
                  </a:lnTo>
                  <a:lnTo>
                    <a:pt x="7550344" y="5117744"/>
                  </a:lnTo>
                  <a:lnTo>
                    <a:pt x="7540812" y="5179692"/>
                  </a:lnTo>
                  <a:lnTo>
                    <a:pt x="7531284" y="5179692"/>
                  </a:lnTo>
                  <a:lnTo>
                    <a:pt x="7521752" y="5165396"/>
                  </a:lnTo>
                  <a:lnTo>
                    <a:pt x="7512224" y="5160632"/>
                  </a:lnTo>
                  <a:lnTo>
                    <a:pt x="7502692" y="5160632"/>
                  </a:lnTo>
                  <a:lnTo>
                    <a:pt x="7483632" y="5160632"/>
                  </a:lnTo>
                  <a:lnTo>
                    <a:pt x="7474100" y="5170160"/>
                  </a:lnTo>
                  <a:lnTo>
                    <a:pt x="7469336" y="5179692"/>
                  </a:lnTo>
                  <a:lnTo>
                    <a:pt x="7478868" y="5184456"/>
                  </a:lnTo>
                  <a:lnTo>
                    <a:pt x="7502692" y="5203516"/>
                  </a:lnTo>
                  <a:lnTo>
                    <a:pt x="7502692" y="5213048"/>
                  </a:lnTo>
                  <a:lnTo>
                    <a:pt x="7497928" y="5217812"/>
                  </a:lnTo>
                  <a:lnTo>
                    <a:pt x="7483632" y="5217812"/>
                  </a:lnTo>
                  <a:lnTo>
                    <a:pt x="7502692" y="5232108"/>
                  </a:lnTo>
                  <a:lnTo>
                    <a:pt x="7497928" y="5246404"/>
                  </a:lnTo>
                  <a:lnTo>
                    <a:pt x="7493164" y="5251168"/>
                  </a:lnTo>
                  <a:lnTo>
                    <a:pt x="7478868" y="5255932"/>
                  </a:lnTo>
                  <a:lnTo>
                    <a:pt x="7474100" y="5270228"/>
                  </a:lnTo>
                  <a:lnTo>
                    <a:pt x="7483632" y="5289288"/>
                  </a:lnTo>
                  <a:lnTo>
                    <a:pt x="7493164" y="5317880"/>
                  </a:lnTo>
                  <a:lnTo>
                    <a:pt x="7493164" y="5332176"/>
                  </a:lnTo>
                  <a:lnTo>
                    <a:pt x="7478868" y="5327412"/>
                  </a:lnTo>
                  <a:lnTo>
                    <a:pt x="7455040" y="5341704"/>
                  </a:lnTo>
                  <a:lnTo>
                    <a:pt x="7440744" y="5341704"/>
                  </a:lnTo>
                  <a:lnTo>
                    <a:pt x="7431216" y="5322644"/>
                  </a:lnTo>
                  <a:lnTo>
                    <a:pt x="7421684" y="5322644"/>
                  </a:lnTo>
                  <a:lnTo>
                    <a:pt x="7412156" y="5332176"/>
                  </a:lnTo>
                  <a:lnTo>
                    <a:pt x="7402624" y="5356000"/>
                  </a:lnTo>
                  <a:lnTo>
                    <a:pt x="7393096" y="5375060"/>
                  </a:lnTo>
                  <a:lnTo>
                    <a:pt x="7383564" y="5384592"/>
                  </a:lnTo>
                  <a:lnTo>
                    <a:pt x="7369268" y="5379828"/>
                  </a:lnTo>
                  <a:lnTo>
                    <a:pt x="7359740" y="5379828"/>
                  </a:lnTo>
                  <a:lnTo>
                    <a:pt x="7359740" y="5384592"/>
                  </a:lnTo>
                  <a:lnTo>
                    <a:pt x="7374036" y="5394124"/>
                  </a:lnTo>
                  <a:lnTo>
                    <a:pt x="7374036" y="5403652"/>
                  </a:lnTo>
                  <a:lnTo>
                    <a:pt x="7350208" y="5427480"/>
                  </a:lnTo>
                  <a:lnTo>
                    <a:pt x="7345444" y="5437008"/>
                  </a:lnTo>
                  <a:lnTo>
                    <a:pt x="7345444" y="5446540"/>
                  </a:lnTo>
                  <a:lnTo>
                    <a:pt x="7335912" y="5456068"/>
                  </a:lnTo>
                  <a:lnTo>
                    <a:pt x="7340676" y="5475128"/>
                  </a:lnTo>
                  <a:lnTo>
                    <a:pt x="7335912" y="5484660"/>
                  </a:lnTo>
                  <a:lnTo>
                    <a:pt x="7326384" y="5503720"/>
                  </a:lnTo>
                  <a:lnTo>
                    <a:pt x="7316852" y="5513252"/>
                  </a:lnTo>
                  <a:lnTo>
                    <a:pt x="7302556" y="5532312"/>
                  </a:lnTo>
                  <a:lnTo>
                    <a:pt x="7288260" y="5541840"/>
                  </a:lnTo>
                  <a:lnTo>
                    <a:pt x="7264436" y="5579964"/>
                  </a:lnTo>
                  <a:lnTo>
                    <a:pt x="7259672" y="5599024"/>
                  </a:lnTo>
                  <a:lnTo>
                    <a:pt x="7254904" y="5618084"/>
                  </a:lnTo>
                  <a:lnTo>
                    <a:pt x="7250140" y="5622848"/>
                  </a:lnTo>
                  <a:lnTo>
                    <a:pt x="7235844" y="5632380"/>
                  </a:lnTo>
                  <a:lnTo>
                    <a:pt x="7226316" y="5627612"/>
                  </a:lnTo>
                  <a:lnTo>
                    <a:pt x="7226316" y="5613320"/>
                  </a:lnTo>
                  <a:lnTo>
                    <a:pt x="7216784" y="5613320"/>
                  </a:lnTo>
                  <a:lnTo>
                    <a:pt x="7216784" y="5603788"/>
                  </a:lnTo>
                  <a:lnTo>
                    <a:pt x="7212020" y="5594256"/>
                  </a:lnTo>
                  <a:lnTo>
                    <a:pt x="7216784" y="5584728"/>
                  </a:lnTo>
                  <a:lnTo>
                    <a:pt x="7207256" y="5589492"/>
                  </a:lnTo>
                  <a:lnTo>
                    <a:pt x="7207256" y="5599024"/>
                  </a:lnTo>
                  <a:lnTo>
                    <a:pt x="7197724" y="5608552"/>
                  </a:lnTo>
                  <a:lnTo>
                    <a:pt x="7188196" y="5603788"/>
                  </a:lnTo>
                  <a:lnTo>
                    <a:pt x="7178664" y="5599024"/>
                  </a:lnTo>
                  <a:lnTo>
                    <a:pt x="7178664" y="5603788"/>
                  </a:lnTo>
                  <a:lnTo>
                    <a:pt x="7183428" y="5613320"/>
                  </a:lnTo>
                  <a:lnTo>
                    <a:pt x="7188196" y="5622848"/>
                  </a:lnTo>
                  <a:lnTo>
                    <a:pt x="7202488" y="5627612"/>
                  </a:lnTo>
                  <a:lnTo>
                    <a:pt x="7207256" y="5637144"/>
                  </a:lnTo>
                  <a:lnTo>
                    <a:pt x="7216784" y="5656204"/>
                  </a:lnTo>
                  <a:lnTo>
                    <a:pt x="7216784" y="5660968"/>
                  </a:lnTo>
                  <a:lnTo>
                    <a:pt x="7221548" y="5670500"/>
                  </a:lnTo>
                  <a:lnTo>
                    <a:pt x="7226316" y="5675264"/>
                  </a:lnTo>
                  <a:lnTo>
                    <a:pt x="7212020" y="5680028"/>
                  </a:lnTo>
                  <a:lnTo>
                    <a:pt x="7192960" y="5689560"/>
                  </a:lnTo>
                  <a:lnTo>
                    <a:pt x="7173900" y="5708620"/>
                  </a:lnTo>
                  <a:lnTo>
                    <a:pt x="7159604" y="5722916"/>
                  </a:lnTo>
                  <a:lnTo>
                    <a:pt x="7145308" y="5722916"/>
                  </a:lnTo>
                  <a:lnTo>
                    <a:pt x="7135776" y="5722916"/>
                  </a:lnTo>
                  <a:lnTo>
                    <a:pt x="7121484" y="5713384"/>
                  </a:lnTo>
                  <a:lnTo>
                    <a:pt x="7107188" y="5713384"/>
                  </a:lnTo>
                  <a:lnTo>
                    <a:pt x="7126248" y="5737212"/>
                  </a:lnTo>
                  <a:lnTo>
                    <a:pt x="7140544" y="5741976"/>
                  </a:lnTo>
                  <a:lnTo>
                    <a:pt x="7150072" y="5741976"/>
                  </a:lnTo>
                  <a:lnTo>
                    <a:pt x="7164368" y="5732448"/>
                  </a:lnTo>
                  <a:lnTo>
                    <a:pt x="7183428" y="5732448"/>
                  </a:lnTo>
                  <a:lnTo>
                    <a:pt x="7188196" y="5746740"/>
                  </a:lnTo>
                  <a:lnTo>
                    <a:pt x="7183428" y="5765804"/>
                  </a:lnTo>
                  <a:lnTo>
                    <a:pt x="7173900" y="5784864"/>
                  </a:lnTo>
                  <a:lnTo>
                    <a:pt x="7169132" y="5803924"/>
                  </a:lnTo>
                  <a:lnTo>
                    <a:pt x="7183428" y="5832512"/>
                  </a:lnTo>
                  <a:lnTo>
                    <a:pt x="7183428" y="5837280"/>
                  </a:lnTo>
                  <a:lnTo>
                    <a:pt x="7178664" y="5842044"/>
                  </a:lnTo>
                  <a:lnTo>
                    <a:pt x="7164368" y="5837280"/>
                  </a:lnTo>
                  <a:lnTo>
                    <a:pt x="7154836" y="5827748"/>
                  </a:lnTo>
                  <a:lnTo>
                    <a:pt x="7140544" y="5827748"/>
                  </a:lnTo>
                  <a:lnTo>
                    <a:pt x="7126248" y="5822984"/>
                  </a:lnTo>
                  <a:lnTo>
                    <a:pt x="7116716" y="5827748"/>
                  </a:lnTo>
                  <a:lnTo>
                    <a:pt x="7107188" y="5837280"/>
                  </a:lnTo>
                  <a:lnTo>
                    <a:pt x="7111952" y="5846808"/>
                  </a:lnTo>
                  <a:lnTo>
                    <a:pt x="7126248" y="5851576"/>
                  </a:lnTo>
                  <a:lnTo>
                    <a:pt x="7131012" y="5865868"/>
                  </a:lnTo>
                  <a:lnTo>
                    <a:pt x="7121484" y="5870636"/>
                  </a:lnTo>
                  <a:lnTo>
                    <a:pt x="7088124" y="5865868"/>
                  </a:lnTo>
                  <a:lnTo>
                    <a:pt x="7083360" y="5870636"/>
                  </a:lnTo>
                  <a:lnTo>
                    <a:pt x="7073832" y="5884932"/>
                  </a:lnTo>
                  <a:lnTo>
                    <a:pt x="7078596" y="5903992"/>
                  </a:lnTo>
                  <a:lnTo>
                    <a:pt x="7073832" y="5918288"/>
                  </a:lnTo>
                  <a:lnTo>
                    <a:pt x="7059536" y="5923052"/>
                  </a:lnTo>
                  <a:lnTo>
                    <a:pt x="7040476" y="5932580"/>
                  </a:lnTo>
                  <a:lnTo>
                    <a:pt x="7030944" y="5932580"/>
                  </a:lnTo>
                  <a:lnTo>
                    <a:pt x="7030944" y="5937348"/>
                  </a:lnTo>
                  <a:lnTo>
                    <a:pt x="7040476" y="5942112"/>
                  </a:lnTo>
                  <a:lnTo>
                    <a:pt x="7045240" y="5951644"/>
                  </a:lnTo>
                  <a:lnTo>
                    <a:pt x="7030944" y="5970704"/>
                  </a:lnTo>
                  <a:lnTo>
                    <a:pt x="7016648" y="5980232"/>
                  </a:lnTo>
                  <a:lnTo>
                    <a:pt x="6992824" y="5975468"/>
                  </a:lnTo>
                  <a:lnTo>
                    <a:pt x="6978528" y="5980232"/>
                  </a:lnTo>
                  <a:lnTo>
                    <a:pt x="6959468" y="5970704"/>
                  </a:lnTo>
                  <a:lnTo>
                    <a:pt x="6945172" y="5970704"/>
                  </a:lnTo>
                  <a:lnTo>
                    <a:pt x="6930876" y="5980232"/>
                  </a:lnTo>
                  <a:lnTo>
                    <a:pt x="6930876" y="5994528"/>
                  </a:lnTo>
                  <a:lnTo>
                    <a:pt x="6921348" y="5994528"/>
                  </a:lnTo>
                  <a:lnTo>
                    <a:pt x="6911816" y="5994528"/>
                  </a:lnTo>
                  <a:lnTo>
                    <a:pt x="6907052" y="5994528"/>
                  </a:lnTo>
                  <a:lnTo>
                    <a:pt x="6907052" y="6004060"/>
                  </a:lnTo>
                  <a:lnTo>
                    <a:pt x="6911816" y="6008824"/>
                  </a:lnTo>
                  <a:lnTo>
                    <a:pt x="6935644" y="6013588"/>
                  </a:lnTo>
                  <a:lnTo>
                    <a:pt x="6940408" y="6023120"/>
                  </a:lnTo>
                  <a:lnTo>
                    <a:pt x="6940408" y="6037416"/>
                  </a:lnTo>
                  <a:lnTo>
                    <a:pt x="6916580" y="6061240"/>
                  </a:lnTo>
                  <a:lnTo>
                    <a:pt x="6907052" y="6075536"/>
                  </a:lnTo>
                  <a:lnTo>
                    <a:pt x="6887992" y="6075536"/>
                  </a:lnTo>
                  <a:lnTo>
                    <a:pt x="6878460" y="6089832"/>
                  </a:lnTo>
                  <a:lnTo>
                    <a:pt x="6873696" y="6104128"/>
                  </a:lnTo>
                  <a:lnTo>
                    <a:pt x="6864164" y="6104128"/>
                  </a:lnTo>
                  <a:lnTo>
                    <a:pt x="6845104" y="6104128"/>
                  </a:lnTo>
                  <a:lnTo>
                    <a:pt x="6840340" y="6113656"/>
                  </a:lnTo>
                  <a:lnTo>
                    <a:pt x="6845104" y="6118420"/>
                  </a:lnTo>
                  <a:lnTo>
                    <a:pt x="6845104" y="6123188"/>
                  </a:lnTo>
                  <a:lnTo>
                    <a:pt x="6840340" y="6142248"/>
                  </a:lnTo>
                  <a:lnTo>
                    <a:pt x="6830808" y="6147012"/>
                  </a:lnTo>
                  <a:lnTo>
                    <a:pt x="6830808" y="6142248"/>
                  </a:lnTo>
                  <a:lnTo>
                    <a:pt x="6826044" y="6127952"/>
                  </a:lnTo>
                  <a:lnTo>
                    <a:pt x="6821280" y="6127952"/>
                  </a:lnTo>
                  <a:lnTo>
                    <a:pt x="6811748" y="6137480"/>
                  </a:lnTo>
                  <a:lnTo>
                    <a:pt x="6797452" y="6147012"/>
                  </a:lnTo>
                  <a:lnTo>
                    <a:pt x="6787924" y="6151776"/>
                  </a:lnTo>
                  <a:lnTo>
                    <a:pt x="6778392" y="6142248"/>
                  </a:lnTo>
                  <a:lnTo>
                    <a:pt x="6759332" y="6137480"/>
                  </a:lnTo>
                  <a:lnTo>
                    <a:pt x="6754568" y="6170836"/>
                  </a:lnTo>
                  <a:lnTo>
                    <a:pt x="6735508" y="6185132"/>
                  </a:lnTo>
                  <a:lnTo>
                    <a:pt x="6730740" y="6185132"/>
                  </a:lnTo>
                  <a:lnTo>
                    <a:pt x="6716444" y="6189900"/>
                  </a:lnTo>
                  <a:lnTo>
                    <a:pt x="6725976" y="6194664"/>
                  </a:lnTo>
                  <a:lnTo>
                    <a:pt x="6725976" y="6199428"/>
                  </a:lnTo>
                  <a:lnTo>
                    <a:pt x="6721212" y="6208960"/>
                  </a:lnTo>
                  <a:lnTo>
                    <a:pt x="6711680" y="6208960"/>
                  </a:lnTo>
                  <a:lnTo>
                    <a:pt x="6702152" y="6218488"/>
                  </a:lnTo>
                  <a:lnTo>
                    <a:pt x="6697384" y="6247080"/>
                  </a:lnTo>
                  <a:lnTo>
                    <a:pt x="6692620" y="6256612"/>
                  </a:lnTo>
                  <a:lnTo>
                    <a:pt x="6673560" y="6256612"/>
                  </a:lnTo>
                  <a:lnTo>
                    <a:pt x="6659264" y="6251844"/>
                  </a:lnTo>
                  <a:lnTo>
                    <a:pt x="6654500" y="6256612"/>
                  </a:lnTo>
                  <a:lnTo>
                    <a:pt x="6649736" y="6261376"/>
                  </a:lnTo>
                  <a:lnTo>
                    <a:pt x="6644968" y="6266140"/>
                  </a:lnTo>
                  <a:lnTo>
                    <a:pt x="6625908" y="6270904"/>
                  </a:lnTo>
                  <a:lnTo>
                    <a:pt x="6597316" y="6280436"/>
                  </a:lnTo>
                  <a:lnTo>
                    <a:pt x="6578256" y="6275672"/>
                  </a:lnTo>
                  <a:lnTo>
                    <a:pt x="6563964" y="6270904"/>
                  </a:lnTo>
                  <a:lnTo>
                    <a:pt x="6549668" y="6275672"/>
                  </a:lnTo>
                  <a:lnTo>
                    <a:pt x="6544900" y="6289968"/>
                  </a:lnTo>
                  <a:lnTo>
                    <a:pt x="6540136" y="6294732"/>
                  </a:lnTo>
                  <a:lnTo>
                    <a:pt x="6521076" y="6294732"/>
                  </a:lnTo>
                  <a:lnTo>
                    <a:pt x="6506780" y="6285200"/>
                  </a:lnTo>
                  <a:lnTo>
                    <a:pt x="6492484" y="6280436"/>
                  </a:lnTo>
                  <a:lnTo>
                    <a:pt x="6478188" y="6285200"/>
                  </a:lnTo>
                  <a:lnTo>
                    <a:pt x="6463896" y="6299496"/>
                  </a:lnTo>
                  <a:lnTo>
                    <a:pt x="6449600" y="6304260"/>
                  </a:lnTo>
                  <a:lnTo>
                    <a:pt x="6444836" y="6309028"/>
                  </a:lnTo>
                  <a:lnTo>
                    <a:pt x="6440068" y="6313792"/>
                  </a:lnTo>
                  <a:lnTo>
                    <a:pt x="6421008" y="6313792"/>
                  </a:lnTo>
                  <a:lnTo>
                    <a:pt x="6416244" y="6294732"/>
                  </a:lnTo>
                  <a:lnTo>
                    <a:pt x="6406712" y="6289968"/>
                  </a:lnTo>
                  <a:lnTo>
                    <a:pt x="6397184" y="6299496"/>
                  </a:lnTo>
                  <a:lnTo>
                    <a:pt x="6397184" y="6309028"/>
                  </a:lnTo>
                  <a:lnTo>
                    <a:pt x="6392416" y="6313792"/>
                  </a:lnTo>
                  <a:lnTo>
                    <a:pt x="6392416" y="6328088"/>
                  </a:lnTo>
                  <a:lnTo>
                    <a:pt x="6382888" y="6328088"/>
                  </a:lnTo>
                  <a:lnTo>
                    <a:pt x="6373356" y="6318556"/>
                  </a:lnTo>
                  <a:lnTo>
                    <a:pt x="6359060" y="6318556"/>
                  </a:lnTo>
                  <a:lnTo>
                    <a:pt x="6344768" y="6328088"/>
                  </a:lnTo>
                  <a:lnTo>
                    <a:pt x="6340000" y="6323320"/>
                  </a:lnTo>
                  <a:lnTo>
                    <a:pt x="6335236" y="6323320"/>
                  </a:lnTo>
                  <a:lnTo>
                    <a:pt x="6325708" y="6323320"/>
                  </a:lnTo>
                  <a:lnTo>
                    <a:pt x="6320940" y="6323320"/>
                  </a:lnTo>
                  <a:lnTo>
                    <a:pt x="6316176" y="6328088"/>
                  </a:lnTo>
                  <a:lnTo>
                    <a:pt x="6306644" y="6332852"/>
                  </a:lnTo>
                  <a:lnTo>
                    <a:pt x="6297116" y="6328088"/>
                  </a:lnTo>
                  <a:lnTo>
                    <a:pt x="6278056" y="6313792"/>
                  </a:lnTo>
                  <a:lnTo>
                    <a:pt x="6268524" y="6294732"/>
                  </a:lnTo>
                  <a:lnTo>
                    <a:pt x="6254228" y="6280436"/>
                  </a:lnTo>
                  <a:lnTo>
                    <a:pt x="6244700" y="6270904"/>
                  </a:lnTo>
                  <a:lnTo>
                    <a:pt x="6244700" y="6251844"/>
                  </a:lnTo>
                  <a:lnTo>
                    <a:pt x="6239932" y="6247080"/>
                  </a:lnTo>
                  <a:lnTo>
                    <a:pt x="6239932" y="6232784"/>
                  </a:lnTo>
                  <a:lnTo>
                    <a:pt x="6244700" y="6228020"/>
                  </a:lnTo>
                  <a:lnTo>
                    <a:pt x="6230404" y="6232784"/>
                  </a:lnTo>
                  <a:lnTo>
                    <a:pt x="6220872" y="6237548"/>
                  </a:lnTo>
                  <a:lnTo>
                    <a:pt x="6220872" y="6247080"/>
                  </a:lnTo>
                  <a:lnTo>
                    <a:pt x="6220872" y="6256612"/>
                  </a:lnTo>
                  <a:lnTo>
                    <a:pt x="6201812" y="6261376"/>
                  </a:lnTo>
                  <a:lnTo>
                    <a:pt x="6201812" y="6266140"/>
                  </a:lnTo>
                  <a:lnTo>
                    <a:pt x="6201812" y="6270904"/>
                  </a:lnTo>
                  <a:lnTo>
                    <a:pt x="6216108" y="6285200"/>
                  </a:lnTo>
                  <a:lnTo>
                    <a:pt x="6220872" y="6294732"/>
                  </a:lnTo>
                  <a:lnTo>
                    <a:pt x="6225636" y="6299496"/>
                  </a:lnTo>
                  <a:lnTo>
                    <a:pt x="6235168" y="6318556"/>
                  </a:lnTo>
                  <a:lnTo>
                    <a:pt x="6235168" y="6347148"/>
                  </a:lnTo>
                  <a:lnTo>
                    <a:pt x="6239932" y="6356676"/>
                  </a:lnTo>
                  <a:lnTo>
                    <a:pt x="6239932" y="6366208"/>
                  </a:lnTo>
                  <a:lnTo>
                    <a:pt x="6235168" y="6380504"/>
                  </a:lnTo>
                  <a:lnTo>
                    <a:pt x="6225636" y="6385268"/>
                  </a:lnTo>
                  <a:lnTo>
                    <a:pt x="6216108" y="6385268"/>
                  </a:lnTo>
                  <a:lnTo>
                    <a:pt x="6206576" y="6390032"/>
                  </a:lnTo>
                  <a:lnTo>
                    <a:pt x="6201812" y="6394800"/>
                  </a:lnTo>
                  <a:lnTo>
                    <a:pt x="6192284" y="6404328"/>
                  </a:lnTo>
                  <a:lnTo>
                    <a:pt x="6173220" y="6404328"/>
                  </a:lnTo>
                  <a:lnTo>
                    <a:pt x="6163692" y="6380504"/>
                  </a:lnTo>
                  <a:lnTo>
                    <a:pt x="6149396" y="6394800"/>
                  </a:lnTo>
                  <a:lnTo>
                    <a:pt x="6144632" y="6428156"/>
                  </a:lnTo>
                  <a:lnTo>
                    <a:pt x="6144632" y="6432920"/>
                  </a:lnTo>
                  <a:lnTo>
                    <a:pt x="6135100" y="6437684"/>
                  </a:lnTo>
                  <a:lnTo>
                    <a:pt x="6120804" y="6428156"/>
                  </a:lnTo>
                  <a:lnTo>
                    <a:pt x="6106508" y="6432920"/>
                  </a:lnTo>
                  <a:lnTo>
                    <a:pt x="6096980" y="6442452"/>
                  </a:lnTo>
                  <a:lnTo>
                    <a:pt x="6092216" y="6447216"/>
                  </a:lnTo>
                  <a:lnTo>
                    <a:pt x="6082684" y="6456744"/>
                  </a:lnTo>
                  <a:lnTo>
                    <a:pt x="6068388" y="6447216"/>
                  </a:lnTo>
                  <a:lnTo>
                    <a:pt x="6058860" y="6437684"/>
                  </a:lnTo>
                  <a:lnTo>
                    <a:pt x="6063624" y="6428156"/>
                  </a:lnTo>
                  <a:lnTo>
                    <a:pt x="6058860" y="6423388"/>
                  </a:lnTo>
                  <a:lnTo>
                    <a:pt x="6054092" y="6418624"/>
                  </a:lnTo>
                  <a:lnTo>
                    <a:pt x="6049328" y="6423388"/>
                  </a:lnTo>
                  <a:lnTo>
                    <a:pt x="6054092" y="6432920"/>
                  </a:lnTo>
                  <a:lnTo>
                    <a:pt x="6054092" y="6451980"/>
                  </a:lnTo>
                  <a:lnTo>
                    <a:pt x="6049328" y="6456744"/>
                  </a:lnTo>
                  <a:lnTo>
                    <a:pt x="6039796" y="6461512"/>
                  </a:lnTo>
                  <a:lnTo>
                    <a:pt x="6025504" y="6456744"/>
                  </a:lnTo>
                  <a:lnTo>
                    <a:pt x="6011208" y="6451980"/>
                  </a:lnTo>
                  <a:lnTo>
                    <a:pt x="5996912" y="6442452"/>
                  </a:lnTo>
                  <a:lnTo>
                    <a:pt x="5982616" y="6442452"/>
                  </a:lnTo>
                  <a:lnTo>
                    <a:pt x="5982616" y="6456744"/>
                  </a:lnTo>
                  <a:lnTo>
                    <a:pt x="5973088" y="6466276"/>
                  </a:lnTo>
                  <a:lnTo>
                    <a:pt x="5968320" y="6466276"/>
                  </a:lnTo>
                  <a:lnTo>
                    <a:pt x="5958792" y="6466276"/>
                  </a:lnTo>
                  <a:lnTo>
                    <a:pt x="5949260" y="6475808"/>
                  </a:lnTo>
                  <a:lnTo>
                    <a:pt x="5944496" y="6485336"/>
                  </a:lnTo>
                  <a:lnTo>
                    <a:pt x="5930200" y="6490100"/>
                  </a:lnTo>
                  <a:lnTo>
                    <a:pt x="5896844" y="6494868"/>
                  </a:lnTo>
                  <a:lnTo>
                    <a:pt x="5887316" y="6504396"/>
                  </a:lnTo>
                  <a:lnTo>
                    <a:pt x="5873020" y="6504396"/>
                  </a:lnTo>
                  <a:lnTo>
                    <a:pt x="5858724" y="6504396"/>
                  </a:lnTo>
                  <a:lnTo>
                    <a:pt x="5853956" y="6504396"/>
                  </a:lnTo>
                  <a:lnTo>
                    <a:pt x="5849192" y="6499632"/>
                  </a:lnTo>
                  <a:lnTo>
                    <a:pt x="5839664" y="6499632"/>
                  </a:lnTo>
                  <a:lnTo>
                    <a:pt x="5834896" y="6513928"/>
                  </a:lnTo>
                  <a:lnTo>
                    <a:pt x="5815836" y="6518692"/>
                  </a:lnTo>
                  <a:lnTo>
                    <a:pt x="5801540" y="6518692"/>
                  </a:lnTo>
                  <a:lnTo>
                    <a:pt x="5782480" y="6537752"/>
                  </a:lnTo>
                  <a:lnTo>
                    <a:pt x="5768188" y="6547284"/>
                  </a:lnTo>
                  <a:lnTo>
                    <a:pt x="5758656" y="6552048"/>
                  </a:lnTo>
                  <a:lnTo>
                    <a:pt x="5753892" y="6547284"/>
                  </a:lnTo>
                  <a:lnTo>
                    <a:pt x="5749124" y="6528224"/>
                  </a:lnTo>
                  <a:lnTo>
                    <a:pt x="5744360" y="6528224"/>
                  </a:lnTo>
                  <a:lnTo>
                    <a:pt x="5744360" y="6542516"/>
                  </a:lnTo>
                  <a:lnTo>
                    <a:pt x="5739596" y="6556812"/>
                  </a:lnTo>
                  <a:lnTo>
                    <a:pt x="5734828" y="6561580"/>
                  </a:lnTo>
                  <a:lnTo>
                    <a:pt x="5711004" y="6580640"/>
                  </a:lnTo>
                  <a:lnTo>
                    <a:pt x="5706240" y="6594936"/>
                  </a:lnTo>
                  <a:lnTo>
                    <a:pt x="5711004" y="6609228"/>
                  </a:lnTo>
                  <a:lnTo>
                    <a:pt x="5739596" y="6613996"/>
                  </a:lnTo>
                  <a:lnTo>
                    <a:pt x="5739596" y="6618760"/>
                  </a:lnTo>
                  <a:lnTo>
                    <a:pt x="5739596" y="6628292"/>
                  </a:lnTo>
                  <a:lnTo>
                    <a:pt x="5730064" y="6633056"/>
                  </a:lnTo>
                  <a:lnTo>
                    <a:pt x="5730064" y="6637820"/>
                  </a:lnTo>
                  <a:lnTo>
                    <a:pt x="5758656" y="6666412"/>
                  </a:lnTo>
                  <a:lnTo>
                    <a:pt x="5763420" y="6675940"/>
                  </a:lnTo>
                  <a:lnTo>
                    <a:pt x="5758656" y="6680708"/>
                  </a:lnTo>
                  <a:lnTo>
                    <a:pt x="5749124" y="6695000"/>
                  </a:lnTo>
                  <a:lnTo>
                    <a:pt x="5734828" y="6704532"/>
                  </a:lnTo>
                  <a:lnTo>
                    <a:pt x="5701476" y="6709296"/>
                  </a:lnTo>
                  <a:lnTo>
                    <a:pt x="5672884" y="6704532"/>
                  </a:lnTo>
                  <a:lnTo>
                    <a:pt x="5663352" y="6690236"/>
                  </a:lnTo>
                  <a:lnTo>
                    <a:pt x="5663352" y="6685472"/>
                  </a:lnTo>
                  <a:lnTo>
                    <a:pt x="5668116" y="6685472"/>
                  </a:lnTo>
                  <a:lnTo>
                    <a:pt x="5677648" y="6685472"/>
                  </a:lnTo>
                  <a:lnTo>
                    <a:pt x="5677648" y="6675940"/>
                  </a:lnTo>
                  <a:lnTo>
                    <a:pt x="5672884" y="6671176"/>
                  </a:lnTo>
                  <a:lnTo>
                    <a:pt x="5658588" y="6666412"/>
                  </a:lnTo>
                  <a:lnTo>
                    <a:pt x="5649056" y="6647352"/>
                  </a:lnTo>
                  <a:lnTo>
                    <a:pt x="5649056" y="6633056"/>
                  </a:lnTo>
                  <a:lnTo>
                    <a:pt x="5644292" y="6623524"/>
                  </a:lnTo>
                  <a:lnTo>
                    <a:pt x="5639528" y="6613996"/>
                  </a:lnTo>
                  <a:lnTo>
                    <a:pt x="5629996" y="6604464"/>
                  </a:lnTo>
                  <a:lnTo>
                    <a:pt x="5629996" y="6599700"/>
                  </a:lnTo>
                  <a:lnTo>
                    <a:pt x="5634764" y="6575872"/>
                  </a:lnTo>
                  <a:lnTo>
                    <a:pt x="5629996" y="6561580"/>
                  </a:lnTo>
                  <a:lnTo>
                    <a:pt x="5644292" y="6547284"/>
                  </a:lnTo>
                  <a:lnTo>
                    <a:pt x="5644292" y="6528224"/>
                  </a:lnTo>
                  <a:lnTo>
                    <a:pt x="5668116" y="6523456"/>
                  </a:lnTo>
                  <a:lnTo>
                    <a:pt x="5668116" y="6504396"/>
                  </a:lnTo>
                  <a:lnTo>
                    <a:pt x="5653824" y="6504396"/>
                  </a:lnTo>
                  <a:lnTo>
                    <a:pt x="5644292" y="6490100"/>
                  </a:lnTo>
                  <a:lnTo>
                    <a:pt x="5639528" y="6494868"/>
                  </a:lnTo>
                  <a:lnTo>
                    <a:pt x="5629996" y="6499632"/>
                  </a:lnTo>
                  <a:lnTo>
                    <a:pt x="5615700" y="6471040"/>
                  </a:lnTo>
                  <a:lnTo>
                    <a:pt x="5606172" y="6471040"/>
                  </a:lnTo>
                  <a:lnTo>
                    <a:pt x="5610936" y="6494868"/>
                  </a:lnTo>
                  <a:lnTo>
                    <a:pt x="5591876" y="6504396"/>
                  </a:lnTo>
                  <a:lnTo>
                    <a:pt x="5577580" y="6509160"/>
                  </a:lnTo>
                  <a:lnTo>
                    <a:pt x="5558520" y="6509160"/>
                  </a:lnTo>
                  <a:lnTo>
                    <a:pt x="5548988" y="6513928"/>
                  </a:lnTo>
                  <a:lnTo>
                    <a:pt x="5539460" y="6509160"/>
                  </a:lnTo>
                  <a:lnTo>
                    <a:pt x="5539460" y="6504396"/>
                  </a:lnTo>
                  <a:lnTo>
                    <a:pt x="5544224" y="6494868"/>
                  </a:lnTo>
                  <a:lnTo>
                    <a:pt x="5539460" y="6485336"/>
                  </a:lnTo>
                  <a:lnTo>
                    <a:pt x="5529928" y="6480572"/>
                  </a:lnTo>
                  <a:lnTo>
                    <a:pt x="5510868" y="6480572"/>
                  </a:lnTo>
                  <a:lnTo>
                    <a:pt x="5501340" y="6480572"/>
                  </a:lnTo>
                  <a:lnTo>
                    <a:pt x="5487044" y="6480572"/>
                  </a:lnTo>
                  <a:lnTo>
                    <a:pt x="5482276" y="6475808"/>
                  </a:lnTo>
                  <a:lnTo>
                    <a:pt x="5472748" y="6461512"/>
                  </a:lnTo>
                  <a:lnTo>
                    <a:pt x="5463216" y="6456744"/>
                  </a:lnTo>
                  <a:lnTo>
                    <a:pt x="5458452" y="6447216"/>
                  </a:lnTo>
                  <a:lnTo>
                    <a:pt x="5463216" y="6437684"/>
                  </a:lnTo>
                  <a:lnTo>
                    <a:pt x="5463216" y="6432920"/>
                  </a:lnTo>
                  <a:lnTo>
                    <a:pt x="5444156" y="6432920"/>
                  </a:lnTo>
                  <a:lnTo>
                    <a:pt x="5444156" y="6447216"/>
                  </a:lnTo>
                  <a:lnTo>
                    <a:pt x="5444156" y="6461512"/>
                  </a:lnTo>
                  <a:lnTo>
                    <a:pt x="5448924" y="6471040"/>
                  </a:lnTo>
                  <a:lnTo>
                    <a:pt x="5448924" y="6480572"/>
                  </a:lnTo>
                  <a:lnTo>
                    <a:pt x="5439392" y="6485336"/>
                  </a:lnTo>
                  <a:lnTo>
                    <a:pt x="5429860" y="6471040"/>
                  </a:lnTo>
                  <a:lnTo>
                    <a:pt x="5425096" y="6466276"/>
                  </a:lnTo>
                  <a:lnTo>
                    <a:pt x="5420332" y="6471040"/>
                  </a:lnTo>
                  <a:lnTo>
                    <a:pt x="5415568" y="6480572"/>
                  </a:lnTo>
                  <a:lnTo>
                    <a:pt x="5406036" y="6490100"/>
                  </a:lnTo>
                  <a:lnTo>
                    <a:pt x="5391740" y="6490100"/>
                  </a:lnTo>
                  <a:lnTo>
                    <a:pt x="5377444" y="6499632"/>
                  </a:lnTo>
                  <a:lnTo>
                    <a:pt x="5363148" y="6499632"/>
                  </a:lnTo>
                  <a:lnTo>
                    <a:pt x="5353620" y="6490100"/>
                  </a:lnTo>
                  <a:lnTo>
                    <a:pt x="5339324" y="6475808"/>
                  </a:lnTo>
                  <a:lnTo>
                    <a:pt x="5329796" y="6475808"/>
                  </a:lnTo>
                  <a:lnTo>
                    <a:pt x="5310732" y="6480572"/>
                  </a:lnTo>
                  <a:lnTo>
                    <a:pt x="5286908" y="6485336"/>
                  </a:lnTo>
                  <a:lnTo>
                    <a:pt x="5282144" y="6475808"/>
                  </a:lnTo>
                  <a:lnTo>
                    <a:pt x="5267848" y="6485336"/>
                  </a:lnTo>
                  <a:lnTo>
                    <a:pt x="5253552" y="6466276"/>
                  </a:lnTo>
                  <a:lnTo>
                    <a:pt x="5239256" y="6466276"/>
                  </a:lnTo>
                  <a:lnTo>
                    <a:pt x="5220196" y="6451980"/>
                  </a:lnTo>
                  <a:lnTo>
                    <a:pt x="5215432" y="6447216"/>
                  </a:lnTo>
                  <a:lnTo>
                    <a:pt x="5215432" y="6432920"/>
                  </a:lnTo>
                  <a:lnTo>
                    <a:pt x="5205900" y="6428156"/>
                  </a:lnTo>
                  <a:lnTo>
                    <a:pt x="5201136" y="6432920"/>
                  </a:lnTo>
                  <a:lnTo>
                    <a:pt x="5191604" y="6423388"/>
                  </a:lnTo>
                  <a:lnTo>
                    <a:pt x="5182076" y="6418624"/>
                  </a:lnTo>
                  <a:lnTo>
                    <a:pt x="5167780" y="6418624"/>
                  </a:lnTo>
                  <a:lnTo>
                    <a:pt x="5163016" y="6418624"/>
                  </a:lnTo>
                  <a:lnTo>
                    <a:pt x="5158248" y="6423388"/>
                  </a:lnTo>
                  <a:lnTo>
                    <a:pt x="5158248" y="6413860"/>
                  </a:lnTo>
                  <a:lnTo>
                    <a:pt x="5158248" y="6394800"/>
                  </a:lnTo>
                  <a:lnTo>
                    <a:pt x="5158248" y="6375740"/>
                  </a:lnTo>
                  <a:lnTo>
                    <a:pt x="5153484" y="6370972"/>
                  </a:lnTo>
                  <a:lnTo>
                    <a:pt x="5148720" y="6361444"/>
                  </a:lnTo>
                  <a:lnTo>
                    <a:pt x="5143956" y="6361444"/>
                  </a:lnTo>
                  <a:lnTo>
                    <a:pt x="5139188" y="6351912"/>
                  </a:lnTo>
                  <a:lnTo>
                    <a:pt x="5143956" y="6332852"/>
                  </a:lnTo>
                  <a:lnTo>
                    <a:pt x="5148720" y="6318556"/>
                  </a:lnTo>
                  <a:lnTo>
                    <a:pt x="5153484" y="6318556"/>
                  </a:lnTo>
                  <a:lnTo>
                    <a:pt x="5167780" y="6309028"/>
                  </a:lnTo>
                  <a:lnTo>
                    <a:pt x="5172544" y="6294732"/>
                  </a:lnTo>
                  <a:lnTo>
                    <a:pt x="5177308" y="6285200"/>
                  </a:lnTo>
                  <a:lnTo>
                    <a:pt x="5153484" y="6270904"/>
                  </a:lnTo>
                  <a:lnTo>
                    <a:pt x="5139188" y="6266140"/>
                  </a:lnTo>
                  <a:lnTo>
                    <a:pt x="5124892" y="6266140"/>
                  </a:lnTo>
                  <a:lnTo>
                    <a:pt x="5110600" y="6270904"/>
                  </a:lnTo>
                  <a:lnTo>
                    <a:pt x="5101068" y="6270904"/>
                  </a:lnTo>
                  <a:lnTo>
                    <a:pt x="5096304" y="6270904"/>
                  </a:lnTo>
                  <a:lnTo>
                    <a:pt x="5086772" y="6256612"/>
                  </a:lnTo>
                  <a:lnTo>
                    <a:pt x="5077244" y="6251844"/>
                  </a:lnTo>
                  <a:lnTo>
                    <a:pt x="5067712" y="6251844"/>
                  </a:lnTo>
                  <a:lnTo>
                    <a:pt x="5058180" y="6251844"/>
                  </a:lnTo>
                  <a:lnTo>
                    <a:pt x="5048652" y="6261376"/>
                  </a:lnTo>
                  <a:lnTo>
                    <a:pt x="5039120" y="6261376"/>
                  </a:lnTo>
                  <a:lnTo>
                    <a:pt x="5029592" y="6261376"/>
                  </a:lnTo>
                  <a:lnTo>
                    <a:pt x="5020060" y="6251844"/>
                  </a:lnTo>
                  <a:lnTo>
                    <a:pt x="5005764" y="6242316"/>
                  </a:lnTo>
                  <a:lnTo>
                    <a:pt x="4986704" y="6237548"/>
                  </a:lnTo>
                  <a:lnTo>
                    <a:pt x="4981940" y="6228020"/>
                  </a:lnTo>
                  <a:lnTo>
                    <a:pt x="4977176" y="6218488"/>
                  </a:lnTo>
                  <a:lnTo>
                    <a:pt x="4967644" y="6208960"/>
                  </a:lnTo>
                  <a:lnTo>
                    <a:pt x="4953348" y="6194664"/>
                  </a:lnTo>
                  <a:lnTo>
                    <a:pt x="4943820" y="6189900"/>
                  </a:lnTo>
                  <a:lnTo>
                    <a:pt x="4939052" y="6194664"/>
                  </a:lnTo>
                  <a:lnTo>
                    <a:pt x="4929524" y="6199428"/>
                  </a:lnTo>
                  <a:lnTo>
                    <a:pt x="4900932" y="6213724"/>
                  </a:lnTo>
                  <a:lnTo>
                    <a:pt x="4886636" y="6223256"/>
                  </a:lnTo>
                  <a:lnTo>
                    <a:pt x="4877108" y="6223256"/>
                  </a:lnTo>
                  <a:lnTo>
                    <a:pt x="4872340" y="6232784"/>
                  </a:lnTo>
                  <a:lnTo>
                    <a:pt x="4872340" y="6247080"/>
                  </a:lnTo>
                  <a:lnTo>
                    <a:pt x="4867576" y="6261376"/>
                  </a:lnTo>
                  <a:lnTo>
                    <a:pt x="4858048" y="6270904"/>
                  </a:lnTo>
                  <a:lnTo>
                    <a:pt x="4853280" y="6280436"/>
                  </a:lnTo>
                  <a:lnTo>
                    <a:pt x="4843752" y="6280436"/>
                  </a:lnTo>
                  <a:lnTo>
                    <a:pt x="4834220" y="6280436"/>
                  </a:lnTo>
                  <a:lnTo>
                    <a:pt x="4824692" y="6280436"/>
                  </a:lnTo>
                  <a:lnTo>
                    <a:pt x="4800864" y="6299496"/>
                  </a:lnTo>
                  <a:lnTo>
                    <a:pt x="4791336" y="6294732"/>
                  </a:lnTo>
                  <a:lnTo>
                    <a:pt x="4781804" y="6289968"/>
                  </a:lnTo>
                  <a:lnTo>
                    <a:pt x="4777040" y="6280436"/>
                  </a:lnTo>
                  <a:lnTo>
                    <a:pt x="4767508" y="6280436"/>
                  </a:lnTo>
                  <a:lnTo>
                    <a:pt x="4753212" y="6289968"/>
                  </a:lnTo>
                  <a:lnTo>
                    <a:pt x="4748448" y="6304260"/>
                  </a:lnTo>
                  <a:lnTo>
                    <a:pt x="4743684" y="6318556"/>
                  </a:lnTo>
                  <a:lnTo>
                    <a:pt x="4738920" y="6323320"/>
                  </a:lnTo>
                  <a:lnTo>
                    <a:pt x="4734152" y="6328088"/>
                  </a:lnTo>
                  <a:lnTo>
                    <a:pt x="4729388" y="6328088"/>
                  </a:lnTo>
                  <a:lnTo>
                    <a:pt x="4686500" y="6285200"/>
                  </a:lnTo>
                  <a:lnTo>
                    <a:pt x="4676972" y="6294732"/>
                  </a:lnTo>
                  <a:lnTo>
                    <a:pt x="4672208" y="6313792"/>
                  </a:lnTo>
                  <a:lnTo>
                    <a:pt x="4662676" y="6318556"/>
                  </a:lnTo>
                  <a:lnTo>
                    <a:pt x="4643616" y="6289968"/>
                  </a:lnTo>
                  <a:lnTo>
                    <a:pt x="4638852" y="6285200"/>
                  </a:lnTo>
                  <a:lnTo>
                    <a:pt x="4634084" y="6289968"/>
                  </a:lnTo>
                  <a:lnTo>
                    <a:pt x="4629320" y="6294732"/>
                  </a:lnTo>
                  <a:lnTo>
                    <a:pt x="4619788" y="6309028"/>
                  </a:lnTo>
                  <a:lnTo>
                    <a:pt x="4610260" y="6318556"/>
                  </a:lnTo>
                  <a:lnTo>
                    <a:pt x="4610260" y="6328088"/>
                  </a:lnTo>
                  <a:lnTo>
                    <a:pt x="4600728" y="6332852"/>
                  </a:lnTo>
                  <a:lnTo>
                    <a:pt x="4586436" y="6342384"/>
                  </a:lnTo>
                  <a:lnTo>
                    <a:pt x="4576904" y="6337616"/>
                  </a:lnTo>
                  <a:lnTo>
                    <a:pt x="4567372" y="6328088"/>
                  </a:lnTo>
                  <a:lnTo>
                    <a:pt x="4562608" y="6318556"/>
                  </a:lnTo>
                  <a:lnTo>
                    <a:pt x="4543548" y="6309028"/>
                  </a:lnTo>
                  <a:lnTo>
                    <a:pt x="4524488" y="6299496"/>
                  </a:lnTo>
                  <a:lnTo>
                    <a:pt x="4510192" y="6289968"/>
                  </a:lnTo>
                  <a:lnTo>
                    <a:pt x="4505428" y="6289968"/>
                  </a:lnTo>
                  <a:lnTo>
                    <a:pt x="4500660" y="6294732"/>
                  </a:lnTo>
                  <a:lnTo>
                    <a:pt x="4495896" y="6299496"/>
                  </a:lnTo>
                  <a:lnTo>
                    <a:pt x="4491132" y="6309028"/>
                  </a:lnTo>
                  <a:lnTo>
                    <a:pt x="4476836" y="6323320"/>
                  </a:lnTo>
                  <a:lnTo>
                    <a:pt x="4467308" y="6337616"/>
                  </a:lnTo>
                  <a:lnTo>
                    <a:pt x="4457776" y="6347148"/>
                  </a:lnTo>
                  <a:lnTo>
                    <a:pt x="4453012" y="6351912"/>
                  </a:lnTo>
                  <a:lnTo>
                    <a:pt x="4443480" y="6347148"/>
                  </a:lnTo>
                  <a:lnTo>
                    <a:pt x="4433948" y="6342384"/>
                  </a:lnTo>
                  <a:lnTo>
                    <a:pt x="4424420" y="6342384"/>
                  </a:lnTo>
                  <a:lnTo>
                    <a:pt x="4405360" y="6351912"/>
                  </a:lnTo>
                  <a:lnTo>
                    <a:pt x="4395828" y="6332852"/>
                  </a:lnTo>
                  <a:lnTo>
                    <a:pt x="4391064" y="6332852"/>
                  </a:lnTo>
                  <a:lnTo>
                    <a:pt x="4386300" y="6332852"/>
                  </a:lnTo>
                  <a:lnTo>
                    <a:pt x="4381532" y="6337616"/>
                  </a:lnTo>
                  <a:lnTo>
                    <a:pt x="4376768" y="6347148"/>
                  </a:lnTo>
                  <a:lnTo>
                    <a:pt x="4372004" y="6361444"/>
                  </a:lnTo>
                  <a:lnTo>
                    <a:pt x="4362472" y="6370972"/>
                  </a:lnTo>
                  <a:lnTo>
                    <a:pt x="4357708" y="6375740"/>
                  </a:lnTo>
                  <a:lnTo>
                    <a:pt x="4357708" y="6380504"/>
                  </a:lnTo>
                  <a:lnTo>
                    <a:pt x="4362472" y="6390032"/>
                  </a:lnTo>
                  <a:lnTo>
                    <a:pt x="4362472" y="6394800"/>
                  </a:lnTo>
                  <a:lnTo>
                    <a:pt x="4367240" y="6409096"/>
                  </a:lnTo>
                  <a:lnTo>
                    <a:pt x="4367240" y="6418624"/>
                  </a:lnTo>
                  <a:lnTo>
                    <a:pt x="4386300" y="6437684"/>
                  </a:lnTo>
                  <a:lnTo>
                    <a:pt x="4391064" y="6447216"/>
                  </a:lnTo>
                  <a:lnTo>
                    <a:pt x="4391064" y="6456744"/>
                  </a:lnTo>
                  <a:lnTo>
                    <a:pt x="4391064" y="6485336"/>
                  </a:lnTo>
                  <a:lnTo>
                    <a:pt x="4391064" y="6494868"/>
                  </a:lnTo>
                  <a:lnTo>
                    <a:pt x="4386300" y="6518692"/>
                  </a:lnTo>
                  <a:lnTo>
                    <a:pt x="4386300" y="6532988"/>
                  </a:lnTo>
                  <a:lnTo>
                    <a:pt x="4395828" y="6537752"/>
                  </a:lnTo>
                  <a:lnTo>
                    <a:pt x="4400596" y="6547284"/>
                  </a:lnTo>
                  <a:lnTo>
                    <a:pt x="4395828" y="6552048"/>
                  </a:lnTo>
                  <a:lnTo>
                    <a:pt x="4391064" y="6561580"/>
                  </a:lnTo>
                  <a:lnTo>
                    <a:pt x="4386300" y="6561580"/>
                  </a:lnTo>
                  <a:lnTo>
                    <a:pt x="4381532" y="6556812"/>
                  </a:lnTo>
                  <a:lnTo>
                    <a:pt x="4372004" y="6552048"/>
                  </a:lnTo>
                  <a:lnTo>
                    <a:pt x="4367240" y="6552048"/>
                  </a:lnTo>
                  <a:lnTo>
                    <a:pt x="4357708" y="6547284"/>
                  </a:lnTo>
                  <a:lnTo>
                    <a:pt x="4343412" y="6547284"/>
                  </a:lnTo>
                  <a:lnTo>
                    <a:pt x="4319588" y="6552048"/>
                  </a:lnTo>
                  <a:lnTo>
                    <a:pt x="4314820" y="6552048"/>
                  </a:lnTo>
                  <a:lnTo>
                    <a:pt x="4310056" y="6547284"/>
                  </a:lnTo>
                  <a:lnTo>
                    <a:pt x="4310056" y="6537752"/>
                  </a:lnTo>
                  <a:lnTo>
                    <a:pt x="4310056" y="6528224"/>
                  </a:lnTo>
                  <a:lnTo>
                    <a:pt x="4305292" y="6523456"/>
                  </a:lnTo>
                  <a:lnTo>
                    <a:pt x="4300528" y="6518692"/>
                  </a:lnTo>
                  <a:lnTo>
                    <a:pt x="4305292" y="6499632"/>
                  </a:lnTo>
                  <a:lnTo>
                    <a:pt x="4295760" y="6490100"/>
                  </a:lnTo>
                  <a:lnTo>
                    <a:pt x="4300528" y="6485336"/>
                  </a:lnTo>
                  <a:lnTo>
                    <a:pt x="4295760" y="6466276"/>
                  </a:lnTo>
                  <a:lnTo>
                    <a:pt x="4295760" y="6461512"/>
                  </a:lnTo>
                  <a:lnTo>
                    <a:pt x="4286232" y="6456744"/>
                  </a:lnTo>
                  <a:lnTo>
                    <a:pt x="4276700" y="6461512"/>
                  </a:lnTo>
                  <a:lnTo>
                    <a:pt x="4248108" y="6475808"/>
                  </a:lnTo>
                  <a:lnTo>
                    <a:pt x="4224284" y="6499632"/>
                  </a:lnTo>
                  <a:lnTo>
                    <a:pt x="4214756" y="6504396"/>
                  </a:lnTo>
                  <a:lnTo>
                    <a:pt x="4200460" y="6509160"/>
                  </a:lnTo>
                  <a:lnTo>
                    <a:pt x="4190928" y="6504396"/>
                  </a:lnTo>
                  <a:lnTo>
                    <a:pt x="4171868" y="6499632"/>
                  </a:lnTo>
                  <a:lnTo>
                    <a:pt x="4152808" y="6509160"/>
                  </a:lnTo>
                  <a:lnTo>
                    <a:pt x="4143276" y="6504396"/>
                  </a:lnTo>
                  <a:lnTo>
                    <a:pt x="4138512" y="6499632"/>
                  </a:lnTo>
                  <a:lnTo>
                    <a:pt x="4133748" y="6490100"/>
                  </a:lnTo>
                  <a:lnTo>
                    <a:pt x="4133748" y="6480572"/>
                  </a:lnTo>
                  <a:lnTo>
                    <a:pt x="4133748" y="6475808"/>
                  </a:lnTo>
                  <a:lnTo>
                    <a:pt x="4124216" y="6471040"/>
                  </a:lnTo>
                  <a:lnTo>
                    <a:pt x="4114688" y="6466276"/>
                  </a:lnTo>
                  <a:lnTo>
                    <a:pt x="4109920" y="6456744"/>
                  </a:lnTo>
                  <a:lnTo>
                    <a:pt x="4105156" y="6447216"/>
                  </a:lnTo>
                  <a:lnTo>
                    <a:pt x="4109920" y="6432920"/>
                  </a:lnTo>
                  <a:lnTo>
                    <a:pt x="4109920" y="6418624"/>
                  </a:lnTo>
                  <a:lnTo>
                    <a:pt x="4105156" y="6413860"/>
                  </a:lnTo>
                  <a:lnTo>
                    <a:pt x="4090860" y="6409096"/>
                  </a:lnTo>
                  <a:lnTo>
                    <a:pt x="4057504" y="6404328"/>
                  </a:lnTo>
                  <a:lnTo>
                    <a:pt x="4024148" y="6399564"/>
                  </a:lnTo>
                  <a:lnTo>
                    <a:pt x="4009852" y="6399564"/>
                  </a:lnTo>
                  <a:lnTo>
                    <a:pt x="4000324" y="6399564"/>
                  </a:lnTo>
                  <a:lnTo>
                    <a:pt x="3990792" y="6394800"/>
                  </a:lnTo>
                  <a:lnTo>
                    <a:pt x="3990792" y="6390032"/>
                  </a:lnTo>
                  <a:lnTo>
                    <a:pt x="3990792" y="6385268"/>
                  </a:lnTo>
                  <a:lnTo>
                    <a:pt x="3995560" y="6370972"/>
                  </a:lnTo>
                  <a:lnTo>
                    <a:pt x="4000324" y="6356676"/>
                  </a:lnTo>
                  <a:lnTo>
                    <a:pt x="4014620" y="6332852"/>
                  </a:lnTo>
                  <a:lnTo>
                    <a:pt x="4014620" y="6318556"/>
                  </a:lnTo>
                  <a:lnTo>
                    <a:pt x="4014620" y="6299496"/>
                  </a:lnTo>
                  <a:lnTo>
                    <a:pt x="4024148" y="6275672"/>
                  </a:lnTo>
                  <a:lnTo>
                    <a:pt x="4033680" y="6261376"/>
                  </a:lnTo>
                  <a:lnTo>
                    <a:pt x="4043208" y="6256612"/>
                  </a:lnTo>
                  <a:lnTo>
                    <a:pt x="4038444" y="6247080"/>
                  </a:lnTo>
                  <a:lnTo>
                    <a:pt x="4033680" y="6242316"/>
                  </a:lnTo>
                  <a:lnTo>
                    <a:pt x="4028916" y="6237548"/>
                  </a:lnTo>
                  <a:lnTo>
                    <a:pt x="4014620" y="6232784"/>
                  </a:lnTo>
                  <a:lnTo>
                    <a:pt x="3995560" y="6232784"/>
                  </a:lnTo>
                  <a:lnTo>
                    <a:pt x="3971732" y="6228020"/>
                  </a:lnTo>
                  <a:lnTo>
                    <a:pt x="3943140" y="6213724"/>
                  </a:lnTo>
                  <a:lnTo>
                    <a:pt x="3943140" y="6194664"/>
                  </a:lnTo>
                  <a:lnTo>
                    <a:pt x="3943140" y="6185132"/>
                  </a:lnTo>
                  <a:lnTo>
                    <a:pt x="3938376" y="6175604"/>
                  </a:lnTo>
                  <a:lnTo>
                    <a:pt x="3933612" y="6166072"/>
                  </a:lnTo>
                  <a:lnTo>
                    <a:pt x="3933612" y="6161308"/>
                  </a:lnTo>
                  <a:lnTo>
                    <a:pt x="3938376" y="6142248"/>
                  </a:lnTo>
                  <a:lnTo>
                    <a:pt x="3928848" y="6123188"/>
                  </a:lnTo>
                  <a:lnTo>
                    <a:pt x="3919316" y="6113656"/>
                  </a:lnTo>
                  <a:lnTo>
                    <a:pt x="3914552" y="6104128"/>
                  </a:lnTo>
                  <a:lnTo>
                    <a:pt x="3914552" y="6094596"/>
                  </a:lnTo>
                  <a:lnTo>
                    <a:pt x="3914552" y="6085064"/>
                  </a:lnTo>
                  <a:lnTo>
                    <a:pt x="3938376" y="6061240"/>
                  </a:lnTo>
                  <a:lnTo>
                    <a:pt x="3938376" y="6056476"/>
                  </a:lnTo>
                  <a:lnTo>
                    <a:pt x="3933612" y="6056476"/>
                  </a:lnTo>
                  <a:lnTo>
                    <a:pt x="3924080" y="6056476"/>
                  </a:lnTo>
                  <a:lnTo>
                    <a:pt x="3895492" y="6066004"/>
                  </a:lnTo>
                  <a:lnTo>
                    <a:pt x="3895492" y="6061240"/>
                  </a:lnTo>
                  <a:lnTo>
                    <a:pt x="3885960" y="6056476"/>
                  </a:lnTo>
                  <a:lnTo>
                    <a:pt x="3862136" y="6056476"/>
                  </a:lnTo>
                  <a:lnTo>
                    <a:pt x="3838308" y="6061240"/>
                  </a:lnTo>
                  <a:lnTo>
                    <a:pt x="3812100" y="6066004"/>
                  </a:lnTo>
                  <a:lnTo>
                    <a:pt x="3783512" y="6080300"/>
                  </a:lnTo>
                  <a:lnTo>
                    <a:pt x="3769216" y="6089832"/>
                  </a:lnTo>
                  <a:lnTo>
                    <a:pt x="3759684" y="6094596"/>
                  </a:lnTo>
                  <a:lnTo>
                    <a:pt x="3750156" y="6099360"/>
                  </a:lnTo>
                  <a:lnTo>
                    <a:pt x="3740624" y="6094596"/>
                  </a:lnTo>
                  <a:lnTo>
                    <a:pt x="3740624" y="6080300"/>
                  </a:lnTo>
                  <a:lnTo>
                    <a:pt x="3759684" y="6056476"/>
                  </a:lnTo>
                  <a:lnTo>
                    <a:pt x="3764448" y="6037416"/>
                  </a:lnTo>
                  <a:lnTo>
                    <a:pt x="3759684" y="6023120"/>
                  </a:lnTo>
                  <a:lnTo>
                    <a:pt x="3754920" y="6013588"/>
                  </a:lnTo>
                  <a:lnTo>
                    <a:pt x="3750156" y="6004060"/>
                  </a:lnTo>
                  <a:lnTo>
                    <a:pt x="3740624" y="6004060"/>
                  </a:lnTo>
                  <a:lnTo>
                    <a:pt x="3735860" y="5994528"/>
                  </a:lnTo>
                  <a:lnTo>
                    <a:pt x="3735860" y="5970704"/>
                  </a:lnTo>
                  <a:lnTo>
                    <a:pt x="3745388" y="5946876"/>
                  </a:lnTo>
                  <a:lnTo>
                    <a:pt x="3759684" y="5937348"/>
                  </a:lnTo>
                  <a:lnTo>
                    <a:pt x="3764448" y="5932580"/>
                  </a:lnTo>
                  <a:lnTo>
                    <a:pt x="3769216" y="5927816"/>
                  </a:lnTo>
                  <a:lnTo>
                    <a:pt x="3764448" y="5913520"/>
                  </a:lnTo>
                  <a:lnTo>
                    <a:pt x="3764448" y="5899224"/>
                  </a:lnTo>
                  <a:lnTo>
                    <a:pt x="3773980" y="5880164"/>
                  </a:lnTo>
                  <a:lnTo>
                    <a:pt x="3778744" y="5861104"/>
                  </a:lnTo>
                  <a:lnTo>
                    <a:pt x="3797804" y="5865868"/>
                  </a:lnTo>
                  <a:lnTo>
                    <a:pt x="3802572" y="5861104"/>
                  </a:lnTo>
                  <a:lnTo>
                    <a:pt x="3812100" y="5856340"/>
                  </a:lnTo>
                  <a:lnTo>
                    <a:pt x="3816868" y="5846808"/>
                  </a:lnTo>
                  <a:lnTo>
                    <a:pt x="3826396" y="5832512"/>
                  </a:lnTo>
                  <a:lnTo>
                    <a:pt x="3831160" y="5808688"/>
                  </a:lnTo>
                  <a:lnTo>
                    <a:pt x="3833544" y="5803924"/>
                  </a:lnTo>
                  <a:lnTo>
                    <a:pt x="3852604" y="5808688"/>
                  </a:lnTo>
                  <a:lnTo>
                    <a:pt x="3857368" y="5803924"/>
                  </a:lnTo>
                  <a:lnTo>
                    <a:pt x="3871664" y="5789628"/>
                  </a:lnTo>
                  <a:lnTo>
                    <a:pt x="3881196" y="5770568"/>
                  </a:lnTo>
                  <a:lnTo>
                    <a:pt x="3895492" y="5765804"/>
                  </a:lnTo>
                  <a:lnTo>
                    <a:pt x="3905020" y="5761036"/>
                  </a:lnTo>
                  <a:lnTo>
                    <a:pt x="3909788" y="5756272"/>
                  </a:lnTo>
                  <a:lnTo>
                    <a:pt x="3909788" y="5746740"/>
                  </a:lnTo>
                  <a:lnTo>
                    <a:pt x="3900256" y="5732448"/>
                  </a:lnTo>
                  <a:lnTo>
                    <a:pt x="3895492" y="5722916"/>
                  </a:lnTo>
                  <a:lnTo>
                    <a:pt x="3895492" y="5713384"/>
                  </a:lnTo>
                  <a:lnTo>
                    <a:pt x="3909788" y="5708620"/>
                  </a:lnTo>
                  <a:lnTo>
                    <a:pt x="3914552" y="5699092"/>
                  </a:lnTo>
                  <a:lnTo>
                    <a:pt x="3909788" y="5680028"/>
                  </a:lnTo>
                  <a:lnTo>
                    <a:pt x="3919316" y="5660968"/>
                  </a:lnTo>
                  <a:lnTo>
                    <a:pt x="3919316" y="5632380"/>
                  </a:lnTo>
                  <a:lnTo>
                    <a:pt x="3924080" y="5613320"/>
                  </a:lnTo>
                  <a:lnTo>
                    <a:pt x="3924080" y="5594256"/>
                  </a:lnTo>
                  <a:lnTo>
                    <a:pt x="3919316" y="5579964"/>
                  </a:lnTo>
                  <a:lnTo>
                    <a:pt x="3919316" y="5551372"/>
                  </a:lnTo>
                  <a:lnTo>
                    <a:pt x="3909788" y="5527544"/>
                  </a:lnTo>
                  <a:lnTo>
                    <a:pt x="3914552" y="5513252"/>
                  </a:lnTo>
                  <a:lnTo>
                    <a:pt x="3914552" y="5484660"/>
                  </a:lnTo>
                  <a:lnTo>
                    <a:pt x="3909788" y="5456068"/>
                  </a:lnTo>
                  <a:lnTo>
                    <a:pt x="3900256" y="5451304"/>
                  </a:lnTo>
                  <a:lnTo>
                    <a:pt x="3885960" y="5446540"/>
                  </a:lnTo>
                  <a:lnTo>
                    <a:pt x="3876432" y="5441772"/>
                  </a:lnTo>
                  <a:lnTo>
                    <a:pt x="3871664" y="5446540"/>
                  </a:lnTo>
                  <a:lnTo>
                    <a:pt x="3866900" y="5456068"/>
                  </a:lnTo>
                  <a:lnTo>
                    <a:pt x="3862136" y="5465600"/>
                  </a:lnTo>
                  <a:lnTo>
                    <a:pt x="3852604" y="5460832"/>
                  </a:lnTo>
                  <a:lnTo>
                    <a:pt x="3847840" y="5451304"/>
                  </a:lnTo>
                  <a:lnTo>
                    <a:pt x="3843076" y="5441772"/>
                  </a:lnTo>
                  <a:lnTo>
                    <a:pt x="3831160" y="5389356"/>
                  </a:lnTo>
                  <a:lnTo>
                    <a:pt x="3826396" y="5375060"/>
                  </a:lnTo>
                  <a:lnTo>
                    <a:pt x="3826396" y="5356000"/>
                  </a:lnTo>
                  <a:lnTo>
                    <a:pt x="3816868" y="5351236"/>
                  </a:lnTo>
                  <a:lnTo>
                    <a:pt x="3812100" y="5346472"/>
                  </a:lnTo>
                  <a:lnTo>
                    <a:pt x="3797804" y="5327412"/>
                  </a:lnTo>
                  <a:lnTo>
                    <a:pt x="3793040" y="5317880"/>
                  </a:lnTo>
                  <a:lnTo>
                    <a:pt x="3788276" y="5317880"/>
                  </a:lnTo>
                  <a:lnTo>
                    <a:pt x="3778744" y="5317880"/>
                  </a:lnTo>
                  <a:lnTo>
                    <a:pt x="3773980" y="5317880"/>
                  </a:lnTo>
                  <a:lnTo>
                    <a:pt x="3764448" y="5308348"/>
                  </a:lnTo>
                  <a:lnTo>
                    <a:pt x="3759684" y="5298820"/>
                  </a:lnTo>
                  <a:lnTo>
                    <a:pt x="3754920" y="5294056"/>
                  </a:lnTo>
                  <a:lnTo>
                    <a:pt x="3745388" y="5289288"/>
                  </a:lnTo>
                  <a:lnTo>
                    <a:pt x="3735860" y="5294056"/>
                  </a:lnTo>
                  <a:lnTo>
                    <a:pt x="3731092" y="5303584"/>
                  </a:lnTo>
                  <a:lnTo>
                    <a:pt x="3726328" y="5308348"/>
                  </a:lnTo>
                  <a:lnTo>
                    <a:pt x="3721564" y="5317880"/>
                  </a:lnTo>
                  <a:lnTo>
                    <a:pt x="3707268" y="5336940"/>
                  </a:lnTo>
                  <a:lnTo>
                    <a:pt x="3702504" y="5346472"/>
                  </a:lnTo>
                  <a:lnTo>
                    <a:pt x="3697740" y="5341704"/>
                  </a:lnTo>
                  <a:lnTo>
                    <a:pt x="3673912" y="5322644"/>
                  </a:lnTo>
                  <a:lnTo>
                    <a:pt x="3664380" y="5317880"/>
                  </a:lnTo>
                  <a:lnTo>
                    <a:pt x="3650088" y="5322644"/>
                  </a:lnTo>
                  <a:lnTo>
                    <a:pt x="3626260" y="5317880"/>
                  </a:lnTo>
                  <a:lnTo>
                    <a:pt x="3616732" y="5317880"/>
                  </a:lnTo>
                  <a:lnTo>
                    <a:pt x="3597672" y="5303584"/>
                  </a:lnTo>
                  <a:lnTo>
                    <a:pt x="3592904" y="5298820"/>
                  </a:lnTo>
                  <a:lnTo>
                    <a:pt x="3564316" y="5308348"/>
                  </a:lnTo>
                  <a:lnTo>
                    <a:pt x="3559548" y="5317880"/>
                  </a:lnTo>
                  <a:lnTo>
                    <a:pt x="3554784" y="5317880"/>
                  </a:lnTo>
                  <a:lnTo>
                    <a:pt x="3545252" y="5313116"/>
                  </a:lnTo>
                  <a:lnTo>
                    <a:pt x="3540488" y="5308348"/>
                  </a:lnTo>
                  <a:lnTo>
                    <a:pt x="3545252" y="5298820"/>
                  </a:lnTo>
                  <a:lnTo>
                    <a:pt x="3550020" y="5294056"/>
                  </a:lnTo>
                  <a:lnTo>
                    <a:pt x="3550020" y="5289288"/>
                  </a:lnTo>
                  <a:lnTo>
                    <a:pt x="3559548" y="5274992"/>
                  </a:lnTo>
                  <a:lnTo>
                    <a:pt x="3588140" y="5246404"/>
                  </a:lnTo>
                  <a:lnTo>
                    <a:pt x="3583376" y="5236872"/>
                  </a:lnTo>
                  <a:lnTo>
                    <a:pt x="3569080" y="5213048"/>
                  </a:lnTo>
                  <a:lnTo>
                    <a:pt x="3569080" y="5198752"/>
                  </a:lnTo>
                  <a:lnTo>
                    <a:pt x="3564316" y="5193988"/>
                  </a:lnTo>
                  <a:lnTo>
                    <a:pt x="3550020" y="5198752"/>
                  </a:lnTo>
                  <a:lnTo>
                    <a:pt x="3521428" y="5222576"/>
                  </a:lnTo>
                  <a:lnTo>
                    <a:pt x="3516664" y="5217812"/>
                  </a:lnTo>
                  <a:lnTo>
                    <a:pt x="3516664" y="5213048"/>
                  </a:lnTo>
                  <a:lnTo>
                    <a:pt x="3516664" y="5189220"/>
                  </a:lnTo>
                  <a:lnTo>
                    <a:pt x="3526192" y="5184456"/>
                  </a:lnTo>
                  <a:lnTo>
                    <a:pt x="3540488" y="5174928"/>
                  </a:lnTo>
                  <a:lnTo>
                    <a:pt x="3550020" y="5165396"/>
                  </a:lnTo>
                  <a:lnTo>
                    <a:pt x="3550020" y="5160632"/>
                  </a:lnTo>
                  <a:lnTo>
                    <a:pt x="3550020" y="5155864"/>
                  </a:lnTo>
                  <a:lnTo>
                    <a:pt x="3530960" y="5160632"/>
                  </a:lnTo>
                  <a:lnTo>
                    <a:pt x="3526192" y="5155864"/>
                  </a:lnTo>
                  <a:lnTo>
                    <a:pt x="3516664" y="5136804"/>
                  </a:lnTo>
                  <a:lnTo>
                    <a:pt x="3507132" y="5127276"/>
                  </a:lnTo>
                  <a:lnTo>
                    <a:pt x="3502368" y="5122508"/>
                  </a:lnTo>
                  <a:lnTo>
                    <a:pt x="3478540" y="5136804"/>
                  </a:lnTo>
                  <a:lnTo>
                    <a:pt x="3449952" y="5151100"/>
                  </a:lnTo>
                  <a:lnTo>
                    <a:pt x="3421360" y="5170160"/>
                  </a:lnTo>
                  <a:lnTo>
                    <a:pt x="3421360" y="5179692"/>
                  </a:lnTo>
                  <a:lnTo>
                    <a:pt x="3416596" y="5179692"/>
                  </a:lnTo>
                  <a:lnTo>
                    <a:pt x="3411832" y="5189220"/>
                  </a:lnTo>
                  <a:lnTo>
                    <a:pt x="3407064" y="5193988"/>
                  </a:lnTo>
                  <a:lnTo>
                    <a:pt x="3402300" y="5198752"/>
                  </a:lnTo>
                  <a:lnTo>
                    <a:pt x="3397536" y="5198752"/>
                  </a:lnTo>
                  <a:lnTo>
                    <a:pt x="3383240" y="5193988"/>
                  </a:lnTo>
                  <a:lnTo>
                    <a:pt x="3364180" y="5184456"/>
                  </a:lnTo>
                  <a:lnTo>
                    <a:pt x="3340352" y="5179692"/>
                  </a:lnTo>
                  <a:lnTo>
                    <a:pt x="3335588" y="5179692"/>
                  </a:lnTo>
                  <a:lnTo>
                    <a:pt x="3306996" y="5174928"/>
                  </a:lnTo>
                  <a:lnTo>
                    <a:pt x="3302232" y="5170160"/>
                  </a:lnTo>
                  <a:lnTo>
                    <a:pt x="3297468" y="5160632"/>
                  </a:lnTo>
                  <a:lnTo>
                    <a:pt x="3287936" y="5151100"/>
                  </a:lnTo>
                  <a:lnTo>
                    <a:pt x="3283172" y="5151100"/>
                  </a:lnTo>
                  <a:lnTo>
                    <a:pt x="3259348" y="5165396"/>
                  </a:lnTo>
                  <a:lnTo>
                    <a:pt x="3230756" y="5179692"/>
                  </a:lnTo>
                  <a:lnTo>
                    <a:pt x="3216460" y="5193988"/>
                  </a:lnTo>
                  <a:lnTo>
                    <a:pt x="3202164" y="5208284"/>
                  </a:lnTo>
                  <a:lnTo>
                    <a:pt x="3187868" y="5213048"/>
                  </a:lnTo>
                  <a:lnTo>
                    <a:pt x="3187868" y="5222576"/>
                  </a:lnTo>
                  <a:lnTo>
                    <a:pt x="3178340" y="5232108"/>
                  </a:lnTo>
                  <a:lnTo>
                    <a:pt x="3168808" y="5241640"/>
                  </a:lnTo>
                  <a:lnTo>
                    <a:pt x="3144984" y="5251168"/>
                  </a:lnTo>
                  <a:lnTo>
                    <a:pt x="3130688" y="5260700"/>
                  </a:lnTo>
                  <a:lnTo>
                    <a:pt x="3083036" y="5265464"/>
                  </a:lnTo>
                  <a:lnTo>
                    <a:pt x="3068740" y="5270228"/>
                  </a:lnTo>
                  <a:lnTo>
                    <a:pt x="3059212" y="5279760"/>
                  </a:lnTo>
                  <a:lnTo>
                    <a:pt x="3054444" y="5294056"/>
                  </a:lnTo>
                  <a:lnTo>
                    <a:pt x="3044916" y="5313116"/>
                  </a:lnTo>
                  <a:lnTo>
                    <a:pt x="3035384" y="5322644"/>
                  </a:lnTo>
                  <a:lnTo>
                    <a:pt x="3011560" y="5341704"/>
                  </a:lnTo>
                  <a:lnTo>
                    <a:pt x="2982968" y="5356000"/>
                  </a:lnTo>
                  <a:lnTo>
                    <a:pt x="2973440" y="5365532"/>
                  </a:lnTo>
                  <a:lnTo>
                    <a:pt x="2973440" y="5370296"/>
                  </a:lnTo>
                  <a:lnTo>
                    <a:pt x="2978204" y="5375060"/>
                  </a:lnTo>
                  <a:lnTo>
                    <a:pt x="2978204" y="5379828"/>
                  </a:lnTo>
                  <a:lnTo>
                    <a:pt x="2978204" y="5384592"/>
                  </a:lnTo>
                  <a:lnTo>
                    <a:pt x="2973440" y="5389356"/>
                  </a:lnTo>
                  <a:lnTo>
                    <a:pt x="2959144" y="5403652"/>
                  </a:lnTo>
                  <a:lnTo>
                    <a:pt x="2944848" y="5408416"/>
                  </a:lnTo>
                  <a:lnTo>
                    <a:pt x="2935316" y="5413184"/>
                  </a:lnTo>
                  <a:lnTo>
                    <a:pt x="2925788" y="5413184"/>
                  </a:lnTo>
                  <a:lnTo>
                    <a:pt x="2916256" y="5413184"/>
                  </a:lnTo>
                  <a:lnTo>
                    <a:pt x="2911492" y="5408416"/>
                  </a:lnTo>
                  <a:lnTo>
                    <a:pt x="2906728" y="5413184"/>
                  </a:lnTo>
                  <a:lnTo>
                    <a:pt x="2897196" y="5417948"/>
                  </a:lnTo>
                  <a:lnTo>
                    <a:pt x="2887668" y="5417948"/>
                  </a:lnTo>
                  <a:lnTo>
                    <a:pt x="2868604" y="5432244"/>
                  </a:lnTo>
                  <a:lnTo>
                    <a:pt x="2859076" y="5432244"/>
                  </a:lnTo>
                  <a:lnTo>
                    <a:pt x="2844780" y="5427480"/>
                  </a:lnTo>
                  <a:lnTo>
                    <a:pt x="2825720" y="5427480"/>
                  </a:lnTo>
                  <a:lnTo>
                    <a:pt x="2816188" y="5427480"/>
                  </a:lnTo>
                  <a:lnTo>
                    <a:pt x="2816188" y="5417948"/>
                  </a:lnTo>
                  <a:lnTo>
                    <a:pt x="2816188" y="5394124"/>
                  </a:lnTo>
                  <a:lnTo>
                    <a:pt x="2811424" y="5389356"/>
                  </a:lnTo>
                  <a:lnTo>
                    <a:pt x="2792364" y="5384592"/>
                  </a:lnTo>
                  <a:lnTo>
                    <a:pt x="2773304" y="5379828"/>
                  </a:lnTo>
                  <a:lnTo>
                    <a:pt x="2763772" y="5370296"/>
                  </a:lnTo>
                  <a:lnTo>
                    <a:pt x="2759008" y="5370296"/>
                  </a:lnTo>
                  <a:lnTo>
                    <a:pt x="2749476" y="5370296"/>
                  </a:lnTo>
                  <a:lnTo>
                    <a:pt x="2739948" y="5379828"/>
                  </a:lnTo>
                  <a:lnTo>
                    <a:pt x="2725652" y="5389356"/>
                  </a:lnTo>
                  <a:lnTo>
                    <a:pt x="2720888" y="5389356"/>
                  </a:lnTo>
                  <a:lnTo>
                    <a:pt x="2711356" y="5384592"/>
                  </a:lnTo>
                  <a:lnTo>
                    <a:pt x="2701828" y="5379828"/>
                  </a:lnTo>
                  <a:lnTo>
                    <a:pt x="2673236" y="5370296"/>
                  </a:lnTo>
                  <a:lnTo>
                    <a:pt x="2658940" y="5370296"/>
                  </a:lnTo>
                  <a:lnTo>
                    <a:pt x="2635116" y="5370296"/>
                  </a:lnTo>
                  <a:lnTo>
                    <a:pt x="2616052" y="5370296"/>
                  </a:lnTo>
                  <a:lnTo>
                    <a:pt x="2611288" y="5365532"/>
                  </a:lnTo>
                  <a:lnTo>
                    <a:pt x="2611288" y="5360768"/>
                  </a:lnTo>
                  <a:lnTo>
                    <a:pt x="2616052" y="5351236"/>
                  </a:lnTo>
                  <a:lnTo>
                    <a:pt x="2616052" y="5346472"/>
                  </a:lnTo>
                  <a:lnTo>
                    <a:pt x="2611288" y="5336940"/>
                  </a:lnTo>
                  <a:lnTo>
                    <a:pt x="2592228" y="5332176"/>
                  </a:lnTo>
                  <a:lnTo>
                    <a:pt x="2577932" y="5327412"/>
                  </a:lnTo>
                  <a:lnTo>
                    <a:pt x="2554108" y="5327412"/>
                  </a:lnTo>
                  <a:lnTo>
                    <a:pt x="2544576" y="5332176"/>
                  </a:lnTo>
                  <a:lnTo>
                    <a:pt x="2530280" y="5336940"/>
                  </a:lnTo>
                  <a:lnTo>
                    <a:pt x="2520752" y="5351236"/>
                  </a:lnTo>
                  <a:lnTo>
                    <a:pt x="2506456" y="5356000"/>
                  </a:lnTo>
                  <a:lnTo>
                    <a:pt x="2487396" y="5365532"/>
                  </a:lnTo>
                  <a:lnTo>
                    <a:pt x="2477864" y="5370296"/>
                  </a:lnTo>
                  <a:lnTo>
                    <a:pt x="2463572" y="5389356"/>
                  </a:lnTo>
                  <a:lnTo>
                    <a:pt x="2444508" y="5413184"/>
                  </a:lnTo>
                  <a:lnTo>
                    <a:pt x="2430212" y="5432244"/>
                  </a:lnTo>
                  <a:lnTo>
                    <a:pt x="2420684" y="5456068"/>
                  </a:lnTo>
                  <a:lnTo>
                    <a:pt x="2406388" y="5465600"/>
                  </a:lnTo>
                  <a:lnTo>
                    <a:pt x="2396860" y="5479896"/>
                  </a:lnTo>
                  <a:lnTo>
                    <a:pt x="2387328" y="5503720"/>
                  </a:lnTo>
                  <a:lnTo>
                    <a:pt x="2377796" y="5494188"/>
                  </a:lnTo>
                  <a:lnTo>
                    <a:pt x="2368268" y="5484660"/>
                  </a:lnTo>
                  <a:lnTo>
                    <a:pt x="2363504" y="5465600"/>
                  </a:lnTo>
                  <a:lnTo>
                    <a:pt x="2377796" y="5422712"/>
                  </a:lnTo>
                  <a:lnTo>
                    <a:pt x="2377796" y="5403652"/>
                  </a:lnTo>
                  <a:lnTo>
                    <a:pt x="2377796" y="5398888"/>
                  </a:lnTo>
                  <a:lnTo>
                    <a:pt x="2373032" y="5379828"/>
                  </a:lnTo>
                  <a:lnTo>
                    <a:pt x="2363504" y="5375060"/>
                  </a:lnTo>
                  <a:lnTo>
                    <a:pt x="2344440" y="5365532"/>
                  </a:lnTo>
                  <a:lnTo>
                    <a:pt x="2334912" y="5365532"/>
                  </a:lnTo>
                  <a:lnTo>
                    <a:pt x="2330148" y="5370296"/>
                  </a:lnTo>
                  <a:lnTo>
                    <a:pt x="2320616" y="5375060"/>
                  </a:lnTo>
                  <a:lnTo>
                    <a:pt x="2315852" y="5379828"/>
                  </a:lnTo>
                  <a:lnTo>
                    <a:pt x="2292024" y="5389356"/>
                  </a:lnTo>
                  <a:lnTo>
                    <a:pt x="2268200" y="5389356"/>
                  </a:lnTo>
                  <a:lnTo>
                    <a:pt x="2263436" y="5394124"/>
                  </a:lnTo>
                  <a:lnTo>
                    <a:pt x="2263436" y="5398888"/>
                  </a:lnTo>
                  <a:lnTo>
                    <a:pt x="2263436" y="5403652"/>
                  </a:lnTo>
                  <a:lnTo>
                    <a:pt x="2249140" y="5403652"/>
                  </a:lnTo>
                  <a:lnTo>
                    <a:pt x="2234844" y="5403652"/>
                  </a:lnTo>
                  <a:lnTo>
                    <a:pt x="2225312" y="5403652"/>
                  </a:lnTo>
                  <a:lnTo>
                    <a:pt x="2196724" y="5413184"/>
                  </a:lnTo>
                  <a:lnTo>
                    <a:pt x="2187192" y="5413184"/>
                  </a:lnTo>
                  <a:lnTo>
                    <a:pt x="2177664" y="5413184"/>
                  </a:lnTo>
                  <a:lnTo>
                    <a:pt x="2134776" y="5413184"/>
                  </a:lnTo>
                  <a:lnTo>
                    <a:pt x="2110952" y="5413184"/>
                  </a:lnTo>
                  <a:lnTo>
                    <a:pt x="2091892" y="5394124"/>
                  </a:lnTo>
                  <a:lnTo>
                    <a:pt x="2082360" y="5389356"/>
                  </a:lnTo>
                  <a:lnTo>
                    <a:pt x="2068064" y="5384592"/>
                  </a:lnTo>
                  <a:lnTo>
                    <a:pt x="2053768" y="5379828"/>
                  </a:lnTo>
                  <a:lnTo>
                    <a:pt x="2049004" y="5370296"/>
                  </a:lnTo>
                  <a:lnTo>
                    <a:pt x="2044240" y="5365532"/>
                  </a:lnTo>
                  <a:lnTo>
                    <a:pt x="2029944" y="5365532"/>
                  </a:lnTo>
                  <a:lnTo>
                    <a:pt x="2020412" y="5365532"/>
                  </a:lnTo>
                  <a:lnTo>
                    <a:pt x="2015648" y="5389356"/>
                  </a:lnTo>
                  <a:lnTo>
                    <a:pt x="2010884" y="5394124"/>
                  </a:lnTo>
                  <a:lnTo>
                    <a:pt x="1996588" y="5394124"/>
                  </a:lnTo>
                  <a:lnTo>
                    <a:pt x="1987056" y="5389356"/>
                  </a:lnTo>
                  <a:lnTo>
                    <a:pt x="1967996" y="5379828"/>
                  </a:lnTo>
                  <a:lnTo>
                    <a:pt x="1963232" y="5365532"/>
                  </a:lnTo>
                  <a:lnTo>
                    <a:pt x="1958468" y="5360768"/>
                  </a:lnTo>
                  <a:lnTo>
                    <a:pt x="1948936" y="5370296"/>
                  </a:lnTo>
                  <a:lnTo>
                    <a:pt x="1944172" y="5384592"/>
                  </a:lnTo>
                  <a:lnTo>
                    <a:pt x="1944172" y="5394124"/>
                  </a:lnTo>
                  <a:lnTo>
                    <a:pt x="1934640" y="5398888"/>
                  </a:lnTo>
                  <a:lnTo>
                    <a:pt x="1925112" y="5394124"/>
                  </a:lnTo>
                  <a:lnTo>
                    <a:pt x="1920344" y="5384592"/>
                  </a:lnTo>
                  <a:lnTo>
                    <a:pt x="1910816" y="5360768"/>
                  </a:lnTo>
                  <a:lnTo>
                    <a:pt x="1896520" y="5341704"/>
                  </a:lnTo>
                  <a:lnTo>
                    <a:pt x="1882224" y="5332176"/>
                  </a:lnTo>
                  <a:lnTo>
                    <a:pt x="1844104" y="5332176"/>
                  </a:lnTo>
                  <a:lnTo>
                    <a:pt x="1810748" y="5332176"/>
                  </a:lnTo>
                  <a:lnTo>
                    <a:pt x="1796452" y="5327412"/>
                  </a:lnTo>
                  <a:lnTo>
                    <a:pt x="1791688" y="5317880"/>
                  </a:lnTo>
                  <a:lnTo>
                    <a:pt x="1796452" y="5298820"/>
                  </a:lnTo>
                  <a:lnTo>
                    <a:pt x="1801216" y="5279760"/>
                  </a:lnTo>
                  <a:lnTo>
                    <a:pt x="1796452" y="5274992"/>
                  </a:lnTo>
                  <a:lnTo>
                    <a:pt x="1786920" y="5274992"/>
                  </a:lnTo>
                  <a:lnTo>
                    <a:pt x="1753564" y="5284524"/>
                  </a:lnTo>
                  <a:lnTo>
                    <a:pt x="1748800" y="5284524"/>
                  </a:lnTo>
                  <a:lnTo>
                    <a:pt x="1739272" y="5279760"/>
                  </a:lnTo>
                  <a:lnTo>
                    <a:pt x="1734504" y="5274992"/>
                  </a:lnTo>
                  <a:lnTo>
                    <a:pt x="1729740" y="5270228"/>
                  </a:lnTo>
                  <a:lnTo>
                    <a:pt x="1724976" y="5265464"/>
                  </a:lnTo>
                  <a:lnTo>
                    <a:pt x="1696384" y="5251168"/>
                  </a:lnTo>
                  <a:lnTo>
                    <a:pt x="1686856" y="5241640"/>
                  </a:lnTo>
                  <a:lnTo>
                    <a:pt x="1672560" y="5227344"/>
                  </a:lnTo>
                  <a:lnTo>
                    <a:pt x="1658264" y="5222576"/>
                  </a:lnTo>
                  <a:lnTo>
                    <a:pt x="1648732" y="5198752"/>
                  </a:lnTo>
                  <a:lnTo>
                    <a:pt x="1643968" y="5174928"/>
                  </a:lnTo>
                  <a:lnTo>
                    <a:pt x="1639204" y="5165396"/>
                  </a:lnTo>
                  <a:lnTo>
                    <a:pt x="1624908" y="5160632"/>
                  </a:lnTo>
                  <a:lnTo>
                    <a:pt x="1610612" y="5155864"/>
                  </a:lnTo>
                  <a:lnTo>
                    <a:pt x="1591552" y="5165396"/>
                  </a:lnTo>
                  <a:lnTo>
                    <a:pt x="1572492" y="5170160"/>
                  </a:lnTo>
                  <a:lnTo>
                    <a:pt x="1558196" y="5170160"/>
                  </a:lnTo>
                  <a:lnTo>
                    <a:pt x="1539136" y="5151100"/>
                  </a:lnTo>
                  <a:lnTo>
                    <a:pt x="1520076" y="5127276"/>
                  </a:lnTo>
                  <a:lnTo>
                    <a:pt x="1501016" y="5103448"/>
                  </a:lnTo>
                  <a:lnTo>
                    <a:pt x="1491484" y="5093920"/>
                  </a:lnTo>
                  <a:lnTo>
                    <a:pt x="1467660" y="5093920"/>
                  </a:lnTo>
                  <a:lnTo>
                    <a:pt x="1443832" y="5084388"/>
                  </a:lnTo>
                  <a:lnTo>
                    <a:pt x="1410476" y="5055800"/>
                  </a:lnTo>
                  <a:lnTo>
                    <a:pt x="1386652" y="5036736"/>
                  </a:lnTo>
                  <a:lnTo>
                    <a:pt x="1343764" y="5012912"/>
                  </a:lnTo>
                  <a:lnTo>
                    <a:pt x="1334236" y="5003380"/>
                  </a:lnTo>
                  <a:lnTo>
                    <a:pt x="1329468" y="4998616"/>
                  </a:lnTo>
                  <a:lnTo>
                    <a:pt x="1324704" y="4979556"/>
                  </a:lnTo>
                  <a:lnTo>
                    <a:pt x="1315176" y="4965260"/>
                  </a:lnTo>
                  <a:lnTo>
                    <a:pt x="1286584" y="4960496"/>
                  </a:lnTo>
                  <a:lnTo>
                    <a:pt x="1253228" y="4955732"/>
                  </a:lnTo>
                  <a:lnTo>
                    <a:pt x="1219872" y="4965260"/>
                  </a:lnTo>
                  <a:lnTo>
                    <a:pt x="1196044" y="5008148"/>
                  </a:lnTo>
                  <a:lnTo>
                    <a:pt x="1181752" y="5017676"/>
                  </a:lnTo>
                  <a:lnTo>
                    <a:pt x="1172220" y="5017676"/>
                  </a:lnTo>
                  <a:lnTo>
                    <a:pt x="1162692" y="5008148"/>
                  </a:lnTo>
                  <a:lnTo>
                    <a:pt x="1153160" y="4993852"/>
                  </a:lnTo>
                  <a:lnTo>
                    <a:pt x="1153160" y="4984320"/>
                  </a:lnTo>
                  <a:lnTo>
                    <a:pt x="1134100" y="4974792"/>
                  </a:lnTo>
                  <a:lnTo>
                    <a:pt x="1115040" y="4960496"/>
                  </a:lnTo>
                  <a:lnTo>
                    <a:pt x="1105508" y="4950964"/>
                  </a:lnTo>
                  <a:lnTo>
                    <a:pt x="1091212" y="4946200"/>
                  </a:lnTo>
                  <a:lnTo>
                    <a:pt x="1081684" y="4941436"/>
                  </a:lnTo>
                  <a:lnTo>
                    <a:pt x="1062624" y="4931904"/>
                  </a:lnTo>
                  <a:lnTo>
                    <a:pt x="1038796" y="4922376"/>
                  </a:lnTo>
                  <a:lnTo>
                    <a:pt x="1029268" y="4922376"/>
                  </a:lnTo>
                  <a:lnTo>
                    <a:pt x="1024500" y="4917608"/>
                  </a:lnTo>
                  <a:lnTo>
                    <a:pt x="1029268" y="4903316"/>
                  </a:lnTo>
                  <a:lnTo>
                    <a:pt x="1029268" y="4889020"/>
                  </a:lnTo>
                  <a:lnTo>
                    <a:pt x="1019736" y="4884252"/>
                  </a:lnTo>
                  <a:lnTo>
                    <a:pt x="1010208" y="4884252"/>
                  </a:lnTo>
                  <a:lnTo>
                    <a:pt x="986380" y="4865192"/>
                  </a:lnTo>
                  <a:lnTo>
                    <a:pt x="976852" y="4855664"/>
                  </a:lnTo>
                  <a:lnTo>
                    <a:pt x="967320" y="4850896"/>
                  </a:lnTo>
                  <a:lnTo>
                    <a:pt x="943496" y="4850896"/>
                  </a:lnTo>
                  <a:lnTo>
                    <a:pt x="929200" y="4850896"/>
                  </a:lnTo>
                  <a:lnTo>
                    <a:pt x="919668" y="4846132"/>
                  </a:lnTo>
                  <a:lnTo>
                    <a:pt x="900608" y="4831836"/>
                  </a:lnTo>
                  <a:lnTo>
                    <a:pt x="900608" y="4827072"/>
                  </a:lnTo>
                  <a:lnTo>
                    <a:pt x="895844" y="4827072"/>
                  </a:lnTo>
                  <a:lnTo>
                    <a:pt x="876784" y="4798480"/>
                  </a:lnTo>
                  <a:lnTo>
                    <a:pt x="857720" y="4769892"/>
                  </a:lnTo>
                  <a:lnTo>
                    <a:pt x="848192" y="4765124"/>
                  </a:lnTo>
                  <a:lnTo>
                    <a:pt x="843428" y="4769892"/>
                  </a:lnTo>
                  <a:lnTo>
                    <a:pt x="838660" y="4784184"/>
                  </a:lnTo>
                  <a:lnTo>
                    <a:pt x="833896" y="4784184"/>
                  </a:lnTo>
                  <a:lnTo>
                    <a:pt x="824368" y="4784184"/>
                  </a:lnTo>
                  <a:lnTo>
                    <a:pt x="814836" y="4788952"/>
                  </a:lnTo>
                  <a:lnTo>
                    <a:pt x="810072" y="4788952"/>
                  </a:lnTo>
                  <a:lnTo>
                    <a:pt x="805304" y="4788952"/>
                  </a:lnTo>
                  <a:lnTo>
                    <a:pt x="800540" y="4784184"/>
                  </a:lnTo>
                  <a:lnTo>
                    <a:pt x="805304" y="4765124"/>
                  </a:lnTo>
                  <a:lnTo>
                    <a:pt x="800540" y="4760360"/>
                  </a:lnTo>
                  <a:lnTo>
                    <a:pt x="805304" y="4741300"/>
                  </a:lnTo>
                  <a:lnTo>
                    <a:pt x="810072" y="4731768"/>
                  </a:lnTo>
                  <a:lnTo>
                    <a:pt x="805304" y="4722240"/>
                  </a:lnTo>
                  <a:lnTo>
                    <a:pt x="791012" y="4707944"/>
                  </a:lnTo>
                  <a:lnTo>
                    <a:pt x="791012" y="4698412"/>
                  </a:lnTo>
                  <a:lnTo>
                    <a:pt x="795776" y="4684120"/>
                  </a:lnTo>
                  <a:lnTo>
                    <a:pt x="800540" y="4669824"/>
                  </a:lnTo>
                  <a:lnTo>
                    <a:pt x="800540" y="4665056"/>
                  </a:lnTo>
                  <a:lnTo>
                    <a:pt x="791012" y="4655528"/>
                  </a:lnTo>
                  <a:lnTo>
                    <a:pt x="762420" y="4622172"/>
                  </a:lnTo>
                  <a:lnTo>
                    <a:pt x="762420" y="4617408"/>
                  </a:lnTo>
                  <a:lnTo>
                    <a:pt x="757656" y="4607876"/>
                  </a:lnTo>
                  <a:lnTo>
                    <a:pt x="752888" y="4588816"/>
                  </a:lnTo>
                  <a:lnTo>
                    <a:pt x="748124" y="4574520"/>
                  </a:lnTo>
                  <a:lnTo>
                    <a:pt x="748124" y="4564992"/>
                  </a:lnTo>
                  <a:lnTo>
                    <a:pt x="748124" y="4560224"/>
                  </a:lnTo>
                  <a:lnTo>
                    <a:pt x="767184" y="4555460"/>
                  </a:lnTo>
                  <a:lnTo>
                    <a:pt x="786244" y="4555460"/>
                  </a:lnTo>
                  <a:lnTo>
                    <a:pt x="795776" y="4550696"/>
                  </a:lnTo>
                  <a:lnTo>
                    <a:pt x="800540" y="4560224"/>
                  </a:lnTo>
                  <a:lnTo>
                    <a:pt x="805304" y="4569756"/>
                  </a:lnTo>
                  <a:lnTo>
                    <a:pt x="805304" y="4574520"/>
                  </a:lnTo>
                  <a:lnTo>
                    <a:pt x="814836" y="4584052"/>
                  </a:lnTo>
                  <a:lnTo>
                    <a:pt x="829132" y="4593580"/>
                  </a:lnTo>
                  <a:lnTo>
                    <a:pt x="843428" y="4593580"/>
                  </a:lnTo>
                  <a:lnTo>
                    <a:pt x="852956" y="4588816"/>
                  </a:lnTo>
                  <a:lnTo>
                    <a:pt x="862488" y="4574520"/>
                  </a:lnTo>
                  <a:lnTo>
                    <a:pt x="867252" y="4569756"/>
                  </a:lnTo>
                  <a:lnTo>
                    <a:pt x="876784" y="4569756"/>
                  </a:lnTo>
                  <a:lnTo>
                    <a:pt x="876784" y="4564992"/>
                  </a:lnTo>
                  <a:lnTo>
                    <a:pt x="876784" y="4555460"/>
                  </a:lnTo>
                  <a:lnTo>
                    <a:pt x="876784" y="4531636"/>
                  </a:lnTo>
                  <a:lnTo>
                    <a:pt x="876784" y="4522104"/>
                  </a:lnTo>
                  <a:lnTo>
                    <a:pt x="872016" y="4512572"/>
                  </a:lnTo>
                  <a:lnTo>
                    <a:pt x="876784" y="4498280"/>
                  </a:lnTo>
                  <a:lnTo>
                    <a:pt x="872016" y="4483984"/>
                  </a:lnTo>
                  <a:lnTo>
                    <a:pt x="862488" y="4474452"/>
                  </a:lnTo>
                  <a:lnTo>
                    <a:pt x="857720" y="4469688"/>
                  </a:lnTo>
                  <a:lnTo>
                    <a:pt x="857720" y="4464924"/>
                  </a:lnTo>
                  <a:lnTo>
                    <a:pt x="862488" y="4455392"/>
                  </a:lnTo>
                  <a:lnTo>
                    <a:pt x="862488" y="4445860"/>
                  </a:lnTo>
                  <a:lnTo>
                    <a:pt x="857720" y="4436332"/>
                  </a:lnTo>
                  <a:lnTo>
                    <a:pt x="857720" y="4431568"/>
                  </a:lnTo>
                  <a:lnTo>
                    <a:pt x="852956" y="4426800"/>
                  </a:lnTo>
                  <a:lnTo>
                    <a:pt x="843428" y="4422036"/>
                  </a:lnTo>
                  <a:lnTo>
                    <a:pt x="833896" y="4412504"/>
                  </a:lnTo>
                  <a:lnTo>
                    <a:pt x="829132" y="4402976"/>
                  </a:lnTo>
                  <a:lnTo>
                    <a:pt x="819600" y="4393444"/>
                  </a:lnTo>
                  <a:lnTo>
                    <a:pt x="810072" y="4383916"/>
                  </a:lnTo>
                  <a:lnTo>
                    <a:pt x="810072" y="4355324"/>
                  </a:lnTo>
                  <a:lnTo>
                    <a:pt x="805304" y="4326732"/>
                  </a:lnTo>
                  <a:lnTo>
                    <a:pt x="805304" y="4307672"/>
                  </a:lnTo>
                  <a:lnTo>
                    <a:pt x="800540" y="4283848"/>
                  </a:lnTo>
                  <a:lnTo>
                    <a:pt x="800540" y="4279084"/>
                  </a:lnTo>
                  <a:lnTo>
                    <a:pt x="800540" y="4274316"/>
                  </a:lnTo>
                  <a:lnTo>
                    <a:pt x="829132" y="4255256"/>
                  </a:lnTo>
                  <a:lnTo>
                    <a:pt x="838660" y="4245728"/>
                  </a:lnTo>
                  <a:lnTo>
                    <a:pt x="838660" y="4240960"/>
                  </a:lnTo>
                  <a:lnTo>
                    <a:pt x="838660" y="4231432"/>
                  </a:lnTo>
                  <a:lnTo>
                    <a:pt x="829132" y="4221900"/>
                  </a:lnTo>
                  <a:lnTo>
                    <a:pt x="819600" y="4217136"/>
                  </a:lnTo>
                  <a:lnTo>
                    <a:pt x="805304" y="4202840"/>
                  </a:lnTo>
                  <a:lnTo>
                    <a:pt x="791012" y="4188544"/>
                  </a:lnTo>
                  <a:lnTo>
                    <a:pt x="767184" y="4183780"/>
                  </a:lnTo>
                  <a:lnTo>
                    <a:pt x="733828" y="4174248"/>
                  </a:lnTo>
                  <a:lnTo>
                    <a:pt x="729064" y="4164720"/>
                  </a:lnTo>
                  <a:lnTo>
                    <a:pt x="724300" y="4140892"/>
                  </a:lnTo>
                  <a:lnTo>
                    <a:pt x="710004" y="4107536"/>
                  </a:lnTo>
                  <a:lnTo>
                    <a:pt x="695708" y="4074180"/>
                  </a:lnTo>
                  <a:lnTo>
                    <a:pt x="686176" y="4050356"/>
                  </a:lnTo>
                  <a:lnTo>
                    <a:pt x="686176" y="4040824"/>
                  </a:lnTo>
                  <a:lnTo>
                    <a:pt x="690944" y="4012236"/>
                  </a:lnTo>
                  <a:lnTo>
                    <a:pt x="690944" y="4007472"/>
                  </a:lnTo>
                  <a:lnTo>
                    <a:pt x="686176" y="4002704"/>
                  </a:lnTo>
                  <a:lnTo>
                    <a:pt x="676648" y="4007472"/>
                  </a:lnTo>
                  <a:lnTo>
                    <a:pt x="667116" y="4012236"/>
                  </a:lnTo>
                  <a:lnTo>
                    <a:pt x="662352" y="4012236"/>
                  </a:lnTo>
                  <a:lnTo>
                    <a:pt x="657588" y="4007472"/>
                  </a:lnTo>
                  <a:lnTo>
                    <a:pt x="652820" y="4002704"/>
                  </a:lnTo>
                  <a:lnTo>
                    <a:pt x="643292" y="4007472"/>
                  </a:lnTo>
                  <a:lnTo>
                    <a:pt x="619464" y="4007472"/>
                  </a:lnTo>
                  <a:lnTo>
                    <a:pt x="609936" y="4007472"/>
                  </a:lnTo>
                  <a:lnTo>
                    <a:pt x="600404" y="4007472"/>
                  </a:lnTo>
                  <a:lnTo>
                    <a:pt x="576580" y="4002704"/>
                  </a:lnTo>
                  <a:lnTo>
                    <a:pt x="543224" y="3993176"/>
                  </a:lnTo>
                  <a:lnTo>
                    <a:pt x="509868" y="3983644"/>
                  </a:lnTo>
                  <a:lnTo>
                    <a:pt x="490808" y="3974116"/>
                  </a:lnTo>
                  <a:lnTo>
                    <a:pt x="486044" y="3969348"/>
                  </a:lnTo>
                  <a:lnTo>
                    <a:pt x="471748" y="3959820"/>
                  </a:lnTo>
                  <a:lnTo>
                    <a:pt x="462216" y="3950288"/>
                  </a:lnTo>
                  <a:lnTo>
                    <a:pt x="457452" y="3926464"/>
                  </a:lnTo>
                  <a:lnTo>
                    <a:pt x="452688" y="3931228"/>
                  </a:lnTo>
                  <a:lnTo>
                    <a:pt x="433624" y="3940760"/>
                  </a:lnTo>
                  <a:lnTo>
                    <a:pt x="409800" y="3945524"/>
                  </a:lnTo>
                  <a:lnTo>
                    <a:pt x="400268" y="3945524"/>
                  </a:lnTo>
                  <a:lnTo>
                    <a:pt x="395504" y="3940760"/>
                  </a:lnTo>
                  <a:lnTo>
                    <a:pt x="390740" y="3916932"/>
                  </a:lnTo>
                  <a:lnTo>
                    <a:pt x="381208" y="3912168"/>
                  </a:lnTo>
                  <a:lnTo>
                    <a:pt x="376444" y="3907404"/>
                  </a:lnTo>
                  <a:lnTo>
                    <a:pt x="362148" y="3902636"/>
                  </a:lnTo>
                  <a:lnTo>
                    <a:pt x="357384" y="3897872"/>
                  </a:lnTo>
                  <a:lnTo>
                    <a:pt x="357384" y="3888340"/>
                  </a:lnTo>
                  <a:lnTo>
                    <a:pt x="362148" y="3883576"/>
                  </a:lnTo>
                  <a:lnTo>
                    <a:pt x="366912" y="3874048"/>
                  </a:lnTo>
                  <a:lnTo>
                    <a:pt x="366912" y="3831160"/>
                  </a:lnTo>
                  <a:lnTo>
                    <a:pt x="366912" y="3816864"/>
                  </a:lnTo>
                  <a:lnTo>
                    <a:pt x="362148" y="3807336"/>
                  </a:lnTo>
                  <a:lnTo>
                    <a:pt x="352620" y="3788276"/>
                  </a:lnTo>
                  <a:lnTo>
                    <a:pt x="347852" y="3783508"/>
                  </a:lnTo>
                  <a:lnTo>
                    <a:pt x="338324" y="3773980"/>
                  </a:lnTo>
                  <a:lnTo>
                    <a:pt x="319264" y="3764448"/>
                  </a:lnTo>
                  <a:lnTo>
                    <a:pt x="304968" y="3759684"/>
                  </a:lnTo>
                  <a:lnTo>
                    <a:pt x="290672" y="3764448"/>
                  </a:lnTo>
                  <a:lnTo>
                    <a:pt x="281140" y="3764448"/>
                  </a:lnTo>
                  <a:lnTo>
                    <a:pt x="276376" y="3735856"/>
                  </a:lnTo>
                  <a:lnTo>
                    <a:pt x="271612" y="3731092"/>
                  </a:lnTo>
                  <a:lnTo>
                    <a:pt x="238256" y="3716796"/>
                  </a:lnTo>
                  <a:lnTo>
                    <a:pt x="223960" y="3716796"/>
                  </a:lnTo>
                  <a:lnTo>
                    <a:pt x="209664" y="3721564"/>
                  </a:lnTo>
                  <a:lnTo>
                    <a:pt x="200136" y="3721564"/>
                  </a:lnTo>
                  <a:lnTo>
                    <a:pt x="190604" y="3716796"/>
                  </a:lnTo>
                  <a:lnTo>
                    <a:pt x="181072" y="3712032"/>
                  </a:lnTo>
                  <a:lnTo>
                    <a:pt x="166780" y="3707268"/>
                  </a:lnTo>
                  <a:lnTo>
                    <a:pt x="152484" y="3707268"/>
                  </a:lnTo>
                  <a:lnTo>
                    <a:pt x="142952" y="3707268"/>
                  </a:lnTo>
                  <a:lnTo>
                    <a:pt x="138188" y="3702500"/>
                  </a:lnTo>
                  <a:lnTo>
                    <a:pt x="119128" y="3688208"/>
                  </a:lnTo>
                  <a:lnTo>
                    <a:pt x="119128" y="3683440"/>
                  </a:lnTo>
                  <a:lnTo>
                    <a:pt x="147716" y="3664380"/>
                  </a:lnTo>
                  <a:lnTo>
                    <a:pt x="166780" y="3659616"/>
                  </a:lnTo>
                  <a:lnTo>
                    <a:pt x="176308" y="3654852"/>
                  </a:lnTo>
                  <a:lnTo>
                    <a:pt x="181072" y="3664380"/>
                  </a:lnTo>
                  <a:lnTo>
                    <a:pt x="190604" y="3669148"/>
                  </a:lnTo>
                  <a:lnTo>
                    <a:pt x="200136" y="3669148"/>
                  </a:lnTo>
                  <a:lnTo>
                    <a:pt x="204900" y="3664380"/>
                  </a:lnTo>
                  <a:lnTo>
                    <a:pt x="219196" y="3654852"/>
                  </a:lnTo>
                  <a:lnTo>
                    <a:pt x="228724" y="3645320"/>
                  </a:lnTo>
                  <a:lnTo>
                    <a:pt x="233492" y="3635792"/>
                  </a:lnTo>
                  <a:lnTo>
                    <a:pt x="233492" y="3626260"/>
                  </a:lnTo>
                  <a:lnTo>
                    <a:pt x="214428" y="3607200"/>
                  </a:lnTo>
                  <a:lnTo>
                    <a:pt x="204900" y="3597668"/>
                  </a:lnTo>
                  <a:lnTo>
                    <a:pt x="200136" y="3592904"/>
                  </a:lnTo>
                  <a:lnTo>
                    <a:pt x="204900" y="3578608"/>
                  </a:lnTo>
                  <a:lnTo>
                    <a:pt x="204900" y="3559548"/>
                  </a:lnTo>
                  <a:lnTo>
                    <a:pt x="204900" y="3554784"/>
                  </a:lnTo>
                  <a:lnTo>
                    <a:pt x="200136" y="3550016"/>
                  </a:lnTo>
                  <a:lnTo>
                    <a:pt x="200136" y="3530956"/>
                  </a:lnTo>
                  <a:lnTo>
                    <a:pt x="190604" y="3507132"/>
                  </a:lnTo>
                  <a:lnTo>
                    <a:pt x="185840" y="3492836"/>
                  </a:lnTo>
                  <a:lnTo>
                    <a:pt x="181072" y="3478540"/>
                  </a:lnTo>
                  <a:lnTo>
                    <a:pt x="181072" y="3459480"/>
                  </a:lnTo>
                  <a:lnTo>
                    <a:pt x="190604" y="3435656"/>
                  </a:lnTo>
                  <a:lnTo>
                    <a:pt x="185840" y="3426124"/>
                  </a:lnTo>
                  <a:lnTo>
                    <a:pt x="176308" y="3416596"/>
                  </a:lnTo>
                  <a:lnTo>
                    <a:pt x="142952" y="3397532"/>
                  </a:lnTo>
                  <a:lnTo>
                    <a:pt x="104832" y="3383240"/>
                  </a:lnTo>
                  <a:lnTo>
                    <a:pt x="90536" y="3383240"/>
                  </a:lnTo>
                  <a:lnTo>
                    <a:pt x="81008" y="3383240"/>
                  </a:lnTo>
                  <a:lnTo>
                    <a:pt x="71476" y="3392768"/>
                  </a:lnTo>
                  <a:lnTo>
                    <a:pt x="61944" y="3407064"/>
                  </a:lnTo>
                  <a:lnTo>
                    <a:pt x="57180" y="3411828"/>
                  </a:lnTo>
                  <a:lnTo>
                    <a:pt x="38120" y="3402300"/>
                  </a:lnTo>
                  <a:lnTo>
                    <a:pt x="28588" y="3392768"/>
                  </a:lnTo>
                  <a:lnTo>
                    <a:pt x="23824" y="3378472"/>
                  </a:lnTo>
                  <a:lnTo>
                    <a:pt x="14296" y="3354648"/>
                  </a:lnTo>
                  <a:lnTo>
                    <a:pt x="14296" y="3345116"/>
                  </a:lnTo>
                  <a:lnTo>
                    <a:pt x="14296" y="3340352"/>
                  </a:lnTo>
                  <a:lnTo>
                    <a:pt x="19060" y="3335588"/>
                  </a:lnTo>
                  <a:lnTo>
                    <a:pt x="28588" y="3326056"/>
                  </a:lnTo>
                  <a:lnTo>
                    <a:pt x="28588" y="3321292"/>
                  </a:lnTo>
                  <a:lnTo>
                    <a:pt x="28588" y="3316528"/>
                  </a:lnTo>
                  <a:lnTo>
                    <a:pt x="19060" y="3306996"/>
                  </a:lnTo>
                  <a:lnTo>
                    <a:pt x="9528" y="3297468"/>
                  </a:lnTo>
                  <a:lnTo>
                    <a:pt x="0" y="3268876"/>
                  </a:lnTo>
                  <a:lnTo>
                    <a:pt x="0" y="3254580"/>
                  </a:lnTo>
                  <a:lnTo>
                    <a:pt x="4764" y="3235520"/>
                  </a:lnTo>
                  <a:lnTo>
                    <a:pt x="4764" y="3225988"/>
                  </a:lnTo>
                  <a:lnTo>
                    <a:pt x="14296" y="3221224"/>
                  </a:lnTo>
                  <a:lnTo>
                    <a:pt x="33356" y="3216460"/>
                  </a:lnTo>
                  <a:lnTo>
                    <a:pt x="42884" y="3206928"/>
                  </a:lnTo>
                  <a:lnTo>
                    <a:pt x="47652" y="3197400"/>
                  </a:lnTo>
                  <a:lnTo>
                    <a:pt x="47652" y="3192632"/>
                  </a:lnTo>
                  <a:lnTo>
                    <a:pt x="42884" y="3173572"/>
                  </a:lnTo>
                  <a:lnTo>
                    <a:pt x="33356" y="3164044"/>
                  </a:lnTo>
                  <a:lnTo>
                    <a:pt x="33356" y="3154512"/>
                  </a:lnTo>
                  <a:lnTo>
                    <a:pt x="38120" y="3149748"/>
                  </a:lnTo>
                  <a:lnTo>
                    <a:pt x="42884" y="3140216"/>
                  </a:lnTo>
                  <a:lnTo>
                    <a:pt x="52416" y="3116392"/>
                  </a:lnTo>
                  <a:lnTo>
                    <a:pt x="57180" y="3106860"/>
                  </a:lnTo>
                  <a:lnTo>
                    <a:pt x="61944" y="3102096"/>
                  </a:lnTo>
                  <a:lnTo>
                    <a:pt x="76240" y="3097332"/>
                  </a:lnTo>
                  <a:lnTo>
                    <a:pt x="100068" y="3097332"/>
                  </a:lnTo>
                  <a:lnTo>
                    <a:pt x="123892" y="3087800"/>
                  </a:lnTo>
                  <a:lnTo>
                    <a:pt x="157248" y="3059208"/>
                  </a:lnTo>
                  <a:lnTo>
                    <a:pt x="166780" y="3049680"/>
                  </a:lnTo>
                  <a:lnTo>
                    <a:pt x="181072" y="3044916"/>
                  </a:lnTo>
                  <a:lnTo>
                    <a:pt x="190604" y="3044916"/>
                  </a:lnTo>
                  <a:lnTo>
                    <a:pt x="185840" y="3025852"/>
                  </a:lnTo>
                  <a:lnTo>
                    <a:pt x="185840" y="3021088"/>
                  </a:lnTo>
                  <a:lnTo>
                    <a:pt x="190604" y="3016324"/>
                  </a:lnTo>
                  <a:lnTo>
                    <a:pt x="195368" y="3011560"/>
                  </a:lnTo>
                  <a:lnTo>
                    <a:pt x="219196" y="3021088"/>
                  </a:lnTo>
                  <a:lnTo>
                    <a:pt x="233492" y="3021088"/>
                  </a:lnTo>
                  <a:lnTo>
                    <a:pt x="252552" y="3016324"/>
                  </a:lnTo>
                  <a:lnTo>
                    <a:pt x="300204" y="2982968"/>
                  </a:lnTo>
                  <a:lnTo>
                    <a:pt x="304968" y="2987732"/>
                  </a:lnTo>
                  <a:lnTo>
                    <a:pt x="314496" y="3006792"/>
                  </a:lnTo>
                  <a:lnTo>
                    <a:pt x="319264" y="3044916"/>
                  </a:lnTo>
                  <a:lnTo>
                    <a:pt x="324028" y="3049680"/>
                  </a:lnTo>
                  <a:lnTo>
                    <a:pt x="352620" y="3054444"/>
                  </a:lnTo>
                  <a:lnTo>
                    <a:pt x="371680" y="3040148"/>
                  </a:lnTo>
                  <a:lnTo>
                    <a:pt x="381208" y="3035384"/>
                  </a:lnTo>
                  <a:lnTo>
                    <a:pt x="395504" y="3035384"/>
                  </a:lnTo>
                  <a:lnTo>
                    <a:pt x="405036" y="3030620"/>
                  </a:lnTo>
                  <a:lnTo>
                    <a:pt x="414564" y="3025852"/>
                  </a:lnTo>
                  <a:lnTo>
                    <a:pt x="424096" y="3040148"/>
                  </a:lnTo>
                  <a:lnTo>
                    <a:pt x="433624" y="3035384"/>
                  </a:lnTo>
                  <a:lnTo>
                    <a:pt x="447920" y="3021088"/>
                  </a:lnTo>
                  <a:lnTo>
                    <a:pt x="452688" y="3006792"/>
                  </a:lnTo>
                  <a:lnTo>
                    <a:pt x="462216" y="2997264"/>
                  </a:lnTo>
                  <a:lnTo>
                    <a:pt x="471748" y="2978204"/>
                  </a:lnTo>
                  <a:lnTo>
                    <a:pt x="471748" y="2963908"/>
                  </a:lnTo>
                  <a:lnTo>
                    <a:pt x="476512" y="2954376"/>
                  </a:lnTo>
                  <a:lnTo>
                    <a:pt x="486044" y="2944848"/>
                  </a:lnTo>
                  <a:lnTo>
                    <a:pt x="500336" y="2911492"/>
                  </a:lnTo>
                  <a:lnTo>
                    <a:pt x="514632" y="2901960"/>
                  </a:lnTo>
                  <a:lnTo>
                    <a:pt x="528928" y="2901960"/>
                  </a:lnTo>
                  <a:lnTo>
                    <a:pt x="557520" y="2906724"/>
                  </a:lnTo>
                  <a:lnTo>
                    <a:pt x="571816" y="2906724"/>
                  </a:lnTo>
                  <a:lnTo>
                    <a:pt x="619464" y="2911492"/>
                  </a:lnTo>
                  <a:lnTo>
                    <a:pt x="643292" y="2901960"/>
                  </a:lnTo>
                  <a:lnTo>
                    <a:pt x="657588" y="2897196"/>
                  </a:lnTo>
                  <a:lnTo>
                    <a:pt x="676648" y="2897196"/>
                  </a:lnTo>
                  <a:lnTo>
                    <a:pt x="705236" y="2892432"/>
                  </a:lnTo>
                  <a:lnTo>
                    <a:pt x="738592" y="2849544"/>
                  </a:lnTo>
                  <a:lnTo>
                    <a:pt x="738592" y="2840012"/>
                  </a:lnTo>
                  <a:lnTo>
                    <a:pt x="743360" y="2830484"/>
                  </a:lnTo>
                  <a:lnTo>
                    <a:pt x="752888" y="2820952"/>
                  </a:lnTo>
                  <a:lnTo>
                    <a:pt x="771948" y="2811424"/>
                  </a:lnTo>
                  <a:lnTo>
                    <a:pt x="800540" y="2792364"/>
                  </a:lnTo>
                  <a:lnTo>
                    <a:pt x="862488" y="2759008"/>
                  </a:lnTo>
                  <a:lnTo>
                    <a:pt x="886312" y="2744712"/>
                  </a:lnTo>
                  <a:lnTo>
                    <a:pt x="895844" y="2744712"/>
                  </a:lnTo>
                  <a:lnTo>
                    <a:pt x="919668" y="2735180"/>
                  </a:lnTo>
                  <a:lnTo>
                    <a:pt x="962556" y="2720884"/>
                  </a:lnTo>
                  <a:lnTo>
                    <a:pt x="972084" y="2701824"/>
                  </a:lnTo>
                  <a:lnTo>
                    <a:pt x="981616" y="2697060"/>
                  </a:lnTo>
                  <a:lnTo>
                    <a:pt x="1029268" y="2692296"/>
                  </a:lnTo>
                  <a:lnTo>
                    <a:pt x="1034032" y="2692296"/>
                  </a:lnTo>
                  <a:lnTo>
                    <a:pt x="1034032" y="2687528"/>
                  </a:lnTo>
                  <a:lnTo>
                    <a:pt x="1034032" y="2673236"/>
                  </a:lnTo>
                  <a:lnTo>
                    <a:pt x="1029268" y="2658940"/>
                  </a:lnTo>
                  <a:lnTo>
                    <a:pt x="1034032" y="2654172"/>
                  </a:lnTo>
                  <a:lnTo>
                    <a:pt x="1038796" y="2649408"/>
                  </a:lnTo>
                  <a:lnTo>
                    <a:pt x="1038796" y="2639880"/>
                  </a:lnTo>
                  <a:lnTo>
                    <a:pt x="1029268" y="2616052"/>
                  </a:lnTo>
                  <a:lnTo>
                    <a:pt x="1024500" y="2592228"/>
                  </a:lnTo>
                  <a:lnTo>
                    <a:pt x="1024500" y="2568400"/>
                  </a:lnTo>
                  <a:lnTo>
                    <a:pt x="1024500" y="2558872"/>
                  </a:lnTo>
                  <a:lnTo>
                    <a:pt x="1029268" y="2544576"/>
                  </a:lnTo>
                  <a:lnTo>
                    <a:pt x="1038796" y="2530280"/>
                  </a:lnTo>
                  <a:lnTo>
                    <a:pt x="1062624" y="2520752"/>
                  </a:lnTo>
                  <a:lnTo>
                    <a:pt x="1081684" y="2515984"/>
                  </a:lnTo>
                  <a:lnTo>
                    <a:pt x="1081684" y="2506456"/>
                  </a:lnTo>
                  <a:lnTo>
                    <a:pt x="1067388" y="2501688"/>
                  </a:lnTo>
                  <a:lnTo>
                    <a:pt x="1057856" y="2492160"/>
                  </a:lnTo>
                  <a:lnTo>
                    <a:pt x="1057856" y="2487396"/>
                  </a:lnTo>
                  <a:lnTo>
                    <a:pt x="1057856" y="2482628"/>
                  </a:lnTo>
                  <a:lnTo>
                    <a:pt x="1057856" y="2477864"/>
                  </a:lnTo>
                  <a:lnTo>
                    <a:pt x="1076916" y="2468332"/>
                  </a:lnTo>
                  <a:lnTo>
                    <a:pt x="1095980" y="2458804"/>
                  </a:lnTo>
                  <a:lnTo>
                    <a:pt x="1115040" y="2468332"/>
                  </a:lnTo>
                  <a:lnTo>
                    <a:pt x="1119804" y="2463568"/>
                  </a:lnTo>
                  <a:lnTo>
                    <a:pt x="1119804" y="2454040"/>
                  </a:lnTo>
                  <a:lnTo>
                    <a:pt x="1115040" y="2444508"/>
                  </a:lnTo>
                  <a:lnTo>
                    <a:pt x="1110272" y="2430212"/>
                  </a:lnTo>
                  <a:lnTo>
                    <a:pt x="1100744" y="2420684"/>
                  </a:lnTo>
                  <a:lnTo>
                    <a:pt x="1100744" y="2411152"/>
                  </a:lnTo>
                  <a:lnTo>
                    <a:pt x="1105508" y="2396856"/>
                  </a:lnTo>
                  <a:lnTo>
                    <a:pt x="1100744" y="2368268"/>
                  </a:lnTo>
                  <a:lnTo>
                    <a:pt x="1091212" y="2339676"/>
                  </a:lnTo>
                  <a:lnTo>
                    <a:pt x="1076916" y="2296788"/>
                  </a:lnTo>
                  <a:lnTo>
                    <a:pt x="1062624" y="2282496"/>
                  </a:lnTo>
                  <a:lnTo>
                    <a:pt x="1057856" y="2263432"/>
                  </a:lnTo>
                  <a:lnTo>
                    <a:pt x="1053092" y="2249140"/>
                  </a:lnTo>
                  <a:lnTo>
                    <a:pt x="1053092" y="2234844"/>
                  </a:lnTo>
                  <a:lnTo>
                    <a:pt x="1053092" y="2225312"/>
                  </a:lnTo>
                  <a:lnTo>
                    <a:pt x="1053092" y="2201488"/>
                  </a:lnTo>
                  <a:lnTo>
                    <a:pt x="1048328" y="2177660"/>
                  </a:lnTo>
                  <a:lnTo>
                    <a:pt x="1053092" y="2153836"/>
                  </a:lnTo>
                  <a:lnTo>
                    <a:pt x="1057856" y="2134776"/>
                  </a:lnTo>
                  <a:lnTo>
                    <a:pt x="1057856" y="2130008"/>
                  </a:lnTo>
                  <a:lnTo>
                    <a:pt x="1057856" y="2125244"/>
                  </a:lnTo>
                  <a:lnTo>
                    <a:pt x="1067388" y="2125244"/>
                  </a:lnTo>
                  <a:lnTo>
                    <a:pt x="1072152" y="2115716"/>
                  </a:lnTo>
                  <a:lnTo>
                    <a:pt x="1067388" y="2110948"/>
                  </a:lnTo>
                  <a:lnTo>
                    <a:pt x="1053092" y="2106184"/>
                  </a:lnTo>
                  <a:lnTo>
                    <a:pt x="1038796" y="2096656"/>
                  </a:lnTo>
                  <a:lnTo>
                    <a:pt x="1019736" y="2096656"/>
                  </a:lnTo>
                  <a:lnTo>
                    <a:pt x="995912" y="2096656"/>
                  </a:lnTo>
                  <a:lnTo>
                    <a:pt x="986380" y="2091888"/>
                  </a:lnTo>
                  <a:lnTo>
                    <a:pt x="976852" y="2082360"/>
                  </a:lnTo>
                  <a:lnTo>
                    <a:pt x="976852" y="2077592"/>
                  </a:lnTo>
                  <a:lnTo>
                    <a:pt x="991144" y="2068064"/>
                  </a:lnTo>
                  <a:lnTo>
                    <a:pt x="1005440" y="2053768"/>
                  </a:lnTo>
                  <a:lnTo>
                    <a:pt x="1034032" y="2044236"/>
                  </a:lnTo>
                  <a:lnTo>
                    <a:pt x="1062624" y="2039472"/>
                  </a:lnTo>
                  <a:lnTo>
                    <a:pt x="1076916" y="2029944"/>
                  </a:lnTo>
                  <a:lnTo>
                    <a:pt x="1095980" y="2025176"/>
                  </a:lnTo>
                  <a:lnTo>
                    <a:pt x="1119804" y="2025176"/>
                  </a:lnTo>
                  <a:lnTo>
                    <a:pt x="1129336" y="2025176"/>
                  </a:lnTo>
                  <a:lnTo>
                    <a:pt x="1157924" y="2015648"/>
                  </a:lnTo>
                  <a:lnTo>
                    <a:pt x="1205576" y="2001352"/>
                  </a:lnTo>
                  <a:lnTo>
                    <a:pt x="1248464" y="1987056"/>
                  </a:lnTo>
                  <a:lnTo>
                    <a:pt x="1262756" y="1977524"/>
                  </a:lnTo>
                  <a:lnTo>
                    <a:pt x="1272288" y="1987056"/>
                  </a:lnTo>
                  <a:lnTo>
                    <a:pt x="1277052" y="2001352"/>
                  </a:lnTo>
                  <a:lnTo>
                    <a:pt x="1291348" y="2010880"/>
                  </a:lnTo>
                  <a:lnTo>
                    <a:pt x="1300880" y="2020412"/>
                  </a:lnTo>
                  <a:lnTo>
                    <a:pt x="1310408" y="2020412"/>
                  </a:lnTo>
                  <a:lnTo>
                    <a:pt x="1329468" y="2010880"/>
                  </a:lnTo>
                  <a:lnTo>
                    <a:pt x="1353296" y="2006116"/>
                  </a:lnTo>
                  <a:lnTo>
                    <a:pt x="1358060" y="2006116"/>
                  </a:lnTo>
                  <a:lnTo>
                    <a:pt x="1372356" y="2015648"/>
                  </a:lnTo>
                  <a:lnTo>
                    <a:pt x="1386652" y="2025176"/>
                  </a:lnTo>
                  <a:lnTo>
                    <a:pt x="1391416" y="2025176"/>
                  </a:lnTo>
                  <a:lnTo>
                    <a:pt x="1396180" y="2020412"/>
                  </a:lnTo>
                  <a:lnTo>
                    <a:pt x="1400948" y="2006116"/>
                  </a:lnTo>
                  <a:lnTo>
                    <a:pt x="1405712" y="1987056"/>
                  </a:lnTo>
                  <a:lnTo>
                    <a:pt x="1405712" y="1972760"/>
                  </a:lnTo>
                  <a:lnTo>
                    <a:pt x="1405712" y="1958464"/>
                  </a:lnTo>
                  <a:lnTo>
                    <a:pt x="1400948" y="1953700"/>
                  </a:lnTo>
                  <a:lnTo>
                    <a:pt x="1381884" y="1948936"/>
                  </a:lnTo>
                  <a:lnTo>
                    <a:pt x="1362824" y="1939404"/>
                  </a:lnTo>
                  <a:lnTo>
                    <a:pt x="1358060" y="1929876"/>
                  </a:lnTo>
                  <a:lnTo>
                    <a:pt x="1358060" y="1920344"/>
                  </a:lnTo>
                  <a:lnTo>
                    <a:pt x="1362824" y="1906048"/>
                  </a:lnTo>
                  <a:lnTo>
                    <a:pt x="1377120" y="1872692"/>
                  </a:lnTo>
                  <a:lnTo>
                    <a:pt x="1391416" y="1829808"/>
                  </a:lnTo>
                  <a:lnTo>
                    <a:pt x="1396180" y="1796452"/>
                  </a:lnTo>
                  <a:lnTo>
                    <a:pt x="1420008" y="1744036"/>
                  </a:lnTo>
                  <a:lnTo>
                    <a:pt x="1434304" y="1691620"/>
                  </a:lnTo>
                  <a:lnTo>
                    <a:pt x="1462892" y="1610612"/>
                  </a:lnTo>
                  <a:lnTo>
                    <a:pt x="1467660" y="1596316"/>
                  </a:lnTo>
                  <a:lnTo>
                    <a:pt x="1467660" y="1572492"/>
                  </a:lnTo>
                  <a:lnTo>
                    <a:pt x="1472424" y="1562960"/>
                  </a:lnTo>
                  <a:lnTo>
                    <a:pt x="1481952" y="1558196"/>
                  </a:lnTo>
                  <a:lnTo>
                    <a:pt x="1496248" y="1562960"/>
                  </a:lnTo>
                  <a:lnTo>
                    <a:pt x="1534372" y="1577256"/>
                  </a:lnTo>
                  <a:lnTo>
                    <a:pt x="1562960" y="1596316"/>
                  </a:lnTo>
                  <a:lnTo>
                    <a:pt x="1577256" y="1601080"/>
                  </a:lnTo>
                  <a:lnTo>
                    <a:pt x="1596316" y="1605844"/>
                  </a:lnTo>
                  <a:lnTo>
                    <a:pt x="1624908" y="1610612"/>
                  </a:lnTo>
                  <a:lnTo>
                    <a:pt x="1639204" y="1610612"/>
                  </a:lnTo>
                  <a:lnTo>
                    <a:pt x="1653500" y="1605844"/>
                  </a:lnTo>
                  <a:lnTo>
                    <a:pt x="1672560" y="1605844"/>
                  </a:lnTo>
                  <a:lnTo>
                    <a:pt x="1705916" y="1610612"/>
                  </a:lnTo>
                  <a:lnTo>
                    <a:pt x="1715444" y="1610612"/>
                  </a:lnTo>
                  <a:lnTo>
                    <a:pt x="1724976" y="1610612"/>
                  </a:lnTo>
                  <a:lnTo>
                    <a:pt x="1734504" y="1615376"/>
                  </a:lnTo>
                  <a:lnTo>
                    <a:pt x="1739272" y="1634436"/>
                  </a:lnTo>
                  <a:lnTo>
                    <a:pt x="1744036" y="1643968"/>
                  </a:lnTo>
                  <a:lnTo>
                    <a:pt x="1758332" y="1639200"/>
                  </a:lnTo>
                  <a:lnTo>
                    <a:pt x="1782156" y="1624908"/>
                  </a:lnTo>
                  <a:lnTo>
                    <a:pt x="1796452" y="1610612"/>
                  </a:lnTo>
                  <a:lnTo>
                    <a:pt x="1815512" y="1596316"/>
                  </a:lnTo>
                  <a:lnTo>
                    <a:pt x="1834572" y="1591552"/>
                  </a:lnTo>
                  <a:lnTo>
                    <a:pt x="1853632" y="1591552"/>
                  </a:lnTo>
                  <a:lnTo>
                    <a:pt x="1863164" y="1582020"/>
                  </a:lnTo>
                  <a:lnTo>
                    <a:pt x="1867928" y="1558196"/>
                  </a:lnTo>
                  <a:lnTo>
                    <a:pt x="1882224" y="1543900"/>
                  </a:lnTo>
                  <a:lnTo>
                    <a:pt x="1882224" y="1524840"/>
                  </a:lnTo>
                  <a:lnTo>
                    <a:pt x="1877460" y="1510544"/>
                  </a:lnTo>
                  <a:lnTo>
                    <a:pt x="1867928" y="1491484"/>
                  </a:lnTo>
                  <a:lnTo>
                    <a:pt x="1867928" y="1477188"/>
                  </a:lnTo>
                  <a:lnTo>
                    <a:pt x="1867928" y="1434300"/>
                  </a:lnTo>
                  <a:lnTo>
                    <a:pt x="1858400" y="1391416"/>
                  </a:lnTo>
                  <a:lnTo>
                    <a:pt x="1867928" y="1362824"/>
                  </a:lnTo>
                  <a:lnTo>
                    <a:pt x="1877460" y="1324704"/>
                  </a:lnTo>
                  <a:lnTo>
                    <a:pt x="1882224" y="1315172"/>
                  </a:lnTo>
                  <a:lnTo>
                    <a:pt x="1886988" y="1300876"/>
                  </a:lnTo>
                  <a:lnTo>
                    <a:pt x="1896520" y="1281816"/>
                  </a:lnTo>
                  <a:lnTo>
                    <a:pt x="1906052" y="1277052"/>
                  </a:lnTo>
                  <a:lnTo>
                    <a:pt x="1944172" y="1272288"/>
                  </a:lnTo>
                  <a:lnTo>
                    <a:pt x="1977528" y="1267520"/>
                  </a:lnTo>
                  <a:lnTo>
                    <a:pt x="1991824" y="1257992"/>
                  </a:lnTo>
                  <a:lnTo>
                    <a:pt x="2010884" y="1253228"/>
                  </a:lnTo>
                  <a:lnTo>
                    <a:pt x="2020412" y="1248460"/>
                  </a:lnTo>
                  <a:lnTo>
                    <a:pt x="2039472" y="1224636"/>
                  </a:lnTo>
                  <a:lnTo>
                    <a:pt x="2044240" y="1210340"/>
                  </a:lnTo>
                  <a:lnTo>
                    <a:pt x="2053768" y="1172220"/>
                  </a:lnTo>
                  <a:lnTo>
                    <a:pt x="2049004" y="1153160"/>
                  </a:lnTo>
                  <a:lnTo>
                    <a:pt x="2053768" y="1134100"/>
                  </a:lnTo>
                  <a:lnTo>
                    <a:pt x="2058536" y="1124568"/>
                  </a:lnTo>
                  <a:lnTo>
                    <a:pt x="2072828" y="1115036"/>
                  </a:lnTo>
                  <a:lnTo>
                    <a:pt x="2082360" y="1115036"/>
                  </a:lnTo>
                  <a:lnTo>
                    <a:pt x="2096656" y="1110272"/>
                  </a:lnTo>
                  <a:lnTo>
                    <a:pt x="2125244" y="1110272"/>
                  </a:lnTo>
                  <a:lnTo>
                    <a:pt x="2139540" y="1115036"/>
                  </a:lnTo>
                  <a:lnTo>
                    <a:pt x="2153836" y="1119804"/>
                  </a:lnTo>
                  <a:lnTo>
                    <a:pt x="2163368" y="1115036"/>
                  </a:lnTo>
                  <a:lnTo>
                    <a:pt x="2172896" y="1105508"/>
                  </a:lnTo>
                  <a:lnTo>
                    <a:pt x="2182428" y="1105508"/>
                  </a:lnTo>
                  <a:lnTo>
                    <a:pt x="2196724" y="1100744"/>
                  </a:lnTo>
                  <a:lnTo>
                    <a:pt x="2211020" y="1095976"/>
                  </a:lnTo>
                  <a:lnTo>
                    <a:pt x="2215784" y="1100744"/>
                  </a:lnTo>
                  <a:lnTo>
                    <a:pt x="2220548" y="1110272"/>
                  </a:lnTo>
                  <a:lnTo>
                    <a:pt x="2220548" y="1119804"/>
                  </a:lnTo>
                  <a:lnTo>
                    <a:pt x="2220548" y="1129332"/>
                  </a:lnTo>
                  <a:lnTo>
                    <a:pt x="2225312" y="1138864"/>
                  </a:lnTo>
                  <a:lnTo>
                    <a:pt x="2225312" y="1143628"/>
                  </a:lnTo>
                  <a:lnTo>
                    <a:pt x="2215784" y="1148392"/>
                  </a:lnTo>
                  <a:lnTo>
                    <a:pt x="2211020" y="1157924"/>
                  </a:lnTo>
                  <a:lnTo>
                    <a:pt x="2206252" y="1167456"/>
                  </a:lnTo>
                  <a:lnTo>
                    <a:pt x="2215784" y="1176984"/>
                  </a:lnTo>
                  <a:lnTo>
                    <a:pt x="2220548" y="1186516"/>
                  </a:lnTo>
                  <a:lnTo>
                    <a:pt x="2239608" y="1191280"/>
                  </a:lnTo>
                  <a:lnTo>
                    <a:pt x="2253904" y="1200812"/>
                  </a:lnTo>
                  <a:lnTo>
                    <a:pt x="2258668" y="1205576"/>
                  </a:lnTo>
                  <a:lnTo>
                    <a:pt x="2253904" y="1215104"/>
                  </a:lnTo>
                  <a:lnTo>
                    <a:pt x="2249140" y="1224636"/>
                  </a:lnTo>
                  <a:lnTo>
                    <a:pt x="2244372" y="1229400"/>
                  </a:lnTo>
                  <a:lnTo>
                    <a:pt x="2239608" y="1234164"/>
                  </a:lnTo>
                  <a:lnTo>
                    <a:pt x="2244372" y="1243696"/>
                  </a:lnTo>
                  <a:lnTo>
                    <a:pt x="2258668" y="1248460"/>
                  </a:lnTo>
                  <a:lnTo>
                    <a:pt x="2272964" y="1253228"/>
                  </a:lnTo>
                  <a:lnTo>
                    <a:pt x="2296792" y="1262756"/>
                  </a:lnTo>
                  <a:lnTo>
                    <a:pt x="2311084" y="1277052"/>
                  </a:lnTo>
                  <a:lnTo>
                    <a:pt x="2330148" y="1281816"/>
                  </a:lnTo>
                  <a:lnTo>
                    <a:pt x="2334912" y="1296112"/>
                  </a:lnTo>
                  <a:lnTo>
                    <a:pt x="2334912" y="1319940"/>
                  </a:lnTo>
                  <a:lnTo>
                    <a:pt x="2353972" y="1334232"/>
                  </a:lnTo>
                  <a:lnTo>
                    <a:pt x="2377796" y="1348528"/>
                  </a:lnTo>
                  <a:lnTo>
                    <a:pt x="2392092" y="1353296"/>
                  </a:lnTo>
                  <a:lnTo>
                    <a:pt x="2396860" y="1362824"/>
                  </a:lnTo>
                  <a:lnTo>
                    <a:pt x="2411152" y="1372356"/>
                  </a:lnTo>
                  <a:lnTo>
                    <a:pt x="2420684" y="1377120"/>
                  </a:lnTo>
                  <a:lnTo>
                    <a:pt x="2434980" y="1377120"/>
                  </a:lnTo>
                  <a:lnTo>
                    <a:pt x="2454040" y="1367588"/>
                  </a:lnTo>
                  <a:lnTo>
                    <a:pt x="2477864" y="1367588"/>
                  </a:lnTo>
                  <a:lnTo>
                    <a:pt x="2492160" y="1372356"/>
                  </a:lnTo>
                  <a:lnTo>
                    <a:pt x="2501692" y="1396180"/>
                  </a:lnTo>
                  <a:lnTo>
                    <a:pt x="2511220" y="1400944"/>
                  </a:lnTo>
                  <a:lnTo>
                    <a:pt x="2515988" y="1405712"/>
                  </a:lnTo>
                  <a:lnTo>
                    <a:pt x="2525516" y="1415240"/>
                  </a:lnTo>
                  <a:lnTo>
                    <a:pt x="2535048" y="1415240"/>
                  </a:lnTo>
                  <a:lnTo>
                    <a:pt x="2544576" y="1410476"/>
                  </a:lnTo>
                  <a:lnTo>
                    <a:pt x="2554108" y="1400944"/>
                  </a:lnTo>
                  <a:lnTo>
                    <a:pt x="2563636" y="1400944"/>
                  </a:lnTo>
                  <a:lnTo>
                    <a:pt x="2568404" y="1405712"/>
                  </a:lnTo>
                  <a:lnTo>
                    <a:pt x="2568404" y="1420004"/>
                  </a:lnTo>
                  <a:lnTo>
                    <a:pt x="2577932" y="1434300"/>
                  </a:lnTo>
                  <a:lnTo>
                    <a:pt x="2587464" y="1443832"/>
                  </a:lnTo>
                  <a:lnTo>
                    <a:pt x="2606524" y="1448596"/>
                  </a:lnTo>
                  <a:lnTo>
                    <a:pt x="2611288" y="1453360"/>
                  </a:lnTo>
                  <a:lnTo>
                    <a:pt x="2611288" y="1467656"/>
                  </a:lnTo>
                  <a:lnTo>
                    <a:pt x="2620820" y="1477188"/>
                  </a:lnTo>
                  <a:lnTo>
                    <a:pt x="2625584" y="1486716"/>
                  </a:lnTo>
                  <a:lnTo>
                    <a:pt x="2630348" y="1510544"/>
                  </a:lnTo>
                  <a:lnTo>
                    <a:pt x="2635116" y="1529604"/>
                  </a:lnTo>
                  <a:lnTo>
                    <a:pt x="2635116" y="1539136"/>
                  </a:lnTo>
                  <a:lnTo>
                    <a:pt x="2644644" y="1553428"/>
                  </a:lnTo>
                  <a:lnTo>
                    <a:pt x="2658940" y="1582020"/>
                  </a:lnTo>
                  <a:lnTo>
                    <a:pt x="2673236" y="1601080"/>
                  </a:lnTo>
                  <a:lnTo>
                    <a:pt x="2682764" y="1605844"/>
                  </a:lnTo>
                  <a:lnTo>
                    <a:pt x="2697060" y="1615376"/>
                  </a:lnTo>
                  <a:lnTo>
                    <a:pt x="2701828" y="1629672"/>
                  </a:lnTo>
                  <a:lnTo>
                    <a:pt x="2711356" y="1663028"/>
                  </a:lnTo>
                  <a:lnTo>
                    <a:pt x="2716120" y="1682088"/>
                  </a:lnTo>
                  <a:lnTo>
                    <a:pt x="2716120" y="1696384"/>
                  </a:lnTo>
                  <a:lnTo>
                    <a:pt x="2720888" y="1701148"/>
                  </a:lnTo>
                  <a:lnTo>
                    <a:pt x="2720888" y="1710680"/>
                  </a:lnTo>
                  <a:lnTo>
                    <a:pt x="2711356" y="1744036"/>
                  </a:lnTo>
                  <a:lnTo>
                    <a:pt x="2701828" y="1758328"/>
                  </a:lnTo>
                  <a:lnTo>
                    <a:pt x="2701828" y="1767860"/>
                  </a:lnTo>
                  <a:lnTo>
                    <a:pt x="2706592" y="1791684"/>
                  </a:lnTo>
                  <a:lnTo>
                    <a:pt x="2716120" y="1805980"/>
                  </a:lnTo>
                  <a:lnTo>
                    <a:pt x="2716120" y="1825040"/>
                  </a:lnTo>
                  <a:lnTo>
                    <a:pt x="2711356" y="1834572"/>
                  </a:lnTo>
                  <a:lnTo>
                    <a:pt x="2697060" y="1848868"/>
                  </a:lnTo>
                  <a:lnTo>
                    <a:pt x="2692296" y="1858396"/>
                  </a:lnTo>
                  <a:lnTo>
                    <a:pt x="2682764" y="1863164"/>
                  </a:lnTo>
                  <a:lnTo>
                    <a:pt x="2668472" y="1891752"/>
                  </a:lnTo>
                  <a:lnTo>
                    <a:pt x="2663704" y="1920344"/>
                  </a:lnTo>
                  <a:lnTo>
                    <a:pt x="2663704" y="1934640"/>
                  </a:lnTo>
                  <a:lnTo>
                    <a:pt x="2668472" y="1948936"/>
                  </a:lnTo>
                  <a:lnTo>
                    <a:pt x="2678000" y="1963232"/>
                  </a:lnTo>
                  <a:lnTo>
                    <a:pt x="2678000" y="1972760"/>
                  </a:lnTo>
                  <a:lnTo>
                    <a:pt x="2692296" y="1996588"/>
                  </a:lnTo>
                  <a:lnTo>
                    <a:pt x="2697060" y="2010880"/>
                  </a:lnTo>
                  <a:lnTo>
                    <a:pt x="2701828" y="2010880"/>
                  </a:lnTo>
                  <a:lnTo>
                    <a:pt x="2706592" y="2006116"/>
                  </a:lnTo>
                  <a:lnTo>
                    <a:pt x="2725652" y="2006116"/>
                  </a:lnTo>
                  <a:lnTo>
                    <a:pt x="2735184" y="2010880"/>
                  </a:lnTo>
                  <a:lnTo>
                    <a:pt x="2749476" y="2020412"/>
                  </a:lnTo>
                  <a:lnTo>
                    <a:pt x="2763772" y="2025176"/>
                  </a:lnTo>
                  <a:lnTo>
                    <a:pt x="2782832" y="2025176"/>
                  </a:lnTo>
                  <a:lnTo>
                    <a:pt x="2797128" y="2029944"/>
                  </a:lnTo>
                  <a:lnTo>
                    <a:pt x="2806660" y="2034708"/>
                  </a:lnTo>
                  <a:lnTo>
                    <a:pt x="2830484" y="2039472"/>
                  </a:lnTo>
                  <a:lnTo>
                    <a:pt x="2878136" y="2039472"/>
                  </a:lnTo>
                  <a:lnTo>
                    <a:pt x="2897196" y="2044236"/>
                  </a:lnTo>
                  <a:lnTo>
                    <a:pt x="2940084" y="2053768"/>
                  </a:lnTo>
                  <a:lnTo>
                    <a:pt x="2963908" y="2049004"/>
                  </a:lnTo>
                  <a:lnTo>
                    <a:pt x="2997264" y="2044236"/>
                  </a:lnTo>
                  <a:lnTo>
                    <a:pt x="3016324" y="2049004"/>
                  </a:lnTo>
                  <a:lnTo>
                    <a:pt x="3073508" y="2058532"/>
                  </a:lnTo>
                  <a:lnTo>
                    <a:pt x="3106864" y="2068064"/>
                  </a:lnTo>
                  <a:lnTo>
                    <a:pt x="3130688" y="2077592"/>
                  </a:lnTo>
                  <a:lnTo>
                    <a:pt x="3144984" y="2091888"/>
                  </a:lnTo>
                  <a:lnTo>
                    <a:pt x="3164044" y="2115716"/>
                  </a:lnTo>
                  <a:lnTo>
                    <a:pt x="3178340" y="2125244"/>
                  </a:lnTo>
                  <a:lnTo>
                    <a:pt x="3216460" y="2130008"/>
                  </a:lnTo>
                  <a:lnTo>
                    <a:pt x="3240284" y="2158600"/>
                  </a:lnTo>
                  <a:lnTo>
                    <a:pt x="3259348" y="2168132"/>
                  </a:lnTo>
                  <a:lnTo>
                    <a:pt x="3297468" y="2196720"/>
                  </a:lnTo>
                  <a:lnTo>
                    <a:pt x="3321292" y="2206252"/>
                  </a:lnTo>
                  <a:lnTo>
                    <a:pt x="3349884" y="2215784"/>
                  </a:lnTo>
                  <a:lnTo>
                    <a:pt x="3392768" y="2211016"/>
                  </a:lnTo>
                  <a:lnTo>
                    <a:pt x="3397536" y="2215784"/>
                  </a:lnTo>
                  <a:lnTo>
                    <a:pt x="3392768" y="2230076"/>
                  </a:lnTo>
                  <a:lnTo>
                    <a:pt x="3392768" y="2249140"/>
                  </a:lnTo>
                  <a:lnTo>
                    <a:pt x="3392768" y="2263432"/>
                  </a:lnTo>
                  <a:lnTo>
                    <a:pt x="3397536" y="2272964"/>
                  </a:lnTo>
                  <a:lnTo>
                    <a:pt x="3411832" y="2277728"/>
                  </a:lnTo>
                  <a:lnTo>
                    <a:pt x="3421360" y="2282496"/>
                  </a:lnTo>
                  <a:lnTo>
                    <a:pt x="3430892" y="2296788"/>
                  </a:lnTo>
                  <a:lnTo>
                    <a:pt x="3430892" y="2306320"/>
                  </a:lnTo>
                  <a:lnTo>
                    <a:pt x="3449952" y="2344440"/>
                  </a:lnTo>
                  <a:lnTo>
                    <a:pt x="3473776" y="2406388"/>
                  </a:lnTo>
                  <a:lnTo>
                    <a:pt x="3473776" y="2430212"/>
                  </a:lnTo>
                  <a:lnTo>
                    <a:pt x="3483308" y="2444508"/>
                  </a:lnTo>
                  <a:lnTo>
                    <a:pt x="3507132" y="2468332"/>
                  </a:lnTo>
                  <a:lnTo>
                    <a:pt x="3521428" y="2482628"/>
                  </a:lnTo>
                  <a:lnTo>
                    <a:pt x="3545252" y="2501688"/>
                  </a:lnTo>
                  <a:lnTo>
                    <a:pt x="3550020" y="2520752"/>
                  </a:lnTo>
                  <a:lnTo>
                    <a:pt x="3550020" y="2544576"/>
                  </a:lnTo>
                  <a:lnTo>
                    <a:pt x="3554784" y="2549340"/>
                  </a:lnTo>
                  <a:lnTo>
                    <a:pt x="3592904" y="2544576"/>
                  </a:lnTo>
                  <a:lnTo>
                    <a:pt x="3626260" y="2539812"/>
                  </a:lnTo>
                  <a:lnTo>
                    <a:pt x="3683444" y="2535044"/>
                  </a:lnTo>
                  <a:lnTo>
                    <a:pt x="3764448" y="2544576"/>
                  </a:lnTo>
                  <a:lnTo>
                    <a:pt x="3843076" y="2554108"/>
                  </a:lnTo>
                  <a:lnTo>
                    <a:pt x="3919316" y="2563636"/>
                  </a:lnTo>
                  <a:lnTo>
                    <a:pt x="3952672" y="2568400"/>
                  </a:lnTo>
                  <a:lnTo>
                    <a:pt x="4033680" y="2577932"/>
                  </a:lnTo>
                  <a:lnTo>
                    <a:pt x="4081332" y="2568400"/>
                  </a:lnTo>
                  <a:lnTo>
                    <a:pt x="4114688" y="2558872"/>
                  </a:lnTo>
                  <a:lnTo>
                    <a:pt x="4133748" y="2558872"/>
                  </a:lnTo>
                  <a:lnTo>
                    <a:pt x="4200460" y="2568400"/>
                  </a:lnTo>
                  <a:lnTo>
                    <a:pt x="4238580" y="2577932"/>
                  </a:lnTo>
                  <a:lnTo>
                    <a:pt x="4290996" y="2582696"/>
                  </a:lnTo>
                  <a:lnTo>
                    <a:pt x="4324352" y="2587464"/>
                  </a:lnTo>
                  <a:lnTo>
                    <a:pt x="4352944" y="2587464"/>
                  </a:lnTo>
                  <a:lnTo>
                    <a:pt x="4367240" y="2587464"/>
                  </a:lnTo>
                  <a:lnTo>
                    <a:pt x="4376768" y="2592228"/>
                  </a:lnTo>
                  <a:lnTo>
                    <a:pt x="4386300" y="2601756"/>
                  </a:lnTo>
                  <a:lnTo>
                    <a:pt x="4410124" y="2639880"/>
                  </a:lnTo>
                  <a:lnTo>
                    <a:pt x="4429184" y="2654172"/>
                  </a:lnTo>
                  <a:lnTo>
                    <a:pt x="4457776" y="2668468"/>
                  </a:lnTo>
                  <a:lnTo>
                    <a:pt x="4519724" y="2678000"/>
                  </a:lnTo>
                  <a:lnTo>
                    <a:pt x="4557844" y="2687528"/>
                  </a:lnTo>
                  <a:lnTo>
                    <a:pt x="4600728" y="2697060"/>
                  </a:lnTo>
                  <a:lnTo>
                    <a:pt x="4624556" y="2711356"/>
                  </a:lnTo>
                  <a:lnTo>
                    <a:pt x="4657912" y="2730416"/>
                  </a:lnTo>
                  <a:lnTo>
                    <a:pt x="4700796" y="2754240"/>
                  </a:lnTo>
                  <a:lnTo>
                    <a:pt x="4743684" y="2744712"/>
                  </a:lnTo>
                  <a:lnTo>
                    <a:pt x="4791336" y="2730416"/>
                  </a:lnTo>
                  <a:lnTo>
                    <a:pt x="4819924" y="2725652"/>
                  </a:lnTo>
                  <a:lnTo>
                    <a:pt x="4819924" y="2773304"/>
                  </a:lnTo>
                  <a:lnTo>
                    <a:pt x="4862812" y="2773304"/>
                  </a:lnTo>
                  <a:lnTo>
                    <a:pt x="4877108" y="2773304"/>
                  </a:lnTo>
                  <a:lnTo>
                    <a:pt x="4896168" y="2782832"/>
                  </a:lnTo>
                  <a:lnTo>
                    <a:pt x="4905700" y="2782832"/>
                  </a:lnTo>
                  <a:lnTo>
                    <a:pt x="4919992" y="2768536"/>
                  </a:lnTo>
                  <a:lnTo>
                    <a:pt x="4929524" y="2754240"/>
                  </a:lnTo>
                  <a:lnTo>
                    <a:pt x="4948584" y="2749476"/>
                  </a:lnTo>
                  <a:lnTo>
                    <a:pt x="4981940" y="2730416"/>
                  </a:lnTo>
                  <a:lnTo>
                    <a:pt x="5034356" y="2701824"/>
                  </a:lnTo>
                  <a:lnTo>
                    <a:pt x="5105832" y="2668468"/>
                  </a:lnTo>
                  <a:lnTo>
                    <a:pt x="5139188" y="2654172"/>
                  </a:lnTo>
                  <a:lnTo>
                    <a:pt x="5148720" y="2654172"/>
                  </a:lnTo>
                  <a:lnTo>
                    <a:pt x="5163016" y="2644644"/>
                  </a:lnTo>
                  <a:lnTo>
                    <a:pt x="5177308" y="2639880"/>
                  </a:lnTo>
                  <a:lnTo>
                    <a:pt x="5196372" y="2635112"/>
                  </a:lnTo>
                  <a:lnTo>
                    <a:pt x="5224960" y="2630348"/>
                  </a:lnTo>
                  <a:lnTo>
                    <a:pt x="5258316" y="2625584"/>
                  </a:lnTo>
                  <a:lnTo>
                    <a:pt x="5329796" y="2616052"/>
                  </a:lnTo>
                  <a:lnTo>
                    <a:pt x="5339324" y="2616052"/>
                  </a:lnTo>
                  <a:lnTo>
                    <a:pt x="5377444" y="2611288"/>
                  </a:lnTo>
                  <a:lnTo>
                    <a:pt x="5396508" y="2606524"/>
                  </a:lnTo>
                  <a:lnTo>
                    <a:pt x="5420332" y="2606524"/>
                  </a:lnTo>
                  <a:lnTo>
                    <a:pt x="5453688" y="2611288"/>
                  </a:lnTo>
                  <a:lnTo>
                    <a:pt x="5477512" y="2611288"/>
                  </a:lnTo>
                  <a:lnTo>
                    <a:pt x="5506104" y="2611288"/>
                  </a:lnTo>
                  <a:lnTo>
                    <a:pt x="5544224" y="2606524"/>
                  </a:lnTo>
                  <a:lnTo>
                    <a:pt x="5577580" y="2606524"/>
                  </a:lnTo>
                  <a:lnTo>
                    <a:pt x="5591876" y="2601756"/>
                  </a:lnTo>
                  <a:lnTo>
                    <a:pt x="5615700" y="2592228"/>
                  </a:lnTo>
                  <a:lnTo>
                    <a:pt x="5634764" y="2582696"/>
                  </a:lnTo>
                  <a:lnTo>
                    <a:pt x="5658588" y="2573168"/>
                  </a:lnTo>
                  <a:lnTo>
                    <a:pt x="5691944" y="2558872"/>
                  </a:lnTo>
                  <a:lnTo>
                    <a:pt x="5711004" y="2549340"/>
                  </a:lnTo>
                  <a:lnTo>
                    <a:pt x="5725300" y="2544576"/>
                  </a:lnTo>
                  <a:lnTo>
                    <a:pt x="5744360" y="2535044"/>
                  </a:lnTo>
                  <a:lnTo>
                    <a:pt x="5749124" y="2530280"/>
                  </a:lnTo>
                  <a:lnTo>
                    <a:pt x="5753892" y="2520752"/>
                  </a:lnTo>
                  <a:lnTo>
                    <a:pt x="5763420" y="2511220"/>
                  </a:lnTo>
                  <a:lnTo>
                    <a:pt x="5777716" y="2492160"/>
                  </a:lnTo>
                  <a:lnTo>
                    <a:pt x="5792012" y="2473100"/>
                  </a:lnTo>
                  <a:lnTo>
                    <a:pt x="5796776" y="2463568"/>
                  </a:lnTo>
                  <a:lnTo>
                    <a:pt x="5811072" y="2444508"/>
                  </a:lnTo>
                  <a:lnTo>
                    <a:pt x="5825368" y="2434980"/>
                  </a:lnTo>
                  <a:lnTo>
                    <a:pt x="5839664" y="2415916"/>
                  </a:lnTo>
                  <a:lnTo>
                    <a:pt x="5849192" y="2411152"/>
                  </a:lnTo>
                  <a:lnTo>
                    <a:pt x="5868252" y="2401624"/>
                  </a:lnTo>
                  <a:lnTo>
                    <a:pt x="5906376" y="2387328"/>
                  </a:lnTo>
                  <a:lnTo>
                    <a:pt x="5915904" y="2382560"/>
                  </a:lnTo>
                  <a:lnTo>
                    <a:pt x="5920668" y="2382560"/>
                  </a:lnTo>
                  <a:lnTo>
                    <a:pt x="5934964" y="2368268"/>
                  </a:lnTo>
                  <a:lnTo>
                    <a:pt x="5949260" y="2353972"/>
                  </a:lnTo>
                  <a:lnTo>
                    <a:pt x="5958792" y="2344440"/>
                  </a:lnTo>
                  <a:lnTo>
                    <a:pt x="5973088" y="2339676"/>
                  </a:lnTo>
                  <a:lnTo>
                    <a:pt x="5982616" y="2334912"/>
                  </a:lnTo>
                  <a:lnTo>
                    <a:pt x="5982616" y="2325380"/>
                  </a:lnTo>
                  <a:lnTo>
                    <a:pt x="5982616" y="2311084"/>
                  </a:lnTo>
                  <a:lnTo>
                    <a:pt x="5973088" y="2296788"/>
                  </a:lnTo>
                  <a:lnTo>
                    <a:pt x="5968320" y="2287260"/>
                  </a:lnTo>
                  <a:lnTo>
                    <a:pt x="5944496" y="2263432"/>
                  </a:lnTo>
                  <a:lnTo>
                    <a:pt x="5930200" y="2249140"/>
                  </a:lnTo>
                  <a:lnTo>
                    <a:pt x="5915904" y="2230076"/>
                  </a:lnTo>
                  <a:lnTo>
                    <a:pt x="5911140" y="2215784"/>
                  </a:lnTo>
                  <a:lnTo>
                    <a:pt x="5906376" y="2201488"/>
                  </a:lnTo>
                  <a:lnTo>
                    <a:pt x="5901608" y="2191956"/>
                  </a:lnTo>
                  <a:lnTo>
                    <a:pt x="5901608" y="2182428"/>
                  </a:lnTo>
                  <a:lnTo>
                    <a:pt x="5911140" y="2163364"/>
                  </a:lnTo>
                  <a:lnTo>
                    <a:pt x="5915904" y="2149072"/>
                  </a:lnTo>
                  <a:lnTo>
                    <a:pt x="5920668" y="2125244"/>
                  </a:lnTo>
                  <a:lnTo>
                    <a:pt x="5934964" y="2091888"/>
                  </a:lnTo>
                  <a:lnTo>
                    <a:pt x="5944496" y="2077592"/>
                  </a:lnTo>
                  <a:lnTo>
                    <a:pt x="5954028" y="2058532"/>
                  </a:lnTo>
                  <a:lnTo>
                    <a:pt x="5977852" y="2039472"/>
                  </a:lnTo>
                  <a:lnTo>
                    <a:pt x="5996912" y="2034708"/>
                  </a:lnTo>
                  <a:lnTo>
                    <a:pt x="6011208" y="2039472"/>
                  </a:lnTo>
                  <a:lnTo>
                    <a:pt x="6039796" y="2039472"/>
                  </a:lnTo>
                  <a:lnTo>
                    <a:pt x="6058860" y="2039472"/>
                  </a:lnTo>
                  <a:lnTo>
                    <a:pt x="6073156" y="2049004"/>
                  </a:lnTo>
                  <a:lnTo>
                    <a:pt x="6087448" y="2072828"/>
                  </a:lnTo>
                  <a:lnTo>
                    <a:pt x="6101744" y="2077592"/>
                  </a:lnTo>
                  <a:lnTo>
                    <a:pt x="6158928" y="2096656"/>
                  </a:lnTo>
                  <a:lnTo>
                    <a:pt x="6177988" y="2101420"/>
                  </a:lnTo>
                  <a:lnTo>
                    <a:pt x="6197048" y="2101420"/>
                  </a:lnTo>
                  <a:lnTo>
                    <a:pt x="6220872" y="2106184"/>
                  </a:lnTo>
                  <a:lnTo>
                    <a:pt x="6230404" y="2106184"/>
                  </a:lnTo>
                  <a:lnTo>
                    <a:pt x="6239932" y="2110948"/>
                  </a:lnTo>
                  <a:lnTo>
                    <a:pt x="6254228" y="2106184"/>
                  </a:lnTo>
                  <a:lnTo>
                    <a:pt x="6268524" y="2091888"/>
                  </a:lnTo>
                  <a:lnTo>
                    <a:pt x="6287584" y="2077592"/>
                  </a:lnTo>
                  <a:lnTo>
                    <a:pt x="6297116" y="2072828"/>
                  </a:lnTo>
                  <a:lnTo>
                    <a:pt x="6311412" y="2068064"/>
                  </a:lnTo>
                  <a:lnTo>
                    <a:pt x="6316176" y="2058532"/>
                  </a:lnTo>
                  <a:lnTo>
                    <a:pt x="6330472" y="2044236"/>
                  </a:lnTo>
                  <a:lnTo>
                    <a:pt x="6349532" y="2029944"/>
                  </a:lnTo>
                  <a:lnTo>
                    <a:pt x="6373356" y="2010880"/>
                  </a:lnTo>
                  <a:lnTo>
                    <a:pt x="6382888" y="1991820"/>
                  </a:lnTo>
                  <a:lnTo>
                    <a:pt x="6382888" y="1982292"/>
                  </a:lnTo>
                  <a:lnTo>
                    <a:pt x="6387652" y="1972760"/>
                  </a:lnTo>
                  <a:lnTo>
                    <a:pt x="6392416" y="1967996"/>
                  </a:lnTo>
                  <a:lnTo>
                    <a:pt x="6406712" y="1963232"/>
                  </a:lnTo>
                  <a:lnTo>
                    <a:pt x="6421008" y="1958464"/>
                  </a:lnTo>
                  <a:lnTo>
                    <a:pt x="6449600" y="1967996"/>
                  </a:lnTo>
                  <a:lnTo>
                    <a:pt x="6487720" y="1967996"/>
                  </a:lnTo>
                  <a:lnTo>
                    <a:pt x="6497252" y="1967996"/>
                  </a:lnTo>
                  <a:lnTo>
                    <a:pt x="6530608" y="1958464"/>
                  </a:lnTo>
                  <a:lnTo>
                    <a:pt x="6544900" y="1958464"/>
                  </a:lnTo>
                  <a:lnTo>
                    <a:pt x="6568728" y="1953700"/>
                  </a:lnTo>
                  <a:lnTo>
                    <a:pt x="6583024" y="1934640"/>
                  </a:lnTo>
                  <a:lnTo>
                    <a:pt x="6606848" y="1915580"/>
                  </a:lnTo>
                  <a:lnTo>
                    <a:pt x="6625908" y="1901284"/>
                  </a:lnTo>
                  <a:lnTo>
                    <a:pt x="6635440" y="1901284"/>
                  </a:lnTo>
                  <a:lnTo>
                    <a:pt x="6649736" y="1886988"/>
                  </a:lnTo>
                  <a:lnTo>
                    <a:pt x="6654500" y="1877460"/>
                  </a:lnTo>
                  <a:lnTo>
                    <a:pt x="6654500" y="1867928"/>
                  </a:lnTo>
                  <a:lnTo>
                    <a:pt x="6649736" y="1853632"/>
                  </a:lnTo>
                  <a:lnTo>
                    <a:pt x="6659264" y="1839336"/>
                  </a:lnTo>
                  <a:lnTo>
                    <a:pt x="6673560" y="1810748"/>
                  </a:lnTo>
                  <a:lnTo>
                    <a:pt x="6687856" y="1796452"/>
                  </a:lnTo>
                  <a:lnTo>
                    <a:pt x="6697384" y="1782156"/>
                  </a:lnTo>
                  <a:lnTo>
                    <a:pt x="6706916" y="1767860"/>
                  </a:lnTo>
                  <a:lnTo>
                    <a:pt x="6716444" y="1758328"/>
                  </a:lnTo>
                  <a:lnTo>
                    <a:pt x="6725976" y="1758328"/>
                  </a:lnTo>
                  <a:lnTo>
                    <a:pt x="6740272" y="1744036"/>
                  </a:lnTo>
                  <a:lnTo>
                    <a:pt x="6754568" y="1744036"/>
                  </a:lnTo>
                  <a:lnTo>
                    <a:pt x="6768864" y="1748800"/>
                  </a:lnTo>
                  <a:lnTo>
                    <a:pt x="6797452" y="1748800"/>
                  </a:lnTo>
                  <a:lnTo>
                    <a:pt x="6816516" y="1753564"/>
                  </a:lnTo>
                  <a:lnTo>
                    <a:pt x="6826044" y="1748800"/>
                  </a:lnTo>
                  <a:lnTo>
                    <a:pt x="6830808" y="1744036"/>
                  </a:lnTo>
                  <a:lnTo>
                    <a:pt x="6830808" y="1734504"/>
                  </a:lnTo>
                  <a:lnTo>
                    <a:pt x="6835576" y="1710680"/>
                  </a:lnTo>
                  <a:lnTo>
                    <a:pt x="6835576" y="1701148"/>
                  </a:lnTo>
                  <a:lnTo>
                    <a:pt x="6845104" y="1696384"/>
                  </a:lnTo>
                  <a:lnTo>
                    <a:pt x="6859400" y="1696384"/>
                  </a:lnTo>
                  <a:lnTo>
                    <a:pt x="6868932" y="1705912"/>
                  </a:lnTo>
                  <a:lnTo>
                    <a:pt x="6878460" y="1710680"/>
                  </a:lnTo>
                  <a:lnTo>
                    <a:pt x="6887992" y="1715444"/>
                  </a:lnTo>
                  <a:lnTo>
                    <a:pt x="6902284" y="1710680"/>
                  </a:lnTo>
                  <a:lnTo>
                    <a:pt x="6916580" y="1691620"/>
                  </a:lnTo>
                  <a:lnTo>
                    <a:pt x="6940408" y="1682088"/>
                  </a:lnTo>
                  <a:lnTo>
                    <a:pt x="6954704" y="1677324"/>
                  </a:lnTo>
                  <a:lnTo>
                    <a:pt x="6978528" y="1667792"/>
                  </a:lnTo>
                  <a:lnTo>
                    <a:pt x="6992824" y="1672556"/>
                  </a:lnTo>
                  <a:lnTo>
                    <a:pt x="7021416" y="1672556"/>
                  </a:lnTo>
                  <a:lnTo>
                    <a:pt x="7030944" y="1672556"/>
                  </a:lnTo>
                  <a:lnTo>
                    <a:pt x="7045240" y="1672556"/>
                  </a:lnTo>
                  <a:lnTo>
                    <a:pt x="7054772" y="1663028"/>
                  </a:lnTo>
                  <a:lnTo>
                    <a:pt x="7064300" y="1658264"/>
                  </a:lnTo>
                  <a:lnTo>
                    <a:pt x="7078596" y="1663028"/>
                  </a:lnTo>
                  <a:lnTo>
                    <a:pt x="7092892" y="1672556"/>
                  </a:lnTo>
                  <a:lnTo>
                    <a:pt x="7111952" y="1686852"/>
                  </a:lnTo>
                  <a:lnTo>
                    <a:pt x="7140544" y="1691620"/>
                  </a:lnTo>
                  <a:lnTo>
                    <a:pt x="7159604" y="1686852"/>
                  </a:lnTo>
                  <a:lnTo>
                    <a:pt x="7183428" y="1696384"/>
                  </a:lnTo>
                  <a:lnTo>
                    <a:pt x="7197724" y="1691620"/>
                  </a:lnTo>
                  <a:lnTo>
                    <a:pt x="7202488" y="1686852"/>
                  </a:lnTo>
                  <a:lnTo>
                    <a:pt x="7221548" y="1677324"/>
                  </a:lnTo>
                  <a:lnTo>
                    <a:pt x="7226316" y="1663028"/>
                  </a:lnTo>
                  <a:lnTo>
                    <a:pt x="7226316" y="1653496"/>
                  </a:lnTo>
                  <a:lnTo>
                    <a:pt x="7226316" y="1634436"/>
                  </a:lnTo>
                  <a:lnTo>
                    <a:pt x="7221548" y="1624908"/>
                  </a:lnTo>
                  <a:lnTo>
                    <a:pt x="7207256" y="1610612"/>
                  </a:lnTo>
                  <a:lnTo>
                    <a:pt x="7207256" y="1596316"/>
                  </a:lnTo>
                  <a:lnTo>
                    <a:pt x="7202488" y="1582020"/>
                  </a:lnTo>
                  <a:lnTo>
                    <a:pt x="7197724" y="1567724"/>
                  </a:lnTo>
                  <a:lnTo>
                    <a:pt x="7178664" y="1553428"/>
                  </a:lnTo>
                  <a:lnTo>
                    <a:pt x="7169132" y="1543900"/>
                  </a:lnTo>
                  <a:lnTo>
                    <a:pt x="7145308" y="1515308"/>
                  </a:lnTo>
                  <a:lnTo>
                    <a:pt x="7135776" y="1510544"/>
                  </a:lnTo>
                  <a:lnTo>
                    <a:pt x="7135776" y="1505780"/>
                  </a:lnTo>
                  <a:lnTo>
                    <a:pt x="7131012" y="1496248"/>
                  </a:lnTo>
                  <a:lnTo>
                    <a:pt x="7121484" y="1491484"/>
                  </a:lnTo>
                  <a:lnTo>
                    <a:pt x="7111952" y="1481952"/>
                  </a:lnTo>
                  <a:lnTo>
                    <a:pt x="7107188" y="1477188"/>
                  </a:lnTo>
                  <a:lnTo>
                    <a:pt x="7102420" y="1462892"/>
                  </a:lnTo>
                  <a:lnTo>
                    <a:pt x="7097656" y="1453360"/>
                  </a:lnTo>
                  <a:lnTo>
                    <a:pt x="7088124" y="1443832"/>
                  </a:lnTo>
                  <a:lnTo>
                    <a:pt x="7078596" y="1443832"/>
                  </a:lnTo>
                  <a:lnTo>
                    <a:pt x="7069064" y="1439068"/>
                  </a:lnTo>
                  <a:lnTo>
                    <a:pt x="7050004" y="1429536"/>
                  </a:lnTo>
                  <a:lnTo>
                    <a:pt x="7040476" y="1415240"/>
                  </a:lnTo>
                  <a:lnTo>
                    <a:pt x="7021416" y="1386652"/>
                  </a:lnTo>
                  <a:lnTo>
                    <a:pt x="7007120" y="1377120"/>
                  </a:lnTo>
                  <a:lnTo>
                    <a:pt x="6968996" y="1372356"/>
                  </a:lnTo>
                  <a:lnTo>
                    <a:pt x="6954704" y="1367588"/>
                  </a:lnTo>
                  <a:lnTo>
                    <a:pt x="6935644" y="1367588"/>
                  </a:lnTo>
                  <a:lnTo>
                    <a:pt x="6926112" y="1372356"/>
                  </a:lnTo>
                  <a:lnTo>
                    <a:pt x="6907052" y="1372356"/>
                  </a:lnTo>
                  <a:lnTo>
                    <a:pt x="6892756" y="1377120"/>
                  </a:lnTo>
                  <a:lnTo>
                    <a:pt x="6878460" y="1396180"/>
                  </a:lnTo>
                  <a:lnTo>
                    <a:pt x="6859400" y="1420004"/>
                  </a:lnTo>
                  <a:lnTo>
                    <a:pt x="6845104" y="1434300"/>
                  </a:lnTo>
                  <a:lnTo>
                    <a:pt x="6835576" y="1448596"/>
                  </a:lnTo>
                  <a:lnTo>
                    <a:pt x="6830808" y="1453360"/>
                  </a:lnTo>
                  <a:lnTo>
                    <a:pt x="6816516" y="1448596"/>
                  </a:lnTo>
                  <a:lnTo>
                    <a:pt x="6806984" y="1434300"/>
                  </a:lnTo>
                  <a:lnTo>
                    <a:pt x="6783156" y="1420004"/>
                  </a:lnTo>
                  <a:lnTo>
                    <a:pt x="6768864" y="1410476"/>
                  </a:lnTo>
                  <a:lnTo>
                    <a:pt x="6759332" y="1405712"/>
                  </a:lnTo>
                  <a:lnTo>
                    <a:pt x="6735508" y="1400944"/>
                  </a:lnTo>
                  <a:lnTo>
                    <a:pt x="6721212" y="1405712"/>
                  </a:lnTo>
                  <a:lnTo>
                    <a:pt x="6697384" y="1410476"/>
                  </a:lnTo>
                  <a:lnTo>
                    <a:pt x="6678324" y="1410476"/>
                  </a:lnTo>
                  <a:lnTo>
                    <a:pt x="6668796" y="1405712"/>
                  </a:lnTo>
                  <a:lnTo>
                    <a:pt x="6654500" y="1405712"/>
                  </a:lnTo>
                  <a:lnTo>
                    <a:pt x="6630676" y="1420004"/>
                  </a:lnTo>
                  <a:lnTo>
                    <a:pt x="6616380" y="1439068"/>
                  </a:lnTo>
                  <a:lnTo>
                    <a:pt x="6602084" y="1443832"/>
                  </a:lnTo>
                  <a:lnTo>
                    <a:pt x="6587788" y="1434300"/>
                  </a:lnTo>
                  <a:lnTo>
                    <a:pt x="6573492" y="1420004"/>
                  </a:lnTo>
                  <a:lnTo>
                    <a:pt x="6559196" y="1400944"/>
                  </a:lnTo>
                  <a:lnTo>
                    <a:pt x="6549668" y="1386652"/>
                  </a:lnTo>
                  <a:lnTo>
                    <a:pt x="6544900" y="1343764"/>
                  </a:lnTo>
                  <a:lnTo>
                    <a:pt x="6563964" y="1329468"/>
                  </a:lnTo>
                  <a:lnTo>
                    <a:pt x="6583024" y="1315172"/>
                  </a:lnTo>
                  <a:lnTo>
                    <a:pt x="6587788" y="1291348"/>
                  </a:lnTo>
                  <a:lnTo>
                    <a:pt x="6583024" y="1267520"/>
                  </a:lnTo>
                  <a:lnTo>
                    <a:pt x="6592552" y="1238932"/>
                  </a:lnTo>
                  <a:lnTo>
                    <a:pt x="6611612" y="1210340"/>
                  </a:lnTo>
                  <a:lnTo>
                    <a:pt x="6621144" y="1186516"/>
                  </a:lnTo>
                  <a:lnTo>
                    <a:pt x="6621144" y="1176984"/>
                  </a:lnTo>
                  <a:lnTo>
                    <a:pt x="6635440" y="1153160"/>
                  </a:lnTo>
                  <a:lnTo>
                    <a:pt x="6644968" y="1129332"/>
                  </a:lnTo>
                  <a:lnTo>
                    <a:pt x="6654500" y="1095976"/>
                  </a:lnTo>
                  <a:lnTo>
                    <a:pt x="6678324" y="1038796"/>
                  </a:lnTo>
                  <a:lnTo>
                    <a:pt x="6711680" y="972084"/>
                  </a:lnTo>
                  <a:lnTo>
                    <a:pt x="6725976" y="938728"/>
                  </a:lnTo>
                  <a:lnTo>
                    <a:pt x="6754568" y="962552"/>
                  </a:lnTo>
                  <a:lnTo>
                    <a:pt x="6778392" y="972084"/>
                  </a:lnTo>
                  <a:lnTo>
                    <a:pt x="6811748" y="986380"/>
                  </a:lnTo>
                  <a:lnTo>
                    <a:pt x="6849868" y="991144"/>
                  </a:lnTo>
                  <a:lnTo>
                    <a:pt x="6883224" y="1010204"/>
                  </a:lnTo>
                  <a:lnTo>
                    <a:pt x="6902284" y="1014972"/>
                  </a:lnTo>
                  <a:lnTo>
                    <a:pt x="6911816" y="1014972"/>
                  </a:lnTo>
                  <a:lnTo>
                    <a:pt x="6959468" y="972084"/>
                  </a:lnTo>
                  <a:lnTo>
                    <a:pt x="7002356" y="933964"/>
                  </a:lnTo>
                  <a:lnTo>
                    <a:pt x="7050004" y="905372"/>
                  </a:lnTo>
                  <a:lnTo>
                    <a:pt x="7083360" y="900608"/>
                  </a:lnTo>
                  <a:lnTo>
                    <a:pt x="7107188" y="891076"/>
                  </a:lnTo>
                  <a:lnTo>
                    <a:pt x="7126248" y="881548"/>
                  </a:lnTo>
                  <a:lnTo>
                    <a:pt x="7135776" y="857720"/>
                  </a:lnTo>
                  <a:lnTo>
                    <a:pt x="7140544" y="829132"/>
                  </a:lnTo>
                  <a:lnTo>
                    <a:pt x="7135776" y="810068"/>
                  </a:lnTo>
                  <a:lnTo>
                    <a:pt x="7116716" y="805304"/>
                  </a:lnTo>
                  <a:lnTo>
                    <a:pt x="7111952" y="795776"/>
                  </a:lnTo>
                  <a:lnTo>
                    <a:pt x="7121484" y="791008"/>
                  </a:lnTo>
                  <a:lnTo>
                    <a:pt x="7126248" y="776712"/>
                  </a:lnTo>
                  <a:lnTo>
                    <a:pt x="7131012" y="757652"/>
                  </a:lnTo>
                  <a:lnTo>
                    <a:pt x="7140544" y="743356"/>
                  </a:lnTo>
                  <a:lnTo>
                    <a:pt x="7154836" y="724296"/>
                  </a:lnTo>
                  <a:lnTo>
                    <a:pt x="7164368" y="705236"/>
                  </a:lnTo>
                  <a:lnTo>
                    <a:pt x="7164368" y="686176"/>
                  </a:lnTo>
                  <a:lnTo>
                    <a:pt x="7178664" y="662352"/>
                  </a:lnTo>
                  <a:lnTo>
                    <a:pt x="7192960" y="643292"/>
                  </a:lnTo>
                  <a:lnTo>
                    <a:pt x="7202488" y="624228"/>
                  </a:lnTo>
                  <a:lnTo>
                    <a:pt x="7202488" y="605168"/>
                  </a:lnTo>
                  <a:lnTo>
                    <a:pt x="7212020" y="586108"/>
                  </a:lnTo>
                  <a:lnTo>
                    <a:pt x="7235844" y="543224"/>
                  </a:lnTo>
                  <a:lnTo>
                    <a:pt x="7254904" y="500336"/>
                  </a:lnTo>
                  <a:lnTo>
                    <a:pt x="7278732" y="471744"/>
                  </a:lnTo>
                  <a:lnTo>
                    <a:pt x="7321616" y="438388"/>
                  </a:lnTo>
                  <a:lnTo>
                    <a:pt x="7350208" y="405032"/>
                  </a:lnTo>
                  <a:lnTo>
                    <a:pt x="7359740" y="376444"/>
                  </a:lnTo>
                  <a:lnTo>
                    <a:pt x="7359740" y="347852"/>
                  </a:lnTo>
                  <a:lnTo>
                    <a:pt x="7345444" y="324028"/>
                  </a:lnTo>
                  <a:lnTo>
                    <a:pt x="7345444" y="300200"/>
                  </a:lnTo>
                  <a:lnTo>
                    <a:pt x="7350208" y="271612"/>
                  </a:lnTo>
                  <a:lnTo>
                    <a:pt x="7345444" y="257316"/>
                  </a:lnTo>
                  <a:lnTo>
                    <a:pt x="7326384" y="243020"/>
                  </a:lnTo>
                  <a:lnTo>
                    <a:pt x="7297792" y="238256"/>
                  </a:lnTo>
                  <a:lnTo>
                    <a:pt x="7269200" y="247784"/>
                  </a:lnTo>
                  <a:lnTo>
                    <a:pt x="7254904" y="238256"/>
                  </a:lnTo>
                  <a:lnTo>
                    <a:pt x="7250140" y="214428"/>
                  </a:lnTo>
                  <a:lnTo>
                    <a:pt x="7259672" y="200132"/>
                  </a:lnTo>
                  <a:lnTo>
                    <a:pt x="7278732" y="185836"/>
                  </a:lnTo>
                  <a:lnTo>
                    <a:pt x="7307324" y="152484"/>
                  </a:lnTo>
                  <a:lnTo>
                    <a:pt x="7354972" y="100064"/>
                  </a:lnTo>
                  <a:lnTo>
                    <a:pt x="7397860" y="71476"/>
                  </a:lnTo>
                  <a:lnTo>
                    <a:pt x="7459804" y="61944"/>
                  </a:lnTo>
                  <a:lnTo>
                    <a:pt x="7516988" y="42884"/>
                  </a:lnTo>
                  <a:lnTo>
                    <a:pt x="7569404" y="23824"/>
                  </a:lnTo>
                  <a:lnTo>
                    <a:pt x="7607524" y="14292"/>
                  </a:lnTo>
                  <a:lnTo>
                    <a:pt x="7612292" y="23824"/>
                  </a:lnTo>
                  <a:lnTo>
                    <a:pt x="7636116" y="23824"/>
                  </a:lnTo>
                  <a:lnTo>
                    <a:pt x="7669472" y="19060"/>
                  </a:lnTo>
                  <a:lnTo>
                    <a:pt x="7702828" y="14292"/>
                  </a:ln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1" name="Freeform 6515">
              <a:extLst>
                <a:ext uri="{FF2B5EF4-FFF2-40B4-BE49-F238E27FC236}">
                  <a16:creationId xmlns:a16="http://schemas.microsoft.com/office/drawing/2014/main" id="{E75CC953-FC4B-48B7-996C-FF5CBDBC13D3}"/>
                </a:ext>
              </a:extLst>
            </p:cNvPr>
            <p:cNvSpPr/>
            <p:nvPr/>
          </p:nvSpPr>
          <p:spPr bwMode="auto">
            <a:xfrm>
              <a:off x="8332238" y="4748770"/>
              <a:ext cx="47024" cy="92505"/>
            </a:xfrm>
            <a:custGeom>
              <a:avLst/>
              <a:gdLst>
                <a:gd name="T0" fmla="*/ 62 w 122"/>
                <a:gd name="T1" fmla="*/ 192 h 240"/>
                <a:gd name="T2" fmla="*/ 70 w 122"/>
                <a:gd name="T3" fmla="*/ 180 h 240"/>
                <a:gd name="T4" fmla="*/ 80 w 122"/>
                <a:gd name="T5" fmla="*/ 166 h 240"/>
                <a:gd name="T6" fmla="*/ 84 w 122"/>
                <a:gd name="T7" fmla="*/ 160 h 240"/>
                <a:gd name="T8" fmla="*/ 86 w 122"/>
                <a:gd name="T9" fmla="*/ 152 h 240"/>
                <a:gd name="T10" fmla="*/ 92 w 122"/>
                <a:gd name="T11" fmla="*/ 134 h 240"/>
                <a:gd name="T12" fmla="*/ 94 w 122"/>
                <a:gd name="T13" fmla="*/ 116 h 240"/>
                <a:gd name="T14" fmla="*/ 98 w 122"/>
                <a:gd name="T15" fmla="*/ 102 h 240"/>
                <a:gd name="T16" fmla="*/ 100 w 122"/>
                <a:gd name="T17" fmla="*/ 90 h 240"/>
                <a:gd name="T18" fmla="*/ 102 w 122"/>
                <a:gd name="T19" fmla="*/ 84 h 240"/>
                <a:gd name="T20" fmla="*/ 108 w 122"/>
                <a:gd name="T21" fmla="*/ 72 h 240"/>
                <a:gd name="T22" fmla="*/ 114 w 122"/>
                <a:gd name="T23" fmla="*/ 54 h 240"/>
                <a:gd name="T24" fmla="*/ 114 w 122"/>
                <a:gd name="T25" fmla="*/ 46 h 240"/>
                <a:gd name="T26" fmla="*/ 114 w 122"/>
                <a:gd name="T27" fmla="*/ 40 h 240"/>
                <a:gd name="T28" fmla="*/ 114 w 122"/>
                <a:gd name="T29" fmla="*/ 34 h 240"/>
                <a:gd name="T30" fmla="*/ 116 w 122"/>
                <a:gd name="T31" fmla="*/ 28 h 240"/>
                <a:gd name="T32" fmla="*/ 122 w 122"/>
                <a:gd name="T33" fmla="*/ 22 h 240"/>
                <a:gd name="T34" fmla="*/ 120 w 122"/>
                <a:gd name="T35" fmla="*/ 16 h 240"/>
                <a:gd name="T36" fmla="*/ 116 w 122"/>
                <a:gd name="T37" fmla="*/ 14 h 240"/>
                <a:gd name="T38" fmla="*/ 108 w 122"/>
                <a:gd name="T39" fmla="*/ 10 h 240"/>
                <a:gd name="T40" fmla="*/ 106 w 122"/>
                <a:gd name="T41" fmla="*/ 8 h 240"/>
                <a:gd name="T42" fmla="*/ 102 w 122"/>
                <a:gd name="T43" fmla="*/ 4 h 240"/>
                <a:gd name="T44" fmla="*/ 100 w 122"/>
                <a:gd name="T45" fmla="*/ 2 h 240"/>
                <a:gd name="T46" fmla="*/ 94 w 122"/>
                <a:gd name="T47" fmla="*/ 0 h 240"/>
                <a:gd name="T48" fmla="*/ 90 w 122"/>
                <a:gd name="T49" fmla="*/ 2 h 240"/>
                <a:gd name="T50" fmla="*/ 84 w 122"/>
                <a:gd name="T51" fmla="*/ 10 h 240"/>
                <a:gd name="T52" fmla="*/ 66 w 122"/>
                <a:gd name="T53" fmla="*/ 16 h 240"/>
                <a:gd name="T54" fmla="*/ 64 w 122"/>
                <a:gd name="T55" fmla="*/ 18 h 240"/>
                <a:gd name="T56" fmla="*/ 58 w 122"/>
                <a:gd name="T57" fmla="*/ 26 h 240"/>
                <a:gd name="T58" fmla="*/ 54 w 122"/>
                <a:gd name="T59" fmla="*/ 34 h 240"/>
                <a:gd name="T60" fmla="*/ 50 w 122"/>
                <a:gd name="T61" fmla="*/ 42 h 240"/>
                <a:gd name="T62" fmla="*/ 44 w 122"/>
                <a:gd name="T63" fmla="*/ 46 h 240"/>
                <a:gd name="T64" fmla="*/ 36 w 122"/>
                <a:gd name="T65" fmla="*/ 58 h 240"/>
                <a:gd name="T66" fmla="*/ 6 w 122"/>
                <a:gd name="T67" fmla="*/ 114 h 240"/>
                <a:gd name="T68" fmla="*/ 4 w 122"/>
                <a:gd name="T69" fmla="*/ 118 h 240"/>
                <a:gd name="T70" fmla="*/ 4 w 122"/>
                <a:gd name="T71" fmla="*/ 126 h 240"/>
                <a:gd name="T72" fmla="*/ 4 w 122"/>
                <a:gd name="T73" fmla="*/ 136 h 240"/>
                <a:gd name="T74" fmla="*/ 2 w 122"/>
                <a:gd name="T75" fmla="*/ 142 h 240"/>
                <a:gd name="T76" fmla="*/ 0 w 122"/>
                <a:gd name="T77" fmla="*/ 150 h 240"/>
                <a:gd name="T78" fmla="*/ 0 w 122"/>
                <a:gd name="T79" fmla="*/ 154 h 240"/>
                <a:gd name="T80" fmla="*/ 0 w 122"/>
                <a:gd name="T81" fmla="*/ 158 h 240"/>
                <a:gd name="T82" fmla="*/ 2 w 122"/>
                <a:gd name="T83" fmla="*/ 162 h 240"/>
                <a:gd name="T84" fmla="*/ 4 w 122"/>
                <a:gd name="T85" fmla="*/ 166 h 240"/>
                <a:gd name="T86" fmla="*/ 10 w 122"/>
                <a:gd name="T87" fmla="*/ 184 h 240"/>
                <a:gd name="T88" fmla="*/ 12 w 122"/>
                <a:gd name="T89" fmla="*/ 190 h 240"/>
                <a:gd name="T90" fmla="*/ 16 w 122"/>
                <a:gd name="T91" fmla="*/ 198 h 240"/>
                <a:gd name="T92" fmla="*/ 16 w 122"/>
                <a:gd name="T93" fmla="*/ 196 h 240"/>
                <a:gd name="T94" fmla="*/ 20 w 122"/>
                <a:gd name="T95" fmla="*/ 202 h 240"/>
                <a:gd name="T96" fmla="*/ 26 w 122"/>
                <a:gd name="T97" fmla="*/ 204 h 240"/>
                <a:gd name="T98" fmla="*/ 34 w 122"/>
                <a:gd name="T99" fmla="*/ 210 h 240"/>
                <a:gd name="T100" fmla="*/ 34 w 122"/>
                <a:gd name="T101" fmla="*/ 214 h 240"/>
                <a:gd name="T102" fmla="*/ 40 w 122"/>
                <a:gd name="T103" fmla="*/ 224 h 240"/>
                <a:gd name="T104" fmla="*/ 40 w 122"/>
                <a:gd name="T105" fmla="*/ 234 h 240"/>
                <a:gd name="T106" fmla="*/ 44 w 122"/>
                <a:gd name="T107" fmla="*/ 238 h 240"/>
                <a:gd name="T108" fmla="*/ 50 w 122"/>
                <a:gd name="T109" fmla="*/ 240 h 240"/>
                <a:gd name="T110" fmla="*/ 52 w 122"/>
                <a:gd name="T111" fmla="*/ 234 h 240"/>
                <a:gd name="T112" fmla="*/ 52 w 122"/>
                <a:gd name="T113" fmla="*/ 226 h 240"/>
                <a:gd name="T114" fmla="*/ 52 w 122"/>
                <a:gd name="T115" fmla="*/ 216 h 240"/>
                <a:gd name="T116" fmla="*/ 54 w 122"/>
                <a:gd name="T117" fmla="*/ 208 h 240"/>
                <a:gd name="T118" fmla="*/ 58 w 122"/>
                <a:gd name="T119" fmla="*/ 200 h 240"/>
                <a:gd name="T120" fmla="*/ 62 w 122"/>
                <a:gd name="T121" fmla="*/ 19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2" h="240">
                  <a:moveTo>
                    <a:pt x="62" y="192"/>
                  </a:moveTo>
                  <a:lnTo>
                    <a:pt x="70" y="180"/>
                  </a:lnTo>
                  <a:lnTo>
                    <a:pt x="80" y="166"/>
                  </a:lnTo>
                  <a:lnTo>
                    <a:pt x="84" y="160"/>
                  </a:lnTo>
                  <a:lnTo>
                    <a:pt x="86" y="152"/>
                  </a:lnTo>
                  <a:lnTo>
                    <a:pt x="92" y="134"/>
                  </a:lnTo>
                  <a:lnTo>
                    <a:pt x="94" y="116"/>
                  </a:lnTo>
                  <a:lnTo>
                    <a:pt x="98" y="102"/>
                  </a:lnTo>
                  <a:lnTo>
                    <a:pt x="100" y="90"/>
                  </a:lnTo>
                  <a:lnTo>
                    <a:pt x="102" y="84"/>
                  </a:lnTo>
                  <a:lnTo>
                    <a:pt x="108" y="72"/>
                  </a:lnTo>
                  <a:lnTo>
                    <a:pt x="114" y="54"/>
                  </a:lnTo>
                  <a:lnTo>
                    <a:pt x="114" y="46"/>
                  </a:lnTo>
                  <a:lnTo>
                    <a:pt x="114" y="40"/>
                  </a:lnTo>
                  <a:lnTo>
                    <a:pt x="114" y="34"/>
                  </a:lnTo>
                  <a:lnTo>
                    <a:pt x="116" y="28"/>
                  </a:lnTo>
                  <a:lnTo>
                    <a:pt x="122" y="22"/>
                  </a:lnTo>
                  <a:lnTo>
                    <a:pt x="120" y="16"/>
                  </a:lnTo>
                  <a:lnTo>
                    <a:pt x="116" y="14"/>
                  </a:lnTo>
                  <a:lnTo>
                    <a:pt x="108" y="10"/>
                  </a:lnTo>
                  <a:lnTo>
                    <a:pt x="106" y="8"/>
                  </a:lnTo>
                  <a:lnTo>
                    <a:pt x="102" y="4"/>
                  </a:lnTo>
                  <a:lnTo>
                    <a:pt x="100" y="2"/>
                  </a:lnTo>
                  <a:lnTo>
                    <a:pt x="94" y="0"/>
                  </a:lnTo>
                  <a:lnTo>
                    <a:pt x="90" y="2"/>
                  </a:lnTo>
                  <a:lnTo>
                    <a:pt x="84" y="10"/>
                  </a:lnTo>
                  <a:lnTo>
                    <a:pt x="66" y="16"/>
                  </a:lnTo>
                  <a:lnTo>
                    <a:pt x="64" y="18"/>
                  </a:lnTo>
                  <a:lnTo>
                    <a:pt x="58" y="26"/>
                  </a:lnTo>
                  <a:lnTo>
                    <a:pt x="54" y="34"/>
                  </a:lnTo>
                  <a:lnTo>
                    <a:pt x="50" y="42"/>
                  </a:lnTo>
                  <a:lnTo>
                    <a:pt x="44" y="46"/>
                  </a:lnTo>
                  <a:lnTo>
                    <a:pt x="36" y="58"/>
                  </a:lnTo>
                  <a:lnTo>
                    <a:pt x="6" y="114"/>
                  </a:lnTo>
                  <a:lnTo>
                    <a:pt x="4" y="118"/>
                  </a:lnTo>
                  <a:lnTo>
                    <a:pt x="4" y="126"/>
                  </a:lnTo>
                  <a:lnTo>
                    <a:pt x="4" y="136"/>
                  </a:lnTo>
                  <a:lnTo>
                    <a:pt x="2" y="142"/>
                  </a:lnTo>
                  <a:lnTo>
                    <a:pt x="0" y="150"/>
                  </a:lnTo>
                  <a:lnTo>
                    <a:pt x="0" y="154"/>
                  </a:lnTo>
                  <a:lnTo>
                    <a:pt x="0" y="158"/>
                  </a:lnTo>
                  <a:lnTo>
                    <a:pt x="2" y="162"/>
                  </a:lnTo>
                  <a:lnTo>
                    <a:pt x="4" y="166"/>
                  </a:lnTo>
                  <a:lnTo>
                    <a:pt x="10" y="184"/>
                  </a:lnTo>
                  <a:lnTo>
                    <a:pt x="12" y="190"/>
                  </a:lnTo>
                  <a:lnTo>
                    <a:pt x="16" y="198"/>
                  </a:lnTo>
                  <a:lnTo>
                    <a:pt x="16" y="196"/>
                  </a:lnTo>
                  <a:lnTo>
                    <a:pt x="20" y="202"/>
                  </a:lnTo>
                  <a:lnTo>
                    <a:pt x="26" y="204"/>
                  </a:lnTo>
                  <a:lnTo>
                    <a:pt x="34" y="210"/>
                  </a:lnTo>
                  <a:lnTo>
                    <a:pt x="34" y="214"/>
                  </a:lnTo>
                  <a:lnTo>
                    <a:pt x="40" y="224"/>
                  </a:lnTo>
                  <a:lnTo>
                    <a:pt x="40" y="234"/>
                  </a:lnTo>
                  <a:lnTo>
                    <a:pt x="44" y="238"/>
                  </a:lnTo>
                  <a:lnTo>
                    <a:pt x="50" y="240"/>
                  </a:lnTo>
                  <a:lnTo>
                    <a:pt x="52" y="234"/>
                  </a:lnTo>
                  <a:lnTo>
                    <a:pt x="52" y="226"/>
                  </a:lnTo>
                  <a:lnTo>
                    <a:pt x="52" y="216"/>
                  </a:lnTo>
                  <a:lnTo>
                    <a:pt x="54" y="208"/>
                  </a:lnTo>
                  <a:lnTo>
                    <a:pt x="58" y="200"/>
                  </a:lnTo>
                  <a:lnTo>
                    <a:pt x="62" y="19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2" name="Freeform 360">
              <a:extLst>
                <a:ext uri="{FF2B5EF4-FFF2-40B4-BE49-F238E27FC236}">
                  <a16:creationId xmlns:a16="http://schemas.microsoft.com/office/drawing/2014/main" id="{4C59D6CD-74A1-4193-8D35-06FD8033ECDC}"/>
                </a:ext>
              </a:extLst>
            </p:cNvPr>
            <p:cNvSpPr/>
            <p:nvPr/>
          </p:nvSpPr>
          <p:spPr bwMode="auto">
            <a:xfrm>
              <a:off x="6046204" y="5434850"/>
              <a:ext cx="274433" cy="272890"/>
            </a:xfrm>
            <a:custGeom>
              <a:avLst/>
              <a:gdLst>
                <a:gd name="connsiteX0" fmla="*/ 1610612 w 1696388"/>
                <a:gd name="connsiteY0" fmla="*/ 1043562 h 1686854"/>
                <a:gd name="connsiteX1" fmla="*/ 1610612 w 1696388"/>
                <a:gd name="connsiteY1" fmla="*/ 1053094 h 1686854"/>
                <a:gd name="connsiteX2" fmla="*/ 1596316 w 1696388"/>
                <a:gd name="connsiteY2" fmla="*/ 1081684 h 1686854"/>
                <a:gd name="connsiteX3" fmla="*/ 1586788 w 1696388"/>
                <a:gd name="connsiteY3" fmla="*/ 1081684 h 1686854"/>
                <a:gd name="connsiteX4" fmla="*/ 1582024 w 1696388"/>
                <a:gd name="connsiteY4" fmla="*/ 1095978 h 1686854"/>
                <a:gd name="connsiteX5" fmla="*/ 1572492 w 1696388"/>
                <a:gd name="connsiteY5" fmla="*/ 1095978 h 1686854"/>
                <a:gd name="connsiteX6" fmla="*/ 1567728 w 1696388"/>
                <a:gd name="connsiteY6" fmla="*/ 1095978 h 1686854"/>
                <a:gd name="connsiteX7" fmla="*/ 1562964 w 1696388"/>
                <a:gd name="connsiteY7" fmla="*/ 1086448 h 1686854"/>
                <a:gd name="connsiteX8" fmla="*/ 1572492 w 1696388"/>
                <a:gd name="connsiteY8" fmla="*/ 1081684 h 1686854"/>
                <a:gd name="connsiteX9" fmla="*/ 1582024 w 1696388"/>
                <a:gd name="connsiteY9" fmla="*/ 1072154 h 1686854"/>
                <a:gd name="connsiteX10" fmla="*/ 1601084 w 1696388"/>
                <a:gd name="connsiteY10" fmla="*/ 1053094 h 1686854"/>
                <a:gd name="connsiteX11" fmla="*/ 1520076 w 1696388"/>
                <a:gd name="connsiteY11" fmla="*/ 738594 h 1686854"/>
                <a:gd name="connsiteX12" fmla="*/ 1524840 w 1696388"/>
                <a:gd name="connsiteY12" fmla="*/ 752890 h 1686854"/>
                <a:gd name="connsiteX13" fmla="*/ 1524840 w 1696388"/>
                <a:gd name="connsiteY13" fmla="*/ 776716 h 1686854"/>
                <a:gd name="connsiteX14" fmla="*/ 1539136 w 1696388"/>
                <a:gd name="connsiteY14" fmla="*/ 800542 h 1686854"/>
                <a:gd name="connsiteX15" fmla="*/ 1543904 w 1696388"/>
                <a:gd name="connsiteY15" fmla="*/ 810072 h 1686854"/>
                <a:gd name="connsiteX16" fmla="*/ 1548668 w 1696388"/>
                <a:gd name="connsiteY16" fmla="*/ 810072 h 1686854"/>
                <a:gd name="connsiteX17" fmla="*/ 1558196 w 1696388"/>
                <a:gd name="connsiteY17" fmla="*/ 843428 h 1686854"/>
                <a:gd name="connsiteX18" fmla="*/ 1558196 w 1696388"/>
                <a:gd name="connsiteY18" fmla="*/ 848192 h 1686854"/>
                <a:gd name="connsiteX19" fmla="*/ 1548668 w 1696388"/>
                <a:gd name="connsiteY19" fmla="*/ 852958 h 1686854"/>
                <a:gd name="connsiteX20" fmla="*/ 1543904 w 1696388"/>
                <a:gd name="connsiteY20" fmla="*/ 852958 h 1686854"/>
                <a:gd name="connsiteX21" fmla="*/ 1539136 w 1696388"/>
                <a:gd name="connsiteY21" fmla="*/ 848192 h 1686854"/>
                <a:gd name="connsiteX22" fmla="*/ 1534372 w 1696388"/>
                <a:gd name="connsiteY22" fmla="*/ 838662 h 1686854"/>
                <a:gd name="connsiteX23" fmla="*/ 1529608 w 1696388"/>
                <a:gd name="connsiteY23" fmla="*/ 838662 h 1686854"/>
                <a:gd name="connsiteX24" fmla="*/ 1520076 w 1696388"/>
                <a:gd name="connsiteY24" fmla="*/ 829132 h 1686854"/>
                <a:gd name="connsiteX25" fmla="*/ 1505780 w 1696388"/>
                <a:gd name="connsiteY25" fmla="*/ 824368 h 1686854"/>
                <a:gd name="connsiteX26" fmla="*/ 1496252 w 1696388"/>
                <a:gd name="connsiteY26" fmla="*/ 810072 h 1686854"/>
                <a:gd name="connsiteX27" fmla="*/ 1501016 w 1696388"/>
                <a:gd name="connsiteY27" fmla="*/ 795776 h 1686854"/>
                <a:gd name="connsiteX28" fmla="*/ 1501016 w 1696388"/>
                <a:gd name="connsiteY28" fmla="*/ 771950 h 1686854"/>
                <a:gd name="connsiteX29" fmla="*/ 1510548 w 1696388"/>
                <a:gd name="connsiteY29" fmla="*/ 757656 h 1686854"/>
                <a:gd name="connsiteX30" fmla="*/ 1605848 w 1696388"/>
                <a:gd name="connsiteY30" fmla="*/ 609938 h 1686854"/>
                <a:gd name="connsiteX31" fmla="*/ 1605848 w 1696388"/>
                <a:gd name="connsiteY31" fmla="*/ 619468 h 1686854"/>
                <a:gd name="connsiteX32" fmla="*/ 1601084 w 1696388"/>
                <a:gd name="connsiteY32" fmla="*/ 628998 h 1686854"/>
                <a:gd name="connsiteX33" fmla="*/ 1605848 w 1696388"/>
                <a:gd name="connsiteY33" fmla="*/ 648058 h 1686854"/>
                <a:gd name="connsiteX34" fmla="*/ 1601084 w 1696388"/>
                <a:gd name="connsiteY34" fmla="*/ 667118 h 1686854"/>
                <a:gd name="connsiteX35" fmla="*/ 1596320 w 1696388"/>
                <a:gd name="connsiteY35" fmla="*/ 686178 h 1686854"/>
                <a:gd name="connsiteX36" fmla="*/ 1586788 w 1696388"/>
                <a:gd name="connsiteY36" fmla="*/ 695710 h 1686854"/>
                <a:gd name="connsiteX37" fmla="*/ 1582024 w 1696388"/>
                <a:gd name="connsiteY37" fmla="*/ 690944 h 1686854"/>
                <a:gd name="connsiteX38" fmla="*/ 1577260 w 1696388"/>
                <a:gd name="connsiteY38" fmla="*/ 690944 h 1686854"/>
                <a:gd name="connsiteX39" fmla="*/ 1572492 w 1696388"/>
                <a:gd name="connsiteY39" fmla="*/ 686178 h 1686854"/>
                <a:gd name="connsiteX40" fmla="*/ 1577260 w 1696388"/>
                <a:gd name="connsiteY40" fmla="*/ 643292 h 1686854"/>
                <a:gd name="connsiteX41" fmla="*/ 1577260 w 1696388"/>
                <a:gd name="connsiteY41" fmla="*/ 614702 h 1686854"/>
                <a:gd name="connsiteX42" fmla="*/ 1591552 w 1696388"/>
                <a:gd name="connsiteY42" fmla="*/ 619468 h 1686854"/>
                <a:gd name="connsiteX43" fmla="*/ 347856 w 1696388"/>
                <a:gd name="connsiteY43" fmla="*/ 185840 h 1686854"/>
                <a:gd name="connsiteX44" fmla="*/ 352620 w 1696388"/>
                <a:gd name="connsiteY44" fmla="*/ 190606 h 1686854"/>
                <a:gd name="connsiteX45" fmla="*/ 357384 w 1696388"/>
                <a:gd name="connsiteY45" fmla="*/ 200136 h 1686854"/>
                <a:gd name="connsiteX46" fmla="*/ 362152 w 1696388"/>
                <a:gd name="connsiteY46" fmla="*/ 200136 h 1686854"/>
                <a:gd name="connsiteX47" fmla="*/ 371680 w 1696388"/>
                <a:gd name="connsiteY47" fmla="*/ 200136 h 1686854"/>
                <a:gd name="connsiteX48" fmla="*/ 381212 w 1696388"/>
                <a:gd name="connsiteY48" fmla="*/ 195370 h 1686854"/>
                <a:gd name="connsiteX49" fmla="*/ 385976 w 1696388"/>
                <a:gd name="connsiteY49" fmla="*/ 200136 h 1686854"/>
                <a:gd name="connsiteX50" fmla="*/ 385976 w 1696388"/>
                <a:gd name="connsiteY50" fmla="*/ 209666 h 1686854"/>
                <a:gd name="connsiteX51" fmla="*/ 381212 w 1696388"/>
                <a:gd name="connsiteY51" fmla="*/ 209666 h 1686854"/>
                <a:gd name="connsiteX52" fmla="*/ 371680 w 1696388"/>
                <a:gd name="connsiteY52" fmla="*/ 214430 h 1686854"/>
                <a:gd name="connsiteX53" fmla="*/ 362152 w 1696388"/>
                <a:gd name="connsiteY53" fmla="*/ 214430 h 1686854"/>
                <a:gd name="connsiteX54" fmla="*/ 362152 w 1696388"/>
                <a:gd name="connsiteY54" fmla="*/ 223960 h 1686854"/>
                <a:gd name="connsiteX55" fmla="*/ 352620 w 1696388"/>
                <a:gd name="connsiteY55" fmla="*/ 228726 h 1686854"/>
                <a:gd name="connsiteX56" fmla="*/ 352620 w 1696388"/>
                <a:gd name="connsiteY56" fmla="*/ 214430 h 1686854"/>
                <a:gd name="connsiteX57" fmla="*/ 343092 w 1696388"/>
                <a:gd name="connsiteY57" fmla="*/ 204900 h 1686854"/>
                <a:gd name="connsiteX58" fmla="*/ 343092 w 1696388"/>
                <a:gd name="connsiteY58" fmla="*/ 195370 h 1686854"/>
                <a:gd name="connsiteX59" fmla="*/ 514636 w 1696388"/>
                <a:gd name="connsiteY59" fmla="*/ 142954 h 1686854"/>
                <a:gd name="connsiteX60" fmla="*/ 524164 w 1696388"/>
                <a:gd name="connsiteY60" fmla="*/ 142954 h 1686854"/>
                <a:gd name="connsiteX61" fmla="*/ 528928 w 1696388"/>
                <a:gd name="connsiteY61" fmla="*/ 152484 h 1686854"/>
                <a:gd name="connsiteX62" fmla="*/ 538460 w 1696388"/>
                <a:gd name="connsiteY62" fmla="*/ 152484 h 1686854"/>
                <a:gd name="connsiteX63" fmla="*/ 547992 w 1696388"/>
                <a:gd name="connsiteY63" fmla="*/ 152484 h 1686854"/>
                <a:gd name="connsiteX64" fmla="*/ 552756 w 1696388"/>
                <a:gd name="connsiteY64" fmla="*/ 157250 h 1686854"/>
                <a:gd name="connsiteX65" fmla="*/ 552756 w 1696388"/>
                <a:gd name="connsiteY65" fmla="*/ 166780 h 1686854"/>
                <a:gd name="connsiteX66" fmla="*/ 562284 w 1696388"/>
                <a:gd name="connsiteY66" fmla="*/ 176310 h 1686854"/>
                <a:gd name="connsiteX67" fmla="*/ 557520 w 1696388"/>
                <a:gd name="connsiteY67" fmla="*/ 181074 h 1686854"/>
                <a:gd name="connsiteX68" fmla="*/ 552756 w 1696388"/>
                <a:gd name="connsiteY68" fmla="*/ 181074 h 1686854"/>
                <a:gd name="connsiteX69" fmla="*/ 543224 w 1696388"/>
                <a:gd name="connsiteY69" fmla="*/ 176310 h 1686854"/>
                <a:gd name="connsiteX70" fmla="*/ 528928 w 1696388"/>
                <a:gd name="connsiteY70" fmla="*/ 171544 h 1686854"/>
                <a:gd name="connsiteX71" fmla="*/ 514636 w 1696388"/>
                <a:gd name="connsiteY71" fmla="*/ 171544 h 1686854"/>
                <a:gd name="connsiteX72" fmla="*/ 509868 w 1696388"/>
                <a:gd name="connsiteY72" fmla="*/ 166780 h 1686854"/>
                <a:gd name="connsiteX73" fmla="*/ 509868 w 1696388"/>
                <a:gd name="connsiteY73" fmla="*/ 152484 h 1686854"/>
                <a:gd name="connsiteX74" fmla="*/ 505104 w 1696388"/>
                <a:gd name="connsiteY74" fmla="*/ 147720 h 1686854"/>
                <a:gd name="connsiteX75" fmla="*/ 181076 w 1696388"/>
                <a:gd name="connsiteY75" fmla="*/ 0 h 1686854"/>
                <a:gd name="connsiteX76" fmla="*/ 190604 w 1696388"/>
                <a:gd name="connsiteY76" fmla="*/ 0 h 1686854"/>
                <a:gd name="connsiteX77" fmla="*/ 195372 w 1696388"/>
                <a:gd name="connsiteY77" fmla="*/ 0 h 1686854"/>
                <a:gd name="connsiteX78" fmla="*/ 343092 w 1696388"/>
                <a:gd name="connsiteY78" fmla="*/ 0 h 1686854"/>
                <a:gd name="connsiteX79" fmla="*/ 347856 w 1696388"/>
                <a:gd name="connsiteY79" fmla="*/ 4766 h 1686854"/>
                <a:gd name="connsiteX80" fmla="*/ 352620 w 1696388"/>
                <a:gd name="connsiteY80" fmla="*/ 4766 h 1686854"/>
                <a:gd name="connsiteX81" fmla="*/ 352620 w 1696388"/>
                <a:gd name="connsiteY81" fmla="*/ 14296 h 1686854"/>
                <a:gd name="connsiteX82" fmla="*/ 347856 w 1696388"/>
                <a:gd name="connsiteY82" fmla="*/ 57182 h 1686854"/>
                <a:gd name="connsiteX83" fmla="*/ 347856 w 1696388"/>
                <a:gd name="connsiteY83" fmla="*/ 66712 h 1686854"/>
                <a:gd name="connsiteX84" fmla="*/ 338324 w 1696388"/>
                <a:gd name="connsiteY84" fmla="*/ 76242 h 1686854"/>
                <a:gd name="connsiteX85" fmla="*/ 324028 w 1696388"/>
                <a:gd name="connsiteY85" fmla="*/ 147718 h 1686854"/>
                <a:gd name="connsiteX86" fmla="*/ 324028 w 1696388"/>
                <a:gd name="connsiteY86" fmla="*/ 157250 h 1686854"/>
                <a:gd name="connsiteX87" fmla="*/ 324028 w 1696388"/>
                <a:gd name="connsiteY87" fmla="*/ 166780 h 1686854"/>
                <a:gd name="connsiteX88" fmla="*/ 324028 w 1696388"/>
                <a:gd name="connsiteY88" fmla="*/ 200136 h 1686854"/>
                <a:gd name="connsiteX89" fmla="*/ 328796 w 1696388"/>
                <a:gd name="connsiteY89" fmla="*/ 209666 h 1686854"/>
                <a:gd name="connsiteX90" fmla="*/ 333560 w 1696388"/>
                <a:gd name="connsiteY90" fmla="*/ 209666 h 1686854"/>
                <a:gd name="connsiteX91" fmla="*/ 338324 w 1696388"/>
                <a:gd name="connsiteY91" fmla="*/ 219196 h 1686854"/>
                <a:gd name="connsiteX92" fmla="*/ 343092 w 1696388"/>
                <a:gd name="connsiteY92" fmla="*/ 223960 h 1686854"/>
                <a:gd name="connsiteX93" fmla="*/ 343092 w 1696388"/>
                <a:gd name="connsiteY93" fmla="*/ 228726 h 1686854"/>
                <a:gd name="connsiteX94" fmla="*/ 333560 w 1696388"/>
                <a:gd name="connsiteY94" fmla="*/ 238256 h 1686854"/>
                <a:gd name="connsiteX95" fmla="*/ 333560 w 1696388"/>
                <a:gd name="connsiteY95" fmla="*/ 243022 h 1686854"/>
                <a:gd name="connsiteX96" fmla="*/ 338324 w 1696388"/>
                <a:gd name="connsiteY96" fmla="*/ 247786 h 1686854"/>
                <a:gd name="connsiteX97" fmla="*/ 347856 w 1696388"/>
                <a:gd name="connsiteY97" fmla="*/ 252552 h 1686854"/>
                <a:gd name="connsiteX98" fmla="*/ 343092 w 1696388"/>
                <a:gd name="connsiteY98" fmla="*/ 266848 h 1686854"/>
                <a:gd name="connsiteX99" fmla="*/ 343092 w 1696388"/>
                <a:gd name="connsiteY99" fmla="*/ 271612 h 1686854"/>
                <a:gd name="connsiteX100" fmla="*/ 343092 w 1696388"/>
                <a:gd name="connsiteY100" fmla="*/ 281142 h 1686854"/>
                <a:gd name="connsiteX101" fmla="*/ 347856 w 1696388"/>
                <a:gd name="connsiteY101" fmla="*/ 281142 h 1686854"/>
                <a:gd name="connsiteX102" fmla="*/ 352620 w 1696388"/>
                <a:gd name="connsiteY102" fmla="*/ 266848 h 1686854"/>
                <a:gd name="connsiteX103" fmla="*/ 357384 w 1696388"/>
                <a:gd name="connsiteY103" fmla="*/ 266848 h 1686854"/>
                <a:gd name="connsiteX104" fmla="*/ 362152 w 1696388"/>
                <a:gd name="connsiteY104" fmla="*/ 262082 h 1686854"/>
                <a:gd name="connsiteX105" fmla="*/ 371680 w 1696388"/>
                <a:gd name="connsiteY105" fmla="*/ 276378 h 1686854"/>
                <a:gd name="connsiteX106" fmla="*/ 376444 w 1696388"/>
                <a:gd name="connsiteY106" fmla="*/ 276378 h 1686854"/>
                <a:gd name="connsiteX107" fmla="*/ 371680 w 1696388"/>
                <a:gd name="connsiteY107" fmla="*/ 262082 h 1686854"/>
                <a:gd name="connsiteX108" fmla="*/ 371680 w 1696388"/>
                <a:gd name="connsiteY108" fmla="*/ 252552 h 1686854"/>
                <a:gd name="connsiteX109" fmla="*/ 371680 w 1696388"/>
                <a:gd name="connsiteY109" fmla="*/ 243022 h 1686854"/>
                <a:gd name="connsiteX110" fmla="*/ 381212 w 1696388"/>
                <a:gd name="connsiteY110" fmla="*/ 238256 h 1686854"/>
                <a:gd name="connsiteX111" fmla="*/ 395508 w 1696388"/>
                <a:gd name="connsiteY111" fmla="*/ 238256 h 1686854"/>
                <a:gd name="connsiteX112" fmla="*/ 400272 w 1696388"/>
                <a:gd name="connsiteY112" fmla="*/ 238256 h 1686854"/>
                <a:gd name="connsiteX113" fmla="*/ 400272 w 1696388"/>
                <a:gd name="connsiteY113" fmla="*/ 233492 h 1686854"/>
                <a:gd name="connsiteX114" fmla="*/ 390740 w 1696388"/>
                <a:gd name="connsiteY114" fmla="*/ 219196 h 1686854"/>
                <a:gd name="connsiteX115" fmla="*/ 395508 w 1696388"/>
                <a:gd name="connsiteY115" fmla="*/ 214430 h 1686854"/>
                <a:gd name="connsiteX116" fmla="*/ 405036 w 1696388"/>
                <a:gd name="connsiteY116" fmla="*/ 214430 h 1686854"/>
                <a:gd name="connsiteX117" fmla="*/ 409800 w 1696388"/>
                <a:gd name="connsiteY117" fmla="*/ 204900 h 1686854"/>
                <a:gd name="connsiteX118" fmla="*/ 414568 w 1696388"/>
                <a:gd name="connsiteY118" fmla="*/ 200136 h 1686854"/>
                <a:gd name="connsiteX119" fmla="*/ 419332 w 1696388"/>
                <a:gd name="connsiteY119" fmla="*/ 200136 h 1686854"/>
                <a:gd name="connsiteX120" fmla="*/ 424096 w 1696388"/>
                <a:gd name="connsiteY120" fmla="*/ 204900 h 1686854"/>
                <a:gd name="connsiteX121" fmla="*/ 433628 w 1696388"/>
                <a:gd name="connsiteY121" fmla="*/ 219196 h 1686854"/>
                <a:gd name="connsiteX122" fmla="*/ 438392 w 1696388"/>
                <a:gd name="connsiteY122" fmla="*/ 223960 h 1686854"/>
                <a:gd name="connsiteX123" fmla="*/ 443156 w 1696388"/>
                <a:gd name="connsiteY123" fmla="*/ 223960 h 1686854"/>
                <a:gd name="connsiteX124" fmla="*/ 457452 w 1696388"/>
                <a:gd name="connsiteY124" fmla="*/ 228726 h 1686854"/>
                <a:gd name="connsiteX125" fmla="*/ 462220 w 1696388"/>
                <a:gd name="connsiteY125" fmla="*/ 228726 h 1686854"/>
                <a:gd name="connsiteX126" fmla="*/ 462220 w 1696388"/>
                <a:gd name="connsiteY126" fmla="*/ 233492 h 1686854"/>
                <a:gd name="connsiteX127" fmla="*/ 462220 w 1696388"/>
                <a:gd name="connsiteY127" fmla="*/ 238256 h 1686854"/>
                <a:gd name="connsiteX128" fmla="*/ 476512 w 1696388"/>
                <a:gd name="connsiteY128" fmla="*/ 223960 h 1686854"/>
                <a:gd name="connsiteX129" fmla="*/ 481280 w 1696388"/>
                <a:gd name="connsiteY129" fmla="*/ 228726 h 1686854"/>
                <a:gd name="connsiteX130" fmla="*/ 481280 w 1696388"/>
                <a:gd name="connsiteY130" fmla="*/ 233492 h 1686854"/>
                <a:gd name="connsiteX131" fmla="*/ 486044 w 1696388"/>
                <a:gd name="connsiteY131" fmla="*/ 233492 h 1686854"/>
                <a:gd name="connsiteX132" fmla="*/ 495576 w 1696388"/>
                <a:gd name="connsiteY132" fmla="*/ 238256 h 1686854"/>
                <a:gd name="connsiteX133" fmla="*/ 505104 w 1696388"/>
                <a:gd name="connsiteY133" fmla="*/ 238256 h 1686854"/>
                <a:gd name="connsiteX134" fmla="*/ 505104 w 1696388"/>
                <a:gd name="connsiteY134" fmla="*/ 243022 h 1686854"/>
                <a:gd name="connsiteX135" fmla="*/ 505104 w 1696388"/>
                <a:gd name="connsiteY135" fmla="*/ 257316 h 1686854"/>
                <a:gd name="connsiteX136" fmla="*/ 509868 w 1696388"/>
                <a:gd name="connsiteY136" fmla="*/ 276378 h 1686854"/>
                <a:gd name="connsiteX137" fmla="*/ 509868 w 1696388"/>
                <a:gd name="connsiteY137" fmla="*/ 281142 h 1686854"/>
                <a:gd name="connsiteX138" fmla="*/ 495576 w 1696388"/>
                <a:gd name="connsiteY138" fmla="*/ 290672 h 1686854"/>
                <a:gd name="connsiteX139" fmla="*/ 495576 w 1696388"/>
                <a:gd name="connsiteY139" fmla="*/ 300202 h 1686854"/>
                <a:gd name="connsiteX140" fmla="*/ 495576 w 1696388"/>
                <a:gd name="connsiteY140" fmla="*/ 309734 h 1686854"/>
                <a:gd name="connsiteX141" fmla="*/ 500340 w 1696388"/>
                <a:gd name="connsiteY141" fmla="*/ 309734 h 1686854"/>
                <a:gd name="connsiteX142" fmla="*/ 514636 w 1696388"/>
                <a:gd name="connsiteY142" fmla="*/ 290672 h 1686854"/>
                <a:gd name="connsiteX143" fmla="*/ 524164 w 1696388"/>
                <a:gd name="connsiteY143" fmla="*/ 290672 h 1686854"/>
                <a:gd name="connsiteX144" fmla="*/ 524164 w 1696388"/>
                <a:gd name="connsiteY144" fmla="*/ 285908 h 1686854"/>
                <a:gd name="connsiteX145" fmla="*/ 514636 w 1696388"/>
                <a:gd name="connsiteY145" fmla="*/ 262082 h 1686854"/>
                <a:gd name="connsiteX146" fmla="*/ 514636 w 1696388"/>
                <a:gd name="connsiteY146" fmla="*/ 233492 h 1686854"/>
                <a:gd name="connsiteX147" fmla="*/ 519400 w 1696388"/>
                <a:gd name="connsiteY147" fmla="*/ 228726 h 1686854"/>
                <a:gd name="connsiteX148" fmla="*/ 524164 w 1696388"/>
                <a:gd name="connsiteY148" fmla="*/ 223960 h 1686854"/>
                <a:gd name="connsiteX149" fmla="*/ 533696 w 1696388"/>
                <a:gd name="connsiteY149" fmla="*/ 219196 h 1686854"/>
                <a:gd name="connsiteX150" fmla="*/ 543224 w 1696388"/>
                <a:gd name="connsiteY150" fmla="*/ 219196 h 1686854"/>
                <a:gd name="connsiteX151" fmla="*/ 567052 w 1696388"/>
                <a:gd name="connsiteY151" fmla="*/ 233492 h 1686854"/>
                <a:gd name="connsiteX152" fmla="*/ 595640 w 1696388"/>
                <a:gd name="connsiteY152" fmla="*/ 238256 h 1686854"/>
                <a:gd name="connsiteX153" fmla="*/ 600408 w 1696388"/>
                <a:gd name="connsiteY153" fmla="*/ 238256 h 1686854"/>
                <a:gd name="connsiteX154" fmla="*/ 600408 w 1696388"/>
                <a:gd name="connsiteY154" fmla="*/ 233492 h 1686854"/>
                <a:gd name="connsiteX155" fmla="*/ 600408 w 1696388"/>
                <a:gd name="connsiteY155" fmla="*/ 228726 h 1686854"/>
                <a:gd name="connsiteX156" fmla="*/ 614704 w 1696388"/>
                <a:gd name="connsiteY156" fmla="*/ 223960 h 1686854"/>
                <a:gd name="connsiteX157" fmla="*/ 624232 w 1696388"/>
                <a:gd name="connsiteY157" fmla="*/ 209666 h 1686854"/>
                <a:gd name="connsiteX158" fmla="*/ 652824 w 1696388"/>
                <a:gd name="connsiteY158" fmla="*/ 195370 h 1686854"/>
                <a:gd name="connsiteX159" fmla="*/ 657588 w 1696388"/>
                <a:gd name="connsiteY159" fmla="*/ 185840 h 1686854"/>
                <a:gd name="connsiteX160" fmla="*/ 657588 w 1696388"/>
                <a:gd name="connsiteY160" fmla="*/ 181074 h 1686854"/>
                <a:gd name="connsiteX161" fmla="*/ 657588 w 1696388"/>
                <a:gd name="connsiteY161" fmla="*/ 176310 h 1686854"/>
                <a:gd name="connsiteX162" fmla="*/ 648060 w 1696388"/>
                <a:gd name="connsiteY162" fmla="*/ 171544 h 1686854"/>
                <a:gd name="connsiteX163" fmla="*/ 624232 w 1696388"/>
                <a:gd name="connsiteY163" fmla="*/ 181074 h 1686854"/>
                <a:gd name="connsiteX164" fmla="*/ 614704 w 1696388"/>
                <a:gd name="connsiteY164" fmla="*/ 181074 h 1686854"/>
                <a:gd name="connsiteX165" fmla="*/ 576580 w 1696388"/>
                <a:gd name="connsiteY165" fmla="*/ 176310 h 1686854"/>
                <a:gd name="connsiteX166" fmla="*/ 567052 w 1696388"/>
                <a:gd name="connsiteY166" fmla="*/ 171544 h 1686854"/>
                <a:gd name="connsiteX167" fmla="*/ 567052 w 1696388"/>
                <a:gd name="connsiteY167" fmla="*/ 166780 h 1686854"/>
                <a:gd name="connsiteX168" fmla="*/ 581348 w 1696388"/>
                <a:gd name="connsiteY168" fmla="*/ 162014 h 1686854"/>
                <a:gd name="connsiteX169" fmla="*/ 590876 w 1696388"/>
                <a:gd name="connsiteY169" fmla="*/ 162014 h 1686854"/>
                <a:gd name="connsiteX170" fmla="*/ 595640 w 1696388"/>
                <a:gd name="connsiteY170" fmla="*/ 157250 h 1686854"/>
                <a:gd name="connsiteX171" fmla="*/ 614704 w 1696388"/>
                <a:gd name="connsiteY171" fmla="*/ 157250 h 1686854"/>
                <a:gd name="connsiteX172" fmla="*/ 614704 w 1696388"/>
                <a:gd name="connsiteY172" fmla="*/ 152484 h 1686854"/>
                <a:gd name="connsiteX173" fmla="*/ 609936 w 1696388"/>
                <a:gd name="connsiteY173" fmla="*/ 147718 h 1686854"/>
                <a:gd name="connsiteX174" fmla="*/ 605172 w 1696388"/>
                <a:gd name="connsiteY174" fmla="*/ 142954 h 1686854"/>
                <a:gd name="connsiteX175" fmla="*/ 600408 w 1696388"/>
                <a:gd name="connsiteY175" fmla="*/ 142954 h 1686854"/>
                <a:gd name="connsiteX176" fmla="*/ 581348 w 1696388"/>
                <a:gd name="connsiteY176" fmla="*/ 142954 h 1686854"/>
                <a:gd name="connsiteX177" fmla="*/ 586112 w 1696388"/>
                <a:gd name="connsiteY177" fmla="*/ 133424 h 1686854"/>
                <a:gd name="connsiteX178" fmla="*/ 590876 w 1696388"/>
                <a:gd name="connsiteY178" fmla="*/ 128658 h 1686854"/>
                <a:gd name="connsiteX179" fmla="*/ 595640 w 1696388"/>
                <a:gd name="connsiteY179" fmla="*/ 128658 h 1686854"/>
                <a:gd name="connsiteX180" fmla="*/ 609936 w 1696388"/>
                <a:gd name="connsiteY180" fmla="*/ 128658 h 1686854"/>
                <a:gd name="connsiteX181" fmla="*/ 619468 w 1696388"/>
                <a:gd name="connsiteY181" fmla="*/ 123894 h 1686854"/>
                <a:gd name="connsiteX182" fmla="*/ 624232 w 1696388"/>
                <a:gd name="connsiteY182" fmla="*/ 119128 h 1686854"/>
                <a:gd name="connsiteX183" fmla="*/ 624232 w 1696388"/>
                <a:gd name="connsiteY183" fmla="*/ 109598 h 1686854"/>
                <a:gd name="connsiteX184" fmla="*/ 638528 w 1696388"/>
                <a:gd name="connsiteY184" fmla="*/ 100068 h 1686854"/>
                <a:gd name="connsiteX185" fmla="*/ 638528 w 1696388"/>
                <a:gd name="connsiteY185" fmla="*/ 95302 h 1686854"/>
                <a:gd name="connsiteX186" fmla="*/ 633764 w 1696388"/>
                <a:gd name="connsiteY186" fmla="*/ 90538 h 1686854"/>
                <a:gd name="connsiteX187" fmla="*/ 638528 w 1696388"/>
                <a:gd name="connsiteY187" fmla="*/ 81008 h 1686854"/>
                <a:gd name="connsiteX188" fmla="*/ 638528 w 1696388"/>
                <a:gd name="connsiteY188" fmla="*/ 76242 h 1686854"/>
                <a:gd name="connsiteX189" fmla="*/ 648060 w 1696388"/>
                <a:gd name="connsiteY189" fmla="*/ 76242 h 1686854"/>
                <a:gd name="connsiteX190" fmla="*/ 657588 w 1696388"/>
                <a:gd name="connsiteY190" fmla="*/ 76242 h 1686854"/>
                <a:gd name="connsiteX191" fmla="*/ 671884 w 1696388"/>
                <a:gd name="connsiteY191" fmla="*/ 81008 h 1686854"/>
                <a:gd name="connsiteX192" fmla="*/ 676648 w 1696388"/>
                <a:gd name="connsiteY192" fmla="*/ 81008 h 1686854"/>
                <a:gd name="connsiteX193" fmla="*/ 676648 w 1696388"/>
                <a:gd name="connsiteY193" fmla="*/ 76242 h 1686854"/>
                <a:gd name="connsiteX194" fmla="*/ 662352 w 1696388"/>
                <a:gd name="connsiteY194" fmla="*/ 66712 h 1686854"/>
                <a:gd name="connsiteX195" fmla="*/ 657588 w 1696388"/>
                <a:gd name="connsiteY195" fmla="*/ 61946 h 1686854"/>
                <a:gd name="connsiteX196" fmla="*/ 662352 w 1696388"/>
                <a:gd name="connsiteY196" fmla="*/ 61946 h 1686854"/>
                <a:gd name="connsiteX197" fmla="*/ 662352 w 1696388"/>
                <a:gd name="connsiteY197" fmla="*/ 57182 h 1686854"/>
                <a:gd name="connsiteX198" fmla="*/ 662352 w 1696388"/>
                <a:gd name="connsiteY198" fmla="*/ 52416 h 1686854"/>
                <a:gd name="connsiteX199" fmla="*/ 681416 w 1696388"/>
                <a:gd name="connsiteY199" fmla="*/ 52416 h 1686854"/>
                <a:gd name="connsiteX200" fmla="*/ 676648 w 1696388"/>
                <a:gd name="connsiteY200" fmla="*/ 42886 h 1686854"/>
                <a:gd name="connsiteX201" fmla="*/ 671884 w 1696388"/>
                <a:gd name="connsiteY201" fmla="*/ 38122 h 1686854"/>
                <a:gd name="connsiteX202" fmla="*/ 676648 w 1696388"/>
                <a:gd name="connsiteY202" fmla="*/ 28590 h 1686854"/>
                <a:gd name="connsiteX203" fmla="*/ 695708 w 1696388"/>
                <a:gd name="connsiteY203" fmla="*/ 4766 h 1686854"/>
                <a:gd name="connsiteX204" fmla="*/ 710004 w 1696388"/>
                <a:gd name="connsiteY204" fmla="*/ 14296 h 1686854"/>
                <a:gd name="connsiteX205" fmla="*/ 743360 w 1696388"/>
                <a:gd name="connsiteY205" fmla="*/ 33356 h 1686854"/>
                <a:gd name="connsiteX206" fmla="*/ 776716 w 1696388"/>
                <a:gd name="connsiteY206" fmla="*/ 52416 h 1686854"/>
                <a:gd name="connsiteX207" fmla="*/ 810072 w 1696388"/>
                <a:gd name="connsiteY207" fmla="*/ 71476 h 1686854"/>
                <a:gd name="connsiteX208" fmla="*/ 876784 w 1696388"/>
                <a:gd name="connsiteY208" fmla="*/ 104832 h 1686854"/>
                <a:gd name="connsiteX209" fmla="*/ 910140 w 1696388"/>
                <a:gd name="connsiteY209" fmla="*/ 123894 h 1686854"/>
                <a:gd name="connsiteX210" fmla="*/ 976852 w 1696388"/>
                <a:gd name="connsiteY210" fmla="*/ 162014 h 1686854"/>
                <a:gd name="connsiteX211" fmla="*/ 1010208 w 1696388"/>
                <a:gd name="connsiteY211" fmla="*/ 181074 h 1686854"/>
                <a:gd name="connsiteX212" fmla="*/ 1043564 w 1696388"/>
                <a:gd name="connsiteY212" fmla="*/ 200136 h 1686854"/>
                <a:gd name="connsiteX213" fmla="*/ 1076920 w 1696388"/>
                <a:gd name="connsiteY213" fmla="*/ 219196 h 1686854"/>
                <a:gd name="connsiteX214" fmla="*/ 1110276 w 1696388"/>
                <a:gd name="connsiteY214" fmla="*/ 238256 h 1686854"/>
                <a:gd name="connsiteX215" fmla="*/ 1143632 w 1696388"/>
                <a:gd name="connsiteY215" fmla="*/ 257316 h 1686854"/>
                <a:gd name="connsiteX216" fmla="*/ 1176988 w 1696388"/>
                <a:gd name="connsiteY216" fmla="*/ 276378 h 1686854"/>
                <a:gd name="connsiteX217" fmla="*/ 1210344 w 1696388"/>
                <a:gd name="connsiteY217" fmla="*/ 290672 h 1686854"/>
                <a:gd name="connsiteX218" fmla="*/ 1243700 w 1696388"/>
                <a:gd name="connsiteY218" fmla="*/ 309734 h 1686854"/>
                <a:gd name="connsiteX219" fmla="*/ 1257996 w 1696388"/>
                <a:gd name="connsiteY219" fmla="*/ 319264 h 1686854"/>
                <a:gd name="connsiteX220" fmla="*/ 1262760 w 1696388"/>
                <a:gd name="connsiteY220" fmla="*/ 324028 h 1686854"/>
                <a:gd name="connsiteX221" fmla="*/ 1262760 w 1696388"/>
                <a:gd name="connsiteY221" fmla="*/ 338324 h 1686854"/>
                <a:gd name="connsiteX222" fmla="*/ 1262760 w 1696388"/>
                <a:gd name="connsiteY222" fmla="*/ 352620 h 1686854"/>
                <a:gd name="connsiteX223" fmla="*/ 1262760 w 1696388"/>
                <a:gd name="connsiteY223" fmla="*/ 362150 h 1686854"/>
                <a:gd name="connsiteX224" fmla="*/ 1253228 w 1696388"/>
                <a:gd name="connsiteY224" fmla="*/ 376446 h 1686854"/>
                <a:gd name="connsiteX225" fmla="*/ 1253228 w 1696388"/>
                <a:gd name="connsiteY225" fmla="*/ 385976 h 1686854"/>
                <a:gd name="connsiteX226" fmla="*/ 1253228 w 1696388"/>
                <a:gd name="connsiteY226" fmla="*/ 390740 h 1686854"/>
                <a:gd name="connsiteX227" fmla="*/ 1262760 w 1696388"/>
                <a:gd name="connsiteY227" fmla="*/ 395506 h 1686854"/>
                <a:gd name="connsiteX228" fmla="*/ 1267524 w 1696388"/>
                <a:gd name="connsiteY228" fmla="*/ 395506 h 1686854"/>
                <a:gd name="connsiteX229" fmla="*/ 1272288 w 1696388"/>
                <a:gd name="connsiteY229" fmla="*/ 400270 h 1686854"/>
                <a:gd name="connsiteX230" fmla="*/ 1277056 w 1696388"/>
                <a:gd name="connsiteY230" fmla="*/ 414566 h 1686854"/>
                <a:gd name="connsiteX231" fmla="*/ 1281820 w 1696388"/>
                <a:gd name="connsiteY231" fmla="*/ 419332 h 1686854"/>
                <a:gd name="connsiteX232" fmla="*/ 1296116 w 1696388"/>
                <a:gd name="connsiteY232" fmla="*/ 428862 h 1686854"/>
                <a:gd name="connsiteX233" fmla="*/ 1319940 w 1696388"/>
                <a:gd name="connsiteY233" fmla="*/ 443156 h 1686854"/>
                <a:gd name="connsiteX234" fmla="*/ 1367592 w 1696388"/>
                <a:gd name="connsiteY234" fmla="*/ 481278 h 1686854"/>
                <a:gd name="connsiteX235" fmla="*/ 1391416 w 1696388"/>
                <a:gd name="connsiteY235" fmla="*/ 495574 h 1686854"/>
                <a:gd name="connsiteX236" fmla="*/ 1415244 w 1696388"/>
                <a:gd name="connsiteY236" fmla="*/ 514634 h 1686854"/>
                <a:gd name="connsiteX237" fmla="*/ 1439068 w 1696388"/>
                <a:gd name="connsiteY237" fmla="*/ 533694 h 1686854"/>
                <a:gd name="connsiteX238" fmla="*/ 1462896 w 1696388"/>
                <a:gd name="connsiteY238" fmla="*/ 547990 h 1686854"/>
                <a:gd name="connsiteX239" fmla="*/ 1501016 w 1696388"/>
                <a:gd name="connsiteY239" fmla="*/ 576580 h 1686854"/>
                <a:gd name="connsiteX240" fmla="*/ 1505780 w 1696388"/>
                <a:gd name="connsiteY240" fmla="*/ 576580 h 1686854"/>
                <a:gd name="connsiteX241" fmla="*/ 1501016 w 1696388"/>
                <a:gd name="connsiteY241" fmla="*/ 590876 h 1686854"/>
                <a:gd name="connsiteX242" fmla="*/ 1486720 w 1696388"/>
                <a:gd name="connsiteY242" fmla="*/ 624232 h 1686854"/>
                <a:gd name="connsiteX243" fmla="*/ 1486720 w 1696388"/>
                <a:gd name="connsiteY243" fmla="*/ 633762 h 1686854"/>
                <a:gd name="connsiteX244" fmla="*/ 1481956 w 1696388"/>
                <a:gd name="connsiteY244" fmla="*/ 652822 h 1686854"/>
                <a:gd name="connsiteX245" fmla="*/ 1477192 w 1696388"/>
                <a:gd name="connsiteY245" fmla="*/ 662352 h 1686854"/>
                <a:gd name="connsiteX246" fmla="*/ 1467660 w 1696388"/>
                <a:gd name="connsiteY246" fmla="*/ 705238 h 1686854"/>
                <a:gd name="connsiteX247" fmla="*/ 1458128 w 1696388"/>
                <a:gd name="connsiteY247" fmla="*/ 724300 h 1686854"/>
                <a:gd name="connsiteX248" fmla="*/ 1439068 w 1696388"/>
                <a:gd name="connsiteY248" fmla="*/ 762420 h 1686854"/>
                <a:gd name="connsiteX249" fmla="*/ 1439068 w 1696388"/>
                <a:gd name="connsiteY249" fmla="*/ 795776 h 1686854"/>
                <a:gd name="connsiteX250" fmla="*/ 1448600 w 1696388"/>
                <a:gd name="connsiteY250" fmla="*/ 814836 h 1686854"/>
                <a:gd name="connsiteX251" fmla="*/ 1448600 w 1696388"/>
                <a:gd name="connsiteY251" fmla="*/ 833898 h 1686854"/>
                <a:gd name="connsiteX252" fmla="*/ 1467660 w 1696388"/>
                <a:gd name="connsiteY252" fmla="*/ 852958 h 1686854"/>
                <a:gd name="connsiteX253" fmla="*/ 1481956 w 1696388"/>
                <a:gd name="connsiteY253" fmla="*/ 862488 h 1686854"/>
                <a:gd name="connsiteX254" fmla="*/ 1486720 w 1696388"/>
                <a:gd name="connsiteY254" fmla="*/ 872018 h 1686854"/>
                <a:gd name="connsiteX255" fmla="*/ 1505780 w 1696388"/>
                <a:gd name="connsiteY255" fmla="*/ 891078 h 1686854"/>
                <a:gd name="connsiteX256" fmla="*/ 1515312 w 1696388"/>
                <a:gd name="connsiteY256" fmla="*/ 910140 h 1686854"/>
                <a:gd name="connsiteX257" fmla="*/ 1543900 w 1696388"/>
                <a:gd name="connsiteY257" fmla="*/ 919670 h 1686854"/>
                <a:gd name="connsiteX258" fmla="*/ 1553432 w 1696388"/>
                <a:gd name="connsiteY258" fmla="*/ 943496 h 1686854"/>
                <a:gd name="connsiteX259" fmla="*/ 1548668 w 1696388"/>
                <a:gd name="connsiteY259" fmla="*/ 957790 h 1686854"/>
                <a:gd name="connsiteX260" fmla="*/ 1539136 w 1696388"/>
                <a:gd name="connsiteY260" fmla="*/ 972086 h 1686854"/>
                <a:gd name="connsiteX261" fmla="*/ 1524840 w 1696388"/>
                <a:gd name="connsiteY261" fmla="*/ 995912 h 1686854"/>
                <a:gd name="connsiteX262" fmla="*/ 1515312 w 1696388"/>
                <a:gd name="connsiteY262" fmla="*/ 1019738 h 1686854"/>
                <a:gd name="connsiteX263" fmla="*/ 1515312 w 1696388"/>
                <a:gd name="connsiteY263" fmla="*/ 1062624 h 1686854"/>
                <a:gd name="connsiteX264" fmla="*/ 1520076 w 1696388"/>
                <a:gd name="connsiteY264" fmla="*/ 1057858 h 1686854"/>
                <a:gd name="connsiteX265" fmla="*/ 1534372 w 1696388"/>
                <a:gd name="connsiteY265" fmla="*/ 1067388 h 1686854"/>
                <a:gd name="connsiteX266" fmla="*/ 1539136 w 1696388"/>
                <a:gd name="connsiteY266" fmla="*/ 1100744 h 1686854"/>
                <a:gd name="connsiteX267" fmla="*/ 1524840 w 1696388"/>
                <a:gd name="connsiteY267" fmla="*/ 1134100 h 1686854"/>
                <a:gd name="connsiteX268" fmla="*/ 1520076 w 1696388"/>
                <a:gd name="connsiteY268" fmla="*/ 1153160 h 1686854"/>
                <a:gd name="connsiteX269" fmla="*/ 1515312 w 1696388"/>
                <a:gd name="connsiteY269" fmla="*/ 1167456 h 1686854"/>
                <a:gd name="connsiteX270" fmla="*/ 1529608 w 1696388"/>
                <a:gd name="connsiteY270" fmla="*/ 1210342 h 1686854"/>
                <a:gd name="connsiteX271" fmla="*/ 1543900 w 1696388"/>
                <a:gd name="connsiteY271" fmla="*/ 1234168 h 1686854"/>
                <a:gd name="connsiteX272" fmla="*/ 1543900 w 1696388"/>
                <a:gd name="connsiteY272" fmla="*/ 1238934 h 1686854"/>
                <a:gd name="connsiteX273" fmla="*/ 1539136 w 1696388"/>
                <a:gd name="connsiteY273" fmla="*/ 1248464 h 1686854"/>
                <a:gd name="connsiteX274" fmla="*/ 1567728 w 1696388"/>
                <a:gd name="connsiteY274" fmla="*/ 1286584 h 1686854"/>
                <a:gd name="connsiteX275" fmla="*/ 1567728 w 1696388"/>
                <a:gd name="connsiteY275" fmla="*/ 1319940 h 1686854"/>
                <a:gd name="connsiteX276" fmla="*/ 1577256 w 1696388"/>
                <a:gd name="connsiteY276" fmla="*/ 1348530 h 1686854"/>
                <a:gd name="connsiteX277" fmla="*/ 1582024 w 1696388"/>
                <a:gd name="connsiteY277" fmla="*/ 1372356 h 1686854"/>
                <a:gd name="connsiteX278" fmla="*/ 1591552 w 1696388"/>
                <a:gd name="connsiteY278" fmla="*/ 1386652 h 1686854"/>
                <a:gd name="connsiteX279" fmla="*/ 1591552 w 1696388"/>
                <a:gd name="connsiteY279" fmla="*/ 1400948 h 1686854"/>
                <a:gd name="connsiteX280" fmla="*/ 1582024 w 1696388"/>
                <a:gd name="connsiteY280" fmla="*/ 1415242 h 1686854"/>
                <a:gd name="connsiteX281" fmla="*/ 1605848 w 1696388"/>
                <a:gd name="connsiteY281" fmla="*/ 1415242 h 1686854"/>
                <a:gd name="connsiteX282" fmla="*/ 1615380 w 1696388"/>
                <a:gd name="connsiteY282" fmla="*/ 1429538 h 1686854"/>
                <a:gd name="connsiteX283" fmla="*/ 1624908 w 1696388"/>
                <a:gd name="connsiteY283" fmla="*/ 1439068 h 1686854"/>
                <a:gd name="connsiteX284" fmla="*/ 1639204 w 1696388"/>
                <a:gd name="connsiteY284" fmla="*/ 1439068 h 1686854"/>
                <a:gd name="connsiteX285" fmla="*/ 1648736 w 1696388"/>
                <a:gd name="connsiteY285" fmla="*/ 1443834 h 1686854"/>
                <a:gd name="connsiteX286" fmla="*/ 1658264 w 1696388"/>
                <a:gd name="connsiteY286" fmla="*/ 1453364 h 1686854"/>
                <a:gd name="connsiteX287" fmla="*/ 1686856 w 1696388"/>
                <a:gd name="connsiteY287" fmla="*/ 1472424 h 1686854"/>
                <a:gd name="connsiteX288" fmla="*/ 1691620 w 1696388"/>
                <a:gd name="connsiteY288" fmla="*/ 1477190 h 1686854"/>
                <a:gd name="connsiteX289" fmla="*/ 1696388 w 1696388"/>
                <a:gd name="connsiteY289" fmla="*/ 1481954 h 1686854"/>
                <a:gd name="connsiteX290" fmla="*/ 1696388 w 1696388"/>
                <a:gd name="connsiteY290" fmla="*/ 1486720 h 1686854"/>
                <a:gd name="connsiteX291" fmla="*/ 1682092 w 1696388"/>
                <a:gd name="connsiteY291" fmla="*/ 1501014 h 1686854"/>
                <a:gd name="connsiteX292" fmla="*/ 1653500 w 1696388"/>
                <a:gd name="connsiteY292" fmla="*/ 1524840 h 1686854"/>
                <a:gd name="connsiteX293" fmla="*/ 1624908 w 1696388"/>
                <a:gd name="connsiteY293" fmla="*/ 1543902 h 1686854"/>
                <a:gd name="connsiteX294" fmla="*/ 1596320 w 1696388"/>
                <a:gd name="connsiteY294" fmla="*/ 1558196 h 1686854"/>
                <a:gd name="connsiteX295" fmla="*/ 1577256 w 1696388"/>
                <a:gd name="connsiteY295" fmla="*/ 1567726 h 1686854"/>
                <a:gd name="connsiteX296" fmla="*/ 1558196 w 1696388"/>
                <a:gd name="connsiteY296" fmla="*/ 1567726 h 1686854"/>
                <a:gd name="connsiteX297" fmla="*/ 1539136 w 1696388"/>
                <a:gd name="connsiteY297" fmla="*/ 1577258 h 1686854"/>
                <a:gd name="connsiteX298" fmla="*/ 1520076 w 1696388"/>
                <a:gd name="connsiteY298" fmla="*/ 1591552 h 1686854"/>
                <a:gd name="connsiteX299" fmla="*/ 1496252 w 1696388"/>
                <a:gd name="connsiteY299" fmla="*/ 1601082 h 1686854"/>
                <a:gd name="connsiteX300" fmla="*/ 1467660 w 1696388"/>
                <a:gd name="connsiteY300" fmla="*/ 1601082 h 1686854"/>
                <a:gd name="connsiteX301" fmla="*/ 1439068 w 1696388"/>
                <a:gd name="connsiteY301" fmla="*/ 1610614 h 1686854"/>
                <a:gd name="connsiteX302" fmla="*/ 1405712 w 1696388"/>
                <a:gd name="connsiteY302" fmla="*/ 1629674 h 1686854"/>
                <a:gd name="connsiteX303" fmla="*/ 1391416 w 1696388"/>
                <a:gd name="connsiteY303" fmla="*/ 1639204 h 1686854"/>
                <a:gd name="connsiteX304" fmla="*/ 1362828 w 1696388"/>
                <a:gd name="connsiteY304" fmla="*/ 1624908 h 1686854"/>
                <a:gd name="connsiteX305" fmla="*/ 1339000 w 1696388"/>
                <a:gd name="connsiteY305" fmla="*/ 1615378 h 1686854"/>
                <a:gd name="connsiteX306" fmla="*/ 1315176 w 1696388"/>
                <a:gd name="connsiteY306" fmla="*/ 1615378 h 1686854"/>
                <a:gd name="connsiteX307" fmla="*/ 1300880 w 1696388"/>
                <a:gd name="connsiteY307" fmla="*/ 1620144 h 1686854"/>
                <a:gd name="connsiteX308" fmla="*/ 1296116 w 1696388"/>
                <a:gd name="connsiteY308" fmla="*/ 1624908 h 1686854"/>
                <a:gd name="connsiteX309" fmla="*/ 1291352 w 1696388"/>
                <a:gd name="connsiteY309" fmla="*/ 1634438 h 1686854"/>
                <a:gd name="connsiteX310" fmla="*/ 1286584 w 1696388"/>
                <a:gd name="connsiteY310" fmla="*/ 1648734 h 1686854"/>
                <a:gd name="connsiteX311" fmla="*/ 1272288 w 1696388"/>
                <a:gd name="connsiteY311" fmla="*/ 1667794 h 1686854"/>
                <a:gd name="connsiteX312" fmla="*/ 1243700 w 1696388"/>
                <a:gd name="connsiteY312" fmla="*/ 1682090 h 1686854"/>
                <a:gd name="connsiteX313" fmla="*/ 1215108 w 1696388"/>
                <a:gd name="connsiteY313" fmla="*/ 1686854 h 1686854"/>
                <a:gd name="connsiteX314" fmla="*/ 1191284 w 1696388"/>
                <a:gd name="connsiteY314" fmla="*/ 1682090 h 1686854"/>
                <a:gd name="connsiteX315" fmla="*/ 1176988 w 1696388"/>
                <a:gd name="connsiteY315" fmla="*/ 1677324 h 1686854"/>
                <a:gd name="connsiteX316" fmla="*/ 1167456 w 1696388"/>
                <a:gd name="connsiteY316" fmla="*/ 1667794 h 1686854"/>
                <a:gd name="connsiteX317" fmla="*/ 1153160 w 1696388"/>
                <a:gd name="connsiteY317" fmla="*/ 1663030 h 1686854"/>
                <a:gd name="connsiteX318" fmla="*/ 1138868 w 1696388"/>
                <a:gd name="connsiteY318" fmla="*/ 1663030 h 1686854"/>
                <a:gd name="connsiteX319" fmla="*/ 1119804 w 1696388"/>
                <a:gd name="connsiteY319" fmla="*/ 1667794 h 1686854"/>
                <a:gd name="connsiteX320" fmla="*/ 1105512 w 1696388"/>
                <a:gd name="connsiteY320" fmla="*/ 1682090 h 1686854"/>
                <a:gd name="connsiteX321" fmla="*/ 1081684 w 1696388"/>
                <a:gd name="connsiteY321" fmla="*/ 1686854 h 1686854"/>
                <a:gd name="connsiteX322" fmla="*/ 1048328 w 1696388"/>
                <a:gd name="connsiteY322" fmla="*/ 1686854 h 1686854"/>
                <a:gd name="connsiteX323" fmla="*/ 1029268 w 1696388"/>
                <a:gd name="connsiteY323" fmla="*/ 1677324 h 1686854"/>
                <a:gd name="connsiteX324" fmla="*/ 1029268 w 1696388"/>
                <a:gd name="connsiteY324" fmla="*/ 1667794 h 1686854"/>
                <a:gd name="connsiteX325" fmla="*/ 1014972 w 1696388"/>
                <a:gd name="connsiteY325" fmla="*/ 1658264 h 1686854"/>
                <a:gd name="connsiteX326" fmla="*/ 986384 w 1696388"/>
                <a:gd name="connsiteY326" fmla="*/ 1643968 h 1686854"/>
                <a:gd name="connsiteX327" fmla="*/ 967320 w 1696388"/>
                <a:gd name="connsiteY327" fmla="*/ 1643968 h 1686854"/>
                <a:gd name="connsiteX328" fmla="*/ 953028 w 1696388"/>
                <a:gd name="connsiteY328" fmla="*/ 1658264 h 1686854"/>
                <a:gd name="connsiteX329" fmla="*/ 943496 w 1696388"/>
                <a:gd name="connsiteY329" fmla="*/ 1667794 h 1686854"/>
                <a:gd name="connsiteX330" fmla="*/ 933964 w 1696388"/>
                <a:gd name="connsiteY330" fmla="*/ 1667794 h 1686854"/>
                <a:gd name="connsiteX331" fmla="*/ 924436 w 1696388"/>
                <a:gd name="connsiteY331" fmla="*/ 1667794 h 1686854"/>
                <a:gd name="connsiteX332" fmla="*/ 914904 w 1696388"/>
                <a:gd name="connsiteY332" fmla="*/ 1667794 h 1686854"/>
                <a:gd name="connsiteX333" fmla="*/ 910140 w 1696388"/>
                <a:gd name="connsiteY333" fmla="*/ 1667794 h 1686854"/>
                <a:gd name="connsiteX334" fmla="*/ 872020 w 1696388"/>
                <a:gd name="connsiteY334" fmla="*/ 1663030 h 1686854"/>
                <a:gd name="connsiteX335" fmla="*/ 838664 w 1696388"/>
                <a:gd name="connsiteY335" fmla="*/ 1663030 h 1686854"/>
                <a:gd name="connsiteX336" fmla="*/ 838664 w 1696388"/>
                <a:gd name="connsiteY336" fmla="*/ 1658264 h 1686854"/>
                <a:gd name="connsiteX337" fmla="*/ 833900 w 1696388"/>
                <a:gd name="connsiteY337" fmla="*/ 1648734 h 1686854"/>
                <a:gd name="connsiteX338" fmla="*/ 829132 w 1696388"/>
                <a:gd name="connsiteY338" fmla="*/ 1634438 h 1686854"/>
                <a:gd name="connsiteX339" fmla="*/ 819604 w 1696388"/>
                <a:gd name="connsiteY339" fmla="*/ 1629674 h 1686854"/>
                <a:gd name="connsiteX340" fmla="*/ 814836 w 1696388"/>
                <a:gd name="connsiteY340" fmla="*/ 1624908 h 1686854"/>
                <a:gd name="connsiteX341" fmla="*/ 810072 w 1696388"/>
                <a:gd name="connsiteY341" fmla="*/ 1629674 h 1686854"/>
                <a:gd name="connsiteX342" fmla="*/ 805308 w 1696388"/>
                <a:gd name="connsiteY342" fmla="*/ 1620144 h 1686854"/>
                <a:gd name="connsiteX343" fmla="*/ 800544 w 1696388"/>
                <a:gd name="connsiteY343" fmla="*/ 1610614 h 1686854"/>
                <a:gd name="connsiteX344" fmla="*/ 795776 w 1696388"/>
                <a:gd name="connsiteY344" fmla="*/ 1601082 h 1686854"/>
                <a:gd name="connsiteX345" fmla="*/ 786248 w 1696388"/>
                <a:gd name="connsiteY345" fmla="*/ 1591552 h 1686854"/>
                <a:gd name="connsiteX346" fmla="*/ 781480 w 1696388"/>
                <a:gd name="connsiteY346" fmla="*/ 1586788 h 1686854"/>
                <a:gd name="connsiteX347" fmla="*/ 781480 w 1696388"/>
                <a:gd name="connsiteY347" fmla="*/ 1577258 h 1686854"/>
                <a:gd name="connsiteX348" fmla="*/ 781480 w 1696388"/>
                <a:gd name="connsiteY348" fmla="*/ 1572492 h 1686854"/>
                <a:gd name="connsiteX349" fmla="*/ 791012 w 1696388"/>
                <a:gd name="connsiteY349" fmla="*/ 1553432 h 1686854"/>
                <a:gd name="connsiteX350" fmla="*/ 791012 w 1696388"/>
                <a:gd name="connsiteY350" fmla="*/ 1539136 h 1686854"/>
                <a:gd name="connsiteX351" fmla="*/ 791012 w 1696388"/>
                <a:gd name="connsiteY351" fmla="*/ 1524840 h 1686854"/>
                <a:gd name="connsiteX352" fmla="*/ 786248 w 1696388"/>
                <a:gd name="connsiteY352" fmla="*/ 1515310 h 1686854"/>
                <a:gd name="connsiteX353" fmla="*/ 781480 w 1696388"/>
                <a:gd name="connsiteY353" fmla="*/ 1496250 h 1686854"/>
                <a:gd name="connsiteX354" fmla="*/ 781480 w 1696388"/>
                <a:gd name="connsiteY354" fmla="*/ 1491484 h 1686854"/>
                <a:gd name="connsiteX355" fmla="*/ 776716 w 1696388"/>
                <a:gd name="connsiteY355" fmla="*/ 1481954 h 1686854"/>
                <a:gd name="connsiteX356" fmla="*/ 776716 w 1696388"/>
                <a:gd name="connsiteY356" fmla="*/ 1472424 h 1686854"/>
                <a:gd name="connsiteX357" fmla="*/ 781480 w 1696388"/>
                <a:gd name="connsiteY357" fmla="*/ 1462894 h 1686854"/>
                <a:gd name="connsiteX358" fmla="*/ 776716 w 1696388"/>
                <a:gd name="connsiteY358" fmla="*/ 1453364 h 1686854"/>
                <a:gd name="connsiteX359" fmla="*/ 771952 w 1696388"/>
                <a:gd name="connsiteY359" fmla="*/ 1424774 h 1686854"/>
                <a:gd name="connsiteX360" fmla="*/ 771952 w 1696388"/>
                <a:gd name="connsiteY360" fmla="*/ 1420008 h 1686854"/>
                <a:gd name="connsiteX361" fmla="*/ 762420 w 1696388"/>
                <a:gd name="connsiteY361" fmla="*/ 1405712 h 1686854"/>
                <a:gd name="connsiteX362" fmla="*/ 738596 w 1696388"/>
                <a:gd name="connsiteY362" fmla="*/ 1377122 h 1686854"/>
                <a:gd name="connsiteX363" fmla="*/ 738596 w 1696388"/>
                <a:gd name="connsiteY363" fmla="*/ 1372356 h 1686854"/>
                <a:gd name="connsiteX364" fmla="*/ 700476 w 1696388"/>
                <a:gd name="connsiteY364" fmla="*/ 1339000 h 1686854"/>
                <a:gd name="connsiteX365" fmla="*/ 686180 w 1696388"/>
                <a:gd name="connsiteY365" fmla="*/ 1334236 h 1686854"/>
                <a:gd name="connsiteX366" fmla="*/ 681416 w 1696388"/>
                <a:gd name="connsiteY366" fmla="*/ 1339000 h 1686854"/>
                <a:gd name="connsiteX367" fmla="*/ 681416 w 1696388"/>
                <a:gd name="connsiteY367" fmla="*/ 1343766 h 1686854"/>
                <a:gd name="connsiteX368" fmla="*/ 681416 w 1696388"/>
                <a:gd name="connsiteY368" fmla="*/ 1353296 h 1686854"/>
                <a:gd name="connsiteX369" fmla="*/ 681416 w 1696388"/>
                <a:gd name="connsiteY369" fmla="*/ 1358062 h 1686854"/>
                <a:gd name="connsiteX370" fmla="*/ 681416 w 1696388"/>
                <a:gd name="connsiteY370" fmla="*/ 1362826 h 1686854"/>
                <a:gd name="connsiteX371" fmla="*/ 671884 w 1696388"/>
                <a:gd name="connsiteY371" fmla="*/ 1362826 h 1686854"/>
                <a:gd name="connsiteX372" fmla="*/ 667120 w 1696388"/>
                <a:gd name="connsiteY372" fmla="*/ 1358062 h 1686854"/>
                <a:gd name="connsiteX373" fmla="*/ 652824 w 1696388"/>
                <a:gd name="connsiteY373" fmla="*/ 1353296 h 1686854"/>
                <a:gd name="connsiteX374" fmla="*/ 643292 w 1696388"/>
                <a:gd name="connsiteY374" fmla="*/ 1348530 h 1686854"/>
                <a:gd name="connsiteX375" fmla="*/ 614704 w 1696388"/>
                <a:gd name="connsiteY375" fmla="*/ 1353296 h 1686854"/>
                <a:gd name="connsiteX376" fmla="*/ 605172 w 1696388"/>
                <a:gd name="connsiteY376" fmla="*/ 1353296 h 1686854"/>
                <a:gd name="connsiteX377" fmla="*/ 600408 w 1696388"/>
                <a:gd name="connsiteY377" fmla="*/ 1353296 h 1686854"/>
                <a:gd name="connsiteX378" fmla="*/ 586112 w 1696388"/>
                <a:gd name="connsiteY378" fmla="*/ 1339000 h 1686854"/>
                <a:gd name="connsiteX379" fmla="*/ 567052 w 1696388"/>
                <a:gd name="connsiteY379" fmla="*/ 1334236 h 1686854"/>
                <a:gd name="connsiteX380" fmla="*/ 552756 w 1696388"/>
                <a:gd name="connsiteY380" fmla="*/ 1334236 h 1686854"/>
                <a:gd name="connsiteX381" fmla="*/ 528932 w 1696388"/>
                <a:gd name="connsiteY381" fmla="*/ 1319940 h 1686854"/>
                <a:gd name="connsiteX382" fmla="*/ 524164 w 1696388"/>
                <a:gd name="connsiteY382" fmla="*/ 1319940 h 1686854"/>
                <a:gd name="connsiteX383" fmla="*/ 519400 w 1696388"/>
                <a:gd name="connsiteY383" fmla="*/ 1319940 h 1686854"/>
                <a:gd name="connsiteX384" fmla="*/ 509868 w 1696388"/>
                <a:gd name="connsiteY384" fmla="*/ 1315176 h 1686854"/>
                <a:gd name="connsiteX385" fmla="*/ 495576 w 1696388"/>
                <a:gd name="connsiteY385" fmla="*/ 1305644 h 1686854"/>
                <a:gd name="connsiteX386" fmla="*/ 471748 w 1696388"/>
                <a:gd name="connsiteY386" fmla="*/ 1296114 h 1686854"/>
                <a:gd name="connsiteX387" fmla="*/ 452688 w 1696388"/>
                <a:gd name="connsiteY387" fmla="*/ 1286584 h 1686854"/>
                <a:gd name="connsiteX388" fmla="*/ 443156 w 1696388"/>
                <a:gd name="connsiteY388" fmla="*/ 1281820 h 1686854"/>
                <a:gd name="connsiteX389" fmla="*/ 424096 w 1696388"/>
                <a:gd name="connsiteY389" fmla="*/ 1277054 h 1686854"/>
                <a:gd name="connsiteX390" fmla="*/ 409800 w 1696388"/>
                <a:gd name="connsiteY390" fmla="*/ 1277054 h 1686854"/>
                <a:gd name="connsiteX391" fmla="*/ 395508 w 1696388"/>
                <a:gd name="connsiteY391" fmla="*/ 1267524 h 1686854"/>
                <a:gd name="connsiteX392" fmla="*/ 381212 w 1696388"/>
                <a:gd name="connsiteY392" fmla="*/ 1267524 h 1686854"/>
                <a:gd name="connsiteX393" fmla="*/ 366916 w 1696388"/>
                <a:gd name="connsiteY393" fmla="*/ 1262758 h 1686854"/>
                <a:gd name="connsiteX394" fmla="*/ 362152 w 1696388"/>
                <a:gd name="connsiteY394" fmla="*/ 1257994 h 1686854"/>
                <a:gd name="connsiteX395" fmla="*/ 362152 w 1696388"/>
                <a:gd name="connsiteY395" fmla="*/ 1248464 h 1686854"/>
                <a:gd name="connsiteX396" fmla="*/ 357384 w 1696388"/>
                <a:gd name="connsiteY396" fmla="*/ 1243698 h 1686854"/>
                <a:gd name="connsiteX397" fmla="*/ 347856 w 1696388"/>
                <a:gd name="connsiteY397" fmla="*/ 1238934 h 1686854"/>
                <a:gd name="connsiteX398" fmla="*/ 338324 w 1696388"/>
                <a:gd name="connsiteY398" fmla="*/ 1238934 h 1686854"/>
                <a:gd name="connsiteX399" fmla="*/ 328796 w 1696388"/>
                <a:gd name="connsiteY399" fmla="*/ 1243698 h 1686854"/>
                <a:gd name="connsiteX400" fmla="*/ 324028 w 1696388"/>
                <a:gd name="connsiteY400" fmla="*/ 1238934 h 1686854"/>
                <a:gd name="connsiteX401" fmla="*/ 314500 w 1696388"/>
                <a:gd name="connsiteY401" fmla="*/ 1234168 h 1686854"/>
                <a:gd name="connsiteX402" fmla="*/ 304968 w 1696388"/>
                <a:gd name="connsiteY402" fmla="*/ 1224638 h 1686854"/>
                <a:gd name="connsiteX403" fmla="*/ 304968 w 1696388"/>
                <a:gd name="connsiteY403" fmla="*/ 1210342 h 1686854"/>
                <a:gd name="connsiteX404" fmla="*/ 290672 w 1696388"/>
                <a:gd name="connsiteY404" fmla="*/ 1200812 h 1686854"/>
                <a:gd name="connsiteX405" fmla="*/ 276376 w 1696388"/>
                <a:gd name="connsiteY405" fmla="*/ 1196046 h 1686854"/>
                <a:gd name="connsiteX406" fmla="*/ 247788 w 1696388"/>
                <a:gd name="connsiteY406" fmla="*/ 1196046 h 1686854"/>
                <a:gd name="connsiteX407" fmla="*/ 247788 w 1696388"/>
                <a:gd name="connsiteY407" fmla="*/ 1191282 h 1686854"/>
                <a:gd name="connsiteX408" fmla="*/ 243020 w 1696388"/>
                <a:gd name="connsiteY408" fmla="*/ 1186516 h 1686854"/>
                <a:gd name="connsiteX409" fmla="*/ 243020 w 1696388"/>
                <a:gd name="connsiteY409" fmla="*/ 1176986 h 1686854"/>
                <a:gd name="connsiteX410" fmla="*/ 243020 w 1696388"/>
                <a:gd name="connsiteY410" fmla="*/ 1167456 h 1686854"/>
                <a:gd name="connsiteX411" fmla="*/ 233492 w 1696388"/>
                <a:gd name="connsiteY411" fmla="*/ 1157926 h 1686854"/>
                <a:gd name="connsiteX412" fmla="*/ 223960 w 1696388"/>
                <a:gd name="connsiteY412" fmla="*/ 1143630 h 1686854"/>
                <a:gd name="connsiteX413" fmla="*/ 214432 w 1696388"/>
                <a:gd name="connsiteY413" fmla="*/ 1134100 h 1686854"/>
                <a:gd name="connsiteX414" fmla="*/ 214432 w 1696388"/>
                <a:gd name="connsiteY414" fmla="*/ 1129336 h 1686854"/>
                <a:gd name="connsiteX415" fmla="*/ 209664 w 1696388"/>
                <a:gd name="connsiteY415" fmla="*/ 1124570 h 1686854"/>
                <a:gd name="connsiteX416" fmla="*/ 214432 w 1696388"/>
                <a:gd name="connsiteY416" fmla="*/ 1119804 h 1686854"/>
                <a:gd name="connsiteX417" fmla="*/ 214432 w 1696388"/>
                <a:gd name="connsiteY417" fmla="*/ 1115040 h 1686854"/>
                <a:gd name="connsiteX418" fmla="*/ 209664 w 1696388"/>
                <a:gd name="connsiteY418" fmla="*/ 1115040 h 1686854"/>
                <a:gd name="connsiteX419" fmla="*/ 204900 w 1696388"/>
                <a:gd name="connsiteY419" fmla="*/ 1110274 h 1686854"/>
                <a:gd name="connsiteX420" fmla="*/ 204900 w 1696388"/>
                <a:gd name="connsiteY420" fmla="*/ 1105510 h 1686854"/>
                <a:gd name="connsiteX421" fmla="*/ 190604 w 1696388"/>
                <a:gd name="connsiteY421" fmla="*/ 1081684 h 1686854"/>
                <a:gd name="connsiteX422" fmla="*/ 176308 w 1696388"/>
                <a:gd name="connsiteY422" fmla="*/ 1048328 h 1686854"/>
                <a:gd name="connsiteX423" fmla="*/ 166780 w 1696388"/>
                <a:gd name="connsiteY423" fmla="*/ 1038798 h 1686854"/>
                <a:gd name="connsiteX424" fmla="*/ 157248 w 1696388"/>
                <a:gd name="connsiteY424" fmla="*/ 1024502 h 1686854"/>
                <a:gd name="connsiteX425" fmla="*/ 157248 w 1696388"/>
                <a:gd name="connsiteY425" fmla="*/ 1014972 h 1686854"/>
                <a:gd name="connsiteX426" fmla="*/ 157248 w 1696388"/>
                <a:gd name="connsiteY426" fmla="*/ 1000676 h 1686854"/>
                <a:gd name="connsiteX427" fmla="*/ 152484 w 1696388"/>
                <a:gd name="connsiteY427" fmla="*/ 981616 h 1686854"/>
                <a:gd name="connsiteX428" fmla="*/ 147720 w 1696388"/>
                <a:gd name="connsiteY428" fmla="*/ 967320 h 1686854"/>
                <a:gd name="connsiteX429" fmla="*/ 142952 w 1696388"/>
                <a:gd name="connsiteY429" fmla="*/ 957790 h 1686854"/>
                <a:gd name="connsiteX430" fmla="*/ 147720 w 1696388"/>
                <a:gd name="connsiteY430" fmla="*/ 957790 h 1686854"/>
                <a:gd name="connsiteX431" fmla="*/ 152484 w 1696388"/>
                <a:gd name="connsiteY431" fmla="*/ 948260 h 1686854"/>
                <a:gd name="connsiteX432" fmla="*/ 152484 w 1696388"/>
                <a:gd name="connsiteY432" fmla="*/ 938730 h 1686854"/>
                <a:gd name="connsiteX433" fmla="*/ 147720 w 1696388"/>
                <a:gd name="connsiteY433" fmla="*/ 929200 h 1686854"/>
                <a:gd name="connsiteX434" fmla="*/ 133424 w 1696388"/>
                <a:gd name="connsiteY434" fmla="*/ 914904 h 1686854"/>
                <a:gd name="connsiteX435" fmla="*/ 123892 w 1696388"/>
                <a:gd name="connsiteY435" fmla="*/ 905374 h 1686854"/>
                <a:gd name="connsiteX436" fmla="*/ 119128 w 1696388"/>
                <a:gd name="connsiteY436" fmla="*/ 891078 h 1686854"/>
                <a:gd name="connsiteX437" fmla="*/ 109596 w 1696388"/>
                <a:gd name="connsiteY437" fmla="*/ 881548 h 1686854"/>
                <a:gd name="connsiteX438" fmla="*/ 90536 w 1696388"/>
                <a:gd name="connsiteY438" fmla="*/ 862488 h 1686854"/>
                <a:gd name="connsiteX439" fmla="*/ 90536 w 1696388"/>
                <a:gd name="connsiteY439" fmla="*/ 857722 h 1686854"/>
                <a:gd name="connsiteX440" fmla="*/ 85772 w 1696388"/>
                <a:gd name="connsiteY440" fmla="*/ 857722 h 1686854"/>
                <a:gd name="connsiteX441" fmla="*/ 76244 w 1696388"/>
                <a:gd name="connsiteY441" fmla="*/ 852958 h 1686854"/>
                <a:gd name="connsiteX442" fmla="*/ 66712 w 1696388"/>
                <a:gd name="connsiteY442" fmla="*/ 857722 h 1686854"/>
                <a:gd name="connsiteX443" fmla="*/ 57180 w 1696388"/>
                <a:gd name="connsiteY443" fmla="*/ 862488 h 1686854"/>
                <a:gd name="connsiteX444" fmla="*/ 57180 w 1696388"/>
                <a:gd name="connsiteY444" fmla="*/ 857722 h 1686854"/>
                <a:gd name="connsiteX445" fmla="*/ 38120 w 1696388"/>
                <a:gd name="connsiteY445" fmla="*/ 843428 h 1686854"/>
                <a:gd name="connsiteX446" fmla="*/ 23824 w 1696388"/>
                <a:gd name="connsiteY446" fmla="*/ 829132 h 1686854"/>
                <a:gd name="connsiteX447" fmla="*/ 19060 w 1696388"/>
                <a:gd name="connsiteY447" fmla="*/ 819602 h 1686854"/>
                <a:gd name="connsiteX448" fmla="*/ 19060 w 1696388"/>
                <a:gd name="connsiteY448" fmla="*/ 814836 h 1686854"/>
                <a:gd name="connsiteX449" fmla="*/ 19060 w 1696388"/>
                <a:gd name="connsiteY449" fmla="*/ 795776 h 1686854"/>
                <a:gd name="connsiteX450" fmla="*/ 23824 w 1696388"/>
                <a:gd name="connsiteY450" fmla="*/ 786246 h 1686854"/>
                <a:gd name="connsiteX451" fmla="*/ 28592 w 1696388"/>
                <a:gd name="connsiteY451" fmla="*/ 781480 h 1686854"/>
                <a:gd name="connsiteX452" fmla="*/ 33356 w 1696388"/>
                <a:gd name="connsiteY452" fmla="*/ 781480 h 1686854"/>
                <a:gd name="connsiteX453" fmla="*/ 42888 w 1696388"/>
                <a:gd name="connsiteY453" fmla="*/ 781480 h 1686854"/>
                <a:gd name="connsiteX454" fmla="*/ 52416 w 1696388"/>
                <a:gd name="connsiteY454" fmla="*/ 771950 h 1686854"/>
                <a:gd name="connsiteX455" fmla="*/ 57180 w 1696388"/>
                <a:gd name="connsiteY455" fmla="*/ 767186 h 1686854"/>
                <a:gd name="connsiteX456" fmla="*/ 57180 w 1696388"/>
                <a:gd name="connsiteY456" fmla="*/ 762420 h 1686854"/>
                <a:gd name="connsiteX457" fmla="*/ 52416 w 1696388"/>
                <a:gd name="connsiteY457" fmla="*/ 748124 h 1686854"/>
                <a:gd name="connsiteX458" fmla="*/ 42888 w 1696388"/>
                <a:gd name="connsiteY458" fmla="*/ 724300 h 1686854"/>
                <a:gd name="connsiteX459" fmla="*/ 33356 w 1696388"/>
                <a:gd name="connsiteY459" fmla="*/ 710004 h 1686854"/>
                <a:gd name="connsiteX460" fmla="*/ 28592 w 1696388"/>
                <a:gd name="connsiteY460" fmla="*/ 700474 h 1686854"/>
                <a:gd name="connsiteX461" fmla="*/ 23824 w 1696388"/>
                <a:gd name="connsiteY461" fmla="*/ 690944 h 1686854"/>
                <a:gd name="connsiteX462" fmla="*/ 28592 w 1696388"/>
                <a:gd name="connsiteY462" fmla="*/ 681414 h 1686854"/>
                <a:gd name="connsiteX463" fmla="*/ 28592 w 1696388"/>
                <a:gd name="connsiteY463" fmla="*/ 667118 h 1686854"/>
                <a:gd name="connsiteX464" fmla="*/ 33356 w 1696388"/>
                <a:gd name="connsiteY464" fmla="*/ 667118 h 1686854"/>
                <a:gd name="connsiteX465" fmla="*/ 33356 w 1696388"/>
                <a:gd name="connsiteY465" fmla="*/ 652822 h 1686854"/>
                <a:gd name="connsiteX466" fmla="*/ 33356 w 1696388"/>
                <a:gd name="connsiteY466" fmla="*/ 648058 h 1686854"/>
                <a:gd name="connsiteX467" fmla="*/ 33356 w 1696388"/>
                <a:gd name="connsiteY467" fmla="*/ 643292 h 1686854"/>
                <a:gd name="connsiteX468" fmla="*/ 33356 w 1696388"/>
                <a:gd name="connsiteY468" fmla="*/ 633762 h 1686854"/>
                <a:gd name="connsiteX469" fmla="*/ 23824 w 1696388"/>
                <a:gd name="connsiteY469" fmla="*/ 624232 h 1686854"/>
                <a:gd name="connsiteX470" fmla="*/ 14296 w 1696388"/>
                <a:gd name="connsiteY470" fmla="*/ 614702 h 1686854"/>
                <a:gd name="connsiteX471" fmla="*/ 9532 w 1696388"/>
                <a:gd name="connsiteY471" fmla="*/ 614702 h 1686854"/>
                <a:gd name="connsiteX472" fmla="*/ 4764 w 1696388"/>
                <a:gd name="connsiteY472" fmla="*/ 609936 h 1686854"/>
                <a:gd name="connsiteX473" fmla="*/ 0 w 1696388"/>
                <a:gd name="connsiteY473" fmla="*/ 609936 h 1686854"/>
                <a:gd name="connsiteX474" fmla="*/ 4764 w 1696388"/>
                <a:gd name="connsiteY474" fmla="*/ 605172 h 1686854"/>
                <a:gd name="connsiteX475" fmla="*/ 4764 w 1696388"/>
                <a:gd name="connsiteY475" fmla="*/ 590876 h 1686854"/>
                <a:gd name="connsiteX476" fmla="*/ 9532 w 1696388"/>
                <a:gd name="connsiteY476" fmla="*/ 547990 h 1686854"/>
                <a:gd name="connsiteX477" fmla="*/ 9532 w 1696388"/>
                <a:gd name="connsiteY477" fmla="*/ 538460 h 1686854"/>
                <a:gd name="connsiteX478" fmla="*/ 19060 w 1696388"/>
                <a:gd name="connsiteY478" fmla="*/ 538460 h 1686854"/>
                <a:gd name="connsiteX479" fmla="*/ 28592 w 1696388"/>
                <a:gd name="connsiteY479" fmla="*/ 533694 h 1686854"/>
                <a:gd name="connsiteX480" fmla="*/ 57180 w 1696388"/>
                <a:gd name="connsiteY480" fmla="*/ 519398 h 1686854"/>
                <a:gd name="connsiteX481" fmla="*/ 85772 w 1696388"/>
                <a:gd name="connsiteY481" fmla="*/ 481278 h 1686854"/>
                <a:gd name="connsiteX482" fmla="*/ 95304 w 1696388"/>
                <a:gd name="connsiteY482" fmla="*/ 466982 h 1686854"/>
                <a:gd name="connsiteX483" fmla="*/ 104832 w 1696388"/>
                <a:gd name="connsiteY483" fmla="*/ 447922 h 1686854"/>
                <a:gd name="connsiteX484" fmla="*/ 119128 w 1696388"/>
                <a:gd name="connsiteY484" fmla="*/ 433626 h 1686854"/>
                <a:gd name="connsiteX485" fmla="*/ 123892 w 1696388"/>
                <a:gd name="connsiteY485" fmla="*/ 428862 h 1686854"/>
                <a:gd name="connsiteX486" fmla="*/ 128660 w 1696388"/>
                <a:gd name="connsiteY486" fmla="*/ 414566 h 1686854"/>
                <a:gd name="connsiteX487" fmla="*/ 128660 w 1696388"/>
                <a:gd name="connsiteY487" fmla="*/ 405036 h 1686854"/>
                <a:gd name="connsiteX488" fmla="*/ 147720 w 1696388"/>
                <a:gd name="connsiteY488" fmla="*/ 390740 h 1686854"/>
                <a:gd name="connsiteX489" fmla="*/ 162016 w 1696388"/>
                <a:gd name="connsiteY489" fmla="*/ 376446 h 1686854"/>
                <a:gd name="connsiteX490" fmla="*/ 162016 w 1696388"/>
                <a:gd name="connsiteY490" fmla="*/ 371680 h 1686854"/>
                <a:gd name="connsiteX491" fmla="*/ 162016 w 1696388"/>
                <a:gd name="connsiteY491" fmla="*/ 366914 h 1686854"/>
                <a:gd name="connsiteX492" fmla="*/ 171544 w 1696388"/>
                <a:gd name="connsiteY492" fmla="*/ 362150 h 1686854"/>
                <a:gd name="connsiteX493" fmla="*/ 185840 w 1696388"/>
                <a:gd name="connsiteY493" fmla="*/ 357384 h 1686854"/>
                <a:gd name="connsiteX494" fmla="*/ 190604 w 1696388"/>
                <a:gd name="connsiteY494" fmla="*/ 343090 h 1686854"/>
                <a:gd name="connsiteX495" fmla="*/ 190604 w 1696388"/>
                <a:gd name="connsiteY495" fmla="*/ 328794 h 1686854"/>
                <a:gd name="connsiteX496" fmla="*/ 185840 w 1696388"/>
                <a:gd name="connsiteY496" fmla="*/ 324028 h 1686854"/>
                <a:gd name="connsiteX497" fmla="*/ 190604 w 1696388"/>
                <a:gd name="connsiteY497" fmla="*/ 314498 h 1686854"/>
                <a:gd name="connsiteX498" fmla="*/ 185840 w 1696388"/>
                <a:gd name="connsiteY498" fmla="*/ 309734 h 1686854"/>
                <a:gd name="connsiteX499" fmla="*/ 176308 w 1696388"/>
                <a:gd name="connsiteY499" fmla="*/ 309734 h 1686854"/>
                <a:gd name="connsiteX500" fmla="*/ 157248 w 1696388"/>
                <a:gd name="connsiteY500" fmla="*/ 304968 h 1686854"/>
                <a:gd name="connsiteX501" fmla="*/ 142952 w 1696388"/>
                <a:gd name="connsiteY501" fmla="*/ 300202 h 1686854"/>
                <a:gd name="connsiteX502" fmla="*/ 133424 w 1696388"/>
                <a:gd name="connsiteY502" fmla="*/ 295438 h 1686854"/>
                <a:gd name="connsiteX503" fmla="*/ 133424 w 1696388"/>
                <a:gd name="connsiteY503" fmla="*/ 290672 h 1686854"/>
                <a:gd name="connsiteX504" fmla="*/ 128660 w 1696388"/>
                <a:gd name="connsiteY504" fmla="*/ 285908 h 1686854"/>
                <a:gd name="connsiteX505" fmla="*/ 133424 w 1696388"/>
                <a:gd name="connsiteY505" fmla="*/ 276378 h 1686854"/>
                <a:gd name="connsiteX506" fmla="*/ 138188 w 1696388"/>
                <a:gd name="connsiteY506" fmla="*/ 266848 h 1686854"/>
                <a:gd name="connsiteX507" fmla="*/ 133424 w 1696388"/>
                <a:gd name="connsiteY507" fmla="*/ 257316 h 1686854"/>
                <a:gd name="connsiteX508" fmla="*/ 128660 w 1696388"/>
                <a:gd name="connsiteY508" fmla="*/ 257316 h 1686854"/>
                <a:gd name="connsiteX509" fmla="*/ 133424 w 1696388"/>
                <a:gd name="connsiteY509" fmla="*/ 252552 h 1686854"/>
                <a:gd name="connsiteX510" fmla="*/ 147720 w 1696388"/>
                <a:gd name="connsiteY510" fmla="*/ 223960 h 1686854"/>
                <a:gd name="connsiteX511" fmla="*/ 152484 w 1696388"/>
                <a:gd name="connsiteY511" fmla="*/ 219196 h 1686854"/>
                <a:gd name="connsiteX512" fmla="*/ 157248 w 1696388"/>
                <a:gd name="connsiteY512" fmla="*/ 219196 h 1686854"/>
                <a:gd name="connsiteX513" fmla="*/ 166780 w 1696388"/>
                <a:gd name="connsiteY513" fmla="*/ 214430 h 1686854"/>
                <a:gd name="connsiteX514" fmla="*/ 176308 w 1696388"/>
                <a:gd name="connsiteY514" fmla="*/ 214430 h 1686854"/>
                <a:gd name="connsiteX515" fmla="*/ 181076 w 1696388"/>
                <a:gd name="connsiteY515" fmla="*/ 214430 h 1686854"/>
                <a:gd name="connsiteX516" fmla="*/ 190604 w 1696388"/>
                <a:gd name="connsiteY516" fmla="*/ 214430 h 1686854"/>
                <a:gd name="connsiteX517" fmla="*/ 195372 w 1696388"/>
                <a:gd name="connsiteY517" fmla="*/ 209666 h 1686854"/>
                <a:gd name="connsiteX518" fmla="*/ 195372 w 1696388"/>
                <a:gd name="connsiteY518" fmla="*/ 200136 h 1686854"/>
                <a:gd name="connsiteX519" fmla="*/ 200136 w 1696388"/>
                <a:gd name="connsiteY519" fmla="*/ 181074 h 1686854"/>
                <a:gd name="connsiteX520" fmla="*/ 200136 w 1696388"/>
                <a:gd name="connsiteY520" fmla="*/ 162014 h 1686854"/>
                <a:gd name="connsiteX521" fmla="*/ 190604 w 1696388"/>
                <a:gd name="connsiteY521" fmla="*/ 152484 h 1686854"/>
                <a:gd name="connsiteX522" fmla="*/ 190604 w 1696388"/>
                <a:gd name="connsiteY522" fmla="*/ 133424 h 1686854"/>
                <a:gd name="connsiteX523" fmla="*/ 195372 w 1696388"/>
                <a:gd name="connsiteY523" fmla="*/ 109598 h 1686854"/>
                <a:gd name="connsiteX524" fmla="*/ 190604 w 1696388"/>
                <a:gd name="connsiteY524" fmla="*/ 85772 h 1686854"/>
                <a:gd name="connsiteX525" fmla="*/ 181076 w 1696388"/>
                <a:gd name="connsiteY525" fmla="*/ 71476 h 1686854"/>
                <a:gd name="connsiteX526" fmla="*/ 176308 w 1696388"/>
                <a:gd name="connsiteY526" fmla="*/ 61946 h 1686854"/>
                <a:gd name="connsiteX527" fmla="*/ 162016 w 1696388"/>
                <a:gd name="connsiteY527" fmla="*/ 57182 h 1686854"/>
                <a:gd name="connsiteX528" fmla="*/ 142952 w 1696388"/>
                <a:gd name="connsiteY528" fmla="*/ 33356 h 1686854"/>
                <a:gd name="connsiteX529" fmla="*/ 138188 w 1696388"/>
                <a:gd name="connsiteY529" fmla="*/ 19060 h 1686854"/>
                <a:gd name="connsiteX530" fmla="*/ 138188 w 1696388"/>
                <a:gd name="connsiteY530" fmla="*/ 14296 h 1686854"/>
                <a:gd name="connsiteX531" fmla="*/ 142952 w 1696388"/>
                <a:gd name="connsiteY531" fmla="*/ 9530 h 1686854"/>
                <a:gd name="connsiteX532" fmla="*/ 157248 w 1696388"/>
                <a:gd name="connsiteY532" fmla="*/ 9530 h 1686854"/>
                <a:gd name="connsiteX533" fmla="*/ 166780 w 1696388"/>
                <a:gd name="connsiteY533" fmla="*/ 9530 h 1686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</a:cxnLst>
              <a:rect l="l" t="t" r="r" b="b"/>
              <a:pathLst>
                <a:path w="1696388" h="1686854">
                  <a:moveTo>
                    <a:pt x="1610612" y="1043562"/>
                  </a:moveTo>
                  <a:lnTo>
                    <a:pt x="1610612" y="1053094"/>
                  </a:lnTo>
                  <a:lnTo>
                    <a:pt x="1596316" y="1081684"/>
                  </a:lnTo>
                  <a:lnTo>
                    <a:pt x="1586788" y="1081684"/>
                  </a:lnTo>
                  <a:lnTo>
                    <a:pt x="1582024" y="1095978"/>
                  </a:lnTo>
                  <a:lnTo>
                    <a:pt x="1572492" y="1095978"/>
                  </a:lnTo>
                  <a:lnTo>
                    <a:pt x="1567728" y="1095978"/>
                  </a:lnTo>
                  <a:lnTo>
                    <a:pt x="1562964" y="1086448"/>
                  </a:lnTo>
                  <a:lnTo>
                    <a:pt x="1572492" y="1081684"/>
                  </a:lnTo>
                  <a:lnTo>
                    <a:pt x="1582024" y="1072154"/>
                  </a:lnTo>
                  <a:lnTo>
                    <a:pt x="1601084" y="1053094"/>
                  </a:lnTo>
                  <a:close/>
                  <a:moveTo>
                    <a:pt x="1520076" y="738594"/>
                  </a:moveTo>
                  <a:lnTo>
                    <a:pt x="1524840" y="752890"/>
                  </a:lnTo>
                  <a:lnTo>
                    <a:pt x="1524840" y="776716"/>
                  </a:lnTo>
                  <a:lnTo>
                    <a:pt x="1539136" y="800542"/>
                  </a:lnTo>
                  <a:lnTo>
                    <a:pt x="1543904" y="810072"/>
                  </a:lnTo>
                  <a:lnTo>
                    <a:pt x="1548668" y="810072"/>
                  </a:lnTo>
                  <a:lnTo>
                    <a:pt x="1558196" y="843428"/>
                  </a:lnTo>
                  <a:lnTo>
                    <a:pt x="1558196" y="848192"/>
                  </a:lnTo>
                  <a:lnTo>
                    <a:pt x="1548668" y="852958"/>
                  </a:lnTo>
                  <a:lnTo>
                    <a:pt x="1543904" y="852958"/>
                  </a:lnTo>
                  <a:lnTo>
                    <a:pt x="1539136" y="848192"/>
                  </a:lnTo>
                  <a:lnTo>
                    <a:pt x="1534372" y="838662"/>
                  </a:lnTo>
                  <a:lnTo>
                    <a:pt x="1529608" y="838662"/>
                  </a:lnTo>
                  <a:lnTo>
                    <a:pt x="1520076" y="829132"/>
                  </a:lnTo>
                  <a:lnTo>
                    <a:pt x="1505780" y="824368"/>
                  </a:lnTo>
                  <a:lnTo>
                    <a:pt x="1496252" y="810072"/>
                  </a:lnTo>
                  <a:lnTo>
                    <a:pt x="1501016" y="795776"/>
                  </a:lnTo>
                  <a:lnTo>
                    <a:pt x="1501016" y="771950"/>
                  </a:lnTo>
                  <a:lnTo>
                    <a:pt x="1510548" y="757656"/>
                  </a:lnTo>
                  <a:close/>
                  <a:moveTo>
                    <a:pt x="1605848" y="609938"/>
                  </a:moveTo>
                  <a:lnTo>
                    <a:pt x="1605848" y="619468"/>
                  </a:lnTo>
                  <a:lnTo>
                    <a:pt x="1601084" y="628998"/>
                  </a:lnTo>
                  <a:lnTo>
                    <a:pt x="1605848" y="648058"/>
                  </a:lnTo>
                  <a:lnTo>
                    <a:pt x="1601084" y="667118"/>
                  </a:lnTo>
                  <a:lnTo>
                    <a:pt x="1596320" y="686178"/>
                  </a:lnTo>
                  <a:lnTo>
                    <a:pt x="1586788" y="695710"/>
                  </a:lnTo>
                  <a:lnTo>
                    <a:pt x="1582024" y="690944"/>
                  </a:lnTo>
                  <a:lnTo>
                    <a:pt x="1577260" y="690944"/>
                  </a:lnTo>
                  <a:lnTo>
                    <a:pt x="1572492" y="686178"/>
                  </a:lnTo>
                  <a:lnTo>
                    <a:pt x="1577260" y="643292"/>
                  </a:lnTo>
                  <a:lnTo>
                    <a:pt x="1577260" y="614702"/>
                  </a:lnTo>
                  <a:lnTo>
                    <a:pt x="1591552" y="619468"/>
                  </a:lnTo>
                  <a:close/>
                  <a:moveTo>
                    <a:pt x="347856" y="185840"/>
                  </a:moveTo>
                  <a:lnTo>
                    <a:pt x="352620" y="190606"/>
                  </a:lnTo>
                  <a:lnTo>
                    <a:pt x="357384" y="200136"/>
                  </a:lnTo>
                  <a:lnTo>
                    <a:pt x="362152" y="200136"/>
                  </a:lnTo>
                  <a:lnTo>
                    <a:pt x="371680" y="200136"/>
                  </a:lnTo>
                  <a:lnTo>
                    <a:pt x="381212" y="195370"/>
                  </a:lnTo>
                  <a:lnTo>
                    <a:pt x="385976" y="200136"/>
                  </a:lnTo>
                  <a:lnTo>
                    <a:pt x="385976" y="209666"/>
                  </a:lnTo>
                  <a:lnTo>
                    <a:pt x="381212" y="209666"/>
                  </a:lnTo>
                  <a:lnTo>
                    <a:pt x="371680" y="214430"/>
                  </a:lnTo>
                  <a:lnTo>
                    <a:pt x="362152" y="214430"/>
                  </a:lnTo>
                  <a:lnTo>
                    <a:pt x="362152" y="223960"/>
                  </a:lnTo>
                  <a:lnTo>
                    <a:pt x="352620" y="228726"/>
                  </a:lnTo>
                  <a:lnTo>
                    <a:pt x="352620" y="214430"/>
                  </a:lnTo>
                  <a:lnTo>
                    <a:pt x="343092" y="204900"/>
                  </a:lnTo>
                  <a:lnTo>
                    <a:pt x="343092" y="195370"/>
                  </a:lnTo>
                  <a:close/>
                  <a:moveTo>
                    <a:pt x="514636" y="142954"/>
                  </a:moveTo>
                  <a:lnTo>
                    <a:pt x="524164" y="142954"/>
                  </a:lnTo>
                  <a:lnTo>
                    <a:pt x="528928" y="152484"/>
                  </a:lnTo>
                  <a:lnTo>
                    <a:pt x="538460" y="152484"/>
                  </a:lnTo>
                  <a:lnTo>
                    <a:pt x="547992" y="152484"/>
                  </a:lnTo>
                  <a:lnTo>
                    <a:pt x="552756" y="157250"/>
                  </a:lnTo>
                  <a:lnTo>
                    <a:pt x="552756" y="166780"/>
                  </a:lnTo>
                  <a:lnTo>
                    <a:pt x="562284" y="176310"/>
                  </a:lnTo>
                  <a:lnTo>
                    <a:pt x="557520" y="181074"/>
                  </a:lnTo>
                  <a:lnTo>
                    <a:pt x="552756" y="181074"/>
                  </a:lnTo>
                  <a:lnTo>
                    <a:pt x="543224" y="176310"/>
                  </a:lnTo>
                  <a:lnTo>
                    <a:pt x="528928" y="171544"/>
                  </a:lnTo>
                  <a:lnTo>
                    <a:pt x="514636" y="171544"/>
                  </a:lnTo>
                  <a:lnTo>
                    <a:pt x="509868" y="166780"/>
                  </a:lnTo>
                  <a:lnTo>
                    <a:pt x="509868" y="152484"/>
                  </a:lnTo>
                  <a:lnTo>
                    <a:pt x="505104" y="147720"/>
                  </a:lnTo>
                  <a:close/>
                  <a:moveTo>
                    <a:pt x="181076" y="0"/>
                  </a:moveTo>
                  <a:lnTo>
                    <a:pt x="190604" y="0"/>
                  </a:lnTo>
                  <a:lnTo>
                    <a:pt x="195372" y="0"/>
                  </a:lnTo>
                  <a:lnTo>
                    <a:pt x="343092" y="0"/>
                  </a:lnTo>
                  <a:lnTo>
                    <a:pt x="347856" y="4766"/>
                  </a:lnTo>
                  <a:lnTo>
                    <a:pt x="352620" y="4766"/>
                  </a:lnTo>
                  <a:lnTo>
                    <a:pt x="352620" y="14296"/>
                  </a:lnTo>
                  <a:lnTo>
                    <a:pt x="347856" y="57182"/>
                  </a:lnTo>
                  <a:lnTo>
                    <a:pt x="347856" y="66712"/>
                  </a:lnTo>
                  <a:lnTo>
                    <a:pt x="338324" y="76242"/>
                  </a:lnTo>
                  <a:lnTo>
                    <a:pt x="324028" y="147718"/>
                  </a:lnTo>
                  <a:lnTo>
                    <a:pt x="324028" y="157250"/>
                  </a:lnTo>
                  <a:lnTo>
                    <a:pt x="324028" y="166780"/>
                  </a:lnTo>
                  <a:lnTo>
                    <a:pt x="324028" y="200136"/>
                  </a:lnTo>
                  <a:lnTo>
                    <a:pt x="328796" y="209666"/>
                  </a:lnTo>
                  <a:lnTo>
                    <a:pt x="333560" y="209666"/>
                  </a:lnTo>
                  <a:lnTo>
                    <a:pt x="338324" y="219196"/>
                  </a:lnTo>
                  <a:lnTo>
                    <a:pt x="343092" y="223960"/>
                  </a:lnTo>
                  <a:lnTo>
                    <a:pt x="343092" y="228726"/>
                  </a:lnTo>
                  <a:lnTo>
                    <a:pt x="333560" y="238256"/>
                  </a:lnTo>
                  <a:lnTo>
                    <a:pt x="333560" y="243022"/>
                  </a:lnTo>
                  <a:lnTo>
                    <a:pt x="338324" y="247786"/>
                  </a:lnTo>
                  <a:lnTo>
                    <a:pt x="347856" y="252552"/>
                  </a:lnTo>
                  <a:lnTo>
                    <a:pt x="343092" y="266848"/>
                  </a:lnTo>
                  <a:lnTo>
                    <a:pt x="343092" y="271612"/>
                  </a:lnTo>
                  <a:lnTo>
                    <a:pt x="343092" y="281142"/>
                  </a:lnTo>
                  <a:lnTo>
                    <a:pt x="347856" y="281142"/>
                  </a:lnTo>
                  <a:lnTo>
                    <a:pt x="352620" y="266848"/>
                  </a:lnTo>
                  <a:lnTo>
                    <a:pt x="357384" y="266848"/>
                  </a:lnTo>
                  <a:lnTo>
                    <a:pt x="362152" y="262082"/>
                  </a:lnTo>
                  <a:lnTo>
                    <a:pt x="371680" y="276378"/>
                  </a:lnTo>
                  <a:lnTo>
                    <a:pt x="376444" y="276378"/>
                  </a:lnTo>
                  <a:lnTo>
                    <a:pt x="371680" y="262082"/>
                  </a:lnTo>
                  <a:lnTo>
                    <a:pt x="371680" y="252552"/>
                  </a:lnTo>
                  <a:lnTo>
                    <a:pt x="371680" y="243022"/>
                  </a:lnTo>
                  <a:lnTo>
                    <a:pt x="381212" y="238256"/>
                  </a:lnTo>
                  <a:lnTo>
                    <a:pt x="395508" y="238256"/>
                  </a:lnTo>
                  <a:lnTo>
                    <a:pt x="400272" y="238256"/>
                  </a:lnTo>
                  <a:lnTo>
                    <a:pt x="400272" y="233492"/>
                  </a:lnTo>
                  <a:lnTo>
                    <a:pt x="390740" y="219196"/>
                  </a:lnTo>
                  <a:lnTo>
                    <a:pt x="395508" y="214430"/>
                  </a:lnTo>
                  <a:lnTo>
                    <a:pt x="405036" y="214430"/>
                  </a:lnTo>
                  <a:lnTo>
                    <a:pt x="409800" y="204900"/>
                  </a:lnTo>
                  <a:lnTo>
                    <a:pt x="414568" y="200136"/>
                  </a:lnTo>
                  <a:lnTo>
                    <a:pt x="419332" y="200136"/>
                  </a:lnTo>
                  <a:lnTo>
                    <a:pt x="424096" y="204900"/>
                  </a:lnTo>
                  <a:lnTo>
                    <a:pt x="433628" y="219196"/>
                  </a:lnTo>
                  <a:lnTo>
                    <a:pt x="438392" y="223960"/>
                  </a:lnTo>
                  <a:lnTo>
                    <a:pt x="443156" y="223960"/>
                  </a:lnTo>
                  <a:lnTo>
                    <a:pt x="457452" y="228726"/>
                  </a:lnTo>
                  <a:lnTo>
                    <a:pt x="462220" y="228726"/>
                  </a:lnTo>
                  <a:lnTo>
                    <a:pt x="462220" y="233492"/>
                  </a:lnTo>
                  <a:lnTo>
                    <a:pt x="462220" y="238256"/>
                  </a:lnTo>
                  <a:lnTo>
                    <a:pt x="476512" y="223960"/>
                  </a:lnTo>
                  <a:lnTo>
                    <a:pt x="481280" y="228726"/>
                  </a:lnTo>
                  <a:lnTo>
                    <a:pt x="481280" y="233492"/>
                  </a:lnTo>
                  <a:lnTo>
                    <a:pt x="486044" y="233492"/>
                  </a:lnTo>
                  <a:lnTo>
                    <a:pt x="495576" y="238256"/>
                  </a:lnTo>
                  <a:lnTo>
                    <a:pt x="505104" y="238256"/>
                  </a:lnTo>
                  <a:lnTo>
                    <a:pt x="505104" y="243022"/>
                  </a:lnTo>
                  <a:lnTo>
                    <a:pt x="505104" y="257316"/>
                  </a:lnTo>
                  <a:lnTo>
                    <a:pt x="509868" y="276378"/>
                  </a:lnTo>
                  <a:lnTo>
                    <a:pt x="509868" y="281142"/>
                  </a:lnTo>
                  <a:lnTo>
                    <a:pt x="495576" y="290672"/>
                  </a:lnTo>
                  <a:lnTo>
                    <a:pt x="495576" y="300202"/>
                  </a:lnTo>
                  <a:lnTo>
                    <a:pt x="495576" y="309734"/>
                  </a:lnTo>
                  <a:lnTo>
                    <a:pt x="500340" y="309734"/>
                  </a:lnTo>
                  <a:lnTo>
                    <a:pt x="514636" y="290672"/>
                  </a:lnTo>
                  <a:lnTo>
                    <a:pt x="524164" y="290672"/>
                  </a:lnTo>
                  <a:lnTo>
                    <a:pt x="524164" y="285908"/>
                  </a:lnTo>
                  <a:lnTo>
                    <a:pt x="514636" y="262082"/>
                  </a:lnTo>
                  <a:lnTo>
                    <a:pt x="514636" y="233492"/>
                  </a:lnTo>
                  <a:lnTo>
                    <a:pt x="519400" y="228726"/>
                  </a:lnTo>
                  <a:lnTo>
                    <a:pt x="524164" y="223960"/>
                  </a:lnTo>
                  <a:lnTo>
                    <a:pt x="533696" y="219196"/>
                  </a:lnTo>
                  <a:lnTo>
                    <a:pt x="543224" y="219196"/>
                  </a:lnTo>
                  <a:lnTo>
                    <a:pt x="567052" y="233492"/>
                  </a:lnTo>
                  <a:lnTo>
                    <a:pt x="595640" y="238256"/>
                  </a:lnTo>
                  <a:lnTo>
                    <a:pt x="600408" y="238256"/>
                  </a:lnTo>
                  <a:lnTo>
                    <a:pt x="600408" y="233492"/>
                  </a:lnTo>
                  <a:lnTo>
                    <a:pt x="600408" y="228726"/>
                  </a:lnTo>
                  <a:lnTo>
                    <a:pt x="614704" y="223960"/>
                  </a:lnTo>
                  <a:lnTo>
                    <a:pt x="624232" y="209666"/>
                  </a:lnTo>
                  <a:lnTo>
                    <a:pt x="652824" y="195370"/>
                  </a:lnTo>
                  <a:lnTo>
                    <a:pt x="657588" y="185840"/>
                  </a:lnTo>
                  <a:lnTo>
                    <a:pt x="657588" y="181074"/>
                  </a:lnTo>
                  <a:lnTo>
                    <a:pt x="657588" y="176310"/>
                  </a:lnTo>
                  <a:lnTo>
                    <a:pt x="648060" y="171544"/>
                  </a:lnTo>
                  <a:lnTo>
                    <a:pt x="624232" y="181074"/>
                  </a:lnTo>
                  <a:lnTo>
                    <a:pt x="614704" y="181074"/>
                  </a:lnTo>
                  <a:lnTo>
                    <a:pt x="576580" y="176310"/>
                  </a:lnTo>
                  <a:lnTo>
                    <a:pt x="567052" y="171544"/>
                  </a:lnTo>
                  <a:lnTo>
                    <a:pt x="567052" y="166780"/>
                  </a:lnTo>
                  <a:lnTo>
                    <a:pt x="581348" y="162014"/>
                  </a:lnTo>
                  <a:lnTo>
                    <a:pt x="590876" y="162014"/>
                  </a:lnTo>
                  <a:lnTo>
                    <a:pt x="595640" y="157250"/>
                  </a:lnTo>
                  <a:lnTo>
                    <a:pt x="614704" y="157250"/>
                  </a:lnTo>
                  <a:lnTo>
                    <a:pt x="614704" y="152484"/>
                  </a:lnTo>
                  <a:lnTo>
                    <a:pt x="609936" y="147718"/>
                  </a:lnTo>
                  <a:lnTo>
                    <a:pt x="605172" y="142954"/>
                  </a:lnTo>
                  <a:lnTo>
                    <a:pt x="600408" y="142954"/>
                  </a:lnTo>
                  <a:lnTo>
                    <a:pt x="581348" y="142954"/>
                  </a:lnTo>
                  <a:lnTo>
                    <a:pt x="586112" y="133424"/>
                  </a:lnTo>
                  <a:lnTo>
                    <a:pt x="590876" y="128658"/>
                  </a:lnTo>
                  <a:lnTo>
                    <a:pt x="595640" y="128658"/>
                  </a:lnTo>
                  <a:lnTo>
                    <a:pt x="609936" y="128658"/>
                  </a:lnTo>
                  <a:lnTo>
                    <a:pt x="619468" y="123894"/>
                  </a:lnTo>
                  <a:lnTo>
                    <a:pt x="624232" y="119128"/>
                  </a:lnTo>
                  <a:lnTo>
                    <a:pt x="624232" y="109598"/>
                  </a:lnTo>
                  <a:lnTo>
                    <a:pt x="638528" y="100068"/>
                  </a:lnTo>
                  <a:lnTo>
                    <a:pt x="638528" y="95302"/>
                  </a:lnTo>
                  <a:lnTo>
                    <a:pt x="633764" y="90538"/>
                  </a:lnTo>
                  <a:lnTo>
                    <a:pt x="638528" y="81008"/>
                  </a:lnTo>
                  <a:lnTo>
                    <a:pt x="638528" y="76242"/>
                  </a:lnTo>
                  <a:lnTo>
                    <a:pt x="648060" y="76242"/>
                  </a:lnTo>
                  <a:lnTo>
                    <a:pt x="657588" y="76242"/>
                  </a:lnTo>
                  <a:lnTo>
                    <a:pt x="671884" y="81008"/>
                  </a:lnTo>
                  <a:lnTo>
                    <a:pt x="676648" y="81008"/>
                  </a:lnTo>
                  <a:lnTo>
                    <a:pt x="676648" y="76242"/>
                  </a:lnTo>
                  <a:lnTo>
                    <a:pt x="662352" y="66712"/>
                  </a:lnTo>
                  <a:lnTo>
                    <a:pt x="657588" y="61946"/>
                  </a:lnTo>
                  <a:lnTo>
                    <a:pt x="662352" y="61946"/>
                  </a:lnTo>
                  <a:lnTo>
                    <a:pt x="662352" y="57182"/>
                  </a:lnTo>
                  <a:lnTo>
                    <a:pt x="662352" y="52416"/>
                  </a:lnTo>
                  <a:lnTo>
                    <a:pt x="681416" y="52416"/>
                  </a:lnTo>
                  <a:lnTo>
                    <a:pt x="676648" y="42886"/>
                  </a:lnTo>
                  <a:lnTo>
                    <a:pt x="671884" y="38122"/>
                  </a:lnTo>
                  <a:lnTo>
                    <a:pt x="676648" y="28590"/>
                  </a:lnTo>
                  <a:lnTo>
                    <a:pt x="695708" y="4766"/>
                  </a:lnTo>
                  <a:lnTo>
                    <a:pt x="710004" y="14296"/>
                  </a:lnTo>
                  <a:lnTo>
                    <a:pt x="743360" y="33356"/>
                  </a:lnTo>
                  <a:lnTo>
                    <a:pt x="776716" y="52416"/>
                  </a:lnTo>
                  <a:lnTo>
                    <a:pt x="810072" y="71476"/>
                  </a:lnTo>
                  <a:lnTo>
                    <a:pt x="876784" y="104832"/>
                  </a:lnTo>
                  <a:lnTo>
                    <a:pt x="910140" y="123894"/>
                  </a:lnTo>
                  <a:lnTo>
                    <a:pt x="976852" y="162014"/>
                  </a:lnTo>
                  <a:lnTo>
                    <a:pt x="1010208" y="181074"/>
                  </a:lnTo>
                  <a:lnTo>
                    <a:pt x="1043564" y="200136"/>
                  </a:lnTo>
                  <a:lnTo>
                    <a:pt x="1076920" y="219196"/>
                  </a:lnTo>
                  <a:lnTo>
                    <a:pt x="1110276" y="238256"/>
                  </a:lnTo>
                  <a:lnTo>
                    <a:pt x="1143632" y="257316"/>
                  </a:lnTo>
                  <a:lnTo>
                    <a:pt x="1176988" y="276378"/>
                  </a:lnTo>
                  <a:lnTo>
                    <a:pt x="1210344" y="290672"/>
                  </a:lnTo>
                  <a:lnTo>
                    <a:pt x="1243700" y="309734"/>
                  </a:lnTo>
                  <a:lnTo>
                    <a:pt x="1257996" y="319264"/>
                  </a:lnTo>
                  <a:lnTo>
                    <a:pt x="1262760" y="324028"/>
                  </a:lnTo>
                  <a:lnTo>
                    <a:pt x="1262760" y="338324"/>
                  </a:lnTo>
                  <a:lnTo>
                    <a:pt x="1262760" y="352620"/>
                  </a:lnTo>
                  <a:lnTo>
                    <a:pt x="1262760" y="362150"/>
                  </a:lnTo>
                  <a:lnTo>
                    <a:pt x="1253228" y="376446"/>
                  </a:lnTo>
                  <a:lnTo>
                    <a:pt x="1253228" y="385976"/>
                  </a:lnTo>
                  <a:lnTo>
                    <a:pt x="1253228" y="390740"/>
                  </a:lnTo>
                  <a:lnTo>
                    <a:pt x="1262760" y="395506"/>
                  </a:lnTo>
                  <a:lnTo>
                    <a:pt x="1267524" y="395506"/>
                  </a:lnTo>
                  <a:lnTo>
                    <a:pt x="1272288" y="400270"/>
                  </a:lnTo>
                  <a:lnTo>
                    <a:pt x="1277056" y="414566"/>
                  </a:lnTo>
                  <a:lnTo>
                    <a:pt x="1281820" y="419332"/>
                  </a:lnTo>
                  <a:lnTo>
                    <a:pt x="1296116" y="428862"/>
                  </a:lnTo>
                  <a:lnTo>
                    <a:pt x="1319940" y="443156"/>
                  </a:lnTo>
                  <a:lnTo>
                    <a:pt x="1367592" y="481278"/>
                  </a:lnTo>
                  <a:lnTo>
                    <a:pt x="1391416" y="495574"/>
                  </a:lnTo>
                  <a:lnTo>
                    <a:pt x="1415244" y="514634"/>
                  </a:lnTo>
                  <a:lnTo>
                    <a:pt x="1439068" y="533694"/>
                  </a:lnTo>
                  <a:lnTo>
                    <a:pt x="1462896" y="547990"/>
                  </a:lnTo>
                  <a:lnTo>
                    <a:pt x="1501016" y="576580"/>
                  </a:lnTo>
                  <a:lnTo>
                    <a:pt x="1505780" y="576580"/>
                  </a:lnTo>
                  <a:lnTo>
                    <a:pt x="1501016" y="590876"/>
                  </a:lnTo>
                  <a:lnTo>
                    <a:pt x="1486720" y="624232"/>
                  </a:lnTo>
                  <a:lnTo>
                    <a:pt x="1486720" y="633762"/>
                  </a:lnTo>
                  <a:lnTo>
                    <a:pt x="1481956" y="652822"/>
                  </a:lnTo>
                  <a:lnTo>
                    <a:pt x="1477192" y="662352"/>
                  </a:lnTo>
                  <a:lnTo>
                    <a:pt x="1467660" y="705238"/>
                  </a:lnTo>
                  <a:lnTo>
                    <a:pt x="1458128" y="724300"/>
                  </a:lnTo>
                  <a:lnTo>
                    <a:pt x="1439068" y="762420"/>
                  </a:lnTo>
                  <a:lnTo>
                    <a:pt x="1439068" y="795776"/>
                  </a:lnTo>
                  <a:lnTo>
                    <a:pt x="1448600" y="814836"/>
                  </a:lnTo>
                  <a:lnTo>
                    <a:pt x="1448600" y="833898"/>
                  </a:lnTo>
                  <a:lnTo>
                    <a:pt x="1467660" y="852958"/>
                  </a:lnTo>
                  <a:lnTo>
                    <a:pt x="1481956" y="862488"/>
                  </a:lnTo>
                  <a:lnTo>
                    <a:pt x="1486720" y="872018"/>
                  </a:lnTo>
                  <a:lnTo>
                    <a:pt x="1505780" y="891078"/>
                  </a:lnTo>
                  <a:lnTo>
                    <a:pt x="1515312" y="910140"/>
                  </a:lnTo>
                  <a:lnTo>
                    <a:pt x="1543900" y="919670"/>
                  </a:lnTo>
                  <a:lnTo>
                    <a:pt x="1553432" y="943496"/>
                  </a:lnTo>
                  <a:lnTo>
                    <a:pt x="1548668" y="957790"/>
                  </a:lnTo>
                  <a:lnTo>
                    <a:pt x="1539136" y="972086"/>
                  </a:lnTo>
                  <a:lnTo>
                    <a:pt x="1524840" y="995912"/>
                  </a:lnTo>
                  <a:lnTo>
                    <a:pt x="1515312" y="1019738"/>
                  </a:lnTo>
                  <a:lnTo>
                    <a:pt x="1515312" y="1062624"/>
                  </a:lnTo>
                  <a:lnTo>
                    <a:pt x="1520076" y="1057858"/>
                  </a:lnTo>
                  <a:lnTo>
                    <a:pt x="1534372" y="1067388"/>
                  </a:lnTo>
                  <a:lnTo>
                    <a:pt x="1539136" y="1100744"/>
                  </a:lnTo>
                  <a:lnTo>
                    <a:pt x="1524840" y="1134100"/>
                  </a:lnTo>
                  <a:lnTo>
                    <a:pt x="1520076" y="1153160"/>
                  </a:lnTo>
                  <a:lnTo>
                    <a:pt x="1515312" y="1167456"/>
                  </a:lnTo>
                  <a:lnTo>
                    <a:pt x="1529608" y="1210342"/>
                  </a:lnTo>
                  <a:lnTo>
                    <a:pt x="1543900" y="1234168"/>
                  </a:lnTo>
                  <a:lnTo>
                    <a:pt x="1543900" y="1238934"/>
                  </a:lnTo>
                  <a:lnTo>
                    <a:pt x="1539136" y="1248464"/>
                  </a:lnTo>
                  <a:lnTo>
                    <a:pt x="1567728" y="1286584"/>
                  </a:lnTo>
                  <a:lnTo>
                    <a:pt x="1567728" y="1319940"/>
                  </a:lnTo>
                  <a:lnTo>
                    <a:pt x="1577256" y="1348530"/>
                  </a:lnTo>
                  <a:lnTo>
                    <a:pt x="1582024" y="1372356"/>
                  </a:lnTo>
                  <a:lnTo>
                    <a:pt x="1591552" y="1386652"/>
                  </a:lnTo>
                  <a:lnTo>
                    <a:pt x="1591552" y="1400948"/>
                  </a:lnTo>
                  <a:lnTo>
                    <a:pt x="1582024" y="1415242"/>
                  </a:lnTo>
                  <a:lnTo>
                    <a:pt x="1605848" y="1415242"/>
                  </a:lnTo>
                  <a:lnTo>
                    <a:pt x="1615380" y="1429538"/>
                  </a:lnTo>
                  <a:lnTo>
                    <a:pt x="1624908" y="1439068"/>
                  </a:lnTo>
                  <a:lnTo>
                    <a:pt x="1639204" y="1439068"/>
                  </a:lnTo>
                  <a:lnTo>
                    <a:pt x="1648736" y="1443834"/>
                  </a:lnTo>
                  <a:lnTo>
                    <a:pt x="1658264" y="1453364"/>
                  </a:lnTo>
                  <a:lnTo>
                    <a:pt x="1686856" y="1472424"/>
                  </a:lnTo>
                  <a:lnTo>
                    <a:pt x="1691620" y="1477190"/>
                  </a:lnTo>
                  <a:lnTo>
                    <a:pt x="1696388" y="1481954"/>
                  </a:lnTo>
                  <a:lnTo>
                    <a:pt x="1696388" y="1486720"/>
                  </a:lnTo>
                  <a:lnTo>
                    <a:pt x="1682092" y="1501014"/>
                  </a:lnTo>
                  <a:lnTo>
                    <a:pt x="1653500" y="1524840"/>
                  </a:lnTo>
                  <a:lnTo>
                    <a:pt x="1624908" y="1543902"/>
                  </a:lnTo>
                  <a:lnTo>
                    <a:pt x="1596320" y="1558196"/>
                  </a:lnTo>
                  <a:lnTo>
                    <a:pt x="1577256" y="1567726"/>
                  </a:lnTo>
                  <a:lnTo>
                    <a:pt x="1558196" y="1567726"/>
                  </a:lnTo>
                  <a:lnTo>
                    <a:pt x="1539136" y="1577258"/>
                  </a:lnTo>
                  <a:lnTo>
                    <a:pt x="1520076" y="1591552"/>
                  </a:lnTo>
                  <a:lnTo>
                    <a:pt x="1496252" y="1601082"/>
                  </a:lnTo>
                  <a:lnTo>
                    <a:pt x="1467660" y="1601082"/>
                  </a:lnTo>
                  <a:lnTo>
                    <a:pt x="1439068" y="1610614"/>
                  </a:lnTo>
                  <a:lnTo>
                    <a:pt x="1405712" y="1629674"/>
                  </a:lnTo>
                  <a:lnTo>
                    <a:pt x="1391416" y="1639204"/>
                  </a:lnTo>
                  <a:lnTo>
                    <a:pt x="1362828" y="1624908"/>
                  </a:lnTo>
                  <a:lnTo>
                    <a:pt x="1339000" y="1615378"/>
                  </a:lnTo>
                  <a:lnTo>
                    <a:pt x="1315176" y="1615378"/>
                  </a:lnTo>
                  <a:lnTo>
                    <a:pt x="1300880" y="1620144"/>
                  </a:lnTo>
                  <a:lnTo>
                    <a:pt x="1296116" y="1624908"/>
                  </a:lnTo>
                  <a:lnTo>
                    <a:pt x="1291352" y="1634438"/>
                  </a:lnTo>
                  <a:lnTo>
                    <a:pt x="1286584" y="1648734"/>
                  </a:lnTo>
                  <a:lnTo>
                    <a:pt x="1272288" y="1667794"/>
                  </a:lnTo>
                  <a:lnTo>
                    <a:pt x="1243700" y="1682090"/>
                  </a:lnTo>
                  <a:lnTo>
                    <a:pt x="1215108" y="1686854"/>
                  </a:lnTo>
                  <a:lnTo>
                    <a:pt x="1191284" y="1682090"/>
                  </a:lnTo>
                  <a:lnTo>
                    <a:pt x="1176988" y="1677324"/>
                  </a:lnTo>
                  <a:lnTo>
                    <a:pt x="1167456" y="1667794"/>
                  </a:lnTo>
                  <a:lnTo>
                    <a:pt x="1153160" y="1663030"/>
                  </a:lnTo>
                  <a:lnTo>
                    <a:pt x="1138868" y="1663030"/>
                  </a:lnTo>
                  <a:lnTo>
                    <a:pt x="1119804" y="1667794"/>
                  </a:lnTo>
                  <a:lnTo>
                    <a:pt x="1105512" y="1682090"/>
                  </a:lnTo>
                  <a:lnTo>
                    <a:pt x="1081684" y="1686854"/>
                  </a:lnTo>
                  <a:lnTo>
                    <a:pt x="1048328" y="1686854"/>
                  </a:lnTo>
                  <a:lnTo>
                    <a:pt x="1029268" y="1677324"/>
                  </a:lnTo>
                  <a:lnTo>
                    <a:pt x="1029268" y="1667794"/>
                  </a:lnTo>
                  <a:lnTo>
                    <a:pt x="1014972" y="1658264"/>
                  </a:lnTo>
                  <a:lnTo>
                    <a:pt x="986384" y="1643968"/>
                  </a:lnTo>
                  <a:lnTo>
                    <a:pt x="967320" y="1643968"/>
                  </a:lnTo>
                  <a:lnTo>
                    <a:pt x="953028" y="1658264"/>
                  </a:lnTo>
                  <a:lnTo>
                    <a:pt x="943496" y="1667794"/>
                  </a:lnTo>
                  <a:lnTo>
                    <a:pt x="933964" y="1667794"/>
                  </a:lnTo>
                  <a:lnTo>
                    <a:pt x="924436" y="1667794"/>
                  </a:lnTo>
                  <a:lnTo>
                    <a:pt x="914904" y="1667794"/>
                  </a:lnTo>
                  <a:lnTo>
                    <a:pt x="910140" y="1667794"/>
                  </a:lnTo>
                  <a:lnTo>
                    <a:pt x="872020" y="1663030"/>
                  </a:lnTo>
                  <a:lnTo>
                    <a:pt x="838664" y="1663030"/>
                  </a:lnTo>
                  <a:lnTo>
                    <a:pt x="838664" y="1658264"/>
                  </a:lnTo>
                  <a:lnTo>
                    <a:pt x="833900" y="1648734"/>
                  </a:lnTo>
                  <a:lnTo>
                    <a:pt x="829132" y="1634438"/>
                  </a:lnTo>
                  <a:lnTo>
                    <a:pt x="819604" y="1629674"/>
                  </a:lnTo>
                  <a:lnTo>
                    <a:pt x="814836" y="1624908"/>
                  </a:lnTo>
                  <a:lnTo>
                    <a:pt x="810072" y="1629674"/>
                  </a:lnTo>
                  <a:lnTo>
                    <a:pt x="805308" y="1620144"/>
                  </a:lnTo>
                  <a:lnTo>
                    <a:pt x="800544" y="1610614"/>
                  </a:lnTo>
                  <a:lnTo>
                    <a:pt x="795776" y="1601082"/>
                  </a:lnTo>
                  <a:lnTo>
                    <a:pt x="786248" y="1591552"/>
                  </a:lnTo>
                  <a:lnTo>
                    <a:pt x="781480" y="1586788"/>
                  </a:lnTo>
                  <a:lnTo>
                    <a:pt x="781480" y="1577258"/>
                  </a:lnTo>
                  <a:lnTo>
                    <a:pt x="781480" y="1572492"/>
                  </a:lnTo>
                  <a:lnTo>
                    <a:pt x="791012" y="1553432"/>
                  </a:lnTo>
                  <a:lnTo>
                    <a:pt x="791012" y="1539136"/>
                  </a:lnTo>
                  <a:lnTo>
                    <a:pt x="791012" y="1524840"/>
                  </a:lnTo>
                  <a:lnTo>
                    <a:pt x="786248" y="1515310"/>
                  </a:lnTo>
                  <a:lnTo>
                    <a:pt x="781480" y="1496250"/>
                  </a:lnTo>
                  <a:lnTo>
                    <a:pt x="781480" y="1491484"/>
                  </a:lnTo>
                  <a:lnTo>
                    <a:pt x="776716" y="1481954"/>
                  </a:lnTo>
                  <a:lnTo>
                    <a:pt x="776716" y="1472424"/>
                  </a:lnTo>
                  <a:lnTo>
                    <a:pt x="781480" y="1462894"/>
                  </a:lnTo>
                  <a:lnTo>
                    <a:pt x="776716" y="1453364"/>
                  </a:lnTo>
                  <a:lnTo>
                    <a:pt x="771952" y="1424774"/>
                  </a:lnTo>
                  <a:lnTo>
                    <a:pt x="771952" y="1420008"/>
                  </a:lnTo>
                  <a:lnTo>
                    <a:pt x="762420" y="1405712"/>
                  </a:lnTo>
                  <a:lnTo>
                    <a:pt x="738596" y="1377122"/>
                  </a:lnTo>
                  <a:lnTo>
                    <a:pt x="738596" y="1372356"/>
                  </a:lnTo>
                  <a:lnTo>
                    <a:pt x="700476" y="1339000"/>
                  </a:lnTo>
                  <a:lnTo>
                    <a:pt x="686180" y="1334236"/>
                  </a:lnTo>
                  <a:lnTo>
                    <a:pt x="681416" y="1339000"/>
                  </a:lnTo>
                  <a:lnTo>
                    <a:pt x="681416" y="1343766"/>
                  </a:lnTo>
                  <a:lnTo>
                    <a:pt x="681416" y="1353296"/>
                  </a:lnTo>
                  <a:lnTo>
                    <a:pt x="681416" y="1358062"/>
                  </a:lnTo>
                  <a:lnTo>
                    <a:pt x="681416" y="1362826"/>
                  </a:lnTo>
                  <a:lnTo>
                    <a:pt x="671884" y="1362826"/>
                  </a:lnTo>
                  <a:lnTo>
                    <a:pt x="667120" y="1358062"/>
                  </a:lnTo>
                  <a:lnTo>
                    <a:pt x="652824" y="1353296"/>
                  </a:lnTo>
                  <a:lnTo>
                    <a:pt x="643292" y="1348530"/>
                  </a:lnTo>
                  <a:lnTo>
                    <a:pt x="614704" y="1353296"/>
                  </a:lnTo>
                  <a:lnTo>
                    <a:pt x="605172" y="1353296"/>
                  </a:lnTo>
                  <a:lnTo>
                    <a:pt x="600408" y="1353296"/>
                  </a:lnTo>
                  <a:lnTo>
                    <a:pt x="586112" y="1339000"/>
                  </a:lnTo>
                  <a:lnTo>
                    <a:pt x="567052" y="1334236"/>
                  </a:lnTo>
                  <a:lnTo>
                    <a:pt x="552756" y="1334236"/>
                  </a:lnTo>
                  <a:lnTo>
                    <a:pt x="528932" y="1319940"/>
                  </a:lnTo>
                  <a:lnTo>
                    <a:pt x="524164" y="1319940"/>
                  </a:lnTo>
                  <a:lnTo>
                    <a:pt x="519400" y="1319940"/>
                  </a:lnTo>
                  <a:lnTo>
                    <a:pt x="509868" y="1315176"/>
                  </a:lnTo>
                  <a:lnTo>
                    <a:pt x="495576" y="1305644"/>
                  </a:lnTo>
                  <a:lnTo>
                    <a:pt x="471748" y="1296114"/>
                  </a:lnTo>
                  <a:lnTo>
                    <a:pt x="452688" y="1286584"/>
                  </a:lnTo>
                  <a:lnTo>
                    <a:pt x="443156" y="1281820"/>
                  </a:lnTo>
                  <a:lnTo>
                    <a:pt x="424096" y="1277054"/>
                  </a:lnTo>
                  <a:lnTo>
                    <a:pt x="409800" y="1277054"/>
                  </a:lnTo>
                  <a:lnTo>
                    <a:pt x="395508" y="1267524"/>
                  </a:lnTo>
                  <a:lnTo>
                    <a:pt x="381212" y="1267524"/>
                  </a:lnTo>
                  <a:lnTo>
                    <a:pt x="366916" y="1262758"/>
                  </a:lnTo>
                  <a:lnTo>
                    <a:pt x="362152" y="1257994"/>
                  </a:lnTo>
                  <a:lnTo>
                    <a:pt x="362152" y="1248464"/>
                  </a:lnTo>
                  <a:lnTo>
                    <a:pt x="357384" y="1243698"/>
                  </a:lnTo>
                  <a:lnTo>
                    <a:pt x="347856" y="1238934"/>
                  </a:lnTo>
                  <a:lnTo>
                    <a:pt x="338324" y="1238934"/>
                  </a:lnTo>
                  <a:lnTo>
                    <a:pt x="328796" y="1243698"/>
                  </a:lnTo>
                  <a:lnTo>
                    <a:pt x="324028" y="1238934"/>
                  </a:lnTo>
                  <a:lnTo>
                    <a:pt x="314500" y="1234168"/>
                  </a:lnTo>
                  <a:lnTo>
                    <a:pt x="304968" y="1224638"/>
                  </a:lnTo>
                  <a:lnTo>
                    <a:pt x="304968" y="1210342"/>
                  </a:lnTo>
                  <a:lnTo>
                    <a:pt x="290672" y="1200812"/>
                  </a:lnTo>
                  <a:lnTo>
                    <a:pt x="276376" y="1196046"/>
                  </a:lnTo>
                  <a:lnTo>
                    <a:pt x="247788" y="1196046"/>
                  </a:lnTo>
                  <a:lnTo>
                    <a:pt x="247788" y="1191282"/>
                  </a:lnTo>
                  <a:lnTo>
                    <a:pt x="243020" y="1186516"/>
                  </a:lnTo>
                  <a:lnTo>
                    <a:pt x="243020" y="1176986"/>
                  </a:lnTo>
                  <a:lnTo>
                    <a:pt x="243020" y="1167456"/>
                  </a:lnTo>
                  <a:lnTo>
                    <a:pt x="233492" y="1157926"/>
                  </a:lnTo>
                  <a:lnTo>
                    <a:pt x="223960" y="1143630"/>
                  </a:lnTo>
                  <a:lnTo>
                    <a:pt x="214432" y="1134100"/>
                  </a:lnTo>
                  <a:lnTo>
                    <a:pt x="214432" y="1129336"/>
                  </a:lnTo>
                  <a:lnTo>
                    <a:pt x="209664" y="1124570"/>
                  </a:lnTo>
                  <a:lnTo>
                    <a:pt x="214432" y="1119804"/>
                  </a:lnTo>
                  <a:lnTo>
                    <a:pt x="214432" y="1115040"/>
                  </a:lnTo>
                  <a:lnTo>
                    <a:pt x="209664" y="1115040"/>
                  </a:lnTo>
                  <a:lnTo>
                    <a:pt x="204900" y="1110274"/>
                  </a:lnTo>
                  <a:lnTo>
                    <a:pt x="204900" y="1105510"/>
                  </a:lnTo>
                  <a:lnTo>
                    <a:pt x="190604" y="1081684"/>
                  </a:lnTo>
                  <a:lnTo>
                    <a:pt x="176308" y="1048328"/>
                  </a:lnTo>
                  <a:lnTo>
                    <a:pt x="166780" y="1038798"/>
                  </a:lnTo>
                  <a:lnTo>
                    <a:pt x="157248" y="1024502"/>
                  </a:lnTo>
                  <a:lnTo>
                    <a:pt x="157248" y="1014972"/>
                  </a:lnTo>
                  <a:lnTo>
                    <a:pt x="157248" y="1000676"/>
                  </a:lnTo>
                  <a:lnTo>
                    <a:pt x="152484" y="981616"/>
                  </a:lnTo>
                  <a:lnTo>
                    <a:pt x="147720" y="967320"/>
                  </a:lnTo>
                  <a:lnTo>
                    <a:pt x="142952" y="957790"/>
                  </a:lnTo>
                  <a:lnTo>
                    <a:pt x="147720" y="957790"/>
                  </a:lnTo>
                  <a:lnTo>
                    <a:pt x="152484" y="948260"/>
                  </a:lnTo>
                  <a:lnTo>
                    <a:pt x="152484" y="938730"/>
                  </a:lnTo>
                  <a:lnTo>
                    <a:pt x="147720" y="929200"/>
                  </a:lnTo>
                  <a:lnTo>
                    <a:pt x="133424" y="914904"/>
                  </a:lnTo>
                  <a:lnTo>
                    <a:pt x="123892" y="905374"/>
                  </a:lnTo>
                  <a:lnTo>
                    <a:pt x="119128" y="891078"/>
                  </a:lnTo>
                  <a:lnTo>
                    <a:pt x="109596" y="881548"/>
                  </a:lnTo>
                  <a:lnTo>
                    <a:pt x="90536" y="862488"/>
                  </a:lnTo>
                  <a:lnTo>
                    <a:pt x="90536" y="857722"/>
                  </a:lnTo>
                  <a:lnTo>
                    <a:pt x="85772" y="857722"/>
                  </a:lnTo>
                  <a:lnTo>
                    <a:pt x="76244" y="852958"/>
                  </a:lnTo>
                  <a:lnTo>
                    <a:pt x="66712" y="857722"/>
                  </a:lnTo>
                  <a:lnTo>
                    <a:pt x="57180" y="862488"/>
                  </a:lnTo>
                  <a:lnTo>
                    <a:pt x="57180" y="857722"/>
                  </a:lnTo>
                  <a:lnTo>
                    <a:pt x="38120" y="843428"/>
                  </a:lnTo>
                  <a:lnTo>
                    <a:pt x="23824" y="829132"/>
                  </a:lnTo>
                  <a:lnTo>
                    <a:pt x="19060" y="819602"/>
                  </a:lnTo>
                  <a:lnTo>
                    <a:pt x="19060" y="814836"/>
                  </a:lnTo>
                  <a:lnTo>
                    <a:pt x="19060" y="795776"/>
                  </a:lnTo>
                  <a:lnTo>
                    <a:pt x="23824" y="786246"/>
                  </a:lnTo>
                  <a:lnTo>
                    <a:pt x="28592" y="781480"/>
                  </a:lnTo>
                  <a:lnTo>
                    <a:pt x="33356" y="781480"/>
                  </a:lnTo>
                  <a:lnTo>
                    <a:pt x="42888" y="781480"/>
                  </a:lnTo>
                  <a:lnTo>
                    <a:pt x="52416" y="771950"/>
                  </a:lnTo>
                  <a:lnTo>
                    <a:pt x="57180" y="767186"/>
                  </a:lnTo>
                  <a:lnTo>
                    <a:pt x="57180" y="762420"/>
                  </a:lnTo>
                  <a:lnTo>
                    <a:pt x="52416" y="748124"/>
                  </a:lnTo>
                  <a:lnTo>
                    <a:pt x="42888" y="724300"/>
                  </a:lnTo>
                  <a:lnTo>
                    <a:pt x="33356" y="710004"/>
                  </a:lnTo>
                  <a:lnTo>
                    <a:pt x="28592" y="700474"/>
                  </a:lnTo>
                  <a:lnTo>
                    <a:pt x="23824" y="690944"/>
                  </a:lnTo>
                  <a:lnTo>
                    <a:pt x="28592" y="681414"/>
                  </a:lnTo>
                  <a:lnTo>
                    <a:pt x="28592" y="667118"/>
                  </a:lnTo>
                  <a:lnTo>
                    <a:pt x="33356" y="667118"/>
                  </a:lnTo>
                  <a:lnTo>
                    <a:pt x="33356" y="652822"/>
                  </a:lnTo>
                  <a:lnTo>
                    <a:pt x="33356" y="648058"/>
                  </a:lnTo>
                  <a:lnTo>
                    <a:pt x="33356" y="643292"/>
                  </a:lnTo>
                  <a:lnTo>
                    <a:pt x="33356" y="633762"/>
                  </a:lnTo>
                  <a:lnTo>
                    <a:pt x="23824" y="624232"/>
                  </a:lnTo>
                  <a:lnTo>
                    <a:pt x="14296" y="614702"/>
                  </a:lnTo>
                  <a:lnTo>
                    <a:pt x="9532" y="614702"/>
                  </a:lnTo>
                  <a:lnTo>
                    <a:pt x="4764" y="609936"/>
                  </a:lnTo>
                  <a:lnTo>
                    <a:pt x="0" y="609936"/>
                  </a:lnTo>
                  <a:lnTo>
                    <a:pt x="4764" y="605172"/>
                  </a:lnTo>
                  <a:lnTo>
                    <a:pt x="4764" y="590876"/>
                  </a:lnTo>
                  <a:lnTo>
                    <a:pt x="9532" y="547990"/>
                  </a:lnTo>
                  <a:lnTo>
                    <a:pt x="9532" y="538460"/>
                  </a:lnTo>
                  <a:lnTo>
                    <a:pt x="19060" y="538460"/>
                  </a:lnTo>
                  <a:lnTo>
                    <a:pt x="28592" y="533694"/>
                  </a:lnTo>
                  <a:lnTo>
                    <a:pt x="57180" y="519398"/>
                  </a:lnTo>
                  <a:lnTo>
                    <a:pt x="85772" y="481278"/>
                  </a:lnTo>
                  <a:lnTo>
                    <a:pt x="95304" y="466982"/>
                  </a:lnTo>
                  <a:lnTo>
                    <a:pt x="104832" y="447922"/>
                  </a:lnTo>
                  <a:lnTo>
                    <a:pt x="119128" y="433626"/>
                  </a:lnTo>
                  <a:lnTo>
                    <a:pt x="123892" y="428862"/>
                  </a:lnTo>
                  <a:lnTo>
                    <a:pt x="128660" y="414566"/>
                  </a:lnTo>
                  <a:lnTo>
                    <a:pt x="128660" y="405036"/>
                  </a:lnTo>
                  <a:lnTo>
                    <a:pt x="147720" y="390740"/>
                  </a:lnTo>
                  <a:lnTo>
                    <a:pt x="162016" y="376446"/>
                  </a:lnTo>
                  <a:lnTo>
                    <a:pt x="162016" y="371680"/>
                  </a:lnTo>
                  <a:lnTo>
                    <a:pt x="162016" y="366914"/>
                  </a:lnTo>
                  <a:lnTo>
                    <a:pt x="171544" y="362150"/>
                  </a:lnTo>
                  <a:lnTo>
                    <a:pt x="185840" y="357384"/>
                  </a:lnTo>
                  <a:lnTo>
                    <a:pt x="190604" y="343090"/>
                  </a:lnTo>
                  <a:lnTo>
                    <a:pt x="190604" y="328794"/>
                  </a:lnTo>
                  <a:lnTo>
                    <a:pt x="185840" y="324028"/>
                  </a:lnTo>
                  <a:lnTo>
                    <a:pt x="190604" y="314498"/>
                  </a:lnTo>
                  <a:lnTo>
                    <a:pt x="185840" y="309734"/>
                  </a:lnTo>
                  <a:lnTo>
                    <a:pt x="176308" y="309734"/>
                  </a:lnTo>
                  <a:lnTo>
                    <a:pt x="157248" y="304968"/>
                  </a:lnTo>
                  <a:lnTo>
                    <a:pt x="142952" y="300202"/>
                  </a:lnTo>
                  <a:lnTo>
                    <a:pt x="133424" y="295438"/>
                  </a:lnTo>
                  <a:lnTo>
                    <a:pt x="133424" y="290672"/>
                  </a:lnTo>
                  <a:lnTo>
                    <a:pt x="128660" y="285908"/>
                  </a:lnTo>
                  <a:lnTo>
                    <a:pt x="133424" y="276378"/>
                  </a:lnTo>
                  <a:lnTo>
                    <a:pt x="138188" y="266848"/>
                  </a:lnTo>
                  <a:lnTo>
                    <a:pt x="133424" y="257316"/>
                  </a:lnTo>
                  <a:lnTo>
                    <a:pt x="128660" y="257316"/>
                  </a:lnTo>
                  <a:lnTo>
                    <a:pt x="133424" y="252552"/>
                  </a:lnTo>
                  <a:lnTo>
                    <a:pt x="147720" y="223960"/>
                  </a:lnTo>
                  <a:lnTo>
                    <a:pt x="152484" y="219196"/>
                  </a:lnTo>
                  <a:lnTo>
                    <a:pt x="157248" y="219196"/>
                  </a:lnTo>
                  <a:lnTo>
                    <a:pt x="166780" y="214430"/>
                  </a:lnTo>
                  <a:lnTo>
                    <a:pt x="176308" y="214430"/>
                  </a:lnTo>
                  <a:lnTo>
                    <a:pt x="181076" y="214430"/>
                  </a:lnTo>
                  <a:lnTo>
                    <a:pt x="190604" y="214430"/>
                  </a:lnTo>
                  <a:lnTo>
                    <a:pt x="195372" y="209666"/>
                  </a:lnTo>
                  <a:lnTo>
                    <a:pt x="195372" y="200136"/>
                  </a:lnTo>
                  <a:lnTo>
                    <a:pt x="200136" y="181074"/>
                  </a:lnTo>
                  <a:lnTo>
                    <a:pt x="200136" y="162014"/>
                  </a:lnTo>
                  <a:lnTo>
                    <a:pt x="190604" y="152484"/>
                  </a:lnTo>
                  <a:lnTo>
                    <a:pt x="190604" y="133424"/>
                  </a:lnTo>
                  <a:lnTo>
                    <a:pt x="195372" y="109598"/>
                  </a:lnTo>
                  <a:lnTo>
                    <a:pt x="190604" y="85772"/>
                  </a:lnTo>
                  <a:lnTo>
                    <a:pt x="181076" y="71476"/>
                  </a:lnTo>
                  <a:lnTo>
                    <a:pt x="176308" y="61946"/>
                  </a:lnTo>
                  <a:lnTo>
                    <a:pt x="162016" y="57182"/>
                  </a:lnTo>
                  <a:lnTo>
                    <a:pt x="142952" y="33356"/>
                  </a:lnTo>
                  <a:lnTo>
                    <a:pt x="138188" y="19060"/>
                  </a:lnTo>
                  <a:lnTo>
                    <a:pt x="138188" y="14296"/>
                  </a:lnTo>
                  <a:lnTo>
                    <a:pt x="142952" y="9530"/>
                  </a:lnTo>
                  <a:lnTo>
                    <a:pt x="157248" y="9530"/>
                  </a:lnTo>
                  <a:lnTo>
                    <a:pt x="166780" y="953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3" name="Freeform 361">
              <a:extLst>
                <a:ext uri="{FF2B5EF4-FFF2-40B4-BE49-F238E27FC236}">
                  <a16:creationId xmlns:a16="http://schemas.microsoft.com/office/drawing/2014/main" id="{35680689-ACC6-4B96-9B68-181DFD19A2D1}"/>
                </a:ext>
              </a:extLst>
            </p:cNvPr>
            <p:cNvSpPr/>
            <p:nvPr/>
          </p:nvSpPr>
          <p:spPr bwMode="auto">
            <a:xfrm>
              <a:off x="6045433" y="5303031"/>
              <a:ext cx="137216" cy="143383"/>
            </a:xfrm>
            <a:custGeom>
              <a:avLst/>
              <a:gdLst>
                <a:gd name="connsiteX0" fmla="*/ 395504 w 848192"/>
                <a:gd name="connsiteY0" fmla="*/ 695708 h 886314"/>
                <a:gd name="connsiteX1" fmla="*/ 405036 w 848192"/>
                <a:gd name="connsiteY1" fmla="*/ 695708 h 886314"/>
                <a:gd name="connsiteX2" fmla="*/ 409800 w 848192"/>
                <a:gd name="connsiteY2" fmla="*/ 695708 h 886314"/>
                <a:gd name="connsiteX3" fmla="*/ 409800 w 848192"/>
                <a:gd name="connsiteY3" fmla="*/ 705238 h 886314"/>
                <a:gd name="connsiteX4" fmla="*/ 409800 w 848192"/>
                <a:gd name="connsiteY4" fmla="*/ 710004 h 886314"/>
                <a:gd name="connsiteX5" fmla="*/ 424096 w 848192"/>
                <a:gd name="connsiteY5" fmla="*/ 705238 h 886314"/>
                <a:gd name="connsiteX6" fmla="*/ 428860 w 848192"/>
                <a:gd name="connsiteY6" fmla="*/ 710004 h 886314"/>
                <a:gd name="connsiteX7" fmla="*/ 428860 w 848192"/>
                <a:gd name="connsiteY7" fmla="*/ 719534 h 886314"/>
                <a:gd name="connsiteX8" fmla="*/ 424096 w 848192"/>
                <a:gd name="connsiteY8" fmla="*/ 733828 h 886314"/>
                <a:gd name="connsiteX9" fmla="*/ 400272 w 848192"/>
                <a:gd name="connsiteY9" fmla="*/ 743358 h 886314"/>
                <a:gd name="connsiteX10" fmla="*/ 405036 w 848192"/>
                <a:gd name="connsiteY10" fmla="*/ 733828 h 886314"/>
                <a:gd name="connsiteX11" fmla="*/ 405036 w 848192"/>
                <a:gd name="connsiteY11" fmla="*/ 729064 h 886314"/>
                <a:gd name="connsiteX12" fmla="*/ 414564 w 848192"/>
                <a:gd name="connsiteY12" fmla="*/ 719534 h 886314"/>
                <a:gd name="connsiteX13" fmla="*/ 414564 w 848192"/>
                <a:gd name="connsiteY13" fmla="*/ 714768 h 886314"/>
                <a:gd name="connsiteX14" fmla="*/ 400272 w 848192"/>
                <a:gd name="connsiteY14" fmla="*/ 710004 h 886314"/>
                <a:gd name="connsiteX15" fmla="*/ 395504 w 848192"/>
                <a:gd name="connsiteY15" fmla="*/ 710004 h 886314"/>
                <a:gd name="connsiteX16" fmla="*/ 395504 w 848192"/>
                <a:gd name="connsiteY16" fmla="*/ 705238 h 886314"/>
                <a:gd name="connsiteX17" fmla="*/ 390740 w 848192"/>
                <a:gd name="connsiteY17" fmla="*/ 700474 h 886314"/>
                <a:gd name="connsiteX18" fmla="*/ 586112 w 848192"/>
                <a:gd name="connsiteY18" fmla="*/ 609936 h 886314"/>
                <a:gd name="connsiteX19" fmla="*/ 600408 w 848192"/>
                <a:gd name="connsiteY19" fmla="*/ 614702 h 886314"/>
                <a:gd name="connsiteX20" fmla="*/ 595640 w 848192"/>
                <a:gd name="connsiteY20" fmla="*/ 624232 h 886314"/>
                <a:gd name="connsiteX21" fmla="*/ 586112 w 848192"/>
                <a:gd name="connsiteY21" fmla="*/ 628996 h 886314"/>
                <a:gd name="connsiteX22" fmla="*/ 586112 w 848192"/>
                <a:gd name="connsiteY22" fmla="*/ 638526 h 886314"/>
                <a:gd name="connsiteX23" fmla="*/ 590876 w 848192"/>
                <a:gd name="connsiteY23" fmla="*/ 648058 h 886314"/>
                <a:gd name="connsiteX24" fmla="*/ 581344 w 848192"/>
                <a:gd name="connsiteY24" fmla="*/ 638526 h 886314"/>
                <a:gd name="connsiteX25" fmla="*/ 576580 w 848192"/>
                <a:gd name="connsiteY25" fmla="*/ 633762 h 886314"/>
                <a:gd name="connsiteX26" fmla="*/ 567048 w 848192"/>
                <a:gd name="connsiteY26" fmla="*/ 633762 h 886314"/>
                <a:gd name="connsiteX27" fmla="*/ 567048 w 848192"/>
                <a:gd name="connsiteY27" fmla="*/ 628996 h 886314"/>
                <a:gd name="connsiteX28" fmla="*/ 571816 w 848192"/>
                <a:gd name="connsiteY28" fmla="*/ 628996 h 886314"/>
                <a:gd name="connsiteX29" fmla="*/ 571816 w 848192"/>
                <a:gd name="connsiteY29" fmla="*/ 624232 h 886314"/>
                <a:gd name="connsiteX30" fmla="*/ 571816 w 848192"/>
                <a:gd name="connsiteY30" fmla="*/ 614702 h 886314"/>
                <a:gd name="connsiteX31" fmla="*/ 690944 w 848192"/>
                <a:gd name="connsiteY31" fmla="*/ 0 h 886314"/>
                <a:gd name="connsiteX32" fmla="*/ 714768 w 848192"/>
                <a:gd name="connsiteY32" fmla="*/ 52416 h 886314"/>
                <a:gd name="connsiteX33" fmla="*/ 724300 w 848192"/>
                <a:gd name="connsiteY33" fmla="*/ 52416 h 886314"/>
                <a:gd name="connsiteX34" fmla="*/ 719536 w 848192"/>
                <a:gd name="connsiteY34" fmla="*/ 57182 h 886314"/>
                <a:gd name="connsiteX35" fmla="*/ 719536 w 848192"/>
                <a:gd name="connsiteY35" fmla="*/ 61946 h 886314"/>
                <a:gd name="connsiteX36" fmla="*/ 733828 w 848192"/>
                <a:gd name="connsiteY36" fmla="*/ 76242 h 886314"/>
                <a:gd name="connsiteX37" fmla="*/ 752892 w 848192"/>
                <a:gd name="connsiteY37" fmla="*/ 81008 h 886314"/>
                <a:gd name="connsiteX38" fmla="*/ 762420 w 848192"/>
                <a:gd name="connsiteY38" fmla="*/ 85772 h 886314"/>
                <a:gd name="connsiteX39" fmla="*/ 762420 w 848192"/>
                <a:gd name="connsiteY39" fmla="*/ 95302 h 886314"/>
                <a:gd name="connsiteX40" fmla="*/ 757656 w 848192"/>
                <a:gd name="connsiteY40" fmla="*/ 123894 h 886314"/>
                <a:gd name="connsiteX41" fmla="*/ 757656 w 848192"/>
                <a:gd name="connsiteY41" fmla="*/ 133424 h 886314"/>
                <a:gd name="connsiteX42" fmla="*/ 762420 w 848192"/>
                <a:gd name="connsiteY42" fmla="*/ 162014 h 886314"/>
                <a:gd name="connsiteX43" fmla="*/ 776716 w 848192"/>
                <a:gd name="connsiteY43" fmla="*/ 171544 h 886314"/>
                <a:gd name="connsiteX44" fmla="*/ 786248 w 848192"/>
                <a:gd name="connsiteY44" fmla="*/ 200136 h 886314"/>
                <a:gd name="connsiteX45" fmla="*/ 805308 w 848192"/>
                <a:gd name="connsiteY45" fmla="*/ 214430 h 886314"/>
                <a:gd name="connsiteX46" fmla="*/ 810072 w 848192"/>
                <a:gd name="connsiteY46" fmla="*/ 219196 h 886314"/>
                <a:gd name="connsiteX47" fmla="*/ 814836 w 848192"/>
                <a:gd name="connsiteY47" fmla="*/ 233492 h 886314"/>
                <a:gd name="connsiteX48" fmla="*/ 819604 w 848192"/>
                <a:gd name="connsiteY48" fmla="*/ 247786 h 886314"/>
                <a:gd name="connsiteX49" fmla="*/ 824368 w 848192"/>
                <a:gd name="connsiteY49" fmla="*/ 252552 h 886314"/>
                <a:gd name="connsiteX50" fmla="*/ 829132 w 848192"/>
                <a:gd name="connsiteY50" fmla="*/ 252552 h 886314"/>
                <a:gd name="connsiteX51" fmla="*/ 833896 w 848192"/>
                <a:gd name="connsiteY51" fmla="*/ 271612 h 886314"/>
                <a:gd name="connsiteX52" fmla="*/ 833896 w 848192"/>
                <a:gd name="connsiteY52" fmla="*/ 281142 h 886314"/>
                <a:gd name="connsiteX53" fmla="*/ 838664 w 848192"/>
                <a:gd name="connsiteY53" fmla="*/ 309734 h 886314"/>
                <a:gd name="connsiteX54" fmla="*/ 843428 w 848192"/>
                <a:gd name="connsiteY54" fmla="*/ 338324 h 886314"/>
                <a:gd name="connsiteX55" fmla="*/ 848192 w 848192"/>
                <a:gd name="connsiteY55" fmla="*/ 366914 h 886314"/>
                <a:gd name="connsiteX56" fmla="*/ 848192 w 848192"/>
                <a:gd name="connsiteY56" fmla="*/ 381210 h 886314"/>
                <a:gd name="connsiteX57" fmla="*/ 843428 w 848192"/>
                <a:gd name="connsiteY57" fmla="*/ 390740 h 886314"/>
                <a:gd name="connsiteX58" fmla="*/ 843428 w 848192"/>
                <a:gd name="connsiteY58" fmla="*/ 400270 h 886314"/>
                <a:gd name="connsiteX59" fmla="*/ 838664 w 848192"/>
                <a:gd name="connsiteY59" fmla="*/ 409802 h 886314"/>
                <a:gd name="connsiteX60" fmla="*/ 833896 w 848192"/>
                <a:gd name="connsiteY60" fmla="*/ 414566 h 886314"/>
                <a:gd name="connsiteX61" fmla="*/ 824368 w 848192"/>
                <a:gd name="connsiteY61" fmla="*/ 424096 h 886314"/>
                <a:gd name="connsiteX62" fmla="*/ 814836 w 848192"/>
                <a:gd name="connsiteY62" fmla="*/ 443158 h 886314"/>
                <a:gd name="connsiteX63" fmla="*/ 819604 w 848192"/>
                <a:gd name="connsiteY63" fmla="*/ 462218 h 886314"/>
                <a:gd name="connsiteX64" fmla="*/ 819604 w 848192"/>
                <a:gd name="connsiteY64" fmla="*/ 466982 h 886314"/>
                <a:gd name="connsiteX65" fmla="*/ 814836 w 848192"/>
                <a:gd name="connsiteY65" fmla="*/ 466982 h 886314"/>
                <a:gd name="connsiteX66" fmla="*/ 805308 w 848192"/>
                <a:gd name="connsiteY66" fmla="*/ 466982 h 886314"/>
                <a:gd name="connsiteX67" fmla="*/ 795776 w 848192"/>
                <a:gd name="connsiteY67" fmla="*/ 471748 h 886314"/>
                <a:gd name="connsiteX68" fmla="*/ 786248 w 848192"/>
                <a:gd name="connsiteY68" fmla="*/ 476512 h 886314"/>
                <a:gd name="connsiteX69" fmla="*/ 776716 w 848192"/>
                <a:gd name="connsiteY69" fmla="*/ 486044 h 886314"/>
                <a:gd name="connsiteX70" fmla="*/ 767184 w 848192"/>
                <a:gd name="connsiteY70" fmla="*/ 495574 h 886314"/>
                <a:gd name="connsiteX71" fmla="*/ 757656 w 848192"/>
                <a:gd name="connsiteY71" fmla="*/ 524164 h 886314"/>
                <a:gd name="connsiteX72" fmla="*/ 738596 w 848192"/>
                <a:gd name="connsiteY72" fmla="*/ 543224 h 886314"/>
                <a:gd name="connsiteX73" fmla="*/ 738596 w 848192"/>
                <a:gd name="connsiteY73" fmla="*/ 552754 h 886314"/>
                <a:gd name="connsiteX74" fmla="*/ 719536 w 848192"/>
                <a:gd name="connsiteY74" fmla="*/ 562286 h 886314"/>
                <a:gd name="connsiteX75" fmla="*/ 710004 w 848192"/>
                <a:gd name="connsiteY75" fmla="*/ 581346 h 886314"/>
                <a:gd name="connsiteX76" fmla="*/ 705240 w 848192"/>
                <a:gd name="connsiteY76" fmla="*/ 600406 h 886314"/>
                <a:gd name="connsiteX77" fmla="*/ 700472 w 848192"/>
                <a:gd name="connsiteY77" fmla="*/ 614702 h 886314"/>
                <a:gd name="connsiteX78" fmla="*/ 690944 w 848192"/>
                <a:gd name="connsiteY78" fmla="*/ 624232 h 886314"/>
                <a:gd name="connsiteX79" fmla="*/ 686180 w 848192"/>
                <a:gd name="connsiteY79" fmla="*/ 624232 h 886314"/>
                <a:gd name="connsiteX80" fmla="*/ 671884 w 848192"/>
                <a:gd name="connsiteY80" fmla="*/ 628998 h 886314"/>
                <a:gd name="connsiteX81" fmla="*/ 652824 w 848192"/>
                <a:gd name="connsiteY81" fmla="*/ 624232 h 886314"/>
                <a:gd name="connsiteX82" fmla="*/ 648056 w 848192"/>
                <a:gd name="connsiteY82" fmla="*/ 609936 h 886314"/>
                <a:gd name="connsiteX83" fmla="*/ 643292 w 848192"/>
                <a:gd name="connsiteY83" fmla="*/ 609936 h 886314"/>
                <a:gd name="connsiteX84" fmla="*/ 638528 w 848192"/>
                <a:gd name="connsiteY84" fmla="*/ 609936 h 886314"/>
                <a:gd name="connsiteX85" fmla="*/ 628996 w 848192"/>
                <a:gd name="connsiteY85" fmla="*/ 624232 h 886314"/>
                <a:gd name="connsiteX86" fmla="*/ 619468 w 848192"/>
                <a:gd name="connsiteY86" fmla="*/ 624232 h 886314"/>
                <a:gd name="connsiteX87" fmla="*/ 614700 w 848192"/>
                <a:gd name="connsiteY87" fmla="*/ 624232 h 886314"/>
                <a:gd name="connsiteX88" fmla="*/ 605172 w 848192"/>
                <a:gd name="connsiteY88" fmla="*/ 619466 h 886314"/>
                <a:gd name="connsiteX89" fmla="*/ 605172 w 848192"/>
                <a:gd name="connsiteY89" fmla="*/ 614702 h 886314"/>
                <a:gd name="connsiteX90" fmla="*/ 614700 w 848192"/>
                <a:gd name="connsiteY90" fmla="*/ 614702 h 886314"/>
                <a:gd name="connsiteX91" fmla="*/ 614700 w 848192"/>
                <a:gd name="connsiteY91" fmla="*/ 609936 h 886314"/>
                <a:gd name="connsiteX92" fmla="*/ 609936 w 848192"/>
                <a:gd name="connsiteY92" fmla="*/ 605172 h 886314"/>
                <a:gd name="connsiteX93" fmla="*/ 590876 w 848192"/>
                <a:gd name="connsiteY93" fmla="*/ 605172 h 886314"/>
                <a:gd name="connsiteX94" fmla="*/ 590876 w 848192"/>
                <a:gd name="connsiteY94" fmla="*/ 600406 h 886314"/>
                <a:gd name="connsiteX95" fmla="*/ 595640 w 848192"/>
                <a:gd name="connsiteY95" fmla="*/ 586110 h 886314"/>
                <a:gd name="connsiteX96" fmla="*/ 586112 w 848192"/>
                <a:gd name="connsiteY96" fmla="*/ 586110 h 886314"/>
                <a:gd name="connsiteX97" fmla="*/ 581344 w 848192"/>
                <a:gd name="connsiteY97" fmla="*/ 586110 h 886314"/>
                <a:gd name="connsiteX98" fmla="*/ 576580 w 848192"/>
                <a:gd name="connsiteY98" fmla="*/ 586110 h 886314"/>
                <a:gd name="connsiteX99" fmla="*/ 567052 w 848192"/>
                <a:gd name="connsiteY99" fmla="*/ 590876 h 886314"/>
                <a:gd name="connsiteX100" fmla="*/ 567052 w 848192"/>
                <a:gd name="connsiteY100" fmla="*/ 595642 h 886314"/>
                <a:gd name="connsiteX101" fmla="*/ 557520 w 848192"/>
                <a:gd name="connsiteY101" fmla="*/ 619466 h 886314"/>
                <a:gd name="connsiteX102" fmla="*/ 547988 w 848192"/>
                <a:gd name="connsiteY102" fmla="*/ 619466 h 886314"/>
                <a:gd name="connsiteX103" fmla="*/ 547988 w 848192"/>
                <a:gd name="connsiteY103" fmla="*/ 628998 h 886314"/>
                <a:gd name="connsiteX104" fmla="*/ 538460 w 848192"/>
                <a:gd name="connsiteY104" fmla="*/ 633762 h 886314"/>
                <a:gd name="connsiteX105" fmla="*/ 528928 w 848192"/>
                <a:gd name="connsiteY105" fmla="*/ 643292 h 886314"/>
                <a:gd name="connsiteX106" fmla="*/ 524164 w 848192"/>
                <a:gd name="connsiteY106" fmla="*/ 643292 h 886314"/>
                <a:gd name="connsiteX107" fmla="*/ 519400 w 848192"/>
                <a:gd name="connsiteY107" fmla="*/ 643292 h 886314"/>
                <a:gd name="connsiteX108" fmla="*/ 519400 w 848192"/>
                <a:gd name="connsiteY108" fmla="*/ 633762 h 886314"/>
                <a:gd name="connsiteX109" fmla="*/ 514632 w 848192"/>
                <a:gd name="connsiteY109" fmla="*/ 633762 h 886314"/>
                <a:gd name="connsiteX110" fmla="*/ 505104 w 848192"/>
                <a:gd name="connsiteY110" fmla="*/ 638528 h 886314"/>
                <a:gd name="connsiteX111" fmla="*/ 495572 w 848192"/>
                <a:gd name="connsiteY111" fmla="*/ 643292 h 886314"/>
                <a:gd name="connsiteX112" fmla="*/ 490808 w 848192"/>
                <a:gd name="connsiteY112" fmla="*/ 643292 h 886314"/>
                <a:gd name="connsiteX113" fmla="*/ 486044 w 848192"/>
                <a:gd name="connsiteY113" fmla="*/ 638528 h 886314"/>
                <a:gd name="connsiteX114" fmla="*/ 490808 w 848192"/>
                <a:gd name="connsiteY114" fmla="*/ 628998 h 886314"/>
                <a:gd name="connsiteX115" fmla="*/ 486044 w 848192"/>
                <a:gd name="connsiteY115" fmla="*/ 628998 h 886314"/>
                <a:gd name="connsiteX116" fmla="*/ 481280 w 848192"/>
                <a:gd name="connsiteY116" fmla="*/ 619466 h 886314"/>
                <a:gd name="connsiteX117" fmla="*/ 476512 w 848192"/>
                <a:gd name="connsiteY117" fmla="*/ 624232 h 886314"/>
                <a:gd name="connsiteX118" fmla="*/ 471748 w 848192"/>
                <a:gd name="connsiteY118" fmla="*/ 628998 h 886314"/>
                <a:gd name="connsiteX119" fmla="*/ 466984 w 848192"/>
                <a:gd name="connsiteY119" fmla="*/ 643292 h 886314"/>
                <a:gd name="connsiteX120" fmla="*/ 462216 w 848192"/>
                <a:gd name="connsiteY120" fmla="*/ 648058 h 886314"/>
                <a:gd name="connsiteX121" fmla="*/ 457452 w 848192"/>
                <a:gd name="connsiteY121" fmla="*/ 652822 h 886314"/>
                <a:gd name="connsiteX122" fmla="*/ 452688 w 848192"/>
                <a:gd name="connsiteY122" fmla="*/ 648058 h 886314"/>
                <a:gd name="connsiteX123" fmla="*/ 447924 w 848192"/>
                <a:gd name="connsiteY123" fmla="*/ 643292 h 886314"/>
                <a:gd name="connsiteX124" fmla="*/ 443156 w 848192"/>
                <a:gd name="connsiteY124" fmla="*/ 648058 h 886314"/>
                <a:gd name="connsiteX125" fmla="*/ 433628 w 848192"/>
                <a:gd name="connsiteY125" fmla="*/ 657588 h 886314"/>
                <a:gd name="connsiteX126" fmla="*/ 424096 w 848192"/>
                <a:gd name="connsiteY126" fmla="*/ 657588 h 886314"/>
                <a:gd name="connsiteX127" fmla="*/ 419332 w 848192"/>
                <a:gd name="connsiteY127" fmla="*/ 657588 h 886314"/>
                <a:gd name="connsiteX128" fmla="*/ 414568 w 848192"/>
                <a:gd name="connsiteY128" fmla="*/ 657588 h 886314"/>
                <a:gd name="connsiteX129" fmla="*/ 405036 w 848192"/>
                <a:gd name="connsiteY129" fmla="*/ 667118 h 886314"/>
                <a:gd name="connsiteX130" fmla="*/ 390740 w 848192"/>
                <a:gd name="connsiteY130" fmla="*/ 667118 h 886314"/>
                <a:gd name="connsiteX131" fmla="*/ 385976 w 848192"/>
                <a:gd name="connsiteY131" fmla="*/ 671884 h 886314"/>
                <a:gd name="connsiteX132" fmla="*/ 371680 w 848192"/>
                <a:gd name="connsiteY132" fmla="*/ 681414 h 886314"/>
                <a:gd name="connsiteX133" fmla="*/ 371680 w 848192"/>
                <a:gd name="connsiteY133" fmla="*/ 686178 h 886314"/>
                <a:gd name="connsiteX134" fmla="*/ 376444 w 848192"/>
                <a:gd name="connsiteY134" fmla="*/ 690944 h 886314"/>
                <a:gd name="connsiteX135" fmla="*/ 381212 w 848192"/>
                <a:gd name="connsiteY135" fmla="*/ 700474 h 886314"/>
                <a:gd name="connsiteX136" fmla="*/ 381212 w 848192"/>
                <a:gd name="connsiteY136" fmla="*/ 710004 h 886314"/>
                <a:gd name="connsiteX137" fmla="*/ 362148 w 848192"/>
                <a:gd name="connsiteY137" fmla="*/ 733830 h 886314"/>
                <a:gd name="connsiteX138" fmla="*/ 352620 w 848192"/>
                <a:gd name="connsiteY138" fmla="*/ 748126 h 886314"/>
                <a:gd name="connsiteX139" fmla="*/ 338324 w 848192"/>
                <a:gd name="connsiteY139" fmla="*/ 781482 h 886314"/>
                <a:gd name="connsiteX140" fmla="*/ 338324 w 848192"/>
                <a:gd name="connsiteY140" fmla="*/ 791012 h 886314"/>
                <a:gd name="connsiteX141" fmla="*/ 343088 w 848192"/>
                <a:gd name="connsiteY141" fmla="*/ 795776 h 886314"/>
                <a:gd name="connsiteX142" fmla="*/ 343088 w 848192"/>
                <a:gd name="connsiteY142" fmla="*/ 805306 h 886314"/>
                <a:gd name="connsiteX143" fmla="*/ 347856 w 848192"/>
                <a:gd name="connsiteY143" fmla="*/ 814838 h 886314"/>
                <a:gd name="connsiteX144" fmla="*/ 200136 w 848192"/>
                <a:gd name="connsiteY144" fmla="*/ 814838 h 886314"/>
                <a:gd name="connsiteX145" fmla="*/ 195370 w 848192"/>
                <a:gd name="connsiteY145" fmla="*/ 814838 h 886314"/>
                <a:gd name="connsiteX146" fmla="*/ 185840 w 848192"/>
                <a:gd name="connsiteY146" fmla="*/ 814838 h 886314"/>
                <a:gd name="connsiteX147" fmla="*/ 171544 w 848192"/>
                <a:gd name="connsiteY147" fmla="*/ 824368 h 886314"/>
                <a:gd name="connsiteX148" fmla="*/ 162014 w 848192"/>
                <a:gd name="connsiteY148" fmla="*/ 824368 h 886314"/>
                <a:gd name="connsiteX149" fmla="*/ 147720 w 848192"/>
                <a:gd name="connsiteY149" fmla="*/ 824368 h 886314"/>
                <a:gd name="connsiteX150" fmla="*/ 142954 w 848192"/>
                <a:gd name="connsiteY150" fmla="*/ 824368 h 886314"/>
                <a:gd name="connsiteX151" fmla="*/ 133424 w 848192"/>
                <a:gd name="connsiteY151" fmla="*/ 824368 h 886314"/>
                <a:gd name="connsiteX152" fmla="*/ 123894 w 848192"/>
                <a:gd name="connsiteY152" fmla="*/ 824368 h 886314"/>
                <a:gd name="connsiteX153" fmla="*/ 119128 w 848192"/>
                <a:gd name="connsiteY153" fmla="*/ 833898 h 886314"/>
                <a:gd name="connsiteX154" fmla="*/ 114364 w 848192"/>
                <a:gd name="connsiteY154" fmla="*/ 843428 h 886314"/>
                <a:gd name="connsiteX155" fmla="*/ 100068 w 848192"/>
                <a:gd name="connsiteY155" fmla="*/ 852958 h 886314"/>
                <a:gd name="connsiteX156" fmla="*/ 90538 w 848192"/>
                <a:gd name="connsiteY156" fmla="*/ 867254 h 886314"/>
                <a:gd name="connsiteX157" fmla="*/ 85772 w 848192"/>
                <a:gd name="connsiteY157" fmla="*/ 872018 h 886314"/>
                <a:gd name="connsiteX158" fmla="*/ 66712 w 848192"/>
                <a:gd name="connsiteY158" fmla="*/ 886314 h 886314"/>
                <a:gd name="connsiteX159" fmla="*/ 57182 w 848192"/>
                <a:gd name="connsiteY159" fmla="*/ 886314 h 886314"/>
                <a:gd name="connsiteX160" fmla="*/ 52416 w 848192"/>
                <a:gd name="connsiteY160" fmla="*/ 886314 h 886314"/>
                <a:gd name="connsiteX161" fmla="*/ 42886 w 848192"/>
                <a:gd name="connsiteY161" fmla="*/ 872018 h 886314"/>
                <a:gd name="connsiteX162" fmla="*/ 42886 w 848192"/>
                <a:gd name="connsiteY162" fmla="*/ 867254 h 886314"/>
                <a:gd name="connsiteX163" fmla="*/ 9530 w 848192"/>
                <a:gd name="connsiteY163" fmla="*/ 876784 h 886314"/>
                <a:gd name="connsiteX164" fmla="*/ 4766 w 848192"/>
                <a:gd name="connsiteY164" fmla="*/ 876784 h 886314"/>
                <a:gd name="connsiteX165" fmla="*/ 4766 w 848192"/>
                <a:gd name="connsiteY165" fmla="*/ 872018 h 886314"/>
                <a:gd name="connsiteX166" fmla="*/ 0 w 848192"/>
                <a:gd name="connsiteY166" fmla="*/ 833898 h 886314"/>
                <a:gd name="connsiteX167" fmla="*/ 0 w 848192"/>
                <a:gd name="connsiteY167" fmla="*/ 810072 h 886314"/>
                <a:gd name="connsiteX168" fmla="*/ 4766 w 848192"/>
                <a:gd name="connsiteY168" fmla="*/ 795776 h 886314"/>
                <a:gd name="connsiteX169" fmla="*/ 9530 w 848192"/>
                <a:gd name="connsiteY169" fmla="*/ 781482 h 886314"/>
                <a:gd name="connsiteX170" fmla="*/ 9530 w 848192"/>
                <a:gd name="connsiteY170" fmla="*/ 767186 h 886314"/>
                <a:gd name="connsiteX171" fmla="*/ 14296 w 848192"/>
                <a:gd name="connsiteY171" fmla="*/ 743360 h 886314"/>
                <a:gd name="connsiteX172" fmla="*/ 14296 w 848192"/>
                <a:gd name="connsiteY172" fmla="*/ 738594 h 886314"/>
                <a:gd name="connsiteX173" fmla="*/ 47652 w 848192"/>
                <a:gd name="connsiteY173" fmla="*/ 705240 h 886314"/>
                <a:gd name="connsiteX174" fmla="*/ 52416 w 848192"/>
                <a:gd name="connsiteY174" fmla="*/ 686178 h 886314"/>
                <a:gd name="connsiteX175" fmla="*/ 33356 w 848192"/>
                <a:gd name="connsiteY175" fmla="*/ 676648 h 886314"/>
                <a:gd name="connsiteX176" fmla="*/ 19060 w 848192"/>
                <a:gd name="connsiteY176" fmla="*/ 676648 h 886314"/>
                <a:gd name="connsiteX177" fmla="*/ 19060 w 848192"/>
                <a:gd name="connsiteY177" fmla="*/ 667118 h 886314"/>
                <a:gd name="connsiteX178" fmla="*/ 23826 w 848192"/>
                <a:gd name="connsiteY178" fmla="*/ 643292 h 886314"/>
                <a:gd name="connsiteX179" fmla="*/ 28590 w 848192"/>
                <a:gd name="connsiteY179" fmla="*/ 633762 h 886314"/>
                <a:gd name="connsiteX180" fmla="*/ 33356 w 848192"/>
                <a:gd name="connsiteY180" fmla="*/ 633762 h 886314"/>
                <a:gd name="connsiteX181" fmla="*/ 38122 w 848192"/>
                <a:gd name="connsiteY181" fmla="*/ 619466 h 886314"/>
                <a:gd name="connsiteX182" fmla="*/ 52416 w 848192"/>
                <a:gd name="connsiteY182" fmla="*/ 590876 h 886314"/>
                <a:gd name="connsiteX183" fmla="*/ 57182 w 848192"/>
                <a:gd name="connsiteY183" fmla="*/ 581346 h 886314"/>
                <a:gd name="connsiteX184" fmla="*/ 57182 w 848192"/>
                <a:gd name="connsiteY184" fmla="*/ 552754 h 886314"/>
                <a:gd name="connsiteX185" fmla="*/ 57182 w 848192"/>
                <a:gd name="connsiteY185" fmla="*/ 533694 h 886314"/>
                <a:gd name="connsiteX186" fmla="*/ 61946 w 848192"/>
                <a:gd name="connsiteY186" fmla="*/ 528930 h 886314"/>
                <a:gd name="connsiteX187" fmla="*/ 76242 w 848192"/>
                <a:gd name="connsiteY187" fmla="*/ 524164 h 886314"/>
                <a:gd name="connsiteX188" fmla="*/ 95302 w 848192"/>
                <a:gd name="connsiteY188" fmla="*/ 505104 h 886314"/>
                <a:gd name="connsiteX189" fmla="*/ 104832 w 848192"/>
                <a:gd name="connsiteY189" fmla="*/ 486044 h 886314"/>
                <a:gd name="connsiteX190" fmla="*/ 119128 w 848192"/>
                <a:gd name="connsiteY190" fmla="*/ 471748 h 886314"/>
                <a:gd name="connsiteX191" fmla="*/ 142954 w 848192"/>
                <a:gd name="connsiteY191" fmla="*/ 466982 h 886314"/>
                <a:gd name="connsiteX192" fmla="*/ 147720 w 848192"/>
                <a:gd name="connsiteY192" fmla="*/ 466982 h 886314"/>
                <a:gd name="connsiteX193" fmla="*/ 147720 w 848192"/>
                <a:gd name="connsiteY193" fmla="*/ 471748 h 886314"/>
                <a:gd name="connsiteX194" fmla="*/ 142954 w 848192"/>
                <a:gd name="connsiteY194" fmla="*/ 471748 h 886314"/>
                <a:gd name="connsiteX195" fmla="*/ 142954 w 848192"/>
                <a:gd name="connsiteY195" fmla="*/ 476512 h 886314"/>
                <a:gd name="connsiteX196" fmla="*/ 147720 w 848192"/>
                <a:gd name="connsiteY196" fmla="*/ 486044 h 886314"/>
                <a:gd name="connsiteX197" fmla="*/ 147720 w 848192"/>
                <a:gd name="connsiteY197" fmla="*/ 495574 h 886314"/>
                <a:gd name="connsiteX198" fmla="*/ 152484 w 848192"/>
                <a:gd name="connsiteY198" fmla="*/ 500338 h 886314"/>
                <a:gd name="connsiteX199" fmla="*/ 162014 w 848192"/>
                <a:gd name="connsiteY199" fmla="*/ 495574 h 886314"/>
                <a:gd name="connsiteX200" fmla="*/ 181074 w 848192"/>
                <a:gd name="connsiteY200" fmla="*/ 471748 h 886314"/>
                <a:gd name="connsiteX201" fmla="*/ 181074 w 848192"/>
                <a:gd name="connsiteY201" fmla="*/ 466982 h 886314"/>
                <a:gd name="connsiteX202" fmla="*/ 190606 w 848192"/>
                <a:gd name="connsiteY202" fmla="*/ 452688 h 886314"/>
                <a:gd name="connsiteX203" fmla="*/ 209666 w 848192"/>
                <a:gd name="connsiteY203" fmla="*/ 433626 h 886314"/>
                <a:gd name="connsiteX204" fmla="*/ 219196 w 848192"/>
                <a:gd name="connsiteY204" fmla="*/ 419332 h 886314"/>
                <a:gd name="connsiteX205" fmla="*/ 228726 w 848192"/>
                <a:gd name="connsiteY205" fmla="*/ 419332 h 886314"/>
                <a:gd name="connsiteX206" fmla="*/ 233492 w 848192"/>
                <a:gd name="connsiteY206" fmla="*/ 414566 h 886314"/>
                <a:gd name="connsiteX207" fmla="*/ 243022 w 848192"/>
                <a:gd name="connsiteY207" fmla="*/ 409802 h 886314"/>
                <a:gd name="connsiteX208" fmla="*/ 252552 w 848192"/>
                <a:gd name="connsiteY208" fmla="*/ 409802 h 886314"/>
                <a:gd name="connsiteX209" fmla="*/ 266848 w 848192"/>
                <a:gd name="connsiteY209" fmla="*/ 395506 h 886314"/>
                <a:gd name="connsiteX210" fmla="*/ 271612 w 848192"/>
                <a:gd name="connsiteY210" fmla="*/ 385976 h 886314"/>
                <a:gd name="connsiteX211" fmla="*/ 276378 w 848192"/>
                <a:gd name="connsiteY211" fmla="*/ 376446 h 886314"/>
                <a:gd name="connsiteX212" fmla="*/ 276378 w 848192"/>
                <a:gd name="connsiteY212" fmla="*/ 371680 h 886314"/>
                <a:gd name="connsiteX213" fmla="*/ 281142 w 848192"/>
                <a:gd name="connsiteY213" fmla="*/ 371680 h 886314"/>
                <a:gd name="connsiteX214" fmla="*/ 285908 w 848192"/>
                <a:gd name="connsiteY214" fmla="*/ 366914 h 886314"/>
                <a:gd name="connsiteX215" fmla="*/ 285908 w 848192"/>
                <a:gd name="connsiteY215" fmla="*/ 362150 h 886314"/>
                <a:gd name="connsiteX216" fmla="*/ 285908 w 848192"/>
                <a:gd name="connsiteY216" fmla="*/ 314498 h 886314"/>
                <a:gd name="connsiteX217" fmla="*/ 285908 w 848192"/>
                <a:gd name="connsiteY217" fmla="*/ 304968 h 886314"/>
                <a:gd name="connsiteX218" fmla="*/ 300204 w 848192"/>
                <a:gd name="connsiteY218" fmla="*/ 285908 h 886314"/>
                <a:gd name="connsiteX219" fmla="*/ 300204 w 848192"/>
                <a:gd name="connsiteY219" fmla="*/ 281142 h 886314"/>
                <a:gd name="connsiteX220" fmla="*/ 290672 w 848192"/>
                <a:gd name="connsiteY220" fmla="*/ 285908 h 886314"/>
                <a:gd name="connsiteX221" fmla="*/ 276378 w 848192"/>
                <a:gd name="connsiteY221" fmla="*/ 300204 h 886314"/>
                <a:gd name="connsiteX222" fmla="*/ 271612 w 848192"/>
                <a:gd name="connsiteY222" fmla="*/ 309734 h 886314"/>
                <a:gd name="connsiteX223" fmla="*/ 266848 w 848192"/>
                <a:gd name="connsiteY223" fmla="*/ 319264 h 886314"/>
                <a:gd name="connsiteX224" fmla="*/ 262082 w 848192"/>
                <a:gd name="connsiteY224" fmla="*/ 314498 h 886314"/>
                <a:gd name="connsiteX225" fmla="*/ 252552 w 848192"/>
                <a:gd name="connsiteY225" fmla="*/ 309734 h 886314"/>
                <a:gd name="connsiteX226" fmla="*/ 252552 w 848192"/>
                <a:gd name="connsiteY226" fmla="*/ 304968 h 886314"/>
                <a:gd name="connsiteX227" fmla="*/ 247786 w 848192"/>
                <a:gd name="connsiteY227" fmla="*/ 300204 h 886314"/>
                <a:gd name="connsiteX228" fmla="*/ 238256 w 848192"/>
                <a:gd name="connsiteY228" fmla="*/ 300204 h 886314"/>
                <a:gd name="connsiteX229" fmla="*/ 233492 w 848192"/>
                <a:gd name="connsiteY229" fmla="*/ 295438 h 886314"/>
                <a:gd name="connsiteX230" fmla="*/ 223962 w 848192"/>
                <a:gd name="connsiteY230" fmla="*/ 290672 h 886314"/>
                <a:gd name="connsiteX231" fmla="*/ 219196 w 848192"/>
                <a:gd name="connsiteY231" fmla="*/ 281142 h 886314"/>
                <a:gd name="connsiteX232" fmla="*/ 200136 w 848192"/>
                <a:gd name="connsiteY232" fmla="*/ 281142 h 886314"/>
                <a:gd name="connsiteX233" fmla="*/ 181074 w 848192"/>
                <a:gd name="connsiteY233" fmla="*/ 276378 h 886314"/>
                <a:gd name="connsiteX234" fmla="*/ 181074 w 848192"/>
                <a:gd name="connsiteY234" fmla="*/ 262082 h 886314"/>
                <a:gd name="connsiteX235" fmla="*/ 190606 w 848192"/>
                <a:gd name="connsiteY235" fmla="*/ 238256 h 886314"/>
                <a:gd name="connsiteX236" fmla="*/ 200136 w 848192"/>
                <a:gd name="connsiteY236" fmla="*/ 214430 h 886314"/>
                <a:gd name="connsiteX237" fmla="*/ 200136 w 848192"/>
                <a:gd name="connsiteY237" fmla="*/ 204900 h 886314"/>
                <a:gd name="connsiteX238" fmla="*/ 200136 w 848192"/>
                <a:gd name="connsiteY238" fmla="*/ 200136 h 886314"/>
                <a:gd name="connsiteX239" fmla="*/ 195370 w 848192"/>
                <a:gd name="connsiteY239" fmla="*/ 195370 h 886314"/>
                <a:gd name="connsiteX240" fmla="*/ 190606 w 848192"/>
                <a:gd name="connsiteY240" fmla="*/ 190606 h 886314"/>
                <a:gd name="connsiteX241" fmla="*/ 185840 w 848192"/>
                <a:gd name="connsiteY241" fmla="*/ 181074 h 886314"/>
                <a:gd name="connsiteX242" fmla="*/ 190606 w 848192"/>
                <a:gd name="connsiteY242" fmla="*/ 162014 h 886314"/>
                <a:gd name="connsiteX243" fmla="*/ 200136 w 848192"/>
                <a:gd name="connsiteY243" fmla="*/ 147718 h 886314"/>
                <a:gd name="connsiteX244" fmla="*/ 204900 w 848192"/>
                <a:gd name="connsiteY244" fmla="*/ 138188 h 886314"/>
                <a:gd name="connsiteX245" fmla="*/ 209666 w 848192"/>
                <a:gd name="connsiteY245" fmla="*/ 123894 h 886314"/>
                <a:gd name="connsiteX246" fmla="*/ 209666 w 848192"/>
                <a:gd name="connsiteY246" fmla="*/ 119128 h 886314"/>
                <a:gd name="connsiteX247" fmla="*/ 200136 w 848192"/>
                <a:gd name="connsiteY247" fmla="*/ 114364 h 886314"/>
                <a:gd name="connsiteX248" fmla="*/ 204900 w 848192"/>
                <a:gd name="connsiteY248" fmla="*/ 104832 h 886314"/>
                <a:gd name="connsiteX249" fmla="*/ 214430 w 848192"/>
                <a:gd name="connsiteY249" fmla="*/ 90538 h 886314"/>
                <a:gd name="connsiteX250" fmla="*/ 233492 w 848192"/>
                <a:gd name="connsiteY250" fmla="*/ 76242 h 886314"/>
                <a:gd name="connsiteX251" fmla="*/ 247786 w 848192"/>
                <a:gd name="connsiteY251" fmla="*/ 66712 h 886314"/>
                <a:gd name="connsiteX252" fmla="*/ 257316 w 848192"/>
                <a:gd name="connsiteY252" fmla="*/ 66712 h 886314"/>
                <a:gd name="connsiteX253" fmla="*/ 281142 w 848192"/>
                <a:gd name="connsiteY253" fmla="*/ 76242 h 886314"/>
                <a:gd name="connsiteX254" fmla="*/ 300204 w 848192"/>
                <a:gd name="connsiteY254" fmla="*/ 85772 h 886314"/>
                <a:gd name="connsiteX255" fmla="*/ 309734 w 848192"/>
                <a:gd name="connsiteY255" fmla="*/ 85772 h 886314"/>
                <a:gd name="connsiteX256" fmla="*/ 324028 w 848192"/>
                <a:gd name="connsiteY256" fmla="*/ 81008 h 886314"/>
                <a:gd name="connsiteX257" fmla="*/ 347856 w 848192"/>
                <a:gd name="connsiteY257" fmla="*/ 61946 h 886314"/>
                <a:gd name="connsiteX258" fmla="*/ 357384 w 848192"/>
                <a:gd name="connsiteY258" fmla="*/ 71476 h 886314"/>
                <a:gd name="connsiteX259" fmla="*/ 362148 w 848192"/>
                <a:gd name="connsiteY259" fmla="*/ 81008 h 886314"/>
                <a:gd name="connsiteX260" fmla="*/ 371680 w 848192"/>
                <a:gd name="connsiteY260" fmla="*/ 95302 h 886314"/>
                <a:gd name="connsiteX261" fmla="*/ 390740 w 848192"/>
                <a:gd name="connsiteY261" fmla="*/ 100068 h 886314"/>
                <a:gd name="connsiteX262" fmla="*/ 395504 w 848192"/>
                <a:gd name="connsiteY262" fmla="*/ 104832 h 886314"/>
                <a:gd name="connsiteX263" fmla="*/ 400272 w 848192"/>
                <a:gd name="connsiteY263" fmla="*/ 109598 h 886314"/>
                <a:gd name="connsiteX264" fmla="*/ 405036 w 848192"/>
                <a:gd name="connsiteY264" fmla="*/ 104832 h 886314"/>
                <a:gd name="connsiteX265" fmla="*/ 409800 w 848192"/>
                <a:gd name="connsiteY265" fmla="*/ 95302 h 886314"/>
                <a:gd name="connsiteX266" fmla="*/ 419332 w 848192"/>
                <a:gd name="connsiteY266" fmla="*/ 85772 h 886314"/>
                <a:gd name="connsiteX267" fmla="*/ 433628 w 848192"/>
                <a:gd name="connsiteY267" fmla="*/ 81008 h 886314"/>
                <a:gd name="connsiteX268" fmla="*/ 466984 w 848192"/>
                <a:gd name="connsiteY268" fmla="*/ 71476 h 886314"/>
                <a:gd name="connsiteX269" fmla="*/ 486044 w 848192"/>
                <a:gd name="connsiteY269" fmla="*/ 71476 h 886314"/>
                <a:gd name="connsiteX270" fmla="*/ 495572 w 848192"/>
                <a:gd name="connsiteY270" fmla="*/ 71476 h 886314"/>
                <a:gd name="connsiteX271" fmla="*/ 509868 w 848192"/>
                <a:gd name="connsiteY271" fmla="*/ 66712 h 886314"/>
                <a:gd name="connsiteX272" fmla="*/ 538460 w 848192"/>
                <a:gd name="connsiteY272" fmla="*/ 52416 h 886314"/>
                <a:gd name="connsiteX273" fmla="*/ 562284 w 848192"/>
                <a:gd name="connsiteY273" fmla="*/ 71476 h 886314"/>
                <a:gd name="connsiteX274" fmla="*/ 586112 w 848192"/>
                <a:gd name="connsiteY274" fmla="*/ 71476 h 886314"/>
                <a:gd name="connsiteX275" fmla="*/ 614700 w 848192"/>
                <a:gd name="connsiteY275" fmla="*/ 71476 h 886314"/>
                <a:gd name="connsiteX276" fmla="*/ 619468 w 848192"/>
                <a:gd name="connsiteY276" fmla="*/ 66712 h 886314"/>
                <a:gd name="connsiteX277" fmla="*/ 624232 w 848192"/>
                <a:gd name="connsiteY277" fmla="*/ 61946 h 886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</a:cxnLst>
              <a:rect l="l" t="t" r="r" b="b"/>
              <a:pathLst>
                <a:path w="848192" h="886314">
                  <a:moveTo>
                    <a:pt x="395504" y="695708"/>
                  </a:moveTo>
                  <a:lnTo>
                    <a:pt x="405036" y="695708"/>
                  </a:lnTo>
                  <a:lnTo>
                    <a:pt x="409800" y="695708"/>
                  </a:lnTo>
                  <a:lnTo>
                    <a:pt x="409800" y="705238"/>
                  </a:lnTo>
                  <a:lnTo>
                    <a:pt x="409800" y="710004"/>
                  </a:lnTo>
                  <a:lnTo>
                    <a:pt x="424096" y="705238"/>
                  </a:lnTo>
                  <a:lnTo>
                    <a:pt x="428860" y="710004"/>
                  </a:lnTo>
                  <a:lnTo>
                    <a:pt x="428860" y="719534"/>
                  </a:lnTo>
                  <a:lnTo>
                    <a:pt x="424096" y="733828"/>
                  </a:lnTo>
                  <a:lnTo>
                    <a:pt x="400272" y="743358"/>
                  </a:lnTo>
                  <a:lnTo>
                    <a:pt x="405036" y="733828"/>
                  </a:lnTo>
                  <a:lnTo>
                    <a:pt x="405036" y="729064"/>
                  </a:lnTo>
                  <a:lnTo>
                    <a:pt x="414564" y="719534"/>
                  </a:lnTo>
                  <a:lnTo>
                    <a:pt x="414564" y="714768"/>
                  </a:lnTo>
                  <a:lnTo>
                    <a:pt x="400272" y="710004"/>
                  </a:lnTo>
                  <a:lnTo>
                    <a:pt x="395504" y="710004"/>
                  </a:lnTo>
                  <a:lnTo>
                    <a:pt x="395504" y="705238"/>
                  </a:lnTo>
                  <a:lnTo>
                    <a:pt x="390740" y="700474"/>
                  </a:lnTo>
                  <a:close/>
                  <a:moveTo>
                    <a:pt x="586112" y="609936"/>
                  </a:moveTo>
                  <a:lnTo>
                    <a:pt x="600408" y="614702"/>
                  </a:lnTo>
                  <a:lnTo>
                    <a:pt x="595640" y="624232"/>
                  </a:lnTo>
                  <a:lnTo>
                    <a:pt x="586112" y="628996"/>
                  </a:lnTo>
                  <a:lnTo>
                    <a:pt x="586112" y="638526"/>
                  </a:lnTo>
                  <a:lnTo>
                    <a:pt x="590876" y="648058"/>
                  </a:lnTo>
                  <a:lnTo>
                    <a:pt x="581344" y="638526"/>
                  </a:lnTo>
                  <a:lnTo>
                    <a:pt x="576580" y="633762"/>
                  </a:lnTo>
                  <a:lnTo>
                    <a:pt x="567048" y="633762"/>
                  </a:lnTo>
                  <a:lnTo>
                    <a:pt x="567048" y="628996"/>
                  </a:lnTo>
                  <a:lnTo>
                    <a:pt x="571816" y="628996"/>
                  </a:lnTo>
                  <a:lnTo>
                    <a:pt x="571816" y="624232"/>
                  </a:lnTo>
                  <a:lnTo>
                    <a:pt x="571816" y="614702"/>
                  </a:lnTo>
                  <a:close/>
                  <a:moveTo>
                    <a:pt x="690944" y="0"/>
                  </a:moveTo>
                  <a:lnTo>
                    <a:pt x="714768" y="52416"/>
                  </a:lnTo>
                  <a:lnTo>
                    <a:pt x="724300" y="52416"/>
                  </a:lnTo>
                  <a:lnTo>
                    <a:pt x="719536" y="57182"/>
                  </a:lnTo>
                  <a:lnTo>
                    <a:pt x="719536" y="61946"/>
                  </a:lnTo>
                  <a:lnTo>
                    <a:pt x="733828" y="76242"/>
                  </a:lnTo>
                  <a:lnTo>
                    <a:pt x="752892" y="81008"/>
                  </a:lnTo>
                  <a:lnTo>
                    <a:pt x="762420" y="85772"/>
                  </a:lnTo>
                  <a:lnTo>
                    <a:pt x="762420" y="95302"/>
                  </a:lnTo>
                  <a:lnTo>
                    <a:pt x="757656" y="123894"/>
                  </a:lnTo>
                  <a:lnTo>
                    <a:pt x="757656" y="133424"/>
                  </a:lnTo>
                  <a:lnTo>
                    <a:pt x="762420" y="162014"/>
                  </a:lnTo>
                  <a:lnTo>
                    <a:pt x="776716" y="171544"/>
                  </a:lnTo>
                  <a:lnTo>
                    <a:pt x="786248" y="200136"/>
                  </a:lnTo>
                  <a:lnTo>
                    <a:pt x="805308" y="214430"/>
                  </a:lnTo>
                  <a:lnTo>
                    <a:pt x="810072" y="219196"/>
                  </a:lnTo>
                  <a:lnTo>
                    <a:pt x="814836" y="233492"/>
                  </a:lnTo>
                  <a:lnTo>
                    <a:pt x="819604" y="247786"/>
                  </a:lnTo>
                  <a:lnTo>
                    <a:pt x="824368" y="252552"/>
                  </a:lnTo>
                  <a:lnTo>
                    <a:pt x="829132" y="252552"/>
                  </a:lnTo>
                  <a:lnTo>
                    <a:pt x="833896" y="271612"/>
                  </a:lnTo>
                  <a:lnTo>
                    <a:pt x="833896" y="281142"/>
                  </a:lnTo>
                  <a:lnTo>
                    <a:pt x="838664" y="309734"/>
                  </a:lnTo>
                  <a:lnTo>
                    <a:pt x="843428" y="338324"/>
                  </a:lnTo>
                  <a:lnTo>
                    <a:pt x="848192" y="366914"/>
                  </a:lnTo>
                  <a:lnTo>
                    <a:pt x="848192" y="381210"/>
                  </a:lnTo>
                  <a:lnTo>
                    <a:pt x="843428" y="390740"/>
                  </a:lnTo>
                  <a:lnTo>
                    <a:pt x="843428" y="400270"/>
                  </a:lnTo>
                  <a:lnTo>
                    <a:pt x="838664" y="409802"/>
                  </a:lnTo>
                  <a:lnTo>
                    <a:pt x="833896" y="414566"/>
                  </a:lnTo>
                  <a:lnTo>
                    <a:pt x="824368" y="424096"/>
                  </a:lnTo>
                  <a:lnTo>
                    <a:pt x="814836" y="443158"/>
                  </a:lnTo>
                  <a:lnTo>
                    <a:pt x="819604" y="462218"/>
                  </a:lnTo>
                  <a:lnTo>
                    <a:pt x="819604" y="466982"/>
                  </a:lnTo>
                  <a:lnTo>
                    <a:pt x="814836" y="466982"/>
                  </a:lnTo>
                  <a:lnTo>
                    <a:pt x="805308" y="466982"/>
                  </a:lnTo>
                  <a:lnTo>
                    <a:pt x="795776" y="471748"/>
                  </a:lnTo>
                  <a:lnTo>
                    <a:pt x="786248" y="476512"/>
                  </a:lnTo>
                  <a:lnTo>
                    <a:pt x="776716" y="486044"/>
                  </a:lnTo>
                  <a:lnTo>
                    <a:pt x="767184" y="495574"/>
                  </a:lnTo>
                  <a:lnTo>
                    <a:pt x="757656" y="524164"/>
                  </a:lnTo>
                  <a:lnTo>
                    <a:pt x="738596" y="543224"/>
                  </a:lnTo>
                  <a:lnTo>
                    <a:pt x="738596" y="552754"/>
                  </a:lnTo>
                  <a:lnTo>
                    <a:pt x="719536" y="562286"/>
                  </a:lnTo>
                  <a:lnTo>
                    <a:pt x="710004" y="581346"/>
                  </a:lnTo>
                  <a:lnTo>
                    <a:pt x="705240" y="600406"/>
                  </a:lnTo>
                  <a:lnTo>
                    <a:pt x="700472" y="614702"/>
                  </a:lnTo>
                  <a:lnTo>
                    <a:pt x="690944" y="624232"/>
                  </a:lnTo>
                  <a:lnTo>
                    <a:pt x="686180" y="624232"/>
                  </a:lnTo>
                  <a:lnTo>
                    <a:pt x="671884" y="628998"/>
                  </a:lnTo>
                  <a:lnTo>
                    <a:pt x="652824" y="624232"/>
                  </a:lnTo>
                  <a:lnTo>
                    <a:pt x="648056" y="609936"/>
                  </a:lnTo>
                  <a:lnTo>
                    <a:pt x="643292" y="609936"/>
                  </a:lnTo>
                  <a:lnTo>
                    <a:pt x="638528" y="609936"/>
                  </a:lnTo>
                  <a:lnTo>
                    <a:pt x="628996" y="624232"/>
                  </a:lnTo>
                  <a:lnTo>
                    <a:pt x="619468" y="624232"/>
                  </a:lnTo>
                  <a:lnTo>
                    <a:pt x="614700" y="624232"/>
                  </a:lnTo>
                  <a:lnTo>
                    <a:pt x="605172" y="619466"/>
                  </a:lnTo>
                  <a:lnTo>
                    <a:pt x="605172" y="614702"/>
                  </a:lnTo>
                  <a:lnTo>
                    <a:pt x="614700" y="614702"/>
                  </a:lnTo>
                  <a:lnTo>
                    <a:pt x="614700" y="609936"/>
                  </a:lnTo>
                  <a:lnTo>
                    <a:pt x="609936" y="605172"/>
                  </a:lnTo>
                  <a:lnTo>
                    <a:pt x="590876" y="605172"/>
                  </a:lnTo>
                  <a:lnTo>
                    <a:pt x="590876" y="600406"/>
                  </a:lnTo>
                  <a:lnTo>
                    <a:pt x="595640" y="586110"/>
                  </a:lnTo>
                  <a:lnTo>
                    <a:pt x="586112" y="586110"/>
                  </a:lnTo>
                  <a:lnTo>
                    <a:pt x="581344" y="586110"/>
                  </a:lnTo>
                  <a:lnTo>
                    <a:pt x="576580" y="586110"/>
                  </a:lnTo>
                  <a:lnTo>
                    <a:pt x="567052" y="590876"/>
                  </a:lnTo>
                  <a:lnTo>
                    <a:pt x="567052" y="595642"/>
                  </a:lnTo>
                  <a:lnTo>
                    <a:pt x="557520" y="619466"/>
                  </a:lnTo>
                  <a:lnTo>
                    <a:pt x="547988" y="619466"/>
                  </a:lnTo>
                  <a:lnTo>
                    <a:pt x="547988" y="628998"/>
                  </a:lnTo>
                  <a:lnTo>
                    <a:pt x="538460" y="633762"/>
                  </a:lnTo>
                  <a:lnTo>
                    <a:pt x="528928" y="643292"/>
                  </a:lnTo>
                  <a:lnTo>
                    <a:pt x="524164" y="643292"/>
                  </a:lnTo>
                  <a:lnTo>
                    <a:pt x="519400" y="643292"/>
                  </a:lnTo>
                  <a:lnTo>
                    <a:pt x="519400" y="633762"/>
                  </a:lnTo>
                  <a:lnTo>
                    <a:pt x="514632" y="633762"/>
                  </a:lnTo>
                  <a:lnTo>
                    <a:pt x="505104" y="638528"/>
                  </a:lnTo>
                  <a:lnTo>
                    <a:pt x="495572" y="643292"/>
                  </a:lnTo>
                  <a:lnTo>
                    <a:pt x="490808" y="643292"/>
                  </a:lnTo>
                  <a:lnTo>
                    <a:pt x="486044" y="638528"/>
                  </a:lnTo>
                  <a:lnTo>
                    <a:pt x="490808" y="628998"/>
                  </a:lnTo>
                  <a:lnTo>
                    <a:pt x="486044" y="628998"/>
                  </a:lnTo>
                  <a:lnTo>
                    <a:pt x="481280" y="619466"/>
                  </a:lnTo>
                  <a:lnTo>
                    <a:pt x="476512" y="624232"/>
                  </a:lnTo>
                  <a:lnTo>
                    <a:pt x="471748" y="628998"/>
                  </a:lnTo>
                  <a:lnTo>
                    <a:pt x="466984" y="643292"/>
                  </a:lnTo>
                  <a:lnTo>
                    <a:pt x="462216" y="648058"/>
                  </a:lnTo>
                  <a:lnTo>
                    <a:pt x="457452" y="652822"/>
                  </a:lnTo>
                  <a:lnTo>
                    <a:pt x="452688" y="648058"/>
                  </a:lnTo>
                  <a:lnTo>
                    <a:pt x="447924" y="643292"/>
                  </a:lnTo>
                  <a:lnTo>
                    <a:pt x="443156" y="648058"/>
                  </a:lnTo>
                  <a:lnTo>
                    <a:pt x="433628" y="657588"/>
                  </a:lnTo>
                  <a:lnTo>
                    <a:pt x="424096" y="657588"/>
                  </a:lnTo>
                  <a:lnTo>
                    <a:pt x="419332" y="657588"/>
                  </a:lnTo>
                  <a:lnTo>
                    <a:pt x="414568" y="657588"/>
                  </a:lnTo>
                  <a:lnTo>
                    <a:pt x="405036" y="667118"/>
                  </a:lnTo>
                  <a:lnTo>
                    <a:pt x="390740" y="667118"/>
                  </a:lnTo>
                  <a:lnTo>
                    <a:pt x="385976" y="671884"/>
                  </a:lnTo>
                  <a:lnTo>
                    <a:pt x="371680" y="681414"/>
                  </a:lnTo>
                  <a:lnTo>
                    <a:pt x="371680" y="686178"/>
                  </a:lnTo>
                  <a:lnTo>
                    <a:pt x="376444" y="690944"/>
                  </a:lnTo>
                  <a:lnTo>
                    <a:pt x="381212" y="700474"/>
                  </a:lnTo>
                  <a:lnTo>
                    <a:pt x="381212" y="710004"/>
                  </a:lnTo>
                  <a:lnTo>
                    <a:pt x="362148" y="733830"/>
                  </a:lnTo>
                  <a:lnTo>
                    <a:pt x="352620" y="748126"/>
                  </a:lnTo>
                  <a:lnTo>
                    <a:pt x="338324" y="781482"/>
                  </a:lnTo>
                  <a:lnTo>
                    <a:pt x="338324" y="791012"/>
                  </a:lnTo>
                  <a:lnTo>
                    <a:pt x="343088" y="795776"/>
                  </a:lnTo>
                  <a:lnTo>
                    <a:pt x="343088" y="805306"/>
                  </a:lnTo>
                  <a:lnTo>
                    <a:pt x="347856" y="814838"/>
                  </a:lnTo>
                  <a:lnTo>
                    <a:pt x="200136" y="814838"/>
                  </a:lnTo>
                  <a:lnTo>
                    <a:pt x="195370" y="814838"/>
                  </a:lnTo>
                  <a:lnTo>
                    <a:pt x="185840" y="814838"/>
                  </a:lnTo>
                  <a:lnTo>
                    <a:pt x="171544" y="824368"/>
                  </a:lnTo>
                  <a:lnTo>
                    <a:pt x="162014" y="824368"/>
                  </a:lnTo>
                  <a:lnTo>
                    <a:pt x="147720" y="824368"/>
                  </a:lnTo>
                  <a:lnTo>
                    <a:pt x="142954" y="824368"/>
                  </a:lnTo>
                  <a:lnTo>
                    <a:pt x="133424" y="824368"/>
                  </a:lnTo>
                  <a:lnTo>
                    <a:pt x="123894" y="824368"/>
                  </a:lnTo>
                  <a:lnTo>
                    <a:pt x="119128" y="833898"/>
                  </a:lnTo>
                  <a:lnTo>
                    <a:pt x="114364" y="843428"/>
                  </a:lnTo>
                  <a:lnTo>
                    <a:pt x="100068" y="852958"/>
                  </a:lnTo>
                  <a:lnTo>
                    <a:pt x="90538" y="867254"/>
                  </a:lnTo>
                  <a:lnTo>
                    <a:pt x="85772" y="872018"/>
                  </a:lnTo>
                  <a:lnTo>
                    <a:pt x="66712" y="886314"/>
                  </a:lnTo>
                  <a:lnTo>
                    <a:pt x="57182" y="886314"/>
                  </a:lnTo>
                  <a:lnTo>
                    <a:pt x="52416" y="886314"/>
                  </a:lnTo>
                  <a:lnTo>
                    <a:pt x="42886" y="872018"/>
                  </a:lnTo>
                  <a:lnTo>
                    <a:pt x="42886" y="867254"/>
                  </a:lnTo>
                  <a:lnTo>
                    <a:pt x="9530" y="876784"/>
                  </a:lnTo>
                  <a:lnTo>
                    <a:pt x="4766" y="876784"/>
                  </a:lnTo>
                  <a:lnTo>
                    <a:pt x="4766" y="872018"/>
                  </a:lnTo>
                  <a:lnTo>
                    <a:pt x="0" y="833898"/>
                  </a:lnTo>
                  <a:lnTo>
                    <a:pt x="0" y="810072"/>
                  </a:lnTo>
                  <a:lnTo>
                    <a:pt x="4766" y="795776"/>
                  </a:lnTo>
                  <a:lnTo>
                    <a:pt x="9530" y="781482"/>
                  </a:lnTo>
                  <a:lnTo>
                    <a:pt x="9530" y="767186"/>
                  </a:lnTo>
                  <a:lnTo>
                    <a:pt x="14296" y="743360"/>
                  </a:lnTo>
                  <a:lnTo>
                    <a:pt x="14296" y="738594"/>
                  </a:lnTo>
                  <a:lnTo>
                    <a:pt x="47652" y="705240"/>
                  </a:lnTo>
                  <a:lnTo>
                    <a:pt x="52416" y="686178"/>
                  </a:lnTo>
                  <a:lnTo>
                    <a:pt x="33356" y="676648"/>
                  </a:lnTo>
                  <a:lnTo>
                    <a:pt x="19060" y="676648"/>
                  </a:lnTo>
                  <a:lnTo>
                    <a:pt x="19060" y="667118"/>
                  </a:lnTo>
                  <a:lnTo>
                    <a:pt x="23826" y="643292"/>
                  </a:lnTo>
                  <a:lnTo>
                    <a:pt x="28590" y="633762"/>
                  </a:lnTo>
                  <a:lnTo>
                    <a:pt x="33356" y="633762"/>
                  </a:lnTo>
                  <a:lnTo>
                    <a:pt x="38122" y="619466"/>
                  </a:lnTo>
                  <a:lnTo>
                    <a:pt x="52416" y="590876"/>
                  </a:lnTo>
                  <a:lnTo>
                    <a:pt x="57182" y="581346"/>
                  </a:lnTo>
                  <a:lnTo>
                    <a:pt x="57182" y="552754"/>
                  </a:lnTo>
                  <a:lnTo>
                    <a:pt x="57182" y="533694"/>
                  </a:lnTo>
                  <a:lnTo>
                    <a:pt x="61946" y="528930"/>
                  </a:lnTo>
                  <a:lnTo>
                    <a:pt x="76242" y="524164"/>
                  </a:lnTo>
                  <a:lnTo>
                    <a:pt x="95302" y="505104"/>
                  </a:lnTo>
                  <a:lnTo>
                    <a:pt x="104832" y="486044"/>
                  </a:lnTo>
                  <a:lnTo>
                    <a:pt x="119128" y="471748"/>
                  </a:lnTo>
                  <a:lnTo>
                    <a:pt x="142954" y="466982"/>
                  </a:lnTo>
                  <a:lnTo>
                    <a:pt x="147720" y="466982"/>
                  </a:lnTo>
                  <a:lnTo>
                    <a:pt x="147720" y="471748"/>
                  </a:lnTo>
                  <a:lnTo>
                    <a:pt x="142954" y="471748"/>
                  </a:lnTo>
                  <a:lnTo>
                    <a:pt x="142954" y="476512"/>
                  </a:lnTo>
                  <a:lnTo>
                    <a:pt x="147720" y="486044"/>
                  </a:lnTo>
                  <a:lnTo>
                    <a:pt x="147720" y="495574"/>
                  </a:lnTo>
                  <a:lnTo>
                    <a:pt x="152484" y="500338"/>
                  </a:lnTo>
                  <a:lnTo>
                    <a:pt x="162014" y="495574"/>
                  </a:lnTo>
                  <a:lnTo>
                    <a:pt x="181074" y="471748"/>
                  </a:lnTo>
                  <a:lnTo>
                    <a:pt x="181074" y="466982"/>
                  </a:lnTo>
                  <a:lnTo>
                    <a:pt x="190606" y="452688"/>
                  </a:lnTo>
                  <a:lnTo>
                    <a:pt x="209666" y="433626"/>
                  </a:lnTo>
                  <a:lnTo>
                    <a:pt x="219196" y="419332"/>
                  </a:lnTo>
                  <a:lnTo>
                    <a:pt x="228726" y="419332"/>
                  </a:lnTo>
                  <a:lnTo>
                    <a:pt x="233492" y="414566"/>
                  </a:lnTo>
                  <a:lnTo>
                    <a:pt x="243022" y="409802"/>
                  </a:lnTo>
                  <a:lnTo>
                    <a:pt x="252552" y="409802"/>
                  </a:lnTo>
                  <a:lnTo>
                    <a:pt x="266848" y="395506"/>
                  </a:lnTo>
                  <a:lnTo>
                    <a:pt x="271612" y="385976"/>
                  </a:lnTo>
                  <a:lnTo>
                    <a:pt x="276378" y="376446"/>
                  </a:lnTo>
                  <a:lnTo>
                    <a:pt x="276378" y="371680"/>
                  </a:lnTo>
                  <a:lnTo>
                    <a:pt x="281142" y="371680"/>
                  </a:lnTo>
                  <a:lnTo>
                    <a:pt x="285908" y="366914"/>
                  </a:lnTo>
                  <a:lnTo>
                    <a:pt x="285908" y="362150"/>
                  </a:lnTo>
                  <a:lnTo>
                    <a:pt x="285908" y="314498"/>
                  </a:lnTo>
                  <a:lnTo>
                    <a:pt x="285908" y="304968"/>
                  </a:lnTo>
                  <a:lnTo>
                    <a:pt x="300204" y="285908"/>
                  </a:lnTo>
                  <a:lnTo>
                    <a:pt x="300204" y="281142"/>
                  </a:lnTo>
                  <a:lnTo>
                    <a:pt x="290672" y="285908"/>
                  </a:lnTo>
                  <a:lnTo>
                    <a:pt x="276378" y="300204"/>
                  </a:lnTo>
                  <a:lnTo>
                    <a:pt x="271612" y="309734"/>
                  </a:lnTo>
                  <a:lnTo>
                    <a:pt x="266848" y="319264"/>
                  </a:lnTo>
                  <a:lnTo>
                    <a:pt x="262082" y="314498"/>
                  </a:lnTo>
                  <a:lnTo>
                    <a:pt x="252552" y="309734"/>
                  </a:lnTo>
                  <a:lnTo>
                    <a:pt x="252552" y="304968"/>
                  </a:lnTo>
                  <a:lnTo>
                    <a:pt x="247786" y="300204"/>
                  </a:lnTo>
                  <a:lnTo>
                    <a:pt x="238256" y="300204"/>
                  </a:lnTo>
                  <a:lnTo>
                    <a:pt x="233492" y="295438"/>
                  </a:lnTo>
                  <a:lnTo>
                    <a:pt x="223962" y="290672"/>
                  </a:lnTo>
                  <a:lnTo>
                    <a:pt x="219196" y="281142"/>
                  </a:lnTo>
                  <a:lnTo>
                    <a:pt x="200136" y="281142"/>
                  </a:lnTo>
                  <a:lnTo>
                    <a:pt x="181074" y="276378"/>
                  </a:lnTo>
                  <a:lnTo>
                    <a:pt x="181074" y="262082"/>
                  </a:lnTo>
                  <a:lnTo>
                    <a:pt x="190606" y="238256"/>
                  </a:lnTo>
                  <a:lnTo>
                    <a:pt x="200136" y="214430"/>
                  </a:lnTo>
                  <a:lnTo>
                    <a:pt x="200136" y="204900"/>
                  </a:lnTo>
                  <a:lnTo>
                    <a:pt x="200136" y="200136"/>
                  </a:lnTo>
                  <a:lnTo>
                    <a:pt x="195370" y="195370"/>
                  </a:lnTo>
                  <a:lnTo>
                    <a:pt x="190606" y="190606"/>
                  </a:lnTo>
                  <a:lnTo>
                    <a:pt x="185840" y="181074"/>
                  </a:lnTo>
                  <a:lnTo>
                    <a:pt x="190606" y="162014"/>
                  </a:lnTo>
                  <a:lnTo>
                    <a:pt x="200136" y="147718"/>
                  </a:lnTo>
                  <a:lnTo>
                    <a:pt x="204900" y="138188"/>
                  </a:lnTo>
                  <a:lnTo>
                    <a:pt x="209666" y="123894"/>
                  </a:lnTo>
                  <a:lnTo>
                    <a:pt x="209666" y="119128"/>
                  </a:lnTo>
                  <a:lnTo>
                    <a:pt x="200136" y="114364"/>
                  </a:lnTo>
                  <a:lnTo>
                    <a:pt x="204900" y="104832"/>
                  </a:lnTo>
                  <a:lnTo>
                    <a:pt x="214430" y="90538"/>
                  </a:lnTo>
                  <a:lnTo>
                    <a:pt x="233492" y="76242"/>
                  </a:lnTo>
                  <a:lnTo>
                    <a:pt x="247786" y="66712"/>
                  </a:lnTo>
                  <a:lnTo>
                    <a:pt x="257316" y="66712"/>
                  </a:lnTo>
                  <a:lnTo>
                    <a:pt x="281142" y="76242"/>
                  </a:lnTo>
                  <a:lnTo>
                    <a:pt x="300204" y="85772"/>
                  </a:lnTo>
                  <a:lnTo>
                    <a:pt x="309734" y="85772"/>
                  </a:lnTo>
                  <a:lnTo>
                    <a:pt x="324028" y="81008"/>
                  </a:lnTo>
                  <a:lnTo>
                    <a:pt x="347856" y="61946"/>
                  </a:lnTo>
                  <a:lnTo>
                    <a:pt x="357384" y="71476"/>
                  </a:lnTo>
                  <a:lnTo>
                    <a:pt x="362148" y="81008"/>
                  </a:lnTo>
                  <a:lnTo>
                    <a:pt x="371680" y="95302"/>
                  </a:lnTo>
                  <a:lnTo>
                    <a:pt x="390740" y="100068"/>
                  </a:lnTo>
                  <a:lnTo>
                    <a:pt x="395504" y="104832"/>
                  </a:lnTo>
                  <a:lnTo>
                    <a:pt x="400272" y="109598"/>
                  </a:lnTo>
                  <a:lnTo>
                    <a:pt x="405036" y="104832"/>
                  </a:lnTo>
                  <a:lnTo>
                    <a:pt x="409800" y="95302"/>
                  </a:lnTo>
                  <a:lnTo>
                    <a:pt x="419332" y="85772"/>
                  </a:lnTo>
                  <a:lnTo>
                    <a:pt x="433628" y="81008"/>
                  </a:lnTo>
                  <a:lnTo>
                    <a:pt x="466984" y="71476"/>
                  </a:lnTo>
                  <a:lnTo>
                    <a:pt x="486044" y="71476"/>
                  </a:lnTo>
                  <a:lnTo>
                    <a:pt x="495572" y="71476"/>
                  </a:lnTo>
                  <a:lnTo>
                    <a:pt x="509868" y="66712"/>
                  </a:lnTo>
                  <a:lnTo>
                    <a:pt x="538460" y="52416"/>
                  </a:lnTo>
                  <a:lnTo>
                    <a:pt x="562284" y="71476"/>
                  </a:lnTo>
                  <a:lnTo>
                    <a:pt x="586112" y="71476"/>
                  </a:lnTo>
                  <a:lnTo>
                    <a:pt x="614700" y="71476"/>
                  </a:lnTo>
                  <a:lnTo>
                    <a:pt x="619468" y="66712"/>
                  </a:lnTo>
                  <a:lnTo>
                    <a:pt x="624232" y="6194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4" name="Line 6545">
              <a:extLst>
                <a:ext uri="{FF2B5EF4-FFF2-40B4-BE49-F238E27FC236}">
                  <a16:creationId xmlns:a16="http://schemas.microsoft.com/office/drawing/2014/main" id="{6B759DD5-E673-4414-96F6-3FCAFACD871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144105" y="3852241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5" name="Freeform 363">
              <a:extLst>
                <a:ext uri="{FF2B5EF4-FFF2-40B4-BE49-F238E27FC236}">
                  <a16:creationId xmlns:a16="http://schemas.microsoft.com/office/drawing/2014/main" id="{CEB11CBC-2F8F-40B0-89B3-7EF0425C9F0E}"/>
                </a:ext>
              </a:extLst>
            </p:cNvPr>
            <p:cNvSpPr/>
            <p:nvPr/>
          </p:nvSpPr>
          <p:spPr bwMode="auto">
            <a:xfrm>
              <a:off x="5858110" y="3851470"/>
              <a:ext cx="454047" cy="303725"/>
            </a:xfrm>
            <a:custGeom>
              <a:avLst/>
              <a:gdLst>
                <a:gd name="connsiteX0" fmla="*/ 1462894 w 2806662"/>
                <a:gd name="connsiteY0" fmla="*/ 1439068 h 1877460"/>
                <a:gd name="connsiteX1" fmla="*/ 1472426 w 2806662"/>
                <a:gd name="connsiteY1" fmla="*/ 1453364 h 1877460"/>
                <a:gd name="connsiteX2" fmla="*/ 1481954 w 2806662"/>
                <a:gd name="connsiteY2" fmla="*/ 1458128 h 1877460"/>
                <a:gd name="connsiteX3" fmla="*/ 1539138 w 2806662"/>
                <a:gd name="connsiteY3" fmla="*/ 1477188 h 1877460"/>
                <a:gd name="connsiteX4" fmla="*/ 1562962 w 2806662"/>
                <a:gd name="connsiteY4" fmla="*/ 1486720 h 1877460"/>
                <a:gd name="connsiteX5" fmla="*/ 1539138 w 2806662"/>
                <a:gd name="connsiteY5" fmla="*/ 1481954 h 1877460"/>
                <a:gd name="connsiteX6" fmla="*/ 1491486 w 2806662"/>
                <a:gd name="connsiteY6" fmla="*/ 1472424 h 1877460"/>
                <a:gd name="connsiteX7" fmla="*/ 1472426 w 2806662"/>
                <a:gd name="connsiteY7" fmla="*/ 1462894 h 1877460"/>
                <a:gd name="connsiteX8" fmla="*/ 1467660 w 2806662"/>
                <a:gd name="connsiteY8" fmla="*/ 1453364 h 1877460"/>
                <a:gd name="connsiteX9" fmla="*/ 1739270 w 2806662"/>
                <a:gd name="connsiteY9" fmla="*/ 0 h 1877460"/>
                <a:gd name="connsiteX10" fmla="*/ 1767862 w 2806662"/>
                <a:gd name="connsiteY10" fmla="*/ 4766 h 1877460"/>
                <a:gd name="connsiteX11" fmla="*/ 1791686 w 2806662"/>
                <a:gd name="connsiteY11" fmla="*/ 4766 h 1877460"/>
                <a:gd name="connsiteX12" fmla="*/ 1810750 w 2806662"/>
                <a:gd name="connsiteY12" fmla="*/ 0 h 1877460"/>
                <a:gd name="connsiteX13" fmla="*/ 1825042 w 2806662"/>
                <a:gd name="connsiteY13" fmla="*/ 9530 h 1877460"/>
                <a:gd name="connsiteX14" fmla="*/ 1839338 w 2806662"/>
                <a:gd name="connsiteY14" fmla="*/ 28590 h 1877460"/>
                <a:gd name="connsiteX15" fmla="*/ 1853634 w 2806662"/>
                <a:gd name="connsiteY15" fmla="*/ 52416 h 1877460"/>
                <a:gd name="connsiteX16" fmla="*/ 1867930 w 2806662"/>
                <a:gd name="connsiteY16" fmla="*/ 95302 h 1877460"/>
                <a:gd name="connsiteX17" fmla="*/ 1915582 w 2806662"/>
                <a:gd name="connsiteY17" fmla="*/ 147718 h 1877460"/>
                <a:gd name="connsiteX18" fmla="*/ 1915582 w 2806662"/>
                <a:gd name="connsiteY18" fmla="*/ 157250 h 1877460"/>
                <a:gd name="connsiteX19" fmla="*/ 1910814 w 2806662"/>
                <a:gd name="connsiteY19" fmla="*/ 162014 h 1877460"/>
                <a:gd name="connsiteX20" fmla="*/ 1886990 w 2806662"/>
                <a:gd name="connsiteY20" fmla="*/ 166780 h 1877460"/>
                <a:gd name="connsiteX21" fmla="*/ 1867930 w 2806662"/>
                <a:gd name="connsiteY21" fmla="*/ 171544 h 1877460"/>
                <a:gd name="connsiteX22" fmla="*/ 1867930 w 2806662"/>
                <a:gd name="connsiteY22" fmla="*/ 181074 h 1877460"/>
                <a:gd name="connsiteX23" fmla="*/ 1872694 w 2806662"/>
                <a:gd name="connsiteY23" fmla="*/ 190606 h 1877460"/>
                <a:gd name="connsiteX24" fmla="*/ 1882226 w 2806662"/>
                <a:gd name="connsiteY24" fmla="*/ 204900 h 1877460"/>
                <a:gd name="connsiteX25" fmla="*/ 1882226 w 2806662"/>
                <a:gd name="connsiteY25" fmla="*/ 219196 h 1877460"/>
                <a:gd name="connsiteX26" fmla="*/ 1882226 w 2806662"/>
                <a:gd name="connsiteY26" fmla="*/ 238256 h 1877460"/>
                <a:gd name="connsiteX27" fmla="*/ 1886990 w 2806662"/>
                <a:gd name="connsiteY27" fmla="*/ 252552 h 1877460"/>
                <a:gd name="connsiteX28" fmla="*/ 1896522 w 2806662"/>
                <a:gd name="connsiteY28" fmla="*/ 257316 h 1877460"/>
                <a:gd name="connsiteX29" fmla="*/ 1896522 w 2806662"/>
                <a:gd name="connsiteY29" fmla="*/ 262082 h 1877460"/>
                <a:gd name="connsiteX30" fmla="*/ 1886990 w 2806662"/>
                <a:gd name="connsiteY30" fmla="*/ 271612 h 1877460"/>
                <a:gd name="connsiteX31" fmla="*/ 1886990 w 2806662"/>
                <a:gd name="connsiteY31" fmla="*/ 276378 h 1877460"/>
                <a:gd name="connsiteX32" fmla="*/ 1886990 w 2806662"/>
                <a:gd name="connsiteY32" fmla="*/ 281142 h 1877460"/>
                <a:gd name="connsiteX33" fmla="*/ 1929878 w 2806662"/>
                <a:gd name="connsiteY33" fmla="*/ 281142 h 1877460"/>
                <a:gd name="connsiteX34" fmla="*/ 1948938 w 2806662"/>
                <a:gd name="connsiteY34" fmla="*/ 290672 h 1877460"/>
                <a:gd name="connsiteX35" fmla="*/ 1963234 w 2806662"/>
                <a:gd name="connsiteY35" fmla="*/ 300204 h 1877460"/>
                <a:gd name="connsiteX36" fmla="*/ 1972762 w 2806662"/>
                <a:gd name="connsiteY36" fmla="*/ 300204 h 1877460"/>
                <a:gd name="connsiteX37" fmla="*/ 1987058 w 2806662"/>
                <a:gd name="connsiteY37" fmla="*/ 295438 h 1877460"/>
                <a:gd name="connsiteX38" fmla="*/ 2006118 w 2806662"/>
                <a:gd name="connsiteY38" fmla="*/ 290672 h 1877460"/>
                <a:gd name="connsiteX39" fmla="*/ 2015650 w 2806662"/>
                <a:gd name="connsiteY39" fmla="*/ 290672 h 1877460"/>
                <a:gd name="connsiteX40" fmla="*/ 2020414 w 2806662"/>
                <a:gd name="connsiteY40" fmla="*/ 295438 h 1877460"/>
                <a:gd name="connsiteX41" fmla="*/ 2025178 w 2806662"/>
                <a:gd name="connsiteY41" fmla="*/ 309734 h 1877460"/>
                <a:gd name="connsiteX42" fmla="*/ 2034710 w 2806662"/>
                <a:gd name="connsiteY42" fmla="*/ 324028 h 1877460"/>
                <a:gd name="connsiteX43" fmla="*/ 2039474 w 2806662"/>
                <a:gd name="connsiteY43" fmla="*/ 328794 h 1877460"/>
                <a:gd name="connsiteX44" fmla="*/ 2049006 w 2806662"/>
                <a:gd name="connsiteY44" fmla="*/ 328794 h 1877460"/>
                <a:gd name="connsiteX45" fmla="*/ 2058534 w 2806662"/>
                <a:gd name="connsiteY45" fmla="*/ 328794 h 1877460"/>
                <a:gd name="connsiteX46" fmla="*/ 2058534 w 2806662"/>
                <a:gd name="connsiteY46" fmla="*/ 338324 h 1877460"/>
                <a:gd name="connsiteX47" fmla="*/ 2053770 w 2806662"/>
                <a:gd name="connsiteY47" fmla="*/ 343090 h 1877460"/>
                <a:gd name="connsiteX48" fmla="*/ 2058534 w 2806662"/>
                <a:gd name="connsiteY48" fmla="*/ 352620 h 1877460"/>
                <a:gd name="connsiteX49" fmla="*/ 2063302 w 2806662"/>
                <a:gd name="connsiteY49" fmla="*/ 366914 h 1877460"/>
                <a:gd name="connsiteX50" fmla="*/ 2068066 w 2806662"/>
                <a:gd name="connsiteY50" fmla="*/ 390740 h 1877460"/>
                <a:gd name="connsiteX51" fmla="*/ 2072830 w 2806662"/>
                <a:gd name="connsiteY51" fmla="*/ 400270 h 1877460"/>
                <a:gd name="connsiteX52" fmla="*/ 2077594 w 2806662"/>
                <a:gd name="connsiteY52" fmla="*/ 409800 h 1877460"/>
                <a:gd name="connsiteX53" fmla="*/ 2077594 w 2806662"/>
                <a:gd name="connsiteY53" fmla="*/ 419332 h 1877460"/>
                <a:gd name="connsiteX54" fmla="*/ 2072830 w 2806662"/>
                <a:gd name="connsiteY54" fmla="*/ 428862 h 1877460"/>
                <a:gd name="connsiteX55" fmla="*/ 2068066 w 2806662"/>
                <a:gd name="connsiteY55" fmla="*/ 438392 h 1877460"/>
                <a:gd name="connsiteX56" fmla="*/ 2072830 w 2806662"/>
                <a:gd name="connsiteY56" fmla="*/ 457452 h 1877460"/>
                <a:gd name="connsiteX57" fmla="*/ 2082362 w 2806662"/>
                <a:gd name="connsiteY57" fmla="*/ 471748 h 1877460"/>
                <a:gd name="connsiteX58" fmla="*/ 2091890 w 2806662"/>
                <a:gd name="connsiteY58" fmla="*/ 481278 h 1877460"/>
                <a:gd name="connsiteX59" fmla="*/ 2101422 w 2806662"/>
                <a:gd name="connsiteY59" fmla="*/ 495574 h 1877460"/>
                <a:gd name="connsiteX60" fmla="*/ 2110950 w 2806662"/>
                <a:gd name="connsiteY60" fmla="*/ 500338 h 1877460"/>
                <a:gd name="connsiteX61" fmla="*/ 2130014 w 2806662"/>
                <a:gd name="connsiteY61" fmla="*/ 486042 h 1877460"/>
                <a:gd name="connsiteX62" fmla="*/ 2149074 w 2806662"/>
                <a:gd name="connsiteY62" fmla="*/ 481278 h 1877460"/>
                <a:gd name="connsiteX63" fmla="*/ 2163366 w 2806662"/>
                <a:gd name="connsiteY63" fmla="*/ 486042 h 1877460"/>
                <a:gd name="connsiteX64" fmla="*/ 2182430 w 2806662"/>
                <a:gd name="connsiteY64" fmla="*/ 486042 h 1877460"/>
                <a:gd name="connsiteX65" fmla="*/ 2191958 w 2806662"/>
                <a:gd name="connsiteY65" fmla="*/ 495574 h 1877460"/>
                <a:gd name="connsiteX66" fmla="*/ 2201490 w 2806662"/>
                <a:gd name="connsiteY66" fmla="*/ 509868 h 1877460"/>
                <a:gd name="connsiteX67" fmla="*/ 2211018 w 2806662"/>
                <a:gd name="connsiteY67" fmla="*/ 519398 h 1877460"/>
                <a:gd name="connsiteX68" fmla="*/ 2220550 w 2806662"/>
                <a:gd name="connsiteY68" fmla="*/ 514634 h 1877460"/>
                <a:gd name="connsiteX69" fmla="*/ 2239610 w 2806662"/>
                <a:gd name="connsiteY69" fmla="*/ 519398 h 1877460"/>
                <a:gd name="connsiteX70" fmla="*/ 2249142 w 2806662"/>
                <a:gd name="connsiteY70" fmla="*/ 528930 h 1877460"/>
                <a:gd name="connsiteX71" fmla="*/ 2258670 w 2806662"/>
                <a:gd name="connsiteY71" fmla="*/ 533694 h 1877460"/>
                <a:gd name="connsiteX72" fmla="*/ 2272966 w 2806662"/>
                <a:gd name="connsiteY72" fmla="*/ 528930 h 1877460"/>
                <a:gd name="connsiteX73" fmla="*/ 2282494 w 2806662"/>
                <a:gd name="connsiteY73" fmla="*/ 514634 h 1877460"/>
                <a:gd name="connsiteX74" fmla="*/ 2315854 w 2806662"/>
                <a:gd name="connsiteY74" fmla="*/ 505104 h 1877460"/>
                <a:gd name="connsiteX75" fmla="*/ 2339678 w 2806662"/>
                <a:gd name="connsiteY75" fmla="*/ 500338 h 1877460"/>
                <a:gd name="connsiteX76" fmla="*/ 2344442 w 2806662"/>
                <a:gd name="connsiteY76" fmla="*/ 500338 h 1877460"/>
                <a:gd name="connsiteX77" fmla="*/ 2358738 w 2806662"/>
                <a:gd name="connsiteY77" fmla="*/ 490808 h 1877460"/>
                <a:gd name="connsiteX78" fmla="*/ 2373034 w 2806662"/>
                <a:gd name="connsiteY78" fmla="*/ 486042 h 1877460"/>
                <a:gd name="connsiteX79" fmla="*/ 2387330 w 2806662"/>
                <a:gd name="connsiteY79" fmla="*/ 486042 h 1877460"/>
                <a:gd name="connsiteX80" fmla="*/ 2396858 w 2806662"/>
                <a:gd name="connsiteY80" fmla="*/ 505104 h 1877460"/>
                <a:gd name="connsiteX81" fmla="*/ 2411154 w 2806662"/>
                <a:gd name="connsiteY81" fmla="*/ 514634 h 1877460"/>
                <a:gd name="connsiteX82" fmla="*/ 2415918 w 2806662"/>
                <a:gd name="connsiteY82" fmla="*/ 533694 h 1877460"/>
                <a:gd name="connsiteX83" fmla="*/ 2430214 w 2806662"/>
                <a:gd name="connsiteY83" fmla="*/ 562284 h 1877460"/>
                <a:gd name="connsiteX84" fmla="*/ 2468334 w 2806662"/>
                <a:gd name="connsiteY84" fmla="*/ 595640 h 1877460"/>
                <a:gd name="connsiteX85" fmla="*/ 2482630 w 2806662"/>
                <a:gd name="connsiteY85" fmla="*/ 605172 h 1877460"/>
                <a:gd name="connsiteX86" fmla="*/ 2492162 w 2806662"/>
                <a:gd name="connsiteY86" fmla="*/ 605172 h 1877460"/>
                <a:gd name="connsiteX87" fmla="*/ 2501690 w 2806662"/>
                <a:gd name="connsiteY87" fmla="*/ 600406 h 1877460"/>
                <a:gd name="connsiteX88" fmla="*/ 2501690 w 2806662"/>
                <a:gd name="connsiteY88" fmla="*/ 595640 h 1877460"/>
                <a:gd name="connsiteX89" fmla="*/ 2501690 w 2806662"/>
                <a:gd name="connsiteY89" fmla="*/ 581346 h 1877460"/>
                <a:gd name="connsiteX90" fmla="*/ 2506458 w 2806662"/>
                <a:gd name="connsiteY90" fmla="*/ 576580 h 1877460"/>
                <a:gd name="connsiteX91" fmla="*/ 2515986 w 2806662"/>
                <a:gd name="connsiteY91" fmla="*/ 576580 h 1877460"/>
                <a:gd name="connsiteX92" fmla="*/ 2544578 w 2806662"/>
                <a:gd name="connsiteY92" fmla="*/ 595640 h 1877460"/>
                <a:gd name="connsiteX93" fmla="*/ 2563638 w 2806662"/>
                <a:gd name="connsiteY93" fmla="*/ 595640 h 1877460"/>
                <a:gd name="connsiteX94" fmla="*/ 2577934 w 2806662"/>
                <a:gd name="connsiteY94" fmla="*/ 600406 h 1877460"/>
                <a:gd name="connsiteX95" fmla="*/ 2596994 w 2806662"/>
                <a:gd name="connsiteY95" fmla="*/ 614702 h 1877460"/>
                <a:gd name="connsiteX96" fmla="*/ 2620822 w 2806662"/>
                <a:gd name="connsiteY96" fmla="*/ 628996 h 1877460"/>
                <a:gd name="connsiteX97" fmla="*/ 2635114 w 2806662"/>
                <a:gd name="connsiteY97" fmla="*/ 628996 h 1877460"/>
                <a:gd name="connsiteX98" fmla="*/ 2649410 w 2806662"/>
                <a:gd name="connsiteY98" fmla="*/ 624232 h 1877460"/>
                <a:gd name="connsiteX99" fmla="*/ 2658942 w 2806662"/>
                <a:gd name="connsiteY99" fmla="*/ 619466 h 1877460"/>
                <a:gd name="connsiteX100" fmla="*/ 2663706 w 2806662"/>
                <a:gd name="connsiteY100" fmla="*/ 628996 h 1877460"/>
                <a:gd name="connsiteX101" fmla="*/ 2668470 w 2806662"/>
                <a:gd name="connsiteY101" fmla="*/ 638528 h 1877460"/>
                <a:gd name="connsiteX102" fmla="*/ 2678002 w 2806662"/>
                <a:gd name="connsiteY102" fmla="*/ 648058 h 1877460"/>
                <a:gd name="connsiteX103" fmla="*/ 2687530 w 2806662"/>
                <a:gd name="connsiteY103" fmla="*/ 652822 h 1877460"/>
                <a:gd name="connsiteX104" fmla="*/ 2706594 w 2806662"/>
                <a:gd name="connsiteY104" fmla="*/ 652822 h 1877460"/>
                <a:gd name="connsiteX105" fmla="*/ 2730418 w 2806662"/>
                <a:gd name="connsiteY105" fmla="*/ 671882 h 1877460"/>
                <a:gd name="connsiteX106" fmla="*/ 2754242 w 2806662"/>
                <a:gd name="connsiteY106" fmla="*/ 690944 h 1877460"/>
                <a:gd name="connsiteX107" fmla="*/ 2768538 w 2806662"/>
                <a:gd name="connsiteY107" fmla="*/ 690944 h 1877460"/>
                <a:gd name="connsiteX108" fmla="*/ 2782834 w 2806662"/>
                <a:gd name="connsiteY108" fmla="*/ 686178 h 1877460"/>
                <a:gd name="connsiteX109" fmla="*/ 2792366 w 2806662"/>
                <a:gd name="connsiteY109" fmla="*/ 686178 h 1877460"/>
                <a:gd name="connsiteX110" fmla="*/ 2801894 w 2806662"/>
                <a:gd name="connsiteY110" fmla="*/ 690944 h 1877460"/>
                <a:gd name="connsiteX111" fmla="*/ 2801894 w 2806662"/>
                <a:gd name="connsiteY111" fmla="*/ 695708 h 1877460"/>
                <a:gd name="connsiteX112" fmla="*/ 2797130 w 2806662"/>
                <a:gd name="connsiteY112" fmla="*/ 710004 h 1877460"/>
                <a:gd name="connsiteX113" fmla="*/ 2797130 w 2806662"/>
                <a:gd name="connsiteY113" fmla="*/ 724300 h 1877460"/>
                <a:gd name="connsiteX114" fmla="*/ 2806662 w 2806662"/>
                <a:gd name="connsiteY114" fmla="*/ 738594 h 1877460"/>
                <a:gd name="connsiteX115" fmla="*/ 2806662 w 2806662"/>
                <a:gd name="connsiteY115" fmla="*/ 752890 h 1877460"/>
                <a:gd name="connsiteX116" fmla="*/ 2806662 w 2806662"/>
                <a:gd name="connsiteY116" fmla="*/ 767186 h 1877460"/>
                <a:gd name="connsiteX117" fmla="*/ 2797130 w 2806662"/>
                <a:gd name="connsiteY117" fmla="*/ 781480 h 1877460"/>
                <a:gd name="connsiteX118" fmla="*/ 2782834 w 2806662"/>
                <a:gd name="connsiteY118" fmla="*/ 795776 h 1877460"/>
                <a:gd name="connsiteX119" fmla="*/ 2773302 w 2806662"/>
                <a:gd name="connsiteY119" fmla="*/ 810072 h 1877460"/>
                <a:gd name="connsiteX120" fmla="*/ 2749478 w 2806662"/>
                <a:gd name="connsiteY120" fmla="*/ 819602 h 1877460"/>
                <a:gd name="connsiteX121" fmla="*/ 2739950 w 2806662"/>
                <a:gd name="connsiteY121" fmla="*/ 824366 h 1877460"/>
                <a:gd name="connsiteX122" fmla="*/ 2744714 w 2806662"/>
                <a:gd name="connsiteY122" fmla="*/ 838662 h 1877460"/>
                <a:gd name="connsiteX123" fmla="*/ 2749478 w 2806662"/>
                <a:gd name="connsiteY123" fmla="*/ 848192 h 1877460"/>
                <a:gd name="connsiteX124" fmla="*/ 2768538 w 2806662"/>
                <a:gd name="connsiteY124" fmla="*/ 857722 h 1877460"/>
                <a:gd name="connsiteX125" fmla="*/ 2787598 w 2806662"/>
                <a:gd name="connsiteY125" fmla="*/ 862488 h 1877460"/>
                <a:gd name="connsiteX126" fmla="*/ 2787598 w 2806662"/>
                <a:gd name="connsiteY126" fmla="*/ 872018 h 1877460"/>
                <a:gd name="connsiteX127" fmla="*/ 2773302 w 2806662"/>
                <a:gd name="connsiteY127" fmla="*/ 876784 h 1877460"/>
                <a:gd name="connsiteX128" fmla="*/ 2754242 w 2806662"/>
                <a:gd name="connsiteY128" fmla="*/ 872018 h 1877460"/>
                <a:gd name="connsiteX129" fmla="*/ 2749478 w 2806662"/>
                <a:gd name="connsiteY129" fmla="*/ 876784 h 1877460"/>
                <a:gd name="connsiteX130" fmla="*/ 2744714 w 2806662"/>
                <a:gd name="connsiteY130" fmla="*/ 891078 h 1877460"/>
                <a:gd name="connsiteX131" fmla="*/ 2735182 w 2806662"/>
                <a:gd name="connsiteY131" fmla="*/ 905374 h 1877460"/>
                <a:gd name="connsiteX132" fmla="*/ 2730418 w 2806662"/>
                <a:gd name="connsiteY132" fmla="*/ 924434 h 1877460"/>
                <a:gd name="connsiteX133" fmla="*/ 2754242 w 2806662"/>
                <a:gd name="connsiteY133" fmla="*/ 929200 h 1877460"/>
                <a:gd name="connsiteX134" fmla="*/ 2763774 w 2806662"/>
                <a:gd name="connsiteY134" fmla="*/ 933964 h 1877460"/>
                <a:gd name="connsiteX135" fmla="*/ 2763774 w 2806662"/>
                <a:gd name="connsiteY135" fmla="*/ 948260 h 1877460"/>
                <a:gd name="connsiteX136" fmla="*/ 2768538 w 2806662"/>
                <a:gd name="connsiteY136" fmla="*/ 967320 h 1877460"/>
                <a:gd name="connsiteX137" fmla="*/ 2773302 w 2806662"/>
                <a:gd name="connsiteY137" fmla="*/ 976852 h 1877460"/>
                <a:gd name="connsiteX138" fmla="*/ 2763774 w 2806662"/>
                <a:gd name="connsiteY138" fmla="*/ 986382 h 1877460"/>
                <a:gd name="connsiteX139" fmla="*/ 2763774 w 2806662"/>
                <a:gd name="connsiteY139" fmla="*/ 991146 h 1877460"/>
                <a:gd name="connsiteX140" fmla="*/ 2768538 w 2806662"/>
                <a:gd name="connsiteY140" fmla="*/ 995912 h 1877460"/>
                <a:gd name="connsiteX141" fmla="*/ 2778070 w 2806662"/>
                <a:gd name="connsiteY141" fmla="*/ 995912 h 1877460"/>
                <a:gd name="connsiteX142" fmla="*/ 2782834 w 2806662"/>
                <a:gd name="connsiteY142" fmla="*/ 1000676 h 1877460"/>
                <a:gd name="connsiteX143" fmla="*/ 2782834 w 2806662"/>
                <a:gd name="connsiteY143" fmla="*/ 1005442 h 1877460"/>
                <a:gd name="connsiteX144" fmla="*/ 2768538 w 2806662"/>
                <a:gd name="connsiteY144" fmla="*/ 1024502 h 1877460"/>
                <a:gd name="connsiteX145" fmla="*/ 2759010 w 2806662"/>
                <a:gd name="connsiteY145" fmla="*/ 1053092 h 1877460"/>
                <a:gd name="connsiteX146" fmla="*/ 2754242 w 2806662"/>
                <a:gd name="connsiteY146" fmla="*/ 1072154 h 1877460"/>
                <a:gd name="connsiteX147" fmla="*/ 2754242 w 2806662"/>
                <a:gd name="connsiteY147" fmla="*/ 1091214 h 1877460"/>
                <a:gd name="connsiteX148" fmla="*/ 2744714 w 2806662"/>
                <a:gd name="connsiteY148" fmla="*/ 1100744 h 1877460"/>
                <a:gd name="connsiteX149" fmla="*/ 2735182 w 2806662"/>
                <a:gd name="connsiteY149" fmla="*/ 1100744 h 1877460"/>
                <a:gd name="connsiteX150" fmla="*/ 2692298 w 2806662"/>
                <a:gd name="connsiteY150" fmla="*/ 1100744 h 1877460"/>
                <a:gd name="connsiteX151" fmla="*/ 2658942 w 2806662"/>
                <a:gd name="connsiteY151" fmla="*/ 1100744 h 1877460"/>
                <a:gd name="connsiteX152" fmla="*/ 2639882 w 2806662"/>
                <a:gd name="connsiteY152" fmla="*/ 1095980 h 1877460"/>
                <a:gd name="connsiteX153" fmla="*/ 2616054 w 2806662"/>
                <a:gd name="connsiteY153" fmla="*/ 1095980 h 1877460"/>
                <a:gd name="connsiteX154" fmla="*/ 2606526 w 2806662"/>
                <a:gd name="connsiteY154" fmla="*/ 1100744 h 1877460"/>
                <a:gd name="connsiteX155" fmla="*/ 2587466 w 2806662"/>
                <a:gd name="connsiteY155" fmla="*/ 1129336 h 1877460"/>
                <a:gd name="connsiteX156" fmla="*/ 2577934 w 2806662"/>
                <a:gd name="connsiteY156" fmla="*/ 1138866 h 1877460"/>
                <a:gd name="connsiteX157" fmla="*/ 2554110 w 2806662"/>
                <a:gd name="connsiteY157" fmla="*/ 1148396 h 1877460"/>
                <a:gd name="connsiteX158" fmla="*/ 2535046 w 2806662"/>
                <a:gd name="connsiteY158" fmla="*/ 1153160 h 1877460"/>
                <a:gd name="connsiteX159" fmla="*/ 2520754 w 2806662"/>
                <a:gd name="connsiteY159" fmla="*/ 1167456 h 1877460"/>
                <a:gd name="connsiteX160" fmla="*/ 2515986 w 2806662"/>
                <a:gd name="connsiteY160" fmla="*/ 1181752 h 1877460"/>
                <a:gd name="connsiteX161" fmla="*/ 2515986 w 2806662"/>
                <a:gd name="connsiteY161" fmla="*/ 1200812 h 1877460"/>
                <a:gd name="connsiteX162" fmla="*/ 2515986 w 2806662"/>
                <a:gd name="connsiteY162" fmla="*/ 1210342 h 1877460"/>
                <a:gd name="connsiteX163" fmla="*/ 2511222 w 2806662"/>
                <a:gd name="connsiteY163" fmla="*/ 1215108 h 1877460"/>
                <a:gd name="connsiteX164" fmla="*/ 2506458 w 2806662"/>
                <a:gd name="connsiteY164" fmla="*/ 1219872 h 1877460"/>
                <a:gd name="connsiteX165" fmla="*/ 2506458 w 2806662"/>
                <a:gd name="connsiteY165" fmla="*/ 1224638 h 1877460"/>
                <a:gd name="connsiteX166" fmla="*/ 2511222 w 2806662"/>
                <a:gd name="connsiteY166" fmla="*/ 1229402 h 1877460"/>
                <a:gd name="connsiteX167" fmla="*/ 2520754 w 2806662"/>
                <a:gd name="connsiteY167" fmla="*/ 1229402 h 1877460"/>
                <a:gd name="connsiteX168" fmla="*/ 2520754 w 2806662"/>
                <a:gd name="connsiteY168" fmla="*/ 1234168 h 1877460"/>
                <a:gd name="connsiteX169" fmla="*/ 2515986 w 2806662"/>
                <a:gd name="connsiteY169" fmla="*/ 1238932 h 1877460"/>
                <a:gd name="connsiteX170" fmla="*/ 2511222 w 2806662"/>
                <a:gd name="connsiteY170" fmla="*/ 1243698 h 1877460"/>
                <a:gd name="connsiteX171" fmla="*/ 2506458 w 2806662"/>
                <a:gd name="connsiteY171" fmla="*/ 1253228 h 1877460"/>
                <a:gd name="connsiteX172" fmla="*/ 2506458 w 2806662"/>
                <a:gd name="connsiteY172" fmla="*/ 1262758 h 1877460"/>
                <a:gd name="connsiteX173" fmla="*/ 2511222 w 2806662"/>
                <a:gd name="connsiteY173" fmla="*/ 1272288 h 1877460"/>
                <a:gd name="connsiteX174" fmla="*/ 2506458 w 2806662"/>
                <a:gd name="connsiteY174" fmla="*/ 1277054 h 1877460"/>
                <a:gd name="connsiteX175" fmla="*/ 2449274 w 2806662"/>
                <a:gd name="connsiteY175" fmla="*/ 1272288 h 1877460"/>
                <a:gd name="connsiteX176" fmla="*/ 2406390 w 2806662"/>
                <a:gd name="connsiteY176" fmla="*/ 1277054 h 1877460"/>
                <a:gd name="connsiteX177" fmla="*/ 2373034 w 2806662"/>
                <a:gd name="connsiteY177" fmla="*/ 1315176 h 1877460"/>
                <a:gd name="connsiteX178" fmla="*/ 2353974 w 2806662"/>
                <a:gd name="connsiteY178" fmla="*/ 1310410 h 1877460"/>
                <a:gd name="connsiteX179" fmla="*/ 2325382 w 2806662"/>
                <a:gd name="connsiteY179" fmla="*/ 1324706 h 1877460"/>
                <a:gd name="connsiteX180" fmla="*/ 2311086 w 2806662"/>
                <a:gd name="connsiteY180" fmla="*/ 1334236 h 1877460"/>
                <a:gd name="connsiteX181" fmla="*/ 2287262 w 2806662"/>
                <a:gd name="connsiteY181" fmla="*/ 1358062 h 1877460"/>
                <a:gd name="connsiteX182" fmla="*/ 2272966 w 2806662"/>
                <a:gd name="connsiteY182" fmla="*/ 1348530 h 1877460"/>
                <a:gd name="connsiteX183" fmla="*/ 2249142 w 2806662"/>
                <a:gd name="connsiteY183" fmla="*/ 1348530 h 1877460"/>
                <a:gd name="connsiteX184" fmla="*/ 2230078 w 2806662"/>
                <a:gd name="connsiteY184" fmla="*/ 1353296 h 1877460"/>
                <a:gd name="connsiteX185" fmla="*/ 2206254 w 2806662"/>
                <a:gd name="connsiteY185" fmla="*/ 1372356 h 1877460"/>
                <a:gd name="connsiteX186" fmla="*/ 2191958 w 2806662"/>
                <a:gd name="connsiteY186" fmla="*/ 1377122 h 1877460"/>
                <a:gd name="connsiteX187" fmla="*/ 2168134 w 2806662"/>
                <a:gd name="connsiteY187" fmla="*/ 1372356 h 1877460"/>
                <a:gd name="connsiteX188" fmla="*/ 2134778 w 2806662"/>
                <a:gd name="connsiteY188" fmla="*/ 1381886 h 1877460"/>
                <a:gd name="connsiteX189" fmla="*/ 2068066 w 2806662"/>
                <a:gd name="connsiteY189" fmla="*/ 1434304 h 1877460"/>
                <a:gd name="connsiteX190" fmla="*/ 2049006 w 2806662"/>
                <a:gd name="connsiteY190" fmla="*/ 1477190 h 1877460"/>
                <a:gd name="connsiteX191" fmla="*/ 2039474 w 2806662"/>
                <a:gd name="connsiteY191" fmla="*/ 1481954 h 1877460"/>
                <a:gd name="connsiteX192" fmla="*/ 2029946 w 2806662"/>
                <a:gd name="connsiteY192" fmla="*/ 1491484 h 1877460"/>
                <a:gd name="connsiteX193" fmla="*/ 2015650 w 2806662"/>
                <a:gd name="connsiteY193" fmla="*/ 1496250 h 1877460"/>
                <a:gd name="connsiteX194" fmla="*/ 2010882 w 2806662"/>
                <a:gd name="connsiteY194" fmla="*/ 1496250 h 1877460"/>
                <a:gd name="connsiteX195" fmla="*/ 2039474 w 2806662"/>
                <a:gd name="connsiteY195" fmla="*/ 1467660 h 1877460"/>
                <a:gd name="connsiteX196" fmla="*/ 2053770 w 2806662"/>
                <a:gd name="connsiteY196" fmla="*/ 1458128 h 1877460"/>
                <a:gd name="connsiteX197" fmla="*/ 2053770 w 2806662"/>
                <a:gd name="connsiteY197" fmla="*/ 1448598 h 1877460"/>
                <a:gd name="connsiteX198" fmla="*/ 2053770 w 2806662"/>
                <a:gd name="connsiteY198" fmla="*/ 1439068 h 1877460"/>
                <a:gd name="connsiteX199" fmla="*/ 2044238 w 2806662"/>
                <a:gd name="connsiteY199" fmla="*/ 1420008 h 1877460"/>
                <a:gd name="connsiteX200" fmla="*/ 2015650 w 2806662"/>
                <a:gd name="connsiteY200" fmla="*/ 1462894 h 1877460"/>
                <a:gd name="connsiteX201" fmla="*/ 2001354 w 2806662"/>
                <a:gd name="connsiteY201" fmla="*/ 1467660 h 1877460"/>
                <a:gd name="connsiteX202" fmla="*/ 1982294 w 2806662"/>
                <a:gd name="connsiteY202" fmla="*/ 1477190 h 1877460"/>
                <a:gd name="connsiteX203" fmla="*/ 1982294 w 2806662"/>
                <a:gd name="connsiteY203" fmla="*/ 1505780 h 1877460"/>
                <a:gd name="connsiteX204" fmla="*/ 1987058 w 2806662"/>
                <a:gd name="connsiteY204" fmla="*/ 1524840 h 1877460"/>
                <a:gd name="connsiteX205" fmla="*/ 1991822 w 2806662"/>
                <a:gd name="connsiteY205" fmla="*/ 1548666 h 1877460"/>
                <a:gd name="connsiteX206" fmla="*/ 2010882 w 2806662"/>
                <a:gd name="connsiteY206" fmla="*/ 1586788 h 1877460"/>
                <a:gd name="connsiteX207" fmla="*/ 2049006 w 2806662"/>
                <a:gd name="connsiteY207" fmla="*/ 1643968 h 1877460"/>
                <a:gd name="connsiteX208" fmla="*/ 2063302 w 2806662"/>
                <a:gd name="connsiteY208" fmla="*/ 1663030 h 1877460"/>
                <a:gd name="connsiteX209" fmla="*/ 2077594 w 2806662"/>
                <a:gd name="connsiteY209" fmla="*/ 1672560 h 1877460"/>
                <a:gd name="connsiteX210" fmla="*/ 2096654 w 2806662"/>
                <a:gd name="connsiteY210" fmla="*/ 1677324 h 1877460"/>
                <a:gd name="connsiteX211" fmla="*/ 2125246 w 2806662"/>
                <a:gd name="connsiteY211" fmla="*/ 1658264 h 1877460"/>
                <a:gd name="connsiteX212" fmla="*/ 2139542 w 2806662"/>
                <a:gd name="connsiteY212" fmla="*/ 1653500 h 1877460"/>
                <a:gd name="connsiteX213" fmla="*/ 2168134 w 2806662"/>
                <a:gd name="connsiteY213" fmla="*/ 1663030 h 1877460"/>
                <a:gd name="connsiteX214" fmla="*/ 2177662 w 2806662"/>
                <a:gd name="connsiteY214" fmla="*/ 1648734 h 1877460"/>
                <a:gd name="connsiteX215" fmla="*/ 2191958 w 2806662"/>
                <a:gd name="connsiteY215" fmla="*/ 1643968 h 1877460"/>
                <a:gd name="connsiteX216" fmla="*/ 2211018 w 2806662"/>
                <a:gd name="connsiteY216" fmla="*/ 1643968 h 1877460"/>
                <a:gd name="connsiteX217" fmla="*/ 2230078 w 2806662"/>
                <a:gd name="connsiteY217" fmla="*/ 1648734 h 1877460"/>
                <a:gd name="connsiteX218" fmla="*/ 2253906 w 2806662"/>
                <a:gd name="connsiteY218" fmla="*/ 1658264 h 1877460"/>
                <a:gd name="connsiteX219" fmla="*/ 2244374 w 2806662"/>
                <a:gd name="connsiteY219" fmla="*/ 1677324 h 1877460"/>
                <a:gd name="connsiteX220" fmla="*/ 2234846 w 2806662"/>
                <a:gd name="connsiteY220" fmla="*/ 1691620 h 1877460"/>
                <a:gd name="connsiteX221" fmla="*/ 2230078 w 2806662"/>
                <a:gd name="connsiteY221" fmla="*/ 1710680 h 1877460"/>
                <a:gd name="connsiteX222" fmla="*/ 2225314 w 2806662"/>
                <a:gd name="connsiteY222" fmla="*/ 1729742 h 1877460"/>
                <a:gd name="connsiteX223" fmla="*/ 2201490 w 2806662"/>
                <a:gd name="connsiteY223" fmla="*/ 1739272 h 1877460"/>
                <a:gd name="connsiteX224" fmla="*/ 2172898 w 2806662"/>
                <a:gd name="connsiteY224" fmla="*/ 1739272 h 1877460"/>
                <a:gd name="connsiteX225" fmla="*/ 2144306 w 2806662"/>
                <a:gd name="connsiteY225" fmla="*/ 1744036 h 1877460"/>
                <a:gd name="connsiteX226" fmla="*/ 2134778 w 2806662"/>
                <a:gd name="connsiteY226" fmla="*/ 1734506 h 1877460"/>
                <a:gd name="connsiteX227" fmla="*/ 2125246 w 2806662"/>
                <a:gd name="connsiteY227" fmla="*/ 1729742 h 1877460"/>
                <a:gd name="connsiteX228" fmla="*/ 2115718 w 2806662"/>
                <a:gd name="connsiteY228" fmla="*/ 1720210 h 1877460"/>
                <a:gd name="connsiteX229" fmla="*/ 2096654 w 2806662"/>
                <a:gd name="connsiteY229" fmla="*/ 1715446 h 1877460"/>
                <a:gd name="connsiteX230" fmla="*/ 2082362 w 2806662"/>
                <a:gd name="connsiteY230" fmla="*/ 1720210 h 1877460"/>
                <a:gd name="connsiteX231" fmla="*/ 2063302 w 2806662"/>
                <a:gd name="connsiteY231" fmla="*/ 1748802 h 1877460"/>
                <a:gd name="connsiteX232" fmla="*/ 2029946 w 2806662"/>
                <a:gd name="connsiteY232" fmla="*/ 1767862 h 1877460"/>
                <a:gd name="connsiteX233" fmla="*/ 2020414 w 2806662"/>
                <a:gd name="connsiteY233" fmla="*/ 1786922 h 1877460"/>
                <a:gd name="connsiteX234" fmla="*/ 1991822 w 2806662"/>
                <a:gd name="connsiteY234" fmla="*/ 1782158 h 1877460"/>
                <a:gd name="connsiteX235" fmla="*/ 1963234 w 2806662"/>
                <a:gd name="connsiteY235" fmla="*/ 1786922 h 1877460"/>
                <a:gd name="connsiteX236" fmla="*/ 1925110 w 2806662"/>
                <a:gd name="connsiteY236" fmla="*/ 1805984 h 1877460"/>
                <a:gd name="connsiteX237" fmla="*/ 1896522 w 2806662"/>
                <a:gd name="connsiteY237" fmla="*/ 1844104 h 1877460"/>
                <a:gd name="connsiteX238" fmla="*/ 1863166 w 2806662"/>
                <a:gd name="connsiteY238" fmla="*/ 1872694 h 1877460"/>
                <a:gd name="connsiteX239" fmla="*/ 1839338 w 2806662"/>
                <a:gd name="connsiteY239" fmla="*/ 1877460 h 1877460"/>
                <a:gd name="connsiteX240" fmla="*/ 1810750 w 2806662"/>
                <a:gd name="connsiteY240" fmla="*/ 1877460 h 1877460"/>
                <a:gd name="connsiteX241" fmla="*/ 1796454 w 2806662"/>
                <a:gd name="connsiteY241" fmla="*/ 1867930 h 1877460"/>
                <a:gd name="connsiteX242" fmla="*/ 1763098 w 2806662"/>
                <a:gd name="connsiteY242" fmla="*/ 1844104 h 1877460"/>
                <a:gd name="connsiteX243" fmla="*/ 1767862 w 2806662"/>
                <a:gd name="connsiteY243" fmla="*/ 1834574 h 1877460"/>
                <a:gd name="connsiteX244" fmla="*/ 1772626 w 2806662"/>
                <a:gd name="connsiteY244" fmla="*/ 1829808 h 1877460"/>
                <a:gd name="connsiteX245" fmla="*/ 1777394 w 2806662"/>
                <a:gd name="connsiteY245" fmla="*/ 1815514 h 1877460"/>
                <a:gd name="connsiteX246" fmla="*/ 1791686 w 2806662"/>
                <a:gd name="connsiteY246" fmla="*/ 1763096 h 1877460"/>
                <a:gd name="connsiteX247" fmla="*/ 1786922 w 2806662"/>
                <a:gd name="connsiteY247" fmla="*/ 1748802 h 1877460"/>
                <a:gd name="connsiteX248" fmla="*/ 1782158 w 2806662"/>
                <a:gd name="connsiteY248" fmla="*/ 1720210 h 1877460"/>
                <a:gd name="connsiteX249" fmla="*/ 1758334 w 2806662"/>
                <a:gd name="connsiteY249" fmla="*/ 1701150 h 1877460"/>
                <a:gd name="connsiteX250" fmla="*/ 1734506 w 2806662"/>
                <a:gd name="connsiteY250" fmla="*/ 1705916 h 1877460"/>
                <a:gd name="connsiteX251" fmla="*/ 1724978 w 2806662"/>
                <a:gd name="connsiteY251" fmla="*/ 1701150 h 1877460"/>
                <a:gd name="connsiteX252" fmla="*/ 1682090 w 2806662"/>
                <a:gd name="connsiteY252" fmla="*/ 1667794 h 1877460"/>
                <a:gd name="connsiteX253" fmla="*/ 1658266 w 2806662"/>
                <a:gd name="connsiteY253" fmla="*/ 1663030 h 1877460"/>
                <a:gd name="connsiteX254" fmla="*/ 1634438 w 2806662"/>
                <a:gd name="connsiteY254" fmla="*/ 1672560 h 1877460"/>
                <a:gd name="connsiteX255" fmla="*/ 1624910 w 2806662"/>
                <a:gd name="connsiteY255" fmla="*/ 1667794 h 1877460"/>
                <a:gd name="connsiteX256" fmla="*/ 1620142 w 2806662"/>
                <a:gd name="connsiteY256" fmla="*/ 1653500 h 1877460"/>
                <a:gd name="connsiteX257" fmla="*/ 1667794 w 2806662"/>
                <a:gd name="connsiteY257" fmla="*/ 1610612 h 1877460"/>
                <a:gd name="connsiteX258" fmla="*/ 1715446 w 2806662"/>
                <a:gd name="connsiteY258" fmla="*/ 1577256 h 1877460"/>
                <a:gd name="connsiteX259" fmla="*/ 1739270 w 2806662"/>
                <a:gd name="connsiteY259" fmla="*/ 1572492 h 1877460"/>
                <a:gd name="connsiteX260" fmla="*/ 1767862 w 2806662"/>
                <a:gd name="connsiteY260" fmla="*/ 1558196 h 1877460"/>
                <a:gd name="connsiteX261" fmla="*/ 1801218 w 2806662"/>
                <a:gd name="connsiteY261" fmla="*/ 1534370 h 1877460"/>
                <a:gd name="connsiteX262" fmla="*/ 1796454 w 2806662"/>
                <a:gd name="connsiteY262" fmla="*/ 1515310 h 1877460"/>
                <a:gd name="connsiteX263" fmla="*/ 1786922 w 2806662"/>
                <a:gd name="connsiteY263" fmla="*/ 1501016 h 1877460"/>
                <a:gd name="connsiteX264" fmla="*/ 1772626 w 2806662"/>
                <a:gd name="connsiteY264" fmla="*/ 1501016 h 1877460"/>
                <a:gd name="connsiteX265" fmla="*/ 1763098 w 2806662"/>
                <a:gd name="connsiteY265" fmla="*/ 1505780 h 1877460"/>
                <a:gd name="connsiteX266" fmla="*/ 1734506 w 2806662"/>
                <a:gd name="connsiteY266" fmla="*/ 1491484 h 1877460"/>
                <a:gd name="connsiteX267" fmla="*/ 1724978 w 2806662"/>
                <a:gd name="connsiteY267" fmla="*/ 1481954 h 1877460"/>
                <a:gd name="connsiteX268" fmla="*/ 1686854 w 2806662"/>
                <a:gd name="connsiteY268" fmla="*/ 1491484 h 1877460"/>
                <a:gd name="connsiteX269" fmla="*/ 1663030 w 2806662"/>
                <a:gd name="connsiteY269" fmla="*/ 1491484 h 1877460"/>
                <a:gd name="connsiteX270" fmla="*/ 1615378 w 2806662"/>
                <a:gd name="connsiteY270" fmla="*/ 1501016 h 1877460"/>
                <a:gd name="connsiteX271" fmla="*/ 1591554 w 2806662"/>
                <a:gd name="connsiteY271" fmla="*/ 1491484 h 1877460"/>
                <a:gd name="connsiteX272" fmla="*/ 1543902 w 2806662"/>
                <a:gd name="connsiteY272" fmla="*/ 1462894 h 1877460"/>
                <a:gd name="connsiteX273" fmla="*/ 1529606 w 2806662"/>
                <a:gd name="connsiteY273" fmla="*/ 1458128 h 1877460"/>
                <a:gd name="connsiteX274" fmla="*/ 1510546 w 2806662"/>
                <a:gd name="connsiteY274" fmla="*/ 1458128 h 1877460"/>
                <a:gd name="connsiteX275" fmla="*/ 1505782 w 2806662"/>
                <a:gd name="connsiteY275" fmla="*/ 1448598 h 1877460"/>
                <a:gd name="connsiteX276" fmla="*/ 1515310 w 2806662"/>
                <a:gd name="connsiteY276" fmla="*/ 1443834 h 1877460"/>
                <a:gd name="connsiteX277" fmla="*/ 1524842 w 2806662"/>
                <a:gd name="connsiteY277" fmla="*/ 1443834 h 1877460"/>
                <a:gd name="connsiteX278" fmla="*/ 1539138 w 2806662"/>
                <a:gd name="connsiteY278" fmla="*/ 1439068 h 1877460"/>
                <a:gd name="connsiteX279" fmla="*/ 1539138 w 2806662"/>
                <a:gd name="connsiteY279" fmla="*/ 1434304 h 1877460"/>
                <a:gd name="connsiteX280" fmla="*/ 1539138 w 2806662"/>
                <a:gd name="connsiteY280" fmla="*/ 1424772 h 1877460"/>
                <a:gd name="connsiteX281" fmla="*/ 1515310 w 2806662"/>
                <a:gd name="connsiteY281" fmla="*/ 1415242 h 1877460"/>
                <a:gd name="connsiteX282" fmla="*/ 1496250 w 2806662"/>
                <a:gd name="connsiteY282" fmla="*/ 1415242 h 1877460"/>
                <a:gd name="connsiteX283" fmla="*/ 1481954 w 2806662"/>
                <a:gd name="connsiteY283" fmla="*/ 1405712 h 1877460"/>
                <a:gd name="connsiteX284" fmla="*/ 1467660 w 2806662"/>
                <a:gd name="connsiteY284" fmla="*/ 1396182 h 1877460"/>
                <a:gd name="connsiteX285" fmla="*/ 1496250 w 2806662"/>
                <a:gd name="connsiteY285" fmla="*/ 1396182 h 1877460"/>
                <a:gd name="connsiteX286" fmla="*/ 1520074 w 2806662"/>
                <a:gd name="connsiteY286" fmla="*/ 1400948 h 1877460"/>
                <a:gd name="connsiteX287" fmla="*/ 1558198 w 2806662"/>
                <a:gd name="connsiteY287" fmla="*/ 1405712 h 1877460"/>
                <a:gd name="connsiteX288" fmla="*/ 1596318 w 2806662"/>
                <a:gd name="connsiteY288" fmla="*/ 1415242 h 1877460"/>
                <a:gd name="connsiteX289" fmla="*/ 1605846 w 2806662"/>
                <a:gd name="connsiteY289" fmla="*/ 1405712 h 1877460"/>
                <a:gd name="connsiteX290" fmla="*/ 1624910 w 2806662"/>
                <a:gd name="connsiteY290" fmla="*/ 1386652 h 1877460"/>
                <a:gd name="connsiteX291" fmla="*/ 1629674 w 2806662"/>
                <a:gd name="connsiteY291" fmla="*/ 1381886 h 1877460"/>
                <a:gd name="connsiteX292" fmla="*/ 1596318 w 2806662"/>
                <a:gd name="connsiteY292" fmla="*/ 1391416 h 1877460"/>
                <a:gd name="connsiteX293" fmla="*/ 1558198 w 2806662"/>
                <a:gd name="connsiteY293" fmla="*/ 1386652 h 1877460"/>
                <a:gd name="connsiteX294" fmla="*/ 1543902 w 2806662"/>
                <a:gd name="connsiteY294" fmla="*/ 1377122 h 1877460"/>
                <a:gd name="connsiteX295" fmla="*/ 1534370 w 2806662"/>
                <a:gd name="connsiteY295" fmla="*/ 1362826 h 1877460"/>
                <a:gd name="connsiteX296" fmla="*/ 1529606 w 2806662"/>
                <a:gd name="connsiteY296" fmla="*/ 1343766 h 1877460"/>
                <a:gd name="connsiteX297" fmla="*/ 1534370 w 2806662"/>
                <a:gd name="connsiteY297" fmla="*/ 1329470 h 1877460"/>
                <a:gd name="connsiteX298" fmla="*/ 1529606 w 2806662"/>
                <a:gd name="connsiteY298" fmla="*/ 1300880 h 1877460"/>
                <a:gd name="connsiteX299" fmla="*/ 1515310 w 2806662"/>
                <a:gd name="connsiteY299" fmla="*/ 1272288 h 1877460"/>
                <a:gd name="connsiteX300" fmla="*/ 1515310 w 2806662"/>
                <a:gd name="connsiteY300" fmla="*/ 1257994 h 1877460"/>
                <a:gd name="connsiteX301" fmla="*/ 1501014 w 2806662"/>
                <a:gd name="connsiteY301" fmla="*/ 1243698 h 1877460"/>
                <a:gd name="connsiteX302" fmla="*/ 1515310 w 2806662"/>
                <a:gd name="connsiteY302" fmla="*/ 1272288 h 1877460"/>
                <a:gd name="connsiteX303" fmla="*/ 1520074 w 2806662"/>
                <a:gd name="connsiteY303" fmla="*/ 1291350 h 1877460"/>
                <a:gd name="connsiteX304" fmla="*/ 1524842 w 2806662"/>
                <a:gd name="connsiteY304" fmla="*/ 1310410 h 1877460"/>
                <a:gd name="connsiteX305" fmla="*/ 1524842 w 2806662"/>
                <a:gd name="connsiteY305" fmla="*/ 1358062 h 1877460"/>
                <a:gd name="connsiteX306" fmla="*/ 1520074 w 2806662"/>
                <a:gd name="connsiteY306" fmla="*/ 1372356 h 1877460"/>
                <a:gd name="connsiteX307" fmla="*/ 1505782 w 2806662"/>
                <a:gd name="connsiteY307" fmla="*/ 1377122 h 1877460"/>
                <a:gd name="connsiteX308" fmla="*/ 1486718 w 2806662"/>
                <a:gd name="connsiteY308" fmla="*/ 1377122 h 1877460"/>
                <a:gd name="connsiteX309" fmla="*/ 1467660 w 2806662"/>
                <a:gd name="connsiteY309" fmla="*/ 1372356 h 1877460"/>
                <a:gd name="connsiteX310" fmla="*/ 1472426 w 2806662"/>
                <a:gd name="connsiteY310" fmla="*/ 1343766 h 1877460"/>
                <a:gd name="connsiteX311" fmla="*/ 1458130 w 2806662"/>
                <a:gd name="connsiteY311" fmla="*/ 1353296 h 1877460"/>
                <a:gd name="connsiteX312" fmla="*/ 1443834 w 2806662"/>
                <a:gd name="connsiteY312" fmla="*/ 1377122 h 1877460"/>
                <a:gd name="connsiteX313" fmla="*/ 1434304 w 2806662"/>
                <a:gd name="connsiteY313" fmla="*/ 1381886 h 1877460"/>
                <a:gd name="connsiteX314" fmla="*/ 1405712 w 2806662"/>
                <a:gd name="connsiteY314" fmla="*/ 1381886 h 1877460"/>
                <a:gd name="connsiteX315" fmla="*/ 1353296 w 2806662"/>
                <a:gd name="connsiteY315" fmla="*/ 1396182 h 1877460"/>
                <a:gd name="connsiteX316" fmla="*/ 1348530 w 2806662"/>
                <a:gd name="connsiteY316" fmla="*/ 1415242 h 1877460"/>
                <a:gd name="connsiteX317" fmla="*/ 1339000 w 2806662"/>
                <a:gd name="connsiteY317" fmla="*/ 1439068 h 1877460"/>
                <a:gd name="connsiteX318" fmla="*/ 1329470 w 2806662"/>
                <a:gd name="connsiteY318" fmla="*/ 1453364 h 1877460"/>
                <a:gd name="connsiteX319" fmla="*/ 1329470 w 2806662"/>
                <a:gd name="connsiteY319" fmla="*/ 1462894 h 1877460"/>
                <a:gd name="connsiteX320" fmla="*/ 1305644 w 2806662"/>
                <a:gd name="connsiteY320" fmla="*/ 1496250 h 1877460"/>
                <a:gd name="connsiteX321" fmla="*/ 1300880 w 2806662"/>
                <a:gd name="connsiteY321" fmla="*/ 1501016 h 1877460"/>
                <a:gd name="connsiteX322" fmla="*/ 1262758 w 2806662"/>
                <a:gd name="connsiteY322" fmla="*/ 1553432 h 1877460"/>
                <a:gd name="connsiteX323" fmla="*/ 1253228 w 2806662"/>
                <a:gd name="connsiteY323" fmla="*/ 1553432 h 1877460"/>
                <a:gd name="connsiteX324" fmla="*/ 1229402 w 2806662"/>
                <a:gd name="connsiteY324" fmla="*/ 1567726 h 1877460"/>
                <a:gd name="connsiteX325" fmla="*/ 1210342 w 2806662"/>
                <a:gd name="connsiteY325" fmla="*/ 1577256 h 1877460"/>
                <a:gd name="connsiteX326" fmla="*/ 1200812 w 2806662"/>
                <a:gd name="connsiteY326" fmla="*/ 1582022 h 1877460"/>
                <a:gd name="connsiteX327" fmla="*/ 1176986 w 2806662"/>
                <a:gd name="connsiteY327" fmla="*/ 1577256 h 1877460"/>
                <a:gd name="connsiteX328" fmla="*/ 1167456 w 2806662"/>
                <a:gd name="connsiteY328" fmla="*/ 1582022 h 1877460"/>
                <a:gd name="connsiteX329" fmla="*/ 1162692 w 2806662"/>
                <a:gd name="connsiteY329" fmla="*/ 1591552 h 1877460"/>
                <a:gd name="connsiteX330" fmla="*/ 1162692 w 2806662"/>
                <a:gd name="connsiteY330" fmla="*/ 1610612 h 1877460"/>
                <a:gd name="connsiteX331" fmla="*/ 1176986 w 2806662"/>
                <a:gd name="connsiteY331" fmla="*/ 1624908 h 1877460"/>
                <a:gd name="connsiteX332" fmla="*/ 1181752 w 2806662"/>
                <a:gd name="connsiteY332" fmla="*/ 1667794 h 1877460"/>
                <a:gd name="connsiteX333" fmla="*/ 1181752 w 2806662"/>
                <a:gd name="connsiteY333" fmla="*/ 1686854 h 1877460"/>
                <a:gd name="connsiteX334" fmla="*/ 1172222 w 2806662"/>
                <a:gd name="connsiteY334" fmla="*/ 1672560 h 1877460"/>
                <a:gd name="connsiteX335" fmla="*/ 1157926 w 2806662"/>
                <a:gd name="connsiteY335" fmla="*/ 1663030 h 1877460"/>
                <a:gd name="connsiteX336" fmla="*/ 1134100 w 2806662"/>
                <a:gd name="connsiteY336" fmla="*/ 1648734 h 1877460"/>
                <a:gd name="connsiteX337" fmla="*/ 1105510 w 2806662"/>
                <a:gd name="connsiteY337" fmla="*/ 1653500 h 1877460"/>
                <a:gd name="connsiteX338" fmla="*/ 1076918 w 2806662"/>
                <a:gd name="connsiteY338" fmla="*/ 1672560 h 1877460"/>
                <a:gd name="connsiteX339" fmla="*/ 1053094 w 2806662"/>
                <a:gd name="connsiteY339" fmla="*/ 1677324 h 1877460"/>
                <a:gd name="connsiteX340" fmla="*/ 1043562 w 2806662"/>
                <a:gd name="connsiteY340" fmla="*/ 1677324 h 1877460"/>
                <a:gd name="connsiteX341" fmla="*/ 1034032 w 2806662"/>
                <a:gd name="connsiteY341" fmla="*/ 1677324 h 1877460"/>
                <a:gd name="connsiteX342" fmla="*/ 1034032 w 2806662"/>
                <a:gd name="connsiteY342" fmla="*/ 1682090 h 1877460"/>
                <a:gd name="connsiteX343" fmla="*/ 1034032 w 2806662"/>
                <a:gd name="connsiteY343" fmla="*/ 1686854 h 1877460"/>
                <a:gd name="connsiteX344" fmla="*/ 1038798 w 2806662"/>
                <a:gd name="connsiteY344" fmla="*/ 1686854 h 1877460"/>
                <a:gd name="connsiteX345" fmla="*/ 1038798 w 2806662"/>
                <a:gd name="connsiteY345" fmla="*/ 1691620 h 1877460"/>
                <a:gd name="connsiteX346" fmla="*/ 1034032 w 2806662"/>
                <a:gd name="connsiteY346" fmla="*/ 1691620 h 1877460"/>
                <a:gd name="connsiteX347" fmla="*/ 986382 w 2806662"/>
                <a:gd name="connsiteY347" fmla="*/ 1677324 h 1877460"/>
                <a:gd name="connsiteX348" fmla="*/ 962556 w 2806662"/>
                <a:gd name="connsiteY348" fmla="*/ 1667794 h 1877460"/>
                <a:gd name="connsiteX349" fmla="*/ 948260 w 2806662"/>
                <a:gd name="connsiteY349" fmla="*/ 1643968 h 1877460"/>
                <a:gd name="connsiteX350" fmla="*/ 957790 w 2806662"/>
                <a:gd name="connsiteY350" fmla="*/ 1634438 h 1877460"/>
                <a:gd name="connsiteX351" fmla="*/ 962556 w 2806662"/>
                <a:gd name="connsiteY351" fmla="*/ 1634438 h 1877460"/>
                <a:gd name="connsiteX352" fmla="*/ 986382 w 2806662"/>
                <a:gd name="connsiteY352" fmla="*/ 1629674 h 1877460"/>
                <a:gd name="connsiteX353" fmla="*/ 991146 w 2806662"/>
                <a:gd name="connsiteY353" fmla="*/ 1629674 h 1877460"/>
                <a:gd name="connsiteX354" fmla="*/ 991146 w 2806662"/>
                <a:gd name="connsiteY354" fmla="*/ 1624908 h 1877460"/>
                <a:gd name="connsiteX355" fmla="*/ 995912 w 2806662"/>
                <a:gd name="connsiteY355" fmla="*/ 1615378 h 1877460"/>
                <a:gd name="connsiteX356" fmla="*/ 995912 w 2806662"/>
                <a:gd name="connsiteY356" fmla="*/ 1605848 h 1877460"/>
                <a:gd name="connsiteX357" fmla="*/ 991146 w 2806662"/>
                <a:gd name="connsiteY357" fmla="*/ 1596318 h 1877460"/>
                <a:gd name="connsiteX358" fmla="*/ 1000676 w 2806662"/>
                <a:gd name="connsiteY358" fmla="*/ 1582022 h 1877460"/>
                <a:gd name="connsiteX359" fmla="*/ 1019738 w 2806662"/>
                <a:gd name="connsiteY359" fmla="*/ 1567726 h 1877460"/>
                <a:gd name="connsiteX360" fmla="*/ 1029268 w 2806662"/>
                <a:gd name="connsiteY360" fmla="*/ 1553432 h 1877460"/>
                <a:gd name="connsiteX361" fmla="*/ 1029268 w 2806662"/>
                <a:gd name="connsiteY361" fmla="*/ 1534370 h 1877460"/>
                <a:gd name="connsiteX362" fmla="*/ 1048328 w 2806662"/>
                <a:gd name="connsiteY362" fmla="*/ 1524840 h 1877460"/>
                <a:gd name="connsiteX363" fmla="*/ 1062624 w 2806662"/>
                <a:gd name="connsiteY363" fmla="*/ 1510546 h 1877460"/>
                <a:gd name="connsiteX364" fmla="*/ 1067388 w 2806662"/>
                <a:gd name="connsiteY364" fmla="*/ 1491484 h 1877460"/>
                <a:gd name="connsiteX365" fmla="*/ 1072154 w 2806662"/>
                <a:gd name="connsiteY365" fmla="*/ 1481954 h 1877460"/>
                <a:gd name="connsiteX366" fmla="*/ 1062624 w 2806662"/>
                <a:gd name="connsiteY366" fmla="*/ 1458128 h 1877460"/>
                <a:gd name="connsiteX367" fmla="*/ 1057858 w 2806662"/>
                <a:gd name="connsiteY367" fmla="*/ 1439068 h 1877460"/>
                <a:gd name="connsiteX368" fmla="*/ 1057858 w 2806662"/>
                <a:gd name="connsiteY368" fmla="*/ 1424772 h 1877460"/>
                <a:gd name="connsiteX369" fmla="*/ 1062624 w 2806662"/>
                <a:gd name="connsiteY369" fmla="*/ 1420008 h 1877460"/>
                <a:gd name="connsiteX370" fmla="*/ 1076918 w 2806662"/>
                <a:gd name="connsiteY370" fmla="*/ 1410478 h 1877460"/>
                <a:gd name="connsiteX371" fmla="*/ 1091214 w 2806662"/>
                <a:gd name="connsiteY371" fmla="*/ 1400948 h 1877460"/>
                <a:gd name="connsiteX372" fmla="*/ 1100744 w 2806662"/>
                <a:gd name="connsiteY372" fmla="*/ 1400948 h 1877460"/>
                <a:gd name="connsiteX373" fmla="*/ 1100744 w 2806662"/>
                <a:gd name="connsiteY373" fmla="*/ 1405712 h 1877460"/>
                <a:gd name="connsiteX374" fmla="*/ 1100744 w 2806662"/>
                <a:gd name="connsiteY374" fmla="*/ 1434304 h 1877460"/>
                <a:gd name="connsiteX375" fmla="*/ 1105510 w 2806662"/>
                <a:gd name="connsiteY375" fmla="*/ 1434304 h 1877460"/>
                <a:gd name="connsiteX376" fmla="*/ 1110274 w 2806662"/>
                <a:gd name="connsiteY376" fmla="*/ 1434304 h 1877460"/>
                <a:gd name="connsiteX377" fmla="*/ 1119804 w 2806662"/>
                <a:gd name="connsiteY377" fmla="*/ 1415242 h 1877460"/>
                <a:gd name="connsiteX378" fmla="*/ 1124570 w 2806662"/>
                <a:gd name="connsiteY378" fmla="*/ 1420008 h 1877460"/>
                <a:gd name="connsiteX379" fmla="*/ 1134100 w 2806662"/>
                <a:gd name="connsiteY379" fmla="*/ 1424772 h 1877460"/>
                <a:gd name="connsiteX380" fmla="*/ 1138866 w 2806662"/>
                <a:gd name="connsiteY380" fmla="*/ 1420008 h 1877460"/>
                <a:gd name="connsiteX381" fmla="*/ 1143630 w 2806662"/>
                <a:gd name="connsiteY381" fmla="*/ 1420008 h 1877460"/>
                <a:gd name="connsiteX382" fmla="*/ 1148396 w 2806662"/>
                <a:gd name="connsiteY382" fmla="*/ 1424772 h 1877460"/>
                <a:gd name="connsiteX383" fmla="*/ 1157926 w 2806662"/>
                <a:gd name="connsiteY383" fmla="*/ 1429538 h 1877460"/>
                <a:gd name="connsiteX384" fmla="*/ 1167456 w 2806662"/>
                <a:gd name="connsiteY384" fmla="*/ 1429538 h 1877460"/>
                <a:gd name="connsiteX385" fmla="*/ 1172222 w 2806662"/>
                <a:gd name="connsiteY385" fmla="*/ 1424772 h 1877460"/>
                <a:gd name="connsiteX386" fmla="*/ 1181752 w 2806662"/>
                <a:gd name="connsiteY386" fmla="*/ 1420008 h 1877460"/>
                <a:gd name="connsiteX387" fmla="*/ 1186516 w 2806662"/>
                <a:gd name="connsiteY387" fmla="*/ 1420008 h 1877460"/>
                <a:gd name="connsiteX388" fmla="*/ 1200812 w 2806662"/>
                <a:gd name="connsiteY388" fmla="*/ 1443834 h 1877460"/>
                <a:gd name="connsiteX389" fmla="*/ 1205578 w 2806662"/>
                <a:gd name="connsiteY389" fmla="*/ 1439068 h 1877460"/>
                <a:gd name="connsiteX390" fmla="*/ 1238934 w 2806662"/>
                <a:gd name="connsiteY390" fmla="*/ 1434304 h 1877460"/>
                <a:gd name="connsiteX391" fmla="*/ 1243698 w 2806662"/>
                <a:gd name="connsiteY391" fmla="*/ 1429538 h 1877460"/>
                <a:gd name="connsiteX392" fmla="*/ 1248464 w 2806662"/>
                <a:gd name="connsiteY392" fmla="*/ 1424772 h 1877460"/>
                <a:gd name="connsiteX393" fmla="*/ 1215108 w 2806662"/>
                <a:gd name="connsiteY393" fmla="*/ 1400948 h 1877460"/>
                <a:gd name="connsiteX394" fmla="*/ 1215108 w 2806662"/>
                <a:gd name="connsiteY394" fmla="*/ 1381886 h 1877460"/>
                <a:gd name="connsiteX395" fmla="*/ 1219872 w 2806662"/>
                <a:gd name="connsiteY395" fmla="*/ 1358062 h 1877460"/>
                <a:gd name="connsiteX396" fmla="*/ 1215108 w 2806662"/>
                <a:gd name="connsiteY396" fmla="*/ 1343766 h 1877460"/>
                <a:gd name="connsiteX397" fmla="*/ 1205578 w 2806662"/>
                <a:gd name="connsiteY397" fmla="*/ 1334236 h 1877460"/>
                <a:gd name="connsiteX398" fmla="*/ 1181752 w 2806662"/>
                <a:gd name="connsiteY398" fmla="*/ 1319940 h 1877460"/>
                <a:gd name="connsiteX399" fmla="*/ 1162692 w 2806662"/>
                <a:gd name="connsiteY399" fmla="*/ 1310410 h 1877460"/>
                <a:gd name="connsiteX400" fmla="*/ 1157926 w 2806662"/>
                <a:gd name="connsiteY400" fmla="*/ 1300880 h 1877460"/>
                <a:gd name="connsiteX401" fmla="*/ 1157926 w 2806662"/>
                <a:gd name="connsiteY401" fmla="*/ 1296114 h 1877460"/>
                <a:gd name="connsiteX402" fmla="*/ 1157926 w 2806662"/>
                <a:gd name="connsiteY402" fmla="*/ 1281820 h 1877460"/>
                <a:gd name="connsiteX403" fmla="*/ 1153160 w 2806662"/>
                <a:gd name="connsiteY403" fmla="*/ 1272288 h 1877460"/>
                <a:gd name="connsiteX404" fmla="*/ 1148396 w 2806662"/>
                <a:gd name="connsiteY404" fmla="*/ 1262758 h 1877460"/>
                <a:gd name="connsiteX405" fmla="*/ 1153160 w 2806662"/>
                <a:gd name="connsiteY405" fmla="*/ 1253228 h 1877460"/>
                <a:gd name="connsiteX406" fmla="*/ 1157926 w 2806662"/>
                <a:gd name="connsiteY406" fmla="*/ 1238932 h 1877460"/>
                <a:gd name="connsiteX407" fmla="*/ 1153160 w 2806662"/>
                <a:gd name="connsiteY407" fmla="*/ 1229402 h 1877460"/>
                <a:gd name="connsiteX408" fmla="*/ 1148396 w 2806662"/>
                <a:gd name="connsiteY408" fmla="*/ 1229402 h 1877460"/>
                <a:gd name="connsiteX409" fmla="*/ 1143630 w 2806662"/>
                <a:gd name="connsiteY409" fmla="*/ 1224638 h 1877460"/>
                <a:gd name="connsiteX410" fmla="*/ 1129336 w 2806662"/>
                <a:gd name="connsiteY410" fmla="*/ 1219872 h 1877460"/>
                <a:gd name="connsiteX411" fmla="*/ 1124570 w 2806662"/>
                <a:gd name="connsiteY411" fmla="*/ 1205578 h 1877460"/>
                <a:gd name="connsiteX412" fmla="*/ 1100744 w 2806662"/>
                <a:gd name="connsiteY412" fmla="*/ 1191282 h 1877460"/>
                <a:gd name="connsiteX413" fmla="*/ 1095980 w 2806662"/>
                <a:gd name="connsiteY413" fmla="*/ 1191282 h 1877460"/>
                <a:gd name="connsiteX414" fmla="*/ 1091214 w 2806662"/>
                <a:gd name="connsiteY414" fmla="*/ 1181752 h 1877460"/>
                <a:gd name="connsiteX415" fmla="*/ 1091214 w 2806662"/>
                <a:gd name="connsiteY415" fmla="*/ 1172222 h 1877460"/>
                <a:gd name="connsiteX416" fmla="*/ 1095980 w 2806662"/>
                <a:gd name="connsiteY416" fmla="*/ 1162692 h 1877460"/>
                <a:gd name="connsiteX417" fmla="*/ 1100744 w 2806662"/>
                <a:gd name="connsiteY417" fmla="*/ 1143630 h 1877460"/>
                <a:gd name="connsiteX418" fmla="*/ 1100744 w 2806662"/>
                <a:gd name="connsiteY418" fmla="*/ 1124570 h 1877460"/>
                <a:gd name="connsiteX419" fmla="*/ 1105510 w 2806662"/>
                <a:gd name="connsiteY419" fmla="*/ 1115040 h 1877460"/>
                <a:gd name="connsiteX420" fmla="*/ 1100744 w 2806662"/>
                <a:gd name="connsiteY420" fmla="*/ 1091214 h 1877460"/>
                <a:gd name="connsiteX421" fmla="*/ 1091214 w 2806662"/>
                <a:gd name="connsiteY421" fmla="*/ 1072154 h 1877460"/>
                <a:gd name="connsiteX422" fmla="*/ 1086450 w 2806662"/>
                <a:gd name="connsiteY422" fmla="*/ 1067388 h 1877460"/>
                <a:gd name="connsiteX423" fmla="*/ 1076918 w 2806662"/>
                <a:gd name="connsiteY423" fmla="*/ 1072154 h 1877460"/>
                <a:gd name="connsiteX424" fmla="*/ 1067388 w 2806662"/>
                <a:gd name="connsiteY424" fmla="*/ 1076918 h 1877460"/>
                <a:gd name="connsiteX425" fmla="*/ 1057858 w 2806662"/>
                <a:gd name="connsiteY425" fmla="*/ 1072154 h 1877460"/>
                <a:gd name="connsiteX426" fmla="*/ 1048328 w 2806662"/>
                <a:gd name="connsiteY426" fmla="*/ 1062624 h 1877460"/>
                <a:gd name="connsiteX427" fmla="*/ 1034032 w 2806662"/>
                <a:gd name="connsiteY427" fmla="*/ 1034032 h 1877460"/>
                <a:gd name="connsiteX428" fmla="*/ 1010206 w 2806662"/>
                <a:gd name="connsiteY428" fmla="*/ 1029268 h 1877460"/>
                <a:gd name="connsiteX429" fmla="*/ 995912 w 2806662"/>
                <a:gd name="connsiteY429" fmla="*/ 1029268 h 1877460"/>
                <a:gd name="connsiteX430" fmla="*/ 986382 w 2806662"/>
                <a:gd name="connsiteY430" fmla="*/ 1043562 h 1877460"/>
                <a:gd name="connsiteX431" fmla="*/ 981616 w 2806662"/>
                <a:gd name="connsiteY431" fmla="*/ 1038798 h 1877460"/>
                <a:gd name="connsiteX432" fmla="*/ 981616 w 2806662"/>
                <a:gd name="connsiteY432" fmla="*/ 1029268 h 1877460"/>
                <a:gd name="connsiteX433" fmla="*/ 976852 w 2806662"/>
                <a:gd name="connsiteY433" fmla="*/ 1024502 h 1877460"/>
                <a:gd name="connsiteX434" fmla="*/ 967320 w 2806662"/>
                <a:gd name="connsiteY434" fmla="*/ 1029268 h 1877460"/>
                <a:gd name="connsiteX435" fmla="*/ 967320 w 2806662"/>
                <a:gd name="connsiteY435" fmla="*/ 1024502 h 1877460"/>
                <a:gd name="connsiteX436" fmla="*/ 967320 w 2806662"/>
                <a:gd name="connsiteY436" fmla="*/ 1014972 h 1877460"/>
                <a:gd name="connsiteX437" fmla="*/ 957790 w 2806662"/>
                <a:gd name="connsiteY437" fmla="*/ 1005442 h 1877460"/>
                <a:gd name="connsiteX438" fmla="*/ 938730 w 2806662"/>
                <a:gd name="connsiteY438" fmla="*/ 1005442 h 1877460"/>
                <a:gd name="connsiteX439" fmla="*/ 929200 w 2806662"/>
                <a:gd name="connsiteY439" fmla="*/ 1005442 h 1877460"/>
                <a:gd name="connsiteX440" fmla="*/ 924434 w 2806662"/>
                <a:gd name="connsiteY440" fmla="*/ 995912 h 1877460"/>
                <a:gd name="connsiteX441" fmla="*/ 919670 w 2806662"/>
                <a:gd name="connsiteY441" fmla="*/ 986382 h 1877460"/>
                <a:gd name="connsiteX442" fmla="*/ 910140 w 2806662"/>
                <a:gd name="connsiteY442" fmla="*/ 986382 h 1877460"/>
                <a:gd name="connsiteX443" fmla="*/ 895844 w 2806662"/>
                <a:gd name="connsiteY443" fmla="*/ 976852 h 1877460"/>
                <a:gd name="connsiteX444" fmla="*/ 886314 w 2806662"/>
                <a:gd name="connsiteY444" fmla="*/ 967320 h 1877460"/>
                <a:gd name="connsiteX445" fmla="*/ 867254 w 2806662"/>
                <a:gd name="connsiteY445" fmla="*/ 957790 h 1877460"/>
                <a:gd name="connsiteX446" fmla="*/ 848192 w 2806662"/>
                <a:gd name="connsiteY446" fmla="*/ 953026 h 1877460"/>
                <a:gd name="connsiteX447" fmla="*/ 843428 w 2806662"/>
                <a:gd name="connsiteY447" fmla="*/ 953026 h 1877460"/>
                <a:gd name="connsiteX448" fmla="*/ 829132 w 2806662"/>
                <a:gd name="connsiteY448" fmla="*/ 957790 h 1877460"/>
                <a:gd name="connsiteX449" fmla="*/ 819602 w 2806662"/>
                <a:gd name="connsiteY449" fmla="*/ 967320 h 1877460"/>
                <a:gd name="connsiteX450" fmla="*/ 810072 w 2806662"/>
                <a:gd name="connsiteY450" fmla="*/ 962556 h 1877460"/>
                <a:gd name="connsiteX451" fmla="*/ 791012 w 2806662"/>
                <a:gd name="connsiteY451" fmla="*/ 976852 h 1877460"/>
                <a:gd name="connsiteX452" fmla="*/ 757656 w 2806662"/>
                <a:gd name="connsiteY452" fmla="*/ 976852 h 1877460"/>
                <a:gd name="connsiteX453" fmla="*/ 743360 w 2806662"/>
                <a:gd name="connsiteY453" fmla="*/ 976852 h 1877460"/>
                <a:gd name="connsiteX454" fmla="*/ 733830 w 2806662"/>
                <a:gd name="connsiteY454" fmla="*/ 972086 h 1877460"/>
                <a:gd name="connsiteX455" fmla="*/ 700474 w 2806662"/>
                <a:gd name="connsiteY455" fmla="*/ 995912 h 1877460"/>
                <a:gd name="connsiteX456" fmla="*/ 700474 w 2806662"/>
                <a:gd name="connsiteY456" fmla="*/ 1000676 h 1877460"/>
                <a:gd name="connsiteX457" fmla="*/ 690944 w 2806662"/>
                <a:gd name="connsiteY457" fmla="*/ 1005442 h 1877460"/>
                <a:gd name="connsiteX458" fmla="*/ 671882 w 2806662"/>
                <a:gd name="connsiteY458" fmla="*/ 1010206 h 1877460"/>
                <a:gd name="connsiteX459" fmla="*/ 648058 w 2806662"/>
                <a:gd name="connsiteY459" fmla="*/ 1014972 h 1877460"/>
                <a:gd name="connsiteX460" fmla="*/ 643292 w 2806662"/>
                <a:gd name="connsiteY460" fmla="*/ 1034032 h 1877460"/>
                <a:gd name="connsiteX461" fmla="*/ 638528 w 2806662"/>
                <a:gd name="connsiteY461" fmla="*/ 1048328 h 1877460"/>
                <a:gd name="connsiteX462" fmla="*/ 628996 w 2806662"/>
                <a:gd name="connsiteY462" fmla="*/ 1062624 h 1877460"/>
                <a:gd name="connsiteX463" fmla="*/ 586110 w 2806662"/>
                <a:gd name="connsiteY463" fmla="*/ 1072154 h 1877460"/>
                <a:gd name="connsiteX464" fmla="*/ 552754 w 2806662"/>
                <a:gd name="connsiteY464" fmla="*/ 1076918 h 1877460"/>
                <a:gd name="connsiteX465" fmla="*/ 519398 w 2806662"/>
                <a:gd name="connsiteY465" fmla="*/ 1081684 h 1877460"/>
                <a:gd name="connsiteX466" fmla="*/ 471748 w 2806662"/>
                <a:gd name="connsiteY466" fmla="*/ 1105510 h 1877460"/>
                <a:gd name="connsiteX467" fmla="*/ 457452 w 2806662"/>
                <a:gd name="connsiteY467" fmla="*/ 1124570 h 1877460"/>
                <a:gd name="connsiteX468" fmla="*/ 443156 w 2806662"/>
                <a:gd name="connsiteY468" fmla="*/ 1129336 h 1877460"/>
                <a:gd name="connsiteX469" fmla="*/ 428862 w 2806662"/>
                <a:gd name="connsiteY469" fmla="*/ 1129336 h 1877460"/>
                <a:gd name="connsiteX470" fmla="*/ 419332 w 2806662"/>
                <a:gd name="connsiteY470" fmla="*/ 1119804 h 1877460"/>
                <a:gd name="connsiteX471" fmla="*/ 390740 w 2806662"/>
                <a:gd name="connsiteY471" fmla="*/ 1091214 h 1877460"/>
                <a:gd name="connsiteX472" fmla="*/ 381210 w 2806662"/>
                <a:gd name="connsiteY472" fmla="*/ 1076918 h 1877460"/>
                <a:gd name="connsiteX473" fmla="*/ 366914 w 2806662"/>
                <a:gd name="connsiteY473" fmla="*/ 1076918 h 1877460"/>
                <a:gd name="connsiteX474" fmla="*/ 347854 w 2806662"/>
                <a:gd name="connsiteY474" fmla="*/ 1076918 h 1877460"/>
                <a:gd name="connsiteX475" fmla="*/ 333558 w 2806662"/>
                <a:gd name="connsiteY475" fmla="*/ 1081684 h 1877460"/>
                <a:gd name="connsiteX476" fmla="*/ 319264 w 2806662"/>
                <a:gd name="connsiteY476" fmla="*/ 1086448 h 1877460"/>
                <a:gd name="connsiteX477" fmla="*/ 300204 w 2806662"/>
                <a:gd name="connsiteY477" fmla="*/ 1076918 h 1877460"/>
                <a:gd name="connsiteX478" fmla="*/ 295438 w 2806662"/>
                <a:gd name="connsiteY478" fmla="*/ 1076918 h 1877460"/>
                <a:gd name="connsiteX479" fmla="*/ 290672 w 2806662"/>
                <a:gd name="connsiteY479" fmla="*/ 1076918 h 1877460"/>
                <a:gd name="connsiteX480" fmla="*/ 243022 w 2806662"/>
                <a:gd name="connsiteY480" fmla="*/ 1067388 h 1877460"/>
                <a:gd name="connsiteX481" fmla="*/ 238256 w 2806662"/>
                <a:gd name="connsiteY481" fmla="*/ 1067388 h 1877460"/>
                <a:gd name="connsiteX482" fmla="*/ 238256 w 2806662"/>
                <a:gd name="connsiteY482" fmla="*/ 1062624 h 1877460"/>
                <a:gd name="connsiteX483" fmla="*/ 233492 w 2806662"/>
                <a:gd name="connsiteY483" fmla="*/ 1062624 h 1877460"/>
                <a:gd name="connsiteX484" fmla="*/ 195370 w 2806662"/>
                <a:gd name="connsiteY484" fmla="*/ 1067388 h 1877460"/>
                <a:gd name="connsiteX485" fmla="*/ 166780 w 2806662"/>
                <a:gd name="connsiteY485" fmla="*/ 1043562 h 1877460"/>
                <a:gd name="connsiteX486" fmla="*/ 157250 w 2806662"/>
                <a:gd name="connsiteY486" fmla="*/ 1043562 h 1877460"/>
                <a:gd name="connsiteX487" fmla="*/ 147718 w 2806662"/>
                <a:gd name="connsiteY487" fmla="*/ 1053092 h 1877460"/>
                <a:gd name="connsiteX488" fmla="*/ 142954 w 2806662"/>
                <a:gd name="connsiteY488" fmla="*/ 1062624 h 1877460"/>
                <a:gd name="connsiteX489" fmla="*/ 119128 w 2806662"/>
                <a:gd name="connsiteY489" fmla="*/ 1072154 h 1877460"/>
                <a:gd name="connsiteX490" fmla="*/ 114364 w 2806662"/>
                <a:gd name="connsiteY490" fmla="*/ 1076918 h 1877460"/>
                <a:gd name="connsiteX491" fmla="*/ 109598 w 2806662"/>
                <a:gd name="connsiteY491" fmla="*/ 1072154 h 1877460"/>
                <a:gd name="connsiteX492" fmla="*/ 109598 w 2806662"/>
                <a:gd name="connsiteY492" fmla="*/ 1062624 h 1877460"/>
                <a:gd name="connsiteX493" fmla="*/ 109598 w 2806662"/>
                <a:gd name="connsiteY493" fmla="*/ 1057858 h 1877460"/>
                <a:gd name="connsiteX494" fmla="*/ 109598 w 2806662"/>
                <a:gd name="connsiteY494" fmla="*/ 1048328 h 1877460"/>
                <a:gd name="connsiteX495" fmla="*/ 100068 w 2806662"/>
                <a:gd name="connsiteY495" fmla="*/ 1038798 h 1877460"/>
                <a:gd name="connsiteX496" fmla="*/ 95302 w 2806662"/>
                <a:gd name="connsiteY496" fmla="*/ 1038798 h 1877460"/>
                <a:gd name="connsiteX497" fmla="*/ 85772 w 2806662"/>
                <a:gd name="connsiteY497" fmla="*/ 1038798 h 1877460"/>
                <a:gd name="connsiteX498" fmla="*/ 66712 w 2806662"/>
                <a:gd name="connsiteY498" fmla="*/ 1029268 h 1877460"/>
                <a:gd name="connsiteX499" fmla="*/ 57182 w 2806662"/>
                <a:gd name="connsiteY499" fmla="*/ 1014972 h 1877460"/>
                <a:gd name="connsiteX500" fmla="*/ 42886 w 2806662"/>
                <a:gd name="connsiteY500" fmla="*/ 1005442 h 1877460"/>
                <a:gd name="connsiteX501" fmla="*/ 33356 w 2806662"/>
                <a:gd name="connsiteY501" fmla="*/ 1005442 h 1877460"/>
                <a:gd name="connsiteX502" fmla="*/ 28590 w 2806662"/>
                <a:gd name="connsiteY502" fmla="*/ 995912 h 1877460"/>
                <a:gd name="connsiteX503" fmla="*/ 23826 w 2806662"/>
                <a:gd name="connsiteY503" fmla="*/ 986382 h 1877460"/>
                <a:gd name="connsiteX504" fmla="*/ 19060 w 2806662"/>
                <a:gd name="connsiteY504" fmla="*/ 976852 h 1877460"/>
                <a:gd name="connsiteX505" fmla="*/ 19060 w 2806662"/>
                <a:gd name="connsiteY505" fmla="*/ 967320 h 1877460"/>
                <a:gd name="connsiteX506" fmla="*/ 14296 w 2806662"/>
                <a:gd name="connsiteY506" fmla="*/ 967320 h 1877460"/>
                <a:gd name="connsiteX507" fmla="*/ 0 w 2806662"/>
                <a:gd name="connsiteY507" fmla="*/ 967320 h 1877460"/>
                <a:gd name="connsiteX508" fmla="*/ 0 w 2806662"/>
                <a:gd name="connsiteY508" fmla="*/ 929200 h 1877460"/>
                <a:gd name="connsiteX509" fmla="*/ 23826 w 2806662"/>
                <a:gd name="connsiteY509" fmla="*/ 900608 h 1877460"/>
                <a:gd name="connsiteX510" fmla="*/ 28590 w 2806662"/>
                <a:gd name="connsiteY510" fmla="*/ 886314 h 1877460"/>
                <a:gd name="connsiteX511" fmla="*/ 38122 w 2806662"/>
                <a:gd name="connsiteY511" fmla="*/ 857722 h 1877460"/>
                <a:gd name="connsiteX512" fmla="*/ 42886 w 2806662"/>
                <a:gd name="connsiteY512" fmla="*/ 843428 h 1877460"/>
                <a:gd name="connsiteX513" fmla="*/ 52416 w 2806662"/>
                <a:gd name="connsiteY513" fmla="*/ 829132 h 1877460"/>
                <a:gd name="connsiteX514" fmla="*/ 57182 w 2806662"/>
                <a:gd name="connsiteY514" fmla="*/ 819602 h 1877460"/>
                <a:gd name="connsiteX515" fmla="*/ 61946 w 2806662"/>
                <a:gd name="connsiteY515" fmla="*/ 810072 h 1877460"/>
                <a:gd name="connsiteX516" fmla="*/ 66712 w 2806662"/>
                <a:gd name="connsiteY516" fmla="*/ 810072 h 1877460"/>
                <a:gd name="connsiteX517" fmla="*/ 85772 w 2806662"/>
                <a:gd name="connsiteY517" fmla="*/ 819602 h 1877460"/>
                <a:gd name="connsiteX518" fmla="*/ 104832 w 2806662"/>
                <a:gd name="connsiteY518" fmla="*/ 824366 h 1877460"/>
                <a:gd name="connsiteX519" fmla="*/ 109598 w 2806662"/>
                <a:gd name="connsiteY519" fmla="*/ 819602 h 1877460"/>
                <a:gd name="connsiteX520" fmla="*/ 109598 w 2806662"/>
                <a:gd name="connsiteY520" fmla="*/ 810072 h 1877460"/>
                <a:gd name="connsiteX521" fmla="*/ 95302 w 2806662"/>
                <a:gd name="connsiteY521" fmla="*/ 795776 h 1877460"/>
                <a:gd name="connsiteX522" fmla="*/ 85772 w 2806662"/>
                <a:gd name="connsiteY522" fmla="*/ 786246 h 1877460"/>
                <a:gd name="connsiteX523" fmla="*/ 85772 w 2806662"/>
                <a:gd name="connsiteY523" fmla="*/ 781480 h 1877460"/>
                <a:gd name="connsiteX524" fmla="*/ 90538 w 2806662"/>
                <a:gd name="connsiteY524" fmla="*/ 771950 h 1877460"/>
                <a:gd name="connsiteX525" fmla="*/ 90538 w 2806662"/>
                <a:gd name="connsiteY525" fmla="*/ 757656 h 1877460"/>
                <a:gd name="connsiteX526" fmla="*/ 90538 w 2806662"/>
                <a:gd name="connsiteY526" fmla="*/ 743360 h 1877460"/>
                <a:gd name="connsiteX527" fmla="*/ 81008 w 2806662"/>
                <a:gd name="connsiteY527" fmla="*/ 710004 h 1877460"/>
                <a:gd name="connsiteX528" fmla="*/ 76242 w 2806662"/>
                <a:gd name="connsiteY528" fmla="*/ 700474 h 1877460"/>
                <a:gd name="connsiteX529" fmla="*/ 85772 w 2806662"/>
                <a:gd name="connsiteY529" fmla="*/ 681414 h 1877460"/>
                <a:gd name="connsiteX530" fmla="*/ 114364 w 2806662"/>
                <a:gd name="connsiteY530" fmla="*/ 643292 h 1877460"/>
                <a:gd name="connsiteX531" fmla="*/ 123894 w 2806662"/>
                <a:gd name="connsiteY531" fmla="*/ 628996 h 1877460"/>
                <a:gd name="connsiteX532" fmla="*/ 138188 w 2806662"/>
                <a:gd name="connsiteY532" fmla="*/ 609936 h 1877460"/>
                <a:gd name="connsiteX533" fmla="*/ 176310 w 2806662"/>
                <a:gd name="connsiteY533" fmla="*/ 567050 h 1877460"/>
                <a:gd name="connsiteX534" fmla="*/ 195370 w 2806662"/>
                <a:gd name="connsiteY534" fmla="*/ 543224 h 1877460"/>
                <a:gd name="connsiteX535" fmla="*/ 214430 w 2806662"/>
                <a:gd name="connsiteY535" fmla="*/ 528930 h 1877460"/>
                <a:gd name="connsiteX536" fmla="*/ 233492 w 2806662"/>
                <a:gd name="connsiteY536" fmla="*/ 505104 h 1877460"/>
                <a:gd name="connsiteX537" fmla="*/ 243022 w 2806662"/>
                <a:gd name="connsiteY537" fmla="*/ 495574 h 1877460"/>
                <a:gd name="connsiteX538" fmla="*/ 285908 w 2806662"/>
                <a:gd name="connsiteY538" fmla="*/ 486042 h 1877460"/>
                <a:gd name="connsiteX539" fmla="*/ 290672 w 2806662"/>
                <a:gd name="connsiteY539" fmla="*/ 476512 h 1877460"/>
                <a:gd name="connsiteX540" fmla="*/ 295438 w 2806662"/>
                <a:gd name="connsiteY540" fmla="*/ 462218 h 1877460"/>
                <a:gd name="connsiteX541" fmla="*/ 304968 w 2806662"/>
                <a:gd name="connsiteY541" fmla="*/ 457452 h 1877460"/>
                <a:gd name="connsiteX542" fmla="*/ 304968 w 2806662"/>
                <a:gd name="connsiteY542" fmla="*/ 433626 h 1877460"/>
                <a:gd name="connsiteX543" fmla="*/ 295438 w 2806662"/>
                <a:gd name="connsiteY543" fmla="*/ 409800 h 1877460"/>
                <a:gd name="connsiteX544" fmla="*/ 290672 w 2806662"/>
                <a:gd name="connsiteY544" fmla="*/ 400270 h 1877460"/>
                <a:gd name="connsiteX545" fmla="*/ 285908 w 2806662"/>
                <a:gd name="connsiteY545" fmla="*/ 395506 h 1877460"/>
                <a:gd name="connsiteX546" fmla="*/ 290672 w 2806662"/>
                <a:gd name="connsiteY546" fmla="*/ 385976 h 1877460"/>
                <a:gd name="connsiteX547" fmla="*/ 295438 w 2806662"/>
                <a:gd name="connsiteY547" fmla="*/ 385976 h 1877460"/>
                <a:gd name="connsiteX548" fmla="*/ 300204 w 2806662"/>
                <a:gd name="connsiteY548" fmla="*/ 385976 h 1877460"/>
                <a:gd name="connsiteX549" fmla="*/ 304968 w 2806662"/>
                <a:gd name="connsiteY549" fmla="*/ 381210 h 1877460"/>
                <a:gd name="connsiteX550" fmla="*/ 304968 w 2806662"/>
                <a:gd name="connsiteY550" fmla="*/ 371680 h 1877460"/>
                <a:gd name="connsiteX551" fmla="*/ 285908 w 2806662"/>
                <a:gd name="connsiteY551" fmla="*/ 357384 h 1877460"/>
                <a:gd name="connsiteX552" fmla="*/ 281142 w 2806662"/>
                <a:gd name="connsiteY552" fmla="*/ 343090 h 1877460"/>
                <a:gd name="connsiteX553" fmla="*/ 266848 w 2806662"/>
                <a:gd name="connsiteY553" fmla="*/ 309734 h 1877460"/>
                <a:gd name="connsiteX554" fmla="*/ 243022 w 2806662"/>
                <a:gd name="connsiteY554" fmla="*/ 276378 h 1877460"/>
                <a:gd name="connsiteX555" fmla="*/ 238256 w 2806662"/>
                <a:gd name="connsiteY555" fmla="*/ 262082 h 1877460"/>
                <a:gd name="connsiteX556" fmla="*/ 238256 w 2806662"/>
                <a:gd name="connsiteY556" fmla="*/ 252552 h 1877460"/>
                <a:gd name="connsiteX557" fmla="*/ 238256 w 2806662"/>
                <a:gd name="connsiteY557" fmla="*/ 243022 h 1877460"/>
                <a:gd name="connsiteX558" fmla="*/ 238256 w 2806662"/>
                <a:gd name="connsiteY558" fmla="*/ 228726 h 1877460"/>
                <a:gd name="connsiteX559" fmla="*/ 228726 w 2806662"/>
                <a:gd name="connsiteY559" fmla="*/ 209666 h 1877460"/>
                <a:gd name="connsiteX560" fmla="*/ 228726 w 2806662"/>
                <a:gd name="connsiteY560" fmla="*/ 190606 h 1877460"/>
                <a:gd name="connsiteX561" fmla="*/ 233492 w 2806662"/>
                <a:gd name="connsiteY561" fmla="*/ 185840 h 1877460"/>
                <a:gd name="connsiteX562" fmla="*/ 243022 w 2806662"/>
                <a:gd name="connsiteY562" fmla="*/ 181074 h 1877460"/>
                <a:gd name="connsiteX563" fmla="*/ 257316 w 2806662"/>
                <a:gd name="connsiteY563" fmla="*/ 181074 h 1877460"/>
                <a:gd name="connsiteX564" fmla="*/ 266848 w 2806662"/>
                <a:gd name="connsiteY564" fmla="*/ 185840 h 1877460"/>
                <a:gd name="connsiteX565" fmla="*/ 281142 w 2806662"/>
                <a:gd name="connsiteY565" fmla="*/ 195370 h 1877460"/>
                <a:gd name="connsiteX566" fmla="*/ 285908 w 2806662"/>
                <a:gd name="connsiteY566" fmla="*/ 195370 h 1877460"/>
                <a:gd name="connsiteX567" fmla="*/ 309734 w 2806662"/>
                <a:gd name="connsiteY567" fmla="*/ 176310 h 1877460"/>
                <a:gd name="connsiteX568" fmla="*/ 333558 w 2806662"/>
                <a:gd name="connsiteY568" fmla="*/ 147718 h 1877460"/>
                <a:gd name="connsiteX569" fmla="*/ 338324 w 2806662"/>
                <a:gd name="connsiteY569" fmla="*/ 133424 h 1877460"/>
                <a:gd name="connsiteX570" fmla="*/ 347854 w 2806662"/>
                <a:gd name="connsiteY570" fmla="*/ 123894 h 1877460"/>
                <a:gd name="connsiteX571" fmla="*/ 366914 w 2806662"/>
                <a:gd name="connsiteY571" fmla="*/ 119128 h 1877460"/>
                <a:gd name="connsiteX572" fmla="*/ 385976 w 2806662"/>
                <a:gd name="connsiteY572" fmla="*/ 119128 h 1877460"/>
                <a:gd name="connsiteX573" fmla="*/ 395506 w 2806662"/>
                <a:gd name="connsiteY573" fmla="*/ 119128 h 1877460"/>
                <a:gd name="connsiteX574" fmla="*/ 424096 w 2806662"/>
                <a:gd name="connsiteY574" fmla="*/ 114364 h 1877460"/>
                <a:gd name="connsiteX575" fmla="*/ 443156 w 2806662"/>
                <a:gd name="connsiteY575" fmla="*/ 114364 h 1877460"/>
                <a:gd name="connsiteX576" fmla="*/ 457452 w 2806662"/>
                <a:gd name="connsiteY576" fmla="*/ 109598 h 1877460"/>
                <a:gd name="connsiteX577" fmla="*/ 486042 w 2806662"/>
                <a:gd name="connsiteY577" fmla="*/ 104832 h 1877460"/>
                <a:gd name="connsiteX578" fmla="*/ 533694 w 2806662"/>
                <a:gd name="connsiteY578" fmla="*/ 109598 h 1877460"/>
                <a:gd name="connsiteX579" fmla="*/ 567050 w 2806662"/>
                <a:gd name="connsiteY579" fmla="*/ 109598 h 1877460"/>
                <a:gd name="connsiteX580" fmla="*/ 590876 w 2806662"/>
                <a:gd name="connsiteY580" fmla="*/ 114364 h 1877460"/>
                <a:gd name="connsiteX581" fmla="*/ 643292 w 2806662"/>
                <a:gd name="connsiteY581" fmla="*/ 128658 h 1877460"/>
                <a:gd name="connsiteX582" fmla="*/ 662352 w 2806662"/>
                <a:gd name="connsiteY582" fmla="*/ 128658 h 1877460"/>
                <a:gd name="connsiteX583" fmla="*/ 671882 w 2806662"/>
                <a:gd name="connsiteY583" fmla="*/ 138188 h 1877460"/>
                <a:gd name="connsiteX584" fmla="*/ 690944 w 2806662"/>
                <a:gd name="connsiteY584" fmla="*/ 142954 h 1877460"/>
                <a:gd name="connsiteX585" fmla="*/ 724300 w 2806662"/>
                <a:gd name="connsiteY585" fmla="*/ 147718 h 1877460"/>
                <a:gd name="connsiteX586" fmla="*/ 748126 w 2806662"/>
                <a:gd name="connsiteY586" fmla="*/ 152484 h 1877460"/>
                <a:gd name="connsiteX587" fmla="*/ 767186 w 2806662"/>
                <a:gd name="connsiteY587" fmla="*/ 152484 h 1877460"/>
                <a:gd name="connsiteX588" fmla="*/ 781480 w 2806662"/>
                <a:gd name="connsiteY588" fmla="*/ 152484 h 1877460"/>
                <a:gd name="connsiteX589" fmla="*/ 800542 w 2806662"/>
                <a:gd name="connsiteY589" fmla="*/ 185840 h 1877460"/>
                <a:gd name="connsiteX590" fmla="*/ 805306 w 2806662"/>
                <a:gd name="connsiteY590" fmla="*/ 190606 h 1877460"/>
                <a:gd name="connsiteX591" fmla="*/ 810072 w 2806662"/>
                <a:gd name="connsiteY591" fmla="*/ 190606 h 1877460"/>
                <a:gd name="connsiteX592" fmla="*/ 829132 w 2806662"/>
                <a:gd name="connsiteY592" fmla="*/ 190606 h 1877460"/>
                <a:gd name="connsiteX593" fmla="*/ 852958 w 2806662"/>
                <a:gd name="connsiteY593" fmla="*/ 190606 h 1877460"/>
                <a:gd name="connsiteX594" fmla="*/ 867254 w 2806662"/>
                <a:gd name="connsiteY594" fmla="*/ 200136 h 1877460"/>
                <a:gd name="connsiteX595" fmla="*/ 862488 w 2806662"/>
                <a:gd name="connsiteY595" fmla="*/ 219196 h 1877460"/>
                <a:gd name="connsiteX596" fmla="*/ 867254 w 2806662"/>
                <a:gd name="connsiteY596" fmla="*/ 223960 h 1877460"/>
                <a:gd name="connsiteX597" fmla="*/ 872018 w 2806662"/>
                <a:gd name="connsiteY597" fmla="*/ 219196 h 1877460"/>
                <a:gd name="connsiteX598" fmla="*/ 881548 w 2806662"/>
                <a:gd name="connsiteY598" fmla="*/ 209666 h 1877460"/>
                <a:gd name="connsiteX599" fmla="*/ 886314 w 2806662"/>
                <a:gd name="connsiteY599" fmla="*/ 195370 h 1877460"/>
                <a:gd name="connsiteX600" fmla="*/ 891078 w 2806662"/>
                <a:gd name="connsiteY600" fmla="*/ 195370 h 1877460"/>
                <a:gd name="connsiteX601" fmla="*/ 914904 w 2806662"/>
                <a:gd name="connsiteY601" fmla="*/ 200136 h 1877460"/>
                <a:gd name="connsiteX602" fmla="*/ 924434 w 2806662"/>
                <a:gd name="connsiteY602" fmla="*/ 200136 h 1877460"/>
                <a:gd name="connsiteX603" fmla="*/ 938730 w 2806662"/>
                <a:gd name="connsiteY603" fmla="*/ 190606 h 1877460"/>
                <a:gd name="connsiteX604" fmla="*/ 943496 w 2806662"/>
                <a:gd name="connsiteY604" fmla="*/ 190606 h 1877460"/>
                <a:gd name="connsiteX605" fmla="*/ 957790 w 2806662"/>
                <a:gd name="connsiteY605" fmla="*/ 195370 h 1877460"/>
                <a:gd name="connsiteX606" fmla="*/ 981616 w 2806662"/>
                <a:gd name="connsiteY606" fmla="*/ 200136 h 1877460"/>
                <a:gd name="connsiteX607" fmla="*/ 995912 w 2806662"/>
                <a:gd name="connsiteY607" fmla="*/ 200136 h 1877460"/>
                <a:gd name="connsiteX608" fmla="*/ 1005442 w 2806662"/>
                <a:gd name="connsiteY608" fmla="*/ 204900 h 1877460"/>
                <a:gd name="connsiteX609" fmla="*/ 1014972 w 2806662"/>
                <a:gd name="connsiteY609" fmla="*/ 228726 h 1877460"/>
                <a:gd name="connsiteX610" fmla="*/ 1019738 w 2806662"/>
                <a:gd name="connsiteY610" fmla="*/ 233492 h 1877460"/>
                <a:gd name="connsiteX611" fmla="*/ 1029268 w 2806662"/>
                <a:gd name="connsiteY611" fmla="*/ 233492 h 1877460"/>
                <a:gd name="connsiteX612" fmla="*/ 1038798 w 2806662"/>
                <a:gd name="connsiteY612" fmla="*/ 214430 h 1877460"/>
                <a:gd name="connsiteX613" fmla="*/ 1048328 w 2806662"/>
                <a:gd name="connsiteY613" fmla="*/ 204900 h 1877460"/>
                <a:gd name="connsiteX614" fmla="*/ 1057858 w 2806662"/>
                <a:gd name="connsiteY614" fmla="*/ 200136 h 1877460"/>
                <a:gd name="connsiteX615" fmla="*/ 1067388 w 2806662"/>
                <a:gd name="connsiteY615" fmla="*/ 200136 h 1877460"/>
                <a:gd name="connsiteX616" fmla="*/ 1072154 w 2806662"/>
                <a:gd name="connsiteY616" fmla="*/ 190606 h 1877460"/>
                <a:gd name="connsiteX617" fmla="*/ 1081684 w 2806662"/>
                <a:gd name="connsiteY617" fmla="*/ 185840 h 1877460"/>
                <a:gd name="connsiteX618" fmla="*/ 1086450 w 2806662"/>
                <a:gd name="connsiteY618" fmla="*/ 185840 h 1877460"/>
                <a:gd name="connsiteX619" fmla="*/ 1091214 w 2806662"/>
                <a:gd name="connsiteY619" fmla="*/ 185840 h 1877460"/>
                <a:gd name="connsiteX620" fmla="*/ 1095980 w 2806662"/>
                <a:gd name="connsiteY620" fmla="*/ 195370 h 1877460"/>
                <a:gd name="connsiteX621" fmla="*/ 1105510 w 2806662"/>
                <a:gd name="connsiteY621" fmla="*/ 219196 h 1877460"/>
                <a:gd name="connsiteX622" fmla="*/ 1115040 w 2806662"/>
                <a:gd name="connsiteY622" fmla="*/ 238256 h 1877460"/>
                <a:gd name="connsiteX623" fmla="*/ 1124570 w 2806662"/>
                <a:gd name="connsiteY623" fmla="*/ 247786 h 1877460"/>
                <a:gd name="connsiteX624" fmla="*/ 1143630 w 2806662"/>
                <a:gd name="connsiteY624" fmla="*/ 238256 h 1877460"/>
                <a:gd name="connsiteX625" fmla="*/ 1157926 w 2806662"/>
                <a:gd name="connsiteY625" fmla="*/ 233492 h 1877460"/>
                <a:gd name="connsiteX626" fmla="*/ 1181752 w 2806662"/>
                <a:gd name="connsiteY626" fmla="*/ 233492 h 1877460"/>
                <a:gd name="connsiteX627" fmla="*/ 1210342 w 2806662"/>
                <a:gd name="connsiteY627" fmla="*/ 228726 h 1877460"/>
                <a:gd name="connsiteX628" fmla="*/ 1234168 w 2806662"/>
                <a:gd name="connsiteY628" fmla="*/ 219196 h 1877460"/>
                <a:gd name="connsiteX629" fmla="*/ 1253228 w 2806662"/>
                <a:gd name="connsiteY629" fmla="*/ 223960 h 1877460"/>
                <a:gd name="connsiteX630" fmla="*/ 1262758 w 2806662"/>
                <a:gd name="connsiteY630" fmla="*/ 228726 h 1877460"/>
                <a:gd name="connsiteX631" fmla="*/ 1277054 w 2806662"/>
                <a:gd name="connsiteY631" fmla="*/ 243022 h 1877460"/>
                <a:gd name="connsiteX632" fmla="*/ 1277054 w 2806662"/>
                <a:gd name="connsiteY632" fmla="*/ 262082 h 1877460"/>
                <a:gd name="connsiteX633" fmla="*/ 1296114 w 2806662"/>
                <a:gd name="connsiteY633" fmla="*/ 271612 h 1877460"/>
                <a:gd name="connsiteX634" fmla="*/ 1310410 w 2806662"/>
                <a:gd name="connsiteY634" fmla="*/ 276378 h 1877460"/>
                <a:gd name="connsiteX635" fmla="*/ 1315176 w 2806662"/>
                <a:gd name="connsiteY635" fmla="*/ 262082 h 1877460"/>
                <a:gd name="connsiteX636" fmla="*/ 1324706 w 2806662"/>
                <a:gd name="connsiteY636" fmla="*/ 252552 h 1877460"/>
                <a:gd name="connsiteX637" fmla="*/ 1324706 w 2806662"/>
                <a:gd name="connsiteY637" fmla="*/ 238256 h 1877460"/>
                <a:gd name="connsiteX638" fmla="*/ 1319940 w 2806662"/>
                <a:gd name="connsiteY638" fmla="*/ 223960 h 1877460"/>
                <a:gd name="connsiteX639" fmla="*/ 1315176 w 2806662"/>
                <a:gd name="connsiteY639" fmla="*/ 209666 h 1877460"/>
                <a:gd name="connsiteX640" fmla="*/ 1310410 w 2806662"/>
                <a:gd name="connsiteY640" fmla="*/ 190606 h 1877460"/>
                <a:gd name="connsiteX641" fmla="*/ 1319940 w 2806662"/>
                <a:gd name="connsiteY641" fmla="*/ 166780 h 1877460"/>
                <a:gd name="connsiteX642" fmla="*/ 1324706 w 2806662"/>
                <a:gd name="connsiteY642" fmla="*/ 147718 h 1877460"/>
                <a:gd name="connsiteX643" fmla="*/ 1329470 w 2806662"/>
                <a:gd name="connsiteY643" fmla="*/ 138188 h 1877460"/>
                <a:gd name="connsiteX644" fmla="*/ 1343766 w 2806662"/>
                <a:gd name="connsiteY644" fmla="*/ 114364 h 1877460"/>
                <a:gd name="connsiteX645" fmla="*/ 1358062 w 2806662"/>
                <a:gd name="connsiteY645" fmla="*/ 100068 h 1877460"/>
                <a:gd name="connsiteX646" fmla="*/ 1377122 w 2806662"/>
                <a:gd name="connsiteY646" fmla="*/ 76242 h 1877460"/>
                <a:gd name="connsiteX647" fmla="*/ 1396182 w 2806662"/>
                <a:gd name="connsiteY647" fmla="*/ 71476 h 1877460"/>
                <a:gd name="connsiteX648" fmla="*/ 1410478 w 2806662"/>
                <a:gd name="connsiteY648" fmla="*/ 76242 h 1877460"/>
                <a:gd name="connsiteX649" fmla="*/ 1415242 w 2806662"/>
                <a:gd name="connsiteY649" fmla="*/ 76242 h 1877460"/>
                <a:gd name="connsiteX650" fmla="*/ 1434304 w 2806662"/>
                <a:gd name="connsiteY650" fmla="*/ 61946 h 1877460"/>
                <a:gd name="connsiteX651" fmla="*/ 1472426 w 2806662"/>
                <a:gd name="connsiteY651" fmla="*/ 61946 h 1877460"/>
                <a:gd name="connsiteX652" fmla="*/ 1501014 w 2806662"/>
                <a:gd name="connsiteY652" fmla="*/ 66712 h 1877460"/>
                <a:gd name="connsiteX653" fmla="*/ 1505782 w 2806662"/>
                <a:gd name="connsiteY653" fmla="*/ 66712 h 1877460"/>
                <a:gd name="connsiteX654" fmla="*/ 1520074 w 2806662"/>
                <a:gd name="connsiteY654" fmla="*/ 71476 h 1877460"/>
                <a:gd name="connsiteX655" fmla="*/ 1534370 w 2806662"/>
                <a:gd name="connsiteY655" fmla="*/ 76242 h 1877460"/>
                <a:gd name="connsiteX656" fmla="*/ 1543902 w 2806662"/>
                <a:gd name="connsiteY656" fmla="*/ 76242 h 1877460"/>
                <a:gd name="connsiteX657" fmla="*/ 1558198 w 2806662"/>
                <a:gd name="connsiteY657" fmla="*/ 76242 h 1877460"/>
                <a:gd name="connsiteX658" fmla="*/ 1572494 w 2806662"/>
                <a:gd name="connsiteY658" fmla="*/ 71476 h 1877460"/>
                <a:gd name="connsiteX659" fmla="*/ 1582022 w 2806662"/>
                <a:gd name="connsiteY659" fmla="*/ 61946 h 1877460"/>
                <a:gd name="connsiteX660" fmla="*/ 1596318 w 2806662"/>
                <a:gd name="connsiteY660" fmla="*/ 19060 h 1877460"/>
                <a:gd name="connsiteX661" fmla="*/ 1601082 w 2806662"/>
                <a:gd name="connsiteY661" fmla="*/ 14296 h 1877460"/>
                <a:gd name="connsiteX662" fmla="*/ 1605846 w 2806662"/>
                <a:gd name="connsiteY662" fmla="*/ 14296 h 1877460"/>
                <a:gd name="connsiteX663" fmla="*/ 1620142 w 2806662"/>
                <a:gd name="connsiteY663" fmla="*/ 9530 h 1877460"/>
                <a:gd name="connsiteX664" fmla="*/ 1639202 w 2806662"/>
                <a:gd name="connsiteY664" fmla="*/ 19060 h 1877460"/>
                <a:gd name="connsiteX665" fmla="*/ 1663030 w 2806662"/>
                <a:gd name="connsiteY665" fmla="*/ 23826 h 1877460"/>
                <a:gd name="connsiteX666" fmla="*/ 1677326 w 2806662"/>
                <a:gd name="connsiteY666" fmla="*/ 23826 h 1877460"/>
                <a:gd name="connsiteX667" fmla="*/ 1720210 w 2806662"/>
                <a:gd name="connsiteY667" fmla="*/ 4766 h 1877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</a:cxnLst>
              <a:rect l="l" t="t" r="r" b="b"/>
              <a:pathLst>
                <a:path w="2806662" h="1877460">
                  <a:moveTo>
                    <a:pt x="1462894" y="1439068"/>
                  </a:moveTo>
                  <a:lnTo>
                    <a:pt x="1472426" y="1453364"/>
                  </a:lnTo>
                  <a:lnTo>
                    <a:pt x="1481954" y="1458128"/>
                  </a:lnTo>
                  <a:lnTo>
                    <a:pt x="1539138" y="1477188"/>
                  </a:lnTo>
                  <a:lnTo>
                    <a:pt x="1562962" y="1486720"/>
                  </a:lnTo>
                  <a:lnTo>
                    <a:pt x="1539138" y="1481954"/>
                  </a:lnTo>
                  <a:lnTo>
                    <a:pt x="1491486" y="1472424"/>
                  </a:lnTo>
                  <a:lnTo>
                    <a:pt x="1472426" y="1462894"/>
                  </a:lnTo>
                  <a:lnTo>
                    <a:pt x="1467660" y="1453364"/>
                  </a:lnTo>
                  <a:close/>
                  <a:moveTo>
                    <a:pt x="1739270" y="0"/>
                  </a:moveTo>
                  <a:lnTo>
                    <a:pt x="1767862" y="4766"/>
                  </a:lnTo>
                  <a:lnTo>
                    <a:pt x="1791686" y="4766"/>
                  </a:lnTo>
                  <a:lnTo>
                    <a:pt x="1810750" y="0"/>
                  </a:lnTo>
                  <a:lnTo>
                    <a:pt x="1825042" y="9530"/>
                  </a:lnTo>
                  <a:lnTo>
                    <a:pt x="1839338" y="28590"/>
                  </a:lnTo>
                  <a:lnTo>
                    <a:pt x="1853634" y="52416"/>
                  </a:lnTo>
                  <a:lnTo>
                    <a:pt x="1867930" y="95302"/>
                  </a:lnTo>
                  <a:lnTo>
                    <a:pt x="1915582" y="147718"/>
                  </a:lnTo>
                  <a:lnTo>
                    <a:pt x="1915582" y="157250"/>
                  </a:lnTo>
                  <a:lnTo>
                    <a:pt x="1910814" y="162014"/>
                  </a:lnTo>
                  <a:lnTo>
                    <a:pt x="1886990" y="166780"/>
                  </a:lnTo>
                  <a:lnTo>
                    <a:pt x="1867930" y="171544"/>
                  </a:lnTo>
                  <a:lnTo>
                    <a:pt x="1867930" y="181074"/>
                  </a:lnTo>
                  <a:lnTo>
                    <a:pt x="1872694" y="190606"/>
                  </a:lnTo>
                  <a:lnTo>
                    <a:pt x="1882226" y="204900"/>
                  </a:lnTo>
                  <a:lnTo>
                    <a:pt x="1882226" y="219196"/>
                  </a:lnTo>
                  <a:lnTo>
                    <a:pt x="1882226" y="238256"/>
                  </a:lnTo>
                  <a:lnTo>
                    <a:pt x="1886990" y="252552"/>
                  </a:lnTo>
                  <a:lnTo>
                    <a:pt x="1896522" y="257316"/>
                  </a:lnTo>
                  <a:lnTo>
                    <a:pt x="1896522" y="262082"/>
                  </a:lnTo>
                  <a:lnTo>
                    <a:pt x="1886990" y="271612"/>
                  </a:lnTo>
                  <a:lnTo>
                    <a:pt x="1886990" y="276378"/>
                  </a:lnTo>
                  <a:lnTo>
                    <a:pt x="1886990" y="281142"/>
                  </a:lnTo>
                  <a:lnTo>
                    <a:pt x="1929878" y="281142"/>
                  </a:lnTo>
                  <a:lnTo>
                    <a:pt x="1948938" y="290672"/>
                  </a:lnTo>
                  <a:lnTo>
                    <a:pt x="1963234" y="300204"/>
                  </a:lnTo>
                  <a:lnTo>
                    <a:pt x="1972762" y="300204"/>
                  </a:lnTo>
                  <a:lnTo>
                    <a:pt x="1987058" y="295438"/>
                  </a:lnTo>
                  <a:lnTo>
                    <a:pt x="2006118" y="290672"/>
                  </a:lnTo>
                  <a:lnTo>
                    <a:pt x="2015650" y="290672"/>
                  </a:lnTo>
                  <a:lnTo>
                    <a:pt x="2020414" y="295438"/>
                  </a:lnTo>
                  <a:lnTo>
                    <a:pt x="2025178" y="309734"/>
                  </a:lnTo>
                  <a:lnTo>
                    <a:pt x="2034710" y="324028"/>
                  </a:lnTo>
                  <a:lnTo>
                    <a:pt x="2039474" y="328794"/>
                  </a:lnTo>
                  <a:lnTo>
                    <a:pt x="2049006" y="328794"/>
                  </a:lnTo>
                  <a:lnTo>
                    <a:pt x="2058534" y="328794"/>
                  </a:lnTo>
                  <a:lnTo>
                    <a:pt x="2058534" y="338324"/>
                  </a:lnTo>
                  <a:lnTo>
                    <a:pt x="2053770" y="343090"/>
                  </a:lnTo>
                  <a:lnTo>
                    <a:pt x="2058534" y="352620"/>
                  </a:lnTo>
                  <a:lnTo>
                    <a:pt x="2063302" y="366914"/>
                  </a:lnTo>
                  <a:lnTo>
                    <a:pt x="2068066" y="390740"/>
                  </a:lnTo>
                  <a:lnTo>
                    <a:pt x="2072830" y="400270"/>
                  </a:lnTo>
                  <a:lnTo>
                    <a:pt x="2077594" y="409800"/>
                  </a:lnTo>
                  <a:lnTo>
                    <a:pt x="2077594" y="419332"/>
                  </a:lnTo>
                  <a:lnTo>
                    <a:pt x="2072830" y="428862"/>
                  </a:lnTo>
                  <a:lnTo>
                    <a:pt x="2068066" y="438392"/>
                  </a:lnTo>
                  <a:lnTo>
                    <a:pt x="2072830" y="457452"/>
                  </a:lnTo>
                  <a:lnTo>
                    <a:pt x="2082362" y="471748"/>
                  </a:lnTo>
                  <a:lnTo>
                    <a:pt x="2091890" y="481278"/>
                  </a:lnTo>
                  <a:lnTo>
                    <a:pt x="2101422" y="495574"/>
                  </a:lnTo>
                  <a:lnTo>
                    <a:pt x="2110950" y="500338"/>
                  </a:lnTo>
                  <a:lnTo>
                    <a:pt x="2130014" y="486042"/>
                  </a:lnTo>
                  <a:lnTo>
                    <a:pt x="2149074" y="481278"/>
                  </a:lnTo>
                  <a:lnTo>
                    <a:pt x="2163366" y="486042"/>
                  </a:lnTo>
                  <a:lnTo>
                    <a:pt x="2182430" y="486042"/>
                  </a:lnTo>
                  <a:lnTo>
                    <a:pt x="2191958" y="495574"/>
                  </a:lnTo>
                  <a:lnTo>
                    <a:pt x="2201490" y="509868"/>
                  </a:lnTo>
                  <a:lnTo>
                    <a:pt x="2211018" y="519398"/>
                  </a:lnTo>
                  <a:lnTo>
                    <a:pt x="2220550" y="514634"/>
                  </a:lnTo>
                  <a:lnTo>
                    <a:pt x="2239610" y="519398"/>
                  </a:lnTo>
                  <a:lnTo>
                    <a:pt x="2249142" y="528930"/>
                  </a:lnTo>
                  <a:lnTo>
                    <a:pt x="2258670" y="533694"/>
                  </a:lnTo>
                  <a:lnTo>
                    <a:pt x="2272966" y="528930"/>
                  </a:lnTo>
                  <a:lnTo>
                    <a:pt x="2282494" y="514634"/>
                  </a:lnTo>
                  <a:lnTo>
                    <a:pt x="2315854" y="505104"/>
                  </a:lnTo>
                  <a:lnTo>
                    <a:pt x="2339678" y="500338"/>
                  </a:lnTo>
                  <a:lnTo>
                    <a:pt x="2344442" y="500338"/>
                  </a:lnTo>
                  <a:lnTo>
                    <a:pt x="2358738" y="490808"/>
                  </a:lnTo>
                  <a:lnTo>
                    <a:pt x="2373034" y="486042"/>
                  </a:lnTo>
                  <a:lnTo>
                    <a:pt x="2387330" y="486042"/>
                  </a:lnTo>
                  <a:lnTo>
                    <a:pt x="2396858" y="505104"/>
                  </a:lnTo>
                  <a:lnTo>
                    <a:pt x="2411154" y="514634"/>
                  </a:lnTo>
                  <a:lnTo>
                    <a:pt x="2415918" y="533694"/>
                  </a:lnTo>
                  <a:lnTo>
                    <a:pt x="2430214" y="562284"/>
                  </a:lnTo>
                  <a:lnTo>
                    <a:pt x="2468334" y="595640"/>
                  </a:lnTo>
                  <a:lnTo>
                    <a:pt x="2482630" y="605172"/>
                  </a:lnTo>
                  <a:lnTo>
                    <a:pt x="2492162" y="605172"/>
                  </a:lnTo>
                  <a:lnTo>
                    <a:pt x="2501690" y="600406"/>
                  </a:lnTo>
                  <a:lnTo>
                    <a:pt x="2501690" y="595640"/>
                  </a:lnTo>
                  <a:lnTo>
                    <a:pt x="2501690" y="581346"/>
                  </a:lnTo>
                  <a:lnTo>
                    <a:pt x="2506458" y="576580"/>
                  </a:lnTo>
                  <a:lnTo>
                    <a:pt x="2515986" y="576580"/>
                  </a:lnTo>
                  <a:lnTo>
                    <a:pt x="2544578" y="595640"/>
                  </a:lnTo>
                  <a:lnTo>
                    <a:pt x="2563638" y="595640"/>
                  </a:lnTo>
                  <a:lnTo>
                    <a:pt x="2577934" y="600406"/>
                  </a:lnTo>
                  <a:lnTo>
                    <a:pt x="2596994" y="614702"/>
                  </a:lnTo>
                  <a:lnTo>
                    <a:pt x="2620822" y="628996"/>
                  </a:lnTo>
                  <a:lnTo>
                    <a:pt x="2635114" y="628996"/>
                  </a:lnTo>
                  <a:lnTo>
                    <a:pt x="2649410" y="624232"/>
                  </a:lnTo>
                  <a:lnTo>
                    <a:pt x="2658942" y="619466"/>
                  </a:lnTo>
                  <a:lnTo>
                    <a:pt x="2663706" y="628996"/>
                  </a:lnTo>
                  <a:lnTo>
                    <a:pt x="2668470" y="638528"/>
                  </a:lnTo>
                  <a:lnTo>
                    <a:pt x="2678002" y="648058"/>
                  </a:lnTo>
                  <a:lnTo>
                    <a:pt x="2687530" y="652822"/>
                  </a:lnTo>
                  <a:lnTo>
                    <a:pt x="2706594" y="652822"/>
                  </a:lnTo>
                  <a:lnTo>
                    <a:pt x="2730418" y="671882"/>
                  </a:lnTo>
                  <a:lnTo>
                    <a:pt x="2754242" y="690944"/>
                  </a:lnTo>
                  <a:lnTo>
                    <a:pt x="2768538" y="690944"/>
                  </a:lnTo>
                  <a:lnTo>
                    <a:pt x="2782834" y="686178"/>
                  </a:lnTo>
                  <a:lnTo>
                    <a:pt x="2792366" y="686178"/>
                  </a:lnTo>
                  <a:lnTo>
                    <a:pt x="2801894" y="690944"/>
                  </a:lnTo>
                  <a:lnTo>
                    <a:pt x="2801894" y="695708"/>
                  </a:lnTo>
                  <a:lnTo>
                    <a:pt x="2797130" y="710004"/>
                  </a:lnTo>
                  <a:lnTo>
                    <a:pt x="2797130" y="724300"/>
                  </a:lnTo>
                  <a:lnTo>
                    <a:pt x="2806662" y="738594"/>
                  </a:lnTo>
                  <a:lnTo>
                    <a:pt x="2806662" y="752890"/>
                  </a:lnTo>
                  <a:lnTo>
                    <a:pt x="2806662" y="767186"/>
                  </a:lnTo>
                  <a:lnTo>
                    <a:pt x="2797130" y="781480"/>
                  </a:lnTo>
                  <a:lnTo>
                    <a:pt x="2782834" y="795776"/>
                  </a:lnTo>
                  <a:lnTo>
                    <a:pt x="2773302" y="810072"/>
                  </a:lnTo>
                  <a:lnTo>
                    <a:pt x="2749478" y="819602"/>
                  </a:lnTo>
                  <a:lnTo>
                    <a:pt x="2739950" y="824366"/>
                  </a:lnTo>
                  <a:lnTo>
                    <a:pt x="2744714" y="838662"/>
                  </a:lnTo>
                  <a:lnTo>
                    <a:pt x="2749478" y="848192"/>
                  </a:lnTo>
                  <a:lnTo>
                    <a:pt x="2768538" y="857722"/>
                  </a:lnTo>
                  <a:lnTo>
                    <a:pt x="2787598" y="862488"/>
                  </a:lnTo>
                  <a:lnTo>
                    <a:pt x="2787598" y="872018"/>
                  </a:lnTo>
                  <a:lnTo>
                    <a:pt x="2773302" y="876784"/>
                  </a:lnTo>
                  <a:lnTo>
                    <a:pt x="2754242" y="872018"/>
                  </a:lnTo>
                  <a:lnTo>
                    <a:pt x="2749478" y="876784"/>
                  </a:lnTo>
                  <a:lnTo>
                    <a:pt x="2744714" y="891078"/>
                  </a:lnTo>
                  <a:lnTo>
                    <a:pt x="2735182" y="905374"/>
                  </a:lnTo>
                  <a:lnTo>
                    <a:pt x="2730418" y="924434"/>
                  </a:lnTo>
                  <a:lnTo>
                    <a:pt x="2754242" y="929200"/>
                  </a:lnTo>
                  <a:lnTo>
                    <a:pt x="2763774" y="933964"/>
                  </a:lnTo>
                  <a:lnTo>
                    <a:pt x="2763774" y="948260"/>
                  </a:lnTo>
                  <a:lnTo>
                    <a:pt x="2768538" y="967320"/>
                  </a:lnTo>
                  <a:lnTo>
                    <a:pt x="2773302" y="976852"/>
                  </a:lnTo>
                  <a:lnTo>
                    <a:pt x="2763774" y="986382"/>
                  </a:lnTo>
                  <a:lnTo>
                    <a:pt x="2763774" y="991146"/>
                  </a:lnTo>
                  <a:lnTo>
                    <a:pt x="2768538" y="995912"/>
                  </a:lnTo>
                  <a:lnTo>
                    <a:pt x="2778070" y="995912"/>
                  </a:lnTo>
                  <a:lnTo>
                    <a:pt x="2782834" y="1000676"/>
                  </a:lnTo>
                  <a:lnTo>
                    <a:pt x="2782834" y="1005442"/>
                  </a:lnTo>
                  <a:lnTo>
                    <a:pt x="2768538" y="1024502"/>
                  </a:lnTo>
                  <a:lnTo>
                    <a:pt x="2759010" y="1053092"/>
                  </a:lnTo>
                  <a:lnTo>
                    <a:pt x="2754242" y="1072154"/>
                  </a:lnTo>
                  <a:lnTo>
                    <a:pt x="2754242" y="1091214"/>
                  </a:lnTo>
                  <a:lnTo>
                    <a:pt x="2744714" y="1100744"/>
                  </a:lnTo>
                  <a:lnTo>
                    <a:pt x="2735182" y="1100744"/>
                  </a:lnTo>
                  <a:lnTo>
                    <a:pt x="2692298" y="1100744"/>
                  </a:lnTo>
                  <a:lnTo>
                    <a:pt x="2658942" y="1100744"/>
                  </a:lnTo>
                  <a:lnTo>
                    <a:pt x="2639882" y="1095980"/>
                  </a:lnTo>
                  <a:lnTo>
                    <a:pt x="2616054" y="1095980"/>
                  </a:lnTo>
                  <a:lnTo>
                    <a:pt x="2606526" y="1100744"/>
                  </a:lnTo>
                  <a:lnTo>
                    <a:pt x="2587466" y="1129336"/>
                  </a:lnTo>
                  <a:lnTo>
                    <a:pt x="2577934" y="1138866"/>
                  </a:lnTo>
                  <a:lnTo>
                    <a:pt x="2554110" y="1148396"/>
                  </a:lnTo>
                  <a:lnTo>
                    <a:pt x="2535046" y="1153160"/>
                  </a:lnTo>
                  <a:lnTo>
                    <a:pt x="2520754" y="1167456"/>
                  </a:lnTo>
                  <a:lnTo>
                    <a:pt x="2515986" y="1181752"/>
                  </a:lnTo>
                  <a:lnTo>
                    <a:pt x="2515986" y="1200812"/>
                  </a:lnTo>
                  <a:lnTo>
                    <a:pt x="2515986" y="1210342"/>
                  </a:lnTo>
                  <a:lnTo>
                    <a:pt x="2511222" y="1215108"/>
                  </a:lnTo>
                  <a:lnTo>
                    <a:pt x="2506458" y="1219872"/>
                  </a:lnTo>
                  <a:lnTo>
                    <a:pt x="2506458" y="1224638"/>
                  </a:lnTo>
                  <a:lnTo>
                    <a:pt x="2511222" y="1229402"/>
                  </a:lnTo>
                  <a:lnTo>
                    <a:pt x="2520754" y="1229402"/>
                  </a:lnTo>
                  <a:lnTo>
                    <a:pt x="2520754" y="1234168"/>
                  </a:lnTo>
                  <a:lnTo>
                    <a:pt x="2515986" y="1238932"/>
                  </a:lnTo>
                  <a:lnTo>
                    <a:pt x="2511222" y="1243698"/>
                  </a:lnTo>
                  <a:lnTo>
                    <a:pt x="2506458" y="1253228"/>
                  </a:lnTo>
                  <a:lnTo>
                    <a:pt x="2506458" y="1262758"/>
                  </a:lnTo>
                  <a:lnTo>
                    <a:pt x="2511222" y="1272288"/>
                  </a:lnTo>
                  <a:lnTo>
                    <a:pt x="2506458" y="1277054"/>
                  </a:lnTo>
                  <a:lnTo>
                    <a:pt x="2449274" y="1272288"/>
                  </a:lnTo>
                  <a:lnTo>
                    <a:pt x="2406390" y="1277054"/>
                  </a:lnTo>
                  <a:lnTo>
                    <a:pt x="2373034" y="1315176"/>
                  </a:lnTo>
                  <a:lnTo>
                    <a:pt x="2353974" y="1310410"/>
                  </a:lnTo>
                  <a:lnTo>
                    <a:pt x="2325382" y="1324706"/>
                  </a:lnTo>
                  <a:lnTo>
                    <a:pt x="2311086" y="1334236"/>
                  </a:lnTo>
                  <a:lnTo>
                    <a:pt x="2287262" y="1358062"/>
                  </a:lnTo>
                  <a:lnTo>
                    <a:pt x="2272966" y="1348530"/>
                  </a:lnTo>
                  <a:lnTo>
                    <a:pt x="2249142" y="1348530"/>
                  </a:lnTo>
                  <a:lnTo>
                    <a:pt x="2230078" y="1353296"/>
                  </a:lnTo>
                  <a:lnTo>
                    <a:pt x="2206254" y="1372356"/>
                  </a:lnTo>
                  <a:lnTo>
                    <a:pt x="2191958" y="1377122"/>
                  </a:lnTo>
                  <a:lnTo>
                    <a:pt x="2168134" y="1372356"/>
                  </a:lnTo>
                  <a:lnTo>
                    <a:pt x="2134778" y="1381886"/>
                  </a:lnTo>
                  <a:lnTo>
                    <a:pt x="2068066" y="1434304"/>
                  </a:lnTo>
                  <a:lnTo>
                    <a:pt x="2049006" y="1477190"/>
                  </a:lnTo>
                  <a:lnTo>
                    <a:pt x="2039474" y="1481954"/>
                  </a:lnTo>
                  <a:lnTo>
                    <a:pt x="2029946" y="1491484"/>
                  </a:lnTo>
                  <a:lnTo>
                    <a:pt x="2015650" y="1496250"/>
                  </a:lnTo>
                  <a:lnTo>
                    <a:pt x="2010882" y="1496250"/>
                  </a:lnTo>
                  <a:lnTo>
                    <a:pt x="2039474" y="1467660"/>
                  </a:lnTo>
                  <a:lnTo>
                    <a:pt x="2053770" y="1458128"/>
                  </a:lnTo>
                  <a:lnTo>
                    <a:pt x="2053770" y="1448598"/>
                  </a:lnTo>
                  <a:lnTo>
                    <a:pt x="2053770" y="1439068"/>
                  </a:lnTo>
                  <a:lnTo>
                    <a:pt x="2044238" y="1420008"/>
                  </a:lnTo>
                  <a:lnTo>
                    <a:pt x="2015650" y="1462894"/>
                  </a:lnTo>
                  <a:lnTo>
                    <a:pt x="2001354" y="1467660"/>
                  </a:lnTo>
                  <a:lnTo>
                    <a:pt x="1982294" y="1477190"/>
                  </a:lnTo>
                  <a:lnTo>
                    <a:pt x="1982294" y="1505780"/>
                  </a:lnTo>
                  <a:lnTo>
                    <a:pt x="1987058" y="1524840"/>
                  </a:lnTo>
                  <a:lnTo>
                    <a:pt x="1991822" y="1548666"/>
                  </a:lnTo>
                  <a:lnTo>
                    <a:pt x="2010882" y="1586788"/>
                  </a:lnTo>
                  <a:lnTo>
                    <a:pt x="2049006" y="1643968"/>
                  </a:lnTo>
                  <a:lnTo>
                    <a:pt x="2063302" y="1663030"/>
                  </a:lnTo>
                  <a:lnTo>
                    <a:pt x="2077594" y="1672560"/>
                  </a:lnTo>
                  <a:lnTo>
                    <a:pt x="2096654" y="1677324"/>
                  </a:lnTo>
                  <a:lnTo>
                    <a:pt x="2125246" y="1658264"/>
                  </a:lnTo>
                  <a:lnTo>
                    <a:pt x="2139542" y="1653500"/>
                  </a:lnTo>
                  <a:lnTo>
                    <a:pt x="2168134" y="1663030"/>
                  </a:lnTo>
                  <a:lnTo>
                    <a:pt x="2177662" y="1648734"/>
                  </a:lnTo>
                  <a:lnTo>
                    <a:pt x="2191958" y="1643968"/>
                  </a:lnTo>
                  <a:lnTo>
                    <a:pt x="2211018" y="1643968"/>
                  </a:lnTo>
                  <a:lnTo>
                    <a:pt x="2230078" y="1648734"/>
                  </a:lnTo>
                  <a:lnTo>
                    <a:pt x="2253906" y="1658264"/>
                  </a:lnTo>
                  <a:lnTo>
                    <a:pt x="2244374" y="1677324"/>
                  </a:lnTo>
                  <a:lnTo>
                    <a:pt x="2234846" y="1691620"/>
                  </a:lnTo>
                  <a:lnTo>
                    <a:pt x="2230078" y="1710680"/>
                  </a:lnTo>
                  <a:lnTo>
                    <a:pt x="2225314" y="1729742"/>
                  </a:lnTo>
                  <a:lnTo>
                    <a:pt x="2201490" y="1739272"/>
                  </a:lnTo>
                  <a:lnTo>
                    <a:pt x="2172898" y="1739272"/>
                  </a:lnTo>
                  <a:lnTo>
                    <a:pt x="2144306" y="1744036"/>
                  </a:lnTo>
                  <a:lnTo>
                    <a:pt x="2134778" y="1734506"/>
                  </a:lnTo>
                  <a:lnTo>
                    <a:pt x="2125246" y="1729742"/>
                  </a:lnTo>
                  <a:lnTo>
                    <a:pt x="2115718" y="1720210"/>
                  </a:lnTo>
                  <a:lnTo>
                    <a:pt x="2096654" y="1715446"/>
                  </a:lnTo>
                  <a:lnTo>
                    <a:pt x="2082362" y="1720210"/>
                  </a:lnTo>
                  <a:lnTo>
                    <a:pt x="2063302" y="1748802"/>
                  </a:lnTo>
                  <a:lnTo>
                    <a:pt x="2029946" y="1767862"/>
                  </a:lnTo>
                  <a:lnTo>
                    <a:pt x="2020414" y="1786922"/>
                  </a:lnTo>
                  <a:lnTo>
                    <a:pt x="1991822" y="1782158"/>
                  </a:lnTo>
                  <a:lnTo>
                    <a:pt x="1963234" y="1786922"/>
                  </a:lnTo>
                  <a:lnTo>
                    <a:pt x="1925110" y="1805984"/>
                  </a:lnTo>
                  <a:lnTo>
                    <a:pt x="1896522" y="1844104"/>
                  </a:lnTo>
                  <a:lnTo>
                    <a:pt x="1863166" y="1872694"/>
                  </a:lnTo>
                  <a:lnTo>
                    <a:pt x="1839338" y="1877460"/>
                  </a:lnTo>
                  <a:lnTo>
                    <a:pt x="1810750" y="1877460"/>
                  </a:lnTo>
                  <a:lnTo>
                    <a:pt x="1796454" y="1867930"/>
                  </a:lnTo>
                  <a:lnTo>
                    <a:pt x="1763098" y="1844104"/>
                  </a:lnTo>
                  <a:lnTo>
                    <a:pt x="1767862" y="1834574"/>
                  </a:lnTo>
                  <a:lnTo>
                    <a:pt x="1772626" y="1829808"/>
                  </a:lnTo>
                  <a:lnTo>
                    <a:pt x="1777394" y="1815514"/>
                  </a:lnTo>
                  <a:lnTo>
                    <a:pt x="1791686" y="1763096"/>
                  </a:lnTo>
                  <a:lnTo>
                    <a:pt x="1786922" y="1748802"/>
                  </a:lnTo>
                  <a:lnTo>
                    <a:pt x="1782158" y="1720210"/>
                  </a:lnTo>
                  <a:lnTo>
                    <a:pt x="1758334" y="1701150"/>
                  </a:lnTo>
                  <a:lnTo>
                    <a:pt x="1734506" y="1705916"/>
                  </a:lnTo>
                  <a:lnTo>
                    <a:pt x="1724978" y="1701150"/>
                  </a:lnTo>
                  <a:lnTo>
                    <a:pt x="1682090" y="1667794"/>
                  </a:lnTo>
                  <a:lnTo>
                    <a:pt x="1658266" y="1663030"/>
                  </a:lnTo>
                  <a:lnTo>
                    <a:pt x="1634438" y="1672560"/>
                  </a:lnTo>
                  <a:lnTo>
                    <a:pt x="1624910" y="1667794"/>
                  </a:lnTo>
                  <a:lnTo>
                    <a:pt x="1620142" y="1653500"/>
                  </a:lnTo>
                  <a:lnTo>
                    <a:pt x="1667794" y="1610612"/>
                  </a:lnTo>
                  <a:lnTo>
                    <a:pt x="1715446" y="1577256"/>
                  </a:lnTo>
                  <a:lnTo>
                    <a:pt x="1739270" y="1572492"/>
                  </a:lnTo>
                  <a:lnTo>
                    <a:pt x="1767862" y="1558196"/>
                  </a:lnTo>
                  <a:lnTo>
                    <a:pt x="1801218" y="1534370"/>
                  </a:lnTo>
                  <a:lnTo>
                    <a:pt x="1796454" y="1515310"/>
                  </a:lnTo>
                  <a:lnTo>
                    <a:pt x="1786922" y="1501016"/>
                  </a:lnTo>
                  <a:lnTo>
                    <a:pt x="1772626" y="1501016"/>
                  </a:lnTo>
                  <a:lnTo>
                    <a:pt x="1763098" y="1505780"/>
                  </a:lnTo>
                  <a:lnTo>
                    <a:pt x="1734506" y="1491484"/>
                  </a:lnTo>
                  <a:lnTo>
                    <a:pt x="1724978" y="1481954"/>
                  </a:lnTo>
                  <a:lnTo>
                    <a:pt x="1686854" y="1491484"/>
                  </a:lnTo>
                  <a:lnTo>
                    <a:pt x="1663030" y="1491484"/>
                  </a:lnTo>
                  <a:lnTo>
                    <a:pt x="1615378" y="1501016"/>
                  </a:lnTo>
                  <a:lnTo>
                    <a:pt x="1591554" y="1491484"/>
                  </a:lnTo>
                  <a:lnTo>
                    <a:pt x="1543902" y="1462894"/>
                  </a:lnTo>
                  <a:lnTo>
                    <a:pt x="1529606" y="1458128"/>
                  </a:lnTo>
                  <a:lnTo>
                    <a:pt x="1510546" y="1458128"/>
                  </a:lnTo>
                  <a:lnTo>
                    <a:pt x="1505782" y="1448598"/>
                  </a:lnTo>
                  <a:lnTo>
                    <a:pt x="1515310" y="1443834"/>
                  </a:lnTo>
                  <a:lnTo>
                    <a:pt x="1524842" y="1443834"/>
                  </a:lnTo>
                  <a:lnTo>
                    <a:pt x="1539138" y="1439068"/>
                  </a:lnTo>
                  <a:lnTo>
                    <a:pt x="1539138" y="1434304"/>
                  </a:lnTo>
                  <a:lnTo>
                    <a:pt x="1539138" y="1424772"/>
                  </a:lnTo>
                  <a:lnTo>
                    <a:pt x="1515310" y="1415242"/>
                  </a:lnTo>
                  <a:lnTo>
                    <a:pt x="1496250" y="1415242"/>
                  </a:lnTo>
                  <a:lnTo>
                    <a:pt x="1481954" y="1405712"/>
                  </a:lnTo>
                  <a:lnTo>
                    <a:pt x="1467660" y="1396182"/>
                  </a:lnTo>
                  <a:lnTo>
                    <a:pt x="1496250" y="1396182"/>
                  </a:lnTo>
                  <a:lnTo>
                    <a:pt x="1520074" y="1400948"/>
                  </a:lnTo>
                  <a:lnTo>
                    <a:pt x="1558198" y="1405712"/>
                  </a:lnTo>
                  <a:lnTo>
                    <a:pt x="1596318" y="1415242"/>
                  </a:lnTo>
                  <a:lnTo>
                    <a:pt x="1605846" y="1405712"/>
                  </a:lnTo>
                  <a:lnTo>
                    <a:pt x="1624910" y="1386652"/>
                  </a:lnTo>
                  <a:lnTo>
                    <a:pt x="1629674" y="1381886"/>
                  </a:lnTo>
                  <a:lnTo>
                    <a:pt x="1596318" y="1391416"/>
                  </a:lnTo>
                  <a:lnTo>
                    <a:pt x="1558198" y="1386652"/>
                  </a:lnTo>
                  <a:lnTo>
                    <a:pt x="1543902" y="1377122"/>
                  </a:lnTo>
                  <a:lnTo>
                    <a:pt x="1534370" y="1362826"/>
                  </a:lnTo>
                  <a:lnTo>
                    <a:pt x="1529606" y="1343766"/>
                  </a:lnTo>
                  <a:lnTo>
                    <a:pt x="1534370" y="1329470"/>
                  </a:lnTo>
                  <a:lnTo>
                    <a:pt x="1529606" y="1300880"/>
                  </a:lnTo>
                  <a:lnTo>
                    <a:pt x="1515310" y="1272288"/>
                  </a:lnTo>
                  <a:lnTo>
                    <a:pt x="1515310" y="1257994"/>
                  </a:lnTo>
                  <a:lnTo>
                    <a:pt x="1501014" y="1243698"/>
                  </a:lnTo>
                  <a:lnTo>
                    <a:pt x="1515310" y="1272288"/>
                  </a:lnTo>
                  <a:lnTo>
                    <a:pt x="1520074" y="1291350"/>
                  </a:lnTo>
                  <a:lnTo>
                    <a:pt x="1524842" y="1310410"/>
                  </a:lnTo>
                  <a:lnTo>
                    <a:pt x="1524842" y="1358062"/>
                  </a:lnTo>
                  <a:lnTo>
                    <a:pt x="1520074" y="1372356"/>
                  </a:lnTo>
                  <a:lnTo>
                    <a:pt x="1505782" y="1377122"/>
                  </a:lnTo>
                  <a:lnTo>
                    <a:pt x="1486718" y="1377122"/>
                  </a:lnTo>
                  <a:lnTo>
                    <a:pt x="1467660" y="1372356"/>
                  </a:lnTo>
                  <a:lnTo>
                    <a:pt x="1472426" y="1343766"/>
                  </a:lnTo>
                  <a:lnTo>
                    <a:pt x="1458130" y="1353296"/>
                  </a:lnTo>
                  <a:lnTo>
                    <a:pt x="1443834" y="1377122"/>
                  </a:lnTo>
                  <a:lnTo>
                    <a:pt x="1434304" y="1381886"/>
                  </a:lnTo>
                  <a:lnTo>
                    <a:pt x="1405712" y="1381886"/>
                  </a:lnTo>
                  <a:lnTo>
                    <a:pt x="1353296" y="1396182"/>
                  </a:lnTo>
                  <a:lnTo>
                    <a:pt x="1348530" y="1415242"/>
                  </a:lnTo>
                  <a:lnTo>
                    <a:pt x="1339000" y="1439068"/>
                  </a:lnTo>
                  <a:lnTo>
                    <a:pt x="1329470" y="1453364"/>
                  </a:lnTo>
                  <a:lnTo>
                    <a:pt x="1329470" y="1462894"/>
                  </a:lnTo>
                  <a:lnTo>
                    <a:pt x="1305644" y="1496250"/>
                  </a:lnTo>
                  <a:lnTo>
                    <a:pt x="1300880" y="1501016"/>
                  </a:lnTo>
                  <a:lnTo>
                    <a:pt x="1262758" y="1553432"/>
                  </a:lnTo>
                  <a:lnTo>
                    <a:pt x="1253228" y="1553432"/>
                  </a:lnTo>
                  <a:lnTo>
                    <a:pt x="1229402" y="1567726"/>
                  </a:lnTo>
                  <a:lnTo>
                    <a:pt x="1210342" y="1577256"/>
                  </a:lnTo>
                  <a:lnTo>
                    <a:pt x="1200812" y="1582022"/>
                  </a:lnTo>
                  <a:lnTo>
                    <a:pt x="1176986" y="1577256"/>
                  </a:lnTo>
                  <a:lnTo>
                    <a:pt x="1167456" y="1582022"/>
                  </a:lnTo>
                  <a:lnTo>
                    <a:pt x="1162692" y="1591552"/>
                  </a:lnTo>
                  <a:lnTo>
                    <a:pt x="1162692" y="1610612"/>
                  </a:lnTo>
                  <a:lnTo>
                    <a:pt x="1176986" y="1624908"/>
                  </a:lnTo>
                  <a:lnTo>
                    <a:pt x="1181752" y="1667794"/>
                  </a:lnTo>
                  <a:lnTo>
                    <a:pt x="1181752" y="1686854"/>
                  </a:lnTo>
                  <a:lnTo>
                    <a:pt x="1172222" y="1672560"/>
                  </a:lnTo>
                  <a:lnTo>
                    <a:pt x="1157926" y="1663030"/>
                  </a:lnTo>
                  <a:lnTo>
                    <a:pt x="1134100" y="1648734"/>
                  </a:lnTo>
                  <a:lnTo>
                    <a:pt x="1105510" y="1653500"/>
                  </a:lnTo>
                  <a:lnTo>
                    <a:pt x="1076918" y="1672560"/>
                  </a:lnTo>
                  <a:lnTo>
                    <a:pt x="1053094" y="1677324"/>
                  </a:lnTo>
                  <a:lnTo>
                    <a:pt x="1043562" y="1677324"/>
                  </a:lnTo>
                  <a:lnTo>
                    <a:pt x="1034032" y="1677324"/>
                  </a:lnTo>
                  <a:lnTo>
                    <a:pt x="1034032" y="1682090"/>
                  </a:lnTo>
                  <a:lnTo>
                    <a:pt x="1034032" y="1686854"/>
                  </a:lnTo>
                  <a:lnTo>
                    <a:pt x="1038798" y="1686854"/>
                  </a:lnTo>
                  <a:lnTo>
                    <a:pt x="1038798" y="1691620"/>
                  </a:lnTo>
                  <a:lnTo>
                    <a:pt x="1034032" y="1691620"/>
                  </a:lnTo>
                  <a:lnTo>
                    <a:pt x="986382" y="1677324"/>
                  </a:lnTo>
                  <a:lnTo>
                    <a:pt x="962556" y="1667794"/>
                  </a:lnTo>
                  <a:lnTo>
                    <a:pt x="948260" y="1643968"/>
                  </a:lnTo>
                  <a:lnTo>
                    <a:pt x="957790" y="1634438"/>
                  </a:lnTo>
                  <a:lnTo>
                    <a:pt x="962556" y="1634438"/>
                  </a:lnTo>
                  <a:lnTo>
                    <a:pt x="986382" y="1629674"/>
                  </a:lnTo>
                  <a:lnTo>
                    <a:pt x="991146" y="1629674"/>
                  </a:lnTo>
                  <a:lnTo>
                    <a:pt x="991146" y="1624908"/>
                  </a:lnTo>
                  <a:lnTo>
                    <a:pt x="995912" y="1615378"/>
                  </a:lnTo>
                  <a:lnTo>
                    <a:pt x="995912" y="1605848"/>
                  </a:lnTo>
                  <a:lnTo>
                    <a:pt x="991146" y="1596318"/>
                  </a:lnTo>
                  <a:lnTo>
                    <a:pt x="1000676" y="1582022"/>
                  </a:lnTo>
                  <a:lnTo>
                    <a:pt x="1019738" y="1567726"/>
                  </a:lnTo>
                  <a:lnTo>
                    <a:pt x="1029268" y="1553432"/>
                  </a:lnTo>
                  <a:lnTo>
                    <a:pt x="1029268" y="1534370"/>
                  </a:lnTo>
                  <a:lnTo>
                    <a:pt x="1048328" y="1524840"/>
                  </a:lnTo>
                  <a:lnTo>
                    <a:pt x="1062624" y="1510546"/>
                  </a:lnTo>
                  <a:lnTo>
                    <a:pt x="1067388" y="1491484"/>
                  </a:lnTo>
                  <a:lnTo>
                    <a:pt x="1072154" y="1481954"/>
                  </a:lnTo>
                  <a:lnTo>
                    <a:pt x="1062624" y="1458128"/>
                  </a:lnTo>
                  <a:lnTo>
                    <a:pt x="1057858" y="1439068"/>
                  </a:lnTo>
                  <a:lnTo>
                    <a:pt x="1057858" y="1424772"/>
                  </a:lnTo>
                  <a:lnTo>
                    <a:pt x="1062624" y="1420008"/>
                  </a:lnTo>
                  <a:lnTo>
                    <a:pt x="1076918" y="1410478"/>
                  </a:lnTo>
                  <a:lnTo>
                    <a:pt x="1091214" y="1400948"/>
                  </a:lnTo>
                  <a:lnTo>
                    <a:pt x="1100744" y="1400948"/>
                  </a:lnTo>
                  <a:lnTo>
                    <a:pt x="1100744" y="1405712"/>
                  </a:lnTo>
                  <a:lnTo>
                    <a:pt x="1100744" y="1434304"/>
                  </a:lnTo>
                  <a:lnTo>
                    <a:pt x="1105510" y="1434304"/>
                  </a:lnTo>
                  <a:lnTo>
                    <a:pt x="1110274" y="1434304"/>
                  </a:lnTo>
                  <a:lnTo>
                    <a:pt x="1119804" y="1415242"/>
                  </a:lnTo>
                  <a:lnTo>
                    <a:pt x="1124570" y="1420008"/>
                  </a:lnTo>
                  <a:lnTo>
                    <a:pt x="1134100" y="1424772"/>
                  </a:lnTo>
                  <a:lnTo>
                    <a:pt x="1138866" y="1420008"/>
                  </a:lnTo>
                  <a:lnTo>
                    <a:pt x="1143630" y="1420008"/>
                  </a:lnTo>
                  <a:lnTo>
                    <a:pt x="1148396" y="1424772"/>
                  </a:lnTo>
                  <a:lnTo>
                    <a:pt x="1157926" y="1429538"/>
                  </a:lnTo>
                  <a:lnTo>
                    <a:pt x="1167456" y="1429538"/>
                  </a:lnTo>
                  <a:lnTo>
                    <a:pt x="1172222" y="1424772"/>
                  </a:lnTo>
                  <a:lnTo>
                    <a:pt x="1181752" y="1420008"/>
                  </a:lnTo>
                  <a:lnTo>
                    <a:pt x="1186516" y="1420008"/>
                  </a:lnTo>
                  <a:lnTo>
                    <a:pt x="1200812" y="1443834"/>
                  </a:lnTo>
                  <a:lnTo>
                    <a:pt x="1205578" y="1439068"/>
                  </a:lnTo>
                  <a:lnTo>
                    <a:pt x="1238934" y="1434304"/>
                  </a:lnTo>
                  <a:lnTo>
                    <a:pt x="1243698" y="1429538"/>
                  </a:lnTo>
                  <a:lnTo>
                    <a:pt x="1248464" y="1424772"/>
                  </a:lnTo>
                  <a:lnTo>
                    <a:pt x="1215108" y="1400948"/>
                  </a:lnTo>
                  <a:lnTo>
                    <a:pt x="1215108" y="1381886"/>
                  </a:lnTo>
                  <a:lnTo>
                    <a:pt x="1219872" y="1358062"/>
                  </a:lnTo>
                  <a:lnTo>
                    <a:pt x="1215108" y="1343766"/>
                  </a:lnTo>
                  <a:lnTo>
                    <a:pt x="1205578" y="1334236"/>
                  </a:lnTo>
                  <a:lnTo>
                    <a:pt x="1181752" y="1319940"/>
                  </a:lnTo>
                  <a:lnTo>
                    <a:pt x="1162692" y="1310410"/>
                  </a:lnTo>
                  <a:lnTo>
                    <a:pt x="1157926" y="1300880"/>
                  </a:lnTo>
                  <a:lnTo>
                    <a:pt x="1157926" y="1296114"/>
                  </a:lnTo>
                  <a:lnTo>
                    <a:pt x="1157926" y="1281820"/>
                  </a:lnTo>
                  <a:lnTo>
                    <a:pt x="1153160" y="1272288"/>
                  </a:lnTo>
                  <a:lnTo>
                    <a:pt x="1148396" y="1262758"/>
                  </a:lnTo>
                  <a:lnTo>
                    <a:pt x="1153160" y="1253228"/>
                  </a:lnTo>
                  <a:lnTo>
                    <a:pt x="1157926" y="1238932"/>
                  </a:lnTo>
                  <a:lnTo>
                    <a:pt x="1153160" y="1229402"/>
                  </a:lnTo>
                  <a:lnTo>
                    <a:pt x="1148396" y="1229402"/>
                  </a:lnTo>
                  <a:lnTo>
                    <a:pt x="1143630" y="1224638"/>
                  </a:lnTo>
                  <a:lnTo>
                    <a:pt x="1129336" y="1219872"/>
                  </a:lnTo>
                  <a:lnTo>
                    <a:pt x="1124570" y="1205578"/>
                  </a:lnTo>
                  <a:lnTo>
                    <a:pt x="1100744" y="1191282"/>
                  </a:lnTo>
                  <a:lnTo>
                    <a:pt x="1095980" y="1191282"/>
                  </a:lnTo>
                  <a:lnTo>
                    <a:pt x="1091214" y="1181752"/>
                  </a:lnTo>
                  <a:lnTo>
                    <a:pt x="1091214" y="1172222"/>
                  </a:lnTo>
                  <a:lnTo>
                    <a:pt x="1095980" y="1162692"/>
                  </a:lnTo>
                  <a:lnTo>
                    <a:pt x="1100744" y="1143630"/>
                  </a:lnTo>
                  <a:lnTo>
                    <a:pt x="1100744" y="1124570"/>
                  </a:lnTo>
                  <a:lnTo>
                    <a:pt x="1105510" y="1115040"/>
                  </a:lnTo>
                  <a:lnTo>
                    <a:pt x="1100744" y="1091214"/>
                  </a:lnTo>
                  <a:lnTo>
                    <a:pt x="1091214" y="1072154"/>
                  </a:lnTo>
                  <a:lnTo>
                    <a:pt x="1086450" y="1067388"/>
                  </a:lnTo>
                  <a:lnTo>
                    <a:pt x="1076918" y="1072154"/>
                  </a:lnTo>
                  <a:lnTo>
                    <a:pt x="1067388" y="1076918"/>
                  </a:lnTo>
                  <a:lnTo>
                    <a:pt x="1057858" y="1072154"/>
                  </a:lnTo>
                  <a:lnTo>
                    <a:pt x="1048328" y="1062624"/>
                  </a:lnTo>
                  <a:lnTo>
                    <a:pt x="1034032" y="1034032"/>
                  </a:lnTo>
                  <a:lnTo>
                    <a:pt x="1010206" y="1029268"/>
                  </a:lnTo>
                  <a:lnTo>
                    <a:pt x="995912" y="1029268"/>
                  </a:lnTo>
                  <a:lnTo>
                    <a:pt x="986382" y="1043562"/>
                  </a:lnTo>
                  <a:lnTo>
                    <a:pt x="981616" y="1038798"/>
                  </a:lnTo>
                  <a:lnTo>
                    <a:pt x="981616" y="1029268"/>
                  </a:lnTo>
                  <a:lnTo>
                    <a:pt x="976852" y="1024502"/>
                  </a:lnTo>
                  <a:lnTo>
                    <a:pt x="967320" y="1029268"/>
                  </a:lnTo>
                  <a:lnTo>
                    <a:pt x="967320" y="1024502"/>
                  </a:lnTo>
                  <a:lnTo>
                    <a:pt x="967320" y="1014972"/>
                  </a:lnTo>
                  <a:lnTo>
                    <a:pt x="957790" y="1005442"/>
                  </a:lnTo>
                  <a:lnTo>
                    <a:pt x="938730" y="1005442"/>
                  </a:lnTo>
                  <a:lnTo>
                    <a:pt x="929200" y="1005442"/>
                  </a:lnTo>
                  <a:lnTo>
                    <a:pt x="924434" y="995912"/>
                  </a:lnTo>
                  <a:lnTo>
                    <a:pt x="919670" y="986382"/>
                  </a:lnTo>
                  <a:lnTo>
                    <a:pt x="910140" y="986382"/>
                  </a:lnTo>
                  <a:lnTo>
                    <a:pt x="895844" y="976852"/>
                  </a:lnTo>
                  <a:lnTo>
                    <a:pt x="886314" y="967320"/>
                  </a:lnTo>
                  <a:lnTo>
                    <a:pt x="867254" y="957790"/>
                  </a:lnTo>
                  <a:lnTo>
                    <a:pt x="848192" y="953026"/>
                  </a:lnTo>
                  <a:lnTo>
                    <a:pt x="843428" y="953026"/>
                  </a:lnTo>
                  <a:lnTo>
                    <a:pt x="829132" y="957790"/>
                  </a:lnTo>
                  <a:lnTo>
                    <a:pt x="819602" y="967320"/>
                  </a:lnTo>
                  <a:lnTo>
                    <a:pt x="810072" y="962556"/>
                  </a:lnTo>
                  <a:lnTo>
                    <a:pt x="791012" y="976852"/>
                  </a:lnTo>
                  <a:lnTo>
                    <a:pt x="757656" y="976852"/>
                  </a:lnTo>
                  <a:lnTo>
                    <a:pt x="743360" y="976852"/>
                  </a:lnTo>
                  <a:lnTo>
                    <a:pt x="733830" y="972086"/>
                  </a:lnTo>
                  <a:lnTo>
                    <a:pt x="700474" y="995912"/>
                  </a:lnTo>
                  <a:lnTo>
                    <a:pt x="700474" y="1000676"/>
                  </a:lnTo>
                  <a:lnTo>
                    <a:pt x="690944" y="1005442"/>
                  </a:lnTo>
                  <a:lnTo>
                    <a:pt x="671882" y="1010206"/>
                  </a:lnTo>
                  <a:lnTo>
                    <a:pt x="648058" y="1014972"/>
                  </a:lnTo>
                  <a:lnTo>
                    <a:pt x="643292" y="1034032"/>
                  </a:lnTo>
                  <a:lnTo>
                    <a:pt x="638528" y="1048328"/>
                  </a:lnTo>
                  <a:lnTo>
                    <a:pt x="628996" y="1062624"/>
                  </a:lnTo>
                  <a:lnTo>
                    <a:pt x="586110" y="1072154"/>
                  </a:lnTo>
                  <a:lnTo>
                    <a:pt x="552754" y="1076918"/>
                  </a:lnTo>
                  <a:lnTo>
                    <a:pt x="519398" y="1081684"/>
                  </a:lnTo>
                  <a:lnTo>
                    <a:pt x="471748" y="1105510"/>
                  </a:lnTo>
                  <a:lnTo>
                    <a:pt x="457452" y="1124570"/>
                  </a:lnTo>
                  <a:lnTo>
                    <a:pt x="443156" y="1129336"/>
                  </a:lnTo>
                  <a:lnTo>
                    <a:pt x="428862" y="1129336"/>
                  </a:lnTo>
                  <a:lnTo>
                    <a:pt x="419332" y="1119804"/>
                  </a:lnTo>
                  <a:lnTo>
                    <a:pt x="390740" y="1091214"/>
                  </a:lnTo>
                  <a:lnTo>
                    <a:pt x="381210" y="1076918"/>
                  </a:lnTo>
                  <a:lnTo>
                    <a:pt x="366914" y="1076918"/>
                  </a:lnTo>
                  <a:lnTo>
                    <a:pt x="347854" y="1076918"/>
                  </a:lnTo>
                  <a:lnTo>
                    <a:pt x="333558" y="1081684"/>
                  </a:lnTo>
                  <a:lnTo>
                    <a:pt x="319264" y="1086448"/>
                  </a:lnTo>
                  <a:lnTo>
                    <a:pt x="300204" y="1076918"/>
                  </a:lnTo>
                  <a:lnTo>
                    <a:pt x="295438" y="1076918"/>
                  </a:lnTo>
                  <a:lnTo>
                    <a:pt x="290672" y="1076918"/>
                  </a:lnTo>
                  <a:lnTo>
                    <a:pt x="243022" y="1067388"/>
                  </a:lnTo>
                  <a:lnTo>
                    <a:pt x="238256" y="1067388"/>
                  </a:lnTo>
                  <a:lnTo>
                    <a:pt x="238256" y="1062624"/>
                  </a:lnTo>
                  <a:lnTo>
                    <a:pt x="233492" y="1062624"/>
                  </a:lnTo>
                  <a:lnTo>
                    <a:pt x="195370" y="1067388"/>
                  </a:lnTo>
                  <a:lnTo>
                    <a:pt x="166780" y="1043562"/>
                  </a:lnTo>
                  <a:lnTo>
                    <a:pt x="157250" y="1043562"/>
                  </a:lnTo>
                  <a:lnTo>
                    <a:pt x="147718" y="1053092"/>
                  </a:lnTo>
                  <a:lnTo>
                    <a:pt x="142954" y="1062624"/>
                  </a:lnTo>
                  <a:lnTo>
                    <a:pt x="119128" y="1072154"/>
                  </a:lnTo>
                  <a:lnTo>
                    <a:pt x="114364" y="1076918"/>
                  </a:lnTo>
                  <a:lnTo>
                    <a:pt x="109598" y="1072154"/>
                  </a:lnTo>
                  <a:lnTo>
                    <a:pt x="109598" y="1062624"/>
                  </a:lnTo>
                  <a:lnTo>
                    <a:pt x="109598" y="1057858"/>
                  </a:lnTo>
                  <a:lnTo>
                    <a:pt x="109598" y="1048328"/>
                  </a:lnTo>
                  <a:lnTo>
                    <a:pt x="100068" y="1038798"/>
                  </a:lnTo>
                  <a:lnTo>
                    <a:pt x="95302" y="1038798"/>
                  </a:lnTo>
                  <a:lnTo>
                    <a:pt x="85772" y="1038798"/>
                  </a:lnTo>
                  <a:lnTo>
                    <a:pt x="66712" y="1029268"/>
                  </a:lnTo>
                  <a:lnTo>
                    <a:pt x="57182" y="1014972"/>
                  </a:lnTo>
                  <a:lnTo>
                    <a:pt x="42886" y="1005442"/>
                  </a:lnTo>
                  <a:lnTo>
                    <a:pt x="33356" y="1005442"/>
                  </a:lnTo>
                  <a:lnTo>
                    <a:pt x="28590" y="995912"/>
                  </a:lnTo>
                  <a:lnTo>
                    <a:pt x="23826" y="986382"/>
                  </a:lnTo>
                  <a:lnTo>
                    <a:pt x="19060" y="976852"/>
                  </a:lnTo>
                  <a:lnTo>
                    <a:pt x="19060" y="967320"/>
                  </a:lnTo>
                  <a:lnTo>
                    <a:pt x="14296" y="967320"/>
                  </a:lnTo>
                  <a:lnTo>
                    <a:pt x="0" y="967320"/>
                  </a:lnTo>
                  <a:lnTo>
                    <a:pt x="0" y="929200"/>
                  </a:lnTo>
                  <a:lnTo>
                    <a:pt x="23826" y="900608"/>
                  </a:lnTo>
                  <a:lnTo>
                    <a:pt x="28590" y="886314"/>
                  </a:lnTo>
                  <a:lnTo>
                    <a:pt x="38122" y="857722"/>
                  </a:lnTo>
                  <a:lnTo>
                    <a:pt x="42886" y="843428"/>
                  </a:lnTo>
                  <a:lnTo>
                    <a:pt x="52416" y="829132"/>
                  </a:lnTo>
                  <a:lnTo>
                    <a:pt x="57182" y="819602"/>
                  </a:lnTo>
                  <a:lnTo>
                    <a:pt x="61946" y="810072"/>
                  </a:lnTo>
                  <a:lnTo>
                    <a:pt x="66712" y="810072"/>
                  </a:lnTo>
                  <a:lnTo>
                    <a:pt x="85772" y="819602"/>
                  </a:lnTo>
                  <a:lnTo>
                    <a:pt x="104832" y="824366"/>
                  </a:lnTo>
                  <a:lnTo>
                    <a:pt x="109598" y="819602"/>
                  </a:lnTo>
                  <a:lnTo>
                    <a:pt x="109598" y="810072"/>
                  </a:lnTo>
                  <a:lnTo>
                    <a:pt x="95302" y="795776"/>
                  </a:lnTo>
                  <a:lnTo>
                    <a:pt x="85772" y="786246"/>
                  </a:lnTo>
                  <a:lnTo>
                    <a:pt x="85772" y="781480"/>
                  </a:lnTo>
                  <a:lnTo>
                    <a:pt x="90538" y="771950"/>
                  </a:lnTo>
                  <a:lnTo>
                    <a:pt x="90538" y="757656"/>
                  </a:lnTo>
                  <a:lnTo>
                    <a:pt x="90538" y="743360"/>
                  </a:lnTo>
                  <a:lnTo>
                    <a:pt x="81008" y="710004"/>
                  </a:lnTo>
                  <a:lnTo>
                    <a:pt x="76242" y="700474"/>
                  </a:lnTo>
                  <a:lnTo>
                    <a:pt x="85772" y="681414"/>
                  </a:lnTo>
                  <a:lnTo>
                    <a:pt x="114364" y="643292"/>
                  </a:lnTo>
                  <a:lnTo>
                    <a:pt x="123894" y="628996"/>
                  </a:lnTo>
                  <a:lnTo>
                    <a:pt x="138188" y="609936"/>
                  </a:lnTo>
                  <a:lnTo>
                    <a:pt x="176310" y="567050"/>
                  </a:lnTo>
                  <a:lnTo>
                    <a:pt x="195370" y="543224"/>
                  </a:lnTo>
                  <a:lnTo>
                    <a:pt x="214430" y="528930"/>
                  </a:lnTo>
                  <a:lnTo>
                    <a:pt x="233492" y="505104"/>
                  </a:lnTo>
                  <a:lnTo>
                    <a:pt x="243022" y="495574"/>
                  </a:lnTo>
                  <a:lnTo>
                    <a:pt x="285908" y="486042"/>
                  </a:lnTo>
                  <a:lnTo>
                    <a:pt x="290672" y="476512"/>
                  </a:lnTo>
                  <a:lnTo>
                    <a:pt x="295438" y="462218"/>
                  </a:lnTo>
                  <a:lnTo>
                    <a:pt x="304968" y="457452"/>
                  </a:lnTo>
                  <a:lnTo>
                    <a:pt x="304968" y="433626"/>
                  </a:lnTo>
                  <a:lnTo>
                    <a:pt x="295438" y="409800"/>
                  </a:lnTo>
                  <a:lnTo>
                    <a:pt x="290672" y="400270"/>
                  </a:lnTo>
                  <a:lnTo>
                    <a:pt x="285908" y="395506"/>
                  </a:lnTo>
                  <a:lnTo>
                    <a:pt x="290672" y="385976"/>
                  </a:lnTo>
                  <a:lnTo>
                    <a:pt x="295438" y="385976"/>
                  </a:lnTo>
                  <a:lnTo>
                    <a:pt x="300204" y="385976"/>
                  </a:lnTo>
                  <a:lnTo>
                    <a:pt x="304968" y="381210"/>
                  </a:lnTo>
                  <a:lnTo>
                    <a:pt x="304968" y="371680"/>
                  </a:lnTo>
                  <a:lnTo>
                    <a:pt x="285908" y="357384"/>
                  </a:lnTo>
                  <a:lnTo>
                    <a:pt x="281142" y="343090"/>
                  </a:lnTo>
                  <a:lnTo>
                    <a:pt x="266848" y="309734"/>
                  </a:lnTo>
                  <a:lnTo>
                    <a:pt x="243022" y="276378"/>
                  </a:lnTo>
                  <a:lnTo>
                    <a:pt x="238256" y="262082"/>
                  </a:lnTo>
                  <a:lnTo>
                    <a:pt x="238256" y="252552"/>
                  </a:lnTo>
                  <a:lnTo>
                    <a:pt x="238256" y="243022"/>
                  </a:lnTo>
                  <a:lnTo>
                    <a:pt x="238256" y="228726"/>
                  </a:lnTo>
                  <a:lnTo>
                    <a:pt x="228726" y="209666"/>
                  </a:lnTo>
                  <a:lnTo>
                    <a:pt x="228726" y="190606"/>
                  </a:lnTo>
                  <a:lnTo>
                    <a:pt x="233492" y="185840"/>
                  </a:lnTo>
                  <a:lnTo>
                    <a:pt x="243022" y="181074"/>
                  </a:lnTo>
                  <a:lnTo>
                    <a:pt x="257316" y="181074"/>
                  </a:lnTo>
                  <a:lnTo>
                    <a:pt x="266848" y="185840"/>
                  </a:lnTo>
                  <a:lnTo>
                    <a:pt x="281142" y="195370"/>
                  </a:lnTo>
                  <a:lnTo>
                    <a:pt x="285908" y="195370"/>
                  </a:lnTo>
                  <a:lnTo>
                    <a:pt x="309734" y="176310"/>
                  </a:lnTo>
                  <a:lnTo>
                    <a:pt x="333558" y="147718"/>
                  </a:lnTo>
                  <a:lnTo>
                    <a:pt x="338324" y="133424"/>
                  </a:lnTo>
                  <a:lnTo>
                    <a:pt x="347854" y="123894"/>
                  </a:lnTo>
                  <a:lnTo>
                    <a:pt x="366914" y="119128"/>
                  </a:lnTo>
                  <a:lnTo>
                    <a:pt x="385976" y="119128"/>
                  </a:lnTo>
                  <a:lnTo>
                    <a:pt x="395506" y="119128"/>
                  </a:lnTo>
                  <a:lnTo>
                    <a:pt x="424096" y="114364"/>
                  </a:lnTo>
                  <a:lnTo>
                    <a:pt x="443156" y="114364"/>
                  </a:lnTo>
                  <a:lnTo>
                    <a:pt x="457452" y="109598"/>
                  </a:lnTo>
                  <a:lnTo>
                    <a:pt x="486042" y="104832"/>
                  </a:lnTo>
                  <a:lnTo>
                    <a:pt x="533694" y="109598"/>
                  </a:lnTo>
                  <a:lnTo>
                    <a:pt x="567050" y="109598"/>
                  </a:lnTo>
                  <a:lnTo>
                    <a:pt x="590876" y="114364"/>
                  </a:lnTo>
                  <a:lnTo>
                    <a:pt x="643292" y="128658"/>
                  </a:lnTo>
                  <a:lnTo>
                    <a:pt x="662352" y="128658"/>
                  </a:lnTo>
                  <a:lnTo>
                    <a:pt x="671882" y="138188"/>
                  </a:lnTo>
                  <a:lnTo>
                    <a:pt x="690944" y="142954"/>
                  </a:lnTo>
                  <a:lnTo>
                    <a:pt x="724300" y="147718"/>
                  </a:lnTo>
                  <a:lnTo>
                    <a:pt x="748126" y="152484"/>
                  </a:lnTo>
                  <a:lnTo>
                    <a:pt x="767186" y="152484"/>
                  </a:lnTo>
                  <a:lnTo>
                    <a:pt x="781480" y="152484"/>
                  </a:lnTo>
                  <a:lnTo>
                    <a:pt x="800542" y="185840"/>
                  </a:lnTo>
                  <a:lnTo>
                    <a:pt x="805306" y="190606"/>
                  </a:lnTo>
                  <a:lnTo>
                    <a:pt x="810072" y="190606"/>
                  </a:lnTo>
                  <a:lnTo>
                    <a:pt x="829132" y="190606"/>
                  </a:lnTo>
                  <a:lnTo>
                    <a:pt x="852958" y="190606"/>
                  </a:lnTo>
                  <a:lnTo>
                    <a:pt x="867254" y="200136"/>
                  </a:lnTo>
                  <a:lnTo>
                    <a:pt x="862488" y="219196"/>
                  </a:lnTo>
                  <a:lnTo>
                    <a:pt x="867254" y="223960"/>
                  </a:lnTo>
                  <a:lnTo>
                    <a:pt x="872018" y="219196"/>
                  </a:lnTo>
                  <a:lnTo>
                    <a:pt x="881548" y="209666"/>
                  </a:lnTo>
                  <a:lnTo>
                    <a:pt x="886314" y="195370"/>
                  </a:lnTo>
                  <a:lnTo>
                    <a:pt x="891078" y="195370"/>
                  </a:lnTo>
                  <a:lnTo>
                    <a:pt x="914904" y="200136"/>
                  </a:lnTo>
                  <a:lnTo>
                    <a:pt x="924434" y="200136"/>
                  </a:lnTo>
                  <a:lnTo>
                    <a:pt x="938730" y="190606"/>
                  </a:lnTo>
                  <a:lnTo>
                    <a:pt x="943496" y="190606"/>
                  </a:lnTo>
                  <a:lnTo>
                    <a:pt x="957790" y="195370"/>
                  </a:lnTo>
                  <a:lnTo>
                    <a:pt x="981616" y="200136"/>
                  </a:lnTo>
                  <a:lnTo>
                    <a:pt x="995912" y="200136"/>
                  </a:lnTo>
                  <a:lnTo>
                    <a:pt x="1005442" y="204900"/>
                  </a:lnTo>
                  <a:lnTo>
                    <a:pt x="1014972" y="228726"/>
                  </a:lnTo>
                  <a:lnTo>
                    <a:pt x="1019738" y="233492"/>
                  </a:lnTo>
                  <a:lnTo>
                    <a:pt x="1029268" y="233492"/>
                  </a:lnTo>
                  <a:lnTo>
                    <a:pt x="1038798" y="214430"/>
                  </a:lnTo>
                  <a:lnTo>
                    <a:pt x="1048328" y="204900"/>
                  </a:lnTo>
                  <a:lnTo>
                    <a:pt x="1057858" y="200136"/>
                  </a:lnTo>
                  <a:lnTo>
                    <a:pt x="1067388" y="200136"/>
                  </a:lnTo>
                  <a:lnTo>
                    <a:pt x="1072154" y="190606"/>
                  </a:lnTo>
                  <a:lnTo>
                    <a:pt x="1081684" y="185840"/>
                  </a:lnTo>
                  <a:lnTo>
                    <a:pt x="1086450" y="185840"/>
                  </a:lnTo>
                  <a:lnTo>
                    <a:pt x="1091214" y="185840"/>
                  </a:lnTo>
                  <a:lnTo>
                    <a:pt x="1095980" y="195370"/>
                  </a:lnTo>
                  <a:lnTo>
                    <a:pt x="1105510" y="219196"/>
                  </a:lnTo>
                  <a:lnTo>
                    <a:pt x="1115040" y="238256"/>
                  </a:lnTo>
                  <a:lnTo>
                    <a:pt x="1124570" y="247786"/>
                  </a:lnTo>
                  <a:lnTo>
                    <a:pt x="1143630" y="238256"/>
                  </a:lnTo>
                  <a:lnTo>
                    <a:pt x="1157926" y="233492"/>
                  </a:lnTo>
                  <a:lnTo>
                    <a:pt x="1181752" y="233492"/>
                  </a:lnTo>
                  <a:lnTo>
                    <a:pt x="1210342" y="228726"/>
                  </a:lnTo>
                  <a:lnTo>
                    <a:pt x="1234168" y="219196"/>
                  </a:lnTo>
                  <a:lnTo>
                    <a:pt x="1253228" y="223960"/>
                  </a:lnTo>
                  <a:lnTo>
                    <a:pt x="1262758" y="228726"/>
                  </a:lnTo>
                  <a:lnTo>
                    <a:pt x="1277054" y="243022"/>
                  </a:lnTo>
                  <a:lnTo>
                    <a:pt x="1277054" y="262082"/>
                  </a:lnTo>
                  <a:lnTo>
                    <a:pt x="1296114" y="271612"/>
                  </a:lnTo>
                  <a:lnTo>
                    <a:pt x="1310410" y="276378"/>
                  </a:lnTo>
                  <a:lnTo>
                    <a:pt x="1315176" y="262082"/>
                  </a:lnTo>
                  <a:lnTo>
                    <a:pt x="1324706" y="252552"/>
                  </a:lnTo>
                  <a:lnTo>
                    <a:pt x="1324706" y="238256"/>
                  </a:lnTo>
                  <a:lnTo>
                    <a:pt x="1319940" y="223960"/>
                  </a:lnTo>
                  <a:lnTo>
                    <a:pt x="1315176" y="209666"/>
                  </a:lnTo>
                  <a:lnTo>
                    <a:pt x="1310410" y="190606"/>
                  </a:lnTo>
                  <a:lnTo>
                    <a:pt x="1319940" y="166780"/>
                  </a:lnTo>
                  <a:lnTo>
                    <a:pt x="1324706" y="147718"/>
                  </a:lnTo>
                  <a:lnTo>
                    <a:pt x="1329470" y="138188"/>
                  </a:lnTo>
                  <a:lnTo>
                    <a:pt x="1343766" y="114364"/>
                  </a:lnTo>
                  <a:lnTo>
                    <a:pt x="1358062" y="100068"/>
                  </a:lnTo>
                  <a:lnTo>
                    <a:pt x="1377122" y="76242"/>
                  </a:lnTo>
                  <a:lnTo>
                    <a:pt x="1396182" y="71476"/>
                  </a:lnTo>
                  <a:lnTo>
                    <a:pt x="1410478" y="76242"/>
                  </a:lnTo>
                  <a:lnTo>
                    <a:pt x="1415242" y="76242"/>
                  </a:lnTo>
                  <a:lnTo>
                    <a:pt x="1434304" y="61946"/>
                  </a:lnTo>
                  <a:lnTo>
                    <a:pt x="1472426" y="61946"/>
                  </a:lnTo>
                  <a:lnTo>
                    <a:pt x="1501014" y="66712"/>
                  </a:lnTo>
                  <a:lnTo>
                    <a:pt x="1505782" y="66712"/>
                  </a:lnTo>
                  <a:lnTo>
                    <a:pt x="1520074" y="71476"/>
                  </a:lnTo>
                  <a:lnTo>
                    <a:pt x="1534370" y="76242"/>
                  </a:lnTo>
                  <a:lnTo>
                    <a:pt x="1543902" y="76242"/>
                  </a:lnTo>
                  <a:lnTo>
                    <a:pt x="1558198" y="76242"/>
                  </a:lnTo>
                  <a:lnTo>
                    <a:pt x="1572494" y="71476"/>
                  </a:lnTo>
                  <a:lnTo>
                    <a:pt x="1582022" y="61946"/>
                  </a:lnTo>
                  <a:lnTo>
                    <a:pt x="1596318" y="19060"/>
                  </a:lnTo>
                  <a:lnTo>
                    <a:pt x="1601082" y="14296"/>
                  </a:lnTo>
                  <a:lnTo>
                    <a:pt x="1605846" y="14296"/>
                  </a:lnTo>
                  <a:lnTo>
                    <a:pt x="1620142" y="9530"/>
                  </a:lnTo>
                  <a:lnTo>
                    <a:pt x="1639202" y="19060"/>
                  </a:lnTo>
                  <a:lnTo>
                    <a:pt x="1663030" y="23826"/>
                  </a:lnTo>
                  <a:lnTo>
                    <a:pt x="1677326" y="23826"/>
                  </a:lnTo>
                  <a:lnTo>
                    <a:pt x="1720210" y="476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6" name="Line 6548">
              <a:extLst>
                <a:ext uri="{FF2B5EF4-FFF2-40B4-BE49-F238E27FC236}">
                  <a16:creationId xmlns:a16="http://schemas.microsoft.com/office/drawing/2014/main" id="{5A2ECCB2-F744-48FC-B3FD-938B38E59A2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144105" y="3852241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7" name="Freeform 6549">
              <a:extLst>
                <a:ext uri="{FF2B5EF4-FFF2-40B4-BE49-F238E27FC236}">
                  <a16:creationId xmlns:a16="http://schemas.microsoft.com/office/drawing/2014/main" id="{2F076544-04B1-4816-928C-15B09568DB23}"/>
                </a:ext>
              </a:extLst>
            </p:cNvPr>
            <p:cNvSpPr/>
            <p:nvPr/>
          </p:nvSpPr>
          <p:spPr bwMode="auto">
            <a:xfrm>
              <a:off x="3822224" y="6207654"/>
              <a:ext cx="132591" cy="144925"/>
            </a:xfrm>
            <a:custGeom>
              <a:avLst/>
              <a:gdLst>
                <a:gd name="T0" fmla="*/ 332 w 344"/>
                <a:gd name="T1" fmla="*/ 190 h 376"/>
                <a:gd name="T2" fmla="*/ 312 w 344"/>
                <a:gd name="T3" fmla="*/ 168 h 376"/>
                <a:gd name="T4" fmla="*/ 306 w 344"/>
                <a:gd name="T5" fmla="*/ 150 h 376"/>
                <a:gd name="T6" fmla="*/ 296 w 344"/>
                <a:gd name="T7" fmla="*/ 142 h 376"/>
                <a:gd name="T8" fmla="*/ 276 w 344"/>
                <a:gd name="T9" fmla="*/ 134 h 376"/>
                <a:gd name="T10" fmla="*/ 256 w 344"/>
                <a:gd name="T11" fmla="*/ 110 h 376"/>
                <a:gd name="T12" fmla="*/ 222 w 344"/>
                <a:gd name="T13" fmla="*/ 90 h 376"/>
                <a:gd name="T14" fmla="*/ 208 w 344"/>
                <a:gd name="T15" fmla="*/ 86 h 376"/>
                <a:gd name="T16" fmla="*/ 202 w 344"/>
                <a:gd name="T17" fmla="*/ 74 h 376"/>
                <a:gd name="T18" fmla="*/ 188 w 344"/>
                <a:gd name="T19" fmla="*/ 58 h 376"/>
                <a:gd name="T20" fmla="*/ 182 w 344"/>
                <a:gd name="T21" fmla="*/ 60 h 376"/>
                <a:gd name="T22" fmla="*/ 174 w 344"/>
                <a:gd name="T23" fmla="*/ 66 h 376"/>
                <a:gd name="T24" fmla="*/ 162 w 344"/>
                <a:gd name="T25" fmla="*/ 74 h 376"/>
                <a:gd name="T26" fmla="*/ 158 w 344"/>
                <a:gd name="T27" fmla="*/ 68 h 376"/>
                <a:gd name="T28" fmla="*/ 152 w 344"/>
                <a:gd name="T29" fmla="*/ 46 h 376"/>
                <a:gd name="T30" fmla="*/ 112 w 344"/>
                <a:gd name="T31" fmla="*/ 6 h 376"/>
                <a:gd name="T32" fmla="*/ 92 w 344"/>
                <a:gd name="T33" fmla="*/ 0 h 376"/>
                <a:gd name="T34" fmla="*/ 80 w 344"/>
                <a:gd name="T35" fmla="*/ 14 h 376"/>
                <a:gd name="T36" fmla="*/ 54 w 344"/>
                <a:gd name="T37" fmla="*/ 6 h 376"/>
                <a:gd name="T38" fmla="*/ 46 w 344"/>
                <a:gd name="T39" fmla="*/ 20 h 376"/>
                <a:gd name="T40" fmla="*/ 40 w 344"/>
                <a:gd name="T41" fmla="*/ 46 h 376"/>
                <a:gd name="T42" fmla="*/ 36 w 344"/>
                <a:gd name="T43" fmla="*/ 64 h 376"/>
                <a:gd name="T44" fmla="*/ 36 w 344"/>
                <a:gd name="T45" fmla="*/ 76 h 376"/>
                <a:gd name="T46" fmla="*/ 26 w 344"/>
                <a:gd name="T47" fmla="*/ 100 h 376"/>
                <a:gd name="T48" fmla="*/ 28 w 344"/>
                <a:gd name="T49" fmla="*/ 112 h 376"/>
                <a:gd name="T50" fmla="*/ 26 w 344"/>
                <a:gd name="T51" fmla="*/ 126 h 376"/>
                <a:gd name="T52" fmla="*/ 16 w 344"/>
                <a:gd name="T53" fmla="*/ 138 h 376"/>
                <a:gd name="T54" fmla="*/ 16 w 344"/>
                <a:gd name="T55" fmla="*/ 154 h 376"/>
                <a:gd name="T56" fmla="*/ 20 w 344"/>
                <a:gd name="T57" fmla="*/ 170 h 376"/>
                <a:gd name="T58" fmla="*/ 20 w 344"/>
                <a:gd name="T59" fmla="*/ 204 h 376"/>
                <a:gd name="T60" fmla="*/ 18 w 344"/>
                <a:gd name="T61" fmla="*/ 228 h 376"/>
                <a:gd name="T62" fmla="*/ 4 w 344"/>
                <a:gd name="T63" fmla="*/ 236 h 376"/>
                <a:gd name="T64" fmla="*/ 0 w 344"/>
                <a:gd name="T65" fmla="*/ 278 h 376"/>
                <a:gd name="T66" fmla="*/ 30 w 344"/>
                <a:gd name="T67" fmla="*/ 326 h 376"/>
                <a:gd name="T68" fmla="*/ 38 w 344"/>
                <a:gd name="T69" fmla="*/ 338 h 376"/>
                <a:gd name="T70" fmla="*/ 102 w 344"/>
                <a:gd name="T71" fmla="*/ 354 h 376"/>
                <a:gd name="T72" fmla="*/ 142 w 344"/>
                <a:gd name="T73" fmla="*/ 372 h 376"/>
                <a:gd name="T74" fmla="*/ 168 w 344"/>
                <a:gd name="T75" fmla="*/ 366 h 376"/>
                <a:gd name="T76" fmla="*/ 208 w 344"/>
                <a:gd name="T77" fmla="*/ 372 h 376"/>
                <a:gd name="T78" fmla="*/ 266 w 344"/>
                <a:gd name="T79" fmla="*/ 360 h 376"/>
                <a:gd name="T80" fmla="*/ 290 w 344"/>
                <a:gd name="T81" fmla="*/ 342 h 376"/>
                <a:gd name="T82" fmla="*/ 320 w 344"/>
                <a:gd name="T83" fmla="*/ 302 h 376"/>
                <a:gd name="T84" fmla="*/ 332 w 344"/>
                <a:gd name="T85" fmla="*/ 280 h 376"/>
                <a:gd name="T86" fmla="*/ 322 w 344"/>
                <a:gd name="T87" fmla="*/ 276 h 376"/>
                <a:gd name="T88" fmla="*/ 320 w 344"/>
                <a:gd name="T89" fmla="*/ 266 h 376"/>
                <a:gd name="T90" fmla="*/ 318 w 344"/>
                <a:gd name="T91" fmla="*/ 260 h 376"/>
                <a:gd name="T92" fmla="*/ 318 w 344"/>
                <a:gd name="T93" fmla="*/ 246 h 376"/>
                <a:gd name="T94" fmla="*/ 314 w 344"/>
                <a:gd name="T95" fmla="*/ 234 h 376"/>
                <a:gd name="T96" fmla="*/ 324 w 344"/>
                <a:gd name="T97" fmla="*/ 220 h 376"/>
                <a:gd name="T98" fmla="*/ 334 w 344"/>
                <a:gd name="T99" fmla="*/ 214 h 376"/>
                <a:gd name="T100" fmla="*/ 336 w 344"/>
                <a:gd name="T101" fmla="*/ 204 h 376"/>
                <a:gd name="T102" fmla="*/ 344 w 344"/>
                <a:gd name="T103" fmla="*/ 19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44" h="376">
                  <a:moveTo>
                    <a:pt x="344" y="196"/>
                  </a:moveTo>
                  <a:lnTo>
                    <a:pt x="340" y="194"/>
                  </a:lnTo>
                  <a:lnTo>
                    <a:pt x="332" y="190"/>
                  </a:lnTo>
                  <a:lnTo>
                    <a:pt x="324" y="184"/>
                  </a:lnTo>
                  <a:lnTo>
                    <a:pt x="316" y="176"/>
                  </a:lnTo>
                  <a:lnTo>
                    <a:pt x="312" y="168"/>
                  </a:lnTo>
                  <a:lnTo>
                    <a:pt x="310" y="160"/>
                  </a:lnTo>
                  <a:lnTo>
                    <a:pt x="306" y="152"/>
                  </a:lnTo>
                  <a:lnTo>
                    <a:pt x="306" y="150"/>
                  </a:lnTo>
                  <a:lnTo>
                    <a:pt x="302" y="148"/>
                  </a:lnTo>
                  <a:lnTo>
                    <a:pt x="298" y="144"/>
                  </a:lnTo>
                  <a:lnTo>
                    <a:pt x="296" y="142"/>
                  </a:lnTo>
                  <a:lnTo>
                    <a:pt x="290" y="140"/>
                  </a:lnTo>
                  <a:lnTo>
                    <a:pt x="284" y="138"/>
                  </a:lnTo>
                  <a:lnTo>
                    <a:pt x="276" y="134"/>
                  </a:lnTo>
                  <a:lnTo>
                    <a:pt x="266" y="126"/>
                  </a:lnTo>
                  <a:lnTo>
                    <a:pt x="258" y="116"/>
                  </a:lnTo>
                  <a:lnTo>
                    <a:pt x="256" y="110"/>
                  </a:lnTo>
                  <a:lnTo>
                    <a:pt x="252" y="106"/>
                  </a:lnTo>
                  <a:lnTo>
                    <a:pt x="232" y="98"/>
                  </a:lnTo>
                  <a:lnTo>
                    <a:pt x="222" y="90"/>
                  </a:lnTo>
                  <a:lnTo>
                    <a:pt x="218" y="92"/>
                  </a:lnTo>
                  <a:lnTo>
                    <a:pt x="214" y="90"/>
                  </a:lnTo>
                  <a:lnTo>
                    <a:pt x="208" y="86"/>
                  </a:lnTo>
                  <a:lnTo>
                    <a:pt x="206" y="82"/>
                  </a:lnTo>
                  <a:lnTo>
                    <a:pt x="204" y="78"/>
                  </a:lnTo>
                  <a:lnTo>
                    <a:pt x="202" y="74"/>
                  </a:lnTo>
                  <a:lnTo>
                    <a:pt x="200" y="72"/>
                  </a:lnTo>
                  <a:lnTo>
                    <a:pt x="194" y="66"/>
                  </a:lnTo>
                  <a:lnTo>
                    <a:pt x="188" y="58"/>
                  </a:lnTo>
                  <a:lnTo>
                    <a:pt x="184" y="56"/>
                  </a:lnTo>
                  <a:lnTo>
                    <a:pt x="184" y="58"/>
                  </a:lnTo>
                  <a:lnTo>
                    <a:pt x="182" y="60"/>
                  </a:lnTo>
                  <a:lnTo>
                    <a:pt x="180" y="62"/>
                  </a:lnTo>
                  <a:lnTo>
                    <a:pt x="178" y="64"/>
                  </a:lnTo>
                  <a:lnTo>
                    <a:pt x="174" y="66"/>
                  </a:lnTo>
                  <a:lnTo>
                    <a:pt x="172" y="70"/>
                  </a:lnTo>
                  <a:lnTo>
                    <a:pt x="168" y="74"/>
                  </a:lnTo>
                  <a:lnTo>
                    <a:pt x="162" y="74"/>
                  </a:lnTo>
                  <a:lnTo>
                    <a:pt x="158" y="74"/>
                  </a:lnTo>
                  <a:lnTo>
                    <a:pt x="158" y="72"/>
                  </a:lnTo>
                  <a:lnTo>
                    <a:pt x="158" y="68"/>
                  </a:lnTo>
                  <a:lnTo>
                    <a:pt x="158" y="56"/>
                  </a:lnTo>
                  <a:lnTo>
                    <a:pt x="156" y="50"/>
                  </a:lnTo>
                  <a:lnTo>
                    <a:pt x="152" y="46"/>
                  </a:lnTo>
                  <a:lnTo>
                    <a:pt x="148" y="40"/>
                  </a:lnTo>
                  <a:lnTo>
                    <a:pt x="132" y="26"/>
                  </a:lnTo>
                  <a:lnTo>
                    <a:pt x="112" y="6"/>
                  </a:lnTo>
                  <a:lnTo>
                    <a:pt x="104" y="0"/>
                  </a:lnTo>
                  <a:lnTo>
                    <a:pt x="98" y="0"/>
                  </a:lnTo>
                  <a:lnTo>
                    <a:pt x="92" y="0"/>
                  </a:lnTo>
                  <a:lnTo>
                    <a:pt x="86" y="2"/>
                  </a:lnTo>
                  <a:lnTo>
                    <a:pt x="82" y="12"/>
                  </a:lnTo>
                  <a:lnTo>
                    <a:pt x="80" y="14"/>
                  </a:lnTo>
                  <a:lnTo>
                    <a:pt x="68" y="12"/>
                  </a:lnTo>
                  <a:lnTo>
                    <a:pt x="56" y="12"/>
                  </a:lnTo>
                  <a:lnTo>
                    <a:pt x="54" y="6"/>
                  </a:lnTo>
                  <a:lnTo>
                    <a:pt x="52" y="10"/>
                  </a:lnTo>
                  <a:lnTo>
                    <a:pt x="50" y="14"/>
                  </a:lnTo>
                  <a:lnTo>
                    <a:pt x="46" y="20"/>
                  </a:lnTo>
                  <a:lnTo>
                    <a:pt x="38" y="30"/>
                  </a:lnTo>
                  <a:lnTo>
                    <a:pt x="36" y="36"/>
                  </a:lnTo>
                  <a:lnTo>
                    <a:pt x="40" y="46"/>
                  </a:lnTo>
                  <a:lnTo>
                    <a:pt x="40" y="58"/>
                  </a:lnTo>
                  <a:lnTo>
                    <a:pt x="38" y="62"/>
                  </a:lnTo>
                  <a:lnTo>
                    <a:pt x="36" y="64"/>
                  </a:lnTo>
                  <a:lnTo>
                    <a:pt x="34" y="66"/>
                  </a:lnTo>
                  <a:lnTo>
                    <a:pt x="36" y="70"/>
                  </a:lnTo>
                  <a:lnTo>
                    <a:pt x="36" y="76"/>
                  </a:lnTo>
                  <a:lnTo>
                    <a:pt x="34" y="82"/>
                  </a:lnTo>
                  <a:lnTo>
                    <a:pt x="32" y="90"/>
                  </a:lnTo>
                  <a:lnTo>
                    <a:pt x="26" y="100"/>
                  </a:lnTo>
                  <a:lnTo>
                    <a:pt x="24" y="106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28" y="116"/>
                  </a:lnTo>
                  <a:lnTo>
                    <a:pt x="28" y="120"/>
                  </a:lnTo>
                  <a:lnTo>
                    <a:pt x="26" y="126"/>
                  </a:lnTo>
                  <a:lnTo>
                    <a:pt x="22" y="132"/>
                  </a:lnTo>
                  <a:lnTo>
                    <a:pt x="16" y="134"/>
                  </a:lnTo>
                  <a:lnTo>
                    <a:pt x="16" y="138"/>
                  </a:lnTo>
                  <a:lnTo>
                    <a:pt x="18" y="144"/>
                  </a:lnTo>
                  <a:lnTo>
                    <a:pt x="18" y="148"/>
                  </a:lnTo>
                  <a:lnTo>
                    <a:pt x="16" y="154"/>
                  </a:lnTo>
                  <a:lnTo>
                    <a:pt x="18" y="160"/>
                  </a:lnTo>
                  <a:lnTo>
                    <a:pt x="20" y="164"/>
                  </a:lnTo>
                  <a:lnTo>
                    <a:pt x="20" y="170"/>
                  </a:lnTo>
                  <a:lnTo>
                    <a:pt x="14" y="182"/>
                  </a:lnTo>
                  <a:lnTo>
                    <a:pt x="18" y="188"/>
                  </a:lnTo>
                  <a:lnTo>
                    <a:pt x="20" y="204"/>
                  </a:lnTo>
                  <a:lnTo>
                    <a:pt x="22" y="214"/>
                  </a:lnTo>
                  <a:lnTo>
                    <a:pt x="22" y="220"/>
                  </a:lnTo>
                  <a:lnTo>
                    <a:pt x="18" y="228"/>
                  </a:lnTo>
                  <a:lnTo>
                    <a:pt x="14" y="232"/>
                  </a:lnTo>
                  <a:lnTo>
                    <a:pt x="8" y="234"/>
                  </a:lnTo>
                  <a:lnTo>
                    <a:pt x="4" y="236"/>
                  </a:lnTo>
                  <a:lnTo>
                    <a:pt x="4" y="242"/>
                  </a:lnTo>
                  <a:lnTo>
                    <a:pt x="0" y="262"/>
                  </a:lnTo>
                  <a:lnTo>
                    <a:pt x="0" y="278"/>
                  </a:lnTo>
                  <a:lnTo>
                    <a:pt x="2" y="294"/>
                  </a:lnTo>
                  <a:lnTo>
                    <a:pt x="14" y="310"/>
                  </a:lnTo>
                  <a:lnTo>
                    <a:pt x="30" y="326"/>
                  </a:lnTo>
                  <a:lnTo>
                    <a:pt x="34" y="332"/>
                  </a:lnTo>
                  <a:lnTo>
                    <a:pt x="36" y="336"/>
                  </a:lnTo>
                  <a:lnTo>
                    <a:pt x="38" y="338"/>
                  </a:lnTo>
                  <a:lnTo>
                    <a:pt x="58" y="336"/>
                  </a:lnTo>
                  <a:lnTo>
                    <a:pt x="82" y="338"/>
                  </a:lnTo>
                  <a:lnTo>
                    <a:pt x="102" y="354"/>
                  </a:lnTo>
                  <a:lnTo>
                    <a:pt x="128" y="362"/>
                  </a:lnTo>
                  <a:lnTo>
                    <a:pt x="134" y="370"/>
                  </a:lnTo>
                  <a:lnTo>
                    <a:pt x="142" y="372"/>
                  </a:lnTo>
                  <a:lnTo>
                    <a:pt x="146" y="374"/>
                  </a:lnTo>
                  <a:lnTo>
                    <a:pt x="152" y="374"/>
                  </a:lnTo>
                  <a:lnTo>
                    <a:pt x="168" y="366"/>
                  </a:lnTo>
                  <a:lnTo>
                    <a:pt x="180" y="362"/>
                  </a:lnTo>
                  <a:lnTo>
                    <a:pt x="200" y="366"/>
                  </a:lnTo>
                  <a:lnTo>
                    <a:pt x="208" y="372"/>
                  </a:lnTo>
                  <a:lnTo>
                    <a:pt x="218" y="372"/>
                  </a:lnTo>
                  <a:lnTo>
                    <a:pt x="230" y="376"/>
                  </a:lnTo>
                  <a:lnTo>
                    <a:pt x="266" y="360"/>
                  </a:lnTo>
                  <a:lnTo>
                    <a:pt x="272" y="354"/>
                  </a:lnTo>
                  <a:lnTo>
                    <a:pt x="280" y="354"/>
                  </a:lnTo>
                  <a:lnTo>
                    <a:pt x="290" y="342"/>
                  </a:lnTo>
                  <a:lnTo>
                    <a:pt x="304" y="332"/>
                  </a:lnTo>
                  <a:lnTo>
                    <a:pt x="306" y="320"/>
                  </a:lnTo>
                  <a:lnTo>
                    <a:pt x="320" y="302"/>
                  </a:lnTo>
                  <a:lnTo>
                    <a:pt x="324" y="290"/>
                  </a:lnTo>
                  <a:lnTo>
                    <a:pt x="328" y="284"/>
                  </a:lnTo>
                  <a:lnTo>
                    <a:pt x="332" y="280"/>
                  </a:lnTo>
                  <a:lnTo>
                    <a:pt x="330" y="280"/>
                  </a:lnTo>
                  <a:lnTo>
                    <a:pt x="326" y="278"/>
                  </a:lnTo>
                  <a:lnTo>
                    <a:pt x="322" y="276"/>
                  </a:lnTo>
                  <a:lnTo>
                    <a:pt x="320" y="274"/>
                  </a:lnTo>
                  <a:lnTo>
                    <a:pt x="320" y="272"/>
                  </a:lnTo>
                  <a:lnTo>
                    <a:pt x="320" y="266"/>
                  </a:lnTo>
                  <a:lnTo>
                    <a:pt x="320" y="264"/>
                  </a:lnTo>
                  <a:lnTo>
                    <a:pt x="318" y="262"/>
                  </a:lnTo>
                  <a:lnTo>
                    <a:pt x="318" y="260"/>
                  </a:lnTo>
                  <a:lnTo>
                    <a:pt x="318" y="256"/>
                  </a:lnTo>
                  <a:lnTo>
                    <a:pt x="318" y="252"/>
                  </a:lnTo>
                  <a:lnTo>
                    <a:pt x="318" y="246"/>
                  </a:lnTo>
                  <a:lnTo>
                    <a:pt x="316" y="242"/>
                  </a:lnTo>
                  <a:lnTo>
                    <a:pt x="314" y="238"/>
                  </a:lnTo>
                  <a:lnTo>
                    <a:pt x="314" y="234"/>
                  </a:lnTo>
                  <a:lnTo>
                    <a:pt x="316" y="228"/>
                  </a:lnTo>
                  <a:lnTo>
                    <a:pt x="320" y="224"/>
                  </a:lnTo>
                  <a:lnTo>
                    <a:pt x="324" y="220"/>
                  </a:lnTo>
                  <a:lnTo>
                    <a:pt x="330" y="220"/>
                  </a:lnTo>
                  <a:lnTo>
                    <a:pt x="332" y="216"/>
                  </a:lnTo>
                  <a:lnTo>
                    <a:pt x="334" y="214"/>
                  </a:lnTo>
                  <a:lnTo>
                    <a:pt x="334" y="210"/>
                  </a:lnTo>
                  <a:lnTo>
                    <a:pt x="334" y="206"/>
                  </a:lnTo>
                  <a:lnTo>
                    <a:pt x="336" y="204"/>
                  </a:lnTo>
                  <a:lnTo>
                    <a:pt x="338" y="202"/>
                  </a:lnTo>
                  <a:lnTo>
                    <a:pt x="342" y="200"/>
                  </a:lnTo>
                  <a:lnTo>
                    <a:pt x="344" y="19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8" name="Freeform 366">
              <a:extLst>
                <a:ext uri="{FF2B5EF4-FFF2-40B4-BE49-F238E27FC236}">
                  <a16:creationId xmlns:a16="http://schemas.microsoft.com/office/drawing/2014/main" id="{1ABDF032-2B69-4E65-8601-0A9BD61E63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28306" y="5276821"/>
              <a:ext cx="990576" cy="1038756"/>
            </a:xfrm>
            <a:custGeom>
              <a:avLst/>
              <a:gdLst>
                <a:gd name="connsiteX0" fmla="*/ 3997942 w 6123188"/>
                <a:gd name="connsiteY0" fmla="*/ 5272612 h 6421008"/>
                <a:gd name="connsiteX1" fmla="*/ 4002708 w 6123188"/>
                <a:gd name="connsiteY1" fmla="*/ 5282144 h 6421008"/>
                <a:gd name="connsiteX2" fmla="*/ 3997942 w 6123188"/>
                <a:gd name="connsiteY2" fmla="*/ 5301204 h 6421008"/>
                <a:gd name="connsiteX3" fmla="*/ 3983648 w 6123188"/>
                <a:gd name="connsiteY3" fmla="*/ 5325030 h 6421008"/>
                <a:gd name="connsiteX4" fmla="*/ 3988412 w 6123188"/>
                <a:gd name="connsiteY4" fmla="*/ 5334560 h 6421008"/>
                <a:gd name="connsiteX5" fmla="*/ 3974116 w 6123188"/>
                <a:gd name="connsiteY5" fmla="*/ 5344090 h 6421008"/>
                <a:gd name="connsiteX6" fmla="*/ 3978882 w 6123188"/>
                <a:gd name="connsiteY6" fmla="*/ 5301204 h 6421008"/>
                <a:gd name="connsiteX7" fmla="*/ 3983648 w 6123188"/>
                <a:gd name="connsiteY7" fmla="*/ 5286908 h 6421008"/>
                <a:gd name="connsiteX8" fmla="*/ 3988412 w 6123188"/>
                <a:gd name="connsiteY8" fmla="*/ 5277378 h 6421008"/>
                <a:gd name="connsiteX9" fmla="*/ 3978882 w 6123188"/>
                <a:gd name="connsiteY9" fmla="*/ 5058182 h 6421008"/>
                <a:gd name="connsiteX10" fmla="*/ 3983648 w 6123188"/>
                <a:gd name="connsiteY10" fmla="*/ 5062948 h 6421008"/>
                <a:gd name="connsiteX11" fmla="*/ 3978882 w 6123188"/>
                <a:gd name="connsiteY11" fmla="*/ 5082008 h 6421008"/>
                <a:gd name="connsiteX12" fmla="*/ 3974116 w 6123188"/>
                <a:gd name="connsiteY12" fmla="*/ 5091538 h 6421008"/>
                <a:gd name="connsiteX13" fmla="*/ 3969352 w 6123188"/>
                <a:gd name="connsiteY13" fmla="*/ 5096304 h 6421008"/>
                <a:gd name="connsiteX14" fmla="*/ 3959820 w 6123188"/>
                <a:gd name="connsiteY14" fmla="*/ 5077242 h 6421008"/>
                <a:gd name="connsiteX15" fmla="*/ 4483986 w 6123188"/>
                <a:gd name="connsiteY15" fmla="*/ 4634086 h 6421008"/>
                <a:gd name="connsiteX16" fmla="*/ 4488750 w 6123188"/>
                <a:gd name="connsiteY16" fmla="*/ 4638852 h 6421008"/>
                <a:gd name="connsiteX17" fmla="*/ 4493516 w 6123188"/>
                <a:gd name="connsiteY17" fmla="*/ 4643616 h 6421008"/>
                <a:gd name="connsiteX18" fmla="*/ 4493516 w 6123188"/>
                <a:gd name="connsiteY18" fmla="*/ 4653146 h 6421008"/>
                <a:gd name="connsiteX19" fmla="*/ 4493516 w 6123188"/>
                <a:gd name="connsiteY19" fmla="*/ 4657912 h 6421008"/>
                <a:gd name="connsiteX20" fmla="*/ 4493516 w 6123188"/>
                <a:gd name="connsiteY20" fmla="*/ 4662676 h 6421008"/>
                <a:gd name="connsiteX21" fmla="*/ 4493516 w 6123188"/>
                <a:gd name="connsiteY21" fmla="*/ 4672208 h 6421008"/>
                <a:gd name="connsiteX22" fmla="*/ 4483986 w 6123188"/>
                <a:gd name="connsiteY22" fmla="*/ 4667442 h 6421008"/>
                <a:gd name="connsiteX23" fmla="*/ 4464926 w 6123188"/>
                <a:gd name="connsiteY23" fmla="*/ 4672208 h 6421008"/>
                <a:gd name="connsiteX24" fmla="*/ 4460160 w 6123188"/>
                <a:gd name="connsiteY24" fmla="*/ 4662676 h 6421008"/>
                <a:gd name="connsiteX25" fmla="*/ 4650764 w 6123188"/>
                <a:gd name="connsiteY25" fmla="*/ 4524488 h 6421008"/>
                <a:gd name="connsiteX26" fmla="*/ 4655530 w 6123188"/>
                <a:gd name="connsiteY26" fmla="*/ 4524488 h 6421008"/>
                <a:gd name="connsiteX27" fmla="*/ 4655530 w 6123188"/>
                <a:gd name="connsiteY27" fmla="*/ 4529254 h 6421008"/>
                <a:gd name="connsiteX28" fmla="*/ 4669824 w 6123188"/>
                <a:gd name="connsiteY28" fmla="*/ 4534018 h 6421008"/>
                <a:gd name="connsiteX29" fmla="*/ 4674590 w 6123188"/>
                <a:gd name="connsiteY29" fmla="*/ 4538784 h 6421008"/>
                <a:gd name="connsiteX30" fmla="*/ 4665060 w 6123188"/>
                <a:gd name="connsiteY30" fmla="*/ 4538784 h 6421008"/>
                <a:gd name="connsiteX31" fmla="*/ 4655530 w 6123188"/>
                <a:gd name="connsiteY31" fmla="*/ 4543548 h 6421008"/>
                <a:gd name="connsiteX32" fmla="*/ 4636470 w 6123188"/>
                <a:gd name="connsiteY32" fmla="*/ 4548314 h 6421008"/>
                <a:gd name="connsiteX33" fmla="*/ 4631704 w 6123188"/>
                <a:gd name="connsiteY33" fmla="*/ 4538784 h 6421008"/>
                <a:gd name="connsiteX34" fmla="*/ 4646000 w 6123188"/>
                <a:gd name="connsiteY34" fmla="*/ 4529254 h 6421008"/>
                <a:gd name="connsiteX35" fmla="*/ 5470368 w 6123188"/>
                <a:gd name="connsiteY35" fmla="*/ 2928172 h 6421008"/>
                <a:gd name="connsiteX36" fmla="*/ 5484664 w 6123188"/>
                <a:gd name="connsiteY36" fmla="*/ 2932936 h 6421008"/>
                <a:gd name="connsiteX37" fmla="*/ 5484664 w 6123188"/>
                <a:gd name="connsiteY37" fmla="*/ 2942466 h 6421008"/>
                <a:gd name="connsiteX38" fmla="*/ 5479898 w 6123188"/>
                <a:gd name="connsiteY38" fmla="*/ 2951996 h 6421008"/>
                <a:gd name="connsiteX39" fmla="*/ 5470368 w 6123188"/>
                <a:gd name="connsiteY39" fmla="*/ 2951996 h 6421008"/>
                <a:gd name="connsiteX40" fmla="*/ 5470368 w 6123188"/>
                <a:gd name="connsiteY40" fmla="*/ 2942466 h 6421008"/>
                <a:gd name="connsiteX41" fmla="*/ 5465602 w 6123188"/>
                <a:gd name="connsiteY41" fmla="*/ 2937702 h 6421008"/>
                <a:gd name="connsiteX42" fmla="*/ 5470368 w 6123188"/>
                <a:gd name="connsiteY42" fmla="*/ 2932936 h 6421008"/>
                <a:gd name="connsiteX43" fmla="*/ 5522784 w 6123188"/>
                <a:gd name="connsiteY43" fmla="*/ 2849544 h 6421008"/>
                <a:gd name="connsiteX44" fmla="*/ 5527548 w 6123188"/>
                <a:gd name="connsiteY44" fmla="*/ 2859076 h 6421008"/>
                <a:gd name="connsiteX45" fmla="*/ 5532314 w 6123188"/>
                <a:gd name="connsiteY45" fmla="*/ 2863840 h 6421008"/>
                <a:gd name="connsiteX46" fmla="*/ 5532314 w 6123188"/>
                <a:gd name="connsiteY46" fmla="*/ 2866224 h 6421008"/>
                <a:gd name="connsiteX47" fmla="*/ 5508488 w 6123188"/>
                <a:gd name="connsiteY47" fmla="*/ 2880518 h 6421008"/>
                <a:gd name="connsiteX48" fmla="*/ 5503724 w 6123188"/>
                <a:gd name="connsiteY48" fmla="*/ 2885284 h 6421008"/>
                <a:gd name="connsiteX49" fmla="*/ 5503724 w 6123188"/>
                <a:gd name="connsiteY49" fmla="*/ 2875754 h 6421008"/>
                <a:gd name="connsiteX50" fmla="*/ 5518018 w 6123188"/>
                <a:gd name="connsiteY50" fmla="*/ 2863840 h 6421008"/>
                <a:gd name="connsiteX51" fmla="*/ 4612644 w 6123188"/>
                <a:gd name="connsiteY51" fmla="*/ 1243698 h 6421008"/>
                <a:gd name="connsiteX52" fmla="*/ 4612644 w 6123188"/>
                <a:gd name="connsiteY52" fmla="*/ 1257994 h 6421008"/>
                <a:gd name="connsiteX53" fmla="*/ 4607878 w 6123188"/>
                <a:gd name="connsiteY53" fmla="*/ 1281818 h 6421008"/>
                <a:gd name="connsiteX54" fmla="*/ 4593584 w 6123188"/>
                <a:gd name="connsiteY54" fmla="*/ 1296114 h 6421008"/>
                <a:gd name="connsiteX55" fmla="*/ 4598348 w 6123188"/>
                <a:gd name="connsiteY55" fmla="*/ 1277054 h 6421008"/>
                <a:gd name="connsiteX56" fmla="*/ 4598348 w 6123188"/>
                <a:gd name="connsiteY56" fmla="*/ 1267524 h 6421008"/>
                <a:gd name="connsiteX57" fmla="*/ 4598348 w 6123188"/>
                <a:gd name="connsiteY57" fmla="*/ 1257994 h 6421008"/>
                <a:gd name="connsiteX58" fmla="*/ 4607878 w 6123188"/>
                <a:gd name="connsiteY58" fmla="*/ 1248464 h 6421008"/>
                <a:gd name="connsiteX59" fmla="*/ 4536402 w 6123188"/>
                <a:gd name="connsiteY59" fmla="*/ 1019736 h 6421008"/>
                <a:gd name="connsiteX60" fmla="*/ 4550698 w 6123188"/>
                <a:gd name="connsiteY60" fmla="*/ 1019736 h 6421008"/>
                <a:gd name="connsiteX61" fmla="*/ 4550698 w 6123188"/>
                <a:gd name="connsiteY61" fmla="*/ 1024502 h 6421008"/>
                <a:gd name="connsiteX62" fmla="*/ 4541168 w 6123188"/>
                <a:gd name="connsiteY62" fmla="*/ 1034032 h 6421008"/>
                <a:gd name="connsiteX63" fmla="*/ 4536402 w 6123188"/>
                <a:gd name="connsiteY63" fmla="*/ 1038798 h 6421008"/>
                <a:gd name="connsiteX64" fmla="*/ 4526872 w 6123188"/>
                <a:gd name="connsiteY64" fmla="*/ 1034032 h 6421008"/>
                <a:gd name="connsiteX65" fmla="*/ 4531638 w 6123188"/>
                <a:gd name="connsiteY65" fmla="*/ 1029268 h 6421008"/>
                <a:gd name="connsiteX66" fmla="*/ 3554786 w 6123188"/>
                <a:gd name="connsiteY66" fmla="*/ 905374 h 6421008"/>
                <a:gd name="connsiteX67" fmla="*/ 3569080 w 6123188"/>
                <a:gd name="connsiteY67" fmla="*/ 924434 h 6421008"/>
                <a:gd name="connsiteX68" fmla="*/ 3550020 w 6123188"/>
                <a:gd name="connsiteY68" fmla="*/ 981616 h 6421008"/>
                <a:gd name="connsiteX69" fmla="*/ 3545256 w 6123188"/>
                <a:gd name="connsiteY69" fmla="*/ 981616 h 6421008"/>
                <a:gd name="connsiteX70" fmla="*/ 3521430 w 6123188"/>
                <a:gd name="connsiteY70" fmla="*/ 1010206 h 6421008"/>
                <a:gd name="connsiteX71" fmla="*/ 3492840 w 6123188"/>
                <a:gd name="connsiteY71" fmla="*/ 1029268 h 6421008"/>
                <a:gd name="connsiteX72" fmla="*/ 3464248 w 6123188"/>
                <a:gd name="connsiteY72" fmla="*/ 1043562 h 6421008"/>
                <a:gd name="connsiteX73" fmla="*/ 3449952 w 6123188"/>
                <a:gd name="connsiteY73" fmla="*/ 1048328 h 6421008"/>
                <a:gd name="connsiteX74" fmla="*/ 3469014 w 6123188"/>
                <a:gd name="connsiteY74" fmla="*/ 1010206 h 6421008"/>
                <a:gd name="connsiteX75" fmla="*/ 3488074 w 6123188"/>
                <a:gd name="connsiteY75" fmla="*/ 991146 h 6421008"/>
                <a:gd name="connsiteX76" fmla="*/ 3488074 w 6123188"/>
                <a:gd name="connsiteY76" fmla="*/ 953026 h 6421008"/>
                <a:gd name="connsiteX77" fmla="*/ 3507134 w 6123188"/>
                <a:gd name="connsiteY77" fmla="*/ 924434 h 6421008"/>
                <a:gd name="connsiteX78" fmla="*/ 3530960 w 6123188"/>
                <a:gd name="connsiteY78" fmla="*/ 910140 h 6421008"/>
                <a:gd name="connsiteX79" fmla="*/ 3712034 w 6123188"/>
                <a:gd name="connsiteY79" fmla="*/ 838662 h 6421008"/>
                <a:gd name="connsiteX80" fmla="*/ 3807336 w 6123188"/>
                <a:gd name="connsiteY80" fmla="*/ 857722 h 6421008"/>
                <a:gd name="connsiteX81" fmla="*/ 3821632 w 6123188"/>
                <a:gd name="connsiteY81" fmla="*/ 857722 h 6421008"/>
                <a:gd name="connsiteX82" fmla="*/ 3845458 w 6123188"/>
                <a:gd name="connsiteY82" fmla="*/ 852958 h 6421008"/>
                <a:gd name="connsiteX83" fmla="*/ 3859754 w 6123188"/>
                <a:gd name="connsiteY83" fmla="*/ 848192 h 6421008"/>
                <a:gd name="connsiteX84" fmla="*/ 3874048 w 6123188"/>
                <a:gd name="connsiteY84" fmla="*/ 843428 h 6421008"/>
                <a:gd name="connsiteX85" fmla="*/ 3888344 w 6123188"/>
                <a:gd name="connsiteY85" fmla="*/ 848192 h 6421008"/>
                <a:gd name="connsiteX86" fmla="*/ 3940760 w 6123188"/>
                <a:gd name="connsiteY86" fmla="*/ 852958 h 6421008"/>
                <a:gd name="connsiteX87" fmla="*/ 3969352 w 6123188"/>
                <a:gd name="connsiteY87" fmla="*/ 857722 h 6421008"/>
                <a:gd name="connsiteX88" fmla="*/ 3983646 w 6123188"/>
                <a:gd name="connsiteY88" fmla="*/ 857722 h 6421008"/>
                <a:gd name="connsiteX89" fmla="*/ 3993176 w 6123188"/>
                <a:gd name="connsiteY89" fmla="*/ 862488 h 6421008"/>
                <a:gd name="connsiteX90" fmla="*/ 4002708 w 6123188"/>
                <a:gd name="connsiteY90" fmla="*/ 867252 h 6421008"/>
                <a:gd name="connsiteX91" fmla="*/ 4002708 w 6123188"/>
                <a:gd name="connsiteY91" fmla="*/ 876784 h 6421008"/>
                <a:gd name="connsiteX92" fmla="*/ 3997942 w 6123188"/>
                <a:gd name="connsiteY92" fmla="*/ 891078 h 6421008"/>
                <a:gd name="connsiteX93" fmla="*/ 3988412 w 6123188"/>
                <a:gd name="connsiteY93" fmla="*/ 905374 h 6421008"/>
                <a:gd name="connsiteX94" fmla="*/ 3983646 w 6123188"/>
                <a:gd name="connsiteY94" fmla="*/ 924434 h 6421008"/>
                <a:gd name="connsiteX95" fmla="*/ 3983646 w 6123188"/>
                <a:gd name="connsiteY95" fmla="*/ 929200 h 6421008"/>
                <a:gd name="connsiteX96" fmla="*/ 3974116 w 6123188"/>
                <a:gd name="connsiteY96" fmla="*/ 929200 h 6421008"/>
                <a:gd name="connsiteX97" fmla="*/ 3978882 w 6123188"/>
                <a:gd name="connsiteY97" fmla="*/ 948260 h 6421008"/>
                <a:gd name="connsiteX98" fmla="*/ 3978882 w 6123188"/>
                <a:gd name="connsiteY98" fmla="*/ 953026 h 6421008"/>
                <a:gd name="connsiteX99" fmla="*/ 3974116 w 6123188"/>
                <a:gd name="connsiteY99" fmla="*/ 962556 h 6421008"/>
                <a:gd name="connsiteX100" fmla="*/ 3964586 w 6123188"/>
                <a:gd name="connsiteY100" fmla="*/ 976850 h 6421008"/>
                <a:gd name="connsiteX101" fmla="*/ 3955056 w 6123188"/>
                <a:gd name="connsiteY101" fmla="*/ 991146 h 6421008"/>
                <a:gd name="connsiteX102" fmla="*/ 3950290 w 6123188"/>
                <a:gd name="connsiteY102" fmla="*/ 995912 h 6421008"/>
                <a:gd name="connsiteX103" fmla="*/ 3940760 w 6123188"/>
                <a:gd name="connsiteY103" fmla="*/ 1005442 h 6421008"/>
                <a:gd name="connsiteX104" fmla="*/ 3931230 w 6123188"/>
                <a:gd name="connsiteY104" fmla="*/ 1014972 h 6421008"/>
                <a:gd name="connsiteX105" fmla="*/ 3931230 w 6123188"/>
                <a:gd name="connsiteY105" fmla="*/ 1019736 h 6421008"/>
                <a:gd name="connsiteX106" fmla="*/ 3935996 w 6123188"/>
                <a:gd name="connsiteY106" fmla="*/ 1029268 h 6421008"/>
                <a:gd name="connsiteX107" fmla="*/ 3931230 w 6123188"/>
                <a:gd name="connsiteY107" fmla="*/ 1038798 h 6421008"/>
                <a:gd name="connsiteX108" fmla="*/ 3916934 w 6123188"/>
                <a:gd name="connsiteY108" fmla="*/ 1053092 h 6421008"/>
                <a:gd name="connsiteX109" fmla="*/ 3907404 w 6123188"/>
                <a:gd name="connsiteY109" fmla="*/ 1057858 h 6421008"/>
                <a:gd name="connsiteX110" fmla="*/ 3902640 w 6123188"/>
                <a:gd name="connsiteY110" fmla="*/ 1057858 h 6421008"/>
                <a:gd name="connsiteX111" fmla="*/ 3893110 w 6123188"/>
                <a:gd name="connsiteY111" fmla="*/ 1057858 h 6421008"/>
                <a:gd name="connsiteX112" fmla="*/ 3878814 w 6123188"/>
                <a:gd name="connsiteY112" fmla="*/ 1043562 h 6421008"/>
                <a:gd name="connsiteX113" fmla="*/ 3878814 w 6123188"/>
                <a:gd name="connsiteY113" fmla="*/ 1053092 h 6421008"/>
                <a:gd name="connsiteX114" fmla="*/ 3874048 w 6123188"/>
                <a:gd name="connsiteY114" fmla="*/ 1062622 h 6421008"/>
                <a:gd name="connsiteX115" fmla="*/ 3869284 w 6123188"/>
                <a:gd name="connsiteY115" fmla="*/ 1072154 h 6421008"/>
                <a:gd name="connsiteX116" fmla="*/ 3854988 w 6123188"/>
                <a:gd name="connsiteY116" fmla="*/ 1072154 h 6421008"/>
                <a:gd name="connsiteX117" fmla="*/ 3845458 w 6123188"/>
                <a:gd name="connsiteY117" fmla="*/ 1062622 h 6421008"/>
                <a:gd name="connsiteX118" fmla="*/ 3826398 w 6123188"/>
                <a:gd name="connsiteY118" fmla="*/ 1057858 h 6421008"/>
                <a:gd name="connsiteX119" fmla="*/ 3826398 w 6123188"/>
                <a:gd name="connsiteY119" fmla="*/ 1076918 h 6421008"/>
                <a:gd name="connsiteX120" fmla="*/ 3816868 w 6123188"/>
                <a:gd name="connsiteY120" fmla="*/ 1086448 h 6421008"/>
                <a:gd name="connsiteX121" fmla="*/ 3807336 w 6123188"/>
                <a:gd name="connsiteY121" fmla="*/ 1091214 h 6421008"/>
                <a:gd name="connsiteX122" fmla="*/ 3788276 w 6123188"/>
                <a:gd name="connsiteY122" fmla="*/ 1095978 h 6421008"/>
                <a:gd name="connsiteX123" fmla="*/ 3778746 w 6123188"/>
                <a:gd name="connsiteY123" fmla="*/ 1100744 h 6421008"/>
                <a:gd name="connsiteX124" fmla="*/ 3764450 w 6123188"/>
                <a:gd name="connsiteY124" fmla="*/ 1095978 h 6421008"/>
                <a:gd name="connsiteX125" fmla="*/ 3750156 w 6123188"/>
                <a:gd name="connsiteY125" fmla="*/ 1086448 h 6421008"/>
                <a:gd name="connsiteX126" fmla="*/ 3740626 w 6123188"/>
                <a:gd name="connsiteY126" fmla="*/ 1086448 h 6421008"/>
                <a:gd name="connsiteX127" fmla="*/ 3735860 w 6123188"/>
                <a:gd name="connsiteY127" fmla="*/ 1095978 h 6421008"/>
                <a:gd name="connsiteX128" fmla="*/ 3697738 w 6123188"/>
                <a:gd name="connsiteY128" fmla="*/ 1095978 h 6421008"/>
                <a:gd name="connsiteX129" fmla="*/ 3683444 w 6123188"/>
                <a:gd name="connsiteY129" fmla="*/ 1100744 h 6421008"/>
                <a:gd name="connsiteX130" fmla="*/ 3673914 w 6123188"/>
                <a:gd name="connsiteY130" fmla="*/ 1100744 h 6421008"/>
                <a:gd name="connsiteX131" fmla="*/ 3654852 w 6123188"/>
                <a:gd name="connsiteY131" fmla="*/ 1086448 h 6421008"/>
                <a:gd name="connsiteX132" fmla="*/ 3654852 w 6123188"/>
                <a:gd name="connsiteY132" fmla="*/ 1076918 h 6421008"/>
                <a:gd name="connsiteX133" fmla="*/ 3645322 w 6123188"/>
                <a:gd name="connsiteY133" fmla="*/ 1057858 h 6421008"/>
                <a:gd name="connsiteX134" fmla="*/ 3635792 w 6123188"/>
                <a:gd name="connsiteY134" fmla="*/ 1034032 h 6421008"/>
                <a:gd name="connsiteX135" fmla="*/ 3631028 w 6123188"/>
                <a:gd name="connsiteY135" fmla="*/ 1014972 h 6421008"/>
                <a:gd name="connsiteX136" fmla="*/ 3635792 w 6123188"/>
                <a:gd name="connsiteY136" fmla="*/ 995912 h 6421008"/>
                <a:gd name="connsiteX137" fmla="*/ 3645322 w 6123188"/>
                <a:gd name="connsiteY137" fmla="*/ 995912 h 6421008"/>
                <a:gd name="connsiteX138" fmla="*/ 3659618 w 6123188"/>
                <a:gd name="connsiteY138" fmla="*/ 1000676 h 6421008"/>
                <a:gd name="connsiteX139" fmla="*/ 3659618 w 6123188"/>
                <a:gd name="connsiteY139" fmla="*/ 991146 h 6421008"/>
                <a:gd name="connsiteX140" fmla="*/ 3659618 w 6123188"/>
                <a:gd name="connsiteY140" fmla="*/ 986380 h 6421008"/>
                <a:gd name="connsiteX141" fmla="*/ 3640558 w 6123188"/>
                <a:gd name="connsiteY141" fmla="*/ 991146 h 6421008"/>
                <a:gd name="connsiteX142" fmla="*/ 3631028 w 6123188"/>
                <a:gd name="connsiteY142" fmla="*/ 976850 h 6421008"/>
                <a:gd name="connsiteX143" fmla="*/ 3626262 w 6123188"/>
                <a:gd name="connsiteY143" fmla="*/ 962556 h 6421008"/>
                <a:gd name="connsiteX144" fmla="*/ 3631028 w 6123188"/>
                <a:gd name="connsiteY144" fmla="*/ 929200 h 6421008"/>
                <a:gd name="connsiteX145" fmla="*/ 3631028 w 6123188"/>
                <a:gd name="connsiteY145" fmla="*/ 919670 h 6421008"/>
                <a:gd name="connsiteX146" fmla="*/ 3640558 w 6123188"/>
                <a:gd name="connsiteY146" fmla="*/ 910138 h 6421008"/>
                <a:gd name="connsiteX147" fmla="*/ 3640558 w 6123188"/>
                <a:gd name="connsiteY147" fmla="*/ 905374 h 6421008"/>
                <a:gd name="connsiteX148" fmla="*/ 3640558 w 6123188"/>
                <a:gd name="connsiteY148" fmla="*/ 895844 h 6421008"/>
                <a:gd name="connsiteX149" fmla="*/ 3640558 w 6123188"/>
                <a:gd name="connsiteY149" fmla="*/ 876784 h 6421008"/>
                <a:gd name="connsiteX150" fmla="*/ 3650088 w 6123188"/>
                <a:gd name="connsiteY150" fmla="*/ 862488 h 6421008"/>
                <a:gd name="connsiteX151" fmla="*/ 3678678 w 6123188"/>
                <a:gd name="connsiteY151" fmla="*/ 843428 h 6421008"/>
                <a:gd name="connsiteX152" fmla="*/ 3616732 w 6123188"/>
                <a:gd name="connsiteY152" fmla="*/ 829132 h 6421008"/>
                <a:gd name="connsiteX153" fmla="*/ 3631028 w 6123188"/>
                <a:gd name="connsiteY153" fmla="*/ 829132 h 6421008"/>
                <a:gd name="connsiteX154" fmla="*/ 3645322 w 6123188"/>
                <a:gd name="connsiteY154" fmla="*/ 829132 h 6421008"/>
                <a:gd name="connsiteX155" fmla="*/ 3650088 w 6123188"/>
                <a:gd name="connsiteY155" fmla="*/ 838662 h 6421008"/>
                <a:gd name="connsiteX156" fmla="*/ 3650088 w 6123188"/>
                <a:gd name="connsiteY156" fmla="*/ 843428 h 6421008"/>
                <a:gd name="connsiteX157" fmla="*/ 3607202 w 6123188"/>
                <a:gd name="connsiteY157" fmla="*/ 872018 h 6421008"/>
                <a:gd name="connsiteX158" fmla="*/ 3592906 w 6123188"/>
                <a:gd name="connsiteY158" fmla="*/ 862488 h 6421008"/>
                <a:gd name="connsiteX159" fmla="*/ 3588140 w 6123188"/>
                <a:gd name="connsiteY159" fmla="*/ 857722 h 6421008"/>
                <a:gd name="connsiteX160" fmla="*/ 3592906 w 6123188"/>
                <a:gd name="connsiteY160" fmla="*/ 848192 h 6421008"/>
                <a:gd name="connsiteX161" fmla="*/ 3597672 w 6123188"/>
                <a:gd name="connsiteY161" fmla="*/ 838662 h 6421008"/>
                <a:gd name="connsiteX162" fmla="*/ 3812102 w 6123188"/>
                <a:gd name="connsiteY162" fmla="*/ 810072 h 6421008"/>
                <a:gd name="connsiteX163" fmla="*/ 3826398 w 6123188"/>
                <a:gd name="connsiteY163" fmla="*/ 810072 h 6421008"/>
                <a:gd name="connsiteX164" fmla="*/ 3845458 w 6123188"/>
                <a:gd name="connsiteY164" fmla="*/ 810072 h 6421008"/>
                <a:gd name="connsiteX165" fmla="*/ 3850224 w 6123188"/>
                <a:gd name="connsiteY165" fmla="*/ 819602 h 6421008"/>
                <a:gd name="connsiteX166" fmla="*/ 3845458 w 6123188"/>
                <a:gd name="connsiteY166" fmla="*/ 829132 h 6421008"/>
                <a:gd name="connsiteX167" fmla="*/ 3835928 w 6123188"/>
                <a:gd name="connsiteY167" fmla="*/ 838662 h 6421008"/>
                <a:gd name="connsiteX168" fmla="*/ 3797808 w 6123188"/>
                <a:gd name="connsiteY168" fmla="*/ 843428 h 6421008"/>
                <a:gd name="connsiteX169" fmla="*/ 3778748 w 6123188"/>
                <a:gd name="connsiteY169" fmla="*/ 833896 h 6421008"/>
                <a:gd name="connsiteX170" fmla="*/ 3783512 w 6123188"/>
                <a:gd name="connsiteY170" fmla="*/ 829132 h 6421008"/>
                <a:gd name="connsiteX171" fmla="*/ 3797808 w 6123188"/>
                <a:gd name="connsiteY171" fmla="*/ 819602 h 6421008"/>
                <a:gd name="connsiteX172" fmla="*/ 3769216 w 6123188"/>
                <a:gd name="connsiteY172" fmla="*/ 771950 h 6421008"/>
                <a:gd name="connsiteX173" fmla="*/ 3793042 w 6123188"/>
                <a:gd name="connsiteY173" fmla="*/ 781480 h 6421008"/>
                <a:gd name="connsiteX174" fmla="*/ 3797808 w 6123188"/>
                <a:gd name="connsiteY174" fmla="*/ 786246 h 6421008"/>
                <a:gd name="connsiteX175" fmla="*/ 3773982 w 6123188"/>
                <a:gd name="connsiteY175" fmla="*/ 819600 h 6421008"/>
                <a:gd name="connsiteX176" fmla="*/ 3764452 w 6123188"/>
                <a:gd name="connsiteY176" fmla="*/ 824366 h 6421008"/>
                <a:gd name="connsiteX177" fmla="*/ 3750156 w 6123188"/>
                <a:gd name="connsiteY177" fmla="*/ 824366 h 6421008"/>
                <a:gd name="connsiteX178" fmla="*/ 3731096 w 6123188"/>
                <a:gd name="connsiteY178" fmla="*/ 814836 h 6421008"/>
                <a:gd name="connsiteX179" fmla="*/ 3707270 w 6123188"/>
                <a:gd name="connsiteY179" fmla="*/ 814836 h 6421008"/>
                <a:gd name="connsiteX180" fmla="*/ 3697740 w 6123188"/>
                <a:gd name="connsiteY180" fmla="*/ 814836 h 6421008"/>
                <a:gd name="connsiteX181" fmla="*/ 3697740 w 6123188"/>
                <a:gd name="connsiteY181" fmla="*/ 800540 h 6421008"/>
                <a:gd name="connsiteX182" fmla="*/ 3707270 w 6123188"/>
                <a:gd name="connsiteY182" fmla="*/ 786246 h 6421008"/>
                <a:gd name="connsiteX183" fmla="*/ 3731096 w 6123188"/>
                <a:gd name="connsiteY183" fmla="*/ 786246 h 6421008"/>
                <a:gd name="connsiteX184" fmla="*/ 3688208 w 6123188"/>
                <a:gd name="connsiteY184" fmla="*/ 729064 h 6421008"/>
                <a:gd name="connsiteX185" fmla="*/ 3692974 w 6123188"/>
                <a:gd name="connsiteY185" fmla="*/ 729064 h 6421008"/>
                <a:gd name="connsiteX186" fmla="*/ 3697740 w 6123188"/>
                <a:gd name="connsiteY186" fmla="*/ 729064 h 6421008"/>
                <a:gd name="connsiteX187" fmla="*/ 3697740 w 6123188"/>
                <a:gd name="connsiteY187" fmla="*/ 762420 h 6421008"/>
                <a:gd name="connsiteX188" fmla="*/ 3697740 w 6123188"/>
                <a:gd name="connsiteY188" fmla="*/ 781480 h 6421008"/>
                <a:gd name="connsiteX189" fmla="*/ 3683444 w 6123188"/>
                <a:gd name="connsiteY189" fmla="*/ 800542 h 6421008"/>
                <a:gd name="connsiteX190" fmla="*/ 3683444 w 6123188"/>
                <a:gd name="connsiteY190" fmla="*/ 824368 h 6421008"/>
                <a:gd name="connsiteX191" fmla="*/ 3654852 w 6123188"/>
                <a:gd name="connsiteY191" fmla="*/ 810072 h 6421008"/>
                <a:gd name="connsiteX192" fmla="*/ 3654852 w 6123188"/>
                <a:gd name="connsiteY192" fmla="*/ 791010 h 6421008"/>
                <a:gd name="connsiteX193" fmla="*/ 3669148 w 6123188"/>
                <a:gd name="connsiteY193" fmla="*/ 781480 h 6421008"/>
                <a:gd name="connsiteX194" fmla="*/ 3678678 w 6123188"/>
                <a:gd name="connsiteY194" fmla="*/ 771950 h 6421008"/>
                <a:gd name="connsiteX195" fmla="*/ 3683444 w 6123188"/>
                <a:gd name="connsiteY195" fmla="*/ 752890 h 6421008"/>
                <a:gd name="connsiteX196" fmla="*/ 3683444 w 6123188"/>
                <a:gd name="connsiteY196" fmla="*/ 733830 h 6421008"/>
                <a:gd name="connsiteX197" fmla="*/ 3740626 w 6123188"/>
                <a:gd name="connsiteY197" fmla="*/ 719534 h 6421008"/>
                <a:gd name="connsiteX198" fmla="*/ 3745392 w 6123188"/>
                <a:gd name="connsiteY198" fmla="*/ 729064 h 6421008"/>
                <a:gd name="connsiteX199" fmla="*/ 3745392 w 6123188"/>
                <a:gd name="connsiteY199" fmla="*/ 738594 h 6421008"/>
                <a:gd name="connsiteX200" fmla="*/ 3726330 w 6123188"/>
                <a:gd name="connsiteY200" fmla="*/ 757654 h 6421008"/>
                <a:gd name="connsiteX201" fmla="*/ 3712036 w 6123188"/>
                <a:gd name="connsiteY201" fmla="*/ 767184 h 6421008"/>
                <a:gd name="connsiteX202" fmla="*/ 3707270 w 6123188"/>
                <a:gd name="connsiteY202" fmla="*/ 757654 h 6421008"/>
                <a:gd name="connsiteX203" fmla="*/ 3707270 w 6123188"/>
                <a:gd name="connsiteY203" fmla="*/ 738594 h 6421008"/>
                <a:gd name="connsiteX204" fmla="*/ 3712036 w 6123188"/>
                <a:gd name="connsiteY204" fmla="*/ 729064 h 6421008"/>
                <a:gd name="connsiteX205" fmla="*/ 3731096 w 6123188"/>
                <a:gd name="connsiteY205" fmla="*/ 724300 h 6421008"/>
                <a:gd name="connsiteX206" fmla="*/ 3735860 w 6123188"/>
                <a:gd name="connsiteY206" fmla="*/ 724300 h 6421008"/>
                <a:gd name="connsiteX207" fmla="*/ 3683444 w 6123188"/>
                <a:gd name="connsiteY207" fmla="*/ 481276 h 6421008"/>
                <a:gd name="connsiteX208" fmla="*/ 3692974 w 6123188"/>
                <a:gd name="connsiteY208" fmla="*/ 486042 h 6421008"/>
                <a:gd name="connsiteX209" fmla="*/ 3697740 w 6123188"/>
                <a:gd name="connsiteY209" fmla="*/ 486042 h 6421008"/>
                <a:gd name="connsiteX210" fmla="*/ 3707270 w 6123188"/>
                <a:gd name="connsiteY210" fmla="*/ 509868 h 6421008"/>
                <a:gd name="connsiteX211" fmla="*/ 3702504 w 6123188"/>
                <a:gd name="connsiteY211" fmla="*/ 519398 h 6421008"/>
                <a:gd name="connsiteX212" fmla="*/ 3688210 w 6123188"/>
                <a:gd name="connsiteY212" fmla="*/ 524164 h 6421008"/>
                <a:gd name="connsiteX213" fmla="*/ 3678680 w 6123188"/>
                <a:gd name="connsiteY213" fmla="*/ 524164 h 6421008"/>
                <a:gd name="connsiteX214" fmla="*/ 3669148 w 6123188"/>
                <a:gd name="connsiteY214" fmla="*/ 505102 h 6421008"/>
                <a:gd name="connsiteX215" fmla="*/ 3673914 w 6123188"/>
                <a:gd name="connsiteY215" fmla="*/ 490808 h 6421008"/>
                <a:gd name="connsiteX216" fmla="*/ 2149074 w 6123188"/>
                <a:gd name="connsiteY216" fmla="*/ 0 h 6421008"/>
                <a:gd name="connsiteX217" fmla="*/ 2158604 w 6123188"/>
                <a:gd name="connsiteY217" fmla="*/ 0 h 6421008"/>
                <a:gd name="connsiteX218" fmla="*/ 2168134 w 6123188"/>
                <a:gd name="connsiteY218" fmla="*/ 0 h 6421008"/>
                <a:gd name="connsiteX219" fmla="*/ 2172898 w 6123188"/>
                <a:gd name="connsiteY219" fmla="*/ 9530 h 6421008"/>
                <a:gd name="connsiteX220" fmla="*/ 2177664 w 6123188"/>
                <a:gd name="connsiteY220" fmla="*/ 14294 h 6421008"/>
                <a:gd name="connsiteX221" fmla="*/ 2191960 w 6123188"/>
                <a:gd name="connsiteY221" fmla="*/ 23824 h 6421008"/>
                <a:gd name="connsiteX222" fmla="*/ 2187194 w 6123188"/>
                <a:gd name="connsiteY222" fmla="*/ 42886 h 6421008"/>
                <a:gd name="connsiteX223" fmla="*/ 2187194 w 6123188"/>
                <a:gd name="connsiteY223" fmla="*/ 52416 h 6421008"/>
                <a:gd name="connsiteX224" fmla="*/ 2182428 w 6123188"/>
                <a:gd name="connsiteY224" fmla="*/ 66710 h 6421008"/>
                <a:gd name="connsiteX225" fmla="*/ 2182428 w 6123188"/>
                <a:gd name="connsiteY225" fmla="*/ 81006 h 6421008"/>
                <a:gd name="connsiteX226" fmla="*/ 2177664 w 6123188"/>
                <a:gd name="connsiteY226" fmla="*/ 90536 h 6421008"/>
                <a:gd name="connsiteX227" fmla="*/ 2168134 w 6123188"/>
                <a:gd name="connsiteY227" fmla="*/ 100066 h 6421008"/>
                <a:gd name="connsiteX228" fmla="*/ 2168134 w 6123188"/>
                <a:gd name="connsiteY228" fmla="*/ 104832 h 6421008"/>
                <a:gd name="connsiteX229" fmla="*/ 2163368 w 6123188"/>
                <a:gd name="connsiteY229" fmla="*/ 109596 h 6421008"/>
                <a:gd name="connsiteX230" fmla="*/ 2172898 w 6123188"/>
                <a:gd name="connsiteY230" fmla="*/ 114362 h 6421008"/>
                <a:gd name="connsiteX231" fmla="*/ 2182428 w 6123188"/>
                <a:gd name="connsiteY231" fmla="*/ 119128 h 6421008"/>
                <a:gd name="connsiteX232" fmla="*/ 2196724 w 6123188"/>
                <a:gd name="connsiteY232" fmla="*/ 119128 h 6421008"/>
                <a:gd name="connsiteX233" fmla="*/ 2201490 w 6123188"/>
                <a:gd name="connsiteY233" fmla="*/ 119128 h 6421008"/>
                <a:gd name="connsiteX234" fmla="*/ 2215784 w 6123188"/>
                <a:gd name="connsiteY234" fmla="*/ 119128 h 6421008"/>
                <a:gd name="connsiteX235" fmla="*/ 2230080 w 6123188"/>
                <a:gd name="connsiteY235" fmla="*/ 128658 h 6421008"/>
                <a:gd name="connsiteX236" fmla="*/ 2234846 w 6123188"/>
                <a:gd name="connsiteY236" fmla="*/ 138188 h 6421008"/>
                <a:gd name="connsiteX237" fmla="*/ 2230080 w 6123188"/>
                <a:gd name="connsiteY237" fmla="*/ 152484 h 6421008"/>
                <a:gd name="connsiteX238" fmla="*/ 2230080 w 6123188"/>
                <a:gd name="connsiteY238" fmla="*/ 162014 h 6421008"/>
                <a:gd name="connsiteX239" fmla="*/ 2234846 w 6123188"/>
                <a:gd name="connsiteY239" fmla="*/ 166778 h 6421008"/>
                <a:gd name="connsiteX240" fmla="*/ 2239610 w 6123188"/>
                <a:gd name="connsiteY240" fmla="*/ 171544 h 6421008"/>
                <a:gd name="connsiteX241" fmla="*/ 2249140 w 6123188"/>
                <a:gd name="connsiteY241" fmla="*/ 190604 h 6421008"/>
                <a:gd name="connsiteX242" fmla="*/ 2253906 w 6123188"/>
                <a:gd name="connsiteY242" fmla="*/ 200134 h 6421008"/>
                <a:gd name="connsiteX243" fmla="*/ 2258672 w 6123188"/>
                <a:gd name="connsiteY243" fmla="*/ 200134 h 6421008"/>
                <a:gd name="connsiteX244" fmla="*/ 2258672 w 6123188"/>
                <a:gd name="connsiteY244" fmla="*/ 204900 h 6421008"/>
                <a:gd name="connsiteX245" fmla="*/ 2253906 w 6123188"/>
                <a:gd name="connsiteY245" fmla="*/ 214430 h 6421008"/>
                <a:gd name="connsiteX246" fmla="*/ 2249140 w 6123188"/>
                <a:gd name="connsiteY246" fmla="*/ 223960 h 6421008"/>
                <a:gd name="connsiteX247" fmla="*/ 2239610 w 6123188"/>
                <a:gd name="connsiteY247" fmla="*/ 233490 h 6421008"/>
                <a:gd name="connsiteX248" fmla="*/ 2239610 w 6123188"/>
                <a:gd name="connsiteY248" fmla="*/ 243020 h 6421008"/>
                <a:gd name="connsiteX249" fmla="*/ 2230080 w 6123188"/>
                <a:gd name="connsiteY249" fmla="*/ 247786 h 6421008"/>
                <a:gd name="connsiteX250" fmla="*/ 2211020 w 6123188"/>
                <a:gd name="connsiteY250" fmla="*/ 262080 h 6421008"/>
                <a:gd name="connsiteX251" fmla="*/ 2215784 w 6123188"/>
                <a:gd name="connsiteY251" fmla="*/ 281142 h 6421008"/>
                <a:gd name="connsiteX252" fmla="*/ 2215784 w 6123188"/>
                <a:gd name="connsiteY252" fmla="*/ 290672 h 6421008"/>
                <a:gd name="connsiteX253" fmla="*/ 2215784 w 6123188"/>
                <a:gd name="connsiteY253" fmla="*/ 295436 h 6421008"/>
                <a:gd name="connsiteX254" fmla="*/ 2206254 w 6123188"/>
                <a:gd name="connsiteY254" fmla="*/ 309732 h 6421008"/>
                <a:gd name="connsiteX255" fmla="*/ 2196724 w 6123188"/>
                <a:gd name="connsiteY255" fmla="*/ 338324 h 6421008"/>
                <a:gd name="connsiteX256" fmla="*/ 2191960 w 6123188"/>
                <a:gd name="connsiteY256" fmla="*/ 352618 h 6421008"/>
                <a:gd name="connsiteX257" fmla="*/ 2187194 w 6123188"/>
                <a:gd name="connsiteY257" fmla="*/ 390740 h 6421008"/>
                <a:gd name="connsiteX258" fmla="*/ 2191960 w 6123188"/>
                <a:gd name="connsiteY258" fmla="*/ 400270 h 6421008"/>
                <a:gd name="connsiteX259" fmla="*/ 2196724 w 6123188"/>
                <a:gd name="connsiteY259" fmla="*/ 414566 h 6421008"/>
                <a:gd name="connsiteX260" fmla="*/ 2206254 w 6123188"/>
                <a:gd name="connsiteY260" fmla="*/ 452686 h 6421008"/>
                <a:gd name="connsiteX261" fmla="*/ 2211020 w 6123188"/>
                <a:gd name="connsiteY261" fmla="*/ 457452 h 6421008"/>
                <a:gd name="connsiteX262" fmla="*/ 2225316 w 6123188"/>
                <a:gd name="connsiteY262" fmla="*/ 466982 h 6421008"/>
                <a:gd name="connsiteX263" fmla="*/ 2230080 w 6123188"/>
                <a:gd name="connsiteY263" fmla="*/ 490808 h 6421008"/>
                <a:gd name="connsiteX264" fmla="*/ 2225316 w 6123188"/>
                <a:gd name="connsiteY264" fmla="*/ 514632 h 6421008"/>
                <a:gd name="connsiteX265" fmla="*/ 2225316 w 6123188"/>
                <a:gd name="connsiteY265" fmla="*/ 524164 h 6421008"/>
                <a:gd name="connsiteX266" fmla="*/ 2230080 w 6123188"/>
                <a:gd name="connsiteY266" fmla="*/ 528928 h 6421008"/>
                <a:gd name="connsiteX267" fmla="*/ 2234846 w 6123188"/>
                <a:gd name="connsiteY267" fmla="*/ 528928 h 6421008"/>
                <a:gd name="connsiteX268" fmla="*/ 2239610 w 6123188"/>
                <a:gd name="connsiteY268" fmla="*/ 533694 h 6421008"/>
                <a:gd name="connsiteX269" fmla="*/ 2239610 w 6123188"/>
                <a:gd name="connsiteY269" fmla="*/ 538458 h 6421008"/>
                <a:gd name="connsiteX270" fmla="*/ 2239610 w 6123188"/>
                <a:gd name="connsiteY270" fmla="*/ 547988 h 6421008"/>
                <a:gd name="connsiteX271" fmla="*/ 2253906 w 6123188"/>
                <a:gd name="connsiteY271" fmla="*/ 552754 h 6421008"/>
                <a:gd name="connsiteX272" fmla="*/ 2263436 w 6123188"/>
                <a:gd name="connsiteY272" fmla="*/ 557518 h 6421008"/>
                <a:gd name="connsiteX273" fmla="*/ 2268202 w 6123188"/>
                <a:gd name="connsiteY273" fmla="*/ 567050 h 6421008"/>
                <a:gd name="connsiteX274" fmla="*/ 2287262 w 6123188"/>
                <a:gd name="connsiteY274" fmla="*/ 581344 h 6421008"/>
                <a:gd name="connsiteX275" fmla="*/ 2292028 w 6123188"/>
                <a:gd name="connsiteY275" fmla="*/ 586110 h 6421008"/>
                <a:gd name="connsiteX276" fmla="*/ 2296792 w 6123188"/>
                <a:gd name="connsiteY276" fmla="*/ 590874 h 6421008"/>
                <a:gd name="connsiteX277" fmla="*/ 2311088 w 6123188"/>
                <a:gd name="connsiteY277" fmla="*/ 605170 h 6421008"/>
                <a:gd name="connsiteX278" fmla="*/ 2349208 w 6123188"/>
                <a:gd name="connsiteY278" fmla="*/ 614700 h 6421008"/>
                <a:gd name="connsiteX279" fmla="*/ 2358738 w 6123188"/>
                <a:gd name="connsiteY279" fmla="*/ 624230 h 6421008"/>
                <a:gd name="connsiteX280" fmla="*/ 2368268 w 6123188"/>
                <a:gd name="connsiteY280" fmla="*/ 633760 h 6421008"/>
                <a:gd name="connsiteX281" fmla="*/ 2373034 w 6123188"/>
                <a:gd name="connsiteY281" fmla="*/ 633760 h 6421008"/>
                <a:gd name="connsiteX282" fmla="*/ 2377800 w 6123188"/>
                <a:gd name="connsiteY282" fmla="*/ 633760 h 6421008"/>
                <a:gd name="connsiteX283" fmla="*/ 2387330 w 6123188"/>
                <a:gd name="connsiteY283" fmla="*/ 624230 h 6421008"/>
                <a:gd name="connsiteX284" fmla="*/ 2396860 w 6123188"/>
                <a:gd name="connsiteY284" fmla="*/ 619466 h 6421008"/>
                <a:gd name="connsiteX285" fmla="*/ 2406390 w 6123188"/>
                <a:gd name="connsiteY285" fmla="*/ 619466 h 6421008"/>
                <a:gd name="connsiteX286" fmla="*/ 2420686 w 6123188"/>
                <a:gd name="connsiteY286" fmla="*/ 619466 h 6421008"/>
                <a:gd name="connsiteX287" fmla="*/ 2425450 w 6123188"/>
                <a:gd name="connsiteY287" fmla="*/ 614700 h 6421008"/>
                <a:gd name="connsiteX288" fmla="*/ 2425450 w 6123188"/>
                <a:gd name="connsiteY288" fmla="*/ 609936 h 6421008"/>
                <a:gd name="connsiteX289" fmla="*/ 2420686 w 6123188"/>
                <a:gd name="connsiteY289" fmla="*/ 595640 h 6421008"/>
                <a:gd name="connsiteX290" fmla="*/ 2425450 w 6123188"/>
                <a:gd name="connsiteY290" fmla="*/ 590874 h 6421008"/>
                <a:gd name="connsiteX291" fmla="*/ 2439746 w 6123188"/>
                <a:gd name="connsiteY291" fmla="*/ 590874 h 6421008"/>
                <a:gd name="connsiteX292" fmla="*/ 2439746 w 6123188"/>
                <a:gd name="connsiteY292" fmla="*/ 581344 h 6421008"/>
                <a:gd name="connsiteX293" fmla="*/ 2444512 w 6123188"/>
                <a:gd name="connsiteY293" fmla="*/ 576580 h 6421008"/>
                <a:gd name="connsiteX294" fmla="*/ 2449276 w 6123188"/>
                <a:gd name="connsiteY294" fmla="*/ 571814 h 6421008"/>
                <a:gd name="connsiteX295" fmla="*/ 2454042 w 6123188"/>
                <a:gd name="connsiteY295" fmla="*/ 571814 h 6421008"/>
                <a:gd name="connsiteX296" fmla="*/ 2458806 w 6123188"/>
                <a:gd name="connsiteY296" fmla="*/ 576580 h 6421008"/>
                <a:gd name="connsiteX297" fmla="*/ 2463572 w 6123188"/>
                <a:gd name="connsiteY297" fmla="*/ 576580 h 6421008"/>
                <a:gd name="connsiteX298" fmla="*/ 2473102 w 6123188"/>
                <a:gd name="connsiteY298" fmla="*/ 576580 h 6421008"/>
                <a:gd name="connsiteX299" fmla="*/ 2477868 w 6123188"/>
                <a:gd name="connsiteY299" fmla="*/ 586110 h 6421008"/>
                <a:gd name="connsiteX300" fmla="*/ 2487398 w 6123188"/>
                <a:gd name="connsiteY300" fmla="*/ 586110 h 6421008"/>
                <a:gd name="connsiteX301" fmla="*/ 2496928 w 6123188"/>
                <a:gd name="connsiteY301" fmla="*/ 581344 h 6421008"/>
                <a:gd name="connsiteX302" fmla="*/ 2501692 w 6123188"/>
                <a:gd name="connsiteY302" fmla="*/ 581344 h 6421008"/>
                <a:gd name="connsiteX303" fmla="*/ 2501692 w 6123188"/>
                <a:gd name="connsiteY303" fmla="*/ 576580 h 6421008"/>
                <a:gd name="connsiteX304" fmla="*/ 2501692 w 6123188"/>
                <a:gd name="connsiteY304" fmla="*/ 562284 h 6421008"/>
                <a:gd name="connsiteX305" fmla="*/ 2511222 w 6123188"/>
                <a:gd name="connsiteY305" fmla="*/ 562284 h 6421008"/>
                <a:gd name="connsiteX306" fmla="*/ 2520752 w 6123188"/>
                <a:gd name="connsiteY306" fmla="*/ 562284 h 6421008"/>
                <a:gd name="connsiteX307" fmla="*/ 2535048 w 6123188"/>
                <a:gd name="connsiteY307" fmla="*/ 557518 h 6421008"/>
                <a:gd name="connsiteX308" fmla="*/ 2549344 w 6123188"/>
                <a:gd name="connsiteY308" fmla="*/ 552754 h 6421008"/>
                <a:gd name="connsiteX309" fmla="*/ 2563640 w 6123188"/>
                <a:gd name="connsiteY309" fmla="*/ 552754 h 6421008"/>
                <a:gd name="connsiteX310" fmla="*/ 2573170 w 6123188"/>
                <a:gd name="connsiteY310" fmla="*/ 552754 h 6421008"/>
                <a:gd name="connsiteX311" fmla="*/ 2577934 w 6123188"/>
                <a:gd name="connsiteY311" fmla="*/ 543224 h 6421008"/>
                <a:gd name="connsiteX312" fmla="*/ 2592230 w 6123188"/>
                <a:gd name="connsiteY312" fmla="*/ 524164 h 6421008"/>
                <a:gd name="connsiteX313" fmla="*/ 2601760 w 6123188"/>
                <a:gd name="connsiteY313" fmla="*/ 519398 h 6421008"/>
                <a:gd name="connsiteX314" fmla="*/ 2606526 w 6123188"/>
                <a:gd name="connsiteY314" fmla="*/ 514632 h 6421008"/>
                <a:gd name="connsiteX315" fmla="*/ 2616056 w 6123188"/>
                <a:gd name="connsiteY315" fmla="*/ 514632 h 6421008"/>
                <a:gd name="connsiteX316" fmla="*/ 2630352 w 6123188"/>
                <a:gd name="connsiteY316" fmla="*/ 509868 h 6421008"/>
                <a:gd name="connsiteX317" fmla="*/ 2639882 w 6123188"/>
                <a:gd name="connsiteY317" fmla="*/ 505102 h 6421008"/>
                <a:gd name="connsiteX318" fmla="*/ 2644646 w 6123188"/>
                <a:gd name="connsiteY318" fmla="*/ 509868 h 6421008"/>
                <a:gd name="connsiteX319" fmla="*/ 2649412 w 6123188"/>
                <a:gd name="connsiteY319" fmla="*/ 519398 h 6421008"/>
                <a:gd name="connsiteX320" fmla="*/ 2654176 w 6123188"/>
                <a:gd name="connsiteY320" fmla="*/ 519398 h 6421008"/>
                <a:gd name="connsiteX321" fmla="*/ 2663708 w 6123188"/>
                <a:gd name="connsiteY321" fmla="*/ 519398 h 6421008"/>
                <a:gd name="connsiteX322" fmla="*/ 2682768 w 6123188"/>
                <a:gd name="connsiteY322" fmla="*/ 528928 h 6421008"/>
                <a:gd name="connsiteX323" fmla="*/ 2692298 w 6123188"/>
                <a:gd name="connsiteY323" fmla="*/ 524164 h 6421008"/>
                <a:gd name="connsiteX324" fmla="*/ 2706592 w 6123188"/>
                <a:gd name="connsiteY324" fmla="*/ 519398 h 6421008"/>
                <a:gd name="connsiteX325" fmla="*/ 2716124 w 6123188"/>
                <a:gd name="connsiteY325" fmla="*/ 519398 h 6421008"/>
                <a:gd name="connsiteX326" fmla="*/ 2725654 w 6123188"/>
                <a:gd name="connsiteY326" fmla="*/ 524164 h 6421008"/>
                <a:gd name="connsiteX327" fmla="*/ 2730418 w 6123188"/>
                <a:gd name="connsiteY327" fmla="*/ 519398 h 6421008"/>
                <a:gd name="connsiteX328" fmla="*/ 2739948 w 6123188"/>
                <a:gd name="connsiteY328" fmla="*/ 519398 h 6421008"/>
                <a:gd name="connsiteX329" fmla="*/ 2744714 w 6123188"/>
                <a:gd name="connsiteY329" fmla="*/ 519398 h 6421008"/>
                <a:gd name="connsiteX330" fmla="*/ 2754244 w 6123188"/>
                <a:gd name="connsiteY330" fmla="*/ 519398 h 6421008"/>
                <a:gd name="connsiteX331" fmla="*/ 2778070 w 6123188"/>
                <a:gd name="connsiteY331" fmla="*/ 528928 h 6421008"/>
                <a:gd name="connsiteX332" fmla="*/ 2811426 w 6123188"/>
                <a:gd name="connsiteY332" fmla="*/ 533694 h 6421008"/>
                <a:gd name="connsiteX333" fmla="*/ 2820956 w 6123188"/>
                <a:gd name="connsiteY333" fmla="*/ 528928 h 6421008"/>
                <a:gd name="connsiteX334" fmla="*/ 2825722 w 6123188"/>
                <a:gd name="connsiteY334" fmla="*/ 524164 h 6421008"/>
                <a:gd name="connsiteX335" fmla="*/ 2825722 w 6123188"/>
                <a:gd name="connsiteY335" fmla="*/ 509868 h 6421008"/>
                <a:gd name="connsiteX336" fmla="*/ 2825722 w 6123188"/>
                <a:gd name="connsiteY336" fmla="*/ 500338 h 6421008"/>
                <a:gd name="connsiteX337" fmla="*/ 2820956 w 6123188"/>
                <a:gd name="connsiteY337" fmla="*/ 495572 h 6421008"/>
                <a:gd name="connsiteX338" fmla="*/ 2811426 w 6123188"/>
                <a:gd name="connsiteY338" fmla="*/ 481276 h 6421008"/>
                <a:gd name="connsiteX339" fmla="*/ 2801896 w 6123188"/>
                <a:gd name="connsiteY339" fmla="*/ 471746 h 6421008"/>
                <a:gd name="connsiteX340" fmla="*/ 2792366 w 6123188"/>
                <a:gd name="connsiteY340" fmla="*/ 466982 h 6421008"/>
                <a:gd name="connsiteX341" fmla="*/ 2792366 w 6123188"/>
                <a:gd name="connsiteY341" fmla="*/ 462216 h 6421008"/>
                <a:gd name="connsiteX342" fmla="*/ 2801896 w 6123188"/>
                <a:gd name="connsiteY342" fmla="*/ 457452 h 6421008"/>
                <a:gd name="connsiteX343" fmla="*/ 2806660 w 6123188"/>
                <a:gd name="connsiteY343" fmla="*/ 452686 h 6421008"/>
                <a:gd name="connsiteX344" fmla="*/ 2811426 w 6123188"/>
                <a:gd name="connsiteY344" fmla="*/ 447920 h 6421008"/>
                <a:gd name="connsiteX345" fmla="*/ 2816192 w 6123188"/>
                <a:gd name="connsiteY345" fmla="*/ 428860 h 6421008"/>
                <a:gd name="connsiteX346" fmla="*/ 2820956 w 6123188"/>
                <a:gd name="connsiteY346" fmla="*/ 428860 h 6421008"/>
                <a:gd name="connsiteX347" fmla="*/ 2825722 w 6123188"/>
                <a:gd name="connsiteY347" fmla="*/ 428860 h 6421008"/>
                <a:gd name="connsiteX348" fmla="*/ 2830486 w 6123188"/>
                <a:gd name="connsiteY348" fmla="*/ 433626 h 6421008"/>
                <a:gd name="connsiteX349" fmla="*/ 2854312 w 6123188"/>
                <a:gd name="connsiteY349" fmla="*/ 443156 h 6421008"/>
                <a:gd name="connsiteX350" fmla="*/ 2868608 w 6123188"/>
                <a:gd name="connsiteY350" fmla="*/ 443156 h 6421008"/>
                <a:gd name="connsiteX351" fmla="*/ 2911494 w 6123188"/>
                <a:gd name="connsiteY351" fmla="*/ 438390 h 6421008"/>
                <a:gd name="connsiteX352" fmla="*/ 2916258 w 6123188"/>
                <a:gd name="connsiteY352" fmla="*/ 433626 h 6421008"/>
                <a:gd name="connsiteX353" fmla="*/ 2925788 w 6123188"/>
                <a:gd name="connsiteY353" fmla="*/ 428860 h 6421008"/>
                <a:gd name="connsiteX354" fmla="*/ 2940084 w 6123188"/>
                <a:gd name="connsiteY354" fmla="*/ 424096 h 6421008"/>
                <a:gd name="connsiteX355" fmla="*/ 2944850 w 6123188"/>
                <a:gd name="connsiteY355" fmla="*/ 424096 h 6421008"/>
                <a:gd name="connsiteX356" fmla="*/ 2949614 w 6123188"/>
                <a:gd name="connsiteY356" fmla="*/ 424096 h 6421008"/>
                <a:gd name="connsiteX357" fmla="*/ 2959144 w 6123188"/>
                <a:gd name="connsiteY357" fmla="*/ 424096 h 6421008"/>
                <a:gd name="connsiteX358" fmla="*/ 2968676 w 6123188"/>
                <a:gd name="connsiteY358" fmla="*/ 414566 h 6421008"/>
                <a:gd name="connsiteX359" fmla="*/ 2973440 w 6123188"/>
                <a:gd name="connsiteY359" fmla="*/ 414566 h 6421008"/>
                <a:gd name="connsiteX360" fmla="*/ 2973440 w 6123188"/>
                <a:gd name="connsiteY360" fmla="*/ 424096 h 6421008"/>
                <a:gd name="connsiteX361" fmla="*/ 2982970 w 6123188"/>
                <a:gd name="connsiteY361" fmla="*/ 428860 h 6421008"/>
                <a:gd name="connsiteX362" fmla="*/ 2987736 w 6123188"/>
                <a:gd name="connsiteY362" fmla="*/ 438390 h 6421008"/>
                <a:gd name="connsiteX363" fmla="*/ 2992500 w 6123188"/>
                <a:gd name="connsiteY363" fmla="*/ 438390 h 6421008"/>
                <a:gd name="connsiteX364" fmla="*/ 3006796 w 6123188"/>
                <a:gd name="connsiteY364" fmla="*/ 438390 h 6421008"/>
                <a:gd name="connsiteX365" fmla="*/ 3011562 w 6123188"/>
                <a:gd name="connsiteY365" fmla="*/ 438390 h 6421008"/>
                <a:gd name="connsiteX366" fmla="*/ 3016326 w 6123188"/>
                <a:gd name="connsiteY366" fmla="*/ 447920 h 6421008"/>
                <a:gd name="connsiteX367" fmla="*/ 3016326 w 6123188"/>
                <a:gd name="connsiteY367" fmla="*/ 452686 h 6421008"/>
                <a:gd name="connsiteX368" fmla="*/ 3021092 w 6123188"/>
                <a:gd name="connsiteY368" fmla="*/ 457452 h 6421008"/>
                <a:gd name="connsiteX369" fmla="*/ 3030622 w 6123188"/>
                <a:gd name="connsiteY369" fmla="*/ 457452 h 6421008"/>
                <a:gd name="connsiteX370" fmla="*/ 3035386 w 6123188"/>
                <a:gd name="connsiteY370" fmla="*/ 457452 h 6421008"/>
                <a:gd name="connsiteX371" fmla="*/ 3040152 w 6123188"/>
                <a:gd name="connsiteY371" fmla="*/ 462216 h 6421008"/>
                <a:gd name="connsiteX372" fmla="*/ 3044916 w 6123188"/>
                <a:gd name="connsiteY372" fmla="*/ 471746 h 6421008"/>
                <a:gd name="connsiteX373" fmla="*/ 3059212 w 6123188"/>
                <a:gd name="connsiteY373" fmla="*/ 476512 h 6421008"/>
                <a:gd name="connsiteX374" fmla="*/ 3078272 w 6123188"/>
                <a:gd name="connsiteY374" fmla="*/ 486042 h 6421008"/>
                <a:gd name="connsiteX375" fmla="*/ 3092568 w 6123188"/>
                <a:gd name="connsiteY375" fmla="*/ 486042 h 6421008"/>
                <a:gd name="connsiteX376" fmla="*/ 3102098 w 6123188"/>
                <a:gd name="connsiteY376" fmla="*/ 486042 h 6421008"/>
                <a:gd name="connsiteX377" fmla="*/ 3106864 w 6123188"/>
                <a:gd name="connsiteY377" fmla="*/ 490808 h 6421008"/>
                <a:gd name="connsiteX378" fmla="*/ 3111628 w 6123188"/>
                <a:gd name="connsiteY378" fmla="*/ 486042 h 6421008"/>
                <a:gd name="connsiteX379" fmla="*/ 3135454 w 6123188"/>
                <a:gd name="connsiteY379" fmla="*/ 471746 h 6421008"/>
                <a:gd name="connsiteX380" fmla="*/ 3144984 w 6123188"/>
                <a:gd name="connsiteY380" fmla="*/ 466982 h 6421008"/>
                <a:gd name="connsiteX381" fmla="*/ 3154516 w 6123188"/>
                <a:gd name="connsiteY381" fmla="*/ 457452 h 6421008"/>
                <a:gd name="connsiteX382" fmla="*/ 3159280 w 6123188"/>
                <a:gd name="connsiteY382" fmla="*/ 452686 h 6421008"/>
                <a:gd name="connsiteX383" fmla="*/ 3164046 w 6123188"/>
                <a:gd name="connsiteY383" fmla="*/ 452686 h 6421008"/>
                <a:gd name="connsiteX384" fmla="*/ 3164046 w 6123188"/>
                <a:gd name="connsiteY384" fmla="*/ 457452 h 6421008"/>
                <a:gd name="connsiteX385" fmla="*/ 3168810 w 6123188"/>
                <a:gd name="connsiteY385" fmla="*/ 462216 h 6421008"/>
                <a:gd name="connsiteX386" fmla="*/ 3173576 w 6123188"/>
                <a:gd name="connsiteY386" fmla="*/ 462216 h 6421008"/>
                <a:gd name="connsiteX387" fmla="*/ 3192636 w 6123188"/>
                <a:gd name="connsiteY387" fmla="*/ 466982 h 6421008"/>
                <a:gd name="connsiteX388" fmla="*/ 3202166 w 6123188"/>
                <a:gd name="connsiteY388" fmla="*/ 466982 h 6421008"/>
                <a:gd name="connsiteX389" fmla="*/ 3216462 w 6123188"/>
                <a:gd name="connsiteY389" fmla="*/ 466982 h 6421008"/>
                <a:gd name="connsiteX390" fmla="*/ 3225992 w 6123188"/>
                <a:gd name="connsiteY390" fmla="*/ 457452 h 6421008"/>
                <a:gd name="connsiteX391" fmla="*/ 3230756 w 6123188"/>
                <a:gd name="connsiteY391" fmla="*/ 457452 h 6421008"/>
                <a:gd name="connsiteX392" fmla="*/ 3235522 w 6123188"/>
                <a:gd name="connsiteY392" fmla="*/ 462216 h 6421008"/>
                <a:gd name="connsiteX393" fmla="*/ 3245052 w 6123188"/>
                <a:gd name="connsiteY393" fmla="*/ 471746 h 6421008"/>
                <a:gd name="connsiteX394" fmla="*/ 3245052 w 6123188"/>
                <a:gd name="connsiteY394" fmla="*/ 476512 h 6421008"/>
                <a:gd name="connsiteX395" fmla="*/ 3254582 w 6123188"/>
                <a:gd name="connsiteY395" fmla="*/ 476512 h 6421008"/>
                <a:gd name="connsiteX396" fmla="*/ 3268878 w 6123188"/>
                <a:gd name="connsiteY396" fmla="*/ 476512 h 6421008"/>
                <a:gd name="connsiteX397" fmla="*/ 3278408 w 6123188"/>
                <a:gd name="connsiteY397" fmla="*/ 481276 h 6421008"/>
                <a:gd name="connsiteX398" fmla="*/ 3287938 w 6123188"/>
                <a:gd name="connsiteY398" fmla="*/ 481276 h 6421008"/>
                <a:gd name="connsiteX399" fmla="*/ 3297468 w 6123188"/>
                <a:gd name="connsiteY399" fmla="*/ 476512 h 6421008"/>
                <a:gd name="connsiteX400" fmla="*/ 3302234 w 6123188"/>
                <a:gd name="connsiteY400" fmla="*/ 466982 h 6421008"/>
                <a:gd name="connsiteX401" fmla="*/ 3316530 w 6123188"/>
                <a:gd name="connsiteY401" fmla="*/ 457452 h 6421008"/>
                <a:gd name="connsiteX402" fmla="*/ 3330824 w 6123188"/>
                <a:gd name="connsiteY402" fmla="*/ 452686 h 6421008"/>
                <a:gd name="connsiteX403" fmla="*/ 3335590 w 6123188"/>
                <a:gd name="connsiteY403" fmla="*/ 443156 h 6421008"/>
                <a:gd name="connsiteX404" fmla="*/ 3345120 w 6123188"/>
                <a:gd name="connsiteY404" fmla="*/ 424096 h 6421008"/>
                <a:gd name="connsiteX405" fmla="*/ 3349886 w 6123188"/>
                <a:gd name="connsiteY405" fmla="*/ 419330 h 6421008"/>
                <a:gd name="connsiteX406" fmla="*/ 3349886 w 6123188"/>
                <a:gd name="connsiteY406" fmla="*/ 405034 h 6421008"/>
                <a:gd name="connsiteX407" fmla="*/ 3368946 w 6123188"/>
                <a:gd name="connsiteY407" fmla="*/ 371678 h 6421008"/>
                <a:gd name="connsiteX408" fmla="*/ 3373710 w 6123188"/>
                <a:gd name="connsiteY408" fmla="*/ 366914 h 6421008"/>
                <a:gd name="connsiteX409" fmla="*/ 3378476 w 6123188"/>
                <a:gd name="connsiteY409" fmla="*/ 357384 h 6421008"/>
                <a:gd name="connsiteX410" fmla="*/ 3383240 w 6123188"/>
                <a:gd name="connsiteY410" fmla="*/ 343088 h 6421008"/>
                <a:gd name="connsiteX411" fmla="*/ 3383240 w 6123188"/>
                <a:gd name="connsiteY411" fmla="*/ 333558 h 6421008"/>
                <a:gd name="connsiteX412" fmla="*/ 3388006 w 6123188"/>
                <a:gd name="connsiteY412" fmla="*/ 324028 h 6421008"/>
                <a:gd name="connsiteX413" fmla="*/ 3397536 w 6123188"/>
                <a:gd name="connsiteY413" fmla="*/ 314498 h 6421008"/>
                <a:gd name="connsiteX414" fmla="*/ 3402302 w 6123188"/>
                <a:gd name="connsiteY414" fmla="*/ 309732 h 6421008"/>
                <a:gd name="connsiteX415" fmla="*/ 3411832 w 6123188"/>
                <a:gd name="connsiteY415" fmla="*/ 295436 h 6421008"/>
                <a:gd name="connsiteX416" fmla="*/ 3421362 w 6123188"/>
                <a:gd name="connsiteY416" fmla="*/ 281142 h 6421008"/>
                <a:gd name="connsiteX417" fmla="*/ 3440422 w 6123188"/>
                <a:gd name="connsiteY417" fmla="*/ 252550 h 6421008"/>
                <a:gd name="connsiteX418" fmla="*/ 3440422 w 6123188"/>
                <a:gd name="connsiteY418" fmla="*/ 243020 h 6421008"/>
                <a:gd name="connsiteX419" fmla="*/ 3445188 w 6123188"/>
                <a:gd name="connsiteY419" fmla="*/ 238256 h 6421008"/>
                <a:gd name="connsiteX420" fmla="*/ 3449952 w 6123188"/>
                <a:gd name="connsiteY420" fmla="*/ 228726 h 6421008"/>
                <a:gd name="connsiteX421" fmla="*/ 3459484 w 6123188"/>
                <a:gd name="connsiteY421" fmla="*/ 223960 h 6421008"/>
                <a:gd name="connsiteX422" fmla="*/ 3464248 w 6123188"/>
                <a:gd name="connsiteY422" fmla="*/ 214430 h 6421008"/>
                <a:gd name="connsiteX423" fmla="*/ 3469014 w 6123188"/>
                <a:gd name="connsiteY423" fmla="*/ 204900 h 6421008"/>
                <a:gd name="connsiteX424" fmla="*/ 3473778 w 6123188"/>
                <a:gd name="connsiteY424" fmla="*/ 195370 h 6421008"/>
                <a:gd name="connsiteX425" fmla="*/ 3488074 w 6123188"/>
                <a:gd name="connsiteY425" fmla="*/ 190604 h 6421008"/>
                <a:gd name="connsiteX426" fmla="*/ 3492840 w 6123188"/>
                <a:gd name="connsiteY426" fmla="*/ 185838 h 6421008"/>
                <a:gd name="connsiteX427" fmla="*/ 3507134 w 6123188"/>
                <a:gd name="connsiteY427" fmla="*/ 157248 h 6421008"/>
                <a:gd name="connsiteX428" fmla="*/ 3507134 w 6123188"/>
                <a:gd name="connsiteY428" fmla="*/ 147718 h 6421008"/>
                <a:gd name="connsiteX429" fmla="*/ 3521430 w 6123188"/>
                <a:gd name="connsiteY429" fmla="*/ 147718 h 6421008"/>
                <a:gd name="connsiteX430" fmla="*/ 3545256 w 6123188"/>
                <a:gd name="connsiteY430" fmla="*/ 162014 h 6421008"/>
                <a:gd name="connsiteX431" fmla="*/ 3559550 w 6123188"/>
                <a:gd name="connsiteY431" fmla="*/ 181074 h 6421008"/>
                <a:gd name="connsiteX432" fmla="*/ 3583376 w 6123188"/>
                <a:gd name="connsiteY432" fmla="*/ 247786 h 6421008"/>
                <a:gd name="connsiteX433" fmla="*/ 3588142 w 6123188"/>
                <a:gd name="connsiteY433" fmla="*/ 309732 h 6421008"/>
                <a:gd name="connsiteX434" fmla="*/ 3597672 w 6123188"/>
                <a:gd name="connsiteY434" fmla="*/ 338324 h 6421008"/>
                <a:gd name="connsiteX435" fmla="*/ 3621498 w 6123188"/>
                <a:gd name="connsiteY435" fmla="*/ 405034 h 6421008"/>
                <a:gd name="connsiteX436" fmla="*/ 3621498 w 6123188"/>
                <a:gd name="connsiteY436" fmla="*/ 419330 h 6421008"/>
                <a:gd name="connsiteX437" fmla="*/ 3626262 w 6123188"/>
                <a:gd name="connsiteY437" fmla="*/ 433626 h 6421008"/>
                <a:gd name="connsiteX438" fmla="*/ 3635792 w 6123188"/>
                <a:gd name="connsiteY438" fmla="*/ 447920 h 6421008"/>
                <a:gd name="connsiteX439" fmla="*/ 3645324 w 6123188"/>
                <a:gd name="connsiteY439" fmla="*/ 476512 h 6421008"/>
                <a:gd name="connsiteX440" fmla="*/ 3645324 w 6123188"/>
                <a:gd name="connsiteY440" fmla="*/ 481276 h 6421008"/>
                <a:gd name="connsiteX441" fmla="*/ 3640558 w 6123188"/>
                <a:gd name="connsiteY441" fmla="*/ 486042 h 6421008"/>
                <a:gd name="connsiteX442" fmla="*/ 3650088 w 6123188"/>
                <a:gd name="connsiteY442" fmla="*/ 486042 h 6421008"/>
                <a:gd name="connsiteX443" fmla="*/ 3654854 w 6123188"/>
                <a:gd name="connsiteY443" fmla="*/ 490808 h 6421008"/>
                <a:gd name="connsiteX444" fmla="*/ 3659618 w 6123188"/>
                <a:gd name="connsiteY444" fmla="*/ 509868 h 6421008"/>
                <a:gd name="connsiteX445" fmla="*/ 3669148 w 6123188"/>
                <a:gd name="connsiteY445" fmla="*/ 519398 h 6421008"/>
                <a:gd name="connsiteX446" fmla="*/ 3678680 w 6123188"/>
                <a:gd name="connsiteY446" fmla="*/ 533694 h 6421008"/>
                <a:gd name="connsiteX447" fmla="*/ 3702504 w 6123188"/>
                <a:gd name="connsiteY447" fmla="*/ 538458 h 6421008"/>
                <a:gd name="connsiteX448" fmla="*/ 3721564 w 6123188"/>
                <a:gd name="connsiteY448" fmla="*/ 543224 h 6421008"/>
                <a:gd name="connsiteX449" fmla="*/ 3740626 w 6123188"/>
                <a:gd name="connsiteY449" fmla="*/ 552754 h 6421008"/>
                <a:gd name="connsiteX450" fmla="*/ 3754920 w 6123188"/>
                <a:gd name="connsiteY450" fmla="*/ 562284 h 6421008"/>
                <a:gd name="connsiteX451" fmla="*/ 3769216 w 6123188"/>
                <a:gd name="connsiteY451" fmla="*/ 600406 h 6421008"/>
                <a:gd name="connsiteX452" fmla="*/ 3764452 w 6123188"/>
                <a:gd name="connsiteY452" fmla="*/ 624230 h 6421008"/>
                <a:gd name="connsiteX453" fmla="*/ 3764452 w 6123188"/>
                <a:gd name="connsiteY453" fmla="*/ 638526 h 6421008"/>
                <a:gd name="connsiteX454" fmla="*/ 3759686 w 6123188"/>
                <a:gd name="connsiteY454" fmla="*/ 648056 h 6421008"/>
                <a:gd name="connsiteX455" fmla="*/ 3745390 w 6123188"/>
                <a:gd name="connsiteY455" fmla="*/ 657586 h 6421008"/>
                <a:gd name="connsiteX456" fmla="*/ 3740626 w 6123188"/>
                <a:gd name="connsiteY456" fmla="*/ 662352 h 6421008"/>
                <a:gd name="connsiteX457" fmla="*/ 3707270 w 6123188"/>
                <a:gd name="connsiteY457" fmla="*/ 690942 h 6421008"/>
                <a:gd name="connsiteX458" fmla="*/ 3697740 w 6123188"/>
                <a:gd name="connsiteY458" fmla="*/ 705238 h 6421008"/>
                <a:gd name="connsiteX459" fmla="*/ 3678680 w 6123188"/>
                <a:gd name="connsiteY459" fmla="*/ 719534 h 6421008"/>
                <a:gd name="connsiteX460" fmla="*/ 3659618 w 6123188"/>
                <a:gd name="connsiteY460" fmla="*/ 752890 h 6421008"/>
                <a:gd name="connsiteX461" fmla="*/ 3631028 w 6123188"/>
                <a:gd name="connsiteY461" fmla="*/ 786244 h 6421008"/>
                <a:gd name="connsiteX462" fmla="*/ 3621498 w 6123188"/>
                <a:gd name="connsiteY462" fmla="*/ 795776 h 6421008"/>
                <a:gd name="connsiteX463" fmla="*/ 3607202 w 6123188"/>
                <a:gd name="connsiteY463" fmla="*/ 795776 h 6421008"/>
                <a:gd name="connsiteX464" fmla="*/ 3597672 w 6123188"/>
                <a:gd name="connsiteY464" fmla="*/ 800540 h 6421008"/>
                <a:gd name="connsiteX465" fmla="*/ 3578612 w 6123188"/>
                <a:gd name="connsiteY465" fmla="*/ 824366 h 6421008"/>
                <a:gd name="connsiteX466" fmla="*/ 3550020 w 6123188"/>
                <a:gd name="connsiteY466" fmla="*/ 833896 h 6421008"/>
                <a:gd name="connsiteX467" fmla="*/ 3545256 w 6123188"/>
                <a:gd name="connsiteY467" fmla="*/ 848192 h 6421008"/>
                <a:gd name="connsiteX468" fmla="*/ 3530960 w 6123188"/>
                <a:gd name="connsiteY468" fmla="*/ 881548 h 6421008"/>
                <a:gd name="connsiteX469" fmla="*/ 3516664 w 6123188"/>
                <a:gd name="connsiteY469" fmla="*/ 900608 h 6421008"/>
                <a:gd name="connsiteX470" fmla="*/ 3507134 w 6123188"/>
                <a:gd name="connsiteY470" fmla="*/ 905374 h 6421008"/>
                <a:gd name="connsiteX471" fmla="*/ 3483308 w 6123188"/>
                <a:gd name="connsiteY471" fmla="*/ 938730 h 6421008"/>
                <a:gd name="connsiteX472" fmla="*/ 3483308 w 6123188"/>
                <a:gd name="connsiteY472" fmla="*/ 953024 h 6421008"/>
                <a:gd name="connsiteX473" fmla="*/ 3483308 w 6123188"/>
                <a:gd name="connsiteY473" fmla="*/ 981616 h 6421008"/>
                <a:gd name="connsiteX474" fmla="*/ 3464248 w 6123188"/>
                <a:gd name="connsiteY474" fmla="*/ 995910 h 6421008"/>
                <a:gd name="connsiteX475" fmla="*/ 3449952 w 6123188"/>
                <a:gd name="connsiteY475" fmla="*/ 1005440 h 6421008"/>
                <a:gd name="connsiteX476" fmla="*/ 3449952 w 6123188"/>
                <a:gd name="connsiteY476" fmla="*/ 1029266 h 6421008"/>
                <a:gd name="connsiteX477" fmla="*/ 3440422 w 6123188"/>
                <a:gd name="connsiteY477" fmla="*/ 1034032 h 6421008"/>
                <a:gd name="connsiteX478" fmla="*/ 3435658 w 6123188"/>
                <a:gd name="connsiteY478" fmla="*/ 1038796 h 6421008"/>
                <a:gd name="connsiteX479" fmla="*/ 3402302 w 6123188"/>
                <a:gd name="connsiteY479" fmla="*/ 1034032 h 6421008"/>
                <a:gd name="connsiteX480" fmla="*/ 3349886 w 6123188"/>
                <a:gd name="connsiteY480" fmla="*/ 1057858 h 6421008"/>
                <a:gd name="connsiteX481" fmla="*/ 3335590 w 6123188"/>
                <a:gd name="connsiteY481" fmla="*/ 1062622 h 6421008"/>
                <a:gd name="connsiteX482" fmla="*/ 3388006 w 6123188"/>
                <a:gd name="connsiteY482" fmla="*/ 1062622 h 6421008"/>
                <a:gd name="connsiteX483" fmla="*/ 3407066 w 6123188"/>
                <a:gd name="connsiteY483" fmla="*/ 1076918 h 6421008"/>
                <a:gd name="connsiteX484" fmla="*/ 3445188 w 6123188"/>
                <a:gd name="connsiteY484" fmla="*/ 1067388 h 6421008"/>
                <a:gd name="connsiteX485" fmla="*/ 3492840 w 6123188"/>
                <a:gd name="connsiteY485" fmla="*/ 1038796 h 6421008"/>
                <a:gd name="connsiteX486" fmla="*/ 3511900 w 6123188"/>
                <a:gd name="connsiteY486" fmla="*/ 1034032 h 6421008"/>
                <a:gd name="connsiteX487" fmla="*/ 3550020 w 6123188"/>
                <a:gd name="connsiteY487" fmla="*/ 1010206 h 6421008"/>
                <a:gd name="connsiteX488" fmla="*/ 3564316 w 6123188"/>
                <a:gd name="connsiteY488" fmla="*/ 1000676 h 6421008"/>
                <a:gd name="connsiteX489" fmla="*/ 3588142 w 6123188"/>
                <a:gd name="connsiteY489" fmla="*/ 981616 h 6421008"/>
                <a:gd name="connsiteX490" fmla="*/ 3597672 w 6123188"/>
                <a:gd name="connsiteY490" fmla="*/ 976850 h 6421008"/>
                <a:gd name="connsiteX491" fmla="*/ 3611968 w 6123188"/>
                <a:gd name="connsiteY491" fmla="*/ 967320 h 6421008"/>
                <a:gd name="connsiteX492" fmla="*/ 3616732 w 6123188"/>
                <a:gd name="connsiteY492" fmla="*/ 976850 h 6421008"/>
                <a:gd name="connsiteX493" fmla="*/ 3621498 w 6123188"/>
                <a:gd name="connsiteY493" fmla="*/ 981616 h 6421008"/>
                <a:gd name="connsiteX494" fmla="*/ 3607202 w 6123188"/>
                <a:gd name="connsiteY494" fmla="*/ 995910 h 6421008"/>
                <a:gd name="connsiteX495" fmla="*/ 3611968 w 6123188"/>
                <a:gd name="connsiteY495" fmla="*/ 1000676 h 6421008"/>
                <a:gd name="connsiteX496" fmla="*/ 3616732 w 6123188"/>
                <a:gd name="connsiteY496" fmla="*/ 1014972 h 6421008"/>
                <a:gd name="connsiteX497" fmla="*/ 3621498 w 6123188"/>
                <a:gd name="connsiteY497" fmla="*/ 1024502 h 6421008"/>
                <a:gd name="connsiteX498" fmla="*/ 3621498 w 6123188"/>
                <a:gd name="connsiteY498" fmla="*/ 1034032 h 6421008"/>
                <a:gd name="connsiteX499" fmla="*/ 3626262 w 6123188"/>
                <a:gd name="connsiteY499" fmla="*/ 1053092 h 6421008"/>
                <a:gd name="connsiteX500" fmla="*/ 3645324 w 6123188"/>
                <a:gd name="connsiteY500" fmla="*/ 1076918 h 6421008"/>
                <a:gd name="connsiteX501" fmla="*/ 3645324 w 6123188"/>
                <a:gd name="connsiteY501" fmla="*/ 1086448 h 6421008"/>
                <a:gd name="connsiteX502" fmla="*/ 3640558 w 6123188"/>
                <a:gd name="connsiteY502" fmla="*/ 1095978 h 6421008"/>
                <a:gd name="connsiteX503" fmla="*/ 3650088 w 6123188"/>
                <a:gd name="connsiteY503" fmla="*/ 1105508 h 6421008"/>
                <a:gd name="connsiteX504" fmla="*/ 3659618 w 6123188"/>
                <a:gd name="connsiteY504" fmla="*/ 1110274 h 6421008"/>
                <a:gd name="connsiteX505" fmla="*/ 3688210 w 6123188"/>
                <a:gd name="connsiteY505" fmla="*/ 1134100 h 6421008"/>
                <a:gd name="connsiteX506" fmla="*/ 3712034 w 6123188"/>
                <a:gd name="connsiteY506" fmla="*/ 1119804 h 6421008"/>
                <a:gd name="connsiteX507" fmla="*/ 3721564 w 6123188"/>
                <a:gd name="connsiteY507" fmla="*/ 1115038 h 6421008"/>
                <a:gd name="connsiteX508" fmla="*/ 3731096 w 6123188"/>
                <a:gd name="connsiteY508" fmla="*/ 1110274 h 6421008"/>
                <a:gd name="connsiteX509" fmla="*/ 3750156 w 6123188"/>
                <a:gd name="connsiteY509" fmla="*/ 1105508 h 6421008"/>
                <a:gd name="connsiteX510" fmla="*/ 3764452 w 6123188"/>
                <a:gd name="connsiteY510" fmla="*/ 1115038 h 6421008"/>
                <a:gd name="connsiteX511" fmla="*/ 3793042 w 6123188"/>
                <a:gd name="connsiteY511" fmla="*/ 1119804 h 6421008"/>
                <a:gd name="connsiteX512" fmla="*/ 3816868 w 6123188"/>
                <a:gd name="connsiteY512" fmla="*/ 1110274 h 6421008"/>
                <a:gd name="connsiteX513" fmla="*/ 3859754 w 6123188"/>
                <a:gd name="connsiteY513" fmla="*/ 1091214 h 6421008"/>
                <a:gd name="connsiteX514" fmla="*/ 3845458 w 6123188"/>
                <a:gd name="connsiteY514" fmla="*/ 1129334 h 6421008"/>
                <a:gd name="connsiteX515" fmla="*/ 3835928 w 6123188"/>
                <a:gd name="connsiteY515" fmla="*/ 1162690 h 6421008"/>
                <a:gd name="connsiteX516" fmla="*/ 3826398 w 6123188"/>
                <a:gd name="connsiteY516" fmla="*/ 1176986 h 6421008"/>
                <a:gd name="connsiteX517" fmla="*/ 3821632 w 6123188"/>
                <a:gd name="connsiteY517" fmla="*/ 1215106 h 6421008"/>
                <a:gd name="connsiteX518" fmla="*/ 3812102 w 6123188"/>
                <a:gd name="connsiteY518" fmla="*/ 1224636 h 6421008"/>
                <a:gd name="connsiteX519" fmla="*/ 3807338 w 6123188"/>
                <a:gd name="connsiteY519" fmla="*/ 1234168 h 6421008"/>
                <a:gd name="connsiteX520" fmla="*/ 3816868 w 6123188"/>
                <a:gd name="connsiteY520" fmla="*/ 1234168 h 6421008"/>
                <a:gd name="connsiteX521" fmla="*/ 3826398 w 6123188"/>
                <a:gd name="connsiteY521" fmla="*/ 1224636 h 6421008"/>
                <a:gd name="connsiteX522" fmla="*/ 3835928 w 6123188"/>
                <a:gd name="connsiteY522" fmla="*/ 1210342 h 6421008"/>
                <a:gd name="connsiteX523" fmla="*/ 3845458 w 6123188"/>
                <a:gd name="connsiteY523" fmla="*/ 1186516 h 6421008"/>
                <a:gd name="connsiteX524" fmla="*/ 3874050 w 6123188"/>
                <a:gd name="connsiteY524" fmla="*/ 1119804 h 6421008"/>
                <a:gd name="connsiteX525" fmla="*/ 3883580 w 6123188"/>
                <a:gd name="connsiteY525" fmla="*/ 1115038 h 6421008"/>
                <a:gd name="connsiteX526" fmla="*/ 3907404 w 6123188"/>
                <a:gd name="connsiteY526" fmla="*/ 1105508 h 6421008"/>
                <a:gd name="connsiteX527" fmla="*/ 3950292 w 6123188"/>
                <a:gd name="connsiteY527" fmla="*/ 1053092 h 6421008"/>
                <a:gd name="connsiteX528" fmla="*/ 3969352 w 6123188"/>
                <a:gd name="connsiteY528" fmla="*/ 1053092 h 6421008"/>
                <a:gd name="connsiteX529" fmla="*/ 3978882 w 6123188"/>
                <a:gd name="connsiteY529" fmla="*/ 1067388 h 6421008"/>
                <a:gd name="connsiteX530" fmla="*/ 3988412 w 6123188"/>
                <a:gd name="connsiteY530" fmla="*/ 1072152 h 6421008"/>
                <a:gd name="connsiteX531" fmla="*/ 3993178 w 6123188"/>
                <a:gd name="connsiteY531" fmla="*/ 1057858 h 6421008"/>
                <a:gd name="connsiteX532" fmla="*/ 4007472 w 6123188"/>
                <a:gd name="connsiteY532" fmla="*/ 1053092 h 6421008"/>
                <a:gd name="connsiteX533" fmla="*/ 3993178 w 6123188"/>
                <a:gd name="connsiteY533" fmla="*/ 1043562 h 6421008"/>
                <a:gd name="connsiteX534" fmla="*/ 3988412 w 6123188"/>
                <a:gd name="connsiteY534" fmla="*/ 1038796 h 6421008"/>
                <a:gd name="connsiteX535" fmla="*/ 3988412 w 6123188"/>
                <a:gd name="connsiteY535" fmla="*/ 1029266 h 6421008"/>
                <a:gd name="connsiteX536" fmla="*/ 3997942 w 6123188"/>
                <a:gd name="connsiteY536" fmla="*/ 1014972 h 6421008"/>
                <a:gd name="connsiteX537" fmla="*/ 3993178 w 6123188"/>
                <a:gd name="connsiteY537" fmla="*/ 1000676 h 6421008"/>
                <a:gd name="connsiteX538" fmla="*/ 4017004 w 6123188"/>
                <a:gd name="connsiteY538" fmla="*/ 981616 h 6421008"/>
                <a:gd name="connsiteX539" fmla="*/ 4012238 w 6123188"/>
                <a:gd name="connsiteY539" fmla="*/ 972084 h 6421008"/>
                <a:gd name="connsiteX540" fmla="*/ 4021768 w 6123188"/>
                <a:gd name="connsiteY540" fmla="*/ 962554 h 6421008"/>
                <a:gd name="connsiteX541" fmla="*/ 4031298 w 6123188"/>
                <a:gd name="connsiteY541" fmla="*/ 948260 h 6421008"/>
                <a:gd name="connsiteX542" fmla="*/ 4040828 w 6123188"/>
                <a:gd name="connsiteY542" fmla="*/ 943494 h 6421008"/>
                <a:gd name="connsiteX543" fmla="*/ 4045594 w 6123188"/>
                <a:gd name="connsiteY543" fmla="*/ 938730 h 6421008"/>
                <a:gd name="connsiteX544" fmla="*/ 4050358 w 6123188"/>
                <a:gd name="connsiteY544" fmla="*/ 933964 h 6421008"/>
                <a:gd name="connsiteX545" fmla="*/ 4059888 w 6123188"/>
                <a:gd name="connsiteY545" fmla="*/ 929198 h 6421008"/>
                <a:gd name="connsiteX546" fmla="*/ 4069420 w 6123188"/>
                <a:gd name="connsiteY546" fmla="*/ 943494 h 6421008"/>
                <a:gd name="connsiteX547" fmla="*/ 4083714 w 6123188"/>
                <a:gd name="connsiteY547" fmla="*/ 929198 h 6421008"/>
                <a:gd name="connsiteX548" fmla="*/ 4093244 w 6123188"/>
                <a:gd name="connsiteY548" fmla="*/ 924434 h 6421008"/>
                <a:gd name="connsiteX549" fmla="*/ 4098010 w 6123188"/>
                <a:gd name="connsiteY549" fmla="*/ 924434 h 6421008"/>
                <a:gd name="connsiteX550" fmla="*/ 4102776 w 6123188"/>
                <a:gd name="connsiteY550" fmla="*/ 933964 h 6421008"/>
                <a:gd name="connsiteX551" fmla="*/ 4112306 w 6123188"/>
                <a:gd name="connsiteY551" fmla="*/ 933964 h 6421008"/>
                <a:gd name="connsiteX552" fmla="*/ 4117070 w 6123188"/>
                <a:gd name="connsiteY552" fmla="*/ 933964 h 6421008"/>
                <a:gd name="connsiteX553" fmla="*/ 4131366 w 6123188"/>
                <a:gd name="connsiteY553" fmla="*/ 924434 h 6421008"/>
                <a:gd name="connsiteX554" fmla="*/ 4145662 w 6123188"/>
                <a:gd name="connsiteY554" fmla="*/ 938730 h 6421008"/>
                <a:gd name="connsiteX555" fmla="*/ 4155192 w 6123188"/>
                <a:gd name="connsiteY555" fmla="*/ 938730 h 6421008"/>
                <a:gd name="connsiteX556" fmla="*/ 4150426 w 6123188"/>
                <a:gd name="connsiteY556" fmla="*/ 933964 h 6421008"/>
                <a:gd name="connsiteX557" fmla="*/ 4145662 w 6123188"/>
                <a:gd name="connsiteY557" fmla="*/ 929198 h 6421008"/>
                <a:gd name="connsiteX558" fmla="*/ 4150426 w 6123188"/>
                <a:gd name="connsiteY558" fmla="*/ 924434 h 6421008"/>
                <a:gd name="connsiteX559" fmla="*/ 4155192 w 6123188"/>
                <a:gd name="connsiteY559" fmla="*/ 919668 h 6421008"/>
                <a:gd name="connsiteX560" fmla="*/ 4179018 w 6123188"/>
                <a:gd name="connsiteY560" fmla="*/ 919668 h 6421008"/>
                <a:gd name="connsiteX561" fmla="*/ 4188548 w 6123188"/>
                <a:gd name="connsiteY561" fmla="*/ 929198 h 6421008"/>
                <a:gd name="connsiteX562" fmla="*/ 4198078 w 6123188"/>
                <a:gd name="connsiteY562" fmla="*/ 938730 h 6421008"/>
                <a:gd name="connsiteX563" fmla="*/ 4217138 w 6123188"/>
                <a:gd name="connsiteY563" fmla="*/ 938730 h 6421008"/>
                <a:gd name="connsiteX564" fmla="*/ 4226668 w 6123188"/>
                <a:gd name="connsiteY564" fmla="*/ 938730 h 6421008"/>
                <a:gd name="connsiteX565" fmla="*/ 4236200 w 6123188"/>
                <a:gd name="connsiteY565" fmla="*/ 943494 h 6421008"/>
                <a:gd name="connsiteX566" fmla="*/ 4250494 w 6123188"/>
                <a:gd name="connsiteY566" fmla="*/ 943494 h 6421008"/>
                <a:gd name="connsiteX567" fmla="*/ 4255260 w 6123188"/>
                <a:gd name="connsiteY567" fmla="*/ 953024 h 6421008"/>
                <a:gd name="connsiteX568" fmla="*/ 4274320 w 6123188"/>
                <a:gd name="connsiteY568" fmla="*/ 962554 h 6421008"/>
                <a:gd name="connsiteX569" fmla="*/ 4279084 w 6123188"/>
                <a:gd name="connsiteY569" fmla="*/ 972084 h 6421008"/>
                <a:gd name="connsiteX570" fmla="*/ 4293380 w 6123188"/>
                <a:gd name="connsiteY570" fmla="*/ 976850 h 6421008"/>
                <a:gd name="connsiteX571" fmla="*/ 4307676 w 6123188"/>
                <a:gd name="connsiteY571" fmla="*/ 981616 h 6421008"/>
                <a:gd name="connsiteX572" fmla="*/ 4326736 w 6123188"/>
                <a:gd name="connsiteY572" fmla="*/ 981616 h 6421008"/>
                <a:gd name="connsiteX573" fmla="*/ 4341032 w 6123188"/>
                <a:gd name="connsiteY573" fmla="*/ 981616 h 6421008"/>
                <a:gd name="connsiteX574" fmla="*/ 4341032 w 6123188"/>
                <a:gd name="connsiteY574" fmla="*/ 991146 h 6421008"/>
                <a:gd name="connsiteX575" fmla="*/ 4355328 w 6123188"/>
                <a:gd name="connsiteY575" fmla="*/ 995910 h 6421008"/>
                <a:gd name="connsiteX576" fmla="*/ 4369622 w 6123188"/>
                <a:gd name="connsiteY576" fmla="*/ 991146 h 6421008"/>
                <a:gd name="connsiteX577" fmla="*/ 4379152 w 6123188"/>
                <a:gd name="connsiteY577" fmla="*/ 1005440 h 6421008"/>
                <a:gd name="connsiteX578" fmla="*/ 4412508 w 6123188"/>
                <a:gd name="connsiteY578" fmla="*/ 1014972 h 6421008"/>
                <a:gd name="connsiteX579" fmla="*/ 4431568 w 6123188"/>
                <a:gd name="connsiteY579" fmla="*/ 1029266 h 6421008"/>
                <a:gd name="connsiteX580" fmla="*/ 4445864 w 6123188"/>
                <a:gd name="connsiteY580" fmla="*/ 1029266 h 6421008"/>
                <a:gd name="connsiteX581" fmla="*/ 4460160 w 6123188"/>
                <a:gd name="connsiteY581" fmla="*/ 1034032 h 6421008"/>
                <a:gd name="connsiteX582" fmla="*/ 4474456 w 6123188"/>
                <a:gd name="connsiteY582" fmla="*/ 1067388 h 6421008"/>
                <a:gd name="connsiteX583" fmla="*/ 4479220 w 6123188"/>
                <a:gd name="connsiteY583" fmla="*/ 1091214 h 6421008"/>
                <a:gd name="connsiteX584" fmla="*/ 4488750 w 6123188"/>
                <a:gd name="connsiteY584" fmla="*/ 1086448 h 6421008"/>
                <a:gd name="connsiteX585" fmla="*/ 4493516 w 6123188"/>
                <a:gd name="connsiteY585" fmla="*/ 1076918 h 6421008"/>
                <a:gd name="connsiteX586" fmla="*/ 4503046 w 6123188"/>
                <a:gd name="connsiteY586" fmla="*/ 1057858 h 6421008"/>
                <a:gd name="connsiteX587" fmla="*/ 4517342 w 6123188"/>
                <a:gd name="connsiteY587" fmla="*/ 1048328 h 6421008"/>
                <a:gd name="connsiteX588" fmla="*/ 4526872 w 6123188"/>
                <a:gd name="connsiteY588" fmla="*/ 1057858 h 6421008"/>
                <a:gd name="connsiteX589" fmla="*/ 4545932 w 6123188"/>
                <a:gd name="connsiteY589" fmla="*/ 1067388 h 6421008"/>
                <a:gd name="connsiteX590" fmla="*/ 4560228 w 6123188"/>
                <a:gd name="connsiteY590" fmla="*/ 1081682 h 6421008"/>
                <a:gd name="connsiteX591" fmla="*/ 4564992 w 6123188"/>
                <a:gd name="connsiteY591" fmla="*/ 1091214 h 6421008"/>
                <a:gd name="connsiteX592" fmla="*/ 4574524 w 6123188"/>
                <a:gd name="connsiteY592" fmla="*/ 1091214 h 6421008"/>
                <a:gd name="connsiteX593" fmla="*/ 4564992 w 6123188"/>
                <a:gd name="connsiteY593" fmla="*/ 1100744 h 6421008"/>
                <a:gd name="connsiteX594" fmla="*/ 4574524 w 6123188"/>
                <a:gd name="connsiteY594" fmla="*/ 1100744 h 6421008"/>
                <a:gd name="connsiteX595" fmla="*/ 4584052 w 6123188"/>
                <a:gd name="connsiteY595" fmla="*/ 1095978 h 6421008"/>
                <a:gd name="connsiteX596" fmla="*/ 4593584 w 6123188"/>
                <a:gd name="connsiteY596" fmla="*/ 1110274 h 6421008"/>
                <a:gd name="connsiteX597" fmla="*/ 4603114 w 6123188"/>
                <a:gd name="connsiteY597" fmla="*/ 1124568 h 6421008"/>
                <a:gd name="connsiteX598" fmla="*/ 4603114 w 6123188"/>
                <a:gd name="connsiteY598" fmla="*/ 1143630 h 6421008"/>
                <a:gd name="connsiteX599" fmla="*/ 4598348 w 6123188"/>
                <a:gd name="connsiteY599" fmla="*/ 1148394 h 6421008"/>
                <a:gd name="connsiteX600" fmla="*/ 4593584 w 6123188"/>
                <a:gd name="connsiteY600" fmla="*/ 1157924 h 6421008"/>
                <a:gd name="connsiteX601" fmla="*/ 4584052 w 6123188"/>
                <a:gd name="connsiteY601" fmla="*/ 1167456 h 6421008"/>
                <a:gd name="connsiteX602" fmla="*/ 4579288 w 6123188"/>
                <a:gd name="connsiteY602" fmla="*/ 1172220 h 6421008"/>
                <a:gd name="connsiteX603" fmla="*/ 4569758 w 6123188"/>
                <a:gd name="connsiteY603" fmla="*/ 1176986 h 6421008"/>
                <a:gd name="connsiteX604" fmla="*/ 4579288 w 6123188"/>
                <a:gd name="connsiteY604" fmla="*/ 1181750 h 6421008"/>
                <a:gd name="connsiteX605" fmla="*/ 4584052 w 6123188"/>
                <a:gd name="connsiteY605" fmla="*/ 1191280 h 6421008"/>
                <a:gd name="connsiteX606" fmla="*/ 4598348 w 6123188"/>
                <a:gd name="connsiteY606" fmla="*/ 1167456 h 6421008"/>
                <a:gd name="connsiteX607" fmla="*/ 4607878 w 6123188"/>
                <a:gd name="connsiteY607" fmla="*/ 1162690 h 6421008"/>
                <a:gd name="connsiteX608" fmla="*/ 4617408 w 6123188"/>
                <a:gd name="connsiteY608" fmla="*/ 1157924 h 6421008"/>
                <a:gd name="connsiteX609" fmla="*/ 4626940 w 6123188"/>
                <a:gd name="connsiteY609" fmla="*/ 1176986 h 6421008"/>
                <a:gd name="connsiteX610" fmla="*/ 4626940 w 6123188"/>
                <a:gd name="connsiteY610" fmla="*/ 1191280 h 6421008"/>
                <a:gd name="connsiteX611" fmla="*/ 4607878 w 6123188"/>
                <a:gd name="connsiteY611" fmla="*/ 1196046 h 6421008"/>
                <a:gd name="connsiteX612" fmla="*/ 4607878 w 6123188"/>
                <a:gd name="connsiteY612" fmla="*/ 1210342 h 6421008"/>
                <a:gd name="connsiteX613" fmla="*/ 4598348 w 6123188"/>
                <a:gd name="connsiteY613" fmla="*/ 1215106 h 6421008"/>
                <a:gd name="connsiteX614" fmla="*/ 4593584 w 6123188"/>
                <a:gd name="connsiteY614" fmla="*/ 1224636 h 6421008"/>
                <a:gd name="connsiteX615" fmla="*/ 4593584 w 6123188"/>
                <a:gd name="connsiteY615" fmla="*/ 1238932 h 6421008"/>
                <a:gd name="connsiteX616" fmla="*/ 4588818 w 6123188"/>
                <a:gd name="connsiteY616" fmla="*/ 1253228 h 6421008"/>
                <a:gd name="connsiteX617" fmla="*/ 4574524 w 6123188"/>
                <a:gd name="connsiteY617" fmla="*/ 1310408 h 6421008"/>
                <a:gd name="connsiteX618" fmla="*/ 4574524 w 6123188"/>
                <a:gd name="connsiteY618" fmla="*/ 1319940 h 6421008"/>
                <a:gd name="connsiteX619" fmla="*/ 4588818 w 6123188"/>
                <a:gd name="connsiteY619" fmla="*/ 1310408 h 6421008"/>
                <a:gd name="connsiteX620" fmla="*/ 4617408 w 6123188"/>
                <a:gd name="connsiteY620" fmla="*/ 1281818 h 6421008"/>
                <a:gd name="connsiteX621" fmla="*/ 4626940 w 6123188"/>
                <a:gd name="connsiteY621" fmla="*/ 1248462 h 6421008"/>
                <a:gd name="connsiteX622" fmla="*/ 4641234 w 6123188"/>
                <a:gd name="connsiteY622" fmla="*/ 1215106 h 6421008"/>
                <a:gd name="connsiteX623" fmla="*/ 4650764 w 6123188"/>
                <a:gd name="connsiteY623" fmla="*/ 1205576 h 6421008"/>
                <a:gd name="connsiteX624" fmla="*/ 4660296 w 6123188"/>
                <a:gd name="connsiteY624" fmla="*/ 1205576 h 6421008"/>
                <a:gd name="connsiteX625" fmla="*/ 4669826 w 6123188"/>
                <a:gd name="connsiteY625" fmla="*/ 1210342 h 6421008"/>
                <a:gd name="connsiteX626" fmla="*/ 4669826 w 6123188"/>
                <a:gd name="connsiteY626" fmla="*/ 1219872 h 6421008"/>
                <a:gd name="connsiteX627" fmla="*/ 4669826 w 6123188"/>
                <a:gd name="connsiteY627" fmla="*/ 1224636 h 6421008"/>
                <a:gd name="connsiteX628" fmla="*/ 4655530 w 6123188"/>
                <a:gd name="connsiteY628" fmla="*/ 1243698 h 6421008"/>
                <a:gd name="connsiteX629" fmla="*/ 4650764 w 6123188"/>
                <a:gd name="connsiteY629" fmla="*/ 1253228 h 6421008"/>
                <a:gd name="connsiteX630" fmla="*/ 4655530 w 6123188"/>
                <a:gd name="connsiteY630" fmla="*/ 1257992 h 6421008"/>
                <a:gd name="connsiteX631" fmla="*/ 4684120 w 6123188"/>
                <a:gd name="connsiteY631" fmla="*/ 1234168 h 6421008"/>
                <a:gd name="connsiteX632" fmla="*/ 4698416 w 6123188"/>
                <a:gd name="connsiteY632" fmla="*/ 1224636 h 6421008"/>
                <a:gd name="connsiteX633" fmla="*/ 4707946 w 6123188"/>
                <a:gd name="connsiteY633" fmla="*/ 1224636 h 6421008"/>
                <a:gd name="connsiteX634" fmla="*/ 4731772 w 6123188"/>
                <a:gd name="connsiteY634" fmla="*/ 1215106 h 6421008"/>
                <a:gd name="connsiteX635" fmla="*/ 4774658 w 6123188"/>
                <a:gd name="connsiteY635" fmla="*/ 1210342 h 6421008"/>
                <a:gd name="connsiteX636" fmla="*/ 4774658 w 6123188"/>
                <a:gd name="connsiteY636" fmla="*/ 1196046 h 6421008"/>
                <a:gd name="connsiteX637" fmla="*/ 4784188 w 6123188"/>
                <a:gd name="connsiteY637" fmla="*/ 1191280 h 6421008"/>
                <a:gd name="connsiteX638" fmla="*/ 4808014 w 6123188"/>
                <a:gd name="connsiteY638" fmla="*/ 1196046 h 6421008"/>
                <a:gd name="connsiteX639" fmla="*/ 4855666 w 6123188"/>
                <a:gd name="connsiteY639" fmla="*/ 1205576 h 6421008"/>
                <a:gd name="connsiteX640" fmla="*/ 4869960 w 6123188"/>
                <a:gd name="connsiteY640" fmla="*/ 1215106 h 6421008"/>
                <a:gd name="connsiteX641" fmla="*/ 4893786 w 6123188"/>
                <a:gd name="connsiteY641" fmla="*/ 1224636 h 6421008"/>
                <a:gd name="connsiteX642" fmla="*/ 4908082 w 6123188"/>
                <a:gd name="connsiteY642" fmla="*/ 1238932 h 6421008"/>
                <a:gd name="connsiteX643" fmla="*/ 4960498 w 6123188"/>
                <a:gd name="connsiteY643" fmla="*/ 1257992 h 6421008"/>
                <a:gd name="connsiteX644" fmla="*/ 4998620 w 6123188"/>
                <a:gd name="connsiteY644" fmla="*/ 1257992 h 6421008"/>
                <a:gd name="connsiteX645" fmla="*/ 5017680 w 6123188"/>
                <a:gd name="connsiteY645" fmla="*/ 1248462 h 6421008"/>
                <a:gd name="connsiteX646" fmla="*/ 5041504 w 6123188"/>
                <a:gd name="connsiteY646" fmla="*/ 1257992 h 6421008"/>
                <a:gd name="connsiteX647" fmla="*/ 5055800 w 6123188"/>
                <a:gd name="connsiteY647" fmla="*/ 1272288 h 6421008"/>
                <a:gd name="connsiteX648" fmla="*/ 5079626 w 6123188"/>
                <a:gd name="connsiteY648" fmla="*/ 1277054 h 6421008"/>
                <a:gd name="connsiteX649" fmla="*/ 5108216 w 6123188"/>
                <a:gd name="connsiteY649" fmla="*/ 1281818 h 6421008"/>
                <a:gd name="connsiteX650" fmla="*/ 5127278 w 6123188"/>
                <a:gd name="connsiteY650" fmla="*/ 1272288 h 6421008"/>
                <a:gd name="connsiteX651" fmla="*/ 5174928 w 6123188"/>
                <a:gd name="connsiteY651" fmla="*/ 1267522 h 6421008"/>
                <a:gd name="connsiteX652" fmla="*/ 5236876 w 6123188"/>
                <a:gd name="connsiteY652" fmla="*/ 1257992 h 6421008"/>
                <a:gd name="connsiteX653" fmla="*/ 5274996 w 6123188"/>
                <a:gd name="connsiteY653" fmla="*/ 1257992 h 6421008"/>
                <a:gd name="connsiteX654" fmla="*/ 5317882 w 6123188"/>
                <a:gd name="connsiteY654" fmla="*/ 1267522 h 6421008"/>
                <a:gd name="connsiteX655" fmla="*/ 5346474 w 6123188"/>
                <a:gd name="connsiteY655" fmla="*/ 1286584 h 6421008"/>
                <a:gd name="connsiteX656" fmla="*/ 5375064 w 6123188"/>
                <a:gd name="connsiteY656" fmla="*/ 1296114 h 6421008"/>
                <a:gd name="connsiteX657" fmla="*/ 5389360 w 6123188"/>
                <a:gd name="connsiteY657" fmla="*/ 1310408 h 6421008"/>
                <a:gd name="connsiteX658" fmla="*/ 5413184 w 6123188"/>
                <a:gd name="connsiteY658" fmla="*/ 1319940 h 6421008"/>
                <a:gd name="connsiteX659" fmla="*/ 5465602 w 6123188"/>
                <a:gd name="connsiteY659" fmla="*/ 1348530 h 6421008"/>
                <a:gd name="connsiteX660" fmla="*/ 5484662 w 6123188"/>
                <a:gd name="connsiteY660" fmla="*/ 1367590 h 6421008"/>
                <a:gd name="connsiteX661" fmla="*/ 5518018 w 6123188"/>
                <a:gd name="connsiteY661" fmla="*/ 1391416 h 6421008"/>
                <a:gd name="connsiteX662" fmla="*/ 5551374 w 6123188"/>
                <a:gd name="connsiteY662" fmla="*/ 1400946 h 6421008"/>
                <a:gd name="connsiteX663" fmla="*/ 5570434 w 6123188"/>
                <a:gd name="connsiteY663" fmla="*/ 1424772 h 6421008"/>
                <a:gd name="connsiteX664" fmla="*/ 5579964 w 6123188"/>
                <a:gd name="connsiteY664" fmla="*/ 1439068 h 6421008"/>
                <a:gd name="connsiteX665" fmla="*/ 5618086 w 6123188"/>
                <a:gd name="connsiteY665" fmla="*/ 1481954 h 6421008"/>
                <a:gd name="connsiteX666" fmla="*/ 5656206 w 6123188"/>
                <a:gd name="connsiteY666" fmla="*/ 1510544 h 6421008"/>
                <a:gd name="connsiteX667" fmla="*/ 5684798 w 6123188"/>
                <a:gd name="connsiteY667" fmla="*/ 1539136 h 6421008"/>
                <a:gd name="connsiteX668" fmla="*/ 5732448 w 6123188"/>
                <a:gd name="connsiteY668" fmla="*/ 1558196 h 6421008"/>
                <a:gd name="connsiteX669" fmla="*/ 5751508 w 6123188"/>
                <a:gd name="connsiteY669" fmla="*/ 1586786 h 6421008"/>
                <a:gd name="connsiteX670" fmla="*/ 5789630 w 6123188"/>
                <a:gd name="connsiteY670" fmla="*/ 1591552 h 6421008"/>
                <a:gd name="connsiteX671" fmla="*/ 5803926 w 6123188"/>
                <a:gd name="connsiteY671" fmla="*/ 1596316 h 6421008"/>
                <a:gd name="connsiteX672" fmla="*/ 5822986 w 6123188"/>
                <a:gd name="connsiteY672" fmla="*/ 1610612 h 6421008"/>
                <a:gd name="connsiteX673" fmla="*/ 5846812 w 6123188"/>
                <a:gd name="connsiteY673" fmla="*/ 1620142 h 6421008"/>
                <a:gd name="connsiteX674" fmla="*/ 5875402 w 6123188"/>
                <a:gd name="connsiteY674" fmla="*/ 1615378 h 6421008"/>
                <a:gd name="connsiteX675" fmla="*/ 5913524 w 6123188"/>
                <a:gd name="connsiteY675" fmla="*/ 1615378 h 6421008"/>
                <a:gd name="connsiteX676" fmla="*/ 5942114 w 6123188"/>
                <a:gd name="connsiteY676" fmla="*/ 1610612 h 6421008"/>
                <a:gd name="connsiteX677" fmla="*/ 6008826 w 6123188"/>
                <a:gd name="connsiteY677" fmla="*/ 1624908 h 6421008"/>
                <a:gd name="connsiteX678" fmla="*/ 6018356 w 6123188"/>
                <a:gd name="connsiteY678" fmla="*/ 1629672 h 6421008"/>
                <a:gd name="connsiteX679" fmla="*/ 6032652 w 6123188"/>
                <a:gd name="connsiteY679" fmla="*/ 1643968 h 6421008"/>
                <a:gd name="connsiteX680" fmla="*/ 6056476 w 6123188"/>
                <a:gd name="connsiteY680" fmla="*/ 1691620 h 6421008"/>
                <a:gd name="connsiteX681" fmla="*/ 6070772 w 6123188"/>
                <a:gd name="connsiteY681" fmla="*/ 1748800 h 6421008"/>
                <a:gd name="connsiteX682" fmla="*/ 6080304 w 6123188"/>
                <a:gd name="connsiteY682" fmla="*/ 1786922 h 6421008"/>
                <a:gd name="connsiteX683" fmla="*/ 6094598 w 6123188"/>
                <a:gd name="connsiteY683" fmla="*/ 1820278 h 6421008"/>
                <a:gd name="connsiteX684" fmla="*/ 6104128 w 6123188"/>
                <a:gd name="connsiteY684" fmla="*/ 1882224 h 6421008"/>
                <a:gd name="connsiteX685" fmla="*/ 6113658 w 6123188"/>
                <a:gd name="connsiteY685" fmla="*/ 1901284 h 6421008"/>
                <a:gd name="connsiteX686" fmla="*/ 6113658 w 6123188"/>
                <a:gd name="connsiteY686" fmla="*/ 1915580 h 6421008"/>
                <a:gd name="connsiteX687" fmla="*/ 6118424 w 6123188"/>
                <a:gd name="connsiteY687" fmla="*/ 1920346 h 6421008"/>
                <a:gd name="connsiteX688" fmla="*/ 6123188 w 6123188"/>
                <a:gd name="connsiteY688" fmla="*/ 1963232 h 6421008"/>
                <a:gd name="connsiteX689" fmla="*/ 6123188 w 6123188"/>
                <a:gd name="connsiteY689" fmla="*/ 1977526 h 6421008"/>
                <a:gd name="connsiteX690" fmla="*/ 6113658 w 6123188"/>
                <a:gd name="connsiteY690" fmla="*/ 2001352 h 6421008"/>
                <a:gd name="connsiteX691" fmla="*/ 6113658 w 6123188"/>
                <a:gd name="connsiteY691" fmla="*/ 2010882 h 6421008"/>
                <a:gd name="connsiteX692" fmla="*/ 6118424 w 6123188"/>
                <a:gd name="connsiteY692" fmla="*/ 2015648 h 6421008"/>
                <a:gd name="connsiteX693" fmla="*/ 6113658 w 6123188"/>
                <a:gd name="connsiteY693" fmla="*/ 2025178 h 6421008"/>
                <a:gd name="connsiteX694" fmla="*/ 6113658 w 6123188"/>
                <a:gd name="connsiteY694" fmla="*/ 2034708 h 6421008"/>
                <a:gd name="connsiteX695" fmla="*/ 6118424 w 6123188"/>
                <a:gd name="connsiteY695" fmla="*/ 2053768 h 6421008"/>
                <a:gd name="connsiteX696" fmla="*/ 6118424 w 6123188"/>
                <a:gd name="connsiteY696" fmla="*/ 2068064 h 6421008"/>
                <a:gd name="connsiteX697" fmla="*/ 6108894 w 6123188"/>
                <a:gd name="connsiteY697" fmla="*/ 2087124 h 6421008"/>
                <a:gd name="connsiteX698" fmla="*/ 6099364 w 6123188"/>
                <a:gd name="connsiteY698" fmla="*/ 2139542 h 6421008"/>
                <a:gd name="connsiteX699" fmla="*/ 6070772 w 6123188"/>
                <a:gd name="connsiteY699" fmla="*/ 2220548 h 6421008"/>
                <a:gd name="connsiteX700" fmla="*/ 6042182 w 6123188"/>
                <a:gd name="connsiteY700" fmla="*/ 2268200 h 6421008"/>
                <a:gd name="connsiteX701" fmla="*/ 5999296 w 6123188"/>
                <a:gd name="connsiteY701" fmla="*/ 2315850 h 6421008"/>
                <a:gd name="connsiteX702" fmla="*/ 5975470 w 6123188"/>
                <a:gd name="connsiteY702" fmla="*/ 2344442 h 6421008"/>
                <a:gd name="connsiteX703" fmla="*/ 5965940 w 6123188"/>
                <a:gd name="connsiteY703" fmla="*/ 2344442 h 6421008"/>
                <a:gd name="connsiteX704" fmla="*/ 5956410 w 6123188"/>
                <a:gd name="connsiteY704" fmla="*/ 2339676 h 6421008"/>
                <a:gd name="connsiteX705" fmla="*/ 5961174 w 6123188"/>
                <a:gd name="connsiteY705" fmla="*/ 2353972 h 6421008"/>
                <a:gd name="connsiteX706" fmla="*/ 5956410 w 6123188"/>
                <a:gd name="connsiteY706" fmla="*/ 2368268 h 6421008"/>
                <a:gd name="connsiteX707" fmla="*/ 5927820 w 6123188"/>
                <a:gd name="connsiteY707" fmla="*/ 2401624 h 6421008"/>
                <a:gd name="connsiteX708" fmla="*/ 5903992 w 6123188"/>
                <a:gd name="connsiteY708" fmla="*/ 2425448 h 6421008"/>
                <a:gd name="connsiteX709" fmla="*/ 5875402 w 6123188"/>
                <a:gd name="connsiteY709" fmla="*/ 2468336 h 6421008"/>
                <a:gd name="connsiteX710" fmla="*/ 5870638 w 6123188"/>
                <a:gd name="connsiteY710" fmla="*/ 2468336 h 6421008"/>
                <a:gd name="connsiteX711" fmla="*/ 5837282 w 6123188"/>
                <a:gd name="connsiteY711" fmla="*/ 2482630 h 6421008"/>
                <a:gd name="connsiteX712" fmla="*/ 5818220 w 6123188"/>
                <a:gd name="connsiteY712" fmla="*/ 2496926 h 6421008"/>
                <a:gd name="connsiteX713" fmla="*/ 5789630 w 6123188"/>
                <a:gd name="connsiteY713" fmla="*/ 2520752 h 6421008"/>
                <a:gd name="connsiteX714" fmla="*/ 5765804 w 6123188"/>
                <a:gd name="connsiteY714" fmla="*/ 2558872 h 6421008"/>
                <a:gd name="connsiteX715" fmla="*/ 5761040 w 6123188"/>
                <a:gd name="connsiteY715" fmla="*/ 2563638 h 6421008"/>
                <a:gd name="connsiteX716" fmla="*/ 5751508 w 6123188"/>
                <a:gd name="connsiteY716" fmla="*/ 2558872 h 6421008"/>
                <a:gd name="connsiteX717" fmla="*/ 5751508 w 6123188"/>
                <a:gd name="connsiteY717" fmla="*/ 2577932 h 6421008"/>
                <a:gd name="connsiteX718" fmla="*/ 5732448 w 6123188"/>
                <a:gd name="connsiteY718" fmla="*/ 2611288 h 6421008"/>
                <a:gd name="connsiteX719" fmla="*/ 5727684 w 6123188"/>
                <a:gd name="connsiteY719" fmla="*/ 2616054 h 6421008"/>
                <a:gd name="connsiteX720" fmla="*/ 5727684 w 6123188"/>
                <a:gd name="connsiteY720" fmla="*/ 2606524 h 6421008"/>
                <a:gd name="connsiteX721" fmla="*/ 5727684 w 6123188"/>
                <a:gd name="connsiteY721" fmla="*/ 2596994 h 6421008"/>
                <a:gd name="connsiteX722" fmla="*/ 5732448 w 6123188"/>
                <a:gd name="connsiteY722" fmla="*/ 2592228 h 6421008"/>
                <a:gd name="connsiteX723" fmla="*/ 5732448 w 6123188"/>
                <a:gd name="connsiteY723" fmla="*/ 2582698 h 6421008"/>
                <a:gd name="connsiteX724" fmla="*/ 5722918 w 6123188"/>
                <a:gd name="connsiteY724" fmla="*/ 2587464 h 6421008"/>
                <a:gd name="connsiteX725" fmla="*/ 5713388 w 6123188"/>
                <a:gd name="connsiteY725" fmla="*/ 2611288 h 6421008"/>
                <a:gd name="connsiteX726" fmla="*/ 5718152 w 6123188"/>
                <a:gd name="connsiteY726" fmla="*/ 2630350 h 6421008"/>
                <a:gd name="connsiteX727" fmla="*/ 5708624 w 6123188"/>
                <a:gd name="connsiteY727" fmla="*/ 2654176 h 6421008"/>
                <a:gd name="connsiteX728" fmla="*/ 5675268 w 6123188"/>
                <a:gd name="connsiteY728" fmla="*/ 2725652 h 6421008"/>
                <a:gd name="connsiteX729" fmla="*/ 5632380 w 6123188"/>
                <a:gd name="connsiteY729" fmla="*/ 2782834 h 6421008"/>
                <a:gd name="connsiteX730" fmla="*/ 5622850 w 6123188"/>
                <a:gd name="connsiteY730" fmla="*/ 2801894 h 6421008"/>
                <a:gd name="connsiteX731" fmla="*/ 5589496 w 6123188"/>
                <a:gd name="connsiteY731" fmla="*/ 2844780 h 6421008"/>
                <a:gd name="connsiteX732" fmla="*/ 5560904 w 6123188"/>
                <a:gd name="connsiteY732" fmla="*/ 2863840 h 6421008"/>
                <a:gd name="connsiteX733" fmla="*/ 5556140 w 6123188"/>
                <a:gd name="connsiteY733" fmla="*/ 2863840 h 6421008"/>
                <a:gd name="connsiteX734" fmla="*/ 5546608 w 6123188"/>
                <a:gd name="connsiteY734" fmla="*/ 2863840 h 6421008"/>
                <a:gd name="connsiteX735" fmla="*/ 5541844 w 6123188"/>
                <a:gd name="connsiteY735" fmla="*/ 2830484 h 6421008"/>
                <a:gd name="connsiteX736" fmla="*/ 5522784 w 6123188"/>
                <a:gd name="connsiteY736" fmla="*/ 2811424 h 6421008"/>
                <a:gd name="connsiteX737" fmla="*/ 5518018 w 6123188"/>
                <a:gd name="connsiteY737" fmla="*/ 2806660 h 6421008"/>
                <a:gd name="connsiteX738" fmla="*/ 5508488 w 6123188"/>
                <a:gd name="connsiteY738" fmla="*/ 2830484 h 6421008"/>
                <a:gd name="connsiteX739" fmla="*/ 5503722 w 6123188"/>
                <a:gd name="connsiteY739" fmla="*/ 2835250 h 6421008"/>
                <a:gd name="connsiteX740" fmla="*/ 5494192 w 6123188"/>
                <a:gd name="connsiteY740" fmla="*/ 2835250 h 6421008"/>
                <a:gd name="connsiteX741" fmla="*/ 5503722 w 6123188"/>
                <a:gd name="connsiteY741" fmla="*/ 2844780 h 6421008"/>
                <a:gd name="connsiteX742" fmla="*/ 5503722 w 6123188"/>
                <a:gd name="connsiteY742" fmla="*/ 2854310 h 6421008"/>
                <a:gd name="connsiteX743" fmla="*/ 5494192 w 6123188"/>
                <a:gd name="connsiteY743" fmla="*/ 2870988 h 6421008"/>
                <a:gd name="connsiteX744" fmla="*/ 5494192 w 6123188"/>
                <a:gd name="connsiteY744" fmla="*/ 2890048 h 6421008"/>
                <a:gd name="connsiteX745" fmla="*/ 5475132 w 6123188"/>
                <a:gd name="connsiteY745" fmla="*/ 2909110 h 6421008"/>
                <a:gd name="connsiteX746" fmla="*/ 5465602 w 6123188"/>
                <a:gd name="connsiteY746" fmla="*/ 2923404 h 6421008"/>
                <a:gd name="connsiteX747" fmla="*/ 5456072 w 6123188"/>
                <a:gd name="connsiteY747" fmla="*/ 2942464 h 6421008"/>
                <a:gd name="connsiteX748" fmla="*/ 5456072 w 6123188"/>
                <a:gd name="connsiteY748" fmla="*/ 2961526 h 6421008"/>
                <a:gd name="connsiteX749" fmla="*/ 5460836 w 6123188"/>
                <a:gd name="connsiteY749" fmla="*/ 2956760 h 6421008"/>
                <a:gd name="connsiteX750" fmla="*/ 5465602 w 6123188"/>
                <a:gd name="connsiteY750" fmla="*/ 2961526 h 6421008"/>
                <a:gd name="connsiteX751" fmla="*/ 5470366 w 6123188"/>
                <a:gd name="connsiteY751" fmla="*/ 2966290 h 6421008"/>
                <a:gd name="connsiteX752" fmla="*/ 5470366 w 6123188"/>
                <a:gd name="connsiteY752" fmla="*/ 2975820 h 6421008"/>
                <a:gd name="connsiteX753" fmla="*/ 5460836 w 6123188"/>
                <a:gd name="connsiteY753" fmla="*/ 2990116 h 6421008"/>
                <a:gd name="connsiteX754" fmla="*/ 5460836 w 6123188"/>
                <a:gd name="connsiteY754" fmla="*/ 3028238 h 6421008"/>
                <a:gd name="connsiteX755" fmla="*/ 5460836 w 6123188"/>
                <a:gd name="connsiteY755" fmla="*/ 3033002 h 6421008"/>
                <a:gd name="connsiteX756" fmla="*/ 5465602 w 6123188"/>
                <a:gd name="connsiteY756" fmla="*/ 3042532 h 6421008"/>
                <a:gd name="connsiteX757" fmla="*/ 5475132 w 6123188"/>
                <a:gd name="connsiteY757" fmla="*/ 3028238 h 6421008"/>
                <a:gd name="connsiteX758" fmla="*/ 5479896 w 6123188"/>
                <a:gd name="connsiteY758" fmla="*/ 3033002 h 6421008"/>
                <a:gd name="connsiteX759" fmla="*/ 5460836 w 6123188"/>
                <a:gd name="connsiteY759" fmla="*/ 3133070 h 6421008"/>
                <a:gd name="connsiteX760" fmla="*/ 5465602 w 6123188"/>
                <a:gd name="connsiteY760" fmla="*/ 3175956 h 6421008"/>
                <a:gd name="connsiteX761" fmla="*/ 5470366 w 6123188"/>
                <a:gd name="connsiteY761" fmla="*/ 3228372 h 6421008"/>
                <a:gd name="connsiteX762" fmla="*/ 5479896 w 6123188"/>
                <a:gd name="connsiteY762" fmla="*/ 3280790 h 6421008"/>
                <a:gd name="connsiteX763" fmla="*/ 5489428 w 6123188"/>
                <a:gd name="connsiteY763" fmla="*/ 3323676 h 6421008"/>
                <a:gd name="connsiteX764" fmla="*/ 5489428 w 6123188"/>
                <a:gd name="connsiteY764" fmla="*/ 3328440 h 6421008"/>
                <a:gd name="connsiteX765" fmla="*/ 5475132 w 6123188"/>
                <a:gd name="connsiteY765" fmla="*/ 3380856 h 6421008"/>
                <a:gd name="connsiteX766" fmla="*/ 5460836 w 6123188"/>
                <a:gd name="connsiteY766" fmla="*/ 3433274 h 6421008"/>
                <a:gd name="connsiteX767" fmla="*/ 5451306 w 6123188"/>
                <a:gd name="connsiteY767" fmla="*/ 3476160 h 6421008"/>
                <a:gd name="connsiteX768" fmla="*/ 5441776 w 6123188"/>
                <a:gd name="connsiteY768" fmla="*/ 3519046 h 6421008"/>
                <a:gd name="connsiteX769" fmla="*/ 5437010 w 6123188"/>
                <a:gd name="connsiteY769" fmla="*/ 3542872 h 6421008"/>
                <a:gd name="connsiteX770" fmla="*/ 5437010 w 6123188"/>
                <a:gd name="connsiteY770" fmla="*/ 3566696 h 6421008"/>
                <a:gd name="connsiteX771" fmla="*/ 5441776 w 6123188"/>
                <a:gd name="connsiteY771" fmla="*/ 3619114 h 6421008"/>
                <a:gd name="connsiteX772" fmla="*/ 5446540 w 6123188"/>
                <a:gd name="connsiteY772" fmla="*/ 3628644 h 6421008"/>
                <a:gd name="connsiteX773" fmla="*/ 5422716 w 6123188"/>
                <a:gd name="connsiteY773" fmla="*/ 3652468 h 6421008"/>
                <a:gd name="connsiteX774" fmla="*/ 5403656 w 6123188"/>
                <a:gd name="connsiteY774" fmla="*/ 3662000 h 6421008"/>
                <a:gd name="connsiteX775" fmla="*/ 5394124 w 6123188"/>
                <a:gd name="connsiteY775" fmla="*/ 3676294 h 6421008"/>
                <a:gd name="connsiteX776" fmla="*/ 5365534 w 6123188"/>
                <a:gd name="connsiteY776" fmla="*/ 3719180 h 6421008"/>
                <a:gd name="connsiteX777" fmla="*/ 5351238 w 6123188"/>
                <a:gd name="connsiteY777" fmla="*/ 3781128 h 6421008"/>
                <a:gd name="connsiteX778" fmla="*/ 5351238 w 6123188"/>
                <a:gd name="connsiteY778" fmla="*/ 3814484 h 6421008"/>
                <a:gd name="connsiteX779" fmla="*/ 5360768 w 6123188"/>
                <a:gd name="connsiteY779" fmla="*/ 3890726 h 6421008"/>
                <a:gd name="connsiteX780" fmla="*/ 5356004 w 6123188"/>
                <a:gd name="connsiteY780" fmla="*/ 3919316 h 6421008"/>
                <a:gd name="connsiteX781" fmla="*/ 5346474 w 6123188"/>
                <a:gd name="connsiteY781" fmla="*/ 3938376 h 6421008"/>
                <a:gd name="connsiteX782" fmla="*/ 5336944 w 6123188"/>
                <a:gd name="connsiteY782" fmla="*/ 3947908 h 6421008"/>
                <a:gd name="connsiteX783" fmla="*/ 5313118 w 6123188"/>
                <a:gd name="connsiteY783" fmla="*/ 3966968 h 6421008"/>
                <a:gd name="connsiteX784" fmla="*/ 5289292 w 6123188"/>
                <a:gd name="connsiteY784" fmla="*/ 4000324 h 6421008"/>
                <a:gd name="connsiteX785" fmla="*/ 5279762 w 6123188"/>
                <a:gd name="connsiteY785" fmla="*/ 4043210 h 6421008"/>
                <a:gd name="connsiteX786" fmla="*/ 5265466 w 6123188"/>
                <a:gd name="connsiteY786" fmla="*/ 4057504 h 6421008"/>
                <a:gd name="connsiteX787" fmla="*/ 5260700 w 6123188"/>
                <a:gd name="connsiteY787" fmla="*/ 4076566 h 6421008"/>
                <a:gd name="connsiteX788" fmla="*/ 5251172 w 6123188"/>
                <a:gd name="connsiteY788" fmla="*/ 4105156 h 6421008"/>
                <a:gd name="connsiteX789" fmla="*/ 5217816 w 6123188"/>
                <a:gd name="connsiteY789" fmla="*/ 4138512 h 6421008"/>
                <a:gd name="connsiteX790" fmla="*/ 5198754 w 6123188"/>
                <a:gd name="connsiteY790" fmla="*/ 4148042 h 6421008"/>
                <a:gd name="connsiteX791" fmla="*/ 5189224 w 6123188"/>
                <a:gd name="connsiteY791" fmla="*/ 4157572 h 6421008"/>
                <a:gd name="connsiteX792" fmla="*/ 5184460 w 6123188"/>
                <a:gd name="connsiteY792" fmla="*/ 4181398 h 6421008"/>
                <a:gd name="connsiteX793" fmla="*/ 5165398 w 6123188"/>
                <a:gd name="connsiteY793" fmla="*/ 4214754 h 6421008"/>
                <a:gd name="connsiteX794" fmla="*/ 5151104 w 6123188"/>
                <a:gd name="connsiteY794" fmla="*/ 4257640 h 6421008"/>
                <a:gd name="connsiteX795" fmla="*/ 5151104 w 6123188"/>
                <a:gd name="connsiteY795" fmla="*/ 4276700 h 6421008"/>
                <a:gd name="connsiteX796" fmla="*/ 5160634 w 6123188"/>
                <a:gd name="connsiteY796" fmla="*/ 4329116 h 6421008"/>
                <a:gd name="connsiteX797" fmla="*/ 5155868 w 6123188"/>
                <a:gd name="connsiteY797" fmla="*/ 4343412 h 6421008"/>
                <a:gd name="connsiteX798" fmla="*/ 5136808 w 6123188"/>
                <a:gd name="connsiteY798" fmla="*/ 4357708 h 6421008"/>
                <a:gd name="connsiteX799" fmla="*/ 5065332 w 6123188"/>
                <a:gd name="connsiteY799" fmla="*/ 4381534 h 6421008"/>
                <a:gd name="connsiteX800" fmla="*/ 5046270 w 6123188"/>
                <a:gd name="connsiteY800" fmla="*/ 4395828 h 6421008"/>
                <a:gd name="connsiteX801" fmla="*/ 5003384 w 6123188"/>
                <a:gd name="connsiteY801" fmla="*/ 4438716 h 6421008"/>
                <a:gd name="connsiteX802" fmla="*/ 4998620 w 6123188"/>
                <a:gd name="connsiteY802" fmla="*/ 4453010 h 6421008"/>
                <a:gd name="connsiteX803" fmla="*/ 5003384 w 6123188"/>
                <a:gd name="connsiteY803" fmla="*/ 4467306 h 6421008"/>
                <a:gd name="connsiteX804" fmla="*/ 5008150 w 6123188"/>
                <a:gd name="connsiteY804" fmla="*/ 4476836 h 6421008"/>
                <a:gd name="connsiteX805" fmla="*/ 5003384 w 6123188"/>
                <a:gd name="connsiteY805" fmla="*/ 4486366 h 6421008"/>
                <a:gd name="connsiteX806" fmla="*/ 4993854 w 6123188"/>
                <a:gd name="connsiteY806" fmla="*/ 4500662 h 6421008"/>
                <a:gd name="connsiteX807" fmla="*/ 4979558 w 6123188"/>
                <a:gd name="connsiteY807" fmla="*/ 4500662 h 6421008"/>
                <a:gd name="connsiteX808" fmla="*/ 4908082 w 6123188"/>
                <a:gd name="connsiteY808" fmla="*/ 4500662 h 6421008"/>
                <a:gd name="connsiteX809" fmla="*/ 4869960 w 6123188"/>
                <a:gd name="connsiteY809" fmla="*/ 4505428 h 6421008"/>
                <a:gd name="connsiteX810" fmla="*/ 4850900 w 6123188"/>
                <a:gd name="connsiteY810" fmla="*/ 4505428 h 6421008"/>
                <a:gd name="connsiteX811" fmla="*/ 4841370 w 6123188"/>
                <a:gd name="connsiteY811" fmla="*/ 4500662 h 6421008"/>
                <a:gd name="connsiteX812" fmla="*/ 4831840 w 6123188"/>
                <a:gd name="connsiteY812" fmla="*/ 4495896 h 6421008"/>
                <a:gd name="connsiteX813" fmla="*/ 4827074 w 6123188"/>
                <a:gd name="connsiteY813" fmla="*/ 4486366 h 6421008"/>
                <a:gd name="connsiteX814" fmla="*/ 4831840 w 6123188"/>
                <a:gd name="connsiteY814" fmla="*/ 4472072 h 6421008"/>
                <a:gd name="connsiteX815" fmla="*/ 4831840 w 6123188"/>
                <a:gd name="connsiteY815" fmla="*/ 4462540 h 6421008"/>
                <a:gd name="connsiteX816" fmla="*/ 4817544 w 6123188"/>
                <a:gd name="connsiteY816" fmla="*/ 4462540 h 6421008"/>
                <a:gd name="connsiteX817" fmla="*/ 4808014 w 6123188"/>
                <a:gd name="connsiteY817" fmla="*/ 4467306 h 6421008"/>
                <a:gd name="connsiteX818" fmla="*/ 4808014 w 6123188"/>
                <a:gd name="connsiteY818" fmla="*/ 4476836 h 6421008"/>
                <a:gd name="connsiteX819" fmla="*/ 4808014 w 6123188"/>
                <a:gd name="connsiteY819" fmla="*/ 4481600 h 6421008"/>
                <a:gd name="connsiteX820" fmla="*/ 4812780 w 6123188"/>
                <a:gd name="connsiteY820" fmla="*/ 4491132 h 6421008"/>
                <a:gd name="connsiteX821" fmla="*/ 4812780 w 6123188"/>
                <a:gd name="connsiteY821" fmla="*/ 4500662 h 6421008"/>
                <a:gd name="connsiteX822" fmla="*/ 4808014 w 6123188"/>
                <a:gd name="connsiteY822" fmla="*/ 4510192 h 6421008"/>
                <a:gd name="connsiteX823" fmla="*/ 4784188 w 6123188"/>
                <a:gd name="connsiteY823" fmla="*/ 4510192 h 6421008"/>
                <a:gd name="connsiteX824" fmla="*/ 4760362 w 6123188"/>
                <a:gd name="connsiteY824" fmla="*/ 4519722 h 6421008"/>
                <a:gd name="connsiteX825" fmla="*/ 4727008 w 6123188"/>
                <a:gd name="connsiteY825" fmla="*/ 4524488 h 6421008"/>
                <a:gd name="connsiteX826" fmla="*/ 4703180 w 6123188"/>
                <a:gd name="connsiteY826" fmla="*/ 4529252 h 6421008"/>
                <a:gd name="connsiteX827" fmla="*/ 4693652 w 6123188"/>
                <a:gd name="connsiteY827" fmla="*/ 4519722 h 6421008"/>
                <a:gd name="connsiteX828" fmla="*/ 4703180 w 6123188"/>
                <a:gd name="connsiteY828" fmla="*/ 4519722 h 6421008"/>
                <a:gd name="connsiteX829" fmla="*/ 4722242 w 6123188"/>
                <a:gd name="connsiteY829" fmla="*/ 4519722 h 6421008"/>
                <a:gd name="connsiteX830" fmla="*/ 4736536 w 6123188"/>
                <a:gd name="connsiteY830" fmla="*/ 4514956 h 6421008"/>
                <a:gd name="connsiteX831" fmla="*/ 4736536 w 6123188"/>
                <a:gd name="connsiteY831" fmla="*/ 4505428 h 6421008"/>
                <a:gd name="connsiteX832" fmla="*/ 4707946 w 6123188"/>
                <a:gd name="connsiteY832" fmla="*/ 4495896 h 6421008"/>
                <a:gd name="connsiteX833" fmla="*/ 4679356 w 6123188"/>
                <a:gd name="connsiteY833" fmla="*/ 4500662 h 6421008"/>
                <a:gd name="connsiteX834" fmla="*/ 4665060 w 6123188"/>
                <a:gd name="connsiteY834" fmla="*/ 4514956 h 6421008"/>
                <a:gd name="connsiteX835" fmla="*/ 4631704 w 6123188"/>
                <a:gd name="connsiteY835" fmla="*/ 4510192 h 6421008"/>
                <a:gd name="connsiteX836" fmla="*/ 4588818 w 6123188"/>
                <a:gd name="connsiteY836" fmla="*/ 4519722 h 6421008"/>
                <a:gd name="connsiteX837" fmla="*/ 4579288 w 6123188"/>
                <a:gd name="connsiteY837" fmla="*/ 4529252 h 6421008"/>
                <a:gd name="connsiteX838" fmla="*/ 4584052 w 6123188"/>
                <a:gd name="connsiteY838" fmla="*/ 4548312 h 6421008"/>
                <a:gd name="connsiteX839" fmla="*/ 4588818 w 6123188"/>
                <a:gd name="connsiteY839" fmla="*/ 4548312 h 6421008"/>
                <a:gd name="connsiteX840" fmla="*/ 4598348 w 6123188"/>
                <a:gd name="connsiteY840" fmla="*/ 4557844 h 6421008"/>
                <a:gd name="connsiteX841" fmla="*/ 4593584 w 6123188"/>
                <a:gd name="connsiteY841" fmla="*/ 4567374 h 6421008"/>
                <a:gd name="connsiteX842" fmla="*/ 4584052 w 6123188"/>
                <a:gd name="connsiteY842" fmla="*/ 4567374 h 6421008"/>
                <a:gd name="connsiteX843" fmla="*/ 4541168 w 6123188"/>
                <a:gd name="connsiteY843" fmla="*/ 4576904 h 6421008"/>
                <a:gd name="connsiteX844" fmla="*/ 4498280 w 6123188"/>
                <a:gd name="connsiteY844" fmla="*/ 4610260 h 6421008"/>
                <a:gd name="connsiteX845" fmla="*/ 4479220 w 6123188"/>
                <a:gd name="connsiteY845" fmla="*/ 4615024 h 6421008"/>
                <a:gd name="connsiteX846" fmla="*/ 4464924 w 6123188"/>
                <a:gd name="connsiteY846" fmla="*/ 4629320 h 6421008"/>
                <a:gd name="connsiteX847" fmla="*/ 4464924 w 6123188"/>
                <a:gd name="connsiteY847" fmla="*/ 4638850 h 6421008"/>
                <a:gd name="connsiteX848" fmla="*/ 4460160 w 6123188"/>
                <a:gd name="connsiteY848" fmla="*/ 4648380 h 6421008"/>
                <a:gd name="connsiteX849" fmla="*/ 4450630 w 6123188"/>
                <a:gd name="connsiteY849" fmla="*/ 4648380 h 6421008"/>
                <a:gd name="connsiteX850" fmla="*/ 4426804 w 6123188"/>
                <a:gd name="connsiteY850" fmla="*/ 4643616 h 6421008"/>
                <a:gd name="connsiteX851" fmla="*/ 4398212 w 6123188"/>
                <a:gd name="connsiteY851" fmla="*/ 4643616 h 6421008"/>
                <a:gd name="connsiteX852" fmla="*/ 4379152 w 6123188"/>
                <a:gd name="connsiteY852" fmla="*/ 4648380 h 6421008"/>
                <a:gd name="connsiteX853" fmla="*/ 4279084 w 6123188"/>
                <a:gd name="connsiteY853" fmla="*/ 4700796 h 6421008"/>
                <a:gd name="connsiteX854" fmla="*/ 4240964 w 6123188"/>
                <a:gd name="connsiteY854" fmla="*/ 4719858 h 6421008"/>
                <a:gd name="connsiteX855" fmla="*/ 4198078 w 6123188"/>
                <a:gd name="connsiteY855" fmla="*/ 4767508 h 6421008"/>
                <a:gd name="connsiteX856" fmla="*/ 4126600 w 6123188"/>
                <a:gd name="connsiteY856" fmla="*/ 4815160 h 6421008"/>
                <a:gd name="connsiteX857" fmla="*/ 4088480 w 6123188"/>
                <a:gd name="connsiteY857" fmla="*/ 4843752 h 6421008"/>
                <a:gd name="connsiteX858" fmla="*/ 4083714 w 6123188"/>
                <a:gd name="connsiteY858" fmla="*/ 4853280 h 6421008"/>
                <a:gd name="connsiteX859" fmla="*/ 4074184 w 6123188"/>
                <a:gd name="connsiteY859" fmla="*/ 4853280 h 6421008"/>
                <a:gd name="connsiteX860" fmla="*/ 4064654 w 6123188"/>
                <a:gd name="connsiteY860" fmla="*/ 4858046 h 6421008"/>
                <a:gd name="connsiteX861" fmla="*/ 4069420 w 6123188"/>
                <a:gd name="connsiteY861" fmla="*/ 4862812 h 6421008"/>
                <a:gd name="connsiteX862" fmla="*/ 4078950 w 6123188"/>
                <a:gd name="connsiteY862" fmla="*/ 4862812 h 6421008"/>
                <a:gd name="connsiteX863" fmla="*/ 4074184 w 6123188"/>
                <a:gd name="connsiteY863" fmla="*/ 4881872 h 6421008"/>
                <a:gd name="connsiteX864" fmla="*/ 4059888 w 6123188"/>
                <a:gd name="connsiteY864" fmla="*/ 4896168 h 6421008"/>
                <a:gd name="connsiteX865" fmla="*/ 4031298 w 6123188"/>
                <a:gd name="connsiteY865" fmla="*/ 4924758 h 6421008"/>
                <a:gd name="connsiteX866" fmla="*/ 4026534 w 6123188"/>
                <a:gd name="connsiteY866" fmla="*/ 4924758 h 6421008"/>
                <a:gd name="connsiteX867" fmla="*/ 4036064 w 6123188"/>
                <a:gd name="connsiteY867" fmla="*/ 4905698 h 6421008"/>
                <a:gd name="connsiteX868" fmla="*/ 4021768 w 6123188"/>
                <a:gd name="connsiteY868" fmla="*/ 4905698 h 6421008"/>
                <a:gd name="connsiteX869" fmla="*/ 4002708 w 6123188"/>
                <a:gd name="connsiteY869" fmla="*/ 4900932 h 6421008"/>
                <a:gd name="connsiteX870" fmla="*/ 3993178 w 6123188"/>
                <a:gd name="connsiteY870" fmla="*/ 4905698 h 6421008"/>
                <a:gd name="connsiteX871" fmla="*/ 3997942 w 6123188"/>
                <a:gd name="connsiteY871" fmla="*/ 4924758 h 6421008"/>
                <a:gd name="connsiteX872" fmla="*/ 3988412 w 6123188"/>
                <a:gd name="connsiteY872" fmla="*/ 4929524 h 6421008"/>
                <a:gd name="connsiteX873" fmla="*/ 3974116 w 6123188"/>
                <a:gd name="connsiteY873" fmla="*/ 4929524 h 6421008"/>
                <a:gd name="connsiteX874" fmla="*/ 3964586 w 6123188"/>
                <a:gd name="connsiteY874" fmla="*/ 4929524 h 6421008"/>
                <a:gd name="connsiteX875" fmla="*/ 3950292 w 6123188"/>
                <a:gd name="connsiteY875" fmla="*/ 4915228 h 6421008"/>
                <a:gd name="connsiteX876" fmla="*/ 3955056 w 6123188"/>
                <a:gd name="connsiteY876" fmla="*/ 4939054 h 6421008"/>
                <a:gd name="connsiteX877" fmla="*/ 3983648 w 6123188"/>
                <a:gd name="connsiteY877" fmla="*/ 4943818 h 6421008"/>
                <a:gd name="connsiteX878" fmla="*/ 3997942 w 6123188"/>
                <a:gd name="connsiteY878" fmla="*/ 4948584 h 6421008"/>
                <a:gd name="connsiteX879" fmla="*/ 4002708 w 6123188"/>
                <a:gd name="connsiteY879" fmla="*/ 4958114 h 6421008"/>
                <a:gd name="connsiteX880" fmla="*/ 3978882 w 6123188"/>
                <a:gd name="connsiteY880" fmla="*/ 4996236 h 6421008"/>
                <a:gd name="connsiteX881" fmla="*/ 3959822 w 6123188"/>
                <a:gd name="connsiteY881" fmla="*/ 5001000 h 6421008"/>
                <a:gd name="connsiteX882" fmla="*/ 3955056 w 6123188"/>
                <a:gd name="connsiteY882" fmla="*/ 5005764 h 6421008"/>
                <a:gd name="connsiteX883" fmla="*/ 3969352 w 6123188"/>
                <a:gd name="connsiteY883" fmla="*/ 5005764 h 6421008"/>
                <a:gd name="connsiteX884" fmla="*/ 3974116 w 6123188"/>
                <a:gd name="connsiteY884" fmla="*/ 5015296 h 6421008"/>
                <a:gd name="connsiteX885" fmla="*/ 3964586 w 6123188"/>
                <a:gd name="connsiteY885" fmla="*/ 5058182 h 6421008"/>
                <a:gd name="connsiteX886" fmla="*/ 3955056 w 6123188"/>
                <a:gd name="connsiteY886" fmla="*/ 5067712 h 6421008"/>
                <a:gd name="connsiteX887" fmla="*/ 3950292 w 6123188"/>
                <a:gd name="connsiteY887" fmla="*/ 5067712 h 6421008"/>
                <a:gd name="connsiteX888" fmla="*/ 3945526 w 6123188"/>
                <a:gd name="connsiteY888" fmla="*/ 5072476 h 6421008"/>
                <a:gd name="connsiteX889" fmla="*/ 3955056 w 6123188"/>
                <a:gd name="connsiteY889" fmla="*/ 5086772 h 6421008"/>
                <a:gd name="connsiteX890" fmla="*/ 3959822 w 6123188"/>
                <a:gd name="connsiteY890" fmla="*/ 5096302 h 6421008"/>
                <a:gd name="connsiteX891" fmla="*/ 3959822 w 6123188"/>
                <a:gd name="connsiteY891" fmla="*/ 5115364 h 6421008"/>
                <a:gd name="connsiteX892" fmla="*/ 3955056 w 6123188"/>
                <a:gd name="connsiteY892" fmla="*/ 5134424 h 6421008"/>
                <a:gd name="connsiteX893" fmla="*/ 3955056 w 6123188"/>
                <a:gd name="connsiteY893" fmla="*/ 5148720 h 6421008"/>
                <a:gd name="connsiteX894" fmla="*/ 3969352 w 6123188"/>
                <a:gd name="connsiteY894" fmla="*/ 5177310 h 6421008"/>
                <a:gd name="connsiteX895" fmla="*/ 3969352 w 6123188"/>
                <a:gd name="connsiteY895" fmla="*/ 5210666 h 6421008"/>
                <a:gd name="connsiteX896" fmla="*/ 3974116 w 6123188"/>
                <a:gd name="connsiteY896" fmla="*/ 5224960 h 6421008"/>
                <a:gd name="connsiteX897" fmla="*/ 3974116 w 6123188"/>
                <a:gd name="connsiteY897" fmla="*/ 5234492 h 6421008"/>
                <a:gd name="connsiteX898" fmla="*/ 3969352 w 6123188"/>
                <a:gd name="connsiteY898" fmla="*/ 5248786 h 6421008"/>
                <a:gd name="connsiteX899" fmla="*/ 3974116 w 6123188"/>
                <a:gd name="connsiteY899" fmla="*/ 5267848 h 6421008"/>
                <a:gd name="connsiteX900" fmla="*/ 3964586 w 6123188"/>
                <a:gd name="connsiteY900" fmla="*/ 5301204 h 6421008"/>
                <a:gd name="connsiteX901" fmla="*/ 3969352 w 6123188"/>
                <a:gd name="connsiteY901" fmla="*/ 5344088 h 6421008"/>
                <a:gd name="connsiteX902" fmla="*/ 3964586 w 6123188"/>
                <a:gd name="connsiteY902" fmla="*/ 5391740 h 6421008"/>
                <a:gd name="connsiteX903" fmla="*/ 3959822 w 6123188"/>
                <a:gd name="connsiteY903" fmla="*/ 5415566 h 6421008"/>
                <a:gd name="connsiteX904" fmla="*/ 3955056 w 6123188"/>
                <a:gd name="connsiteY904" fmla="*/ 5429862 h 6421008"/>
                <a:gd name="connsiteX905" fmla="*/ 3935996 w 6123188"/>
                <a:gd name="connsiteY905" fmla="*/ 5453688 h 6421008"/>
                <a:gd name="connsiteX906" fmla="*/ 3935996 w 6123188"/>
                <a:gd name="connsiteY906" fmla="*/ 5477512 h 6421008"/>
                <a:gd name="connsiteX907" fmla="*/ 3902640 w 6123188"/>
                <a:gd name="connsiteY907" fmla="*/ 5501338 h 6421008"/>
                <a:gd name="connsiteX908" fmla="*/ 3864518 w 6123188"/>
                <a:gd name="connsiteY908" fmla="*/ 5529928 h 6421008"/>
                <a:gd name="connsiteX909" fmla="*/ 3831164 w 6123188"/>
                <a:gd name="connsiteY909" fmla="*/ 5568050 h 6421008"/>
                <a:gd name="connsiteX910" fmla="*/ 3788276 w 6123188"/>
                <a:gd name="connsiteY910" fmla="*/ 5620466 h 6421008"/>
                <a:gd name="connsiteX911" fmla="*/ 3745390 w 6123188"/>
                <a:gd name="connsiteY911" fmla="*/ 5696708 h 6421008"/>
                <a:gd name="connsiteX912" fmla="*/ 3702504 w 6123188"/>
                <a:gd name="connsiteY912" fmla="*/ 5811072 h 6421008"/>
                <a:gd name="connsiteX913" fmla="*/ 3654854 w 6123188"/>
                <a:gd name="connsiteY913" fmla="*/ 5896844 h 6421008"/>
                <a:gd name="connsiteX914" fmla="*/ 3635792 w 6123188"/>
                <a:gd name="connsiteY914" fmla="*/ 5930200 h 6421008"/>
                <a:gd name="connsiteX915" fmla="*/ 3607202 w 6123188"/>
                <a:gd name="connsiteY915" fmla="*/ 5963556 h 6421008"/>
                <a:gd name="connsiteX916" fmla="*/ 3569080 w 6123188"/>
                <a:gd name="connsiteY916" fmla="*/ 6001676 h 6421008"/>
                <a:gd name="connsiteX917" fmla="*/ 3521430 w 6123188"/>
                <a:gd name="connsiteY917" fmla="*/ 6044564 h 6421008"/>
                <a:gd name="connsiteX918" fmla="*/ 3469014 w 6123188"/>
                <a:gd name="connsiteY918" fmla="*/ 6082684 h 6421008"/>
                <a:gd name="connsiteX919" fmla="*/ 3449952 w 6123188"/>
                <a:gd name="connsiteY919" fmla="*/ 6096980 h 6421008"/>
                <a:gd name="connsiteX920" fmla="*/ 3430892 w 6123188"/>
                <a:gd name="connsiteY920" fmla="*/ 6120804 h 6421008"/>
                <a:gd name="connsiteX921" fmla="*/ 3426128 w 6123188"/>
                <a:gd name="connsiteY921" fmla="*/ 6111274 h 6421008"/>
                <a:gd name="connsiteX922" fmla="*/ 3430892 w 6123188"/>
                <a:gd name="connsiteY922" fmla="*/ 6092214 h 6421008"/>
                <a:gd name="connsiteX923" fmla="*/ 3430892 w 6123188"/>
                <a:gd name="connsiteY923" fmla="*/ 6082684 h 6421008"/>
                <a:gd name="connsiteX924" fmla="*/ 3426128 w 6123188"/>
                <a:gd name="connsiteY924" fmla="*/ 6068388 h 6421008"/>
                <a:gd name="connsiteX925" fmla="*/ 3440422 w 6123188"/>
                <a:gd name="connsiteY925" fmla="*/ 6063624 h 6421008"/>
                <a:gd name="connsiteX926" fmla="*/ 3454718 w 6123188"/>
                <a:gd name="connsiteY926" fmla="*/ 6073154 h 6421008"/>
                <a:gd name="connsiteX927" fmla="*/ 3464248 w 6123188"/>
                <a:gd name="connsiteY927" fmla="*/ 6068388 h 6421008"/>
                <a:gd name="connsiteX928" fmla="*/ 3469014 w 6123188"/>
                <a:gd name="connsiteY928" fmla="*/ 6063624 h 6421008"/>
                <a:gd name="connsiteX929" fmla="*/ 3488074 w 6123188"/>
                <a:gd name="connsiteY929" fmla="*/ 6058858 h 6421008"/>
                <a:gd name="connsiteX930" fmla="*/ 3526194 w 6123188"/>
                <a:gd name="connsiteY930" fmla="*/ 6015972 h 6421008"/>
                <a:gd name="connsiteX931" fmla="*/ 3550020 w 6123188"/>
                <a:gd name="connsiteY931" fmla="*/ 6001676 h 6421008"/>
                <a:gd name="connsiteX932" fmla="*/ 3569080 w 6123188"/>
                <a:gd name="connsiteY932" fmla="*/ 5977852 h 6421008"/>
                <a:gd name="connsiteX933" fmla="*/ 3569080 w 6123188"/>
                <a:gd name="connsiteY933" fmla="*/ 5963556 h 6421008"/>
                <a:gd name="connsiteX934" fmla="*/ 3569080 w 6123188"/>
                <a:gd name="connsiteY934" fmla="*/ 5934964 h 6421008"/>
                <a:gd name="connsiteX935" fmla="*/ 3578612 w 6123188"/>
                <a:gd name="connsiteY935" fmla="*/ 5930200 h 6421008"/>
                <a:gd name="connsiteX936" fmla="*/ 3597672 w 6123188"/>
                <a:gd name="connsiteY936" fmla="*/ 5934964 h 6421008"/>
                <a:gd name="connsiteX937" fmla="*/ 3602436 w 6123188"/>
                <a:gd name="connsiteY937" fmla="*/ 5925436 h 6421008"/>
                <a:gd name="connsiteX938" fmla="*/ 3597672 w 6123188"/>
                <a:gd name="connsiteY938" fmla="*/ 5915904 h 6421008"/>
                <a:gd name="connsiteX939" fmla="*/ 3602436 w 6123188"/>
                <a:gd name="connsiteY939" fmla="*/ 5896844 h 6421008"/>
                <a:gd name="connsiteX940" fmla="*/ 3631028 w 6123188"/>
                <a:gd name="connsiteY940" fmla="*/ 5882548 h 6421008"/>
                <a:gd name="connsiteX941" fmla="*/ 3640558 w 6123188"/>
                <a:gd name="connsiteY941" fmla="*/ 5863488 h 6421008"/>
                <a:gd name="connsiteX942" fmla="*/ 3640558 w 6123188"/>
                <a:gd name="connsiteY942" fmla="*/ 5811072 h 6421008"/>
                <a:gd name="connsiteX943" fmla="*/ 3645324 w 6123188"/>
                <a:gd name="connsiteY943" fmla="*/ 5811072 h 6421008"/>
                <a:gd name="connsiteX944" fmla="*/ 3654854 w 6123188"/>
                <a:gd name="connsiteY944" fmla="*/ 5815836 h 6421008"/>
                <a:gd name="connsiteX945" fmla="*/ 3659618 w 6123188"/>
                <a:gd name="connsiteY945" fmla="*/ 5815836 h 6421008"/>
                <a:gd name="connsiteX946" fmla="*/ 3664384 w 6123188"/>
                <a:gd name="connsiteY946" fmla="*/ 5792012 h 6421008"/>
                <a:gd name="connsiteX947" fmla="*/ 3664384 w 6123188"/>
                <a:gd name="connsiteY947" fmla="*/ 5777716 h 6421008"/>
                <a:gd name="connsiteX948" fmla="*/ 3650088 w 6123188"/>
                <a:gd name="connsiteY948" fmla="*/ 5777716 h 6421008"/>
                <a:gd name="connsiteX949" fmla="*/ 3607202 w 6123188"/>
                <a:gd name="connsiteY949" fmla="*/ 5801542 h 6421008"/>
                <a:gd name="connsiteX950" fmla="*/ 3592906 w 6123188"/>
                <a:gd name="connsiteY950" fmla="*/ 5801542 h 6421008"/>
                <a:gd name="connsiteX951" fmla="*/ 3588142 w 6123188"/>
                <a:gd name="connsiteY951" fmla="*/ 5782480 h 6421008"/>
                <a:gd name="connsiteX952" fmla="*/ 3564316 w 6123188"/>
                <a:gd name="connsiteY952" fmla="*/ 5772950 h 6421008"/>
                <a:gd name="connsiteX953" fmla="*/ 3559550 w 6123188"/>
                <a:gd name="connsiteY953" fmla="*/ 5753890 h 6421008"/>
                <a:gd name="connsiteX954" fmla="*/ 3554786 w 6123188"/>
                <a:gd name="connsiteY954" fmla="*/ 5744360 h 6421008"/>
                <a:gd name="connsiteX955" fmla="*/ 3550020 w 6123188"/>
                <a:gd name="connsiteY955" fmla="*/ 5739596 h 6421008"/>
                <a:gd name="connsiteX956" fmla="*/ 3550020 w 6123188"/>
                <a:gd name="connsiteY956" fmla="*/ 5758656 h 6421008"/>
                <a:gd name="connsiteX957" fmla="*/ 3550020 w 6123188"/>
                <a:gd name="connsiteY957" fmla="*/ 5777716 h 6421008"/>
                <a:gd name="connsiteX958" fmla="*/ 3569080 w 6123188"/>
                <a:gd name="connsiteY958" fmla="*/ 5801542 h 6421008"/>
                <a:gd name="connsiteX959" fmla="*/ 3564316 w 6123188"/>
                <a:gd name="connsiteY959" fmla="*/ 5811072 h 6421008"/>
                <a:gd name="connsiteX960" fmla="*/ 3554786 w 6123188"/>
                <a:gd name="connsiteY960" fmla="*/ 5820602 h 6421008"/>
                <a:gd name="connsiteX961" fmla="*/ 3550020 w 6123188"/>
                <a:gd name="connsiteY961" fmla="*/ 5839662 h 6421008"/>
                <a:gd name="connsiteX962" fmla="*/ 3550020 w 6123188"/>
                <a:gd name="connsiteY962" fmla="*/ 5868252 h 6421008"/>
                <a:gd name="connsiteX963" fmla="*/ 3545256 w 6123188"/>
                <a:gd name="connsiteY963" fmla="*/ 5863488 h 6421008"/>
                <a:gd name="connsiteX964" fmla="*/ 3540490 w 6123188"/>
                <a:gd name="connsiteY964" fmla="*/ 5853958 h 6421008"/>
                <a:gd name="connsiteX965" fmla="*/ 3535724 w 6123188"/>
                <a:gd name="connsiteY965" fmla="*/ 5887314 h 6421008"/>
                <a:gd name="connsiteX966" fmla="*/ 3521430 w 6123188"/>
                <a:gd name="connsiteY966" fmla="*/ 5901608 h 6421008"/>
                <a:gd name="connsiteX967" fmla="*/ 3516664 w 6123188"/>
                <a:gd name="connsiteY967" fmla="*/ 5911140 h 6421008"/>
                <a:gd name="connsiteX968" fmla="*/ 3521430 w 6123188"/>
                <a:gd name="connsiteY968" fmla="*/ 5925436 h 6421008"/>
                <a:gd name="connsiteX969" fmla="*/ 3516664 w 6123188"/>
                <a:gd name="connsiteY969" fmla="*/ 5934964 h 6421008"/>
                <a:gd name="connsiteX970" fmla="*/ 3483308 w 6123188"/>
                <a:gd name="connsiteY970" fmla="*/ 5958790 h 6421008"/>
                <a:gd name="connsiteX971" fmla="*/ 3449952 w 6123188"/>
                <a:gd name="connsiteY971" fmla="*/ 5977852 h 6421008"/>
                <a:gd name="connsiteX972" fmla="*/ 3440422 w 6123188"/>
                <a:gd name="connsiteY972" fmla="*/ 5987382 h 6421008"/>
                <a:gd name="connsiteX973" fmla="*/ 3440422 w 6123188"/>
                <a:gd name="connsiteY973" fmla="*/ 6006442 h 6421008"/>
                <a:gd name="connsiteX974" fmla="*/ 3435658 w 6123188"/>
                <a:gd name="connsiteY974" fmla="*/ 6025502 h 6421008"/>
                <a:gd name="connsiteX975" fmla="*/ 3421362 w 6123188"/>
                <a:gd name="connsiteY975" fmla="*/ 6044564 h 6421008"/>
                <a:gd name="connsiteX976" fmla="*/ 3407066 w 6123188"/>
                <a:gd name="connsiteY976" fmla="*/ 6077920 h 6421008"/>
                <a:gd name="connsiteX977" fmla="*/ 3407066 w 6123188"/>
                <a:gd name="connsiteY977" fmla="*/ 6092214 h 6421008"/>
                <a:gd name="connsiteX978" fmla="*/ 3411832 w 6123188"/>
                <a:gd name="connsiteY978" fmla="*/ 6116040 h 6421008"/>
                <a:gd name="connsiteX979" fmla="*/ 3416596 w 6123188"/>
                <a:gd name="connsiteY979" fmla="*/ 6130336 h 6421008"/>
                <a:gd name="connsiteX980" fmla="*/ 3407066 w 6123188"/>
                <a:gd name="connsiteY980" fmla="*/ 6139866 h 6421008"/>
                <a:gd name="connsiteX981" fmla="*/ 3397536 w 6123188"/>
                <a:gd name="connsiteY981" fmla="*/ 6158926 h 6421008"/>
                <a:gd name="connsiteX982" fmla="*/ 3383240 w 6123188"/>
                <a:gd name="connsiteY982" fmla="*/ 6177986 h 6421008"/>
                <a:gd name="connsiteX983" fmla="*/ 3359416 w 6123188"/>
                <a:gd name="connsiteY983" fmla="*/ 6258994 h 6421008"/>
                <a:gd name="connsiteX984" fmla="*/ 3335590 w 6123188"/>
                <a:gd name="connsiteY984" fmla="*/ 6311410 h 6421008"/>
                <a:gd name="connsiteX985" fmla="*/ 3321294 w 6123188"/>
                <a:gd name="connsiteY985" fmla="*/ 6335236 h 6421008"/>
                <a:gd name="connsiteX986" fmla="*/ 3292704 w 6123188"/>
                <a:gd name="connsiteY986" fmla="*/ 6359062 h 6421008"/>
                <a:gd name="connsiteX987" fmla="*/ 3225992 w 6123188"/>
                <a:gd name="connsiteY987" fmla="*/ 6421008 h 6421008"/>
                <a:gd name="connsiteX988" fmla="*/ 3221226 w 6123188"/>
                <a:gd name="connsiteY988" fmla="*/ 6421008 h 6421008"/>
                <a:gd name="connsiteX989" fmla="*/ 3211696 w 6123188"/>
                <a:gd name="connsiteY989" fmla="*/ 6416244 h 6421008"/>
                <a:gd name="connsiteX990" fmla="*/ 3202166 w 6123188"/>
                <a:gd name="connsiteY990" fmla="*/ 6411478 h 6421008"/>
                <a:gd name="connsiteX991" fmla="*/ 3197400 w 6123188"/>
                <a:gd name="connsiteY991" fmla="*/ 6406712 h 6421008"/>
                <a:gd name="connsiteX992" fmla="*/ 3197400 w 6123188"/>
                <a:gd name="connsiteY992" fmla="*/ 6401948 h 6421008"/>
                <a:gd name="connsiteX993" fmla="*/ 3197400 w 6123188"/>
                <a:gd name="connsiteY993" fmla="*/ 6387652 h 6421008"/>
                <a:gd name="connsiteX994" fmla="*/ 3202166 w 6123188"/>
                <a:gd name="connsiteY994" fmla="*/ 6387652 h 6421008"/>
                <a:gd name="connsiteX995" fmla="*/ 3211696 w 6123188"/>
                <a:gd name="connsiteY995" fmla="*/ 6382888 h 6421008"/>
                <a:gd name="connsiteX996" fmla="*/ 3211696 w 6123188"/>
                <a:gd name="connsiteY996" fmla="*/ 6373356 h 6421008"/>
                <a:gd name="connsiteX997" fmla="*/ 3211696 w 6123188"/>
                <a:gd name="connsiteY997" fmla="*/ 6349532 h 6421008"/>
                <a:gd name="connsiteX998" fmla="*/ 3211696 w 6123188"/>
                <a:gd name="connsiteY998" fmla="*/ 6325706 h 6421008"/>
                <a:gd name="connsiteX999" fmla="*/ 3216462 w 6123188"/>
                <a:gd name="connsiteY999" fmla="*/ 6316176 h 6421008"/>
                <a:gd name="connsiteX1000" fmla="*/ 3221226 w 6123188"/>
                <a:gd name="connsiteY1000" fmla="*/ 6306644 h 6421008"/>
                <a:gd name="connsiteX1001" fmla="*/ 3225992 w 6123188"/>
                <a:gd name="connsiteY1001" fmla="*/ 6301880 h 6421008"/>
                <a:gd name="connsiteX1002" fmla="*/ 3230756 w 6123188"/>
                <a:gd name="connsiteY1002" fmla="*/ 6301880 h 6421008"/>
                <a:gd name="connsiteX1003" fmla="*/ 3235522 w 6123188"/>
                <a:gd name="connsiteY1003" fmla="*/ 6297114 h 6421008"/>
                <a:gd name="connsiteX1004" fmla="*/ 3245052 w 6123188"/>
                <a:gd name="connsiteY1004" fmla="*/ 6292350 h 6421008"/>
                <a:gd name="connsiteX1005" fmla="*/ 3254582 w 6123188"/>
                <a:gd name="connsiteY1005" fmla="*/ 6278054 h 6421008"/>
                <a:gd name="connsiteX1006" fmla="*/ 3264112 w 6123188"/>
                <a:gd name="connsiteY1006" fmla="*/ 6254228 h 6421008"/>
                <a:gd name="connsiteX1007" fmla="*/ 3273644 w 6123188"/>
                <a:gd name="connsiteY1007" fmla="*/ 6249464 h 6421008"/>
                <a:gd name="connsiteX1008" fmla="*/ 3278408 w 6123188"/>
                <a:gd name="connsiteY1008" fmla="*/ 6244698 h 6421008"/>
                <a:gd name="connsiteX1009" fmla="*/ 3287938 w 6123188"/>
                <a:gd name="connsiteY1009" fmla="*/ 6249464 h 6421008"/>
                <a:gd name="connsiteX1010" fmla="*/ 3292704 w 6123188"/>
                <a:gd name="connsiteY1010" fmla="*/ 6258994 h 6421008"/>
                <a:gd name="connsiteX1011" fmla="*/ 3297468 w 6123188"/>
                <a:gd name="connsiteY1011" fmla="*/ 6268524 h 6421008"/>
                <a:gd name="connsiteX1012" fmla="*/ 3307000 w 6123188"/>
                <a:gd name="connsiteY1012" fmla="*/ 6268524 h 6421008"/>
                <a:gd name="connsiteX1013" fmla="*/ 3311764 w 6123188"/>
                <a:gd name="connsiteY1013" fmla="*/ 6268524 h 6421008"/>
                <a:gd name="connsiteX1014" fmla="*/ 3316530 w 6123188"/>
                <a:gd name="connsiteY1014" fmla="*/ 6258994 h 6421008"/>
                <a:gd name="connsiteX1015" fmla="*/ 3326060 w 6123188"/>
                <a:gd name="connsiteY1015" fmla="*/ 6249464 h 6421008"/>
                <a:gd name="connsiteX1016" fmla="*/ 3330824 w 6123188"/>
                <a:gd name="connsiteY1016" fmla="*/ 6239932 h 6421008"/>
                <a:gd name="connsiteX1017" fmla="*/ 3335590 w 6123188"/>
                <a:gd name="connsiteY1017" fmla="*/ 6225638 h 6421008"/>
                <a:gd name="connsiteX1018" fmla="*/ 3340356 w 6123188"/>
                <a:gd name="connsiteY1018" fmla="*/ 6216108 h 6421008"/>
                <a:gd name="connsiteX1019" fmla="*/ 3345120 w 6123188"/>
                <a:gd name="connsiteY1019" fmla="*/ 6206578 h 6421008"/>
                <a:gd name="connsiteX1020" fmla="*/ 3345120 w 6123188"/>
                <a:gd name="connsiteY1020" fmla="*/ 6197048 h 6421008"/>
                <a:gd name="connsiteX1021" fmla="*/ 3345120 w 6123188"/>
                <a:gd name="connsiteY1021" fmla="*/ 6192282 h 6421008"/>
                <a:gd name="connsiteX1022" fmla="*/ 3340356 w 6123188"/>
                <a:gd name="connsiteY1022" fmla="*/ 6182752 h 6421008"/>
                <a:gd name="connsiteX1023" fmla="*/ 3335590 w 6123188"/>
                <a:gd name="connsiteY1023" fmla="*/ 6173222 h 6421008"/>
                <a:gd name="connsiteX1024" fmla="*/ 3330824 w 6123188"/>
                <a:gd name="connsiteY1024" fmla="*/ 6163692 h 6421008"/>
                <a:gd name="connsiteX1025" fmla="*/ 3330824 w 6123188"/>
                <a:gd name="connsiteY1025" fmla="*/ 6144630 h 6421008"/>
                <a:gd name="connsiteX1026" fmla="*/ 3330824 w 6123188"/>
                <a:gd name="connsiteY1026" fmla="*/ 6135100 h 6421008"/>
                <a:gd name="connsiteX1027" fmla="*/ 3326060 w 6123188"/>
                <a:gd name="connsiteY1027" fmla="*/ 6135100 h 6421008"/>
                <a:gd name="connsiteX1028" fmla="*/ 3321294 w 6123188"/>
                <a:gd name="connsiteY1028" fmla="*/ 6139866 h 6421008"/>
                <a:gd name="connsiteX1029" fmla="*/ 3316530 w 6123188"/>
                <a:gd name="connsiteY1029" fmla="*/ 6149396 h 6421008"/>
                <a:gd name="connsiteX1030" fmla="*/ 3316530 w 6123188"/>
                <a:gd name="connsiteY1030" fmla="*/ 6154160 h 6421008"/>
                <a:gd name="connsiteX1031" fmla="*/ 3311764 w 6123188"/>
                <a:gd name="connsiteY1031" fmla="*/ 6163692 h 6421008"/>
                <a:gd name="connsiteX1032" fmla="*/ 3311764 w 6123188"/>
                <a:gd name="connsiteY1032" fmla="*/ 6168456 h 6421008"/>
                <a:gd name="connsiteX1033" fmla="*/ 3302234 w 6123188"/>
                <a:gd name="connsiteY1033" fmla="*/ 6177986 h 6421008"/>
                <a:gd name="connsiteX1034" fmla="*/ 3287938 w 6123188"/>
                <a:gd name="connsiteY1034" fmla="*/ 6187516 h 6421008"/>
                <a:gd name="connsiteX1035" fmla="*/ 3283174 w 6123188"/>
                <a:gd name="connsiteY1035" fmla="*/ 6197048 h 6421008"/>
                <a:gd name="connsiteX1036" fmla="*/ 3278408 w 6123188"/>
                <a:gd name="connsiteY1036" fmla="*/ 6211342 h 6421008"/>
                <a:gd name="connsiteX1037" fmla="*/ 3268878 w 6123188"/>
                <a:gd name="connsiteY1037" fmla="*/ 6211342 h 6421008"/>
                <a:gd name="connsiteX1038" fmla="*/ 3259348 w 6123188"/>
                <a:gd name="connsiteY1038" fmla="*/ 6220872 h 6421008"/>
                <a:gd name="connsiteX1039" fmla="*/ 3254582 w 6123188"/>
                <a:gd name="connsiteY1039" fmla="*/ 6220872 h 6421008"/>
                <a:gd name="connsiteX1040" fmla="*/ 3245052 w 6123188"/>
                <a:gd name="connsiteY1040" fmla="*/ 6216108 h 6421008"/>
                <a:gd name="connsiteX1041" fmla="*/ 3225992 w 6123188"/>
                <a:gd name="connsiteY1041" fmla="*/ 6206578 h 6421008"/>
                <a:gd name="connsiteX1042" fmla="*/ 3206932 w 6123188"/>
                <a:gd name="connsiteY1042" fmla="*/ 6192282 h 6421008"/>
                <a:gd name="connsiteX1043" fmla="*/ 3187870 w 6123188"/>
                <a:gd name="connsiteY1043" fmla="*/ 6173222 h 6421008"/>
                <a:gd name="connsiteX1044" fmla="*/ 3178340 w 6123188"/>
                <a:gd name="connsiteY1044" fmla="*/ 6154160 h 6421008"/>
                <a:gd name="connsiteX1045" fmla="*/ 3173576 w 6123188"/>
                <a:gd name="connsiteY1045" fmla="*/ 6135100 h 6421008"/>
                <a:gd name="connsiteX1046" fmla="*/ 3164046 w 6123188"/>
                <a:gd name="connsiteY1046" fmla="*/ 6116040 h 6421008"/>
                <a:gd name="connsiteX1047" fmla="*/ 3164046 w 6123188"/>
                <a:gd name="connsiteY1047" fmla="*/ 6111274 h 6421008"/>
                <a:gd name="connsiteX1048" fmla="*/ 3154516 w 6123188"/>
                <a:gd name="connsiteY1048" fmla="*/ 6106510 h 6421008"/>
                <a:gd name="connsiteX1049" fmla="*/ 3144984 w 6123188"/>
                <a:gd name="connsiteY1049" fmla="*/ 6096980 h 6421008"/>
                <a:gd name="connsiteX1050" fmla="*/ 3140220 w 6123188"/>
                <a:gd name="connsiteY1050" fmla="*/ 6092214 h 6421008"/>
                <a:gd name="connsiteX1051" fmla="*/ 3125924 w 6123188"/>
                <a:gd name="connsiteY1051" fmla="*/ 6087448 h 6421008"/>
                <a:gd name="connsiteX1052" fmla="*/ 3111628 w 6123188"/>
                <a:gd name="connsiteY1052" fmla="*/ 6082684 h 6421008"/>
                <a:gd name="connsiteX1053" fmla="*/ 3092568 w 6123188"/>
                <a:gd name="connsiteY1053" fmla="*/ 6073154 h 6421008"/>
                <a:gd name="connsiteX1054" fmla="*/ 3068742 w 6123188"/>
                <a:gd name="connsiteY1054" fmla="*/ 6054092 h 6421008"/>
                <a:gd name="connsiteX1055" fmla="*/ 3049682 w 6123188"/>
                <a:gd name="connsiteY1055" fmla="*/ 6030268 h 6421008"/>
                <a:gd name="connsiteX1056" fmla="*/ 3044916 w 6123188"/>
                <a:gd name="connsiteY1056" fmla="*/ 6015972 h 6421008"/>
                <a:gd name="connsiteX1057" fmla="*/ 3035386 w 6123188"/>
                <a:gd name="connsiteY1057" fmla="*/ 6006442 h 6421008"/>
                <a:gd name="connsiteX1058" fmla="*/ 2987736 w 6123188"/>
                <a:gd name="connsiteY1058" fmla="*/ 5987382 h 6421008"/>
                <a:gd name="connsiteX1059" fmla="*/ 2963910 w 6123188"/>
                <a:gd name="connsiteY1059" fmla="*/ 5968320 h 6421008"/>
                <a:gd name="connsiteX1060" fmla="*/ 2954380 w 6123188"/>
                <a:gd name="connsiteY1060" fmla="*/ 5973086 h 6421008"/>
                <a:gd name="connsiteX1061" fmla="*/ 2944850 w 6123188"/>
                <a:gd name="connsiteY1061" fmla="*/ 5968320 h 6421008"/>
                <a:gd name="connsiteX1062" fmla="*/ 2930554 w 6123188"/>
                <a:gd name="connsiteY1062" fmla="*/ 5958790 h 6421008"/>
                <a:gd name="connsiteX1063" fmla="*/ 2925788 w 6123188"/>
                <a:gd name="connsiteY1063" fmla="*/ 5949260 h 6421008"/>
                <a:gd name="connsiteX1064" fmla="*/ 2921024 w 6123188"/>
                <a:gd name="connsiteY1064" fmla="*/ 5939730 h 6421008"/>
                <a:gd name="connsiteX1065" fmla="*/ 2916258 w 6123188"/>
                <a:gd name="connsiteY1065" fmla="*/ 5930200 h 6421008"/>
                <a:gd name="connsiteX1066" fmla="*/ 2911494 w 6123188"/>
                <a:gd name="connsiteY1066" fmla="*/ 5925436 h 6421008"/>
                <a:gd name="connsiteX1067" fmla="*/ 2897198 w 6123188"/>
                <a:gd name="connsiteY1067" fmla="*/ 5911140 h 6421008"/>
                <a:gd name="connsiteX1068" fmla="*/ 2882902 w 6123188"/>
                <a:gd name="connsiteY1068" fmla="*/ 5892080 h 6421008"/>
                <a:gd name="connsiteX1069" fmla="*/ 2873372 w 6123188"/>
                <a:gd name="connsiteY1069" fmla="*/ 5887314 h 6421008"/>
                <a:gd name="connsiteX1070" fmla="*/ 2873372 w 6123188"/>
                <a:gd name="connsiteY1070" fmla="*/ 5892080 h 6421008"/>
                <a:gd name="connsiteX1071" fmla="*/ 2868608 w 6123188"/>
                <a:gd name="connsiteY1071" fmla="*/ 5896844 h 6421008"/>
                <a:gd name="connsiteX1072" fmla="*/ 2863842 w 6123188"/>
                <a:gd name="connsiteY1072" fmla="*/ 5901608 h 6421008"/>
                <a:gd name="connsiteX1073" fmla="*/ 2859076 w 6123188"/>
                <a:gd name="connsiteY1073" fmla="*/ 5906374 h 6421008"/>
                <a:gd name="connsiteX1074" fmla="*/ 2849546 w 6123188"/>
                <a:gd name="connsiteY1074" fmla="*/ 5911140 h 6421008"/>
                <a:gd name="connsiteX1075" fmla="*/ 2844782 w 6123188"/>
                <a:gd name="connsiteY1075" fmla="*/ 5920670 h 6421008"/>
                <a:gd name="connsiteX1076" fmla="*/ 2835252 w 6123188"/>
                <a:gd name="connsiteY1076" fmla="*/ 5930200 h 6421008"/>
                <a:gd name="connsiteX1077" fmla="*/ 2820956 w 6123188"/>
                <a:gd name="connsiteY1077" fmla="*/ 5930200 h 6421008"/>
                <a:gd name="connsiteX1078" fmla="*/ 2811426 w 6123188"/>
                <a:gd name="connsiteY1078" fmla="*/ 5930200 h 6421008"/>
                <a:gd name="connsiteX1079" fmla="*/ 2811426 w 6123188"/>
                <a:gd name="connsiteY1079" fmla="*/ 5925436 h 6421008"/>
                <a:gd name="connsiteX1080" fmla="*/ 2811426 w 6123188"/>
                <a:gd name="connsiteY1080" fmla="*/ 5915904 h 6421008"/>
                <a:gd name="connsiteX1081" fmla="*/ 2811426 w 6123188"/>
                <a:gd name="connsiteY1081" fmla="*/ 5887314 h 6421008"/>
                <a:gd name="connsiteX1082" fmla="*/ 2806660 w 6123188"/>
                <a:gd name="connsiteY1082" fmla="*/ 5873018 h 6421008"/>
                <a:gd name="connsiteX1083" fmla="*/ 2797130 w 6123188"/>
                <a:gd name="connsiteY1083" fmla="*/ 5863488 h 6421008"/>
                <a:gd name="connsiteX1084" fmla="*/ 2787600 w 6123188"/>
                <a:gd name="connsiteY1084" fmla="*/ 5849192 h 6421008"/>
                <a:gd name="connsiteX1085" fmla="*/ 2749480 w 6123188"/>
                <a:gd name="connsiteY1085" fmla="*/ 5815836 h 6421008"/>
                <a:gd name="connsiteX1086" fmla="*/ 2701828 w 6123188"/>
                <a:gd name="connsiteY1086" fmla="*/ 5768186 h 6421008"/>
                <a:gd name="connsiteX1087" fmla="*/ 2682768 w 6123188"/>
                <a:gd name="connsiteY1087" fmla="*/ 5753890 h 6421008"/>
                <a:gd name="connsiteX1088" fmla="*/ 2668472 w 6123188"/>
                <a:gd name="connsiteY1088" fmla="*/ 5753890 h 6421008"/>
                <a:gd name="connsiteX1089" fmla="*/ 2654176 w 6123188"/>
                <a:gd name="connsiteY1089" fmla="*/ 5753890 h 6421008"/>
                <a:gd name="connsiteX1090" fmla="*/ 2639882 w 6123188"/>
                <a:gd name="connsiteY1090" fmla="*/ 5758656 h 6421008"/>
                <a:gd name="connsiteX1091" fmla="*/ 2630352 w 6123188"/>
                <a:gd name="connsiteY1091" fmla="*/ 5782480 h 6421008"/>
                <a:gd name="connsiteX1092" fmla="*/ 2625586 w 6123188"/>
                <a:gd name="connsiteY1092" fmla="*/ 5787246 h 6421008"/>
                <a:gd name="connsiteX1093" fmla="*/ 2596996 w 6123188"/>
                <a:gd name="connsiteY1093" fmla="*/ 5782480 h 6421008"/>
                <a:gd name="connsiteX1094" fmla="*/ 2568404 w 6123188"/>
                <a:gd name="connsiteY1094" fmla="*/ 5782480 h 6421008"/>
                <a:gd name="connsiteX1095" fmla="*/ 2563640 w 6123188"/>
                <a:gd name="connsiteY1095" fmla="*/ 5768186 h 6421008"/>
                <a:gd name="connsiteX1096" fmla="*/ 2568404 w 6123188"/>
                <a:gd name="connsiteY1096" fmla="*/ 5758656 h 6421008"/>
                <a:gd name="connsiteX1097" fmla="*/ 2592230 w 6123188"/>
                <a:gd name="connsiteY1097" fmla="*/ 5739596 h 6421008"/>
                <a:gd name="connsiteX1098" fmla="*/ 2606526 w 6123188"/>
                <a:gd name="connsiteY1098" fmla="*/ 5725300 h 6421008"/>
                <a:gd name="connsiteX1099" fmla="*/ 2611290 w 6123188"/>
                <a:gd name="connsiteY1099" fmla="*/ 5711004 h 6421008"/>
                <a:gd name="connsiteX1100" fmla="*/ 2620820 w 6123188"/>
                <a:gd name="connsiteY1100" fmla="*/ 5696708 h 6421008"/>
                <a:gd name="connsiteX1101" fmla="*/ 2644646 w 6123188"/>
                <a:gd name="connsiteY1101" fmla="*/ 5682414 h 6421008"/>
                <a:gd name="connsiteX1102" fmla="*/ 2668472 w 6123188"/>
                <a:gd name="connsiteY1102" fmla="*/ 5663352 h 6421008"/>
                <a:gd name="connsiteX1103" fmla="*/ 2692298 w 6123188"/>
                <a:gd name="connsiteY1103" fmla="*/ 5629996 h 6421008"/>
                <a:gd name="connsiteX1104" fmla="*/ 2706592 w 6123188"/>
                <a:gd name="connsiteY1104" fmla="*/ 5606172 h 6421008"/>
                <a:gd name="connsiteX1105" fmla="*/ 2716124 w 6123188"/>
                <a:gd name="connsiteY1105" fmla="*/ 5591876 h 6421008"/>
                <a:gd name="connsiteX1106" fmla="*/ 2725654 w 6123188"/>
                <a:gd name="connsiteY1106" fmla="*/ 5577580 h 6421008"/>
                <a:gd name="connsiteX1107" fmla="*/ 2739948 w 6123188"/>
                <a:gd name="connsiteY1107" fmla="*/ 5572816 h 6421008"/>
                <a:gd name="connsiteX1108" fmla="*/ 2754244 w 6123188"/>
                <a:gd name="connsiteY1108" fmla="*/ 5553756 h 6421008"/>
                <a:gd name="connsiteX1109" fmla="*/ 2763774 w 6123188"/>
                <a:gd name="connsiteY1109" fmla="*/ 5529928 h 6421008"/>
                <a:gd name="connsiteX1110" fmla="*/ 2778070 w 6123188"/>
                <a:gd name="connsiteY1110" fmla="*/ 5506104 h 6421008"/>
                <a:gd name="connsiteX1111" fmla="*/ 2797130 w 6123188"/>
                <a:gd name="connsiteY1111" fmla="*/ 5491808 h 6421008"/>
                <a:gd name="connsiteX1112" fmla="*/ 2806660 w 6123188"/>
                <a:gd name="connsiteY1112" fmla="*/ 5482278 h 6421008"/>
                <a:gd name="connsiteX1113" fmla="*/ 2811426 w 6123188"/>
                <a:gd name="connsiteY1113" fmla="*/ 5467982 h 6421008"/>
                <a:gd name="connsiteX1114" fmla="*/ 2816192 w 6123188"/>
                <a:gd name="connsiteY1114" fmla="*/ 5463218 h 6421008"/>
                <a:gd name="connsiteX1115" fmla="*/ 2825722 w 6123188"/>
                <a:gd name="connsiteY1115" fmla="*/ 5463218 h 6421008"/>
                <a:gd name="connsiteX1116" fmla="*/ 2830486 w 6123188"/>
                <a:gd name="connsiteY1116" fmla="*/ 5453688 h 6421008"/>
                <a:gd name="connsiteX1117" fmla="*/ 2830486 w 6123188"/>
                <a:gd name="connsiteY1117" fmla="*/ 5448922 h 6421008"/>
                <a:gd name="connsiteX1118" fmla="*/ 2830486 w 6123188"/>
                <a:gd name="connsiteY1118" fmla="*/ 5444156 h 6421008"/>
                <a:gd name="connsiteX1119" fmla="*/ 2835252 w 6123188"/>
                <a:gd name="connsiteY1119" fmla="*/ 5439392 h 6421008"/>
                <a:gd name="connsiteX1120" fmla="*/ 2844782 w 6123188"/>
                <a:gd name="connsiteY1120" fmla="*/ 5439392 h 6421008"/>
                <a:gd name="connsiteX1121" fmla="*/ 2854312 w 6123188"/>
                <a:gd name="connsiteY1121" fmla="*/ 5444156 h 6421008"/>
                <a:gd name="connsiteX1122" fmla="*/ 2863842 w 6123188"/>
                <a:gd name="connsiteY1122" fmla="*/ 5444156 h 6421008"/>
                <a:gd name="connsiteX1123" fmla="*/ 2863842 w 6123188"/>
                <a:gd name="connsiteY1123" fmla="*/ 5439392 h 6421008"/>
                <a:gd name="connsiteX1124" fmla="*/ 2863842 w 6123188"/>
                <a:gd name="connsiteY1124" fmla="*/ 5429862 h 6421008"/>
                <a:gd name="connsiteX1125" fmla="*/ 2854312 w 6123188"/>
                <a:gd name="connsiteY1125" fmla="*/ 5420332 h 6421008"/>
                <a:gd name="connsiteX1126" fmla="*/ 2854312 w 6123188"/>
                <a:gd name="connsiteY1126" fmla="*/ 5410800 h 6421008"/>
                <a:gd name="connsiteX1127" fmla="*/ 2878138 w 6123188"/>
                <a:gd name="connsiteY1127" fmla="*/ 5396506 h 6421008"/>
                <a:gd name="connsiteX1128" fmla="*/ 2897198 w 6123188"/>
                <a:gd name="connsiteY1128" fmla="*/ 5391740 h 6421008"/>
                <a:gd name="connsiteX1129" fmla="*/ 2906728 w 6123188"/>
                <a:gd name="connsiteY1129" fmla="*/ 5382210 h 6421008"/>
                <a:gd name="connsiteX1130" fmla="*/ 2916258 w 6123188"/>
                <a:gd name="connsiteY1130" fmla="*/ 5367916 h 6421008"/>
                <a:gd name="connsiteX1131" fmla="*/ 2930554 w 6123188"/>
                <a:gd name="connsiteY1131" fmla="*/ 5358384 h 6421008"/>
                <a:gd name="connsiteX1132" fmla="*/ 2954380 w 6123188"/>
                <a:gd name="connsiteY1132" fmla="*/ 5353620 h 6421008"/>
                <a:gd name="connsiteX1133" fmla="*/ 2959144 w 6123188"/>
                <a:gd name="connsiteY1133" fmla="*/ 5348854 h 6421008"/>
                <a:gd name="connsiteX1134" fmla="*/ 2959144 w 6123188"/>
                <a:gd name="connsiteY1134" fmla="*/ 5339324 h 6421008"/>
                <a:gd name="connsiteX1135" fmla="*/ 2963910 w 6123188"/>
                <a:gd name="connsiteY1135" fmla="*/ 5334560 h 6421008"/>
                <a:gd name="connsiteX1136" fmla="*/ 2978206 w 6123188"/>
                <a:gd name="connsiteY1136" fmla="*/ 5334560 h 6421008"/>
                <a:gd name="connsiteX1137" fmla="*/ 2982970 w 6123188"/>
                <a:gd name="connsiteY1137" fmla="*/ 5325028 h 6421008"/>
                <a:gd name="connsiteX1138" fmla="*/ 2982970 w 6123188"/>
                <a:gd name="connsiteY1138" fmla="*/ 5315498 h 6421008"/>
                <a:gd name="connsiteX1139" fmla="*/ 2987736 w 6123188"/>
                <a:gd name="connsiteY1139" fmla="*/ 5305968 h 6421008"/>
                <a:gd name="connsiteX1140" fmla="*/ 2997266 w 6123188"/>
                <a:gd name="connsiteY1140" fmla="*/ 5296438 h 6421008"/>
                <a:gd name="connsiteX1141" fmla="*/ 3006796 w 6123188"/>
                <a:gd name="connsiteY1141" fmla="*/ 5296438 h 6421008"/>
                <a:gd name="connsiteX1142" fmla="*/ 3011562 w 6123188"/>
                <a:gd name="connsiteY1142" fmla="*/ 5296438 h 6421008"/>
                <a:gd name="connsiteX1143" fmla="*/ 3021092 w 6123188"/>
                <a:gd name="connsiteY1143" fmla="*/ 5291672 h 6421008"/>
                <a:gd name="connsiteX1144" fmla="*/ 3030622 w 6123188"/>
                <a:gd name="connsiteY1144" fmla="*/ 5286908 h 6421008"/>
                <a:gd name="connsiteX1145" fmla="*/ 3040152 w 6123188"/>
                <a:gd name="connsiteY1145" fmla="*/ 5282142 h 6421008"/>
                <a:gd name="connsiteX1146" fmla="*/ 3049682 w 6123188"/>
                <a:gd name="connsiteY1146" fmla="*/ 5282142 h 6421008"/>
                <a:gd name="connsiteX1147" fmla="*/ 3054448 w 6123188"/>
                <a:gd name="connsiteY1147" fmla="*/ 5277378 h 6421008"/>
                <a:gd name="connsiteX1148" fmla="*/ 3073508 w 6123188"/>
                <a:gd name="connsiteY1148" fmla="*/ 5277378 h 6421008"/>
                <a:gd name="connsiteX1149" fmla="*/ 3087804 w 6123188"/>
                <a:gd name="connsiteY1149" fmla="*/ 5267848 h 6421008"/>
                <a:gd name="connsiteX1150" fmla="*/ 3092568 w 6123188"/>
                <a:gd name="connsiteY1150" fmla="*/ 5253552 h 6421008"/>
                <a:gd name="connsiteX1151" fmla="*/ 3102098 w 6123188"/>
                <a:gd name="connsiteY1151" fmla="*/ 5244022 h 6421008"/>
                <a:gd name="connsiteX1152" fmla="*/ 3106864 w 6123188"/>
                <a:gd name="connsiteY1152" fmla="*/ 5248786 h 6421008"/>
                <a:gd name="connsiteX1153" fmla="*/ 3121160 w 6123188"/>
                <a:gd name="connsiteY1153" fmla="*/ 5244022 h 6421008"/>
                <a:gd name="connsiteX1154" fmla="*/ 3135454 w 6123188"/>
                <a:gd name="connsiteY1154" fmla="*/ 5229726 h 6421008"/>
                <a:gd name="connsiteX1155" fmla="*/ 3140220 w 6123188"/>
                <a:gd name="connsiteY1155" fmla="*/ 5229726 h 6421008"/>
                <a:gd name="connsiteX1156" fmla="*/ 3149750 w 6123188"/>
                <a:gd name="connsiteY1156" fmla="*/ 5220196 h 6421008"/>
                <a:gd name="connsiteX1157" fmla="*/ 3164046 w 6123188"/>
                <a:gd name="connsiteY1157" fmla="*/ 5196370 h 6421008"/>
                <a:gd name="connsiteX1158" fmla="*/ 3168810 w 6123188"/>
                <a:gd name="connsiteY1158" fmla="*/ 5182076 h 6421008"/>
                <a:gd name="connsiteX1159" fmla="*/ 3168810 w 6123188"/>
                <a:gd name="connsiteY1159" fmla="*/ 5167780 h 6421008"/>
                <a:gd name="connsiteX1160" fmla="*/ 3164046 w 6123188"/>
                <a:gd name="connsiteY1160" fmla="*/ 5158250 h 6421008"/>
                <a:gd name="connsiteX1161" fmla="*/ 3164046 w 6123188"/>
                <a:gd name="connsiteY1161" fmla="*/ 5143954 h 6421008"/>
                <a:gd name="connsiteX1162" fmla="*/ 3168810 w 6123188"/>
                <a:gd name="connsiteY1162" fmla="*/ 5105832 h 6421008"/>
                <a:gd name="connsiteX1163" fmla="*/ 3168810 w 6123188"/>
                <a:gd name="connsiteY1163" fmla="*/ 5086772 h 6421008"/>
                <a:gd name="connsiteX1164" fmla="*/ 3178340 w 6123188"/>
                <a:gd name="connsiteY1164" fmla="*/ 5077242 h 6421008"/>
                <a:gd name="connsiteX1165" fmla="*/ 3178340 w 6123188"/>
                <a:gd name="connsiteY1165" fmla="*/ 5067712 h 6421008"/>
                <a:gd name="connsiteX1166" fmla="*/ 3164046 w 6123188"/>
                <a:gd name="connsiteY1166" fmla="*/ 5039120 h 6421008"/>
                <a:gd name="connsiteX1167" fmla="*/ 3154516 w 6123188"/>
                <a:gd name="connsiteY1167" fmla="*/ 5020060 h 6421008"/>
                <a:gd name="connsiteX1168" fmla="*/ 3144984 w 6123188"/>
                <a:gd name="connsiteY1168" fmla="*/ 4981940 h 6421008"/>
                <a:gd name="connsiteX1169" fmla="*/ 3144984 w 6123188"/>
                <a:gd name="connsiteY1169" fmla="*/ 4967644 h 6421008"/>
                <a:gd name="connsiteX1170" fmla="*/ 3130690 w 6123188"/>
                <a:gd name="connsiteY1170" fmla="*/ 4967644 h 6421008"/>
                <a:gd name="connsiteX1171" fmla="*/ 3125924 w 6123188"/>
                <a:gd name="connsiteY1171" fmla="*/ 4953348 h 6421008"/>
                <a:gd name="connsiteX1172" fmla="*/ 3111628 w 6123188"/>
                <a:gd name="connsiteY1172" fmla="*/ 4953348 h 6421008"/>
                <a:gd name="connsiteX1173" fmla="*/ 3106864 w 6123188"/>
                <a:gd name="connsiteY1173" fmla="*/ 4948584 h 6421008"/>
                <a:gd name="connsiteX1174" fmla="*/ 3102098 w 6123188"/>
                <a:gd name="connsiteY1174" fmla="*/ 4943818 h 6421008"/>
                <a:gd name="connsiteX1175" fmla="*/ 3092568 w 6123188"/>
                <a:gd name="connsiteY1175" fmla="*/ 4943818 h 6421008"/>
                <a:gd name="connsiteX1176" fmla="*/ 3087804 w 6123188"/>
                <a:gd name="connsiteY1176" fmla="*/ 4953348 h 6421008"/>
                <a:gd name="connsiteX1177" fmla="*/ 3073508 w 6123188"/>
                <a:gd name="connsiteY1177" fmla="*/ 4953348 h 6421008"/>
                <a:gd name="connsiteX1178" fmla="*/ 3063978 w 6123188"/>
                <a:gd name="connsiteY1178" fmla="*/ 4953348 h 6421008"/>
                <a:gd name="connsiteX1179" fmla="*/ 3054448 w 6123188"/>
                <a:gd name="connsiteY1179" fmla="*/ 4962880 h 6421008"/>
                <a:gd name="connsiteX1180" fmla="*/ 3049682 w 6123188"/>
                <a:gd name="connsiteY1180" fmla="*/ 4958114 h 6421008"/>
                <a:gd name="connsiteX1181" fmla="*/ 3040152 w 6123188"/>
                <a:gd name="connsiteY1181" fmla="*/ 4953348 h 6421008"/>
                <a:gd name="connsiteX1182" fmla="*/ 3030622 w 6123188"/>
                <a:gd name="connsiteY1182" fmla="*/ 4953348 h 6421008"/>
                <a:gd name="connsiteX1183" fmla="*/ 3030622 w 6123188"/>
                <a:gd name="connsiteY1183" fmla="*/ 4929524 h 6421008"/>
                <a:gd name="connsiteX1184" fmla="*/ 3049682 w 6123188"/>
                <a:gd name="connsiteY1184" fmla="*/ 4891402 h 6421008"/>
                <a:gd name="connsiteX1185" fmla="*/ 3059212 w 6123188"/>
                <a:gd name="connsiteY1185" fmla="*/ 4872342 h 6421008"/>
                <a:gd name="connsiteX1186" fmla="*/ 3054448 w 6123188"/>
                <a:gd name="connsiteY1186" fmla="*/ 4862812 h 6421008"/>
                <a:gd name="connsiteX1187" fmla="*/ 3063978 w 6123188"/>
                <a:gd name="connsiteY1187" fmla="*/ 4829456 h 6421008"/>
                <a:gd name="connsiteX1188" fmla="*/ 3078272 w 6123188"/>
                <a:gd name="connsiteY1188" fmla="*/ 4772274 h 6421008"/>
                <a:gd name="connsiteX1189" fmla="*/ 3083038 w 6123188"/>
                <a:gd name="connsiteY1189" fmla="*/ 4734152 h 6421008"/>
                <a:gd name="connsiteX1190" fmla="*/ 3078272 w 6123188"/>
                <a:gd name="connsiteY1190" fmla="*/ 4715092 h 6421008"/>
                <a:gd name="connsiteX1191" fmla="*/ 3078272 w 6123188"/>
                <a:gd name="connsiteY1191" fmla="*/ 4705562 h 6421008"/>
                <a:gd name="connsiteX1192" fmla="*/ 3083038 w 6123188"/>
                <a:gd name="connsiteY1192" fmla="*/ 4691268 h 6421008"/>
                <a:gd name="connsiteX1193" fmla="*/ 3087804 w 6123188"/>
                <a:gd name="connsiteY1193" fmla="*/ 4691268 h 6421008"/>
                <a:gd name="connsiteX1194" fmla="*/ 3068742 w 6123188"/>
                <a:gd name="connsiteY1194" fmla="*/ 4676972 h 6421008"/>
                <a:gd name="connsiteX1195" fmla="*/ 3059212 w 6123188"/>
                <a:gd name="connsiteY1195" fmla="*/ 4662676 h 6421008"/>
                <a:gd name="connsiteX1196" fmla="*/ 3044916 w 6123188"/>
                <a:gd name="connsiteY1196" fmla="*/ 4657912 h 6421008"/>
                <a:gd name="connsiteX1197" fmla="*/ 3030622 w 6123188"/>
                <a:gd name="connsiteY1197" fmla="*/ 4648380 h 6421008"/>
                <a:gd name="connsiteX1198" fmla="*/ 3021092 w 6123188"/>
                <a:gd name="connsiteY1198" fmla="*/ 4653146 h 6421008"/>
                <a:gd name="connsiteX1199" fmla="*/ 3011562 w 6123188"/>
                <a:gd name="connsiteY1199" fmla="*/ 4657912 h 6421008"/>
                <a:gd name="connsiteX1200" fmla="*/ 2997266 w 6123188"/>
                <a:gd name="connsiteY1200" fmla="*/ 4662676 h 6421008"/>
                <a:gd name="connsiteX1201" fmla="*/ 2982970 w 6123188"/>
                <a:gd name="connsiteY1201" fmla="*/ 4672206 h 6421008"/>
                <a:gd name="connsiteX1202" fmla="*/ 2973440 w 6123188"/>
                <a:gd name="connsiteY1202" fmla="*/ 4676972 h 6421008"/>
                <a:gd name="connsiteX1203" fmla="*/ 2959144 w 6123188"/>
                <a:gd name="connsiteY1203" fmla="*/ 4681736 h 6421008"/>
                <a:gd name="connsiteX1204" fmla="*/ 2940084 w 6123188"/>
                <a:gd name="connsiteY1204" fmla="*/ 4686502 h 6421008"/>
                <a:gd name="connsiteX1205" fmla="*/ 2925788 w 6123188"/>
                <a:gd name="connsiteY1205" fmla="*/ 4681736 h 6421008"/>
                <a:gd name="connsiteX1206" fmla="*/ 2911494 w 6123188"/>
                <a:gd name="connsiteY1206" fmla="*/ 4681736 h 6421008"/>
                <a:gd name="connsiteX1207" fmla="*/ 2906728 w 6123188"/>
                <a:gd name="connsiteY1207" fmla="*/ 4672206 h 6421008"/>
                <a:gd name="connsiteX1208" fmla="*/ 2901964 w 6123188"/>
                <a:gd name="connsiteY1208" fmla="*/ 4657912 h 6421008"/>
                <a:gd name="connsiteX1209" fmla="*/ 2901964 w 6123188"/>
                <a:gd name="connsiteY1209" fmla="*/ 4648380 h 6421008"/>
                <a:gd name="connsiteX1210" fmla="*/ 2897198 w 6123188"/>
                <a:gd name="connsiteY1210" fmla="*/ 4629320 h 6421008"/>
                <a:gd name="connsiteX1211" fmla="*/ 2887668 w 6123188"/>
                <a:gd name="connsiteY1211" fmla="*/ 4619790 h 6421008"/>
                <a:gd name="connsiteX1212" fmla="*/ 2882902 w 6123188"/>
                <a:gd name="connsiteY1212" fmla="*/ 4610260 h 6421008"/>
                <a:gd name="connsiteX1213" fmla="*/ 2882902 w 6123188"/>
                <a:gd name="connsiteY1213" fmla="*/ 4600730 h 6421008"/>
                <a:gd name="connsiteX1214" fmla="*/ 2887668 w 6123188"/>
                <a:gd name="connsiteY1214" fmla="*/ 4591200 h 6421008"/>
                <a:gd name="connsiteX1215" fmla="*/ 2887668 w 6123188"/>
                <a:gd name="connsiteY1215" fmla="*/ 4581668 h 6421008"/>
                <a:gd name="connsiteX1216" fmla="*/ 2887668 w 6123188"/>
                <a:gd name="connsiteY1216" fmla="*/ 4572138 h 6421008"/>
                <a:gd name="connsiteX1217" fmla="*/ 2882902 w 6123188"/>
                <a:gd name="connsiteY1217" fmla="*/ 4567374 h 6421008"/>
                <a:gd name="connsiteX1218" fmla="*/ 2882902 w 6123188"/>
                <a:gd name="connsiteY1218" fmla="*/ 4553078 h 6421008"/>
                <a:gd name="connsiteX1219" fmla="*/ 2882902 w 6123188"/>
                <a:gd name="connsiteY1219" fmla="*/ 4538782 h 6421008"/>
                <a:gd name="connsiteX1220" fmla="*/ 2878138 w 6123188"/>
                <a:gd name="connsiteY1220" fmla="*/ 4529252 h 6421008"/>
                <a:gd name="connsiteX1221" fmla="*/ 2873372 w 6123188"/>
                <a:gd name="connsiteY1221" fmla="*/ 4514956 h 6421008"/>
                <a:gd name="connsiteX1222" fmla="*/ 2873372 w 6123188"/>
                <a:gd name="connsiteY1222" fmla="*/ 4505428 h 6421008"/>
                <a:gd name="connsiteX1223" fmla="*/ 2868608 w 6123188"/>
                <a:gd name="connsiteY1223" fmla="*/ 4491132 h 6421008"/>
                <a:gd name="connsiteX1224" fmla="*/ 2868608 w 6123188"/>
                <a:gd name="connsiteY1224" fmla="*/ 4481600 h 6421008"/>
                <a:gd name="connsiteX1225" fmla="*/ 2873372 w 6123188"/>
                <a:gd name="connsiteY1225" fmla="*/ 4467306 h 6421008"/>
                <a:gd name="connsiteX1226" fmla="*/ 2873372 w 6123188"/>
                <a:gd name="connsiteY1226" fmla="*/ 4457776 h 6421008"/>
                <a:gd name="connsiteX1227" fmla="*/ 2868608 w 6123188"/>
                <a:gd name="connsiteY1227" fmla="*/ 4448246 h 6421008"/>
                <a:gd name="connsiteX1228" fmla="*/ 2859076 w 6123188"/>
                <a:gd name="connsiteY1228" fmla="*/ 4443480 h 6421008"/>
                <a:gd name="connsiteX1229" fmla="*/ 2854312 w 6123188"/>
                <a:gd name="connsiteY1229" fmla="*/ 4429184 h 6421008"/>
                <a:gd name="connsiteX1230" fmla="*/ 2854312 w 6123188"/>
                <a:gd name="connsiteY1230" fmla="*/ 4410124 h 6421008"/>
                <a:gd name="connsiteX1231" fmla="*/ 2844782 w 6123188"/>
                <a:gd name="connsiteY1231" fmla="*/ 4400594 h 6421008"/>
                <a:gd name="connsiteX1232" fmla="*/ 2835252 w 6123188"/>
                <a:gd name="connsiteY1232" fmla="*/ 4395828 h 6421008"/>
                <a:gd name="connsiteX1233" fmla="*/ 2830486 w 6123188"/>
                <a:gd name="connsiteY1233" fmla="*/ 4395828 h 6421008"/>
                <a:gd name="connsiteX1234" fmla="*/ 2816192 w 6123188"/>
                <a:gd name="connsiteY1234" fmla="*/ 4391064 h 6421008"/>
                <a:gd name="connsiteX1235" fmla="*/ 2801896 w 6123188"/>
                <a:gd name="connsiteY1235" fmla="*/ 4391064 h 6421008"/>
                <a:gd name="connsiteX1236" fmla="*/ 2782836 w 6123188"/>
                <a:gd name="connsiteY1236" fmla="*/ 4391064 h 6421008"/>
                <a:gd name="connsiteX1237" fmla="*/ 2773304 w 6123188"/>
                <a:gd name="connsiteY1237" fmla="*/ 4386298 h 6421008"/>
                <a:gd name="connsiteX1238" fmla="*/ 2768540 w 6123188"/>
                <a:gd name="connsiteY1238" fmla="*/ 4381534 h 6421008"/>
                <a:gd name="connsiteX1239" fmla="*/ 2759010 w 6123188"/>
                <a:gd name="connsiteY1239" fmla="*/ 4372004 h 6421008"/>
                <a:gd name="connsiteX1240" fmla="*/ 2754244 w 6123188"/>
                <a:gd name="connsiteY1240" fmla="*/ 4357708 h 6421008"/>
                <a:gd name="connsiteX1241" fmla="*/ 2744714 w 6123188"/>
                <a:gd name="connsiteY1241" fmla="*/ 4352944 h 6421008"/>
                <a:gd name="connsiteX1242" fmla="*/ 2730418 w 6123188"/>
                <a:gd name="connsiteY1242" fmla="*/ 4357708 h 6421008"/>
                <a:gd name="connsiteX1243" fmla="*/ 2725654 w 6123188"/>
                <a:gd name="connsiteY1243" fmla="*/ 4367238 h 6421008"/>
                <a:gd name="connsiteX1244" fmla="*/ 2720888 w 6123188"/>
                <a:gd name="connsiteY1244" fmla="*/ 4372004 h 6421008"/>
                <a:gd name="connsiteX1245" fmla="*/ 2716124 w 6123188"/>
                <a:gd name="connsiteY1245" fmla="*/ 4381534 h 6421008"/>
                <a:gd name="connsiteX1246" fmla="*/ 2701828 w 6123188"/>
                <a:gd name="connsiteY1246" fmla="*/ 4381534 h 6421008"/>
                <a:gd name="connsiteX1247" fmla="*/ 2692298 w 6123188"/>
                <a:gd name="connsiteY1247" fmla="*/ 4386298 h 6421008"/>
                <a:gd name="connsiteX1248" fmla="*/ 2682768 w 6123188"/>
                <a:gd name="connsiteY1248" fmla="*/ 4386298 h 6421008"/>
                <a:gd name="connsiteX1249" fmla="*/ 2668472 w 6123188"/>
                <a:gd name="connsiteY1249" fmla="*/ 4386298 h 6421008"/>
                <a:gd name="connsiteX1250" fmla="*/ 2654176 w 6123188"/>
                <a:gd name="connsiteY1250" fmla="*/ 4381534 h 6421008"/>
                <a:gd name="connsiteX1251" fmla="*/ 2635116 w 6123188"/>
                <a:gd name="connsiteY1251" fmla="*/ 4376768 h 6421008"/>
                <a:gd name="connsiteX1252" fmla="*/ 2620820 w 6123188"/>
                <a:gd name="connsiteY1252" fmla="*/ 4376768 h 6421008"/>
                <a:gd name="connsiteX1253" fmla="*/ 2606526 w 6123188"/>
                <a:gd name="connsiteY1253" fmla="*/ 4376768 h 6421008"/>
                <a:gd name="connsiteX1254" fmla="*/ 2596996 w 6123188"/>
                <a:gd name="connsiteY1254" fmla="*/ 4376768 h 6421008"/>
                <a:gd name="connsiteX1255" fmla="*/ 2582700 w 6123188"/>
                <a:gd name="connsiteY1255" fmla="*/ 4372004 h 6421008"/>
                <a:gd name="connsiteX1256" fmla="*/ 2568404 w 6123188"/>
                <a:gd name="connsiteY1256" fmla="*/ 4372004 h 6421008"/>
                <a:gd name="connsiteX1257" fmla="*/ 2558874 w 6123188"/>
                <a:gd name="connsiteY1257" fmla="*/ 4362472 h 6421008"/>
                <a:gd name="connsiteX1258" fmla="*/ 2544578 w 6123188"/>
                <a:gd name="connsiteY1258" fmla="*/ 4357708 h 6421008"/>
                <a:gd name="connsiteX1259" fmla="*/ 2539814 w 6123188"/>
                <a:gd name="connsiteY1259" fmla="*/ 4362472 h 6421008"/>
                <a:gd name="connsiteX1260" fmla="*/ 2530284 w 6123188"/>
                <a:gd name="connsiteY1260" fmla="*/ 4367238 h 6421008"/>
                <a:gd name="connsiteX1261" fmla="*/ 2520752 w 6123188"/>
                <a:gd name="connsiteY1261" fmla="*/ 4367238 h 6421008"/>
                <a:gd name="connsiteX1262" fmla="*/ 2506458 w 6123188"/>
                <a:gd name="connsiteY1262" fmla="*/ 4362472 h 6421008"/>
                <a:gd name="connsiteX1263" fmla="*/ 2501692 w 6123188"/>
                <a:gd name="connsiteY1263" fmla="*/ 4348178 h 6421008"/>
                <a:gd name="connsiteX1264" fmla="*/ 2506458 w 6123188"/>
                <a:gd name="connsiteY1264" fmla="*/ 4343412 h 6421008"/>
                <a:gd name="connsiteX1265" fmla="*/ 2506458 w 6123188"/>
                <a:gd name="connsiteY1265" fmla="*/ 4338648 h 6421008"/>
                <a:gd name="connsiteX1266" fmla="*/ 2511222 w 6123188"/>
                <a:gd name="connsiteY1266" fmla="*/ 4329116 h 6421008"/>
                <a:gd name="connsiteX1267" fmla="*/ 2506458 w 6123188"/>
                <a:gd name="connsiteY1267" fmla="*/ 4314822 h 6421008"/>
                <a:gd name="connsiteX1268" fmla="*/ 2511222 w 6123188"/>
                <a:gd name="connsiteY1268" fmla="*/ 4310056 h 6421008"/>
                <a:gd name="connsiteX1269" fmla="*/ 2511222 w 6123188"/>
                <a:gd name="connsiteY1269" fmla="*/ 4300526 h 6421008"/>
                <a:gd name="connsiteX1270" fmla="*/ 2515988 w 6123188"/>
                <a:gd name="connsiteY1270" fmla="*/ 4290996 h 6421008"/>
                <a:gd name="connsiteX1271" fmla="*/ 2511222 w 6123188"/>
                <a:gd name="connsiteY1271" fmla="*/ 4281466 h 6421008"/>
                <a:gd name="connsiteX1272" fmla="*/ 2511222 w 6123188"/>
                <a:gd name="connsiteY1272" fmla="*/ 4276700 h 6421008"/>
                <a:gd name="connsiteX1273" fmla="*/ 2511222 w 6123188"/>
                <a:gd name="connsiteY1273" fmla="*/ 4267170 h 6421008"/>
                <a:gd name="connsiteX1274" fmla="*/ 2511222 w 6123188"/>
                <a:gd name="connsiteY1274" fmla="*/ 4257640 h 6421008"/>
                <a:gd name="connsiteX1275" fmla="*/ 2515988 w 6123188"/>
                <a:gd name="connsiteY1275" fmla="*/ 4243344 h 6421008"/>
                <a:gd name="connsiteX1276" fmla="*/ 2520752 w 6123188"/>
                <a:gd name="connsiteY1276" fmla="*/ 4233814 h 6421008"/>
                <a:gd name="connsiteX1277" fmla="*/ 2515988 w 6123188"/>
                <a:gd name="connsiteY1277" fmla="*/ 4224284 h 6421008"/>
                <a:gd name="connsiteX1278" fmla="*/ 2520752 w 6123188"/>
                <a:gd name="connsiteY1278" fmla="*/ 4219520 h 6421008"/>
                <a:gd name="connsiteX1279" fmla="*/ 2520752 w 6123188"/>
                <a:gd name="connsiteY1279" fmla="*/ 4209988 h 6421008"/>
                <a:gd name="connsiteX1280" fmla="*/ 2530284 w 6123188"/>
                <a:gd name="connsiteY1280" fmla="*/ 4195694 h 6421008"/>
                <a:gd name="connsiteX1281" fmla="*/ 2525518 w 6123188"/>
                <a:gd name="connsiteY1281" fmla="*/ 4171868 h 6421008"/>
                <a:gd name="connsiteX1282" fmla="*/ 2520752 w 6123188"/>
                <a:gd name="connsiteY1282" fmla="*/ 4162338 h 6421008"/>
                <a:gd name="connsiteX1283" fmla="*/ 2515988 w 6123188"/>
                <a:gd name="connsiteY1283" fmla="*/ 4157572 h 6421008"/>
                <a:gd name="connsiteX1284" fmla="*/ 2515988 w 6123188"/>
                <a:gd name="connsiteY1284" fmla="*/ 4152808 h 6421008"/>
                <a:gd name="connsiteX1285" fmla="*/ 2520752 w 6123188"/>
                <a:gd name="connsiteY1285" fmla="*/ 4148042 h 6421008"/>
                <a:gd name="connsiteX1286" fmla="*/ 2515988 w 6123188"/>
                <a:gd name="connsiteY1286" fmla="*/ 4143278 h 6421008"/>
                <a:gd name="connsiteX1287" fmla="*/ 2515988 w 6123188"/>
                <a:gd name="connsiteY1287" fmla="*/ 4138512 h 6421008"/>
                <a:gd name="connsiteX1288" fmla="*/ 2515988 w 6123188"/>
                <a:gd name="connsiteY1288" fmla="*/ 4133748 h 6421008"/>
                <a:gd name="connsiteX1289" fmla="*/ 2515988 w 6123188"/>
                <a:gd name="connsiteY1289" fmla="*/ 4124216 h 6421008"/>
                <a:gd name="connsiteX1290" fmla="*/ 2506458 w 6123188"/>
                <a:gd name="connsiteY1290" fmla="*/ 4119452 h 6421008"/>
                <a:gd name="connsiteX1291" fmla="*/ 2501692 w 6123188"/>
                <a:gd name="connsiteY1291" fmla="*/ 4105156 h 6421008"/>
                <a:gd name="connsiteX1292" fmla="*/ 2501692 w 6123188"/>
                <a:gd name="connsiteY1292" fmla="*/ 4095626 h 6421008"/>
                <a:gd name="connsiteX1293" fmla="*/ 2501692 w 6123188"/>
                <a:gd name="connsiteY1293" fmla="*/ 4086096 h 6421008"/>
                <a:gd name="connsiteX1294" fmla="*/ 2496928 w 6123188"/>
                <a:gd name="connsiteY1294" fmla="*/ 4076566 h 6421008"/>
                <a:gd name="connsiteX1295" fmla="*/ 2492162 w 6123188"/>
                <a:gd name="connsiteY1295" fmla="*/ 4071800 h 6421008"/>
                <a:gd name="connsiteX1296" fmla="*/ 2487398 w 6123188"/>
                <a:gd name="connsiteY1296" fmla="*/ 4062270 h 6421008"/>
                <a:gd name="connsiteX1297" fmla="*/ 2482632 w 6123188"/>
                <a:gd name="connsiteY1297" fmla="*/ 4057504 h 6421008"/>
                <a:gd name="connsiteX1298" fmla="*/ 2477868 w 6123188"/>
                <a:gd name="connsiteY1298" fmla="*/ 4047974 h 6421008"/>
                <a:gd name="connsiteX1299" fmla="*/ 2477868 w 6123188"/>
                <a:gd name="connsiteY1299" fmla="*/ 4033680 h 6421008"/>
                <a:gd name="connsiteX1300" fmla="*/ 2487398 w 6123188"/>
                <a:gd name="connsiteY1300" fmla="*/ 4033680 h 6421008"/>
                <a:gd name="connsiteX1301" fmla="*/ 2492162 w 6123188"/>
                <a:gd name="connsiteY1301" fmla="*/ 4024148 h 6421008"/>
                <a:gd name="connsiteX1302" fmla="*/ 2496928 w 6123188"/>
                <a:gd name="connsiteY1302" fmla="*/ 4014618 h 6421008"/>
                <a:gd name="connsiteX1303" fmla="*/ 2506458 w 6123188"/>
                <a:gd name="connsiteY1303" fmla="*/ 4014618 h 6421008"/>
                <a:gd name="connsiteX1304" fmla="*/ 2520752 w 6123188"/>
                <a:gd name="connsiteY1304" fmla="*/ 4009854 h 6421008"/>
                <a:gd name="connsiteX1305" fmla="*/ 2520752 w 6123188"/>
                <a:gd name="connsiteY1305" fmla="*/ 4005088 h 6421008"/>
                <a:gd name="connsiteX1306" fmla="*/ 2496928 w 6123188"/>
                <a:gd name="connsiteY1306" fmla="*/ 3981262 h 6421008"/>
                <a:gd name="connsiteX1307" fmla="*/ 2482632 w 6123188"/>
                <a:gd name="connsiteY1307" fmla="*/ 3966968 h 6421008"/>
                <a:gd name="connsiteX1308" fmla="*/ 2487398 w 6123188"/>
                <a:gd name="connsiteY1308" fmla="*/ 3943142 h 6421008"/>
                <a:gd name="connsiteX1309" fmla="*/ 2506458 w 6123188"/>
                <a:gd name="connsiteY1309" fmla="*/ 3914552 h 6421008"/>
                <a:gd name="connsiteX1310" fmla="*/ 2520752 w 6123188"/>
                <a:gd name="connsiteY1310" fmla="*/ 3881196 h 6421008"/>
                <a:gd name="connsiteX1311" fmla="*/ 2530284 w 6123188"/>
                <a:gd name="connsiteY1311" fmla="*/ 3857370 h 6421008"/>
                <a:gd name="connsiteX1312" fmla="*/ 2535048 w 6123188"/>
                <a:gd name="connsiteY1312" fmla="*/ 3852604 h 6421008"/>
                <a:gd name="connsiteX1313" fmla="*/ 2544578 w 6123188"/>
                <a:gd name="connsiteY1313" fmla="*/ 3847840 h 6421008"/>
                <a:gd name="connsiteX1314" fmla="*/ 2544578 w 6123188"/>
                <a:gd name="connsiteY1314" fmla="*/ 3838308 h 6421008"/>
                <a:gd name="connsiteX1315" fmla="*/ 2544578 w 6123188"/>
                <a:gd name="connsiteY1315" fmla="*/ 3828778 h 6421008"/>
                <a:gd name="connsiteX1316" fmla="*/ 2535048 w 6123188"/>
                <a:gd name="connsiteY1316" fmla="*/ 3828778 h 6421008"/>
                <a:gd name="connsiteX1317" fmla="*/ 2544578 w 6123188"/>
                <a:gd name="connsiteY1317" fmla="*/ 3800188 h 6421008"/>
                <a:gd name="connsiteX1318" fmla="*/ 2558874 w 6123188"/>
                <a:gd name="connsiteY1318" fmla="*/ 3757302 h 6421008"/>
                <a:gd name="connsiteX1319" fmla="*/ 2568404 w 6123188"/>
                <a:gd name="connsiteY1319" fmla="*/ 3723946 h 6421008"/>
                <a:gd name="connsiteX1320" fmla="*/ 2568404 w 6123188"/>
                <a:gd name="connsiteY1320" fmla="*/ 3719180 h 6421008"/>
                <a:gd name="connsiteX1321" fmla="*/ 2577934 w 6123188"/>
                <a:gd name="connsiteY1321" fmla="*/ 3714416 h 6421008"/>
                <a:gd name="connsiteX1322" fmla="*/ 2568404 w 6123188"/>
                <a:gd name="connsiteY1322" fmla="*/ 3709650 h 6421008"/>
                <a:gd name="connsiteX1323" fmla="*/ 2563640 w 6123188"/>
                <a:gd name="connsiteY1323" fmla="*/ 3695356 h 6421008"/>
                <a:gd name="connsiteX1324" fmla="*/ 2554108 w 6123188"/>
                <a:gd name="connsiteY1324" fmla="*/ 3666764 h 6421008"/>
                <a:gd name="connsiteX1325" fmla="*/ 2535048 w 6123188"/>
                <a:gd name="connsiteY1325" fmla="*/ 3623878 h 6421008"/>
                <a:gd name="connsiteX1326" fmla="*/ 2535048 w 6123188"/>
                <a:gd name="connsiteY1326" fmla="*/ 3609584 h 6421008"/>
                <a:gd name="connsiteX1327" fmla="*/ 2525518 w 6123188"/>
                <a:gd name="connsiteY1327" fmla="*/ 3595288 h 6421008"/>
                <a:gd name="connsiteX1328" fmla="*/ 2515988 w 6123188"/>
                <a:gd name="connsiteY1328" fmla="*/ 3600052 h 6421008"/>
                <a:gd name="connsiteX1329" fmla="*/ 2501692 w 6123188"/>
                <a:gd name="connsiteY1329" fmla="*/ 3600052 h 6421008"/>
                <a:gd name="connsiteX1330" fmla="*/ 2468336 w 6123188"/>
                <a:gd name="connsiteY1330" fmla="*/ 3571462 h 6421008"/>
                <a:gd name="connsiteX1331" fmla="*/ 2444512 w 6123188"/>
                <a:gd name="connsiteY1331" fmla="*/ 3561932 h 6421008"/>
                <a:gd name="connsiteX1332" fmla="*/ 2439746 w 6123188"/>
                <a:gd name="connsiteY1332" fmla="*/ 3552402 h 6421008"/>
                <a:gd name="connsiteX1333" fmla="*/ 2434980 w 6123188"/>
                <a:gd name="connsiteY1333" fmla="*/ 3528576 h 6421008"/>
                <a:gd name="connsiteX1334" fmla="*/ 2430216 w 6123188"/>
                <a:gd name="connsiteY1334" fmla="*/ 3499984 h 6421008"/>
                <a:gd name="connsiteX1335" fmla="*/ 2425450 w 6123188"/>
                <a:gd name="connsiteY1335" fmla="*/ 3466628 h 6421008"/>
                <a:gd name="connsiteX1336" fmla="*/ 2425450 w 6123188"/>
                <a:gd name="connsiteY1336" fmla="*/ 3457098 h 6421008"/>
                <a:gd name="connsiteX1337" fmla="*/ 2444512 w 6123188"/>
                <a:gd name="connsiteY1337" fmla="*/ 3428508 h 6421008"/>
                <a:gd name="connsiteX1338" fmla="*/ 2444512 w 6123188"/>
                <a:gd name="connsiteY1338" fmla="*/ 3418978 h 6421008"/>
                <a:gd name="connsiteX1339" fmla="*/ 2449276 w 6123188"/>
                <a:gd name="connsiteY1339" fmla="*/ 3404682 h 6421008"/>
                <a:gd name="connsiteX1340" fmla="*/ 2449276 w 6123188"/>
                <a:gd name="connsiteY1340" fmla="*/ 3395152 h 6421008"/>
                <a:gd name="connsiteX1341" fmla="*/ 2444512 w 6123188"/>
                <a:gd name="connsiteY1341" fmla="*/ 3395152 h 6421008"/>
                <a:gd name="connsiteX1342" fmla="*/ 2434980 w 6123188"/>
                <a:gd name="connsiteY1342" fmla="*/ 3399918 h 6421008"/>
                <a:gd name="connsiteX1343" fmla="*/ 2425450 w 6123188"/>
                <a:gd name="connsiteY1343" fmla="*/ 3404682 h 6421008"/>
                <a:gd name="connsiteX1344" fmla="*/ 2415920 w 6123188"/>
                <a:gd name="connsiteY1344" fmla="*/ 3404682 h 6421008"/>
                <a:gd name="connsiteX1345" fmla="*/ 2349208 w 6123188"/>
                <a:gd name="connsiteY1345" fmla="*/ 3399918 h 6421008"/>
                <a:gd name="connsiteX1346" fmla="*/ 2277732 w 6123188"/>
                <a:gd name="connsiteY1346" fmla="*/ 3399918 h 6421008"/>
                <a:gd name="connsiteX1347" fmla="*/ 2215784 w 6123188"/>
                <a:gd name="connsiteY1347" fmla="*/ 3395152 h 6421008"/>
                <a:gd name="connsiteX1348" fmla="*/ 2163368 w 6123188"/>
                <a:gd name="connsiteY1348" fmla="*/ 3395152 h 6421008"/>
                <a:gd name="connsiteX1349" fmla="*/ 2158604 w 6123188"/>
                <a:gd name="connsiteY1349" fmla="*/ 3371326 h 6421008"/>
                <a:gd name="connsiteX1350" fmla="*/ 2158604 w 6123188"/>
                <a:gd name="connsiteY1350" fmla="*/ 3333206 h 6421008"/>
                <a:gd name="connsiteX1351" fmla="*/ 2153838 w 6123188"/>
                <a:gd name="connsiteY1351" fmla="*/ 3309380 h 6421008"/>
                <a:gd name="connsiteX1352" fmla="*/ 2149074 w 6123188"/>
                <a:gd name="connsiteY1352" fmla="*/ 3266494 h 6421008"/>
                <a:gd name="connsiteX1353" fmla="*/ 2130012 w 6123188"/>
                <a:gd name="connsiteY1353" fmla="*/ 3237904 h 6421008"/>
                <a:gd name="connsiteX1354" fmla="*/ 2106188 w 6123188"/>
                <a:gd name="connsiteY1354" fmla="*/ 3214078 h 6421008"/>
                <a:gd name="connsiteX1355" fmla="*/ 2096656 w 6123188"/>
                <a:gd name="connsiteY1355" fmla="*/ 3204548 h 6421008"/>
                <a:gd name="connsiteX1356" fmla="*/ 2125248 w 6123188"/>
                <a:gd name="connsiteY1356" fmla="*/ 3204548 h 6421008"/>
                <a:gd name="connsiteX1357" fmla="*/ 2144308 w 6123188"/>
                <a:gd name="connsiteY1357" fmla="*/ 3204548 h 6421008"/>
                <a:gd name="connsiteX1358" fmla="*/ 2144308 w 6123188"/>
                <a:gd name="connsiteY1358" fmla="*/ 3128304 h 6421008"/>
                <a:gd name="connsiteX1359" fmla="*/ 2134778 w 6123188"/>
                <a:gd name="connsiteY1359" fmla="*/ 3118774 h 6421008"/>
                <a:gd name="connsiteX1360" fmla="*/ 2130012 w 6123188"/>
                <a:gd name="connsiteY1360" fmla="*/ 3094950 h 6421008"/>
                <a:gd name="connsiteX1361" fmla="*/ 2125248 w 6123188"/>
                <a:gd name="connsiteY1361" fmla="*/ 3080654 h 6421008"/>
                <a:gd name="connsiteX1362" fmla="*/ 2115718 w 6123188"/>
                <a:gd name="connsiteY1362" fmla="*/ 3071124 h 6421008"/>
                <a:gd name="connsiteX1363" fmla="*/ 2115718 w 6123188"/>
                <a:gd name="connsiteY1363" fmla="*/ 3056828 h 6421008"/>
                <a:gd name="connsiteX1364" fmla="*/ 2115718 w 6123188"/>
                <a:gd name="connsiteY1364" fmla="*/ 3047298 h 6421008"/>
                <a:gd name="connsiteX1365" fmla="*/ 2120482 w 6123188"/>
                <a:gd name="connsiteY1365" fmla="*/ 3042532 h 6421008"/>
                <a:gd name="connsiteX1366" fmla="*/ 2125248 w 6123188"/>
                <a:gd name="connsiteY1366" fmla="*/ 3028238 h 6421008"/>
                <a:gd name="connsiteX1367" fmla="*/ 2125248 w 6123188"/>
                <a:gd name="connsiteY1367" fmla="*/ 3018708 h 6421008"/>
                <a:gd name="connsiteX1368" fmla="*/ 2115718 w 6123188"/>
                <a:gd name="connsiteY1368" fmla="*/ 3004412 h 6421008"/>
                <a:gd name="connsiteX1369" fmla="*/ 2110952 w 6123188"/>
                <a:gd name="connsiteY1369" fmla="*/ 2994882 h 6421008"/>
                <a:gd name="connsiteX1370" fmla="*/ 2096656 w 6123188"/>
                <a:gd name="connsiteY1370" fmla="*/ 2985352 h 6421008"/>
                <a:gd name="connsiteX1371" fmla="*/ 2077596 w 6123188"/>
                <a:gd name="connsiteY1371" fmla="*/ 2975820 h 6421008"/>
                <a:gd name="connsiteX1372" fmla="*/ 2044240 w 6123188"/>
                <a:gd name="connsiteY1372" fmla="*/ 2956760 h 6421008"/>
                <a:gd name="connsiteX1373" fmla="*/ 2020414 w 6123188"/>
                <a:gd name="connsiteY1373" fmla="*/ 2947230 h 6421008"/>
                <a:gd name="connsiteX1374" fmla="*/ 2010884 w 6123188"/>
                <a:gd name="connsiteY1374" fmla="*/ 2947230 h 6421008"/>
                <a:gd name="connsiteX1375" fmla="*/ 1967998 w 6123188"/>
                <a:gd name="connsiteY1375" fmla="*/ 2951996 h 6421008"/>
                <a:gd name="connsiteX1376" fmla="*/ 1953704 w 6123188"/>
                <a:gd name="connsiteY1376" fmla="*/ 2951996 h 6421008"/>
                <a:gd name="connsiteX1377" fmla="*/ 1944172 w 6123188"/>
                <a:gd name="connsiteY1377" fmla="*/ 2951996 h 6421008"/>
                <a:gd name="connsiteX1378" fmla="*/ 1910816 w 6123188"/>
                <a:gd name="connsiteY1378" fmla="*/ 2951996 h 6421008"/>
                <a:gd name="connsiteX1379" fmla="*/ 1896522 w 6123188"/>
                <a:gd name="connsiteY1379" fmla="*/ 2942464 h 6421008"/>
                <a:gd name="connsiteX1380" fmla="*/ 1886992 w 6123188"/>
                <a:gd name="connsiteY1380" fmla="*/ 2932934 h 6421008"/>
                <a:gd name="connsiteX1381" fmla="*/ 1863166 w 6123188"/>
                <a:gd name="connsiteY1381" fmla="*/ 2904344 h 6421008"/>
                <a:gd name="connsiteX1382" fmla="*/ 1858400 w 6123188"/>
                <a:gd name="connsiteY1382" fmla="*/ 2894814 h 6421008"/>
                <a:gd name="connsiteX1383" fmla="*/ 1848870 w 6123188"/>
                <a:gd name="connsiteY1383" fmla="*/ 2890048 h 6421008"/>
                <a:gd name="connsiteX1384" fmla="*/ 1834574 w 6123188"/>
                <a:gd name="connsiteY1384" fmla="*/ 2890048 h 6421008"/>
                <a:gd name="connsiteX1385" fmla="*/ 1820280 w 6123188"/>
                <a:gd name="connsiteY1385" fmla="*/ 2885284 h 6421008"/>
                <a:gd name="connsiteX1386" fmla="*/ 1796454 w 6123188"/>
                <a:gd name="connsiteY1386" fmla="*/ 2875754 h 6421008"/>
                <a:gd name="connsiteX1387" fmla="*/ 1767864 w 6123188"/>
                <a:gd name="connsiteY1387" fmla="*/ 2866224 h 6421008"/>
                <a:gd name="connsiteX1388" fmla="*/ 1758332 w 6123188"/>
                <a:gd name="connsiteY1388" fmla="*/ 2866224 h 6421008"/>
                <a:gd name="connsiteX1389" fmla="*/ 1744038 w 6123188"/>
                <a:gd name="connsiteY1389" fmla="*/ 2863840 h 6421008"/>
                <a:gd name="connsiteX1390" fmla="*/ 1724976 w 6123188"/>
                <a:gd name="connsiteY1390" fmla="*/ 2844780 h 6421008"/>
                <a:gd name="connsiteX1391" fmla="*/ 1720212 w 6123188"/>
                <a:gd name="connsiteY1391" fmla="*/ 2840014 h 6421008"/>
                <a:gd name="connsiteX1392" fmla="*/ 1715446 w 6123188"/>
                <a:gd name="connsiteY1392" fmla="*/ 2830484 h 6421008"/>
                <a:gd name="connsiteX1393" fmla="*/ 1710682 w 6123188"/>
                <a:gd name="connsiteY1393" fmla="*/ 2816190 h 6421008"/>
                <a:gd name="connsiteX1394" fmla="*/ 1701152 w 6123188"/>
                <a:gd name="connsiteY1394" fmla="*/ 2811424 h 6421008"/>
                <a:gd name="connsiteX1395" fmla="*/ 1691620 w 6123188"/>
                <a:gd name="connsiteY1395" fmla="*/ 2816190 h 6421008"/>
                <a:gd name="connsiteX1396" fmla="*/ 1682090 w 6123188"/>
                <a:gd name="connsiteY1396" fmla="*/ 2820954 h 6421008"/>
                <a:gd name="connsiteX1397" fmla="*/ 1667796 w 6123188"/>
                <a:gd name="connsiteY1397" fmla="*/ 2816190 h 6421008"/>
                <a:gd name="connsiteX1398" fmla="*/ 1648734 w 6123188"/>
                <a:gd name="connsiteY1398" fmla="*/ 2806660 h 6421008"/>
                <a:gd name="connsiteX1399" fmla="*/ 1634440 w 6123188"/>
                <a:gd name="connsiteY1399" fmla="*/ 2797128 h 6421008"/>
                <a:gd name="connsiteX1400" fmla="*/ 1629674 w 6123188"/>
                <a:gd name="connsiteY1400" fmla="*/ 2792364 h 6421008"/>
                <a:gd name="connsiteX1401" fmla="*/ 1610614 w 6123188"/>
                <a:gd name="connsiteY1401" fmla="*/ 2787598 h 6421008"/>
                <a:gd name="connsiteX1402" fmla="*/ 1596318 w 6123188"/>
                <a:gd name="connsiteY1402" fmla="*/ 2782834 h 6421008"/>
                <a:gd name="connsiteX1403" fmla="*/ 1572492 w 6123188"/>
                <a:gd name="connsiteY1403" fmla="*/ 2792364 h 6421008"/>
                <a:gd name="connsiteX1404" fmla="*/ 1553432 w 6123188"/>
                <a:gd name="connsiteY1404" fmla="*/ 2787598 h 6421008"/>
                <a:gd name="connsiteX1405" fmla="*/ 1524842 w 6123188"/>
                <a:gd name="connsiteY1405" fmla="*/ 2787598 h 6421008"/>
                <a:gd name="connsiteX1406" fmla="*/ 1496250 w 6123188"/>
                <a:gd name="connsiteY1406" fmla="*/ 2778068 h 6421008"/>
                <a:gd name="connsiteX1407" fmla="*/ 1486720 w 6123188"/>
                <a:gd name="connsiteY1407" fmla="*/ 2759008 h 6421008"/>
                <a:gd name="connsiteX1408" fmla="*/ 1481956 w 6123188"/>
                <a:gd name="connsiteY1408" fmla="*/ 2749478 h 6421008"/>
                <a:gd name="connsiteX1409" fmla="*/ 1467660 w 6123188"/>
                <a:gd name="connsiteY1409" fmla="*/ 2739948 h 6421008"/>
                <a:gd name="connsiteX1410" fmla="*/ 1458130 w 6123188"/>
                <a:gd name="connsiteY1410" fmla="*/ 2730416 h 6421008"/>
                <a:gd name="connsiteX1411" fmla="*/ 1443834 w 6123188"/>
                <a:gd name="connsiteY1411" fmla="*/ 2720886 h 6421008"/>
                <a:gd name="connsiteX1412" fmla="*/ 1434304 w 6123188"/>
                <a:gd name="connsiteY1412" fmla="*/ 2711356 h 6421008"/>
                <a:gd name="connsiteX1413" fmla="*/ 1420008 w 6123188"/>
                <a:gd name="connsiteY1413" fmla="*/ 2711356 h 6421008"/>
                <a:gd name="connsiteX1414" fmla="*/ 1410478 w 6123188"/>
                <a:gd name="connsiteY1414" fmla="*/ 2706592 h 6421008"/>
                <a:gd name="connsiteX1415" fmla="*/ 1405714 w 6123188"/>
                <a:gd name="connsiteY1415" fmla="*/ 2697060 h 6421008"/>
                <a:gd name="connsiteX1416" fmla="*/ 1400948 w 6123188"/>
                <a:gd name="connsiteY1416" fmla="*/ 2682766 h 6421008"/>
                <a:gd name="connsiteX1417" fmla="*/ 1391418 w 6123188"/>
                <a:gd name="connsiteY1417" fmla="*/ 2668470 h 6421008"/>
                <a:gd name="connsiteX1418" fmla="*/ 1386652 w 6123188"/>
                <a:gd name="connsiteY1418" fmla="*/ 2668470 h 6421008"/>
                <a:gd name="connsiteX1419" fmla="*/ 1381888 w 6123188"/>
                <a:gd name="connsiteY1419" fmla="*/ 2673236 h 6421008"/>
                <a:gd name="connsiteX1420" fmla="*/ 1377122 w 6123188"/>
                <a:gd name="connsiteY1420" fmla="*/ 2668470 h 6421008"/>
                <a:gd name="connsiteX1421" fmla="*/ 1377122 w 6123188"/>
                <a:gd name="connsiteY1421" fmla="*/ 2663706 h 6421008"/>
                <a:gd name="connsiteX1422" fmla="*/ 1381888 w 6123188"/>
                <a:gd name="connsiteY1422" fmla="*/ 2654176 h 6421008"/>
                <a:gd name="connsiteX1423" fmla="*/ 1377122 w 6123188"/>
                <a:gd name="connsiteY1423" fmla="*/ 2644644 h 6421008"/>
                <a:gd name="connsiteX1424" fmla="*/ 1362828 w 6123188"/>
                <a:gd name="connsiteY1424" fmla="*/ 2630350 h 6421008"/>
                <a:gd name="connsiteX1425" fmla="*/ 1358062 w 6123188"/>
                <a:gd name="connsiteY1425" fmla="*/ 2620820 h 6421008"/>
                <a:gd name="connsiteX1426" fmla="*/ 1358062 w 6123188"/>
                <a:gd name="connsiteY1426" fmla="*/ 2606524 h 6421008"/>
                <a:gd name="connsiteX1427" fmla="*/ 1353296 w 6123188"/>
                <a:gd name="connsiteY1427" fmla="*/ 2601758 h 6421008"/>
                <a:gd name="connsiteX1428" fmla="*/ 1348532 w 6123188"/>
                <a:gd name="connsiteY1428" fmla="*/ 2596994 h 6421008"/>
                <a:gd name="connsiteX1429" fmla="*/ 1348532 w 6123188"/>
                <a:gd name="connsiteY1429" fmla="*/ 2587464 h 6421008"/>
                <a:gd name="connsiteX1430" fmla="*/ 1348532 w 6123188"/>
                <a:gd name="connsiteY1430" fmla="*/ 2577932 h 6421008"/>
                <a:gd name="connsiteX1431" fmla="*/ 1348532 w 6123188"/>
                <a:gd name="connsiteY1431" fmla="*/ 2568402 h 6421008"/>
                <a:gd name="connsiteX1432" fmla="*/ 1358062 w 6123188"/>
                <a:gd name="connsiteY1432" fmla="*/ 2554108 h 6421008"/>
                <a:gd name="connsiteX1433" fmla="*/ 1353296 w 6123188"/>
                <a:gd name="connsiteY1433" fmla="*/ 2530282 h 6421008"/>
                <a:gd name="connsiteX1434" fmla="*/ 1343766 w 6123188"/>
                <a:gd name="connsiteY1434" fmla="*/ 2506456 h 6421008"/>
                <a:gd name="connsiteX1435" fmla="*/ 1339002 w 6123188"/>
                <a:gd name="connsiteY1435" fmla="*/ 2482630 h 6421008"/>
                <a:gd name="connsiteX1436" fmla="*/ 1339002 w 6123188"/>
                <a:gd name="connsiteY1436" fmla="*/ 2473100 h 6421008"/>
                <a:gd name="connsiteX1437" fmla="*/ 1339002 w 6123188"/>
                <a:gd name="connsiteY1437" fmla="*/ 2463570 h 6421008"/>
                <a:gd name="connsiteX1438" fmla="*/ 1343766 w 6123188"/>
                <a:gd name="connsiteY1438" fmla="*/ 2454040 h 6421008"/>
                <a:gd name="connsiteX1439" fmla="*/ 1358062 w 6123188"/>
                <a:gd name="connsiteY1439" fmla="*/ 2430214 h 6421008"/>
                <a:gd name="connsiteX1440" fmla="*/ 1362828 w 6123188"/>
                <a:gd name="connsiteY1440" fmla="*/ 2415918 h 6421008"/>
                <a:gd name="connsiteX1441" fmla="*/ 1358062 w 6123188"/>
                <a:gd name="connsiteY1441" fmla="*/ 2396858 h 6421008"/>
                <a:gd name="connsiteX1442" fmla="*/ 1358062 w 6123188"/>
                <a:gd name="connsiteY1442" fmla="*/ 2382562 h 6421008"/>
                <a:gd name="connsiteX1443" fmla="*/ 1358062 w 6123188"/>
                <a:gd name="connsiteY1443" fmla="*/ 2373032 h 6421008"/>
                <a:gd name="connsiteX1444" fmla="*/ 1353296 w 6123188"/>
                <a:gd name="connsiteY1444" fmla="*/ 2358736 h 6421008"/>
                <a:gd name="connsiteX1445" fmla="*/ 1343766 w 6123188"/>
                <a:gd name="connsiteY1445" fmla="*/ 2344442 h 6421008"/>
                <a:gd name="connsiteX1446" fmla="*/ 1339002 w 6123188"/>
                <a:gd name="connsiteY1446" fmla="*/ 2344442 h 6421008"/>
                <a:gd name="connsiteX1447" fmla="*/ 1329472 w 6123188"/>
                <a:gd name="connsiteY1447" fmla="*/ 2349206 h 6421008"/>
                <a:gd name="connsiteX1448" fmla="*/ 1319942 w 6123188"/>
                <a:gd name="connsiteY1448" fmla="*/ 2358736 h 6421008"/>
                <a:gd name="connsiteX1449" fmla="*/ 1310410 w 6123188"/>
                <a:gd name="connsiteY1449" fmla="*/ 2358736 h 6421008"/>
                <a:gd name="connsiteX1450" fmla="*/ 1296116 w 6123188"/>
                <a:gd name="connsiteY1450" fmla="*/ 2353972 h 6421008"/>
                <a:gd name="connsiteX1451" fmla="*/ 1262760 w 6123188"/>
                <a:gd name="connsiteY1451" fmla="*/ 2358736 h 6421008"/>
                <a:gd name="connsiteX1452" fmla="*/ 1210344 w 6123188"/>
                <a:gd name="connsiteY1452" fmla="*/ 2363502 h 6421008"/>
                <a:gd name="connsiteX1453" fmla="*/ 1191282 w 6123188"/>
                <a:gd name="connsiteY1453" fmla="*/ 2368268 h 6421008"/>
                <a:gd name="connsiteX1454" fmla="*/ 1176988 w 6123188"/>
                <a:gd name="connsiteY1454" fmla="*/ 2373032 h 6421008"/>
                <a:gd name="connsiteX1455" fmla="*/ 1162692 w 6123188"/>
                <a:gd name="connsiteY1455" fmla="*/ 2373032 h 6421008"/>
                <a:gd name="connsiteX1456" fmla="*/ 1138866 w 6123188"/>
                <a:gd name="connsiteY1456" fmla="*/ 2387328 h 6421008"/>
                <a:gd name="connsiteX1457" fmla="*/ 1076920 w 6123188"/>
                <a:gd name="connsiteY1457" fmla="*/ 2434980 h 6421008"/>
                <a:gd name="connsiteX1458" fmla="*/ 1067390 w 6123188"/>
                <a:gd name="connsiteY1458" fmla="*/ 2439744 h 6421008"/>
                <a:gd name="connsiteX1459" fmla="*/ 1053094 w 6123188"/>
                <a:gd name="connsiteY1459" fmla="*/ 2439744 h 6421008"/>
                <a:gd name="connsiteX1460" fmla="*/ 1043564 w 6123188"/>
                <a:gd name="connsiteY1460" fmla="*/ 2449274 h 6421008"/>
                <a:gd name="connsiteX1461" fmla="*/ 1029268 w 6123188"/>
                <a:gd name="connsiteY1461" fmla="*/ 2454040 h 6421008"/>
                <a:gd name="connsiteX1462" fmla="*/ 1005442 w 6123188"/>
                <a:gd name="connsiteY1462" fmla="*/ 2473100 h 6421008"/>
                <a:gd name="connsiteX1463" fmla="*/ 991148 w 6123188"/>
                <a:gd name="connsiteY1463" fmla="*/ 2487396 h 6421008"/>
                <a:gd name="connsiteX1464" fmla="*/ 981618 w 6123188"/>
                <a:gd name="connsiteY1464" fmla="*/ 2496926 h 6421008"/>
                <a:gd name="connsiteX1465" fmla="*/ 972086 w 6123188"/>
                <a:gd name="connsiteY1465" fmla="*/ 2501690 h 6421008"/>
                <a:gd name="connsiteX1466" fmla="*/ 967322 w 6123188"/>
                <a:gd name="connsiteY1466" fmla="*/ 2496926 h 6421008"/>
                <a:gd name="connsiteX1467" fmla="*/ 938732 w 6123188"/>
                <a:gd name="connsiteY1467" fmla="*/ 2496926 h 6421008"/>
                <a:gd name="connsiteX1468" fmla="*/ 929200 w 6123188"/>
                <a:gd name="connsiteY1468" fmla="*/ 2501690 h 6421008"/>
                <a:gd name="connsiteX1469" fmla="*/ 914906 w 6123188"/>
                <a:gd name="connsiteY1469" fmla="*/ 2515986 h 6421008"/>
                <a:gd name="connsiteX1470" fmla="*/ 895844 w 6123188"/>
                <a:gd name="connsiteY1470" fmla="*/ 2539812 h 6421008"/>
                <a:gd name="connsiteX1471" fmla="*/ 891080 w 6123188"/>
                <a:gd name="connsiteY1471" fmla="*/ 2544576 h 6421008"/>
                <a:gd name="connsiteX1472" fmla="*/ 876784 w 6123188"/>
                <a:gd name="connsiteY1472" fmla="*/ 2554108 h 6421008"/>
                <a:gd name="connsiteX1473" fmla="*/ 862488 w 6123188"/>
                <a:gd name="connsiteY1473" fmla="*/ 2558872 h 6421008"/>
                <a:gd name="connsiteX1474" fmla="*/ 843428 w 6123188"/>
                <a:gd name="connsiteY1474" fmla="*/ 2568402 h 6421008"/>
                <a:gd name="connsiteX1475" fmla="*/ 833898 w 6123188"/>
                <a:gd name="connsiteY1475" fmla="*/ 2568402 h 6421008"/>
                <a:gd name="connsiteX1476" fmla="*/ 824368 w 6123188"/>
                <a:gd name="connsiteY1476" fmla="*/ 2568402 h 6421008"/>
                <a:gd name="connsiteX1477" fmla="*/ 819602 w 6123188"/>
                <a:gd name="connsiteY1477" fmla="*/ 2563638 h 6421008"/>
                <a:gd name="connsiteX1478" fmla="*/ 814838 w 6123188"/>
                <a:gd name="connsiteY1478" fmla="*/ 2558872 h 6421008"/>
                <a:gd name="connsiteX1479" fmla="*/ 805308 w 6123188"/>
                <a:gd name="connsiteY1479" fmla="*/ 2549342 h 6421008"/>
                <a:gd name="connsiteX1480" fmla="*/ 781482 w 6123188"/>
                <a:gd name="connsiteY1480" fmla="*/ 2549342 h 6421008"/>
                <a:gd name="connsiteX1481" fmla="*/ 748126 w 6123188"/>
                <a:gd name="connsiteY1481" fmla="*/ 2544576 h 6421008"/>
                <a:gd name="connsiteX1482" fmla="*/ 710004 w 6123188"/>
                <a:gd name="connsiteY1482" fmla="*/ 2539812 h 6421008"/>
                <a:gd name="connsiteX1483" fmla="*/ 690944 w 6123188"/>
                <a:gd name="connsiteY1483" fmla="*/ 2544576 h 6421008"/>
                <a:gd name="connsiteX1484" fmla="*/ 676648 w 6123188"/>
                <a:gd name="connsiteY1484" fmla="*/ 2544576 h 6421008"/>
                <a:gd name="connsiteX1485" fmla="*/ 652824 w 6123188"/>
                <a:gd name="connsiteY1485" fmla="*/ 2539812 h 6421008"/>
                <a:gd name="connsiteX1486" fmla="*/ 633762 w 6123188"/>
                <a:gd name="connsiteY1486" fmla="*/ 2539812 h 6421008"/>
                <a:gd name="connsiteX1487" fmla="*/ 614702 w 6123188"/>
                <a:gd name="connsiteY1487" fmla="*/ 2544576 h 6421008"/>
                <a:gd name="connsiteX1488" fmla="*/ 590876 w 6123188"/>
                <a:gd name="connsiteY1488" fmla="*/ 2558872 h 6421008"/>
                <a:gd name="connsiteX1489" fmla="*/ 581346 w 6123188"/>
                <a:gd name="connsiteY1489" fmla="*/ 2558872 h 6421008"/>
                <a:gd name="connsiteX1490" fmla="*/ 571816 w 6123188"/>
                <a:gd name="connsiteY1490" fmla="*/ 2558872 h 6421008"/>
                <a:gd name="connsiteX1491" fmla="*/ 567052 w 6123188"/>
                <a:gd name="connsiteY1491" fmla="*/ 2558872 h 6421008"/>
                <a:gd name="connsiteX1492" fmla="*/ 557520 w 6123188"/>
                <a:gd name="connsiteY1492" fmla="*/ 2554108 h 6421008"/>
                <a:gd name="connsiteX1493" fmla="*/ 543226 w 6123188"/>
                <a:gd name="connsiteY1493" fmla="*/ 2539812 h 6421008"/>
                <a:gd name="connsiteX1494" fmla="*/ 533696 w 6123188"/>
                <a:gd name="connsiteY1494" fmla="*/ 2544576 h 6421008"/>
                <a:gd name="connsiteX1495" fmla="*/ 524164 w 6123188"/>
                <a:gd name="connsiteY1495" fmla="*/ 2549342 h 6421008"/>
                <a:gd name="connsiteX1496" fmla="*/ 528930 w 6123188"/>
                <a:gd name="connsiteY1496" fmla="*/ 2525516 h 6421008"/>
                <a:gd name="connsiteX1497" fmla="*/ 528930 w 6123188"/>
                <a:gd name="connsiteY1497" fmla="*/ 2387328 h 6421008"/>
                <a:gd name="connsiteX1498" fmla="*/ 528930 w 6123188"/>
                <a:gd name="connsiteY1498" fmla="*/ 2363502 h 6421008"/>
                <a:gd name="connsiteX1499" fmla="*/ 533696 w 6123188"/>
                <a:gd name="connsiteY1499" fmla="*/ 2353972 h 6421008"/>
                <a:gd name="connsiteX1500" fmla="*/ 538460 w 6123188"/>
                <a:gd name="connsiteY1500" fmla="*/ 2344442 h 6421008"/>
                <a:gd name="connsiteX1501" fmla="*/ 533696 w 6123188"/>
                <a:gd name="connsiteY1501" fmla="*/ 2330146 h 6421008"/>
                <a:gd name="connsiteX1502" fmla="*/ 533696 w 6123188"/>
                <a:gd name="connsiteY1502" fmla="*/ 2320616 h 6421008"/>
                <a:gd name="connsiteX1503" fmla="*/ 538460 w 6123188"/>
                <a:gd name="connsiteY1503" fmla="*/ 2311086 h 6421008"/>
                <a:gd name="connsiteX1504" fmla="*/ 543226 w 6123188"/>
                <a:gd name="connsiteY1504" fmla="*/ 2301556 h 6421008"/>
                <a:gd name="connsiteX1505" fmla="*/ 533696 w 6123188"/>
                <a:gd name="connsiteY1505" fmla="*/ 2306320 h 6421008"/>
                <a:gd name="connsiteX1506" fmla="*/ 528930 w 6123188"/>
                <a:gd name="connsiteY1506" fmla="*/ 2306320 h 6421008"/>
                <a:gd name="connsiteX1507" fmla="*/ 524164 w 6123188"/>
                <a:gd name="connsiteY1507" fmla="*/ 2315850 h 6421008"/>
                <a:gd name="connsiteX1508" fmla="*/ 509870 w 6123188"/>
                <a:gd name="connsiteY1508" fmla="*/ 2320616 h 6421008"/>
                <a:gd name="connsiteX1509" fmla="*/ 500340 w 6123188"/>
                <a:gd name="connsiteY1509" fmla="*/ 2330146 h 6421008"/>
                <a:gd name="connsiteX1510" fmla="*/ 490810 w 6123188"/>
                <a:gd name="connsiteY1510" fmla="*/ 2339676 h 6421008"/>
                <a:gd name="connsiteX1511" fmla="*/ 476514 w 6123188"/>
                <a:gd name="connsiteY1511" fmla="*/ 2353972 h 6421008"/>
                <a:gd name="connsiteX1512" fmla="*/ 462218 w 6123188"/>
                <a:gd name="connsiteY1512" fmla="*/ 2363502 h 6421008"/>
                <a:gd name="connsiteX1513" fmla="*/ 452688 w 6123188"/>
                <a:gd name="connsiteY1513" fmla="*/ 2368268 h 6421008"/>
                <a:gd name="connsiteX1514" fmla="*/ 433628 w 6123188"/>
                <a:gd name="connsiteY1514" fmla="*/ 2387328 h 6421008"/>
                <a:gd name="connsiteX1515" fmla="*/ 419332 w 6123188"/>
                <a:gd name="connsiteY1515" fmla="*/ 2387328 h 6421008"/>
                <a:gd name="connsiteX1516" fmla="*/ 376446 w 6123188"/>
                <a:gd name="connsiteY1516" fmla="*/ 2392092 h 6421008"/>
                <a:gd name="connsiteX1517" fmla="*/ 333560 w 6123188"/>
                <a:gd name="connsiteY1517" fmla="*/ 2392092 h 6421008"/>
                <a:gd name="connsiteX1518" fmla="*/ 285908 w 6123188"/>
                <a:gd name="connsiteY1518" fmla="*/ 2392092 h 6421008"/>
                <a:gd name="connsiteX1519" fmla="*/ 285908 w 6123188"/>
                <a:gd name="connsiteY1519" fmla="*/ 2377798 h 6421008"/>
                <a:gd name="connsiteX1520" fmla="*/ 285908 w 6123188"/>
                <a:gd name="connsiteY1520" fmla="*/ 2368268 h 6421008"/>
                <a:gd name="connsiteX1521" fmla="*/ 271614 w 6123188"/>
                <a:gd name="connsiteY1521" fmla="*/ 2353972 h 6421008"/>
                <a:gd name="connsiteX1522" fmla="*/ 271614 w 6123188"/>
                <a:gd name="connsiteY1522" fmla="*/ 2339676 h 6421008"/>
                <a:gd name="connsiteX1523" fmla="*/ 271614 w 6123188"/>
                <a:gd name="connsiteY1523" fmla="*/ 2330146 h 6421008"/>
                <a:gd name="connsiteX1524" fmla="*/ 266848 w 6123188"/>
                <a:gd name="connsiteY1524" fmla="*/ 2320616 h 6421008"/>
                <a:gd name="connsiteX1525" fmla="*/ 257318 w 6123188"/>
                <a:gd name="connsiteY1525" fmla="*/ 2311086 h 6421008"/>
                <a:gd name="connsiteX1526" fmla="*/ 243022 w 6123188"/>
                <a:gd name="connsiteY1526" fmla="*/ 2311086 h 6421008"/>
                <a:gd name="connsiteX1527" fmla="*/ 219196 w 6123188"/>
                <a:gd name="connsiteY1527" fmla="*/ 2301556 h 6421008"/>
                <a:gd name="connsiteX1528" fmla="*/ 185840 w 6123188"/>
                <a:gd name="connsiteY1528" fmla="*/ 2296790 h 6421008"/>
                <a:gd name="connsiteX1529" fmla="*/ 157250 w 6123188"/>
                <a:gd name="connsiteY1529" fmla="*/ 2296790 h 6421008"/>
                <a:gd name="connsiteX1530" fmla="*/ 123894 w 6123188"/>
                <a:gd name="connsiteY1530" fmla="*/ 2296790 h 6421008"/>
                <a:gd name="connsiteX1531" fmla="*/ 142954 w 6123188"/>
                <a:gd name="connsiteY1531" fmla="*/ 2272964 h 6421008"/>
                <a:gd name="connsiteX1532" fmla="*/ 162016 w 6123188"/>
                <a:gd name="connsiteY1532" fmla="*/ 2253904 h 6421008"/>
                <a:gd name="connsiteX1533" fmla="*/ 162016 w 6123188"/>
                <a:gd name="connsiteY1533" fmla="*/ 2230078 h 6421008"/>
                <a:gd name="connsiteX1534" fmla="*/ 147720 w 6123188"/>
                <a:gd name="connsiteY1534" fmla="*/ 2215784 h 6421008"/>
                <a:gd name="connsiteX1535" fmla="*/ 138190 w 6123188"/>
                <a:gd name="connsiteY1535" fmla="*/ 2201488 h 6421008"/>
                <a:gd name="connsiteX1536" fmla="*/ 128660 w 6123188"/>
                <a:gd name="connsiteY1536" fmla="*/ 2187192 h 6421008"/>
                <a:gd name="connsiteX1537" fmla="*/ 109598 w 6123188"/>
                <a:gd name="connsiteY1537" fmla="*/ 2177662 h 6421008"/>
                <a:gd name="connsiteX1538" fmla="*/ 100068 w 6123188"/>
                <a:gd name="connsiteY1538" fmla="*/ 2163366 h 6421008"/>
                <a:gd name="connsiteX1539" fmla="*/ 104834 w 6123188"/>
                <a:gd name="connsiteY1539" fmla="*/ 2153836 h 6421008"/>
                <a:gd name="connsiteX1540" fmla="*/ 100068 w 6123188"/>
                <a:gd name="connsiteY1540" fmla="*/ 2149072 h 6421008"/>
                <a:gd name="connsiteX1541" fmla="*/ 95304 w 6123188"/>
                <a:gd name="connsiteY1541" fmla="*/ 2144306 h 6421008"/>
                <a:gd name="connsiteX1542" fmla="*/ 90538 w 6123188"/>
                <a:gd name="connsiteY1542" fmla="*/ 2139542 h 6421008"/>
                <a:gd name="connsiteX1543" fmla="*/ 81008 w 6123188"/>
                <a:gd name="connsiteY1543" fmla="*/ 2134776 h 6421008"/>
                <a:gd name="connsiteX1544" fmla="*/ 71478 w 6123188"/>
                <a:gd name="connsiteY1544" fmla="*/ 2130012 h 6421008"/>
                <a:gd name="connsiteX1545" fmla="*/ 71478 w 6123188"/>
                <a:gd name="connsiteY1545" fmla="*/ 2120480 h 6421008"/>
                <a:gd name="connsiteX1546" fmla="*/ 71478 w 6123188"/>
                <a:gd name="connsiteY1546" fmla="*/ 2115716 h 6421008"/>
                <a:gd name="connsiteX1547" fmla="*/ 61948 w 6123188"/>
                <a:gd name="connsiteY1547" fmla="*/ 2106186 h 6421008"/>
                <a:gd name="connsiteX1548" fmla="*/ 61948 w 6123188"/>
                <a:gd name="connsiteY1548" fmla="*/ 2096656 h 6421008"/>
                <a:gd name="connsiteX1549" fmla="*/ 57182 w 6123188"/>
                <a:gd name="connsiteY1549" fmla="*/ 2087124 h 6421008"/>
                <a:gd name="connsiteX1550" fmla="*/ 52418 w 6123188"/>
                <a:gd name="connsiteY1550" fmla="*/ 2077594 h 6421008"/>
                <a:gd name="connsiteX1551" fmla="*/ 47652 w 6123188"/>
                <a:gd name="connsiteY1551" fmla="*/ 2072830 h 6421008"/>
                <a:gd name="connsiteX1552" fmla="*/ 38122 w 6123188"/>
                <a:gd name="connsiteY1552" fmla="*/ 2063300 h 6421008"/>
                <a:gd name="connsiteX1553" fmla="*/ 38122 w 6123188"/>
                <a:gd name="connsiteY1553" fmla="*/ 2058534 h 6421008"/>
                <a:gd name="connsiteX1554" fmla="*/ 42888 w 6123188"/>
                <a:gd name="connsiteY1554" fmla="*/ 2053768 h 6421008"/>
                <a:gd name="connsiteX1555" fmla="*/ 47652 w 6123188"/>
                <a:gd name="connsiteY1555" fmla="*/ 2049004 h 6421008"/>
                <a:gd name="connsiteX1556" fmla="*/ 47652 w 6123188"/>
                <a:gd name="connsiteY1556" fmla="*/ 2039474 h 6421008"/>
                <a:gd name="connsiteX1557" fmla="*/ 38122 w 6123188"/>
                <a:gd name="connsiteY1557" fmla="*/ 2034708 h 6421008"/>
                <a:gd name="connsiteX1558" fmla="*/ 28592 w 6123188"/>
                <a:gd name="connsiteY1558" fmla="*/ 2034708 h 6421008"/>
                <a:gd name="connsiteX1559" fmla="*/ 19062 w 6123188"/>
                <a:gd name="connsiteY1559" fmla="*/ 2020412 h 6421008"/>
                <a:gd name="connsiteX1560" fmla="*/ 9532 w 6123188"/>
                <a:gd name="connsiteY1560" fmla="*/ 2015648 h 6421008"/>
                <a:gd name="connsiteX1561" fmla="*/ 4766 w 6123188"/>
                <a:gd name="connsiteY1561" fmla="*/ 2010882 h 6421008"/>
                <a:gd name="connsiteX1562" fmla="*/ 0 w 6123188"/>
                <a:gd name="connsiteY1562" fmla="*/ 2006118 h 6421008"/>
                <a:gd name="connsiteX1563" fmla="*/ 4766 w 6123188"/>
                <a:gd name="connsiteY1563" fmla="*/ 2001352 h 6421008"/>
                <a:gd name="connsiteX1564" fmla="*/ 9532 w 6123188"/>
                <a:gd name="connsiteY1564" fmla="*/ 1996588 h 6421008"/>
                <a:gd name="connsiteX1565" fmla="*/ 9532 w 6123188"/>
                <a:gd name="connsiteY1565" fmla="*/ 1987058 h 6421008"/>
                <a:gd name="connsiteX1566" fmla="*/ 9532 w 6123188"/>
                <a:gd name="connsiteY1566" fmla="*/ 1982292 h 6421008"/>
                <a:gd name="connsiteX1567" fmla="*/ 9532 w 6123188"/>
                <a:gd name="connsiteY1567" fmla="*/ 1977526 h 6421008"/>
                <a:gd name="connsiteX1568" fmla="*/ 14296 w 6123188"/>
                <a:gd name="connsiteY1568" fmla="*/ 1972762 h 6421008"/>
                <a:gd name="connsiteX1569" fmla="*/ 19062 w 6123188"/>
                <a:gd name="connsiteY1569" fmla="*/ 1977526 h 6421008"/>
                <a:gd name="connsiteX1570" fmla="*/ 23826 w 6123188"/>
                <a:gd name="connsiteY1570" fmla="*/ 1972762 h 6421008"/>
                <a:gd name="connsiteX1571" fmla="*/ 33356 w 6123188"/>
                <a:gd name="connsiteY1571" fmla="*/ 1972762 h 6421008"/>
                <a:gd name="connsiteX1572" fmla="*/ 42888 w 6123188"/>
                <a:gd name="connsiteY1572" fmla="*/ 1967996 h 6421008"/>
                <a:gd name="connsiteX1573" fmla="*/ 47652 w 6123188"/>
                <a:gd name="connsiteY1573" fmla="*/ 1963232 h 6421008"/>
                <a:gd name="connsiteX1574" fmla="*/ 42888 w 6123188"/>
                <a:gd name="connsiteY1574" fmla="*/ 1958466 h 6421008"/>
                <a:gd name="connsiteX1575" fmla="*/ 38122 w 6123188"/>
                <a:gd name="connsiteY1575" fmla="*/ 1944170 h 6421008"/>
                <a:gd name="connsiteX1576" fmla="*/ 33356 w 6123188"/>
                <a:gd name="connsiteY1576" fmla="*/ 1939406 h 6421008"/>
                <a:gd name="connsiteX1577" fmla="*/ 33356 w 6123188"/>
                <a:gd name="connsiteY1577" fmla="*/ 1929876 h 6421008"/>
                <a:gd name="connsiteX1578" fmla="*/ 38122 w 6123188"/>
                <a:gd name="connsiteY1578" fmla="*/ 1910816 h 6421008"/>
                <a:gd name="connsiteX1579" fmla="*/ 38122 w 6123188"/>
                <a:gd name="connsiteY1579" fmla="*/ 1901284 h 6421008"/>
                <a:gd name="connsiteX1580" fmla="*/ 47652 w 6123188"/>
                <a:gd name="connsiteY1580" fmla="*/ 1891754 h 6421008"/>
                <a:gd name="connsiteX1581" fmla="*/ 81008 w 6123188"/>
                <a:gd name="connsiteY1581" fmla="*/ 1867928 h 6421008"/>
                <a:gd name="connsiteX1582" fmla="*/ 109598 w 6123188"/>
                <a:gd name="connsiteY1582" fmla="*/ 1848868 h 6421008"/>
                <a:gd name="connsiteX1583" fmla="*/ 119130 w 6123188"/>
                <a:gd name="connsiteY1583" fmla="*/ 1848868 h 6421008"/>
                <a:gd name="connsiteX1584" fmla="*/ 128660 w 6123188"/>
                <a:gd name="connsiteY1584" fmla="*/ 1844104 h 6421008"/>
                <a:gd name="connsiteX1585" fmla="*/ 138190 w 6123188"/>
                <a:gd name="connsiteY1585" fmla="*/ 1834572 h 6421008"/>
                <a:gd name="connsiteX1586" fmla="*/ 138190 w 6123188"/>
                <a:gd name="connsiteY1586" fmla="*/ 1825042 h 6421008"/>
                <a:gd name="connsiteX1587" fmla="*/ 138190 w 6123188"/>
                <a:gd name="connsiteY1587" fmla="*/ 1815512 h 6421008"/>
                <a:gd name="connsiteX1588" fmla="*/ 133424 w 6123188"/>
                <a:gd name="connsiteY1588" fmla="*/ 1801218 h 6421008"/>
                <a:gd name="connsiteX1589" fmla="*/ 128660 w 6123188"/>
                <a:gd name="connsiteY1589" fmla="*/ 1782156 h 6421008"/>
                <a:gd name="connsiteX1590" fmla="*/ 119130 w 6123188"/>
                <a:gd name="connsiteY1590" fmla="*/ 1772626 h 6421008"/>
                <a:gd name="connsiteX1591" fmla="*/ 123894 w 6123188"/>
                <a:gd name="connsiteY1591" fmla="*/ 1763096 h 6421008"/>
                <a:gd name="connsiteX1592" fmla="*/ 133424 w 6123188"/>
                <a:gd name="connsiteY1592" fmla="*/ 1748800 h 6421008"/>
                <a:gd name="connsiteX1593" fmla="*/ 147720 w 6123188"/>
                <a:gd name="connsiteY1593" fmla="*/ 1724976 h 6421008"/>
                <a:gd name="connsiteX1594" fmla="*/ 162016 w 6123188"/>
                <a:gd name="connsiteY1594" fmla="*/ 1701150 h 6421008"/>
                <a:gd name="connsiteX1595" fmla="*/ 162016 w 6123188"/>
                <a:gd name="connsiteY1595" fmla="*/ 1696384 h 6421008"/>
                <a:gd name="connsiteX1596" fmla="*/ 166780 w 6123188"/>
                <a:gd name="connsiteY1596" fmla="*/ 1682088 h 6421008"/>
                <a:gd name="connsiteX1597" fmla="*/ 171546 w 6123188"/>
                <a:gd name="connsiteY1597" fmla="*/ 1648732 h 6421008"/>
                <a:gd name="connsiteX1598" fmla="*/ 176310 w 6123188"/>
                <a:gd name="connsiteY1598" fmla="*/ 1634438 h 6421008"/>
                <a:gd name="connsiteX1599" fmla="*/ 171546 w 6123188"/>
                <a:gd name="connsiteY1599" fmla="*/ 1629672 h 6421008"/>
                <a:gd name="connsiteX1600" fmla="*/ 176310 w 6123188"/>
                <a:gd name="connsiteY1600" fmla="*/ 1620142 h 6421008"/>
                <a:gd name="connsiteX1601" fmla="*/ 185840 w 6123188"/>
                <a:gd name="connsiteY1601" fmla="*/ 1615378 h 6421008"/>
                <a:gd name="connsiteX1602" fmla="*/ 204902 w 6123188"/>
                <a:gd name="connsiteY1602" fmla="*/ 1615378 h 6421008"/>
                <a:gd name="connsiteX1603" fmla="*/ 219196 w 6123188"/>
                <a:gd name="connsiteY1603" fmla="*/ 1605846 h 6421008"/>
                <a:gd name="connsiteX1604" fmla="*/ 243022 w 6123188"/>
                <a:gd name="connsiteY1604" fmla="*/ 1586786 h 6421008"/>
                <a:gd name="connsiteX1605" fmla="*/ 257318 w 6123188"/>
                <a:gd name="connsiteY1605" fmla="*/ 1567726 h 6421008"/>
                <a:gd name="connsiteX1606" fmla="*/ 276378 w 6123188"/>
                <a:gd name="connsiteY1606" fmla="*/ 1562960 h 6421008"/>
                <a:gd name="connsiteX1607" fmla="*/ 300204 w 6123188"/>
                <a:gd name="connsiteY1607" fmla="*/ 1548666 h 6421008"/>
                <a:gd name="connsiteX1608" fmla="*/ 319264 w 6123188"/>
                <a:gd name="connsiteY1608" fmla="*/ 1534370 h 6421008"/>
                <a:gd name="connsiteX1609" fmla="*/ 338324 w 6123188"/>
                <a:gd name="connsiteY1609" fmla="*/ 1524840 h 6421008"/>
                <a:gd name="connsiteX1610" fmla="*/ 366916 w 6123188"/>
                <a:gd name="connsiteY1610" fmla="*/ 1524840 h 6421008"/>
                <a:gd name="connsiteX1611" fmla="*/ 390742 w 6123188"/>
                <a:gd name="connsiteY1611" fmla="*/ 1520074 h 6421008"/>
                <a:gd name="connsiteX1612" fmla="*/ 400272 w 6123188"/>
                <a:gd name="connsiteY1612" fmla="*/ 1515310 h 6421008"/>
                <a:gd name="connsiteX1613" fmla="*/ 419332 w 6123188"/>
                <a:gd name="connsiteY1613" fmla="*/ 1510544 h 6421008"/>
                <a:gd name="connsiteX1614" fmla="*/ 433628 w 6123188"/>
                <a:gd name="connsiteY1614" fmla="*/ 1505780 h 6421008"/>
                <a:gd name="connsiteX1615" fmla="*/ 447922 w 6123188"/>
                <a:gd name="connsiteY1615" fmla="*/ 1505780 h 6421008"/>
                <a:gd name="connsiteX1616" fmla="*/ 476514 w 6123188"/>
                <a:gd name="connsiteY1616" fmla="*/ 1501014 h 6421008"/>
                <a:gd name="connsiteX1617" fmla="*/ 486044 w 6123188"/>
                <a:gd name="connsiteY1617" fmla="*/ 1491484 h 6421008"/>
                <a:gd name="connsiteX1618" fmla="*/ 490810 w 6123188"/>
                <a:gd name="connsiteY1618" fmla="*/ 1481954 h 6421008"/>
                <a:gd name="connsiteX1619" fmla="*/ 500340 w 6123188"/>
                <a:gd name="connsiteY1619" fmla="*/ 1472424 h 6421008"/>
                <a:gd name="connsiteX1620" fmla="*/ 514634 w 6123188"/>
                <a:gd name="connsiteY1620" fmla="*/ 1472424 h 6421008"/>
                <a:gd name="connsiteX1621" fmla="*/ 528930 w 6123188"/>
                <a:gd name="connsiteY1621" fmla="*/ 1472424 h 6421008"/>
                <a:gd name="connsiteX1622" fmla="*/ 543226 w 6123188"/>
                <a:gd name="connsiteY1622" fmla="*/ 1472424 h 6421008"/>
                <a:gd name="connsiteX1623" fmla="*/ 562286 w 6123188"/>
                <a:gd name="connsiteY1623" fmla="*/ 1467658 h 6421008"/>
                <a:gd name="connsiteX1624" fmla="*/ 571816 w 6123188"/>
                <a:gd name="connsiteY1624" fmla="*/ 1477188 h 6421008"/>
                <a:gd name="connsiteX1625" fmla="*/ 576582 w 6123188"/>
                <a:gd name="connsiteY1625" fmla="*/ 1486718 h 6421008"/>
                <a:gd name="connsiteX1626" fmla="*/ 590876 w 6123188"/>
                <a:gd name="connsiteY1626" fmla="*/ 1491484 h 6421008"/>
                <a:gd name="connsiteX1627" fmla="*/ 600408 w 6123188"/>
                <a:gd name="connsiteY1627" fmla="*/ 1491484 h 6421008"/>
                <a:gd name="connsiteX1628" fmla="*/ 605172 w 6123188"/>
                <a:gd name="connsiteY1628" fmla="*/ 1491484 h 6421008"/>
                <a:gd name="connsiteX1629" fmla="*/ 619468 w 6123188"/>
                <a:gd name="connsiteY1629" fmla="*/ 1496248 h 6421008"/>
                <a:gd name="connsiteX1630" fmla="*/ 624232 w 6123188"/>
                <a:gd name="connsiteY1630" fmla="*/ 1496248 h 6421008"/>
                <a:gd name="connsiteX1631" fmla="*/ 628998 w 6123188"/>
                <a:gd name="connsiteY1631" fmla="*/ 1491484 h 6421008"/>
                <a:gd name="connsiteX1632" fmla="*/ 633762 w 6123188"/>
                <a:gd name="connsiteY1632" fmla="*/ 1481954 h 6421008"/>
                <a:gd name="connsiteX1633" fmla="*/ 633762 w 6123188"/>
                <a:gd name="connsiteY1633" fmla="*/ 1477188 h 6421008"/>
                <a:gd name="connsiteX1634" fmla="*/ 638528 w 6123188"/>
                <a:gd name="connsiteY1634" fmla="*/ 1443832 h 6421008"/>
                <a:gd name="connsiteX1635" fmla="*/ 648058 w 6123188"/>
                <a:gd name="connsiteY1635" fmla="*/ 1391416 h 6421008"/>
                <a:gd name="connsiteX1636" fmla="*/ 657588 w 6123188"/>
                <a:gd name="connsiteY1636" fmla="*/ 1343764 h 6421008"/>
                <a:gd name="connsiteX1637" fmla="*/ 667118 w 6123188"/>
                <a:gd name="connsiteY1637" fmla="*/ 1291348 h 6421008"/>
                <a:gd name="connsiteX1638" fmla="*/ 686180 w 6123188"/>
                <a:gd name="connsiteY1638" fmla="*/ 1181750 h 6421008"/>
                <a:gd name="connsiteX1639" fmla="*/ 695710 w 6123188"/>
                <a:gd name="connsiteY1639" fmla="*/ 1138864 h 6421008"/>
                <a:gd name="connsiteX1640" fmla="*/ 705240 w 6123188"/>
                <a:gd name="connsiteY1640" fmla="*/ 1095978 h 6421008"/>
                <a:gd name="connsiteX1641" fmla="*/ 710004 w 6123188"/>
                <a:gd name="connsiteY1641" fmla="*/ 1072152 h 6421008"/>
                <a:gd name="connsiteX1642" fmla="*/ 714770 w 6123188"/>
                <a:gd name="connsiteY1642" fmla="*/ 1043562 h 6421008"/>
                <a:gd name="connsiteX1643" fmla="*/ 719536 w 6123188"/>
                <a:gd name="connsiteY1643" fmla="*/ 1014972 h 6421008"/>
                <a:gd name="connsiteX1644" fmla="*/ 719536 w 6123188"/>
                <a:gd name="connsiteY1644" fmla="*/ 1005440 h 6421008"/>
                <a:gd name="connsiteX1645" fmla="*/ 719536 w 6123188"/>
                <a:gd name="connsiteY1645" fmla="*/ 1000676 h 6421008"/>
                <a:gd name="connsiteX1646" fmla="*/ 714770 w 6123188"/>
                <a:gd name="connsiteY1646" fmla="*/ 991146 h 6421008"/>
                <a:gd name="connsiteX1647" fmla="*/ 714770 w 6123188"/>
                <a:gd name="connsiteY1647" fmla="*/ 986380 h 6421008"/>
                <a:gd name="connsiteX1648" fmla="*/ 714770 w 6123188"/>
                <a:gd name="connsiteY1648" fmla="*/ 981616 h 6421008"/>
                <a:gd name="connsiteX1649" fmla="*/ 714770 w 6123188"/>
                <a:gd name="connsiteY1649" fmla="*/ 976850 h 6421008"/>
                <a:gd name="connsiteX1650" fmla="*/ 705240 w 6123188"/>
                <a:gd name="connsiteY1650" fmla="*/ 972084 h 6421008"/>
                <a:gd name="connsiteX1651" fmla="*/ 700474 w 6123188"/>
                <a:gd name="connsiteY1651" fmla="*/ 967320 h 6421008"/>
                <a:gd name="connsiteX1652" fmla="*/ 700474 w 6123188"/>
                <a:gd name="connsiteY1652" fmla="*/ 962554 h 6421008"/>
                <a:gd name="connsiteX1653" fmla="*/ 695710 w 6123188"/>
                <a:gd name="connsiteY1653" fmla="*/ 957790 h 6421008"/>
                <a:gd name="connsiteX1654" fmla="*/ 695710 w 6123188"/>
                <a:gd name="connsiteY1654" fmla="*/ 953024 h 6421008"/>
                <a:gd name="connsiteX1655" fmla="*/ 690944 w 6123188"/>
                <a:gd name="connsiteY1655" fmla="*/ 943494 h 6421008"/>
                <a:gd name="connsiteX1656" fmla="*/ 686180 w 6123188"/>
                <a:gd name="connsiteY1656" fmla="*/ 938730 h 6421008"/>
                <a:gd name="connsiteX1657" fmla="*/ 686180 w 6123188"/>
                <a:gd name="connsiteY1657" fmla="*/ 933964 h 6421008"/>
                <a:gd name="connsiteX1658" fmla="*/ 690944 w 6123188"/>
                <a:gd name="connsiteY1658" fmla="*/ 929198 h 6421008"/>
                <a:gd name="connsiteX1659" fmla="*/ 690944 w 6123188"/>
                <a:gd name="connsiteY1659" fmla="*/ 919668 h 6421008"/>
                <a:gd name="connsiteX1660" fmla="*/ 690944 w 6123188"/>
                <a:gd name="connsiteY1660" fmla="*/ 914904 h 6421008"/>
                <a:gd name="connsiteX1661" fmla="*/ 686180 w 6123188"/>
                <a:gd name="connsiteY1661" fmla="*/ 905374 h 6421008"/>
                <a:gd name="connsiteX1662" fmla="*/ 686180 w 6123188"/>
                <a:gd name="connsiteY1662" fmla="*/ 900608 h 6421008"/>
                <a:gd name="connsiteX1663" fmla="*/ 676648 w 6123188"/>
                <a:gd name="connsiteY1663" fmla="*/ 895842 h 6421008"/>
                <a:gd name="connsiteX1664" fmla="*/ 667118 w 6123188"/>
                <a:gd name="connsiteY1664" fmla="*/ 891078 h 6421008"/>
                <a:gd name="connsiteX1665" fmla="*/ 652824 w 6123188"/>
                <a:gd name="connsiteY1665" fmla="*/ 881548 h 6421008"/>
                <a:gd name="connsiteX1666" fmla="*/ 638528 w 6123188"/>
                <a:gd name="connsiteY1666" fmla="*/ 872018 h 6421008"/>
                <a:gd name="connsiteX1667" fmla="*/ 619468 w 6123188"/>
                <a:gd name="connsiteY1667" fmla="*/ 852956 h 6421008"/>
                <a:gd name="connsiteX1668" fmla="*/ 614702 w 6123188"/>
                <a:gd name="connsiteY1668" fmla="*/ 843426 h 6421008"/>
                <a:gd name="connsiteX1669" fmla="*/ 614702 w 6123188"/>
                <a:gd name="connsiteY1669" fmla="*/ 819600 h 6421008"/>
                <a:gd name="connsiteX1670" fmla="*/ 614702 w 6123188"/>
                <a:gd name="connsiteY1670" fmla="*/ 791010 h 6421008"/>
                <a:gd name="connsiteX1671" fmla="*/ 619468 w 6123188"/>
                <a:gd name="connsiteY1671" fmla="*/ 752890 h 6421008"/>
                <a:gd name="connsiteX1672" fmla="*/ 619468 w 6123188"/>
                <a:gd name="connsiteY1672" fmla="*/ 729064 h 6421008"/>
                <a:gd name="connsiteX1673" fmla="*/ 628998 w 6123188"/>
                <a:gd name="connsiteY1673" fmla="*/ 729064 h 6421008"/>
                <a:gd name="connsiteX1674" fmla="*/ 638528 w 6123188"/>
                <a:gd name="connsiteY1674" fmla="*/ 729064 h 6421008"/>
                <a:gd name="connsiteX1675" fmla="*/ 648058 w 6123188"/>
                <a:gd name="connsiteY1675" fmla="*/ 729064 h 6421008"/>
                <a:gd name="connsiteX1676" fmla="*/ 657588 w 6123188"/>
                <a:gd name="connsiteY1676" fmla="*/ 724298 h 6421008"/>
                <a:gd name="connsiteX1677" fmla="*/ 667118 w 6123188"/>
                <a:gd name="connsiteY1677" fmla="*/ 724298 h 6421008"/>
                <a:gd name="connsiteX1678" fmla="*/ 671884 w 6123188"/>
                <a:gd name="connsiteY1678" fmla="*/ 719534 h 6421008"/>
                <a:gd name="connsiteX1679" fmla="*/ 676648 w 6123188"/>
                <a:gd name="connsiteY1679" fmla="*/ 714768 h 6421008"/>
                <a:gd name="connsiteX1680" fmla="*/ 681414 w 6123188"/>
                <a:gd name="connsiteY1680" fmla="*/ 719534 h 6421008"/>
                <a:gd name="connsiteX1681" fmla="*/ 686180 w 6123188"/>
                <a:gd name="connsiteY1681" fmla="*/ 714768 h 6421008"/>
                <a:gd name="connsiteX1682" fmla="*/ 695710 w 6123188"/>
                <a:gd name="connsiteY1682" fmla="*/ 710002 h 6421008"/>
                <a:gd name="connsiteX1683" fmla="*/ 700474 w 6123188"/>
                <a:gd name="connsiteY1683" fmla="*/ 710002 h 6421008"/>
                <a:gd name="connsiteX1684" fmla="*/ 710004 w 6123188"/>
                <a:gd name="connsiteY1684" fmla="*/ 705238 h 6421008"/>
                <a:gd name="connsiteX1685" fmla="*/ 719536 w 6123188"/>
                <a:gd name="connsiteY1685" fmla="*/ 710002 h 6421008"/>
                <a:gd name="connsiteX1686" fmla="*/ 719536 w 6123188"/>
                <a:gd name="connsiteY1686" fmla="*/ 714768 h 6421008"/>
                <a:gd name="connsiteX1687" fmla="*/ 729066 w 6123188"/>
                <a:gd name="connsiteY1687" fmla="*/ 719534 h 6421008"/>
                <a:gd name="connsiteX1688" fmla="*/ 733830 w 6123188"/>
                <a:gd name="connsiteY1688" fmla="*/ 719534 h 6421008"/>
                <a:gd name="connsiteX1689" fmla="*/ 738596 w 6123188"/>
                <a:gd name="connsiteY1689" fmla="*/ 724298 h 6421008"/>
                <a:gd name="connsiteX1690" fmla="*/ 743360 w 6123188"/>
                <a:gd name="connsiteY1690" fmla="*/ 724298 h 6421008"/>
                <a:gd name="connsiteX1691" fmla="*/ 748126 w 6123188"/>
                <a:gd name="connsiteY1691" fmla="*/ 724298 h 6421008"/>
                <a:gd name="connsiteX1692" fmla="*/ 757656 w 6123188"/>
                <a:gd name="connsiteY1692" fmla="*/ 719534 h 6421008"/>
                <a:gd name="connsiteX1693" fmla="*/ 757656 w 6123188"/>
                <a:gd name="connsiteY1693" fmla="*/ 714768 h 6421008"/>
                <a:gd name="connsiteX1694" fmla="*/ 757656 w 6123188"/>
                <a:gd name="connsiteY1694" fmla="*/ 710002 h 6421008"/>
                <a:gd name="connsiteX1695" fmla="*/ 757656 w 6123188"/>
                <a:gd name="connsiteY1695" fmla="*/ 705238 h 6421008"/>
                <a:gd name="connsiteX1696" fmla="*/ 757656 w 6123188"/>
                <a:gd name="connsiteY1696" fmla="*/ 695708 h 6421008"/>
                <a:gd name="connsiteX1697" fmla="*/ 757656 w 6123188"/>
                <a:gd name="connsiteY1697" fmla="*/ 686178 h 6421008"/>
                <a:gd name="connsiteX1698" fmla="*/ 752892 w 6123188"/>
                <a:gd name="connsiteY1698" fmla="*/ 681412 h 6421008"/>
                <a:gd name="connsiteX1699" fmla="*/ 748126 w 6123188"/>
                <a:gd name="connsiteY1699" fmla="*/ 671882 h 6421008"/>
                <a:gd name="connsiteX1700" fmla="*/ 743360 w 6123188"/>
                <a:gd name="connsiteY1700" fmla="*/ 662352 h 6421008"/>
                <a:gd name="connsiteX1701" fmla="*/ 733830 w 6123188"/>
                <a:gd name="connsiteY1701" fmla="*/ 657586 h 6421008"/>
                <a:gd name="connsiteX1702" fmla="*/ 724300 w 6123188"/>
                <a:gd name="connsiteY1702" fmla="*/ 652822 h 6421008"/>
                <a:gd name="connsiteX1703" fmla="*/ 719536 w 6123188"/>
                <a:gd name="connsiteY1703" fmla="*/ 657586 h 6421008"/>
                <a:gd name="connsiteX1704" fmla="*/ 714770 w 6123188"/>
                <a:gd name="connsiteY1704" fmla="*/ 657586 h 6421008"/>
                <a:gd name="connsiteX1705" fmla="*/ 710004 w 6123188"/>
                <a:gd name="connsiteY1705" fmla="*/ 657586 h 6421008"/>
                <a:gd name="connsiteX1706" fmla="*/ 700474 w 6123188"/>
                <a:gd name="connsiteY1706" fmla="*/ 657586 h 6421008"/>
                <a:gd name="connsiteX1707" fmla="*/ 695710 w 6123188"/>
                <a:gd name="connsiteY1707" fmla="*/ 652822 h 6421008"/>
                <a:gd name="connsiteX1708" fmla="*/ 686180 w 6123188"/>
                <a:gd name="connsiteY1708" fmla="*/ 652822 h 6421008"/>
                <a:gd name="connsiteX1709" fmla="*/ 671884 w 6123188"/>
                <a:gd name="connsiteY1709" fmla="*/ 657586 h 6421008"/>
                <a:gd name="connsiteX1710" fmla="*/ 667118 w 6123188"/>
                <a:gd name="connsiteY1710" fmla="*/ 652822 h 6421008"/>
                <a:gd name="connsiteX1711" fmla="*/ 657588 w 6123188"/>
                <a:gd name="connsiteY1711" fmla="*/ 652822 h 6421008"/>
                <a:gd name="connsiteX1712" fmla="*/ 648058 w 6123188"/>
                <a:gd name="connsiteY1712" fmla="*/ 657586 h 6421008"/>
                <a:gd name="connsiteX1713" fmla="*/ 648058 w 6123188"/>
                <a:gd name="connsiteY1713" fmla="*/ 614700 h 6421008"/>
                <a:gd name="connsiteX1714" fmla="*/ 648058 w 6123188"/>
                <a:gd name="connsiteY1714" fmla="*/ 552754 h 6421008"/>
                <a:gd name="connsiteX1715" fmla="*/ 657588 w 6123188"/>
                <a:gd name="connsiteY1715" fmla="*/ 552754 h 6421008"/>
                <a:gd name="connsiteX1716" fmla="*/ 667118 w 6123188"/>
                <a:gd name="connsiteY1716" fmla="*/ 547988 h 6421008"/>
                <a:gd name="connsiteX1717" fmla="*/ 681414 w 6123188"/>
                <a:gd name="connsiteY1717" fmla="*/ 547988 h 6421008"/>
                <a:gd name="connsiteX1718" fmla="*/ 690944 w 6123188"/>
                <a:gd name="connsiteY1718" fmla="*/ 543224 h 6421008"/>
                <a:gd name="connsiteX1719" fmla="*/ 700474 w 6123188"/>
                <a:gd name="connsiteY1719" fmla="*/ 543224 h 6421008"/>
                <a:gd name="connsiteX1720" fmla="*/ 710004 w 6123188"/>
                <a:gd name="connsiteY1720" fmla="*/ 547988 h 6421008"/>
                <a:gd name="connsiteX1721" fmla="*/ 719536 w 6123188"/>
                <a:gd name="connsiteY1721" fmla="*/ 552754 h 6421008"/>
                <a:gd name="connsiteX1722" fmla="*/ 733830 w 6123188"/>
                <a:gd name="connsiteY1722" fmla="*/ 552754 h 6421008"/>
                <a:gd name="connsiteX1723" fmla="*/ 910140 w 6123188"/>
                <a:gd name="connsiteY1723" fmla="*/ 552754 h 6421008"/>
                <a:gd name="connsiteX1724" fmla="*/ 905376 w 6123188"/>
                <a:gd name="connsiteY1724" fmla="*/ 543224 h 6421008"/>
                <a:gd name="connsiteX1725" fmla="*/ 900610 w 6123188"/>
                <a:gd name="connsiteY1725" fmla="*/ 533694 h 6421008"/>
                <a:gd name="connsiteX1726" fmla="*/ 905376 w 6123188"/>
                <a:gd name="connsiteY1726" fmla="*/ 514632 h 6421008"/>
                <a:gd name="connsiteX1727" fmla="*/ 910140 w 6123188"/>
                <a:gd name="connsiteY1727" fmla="*/ 509868 h 6421008"/>
                <a:gd name="connsiteX1728" fmla="*/ 919670 w 6123188"/>
                <a:gd name="connsiteY1728" fmla="*/ 514632 h 6421008"/>
                <a:gd name="connsiteX1729" fmla="*/ 929200 w 6123188"/>
                <a:gd name="connsiteY1729" fmla="*/ 528928 h 6421008"/>
                <a:gd name="connsiteX1730" fmla="*/ 933966 w 6123188"/>
                <a:gd name="connsiteY1730" fmla="*/ 543224 h 6421008"/>
                <a:gd name="connsiteX1731" fmla="*/ 938732 w 6123188"/>
                <a:gd name="connsiteY1731" fmla="*/ 547988 h 6421008"/>
                <a:gd name="connsiteX1732" fmla="*/ 948262 w 6123188"/>
                <a:gd name="connsiteY1732" fmla="*/ 547988 h 6421008"/>
                <a:gd name="connsiteX1733" fmla="*/ 957792 w 6123188"/>
                <a:gd name="connsiteY1733" fmla="*/ 547988 h 6421008"/>
                <a:gd name="connsiteX1734" fmla="*/ 967322 w 6123188"/>
                <a:gd name="connsiteY1734" fmla="*/ 543224 h 6421008"/>
                <a:gd name="connsiteX1735" fmla="*/ 981618 w 6123188"/>
                <a:gd name="connsiteY1735" fmla="*/ 519398 h 6421008"/>
                <a:gd name="connsiteX1736" fmla="*/ 1000678 w 6123188"/>
                <a:gd name="connsiteY1736" fmla="*/ 500338 h 6421008"/>
                <a:gd name="connsiteX1737" fmla="*/ 1014972 w 6123188"/>
                <a:gd name="connsiteY1737" fmla="*/ 490808 h 6421008"/>
                <a:gd name="connsiteX1738" fmla="*/ 1024504 w 6123188"/>
                <a:gd name="connsiteY1738" fmla="*/ 490808 h 6421008"/>
                <a:gd name="connsiteX1739" fmla="*/ 1034034 w 6123188"/>
                <a:gd name="connsiteY1739" fmla="*/ 490808 h 6421008"/>
                <a:gd name="connsiteX1740" fmla="*/ 1038798 w 6123188"/>
                <a:gd name="connsiteY1740" fmla="*/ 495572 h 6421008"/>
                <a:gd name="connsiteX1741" fmla="*/ 1043564 w 6123188"/>
                <a:gd name="connsiteY1741" fmla="*/ 505102 h 6421008"/>
                <a:gd name="connsiteX1742" fmla="*/ 1062624 w 6123188"/>
                <a:gd name="connsiteY1742" fmla="*/ 533694 h 6421008"/>
                <a:gd name="connsiteX1743" fmla="*/ 1076920 w 6123188"/>
                <a:gd name="connsiteY1743" fmla="*/ 552754 h 6421008"/>
                <a:gd name="connsiteX1744" fmla="*/ 1081684 w 6123188"/>
                <a:gd name="connsiteY1744" fmla="*/ 567050 h 6421008"/>
                <a:gd name="connsiteX1745" fmla="*/ 1081684 w 6123188"/>
                <a:gd name="connsiteY1745" fmla="*/ 600406 h 6421008"/>
                <a:gd name="connsiteX1746" fmla="*/ 1081684 w 6123188"/>
                <a:gd name="connsiteY1746" fmla="*/ 633760 h 6421008"/>
                <a:gd name="connsiteX1747" fmla="*/ 1086450 w 6123188"/>
                <a:gd name="connsiteY1747" fmla="*/ 638526 h 6421008"/>
                <a:gd name="connsiteX1748" fmla="*/ 1115040 w 6123188"/>
                <a:gd name="connsiteY1748" fmla="*/ 628996 h 6421008"/>
                <a:gd name="connsiteX1749" fmla="*/ 1153162 w 6123188"/>
                <a:gd name="connsiteY1749" fmla="*/ 667116 h 6421008"/>
                <a:gd name="connsiteX1750" fmla="*/ 1186518 w 6123188"/>
                <a:gd name="connsiteY1750" fmla="*/ 690942 h 6421008"/>
                <a:gd name="connsiteX1751" fmla="*/ 1196048 w 6123188"/>
                <a:gd name="connsiteY1751" fmla="*/ 700472 h 6421008"/>
                <a:gd name="connsiteX1752" fmla="*/ 1205578 w 6123188"/>
                <a:gd name="connsiteY1752" fmla="*/ 705238 h 6421008"/>
                <a:gd name="connsiteX1753" fmla="*/ 1219874 w 6123188"/>
                <a:gd name="connsiteY1753" fmla="*/ 700472 h 6421008"/>
                <a:gd name="connsiteX1754" fmla="*/ 1243700 w 6123188"/>
                <a:gd name="connsiteY1754" fmla="*/ 695708 h 6421008"/>
                <a:gd name="connsiteX1755" fmla="*/ 1253230 w 6123188"/>
                <a:gd name="connsiteY1755" fmla="*/ 695708 h 6421008"/>
                <a:gd name="connsiteX1756" fmla="*/ 1262760 w 6123188"/>
                <a:gd name="connsiteY1756" fmla="*/ 686178 h 6421008"/>
                <a:gd name="connsiteX1757" fmla="*/ 1281820 w 6123188"/>
                <a:gd name="connsiteY1757" fmla="*/ 676648 h 6421008"/>
                <a:gd name="connsiteX1758" fmla="*/ 1296116 w 6123188"/>
                <a:gd name="connsiteY1758" fmla="*/ 667116 h 6421008"/>
                <a:gd name="connsiteX1759" fmla="*/ 1300880 w 6123188"/>
                <a:gd name="connsiteY1759" fmla="*/ 667116 h 6421008"/>
                <a:gd name="connsiteX1760" fmla="*/ 1305646 w 6123188"/>
                <a:gd name="connsiteY1760" fmla="*/ 667116 h 6421008"/>
                <a:gd name="connsiteX1761" fmla="*/ 1319942 w 6123188"/>
                <a:gd name="connsiteY1761" fmla="*/ 676648 h 6421008"/>
                <a:gd name="connsiteX1762" fmla="*/ 1324706 w 6123188"/>
                <a:gd name="connsiteY1762" fmla="*/ 690942 h 6421008"/>
                <a:gd name="connsiteX1763" fmla="*/ 1319942 w 6123188"/>
                <a:gd name="connsiteY1763" fmla="*/ 705238 h 6421008"/>
                <a:gd name="connsiteX1764" fmla="*/ 1319942 w 6123188"/>
                <a:gd name="connsiteY1764" fmla="*/ 714768 h 6421008"/>
                <a:gd name="connsiteX1765" fmla="*/ 1334236 w 6123188"/>
                <a:gd name="connsiteY1765" fmla="*/ 714768 h 6421008"/>
                <a:gd name="connsiteX1766" fmla="*/ 1343766 w 6123188"/>
                <a:gd name="connsiteY1766" fmla="*/ 695708 h 6421008"/>
                <a:gd name="connsiteX1767" fmla="*/ 1353296 w 6123188"/>
                <a:gd name="connsiteY1767" fmla="*/ 686178 h 6421008"/>
                <a:gd name="connsiteX1768" fmla="*/ 1367592 w 6123188"/>
                <a:gd name="connsiteY1768" fmla="*/ 676648 h 6421008"/>
                <a:gd name="connsiteX1769" fmla="*/ 1381888 w 6123188"/>
                <a:gd name="connsiteY1769" fmla="*/ 662352 h 6421008"/>
                <a:gd name="connsiteX1770" fmla="*/ 1391418 w 6123188"/>
                <a:gd name="connsiteY1770" fmla="*/ 648056 h 6421008"/>
                <a:gd name="connsiteX1771" fmla="*/ 1405714 w 6123188"/>
                <a:gd name="connsiteY1771" fmla="*/ 638526 h 6421008"/>
                <a:gd name="connsiteX1772" fmla="*/ 1420008 w 6123188"/>
                <a:gd name="connsiteY1772" fmla="*/ 628996 h 6421008"/>
                <a:gd name="connsiteX1773" fmla="*/ 1434304 w 6123188"/>
                <a:gd name="connsiteY1773" fmla="*/ 624230 h 6421008"/>
                <a:gd name="connsiteX1774" fmla="*/ 1448600 w 6123188"/>
                <a:gd name="connsiteY1774" fmla="*/ 624230 h 6421008"/>
                <a:gd name="connsiteX1775" fmla="*/ 1458130 w 6123188"/>
                <a:gd name="connsiteY1775" fmla="*/ 619466 h 6421008"/>
                <a:gd name="connsiteX1776" fmla="*/ 1472426 w 6123188"/>
                <a:gd name="connsiteY1776" fmla="*/ 605170 h 6421008"/>
                <a:gd name="connsiteX1777" fmla="*/ 1481956 w 6123188"/>
                <a:gd name="connsiteY1777" fmla="*/ 595640 h 6421008"/>
                <a:gd name="connsiteX1778" fmla="*/ 1486720 w 6123188"/>
                <a:gd name="connsiteY1778" fmla="*/ 595640 h 6421008"/>
                <a:gd name="connsiteX1779" fmla="*/ 1501016 w 6123188"/>
                <a:gd name="connsiteY1779" fmla="*/ 595640 h 6421008"/>
                <a:gd name="connsiteX1780" fmla="*/ 1515312 w 6123188"/>
                <a:gd name="connsiteY1780" fmla="*/ 595640 h 6421008"/>
                <a:gd name="connsiteX1781" fmla="*/ 1529606 w 6123188"/>
                <a:gd name="connsiteY1781" fmla="*/ 581344 h 6421008"/>
                <a:gd name="connsiteX1782" fmla="*/ 1543902 w 6123188"/>
                <a:gd name="connsiteY1782" fmla="*/ 567050 h 6421008"/>
                <a:gd name="connsiteX1783" fmla="*/ 1553432 w 6123188"/>
                <a:gd name="connsiteY1783" fmla="*/ 543224 h 6421008"/>
                <a:gd name="connsiteX1784" fmla="*/ 1558198 w 6123188"/>
                <a:gd name="connsiteY1784" fmla="*/ 524164 h 6421008"/>
                <a:gd name="connsiteX1785" fmla="*/ 1562962 w 6123188"/>
                <a:gd name="connsiteY1785" fmla="*/ 519398 h 6421008"/>
                <a:gd name="connsiteX1786" fmla="*/ 1567728 w 6123188"/>
                <a:gd name="connsiteY1786" fmla="*/ 514632 h 6421008"/>
                <a:gd name="connsiteX1787" fmla="*/ 1572492 w 6123188"/>
                <a:gd name="connsiteY1787" fmla="*/ 514632 h 6421008"/>
                <a:gd name="connsiteX1788" fmla="*/ 1586788 w 6123188"/>
                <a:gd name="connsiteY1788" fmla="*/ 509868 h 6421008"/>
                <a:gd name="connsiteX1789" fmla="*/ 1615380 w 6123188"/>
                <a:gd name="connsiteY1789" fmla="*/ 500338 h 6421008"/>
                <a:gd name="connsiteX1790" fmla="*/ 1629674 w 6123188"/>
                <a:gd name="connsiteY1790" fmla="*/ 490808 h 6421008"/>
                <a:gd name="connsiteX1791" fmla="*/ 1648734 w 6123188"/>
                <a:gd name="connsiteY1791" fmla="*/ 486042 h 6421008"/>
                <a:gd name="connsiteX1792" fmla="*/ 1653500 w 6123188"/>
                <a:gd name="connsiteY1792" fmla="*/ 486042 h 6421008"/>
                <a:gd name="connsiteX1793" fmla="*/ 1658266 w 6123188"/>
                <a:gd name="connsiteY1793" fmla="*/ 471746 h 6421008"/>
                <a:gd name="connsiteX1794" fmla="*/ 1663030 w 6123188"/>
                <a:gd name="connsiteY1794" fmla="*/ 457452 h 6421008"/>
                <a:gd name="connsiteX1795" fmla="*/ 1658266 w 6123188"/>
                <a:gd name="connsiteY1795" fmla="*/ 443156 h 6421008"/>
                <a:gd name="connsiteX1796" fmla="*/ 1629674 w 6123188"/>
                <a:gd name="connsiteY1796" fmla="*/ 438390 h 6421008"/>
                <a:gd name="connsiteX1797" fmla="*/ 1610614 w 6123188"/>
                <a:gd name="connsiteY1797" fmla="*/ 438390 h 6421008"/>
                <a:gd name="connsiteX1798" fmla="*/ 1577258 w 6123188"/>
                <a:gd name="connsiteY1798" fmla="*/ 438390 h 6421008"/>
                <a:gd name="connsiteX1799" fmla="*/ 1558198 w 6123188"/>
                <a:gd name="connsiteY1799" fmla="*/ 433626 h 6421008"/>
                <a:gd name="connsiteX1800" fmla="*/ 1558198 w 6123188"/>
                <a:gd name="connsiteY1800" fmla="*/ 428860 h 6421008"/>
                <a:gd name="connsiteX1801" fmla="*/ 1558198 w 6123188"/>
                <a:gd name="connsiteY1801" fmla="*/ 419330 h 6421008"/>
                <a:gd name="connsiteX1802" fmla="*/ 1562962 w 6123188"/>
                <a:gd name="connsiteY1802" fmla="*/ 405034 h 6421008"/>
                <a:gd name="connsiteX1803" fmla="*/ 1558198 w 6123188"/>
                <a:gd name="connsiteY1803" fmla="*/ 381210 h 6421008"/>
                <a:gd name="connsiteX1804" fmla="*/ 1543902 w 6123188"/>
                <a:gd name="connsiteY1804" fmla="*/ 352618 h 6421008"/>
                <a:gd name="connsiteX1805" fmla="*/ 1529606 w 6123188"/>
                <a:gd name="connsiteY1805" fmla="*/ 319262 h 6421008"/>
                <a:gd name="connsiteX1806" fmla="*/ 1529606 w 6123188"/>
                <a:gd name="connsiteY1806" fmla="*/ 300202 h 6421008"/>
                <a:gd name="connsiteX1807" fmla="*/ 1529606 w 6123188"/>
                <a:gd name="connsiteY1807" fmla="*/ 276376 h 6421008"/>
                <a:gd name="connsiteX1808" fmla="*/ 1529606 w 6123188"/>
                <a:gd name="connsiteY1808" fmla="*/ 262080 h 6421008"/>
                <a:gd name="connsiteX1809" fmla="*/ 1520076 w 6123188"/>
                <a:gd name="connsiteY1809" fmla="*/ 247786 h 6421008"/>
                <a:gd name="connsiteX1810" fmla="*/ 1477190 w 6123188"/>
                <a:gd name="connsiteY1810" fmla="*/ 209664 h 6421008"/>
                <a:gd name="connsiteX1811" fmla="*/ 1458130 w 6123188"/>
                <a:gd name="connsiteY1811" fmla="*/ 195370 h 6421008"/>
                <a:gd name="connsiteX1812" fmla="*/ 1453364 w 6123188"/>
                <a:gd name="connsiteY1812" fmla="*/ 181074 h 6421008"/>
                <a:gd name="connsiteX1813" fmla="*/ 1434304 w 6123188"/>
                <a:gd name="connsiteY1813" fmla="*/ 157248 h 6421008"/>
                <a:gd name="connsiteX1814" fmla="*/ 1439070 w 6123188"/>
                <a:gd name="connsiteY1814" fmla="*/ 152484 h 6421008"/>
                <a:gd name="connsiteX1815" fmla="*/ 1453364 w 6123188"/>
                <a:gd name="connsiteY1815" fmla="*/ 152484 h 6421008"/>
                <a:gd name="connsiteX1816" fmla="*/ 1458130 w 6123188"/>
                <a:gd name="connsiteY1816" fmla="*/ 157248 h 6421008"/>
                <a:gd name="connsiteX1817" fmla="*/ 1467660 w 6123188"/>
                <a:gd name="connsiteY1817" fmla="*/ 171544 h 6421008"/>
                <a:gd name="connsiteX1818" fmla="*/ 1472426 w 6123188"/>
                <a:gd name="connsiteY1818" fmla="*/ 176308 h 6421008"/>
                <a:gd name="connsiteX1819" fmla="*/ 1481956 w 6123188"/>
                <a:gd name="connsiteY1819" fmla="*/ 176308 h 6421008"/>
                <a:gd name="connsiteX1820" fmla="*/ 1524842 w 6123188"/>
                <a:gd name="connsiteY1820" fmla="*/ 171544 h 6421008"/>
                <a:gd name="connsiteX1821" fmla="*/ 1534372 w 6123188"/>
                <a:gd name="connsiteY1821" fmla="*/ 176308 h 6421008"/>
                <a:gd name="connsiteX1822" fmla="*/ 1539136 w 6123188"/>
                <a:gd name="connsiteY1822" fmla="*/ 181074 h 6421008"/>
                <a:gd name="connsiteX1823" fmla="*/ 1543902 w 6123188"/>
                <a:gd name="connsiteY1823" fmla="*/ 185838 h 6421008"/>
                <a:gd name="connsiteX1824" fmla="*/ 1553432 w 6123188"/>
                <a:gd name="connsiteY1824" fmla="*/ 200134 h 6421008"/>
                <a:gd name="connsiteX1825" fmla="*/ 1562962 w 6123188"/>
                <a:gd name="connsiteY1825" fmla="*/ 204900 h 6421008"/>
                <a:gd name="connsiteX1826" fmla="*/ 1601084 w 6123188"/>
                <a:gd name="connsiteY1826" fmla="*/ 204900 h 6421008"/>
                <a:gd name="connsiteX1827" fmla="*/ 1620144 w 6123188"/>
                <a:gd name="connsiteY1827" fmla="*/ 204900 h 6421008"/>
                <a:gd name="connsiteX1828" fmla="*/ 1624910 w 6123188"/>
                <a:gd name="connsiteY1828" fmla="*/ 209664 h 6421008"/>
                <a:gd name="connsiteX1829" fmla="*/ 1639204 w 6123188"/>
                <a:gd name="connsiteY1829" fmla="*/ 209664 h 6421008"/>
                <a:gd name="connsiteX1830" fmla="*/ 1663030 w 6123188"/>
                <a:gd name="connsiteY1830" fmla="*/ 204900 h 6421008"/>
                <a:gd name="connsiteX1831" fmla="*/ 1667796 w 6123188"/>
                <a:gd name="connsiteY1831" fmla="*/ 204900 h 6421008"/>
                <a:gd name="connsiteX1832" fmla="*/ 1672560 w 6123188"/>
                <a:gd name="connsiteY1832" fmla="*/ 209664 h 6421008"/>
                <a:gd name="connsiteX1833" fmla="*/ 1701152 w 6123188"/>
                <a:gd name="connsiteY1833" fmla="*/ 233490 h 6421008"/>
                <a:gd name="connsiteX1834" fmla="*/ 1715446 w 6123188"/>
                <a:gd name="connsiteY1834" fmla="*/ 243020 h 6421008"/>
                <a:gd name="connsiteX1835" fmla="*/ 1724976 w 6123188"/>
                <a:gd name="connsiteY1835" fmla="*/ 257316 h 6421008"/>
                <a:gd name="connsiteX1836" fmla="*/ 1744038 w 6123188"/>
                <a:gd name="connsiteY1836" fmla="*/ 257316 h 6421008"/>
                <a:gd name="connsiteX1837" fmla="*/ 1758332 w 6123188"/>
                <a:gd name="connsiteY1837" fmla="*/ 247786 h 6421008"/>
                <a:gd name="connsiteX1838" fmla="*/ 1763098 w 6123188"/>
                <a:gd name="connsiteY1838" fmla="*/ 204900 h 6421008"/>
                <a:gd name="connsiteX1839" fmla="*/ 1763098 w 6123188"/>
                <a:gd name="connsiteY1839" fmla="*/ 195370 h 6421008"/>
                <a:gd name="connsiteX1840" fmla="*/ 1772628 w 6123188"/>
                <a:gd name="connsiteY1840" fmla="*/ 190604 h 6421008"/>
                <a:gd name="connsiteX1841" fmla="*/ 1782158 w 6123188"/>
                <a:gd name="connsiteY1841" fmla="*/ 190604 h 6421008"/>
                <a:gd name="connsiteX1842" fmla="*/ 1791688 w 6123188"/>
                <a:gd name="connsiteY1842" fmla="*/ 181074 h 6421008"/>
                <a:gd name="connsiteX1843" fmla="*/ 1801220 w 6123188"/>
                <a:gd name="connsiteY1843" fmla="*/ 176308 h 6421008"/>
                <a:gd name="connsiteX1844" fmla="*/ 1810750 w 6123188"/>
                <a:gd name="connsiteY1844" fmla="*/ 171544 h 6421008"/>
                <a:gd name="connsiteX1845" fmla="*/ 1853636 w 6123188"/>
                <a:gd name="connsiteY1845" fmla="*/ 181074 h 6421008"/>
                <a:gd name="connsiteX1846" fmla="*/ 1863166 w 6123188"/>
                <a:gd name="connsiteY1846" fmla="*/ 176308 h 6421008"/>
                <a:gd name="connsiteX1847" fmla="*/ 1906052 w 6123188"/>
                <a:gd name="connsiteY1847" fmla="*/ 166778 h 6421008"/>
                <a:gd name="connsiteX1848" fmla="*/ 1944172 w 6123188"/>
                <a:gd name="connsiteY1848" fmla="*/ 152484 h 6421008"/>
                <a:gd name="connsiteX1849" fmla="*/ 1958468 w 6123188"/>
                <a:gd name="connsiteY1849" fmla="*/ 133422 h 6421008"/>
                <a:gd name="connsiteX1850" fmla="*/ 1972764 w 6123188"/>
                <a:gd name="connsiteY1850" fmla="*/ 128658 h 6421008"/>
                <a:gd name="connsiteX1851" fmla="*/ 1987058 w 6123188"/>
                <a:gd name="connsiteY1851" fmla="*/ 114362 h 6421008"/>
                <a:gd name="connsiteX1852" fmla="*/ 2001354 w 6123188"/>
                <a:gd name="connsiteY1852" fmla="*/ 114362 h 6421008"/>
                <a:gd name="connsiteX1853" fmla="*/ 2015650 w 6123188"/>
                <a:gd name="connsiteY1853" fmla="*/ 119128 h 6421008"/>
                <a:gd name="connsiteX1854" fmla="*/ 2025180 w 6123188"/>
                <a:gd name="connsiteY1854" fmla="*/ 114362 h 6421008"/>
                <a:gd name="connsiteX1855" fmla="*/ 2029944 w 6123188"/>
                <a:gd name="connsiteY1855" fmla="*/ 109596 h 6421008"/>
                <a:gd name="connsiteX1856" fmla="*/ 2039476 w 6123188"/>
                <a:gd name="connsiteY1856" fmla="*/ 104832 h 6421008"/>
                <a:gd name="connsiteX1857" fmla="*/ 2049006 w 6123188"/>
                <a:gd name="connsiteY1857" fmla="*/ 85772 h 6421008"/>
                <a:gd name="connsiteX1858" fmla="*/ 2058536 w 6123188"/>
                <a:gd name="connsiteY1858" fmla="*/ 81006 h 6421008"/>
                <a:gd name="connsiteX1859" fmla="*/ 2072832 w 6123188"/>
                <a:gd name="connsiteY1859" fmla="*/ 76242 h 6421008"/>
                <a:gd name="connsiteX1860" fmla="*/ 2082362 w 6123188"/>
                <a:gd name="connsiteY1860" fmla="*/ 66710 h 6421008"/>
                <a:gd name="connsiteX1861" fmla="*/ 2091892 w 6123188"/>
                <a:gd name="connsiteY1861" fmla="*/ 57180 h 6421008"/>
                <a:gd name="connsiteX1862" fmla="*/ 2096656 w 6123188"/>
                <a:gd name="connsiteY1862" fmla="*/ 47650 h 6421008"/>
                <a:gd name="connsiteX1863" fmla="*/ 2091892 w 6123188"/>
                <a:gd name="connsiteY1863" fmla="*/ 38120 h 6421008"/>
                <a:gd name="connsiteX1864" fmla="*/ 2091892 w 6123188"/>
                <a:gd name="connsiteY1864" fmla="*/ 23824 h 6421008"/>
                <a:gd name="connsiteX1865" fmla="*/ 2082362 w 6123188"/>
                <a:gd name="connsiteY1865" fmla="*/ 14294 h 6421008"/>
                <a:gd name="connsiteX1866" fmla="*/ 2077596 w 6123188"/>
                <a:gd name="connsiteY1866" fmla="*/ 9530 h 6421008"/>
                <a:gd name="connsiteX1867" fmla="*/ 2072832 w 6123188"/>
                <a:gd name="connsiteY1867" fmla="*/ 9530 h 6421008"/>
                <a:gd name="connsiteX1868" fmla="*/ 2087126 w 6123188"/>
                <a:gd name="connsiteY1868" fmla="*/ 4764 h 6421008"/>
                <a:gd name="connsiteX1869" fmla="*/ 2096656 w 6123188"/>
                <a:gd name="connsiteY1869" fmla="*/ 9530 h 6421008"/>
                <a:gd name="connsiteX1870" fmla="*/ 2115718 w 6123188"/>
                <a:gd name="connsiteY1870" fmla="*/ 9530 h 6421008"/>
                <a:gd name="connsiteX1871" fmla="*/ 2125248 w 6123188"/>
                <a:gd name="connsiteY1871" fmla="*/ 4764 h 6421008"/>
                <a:gd name="connsiteX1872" fmla="*/ 2134778 w 6123188"/>
                <a:gd name="connsiteY1872" fmla="*/ 9530 h 6421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</a:cxnLst>
              <a:rect l="l" t="t" r="r" b="b"/>
              <a:pathLst>
                <a:path w="6123188" h="6421008">
                  <a:moveTo>
                    <a:pt x="3997942" y="5272612"/>
                  </a:moveTo>
                  <a:lnTo>
                    <a:pt x="4002708" y="5282144"/>
                  </a:lnTo>
                  <a:lnTo>
                    <a:pt x="3997942" y="5301204"/>
                  </a:lnTo>
                  <a:lnTo>
                    <a:pt x="3983648" y="5325030"/>
                  </a:lnTo>
                  <a:lnTo>
                    <a:pt x="3988412" y="5334560"/>
                  </a:lnTo>
                  <a:lnTo>
                    <a:pt x="3974116" y="5344090"/>
                  </a:lnTo>
                  <a:lnTo>
                    <a:pt x="3978882" y="5301204"/>
                  </a:lnTo>
                  <a:lnTo>
                    <a:pt x="3983648" y="5286908"/>
                  </a:lnTo>
                  <a:lnTo>
                    <a:pt x="3988412" y="5277378"/>
                  </a:lnTo>
                  <a:close/>
                  <a:moveTo>
                    <a:pt x="3978882" y="5058182"/>
                  </a:moveTo>
                  <a:lnTo>
                    <a:pt x="3983648" y="5062948"/>
                  </a:lnTo>
                  <a:lnTo>
                    <a:pt x="3978882" y="5082008"/>
                  </a:lnTo>
                  <a:lnTo>
                    <a:pt x="3974116" y="5091538"/>
                  </a:lnTo>
                  <a:lnTo>
                    <a:pt x="3969352" y="5096304"/>
                  </a:lnTo>
                  <a:lnTo>
                    <a:pt x="3959820" y="5077242"/>
                  </a:lnTo>
                  <a:close/>
                  <a:moveTo>
                    <a:pt x="4483986" y="4634086"/>
                  </a:moveTo>
                  <a:lnTo>
                    <a:pt x="4488750" y="4638852"/>
                  </a:lnTo>
                  <a:lnTo>
                    <a:pt x="4493516" y="4643616"/>
                  </a:lnTo>
                  <a:lnTo>
                    <a:pt x="4493516" y="4653146"/>
                  </a:lnTo>
                  <a:lnTo>
                    <a:pt x="4493516" y="4657912"/>
                  </a:lnTo>
                  <a:lnTo>
                    <a:pt x="4493516" y="4662676"/>
                  </a:lnTo>
                  <a:lnTo>
                    <a:pt x="4493516" y="4672208"/>
                  </a:lnTo>
                  <a:lnTo>
                    <a:pt x="4483986" y="4667442"/>
                  </a:lnTo>
                  <a:lnTo>
                    <a:pt x="4464926" y="4672208"/>
                  </a:lnTo>
                  <a:lnTo>
                    <a:pt x="4460160" y="4662676"/>
                  </a:lnTo>
                  <a:close/>
                  <a:moveTo>
                    <a:pt x="4650764" y="4524488"/>
                  </a:moveTo>
                  <a:lnTo>
                    <a:pt x="4655530" y="4524488"/>
                  </a:lnTo>
                  <a:lnTo>
                    <a:pt x="4655530" y="4529254"/>
                  </a:lnTo>
                  <a:lnTo>
                    <a:pt x="4669824" y="4534018"/>
                  </a:lnTo>
                  <a:lnTo>
                    <a:pt x="4674590" y="4538784"/>
                  </a:lnTo>
                  <a:lnTo>
                    <a:pt x="4665060" y="4538784"/>
                  </a:lnTo>
                  <a:lnTo>
                    <a:pt x="4655530" y="4543548"/>
                  </a:lnTo>
                  <a:lnTo>
                    <a:pt x="4636470" y="4548314"/>
                  </a:lnTo>
                  <a:lnTo>
                    <a:pt x="4631704" y="4538784"/>
                  </a:lnTo>
                  <a:lnTo>
                    <a:pt x="4646000" y="4529254"/>
                  </a:lnTo>
                  <a:close/>
                  <a:moveTo>
                    <a:pt x="5470368" y="2928172"/>
                  </a:moveTo>
                  <a:lnTo>
                    <a:pt x="5484664" y="2932936"/>
                  </a:lnTo>
                  <a:lnTo>
                    <a:pt x="5484664" y="2942466"/>
                  </a:lnTo>
                  <a:lnTo>
                    <a:pt x="5479898" y="2951996"/>
                  </a:lnTo>
                  <a:lnTo>
                    <a:pt x="5470368" y="2951996"/>
                  </a:lnTo>
                  <a:lnTo>
                    <a:pt x="5470368" y="2942466"/>
                  </a:lnTo>
                  <a:lnTo>
                    <a:pt x="5465602" y="2937702"/>
                  </a:lnTo>
                  <a:lnTo>
                    <a:pt x="5470368" y="2932936"/>
                  </a:lnTo>
                  <a:close/>
                  <a:moveTo>
                    <a:pt x="5522784" y="2849544"/>
                  </a:moveTo>
                  <a:lnTo>
                    <a:pt x="5527548" y="2859076"/>
                  </a:lnTo>
                  <a:lnTo>
                    <a:pt x="5532314" y="2863840"/>
                  </a:lnTo>
                  <a:lnTo>
                    <a:pt x="5532314" y="2866224"/>
                  </a:lnTo>
                  <a:lnTo>
                    <a:pt x="5508488" y="2880518"/>
                  </a:lnTo>
                  <a:lnTo>
                    <a:pt x="5503724" y="2885284"/>
                  </a:lnTo>
                  <a:lnTo>
                    <a:pt x="5503724" y="2875754"/>
                  </a:lnTo>
                  <a:lnTo>
                    <a:pt x="5518018" y="2863840"/>
                  </a:lnTo>
                  <a:close/>
                  <a:moveTo>
                    <a:pt x="4612644" y="1243698"/>
                  </a:moveTo>
                  <a:lnTo>
                    <a:pt x="4612644" y="1257994"/>
                  </a:lnTo>
                  <a:lnTo>
                    <a:pt x="4607878" y="1281818"/>
                  </a:lnTo>
                  <a:lnTo>
                    <a:pt x="4593584" y="1296114"/>
                  </a:lnTo>
                  <a:lnTo>
                    <a:pt x="4598348" y="1277054"/>
                  </a:lnTo>
                  <a:lnTo>
                    <a:pt x="4598348" y="1267524"/>
                  </a:lnTo>
                  <a:lnTo>
                    <a:pt x="4598348" y="1257994"/>
                  </a:lnTo>
                  <a:lnTo>
                    <a:pt x="4607878" y="1248464"/>
                  </a:lnTo>
                  <a:close/>
                  <a:moveTo>
                    <a:pt x="4536402" y="1019736"/>
                  </a:moveTo>
                  <a:lnTo>
                    <a:pt x="4550698" y="1019736"/>
                  </a:lnTo>
                  <a:lnTo>
                    <a:pt x="4550698" y="1024502"/>
                  </a:lnTo>
                  <a:lnTo>
                    <a:pt x="4541168" y="1034032"/>
                  </a:lnTo>
                  <a:lnTo>
                    <a:pt x="4536402" y="1038798"/>
                  </a:lnTo>
                  <a:lnTo>
                    <a:pt x="4526872" y="1034032"/>
                  </a:lnTo>
                  <a:lnTo>
                    <a:pt x="4531638" y="1029268"/>
                  </a:lnTo>
                  <a:close/>
                  <a:moveTo>
                    <a:pt x="3554786" y="905374"/>
                  </a:moveTo>
                  <a:lnTo>
                    <a:pt x="3569080" y="924434"/>
                  </a:lnTo>
                  <a:lnTo>
                    <a:pt x="3550020" y="981616"/>
                  </a:lnTo>
                  <a:lnTo>
                    <a:pt x="3545256" y="981616"/>
                  </a:lnTo>
                  <a:lnTo>
                    <a:pt x="3521430" y="1010206"/>
                  </a:lnTo>
                  <a:lnTo>
                    <a:pt x="3492840" y="1029268"/>
                  </a:lnTo>
                  <a:lnTo>
                    <a:pt x="3464248" y="1043562"/>
                  </a:lnTo>
                  <a:lnTo>
                    <a:pt x="3449952" y="1048328"/>
                  </a:lnTo>
                  <a:lnTo>
                    <a:pt x="3469014" y="1010206"/>
                  </a:lnTo>
                  <a:lnTo>
                    <a:pt x="3488074" y="991146"/>
                  </a:lnTo>
                  <a:lnTo>
                    <a:pt x="3488074" y="953026"/>
                  </a:lnTo>
                  <a:lnTo>
                    <a:pt x="3507134" y="924434"/>
                  </a:lnTo>
                  <a:lnTo>
                    <a:pt x="3530960" y="910140"/>
                  </a:lnTo>
                  <a:close/>
                  <a:moveTo>
                    <a:pt x="3712034" y="838662"/>
                  </a:moveTo>
                  <a:lnTo>
                    <a:pt x="3807336" y="857722"/>
                  </a:lnTo>
                  <a:lnTo>
                    <a:pt x="3821632" y="857722"/>
                  </a:lnTo>
                  <a:lnTo>
                    <a:pt x="3845458" y="852958"/>
                  </a:lnTo>
                  <a:lnTo>
                    <a:pt x="3859754" y="848192"/>
                  </a:lnTo>
                  <a:lnTo>
                    <a:pt x="3874048" y="843428"/>
                  </a:lnTo>
                  <a:lnTo>
                    <a:pt x="3888344" y="848192"/>
                  </a:lnTo>
                  <a:lnTo>
                    <a:pt x="3940760" y="852958"/>
                  </a:lnTo>
                  <a:lnTo>
                    <a:pt x="3969352" y="857722"/>
                  </a:lnTo>
                  <a:lnTo>
                    <a:pt x="3983646" y="857722"/>
                  </a:lnTo>
                  <a:lnTo>
                    <a:pt x="3993176" y="862488"/>
                  </a:lnTo>
                  <a:lnTo>
                    <a:pt x="4002708" y="867252"/>
                  </a:lnTo>
                  <a:lnTo>
                    <a:pt x="4002708" y="876784"/>
                  </a:lnTo>
                  <a:lnTo>
                    <a:pt x="3997942" y="891078"/>
                  </a:lnTo>
                  <a:lnTo>
                    <a:pt x="3988412" y="905374"/>
                  </a:lnTo>
                  <a:lnTo>
                    <a:pt x="3983646" y="924434"/>
                  </a:lnTo>
                  <a:lnTo>
                    <a:pt x="3983646" y="929200"/>
                  </a:lnTo>
                  <a:lnTo>
                    <a:pt x="3974116" y="929200"/>
                  </a:lnTo>
                  <a:lnTo>
                    <a:pt x="3978882" y="948260"/>
                  </a:lnTo>
                  <a:lnTo>
                    <a:pt x="3978882" y="953026"/>
                  </a:lnTo>
                  <a:lnTo>
                    <a:pt x="3974116" y="962556"/>
                  </a:lnTo>
                  <a:lnTo>
                    <a:pt x="3964586" y="976850"/>
                  </a:lnTo>
                  <a:lnTo>
                    <a:pt x="3955056" y="991146"/>
                  </a:lnTo>
                  <a:lnTo>
                    <a:pt x="3950290" y="995912"/>
                  </a:lnTo>
                  <a:lnTo>
                    <a:pt x="3940760" y="1005442"/>
                  </a:lnTo>
                  <a:lnTo>
                    <a:pt x="3931230" y="1014972"/>
                  </a:lnTo>
                  <a:lnTo>
                    <a:pt x="3931230" y="1019736"/>
                  </a:lnTo>
                  <a:lnTo>
                    <a:pt x="3935996" y="1029268"/>
                  </a:lnTo>
                  <a:lnTo>
                    <a:pt x="3931230" y="1038798"/>
                  </a:lnTo>
                  <a:lnTo>
                    <a:pt x="3916934" y="1053092"/>
                  </a:lnTo>
                  <a:lnTo>
                    <a:pt x="3907404" y="1057858"/>
                  </a:lnTo>
                  <a:lnTo>
                    <a:pt x="3902640" y="1057858"/>
                  </a:lnTo>
                  <a:lnTo>
                    <a:pt x="3893110" y="1057858"/>
                  </a:lnTo>
                  <a:lnTo>
                    <a:pt x="3878814" y="1043562"/>
                  </a:lnTo>
                  <a:lnTo>
                    <a:pt x="3878814" y="1053092"/>
                  </a:lnTo>
                  <a:lnTo>
                    <a:pt x="3874048" y="1062622"/>
                  </a:lnTo>
                  <a:lnTo>
                    <a:pt x="3869284" y="1072154"/>
                  </a:lnTo>
                  <a:lnTo>
                    <a:pt x="3854988" y="1072154"/>
                  </a:lnTo>
                  <a:lnTo>
                    <a:pt x="3845458" y="1062622"/>
                  </a:lnTo>
                  <a:lnTo>
                    <a:pt x="3826398" y="1057858"/>
                  </a:lnTo>
                  <a:lnTo>
                    <a:pt x="3826398" y="1076918"/>
                  </a:lnTo>
                  <a:lnTo>
                    <a:pt x="3816868" y="1086448"/>
                  </a:lnTo>
                  <a:lnTo>
                    <a:pt x="3807336" y="1091214"/>
                  </a:lnTo>
                  <a:lnTo>
                    <a:pt x="3788276" y="1095978"/>
                  </a:lnTo>
                  <a:lnTo>
                    <a:pt x="3778746" y="1100744"/>
                  </a:lnTo>
                  <a:lnTo>
                    <a:pt x="3764450" y="1095978"/>
                  </a:lnTo>
                  <a:lnTo>
                    <a:pt x="3750156" y="1086448"/>
                  </a:lnTo>
                  <a:lnTo>
                    <a:pt x="3740626" y="1086448"/>
                  </a:lnTo>
                  <a:lnTo>
                    <a:pt x="3735860" y="1095978"/>
                  </a:lnTo>
                  <a:lnTo>
                    <a:pt x="3697738" y="1095978"/>
                  </a:lnTo>
                  <a:lnTo>
                    <a:pt x="3683444" y="1100744"/>
                  </a:lnTo>
                  <a:lnTo>
                    <a:pt x="3673914" y="1100744"/>
                  </a:lnTo>
                  <a:lnTo>
                    <a:pt x="3654852" y="1086448"/>
                  </a:lnTo>
                  <a:lnTo>
                    <a:pt x="3654852" y="1076918"/>
                  </a:lnTo>
                  <a:lnTo>
                    <a:pt x="3645322" y="1057858"/>
                  </a:lnTo>
                  <a:lnTo>
                    <a:pt x="3635792" y="1034032"/>
                  </a:lnTo>
                  <a:lnTo>
                    <a:pt x="3631028" y="1014972"/>
                  </a:lnTo>
                  <a:lnTo>
                    <a:pt x="3635792" y="995912"/>
                  </a:lnTo>
                  <a:lnTo>
                    <a:pt x="3645322" y="995912"/>
                  </a:lnTo>
                  <a:lnTo>
                    <a:pt x="3659618" y="1000676"/>
                  </a:lnTo>
                  <a:lnTo>
                    <a:pt x="3659618" y="991146"/>
                  </a:lnTo>
                  <a:lnTo>
                    <a:pt x="3659618" y="986380"/>
                  </a:lnTo>
                  <a:lnTo>
                    <a:pt x="3640558" y="991146"/>
                  </a:lnTo>
                  <a:lnTo>
                    <a:pt x="3631028" y="976850"/>
                  </a:lnTo>
                  <a:lnTo>
                    <a:pt x="3626262" y="962556"/>
                  </a:lnTo>
                  <a:lnTo>
                    <a:pt x="3631028" y="929200"/>
                  </a:lnTo>
                  <a:lnTo>
                    <a:pt x="3631028" y="919670"/>
                  </a:lnTo>
                  <a:lnTo>
                    <a:pt x="3640558" y="910138"/>
                  </a:lnTo>
                  <a:lnTo>
                    <a:pt x="3640558" y="905374"/>
                  </a:lnTo>
                  <a:lnTo>
                    <a:pt x="3640558" y="895844"/>
                  </a:lnTo>
                  <a:lnTo>
                    <a:pt x="3640558" y="876784"/>
                  </a:lnTo>
                  <a:lnTo>
                    <a:pt x="3650088" y="862488"/>
                  </a:lnTo>
                  <a:lnTo>
                    <a:pt x="3678678" y="843428"/>
                  </a:lnTo>
                  <a:close/>
                  <a:moveTo>
                    <a:pt x="3616732" y="829132"/>
                  </a:moveTo>
                  <a:lnTo>
                    <a:pt x="3631028" y="829132"/>
                  </a:lnTo>
                  <a:lnTo>
                    <a:pt x="3645322" y="829132"/>
                  </a:lnTo>
                  <a:lnTo>
                    <a:pt x="3650088" y="838662"/>
                  </a:lnTo>
                  <a:lnTo>
                    <a:pt x="3650088" y="843428"/>
                  </a:lnTo>
                  <a:lnTo>
                    <a:pt x="3607202" y="872018"/>
                  </a:lnTo>
                  <a:lnTo>
                    <a:pt x="3592906" y="862488"/>
                  </a:lnTo>
                  <a:lnTo>
                    <a:pt x="3588140" y="857722"/>
                  </a:lnTo>
                  <a:lnTo>
                    <a:pt x="3592906" y="848192"/>
                  </a:lnTo>
                  <a:lnTo>
                    <a:pt x="3597672" y="838662"/>
                  </a:lnTo>
                  <a:close/>
                  <a:moveTo>
                    <a:pt x="3812102" y="810072"/>
                  </a:moveTo>
                  <a:lnTo>
                    <a:pt x="3826398" y="810072"/>
                  </a:lnTo>
                  <a:lnTo>
                    <a:pt x="3845458" y="810072"/>
                  </a:lnTo>
                  <a:lnTo>
                    <a:pt x="3850224" y="819602"/>
                  </a:lnTo>
                  <a:lnTo>
                    <a:pt x="3845458" y="829132"/>
                  </a:lnTo>
                  <a:lnTo>
                    <a:pt x="3835928" y="838662"/>
                  </a:lnTo>
                  <a:lnTo>
                    <a:pt x="3797808" y="843428"/>
                  </a:lnTo>
                  <a:lnTo>
                    <a:pt x="3778748" y="833896"/>
                  </a:lnTo>
                  <a:lnTo>
                    <a:pt x="3783512" y="829132"/>
                  </a:lnTo>
                  <a:lnTo>
                    <a:pt x="3797808" y="819602"/>
                  </a:lnTo>
                  <a:close/>
                  <a:moveTo>
                    <a:pt x="3769216" y="771950"/>
                  </a:moveTo>
                  <a:lnTo>
                    <a:pt x="3793042" y="781480"/>
                  </a:lnTo>
                  <a:lnTo>
                    <a:pt x="3797808" y="786246"/>
                  </a:lnTo>
                  <a:lnTo>
                    <a:pt x="3773982" y="819600"/>
                  </a:lnTo>
                  <a:lnTo>
                    <a:pt x="3764452" y="824366"/>
                  </a:lnTo>
                  <a:lnTo>
                    <a:pt x="3750156" y="824366"/>
                  </a:lnTo>
                  <a:lnTo>
                    <a:pt x="3731096" y="814836"/>
                  </a:lnTo>
                  <a:lnTo>
                    <a:pt x="3707270" y="814836"/>
                  </a:lnTo>
                  <a:lnTo>
                    <a:pt x="3697740" y="814836"/>
                  </a:lnTo>
                  <a:lnTo>
                    <a:pt x="3697740" y="800540"/>
                  </a:lnTo>
                  <a:lnTo>
                    <a:pt x="3707270" y="786246"/>
                  </a:lnTo>
                  <a:lnTo>
                    <a:pt x="3731096" y="786246"/>
                  </a:lnTo>
                  <a:close/>
                  <a:moveTo>
                    <a:pt x="3688208" y="729064"/>
                  </a:moveTo>
                  <a:lnTo>
                    <a:pt x="3692974" y="729064"/>
                  </a:lnTo>
                  <a:lnTo>
                    <a:pt x="3697740" y="729064"/>
                  </a:lnTo>
                  <a:lnTo>
                    <a:pt x="3697740" y="762420"/>
                  </a:lnTo>
                  <a:lnTo>
                    <a:pt x="3697740" y="781480"/>
                  </a:lnTo>
                  <a:lnTo>
                    <a:pt x="3683444" y="800542"/>
                  </a:lnTo>
                  <a:lnTo>
                    <a:pt x="3683444" y="824368"/>
                  </a:lnTo>
                  <a:lnTo>
                    <a:pt x="3654852" y="810072"/>
                  </a:lnTo>
                  <a:lnTo>
                    <a:pt x="3654852" y="791010"/>
                  </a:lnTo>
                  <a:lnTo>
                    <a:pt x="3669148" y="781480"/>
                  </a:lnTo>
                  <a:lnTo>
                    <a:pt x="3678678" y="771950"/>
                  </a:lnTo>
                  <a:lnTo>
                    <a:pt x="3683444" y="752890"/>
                  </a:lnTo>
                  <a:lnTo>
                    <a:pt x="3683444" y="733830"/>
                  </a:lnTo>
                  <a:close/>
                  <a:moveTo>
                    <a:pt x="3740626" y="719534"/>
                  </a:moveTo>
                  <a:lnTo>
                    <a:pt x="3745392" y="729064"/>
                  </a:lnTo>
                  <a:lnTo>
                    <a:pt x="3745392" y="738594"/>
                  </a:lnTo>
                  <a:lnTo>
                    <a:pt x="3726330" y="757654"/>
                  </a:lnTo>
                  <a:lnTo>
                    <a:pt x="3712036" y="767184"/>
                  </a:lnTo>
                  <a:lnTo>
                    <a:pt x="3707270" y="757654"/>
                  </a:lnTo>
                  <a:lnTo>
                    <a:pt x="3707270" y="738594"/>
                  </a:lnTo>
                  <a:lnTo>
                    <a:pt x="3712036" y="729064"/>
                  </a:lnTo>
                  <a:lnTo>
                    <a:pt x="3731096" y="724300"/>
                  </a:lnTo>
                  <a:lnTo>
                    <a:pt x="3735860" y="724300"/>
                  </a:lnTo>
                  <a:close/>
                  <a:moveTo>
                    <a:pt x="3683444" y="481276"/>
                  </a:moveTo>
                  <a:lnTo>
                    <a:pt x="3692974" y="486042"/>
                  </a:lnTo>
                  <a:lnTo>
                    <a:pt x="3697740" y="486042"/>
                  </a:lnTo>
                  <a:lnTo>
                    <a:pt x="3707270" y="509868"/>
                  </a:lnTo>
                  <a:lnTo>
                    <a:pt x="3702504" y="519398"/>
                  </a:lnTo>
                  <a:lnTo>
                    <a:pt x="3688210" y="524164"/>
                  </a:lnTo>
                  <a:lnTo>
                    <a:pt x="3678680" y="524164"/>
                  </a:lnTo>
                  <a:lnTo>
                    <a:pt x="3669148" y="505102"/>
                  </a:lnTo>
                  <a:lnTo>
                    <a:pt x="3673914" y="490808"/>
                  </a:lnTo>
                  <a:close/>
                  <a:moveTo>
                    <a:pt x="2149074" y="0"/>
                  </a:moveTo>
                  <a:lnTo>
                    <a:pt x="2158604" y="0"/>
                  </a:lnTo>
                  <a:lnTo>
                    <a:pt x="2168134" y="0"/>
                  </a:lnTo>
                  <a:lnTo>
                    <a:pt x="2172898" y="9530"/>
                  </a:lnTo>
                  <a:lnTo>
                    <a:pt x="2177664" y="14294"/>
                  </a:lnTo>
                  <a:lnTo>
                    <a:pt x="2191960" y="23824"/>
                  </a:lnTo>
                  <a:lnTo>
                    <a:pt x="2187194" y="42886"/>
                  </a:lnTo>
                  <a:lnTo>
                    <a:pt x="2187194" y="52416"/>
                  </a:lnTo>
                  <a:lnTo>
                    <a:pt x="2182428" y="66710"/>
                  </a:lnTo>
                  <a:lnTo>
                    <a:pt x="2182428" y="81006"/>
                  </a:lnTo>
                  <a:lnTo>
                    <a:pt x="2177664" y="90536"/>
                  </a:lnTo>
                  <a:lnTo>
                    <a:pt x="2168134" y="100066"/>
                  </a:lnTo>
                  <a:lnTo>
                    <a:pt x="2168134" y="104832"/>
                  </a:lnTo>
                  <a:lnTo>
                    <a:pt x="2163368" y="109596"/>
                  </a:lnTo>
                  <a:lnTo>
                    <a:pt x="2172898" y="114362"/>
                  </a:lnTo>
                  <a:lnTo>
                    <a:pt x="2182428" y="119128"/>
                  </a:lnTo>
                  <a:lnTo>
                    <a:pt x="2196724" y="119128"/>
                  </a:lnTo>
                  <a:lnTo>
                    <a:pt x="2201490" y="119128"/>
                  </a:lnTo>
                  <a:lnTo>
                    <a:pt x="2215784" y="119128"/>
                  </a:lnTo>
                  <a:lnTo>
                    <a:pt x="2230080" y="128658"/>
                  </a:lnTo>
                  <a:lnTo>
                    <a:pt x="2234846" y="138188"/>
                  </a:lnTo>
                  <a:lnTo>
                    <a:pt x="2230080" y="152484"/>
                  </a:lnTo>
                  <a:lnTo>
                    <a:pt x="2230080" y="162014"/>
                  </a:lnTo>
                  <a:lnTo>
                    <a:pt x="2234846" y="166778"/>
                  </a:lnTo>
                  <a:lnTo>
                    <a:pt x="2239610" y="171544"/>
                  </a:lnTo>
                  <a:lnTo>
                    <a:pt x="2249140" y="190604"/>
                  </a:lnTo>
                  <a:lnTo>
                    <a:pt x="2253906" y="200134"/>
                  </a:lnTo>
                  <a:lnTo>
                    <a:pt x="2258672" y="200134"/>
                  </a:lnTo>
                  <a:lnTo>
                    <a:pt x="2258672" y="204900"/>
                  </a:lnTo>
                  <a:lnTo>
                    <a:pt x="2253906" y="214430"/>
                  </a:lnTo>
                  <a:lnTo>
                    <a:pt x="2249140" y="223960"/>
                  </a:lnTo>
                  <a:lnTo>
                    <a:pt x="2239610" y="233490"/>
                  </a:lnTo>
                  <a:lnTo>
                    <a:pt x="2239610" y="243020"/>
                  </a:lnTo>
                  <a:lnTo>
                    <a:pt x="2230080" y="247786"/>
                  </a:lnTo>
                  <a:lnTo>
                    <a:pt x="2211020" y="262080"/>
                  </a:lnTo>
                  <a:lnTo>
                    <a:pt x="2215784" y="281142"/>
                  </a:lnTo>
                  <a:lnTo>
                    <a:pt x="2215784" y="290672"/>
                  </a:lnTo>
                  <a:lnTo>
                    <a:pt x="2215784" y="295436"/>
                  </a:lnTo>
                  <a:lnTo>
                    <a:pt x="2206254" y="309732"/>
                  </a:lnTo>
                  <a:lnTo>
                    <a:pt x="2196724" y="338324"/>
                  </a:lnTo>
                  <a:lnTo>
                    <a:pt x="2191960" y="352618"/>
                  </a:lnTo>
                  <a:lnTo>
                    <a:pt x="2187194" y="390740"/>
                  </a:lnTo>
                  <a:lnTo>
                    <a:pt x="2191960" y="400270"/>
                  </a:lnTo>
                  <a:lnTo>
                    <a:pt x="2196724" y="414566"/>
                  </a:lnTo>
                  <a:lnTo>
                    <a:pt x="2206254" y="452686"/>
                  </a:lnTo>
                  <a:lnTo>
                    <a:pt x="2211020" y="457452"/>
                  </a:lnTo>
                  <a:lnTo>
                    <a:pt x="2225316" y="466982"/>
                  </a:lnTo>
                  <a:lnTo>
                    <a:pt x="2230080" y="490808"/>
                  </a:lnTo>
                  <a:lnTo>
                    <a:pt x="2225316" y="514632"/>
                  </a:lnTo>
                  <a:lnTo>
                    <a:pt x="2225316" y="524164"/>
                  </a:lnTo>
                  <a:lnTo>
                    <a:pt x="2230080" y="528928"/>
                  </a:lnTo>
                  <a:lnTo>
                    <a:pt x="2234846" y="528928"/>
                  </a:lnTo>
                  <a:lnTo>
                    <a:pt x="2239610" y="533694"/>
                  </a:lnTo>
                  <a:lnTo>
                    <a:pt x="2239610" y="538458"/>
                  </a:lnTo>
                  <a:lnTo>
                    <a:pt x="2239610" y="547988"/>
                  </a:lnTo>
                  <a:lnTo>
                    <a:pt x="2253906" y="552754"/>
                  </a:lnTo>
                  <a:lnTo>
                    <a:pt x="2263436" y="557518"/>
                  </a:lnTo>
                  <a:lnTo>
                    <a:pt x="2268202" y="567050"/>
                  </a:lnTo>
                  <a:lnTo>
                    <a:pt x="2287262" y="581344"/>
                  </a:lnTo>
                  <a:lnTo>
                    <a:pt x="2292028" y="586110"/>
                  </a:lnTo>
                  <a:lnTo>
                    <a:pt x="2296792" y="590874"/>
                  </a:lnTo>
                  <a:lnTo>
                    <a:pt x="2311088" y="605170"/>
                  </a:lnTo>
                  <a:lnTo>
                    <a:pt x="2349208" y="614700"/>
                  </a:lnTo>
                  <a:lnTo>
                    <a:pt x="2358738" y="624230"/>
                  </a:lnTo>
                  <a:lnTo>
                    <a:pt x="2368268" y="633760"/>
                  </a:lnTo>
                  <a:lnTo>
                    <a:pt x="2373034" y="633760"/>
                  </a:lnTo>
                  <a:lnTo>
                    <a:pt x="2377800" y="633760"/>
                  </a:lnTo>
                  <a:lnTo>
                    <a:pt x="2387330" y="624230"/>
                  </a:lnTo>
                  <a:lnTo>
                    <a:pt x="2396860" y="619466"/>
                  </a:lnTo>
                  <a:lnTo>
                    <a:pt x="2406390" y="619466"/>
                  </a:lnTo>
                  <a:lnTo>
                    <a:pt x="2420686" y="619466"/>
                  </a:lnTo>
                  <a:lnTo>
                    <a:pt x="2425450" y="614700"/>
                  </a:lnTo>
                  <a:lnTo>
                    <a:pt x="2425450" y="609936"/>
                  </a:lnTo>
                  <a:lnTo>
                    <a:pt x="2420686" y="595640"/>
                  </a:lnTo>
                  <a:lnTo>
                    <a:pt x="2425450" y="590874"/>
                  </a:lnTo>
                  <a:lnTo>
                    <a:pt x="2439746" y="590874"/>
                  </a:lnTo>
                  <a:lnTo>
                    <a:pt x="2439746" y="581344"/>
                  </a:lnTo>
                  <a:lnTo>
                    <a:pt x="2444512" y="576580"/>
                  </a:lnTo>
                  <a:lnTo>
                    <a:pt x="2449276" y="571814"/>
                  </a:lnTo>
                  <a:lnTo>
                    <a:pt x="2454042" y="571814"/>
                  </a:lnTo>
                  <a:lnTo>
                    <a:pt x="2458806" y="576580"/>
                  </a:lnTo>
                  <a:lnTo>
                    <a:pt x="2463572" y="576580"/>
                  </a:lnTo>
                  <a:lnTo>
                    <a:pt x="2473102" y="576580"/>
                  </a:lnTo>
                  <a:lnTo>
                    <a:pt x="2477868" y="586110"/>
                  </a:lnTo>
                  <a:lnTo>
                    <a:pt x="2487398" y="586110"/>
                  </a:lnTo>
                  <a:lnTo>
                    <a:pt x="2496928" y="581344"/>
                  </a:lnTo>
                  <a:lnTo>
                    <a:pt x="2501692" y="581344"/>
                  </a:lnTo>
                  <a:lnTo>
                    <a:pt x="2501692" y="576580"/>
                  </a:lnTo>
                  <a:lnTo>
                    <a:pt x="2501692" y="562284"/>
                  </a:lnTo>
                  <a:lnTo>
                    <a:pt x="2511222" y="562284"/>
                  </a:lnTo>
                  <a:lnTo>
                    <a:pt x="2520752" y="562284"/>
                  </a:lnTo>
                  <a:lnTo>
                    <a:pt x="2535048" y="557518"/>
                  </a:lnTo>
                  <a:lnTo>
                    <a:pt x="2549344" y="552754"/>
                  </a:lnTo>
                  <a:lnTo>
                    <a:pt x="2563640" y="552754"/>
                  </a:lnTo>
                  <a:lnTo>
                    <a:pt x="2573170" y="552754"/>
                  </a:lnTo>
                  <a:lnTo>
                    <a:pt x="2577934" y="543224"/>
                  </a:lnTo>
                  <a:lnTo>
                    <a:pt x="2592230" y="524164"/>
                  </a:lnTo>
                  <a:lnTo>
                    <a:pt x="2601760" y="519398"/>
                  </a:lnTo>
                  <a:lnTo>
                    <a:pt x="2606526" y="514632"/>
                  </a:lnTo>
                  <a:lnTo>
                    <a:pt x="2616056" y="514632"/>
                  </a:lnTo>
                  <a:lnTo>
                    <a:pt x="2630352" y="509868"/>
                  </a:lnTo>
                  <a:lnTo>
                    <a:pt x="2639882" y="505102"/>
                  </a:lnTo>
                  <a:lnTo>
                    <a:pt x="2644646" y="509868"/>
                  </a:lnTo>
                  <a:lnTo>
                    <a:pt x="2649412" y="519398"/>
                  </a:lnTo>
                  <a:lnTo>
                    <a:pt x="2654176" y="519398"/>
                  </a:lnTo>
                  <a:lnTo>
                    <a:pt x="2663708" y="519398"/>
                  </a:lnTo>
                  <a:lnTo>
                    <a:pt x="2682768" y="528928"/>
                  </a:lnTo>
                  <a:lnTo>
                    <a:pt x="2692298" y="524164"/>
                  </a:lnTo>
                  <a:lnTo>
                    <a:pt x="2706592" y="519398"/>
                  </a:lnTo>
                  <a:lnTo>
                    <a:pt x="2716124" y="519398"/>
                  </a:lnTo>
                  <a:lnTo>
                    <a:pt x="2725654" y="524164"/>
                  </a:lnTo>
                  <a:lnTo>
                    <a:pt x="2730418" y="519398"/>
                  </a:lnTo>
                  <a:lnTo>
                    <a:pt x="2739948" y="519398"/>
                  </a:lnTo>
                  <a:lnTo>
                    <a:pt x="2744714" y="519398"/>
                  </a:lnTo>
                  <a:lnTo>
                    <a:pt x="2754244" y="519398"/>
                  </a:lnTo>
                  <a:lnTo>
                    <a:pt x="2778070" y="528928"/>
                  </a:lnTo>
                  <a:lnTo>
                    <a:pt x="2811426" y="533694"/>
                  </a:lnTo>
                  <a:lnTo>
                    <a:pt x="2820956" y="528928"/>
                  </a:lnTo>
                  <a:lnTo>
                    <a:pt x="2825722" y="524164"/>
                  </a:lnTo>
                  <a:lnTo>
                    <a:pt x="2825722" y="509868"/>
                  </a:lnTo>
                  <a:lnTo>
                    <a:pt x="2825722" y="500338"/>
                  </a:lnTo>
                  <a:lnTo>
                    <a:pt x="2820956" y="495572"/>
                  </a:lnTo>
                  <a:lnTo>
                    <a:pt x="2811426" y="481276"/>
                  </a:lnTo>
                  <a:lnTo>
                    <a:pt x="2801896" y="471746"/>
                  </a:lnTo>
                  <a:lnTo>
                    <a:pt x="2792366" y="466982"/>
                  </a:lnTo>
                  <a:lnTo>
                    <a:pt x="2792366" y="462216"/>
                  </a:lnTo>
                  <a:lnTo>
                    <a:pt x="2801896" y="457452"/>
                  </a:lnTo>
                  <a:lnTo>
                    <a:pt x="2806660" y="452686"/>
                  </a:lnTo>
                  <a:lnTo>
                    <a:pt x="2811426" y="447920"/>
                  </a:lnTo>
                  <a:lnTo>
                    <a:pt x="2816192" y="428860"/>
                  </a:lnTo>
                  <a:lnTo>
                    <a:pt x="2820956" y="428860"/>
                  </a:lnTo>
                  <a:lnTo>
                    <a:pt x="2825722" y="428860"/>
                  </a:lnTo>
                  <a:lnTo>
                    <a:pt x="2830486" y="433626"/>
                  </a:lnTo>
                  <a:lnTo>
                    <a:pt x="2854312" y="443156"/>
                  </a:lnTo>
                  <a:lnTo>
                    <a:pt x="2868608" y="443156"/>
                  </a:lnTo>
                  <a:lnTo>
                    <a:pt x="2911494" y="438390"/>
                  </a:lnTo>
                  <a:lnTo>
                    <a:pt x="2916258" y="433626"/>
                  </a:lnTo>
                  <a:lnTo>
                    <a:pt x="2925788" y="428860"/>
                  </a:lnTo>
                  <a:lnTo>
                    <a:pt x="2940084" y="424096"/>
                  </a:lnTo>
                  <a:lnTo>
                    <a:pt x="2944850" y="424096"/>
                  </a:lnTo>
                  <a:lnTo>
                    <a:pt x="2949614" y="424096"/>
                  </a:lnTo>
                  <a:lnTo>
                    <a:pt x="2959144" y="424096"/>
                  </a:lnTo>
                  <a:lnTo>
                    <a:pt x="2968676" y="414566"/>
                  </a:lnTo>
                  <a:lnTo>
                    <a:pt x="2973440" y="414566"/>
                  </a:lnTo>
                  <a:lnTo>
                    <a:pt x="2973440" y="424096"/>
                  </a:lnTo>
                  <a:lnTo>
                    <a:pt x="2982970" y="428860"/>
                  </a:lnTo>
                  <a:lnTo>
                    <a:pt x="2987736" y="438390"/>
                  </a:lnTo>
                  <a:lnTo>
                    <a:pt x="2992500" y="438390"/>
                  </a:lnTo>
                  <a:lnTo>
                    <a:pt x="3006796" y="438390"/>
                  </a:lnTo>
                  <a:lnTo>
                    <a:pt x="3011562" y="438390"/>
                  </a:lnTo>
                  <a:lnTo>
                    <a:pt x="3016326" y="447920"/>
                  </a:lnTo>
                  <a:lnTo>
                    <a:pt x="3016326" y="452686"/>
                  </a:lnTo>
                  <a:lnTo>
                    <a:pt x="3021092" y="457452"/>
                  </a:lnTo>
                  <a:lnTo>
                    <a:pt x="3030622" y="457452"/>
                  </a:lnTo>
                  <a:lnTo>
                    <a:pt x="3035386" y="457452"/>
                  </a:lnTo>
                  <a:lnTo>
                    <a:pt x="3040152" y="462216"/>
                  </a:lnTo>
                  <a:lnTo>
                    <a:pt x="3044916" y="471746"/>
                  </a:lnTo>
                  <a:lnTo>
                    <a:pt x="3059212" y="476512"/>
                  </a:lnTo>
                  <a:lnTo>
                    <a:pt x="3078272" y="486042"/>
                  </a:lnTo>
                  <a:lnTo>
                    <a:pt x="3092568" y="486042"/>
                  </a:lnTo>
                  <a:lnTo>
                    <a:pt x="3102098" y="486042"/>
                  </a:lnTo>
                  <a:lnTo>
                    <a:pt x="3106864" y="490808"/>
                  </a:lnTo>
                  <a:lnTo>
                    <a:pt x="3111628" y="486042"/>
                  </a:lnTo>
                  <a:lnTo>
                    <a:pt x="3135454" y="471746"/>
                  </a:lnTo>
                  <a:lnTo>
                    <a:pt x="3144984" y="466982"/>
                  </a:lnTo>
                  <a:lnTo>
                    <a:pt x="3154516" y="457452"/>
                  </a:lnTo>
                  <a:lnTo>
                    <a:pt x="3159280" y="452686"/>
                  </a:lnTo>
                  <a:lnTo>
                    <a:pt x="3164046" y="452686"/>
                  </a:lnTo>
                  <a:lnTo>
                    <a:pt x="3164046" y="457452"/>
                  </a:lnTo>
                  <a:lnTo>
                    <a:pt x="3168810" y="462216"/>
                  </a:lnTo>
                  <a:lnTo>
                    <a:pt x="3173576" y="462216"/>
                  </a:lnTo>
                  <a:lnTo>
                    <a:pt x="3192636" y="466982"/>
                  </a:lnTo>
                  <a:lnTo>
                    <a:pt x="3202166" y="466982"/>
                  </a:lnTo>
                  <a:lnTo>
                    <a:pt x="3216462" y="466982"/>
                  </a:lnTo>
                  <a:lnTo>
                    <a:pt x="3225992" y="457452"/>
                  </a:lnTo>
                  <a:lnTo>
                    <a:pt x="3230756" y="457452"/>
                  </a:lnTo>
                  <a:lnTo>
                    <a:pt x="3235522" y="462216"/>
                  </a:lnTo>
                  <a:lnTo>
                    <a:pt x="3245052" y="471746"/>
                  </a:lnTo>
                  <a:lnTo>
                    <a:pt x="3245052" y="476512"/>
                  </a:lnTo>
                  <a:lnTo>
                    <a:pt x="3254582" y="476512"/>
                  </a:lnTo>
                  <a:lnTo>
                    <a:pt x="3268878" y="476512"/>
                  </a:lnTo>
                  <a:lnTo>
                    <a:pt x="3278408" y="481276"/>
                  </a:lnTo>
                  <a:lnTo>
                    <a:pt x="3287938" y="481276"/>
                  </a:lnTo>
                  <a:lnTo>
                    <a:pt x="3297468" y="476512"/>
                  </a:lnTo>
                  <a:lnTo>
                    <a:pt x="3302234" y="466982"/>
                  </a:lnTo>
                  <a:lnTo>
                    <a:pt x="3316530" y="457452"/>
                  </a:lnTo>
                  <a:lnTo>
                    <a:pt x="3330824" y="452686"/>
                  </a:lnTo>
                  <a:lnTo>
                    <a:pt x="3335590" y="443156"/>
                  </a:lnTo>
                  <a:lnTo>
                    <a:pt x="3345120" y="424096"/>
                  </a:lnTo>
                  <a:lnTo>
                    <a:pt x="3349886" y="419330"/>
                  </a:lnTo>
                  <a:lnTo>
                    <a:pt x="3349886" y="405034"/>
                  </a:lnTo>
                  <a:lnTo>
                    <a:pt x="3368946" y="371678"/>
                  </a:lnTo>
                  <a:lnTo>
                    <a:pt x="3373710" y="366914"/>
                  </a:lnTo>
                  <a:lnTo>
                    <a:pt x="3378476" y="357384"/>
                  </a:lnTo>
                  <a:lnTo>
                    <a:pt x="3383240" y="343088"/>
                  </a:lnTo>
                  <a:lnTo>
                    <a:pt x="3383240" y="333558"/>
                  </a:lnTo>
                  <a:lnTo>
                    <a:pt x="3388006" y="324028"/>
                  </a:lnTo>
                  <a:lnTo>
                    <a:pt x="3397536" y="314498"/>
                  </a:lnTo>
                  <a:lnTo>
                    <a:pt x="3402302" y="309732"/>
                  </a:lnTo>
                  <a:lnTo>
                    <a:pt x="3411832" y="295436"/>
                  </a:lnTo>
                  <a:lnTo>
                    <a:pt x="3421362" y="281142"/>
                  </a:lnTo>
                  <a:lnTo>
                    <a:pt x="3440422" y="252550"/>
                  </a:lnTo>
                  <a:lnTo>
                    <a:pt x="3440422" y="243020"/>
                  </a:lnTo>
                  <a:lnTo>
                    <a:pt x="3445188" y="238256"/>
                  </a:lnTo>
                  <a:lnTo>
                    <a:pt x="3449952" y="228726"/>
                  </a:lnTo>
                  <a:lnTo>
                    <a:pt x="3459484" y="223960"/>
                  </a:lnTo>
                  <a:lnTo>
                    <a:pt x="3464248" y="214430"/>
                  </a:lnTo>
                  <a:lnTo>
                    <a:pt x="3469014" y="204900"/>
                  </a:lnTo>
                  <a:lnTo>
                    <a:pt x="3473778" y="195370"/>
                  </a:lnTo>
                  <a:lnTo>
                    <a:pt x="3488074" y="190604"/>
                  </a:lnTo>
                  <a:lnTo>
                    <a:pt x="3492840" y="185838"/>
                  </a:lnTo>
                  <a:lnTo>
                    <a:pt x="3507134" y="157248"/>
                  </a:lnTo>
                  <a:lnTo>
                    <a:pt x="3507134" y="147718"/>
                  </a:lnTo>
                  <a:lnTo>
                    <a:pt x="3521430" y="147718"/>
                  </a:lnTo>
                  <a:lnTo>
                    <a:pt x="3545256" y="162014"/>
                  </a:lnTo>
                  <a:lnTo>
                    <a:pt x="3559550" y="181074"/>
                  </a:lnTo>
                  <a:lnTo>
                    <a:pt x="3583376" y="247786"/>
                  </a:lnTo>
                  <a:lnTo>
                    <a:pt x="3588142" y="309732"/>
                  </a:lnTo>
                  <a:lnTo>
                    <a:pt x="3597672" y="338324"/>
                  </a:lnTo>
                  <a:lnTo>
                    <a:pt x="3621498" y="405034"/>
                  </a:lnTo>
                  <a:lnTo>
                    <a:pt x="3621498" y="419330"/>
                  </a:lnTo>
                  <a:lnTo>
                    <a:pt x="3626262" y="433626"/>
                  </a:lnTo>
                  <a:lnTo>
                    <a:pt x="3635792" y="447920"/>
                  </a:lnTo>
                  <a:lnTo>
                    <a:pt x="3645324" y="476512"/>
                  </a:lnTo>
                  <a:lnTo>
                    <a:pt x="3645324" y="481276"/>
                  </a:lnTo>
                  <a:lnTo>
                    <a:pt x="3640558" y="486042"/>
                  </a:lnTo>
                  <a:lnTo>
                    <a:pt x="3650088" y="486042"/>
                  </a:lnTo>
                  <a:lnTo>
                    <a:pt x="3654854" y="490808"/>
                  </a:lnTo>
                  <a:lnTo>
                    <a:pt x="3659618" y="509868"/>
                  </a:lnTo>
                  <a:lnTo>
                    <a:pt x="3669148" y="519398"/>
                  </a:lnTo>
                  <a:lnTo>
                    <a:pt x="3678680" y="533694"/>
                  </a:lnTo>
                  <a:lnTo>
                    <a:pt x="3702504" y="538458"/>
                  </a:lnTo>
                  <a:lnTo>
                    <a:pt x="3721564" y="543224"/>
                  </a:lnTo>
                  <a:lnTo>
                    <a:pt x="3740626" y="552754"/>
                  </a:lnTo>
                  <a:lnTo>
                    <a:pt x="3754920" y="562284"/>
                  </a:lnTo>
                  <a:lnTo>
                    <a:pt x="3769216" y="600406"/>
                  </a:lnTo>
                  <a:lnTo>
                    <a:pt x="3764452" y="624230"/>
                  </a:lnTo>
                  <a:lnTo>
                    <a:pt x="3764452" y="638526"/>
                  </a:lnTo>
                  <a:lnTo>
                    <a:pt x="3759686" y="648056"/>
                  </a:lnTo>
                  <a:lnTo>
                    <a:pt x="3745390" y="657586"/>
                  </a:lnTo>
                  <a:lnTo>
                    <a:pt x="3740626" y="662352"/>
                  </a:lnTo>
                  <a:lnTo>
                    <a:pt x="3707270" y="690942"/>
                  </a:lnTo>
                  <a:lnTo>
                    <a:pt x="3697740" y="705238"/>
                  </a:lnTo>
                  <a:lnTo>
                    <a:pt x="3678680" y="719534"/>
                  </a:lnTo>
                  <a:lnTo>
                    <a:pt x="3659618" y="752890"/>
                  </a:lnTo>
                  <a:lnTo>
                    <a:pt x="3631028" y="786244"/>
                  </a:lnTo>
                  <a:lnTo>
                    <a:pt x="3621498" y="795776"/>
                  </a:lnTo>
                  <a:lnTo>
                    <a:pt x="3607202" y="795776"/>
                  </a:lnTo>
                  <a:lnTo>
                    <a:pt x="3597672" y="800540"/>
                  </a:lnTo>
                  <a:lnTo>
                    <a:pt x="3578612" y="824366"/>
                  </a:lnTo>
                  <a:lnTo>
                    <a:pt x="3550020" y="833896"/>
                  </a:lnTo>
                  <a:lnTo>
                    <a:pt x="3545256" y="848192"/>
                  </a:lnTo>
                  <a:lnTo>
                    <a:pt x="3530960" y="881548"/>
                  </a:lnTo>
                  <a:lnTo>
                    <a:pt x="3516664" y="900608"/>
                  </a:lnTo>
                  <a:lnTo>
                    <a:pt x="3507134" y="905374"/>
                  </a:lnTo>
                  <a:lnTo>
                    <a:pt x="3483308" y="938730"/>
                  </a:lnTo>
                  <a:lnTo>
                    <a:pt x="3483308" y="953024"/>
                  </a:lnTo>
                  <a:lnTo>
                    <a:pt x="3483308" y="981616"/>
                  </a:lnTo>
                  <a:lnTo>
                    <a:pt x="3464248" y="995910"/>
                  </a:lnTo>
                  <a:lnTo>
                    <a:pt x="3449952" y="1005440"/>
                  </a:lnTo>
                  <a:lnTo>
                    <a:pt x="3449952" y="1029266"/>
                  </a:lnTo>
                  <a:lnTo>
                    <a:pt x="3440422" y="1034032"/>
                  </a:lnTo>
                  <a:lnTo>
                    <a:pt x="3435658" y="1038796"/>
                  </a:lnTo>
                  <a:lnTo>
                    <a:pt x="3402302" y="1034032"/>
                  </a:lnTo>
                  <a:lnTo>
                    <a:pt x="3349886" y="1057858"/>
                  </a:lnTo>
                  <a:lnTo>
                    <a:pt x="3335590" y="1062622"/>
                  </a:lnTo>
                  <a:lnTo>
                    <a:pt x="3388006" y="1062622"/>
                  </a:lnTo>
                  <a:lnTo>
                    <a:pt x="3407066" y="1076918"/>
                  </a:lnTo>
                  <a:lnTo>
                    <a:pt x="3445188" y="1067388"/>
                  </a:lnTo>
                  <a:lnTo>
                    <a:pt x="3492840" y="1038796"/>
                  </a:lnTo>
                  <a:lnTo>
                    <a:pt x="3511900" y="1034032"/>
                  </a:lnTo>
                  <a:lnTo>
                    <a:pt x="3550020" y="1010206"/>
                  </a:lnTo>
                  <a:lnTo>
                    <a:pt x="3564316" y="1000676"/>
                  </a:lnTo>
                  <a:lnTo>
                    <a:pt x="3588142" y="981616"/>
                  </a:lnTo>
                  <a:lnTo>
                    <a:pt x="3597672" y="976850"/>
                  </a:lnTo>
                  <a:lnTo>
                    <a:pt x="3611968" y="967320"/>
                  </a:lnTo>
                  <a:lnTo>
                    <a:pt x="3616732" y="976850"/>
                  </a:lnTo>
                  <a:lnTo>
                    <a:pt x="3621498" y="981616"/>
                  </a:lnTo>
                  <a:lnTo>
                    <a:pt x="3607202" y="995910"/>
                  </a:lnTo>
                  <a:lnTo>
                    <a:pt x="3611968" y="1000676"/>
                  </a:lnTo>
                  <a:lnTo>
                    <a:pt x="3616732" y="1014972"/>
                  </a:lnTo>
                  <a:lnTo>
                    <a:pt x="3621498" y="1024502"/>
                  </a:lnTo>
                  <a:lnTo>
                    <a:pt x="3621498" y="1034032"/>
                  </a:lnTo>
                  <a:lnTo>
                    <a:pt x="3626262" y="1053092"/>
                  </a:lnTo>
                  <a:lnTo>
                    <a:pt x="3645324" y="1076918"/>
                  </a:lnTo>
                  <a:lnTo>
                    <a:pt x="3645324" y="1086448"/>
                  </a:lnTo>
                  <a:lnTo>
                    <a:pt x="3640558" y="1095978"/>
                  </a:lnTo>
                  <a:lnTo>
                    <a:pt x="3650088" y="1105508"/>
                  </a:lnTo>
                  <a:lnTo>
                    <a:pt x="3659618" y="1110274"/>
                  </a:lnTo>
                  <a:lnTo>
                    <a:pt x="3688210" y="1134100"/>
                  </a:lnTo>
                  <a:lnTo>
                    <a:pt x="3712034" y="1119804"/>
                  </a:lnTo>
                  <a:lnTo>
                    <a:pt x="3721564" y="1115038"/>
                  </a:lnTo>
                  <a:lnTo>
                    <a:pt x="3731096" y="1110274"/>
                  </a:lnTo>
                  <a:lnTo>
                    <a:pt x="3750156" y="1105508"/>
                  </a:lnTo>
                  <a:lnTo>
                    <a:pt x="3764452" y="1115038"/>
                  </a:lnTo>
                  <a:lnTo>
                    <a:pt x="3793042" y="1119804"/>
                  </a:lnTo>
                  <a:lnTo>
                    <a:pt x="3816868" y="1110274"/>
                  </a:lnTo>
                  <a:lnTo>
                    <a:pt x="3859754" y="1091214"/>
                  </a:lnTo>
                  <a:lnTo>
                    <a:pt x="3845458" y="1129334"/>
                  </a:lnTo>
                  <a:lnTo>
                    <a:pt x="3835928" y="1162690"/>
                  </a:lnTo>
                  <a:lnTo>
                    <a:pt x="3826398" y="1176986"/>
                  </a:lnTo>
                  <a:lnTo>
                    <a:pt x="3821632" y="1215106"/>
                  </a:lnTo>
                  <a:lnTo>
                    <a:pt x="3812102" y="1224636"/>
                  </a:lnTo>
                  <a:lnTo>
                    <a:pt x="3807338" y="1234168"/>
                  </a:lnTo>
                  <a:lnTo>
                    <a:pt x="3816868" y="1234168"/>
                  </a:lnTo>
                  <a:lnTo>
                    <a:pt x="3826398" y="1224636"/>
                  </a:lnTo>
                  <a:lnTo>
                    <a:pt x="3835928" y="1210342"/>
                  </a:lnTo>
                  <a:lnTo>
                    <a:pt x="3845458" y="1186516"/>
                  </a:lnTo>
                  <a:lnTo>
                    <a:pt x="3874050" y="1119804"/>
                  </a:lnTo>
                  <a:lnTo>
                    <a:pt x="3883580" y="1115038"/>
                  </a:lnTo>
                  <a:lnTo>
                    <a:pt x="3907404" y="1105508"/>
                  </a:lnTo>
                  <a:lnTo>
                    <a:pt x="3950292" y="1053092"/>
                  </a:lnTo>
                  <a:lnTo>
                    <a:pt x="3969352" y="1053092"/>
                  </a:lnTo>
                  <a:lnTo>
                    <a:pt x="3978882" y="1067388"/>
                  </a:lnTo>
                  <a:lnTo>
                    <a:pt x="3988412" y="1072152"/>
                  </a:lnTo>
                  <a:lnTo>
                    <a:pt x="3993178" y="1057858"/>
                  </a:lnTo>
                  <a:lnTo>
                    <a:pt x="4007472" y="1053092"/>
                  </a:lnTo>
                  <a:lnTo>
                    <a:pt x="3993178" y="1043562"/>
                  </a:lnTo>
                  <a:lnTo>
                    <a:pt x="3988412" y="1038796"/>
                  </a:lnTo>
                  <a:lnTo>
                    <a:pt x="3988412" y="1029266"/>
                  </a:lnTo>
                  <a:lnTo>
                    <a:pt x="3997942" y="1014972"/>
                  </a:lnTo>
                  <a:lnTo>
                    <a:pt x="3993178" y="1000676"/>
                  </a:lnTo>
                  <a:lnTo>
                    <a:pt x="4017004" y="981616"/>
                  </a:lnTo>
                  <a:lnTo>
                    <a:pt x="4012238" y="972084"/>
                  </a:lnTo>
                  <a:lnTo>
                    <a:pt x="4021768" y="962554"/>
                  </a:lnTo>
                  <a:lnTo>
                    <a:pt x="4031298" y="948260"/>
                  </a:lnTo>
                  <a:lnTo>
                    <a:pt x="4040828" y="943494"/>
                  </a:lnTo>
                  <a:lnTo>
                    <a:pt x="4045594" y="938730"/>
                  </a:lnTo>
                  <a:lnTo>
                    <a:pt x="4050358" y="933964"/>
                  </a:lnTo>
                  <a:lnTo>
                    <a:pt x="4059888" y="929198"/>
                  </a:lnTo>
                  <a:lnTo>
                    <a:pt x="4069420" y="943494"/>
                  </a:lnTo>
                  <a:lnTo>
                    <a:pt x="4083714" y="929198"/>
                  </a:lnTo>
                  <a:lnTo>
                    <a:pt x="4093244" y="924434"/>
                  </a:lnTo>
                  <a:lnTo>
                    <a:pt x="4098010" y="924434"/>
                  </a:lnTo>
                  <a:lnTo>
                    <a:pt x="4102776" y="933964"/>
                  </a:lnTo>
                  <a:lnTo>
                    <a:pt x="4112306" y="933964"/>
                  </a:lnTo>
                  <a:lnTo>
                    <a:pt x="4117070" y="933964"/>
                  </a:lnTo>
                  <a:lnTo>
                    <a:pt x="4131366" y="924434"/>
                  </a:lnTo>
                  <a:lnTo>
                    <a:pt x="4145662" y="938730"/>
                  </a:lnTo>
                  <a:lnTo>
                    <a:pt x="4155192" y="938730"/>
                  </a:lnTo>
                  <a:lnTo>
                    <a:pt x="4150426" y="933964"/>
                  </a:lnTo>
                  <a:lnTo>
                    <a:pt x="4145662" y="929198"/>
                  </a:lnTo>
                  <a:lnTo>
                    <a:pt x="4150426" y="924434"/>
                  </a:lnTo>
                  <a:lnTo>
                    <a:pt x="4155192" y="919668"/>
                  </a:lnTo>
                  <a:lnTo>
                    <a:pt x="4179018" y="919668"/>
                  </a:lnTo>
                  <a:lnTo>
                    <a:pt x="4188548" y="929198"/>
                  </a:lnTo>
                  <a:lnTo>
                    <a:pt x="4198078" y="938730"/>
                  </a:lnTo>
                  <a:lnTo>
                    <a:pt x="4217138" y="938730"/>
                  </a:lnTo>
                  <a:lnTo>
                    <a:pt x="4226668" y="938730"/>
                  </a:lnTo>
                  <a:lnTo>
                    <a:pt x="4236200" y="943494"/>
                  </a:lnTo>
                  <a:lnTo>
                    <a:pt x="4250494" y="943494"/>
                  </a:lnTo>
                  <a:lnTo>
                    <a:pt x="4255260" y="953024"/>
                  </a:lnTo>
                  <a:lnTo>
                    <a:pt x="4274320" y="962554"/>
                  </a:lnTo>
                  <a:lnTo>
                    <a:pt x="4279084" y="972084"/>
                  </a:lnTo>
                  <a:lnTo>
                    <a:pt x="4293380" y="976850"/>
                  </a:lnTo>
                  <a:lnTo>
                    <a:pt x="4307676" y="981616"/>
                  </a:lnTo>
                  <a:lnTo>
                    <a:pt x="4326736" y="981616"/>
                  </a:lnTo>
                  <a:lnTo>
                    <a:pt x="4341032" y="981616"/>
                  </a:lnTo>
                  <a:lnTo>
                    <a:pt x="4341032" y="991146"/>
                  </a:lnTo>
                  <a:lnTo>
                    <a:pt x="4355328" y="995910"/>
                  </a:lnTo>
                  <a:lnTo>
                    <a:pt x="4369622" y="991146"/>
                  </a:lnTo>
                  <a:lnTo>
                    <a:pt x="4379152" y="1005440"/>
                  </a:lnTo>
                  <a:lnTo>
                    <a:pt x="4412508" y="1014972"/>
                  </a:lnTo>
                  <a:lnTo>
                    <a:pt x="4431568" y="1029266"/>
                  </a:lnTo>
                  <a:lnTo>
                    <a:pt x="4445864" y="1029266"/>
                  </a:lnTo>
                  <a:lnTo>
                    <a:pt x="4460160" y="1034032"/>
                  </a:lnTo>
                  <a:lnTo>
                    <a:pt x="4474456" y="1067388"/>
                  </a:lnTo>
                  <a:lnTo>
                    <a:pt x="4479220" y="1091214"/>
                  </a:lnTo>
                  <a:lnTo>
                    <a:pt x="4488750" y="1086448"/>
                  </a:lnTo>
                  <a:lnTo>
                    <a:pt x="4493516" y="1076918"/>
                  </a:lnTo>
                  <a:lnTo>
                    <a:pt x="4503046" y="1057858"/>
                  </a:lnTo>
                  <a:lnTo>
                    <a:pt x="4517342" y="1048328"/>
                  </a:lnTo>
                  <a:lnTo>
                    <a:pt x="4526872" y="1057858"/>
                  </a:lnTo>
                  <a:lnTo>
                    <a:pt x="4545932" y="1067388"/>
                  </a:lnTo>
                  <a:lnTo>
                    <a:pt x="4560228" y="1081682"/>
                  </a:lnTo>
                  <a:lnTo>
                    <a:pt x="4564992" y="1091214"/>
                  </a:lnTo>
                  <a:lnTo>
                    <a:pt x="4574524" y="1091214"/>
                  </a:lnTo>
                  <a:lnTo>
                    <a:pt x="4564992" y="1100744"/>
                  </a:lnTo>
                  <a:lnTo>
                    <a:pt x="4574524" y="1100744"/>
                  </a:lnTo>
                  <a:lnTo>
                    <a:pt x="4584052" y="1095978"/>
                  </a:lnTo>
                  <a:lnTo>
                    <a:pt x="4593584" y="1110274"/>
                  </a:lnTo>
                  <a:lnTo>
                    <a:pt x="4603114" y="1124568"/>
                  </a:lnTo>
                  <a:lnTo>
                    <a:pt x="4603114" y="1143630"/>
                  </a:lnTo>
                  <a:lnTo>
                    <a:pt x="4598348" y="1148394"/>
                  </a:lnTo>
                  <a:lnTo>
                    <a:pt x="4593584" y="1157924"/>
                  </a:lnTo>
                  <a:lnTo>
                    <a:pt x="4584052" y="1167456"/>
                  </a:lnTo>
                  <a:lnTo>
                    <a:pt x="4579288" y="1172220"/>
                  </a:lnTo>
                  <a:lnTo>
                    <a:pt x="4569758" y="1176986"/>
                  </a:lnTo>
                  <a:lnTo>
                    <a:pt x="4579288" y="1181750"/>
                  </a:lnTo>
                  <a:lnTo>
                    <a:pt x="4584052" y="1191280"/>
                  </a:lnTo>
                  <a:lnTo>
                    <a:pt x="4598348" y="1167456"/>
                  </a:lnTo>
                  <a:lnTo>
                    <a:pt x="4607878" y="1162690"/>
                  </a:lnTo>
                  <a:lnTo>
                    <a:pt x="4617408" y="1157924"/>
                  </a:lnTo>
                  <a:lnTo>
                    <a:pt x="4626940" y="1176986"/>
                  </a:lnTo>
                  <a:lnTo>
                    <a:pt x="4626940" y="1191280"/>
                  </a:lnTo>
                  <a:lnTo>
                    <a:pt x="4607878" y="1196046"/>
                  </a:lnTo>
                  <a:lnTo>
                    <a:pt x="4607878" y="1210342"/>
                  </a:lnTo>
                  <a:lnTo>
                    <a:pt x="4598348" y="1215106"/>
                  </a:lnTo>
                  <a:lnTo>
                    <a:pt x="4593584" y="1224636"/>
                  </a:lnTo>
                  <a:lnTo>
                    <a:pt x="4593584" y="1238932"/>
                  </a:lnTo>
                  <a:lnTo>
                    <a:pt x="4588818" y="1253228"/>
                  </a:lnTo>
                  <a:lnTo>
                    <a:pt x="4574524" y="1310408"/>
                  </a:lnTo>
                  <a:lnTo>
                    <a:pt x="4574524" y="1319940"/>
                  </a:lnTo>
                  <a:lnTo>
                    <a:pt x="4588818" y="1310408"/>
                  </a:lnTo>
                  <a:lnTo>
                    <a:pt x="4617408" y="1281818"/>
                  </a:lnTo>
                  <a:lnTo>
                    <a:pt x="4626940" y="1248462"/>
                  </a:lnTo>
                  <a:lnTo>
                    <a:pt x="4641234" y="1215106"/>
                  </a:lnTo>
                  <a:lnTo>
                    <a:pt x="4650764" y="1205576"/>
                  </a:lnTo>
                  <a:lnTo>
                    <a:pt x="4660296" y="1205576"/>
                  </a:lnTo>
                  <a:lnTo>
                    <a:pt x="4669826" y="1210342"/>
                  </a:lnTo>
                  <a:lnTo>
                    <a:pt x="4669826" y="1219872"/>
                  </a:lnTo>
                  <a:lnTo>
                    <a:pt x="4669826" y="1224636"/>
                  </a:lnTo>
                  <a:lnTo>
                    <a:pt x="4655530" y="1243698"/>
                  </a:lnTo>
                  <a:lnTo>
                    <a:pt x="4650764" y="1253228"/>
                  </a:lnTo>
                  <a:lnTo>
                    <a:pt x="4655530" y="1257992"/>
                  </a:lnTo>
                  <a:lnTo>
                    <a:pt x="4684120" y="1234168"/>
                  </a:lnTo>
                  <a:lnTo>
                    <a:pt x="4698416" y="1224636"/>
                  </a:lnTo>
                  <a:lnTo>
                    <a:pt x="4707946" y="1224636"/>
                  </a:lnTo>
                  <a:lnTo>
                    <a:pt x="4731772" y="1215106"/>
                  </a:lnTo>
                  <a:lnTo>
                    <a:pt x="4774658" y="1210342"/>
                  </a:lnTo>
                  <a:lnTo>
                    <a:pt x="4774658" y="1196046"/>
                  </a:lnTo>
                  <a:lnTo>
                    <a:pt x="4784188" y="1191280"/>
                  </a:lnTo>
                  <a:lnTo>
                    <a:pt x="4808014" y="1196046"/>
                  </a:lnTo>
                  <a:lnTo>
                    <a:pt x="4855666" y="1205576"/>
                  </a:lnTo>
                  <a:lnTo>
                    <a:pt x="4869960" y="1215106"/>
                  </a:lnTo>
                  <a:lnTo>
                    <a:pt x="4893786" y="1224636"/>
                  </a:lnTo>
                  <a:lnTo>
                    <a:pt x="4908082" y="1238932"/>
                  </a:lnTo>
                  <a:lnTo>
                    <a:pt x="4960498" y="1257992"/>
                  </a:lnTo>
                  <a:lnTo>
                    <a:pt x="4998620" y="1257992"/>
                  </a:lnTo>
                  <a:lnTo>
                    <a:pt x="5017680" y="1248462"/>
                  </a:lnTo>
                  <a:lnTo>
                    <a:pt x="5041504" y="1257992"/>
                  </a:lnTo>
                  <a:lnTo>
                    <a:pt x="5055800" y="1272288"/>
                  </a:lnTo>
                  <a:lnTo>
                    <a:pt x="5079626" y="1277054"/>
                  </a:lnTo>
                  <a:lnTo>
                    <a:pt x="5108216" y="1281818"/>
                  </a:lnTo>
                  <a:lnTo>
                    <a:pt x="5127278" y="1272288"/>
                  </a:lnTo>
                  <a:lnTo>
                    <a:pt x="5174928" y="1267522"/>
                  </a:lnTo>
                  <a:lnTo>
                    <a:pt x="5236876" y="1257992"/>
                  </a:lnTo>
                  <a:lnTo>
                    <a:pt x="5274996" y="1257992"/>
                  </a:lnTo>
                  <a:lnTo>
                    <a:pt x="5317882" y="1267522"/>
                  </a:lnTo>
                  <a:lnTo>
                    <a:pt x="5346474" y="1286584"/>
                  </a:lnTo>
                  <a:lnTo>
                    <a:pt x="5375064" y="1296114"/>
                  </a:lnTo>
                  <a:lnTo>
                    <a:pt x="5389360" y="1310408"/>
                  </a:lnTo>
                  <a:lnTo>
                    <a:pt x="5413184" y="1319940"/>
                  </a:lnTo>
                  <a:lnTo>
                    <a:pt x="5465602" y="1348530"/>
                  </a:lnTo>
                  <a:lnTo>
                    <a:pt x="5484662" y="1367590"/>
                  </a:lnTo>
                  <a:lnTo>
                    <a:pt x="5518018" y="1391416"/>
                  </a:lnTo>
                  <a:lnTo>
                    <a:pt x="5551374" y="1400946"/>
                  </a:lnTo>
                  <a:lnTo>
                    <a:pt x="5570434" y="1424772"/>
                  </a:lnTo>
                  <a:lnTo>
                    <a:pt x="5579964" y="1439068"/>
                  </a:lnTo>
                  <a:lnTo>
                    <a:pt x="5618086" y="1481954"/>
                  </a:lnTo>
                  <a:lnTo>
                    <a:pt x="5656206" y="1510544"/>
                  </a:lnTo>
                  <a:lnTo>
                    <a:pt x="5684798" y="1539136"/>
                  </a:lnTo>
                  <a:lnTo>
                    <a:pt x="5732448" y="1558196"/>
                  </a:lnTo>
                  <a:lnTo>
                    <a:pt x="5751508" y="1586786"/>
                  </a:lnTo>
                  <a:lnTo>
                    <a:pt x="5789630" y="1591552"/>
                  </a:lnTo>
                  <a:lnTo>
                    <a:pt x="5803926" y="1596316"/>
                  </a:lnTo>
                  <a:lnTo>
                    <a:pt x="5822986" y="1610612"/>
                  </a:lnTo>
                  <a:lnTo>
                    <a:pt x="5846812" y="1620142"/>
                  </a:lnTo>
                  <a:lnTo>
                    <a:pt x="5875402" y="1615378"/>
                  </a:lnTo>
                  <a:lnTo>
                    <a:pt x="5913524" y="1615378"/>
                  </a:lnTo>
                  <a:lnTo>
                    <a:pt x="5942114" y="1610612"/>
                  </a:lnTo>
                  <a:lnTo>
                    <a:pt x="6008826" y="1624908"/>
                  </a:lnTo>
                  <a:lnTo>
                    <a:pt x="6018356" y="1629672"/>
                  </a:lnTo>
                  <a:lnTo>
                    <a:pt x="6032652" y="1643968"/>
                  </a:lnTo>
                  <a:lnTo>
                    <a:pt x="6056476" y="1691620"/>
                  </a:lnTo>
                  <a:lnTo>
                    <a:pt x="6070772" y="1748800"/>
                  </a:lnTo>
                  <a:lnTo>
                    <a:pt x="6080304" y="1786922"/>
                  </a:lnTo>
                  <a:lnTo>
                    <a:pt x="6094598" y="1820278"/>
                  </a:lnTo>
                  <a:lnTo>
                    <a:pt x="6104128" y="1882224"/>
                  </a:lnTo>
                  <a:lnTo>
                    <a:pt x="6113658" y="1901284"/>
                  </a:lnTo>
                  <a:lnTo>
                    <a:pt x="6113658" y="1915580"/>
                  </a:lnTo>
                  <a:lnTo>
                    <a:pt x="6118424" y="1920346"/>
                  </a:lnTo>
                  <a:lnTo>
                    <a:pt x="6123188" y="1963232"/>
                  </a:lnTo>
                  <a:lnTo>
                    <a:pt x="6123188" y="1977526"/>
                  </a:lnTo>
                  <a:lnTo>
                    <a:pt x="6113658" y="2001352"/>
                  </a:lnTo>
                  <a:lnTo>
                    <a:pt x="6113658" y="2010882"/>
                  </a:lnTo>
                  <a:lnTo>
                    <a:pt x="6118424" y="2015648"/>
                  </a:lnTo>
                  <a:lnTo>
                    <a:pt x="6113658" y="2025178"/>
                  </a:lnTo>
                  <a:lnTo>
                    <a:pt x="6113658" y="2034708"/>
                  </a:lnTo>
                  <a:lnTo>
                    <a:pt x="6118424" y="2053768"/>
                  </a:lnTo>
                  <a:lnTo>
                    <a:pt x="6118424" y="2068064"/>
                  </a:lnTo>
                  <a:lnTo>
                    <a:pt x="6108894" y="2087124"/>
                  </a:lnTo>
                  <a:lnTo>
                    <a:pt x="6099364" y="2139542"/>
                  </a:lnTo>
                  <a:lnTo>
                    <a:pt x="6070772" y="2220548"/>
                  </a:lnTo>
                  <a:lnTo>
                    <a:pt x="6042182" y="2268200"/>
                  </a:lnTo>
                  <a:lnTo>
                    <a:pt x="5999296" y="2315850"/>
                  </a:lnTo>
                  <a:lnTo>
                    <a:pt x="5975470" y="2344442"/>
                  </a:lnTo>
                  <a:lnTo>
                    <a:pt x="5965940" y="2344442"/>
                  </a:lnTo>
                  <a:lnTo>
                    <a:pt x="5956410" y="2339676"/>
                  </a:lnTo>
                  <a:lnTo>
                    <a:pt x="5961174" y="2353972"/>
                  </a:lnTo>
                  <a:lnTo>
                    <a:pt x="5956410" y="2368268"/>
                  </a:lnTo>
                  <a:lnTo>
                    <a:pt x="5927820" y="2401624"/>
                  </a:lnTo>
                  <a:lnTo>
                    <a:pt x="5903992" y="2425448"/>
                  </a:lnTo>
                  <a:lnTo>
                    <a:pt x="5875402" y="2468336"/>
                  </a:lnTo>
                  <a:lnTo>
                    <a:pt x="5870638" y="2468336"/>
                  </a:lnTo>
                  <a:lnTo>
                    <a:pt x="5837282" y="2482630"/>
                  </a:lnTo>
                  <a:lnTo>
                    <a:pt x="5818220" y="2496926"/>
                  </a:lnTo>
                  <a:lnTo>
                    <a:pt x="5789630" y="2520752"/>
                  </a:lnTo>
                  <a:lnTo>
                    <a:pt x="5765804" y="2558872"/>
                  </a:lnTo>
                  <a:lnTo>
                    <a:pt x="5761040" y="2563638"/>
                  </a:lnTo>
                  <a:lnTo>
                    <a:pt x="5751508" y="2558872"/>
                  </a:lnTo>
                  <a:lnTo>
                    <a:pt x="5751508" y="2577932"/>
                  </a:lnTo>
                  <a:lnTo>
                    <a:pt x="5732448" y="2611288"/>
                  </a:lnTo>
                  <a:lnTo>
                    <a:pt x="5727684" y="2616054"/>
                  </a:lnTo>
                  <a:lnTo>
                    <a:pt x="5727684" y="2606524"/>
                  </a:lnTo>
                  <a:lnTo>
                    <a:pt x="5727684" y="2596994"/>
                  </a:lnTo>
                  <a:lnTo>
                    <a:pt x="5732448" y="2592228"/>
                  </a:lnTo>
                  <a:lnTo>
                    <a:pt x="5732448" y="2582698"/>
                  </a:lnTo>
                  <a:lnTo>
                    <a:pt x="5722918" y="2587464"/>
                  </a:lnTo>
                  <a:lnTo>
                    <a:pt x="5713388" y="2611288"/>
                  </a:lnTo>
                  <a:lnTo>
                    <a:pt x="5718152" y="2630350"/>
                  </a:lnTo>
                  <a:lnTo>
                    <a:pt x="5708624" y="2654176"/>
                  </a:lnTo>
                  <a:lnTo>
                    <a:pt x="5675268" y="2725652"/>
                  </a:lnTo>
                  <a:lnTo>
                    <a:pt x="5632380" y="2782834"/>
                  </a:lnTo>
                  <a:lnTo>
                    <a:pt x="5622850" y="2801894"/>
                  </a:lnTo>
                  <a:lnTo>
                    <a:pt x="5589496" y="2844780"/>
                  </a:lnTo>
                  <a:lnTo>
                    <a:pt x="5560904" y="2863840"/>
                  </a:lnTo>
                  <a:lnTo>
                    <a:pt x="5556140" y="2863840"/>
                  </a:lnTo>
                  <a:lnTo>
                    <a:pt x="5546608" y="2863840"/>
                  </a:lnTo>
                  <a:lnTo>
                    <a:pt x="5541844" y="2830484"/>
                  </a:lnTo>
                  <a:lnTo>
                    <a:pt x="5522784" y="2811424"/>
                  </a:lnTo>
                  <a:lnTo>
                    <a:pt x="5518018" y="2806660"/>
                  </a:lnTo>
                  <a:lnTo>
                    <a:pt x="5508488" y="2830484"/>
                  </a:lnTo>
                  <a:lnTo>
                    <a:pt x="5503722" y="2835250"/>
                  </a:lnTo>
                  <a:lnTo>
                    <a:pt x="5494192" y="2835250"/>
                  </a:lnTo>
                  <a:lnTo>
                    <a:pt x="5503722" y="2844780"/>
                  </a:lnTo>
                  <a:lnTo>
                    <a:pt x="5503722" y="2854310"/>
                  </a:lnTo>
                  <a:lnTo>
                    <a:pt x="5494192" y="2870988"/>
                  </a:lnTo>
                  <a:lnTo>
                    <a:pt x="5494192" y="2890048"/>
                  </a:lnTo>
                  <a:lnTo>
                    <a:pt x="5475132" y="2909110"/>
                  </a:lnTo>
                  <a:lnTo>
                    <a:pt x="5465602" y="2923404"/>
                  </a:lnTo>
                  <a:lnTo>
                    <a:pt x="5456072" y="2942464"/>
                  </a:lnTo>
                  <a:lnTo>
                    <a:pt x="5456072" y="2961526"/>
                  </a:lnTo>
                  <a:lnTo>
                    <a:pt x="5460836" y="2956760"/>
                  </a:lnTo>
                  <a:lnTo>
                    <a:pt x="5465602" y="2961526"/>
                  </a:lnTo>
                  <a:lnTo>
                    <a:pt x="5470366" y="2966290"/>
                  </a:lnTo>
                  <a:lnTo>
                    <a:pt x="5470366" y="2975820"/>
                  </a:lnTo>
                  <a:lnTo>
                    <a:pt x="5460836" y="2990116"/>
                  </a:lnTo>
                  <a:lnTo>
                    <a:pt x="5460836" y="3028238"/>
                  </a:lnTo>
                  <a:lnTo>
                    <a:pt x="5460836" y="3033002"/>
                  </a:lnTo>
                  <a:lnTo>
                    <a:pt x="5465602" y="3042532"/>
                  </a:lnTo>
                  <a:lnTo>
                    <a:pt x="5475132" y="3028238"/>
                  </a:lnTo>
                  <a:lnTo>
                    <a:pt x="5479896" y="3033002"/>
                  </a:lnTo>
                  <a:lnTo>
                    <a:pt x="5460836" y="3133070"/>
                  </a:lnTo>
                  <a:lnTo>
                    <a:pt x="5465602" y="3175956"/>
                  </a:lnTo>
                  <a:lnTo>
                    <a:pt x="5470366" y="3228372"/>
                  </a:lnTo>
                  <a:lnTo>
                    <a:pt x="5479896" y="3280790"/>
                  </a:lnTo>
                  <a:lnTo>
                    <a:pt x="5489428" y="3323676"/>
                  </a:lnTo>
                  <a:lnTo>
                    <a:pt x="5489428" y="3328440"/>
                  </a:lnTo>
                  <a:lnTo>
                    <a:pt x="5475132" y="3380856"/>
                  </a:lnTo>
                  <a:lnTo>
                    <a:pt x="5460836" y="3433274"/>
                  </a:lnTo>
                  <a:lnTo>
                    <a:pt x="5451306" y="3476160"/>
                  </a:lnTo>
                  <a:lnTo>
                    <a:pt x="5441776" y="3519046"/>
                  </a:lnTo>
                  <a:lnTo>
                    <a:pt x="5437010" y="3542872"/>
                  </a:lnTo>
                  <a:lnTo>
                    <a:pt x="5437010" y="3566696"/>
                  </a:lnTo>
                  <a:lnTo>
                    <a:pt x="5441776" y="3619114"/>
                  </a:lnTo>
                  <a:lnTo>
                    <a:pt x="5446540" y="3628644"/>
                  </a:lnTo>
                  <a:lnTo>
                    <a:pt x="5422716" y="3652468"/>
                  </a:lnTo>
                  <a:lnTo>
                    <a:pt x="5403656" y="3662000"/>
                  </a:lnTo>
                  <a:lnTo>
                    <a:pt x="5394124" y="3676294"/>
                  </a:lnTo>
                  <a:lnTo>
                    <a:pt x="5365534" y="3719180"/>
                  </a:lnTo>
                  <a:lnTo>
                    <a:pt x="5351238" y="3781128"/>
                  </a:lnTo>
                  <a:lnTo>
                    <a:pt x="5351238" y="3814484"/>
                  </a:lnTo>
                  <a:lnTo>
                    <a:pt x="5360768" y="3890726"/>
                  </a:lnTo>
                  <a:lnTo>
                    <a:pt x="5356004" y="3919316"/>
                  </a:lnTo>
                  <a:lnTo>
                    <a:pt x="5346474" y="3938376"/>
                  </a:lnTo>
                  <a:lnTo>
                    <a:pt x="5336944" y="3947908"/>
                  </a:lnTo>
                  <a:lnTo>
                    <a:pt x="5313118" y="3966968"/>
                  </a:lnTo>
                  <a:lnTo>
                    <a:pt x="5289292" y="4000324"/>
                  </a:lnTo>
                  <a:lnTo>
                    <a:pt x="5279762" y="4043210"/>
                  </a:lnTo>
                  <a:lnTo>
                    <a:pt x="5265466" y="4057504"/>
                  </a:lnTo>
                  <a:lnTo>
                    <a:pt x="5260700" y="4076566"/>
                  </a:lnTo>
                  <a:lnTo>
                    <a:pt x="5251172" y="4105156"/>
                  </a:lnTo>
                  <a:lnTo>
                    <a:pt x="5217816" y="4138512"/>
                  </a:lnTo>
                  <a:lnTo>
                    <a:pt x="5198754" y="4148042"/>
                  </a:lnTo>
                  <a:lnTo>
                    <a:pt x="5189224" y="4157572"/>
                  </a:lnTo>
                  <a:lnTo>
                    <a:pt x="5184460" y="4181398"/>
                  </a:lnTo>
                  <a:lnTo>
                    <a:pt x="5165398" y="4214754"/>
                  </a:lnTo>
                  <a:lnTo>
                    <a:pt x="5151104" y="4257640"/>
                  </a:lnTo>
                  <a:lnTo>
                    <a:pt x="5151104" y="4276700"/>
                  </a:lnTo>
                  <a:lnTo>
                    <a:pt x="5160634" y="4329116"/>
                  </a:lnTo>
                  <a:lnTo>
                    <a:pt x="5155868" y="4343412"/>
                  </a:lnTo>
                  <a:lnTo>
                    <a:pt x="5136808" y="4357708"/>
                  </a:lnTo>
                  <a:lnTo>
                    <a:pt x="5065332" y="4381534"/>
                  </a:lnTo>
                  <a:lnTo>
                    <a:pt x="5046270" y="4395828"/>
                  </a:lnTo>
                  <a:lnTo>
                    <a:pt x="5003384" y="4438716"/>
                  </a:lnTo>
                  <a:lnTo>
                    <a:pt x="4998620" y="4453010"/>
                  </a:lnTo>
                  <a:lnTo>
                    <a:pt x="5003384" y="4467306"/>
                  </a:lnTo>
                  <a:lnTo>
                    <a:pt x="5008150" y="4476836"/>
                  </a:lnTo>
                  <a:lnTo>
                    <a:pt x="5003384" y="4486366"/>
                  </a:lnTo>
                  <a:lnTo>
                    <a:pt x="4993854" y="4500662"/>
                  </a:lnTo>
                  <a:lnTo>
                    <a:pt x="4979558" y="4500662"/>
                  </a:lnTo>
                  <a:lnTo>
                    <a:pt x="4908082" y="4500662"/>
                  </a:lnTo>
                  <a:lnTo>
                    <a:pt x="4869960" y="4505428"/>
                  </a:lnTo>
                  <a:lnTo>
                    <a:pt x="4850900" y="4505428"/>
                  </a:lnTo>
                  <a:lnTo>
                    <a:pt x="4841370" y="4500662"/>
                  </a:lnTo>
                  <a:lnTo>
                    <a:pt x="4831840" y="4495896"/>
                  </a:lnTo>
                  <a:lnTo>
                    <a:pt x="4827074" y="4486366"/>
                  </a:lnTo>
                  <a:lnTo>
                    <a:pt x="4831840" y="4472072"/>
                  </a:lnTo>
                  <a:lnTo>
                    <a:pt x="4831840" y="4462540"/>
                  </a:lnTo>
                  <a:lnTo>
                    <a:pt x="4817544" y="4462540"/>
                  </a:lnTo>
                  <a:lnTo>
                    <a:pt x="4808014" y="4467306"/>
                  </a:lnTo>
                  <a:lnTo>
                    <a:pt x="4808014" y="4476836"/>
                  </a:lnTo>
                  <a:lnTo>
                    <a:pt x="4808014" y="4481600"/>
                  </a:lnTo>
                  <a:lnTo>
                    <a:pt x="4812780" y="4491132"/>
                  </a:lnTo>
                  <a:lnTo>
                    <a:pt x="4812780" y="4500662"/>
                  </a:lnTo>
                  <a:lnTo>
                    <a:pt x="4808014" y="4510192"/>
                  </a:lnTo>
                  <a:lnTo>
                    <a:pt x="4784188" y="4510192"/>
                  </a:lnTo>
                  <a:lnTo>
                    <a:pt x="4760362" y="4519722"/>
                  </a:lnTo>
                  <a:lnTo>
                    <a:pt x="4727008" y="4524488"/>
                  </a:lnTo>
                  <a:lnTo>
                    <a:pt x="4703180" y="4529252"/>
                  </a:lnTo>
                  <a:lnTo>
                    <a:pt x="4693652" y="4519722"/>
                  </a:lnTo>
                  <a:lnTo>
                    <a:pt x="4703180" y="4519722"/>
                  </a:lnTo>
                  <a:lnTo>
                    <a:pt x="4722242" y="4519722"/>
                  </a:lnTo>
                  <a:lnTo>
                    <a:pt x="4736536" y="4514956"/>
                  </a:lnTo>
                  <a:lnTo>
                    <a:pt x="4736536" y="4505428"/>
                  </a:lnTo>
                  <a:lnTo>
                    <a:pt x="4707946" y="4495896"/>
                  </a:lnTo>
                  <a:lnTo>
                    <a:pt x="4679356" y="4500662"/>
                  </a:lnTo>
                  <a:lnTo>
                    <a:pt x="4665060" y="4514956"/>
                  </a:lnTo>
                  <a:lnTo>
                    <a:pt x="4631704" y="4510192"/>
                  </a:lnTo>
                  <a:lnTo>
                    <a:pt x="4588818" y="4519722"/>
                  </a:lnTo>
                  <a:lnTo>
                    <a:pt x="4579288" y="4529252"/>
                  </a:lnTo>
                  <a:lnTo>
                    <a:pt x="4584052" y="4548312"/>
                  </a:lnTo>
                  <a:lnTo>
                    <a:pt x="4588818" y="4548312"/>
                  </a:lnTo>
                  <a:lnTo>
                    <a:pt x="4598348" y="4557844"/>
                  </a:lnTo>
                  <a:lnTo>
                    <a:pt x="4593584" y="4567374"/>
                  </a:lnTo>
                  <a:lnTo>
                    <a:pt x="4584052" y="4567374"/>
                  </a:lnTo>
                  <a:lnTo>
                    <a:pt x="4541168" y="4576904"/>
                  </a:lnTo>
                  <a:lnTo>
                    <a:pt x="4498280" y="4610260"/>
                  </a:lnTo>
                  <a:lnTo>
                    <a:pt x="4479220" y="4615024"/>
                  </a:lnTo>
                  <a:lnTo>
                    <a:pt x="4464924" y="4629320"/>
                  </a:lnTo>
                  <a:lnTo>
                    <a:pt x="4464924" y="4638850"/>
                  </a:lnTo>
                  <a:lnTo>
                    <a:pt x="4460160" y="4648380"/>
                  </a:lnTo>
                  <a:lnTo>
                    <a:pt x="4450630" y="4648380"/>
                  </a:lnTo>
                  <a:lnTo>
                    <a:pt x="4426804" y="4643616"/>
                  </a:lnTo>
                  <a:lnTo>
                    <a:pt x="4398212" y="4643616"/>
                  </a:lnTo>
                  <a:lnTo>
                    <a:pt x="4379152" y="4648380"/>
                  </a:lnTo>
                  <a:lnTo>
                    <a:pt x="4279084" y="4700796"/>
                  </a:lnTo>
                  <a:lnTo>
                    <a:pt x="4240964" y="4719858"/>
                  </a:lnTo>
                  <a:lnTo>
                    <a:pt x="4198078" y="4767508"/>
                  </a:lnTo>
                  <a:lnTo>
                    <a:pt x="4126600" y="4815160"/>
                  </a:lnTo>
                  <a:lnTo>
                    <a:pt x="4088480" y="4843752"/>
                  </a:lnTo>
                  <a:lnTo>
                    <a:pt x="4083714" y="4853280"/>
                  </a:lnTo>
                  <a:lnTo>
                    <a:pt x="4074184" y="4853280"/>
                  </a:lnTo>
                  <a:lnTo>
                    <a:pt x="4064654" y="4858046"/>
                  </a:lnTo>
                  <a:lnTo>
                    <a:pt x="4069420" y="4862812"/>
                  </a:lnTo>
                  <a:lnTo>
                    <a:pt x="4078950" y="4862812"/>
                  </a:lnTo>
                  <a:lnTo>
                    <a:pt x="4074184" y="4881872"/>
                  </a:lnTo>
                  <a:lnTo>
                    <a:pt x="4059888" y="4896168"/>
                  </a:lnTo>
                  <a:lnTo>
                    <a:pt x="4031298" y="4924758"/>
                  </a:lnTo>
                  <a:lnTo>
                    <a:pt x="4026534" y="4924758"/>
                  </a:lnTo>
                  <a:lnTo>
                    <a:pt x="4036064" y="4905698"/>
                  </a:lnTo>
                  <a:lnTo>
                    <a:pt x="4021768" y="4905698"/>
                  </a:lnTo>
                  <a:lnTo>
                    <a:pt x="4002708" y="4900932"/>
                  </a:lnTo>
                  <a:lnTo>
                    <a:pt x="3993178" y="4905698"/>
                  </a:lnTo>
                  <a:lnTo>
                    <a:pt x="3997942" y="4924758"/>
                  </a:lnTo>
                  <a:lnTo>
                    <a:pt x="3988412" y="4929524"/>
                  </a:lnTo>
                  <a:lnTo>
                    <a:pt x="3974116" y="4929524"/>
                  </a:lnTo>
                  <a:lnTo>
                    <a:pt x="3964586" y="4929524"/>
                  </a:lnTo>
                  <a:lnTo>
                    <a:pt x="3950292" y="4915228"/>
                  </a:lnTo>
                  <a:lnTo>
                    <a:pt x="3955056" y="4939054"/>
                  </a:lnTo>
                  <a:lnTo>
                    <a:pt x="3983648" y="4943818"/>
                  </a:lnTo>
                  <a:lnTo>
                    <a:pt x="3997942" y="4948584"/>
                  </a:lnTo>
                  <a:lnTo>
                    <a:pt x="4002708" y="4958114"/>
                  </a:lnTo>
                  <a:lnTo>
                    <a:pt x="3978882" y="4996236"/>
                  </a:lnTo>
                  <a:lnTo>
                    <a:pt x="3959822" y="5001000"/>
                  </a:lnTo>
                  <a:lnTo>
                    <a:pt x="3955056" y="5005764"/>
                  </a:lnTo>
                  <a:lnTo>
                    <a:pt x="3969352" y="5005764"/>
                  </a:lnTo>
                  <a:lnTo>
                    <a:pt x="3974116" y="5015296"/>
                  </a:lnTo>
                  <a:lnTo>
                    <a:pt x="3964586" y="5058182"/>
                  </a:lnTo>
                  <a:lnTo>
                    <a:pt x="3955056" y="5067712"/>
                  </a:lnTo>
                  <a:lnTo>
                    <a:pt x="3950292" y="5067712"/>
                  </a:lnTo>
                  <a:lnTo>
                    <a:pt x="3945526" y="5072476"/>
                  </a:lnTo>
                  <a:lnTo>
                    <a:pt x="3955056" y="5086772"/>
                  </a:lnTo>
                  <a:lnTo>
                    <a:pt x="3959822" y="5096302"/>
                  </a:lnTo>
                  <a:lnTo>
                    <a:pt x="3959822" y="5115364"/>
                  </a:lnTo>
                  <a:lnTo>
                    <a:pt x="3955056" y="5134424"/>
                  </a:lnTo>
                  <a:lnTo>
                    <a:pt x="3955056" y="5148720"/>
                  </a:lnTo>
                  <a:lnTo>
                    <a:pt x="3969352" y="5177310"/>
                  </a:lnTo>
                  <a:lnTo>
                    <a:pt x="3969352" y="5210666"/>
                  </a:lnTo>
                  <a:lnTo>
                    <a:pt x="3974116" y="5224960"/>
                  </a:lnTo>
                  <a:lnTo>
                    <a:pt x="3974116" y="5234492"/>
                  </a:lnTo>
                  <a:lnTo>
                    <a:pt x="3969352" y="5248786"/>
                  </a:lnTo>
                  <a:lnTo>
                    <a:pt x="3974116" y="5267848"/>
                  </a:lnTo>
                  <a:lnTo>
                    <a:pt x="3964586" y="5301204"/>
                  </a:lnTo>
                  <a:lnTo>
                    <a:pt x="3969352" y="5344088"/>
                  </a:lnTo>
                  <a:lnTo>
                    <a:pt x="3964586" y="5391740"/>
                  </a:lnTo>
                  <a:lnTo>
                    <a:pt x="3959822" y="5415566"/>
                  </a:lnTo>
                  <a:lnTo>
                    <a:pt x="3955056" y="5429862"/>
                  </a:lnTo>
                  <a:lnTo>
                    <a:pt x="3935996" y="5453688"/>
                  </a:lnTo>
                  <a:lnTo>
                    <a:pt x="3935996" y="5477512"/>
                  </a:lnTo>
                  <a:lnTo>
                    <a:pt x="3902640" y="5501338"/>
                  </a:lnTo>
                  <a:lnTo>
                    <a:pt x="3864518" y="5529928"/>
                  </a:lnTo>
                  <a:lnTo>
                    <a:pt x="3831164" y="5568050"/>
                  </a:lnTo>
                  <a:lnTo>
                    <a:pt x="3788276" y="5620466"/>
                  </a:lnTo>
                  <a:lnTo>
                    <a:pt x="3745390" y="5696708"/>
                  </a:lnTo>
                  <a:lnTo>
                    <a:pt x="3702504" y="5811072"/>
                  </a:lnTo>
                  <a:lnTo>
                    <a:pt x="3654854" y="5896844"/>
                  </a:lnTo>
                  <a:lnTo>
                    <a:pt x="3635792" y="5930200"/>
                  </a:lnTo>
                  <a:lnTo>
                    <a:pt x="3607202" y="5963556"/>
                  </a:lnTo>
                  <a:lnTo>
                    <a:pt x="3569080" y="6001676"/>
                  </a:lnTo>
                  <a:lnTo>
                    <a:pt x="3521430" y="6044564"/>
                  </a:lnTo>
                  <a:lnTo>
                    <a:pt x="3469014" y="6082684"/>
                  </a:lnTo>
                  <a:lnTo>
                    <a:pt x="3449952" y="6096980"/>
                  </a:lnTo>
                  <a:lnTo>
                    <a:pt x="3430892" y="6120804"/>
                  </a:lnTo>
                  <a:lnTo>
                    <a:pt x="3426128" y="6111274"/>
                  </a:lnTo>
                  <a:lnTo>
                    <a:pt x="3430892" y="6092214"/>
                  </a:lnTo>
                  <a:lnTo>
                    <a:pt x="3430892" y="6082684"/>
                  </a:lnTo>
                  <a:lnTo>
                    <a:pt x="3426128" y="6068388"/>
                  </a:lnTo>
                  <a:lnTo>
                    <a:pt x="3440422" y="6063624"/>
                  </a:lnTo>
                  <a:lnTo>
                    <a:pt x="3454718" y="6073154"/>
                  </a:lnTo>
                  <a:lnTo>
                    <a:pt x="3464248" y="6068388"/>
                  </a:lnTo>
                  <a:lnTo>
                    <a:pt x="3469014" y="6063624"/>
                  </a:lnTo>
                  <a:lnTo>
                    <a:pt x="3488074" y="6058858"/>
                  </a:lnTo>
                  <a:lnTo>
                    <a:pt x="3526194" y="6015972"/>
                  </a:lnTo>
                  <a:lnTo>
                    <a:pt x="3550020" y="6001676"/>
                  </a:lnTo>
                  <a:lnTo>
                    <a:pt x="3569080" y="5977852"/>
                  </a:lnTo>
                  <a:lnTo>
                    <a:pt x="3569080" y="5963556"/>
                  </a:lnTo>
                  <a:lnTo>
                    <a:pt x="3569080" y="5934964"/>
                  </a:lnTo>
                  <a:lnTo>
                    <a:pt x="3578612" y="5930200"/>
                  </a:lnTo>
                  <a:lnTo>
                    <a:pt x="3597672" y="5934964"/>
                  </a:lnTo>
                  <a:lnTo>
                    <a:pt x="3602436" y="5925436"/>
                  </a:lnTo>
                  <a:lnTo>
                    <a:pt x="3597672" y="5915904"/>
                  </a:lnTo>
                  <a:lnTo>
                    <a:pt x="3602436" y="5896844"/>
                  </a:lnTo>
                  <a:lnTo>
                    <a:pt x="3631028" y="5882548"/>
                  </a:lnTo>
                  <a:lnTo>
                    <a:pt x="3640558" y="5863488"/>
                  </a:lnTo>
                  <a:lnTo>
                    <a:pt x="3640558" y="5811072"/>
                  </a:lnTo>
                  <a:lnTo>
                    <a:pt x="3645324" y="5811072"/>
                  </a:lnTo>
                  <a:lnTo>
                    <a:pt x="3654854" y="5815836"/>
                  </a:lnTo>
                  <a:lnTo>
                    <a:pt x="3659618" y="5815836"/>
                  </a:lnTo>
                  <a:lnTo>
                    <a:pt x="3664384" y="5792012"/>
                  </a:lnTo>
                  <a:lnTo>
                    <a:pt x="3664384" y="5777716"/>
                  </a:lnTo>
                  <a:lnTo>
                    <a:pt x="3650088" y="5777716"/>
                  </a:lnTo>
                  <a:lnTo>
                    <a:pt x="3607202" y="5801542"/>
                  </a:lnTo>
                  <a:lnTo>
                    <a:pt x="3592906" y="5801542"/>
                  </a:lnTo>
                  <a:lnTo>
                    <a:pt x="3588142" y="5782480"/>
                  </a:lnTo>
                  <a:lnTo>
                    <a:pt x="3564316" y="5772950"/>
                  </a:lnTo>
                  <a:lnTo>
                    <a:pt x="3559550" y="5753890"/>
                  </a:lnTo>
                  <a:lnTo>
                    <a:pt x="3554786" y="5744360"/>
                  </a:lnTo>
                  <a:lnTo>
                    <a:pt x="3550020" y="5739596"/>
                  </a:lnTo>
                  <a:lnTo>
                    <a:pt x="3550020" y="5758656"/>
                  </a:lnTo>
                  <a:lnTo>
                    <a:pt x="3550020" y="5777716"/>
                  </a:lnTo>
                  <a:lnTo>
                    <a:pt x="3569080" y="5801542"/>
                  </a:lnTo>
                  <a:lnTo>
                    <a:pt x="3564316" y="5811072"/>
                  </a:lnTo>
                  <a:lnTo>
                    <a:pt x="3554786" y="5820602"/>
                  </a:lnTo>
                  <a:lnTo>
                    <a:pt x="3550020" y="5839662"/>
                  </a:lnTo>
                  <a:lnTo>
                    <a:pt x="3550020" y="5868252"/>
                  </a:lnTo>
                  <a:lnTo>
                    <a:pt x="3545256" y="5863488"/>
                  </a:lnTo>
                  <a:lnTo>
                    <a:pt x="3540490" y="5853958"/>
                  </a:lnTo>
                  <a:lnTo>
                    <a:pt x="3535724" y="5887314"/>
                  </a:lnTo>
                  <a:lnTo>
                    <a:pt x="3521430" y="5901608"/>
                  </a:lnTo>
                  <a:lnTo>
                    <a:pt x="3516664" y="5911140"/>
                  </a:lnTo>
                  <a:lnTo>
                    <a:pt x="3521430" y="5925436"/>
                  </a:lnTo>
                  <a:lnTo>
                    <a:pt x="3516664" y="5934964"/>
                  </a:lnTo>
                  <a:lnTo>
                    <a:pt x="3483308" y="5958790"/>
                  </a:lnTo>
                  <a:lnTo>
                    <a:pt x="3449952" y="5977852"/>
                  </a:lnTo>
                  <a:lnTo>
                    <a:pt x="3440422" y="5987382"/>
                  </a:lnTo>
                  <a:lnTo>
                    <a:pt x="3440422" y="6006442"/>
                  </a:lnTo>
                  <a:lnTo>
                    <a:pt x="3435658" y="6025502"/>
                  </a:lnTo>
                  <a:lnTo>
                    <a:pt x="3421362" y="6044564"/>
                  </a:lnTo>
                  <a:lnTo>
                    <a:pt x="3407066" y="6077920"/>
                  </a:lnTo>
                  <a:lnTo>
                    <a:pt x="3407066" y="6092214"/>
                  </a:lnTo>
                  <a:lnTo>
                    <a:pt x="3411832" y="6116040"/>
                  </a:lnTo>
                  <a:lnTo>
                    <a:pt x="3416596" y="6130336"/>
                  </a:lnTo>
                  <a:lnTo>
                    <a:pt x="3407066" y="6139866"/>
                  </a:lnTo>
                  <a:lnTo>
                    <a:pt x="3397536" y="6158926"/>
                  </a:lnTo>
                  <a:lnTo>
                    <a:pt x="3383240" y="6177986"/>
                  </a:lnTo>
                  <a:lnTo>
                    <a:pt x="3359416" y="6258994"/>
                  </a:lnTo>
                  <a:lnTo>
                    <a:pt x="3335590" y="6311410"/>
                  </a:lnTo>
                  <a:lnTo>
                    <a:pt x="3321294" y="6335236"/>
                  </a:lnTo>
                  <a:lnTo>
                    <a:pt x="3292704" y="6359062"/>
                  </a:lnTo>
                  <a:lnTo>
                    <a:pt x="3225992" y="6421008"/>
                  </a:lnTo>
                  <a:lnTo>
                    <a:pt x="3221226" y="6421008"/>
                  </a:lnTo>
                  <a:lnTo>
                    <a:pt x="3211696" y="6416244"/>
                  </a:lnTo>
                  <a:lnTo>
                    <a:pt x="3202166" y="6411478"/>
                  </a:lnTo>
                  <a:lnTo>
                    <a:pt x="3197400" y="6406712"/>
                  </a:lnTo>
                  <a:lnTo>
                    <a:pt x="3197400" y="6401948"/>
                  </a:lnTo>
                  <a:lnTo>
                    <a:pt x="3197400" y="6387652"/>
                  </a:lnTo>
                  <a:lnTo>
                    <a:pt x="3202166" y="6387652"/>
                  </a:lnTo>
                  <a:lnTo>
                    <a:pt x="3211696" y="6382888"/>
                  </a:lnTo>
                  <a:lnTo>
                    <a:pt x="3211696" y="6373356"/>
                  </a:lnTo>
                  <a:lnTo>
                    <a:pt x="3211696" y="6349532"/>
                  </a:lnTo>
                  <a:lnTo>
                    <a:pt x="3211696" y="6325706"/>
                  </a:lnTo>
                  <a:lnTo>
                    <a:pt x="3216462" y="6316176"/>
                  </a:lnTo>
                  <a:lnTo>
                    <a:pt x="3221226" y="6306644"/>
                  </a:lnTo>
                  <a:lnTo>
                    <a:pt x="3225992" y="6301880"/>
                  </a:lnTo>
                  <a:lnTo>
                    <a:pt x="3230756" y="6301880"/>
                  </a:lnTo>
                  <a:lnTo>
                    <a:pt x="3235522" y="6297114"/>
                  </a:lnTo>
                  <a:lnTo>
                    <a:pt x="3245052" y="6292350"/>
                  </a:lnTo>
                  <a:lnTo>
                    <a:pt x="3254582" y="6278054"/>
                  </a:lnTo>
                  <a:lnTo>
                    <a:pt x="3264112" y="6254228"/>
                  </a:lnTo>
                  <a:lnTo>
                    <a:pt x="3273644" y="6249464"/>
                  </a:lnTo>
                  <a:lnTo>
                    <a:pt x="3278408" y="6244698"/>
                  </a:lnTo>
                  <a:lnTo>
                    <a:pt x="3287938" y="6249464"/>
                  </a:lnTo>
                  <a:lnTo>
                    <a:pt x="3292704" y="6258994"/>
                  </a:lnTo>
                  <a:lnTo>
                    <a:pt x="3297468" y="6268524"/>
                  </a:lnTo>
                  <a:lnTo>
                    <a:pt x="3307000" y="6268524"/>
                  </a:lnTo>
                  <a:lnTo>
                    <a:pt x="3311764" y="6268524"/>
                  </a:lnTo>
                  <a:lnTo>
                    <a:pt x="3316530" y="6258994"/>
                  </a:lnTo>
                  <a:lnTo>
                    <a:pt x="3326060" y="6249464"/>
                  </a:lnTo>
                  <a:lnTo>
                    <a:pt x="3330824" y="6239932"/>
                  </a:lnTo>
                  <a:lnTo>
                    <a:pt x="3335590" y="6225638"/>
                  </a:lnTo>
                  <a:lnTo>
                    <a:pt x="3340356" y="6216108"/>
                  </a:lnTo>
                  <a:lnTo>
                    <a:pt x="3345120" y="6206578"/>
                  </a:lnTo>
                  <a:lnTo>
                    <a:pt x="3345120" y="6197048"/>
                  </a:lnTo>
                  <a:lnTo>
                    <a:pt x="3345120" y="6192282"/>
                  </a:lnTo>
                  <a:lnTo>
                    <a:pt x="3340356" y="6182752"/>
                  </a:lnTo>
                  <a:lnTo>
                    <a:pt x="3335590" y="6173222"/>
                  </a:lnTo>
                  <a:lnTo>
                    <a:pt x="3330824" y="6163692"/>
                  </a:lnTo>
                  <a:lnTo>
                    <a:pt x="3330824" y="6144630"/>
                  </a:lnTo>
                  <a:lnTo>
                    <a:pt x="3330824" y="6135100"/>
                  </a:lnTo>
                  <a:lnTo>
                    <a:pt x="3326060" y="6135100"/>
                  </a:lnTo>
                  <a:lnTo>
                    <a:pt x="3321294" y="6139866"/>
                  </a:lnTo>
                  <a:lnTo>
                    <a:pt x="3316530" y="6149396"/>
                  </a:lnTo>
                  <a:lnTo>
                    <a:pt x="3316530" y="6154160"/>
                  </a:lnTo>
                  <a:lnTo>
                    <a:pt x="3311764" y="6163692"/>
                  </a:lnTo>
                  <a:lnTo>
                    <a:pt x="3311764" y="6168456"/>
                  </a:lnTo>
                  <a:lnTo>
                    <a:pt x="3302234" y="6177986"/>
                  </a:lnTo>
                  <a:lnTo>
                    <a:pt x="3287938" y="6187516"/>
                  </a:lnTo>
                  <a:lnTo>
                    <a:pt x="3283174" y="6197048"/>
                  </a:lnTo>
                  <a:lnTo>
                    <a:pt x="3278408" y="6211342"/>
                  </a:lnTo>
                  <a:lnTo>
                    <a:pt x="3268878" y="6211342"/>
                  </a:lnTo>
                  <a:lnTo>
                    <a:pt x="3259348" y="6220872"/>
                  </a:lnTo>
                  <a:lnTo>
                    <a:pt x="3254582" y="6220872"/>
                  </a:lnTo>
                  <a:lnTo>
                    <a:pt x="3245052" y="6216108"/>
                  </a:lnTo>
                  <a:lnTo>
                    <a:pt x="3225992" y="6206578"/>
                  </a:lnTo>
                  <a:lnTo>
                    <a:pt x="3206932" y="6192282"/>
                  </a:lnTo>
                  <a:lnTo>
                    <a:pt x="3187870" y="6173222"/>
                  </a:lnTo>
                  <a:lnTo>
                    <a:pt x="3178340" y="6154160"/>
                  </a:lnTo>
                  <a:lnTo>
                    <a:pt x="3173576" y="6135100"/>
                  </a:lnTo>
                  <a:lnTo>
                    <a:pt x="3164046" y="6116040"/>
                  </a:lnTo>
                  <a:lnTo>
                    <a:pt x="3164046" y="6111274"/>
                  </a:lnTo>
                  <a:lnTo>
                    <a:pt x="3154516" y="6106510"/>
                  </a:lnTo>
                  <a:lnTo>
                    <a:pt x="3144984" y="6096980"/>
                  </a:lnTo>
                  <a:lnTo>
                    <a:pt x="3140220" y="6092214"/>
                  </a:lnTo>
                  <a:lnTo>
                    <a:pt x="3125924" y="6087448"/>
                  </a:lnTo>
                  <a:lnTo>
                    <a:pt x="3111628" y="6082684"/>
                  </a:lnTo>
                  <a:lnTo>
                    <a:pt x="3092568" y="6073154"/>
                  </a:lnTo>
                  <a:lnTo>
                    <a:pt x="3068742" y="6054092"/>
                  </a:lnTo>
                  <a:lnTo>
                    <a:pt x="3049682" y="6030268"/>
                  </a:lnTo>
                  <a:lnTo>
                    <a:pt x="3044916" y="6015972"/>
                  </a:lnTo>
                  <a:lnTo>
                    <a:pt x="3035386" y="6006442"/>
                  </a:lnTo>
                  <a:lnTo>
                    <a:pt x="2987736" y="5987382"/>
                  </a:lnTo>
                  <a:lnTo>
                    <a:pt x="2963910" y="5968320"/>
                  </a:lnTo>
                  <a:lnTo>
                    <a:pt x="2954380" y="5973086"/>
                  </a:lnTo>
                  <a:lnTo>
                    <a:pt x="2944850" y="5968320"/>
                  </a:lnTo>
                  <a:lnTo>
                    <a:pt x="2930554" y="5958790"/>
                  </a:lnTo>
                  <a:lnTo>
                    <a:pt x="2925788" y="5949260"/>
                  </a:lnTo>
                  <a:lnTo>
                    <a:pt x="2921024" y="5939730"/>
                  </a:lnTo>
                  <a:lnTo>
                    <a:pt x="2916258" y="5930200"/>
                  </a:lnTo>
                  <a:lnTo>
                    <a:pt x="2911494" y="5925436"/>
                  </a:lnTo>
                  <a:lnTo>
                    <a:pt x="2897198" y="5911140"/>
                  </a:lnTo>
                  <a:lnTo>
                    <a:pt x="2882902" y="5892080"/>
                  </a:lnTo>
                  <a:lnTo>
                    <a:pt x="2873372" y="5887314"/>
                  </a:lnTo>
                  <a:lnTo>
                    <a:pt x="2873372" y="5892080"/>
                  </a:lnTo>
                  <a:lnTo>
                    <a:pt x="2868608" y="5896844"/>
                  </a:lnTo>
                  <a:lnTo>
                    <a:pt x="2863842" y="5901608"/>
                  </a:lnTo>
                  <a:lnTo>
                    <a:pt x="2859076" y="5906374"/>
                  </a:lnTo>
                  <a:lnTo>
                    <a:pt x="2849546" y="5911140"/>
                  </a:lnTo>
                  <a:lnTo>
                    <a:pt x="2844782" y="5920670"/>
                  </a:lnTo>
                  <a:lnTo>
                    <a:pt x="2835252" y="5930200"/>
                  </a:lnTo>
                  <a:lnTo>
                    <a:pt x="2820956" y="5930200"/>
                  </a:lnTo>
                  <a:lnTo>
                    <a:pt x="2811426" y="5930200"/>
                  </a:lnTo>
                  <a:lnTo>
                    <a:pt x="2811426" y="5925436"/>
                  </a:lnTo>
                  <a:lnTo>
                    <a:pt x="2811426" y="5915904"/>
                  </a:lnTo>
                  <a:lnTo>
                    <a:pt x="2811426" y="5887314"/>
                  </a:lnTo>
                  <a:lnTo>
                    <a:pt x="2806660" y="5873018"/>
                  </a:lnTo>
                  <a:lnTo>
                    <a:pt x="2797130" y="5863488"/>
                  </a:lnTo>
                  <a:lnTo>
                    <a:pt x="2787600" y="5849192"/>
                  </a:lnTo>
                  <a:lnTo>
                    <a:pt x="2749480" y="5815836"/>
                  </a:lnTo>
                  <a:lnTo>
                    <a:pt x="2701828" y="5768186"/>
                  </a:lnTo>
                  <a:lnTo>
                    <a:pt x="2682768" y="5753890"/>
                  </a:lnTo>
                  <a:lnTo>
                    <a:pt x="2668472" y="5753890"/>
                  </a:lnTo>
                  <a:lnTo>
                    <a:pt x="2654176" y="5753890"/>
                  </a:lnTo>
                  <a:lnTo>
                    <a:pt x="2639882" y="5758656"/>
                  </a:lnTo>
                  <a:lnTo>
                    <a:pt x="2630352" y="5782480"/>
                  </a:lnTo>
                  <a:lnTo>
                    <a:pt x="2625586" y="5787246"/>
                  </a:lnTo>
                  <a:lnTo>
                    <a:pt x="2596996" y="5782480"/>
                  </a:lnTo>
                  <a:lnTo>
                    <a:pt x="2568404" y="5782480"/>
                  </a:lnTo>
                  <a:lnTo>
                    <a:pt x="2563640" y="5768186"/>
                  </a:lnTo>
                  <a:lnTo>
                    <a:pt x="2568404" y="5758656"/>
                  </a:lnTo>
                  <a:lnTo>
                    <a:pt x="2592230" y="5739596"/>
                  </a:lnTo>
                  <a:lnTo>
                    <a:pt x="2606526" y="5725300"/>
                  </a:lnTo>
                  <a:lnTo>
                    <a:pt x="2611290" y="5711004"/>
                  </a:lnTo>
                  <a:lnTo>
                    <a:pt x="2620820" y="5696708"/>
                  </a:lnTo>
                  <a:lnTo>
                    <a:pt x="2644646" y="5682414"/>
                  </a:lnTo>
                  <a:lnTo>
                    <a:pt x="2668472" y="5663352"/>
                  </a:lnTo>
                  <a:lnTo>
                    <a:pt x="2692298" y="5629996"/>
                  </a:lnTo>
                  <a:lnTo>
                    <a:pt x="2706592" y="5606172"/>
                  </a:lnTo>
                  <a:lnTo>
                    <a:pt x="2716124" y="5591876"/>
                  </a:lnTo>
                  <a:lnTo>
                    <a:pt x="2725654" y="5577580"/>
                  </a:lnTo>
                  <a:lnTo>
                    <a:pt x="2739948" y="5572816"/>
                  </a:lnTo>
                  <a:lnTo>
                    <a:pt x="2754244" y="5553756"/>
                  </a:lnTo>
                  <a:lnTo>
                    <a:pt x="2763774" y="5529928"/>
                  </a:lnTo>
                  <a:lnTo>
                    <a:pt x="2778070" y="5506104"/>
                  </a:lnTo>
                  <a:lnTo>
                    <a:pt x="2797130" y="5491808"/>
                  </a:lnTo>
                  <a:lnTo>
                    <a:pt x="2806660" y="5482278"/>
                  </a:lnTo>
                  <a:lnTo>
                    <a:pt x="2811426" y="5467982"/>
                  </a:lnTo>
                  <a:lnTo>
                    <a:pt x="2816192" y="5463218"/>
                  </a:lnTo>
                  <a:lnTo>
                    <a:pt x="2825722" y="5463218"/>
                  </a:lnTo>
                  <a:lnTo>
                    <a:pt x="2830486" y="5453688"/>
                  </a:lnTo>
                  <a:lnTo>
                    <a:pt x="2830486" y="5448922"/>
                  </a:lnTo>
                  <a:lnTo>
                    <a:pt x="2830486" y="5444156"/>
                  </a:lnTo>
                  <a:lnTo>
                    <a:pt x="2835252" y="5439392"/>
                  </a:lnTo>
                  <a:lnTo>
                    <a:pt x="2844782" y="5439392"/>
                  </a:lnTo>
                  <a:lnTo>
                    <a:pt x="2854312" y="5444156"/>
                  </a:lnTo>
                  <a:lnTo>
                    <a:pt x="2863842" y="5444156"/>
                  </a:lnTo>
                  <a:lnTo>
                    <a:pt x="2863842" y="5439392"/>
                  </a:lnTo>
                  <a:lnTo>
                    <a:pt x="2863842" y="5429862"/>
                  </a:lnTo>
                  <a:lnTo>
                    <a:pt x="2854312" y="5420332"/>
                  </a:lnTo>
                  <a:lnTo>
                    <a:pt x="2854312" y="5410800"/>
                  </a:lnTo>
                  <a:lnTo>
                    <a:pt x="2878138" y="5396506"/>
                  </a:lnTo>
                  <a:lnTo>
                    <a:pt x="2897198" y="5391740"/>
                  </a:lnTo>
                  <a:lnTo>
                    <a:pt x="2906728" y="5382210"/>
                  </a:lnTo>
                  <a:lnTo>
                    <a:pt x="2916258" y="5367916"/>
                  </a:lnTo>
                  <a:lnTo>
                    <a:pt x="2930554" y="5358384"/>
                  </a:lnTo>
                  <a:lnTo>
                    <a:pt x="2954380" y="5353620"/>
                  </a:lnTo>
                  <a:lnTo>
                    <a:pt x="2959144" y="5348854"/>
                  </a:lnTo>
                  <a:lnTo>
                    <a:pt x="2959144" y="5339324"/>
                  </a:lnTo>
                  <a:lnTo>
                    <a:pt x="2963910" y="5334560"/>
                  </a:lnTo>
                  <a:lnTo>
                    <a:pt x="2978206" y="5334560"/>
                  </a:lnTo>
                  <a:lnTo>
                    <a:pt x="2982970" y="5325028"/>
                  </a:lnTo>
                  <a:lnTo>
                    <a:pt x="2982970" y="5315498"/>
                  </a:lnTo>
                  <a:lnTo>
                    <a:pt x="2987736" y="5305968"/>
                  </a:lnTo>
                  <a:lnTo>
                    <a:pt x="2997266" y="5296438"/>
                  </a:lnTo>
                  <a:lnTo>
                    <a:pt x="3006796" y="5296438"/>
                  </a:lnTo>
                  <a:lnTo>
                    <a:pt x="3011562" y="5296438"/>
                  </a:lnTo>
                  <a:lnTo>
                    <a:pt x="3021092" y="5291672"/>
                  </a:lnTo>
                  <a:lnTo>
                    <a:pt x="3030622" y="5286908"/>
                  </a:lnTo>
                  <a:lnTo>
                    <a:pt x="3040152" y="5282142"/>
                  </a:lnTo>
                  <a:lnTo>
                    <a:pt x="3049682" y="5282142"/>
                  </a:lnTo>
                  <a:lnTo>
                    <a:pt x="3054448" y="5277378"/>
                  </a:lnTo>
                  <a:lnTo>
                    <a:pt x="3073508" y="5277378"/>
                  </a:lnTo>
                  <a:lnTo>
                    <a:pt x="3087804" y="5267848"/>
                  </a:lnTo>
                  <a:lnTo>
                    <a:pt x="3092568" y="5253552"/>
                  </a:lnTo>
                  <a:lnTo>
                    <a:pt x="3102098" y="5244022"/>
                  </a:lnTo>
                  <a:lnTo>
                    <a:pt x="3106864" y="5248786"/>
                  </a:lnTo>
                  <a:lnTo>
                    <a:pt x="3121160" y="5244022"/>
                  </a:lnTo>
                  <a:lnTo>
                    <a:pt x="3135454" y="5229726"/>
                  </a:lnTo>
                  <a:lnTo>
                    <a:pt x="3140220" y="5229726"/>
                  </a:lnTo>
                  <a:lnTo>
                    <a:pt x="3149750" y="5220196"/>
                  </a:lnTo>
                  <a:lnTo>
                    <a:pt x="3164046" y="5196370"/>
                  </a:lnTo>
                  <a:lnTo>
                    <a:pt x="3168810" y="5182076"/>
                  </a:lnTo>
                  <a:lnTo>
                    <a:pt x="3168810" y="5167780"/>
                  </a:lnTo>
                  <a:lnTo>
                    <a:pt x="3164046" y="5158250"/>
                  </a:lnTo>
                  <a:lnTo>
                    <a:pt x="3164046" y="5143954"/>
                  </a:lnTo>
                  <a:lnTo>
                    <a:pt x="3168810" y="5105832"/>
                  </a:lnTo>
                  <a:lnTo>
                    <a:pt x="3168810" y="5086772"/>
                  </a:lnTo>
                  <a:lnTo>
                    <a:pt x="3178340" y="5077242"/>
                  </a:lnTo>
                  <a:lnTo>
                    <a:pt x="3178340" y="5067712"/>
                  </a:lnTo>
                  <a:lnTo>
                    <a:pt x="3164046" y="5039120"/>
                  </a:lnTo>
                  <a:lnTo>
                    <a:pt x="3154516" y="5020060"/>
                  </a:lnTo>
                  <a:lnTo>
                    <a:pt x="3144984" y="4981940"/>
                  </a:lnTo>
                  <a:lnTo>
                    <a:pt x="3144984" y="4967644"/>
                  </a:lnTo>
                  <a:lnTo>
                    <a:pt x="3130690" y="4967644"/>
                  </a:lnTo>
                  <a:lnTo>
                    <a:pt x="3125924" y="4953348"/>
                  </a:lnTo>
                  <a:lnTo>
                    <a:pt x="3111628" y="4953348"/>
                  </a:lnTo>
                  <a:lnTo>
                    <a:pt x="3106864" y="4948584"/>
                  </a:lnTo>
                  <a:lnTo>
                    <a:pt x="3102098" y="4943818"/>
                  </a:lnTo>
                  <a:lnTo>
                    <a:pt x="3092568" y="4943818"/>
                  </a:lnTo>
                  <a:lnTo>
                    <a:pt x="3087804" y="4953348"/>
                  </a:lnTo>
                  <a:lnTo>
                    <a:pt x="3073508" y="4953348"/>
                  </a:lnTo>
                  <a:lnTo>
                    <a:pt x="3063978" y="4953348"/>
                  </a:lnTo>
                  <a:lnTo>
                    <a:pt x="3054448" y="4962880"/>
                  </a:lnTo>
                  <a:lnTo>
                    <a:pt x="3049682" y="4958114"/>
                  </a:lnTo>
                  <a:lnTo>
                    <a:pt x="3040152" y="4953348"/>
                  </a:lnTo>
                  <a:lnTo>
                    <a:pt x="3030622" y="4953348"/>
                  </a:lnTo>
                  <a:lnTo>
                    <a:pt x="3030622" y="4929524"/>
                  </a:lnTo>
                  <a:lnTo>
                    <a:pt x="3049682" y="4891402"/>
                  </a:lnTo>
                  <a:lnTo>
                    <a:pt x="3059212" y="4872342"/>
                  </a:lnTo>
                  <a:lnTo>
                    <a:pt x="3054448" y="4862812"/>
                  </a:lnTo>
                  <a:lnTo>
                    <a:pt x="3063978" y="4829456"/>
                  </a:lnTo>
                  <a:lnTo>
                    <a:pt x="3078272" y="4772274"/>
                  </a:lnTo>
                  <a:lnTo>
                    <a:pt x="3083038" y="4734152"/>
                  </a:lnTo>
                  <a:lnTo>
                    <a:pt x="3078272" y="4715092"/>
                  </a:lnTo>
                  <a:lnTo>
                    <a:pt x="3078272" y="4705562"/>
                  </a:lnTo>
                  <a:lnTo>
                    <a:pt x="3083038" y="4691268"/>
                  </a:lnTo>
                  <a:lnTo>
                    <a:pt x="3087804" y="4691268"/>
                  </a:lnTo>
                  <a:lnTo>
                    <a:pt x="3068742" y="4676972"/>
                  </a:lnTo>
                  <a:lnTo>
                    <a:pt x="3059212" y="4662676"/>
                  </a:lnTo>
                  <a:lnTo>
                    <a:pt x="3044916" y="4657912"/>
                  </a:lnTo>
                  <a:lnTo>
                    <a:pt x="3030622" y="4648380"/>
                  </a:lnTo>
                  <a:lnTo>
                    <a:pt x="3021092" y="4653146"/>
                  </a:lnTo>
                  <a:lnTo>
                    <a:pt x="3011562" y="4657912"/>
                  </a:lnTo>
                  <a:lnTo>
                    <a:pt x="2997266" y="4662676"/>
                  </a:lnTo>
                  <a:lnTo>
                    <a:pt x="2982970" y="4672206"/>
                  </a:lnTo>
                  <a:lnTo>
                    <a:pt x="2973440" y="4676972"/>
                  </a:lnTo>
                  <a:lnTo>
                    <a:pt x="2959144" y="4681736"/>
                  </a:lnTo>
                  <a:lnTo>
                    <a:pt x="2940084" y="4686502"/>
                  </a:lnTo>
                  <a:lnTo>
                    <a:pt x="2925788" y="4681736"/>
                  </a:lnTo>
                  <a:lnTo>
                    <a:pt x="2911494" y="4681736"/>
                  </a:lnTo>
                  <a:lnTo>
                    <a:pt x="2906728" y="4672206"/>
                  </a:lnTo>
                  <a:lnTo>
                    <a:pt x="2901964" y="4657912"/>
                  </a:lnTo>
                  <a:lnTo>
                    <a:pt x="2901964" y="4648380"/>
                  </a:lnTo>
                  <a:lnTo>
                    <a:pt x="2897198" y="4629320"/>
                  </a:lnTo>
                  <a:lnTo>
                    <a:pt x="2887668" y="4619790"/>
                  </a:lnTo>
                  <a:lnTo>
                    <a:pt x="2882902" y="4610260"/>
                  </a:lnTo>
                  <a:lnTo>
                    <a:pt x="2882902" y="4600730"/>
                  </a:lnTo>
                  <a:lnTo>
                    <a:pt x="2887668" y="4591200"/>
                  </a:lnTo>
                  <a:lnTo>
                    <a:pt x="2887668" y="4581668"/>
                  </a:lnTo>
                  <a:lnTo>
                    <a:pt x="2887668" y="4572138"/>
                  </a:lnTo>
                  <a:lnTo>
                    <a:pt x="2882902" y="4567374"/>
                  </a:lnTo>
                  <a:lnTo>
                    <a:pt x="2882902" y="4553078"/>
                  </a:lnTo>
                  <a:lnTo>
                    <a:pt x="2882902" y="4538782"/>
                  </a:lnTo>
                  <a:lnTo>
                    <a:pt x="2878138" y="4529252"/>
                  </a:lnTo>
                  <a:lnTo>
                    <a:pt x="2873372" y="4514956"/>
                  </a:lnTo>
                  <a:lnTo>
                    <a:pt x="2873372" y="4505428"/>
                  </a:lnTo>
                  <a:lnTo>
                    <a:pt x="2868608" y="4491132"/>
                  </a:lnTo>
                  <a:lnTo>
                    <a:pt x="2868608" y="4481600"/>
                  </a:lnTo>
                  <a:lnTo>
                    <a:pt x="2873372" y="4467306"/>
                  </a:lnTo>
                  <a:lnTo>
                    <a:pt x="2873372" y="4457776"/>
                  </a:lnTo>
                  <a:lnTo>
                    <a:pt x="2868608" y="4448246"/>
                  </a:lnTo>
                  <a:lnTo>
                    <a:pt x="2859076" y="4443480"/>
                  </a:lnTo>
                  <a:lnTo>
                    <a:pt x="2854312" y="4429184"/>
                  </a:lnTo>
                  <a:lnTo>
                    <a:pt x="2854312" y="4410124"/>
                  </a:lnTo>
                  <a:lnTo>
                    <a:pt x="2844782" y="4400594"/>
                  </a:lnTo>
                  <a:lnTo>
                    <a:pt x="2835252" y="4395828"/>
                  </a:lnTo>
                  <a:lnTo>
                    <a:pt x="2830486" y="4395828"/>
                  </a:lnTo>
                  <a:lnTo>
                    <a:pt x="2816192" y="4391064"/>
                  </a:lnTo>
                  <a:lnTo>
                    <a:pt x="2801896" y="4391064"/>
                  </a:lnTo>
                  <a:lnTo>
                    <a:pt x="2782836" y="4391064"/>
                  </a:lnTo>
                  <a:lnTo>
                    <a:pt x="2773304" y="4386298"/>
                  </a:lnTo>
                  <a:lnTo>
                    <a:pt x="2768540" y="4381534"/>
                  </a:lnTo>
                  <a:lnTo>
                    <a:pt x="2759010" y="4372004"/>
                  </a:lnTo>
                  <a:lnTo>
                    <a:pt x="2754244" y="4357708"/>
                  </a:lnTo>
                  <a:lnTo>
                    <a:pt x="2744714" y="4352944"/>
                  </a:lnTo>
                  <a:lnTo>
                    <a:pt x="2730418" y="4357708"/>
                  </a:lnTo>
                  <a:lnTo>
                    <a:pt x="2725654" y="4367238"/>
                  </a:lnTo>
                  <a:lnTo>
                    <a:pt x="2720888" y="4372004"/>
                  </a:lnTo>
                  <a:lnTo>
                    <a:pt x="2716124" y="4381534"/>
                  </a:lnTo>
                  <a:lnTo>
                    <a:pt x="2701828" y="4381534"/>
                  </a:lnTo>
                  <a:lnTo>
                    <a:pt x="2692298" y="4386298"/>
                  </a:lnTo>
                  <a:lnTo>
                    <a:pt x="2682768" y="4386298"/>
                  </a:lnTo>
                  <a:lnTo>
                    <a:pt x="2668472" y="4386298"/>
                  </a:lnTo>
                  <a:lnTo>
                    <a:pt x="2654176" y="4381534"/>
                  </a:lnTo>
                  <a:lnTo>
                    <a:pt x="2635116" y="4376768"/>
                  </a:lnTo>
                  <a:lnTo>
                    <a:pt x="2620820" y="4376768"/>
                  </a:lnTo>
                  <a:lnTo>
                    <a:pt x="2606526" y="4376768"/>
                  </a:lnTo>
                  <a:lnTo>
                    <a:pt x="2596996" y="4376768"/>
                  </a:lnTo>
                  <a:lnTo>
                    <a:pt x="2582700" y="4372004"/>
                  </a:lnTo>
                  <a:lnTo>
                    <a:pt x="2568404" y="4372004"/>
                  </a:lnTo>
                  <a:lnTo>
                    <a:pt x="2558874" y="4362472"/>
                  </a:lnTo>
                  <a:lnTo>
                    <a:pt x="2544578" y="4357708"/>
                  </a:lnTo>
                  <a:lnTo>
                    <a:pt x="2539814" y="4362472"/>
                  </a:lnTo>
                  <a:lnTo>
                    <a:pt x="2530284" y="4367238"/>
                  </a:lnTo>
                  <a:lnTo>
                    <a:pt x="2520752" y="4367238"/>
                  </a:lnTo>
                  <a:lnTo>
                    <a:pt x="2506458" y="4362472"/>
                  </a:lnTo>
                  <a:lnTo>
                    <a:pt x="2501692" y="4348178"/>
                  </a:lnTo>
                  <a:lnTo>
                    <a:pt x="2506458" y="4343412"/>
                  </a:lnTo>
                  <a:lnTo>
                    <a:pt x="2506458" y="4338648"/>
                  </a:lnTo>
                  <a:lnTo>
                    <a:pt x="2511222" y="4329116"/>
                  </a:lnTo>
                  <a:lnTo>
                    <a:pt x="2506458" y="4314822"/>
                  </a:lnTo>
                  <a:lnTo>
                    <a:pt x="2511222" y="4310056"/>
                  </a:lnTo>
                  <a:lnTo>
                    <a:pt x="2511222" y="4300526"/>
                  </a:lnTo>
                  <a:lnTo>
                    <a:pt x="2515988" y="4290996"/>
                  </a:lnTo>
                  <a:lnTo>
                    <a:pt x="2511222" y="4281466"/>
                  </a:lnTo>
                  <a:lnTo>
                    <a:pt x="2511222" y="4276700"/>
                  </a:lnTo>
                  <a:lnTo>
                    <a:pt x="2511222" y="4267170"/>
                  </a:lnTo>
                  <a:lnTo>
                    <a:pt x="2511222" y="4257640"/>
                  </a:lnTo>
                  <a:lnTo>
                    <a:pt x="2515988" y="4243344"/>
                  </a:lnTo>
                  <a:lnTo>
                    <a:pt x="2520752" y="4233814"/>
                  </a:lnTo>
                  <a:lnTo>
                    <a:pt x="2515988" y="4224284"/>
                  </a:lnTo>
                  <a:lnTo>
                    <a:pt x="2520752" y="4219520"/>
                  </a:lnTo>
                  <a:lnTo>
                    <a:pt x="2520752" y="4209988"/>
                  </a:lnTo>
                  <a:lnTo>
                    <a:pt x="2530284" y="4195694"/>
                  </a:lnTo>
                  <a:lnTo>
                    <a:pt x="2525518" y="4171868"/>
                  </a:lnTo>
                  <a:lnTo>
                    <a:pt x="2520752" y="4162338"/>
                  </a:lnTo>
                  <a:lnTo>
                    <a:pt x="2515988" y="4157572"/>
                  </a:lnTo>
                  <a:lnTo>
                    <a:pt x="2515988" y="4152808"/>
                  </a:lnTo>
                  <a:lnTo>
                    <a:pt x="2520752" y="4148042"/>
                  </a:lnTo>
                  <a:lnTo>
                    <a:pt x="2515988" y="4143278"/>
                  </a:lnTo>
                  <a:lnTo>
                    <a:pt x="2515988" y="4138512"/>
                  </a:lnTo>
                  <a:lnTo>
                    <a:pt x="2515988" y="4133748"/>
                  </a:lnTo>
                  <a:lnTo>
                    <a:pt x="2515988" y="4124216"/>
                  </a:lnTo>
                  <a:lnTo>
                    <a:pt x="2506458" y="4119452"/>
                  </a:lnTo>
                  <a:lnTo>
                    <a:pt x="2501692" y="4105156"/>
                  </a:lnTo>
                  <a:lnTo>
                    <a:pt x="2501692" y="4095626"/>
                  </a:lnTo>
                  <a:lnTo>
                    <a:pt x="2501692" y="4086096"/>
                  </a:lnTo>
                  <a:lnTo>
                    <a:pt x="2496928" y="4076566"/>
                  </a:lnTo>
                  <a:lnTo>
                    <a:pt x="2492162" y="4071800"/>
                  </a:lnTo>
                  <a:lnTo>
                    <a:pt x="2487398" y="4062270"/>
                  </a:lnTo>
                  <a:lnTo>
                    <a:pt x="2482632" y="4057504"/>
                  </a:lnTo>
                  <a:lnTo>
                    <a:pt x="2477868" y="4047974"/>
                  </a:lnTo>
                  <a:lnTo>
                    <a:pt x="2477868" y="4033680"/>
                  </a:lnTo>
                  <a:lnTo>
                    <a:pt x="2487398" y="4033680"/>
                  </a:lnTo>
                  <a:lnTo>
                    <a:pt x="2492162" y="4024148"/>
                  </a:lnTo>
                  <a:lnTo>
                    <a:pt x="2496928" y="4014618"/>
                  </a:lnTo>
                  <a:lnTo>
                    <a:pt x="2506458" y="4014618"/>
                  </a:lnTo>
                  <a:lnTo>
                    <a:pt x="2520752" y="4009854"/>
                  </a:lnTo>
                  <a:lnTo>
                    <a:pt x="2520752" y="4005088"/>
                  </a:lnTo>
                  <a:lnTo>
                    <a:pt x="2496928" y="3981262"/>
                  </a:lnTo>
                  <a:lnTo>
                    <a:pt x="2482632" y="3966968"/>
                  </a:lnTo>
                  <a:lnTo>
                    <a:pt x="2487398" y="3943142"/>
                  </a:lnTo>
                  <a:lnTo>
                    <a:pt x="2506458" y="3914552"/>
                  </a:lnTo>
                  <a:lnTo>
                    <a:pt x="2520752" y="3881196"/>
                  </a:lnTo>
                  <a:lnTo>
                    <a:pt x="2530284" y="3857370"/>
                  </a:lnTo>
                  <a:lnTo>
                    <a:pt x="2535048" y="3852604"/>
                  </a:lnTo>
                  <a:lnTo>
                    <a:pt x="2544578" y="3847840"/>
                  </a:lnTo>
                  <a:lnTo>
                    <a:pt x="2544578" y="3838308"/>
                  </a:lnTo>
                  <a:lnTo>
                    <a:pt x="2544578" y="3828778"/>
                  </a:lnTo>
                  <a:lnTo>
                    <a:pt x="2535048" y="3828778"/>
                  </a:lnTo>
                  <a:lnTo>
                    <a:pt x="2544578" y="3800188"/>
                  </a:lnTo>
                  <a:lnTo>
                    <a:pt x="2558874" y="3757302"/>
                  </a:lnTo>
                  <a:lnTo>
                    <a:pt x="2568404" y="3723946"/>
                  </a:lnTo>
                  <a:lnTo>
                    <a:pt x="2568404" y="3719180"/>
                  </a:lnTo>
                  <a:lnTo>
                    <a:pt x="2577934" y="3714416"/>
                  </a:lnTo>
                  <a:lnTo>
                    <a:pt x="2568404" y="3709650"/>
                  </a:lnTo>
                  <a:lnTo>
                    <a:pt x="2563640" y="3695356"/>
                  </a:lnTo>
                  <a:lnTo>
                    <a:pt x="2554108" y="3666764"/>
                  </a:lnTo>
                  <a:lnTo>
                    <a:pt x="2535048" y="3623878"/>
                  </a:lnTo>
                  <a:lnTo>
                    <a:pt x="2535048" y="3609584"/>
                  </a:lnTo>
                  <a:lnTo>
                    <a:pt x="2525518" y="3595288"/>
                  </a:lnTo>
                  <a:lnTo>
                    <a:pt x="2515988" y="3600052"/>
                  </a:lnTo>
                  <a:lnTo>
                    <a:pt x="2501692" y="3600052"/>
                  </a:lnTo>
                  <a:lnTo>
                    <a:pt x="2468336" y="3571462"/>
                  </a:lnTo>
                  <a:lnTo>
                    <a:pt x="2444512" y="3561932"/>
                  </a:lnTo>
                  <a:lnTo>
                    <a:pt x="2439746" y="3552402"/>
                  </a:lnTo>
                  <a:lnTo>
                    <a:pt x="2434980" y="3528576"/>
                  </a:lnTo>
                  <a:lnTo>
                    <a:pt x="2430216" y="3499984"/>
                  </a:lnTo>
                  <a:lnTo>
                    <a:pt x="2425450" y="3466628"/>
                  </a:lnTo>
                  <a:lnTo>
                    <a:pt x="2425450" y="3457098"/>
                  </a:lnTo>
                  <a:lnTo>
                    <a:pt x="2444512" y="3428508"/>
                  </a:lnTo>
                  <a:lnTo>
                    <a:pt x="2444512" y="3418978"/>
                  </a:lnTo>
                  <a:lnTo>
                    <a:pt x="2449276" y="3404682"/>
                  </a:lnTo>
                  <a:lnTo>
                    <a:pt x="2449276" y="3395152"/>
                  </a:lnTo>
                  <a:lnTo>
                    <a:pt x="2444512" y="3395152"/>
                  </a:lnTo>
                  <a:lnTo>
                    <a:pt x="2434980" y="3399918"/>
                  </a:lnTo>
                  <a:lnTo>
                    <a:pt x="2425450" y="3404682"/>
                  </a:lnTo>
                  <a:lnTo>
                    <a:pt x="2415920" y="3404682"/>
                  </a:lnTo>
                  <a:lnTo>
                    <a:pt x="2349208" y="3399918"/>
                  </a:lnTo>
                  <a:lnTo>
                    <a:pt x="2277732" y="3399918"/>
                  </a:lnTo>
                  <a:lnTo>
                    <a:pt x="2215784" y="3395152"/>
                  </a:lnTo>
                  <a:lnTo>
                    <a:pt x="2163368" y="3395152"/>
                  </a:lnTo>
                  <a:lnTo>
                    <a:pt x="2158604" y="3371326"/>
                  </a:lnTo>
                  <a:lnTo>
                    <a:pt x="2158604" y="3333206"/>
                  </a:lnTo>
                  <a:lnTo>
                    <a:pt x="2153838" y="3309380"/>
                  </a:lnTo>
                  <a:lnTo>
                    <a:pt x="2149074" y="3266494"/>
                  </a:lnTo>
                  <a:lnTo>
                    <a:pt x="2130012" y="3237904"/>
                  </a:lnTo>
                  <a:lnTo>
                    <a:pt x="2106188" y="3214078"/>
                  </a:lnTo>
                  <a:lnTo>
                    <a:pt x="2096656" y="3204548"/>
                  </a:lnTo>
                  <a:lnTo>
                    <a:pt x="2125248" y="3204548"/>
                  </a:lnTo>
                  <a:lnTo>
                    <a:pt x="2144308" y="3204548"/>
                  </a:lnTo>
                  <a:lnTo>
                    <a:pt x="2144308" y="3128304"/>
                  </a:lnTo>
                  <a:lnTo>
                    <a:pt x="2134778" y="3118774"/>
                  </a:lnTo>
                  <a:lnTo>
                    <a:pt x="2130012" y="3094950"/>
                  </a:lnTo>
                  <a:lnTo>
                    <a:pt x="2125248" y="3080654"/>
                  </a:lnTo>
                  <a:lnTo>
                    <a:pt x="2115718" y="3071124"/>
                  </a:lnTo>
                  <a:lnTo>
                    <a:pt x="2115718" y="3056828"/>
                  </a:lnTo>
                  <a:lnTo>
                    <a:pt x="2115718" y="3047298"/>
                  </a:lnTo>
                  <a:lnTo>
                    <a:pt x="2120482" y="3042532"/>
                  </a:lnTo>
                  <a:lnTo>
                    <a:pt x="2125248" y="3028238"/>
                  </a:lnTo>
                  <a:lnTo>
                    <a:pt x="2125248" y="3018708"/>
                  </a:lnTo>
                  <a:lnTo>
                    <a:pt x="2115718" y="3004412"/>
                  </a:lnTo>
                  <a:lnTo>
                    <a:pt x="2110952" y="2994882"/>
                  </a:lnTo>
                  <a:lnTo>
                    <a:pt x="2096656" y="2985352"/>
                  </a:lnTo>
                  <a:lnTo>
                    <a:pt x="2077596" y="2975820"/>
                  </a:lnTo>
                  <a:lnTo>
                    <a:pt x="2044240" y="2956760"/>
                  </a:lnTo>
                  <a:lnTo>
                    <a:pt x="2020414" y="2947230"/>
                  </a:lnTo>
                  <a:lnTo>
                    <a:pt x="2010884" y="2947230"/>
                  </a:lnTo>
                  <a:lnTo>
                    <a:pt x="1967998" y="2951996"/>
                  </a:lnTo>
                  <a:lnTo>
                    <a:pt x="1953704" y="2951996"/>
                  </a:lnTo>
                  <a:lnTo>
                    <a:pt x="1944172" y="2951996"/>
                  </a:lnTo>
                  <a:lnTo>
                    <a:pt x="1910816" y="2951996"/>
                  </a:lnTo>
                  <a:lnTo>
                    <a:pt x="1896522" y="2942464"/>
                  </a:lnTo>
                  <a:lnTo>
                    <a:pt x="1886992" y="2932934"/>
                  </a:lnTo>
                  <a:lnTo>
                    <a:pt x="1863166" y="2904344"/>
                  </a:lnTo>
                  <a:lnTo>
                    <a:pt x="1858400" y="2894814"/>
                  </a:lnTo>
                  <a:lnTo>
                    <a:pt x="1848870" y="2890048"/>
                  </a:lnTo>
                  <a:lnTo>
                    <a:pt x="1834574" y="2890048"/>
                  </a:lnTo>
                  <a:lnTo>
                    <a:pt x="1820280" y="2885284"/>
                  </a:lnTo>
                  <a:lnTo>
                    <a:pt x="1796454" y="2875754"/>
                  </a:lnTo>
                  <a:lnTo>
                    <a:pt x="1767864" y="2866224"/>
                  </a:lnTo>
                  <a:lnTo>
                    <a:pt x="1758332" y="2866224"/>
                  </a:lnTo>
                  <a:lnTo>
                    <a:pt x="1744038" y="2863840"/>
                  </a:lnTo>
                  <a:lnTo>
                    <a:pt x="1724976" y="2844780"/>
                  </a:lnTo>
                  <a:lnTo>
                    <a:pt x="1720212" y="2840014"/>
                  </a:lnTo>
                  <a:lnTo>
                    <a:pt x="1715446" y="2830484"/>
                  </a:lnTo>
                  <a:lnTo>
                    <a:pt x="1710682" y="2816190"/>
                  </a:lnTo>
                  <a:lnTo>
                    <a:pt x="1701152" y="2811424"/>
                  </a:lnTo>
                  <a:lnTo>
                    <a:pt x="1691620" y="2816190"/>
                  </a:lnTo>
                  <a:lnTo>
                    <a:pt x="1682090" y="2820954"/>
                  </a:lnTo>
                  <a:lnTo>
                    <a:pt x="1667796" y="2816190"/>
                  </a:lnTo>
                  <a:lnTo>
                    <a:pt x="1648734" y="2806660"/>
                  </a:lnTo>
                  <a:lnTo>
                    <a:pt x="1634440" y="2797128"/>
                  </a:lnTo>
                  <a:lnTo>
                    <a:pt x="1629674" y="2792364"/>
                  </a:lnTo>
                  <a:lnTo>
                    <a:pt x="1610614" y="2787598"/>
                  </a:lnTo>
                  <a:lnTo>
                    <a:pt x="1596318" y="2782834"/>
                  </a:lnTo>
                  <a:lnTo>
                    <a:pt x="1572492" y="2792364"/>
                  </a:lnTo>
                  <a:lnTo>
                    <a:pt x="1553432" y="2787598"/>
                  </a:lnTo>
                  <a:lnTo>
                    <a:pt x="1524842" y="2787598"/>
                  </a:lnTo>
                  <a:lnTo>
                    <a:pt x="1496250" y="2778068"/>
                  </a:lnTo>
                  <a:lnTo>
                    <a:pt x="1486720" y="2759008"/>
                  </a:lnTo>
                  <a:lnTo>
                    <a:pt x="1481956" y="2749478"/>
                  </a:lnTo>
                  <a:lnTo>
                    <a:pt x="1467660" y="2739948"/>
                  </a:lnTo>
                  <a:lnTo>
                    <a:pt x="1458130" y="2730416"/>
                  </a:lnTo>
                  <a:lnTo>
                    <a:pt x="1443834" y="2720886"/>
                  </a:lnTo>
                  <a:lnTo>
                    <a:pt x="1434304" y="2711356"/>
                  </a:lnTo>
                  <a:lnTo>
                    <a:pt x="1420008" y="2711356"/>
                  </a:lnTo>
                  <a:lnTo>
                    <a:pt x="1410478" y="2706592"/>
                  </a:lnTo>
                  <a:lnTo>
                    <a:pt x="1405714" y="2697060"/>
                  </a:lnTo>
                  <a:lnTo>
                    <a:pt x="1400948" y="2682766"/>
                  </a:lnTo>
                  <a:lnTo>
                    <a:pt x="1391418" y="2668470"/>
                  </a:lnTo>
                  <a:lnTo>
                    <a:pt x="1386652" y="2668470"/>
                  </a:lnTo>
                  <a:lnTo>
                    <a:pt x="1381888" y="2673236"/>
                  </a:lnTo>
                  <a:lnTo>
                    <a:pt x="1377122" y="2668470"/>
                  </a:lnTo>
                  <a:lnTo>
                    <a:pt x="1377122" y="2663706"/>
                  </a:lnTo>
                  <a:lnTo>
                    <a:pt x="1381888" y="2654176"/>
                  </a:lnTo>
                  <a:lnTo>
                    <a:pt x="1377122" y="2644644"/>
                  </a:lnTo>
                  <a:lnTo>
                    <a:pt x="1362828" y="2630350"/>
                  </a:lnTo>
                  <a:lnTo>
                    <a:pt x="1358062" y="2620820"/>
                  </a:lnTo>
                  <a:lnTo>
                    <a:pt x="1358062" y="2606524"/>
                  </a:lnTo>
                  <a:lnTo>
                    <a:pt x="1353296" y="2601758"/>
                  </a:lnTo>
                  <a:lnTo>
                    <a:pt x="1348532" y="2596994"/>
                  </a:lnTo>
                  <a:lnTo>
                    <a:pt x="1348532" y="2587464"/>
                  </a:lnTo>
                  <a:lnTo>
                    <a:pt x="1348532" y="2577932"/>
                  </a:lnTo>
                  <a:lnTo>
                    <a:pt x="1348532" y="2568402"/>
                  </a:lnTo>
                  <a:lnTo>
                    <a:pt x="1358062" y="2554108"/>
                  </a:lnTo>
                  <a:lnTo>
                    <a:pt x="1353296" y="2530282"/>
                  </a:lnTo>
                  <a:lnTo>
                    <a:pt x="1343766" y="2506456"/>
                  </a:lnTo>
                  <a:lnTo>
                    <a:pt x="1339002" y="2482630"/>
                  </a:lnTo>
                  <a:lnTo>
                    <a:pt x="1339002" y="2473100"/>
                  </a:lnTo>
                  <a:lnTo>
                    <a:pt x="1339002" y="2463570"/>
                  </a:lnTo>
                  <a:lnTo>
                    <a:pt x="1343766" y="2454040"/>
                  </a:lnTo>
                  <a:lnTo>
                    <a:pt x="1358062" y="2430214"/>
                  </a:lnTo>
                  <a:lnTo>
                    <a:pt x="1362828" y="2415918"/>
                  </a:lnTo>
                  <a:lnTo>
                    <a:pt x="1358062" y="2396858"/>
                  </a:lnTo>
                  <a:lnTo>
                    <a:pt x="1358062" y="2382562"/>
                  </a:lnTo>
                  <a:lnTo>
                    <a:pt x="1358062" y="2373032"/>
                  </a:lnTo>
                  <a:lnTo>
                    <a:pt x="1353296" y="2358736"/>
                  </a:lnTo>
                  <a:lnTo>
                    <a:pt x="1343766" y="2344442"/>
                  </a:lnTo>
                  <a:lnTo>
                    <a:pt x="1339002" y="2344442"/>
                  </a:lnTo>
                  <a:lnTo>
                    <a:pt x="1329472" y="2349206"/>
                  </a:lnTo>
                  <a:lnTo>
                    <a:pt x="1319942" y="2358736"/>
                  </a:lnTo>
                  <a:lnTo>
                    <a:pt x="1310410" y="2358736"/>
                  </a:lnTo>
                  <a:lnTo>
                    <a:pt x="1296116" y="2353972"/>
                  </a:lnTo>
                  <a:lnTo>
                    <a:pt x="1262760" y="2358736"/>
                  </a:lnTo>
                  <a:lnTo>
                    <a:pt x="1210344" y="2363502"/>
                  </a:lnTo>
                  <a:lnTo>
                    <a:pt x="1191282" y="2368268"/>
                  </a:lnTo>
                  <a:lnTo>
                    <a:pt x="1176988" y="2373032"/>
                  </a:lnTo>
                  <a:lnTo>
                    <a:pt x="1162692" y="2373032"/>
                  </a:lnTo>
                  <a:lnTo>
                    <a:pt x="1138866" y="2387328"/>
                  </a:lnTo>
                  <a:lnTo>
                    <a:pt x="1076920" y="2434980"/>
                  </a:lnTo>
                  <a:lnTo>
                    <a:pt x="1067390" y="2439744"/>
                  </a:lnTo>
                  <a:lnTo>
                    <a:pt x="1053094" y="2439744"/>
                  </a:lnTo>
                  <a:lnTo>
                    <a:pt x="1043564" y="2449274"/>
                  </a:lnTo>
                  <a:lnTo>
                    <a:pt x="1029268" y="2454040"/>
                  </a:lnTo>
                  <a:lnTo>
                    <a:pt x="1005442" y="2473100"/>
                  </a:lnTo>
                  <a:lnTo>
                    <a:pt x="991148" y="2487396"/>
                  </a:lnTo>
                  <a:lnTo>
                    <a:pt x="981618" y="2496926"/>
                  </a:lnTo>
                  <a:lnTo>
                    <a:pt x="972086" y="2501690"/>
                  </a:lnTo>
                  <a:lnTo>
                    <a:pt x="967322" y="2496926"/>
                  </a:lnTo>
                  <a:lnTo>
                    <a:pt x="938732" y="2496926"/>
                  </a:lnTo>
                  <a:lnTo>
                    <a:pt x="929200" y="2501690"/>
                  </a:lnTo>
                  <a:lnTo>
                    <a:pt x="914906" y="2515986"/>
                  </a:lnTo>
                  <a:lnTo>
                    <a:pt x="895844" y="2539812"/>
                  </a:lnTo>
                  <a:lnTo>
                    <a:pt x="891080" y="2544576"/>
                  </a:lnTo>
                  <a:lnTo>
                    <a:pt x="876784" y="2554108"/>
                  </a:lnTo>
                  <a:lnTo>
                    <a:pt x="862488" y="2558872"/>
                  </a:lnTo>
                  <a:lnTo>
                    <a:pt x="843428" y="2568402"/>
                  </a:lnTo>
                  <a:lnTo>
                    <a:pt x="833898" y="2568402"/>
                  </a:lnTo>
                  <a:lnTo>
                    <a:pt x="824368" y="2568402"/>
                  </a:lnTo>
                  <a:lnTo>
                    <a:pt x="819602" y="2563638"/>
                  </a:lnTo>
                  <a:lnTo>
                    <a:pt x="814838" y="2558872"/>
                  </a:lnTo>
                  <a:lnTo>
                    <a:pt x="805308" y="2549342"/>
                  </a:lnTo>
                  <a:lnTo>
                    <a:pt x="781482" y="2549342"/>
                  </a:lnTo>
                  <a:lnTo>
                    <a:pt x="748126" y="2544576"/>
                  </a:lnTo>
                  <a:lnTo>
                    <a:pt x="710004" y="2539812"/>
                  </a:lnTo>
                  <a:lnTo>
                    <a:pt x="690944" y="2544576"/>
                  </a:lnTo>
                  <a:lnTo>
                    <a:pt x="676648" y="2544576"/>
                  </a:lnTo>
                  <a:lnTo>
                    <a:pt x="652824" y="2539812"/>
                  </a:lnTo>
                  <a:lnTo>
                    <a:pt x="633762" y="2539812"/>
                  </a:lnTo>
                  <a:lnTo>
                    <a:pt x="614702" y="2544576"/>
                  </a:lnTo>
                  <a:lnTo>
                    <a:pt x="590876" y="2558872"/>
                  </a:lnTo>
                  <a:lnTo>
                    <a:pt x="581346" y="2558872"/>
                  </a:lnTo>
                  <a:lnTo>
                    <a:pt x="571816" y="2558872"/>
                  </a:lnTo>
                  <a:lnTo>
                    <a:pt x="567052" y="2558872"/>
                  </a:lnTo>
                  <a:lnTo>
                    <a:pt x="557520" y="2554108"/>
                  </a:lnTo>
                  <a:lnTo>
                    <a:pt x="543226" y="2539812"/>
                  </a:lnTo>
                  <a:lnTo>
                    <a:pt x="533696" y="2544576"/>
                  </a:lnTo>
                  <a:lnTo>
                    <a:pt x="524164" y="2549342"/>
                  </a:lnTo>
                  <a:lnTo>
                    <a:pt x="528930" y="2525516"/>
                  </a:lnTo>
                  <a:lnTo>
                    <a:pt x="528930" y="2387328"/>
                  </a:lnTo>
                  <a:lnTo>
                    <a:pt x="528930" y="2363502"/>
                  </a:lnTo>
                  <a:lnTo>
                    <a:pt x="533696" y="2353972"/>
                  </a:lnTo>
                  <a:lnTo>
                    <a:pt x="538460" y="2344442"/>
                  </a:lnTo>
                  <a:lnTo>
                    <a:pt x="533696" y="2330146"/>
                  </a:lnTo>
                  <a:lnTo>
                    <a:pt x="533696" y="2320616"/>
                  </a:lnTo>
                  <a:lnTo>
                    <a:pt x="538460" y="2311086"/>
                  </a:lnTo>
                  <a:lnTo>
                    <a:pt x="543226" y="2301556"/>
                  </a:lnTo>
                  <a:lnTo>
                    <a:pt x="533696" y="2306320"/>
                  </a:lnTo>
                  <a:lnTo>
                    <a:pt x="528930" y="2306320"/>
                  </a:lnTo>
                  <a:lnTo>
                    <a:pt x="524164" y="2315850"/>
                  </a:lnTo>
                  <a:lnTo>
                    <a:pt x="509870" y="2320616"/>
                  </a:lnTo>
                  <a:lnTo>
                    <a:pt x="500340" y="2330146"/>
                  </a:lnTo>
                  <a:lnTo>
                    <a:pt x="490810" y="2339676"/>
                  </a:lnTo>
                  <a:lnTo>
                    <a:pt x="476514" y="2353972"/>
                  </a:lnTo>
                  <a:lnTo>
                    <a:pt x="462218" y="2363502"/>
                  </a:lnTo>
                  <a:lnTo>
                    <a:pt x="452688" y="2368268"/>
                  </a:lnTo>
                  <a:lnTo>
                    <a:pt x="433628" y="2387328"/>
                  </a:lnTo>
                  <a:lnTo>
                    <a:pt x="419332" y="2387328"/>
                  </a:lnTo>
                  <a:lnTo>
                    <a:pt x="376446" y="2392092"/>
                  </a:lnTo>
                  <a:lnTo>
                    <a:pt x="333560" y="2392092"/>
                  </a:lnTo>
                  <a:lnTo>
                    <a:pt x="285908" y="2392092"/>
                  </a:lnTo>
                  <a:lnTo>
                    <a:pt x="285908" y="2377798"/>
                  </a:lnTo>
                  <a:lnTo>
                    <a:pt x="285908" y="2368268"/>
                  </a:lnTo>
                  <a:lnTo>
                    <a:pt x="271614" y="2353972"/>
                  </a:lnTo>
                  <a:lnTo>
                    <a:pt x="271614" y="2339676"/>
                  </a:lnTo>
                  <a:lnTo>
                    <a:pt x="271614" y="2330146"/>
                  </a:lnTo>
                  <a:lnTo>
                    <a:pt x="266848" y="2320616"/>
                  </a:lnTo>
                  <a:lnTo>
                    <a:pt x="257318" y="2311086"/>
                  </a:lnTo>
                  <a:lnTo>
                    <a:pt x="243022" y="2311086"/>
                  </a:lnTo>
                  <a:lnTo>
                    <a:pt x="219196" y="2301556"/>
                  </a:lnTo>
                  <a:lnTo>
                    <a:pt x="185840" y="2296790"/>
                  </a:lnTo>
                  <a:lnTo>
                    <a:pt x="157250" y="2296790"/>
                  </a:lnTo>
                  <a:lnTo>
                    <a:pt x="123894" y="2296790"/>
                  </a:lnTo>
                  <a:lnTo>
                    <a:pt x="142954" y="2272964"/>
                  </a:lnTo>
                  <a:lnTo>
                    <a:pt x="162016" y="2253904"/>
                  </a:lnTo>
                  <a:lnTo>
                    <a:pt x="162016" y="2230078"/>
                  </a:lnTo>
                  <a:lnTo>
                    <a:pt x="147720" y="2215784"/>
                  </a:lnTo>
                  <a:lnTo>
                    <a:pt x="138190" y="2201488"/>
                  </a:lnTo>
                  <a:lnTo>
                    <a:pt x="128660" y="2187192"/>
                  </a:lnTo>
                  <a:lnTo>
                    <a:pt x="109598" y="2177662"/>
                  </a:lnTo>
                  <a:lnTo>
                    <a:pt x="100068" y="2163366"/>
                  </a:lnTo>
                  <a:lnTo>
                    <a:pt x="104834" y="2153836"/>
                  </a:lnTo>
                  <a:lnTo>
                    <a:pt x="100068" y="2149072"/>
                  </a:lnTo>
                  <a:lnTo>
                    <a:pt x="95304" y="2144306"/>
                  </a:lnTo>
                  <a:lnTo>
                    <a:pt x="90538" y="2139542"/>
                  </a:lnTo>
                  <a:lnTo>
                    <a:pt x="81008" y="2134776"/>
                  </a:lnTo>
                  <a:lnTo>
                    <a:pt x="71478" y="2130012"/>
                  </a:lnTo>
                  <a:lnTo>
                    <a:pt x="71478" y="2120480"/>
                  </a:lnTo>
                  <a:lnTo>
                    <a:pt x="71478" y="2115716"/>
                  </a:lnTo>
                  <a:lnTo>
                    <a:pt x="61948" y="2106186"/>
                  </a:lnTo>
                  <a:lnTo>
                    <a:pt x="61948" y="2096656"/>
                  </a:lnTo>
                  <a:lnTo>
                    <a:pt x="57182" y="2087124"/>
                  </a:lnTo>
                  <a:lnTo>
                    <a:pt x="52418" y="2077594"/>
                  </a:lnTo>
                  <a:lnTo>
                    <a:pt x="47652" y="2072830"/>
                  </a:lnTo>
                  <a:lnTo>
                    <a:pt x="38122" y="2063300"/>
                  </a:lnTo>
                  <a:lnTo>
                    <a:pt x="38122" y="2058534"/>
                  </a:lnTo>
                  <a:lnTo>
                    <a:pt x="42888" y="2053768"/>
                  </a:lnTo>
                  <a:lnTo>
                    <a:pt x="47652" y="2049004"/>
                  </a:lnTo>
                  <a:lnTo>
                    <a:pt x="47652" y="2039474"/>
                  </a:lnTo>
                  <a:lnTo>
                    <a:pt x="38122" y="2034708"/>
                  </a:lnTo>
                  <a:lnTo>
                    <a:pt x="28592" y="2034708"/>
                  </a:lnTo>
                  <a:lnTo>
                    <a:pt x="19062" y="2020412"/>
                  </a:lnTo>
                  <a:lnTo>
                    <a:pt x="9532" y="2015648"/>
                  </a:lnTo>
                  <a:lnTo>
                    <a:pt x="4766" y="2010882"/>
                  </a:lnTo>
                  <a:lnTo>
                    <a:pt x="0" y="2006118"/>
                  </a:lnTo>
                  <a:lnTo>
                    <a:pt x="4766" y="2001352"/>
                  </a:lnTo>
                  <a:lnTo>
                    <a:pt x="9532" y="1996588"/>
                  </a:lnTo>
                  <a:lnTo>
                    <a:pt x="9532" y="1987058"/>
                  </a:lnTo>
                  <a:lnTo>
                    <a:pt x="9532" y="1982292"/>
                  </a:lnTo>
                  <a:lnTo>
                    <a:pt x="9532" y="1977526"/>
                  </a:lnTo>
                  <a:lnTo>
                    <a:pt x="14296" y="1972762"/>
                  </a:lnTo>
                  <a:lnTo>
                    <a:pt x="19062" y="1977526"/>
                  </a:lnTo>
                  <a:lnTo>
                    <a:pt x="23826" y="1972762"/>
                  </a:lnTo>
                  <a:lnTo>
                    <a:pt x="33356" y="1972762"/>
                  </a:lnTo>
                  <a:lnTo>
                    <a:pt x="42888" y="1967996"/>
                  </a:lnTo>
                  <a:lnTo>
                    <a:pt x="47652" y="1963232"/>
                  </a:lnTo>
                  <a:lnTo>
                    <a:pt x="42888" y="1958466"/>
                  </a:lnTo>
                  <a:lnTo>
                    <a:pt x="38122" y="1944170"/>
                  </a:lnTo>
                  <a:lnTo>
                    <a:pt x="33356" y="1939406"/>
                  </a:lnTo>
                  <a:lnTo>
                    <a:pt x="33356" y="1929876"/>
                  </a:lnTo>
                  <a:lnTo>
                    <a:pt x="38122" y="1910816"/>
                  </a:lnTo>
                  <a:lnTo>
                    <a:pt x="38122" y="1901284"/>
                  </a:lnTo>
                  <a:lnTo>
                    <a:pt x="47652" y="1891754"/>
                  </a:lnTo>
                  <a:lnTo>
                    <a:pt x="81008" y="1867928"/>
                  </a:lnTo>
                  <a:lnTo>
                    <a:pt x="109598" y="1848868"/>
                  </a:lnTo>
                  <a:lnTo>
                    <a:pt x="119130" y="1848868"/>
                  </a:lnTo>
                  <a:lnTo>
                    <a:pt x="128660" y="1844104"/>
                  </a:lnTo>
                  <a:lnTo>
                    <a:pt x="138190" y="1834572"/>
                  </a:lnTo>
                  <a:lnTo>
                    <a:pt x="138190" y="1825042"/>
                  </a:lnTo>
                  <a:lnTo>
                    <a:pt x="138190" y="1815512"/>
                  </a:lnTo>
                  <a:lnTo>
                    <a:pt x="133424" y="1801218"/>
                  </a:lnTo>
                  <a:lnTo>
                    <a:pt x="128660" y="1782156"/>
                  </a:lnTo>
                  <a:lnTo>
                    <a:pt x="119130" y="1772626"/>
                  </a:lnTo>
                  <a:lnTo>
                    <a:pt x="123894" y="1763096"/>
                  </a:lnTo>
                  <a:lnTo>
                    <a:pt x="133424" y="1748800"/>
                  </a:lnTo>
                  <a:lnTo>
                    <a:pt x="147720" y="1724976"/>
                  </a:lnTo>
                  <a:lnTo>
                    <a:pt x="162016" y="1701150"/>
                  </a:lnTo>
                  <a:lnTo>
                    <a:pt x="162016" y="1696384"/>
                  </a:lnTo>
                  <a:lnTo>
                    <a:pt x="166780" y="1682088"/>
                  </a:lnTo>
                  <a:lnTo>
                    <a:pt x="171546" y="1648732"/>
                  </a:lnTo>
                  <a:lnTo>
                    <a:pt x="176310" y="1634438"/>
                  </a:lnTo>
                  <a:lnTo>
                    <a:pt x="171546" y="1629672"/>
                  </a:lnTo>
                  <a:lnTo>
                    <a:pt x="176310" y="1620142"/>
                  </a:lnTo>
                  <a:lnTo>
                    <a:pt x="185840" y="1615378"/>
                  </a:lnTo>
                  <a:lnTo>
                    <a:pt x="204902" y="1615378"/>
                  </a:lnTo>
                  <a:lnTo>
                    <a:pt x="219196" y="1605846"/>
                  </a:lnTo>
                  <a:lnTo>
                    <a:pt x="243022" y="1586786"/>
                  </a:lnTo>
                  <a:lnTo>
                    <a:pt x="257318" y="1567726"/>
                  </a:lnTo>
                  <a:lnTo>
                    <a:pt x="276378" y="1562960"/>
                  </a:lnTo>
                  <a:lnTo>
                    <a:pt x="300204" y="1548666"/>
                  </a:lnTo>
                  <a:lnTo>
                    <a:pt x="319264" y="1534370"/>
                  </a:lnTo>
                  <a:lnTo>
                    <a:pt x="338324" y="1524840"/>
                  </a:lnTo>
                  <a:lnTo>
                    <a:pt x="366916" y="1524840"/>
                  </a:lnTo>
                  <a:lnTo>
                    <a:pt x="390742" y="1520074"/>
                  </a:lnTo>
                  <a:lnTo>
                    <a:pt x="400272" y="1515310"/>
                  </a:lnTo>
                  <a:lnTo>
                    <a:pt x="419332" y="1510544"/>
                  </a:lnTo>
                  <a:lnTo>
                    <a:pt x="433628" y="1505780"/>
                  </a:lnTo>
                  <a:lnTo>
                    <a:pt x="447922" y="1505780"/>
                  </a:lnTo>
                  <a:lnTo>
                    <a:pt x="476514" y="1501014"/>
                  </a:lnTo>
                  <a:lnTo>
                    <a:pt x="486044" y="1491484"/>
                  </a:lnTo>
                  <a:lnTo>
                    <a:pt x="490810" y="1481954"/>
                  </a:lnTo>
                  <a:lnTo>
                    <a:pt x="500340" y="1472424"/>
                  </a:lnTo>
                  <a:lnTo>
                    <a:pt x="514634" y="1472424"/>
                  </a:lnTo>
                  <a:lnTo>
                    <a:pt x="528930" y="1472424"/>
                  </a:lnTo>
                  <a:lnTo>
                    <a:pt x="543226" y="1472424"/>
                  </a:lnTo>
                  <a:lnTo>
                    <a:pt x="562286" y="1467658"/>
                  </a:lnTo>
                  <a:lnTo>
                    <a:pt x="571816" y="1477188"/>
                  </a:lnTo>
                  <a:lnTo>
                    <a:pt x="576582" y="1486718"/>
                  </a:lnTo>
                  <a:lnTo>
                    <a:pt x="590876" y="1491484"/>
                  </a:lnTo>
                  <a:lnTo>
                    <a:pt x="600408" y="1491484"/>
                  </a:lnTo>
                  <a:lnTo>
                    <a:pt x="605172" y="1491484"/>
                  </a:lnTo>
                  <a:lnTo>
                    <a:pt x="619468" y="1496248"/>
                  </a:lnTo>
                  <a:lnTo>
                    <a:pt x="624232" y="1496248"/>
                  </a:lnTo>
                  <a:lnTo>
                    <a:pt x="628998" y="1491484"/>
                  </a:lnTo>
                  <a:lnTo>
                    <a:pt x="633762" y="1481954"/>
                  </a:lnTo>
                  <a:lnTo>
                    <a:pt x="633762" y="1477188"/>
                  </a:lnTo>
                  <a:lnTo>
                    <a:pt x="638528" y="1443832"/>
                  </a:lnTo>
                  <a:lnTo>
                    <a:pt x="648058" y="1391416"/>
                  </a:lnTo>
                  <a:lnTo>
                    <a:pt x="657588" y="1343764"/>
                  </a:lnTo>
                  <a:lnTo>
                    <a:pt x="667118" y="1291348"/>
                  </a:lnTo>
                  <a:lnTo>
                    <a:pt x="686180" y="1181750"/>
                  </a:lnTo>
                  <a:lnTo>
                    <a:pt x="695710" y="1138864"/>
                  </a:lnTo>
                  <a:lnTo>
                    <a:pt x="705240" y="1095978"/>
                  </a:lnTo>
                  <a:lnTo>
                    <a:pt x="710004" y="1072152"/>
                  </a:lnTo>
                  <a:lnTo>
                    <a:pt x="714770" y="1043562"/>
                  </a:lnTo>
                  <a:lnTo>
                    <a:pt x="719536" y="1014972"/>
                  </a:lnTo>
                  <a:lnTo>
                    <a:pt x="719536" y="1005440"/>
                  </a:lnTo>
                  <a:lnTo>
                    <a:pt x="719536" y="1000676"/>
                  </a:lnTo>
                  <a:lnTo>
                    <a:pt x="714770" y="991146"/>
                  </a:lnTo>
                  <a:lnTo>
                    <a:pt x="714770" y="986380"/>
                  </a:lnTo>
                  <a:lnTo>
                    <a:pt x="714770" y="981616"/>
                  </a:lnTo>
                  <a:lnTo>
                    <a:pt x="714770" y="976850"/>
                  </a:lnTo>
                  <a:lnTo>
                    <a:pt x="705240" y="972084"/>
                  </a:lnTo>
                  <a:lnTo>
                    <a:pt x="700474" y="967320"/>
                  </a:lnTo>
                  <a:lnTo>
                    <a:pt x="700474" y="962554"/>
                  </a:lnTo>
                  <a:lnTo>
                    <a:pt x="695710" y="957790"/>
                  </a:lnTo>
                  <a:lnTo>
                    <a:pt x="695710" y="953024"/>
                  </a:lnTo>
                  <a:lnTo>
                    <a:pt x="690944" y="943494"/>
                  </a:lnTo>
                  <a:lnTo>
                    <a:pt x="686180" y="938730"/>
                  </a:lnTo>
                  <a:lnTo>
                    <a:pt x="686180" y="933964"/>
                  </a:lnTo>
                  <a:lnTo>
                    <a:pt x="690944" y="929198"/>
                  </a:lnTo>
                  <a:lnTo>
                    <a:pt x="690944" y="919668"/>
                  </a:lnTo>
                  <a:lnTo>
                    <a:pt x="690944" y="914904"/>
                  </a:lnTo>
                  <a:lnTo>
                    <a:pt x="686180" y="905374"/>
                  </a:lnTo>
                  <a:lnTo>
                    <a:pt x="686180" y="900608"/>
                  </a:lnTo>
                  <a:lnTo>
                    <a:pt x="676648" y="895842"/>
                  </a:lnTo>
                  <a:lnTo>
                    <a:pt x="667118" y="891078"/>
                  </a:lnTo>
                  <a:lnTo>
                    <a:pt x="652824" y="881548"/>
                  </a:lnTo>
                  <a:lnTo>
                    <a:pt x="638528" y="872018"/>
                  </a:lnTo>
                  <a:lnTo>
                    <a:pt x="619468" y="852956"/>
                  </a:lnTo>
                  <a:lnTo>
                    <a:pt x="614702" y="843426"/>
                  </a:lnTo>
                  <a:lnTo>
                    <a:pt x="614702" y="819600"/>
                  </a:lnTo>
                  <a:lnTo>
                    <a:pt x="614702" y="791010"/>
                  </a:lnTo>
                  <a:lnTo>
                    <a:pt x="619468" y="752890"/>
                  </a:lnTo>
                  <a:lnTo>
                    <a:pt x="619468" y="729064"/>
                  </a:lnTo>
                  <a:lnTo>
                    <a:pt x="628998" y="729064"/>
                  </a:lnTo>
                  <a:lnTo>
                    <a:pt x="638528" y="729064"/>
                  </a:lnTo>
                  <a:lnTo>
                    <a:pt x="648058" y="729064"/>
                  </a:lnTo>
                  <a:lnTo>
                    <a:pt x="657588" y="724298"/>
                  </a:lnTo>
                  <a:lnTo>
                    <a:pt x="667118" y="724298"/>
                  </a:lnTo>
                  <a:lnTo>
                    <a:pt x="671884" y="719534"/>
                  </a:lnTo>
                  <a:lnTo>
                    <a:pt x="676648" y="714768"/>
                  </a:lnTo>
                  <a:lnTo>
                    <a:pt x="681414" y="719534"/>
                  </a:lnTo>
                  <a:lnTo>
                    <a:pt x="686180" y="714768"/>
                  </a:lnTo>
                  <a:lnTo>
                    <a:pt x="695710" y="710002"/>
                  </a:lnTo>
                  <a:lnTo>
                    <a:pt x="700474" y="710002"/>
                  </a:lnTo>
                  <a:lnTo>
                    <a:pt x="710004" y="705238"/>
                  </a:lnTo>
                  <a:lnTo>
                    <a:pt x="719536" y="710002"/>
                  </a:lnTo>
                  <a:lnTo>
                    <a:pt x="719536" y="714768"/>
                  </a:lnTo>
                  <a:lnTo>
                    <a:pt x="729066" y="719534"/>
                  </a:lnTo>
                  <a:lnTo>
                    <a:pt x="733830" y="719534"/>
                  </a:lnTo>
                  <a:lnTo>
                    <a:pt x="738596" y="724298"/>
                  </a:lnTo>
                  <a:lnTo>
                    <a:pt x="743360" y="724298"/>
                  </a:lnTo>
                  <a:lnTo>
                    <a:pt x="748126" y="724298"/>
                  </a:lnTo>
                  <a:lnTo>
                    <a:pt x="757656" y="719534"/>
                  </a:lnTo>
                  <a:lnTo>
                    <a:pt x="757656" y="714768"/>
                  </a:lnTo>
                  <a:lnTo>
                    <a:pt x="757656" y="710002"/>
                  </a:lnTo>
                  <a:lnTo>
                    <a:pt x="757656" y="705238"/>
                  </a:lnTo>
                  <a:lnTo>
                    <a:pt x="757656" y="695708"/>
                  </a:lnTo>
                  <a:lnTo>
                    <a:pt x="757656" y="686178"/>
                  </a:lnTo>
                  <a:lnTo>
                    <a:pt x="752892" y="681412"/>
                  </a:lnTo>
                  <a:lnTo>
                    <a:pt x="748126" y="671882"/>
                  </a:lnTo>
                  <a:lnTo>
                    <a:pt x="743360" y="662352"/>
                  </a:lnTo>
                  <a:lnTo>
                    <a:pt x="733830" y="657586"/>
                  </a:lnTo>
                  <a:lnTo>
                    <a:pt x="724300" y="652822"/>
                  </a:lnTo>
                  <a:lnTo>
                    <a:pt x="719536" y="657586"/>
                  </a:lnTo>
                  <a:lnTo>
                    <a:pt x="714770" y="657586"/>
                  </a:lnTo>
                  <a:lnTo>
                    <a:pt x="710004" y="657586"/>
                  </a:lnTo>
                  <a:lnTo>
                    <a:pt x="700474" y="657586"/>
                  </a:lnTo>
                  <a:lnTo>
                    <a:pt x="695710" y="652822"/>
                  </a:lnTo>
                  <a:lnTo>
                    <a:pt x="686180" y="652822"/>
                  </a:lnTo>
                  <a:lnTo>
                    <a:pt x="671884" y="657586"/>
                  </a:lnTo>
                  <a:lnTo>
                    <a:pt x="667118" y="652822"/>
                  </a:lnTo>
                  <a:lnTo>
                    <a:pt x="657588" y="652822"/>
                  </a:lnTo>
                  <a:lnTo>
                    <a:pt x="648058" y="657586"/>
                  </a:lnTo>
                  <a:lnTo>
                    <a:pt x="648058" y="614700"/>
                  </a:lnTo>
                  <a:lnTo>
                    <a:pt x="648058" y="552754"/>
                  </a:lnTo>
                  <a:lnTo>
                    <a:pt x="657588" y="552754"/>
                  </a:lnTo>
                  <a:lnTo>
                    <a:pt x="667118" y="547988"/>
                  </a:lnTo>
                  <a:lnTo>
                    <a:pt x="681414" y="547988"/>
                  </a:lnTo>
                  <a:lnTo>
                    <a:pt x="690944" y="543224"/>
                  </a:lnTo>
                  <a:lnTo>
                    <a:pt x="700474" y="543224"/>
                  </a:lnTo>
                  <a:lnTo>
                    <a:pt x="710004" y="547988"/>
                  </a:lnTo>
                  <a:lnTo>
                    <a:pt x="719536" y="552754"/>
                  </a:lnTo>
                  <a:lnTo>
                    <a:pt x="733830" y="552754"/>
                  </a:lnTo>
                  <a:lnTo>
                    <a:pt x="910140" y="552754"/>
                  </a:lnTo>
                  <a:lnTo>
                    <a:pt x="905376" y="543224"/>
                  </a:lnTo>
                  <a:lnTo>
                    <a:pt x="900610" y="533694"/>
                  </a:lnTo>
                  <a:lnTo>
                    <a:pt x="905376" y="514632"/>
                  </a:lnTo>
                  <a:lnTo>
                    <a:pt x="910140" y="509868"/>
                  </a:lnTo>
                  <a:lnTo>
                    <a:pt x="919670" y="514632"/>
                  </a:lnTo>
                  <a:lnTo>
                    <a:pt x="929200" y="528928"/>
                  </a:lnTo>
                  <a:lnTo>
                    <a:pt x="933966" y="543224"/>
                  </a:lnTo>
                  <a:lnTo>
                    <a:pt x="938732" y="547988"/>
                  </a:lnTo>
                  <a:lnTo>
                    <a:pt x="948262" y="547988"/>
                  </a:lnTo>
                  <a:lnTo>
                    <a:pt x="957792" y="547988"/>
                  </a:lnTo>
                  <a:lnTo>
                    <a:pt x="967322" y="543224"/>
                  </a:lnTo>
                  <a:lnTo>
                    <a:pt x="981618" y="519398"/>
                  </a:lnTo>
                  <a:lnTo>
                    <a:pt x="1000678" y="500338"/>
                  </a:lnTo>
                  <a:lnTo>
                    <a:pt x="1014972" y="490808"/>
                  </a:lnTo>
                  <a:lnTo>
                    <a:pt x="1024504" y="490808"/>
                  </a:lnTo>
                  <a:lnTo>
                    <a:pt x="1034034" y="490808"/>
                  </a:lnTo>
                  <a:lnTo>
                    <a:pt x="1038798" y="495572"/>
                  </a:lnTo>
                  <a:lnTo>
                    <a:pt x="1043564" y="505102"/>
                  </a:lnTo>
                  <a:lnTo>
                    <a:pt x="1062624" y="533694"/>
                  </a:lnTo>
                  <a:lnTo>
                    <a:pt x="1076920" y="552754"/>
                  </a:lnTo>
                  <a:lnTo>
                    <a:pt x="1081684" y="567050"/>
                  </a:lnTo>
                  <a:lnTo>
                    <a:pt x="1081684" y="600406"/>
                  </a:lnTo>
                  <a:lnTo>
                    <a:pt x="1081684" y="633760"/>
                  </a:lnTo>
                  <a:lnTo>
                    <a:pt x="1086450" y="638526"/>
                  </a:lnTo>
                  <a:lnTo>
                    <a:pt x="1115040" y="628996"/>
                  </a:lnTo>
                  <a:lnTo>
                    <a:pt x="1153162" y="667116"/>
                  </a:lnTo>
                  <a:lnTo>
                    <a:pt x="1186518" y="690942"/>
                  </a:lnTo>
                  <a:lnTo>
                    <a:pt x="1196048" y="700472"/>
                  </a:lnTo>
                  <a:lnTo>
                    <a:pt x="1205578" y="705238"/>
                  </a:lnTo>
                  <a:lnTo>
                    <a:pt x="1219874" y="700472"/>
                  </a:lnTo>
                  <a:lnTo>
                    <a:pt x="1243700" y="695708"/>
                  </a:lnTo>
                  <a:lnTo>
                    <a:pt x="1253230" y="695708"/>
                  </a:lnTo>
                  <a:lnTo>
                    <a:pt x="1262760" y="686178"/>
                  </a:lnTo>
                  <a:lnTo>
                    <a:pt x="1281820" y="676648"/>
                  </a:lnTo>
                  <a:lnTo>
                    <a:pt x="1296116" y="667116"/>
                  </a:lnTo>
                  <a:lnTo>
                    <a:pt x="1300880" y="667116"/>
                  </a:lnTo>
                  <a:lnTo>
                    <a:pt x="1305646" y="667116"/>
                  </a:lnTo>
                  <a:lnTo>
                    <a:pt x="1319942" y="676648"/>
                  </a:lnTo>
                  <a:lnTo>
                    <a:pt x="1324706" y="690942"/>
                  </a:lnTo>
                  <a:lnTo>
                    <a:pt x="1319942" y="705238"/>
                  </a:lnTo>
                  <a:lnTo>
                    <a:pt x="1319942" y="714768"/>
                  </a:lnTo>
                  <a:lnTo>
                    <a:pt x="1334236" y="714768"/>
                  </a:lnTo>
                  <a:lnTo>
                    <a:pt x="1343766" y="695708"/>
                  </a:lnTo>
                  <a:lnTo>
                    <a:pt x="1353296" y="686178"/>
                  </a:lnTo>
                  <a:lnTo>
                    <a:pt x="1367592" y="676648"/>
                  </a:lnTo>
                  <a:lnTo>
                    <a:pt x="1381888" y="662352"/>
                  </a:lnTo>
                  <a:lnTo>
                    <a:pt x="1391418" y="648056"/>
                  </a:lnTo>
                  <a:lnTo>
                    <a:pt x="1405714" y="638526"/>
                  </a:lnTo>
                  <a:lnTo>
                    <a:pt x="1420008" y="628996"/>
                  </a:lnTo>
                  <a:lnTo>
                    <a:pt x="1434304" y="624230"/>
                  </a:lnTo>
                  <a:lnTo>
                    <a:pt x="1448600" y="624230"/>
                  </a:lnTo>
                  <a:lnTo>
                    <a:pt x="1458130" y="619466"/>
                  </a:lnTo>
                  <a:lnTo>
                    <a:pt x="1472426" y="605170"/>
                  </a:lnTo>
                  <a:lnTo>
                    <a:pt x="1481956" y="595640"/>
                  </a:lnTo>
                  <a:lnTo>
                    <a:pt x="1486720" y="595640"/>
                  </a:lnTo>
                  <a:lnTo>
                    <a:pt x="1501016" y="595640"/>
                  </a:lnTo>
                  <a:lnTo>
                    <a:pt x="1515312" y="595640"/>
                  </a:lnTo>
                  <a:lnTo>
                    <a:pt x="1529606" y="581344"/>
                  </a:lnTo>
                  <a:lnTo>
                    <a:pt x="1543902" y="567050"/>
                  </a:lnTo>
                  <a:lnTo>
                    <a:pt x="1553432" y="543224"/>
                  </a:lnTo>
                  <a:lnTo>
                    <a:pt x="1558198" y="524164"/>
                  </a:lnTo>
                  <a:lnTo>
                    <a:pt x="1562962" y="519398"/>
                  </a:lnTo>
                  <a:lnTo>
                    <a:pt x="1567728" y="514632"/>
                  </a:lnTo>
                  <a:lnTo>
                    <a:pt x="1572492" y="514632"/>
                  </a:lnTo>
                  <a:lnTo>
                    <a:pt x="1586788" y="509868"/>
                  </a:lnTo>
                  <a:lnTo>
                    <a:pt x="1615380" y="500338"/>
                  </a:lnTo>
                  <a:lnTo>
                    <a:pt x="1629674" y="490808"/>
                  </a:lnTo>
                  <a:lnTo>
                    <a:pt x="1648734" y="486042"/>
                  </a:lnTo>
                  <a:lnTo>
                    <a:pt x="1653500" y="486042"/>
                  </a:lnTo>
                  <a:lnTo>
                    <a:pt x="1658266" y="471746"/>
                  </a:lnTo>
                  <a:lnTo>
                    <a:pt x="1663030" y="457452"/>
                  </a:lnTo>
                  <a:lnTo>
                    <a:pt x="1658266" y="443156"/>
                  </a:lnTo>
                  <a:lnTo>
                    <a:pt x="1629674" y="438390"/>
                  </a:lnTo>
                  <a:lnTo>
                    <a:pt x="1610614" y="438390"/>
                  </a:lnTo>
                  <a:lnTo>
                    <a:pt x="1577258" y="438390"/>
                  </a:lnTo>
                  <a:lnTo>
                    <a:pt x="1558198" y="433626"/>
                  </a:lnTo>
                  <a:lnTo>
                    <a:pt x="1558198" y="428860"/>
                  </a:lnTo>
                  <a:lnTo>
                    <a:pt x="1558198" y="419330"/>
                  </a:lnTo>
                  <a:lnTo>
                    <a:pt x="1562962" y="405034"/>
                  </a:lnTo>
                  <a:lnTo>
                    <a:pt x="1558198" y="381210"/>
                  </a:lnTo>
                  <a:lnTo>
                    <a:pt x="1543902" y="352618"/>
                  </a:lnTo>
                  <a:lnTo>
                    <a:pt x="1529606" y="319262"/>
                  </a:lnTo>
                  <a:lnTo>
                    <a:pt x="1529606" y="300202"/>
                  </a:lnTo>
                  <a:lnTo>
                    <a:pt x="1529606" y="276376"/>
                  </a:lnTo>
                  <a:lnTo>
                    <a:pt x="1529606" y="262080"/>
                  </a:lnTo>
                  <a:lnTo>
                    <a:pt x="1520076" y="247786"/>
                  </a:lnTo>
                  <a:lnTo>
                    <a:pt x="1477190" y="209664"/>
                  </a:lnTo>
                  <a:lnTo>
                    <a:pt x="1458130" y="195370"/>
                  </a:lnTo>
                  <a:lnTo>
                    <a:pt x="1453364" y="181074"/>
                  </a:lnTo>
                  <a:lnTo>
                    <a:pt x="1434304" y="157248"/>
                  </a:lnTo>
                  <a:lnTo>
                    <a:pt x="1439070" y="152484"/>
                  </a:lnTo>
                  <a:lnTo>
                    <a:pt x="1453364" y="152484"/>
                  </a:lnTo>
                  <a:lnTo>
                    <a:pt x="1458130" y="157248"/>
                  </a:lnTo>
                  <a:lnTo>
                    <a:pt x="1467660" y="171544"/>
                  </a:lnTo>
                  <a:lnTo>
                    <a:pt x="1472426" y="176308"/>
                  </a:lnTo>
                  <a:lnTo>
                    <a:pt x="1481956" y="176308"/>
                  </a:lnTo>
                  <a:lnTo>
                    <a:pt x="1524842" y="171544"/>
                  </a:lnTo>
                  <a:lnTo>
                    <a:pt x="1534372" y="176308"/>
                  </a:lnTo>
                  <a:lnTo>
                    <a:pt x="1539136" y="181074"/>
                  </a:lnTo>
                  <a:lnTo>
                    <a:pt x="1543902" y="185838"/>
                  </a:lnTo>
                  <a:lnTo>
                    <a:pt x="1553432" y="200134"/>
                  </a:lnTo>
                  <a:lnTo>
                    <a:pt x="1562962" y="204900"/>
                  </a:lnTo>
                  <a:lnTo>
                    <a:pt x="1601084" y="204900"/>
                  </a:lnTo>
                  <a:lnTo>
                    <a:pt x="1620144" y="204900"/>
                  </a:lnTo>
                  <a:lnTo>
                    <a:pt x="1624910" y="209664"/>
                  </a:lnTo>
                  <a:lnTo>
                    <a:pt x="1639204" y="209664"/>
                  </a:lnTo>
                  <a:lnTo>
                    <a:pt x="1663030" y="204900"/>
                  </a:lnTo>
                  <a:lnTo>
                    <a:pt x="1667796" y="204900"/>
                  </a:lnTo>
                  <a:lnTo>
                    <a:pt x="1672560" y="209664"/>
                  </a:lnTo>
                  <a:lnTo>
                    <a:pt x="1701152" y="233490"/>
                  </a:lnTo>
                  <a:lnTo>
                    <a:pt x="1715446" y="243020"/>
                  </a:lnTo>
                  <a:lnTo>
                    <a:pt x="1724976" y="257316"/>
                  </a:lnTo>
                  <a:lnTo>
                    <a:pt x="1744038" y="257316"/>
                  </a:lnTo>
                  <a:lnTo>
                    <a:pt x="1758332" y="247786"/>
                  </a:lnTo>
                  <a:lnTo>
                    <a:pt x="1763098" y="204900"/>
                  </a:lnTo>
                  <a:lnTo>
                    <a:pt x="1763098" y="195370"/>
                  </a:lnTo>
                  <a:lnTo>
                    <a:pt x="1772628" y="190604"/>
                  </a:lnTo>
                  <a:lnTo>
                    <a:pt x="1782158" y="190604"/>
                  </a:lnTo>
                  <a:lnTo>
                    <a:pt x="1791688" y="181074"/>
                  </a:lnTo>
                  <a:lnTo>
                    <a:pt x="1801220" y="176308"/>
                  </a:lnTo>
                  <a:lnTo>
                    <a:pt x="1810750" y="171544"/>
                  </a:lnTo>
                  <a:lnTo>
                    <a:pt x="1853636" y="181074"/>
                  </a:lnTo>
                  <a:lnTo>
                    <a:pt x="1863166" y="176308"/>
                  </a:lnTo>
                  <a:lnTo>
                    <a:pt x="1906052" y="166778"/>
                  </a:lnTo>
                  <a:lnTo>
                    <a:pt x="1944172" y="152484"/>
                  </a:lnTo>
                  <a:lnTo>
                    <a:pt x="1958468" y="133422"/>
                  </a:lnTo>
                  <a:lnTo>
                    <a:pt x="1972764" y="128658"/>
                  </a:lnTo>
                  <a:lnTo>
                    <a:pt x="1987058" y="114362"/>
                  </a:lnTo>
                  <a:lnTo>
                    <a:pt x="2001354" y="114362"/>
                  </a:lnTo>
                  <a:lnTo>
                    <a:pt x="2015650" y="119128"/>
                  </a:lnTo>
                  <a:lnTo>
                    <a:pt x="2025180" y="114362"/>
                  </a:lnTo>
                  <a:lnTo>
                    <a:pt x="2029944" y="109596"/>
                  </a:lnTo>
                  <a:lnTo>
                    <a:pt x="2039476" y="104832"/>
                  </a:lnTo>
                  <a:lnTo>
                    <a:pt x="2049006" y="85772"/>
                  </a:lnTo>
                  <a:lnTo>
                    <a:pt x="2058536" y="81006"/>
                  </a:lnTo>
                  <a:lnTo>
                    <a:pt x="2072832" y="76242"/>
                  </a:lnTo>
                  <a:lnTo>
                    <a:pt x="2082362" y="66710"/>
                  </a:lnTo>
                  <a:lnTo>
                    <a:pt x="2091892" y="57180"/>
                  </a:lnTo>
                  <a:lnTo>
                    <a:pt x="2096656" y="47650"/>
                  </a:lnTo>
                  <a:lnTo>
                    <a:pt x="2091892" y="38120"/>
                  </a:lnTo>
                  <a:lnTo>
                    <a:pt x="2091892" y="23824"/>
                  </a:lnTo>
                  <a:lnTo>
                    <a:pt x="2082362" y="14294"/>
                  </a:lnTo>
                  <a:lnTo>
                    <a:pt x="2077596" y="9530"/>
                  </a:lnTo>
                  <a:lnTo>
                    <a:pt x="2072832" y="9530"/>
                  </a:lnTo>
                  <a:lnTo>
                    <a:pt x="2087126" y="4764"/>
                  </a:lnTo>
                  <a:lnTo>
                    <a:pt x="2096656" y="9530"/>
                  </a:lnTo>
                  <a:lnTo>
                    <a:pt x="2115718" y="9530"/>
                  </a:lnTo>
                  <a:lnTo>
                    <a:pt x="2125248" y="4764"/>
                  </a:lnTo>
                  <a:lnTo>
                    <a:pt x="2134778" y="953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419" name="Group 384">
              <a:extLst>
                <a:ext uri="{FF2B5EF4-FFF2-40B4-BE49-F238E27FC236}">
                  <a16:creationId xmlns:a16="http://schemas.microsoft.com/office/drawing/2014/main" id="{4B8FF4F5-BF5B-490F-A9A6-44786A648199}"/>
                </a:ext>
              </a:extLst>
            </p:cNvPr>
            <p:cNvGrpSpPr/>
            <p:nvPr/>
          </p:nvGrpSpPr>
          <p:grpSpPr>
            <a:xfrm>
              <a:off x="1250194" y="4833567"/>
              <a:ext cx="1288906" cy="1289291"/>
              <a:chOff x="3602805" y="23480723"/>
              <a:chExt cx="7967293" cy="7969675"/>
            </a:xfrm>
            <a:grpFill/>
          </p:grpSpPr>
          <p:sp>
            <p:nvSpPr>
              <p:cNvPr id="512" name="Freeform 4413">
                <a:extLst>
                  <a:ext uri="{FF2B5EF4-FFF2-40B4-BE49-F238E27FC236}">
                    <a16:creationId xmlns:a16="http://schemas.microsoft.com/office/drawing/2014/main" id="{2F26FE0A-1F4A-4078-B616-588FFD32F82E}"/>
                  </a:ext>
                </a:extLst>
              </p:cNvPr>
              <p:cNvSpPr/>
              <p:nvPr/>
            </p:nvSpPr>
            <p:spPr bwMode="auto">
              <a:xfrm>
                <a:off x="11536742" y="31431337"/>
                <a:ext cx="33356" cy="19061"/>
              </a:xfrm>
              <a:custGeom>
                <a:avLst/>
                <a:gdLst>
                  <a:gd name="T0" fmla="*/ 10 w 14"/>
                  <a:gd name="T1" fmla="*/ 6 h 8"/>
                  <a:gd name="T2" fmla="*/ 14 w 14"/>
                  <a:gd name="T3" fmla="*/ 4 h 8"/>
                  <a:gd name="T4" fmla="*/ 10 w 14"/>
                  <a:gd name="T5" fmla="*/ 2 h 8"/>
                  <a:gd name="T6" fmla="*/ 2 w 14"/>
                  <a:gd name="T7" fmla="*/ 0 h 8"/>
                  <a:gd name="T8" fmla="*/ 0 w 14"/>
                  <a:gd name="T9" fmla="*/ 4 h 8"/>
                  <a:gd name="T10" fmla="*/ 0 w 14"/>
                  <a:gd name="T11" fmla="*/ 8 h 8"/>
                  <a:gd name="T12" fmla="*/ 10 w 14"/>
                  <a:gd name="T13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8">
                    <a:moveTo>
                      <a:pt x="10" y="6"/>
                    </a:moveTo>
                    <a:lnTo>
                      <a:pt x="14" y="4"/>
                    </a:lnTo>
                    <a:lnTo>
                      <a:pt x="10" y="2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10" y="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3" name="Freeform 5994">
                <a:extLst>
                  <a:ext uri="{FF2B5EF4-FFF2-40B4-BE49-F238E27FC236}">
                    <a16:creationId xmlns:a16="http://schemas.microsoft.com/office/drawing/2014/main" id="{D17F7652-FFB6-4E30-B837-4F8E4A7F5786}"/>
                  </a:ext>
                </a:extLst>
              </p:cNvPr>
              <p:cNvSpPr/>
              <p:nvPr/>
            </p:nvSpPr>
            <p:spPr bwMode="auto">
              <a:xfrm>
                <a:off x="8582363" y="30959589"/>
                <a:ext cx="9530" cy="14295"/>
              </a:xfrm>
              <a:custGeom>
                <a:avLst/>
                <a:gdLst>
                  <a:gd name="T0" fmla="*/ 4 w 4"/>
                  <a:gd name="T1" fmla="*/ 4 h 6"/>
                  <a:gd name="T2" fmla="*/ 4 w 4"/>
                  <a:gd name="T3" fmla="*/ 2 h 6"/>
                  <a:gd name="T4" fmla="*/ 2 w 4"/>
                  <a:gd name="T5" fmla="*/ 0 h 6"/>
                  <a:gd name="T6" fmla="*/ 2 w 4"/>
                  <a:gd name="T7" fmla="*/ 0 h 6"/>
                  <a:gd name="T8" fmla="*/ 0 w 4"/>
                  <a:gd name="T9" fmla="*/ 0 h 6"/>
                  <a:gd name="T10" fmla="*/ 0 w 4"/>
                  <a:gd name="T11" fmla="*/ 2 h 6"/>
                  <a:gd name="T12" fmla="*/ 2 w 4"/>
                  <a:gd name="T13" fmla="*/ 4 h 6"/>
                  <a:gd name="T14" fmla="*/ 4 w 4"/>
                  <a:gd name="T15" fmla="*/ 6 h 6"/>
                  <a:gd name="T16" fmla="*/ 4 w 4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6">
                    <a:moveTo>
                      <a:pt x="4" y="4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4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4" name="Line 5995">
                <a:extLst>
                  <a:ext uri="{FF2B5EF4-FFF2-40B4-BE49-F238E27FC236}">
                    <a16:creationId xmlns:a16="http://schemas.microsoft.com/office/drawing/2014/main" id="{479F7094-3AE8-4E6F-8EAE-B15D1FFC981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8591893" y="30969121"/>
                <a:ext cx="0" cy="0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5" name="Line 5997">
                <a:extLst>
                  <a:ext uri="{FF2B5EF4-FFF2-40B4-BE49-F238E27FC236}">
                    <a16:creationId xmlns:a16="http://schemas.microsoft.com/office/drawing/2014/main" id="{6BA8B0CD-BF12-482F-8670-4908F7B7DAE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8591893" y="30969121"/>
                <a:ext cx="0" cy="0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6" name="Freeform 6209">
                <a:extLst>
                  <a:ext uri="{FF2B5EF4-FFF2-40B4-BE49-F238E27FC236}">
                    <a16:creationId xmlns:a16="http://schemas.microsoft.com/office/drawing/2014/main" id="{7E777471-AF65-4968-B387-AFDFD7DB973F}"/>
                  </a:ext>
                </a:extLst>
              </p:cNvPr>
              <p:cNvSpPr/>
              <p:nvPr/>
            </p:nvSpPr>
            <p:spPr bwMode="auto">
              <a:xfrm>
                <a:off x="6986045" y="30359186"/>
                <a:ext cx="9530" cy="14295"/>
              </a:xfrm>
              <a:custGeom>
                <a:avLst/>
                <a:gdLst>
                  <a:gd name="T0" fmla="*/ 4 w 4"/>
                  <a:gd name="T1" fmla="*/ 6 h 6"/>
                  <a:gd name="T2" fmla="*/ 4 w 4"/>
                  <a:gd name="T3" fmla="*/ 2 h 6"/>
                  <a:gd name="T4" fmla="*/ 2 w 4"/>
                  <a:gd name="T5" fmla="*/ 0 h 6"/>
                  <a:gd name="T6" fmla="*/ 0 w 4"/>
                  <a:gd name="T7" fmla="*/ 0 h 6"/>
                  <a:gd name="T8" fmla="*/ 2 w 4"/>
                  <a:gd name="T9" fmla="*/ 0 h 6"/>
                  <a:gd name="T10" fmla="*/ 2 w 4"/>
                  <a:gd name="T11" fmla="*/ 4 h 6"/>
                  <a:gd name="T12" fmla="*/ 2 w 4"/>
                  <a:gd name="T13" fmla="*/ 6 h 6"/>
                  <a:gd name="T14" fmla="*/ 4 w 4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4" y="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7" name="Freeform 6210">
                <a:extLst>
                  <a:ext uri="{FF2B5EF4-FFF2-40B4-BE49-F238E27FC236}">
                    <a16:creationId xmlns:a16="http://schemas.microsoft.com/office/drawing/2014/main" id="{A029A3D2-9460-4B02-8F06-CAAA8268788B}"/>
                  </a:ext>
                </a:extLst>
              </p:cNvPr>
              <p:cNvSpPr/>
              <p:nvPr/>
            </p:nvSpPr>
            <p:spPr bwMode="auto">
              <a:xfrm>
                <a:off x="7310074" y="29973209"/>
                <a:ext cx="33356" cy="19061"/>
              </a:xfrm>
              <a:custGeom>
                <a:avLst/>
                <a:gdLst>
                  <a:gd name="T0" fmla="*/ 14 w 14"/>
                  <a:gd name="T1" fmla="*/ 6 h 8"/>
                  <a:gd name="T2" fmla="*/ 10 w 14"/>
                  <a:gd name="T3" fmla="*/ 4 h 8"/>
                  <a:gd name="T4" fmla="*/ 8 w 14"/>
                  <a:gd name="T5" fmla="*/ 2 h 8"/>
                  <a:gd name="T6" fmla="*/ 4 w 14"/>
                  <a:gd name="T7" fmla="*/ 2 h 8"/>
                  <a:gd name="T8" fmla="*/ 2 w 14"/>
                  <a:gd name="T9" fmla="*/ 0 h 8"/>
                  <a:gd name="T10" fmla="*/ 0 w 14"/>
                  <a:gd name="T11" fmla="*/ 2 h 8"/>
                  <a:gd name="T12" fmla="*/ 2 w 14"/>
                  <a:gd name="T13" fmla="*/ 2 h 8"/>
                  <a:gd name="T14" fmla="*/ 4 w 14"/>
                  <a:gd name="T15" fmla="*/ 2 h 8"/>
                  <a:gd name="T16" fmla="*/ 8 w 14"/>
                  <a:gd name="T17" fmla="*/ 4 h 8"/>
                  <a:gd name="T18" fmla="*/ 10 w 14"/>
                  <a:gd name="T19" fmla="*/ 6 h 8"/>
                  <a:gd name="T20" fmla="*/ 12 w 14"/>
                  <a:gd name="T21" fmla="*/ 6 h 8"/>
                  <a:gd name="T22" fmla="*/ 12 w 14"/>
                  <a:gd name="T23" fmla="*/ 8 h 8"/>
                  <a:gd name="T24" fmla="*/ 14 w 14"/>
                  <a:gd name="T2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8">
                    <a:moveTo>
                      <a:pt x="14" y="6"/>
                    </a:moveTo>
                    <a:lnTo>
                      <a:pt x="10" y="4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8" y="4"/>
                    </a:lnTo>
                    <a:lnTo>
                      <a:pt x="10" y="6"/>
                    </a:lnTo>
                    <a:lnTo>
                      <a:pt x="12" y="6"/>
                    </a:lnTo>
                    <a:lnTo>
                      <a:pt x="12" y="8"/>
                    </a:lnTo>
                    <a:lnTo>
                      <a:pt x="14" y="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8" name="Freeform 6211">
                <a:extLst>
                  <a:ext uri="{FF2B5EF4-FFF2-40B4-BE49-F238E27FC236}">
                    <a16:creationId xmlns:a16="http://schemas.microsoft.com/office/drawing/2014/main" id="{7DED024C-DF9D-4E29-9821-E20240B27916}"/>
                  </a:ext>
                </a:extLst>
              </p:cNvPr>
              <p:cNvSpPr/>
              <p:nvPr/>
            </p:nvSpPr>
            <p:spPr bwMode="auto">
              <a:xfrm>
                <a:off x="6638191" y="29954150"/>
                <a:ext cx="19061" cy="14295"/>
              </a:xfrm>
              <a:custGeom>
                <a:avLst/>
                <a:gdLst>
                  <a:gd name="T0" fmla="*/ 8 w 8"/>
                  <a:gd name="T1" fmla="*/ 2 h 6"/>
                  <a:gd name="T2" fmla="*/ 0 w 8"/>
                  <a:gd name="T3" fmla="*/ 0 h 6"/>
                  <a:gd name="T4" fmla="*/ 2 w 8"/>
                  <a:gd name="T5" fmla="*/ 2 h 6"/>
                  <a:gd name="T6" fmla="*/ 6 w 8"/>
                  <a:gd name="T7" fmla="*/ 4 h 6"/>
                  <a:gd name="T8" fmla="*/ 8 w 8"/>
                  <a:gd name="T9" fmla="*/ 6 h 6"/>
                  <a:gd name="T10" fmla="*/ 8 w 8"/>
                  <a:gd name="T11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6">
                    <a:moveTo>
                      <a:pt x="8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8" y="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9" name="Freeform 6212">
                <a:extLst>
                  <a:ext uri="{FF2B5EF4-FFF2-40B4-BE49-F238E27FC236}">
                    <a16:creationId xmlns:a16="http://schemas.microsoft.com/office/drawing/2014/main" id="{D78F757C-F52B-48B1-8200-672973BACE2F}"/>
                  </a:ext>
                </a:extLst>
              </p:cNvPr>
              <p:cNvSpPr/>
              <p:nvPr/>
            </p:nvSpPr>
            <p:spPr bwMode="auto">
              <a:xfrm>
                <a:off x="7219536" y="29939853"/>
                <a:ext cx="14295" cy="19061"/>
              </a:xfrm>
              <a:custGeom>
                <a:avLst/>
                <a:gdLst>
                  <a:gd name="T0" fmla="*/ 6 w 6"/>
                  <a:gd name="T1" fmla="*/ 6 h 8"/>
                  <a:gd name="T2" fmla="*/ 2 w 6"/>
                  <a:gd name="T3" fmla="*/ 2 h 8"/>
                  <a:gd name="T4" fmla="*/ 0 w 6"/>
                  <a:gd name="T5" fmla="*/ 0 h 8"/>
                  <a:gd name="T6" fmla="*/ 6 w 6"/>
                  <a:gd name="T7" fmla="*/ 8 h 8"/>
                  <a:gd name="T8" fmla="*/ 6 w 6"/>
                  <a:gd name="T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8">
                    <a:moveTo>
                      <a:pt x="6" y="6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6" y="8"/>
                    </a:lnTo>
                    <a:lnTo>
                      <a:pt x="6" y="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20" name="Freeform 6213">
                <a:extLst>
                  <a:ext uri="{FF2B5EF4-FFF2-40B4-BE49-F238E27FC236}">
                    <a16:creationId xmlns:a16="http://schemas.microsoft.com/office/drawing/2014/main" id="{F1E43DC4-E86E-4441-BC38-499F65297E96}"/>
                  </a:ext>
                </a:extLst>
              </p:cNvPr>
              <p:cNvSpPr/>
              <p:nvPr/>
            </p:nvSpPr>
            <p:spPr bwMode="auto">
              <a:xfrm>
                <a:off x="6609600" y="29906497"/>
                <a:ext cx="23826" cy="28591"/>
              </a:xfrm>
              <a:custGeom>
                <a:avLst/>
                <a:gdLst>
                  <a:gd name="T0" fmla="*/ 10 w 10"/>
                  <a:gd name="T1" fmla="*/ 10 h 12"/>
                  <a:gd name="T2" fmla="*/ 6 w 10"/>
                  <a:gd name="T3" fmla="*/ 4 h 12"/>
                  <a:gd name="T4" fmla="*/ 4 w 10"/>
                  <a:gd name="T5" fmla="*/ 2 h 12"/>
                  <a:gd name="T6" fmla="*/ 0 w 10"/>
                  <a:gd name="T7" fmla="*/ 0 h 12"/>
                  <a:gd name="T8" fmla="*/ 2 w 10"/>
                  <a:gd name="T9" fmla="*/ 2 h 12"/>
                  <a:gd name="T10" fmla="*/ 6 w 10"/>
                  <a:gd name="T11" fmla="*/ 6 h 12"/>
                  <a:gd name="T12" fmla="*/ 8 w 10"/>
                  <a:gd name="T13" fmla="*/ 10 h 12"/>
                  <a:gd name="T14" fmla="*/ 10 w 10"/>
                  <a:gd name="T15" fmla="*/ 12 h 12"/>
                  <a:gd name="T16" fmla="*/ 10 w 10"/>
                  <a:gd name="T17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12">
                    <a:moveTo>
                      <a:pt x="10" y="10"/>
                    </a:moveTo>
                    <a:lnTo>
                      <a:pt x="6" y="4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6" y="6"/>
                    </a:lnTo>
                    <a:lnTo>
                      <a:pt x="8" y="10"/>
                    </a:lnTo>
                    <a:lnTo>
                      <a:pt x="10" y="12"/>
                    </a:lnTo>
                    <a:lnTo>
                      <a:pt x="10" y="1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21" name="Freeform 6214">
                <a:extLst>
                  <a:ext uri="{FF2B5EF4-FFF2-40B4-BE49-F238E27FC236}">
                    <a16:creationId xmlns:a16="http://schemas.microsoft.com/office/drawing/2014/main" id="{C7D0E681-ED51-4668-8A08-D436FD831453}"/>
                  </a:ext>
                </a:extLst>
              </p:cNvPr>
              <p:cNvSpPr/>
              <p:nvPr/>
            </p:nvSpPr>
            <p:spPr bwMode="auto">
              <a:xfrm>
                <a:off x="6628661" y="29844550"/>
                <a:ext cx="33356" cy="33356"/>
              </a:xfrm>
              <a:custGeom>
                <a:avLst/>
                <a:gdLst>
                  <a:gd name="T0" fmla="*/ 4 w 14"/>
                  <a:gd name="T1" fmla="*/ 12 h 14"/>
                  <a:gd name="T2" fmla="*/ 2 w 14"/>
                  <a:gd name="T3" fmla="*/ 12 h 14"/>
                  <a:gd name="T4" fmla="*/ 2 w 14"/>
                  <a:gd name="T5" fmla="*/ 12 h 14"/>
                  <a:gd name="T6" fmla="*/ 2 w 14"/>
                  <a:gd name="T7" fmla="*/ 8 h 14"/>
                  <a:gd name="T8" fmla="*/ 6 w 14"/>
                  <a:gd name="T9" fmla="*/ 6 h 14"/>
                  <a:gd name="T10" fmla="*/ 14 w 14"/>
                  <a:gd name="T11" fmla="*/ 0 h 14"/>
                  <a:gd name="T12" fmla="*/ 14 w 14"/>
                  <a:gd name="T13" fmla="*/ 0 h 14"/>
                  <a:gd name="T14" fmla="*/ 14 w 14"/>
                  <a:gd name="T15" fmla="*/ 0 h 14"/>
                  <a:gd name="T16" fmla="*/ 12 w 14"/>
                  <a:gd name="T17" fmla="*/ 0 h 14"/>
                  <a:gd name="T18" fmla="*/ 6 w 14"/>
                  <a:gd name="T19" fmla="*/ 2 h 14"/>
                  <a:gd name="T20" fmla="*/ 4 w 14"/>
                  <a:gd name="T21" fmla="*/ 6 h 14"/>
                  <a:gd name="T22" fmla="*/ 2 w 14"/>
                  <a:gd name="T23" fmla="*/ 8 h 14"/>
                  <a:gd name="T24" fmla="*/ 0 w 14"/>
                  <a:gd name="T25" fmla="*/ 10 h 14"/>
                  <a:gd name="T26" fmla="*/ 0 w 14"/>
                  <a:gd name="T27" fmla="*/ 14 h 14"/>
                  <a:gd name="T28" fmla="*/ 0 w 14"/>
                  <a:gd name="T29" fmla="*/ 14 h 14"/>
                  <a:gd name="T30" fmla="*/ 4 w 14"/>
                  <a:gd name="T31" fmla="*/ 14 h 14"/>
                  <a:gd name="T32" fmla="*/ 4 w 14"/>
                  <a:gd name="T33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14">
                    <a:moveTo>
                      <a:pt x="4" y="12"/>
                    </a:move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6" y="6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22" name="Freeform 6215">
                <a:extLst>
                  <a:ext uri="{FF2B5EF4-FFF2-40B4-BE49-F238E27FC236}">
                    <a16:creationId xmlns:a16="http://schemas.microsoft.com/office/drawing/2014/main" id="{35FBD503-267C-47EB-A9C9-D9DE49C6300F}"/>
                  </a:ext>
                </a:extLst>
              </p:cNvPr>
              <p:cNvSpPr/>
              <p:nvPr/>
            </p:nvSpPr>
            <p:spPr bwMode="auto">
              <a:xfrm>
                <a:off x="5256304" y="29815960"/>
                <a:ext cx="76242" cy="61947"/>
              </a:xfrm>
              <a:custGeom>
                <a:avLst/>
                <a:gdLst>
                  <a:gd name="T0" fmla="*/ 22 w 32"/>
                  <a:gd name="T1" fmla="*/ 14 h 26"/>
                  <a:gd name="T2" fmla="*/ 20 w 32"/>
                  <a:gd name="T3" fmla="*/ 6 h 26"/>
                  <a:gd name="T4" fmla="*/ 18 w 32"/>
                  <a:gd name="T5" fmla="*/ 2 h 26"/>
                  <a:gd name="T6" fmla="*/ 8 w 32"/>
                  <a:gd name="T7" fmla="*/ 0 h 26"/>
                  <a:gd name="T8" fmla="*/ 2 w 32"/>
                  <a:gd name="T9" fmla="*/ 2 h 26"/>
                  <a:gd name="T10" fmla="*/ 0 w 32"/>
                  <a:gd name="T11" fmla="*/ 4 h 26"/>
                  <a:gd name="T12" fmla="*/ 0 w 32"/>
                  <a:gd name="T13" fmla="*/ 8 h 26"/>
                  <a:gd name="T14" fmla="*/ 4 w 32"/>
                  <a:gd name="T15" fmla="*/ 16 h 26"/>
                  <a:gd name="T16" fmla="*/ 10 w 32"/>
                  <a:gd name="T17" fmla="*/ 18 h 26"/>
                  <a:gd name="T18" fmla="*/ 20 w 32"/>
                  <a:gd name="T19" fmla="*/ 16 h 26"/>
                  <a:gd name="T20" fmla="*/ 24 w 32"/>
                  <a:gd name="T21" fmla="*/ 22 h 26"/>
                  <a:gd name="T22" fmla="*/ 26 w 32"/>
                  <a:gd name="T23" fmla="*/ 24 h 26"/>
                  <a:gd name="T24" fmla="*/ 30 w 32"/>
                  <a:gd name="T25" fmla="*/ 26 h 26"/>
                  <a:gd name="T26" fmla="*/ 32 w 32"/>
                  <a:gd name="T27" fmla="*/ 22 h 26"/>
                  <a:gd name="T28" fmla="*/ 30 w 32"/>
                  <a:gd name="T29" fmla="*/ 16 h 26"/>
                  <a:gd name="T30" fmla="*/ 22 w 32"/>
                  <a:gd name="T31" fmla="*/ 1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2" h="26">
                    <a:moveTo>
                      <a:pt x="22" y="14"/>
                    </a:moveTo>
                    <a:lnTo>
                      <a:pt x="20" y="6"/>
                    </a:lnTo>
                    <a:lnTo>
                      <a:pt x="18" y="2"/>
                    </a:lnTo>
                    <a:lnTo>
                      <a:pt x="8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20" y="16"/>
                    </a:lnTo>
                    <a:lnTo>
                      <a:pt x="24" y="22"/>
                    </a:lnTo>
                    <a:lnTo>
                      <a:pt x="26" y="24"/>
                    </a:lnTo>
                    <a:lnTo>
                      <a:pt x="30" y="26"/>
                    </a:lnTo>
                    <a:lnTo>
                      <a:pt x="32" y="22"/>
                    </a:lnTo>
                    <a:lnTo>
                      <a:pt x="30" y="16"/>
                    </a:lnTo>
                    <a:lnTo>
                      <a:pt x="22" y="14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23" name="Freeform 6216">
                <a:extLst>
                  <a:ext uri="{FF2B5EF4-FFF2-40B4-BE49-F238E27FC236}">
                    <a16:creationId xmlns:a16="http://schemas.microsoft.com/office/drawing/2014/main" id="{927F5866-AA23-42A0-8341-0565E75628D7}"/>
                  </a:ext>
                </a:extLst>
              </p:cNvPr>
              <p:cNvSpPr/>
              <p:nvPr/>
            </p:nvSpPr>
            <p:spPr bwMode="auto">
              <a:xfrm>
                <a:off x="5213418" y="29811194"/>
                <a:ext cx="19061" cy="14295"/>
              </a:xfrm>
              <a:custGeom>
                <a:avLst/>
                <a:gdLst>
                  <a:gd name="T0" fmla="*/ 6 w 8"/>
                  <a:gd name="T1" fmla="*/ 6 h 6"/>
                  <a:gd name="T2" fmla="*/ 8 w 8"/>
                  <a:gd name="T3" fmla="*/ 2 h 6"/>
                  <a:gd name="T4" fmla="*/ 8 w 8"/>
                  <a:gd name="T5" fmla="*/ 0 h 6"/>
                  <a:gd name="T6" fmla="*/ 0 w 8"/>
                  <a:gd name="T7" fmla="*/ 0 h 6"/>
                  <a:gd name="T8" fmla="*/ 0 w 8"/>
                  <a:gd name="T9" fmla="*/ 2 h 6"/>
                  <a:gd name="T10" fmla="*/ 0 w 8"/>
                  <a:gd name="T11" fmla="*/ 4 h 6"/>
                  <a:gd name="T12" fmla="*/ 2 w 8"/>
                  <a:gd name="T13" fmla="*/ 6 h 6"/>
                  <a:gd name="T14" fmla="*/ 4 w 8"/>
                  <a:gd name="T15" fmla="*/ 6 h 6"/>
                  <a:gd name="T16" fmla="*/ 6 w 8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6">
                    <a:moveTo>
                      <a:pt x="6" y="6"/>
                    </a:moveTo>
                    <a:lnTo>
                      <a:pt x="8" y="2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6" y="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24" name="Freeform 6217">
                <a:extLst>
                  <a:ext uri="{FF2B5EF4-FFF2-40B4-BE49-F238E27FC236}">
                    <a16:creationId xmlns:a16="http://schemas.microsoft.com/office/drawing/2014/main" id="{D9EB6C07-8161-4F3A-89CD-E8DE0092C250}"/>
                  </a:ext>
                </a:extLst>
              </p:cNvPr>
              <p:cNvSpPr/>
              <p:nvPr/>
            </p:nvSpPr>
            <p:spPr bwMode="auto">
              <a:xfrm>
                <a:off x="4970396" y="29692067"/>
                <a:ext cx="19061" cy="23826"/>
              </a:xfrm>
              <a:custGeom>
                <a:avLst/>
                <a:gdLst>
                  <a:gd name="T0" fmla="*/ 4 w 8"/>
                  <a:gd name="T1" fmla="*/ 10 h 10"/>
                  <a:gd name="T2" fmla="*/ 8 w 8"/>
                  <a:gd name="T3" fmla="*/ 8 h 10"/>
                  <a:gd name="T4" fmla="*/ 4 w 8"/>
                  <a:gd name="T5" fmla="*/ 2 h 10"/>
                  <a:gd name="T6" fmla="*/ 0 w 8"/>
                  <a:gd name="T7" fmla="*/ 0 h 10"/>
                  <a:gd name="T8" fmla="*/ 0 w 8"/>
                  <a:gd name="T9" fmla="*/ 2 h 10"/>
                  <a:gd name="T10" fmla="*/ 0 w 8"/>
                  <a:gd name="T11" fmla="*/ 8 h 10"/>
                  <a:gd name="T12" fmla="*/ 2 w 8"/>
                  <a:gd name="T13" fmla="*/ 10 h 10"/>
                  <a:gd name="T14" fmla="*/ 4 w 8"/>
                  <a:gd name="T1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0">
                    <a:moveTo>
                      <a:pt x="4" y="10"/>
                    </a:moveTo>
                    <a:lnTo>
                      <a:pt x="8" y="8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4" y="1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25" name="Freeform 6218">
                <a:extLst>
                  <a:ext uri="{FF2B5EF4-FFF2-40B4-BE49-F238E27FC236}">
                    <a16:creationId xmlns:a16="http://schemas.microsoft.com/office/drawing/2014/main" id="{1E6753D6-0F38-4CC0-8D26-97846EBBA17B}"/>
                  </a:ext>
                </a:extLst>
              </p:cNvPr>
              <p:cNvSpPr/>
              <p:nvPr/>
            </p:nvSpPr>
            <p:spPr bwMode="auto">
              <a:xfrm>
                <a:off x="6209330" y="29673007"/>
                <a:ext cx="23826" cy="9530"/>
              </a:xfrm>
              <a:custGeom>
                <a:avLst/>
                <a:gdLst>
                  <a:gd name="T0" fmla="*/ 6 w 10"/>
                  <a:gd name="T1" fmla="*/ 0 h 4"/>
                  <a:gd name="T2" fmla="*/ 6 w 10"/>
                  <a:gd name="T3" fmla="*/ 0 h 4"/>
                  <a:gd name="T4" fmla="*/ 2 w 10"/>
                  <a:gd name="T5" fmla="*/ 0 h 4"/>
                  <a:gd name="T6" fmla="*/ 0 w 10"/>
                  <a:gd name="T7" fmla="*/ 0 h 4"/>
                  <a:gd name="T8" fmla="*/ 6 w 10"/>
                  <a:gd name="T9" fmla="*/ 0 h 4"/>
                  <a:gd name="T10" fmla="*/ 10 w 10"/>
                  <a:gd name="T11" fmla="*/ 4 h 4"/>
                  <a:gd name="T12" fmla="*/ 6 w 10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4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6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26" name="Freeform 6219">
                <a:extLst>
                  <a:ext uri="{FF2B5EF4-FFF2-40B4-BE49-F238E27FC236}">
                    <a16:creationId xmlns:a16="http://schemas.microsoft.com/office/drawing/2014/main" id="{24841C6F-E1CA-4825-A52C-4F79E8FFD6F2}"/>
                  </a:ext>
                </a:extLst>
              </p:cNvPr>
              <p:cNvSpPr/>
              <p:nvPr/>
            </p:nvSpPr>
            <p:spPr bwMode="auto">
              <a:xfrm>
                <a:off x="6185504" y="29668242"/>
                <a:ext cx="19061" cy="4765"/>
              </a:xfrm>
              <a:custGeom>
                <a:avLst/>
                <a:gdLst>
                  <a:gd name="T0" fmla="*/ 8 w 8"/>
                  <a:gd name="T1" fmla="*/ 2 h 2"/>
                  <a:gd name="T2" fmla="*/ 4 w 8"/>
                  <a:gd name="T3" fmla="*/ 2 h 2"/>
                  <a:gd name="T4" fmla="*/ 2 w 8"/>
                  <a:gd name="T5" fmla="*/ 0 h 2"/>
                  <a:gd name="T6" fmla="*/ 0 w 8"/>
                  <a:gd name="T7" fmla="*/ 0 h 2"/>
                  <a:gd name="T8" fmla="*/ 6 w 8"/>
                  <a:gd name="T9" fmla="*/ 2 h 2"/>
                  <a:gd name="T10" fmla="*/ 8 w 8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2">
                    <a:moveTo>
                      <a:pt x="8" y="2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8" y="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27" name="Freeform 6220">
                <a:extLst>
                  <a:ext uri="{FF2B5EF4-FFF2-40B4-BE49-F238E27FC236}">
                    <a16:creationId xmlns:a16="http://schemas.microsoft.com/office/drawing/2014/main" id="{3F113BD8-24F2-4E03-868F-658B7A749662}"/>
                  </a:ext>
                </a:extLst>
              </p:cNvPr>
              <p:cNvSpPr/>
              <p:nvPr/>
            </p:nvSpPr>
            <p:spPr bwMode="auto">
              <a:xfrm>
                <a:off x="4965631" y="29663476"/>
                <a:ext cx="9530" cy="14295"/>
              </a:xfrm>
              <a:custGeom>
                <a:avLst/>
                <a:gdLst>
                  <a:gd name="T0" fmla="*/ 2 w 4"/>
                  <a:gd name="T1" fmla="*/ 6 h 6"/>
                  <a:gd name="T2" fmla="*/ 4 w 4"/>
                  <a:gd name="T3" fmla="*/ 4 h 6"/>
                  <a:gd name="T4" fmla="*/ 4 w 4"/>
                  <a:gd name="T5" fmla="*/ 2 h 6"/>
                  <a:gd name="T6" fmla="*/ 0 w 4"/>
                  <a:gd name="T7" fmla="*/ 0 h 6"/>
                  <a:gd name="T8" fmla="*/ 0 w 4"/>
                  <a:gd name="T9" fmla="*/ 4 h 6"/>
                  <a:gd name="T10" fmla="*/ 0 w 4"/>
                  <a:gd name="T11" fmla="*/ 6 h 6"/>
                  <a:gd name="T12" fmla="*/ 2 w 4"/>
                  <a:gd name="T13" fmla="*/ 6 h 6"/>
                  <a:gd name="T14" fmla="*/ 2 w 4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6">
                    <a:moveTo>
                      <a:pt x="2" y="6"/>
                    </a:moveTo>
                    <a:lnTo>
                      <a:pt x="4" y="4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28" name="Freeform 6221">
                <a:extLst>
                  <a:ext uri="{FF2B5EF4-FFF2-40B4-BE49-F238E27FC236}">
                    <a16:creationId xmlns:a16="http://schemas.microsoft.com/office/drawing/2014/main" id="{C0CE4DCB-25CB-41D8-B00F-0E53DB0F189C}"/>
                  </a:ext>
                </a:extLst>
              </p:cNvPr>
              <p:cNvSpPr/>
              <p:nvPr/>
            </p:nvSpPr>
            <p:spPr bwMode="auto">
              <a:xfrm>
                <a:off x="5885301" y="29582470"/>
                <a:ext cx="19061" cy="47651"/>
              </a:xfrm>
              <a:custGeom>
                <a:avLst/>
                <a:gdLst>
                  <a:gd name="T0" fmla="*/ 8 w 8"/>
                  <a:gd name="T1" fmla="*/ 18 h 20"/>
                  <a:gd name="T2" fmla="*/ 6 w 8"/>
                  <a:gd name="T3" fmla="*/ 14 h 20"/>
                  <a:gd name="T4" fmla="*/ 4 w 8"/>
                  <a:gd name="T5" fmla="*/ 10 h 20"/>
                  <a:gd name="T6" fmla="*/ 2 w 8"/>
                  <a:gd name="T7" fmla="*/ 6 h 20"/>
                  <a:gd name="T8" fmla="*/ 0 w 8"/>
                  <a:gd name="T9" fmla="*/ 0 h 20"/>
                  <a:gd name="T10" fmla="*/ 0 w 8"/>
                  <a:gd name="T11" fmla="*/ 4 h 20"/>
                  <a:gd name="T12" fmla="*/ 0 w 8"/>
                  <a:gd name="T13" fmla="*/ 6 h 20"/>
                  <a:gd name="T14" fmla="*/ 2 w 8"/>
                  <a:gd name="T15" fmla="*/ 10 h 20"/>
                  <a:gd name="T16" fmla="*/ 4 w 8"/>
                  <a:gd name="T17" fmla="*/ 12 h 20"/>
                  <a:gd name="T18" fmla="*/ 4 w 8"/>
                  <a:gd name="T19" fmla="*/ 16 h 20"/>
                  <a:gd name="T20" fmla="*/ 8 w 8"/>
                  <a:gd name="T21" fmla="*/ 18 h 20"/>
                  <a:gd name="T22" fmla="*/ 8 w 8"/>
                  <a:gd name="T23" fmla="*/ 20 h 20"/>
                  <a:gd name="T24" fmla="*/ 8 w 8"/>
                  <a:gd name="T25" fmla="*/ 18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20">
                    <a:moveTo>
                      <a:pt x="8" y="18"/>
                    </a:moveTo>
                    <a:lnTo>
                      <a:pt x="6" y="14"/>
                    </a:lnTo>
                    <a:lnTo>
                      <a:pt x="4" y="10"/>
                    </a:lnTo>
                    <a:lnTo>
                      <a:pt x="2" y="6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4" y="12"/>
                    </a:lnTo>
                    <a:lnTo>
                      <a:pt x="4" y="16"/>
                    </a:lnTo>
                    <a:lnTo>
                      <a:pt x="8" y="18"/>
                    </a:lnTo>
                    <a:lnTo>
                      <a:pt x="8" y="20"/>
                    </a:lnTo>
                    <a:lnTo>
                      <a:pt x="8" y="18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29" name="Freeform 6222">
                <a:extLst>
                  <a:ext uri="{FF2B5EF4-FFF2-40B4-BE49-F238E27FC236}">
                    <a16:creationId xmlns:a16="http://schemas.microsoft.com/office/drawing/2014/main" id="{4B45F159-A60A-4DFE-948C-FCB5346D07A6}"/>
                  </a:ext>
                </a:extLst>
              </p:cNvPr>
              <p:cNvSpPr/>
              <p:nvPr/>
            </p:nvSpPr>
            <p:spPr bwMode="auto">
              <a:xfrm>
                <a:off x="6366579" y="29572939"/>
                <a:ext cx="9530" cy="14295"/>
              </a:xfrm>
              <a:custGeom>
                <a:avLst/>
                <a:gdLst>
                  <a:gd name="T0" fmla="*/ 2 w 4"/>
                  <a:gd name="T1" fmla="*/ 6 h 6"/>
                  <a:gd name="T2" fmla="*/ 4 w 4"/>
                  <a:gd name="T3" fmla="*/ 0 h 6"/>
                  <a:gd name="T4" fmla="*/ 2 w 4"/>
                  <a:gd name="T5" fmla="*/ 2 h 6"/>
                  <a:gd name="T6" fmla="*/ 0 w 4"/>
                  <a:gd name="T7" fmla="*/ 6 h 6"/>
                  <a:gd name="T8" fmla="*/ 2 w 4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2" y="6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0" name="Freeform 6223">
                <a:extLst>
                  <a:ext uri="{FF2B5EF4-FFF2-40B4-BE49-F238E27FC236}">
                    <a16:creationId xmlns:a16="http://schemas.microsoft.com/office/drawing/2014/main" id="{4F01A3C7-0807-4B80-B03F-B471B291C0B2}"/>
                  </a:ext>
                </a:extLst>
              </p:cNvPr>
              <p:cNvSpPr/>
              <p:nvPr/>
            </p:nvSpPr>
            <p:spPr bwMode="auto">
              <a:xfrm>
                <a:off x="5956778" y="29530052"/>
                <a:ext cx="14295" cy="23826"/>
              </a:xfrm>
              <a:custGeom>
                <a:avLst/>
                <a:gdLst>
                  <a:gd name="T0" fmla="*/ 6 w 6"/>
                  <a:gd name="T1" fmla="*/ 8 h 10"/>
                  <a:gd name="T2" fmla="*/ 2 w 6"/>
                  <a:gd name="T3" fmla="*/ 2 h 10"/>
                  <a:gd name="T4" fmla="*/ 0 w 6"/>
                  <a:gd name="T5" fmla="*/ 0 h 10"/>
                  <a:gd name="T6" fmla="*/ 2 w 6"/>
                  <a:gd name="T7" fmla="*/ 2 h 10"/>
                  <a:gd name="T8" fmla="*/ 6 w 6"/>
                  <a:gd name="T9" fmla="*/ 8 h 10"/>
                  <a:gd name="T10" fmla="*/ 6 w 6"/>
                  <a:gd name="T11" fmla="*/ 10 h 10"/>
                  <a:gd name="T12" fmla="*/ 6 w 6"/>
                  <a:gd name="T13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0">
                    <a:moveTo>
                      <a:pt x="6" y="8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6" y="8"/>
                    </a:lnTo>
                    <a:lnTo>
                      <a:pt x="6" y="10"/>
                    </a:lnTo>
                    <a:lnTo>
                      <a:pt x="6" y="8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1" name="Freeform 6224">
                <a:extLst>
                  <a:ext uri="{FF2B5EF4-FFF2-40B4-BE49-F238E27FC236}">
                    <a16:creationId xmlns:a16="http://schemas.microsoft.com/office/drawing/2014/main" id="{1C993954-9E1F-4FEE-869A-7576A8C416E0}"/>
                  </a:ext>
                </a:extLst>
              </p:cNvPr>
              <p:cNvSpPr/>
              <p:nvPr/>
            </p:nvSpPr>
            <p:spPr bwMode="auto">
              <a:xfrm>
                <a:off x="6966985" y="28679477"/>
                <a:ext cx="9530" cy="14295"/>
              </a:xfrm>
              <a:custGeom>
                <a:avLst/>
                <a:gdLst>
                  <a:gd name="T0" fmla="*/ 2 w 4"/>
                  <a:gd name="T1" fmla="*/ 6 h 6"/>
                  <a:gd name="T2" fmla="*/ 4 w 4"/>
                  <a:gd name="T3" fmla="*/ 4 h 6"/>
                  <a:gd name="T4" fmla="*/ 4 w 4"/>
                  <a:gd name="T5" fmla="*/ 2 h 6"/>
                  <a:gd name="T6" fmla="*/ 4 w 4"/>
                  <a:gd name="T7" fmla="*/ 2 h 6"/>
                  <a:gd name="T8" fmla="*/ 0 w 4"/>
                  <a:gd name="T9" fmla="*/ 0 h 6"/>
                  <a:gd name="T10" fmla="*/ 0 w 4"/>
                  <a:gd name="T11" fmla="*/ 6 h 6"/>
                  <a:gd name="T12" fmla="*/ 2 w 4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6">
                    <a:moveTo>
                      <a:pt x="2" y="6"/>
                    </a:move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2" y="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2" name="Freeform 6225">
                <a:extLst>
                  <a:ext uri="{FF2B5EF4-FFF2-40B4-BE49-F238E27FC236}">
                    <a16:creationId xmlns:a16="http://schemas.microsoft.com/office/drawing/2014/main" id="{3D27D1F8-2771-49B9-9ED4-A9881FB44A07}"/>
                  </a:ext>
                </a:extLst>
              </p:cNvPr>
              <p:cNvSpPr/>
              <p:nvPr/>
            </p:nvSpPr>
            <p:spPr bwMode="auto">
              <a:xfrm>
                <a:off x="6895508" y="28598471"/>
                <a:ext cx="14295" cy="14295"/>
              </a:xfrm>
              <a:custGeom>
                <a:avLst/>
                <a:gdLst>
                  <a:gd name="T0" fmla="*/ 6 w 6"/>
                  <a:gd name="T1" fmla="*/ 0 h 6"/>
                  <a:gd name="T2" fmla="*/ 4 w 6"/>
                  <a:gd name="T3" fmla="*/ 0 h 6"/>
                  <a:gd name="T4" fmla="*/ 2 w 6"/>
                  <a:gd name="T5" fmla="*/ 0 h 6"/>
                  <a:gd name="T6" fmla="*/ 0 w 6"/>
                  <a:gd name="T7" fmla="*/ 0 h 6"/>
                  <a:gd name="T8" fmla="*/ 0 w 6"/>
                  <a:gd name="T9" fmla="*/ 6 h 6"/>
                  <a:gd name="T10" fmla="*/ 6 w 6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6">
                    <a:moveTo>
                      <a:pt x="6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6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3" name="Freeform 6226">
                <a:extLst>
                  <a:ext uri="{FF2B5EF4-FFF2-40B4-BE49-F238E27FC236}">
                    <a16:creationId xmlns:a16="http://schemas.microsoft.com/office/drawing/2014/main" id="{5F1B9A50-61EF-4085-B625-80251B3510F7}"/>
                  </a:ext>
                </a:extLst>
              </p:cNvPr>
              <p:cNvSpPr/>
              <p:nvPr/>
            </p:nvSpPr>
            <p:spPr bwMode="auto">
              <a:xfrm>
                <a:off x="6890743" y="28565115"/>
                <a:ext cx="57182" cy="23826"/>
              </a:xfrm>
              <a:custGeom>
                <a:avLst/>
                <a:gdLst>
                  <a:gd name="T0" fmla="*/ 10 w 24"/>
                  <a:gd name="T1" fmla="*/ 0 h 10"/>
                  <a:gd name="T2" fmla="*/ 0 w 24"/>
                  <a:gd name="T3" fmla="*/ 4 h 10"/>
                  <a:gd name="T4" fmla="*/ 2 w 24"/>
                  <a:gd name="T5" fmla="*/ 8 h 10"/>
                  <a:gd name="T6" fmla="*/ 6 w 24"/>
                  <a:gd name="T7" fmla="*/ 10 h 10"/>
                  <a:gd name="T8" fmla="*/ 10 w 24"/>
                  <a:gd name="T9" fmla="*/ 8 h 10"/>
                  <a:gd name="T10" fmla="*/ 20 w 24"/>
                  <a:gd name="T11" fmla="*/ 6 h 10"/>
                  <a:gd name="T12" fmla="*/ 24 w 24"/>
                  <a:gd name="T13" fmla="*/ 2 h 10"/>
                  <a:gd name="T14" fmla="*/ 20 w 24"/>
                  <a:gd name="T15" fmla="*/ 2 h 10"/>
                  <a:gd name="T16" fmla="*/ 10 w 24"/>
                  <a:gd name="T1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10">
                    <a:moveTo>
                      <a:pt x="10" y="0"/>
                    </a:moveTo>
                    <a:lnTo>
                      <a:pt x="0" y="4"/>
                    </a:lnTo>
                    <a:lnTo>
                      <a:pt x="2" y="8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20" y="6"/>
                    </a:lnTo>
                    <a:lnTo>
                      <a:pt x="24" y="2"/>
                    </a:lnTo>
                    <a:lnTo>
                      <a:pt x="20" y="2"/>
                    </a:lnTo>
                    <a:lnTo>
                      <a:pt x="10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4" name="Freeform 6227">
                <a:extLst>
                  <a:ext uri="{FF2B5EF4-FFF2-40B4-BE49-F238E27FC236}">
                    <a16:creationId xmlns:a16="http://schemas.microsoft.com/office/drawing/2014/main" id="{9FEF0C7C-7DEF-4E8F-85E2-50B7431D6756}"/>
                  </a:ext>
                </a:extLst>
              </p:cNvPr>
              <p:cNvSpPr/>
              <p:nvPr/>
            </p:nvSpPr>
            <p:spPr bwMode="auto">
              <a:xfrm>
                <a:off x="6738259" y="28503166"/>
                <a:ext cx="19061" cy="19061"/>
              </a:xfrm>
              <a:custGeom>
                <a:avLst/>
                <a:gdLst>
                  <a:gd name="T0" fmla="*/ 6 w 8"/>
                  <a:gd name="T1" fmla="*/ 8 h 8"/>
                  <a:gd name="T2" fmla="*/ 8 w 8"/>
                  <a:gd name="T3" fmla="*/ 2 h 8"/>
                  <a:gd name="T4" fmla="*/ 6 w 8"/>
                  <a:gd name="T5" fmla="*/ 0 h 8"/>
                  <a:gd name="T6" fmla="*/ 0 w 8"/>
                  <a:gd name="T7" fmla="*/ 2 h 8"/>
                  <a:gd name="T8" fmla="*/ 0 w 8"/>
                  <a:gd name="T9" fmla="*/ 4 h 8"/>
                  <a:gd name="T10" fmla="*/ 4 w 8"/>
                  <a:gd name="T11" fmla="*/ 8 h 8"/>
                  <a:gd name="T12" fmla="*/ 6 w 8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6" y="8"/>
                    </a:moveTo>
                    <a:lnTo>
                      <a:pt x="8" y="2"/>
                    </a:lnTo>
                    <a:lnTo>
                      <a:pt x="6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4" y="8"/>
                    </a:lnTo>
                    <a:lnTo>
                      <a:pt x="6" y="8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5" name="Freeform 6228">
                <a:extLst>
                  <a:ext uri="{FF2B5EF4-FFF2-40B4-BE49-F238E27FC236}">
                    <a16:creationId xmlns:a16="http://schemas.microsoft.com/office/drawing/2014/main" id="{D98EC00F-03F6-451E-AC6E-390BE54DA8F7}"/>
                  </a:ext>
                </a:extLst>
              </p:cNvPr>
              <p:cNvSpPr/>
              <p:nvPr/>
            </p:nvSpPr>
            <p:spPr bwMode="auto">
              <a:xfrm>
                <a:off x="6819266" y="28431691"/>
                <a:ext cx="19061" cy="14295"/>
              </a:xfrm>
              <a:custGeom>
                <a:avLst/>
                <a:gdLst>
                  <a:gd name="T0" fmla="*/ 6 w 8"/>
                  <a:gd name="T1" fmla="*/ 4 h 6"/>
                  <a:gd name="T2" fmla="*/ 8 w 8"/>
                  <a:gd name="T3" fmla="*/ 4 h 6"/>
                  <a:gd name="T4" fmla="*/ 8 w 8"/>
                  <a:gd name="T5" fmla="*/ 2 h 6"/>
                  <a:gd name="T6" fmla="*/ 6 w 8"/>
                  <a:gd name="T7" fmla="*/ 0 h 6"/>
                  <a:gd name="T8" fmla="*/ 4 w 8"/>
                  <a:gd name="T9" fmla="*/ 0 h 6"/>
                  <a:gd name="T10" fmla="*/ 2 w 8"/>
                  <a:gd name="T11" fmla="*/ 0 h 6"/>
                  <a:gd name="T12" fmla="*/ 0 w 8"/>
                  <a:gd name="T13" fmla="*/ 2 h 6"/>
                  <a:gd name="T14" fmla="*/ 0 w 8"/>
                  <a:gd name="T15" fmla="*/ 6 h 6"/>
                  <a:gd name="T16" fmla="*/ 6 w 8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6">
                    <a:moveTo>
                      <a:pt x="6" y="4"/>
                    </a:moveTo>
                    <a:lnTo>
                      <a:pt x="8" y="4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6" y="4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6" name="Freeform 6229">
                <a:extLst>
                  <a:ext uri="{FF2B5EF4-FFF2-40B4-BE49-F238E27FC236}">
                    <a16:creationId xmlns:a16="http://schemas.microsoft.com/office/drawing/2014/main" id="{B9FF4DA3-9050-41E7-B415-DD4392D75CEF}"/>
                  </a:ext>
                </a:extLst>
              </p:cNvPr>
              <p:cNvSpPr/>
              <p:nvPr/>
            </p:nvSpPr>
            <p:spPr bwMode="auto">
              <a:xfrm>
                <a:off x="6723963" y="28417394"/>
                <a:ext cx="33356" cy="23826"/>
              </a:xfrm>
              <a:custGeom>
                <a:avLst/>
                <a:gdLst>
                  <a:gd name="T0" fmla="*/ 12 w 14"/>
                  <a:gd name="T1" fmla="*/ 10 h 10"/>
                  <a:gd name="T2" fmla="*/ 14 w 14"/>
                  <a:gd name="T3" fmla="*/ 6 h 10"/>
                  <a:gd name="T4" fmla="*/ 14 w 14"/>
                  <a:gd name="T5" fmla="*/ 4 h 10"/>
                  <a:gd name="T6" fmla="*/ 12 w 14"/>
                  <a:gd name="T7" fmla="*/ 2 h 10"/>
                  <a:gd name="T8" fmla="*/ 2 w 14"/>
                  <a:gd name="T9" fmla="*/ 0 h 10"/>
                  <a:gd name="T10" fmla="*/ 0 w 14"/>
                  <a:gd name="T11" fmla="*/ 2 h 10"/>
                  <a:gd name="T12" fmla="*/ 0 w 14"/>
                  <a:gd name="T13" fmla="*/ 6 h 10"/>
                  <a:gd name="T14" fmla="*/ 2 w 14"/>
                  <a:gd name="T15" fmla="*/ 10 h 10"/>
                  <a:gd name="T16" fmla="*/ 4 w 14"/>
                  <a:gd name="T17" fmla="*/ 10 h 10"/>
                  <a:gd name="T18" fmla="*/ 12 w 14"/>
                  <a:gd name="T1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10">
                    <a:moveTo>
                      <a:pt x="12" y="10"/>
                    </a:moveTo>
                    <a:lnTo>
                      <a:pt x="14" y="6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12" y="1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7" name="Line 6230">
                <a:extLst>
                  <a:ext uri="{FF2B5EF4-FFF2-40B4-BE49-F238E27FC236}">
                    <a16:creationId xmlns:a16="http://schemas.microsoft.com/office/drawing/2014/main" id="{2F5E7F47-EA29-4B24-922B-C5F07D980F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752554" y="28441222"/>
                <a:ext cx="0" cy="0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8" name="Line 6252">
                <a:extLst>
                  <a:ext uri="{FF2B5EF4-FFF2-40B4-BE49-F238E27FC236}">
                    <a16:creationId xmlns:a16="http://schemas.microsoft.com/office/drawing/2014/main" id="{6BCA6508-2B9F-4363-AEA4-290F51691C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6752554" y="28441222"/>
                <a:ext cx="0" cy="0"/>
              </a:xfrm>
              <a:prstGeom prst="line">
                <a:avLst/>
              </a:pr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9" name="Freeform 6553">
                <a:extLst>
                  <a:ext uri="{FF2B5EF4-FFF2-40B4-BE49-F238E27FC236}">
                    <a16:creationId xmlns:a16="http://schemas.microsoft.com/office/drawing/2014/main" id="{32743A52-FDBF-4D3A-9B35-00A05FA72033}"/>
                  </a:ext>
                </a:extLst>
              </p:cNvPr>
              <p:cNvSpPr/>
              <p:nvPr/>
            </p:nvSpPr>
            <p:spPr bwMode="auto">
              <a:xfrm>
                <a:off x="4255627" y="23804752"/>
                <a:ext cx="195370" cy="219196"/>
              </a:xfrm>
              <a:custGeom>
                <a:avLst/>
                <a:gdLst>
                  <a:gd name="T0" fmla="*/ 30 w 82"/>
                  <a:gd name="T1" fmla="*/ 88 h 92"/>
                  <a:gd name="T2" fmla="*/ 34 w 82"/>
                  <a:gd name="T3" fmla="*/ 82 h 92"/>
                  <a:gd name="T4" fmla="*/ 48 w 82"/>
                  <a:gd name="T5" fmla="*/ 72 h 92"/>
                  <a:gd name="T6" fmla="*/ 66 w 82"/>
                  <a:gd name="T7" fmla="*/ 68 h 92"/>
                  <a:gd name="T8" fmla="*/ 78 w 82"/>
                  <a:gd name="T9" fmla="*/ 58 h 92"/>
                  <a:gd name="T10" fmla="*/ 82 w 82"/>
                  <a:gd name="T11" fmla="*/ 54 h 92"/>
                  <a:gd name="T12" fmla="*/ 80 w 82"/>
                  <a:gd name="T13" fmla="*/ 50 h 92"/>
                  <a:gd name="T14" fmla="*/ 72 w 82"/>
                  <a:gd name="T15" fmla="*/ 44 h 92"/>
                  <a:gd name="T16" fmla="*/ 70 w 82"/>
                  <a:gd name="T17" fmla="*/ 38 h 92"/>
                  <a:gd name="T18" fmla="*/ 64 w 82"/>
                  <a:gd name="T19" fmla="*/ 38 h 92"/>
                  <a:gd name="T20" fmla="*/ 64 w 82"/>
                  <a:gd name="T21" fmla="*/ 28 h 92"/>
                  <a:gd name="T22" fmla="*/ 56 w 82"/>
                  <a:gd name="T23" fmla="*/ 20 h 92"/>
                  <a:gd name="T24" fmla="*/ 28 w 82"/>
                  <a:gd name="T25" fmla="*/ 8 h 92"/>
                  <a:gd name="T26" fmla="*/ 14 w 82"/>
                  <a:gd name="T27" fmla="*/ 0 h 92"/>
                  <a:gd name="T28" fmla="*/ 12 w 82"/>
                  <a:gd name="T29" fmla="*/ 2 h 92"/>
                  <a:gd name="T30" fmla="*/ 10 w 82"/>
                  <a:gd name="T31" fmla="*/ 8 h 92"/>
                  <a:gd name="T32" fmla="*/ 14 w 82"/>
                  <a:gd name="T33" fmla="*/ 18 h 92"/>
                  <a:gd name="T34" fmla="*/ 10 w 82"/>
                  <a:gd name="T35" fmla="*/ 28 h 92"/>
                  <a:gd name="T36" fmla="*/ 4 w 82"/>
                  <a:gd name="T37" fmla="*/ 32 h 92"/>
                  <a:gd name="T38" fmla="*/ 0 w 82"/>
                  <a:gd name="T39" fmla="*/ 38 h 92"/>
                  <a:gd name="T40" fmla="*/ 6 w 82"/>
                  <a:gd name="T41" fmla="*/ 48 h 92"/>
                  <a:gd name="T42" fmla="*/ 10 w 82"/>
                  <a:gd name="T43" fmla="*/ 62 h 92"/>
                  <a:gd name="T44" fmla="*/ 10 w 82"/>
                  <a:gd name="T45" fmla="*/ 80 h 92"/>
                  <a:gd name="T46" fmla="*/ 12 w 82"/>
                  <a:gd name="T47" fmla="*/ 84 h 92"/>
                  <a:gd name="T48" fmla="*/ 24 w 82"/>
                  <a:gd name="T49" fmla="*/ 92 h 92"/>
                  <a:gd name="T50" fmla="*/ 28 w 82"/>
                  <a:gd name="T51" fmla="*/ 92 h 92"/>
                  <a:gd name="T52" fmla="*/ 30 w 82"/>
                  <a:gd name="T53" fmla="*/ 88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2" h="92">
                    <a:moveTo>
                      <a:pt x="30" y="88"/>
                    </a:moveTo>
                    <a:lnTo>
                      <a:pt x="34" y="82"/>
                    </a:lnTo>
                    <a:lnTo>
                      <a:pt x="48" y="72"/>
                    </a:lnTo>
                    <a:lnTo>
                      <a:pt x="66" y="68"/>
                    </a:lnTo>
                    <a:lnTo>
                      <a:pt x="78" y="58"/>
                    </a:lnTo>
                    <a:lnTo>
                      <a:pt x="82" y="54"/>
                    </a:lnTo>
                    <a:lnTo>
                      <a:pt x="80" y="50"/>
                    </a:lnTo>
                    <a:lnTo>
                      <a:pt x="72" y="44"/>
                    </a:lnTo>
                    <a:lnTo>
                      <a:pt x="70" y="38"/>
                    </a:lnTo>
                    <a:lnTo>
                      <a:pt x="64" y="38"/>
                    </a:lnTo>
                    <a:lnTo>
                      <a:pt x="64" y="28"/>
                    </a:lnTo>
                    <a:lnTo>
                      <a:pt x="56" y="20"/>
                    </a:lnTo>
                    <a:lnTo>
                      <a:pt x="28" y="8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10" y="8"/>
                    </a:lnTo>
                    <a:lnTo>
                      <a:pt x="14" y="18"/>
                    </a:lnTo>
                    <a:lnTo>
                      <a:pt x="10" y="28"/>
                    </a:lnTo>
                    <a:lnTo>
                      <a:pt x="4" y="32"/>
                    </a:lnTo>
                    <a:lnTo>
                      <a:pt x="0" y="38"/>
                    </a:lnTo>
                    <a:lnTo>
                      <a:pt x="6" y="48"/>
                    </a:lnTo>
                    <a:lnTo>
                      <a:pt x="10" y="62"/>
                    </a:lnTo>
                    <a:lnTo>
                      <a:pt x="10" y="80"/>
                    </a:lnTo>
                    <a:lnTo>
                      <a:pt x="12" y="84"/>
                    </a:lnTo>
                    <a:lnTo>
                      <a:pt x="24" y="92"/>
                    </a:lnTo>
                    <a:lnTo>
                      <a:pt x="28" y="92"/>
                    </a:lnTo>
                    <a:lnTo>
                      <a:pt x="30" y="88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0" name="Freeform 6554">
                <a:extLst>
                  <a:ext uri="{FF2B5EF4-FFF2-40B4-BE49-F238E27FC236}">
                    <a16:creationId xmlns:a16="http://schemas.microsoft.com/office/drawing/2014/main" id="{43F4BAF5-4471-4E56-AB30-3644B1B21BAC}"/>
                  </a:ext>
                </a:extLst>
              </p:cNvPr>
              <p:cNvSpPr/>
              <p:nvPr/>
            </p:nvSpPr>
            <p:spPr bwMode="auto">
              <a:xfrm>
                <a:off x="4098378" y="23695154"/>
                <a:ext cx="38121" cy="33356"/>
              </a:xfrm>
              <a:custGeom>
                <a:avLst/>
                <a:gdLst>
                  <a:gd name="T0" fmla="*/ 14 w 16"/>
                  <a:gd name="T1" fmla="*/ 12 h 14"/>
                  <a:gd name="T2" fmla="*/ 16 w 16"/>
                  <a:gd name="T3" fmla="*/ 8 h 14"/>
                  <a:gd name="T4" fmla="*/ 14 w 16"/>
                  <a:gd name="T5" fmla="*/ 4 h 14"/>
                  <a:gd name="T6" fmla="*/ 12 w 16"/>
                  <a:gd name="T7" fmla="*/ 2 h 14"/>
                  <a:gd name="T8" fmla="*/ 8 w 16"/>
                  <a:gd name="T9" fmla="*/ 0 h 14"/>
                  <a:gd name="T10" fmla="*/ 0 w 16"/>
                  <a:gd name="T11" fmla="*/ 2 h 14"/>
                  <a:gd name="T12" fmla="*/ 4 w 16"/>
                  <a:gd name="T13" fmla="*/ 8 h 14"/>
                  <a:gd name="T14" fmla="*/ 6 w 16"/>
                  <a:gd name="T15" fmla="*/ 12 h 14"/>
                  <a:gd name="T16" fmla="*/ 10 w 16"/>
                  <a:gd name="T17" fmla="*/ 14 h 14"/>
                  <a:gd name="T18" fmla="*/ 14 w 16"/>
                  <a:gd name="T19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14">
                    <a:moveTo>
                      <a:pt x="14" y="12"/>
                    </a:moveTo>
                    <a:lnTo>
                      <a:pt x="16" y="8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0" y="2"/>
                    </a:lnTo>
                    <a:lnTo>
                      <a:pt x="4" y="8"/>
                    </a:lnTo>
                    <a:lnTo>
                      <a:pt x="6" y="12"/>
                    </a:lnTo>
                    <a:lnTo>
                      <a:pt x="10" y="14"/>
                    </a:lnTo>
                    <a:lnTo>
                      <a:pt x="14" y="1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1" name="Freeform 6555">
                <a:extLst>
                  <a:ext uri="{FF2B5EF4-FFF2-40B4-BE49-F238E27FC236}">
                    <a16:creationId xmlns:a16="http://schemas.microsoft.com/office/drawing/2014/main" id="{344F874A-1BD1-424E-9CB5-834AB03574EA}"/>
                  </a:ext>
                </a:extLst>
              </p:cNvPr>
              <p:cNvSpPr/>
              <p:nvPr/>
            </p:nvSpPr>
            <p:spPr bwMode="auto">
              <a:xfrm>
                <a:off x="4155560" y="23680858"/>
                <a:ext cx="109598" cy="71477"/>
              </a:xfrm>
              <a:custGeom>
                <a:avLst/>
                <a:gdLst>
                  <a:gd name="T0" fmla="*/ 14 w 46"/>
                  <a:gd name="T1" fmla="*/ 6 h 30"/>
                  <a:gd name="T2" fmla="*/ 10 w 46"/>
                  <a:gd name="T3" fmla="*/ 2 h 30"/>
                  <a:gd name="T4" fmla="*/ 6 w 46"/>
                  <a:gd name="T5" fmla="*/ 0 h 30"/>
                  <a:gd name="T6" fmla="*/ 2 w 46"/>
                  <a:gd name="T7" fmla="*/ 0 h 30"/>
                  <a:gd name="T8" fmla="*/ 0 w 46"/>
                  <a:gd name="T9" fmla="*/ 6 h 30"/>
                  <a:gd name="T10" fmla="*/ 0 w 46"/>
                  <a:gd name="T11" fmla="*/ 8 h 30"/>
                  <a:gd name="T12" fmla="*/ 4 w 46"/>
                  <a:gd name="T13" fmla="*/ 14 h 30"/>
                  <a:gd name="T14" fmla="*/ 10 w 46"/>
                  <a:gd name="T15" fmla="*/ 16 h 30"/>
                  <a:gd name="T16" fmla="*/ 14 w 46"/>
                  <a:gd name="T17" fmla="*/ 16 h 30"/>
                  <a:gd name="T18" fmla="*/ 16 w 46"/>
                  <a:gd name="T19" fmla="*/ 22 h 30"/>
                  <a:gd name="T20" fmla="*/ 16 w 46"/>
                  <a:gd name="T21" fmla="*/ 28 h 30"/>
                  <a:gd name="T22" fmla="*/ 18 w 46"/>
                  <a:gd name="T23" fmla="*/ 30 h 30"/>
                  <a:gd name="T24" fmla="*/ 24 w 46"/>
                  <a:gd name="T25" fmla="*/ 30 h 30"/>
                  <a:gd name="T26" fmla="*/ 30 w 46"/>
                  <a:gd name="T27" fmla="*/ 28 h 30"/>
                  <a:gd name="T28" fmla="*/ 38 w 46"/>
                  <a:gd name="T29" fmla="*/ 26 h 30"/>
                  <a:gd name="T30" fmla="*/ 44 w 46"/>
                  <a:gd name="T31" fmla="*/ 22 h 30"/>
                  <a:gd name="T32" fmla="*/ 46 w 46"/>
                  <a:gd name="T33" fmla="*/ 18 h 30"/>
                  <a:gd name="T34" fmla="*/ 44 w 46"/>
                  <a:gd name="T35" fmla="*/ 16 h 30"/>
                  <a:gd name="T36" fmla="*/ 38 w 46"/>
                  <a:gd name="T37" fmla="*/ 14 h 30"/>
                  <a:gd name="T38" fmla="*/ 36 w 46"/>
                  <a:gd name="T39" fmla="*/ 10 h 30"/>
                  <a:gd name="T40" fmla="*/ 26 w 46"/>
                  <a:gd name="T41" fmla="*/ 6 h 30"/>
                  <a:gd name="T42" fmla="*/ 22 w 46"/>
                  <a:gd name="T43" fmla="*/ 6 h 30"/>
                  <a:gd name="T44" fmla="*/ 16 w 46"/>
                  <a:gd name="T45" fmla="*/ 8 h 30"/>
                  <a:gd name="T46" fmla="*/ 14 w 46"/>
                  <a:gd name="T4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" h="30">
                    <a:moveTo>
                      <a:pt x="14" y="6"/>
                    </a:moveTo>
                    <a:lnTo>
                      <a:pt x="10" y="2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4" y="14"/>
                    </a:lnTo>
                    <a:lnTo>
                      <a:pt x="10" y="16"/>
                    </a:lnTo>
                    <a:lnTo>
                      <a:pt x="14" y="16"/>
                    </a:lnTo>
                    <a:lnTo>
                      <a:pt x="16" y="22"/>
                    </a:lnTo>
                    <a:lnTo>
                      <a:pt x="16" y="28"/>
                    </a:lnTo>
                    <a:lnTo>
                      <a:pt x="18" y="30"/>
                    </a:lnTo>
                    <a:lnTo>
                      <a:pt x="24" y="30"/>
                    </a:lnTo>
                    <a:lnTo>
                      <a:pt x="30" y="28"/>
                    </a:lnTo>
                    <a:lnTo>
                      <a:pt x="38" y="26"/>
                    </a:lnTo>
                    <a:lnTo>
                      <a:pt x="44" y="22"/>
                    </a:lnTo>
                    <a:lnTo>
                      <a:pt x="46" y="18"/>
                    </a:lnTo>
                    <a:lnTo>
                      <a:pt x="44" y="16"/>
                    </a:lnTo>
                    <a:lnTo>
                      <a:pt x="38" y="14"/>
                    </a:lnTo>
                    <a:lnTo>
                      <a:pt x="36" y="10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16" y="8"/>
                    </a:lnTo>
                    <a:lnTo>
                      <a:pt x="14" y="6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2" name="Freeform 6556">
                <a:extLst>
                  <a:ext uri="{FF2B5EF4-FFF2-40B4-BE49-F238E27FC236}">
                    <a16:creationId xmlns:a16="http://schemas.microsoft.com/office/drawing/2014/main" id="{6BBED430-17CF-44CE-BD8C-8AEDC071EDF7}"/>
                  </a:ext>
                </a:extLst>
              </p:cNvPr>
              <p:cNvSpPr/>
              <p:nvPr/>
            </p:nvSpPr>
            <p:spPr bwMode="auto">
              <a:xfrm>
                <a:off x="4060257" y="23647502"/>
                <a:ext cx="90537" cy="28591"/>
              </a:xfrm>
              <a:custGeom>
                <a:avLst/>
                <a:gdLst>
                  <a:gd name="T0" fmla="*/ 6 w 38"/>
                  <a:gd name="T1" fmla="*/ 0 h 12"/>
                  <a:gd name="T2" fmla="*/ 4 w 38"/>
                  <a:gd name="T3" fmla="*/ 0 h 12"/>
                  <a:gd name="T4" fmla="*/ 4 w 38"/>
                  <a:gd name="T5" fmla="*/ 4 h 12"/>
                  <a:gd name="T6" fmla="*/ 2 w 38"/>
                  <a:gd name="T7" fmla="*/ 6 h 12"/>
                  <a:gd name="T8" fmla="*/ 0 w 38"/>
                  <a:gd name="T9" fmla="*/ 8 h 12"/>
                  <a:gd name="T10" fmla="*/ 18 w 38"/>
                  <a:gd name="T11" fmla="*/ 8 h 12"/>
                  <a:gd name="T12" fmla="*/ 28 w 38"/>
                  <a:gd name="T13" fmla="*/ 12 h 12"/>
                  <a:gd name="T14" fmla="*/ 36 w 38"/>
                  <a:gd name="T15" fmla="*/ 8 h 12"/>
                  <a:gd name="T16" fmla="*/ 38 w 38"/>
                  <a:gd name="T17" fmla="*/ 6 h 12"/>
                  <a:gd name="T18" fmla="*/ 36 w 38"/>
                  <a:gd name="T19" fmla="*/ 4 h 12"/>
                  <a:gd name="T20" fmla="*/ 24 w 38"/>
                  <a:gd name="T21" fmla="*/ 4 h 12"/>
                  <a:gd name="T22" fmla="*/ 22 w 38"/>
                  <a:gd name="T23" fmla="*/ 2 h 12"/>
                  <a:gd name="T24" fmla="*/ 20 w 38"/>
                  <a:gd name="T25" fmla="*/ 2 h 12"/>
                  <a:gd name="T26" fmla="*/ 6 w 38"/>
                  <a:gd name="T2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12">
                    <a:moveTo>
                      <a:pt x="6" y="0"/>
                    </a:moveTo>
                    <a:lnTo>
                      <a:pt x="4" y="0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18" y="8"/>
                    </a:lnTo>
                    <a:lnTo>
                      <a:pt x="28" y="12"/>
                    </a:lnTo>
                    <a:lnTo>
                      <a:pt x="36" y="8"/>
                    </a:lnTo>
                    <a:lnTo>
                      <a:pt x="38" y="6"/>
                    </a:lnTo>
                    <a:lnTo>
                      <a:pt x="36" y="4"/>
                    </a:lnTo>
                    <a:lnTo>
                      <a:pt x="24" y="4"/>
                    </a:lnTo>
                    <a:lnTo>
                      <a:pt x="22" y="2"/>
                    </a:lnTo>
                    <a:lnTo>
                      <a:pt x="20" y="2"/>
                    </a:lnTo>
                    <a:lnTo>
                      <a:pt x="6" y="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3" name="Freeform 6557">
                <a:extLst>
                  <a:ext uri="{FF2B5EF4-FFF2-40B4-BE49-F238E27FC236}">
                    <a16:creationId xmlns:a16="http://schemas.microsoft.com/office/drawing/2014/main" id="{DB4C46FD-0BA3-4B06-AF2C-C5F337893B22}"/>
                  </a:ext>
                </a:extLst>
              </p:cNvPr>
              <p:cNvSpPr/>
              <p:nvPr/>
            </p:nvSpPr>
            <p:spPr bwMode="auto">
              <a:xfrm>
                <a:off x="3907773" y="23566496"/>
                <a:ext cx="100068" cy="76242"/>
              </a:xfrm>
              <a:custGeom>
                <a:avLst/>
                <a:gdLst>
                  <a:gd name="T0" fmla="*/ 32 w 42"/>
                  <a:gd name="T1" fmla="*/ 18 h 32"/>
                  <a:gd name="T2" fmla="*/ 30 w 42"/>
                  <a:gd name="T3" fmla="*/ 16 h 32"/>
                  <a:gd name="T4" fmla="*/ 28 w 42"/>
                  <a:gd name="T5" fmla="*/ 14 h 32"/>
                  <a:gd name="T6" fmla="*/ 28 w 42"/>
                  <a:gd name="T7" fmla="*/ 10 h 32"/>
                  <a:gd name="T8" fmla="*/ 20 w 42"/>
                  <a:gd name="T9" fmla="*/ 0 h 32"/>
                  <a:gd name="T10" fmla="*/ 16 w 42"/>
                  <a:gd name="T11" fmla="*/ 2 h 32"/>
                  <a:gd name="T12" fmla="*/ 10 w 42"/>
                  <a:gd name="T13" fmla="*/ 8 h 32"/>
                  <a:gd name="T14" fmla="*/ 0 w 42"/>
                  <a:gd name="T15" fmla="*/ 8 h 32"/>
                  <a:gd name="T16" fmla="*/ 2 w 42"/>
                  <a:gd name="T17" fmla="*/ 12 h 32"/>
                  <a:gd name="T18" fmla="*/ 2 w 42"/>
                  <a:gd name="T19" fmla="*/ 16 h 32"/>
                  <a:gd name="T20" fmla="*/ 10 w 42"/>
                  <a:gd name="T21" fmla="*/ 24 h 32"/>
                  <a:gd name="T22" fmla="*/ 10 w 42"/>
                  <a:gd name="T23" fmla="*/ 28 h 32"/>
                  <a:gd name="T24" fmla="*/ 12 w 42"/>
                  <a:gd name="T25" fmla="*/ 28 h 32"/>
                  <a:gd name="T26" fmla="*/ 20 w 42"/>
                  <a:gd name="T27" fmla="*/ 28 h 32"/>
                  <a:gd name="T28" fmla="*/ 16 w 42"/>
                  <a:gd name="T29" fmla="*/ 24 h 32"/>
                  <a:gd name="T30" fmla="*/ 20 w 42"/>
                  <a:gd name="T31" fmla="*/ 24 h 32"/>
                  <a:gd name="T32" fmla="*/ 20 w 42"/>
                  <a:gd name="T33" fmla="*/ 24 h 32"/>
                  <a:gd name="T34" fmla="*/ 20 w 42"/>
                  <a:gd name="T35" fmla="*/ 26 h 32"/>
                  <a:gd name="T36" fmla="*/ 24 w 42"/>
                  <a:gd name="T37" fmla="*/ 26 h 32"/>
                  <a:gd name="T38" fmla="*/ 28 w 42"/>
                  <a:gd name="T39" fmla="*/ 30 h 32"/>
                  <a:gd name="T40" fmla="*/ 32 w 42"/>
                  <a:gd name="T41" fmla="*/ 32 h 32"/>
                  <a:gd name="T42" fmla="*/ 38 w 42"/>
                  <a:gd name="T43" fmla="*/ 30 h 32"/>
                  <a:gd name="T44" fmla="*/ 42 w 42"/>
                  <a:gd name="T45" fmla="*/ 28 h 32"/>
                  <a:gd name="T46" fmla="*/ 40 w 42"/>
                  <a:gd name="T47" fmla="*/ 26 h 32"/>
                  <a:gd name="T48" fmla="*/ 38 w 42"/>
                  <a:gd name="T49" fmla="*/ 24 h 32"/>
                  <a:gd name="T50" fmla="*/ 36 w 42"/>
                  <a:gd name="T51" fmla="*/ 18 h 32"/>
                  <a:gd name="T52" fmla="*/ 34 w 42"/>
                  <a:gd name="T53" fmla="*/ 18 h 32"/>
                  <a:gd name="T54" fmla="*/ 32 w 42"/>
                  <a:gd name="T55" fmla="*/ 1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2" h="32">
                    <a:moveTo>
                      <a:pt x="32" y="18"/>
                    </a:moveTo>
                    <a:lnTo>
                      <a:pt x="30" y="16"/>
                    </a:lnTo>
                    <a:lnTo>
                      <a:pt x="28" y="14"/>
                    </a:lnTo>
                    <a:lnTo>
                      <a:pt x="28" y="10"/>
                    </a:lnTo>
                    <a:lnTo>
                      <a:pt x="20" y="0"/>
                    </a:lnTo>
                    <a:lnTo>
                      <a:pt x="16" y="2"/>
                    </a:lnTo>
                    <a:lnTo>
                      <a:pt x="1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6"/>
                    </a:lnTo>
                    <a:lnTo>
                      <a:pt x="10" y="24"/>
                    </a:lnTo>
                    <a:lnTo>
                      <a:pt x="10" y="28"/>
                    </a:lnTo>
                    <a:lnTo>
                      <a:pt x="12" y="28"/>
                    </a:lnTo>
                    <a:lnTo>
                      <a:pt x="20" y="28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8" y="30"/>
                    </a:lnTo>
                    <a:lnTo>
                      <a:pt x="32" y="32"/>
                    </a:lnTo>
                    <a:lnTo>
                      <a:pt x="38" y="30"/>
                    </a:lnTo>
                    <a:lnTo>
                      <a:pt x="42" y="28"/>
                    </a:lnTo>
                    <a:lnTo>
                      <a:pt x="40" y="26"/>
                    </a:lnTo>
                    <a:lnTo>
                      <a:pt x="38" y="24"/>
                    </a:lnTo>
                    <a:lnTo>
                      <a:pt x="36" y="18"/>
                    </a:lnTo>
                    <a:lnTo>
                      <a:pt x="34" y="18"/>
                    </a:lnTo>
                    <a:lnTo>
                      <a:pt x="32" y="18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4" name="Freeform 6558">
                <a:extLst>
                  <a:ext uri="{FF2B5EF4-FFF2-40B4-BE49-F238E27FC236}">
                    <a16:creationId xmlns:a16="http://schemas.microsoft.com/office/drawing/2014/main" id="{2CBDE51C-FB37-4BB6-9113-2A69C77E6C22}"/>
                  </a:ext>
                </a:extLst>
              </p:cNvPr>
              <p:cNvSpPr/>
              <p:nvPr/>
            </p:nvSpPr>
            <p:spPr bwMode="auto">
              <a:xfrm>
                <a:off x="3602805" y="23514079"/>
                <a:ext cx="28591" cy="38121"/>
              </a:xfrm>
              <a:custGeom>
                <a:avLst/>
                <a:gdLst>
                  <a:gd name="T0" fmla="*/ 4 w 12"/>
                  <a:gd name="T1" fmla="*/ 12 h 16"/>
                  <a:gd name="T2" fmla="*/ 4 w 12"/>
                  <a:gd name="T3" fmla="*/ 10 h 16"/>
                  <a:gd name="T4" fmla="*/ 10 w 12"/>
                  <a:gd name="T5" fmla="*/ 8 h 16"/>
                  <a:gd name="T6" fmla="*/ 10 w 12"/>
                  <a:gd name="T7" fmla="*/ 4 h 16"/>
                  <a:gd name="T8" fmla="*/ 12 w 12"/>
                  <a:gd name="T9" fmla="*/ 2 h 16"/>
                  <a:gd name="T10" fmla="*/ 8 w 12"/>
                  <a:gd name="T11" fmla="*/ 0 h 16"/>
                  <a:gd name="T12" fmla="*/ 4 w 12"/>
                  <a:gd name="T13" fmla="*/ 6 h 16"/>
                  <a:gd name="T14" fmla="*/ 0 w 12"/>
                  <a:gd name="T15" fmla="*/ 8 h 16"/>
                  <a:gd name="T16" fmla="*/ 0 w 12"/>
                  <a:gd name="T17" fmla="*/ 12 h 16"/>
                  <a:gd name="T18" fmla="*/ 0 w 12"/>
                  <a:gd name="T19" fmla="*/ 16 h 16"/>
                  <a:gd name="T20" fmla="*/ 2 w 12"/>
                  <a:gd name="T21" fmla="*/ 16 h 16"/>
                  <a:gd name="T22" fmla="*/ 4 w 12"/>
                  <a:gd name="T23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" h="16">
                    <a:moveTo>
                      <a:pt x="4" y="12"/>
                    </a:moveTo>
                    <a:lnTo>
                      <a:pt x="4" y="10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4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4" y="12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5" name="Freeform 6559">
                <a:extLst>
                  <a:ext uri="{FF2B5EF4-FFF2-40B4-BE49-F238E27FC236}">
                    <a16:creationId xmlns:a16="http://schemas.microsoft.com/office/drawing/2014/main" id="{7813B1A2-F9CE-438A-8092-5350EA0A51B1}"/>
                  </a:ext>
                </a:extLst>
              </p:cNvPr>
              <p:cNvSpPr/>
              <p:nvPr/>
            </p:nvSpPr>
            <p:spPr bwMode="auto">
              <a:xfrm>
                <a:off x="3669517" y="23480723"/>
                <a:ext cx="76242" cy="57182"/>
              </a:xfrm>
              <a:custGeom>
                <a:avLst/>
                <a:gdLst>
                  <a:gd name="T0" fmla="*/ 28 w 32"/>
                  <a:gd name="T1" fmla="*/ 20 h 24"/>
                  <a:gd name="T2" fmla="*/ 30 w 32"/>
                  <a:gd name="T3" fmla="*/ 18 h 24"/>
                  <a:gd name="T4" fmla="*/ 30 w 32"/>
                  <a:gd name="T5" fmla="*/ 12 h 24"/>
                  <a:gd name="T6" fmla="*/ 32 w 32"/>
                  <a:gd name="T7" fmla="*/ 8 h 24"/>
                  <a:gd name="T8" fmla="*/ 32 w 32"/>
                  <a:gd name="T9" fmla="*/ 4 h 24"/>
                  <a:gd name="T10" fmla="*/ 30 w 32"/>
                  <a:gd name="T11" fmla="*/ 0 h 24"/>
                  <a:gd name="T12" fmla="*/ 14 w 32"/>
                  <a:gd name="T13" fmla="*/ 0 h 24"/>
                  <a:gd name="T14" fmla="*/ 4 w 32"/>
                  <a:gd name="T15" fmla="*/ 6 h 24"/>
                  <a:gd name="T16" fmla="*/ 0 w 32"/>
                  <a:gd name="T17" fmla="*/ 12 h 24"/>
                  <a:gd name="T18" fmla="*/ 4 w 32"/>
                  <a:gd name="T19" fmla="*/ 16 h 24"/>
                  <a:gd name="T20" fmla="*/ 10 w 32"/>
                  <a:gd name="T21" fmla="*/ 18 h 24"/>
                  <a:gd name="T22" fmla="*/ 12 w 32"/>
                  <a:gd name="T23" fmla="*/ 22 h 24"/>
                  <a:gd name="T24" fmla="*/ 20 w 32"/>
                  <a:gd name="T25" fmla="*/ 22 h 24"/>
                  <a:gd name="T26" fmla="*/ 22 w 32"/>
                  <a:gd name="T27" fmla="*/ 24 h 24"/>
                  <a:gd name="T28" fmla="*/ 28 w 32"/>
                  <a:gd name="T29" fmla="*/ 2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2" h="24">
                    <a:moveTo>
                      <a:pt x="28" y="20"/>
                    </a:moveTo>
                    <a:lnTo>
                      <a:pt x="30" y="18"/>
                    </a:lnTo>
                    <a:lnTo>
                      <a:pt x="30" y="12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0" y="0"/>
                    </a:lnTo>
                    <a:lnTo>
                      <a:pt x="14" y="0"/>
                    </a:lnTo>
                    <a:lnTo>
                      <a:pt x="4" y="6"/>
                    </a:lnTo>
                    <a:lnTo>
                      <a:pt x="0" y="12"/>
                    </a:lnTo>
                    <a:lnTo>
                      <a:pt x="4" y="16"/>
                    </a:lnTo>
                    <a:lnTo>
                      <a:pt x="10" y="18"/>
                    </a:lnTo>
                    <a:lnTo>
                      <a:pt x="12" y="22"/>
                    </a:lnTo>
                    <a:lnTo>
                      <a:pt x="20" y="22"/>
                    </a:lnTo>
                    <a:lnTo>
                      <a:pt x="22" y="24"/>
                    </a:lnTo>
                    <a:lnTo>
                      <a:pt x="28" y="2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20" name="Freeform 368">
              <a:extLst>
                <a:ext uri="{FF2B5EF4-FFF2-40B4-BE49-F238E27FC236}">
                  <a16:creationId xmlns:a16="http://schemas.microsoft.com/office/drawing/2014/main" id="{67193EC5-B6F7-4AFF-8235-15F39CDD29BE}"/>
                </a:ext>
              </a:extLst>
            </p:cNvPr>
            <p:cNvSpPr/>
            <p:nvPr/>
          </p:nvSpPr>
          <p:spPr bwMode="auto">
            <a:xfrm>
              <a:off x="9656604" y="3823718"/>
              <a:ext cx="184240" cy="67837"/>
            </a:xfrm>
            <a:custGeom>
              <a:avLst/>
              <a:gdLst>
                <a:gd name="connsiteX0" fmla="*/ 967324 w 1138868"/>
                <a:gd name="connsiteY0" fmla="*/ 347854 h 419332"/>
                <a:gd name="connsiteX1" fmla="*/ 1000676 w 1138868"/>
                <a:gd name="connsiteY1" fmla="*/ 357384 h 419332"/>
                <a:gd name="connsiteX2" fmla="*/ 1029268 w 1138868"/>
                <a:gd name="connsiteY2" fmla="*/ 381210 h 419332"/>
                <a:gd name="connsiteX3" fmla="*/ 1043564 w 1138868"/>
                <a:gd name="connsiteY3" fmla="*/ 395506 h 419332"/>
                <a:gd name="connsiteX4" fmla="*/ 1062624 w 1138868"/>
                <a:gd name="connsiteY4" fmla="*/ 409800 h 419332"/>
                <a:gd name="connsiteX5" fmla="*/ 1081684 w 1138868"/>
                <a:gd name="connsiteY5" fmla="*/ 414566 h 419332"/>
                <a:gd name="connsiteX6" fmla="*/ 1086452 w 1138868"/>
                <a:gd name="connsiteY6" fmla="*/ 419332 h 419332"/>
                <a:gd name="connsiteX7" fmla="*/ 1057860 w 1138868"/>
                <a:gd name="connsiteY7" fmla="*/ 419332 h 419332"/>
                <a:gd name="connsiteX8" fmla="*/ 1005444 w 1138868"/>
                <a:gd name="connsiteY8" fmla="*/ 381210 h 419332"/>
                <a:gd name="connsiteX9" fmla="*/ 976852 w 1138868"/>
                <a:gd name="connsiteY9" fmla="*/ 366914 h 419332"/>
                <a:gd name="connsiteX10" fmla="*/ 962556 w 1138868"/>
                <a:gd name="connsiteY10" fmla="*/ 352620 h 419332"/>
                <a:gd name="connsiteX11" fmla="*/ 938732 w 1138868"/>
                <a:gd name="connsiteY11" fmla="*/ 262080 h 419332"/>
                <a:gd name="connsiteX12" fmla="*/ 948260 w 1138868"/>
                <a:gd name="connsiteY12" fmla="*/ 266846 h 419332"/>
                <a:gd name="connsiteX13" fmla="*/ 957792 w 1138868"/>
                <a:gd name="connsiteY13" fmla="*/ 271612 h 419332"/>
                <a:gd name="connsiteX14" fmla="*/ 953028 w 1138868"/>
                <a:gd name="connsiteY14" fmla="*/ 281142 h 419332"/>
                <a:gd name="connsiteX15" fmla="*/ 938732 w 1138868"/>
                <a:gd name="connsiteY15" fmla="*/ 285908 h 419332"/>
                <a:gd name="connsiteX16" fmla="*/ 933964 w 1138868"/>
                <a:gd name="connsiteY16" fmla="*/ 276376 h 419332"/>
                <a:gd name="connsiteX17" fmla="*/ 933964 w 1138868"/>
                <a:gd name="connsiteY17" fmla="*/ 271612 h 419332"/>
                <a:gd name="connsiteX18" fmla="*/ 1115040 w 1138868"/>
                <a:gd name="connsiteY18" fmla="*/ 252552 h 419332"/>
                <a:gd name="connsiteX19" fmla="*/ 1138868 w 1138868"/>
                <a:gd name="connsiteY19" fmla="*/ 271612 h 419332"/>
                <a:gd name="connsiteX20" fmla="*/ 1129336 w 1138868"/>
                <a:gd name="connsiteY20" fmla="*/ 285906 h 419332"/>
                <a:gd name="connsiteX21" fmla="*/ 1119808 w 1138868"/>
                <a:gd name="connsiteY21" fmla="*/ 290672 h 419332"/>
                <a:gd name="connsiteX22" fmla="*/ 1100748 w 1138868"/>
                <a:gd name="connsiteY22" fmla="*/ 290672 h 419332"/>
                <a:gd name="connsiteX23" fmla="*/ 1095980 w 1138868"/>
                <a:gd name="connsiteY23" fmla="*/ 281142 h 419332"/>
                <a:gd name="connsiteX24" fmla="*/ 1095980 w 1138868"/>
                <a:gd name="connsiteY24" fmla="*/ 266846 h 419332"/>
                <a:gd name="connsiteX25" fmla="*/ 791012 w 1138868"/>
                <a:gd name="connsiteY25" fmla="*/ 233492 h 419332"/>
                <a:gd name="connsiteX26" fmla="*/ 805308 w 1138868"/>
                <a:gd name="connsiteY26" fmla="*/ 233492 h 419332"/>
                <a:gd name="connsiteX27" fmla="*/ 810072 w 1138868"/>
                <a:gd name="connsiteY27" fmla="*/ 233492 h 419332"/>
                <a:gd name="connsiteX28" fmla="*/ 805308 w 1138868"/>
                <a:gd name="connsiteY28" fmla="*/ 247786 h 419332"/>
                <a:gd name="connsiteX29" fmla="*/ 795776 w 1138868"/>
                <a:gd name="connsiteY29" fmla="*/ 262082 h 419332"/>
                <a:gd name="connsiteX30" fmla="*/ 795776 w 1138868"/>
                <a:gd name="connsiteY30" fmla="*/ 276378 h 419332"/>
                <a:gd name="connsiteX31" fmla="*/ 771952 w 1138868"/>
                <a:gd name="connsiteY31" fmla="*/ 290672 h 419332"/>
                <a:gd name="connsiteX32" fmla="*/ 757656 w 1138868"/>
                <a:gd name="connsiteY32" fmla="*/ 300204 h 419332"/>
                <a:gd name="connsiteX33" fmla="*/ 743360 w 1138868"/>
                <a:gd name="connsiteY33" fmla="*/ 290672 h 419332"/>
                <a:gd name="connsiteX34" fmla="*/ 743360 w 1138868"/>
                <a:gd name="connsiteY34" fmla="*/ 285908 h 419332"/>
                <a:gd name="connsiteX35" fmla="*/ 762420 w 1138868"/>
                <a:gd name="connsiteY35" fmla="*/ 266848 h 419332"/>
                <a:gd name="connsiteX36" fmla="*/ 781484 w 1138868"/>
                <a:gd name="connsiteY36" fmla="*/ 262082 h 419332"/>
                <a:gd name="connsiteX37" fmla="*/ 786248 w 1138868"/>
                <a:gd name="connsiteY37" fmla="*/ 257316 h 419332"/>
                <a:gd name="connsiteX38" fmla="*/ 181076 w 1138868"/>
                <a:gd name="connsiteY38" fmla="*/ 133424 h 419332"/>
                <a:gd name="connsiteX39" fmla="*/ 200136 w 1138868"/>
                <a:gd name="connsiteY39" fmla="*/ 133424 h 419332"/>
                <a:gd name="connsiteX40" fmla="*/ 195372 w 1138868"/>
                <a:gd name="connsiteY40" fmla="*/ 147718 h 419332"/>
                <a:gd name="connsiteX41" fmla="*/ 190608 w 1138868"/>
                <a:gd name="connsiteY41" fmla="*/ 171544 h 419332"/>
                <a:gd name="connsiteX42" fmla="*/ 181076 w 1138868"/>
                <a:gd name="connsiteY42" fmla="*/ 171544 h 419332"/>
                <a:gd name="connsiteX43" fmla="*/ 176312 w 1138868"/>
                <a:gd name="connsiteY43" fmla="*/ 162014 h 419332"/>
                <a:gd name="connsiteX44" fmla="*/ 142956 w 1138868"/>
                <a:gd name="connsiteY44" fmla="*/ 157248 h 419332"/>
                <a:gd name="connsiteX45" fmla="*/ 147720 w 1138868"/>
                <a:gd name="connsiteY45" fmla="*/ 147718 h 419332"/>
                <a:gd name="connsiteX46" fmla="*/ 162016 w 1138868"/>
                <a:gd name="connsiteY46" fmla="*/ 147718 h 419332"/>
                <a:gd name="connsiteX47" fmla="*/ 52416 w 1138868"/>
                <a:gd name="connsiteY47" fmla="*/ 0 h 419332"/>
                <a:gd name="connsiteX48" fmla="*/ 76244 w 1138868"/>
                <a:gd name="connsiteY48" fmla="*/ 9530 h 419332"/>
                <a:gd name="connsiteX49" fmla="*/ 95304 w 1138868"/>
                <a:gd name="connsiteY49" fmla="*/ 4764 h 419332"/>
                <a:gd name="connsiteX50" fmla="*/ 119128 w 1138868"/>
                <a:gd name="connsiteY50" fmla="*/ 19060 h 419332"/>
                <a:gd name="connsiteX51" fmla="*/ 147720 w 1138868"/>
                <a:gd name="connsiteY51" fmla="*/ 42886 h 419332"/>
                <a:gd name="connsiteX52" fmla="*/ 142956 w 1138868"/>
                <a:gd name="connsiteY52" fmla="*/ 47650 h 419332"/>
                <a:gd name="connsiteX53" fmla="*/ 133424 w 1138868"/>
                <a:gd name="connsiteY53" fmla="*/ 52416 h 419332"/>
                <a:gd name="connsiteX54" fmla="*/ 128660 w 1138868"/>
                <a:gd name="connsiteY54" fmla="*/ 52416 h 419332"/>
                <a:gd name="connsiteX55" fmla="*/ 104832 w 1138868"/>
                <a:gd name="connsiteY55" fmla="*/ 52416 h 419332"/>
                <a:gd name="connsiteX56" fmla="*/ 90540 w 1138868"/>
                <a:gd name="connsiteY56" fmla="*/ 52416 h 419332"/>
                <a:gd name="connsiteX57" fmla="*/ 71476 w 1138868"/>
                <a:gd name="connsiteY57" fmla="*/ 71476 h 419332"/>
                <a:gd name="connsiteX58" fmla="*/ 42888 w 1138868"/>
                <a:gd name="connsiteY58" fmla="*/ 57180 h 419332"/>
                <a:gd name="connsiteX59" fmla="*/ 38124 w 1138868"/>
                <a:gd name="connsiteY59" fmla="*/ 33354 h 419332"/>
                <a:gd name="connsiteX60" fmla="*/ 14296 w 1138868"/>
                <a:gd name="connsiteY60" fmla="*/ 28590 h 419332"/>
                <a:gd name="connsiteX61" fmla="*/ 0 w 1138868"/>
                <a:gd name="connsiteY61" fmla="*/ 23824 h 419332"/>
                <a:gd name="connsiteX62" fmla="*/ 28592 w 1138868"/>
                <a:gd name="connsiteY62" fmla="*/ 4764 h 419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1138868" h="419332">
                  <a:moveTo>
                    <a:pt x="967324" y="347854"/>
                  </a:moveTo>
                  <a:lnTo>
                    <a:pt x="1000676" y="357384"/>
                  </a:lnTo>
                  <a:lnTo>
                    <a:pt x="1029268" y="381210"/>
                  </a:lnTo>
                  <a:lnTo>
                    <a:pt x="1043564" y="395506"/>
                  </a:lnTo>
                  <a:lnTo>
                    <a:pt x="1062624" y="409800"/>
                  </a:lnTo>
                  <a:lnTo>
                    <a:pt x="1081684" y="414566"/>
                  </a:lnTo>
                  <a:lnTo>
                    <a:pt x="1086452" y="419332"/>
                  </a:lnTo>
                  <a:lnTo>
                    <a:pt x="1057860" y="419332"/>
                  </a:lnTo>
                  <a:lnTo>
                    <a:pt x="1005444" y="381210"/>
                  </a:lnTo>
                  <a:lnTo>
                    <a:pt x="976852" y="366914"/>
                  </a:lnTo>
                  <a:lnTo>
                    <a:pt x="962556" y="352620"/>
                  </a:lnTo>
                  <a:close/>
                  <a:moveTo>
                    <a:pt x="938732" y="262080"/>
                  </a:moveTo>
                  <a:lnTo>
                    <a:pt x="948260" y="266846"/>
                  </a:lnTo>
                  <a:lnTo>
                    <a:pt x="957792" y="271612"/>
                  </a:lnTo>
                  <a:lnTo>
                    <a:pt x="953028" y="281142"/>
                  </a:lnTo>
                  <a:lnTo>
                    <a:pt x="938732" y="285908"/>
                  </a:lnTo>
                  <a:lnTo>
                    <a:pt x="933964" y="276376"/>
                  </a:lnTo>
                  <a:lnTo>
                    <a:pt x="933964" y="271612"/>
                  </a:lnTo>
                  <a:close/>
                  <a:moveTo>
                    <a:pt x="1115040" y="252552"/>
                  </a:moveTo>
                  <a:lnTo>
                    <a:pt x="1138868" y="271612"/>
                  </a:lnTo>
                  <a:lnTo>
                    <a:pt x="1129336" y="285906"/>
                  </a:lnTo>
                  <a:lnTo>
                    <a:pt x="1119808" y="290672"/>
                  </a:lnTo>
                  <a:lnTo>
                    <a:pt x="1100748" y="290672"/>
                  </a:lnTo>
                  <a:lnTo>
                    <a:pt x="1095980" y="281142"/>
                  </a:lnTo>
                  <a:lnTo>
                    <a:pt x="1095980" y="266846"/>
                  </a:lnTo>
                  <a:close/>
                  <a:moveTo>
                    <a:pt x="791012" y="233492"/>
                  </a:moveTo>
                  <a:lnTo>
                    <a:pt x="805308" y="233492"/>
                  </a:lnTo>
                  <a:lnTo>
                    <a:pt x="810072" y="233492"/>
                  </a:lnTo>
                  <a:lnTo>
                    <a:pt x="805308" y="247786"/>
                  </a:lnTo>
                  <a:lnTo>
                    <a:pt x="795776" y="262082"/>
                  </a:lnTo>
                  <a:lnTo>
                    <a:pt x="795776" y="276378"/>
                  </a:lnTo>
                  <a:lnTo>
                    <a:pt x="771952" y="290672"/>
                  </a:lnTo>
                  <a:lnTo>
                    <a:pt x="757656" y="300204"/>
                  </a:lnTo>
                  <a:lnTo>
                    <a:pt x="743360" y="290672"/>
                  </a:lnTo>
                  <a:lnTo>
                    <a:pt x="743360" y="285908"/>
                  </a:lnTo>
                  <a:lnTo>
                    <a:pt x="762420" y="266848"/>
                  </a:lnTo>
                  <a:lnTo>
                    <a:pt x="781484" y="262082"/>
                  </a:lnTo>
                  <a:lnTo>
                    <a:pt x="786248" y="257316"/>
                  </a:lnTo>
                  <a:close/>
                  <a:moveTo>
                    <a:pt x="181076" y="133424"/>
                  </a:moveTo>
                  <a:lnTo>
                    <a:pt x="200136" y="133424"/>
                  </a:lnTo>
                  <a:lnTo>
                    <a:pt x="195372" y="147718"/>
                  </a:lnTo>
                  <a:lnTo>
                    <a:pt x="190608" y="171544"/>
                  </a:lnTo>
                  <a:lnTo>
                    <a:pt x="181076" y="171544"/>
                  </a:lnTo>
                  <a:lnTo>
                    <a:pt x="176312" y="162014"/>
                  </a:lnTo>
                  <a:lnTo>
                    <a:pt x="142956" y="157248"/>
                  </a:lnTo>
                  <a:lnTo>
                    <a:pt x="147720" y="147718"/>
                  </a:lnTo>
                  <a:lnTo>
                    <a:pt x="162016" y="147718"/>
                  </a:lnTo>
                  <a:close/>
                  <a:moveTo>
                    <a:pt x="52416" y="0"/>
                  </a:moveTo>
                  <a:lnTo>
                    <a:pt x="76244" y="9530"/>
                  </a:lnTo>
                  <a:lnTo>
                    <a:pt x="95304" y="4764"/>
                  </a:lnTo>
                  <a:lnTo>
                    <a:pt x="119128" y="19060"/>
                  </a:lnTo>
                  <a:lnTo>
                    <a:pt x="147720" y="42886"/>
                  </a:lnTo>
                  <a:lnTo>
                    <a:pt x="142956" y="47650"/>
                  </a:lnTo>
                  <a:lnTo>
                    <a:pt x="133424" y="52416"/>
                  </a:lnTo>
                  <a:lnTo>
                    <a:pt x="128660" y="52416"/>
                  </a:lnTo>
                  <a:lnTo>
                    <a:pt x="104832" y="52416"/>
                  </a:lnTo>
                  <a:lnTo>
                    <a:pt x="90540" y="52416"/>
                  </a:lnTo>
                  <a:lnTo>
                    <a:pt x="71476" y="71476"/>
                  </a:lnTo>
                  <a:lnTo>
                    <a:pt x="42888" y="57180"/>
                  </a:lnTo>
                  <a:lnTo>
                    <a:pt x="38124" y="33354"/>
                  </a:lnTo>
                  <a:lnTo>
                    <a:pt x="14296" y="28590"/>
                  </a:lnTo>
                  <a:lnTo>
                    <a:pt x="0" y="23824"/>
                  </a:lnTo>
                  <a:lnTo>
                    <a:pt x="28592" y="476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421" name="Group 386">
              <a:extLst>
                <a:ext uri="{FF2B5EF4-FFF2-40B4-BE49-F238E27FC236}">
                  <a16:creationId xmlns:a16="http://schemas.microsoft.com/office/drawing/2014/main" id="{694B5A8A-BB5B-4F1D-85AC-52F0313D8F96}"/>
                </a:ext>
              </a:extLst>
            </p:cNvPr>
            <p:cNvGrpSpPr/>
            <p:nvPr/>
          </p:nvGrpSpPr>
          <p:grpSpPr>
            <a:xfrm>
              <a:off x="796148" y="2789202"/>
              <a:ext cx="2809460" cy="1980382"/>
              <a:chOff x="796147" y="10843607"/>
              <a:chExt cx="17366504" cy="12241610"/>
            </a:xfrm>
            <a:grpFill/>
          </p:grpSpPr>
          <p:sp>
            <p:nvSpPr>
              <p:cNvPr id="510" name="Freeform 459">
                <a:extLst>
                  <a:ext uri="{FF2B5EF4-FFF2-40B4-BE49-F238E27FC236}">
                    <a16:creationId xmlns:a16="http://schemas.microsoft.com/office/drawing/2014/main" id="{DB27EF60-5E4C-49F7-942C-238E2EE94540}"/>
                  </a:ext>
                </a:extLst>
              </p:cNvPr>
              <p:cNvSpPr/>
              <p:nvPr/>
            </p:nvSpPr>
            <p:spPr bwMode="auto">
              <a:xfrm>
                <a:off x="9149416" y="18148546"/>
                <a:ext cx="9013236" cy="4936670"/>
              </a:xfrm>
              <a:custGeom>
                <a:avLst/>
                <a:gdLst>
                  <a:gd name="connsiteX0" fmla="*/ 6697387 w 9013239"/>
                  <a:gd name="connsiteY0" fmla="*/ 4931904 h 4936668"/>
                  <a:gd name="connsiteX1" fmla="*/ 6706917 w 9013239"/>
                  <a:gd name="connsiteY1" fmla="*/ 4931904 h 4936668"/>
                  <a:gd name="connsiteX2" fmla="*/ 6711682 w 9013239"/>
                  <a:gd name="connsiteY2" fmla="*/ 4931904 h 4936668"/>
                  <a:gd name="connsiteX3" fmla="*/ 6711682 w 9013239"/>
                  <a:gd name="connsiteY3" fmla="*/ 4936668 h 4936668"/>
                  <a:gd name="connsiteX4" fmla="*/ 6702152 w 9013239"/>
                  <a:gd name="connsiteY4" fmla="*/ 4936668 h 4936668"/>
                  <a:gd name="connsiteX5" fmla="*/ 6697387 w 9013239"/>
                  <a:gd name="connsiteY5" fmla="*/ 4936668 h 4936668"/>
                  <a:gd name="connsiteX6" fmla="*/ 6740274 w 9013239"/>
                  <a:gd name="connsiteY6" fmla="*/ 4912844 h 4936668"/>
                  <a:gd name="connsiteX7" fmla="*/ 6745039 w 9013239"/>
                  <a:gd name="connsiteY7" fmla="*/ 4917608 h 4936668"/>
                  <a:gd name="connsiteX8" fmla="*/ 6745039 w 9013239"/>
                  <a:gd name="connsiteY8" fmla="*/ 4922372 h 4936668"/>
                  <a:gd name="connsiteX9" fmla="*/ 6735509 w 9013239"/>
                  <a:gd name="connsiteY9" fmla="*/ 4927140 h 4936668"/>
                  <a:gd name="connsiteX10" fmla="*/ 6725978 w 9013239"/>
                  <a:gd name="connsiteY10" fmla="*/ 4927140 h 4936668"/>
                  <a:gd name="connsiteX11" fmla="*/ 6735509 w 9013239"/>
                  <a:gd name="connsiteY11" fmla="*/ 4922372 h 4936668"/>
                  <a:gd name="connsiteX12" fmla="*/ 6759334 w 9013239"/>
                  <a:gd name="connsiteY12" fmla="*/ 4903312 h 4936668"/>
                  <a:gd name="connsiteX13" fmla="*/ 6773630 w 9013239"/>
                  <a:gd name="connsiteY13" fmla="*/ 4912844 h 4936668"/>
                  <a:gd name="connsiteX14" fmla="*/ 6778395 w 9013239"/>
                  <a:gd name="connsiteY14" fmla="*/ 4912844 h 4936668"/>
                  <a:gd name="connsiteX15" fmla="*/ 6773630 w 9013239"/>
                  <a:gd name="connsiteY15" fmla="*/ 4917608 h 4936668"/>
                  <a:gd name="connsiteX16" fmla="*/ 6768865 w 9013239"/>
                  <a:gd name="connsiteY16" fmla="*/ 4922376 h 4936668"/>
                  <a:gd name="connsiteX17" fmla="*/ 6768865 w 9013239"/>
                  <a:gd name="connsiteY17" fmla="*/ 4912844 h 4936668"/>
                  <a:gd name="connsiteX18" fmla="*/ 6835576 w 9013239"/>
                  <a:gd name="connsiteY18" fmla="*/ 4898548 h 4936668"/>
                  <a:gd name="connsiteX19" fmla="*/ 6826046 w 9013239"/>
                  <a:gd name="connsiteY19" fmla="*/ 4903312 h 4936668"/>
                  <a:gd name="connsiteX20" fmla="*/ 6821281 w 9013239"/>
                  <a:gd name="connsiteY20" fmla="*/ 4908080 h 4936668"/>
                  <a:gd name="connsiteX21" fmla="*/ 6811750 w 9013239"/>
                  <a:gd name="connsiteY21" fmla="*/ 4912844 h 4936668"/>
                  <a:gd name="connsiteX22" fmla="*/ 6802220 w 9013239"/>
                  <a:gd name="connsiteY22" fmla="*/ 4908080 h 4936668"/>
                  <a:gd name="connsiteX23" fmla="*/ 6811750 w 9013239"/>
                  <a:gd name="connsiteY23" fmla="*/ 4903312 h 4936668"/>
                  <a:gd name="connsiteX24" fmla="*/ 6859401 w 9013239"/>
                  <a:gd name="connsiteY24" fmla="*/ 4884252 h 4936668"/>
                  <a:gd name="connsiteX25" fmla="*/ 6859401 w 9013239"/>
                  <a:gd name="connsiteY25" fmla="*/ 4889020 h 4936668"/>
                  <a:gd name="connsiteX26" fmla="*/ 6854636 w 9013239"/>
                  <a:gd name="connsiteY26" fmla="*/ 4893784 h 4936668"/>
                  <a:gd name="connsiteX27" fmla="*/ 6849871 w 9013239"/>
                  <a:gd name="connsiteY27" fmla="*/ 4893784 h 4936668"/>
                  <a:gd name="connsiteX28" fmla="*/ 6849871 w 9013239"/>
                  <a:gd name="connsiteY28" fmla="*/ 4889020 h 4936668"/>
                  <a:gd name="connsiteX29" fmla="*/ 6883227 w 9013239"/>
                  <a:gd name="connsiteY29" fmla="*/ 4869956 h 4936668"/>
                  <a:gd name="connsiteX30" fmla="*/ 6887992 w 9013239"/>
                  <a:gd name="connsiteY30" fmla="*/ 4869956 h 4936668"/>
                  <a:gd name="connsiteX31" fmla="*/ 6883227 w 9013239"/>
                  <a:gd name="connsiteY31" fmla="*/ 4874724 h 4936668"/>
                  <a:gd name="connsiteX32" fmla="*/ 6878462 w 9013239"/>
                  <a:gd name="connsiteY32" fmla="*/ 4874724 h 4936668"/>
                  <a:gd name="connsiteX33" fmla="*/ 6940408 w 9013239"/>
                  <a:gd name="connsiteY33" fmla="*/ 4798480 h 4936668"/>
                  <a:gd name="connsiteX34" fmla="*/ 6921348 w 9013239"/>
                  <a:gd name="connsiteY34" fmla="*/ 4831836 h 4936668"/>
                  <a:gd name="connsiteX35" fmla="*/ 6892757 w 9013239"/>
                  <a:gd name="connsiteY35" fmla="*/ 4865192 h 4936668"/>
                  <a:gd name="connsiteX36" fmla="*/ 6892757 w 9013239"/>
                  <a:gd name="connsiteY36" fmla="*/ 4860428 h 4936668"/>
                  <a:gd name="connsiteX37" fmla="*/ 6907052 w 9013239"/>
                  <a:gd name="connsiteY37" fmla="*/ 4841368 h 4936668"/>
                  <a:gd name="connsiteX38" fmla="*/ 6911817 w 9013239"/>
                  <a:gd name="connsiteY38" fmla="*/ 4831836 h 4936668"/>
                  <a:gd name="connsiteX39" fmla="*/ 6921348 w 9013239"/>
                  <a:gd name="connsiteY39" fmla="*/ 4827072 h 4936668"/>
                  <a:gd name="connsiteX40" fmla="*/ 6926113 w 9013239"/>
                  <a:gd name="connsiteY40" fmla="*/ 4817540 h 4936668"/>
                  <a:gd name="connsiteX41" fmla="*/ 6926113 w 9013239"/>
                  <a:gd name="connsiteY41" fmla="*/ 4808012 h 4936668"/>
                  <a:gd name="connsiteX42" fmla="*/ 6640206 w 9013239"/>
                  <a:gd name="connsiteY42" fmla="*/ 4588816 h 4936668"/>
                  <a:gd name="connsiteX43" fmla="*/ 6649736 w 9013239"/>
                  <a:gd name="connsiteY43" fmla="*/ 4603112 h 4936668"/>
                  <a:gd name="connsiteX44" fmla="*/ 6664032 w 9013239"/>
                  <a:gd name="connsiteY44" fmla="*/ 4607876 h 4936668"/>
                  <a:gd name="connsiteX45" fmla="*/ 6659267 w 9013239"/>
                  <a:gd name="connsiteY45" fmla="*/ 4612640 h 4936668"/>
                  <a:gd name="connsiteX46" fmla="*/ 6644971 w 9013239"/>
                  <a:gd name="connsiteY46" fmla="*/ 4607876 h 4936668"/>
                  <a:gd name="connsiteX47" fmla="*/ 6640206 w 9013239"/>
                  <a:gd name="connsiteY47" fmla="*/ 4603112 h 4936668"/>
                  <a:gd name="connsiteX48" fmla="*/ 6644971 w 9013239"/>
                  <a:gd name="connsiteY48" fmla="*/ 4560224 h 4936668"/>
                  <a:gd name="connsiteX49" fmla="*/ 6649736 w 9013239"/>
                  <a:gd name="connsiteY49" fmla="*/ 4569756 h 4936668"/>
                  <a:gd name="connsiteX50" fmla="*/ 6659266 w 9013239"/>
                  <a:gd name="connsiteY50" fmla="*/ 4588816 h 4936668"/>
                  <a:gd name="connsiteX51" fmla="*/ 6654501 w 9013239"/>
                  <a:gd name="connsiteY51" fmla="*/ 4598344 h 4936668"/>
                  <a:gd name="connsiteX52" fmla="*/ 6649736 w 9013239"/>
                  <a:gd name="connsiteY52" fmla="*/ 4579284 h 4936668"/>
                  <a:gd name="connsiteX53" fmla="*/ 4269554 w 9013239"/>
                  <a:gd name="connsiteY53" fmla="*/ 4474452 h 4936668"/>
                  <a:gd name="connsiteX54" fmla="*/ 4274319 w 9013239"/>
                  <a:gd name="connsiteY54" fmla="*/ 4545928 h 4936668"/>
                  <a:gd name="connsiteX55" fmla="*/ 4298145 w 9013239"/>
                  <a:gd name="connsiteY55" fmla="*/ 4631700 h 4936668"/>
                  <a:gd name="connsiteX56" fmla="*/ 4302910 w 9013239"/>
                  <a:gd name="connsiteY56" fmla="*/ 4655528 h 4936668"/>
                  <a:gd name="connsiteX57" fmla="*/ 4298145 w 9013239"/>
                  <a:gd name="connsiteY57" fmla="*/ 4665056 h 4936668"/>
                  <a:gd name="connsiteX58" fmla="*/ 4288615 w 9013239"/>
                  <a:gd name="connsiteY58" fmla="*/ 4626936 h 4936668"/>
                  <a:gd name="connsiteX59" fmla="*/ 4264789 w 9013239"/>
                  <a:gd name="connsiteY59" fmla="*/ 4541164 h 4936668"/>
                  <a:gd name="connsiteX60" fmla="*/ 4264789 w 9013239"/>
                  <a:gd name="connsiteY60" fmla="*/ 4493512 h 4936668"/>
                  <a:gd name="connsiteX61" fmla="*/ 4321970 w 9013239"/>
                  <a:gd name="connsiteY61" fmla="*/ 4364856 h 4936668"/>
                  <a:gd name="connsiteX62" fmla="*/ 4288614 w 9013239"/>
                  <a:gd name="connsiteY62" fmla="*/ 4417272 h 4936668"/>
                  <a:gd name="connsiteX63" fmla="*/ 4274319 w 9013239"/>
                  <a:gd name="connsiteY63" fmla="*/ 4455392 h 4936668"/>
                  <a:gd name="connsiteX64" fmla="*/ 4269554 w 9013239"/>
                  <a:gd name="connsiteY64" fmla="*/ 4469688 h 4936668"/>
                  <a:gd name="connsiteX65" fmla="*/ 4269554 w 9013239"/>
                  <a:gd name="connsiteY65" fmla="*/ 4450628 h 4936668"/>
                  <a:gd name="connsiteX66" fmla="*/ 4283849 w 9013239"/>
                  <a:gd name="connsiteY66" fmla="*/ 4417272 h 4936668"/>
                  <a:gd name="connsiteX67" fmla="*/ 4307675 w 9013239"/>
                  <a:gd name="connsiteY67" fmla="*/ 4374384 h 4936668"/>
                  <a:gd name="connsiteX68" fmla="*/ 6911818 w 9013239"/>
                  <a:gd name="connsiteY68" fmla="*/ 4360088 h 4936668"/>
                  <a:gd name="connsiteX69" fmla="*/ 6921348 w 9013239"/>
                  <a:gd name="connsiteY69" fmla="*/ 4369620 h 4936668"/>
                  <a:gd name="connsiteX70" fmla="*/ 6926113 w 9013239"/>
                  <a:gd name="connsiteY70" fmla="*/ 4393444 h 4936668"/>
                  <a:gd name="connsiteX71" fmla="*/ 6954704 w 9013239"/>
                  <a:gd name="connsiteY71" fmla="*/ 4460156 h 4936668"/>
                  <a:gd name="connsiteX72" fmla="*/ 6954704 w 9013239"/>
                  <a:gd name="connsiteY72" fmla="*/ 4474452 h 4936668"/>
                  <a:gd name="connsiteX73" fmla="*/ 6940409 w 9013239"/>
                  <a:gd name="connsiteY73" fmla="*/ 4445860 h 4936668"/>
                  <a:gd name="connsiteX74" fmla="*/ 6921348 w 9013239"/>
                  <a:gd name="connsiteY74" fmla="*/ 4398212 h 4936668"/>
                  <a:gd name="connsiteX75" fmla="*/ 4345796 w 9013239"/>
                  <a:gd name="connsiteY75" fmla="*/ 4312436 h 4936668"/>
                  <a:gd name="connsiteX76" fmla="*/ 4350561 w 9013239"/>
                  <a:gd name="connsiteY76" fmla="*/ 4312436 h 4936668"/>
                  <a:gd name="connsiteX77" fmla="*/ 4355326 w 9013239"/>
                  <a:gd name="connsiteY77" fmla="*/ 4317204 h 4936668"/>
                  <a:gd name="connsiteX78" fmla="*/ 4341031 w 9013239"/>
                  <a:gd name="connsiteY78" fmla="*/ 4331496 h 4936668"/>
                  <a:gd name="connsiteX79" fmla="*/ 4326735 w 9013239"/>
                  <a:gd name="connsiteY79" fmla="*/ 4350560 h 4936668"/>
                  <a:gd name="connsiteX80" fmla="*/ 4321970 w 9013239"/>
                  <a:gd name="connsiteY80" fmla="*/ 4350560 h 4936668"/>
                  <a:gd name="connsiteX81" fmla="*/ 4331500 w 9013239"/>
                  <a:gd name="connsiteY81" fmla="*/ 4336264 h 4936668"/>
                  <a:gd name="connsiteX82" fmla="*/ 4331500 w 9013239"/>
                  <a:gd name="connsiteY82" fmla="*/ 4331496 h 4936668"/>
                  <a:gd name="connsiteX83" fmla="*/ 4422038 w 9013239"/>
                  <a:gd name="connsiteY83" fmla="*/ 4269552 h 4936668"/>
                  <a:gd name="connsiteX84" fmla="*/ 4422038 w 9013239"/>
                  <a:gd name="connsiteY84" fmla="*/ 4274316 h 4936668"/>
                  <a:gd name="connsiteX85" fmla="*/ 4398212 w 9013239"/>
                  <a:gd name="connsiteY85" fmla="*/ 4283848 h 4936668"/>
                  <a:gd name="connsiteX86" fmla="*/ 4364856 w 9013239"/>
                  <a:gd name="connsiteY86" fmla="*/ 4307672 h 4936668"/>
                  <a:gd name="connsiteX87" fmla="*/ 4360091 w 9013239"/>
                  <a:gd name="connsiteY87" fmla="*/ 4307672 h 4936668"/>
                  <a:gd name="connsiteX88" fmla="*/ 4369621 w 9013239"/>
                  <a:gd name="connsiteY88" fmla="*/ 4298140 h 4936668"/>
                  <a:gd name="connsiteX89" fmla="*/ 4379152 w 9013239"/>
                  <a:gd name="connsiteY89" fmla="*/ 4293376 h 4936668"/>
                  <a:gd name="connsiteX90" fmla="*/ 4402977 w 9013239"/>
                  <a:gd name="connsiteY90" fmla="*/ 4274316 h 4936668"/>
                  <a:gd name="connsiteX91" fmla="*/ 4412508 w 9013239"/>
                  <a:gd name="connsiteY91" fmla="*/ 4274316 h 4936668"/>
                  <a:gd name="connsiteX92" fmla="*/ 4669825 w 9013239"/>
                  <a:gd name="connsiteY92" fmla="*/ 4093244 h 4936668"/>
                  <a:gd name="connsiteX93" fmla="*/ 4679355 w 9013239"/>
                  <a:gd name="connsiteY93" fmla="*/ 4093244 h 4936668"/>
                  <a:gd name="connsiteX94" fmla="*/ 4665060 w 9013239"/>
                  <a:gd name="connsiteY94" fmla="*/ 4112304 h 4936668"/>
                  <a:gd name="connsiteX95" fmla="*/ 4636469 w 9013239"/>
                  <a:gd name="connsiteY95" fmla="*/ 4131364 h 4936668"/>
                  <a:gd name="connsiteX96" fmla="*/ 4626939 w 9013239"/>
                  <a:gd name="connsiteY96" fmla="*/ 4131364 h 4936668"/>
                  <a:gd name="connsiteX97" fmla="*/ 4660295 w 9013239"/>
                  <a:gd name="connsiteY97" fmla="*/ 4102772 h 4936668"/>
                  <a:gd name="connsiteX98" fmla="*/ 6192283 w 9013239"/>
                  <a:gd name="connsiteY98" fmla="*/ 4040824 h 4936668"/>
                  <a:gd name="connsiteX99" fmla="*/ 6201814 w 9013239"/>
                  <a:gd name="connsiteY99" fmla="*/ 4045592 h 4936668"/>
                  <a:gd name="connsiteX100" fmla="*/ 6182753 w 9013239"/>
                  <a:gd name="connsiteY100" fmla="*/ 4045592 h 4936668"/>
                  <a:gd name="connsiteX101" fmla="*/ 5122511 w 9013239"/>
                  <a:gd name="connsiteY101" fmla="*/ 4040824 h 4936668"/>
                  <a:gd name="connsiteX102" fmla="*/ 5132042 w 9013239"/>
                  <a:gd name="connsiteY102" fmla="*/ 4040824 h 4936668"/>
                  <a:gd name="connsiteX103" fmla="*/ 5141572 w 9013239"/>
                  <a:gd name="connsiteY103" fmla="*/ 4050356 h 4936668"/>
                  <a:gd name="connsiteX104" fmla="*/ 5146337 w 9013239"/>
                  <a:gd name="connsiteY104" fmla="*/ 4050356 h 4936668"/>
                  <a:gd name="connsiteX105" fmla="*/ 5146337 w 9013239"/>
                  <a:gd name="connsiteY105" fmla="*/ 4055120 h 4936668"/>
                  <a:gd name="connsiteX106" fmla="*/ 5146337 w 9013239"/>
                  <a:gd name="connsiteY106" fmla="*/ 4059884 h 4936668"/>
                  <a:gd name="connsiteX107" fmla="*/ 5141572 w 9013239"/>
                  <a:gd name="connsiteY107" fmla="*/ 4064652 h 4936668"/>
                  <a:gd name="connsiteX108" fmla="*/ 5136807 w 9013239"/>
                  <a:gd name="connsiteY108" fmla="*/ 4069416 h 4936668"/>
                  <a:gd name="connsiteX109" fmla="*/ 5108216 w 9013239"/>
                  <a:gd name="connsiteY109" fmla="*/ 4055120 h 4936668"/>
                  <a:gd name="connsiteX110" fmla="*/ 5108216 w 9013239"/>
                  <a:gd name="connsiteY110" fmla="*/ 4045592 h 4936668"/>
                  <a:gd name="connsiteX111" fmla="*/ 6230405 w 9013239"/>
                  <a:gd name="connsiteY111" fmla="*/ 4026532 h 4936668"/>
                  <a:gd name="connsiteX112" fmla="*/ 6244700 w 9013239"/>
                  <a:gd name="connsiteY112" fmla="*/ 4026532 h 4936668"/>
                  <a:gd name="connsiteX113" fmla="*/ 6216109 w 9013239"/>
                  <a:gd name="connsiteY113" fmla="*/ 4040824 h 4936668"/>
                  <a:gd name="connsiteX114" fmla="*/ 6201814 w 9013239"/>
                  <a:gd name="connsiteY114" fmla="*/ 4045592 h 4936668"/>
                  <a:gd name="connsiteX115" fmla="*/ 6220874 w 9013239"/>
                  <a:gd name="connsiteY115" fmla="*/ 4036060 h 4936668"/>
                  <a:gd name="connsiteX116" fmla="*/ 5594259 w 9013239"/>
                  <a:gd name="connsiteY116" fmla="*/ 4026532 h 4936668"/>
                  <a:gd name="connsiteX117" fmla="*/ 5589494 w 9013239"/>
                  <a:gd name="connsiteY117" fmla="*/ 4040828 h 4936668"/>
                  <a:gd name="connsiteX118" fmla="*/ 5589494 w 9013239"/>
                  <a:gd name="connsiteY118" fmla="*/ 4036060 h 4936668"/>
                  <a:gd name="connsiteX119" fmla="*/ 5599025 w 9013239"/>
                  <a:gd name="connsiteY119" fmla="*/ 3969348 h 4936668"/>
                  <a:gd name="connsiteX120" fmla="*/ 5603790 w 9013239"/>
                  <a:gd name="connsiteY120" fmla="*/ 3978880 h 4936668"/>
                  <a:gd name="connsiteX121" fmla="*/ 5608555 w 9013239"/>
                  <a:gd name="connsiteY121" fmla="*/ 3988408 h 4936668"/>
                  <a:gd name="connsiteX122" fmla="*/ 5603790 w 9013239"/>
                  <a:gd name="connsiteY122" fmla="*/ 4012232 h 4936668"/>
                  <a:gd name="connsiteX123" fmla="*/ 5603790 w 9013239"/>
                  <a:gd name="connsiteY123" fmla="*/ 3988408 h 4936668"/>
                  <a:gd name="connsiteX124" fmla="*/ 5551374 w 9013239"/>
                  <a:gd name="connsiteY124" fmla="*/ 3945524 h 4936668"/>
                  <a:gd name="connsiteX125" fmla="*/ 5546609 w 9013239"/>
                  <a:gd name="connsiteY125" fmla="*/ 3955052 h 4936668"/>
                  <a:gd name="connsiteX126" fmla="*/ 5541844 w 9013239"/>
                  <a:gd name="connsiteY126" fmla="*/ 3964584 h 4936668"/>
                  <a:gd name="connsiteX127" fmla="*/ 5546609 w 9013239"/>
                  <a:gd name="connsiteY127" fmla="*/ 3969348 h 4936668"/>
                  <a:gd name="connsiteX128" fmla="*/ 5537078 w 9013239"/>
                  <a:gd name="connsiteY128" fmla="*/ 3964584 h 4936668"/>
                  <a:gd name="connsiteX129" fmla="*/ 5532313 w 9013239"/>
                  <a:gd name="connsiteY129" fmla="*/ 3964584 h 4936668"/>
                  <a:gd name="connsiteX130" fmla="*/ 5532313 w 9013239"/>
                  <a:gd name="connsiteY130" fmla="*/ 3959820 h 4936668"/>
                  <a:gd name="connsiteX131" fmla="*/ 5537078 w 9013239"/>
                  <a:gd name="connsiteY131" fmla="*/ 3955052 h 4936668"/>
                  <a:gd name="connsiteX132" fmla="*/ 5622850 w 9013239"/>
                  <a:gd name="connsiteY132" fmla="*/ 3931228 h 4936668"/>
                  <a:gd name="connsiteX133" fmla="*/ 5646676 w 9013239"/>
                  <a:gd name="connsiteY133" fmla="*/ 3935992 h 4936668"/>
                  <a:gd name="connsiteX134" fmla="*/ 5646676 w 9013239"/>
                  <a:gd name="connsiteY134" fmla="*/ 3940756 h 4936668"/>
                  <a:gd name="connsiteX135" fmla="*/ 5632380 w 9013239"/>
                  <a:gd name="connsiteY135" fmla="*/ 3935992 h 4936668"/>
                  <a:gd name="connsiteX136" fmla="*/ 5718153 w 9013239"/>
                  <a:gd name="connsiteY136" fmla="*/ 3926464 h 4936668"/>
                  <a:gd name="connsiteX137" fmla="*/ 5722918 w 9013239"/>
                  <a:gd name="connsiteY137" fmla="*/ 3931228 h 4936668"/>
                  <a:gd name="connsiteX138" fmla="*/ 5708623 w 9013239"/>
                  <a:gd name="connsiteY138" fmla="*/ 3935992 h 4936668"/>
                  <a:gd name="connsiteX139" fmla="*/ 5689562 w 9013239"/>
                  <a:gd name="connsiteY139" fmla="*/ 3935992 h 4936668"/>
                  <a:gd name="connsiteX140" fmla="*/ 5684797 w 9013239"/>
                  <a:gd name="connsiteY140" fmla="*/ 3931228 h 4936668"/>
                  <a:gd name="connsiteX141" fmla="*/ 5694327 w 9013239"/>
                  <a:gd name="connsiteY141" fmla="*/ 3931228 h 4936668"/>
                  <a:gd name="connsiteX142" fmla="*/ 6759333 w 9013239"/>
                  <a:gd name="connsiteY142" fmla="*/ 3802568 h 4936668"/>
                  <a:gd name="connsiteX143" fmla="*/ 6754568 w 9013239"/>
                  <a:gd name="connsiteY143" fmla="*/ 3845456 h 4936668"/>
                  <a:gd name="connsiteX144" fmla="*/ 6749803 w 9013239"/>
                  <a:gd name="connsiteY144" fmla="*/ 3831160 h 4936668"/>
                  <a:gd name="connsiteX145" fmla="*/ 6749803 w 9013239"/>
                  <a:gd name="connsiteY145" fmla="*/ 3812100 h 4936668"/>
                  <a:gd name="connsiteX146" fmla="*/ 6754568 w 9013239"/>
                  <a:gd name="connsiteY146" fmla="*/ 3807336 h 4936668"/>
                  <a:gd name="connsiteX147" fmla="*/ 962556 w 9013239"/>
                  <a:gd name="connsiteY147" fmla="*/ 3421360 h 4936668"/>
                  <a:gd name="connsiteX148" fmla="*/ 972086 w 9013239"/>
                  <a:gd name="connsiteY148" fmla="*/ 3435656 h 4936668"/>
                  <a:gd name="connsiteX149" fmla="*/ 991147 w 9013239"/>
                  <a:gd name="connsiteY149" fmla="*/ 3454716 h 4936668"/>
                  <a:gd name="connsiteX150" fmla="*/ 995912 w 9013239"/>
                  <a:gd name="connsiteY150" fmla="*/ 3459480 h 4936668"/>
                  <a:gd name="connsiteX151" fmla="*/ 986382 w 9013239"/>
                  <a:gd name="connsiteY151" fmla="*/ 3459480 h 4936668"/>
                  <a:gd name="connsiteX152" fmla="*/ 976851 w 9013239"/>
                  <a:gd name="connsiteY152" fmla="*/ 3459480 h 4936668"/>
                  <a:gd name="connsiteX153" fmla="*/ 967321 w 9013239"/>
                  <a:gd name="connsiteY153" fmla="*/ 3440420 h 4936668"/>
                  <a:gd name="connsiteX154" fmla="*/ 957791 w 9013239"/>
                  <a:gd name="connsiteY154" fmla="*/ 3426126 h 4936668"/>
                  <a:gd name="connsiteX155" fmla="*/ 800541 w 9013239"/>
                  <a:gd name="connsiteY155" fmla="*/ 3373708 h 4936668"/>
                  <a:gd name="connsiteX156" fmla="*/ 810071 w 9013239"/>
                  <a:gd name="connsiteY156" fmla="*/ 3373708 h 4936668"/>
                  <a:gd name="connsiteX157" fmla="*/ 819602 w 9013239"/>
                  <a:gd name="connsiteY157" fmla="*/ 3378472 h 4936668"/>
                  <a:gd name="connsiteX158" fmla="*/ 824367 w 9013239"/>
                  <a:gd name="connsiteY158" fmla="*/ 3383238 h 4936668"/>
                  <a:gd name="connsiteX159" fmla="*/ 824367 w 9013239"/>
                  <a:gd name="connsiteY159" fmla="*/ 3388004 h 4936668"/>
                  <a:gd name="connsiteX160" fmla="*/ 819602 w 9013239"/>
                  <a:gd name="connsiteY160" fmla="*/ 3388004 h 4936668"/>
                  <a:gd name="connsiteX161" fmla="*/ 810071 w 9013239"/>
                  <a:gd name="connsiteY161" fmla="*/ 3383238 h 4936668"/>
                  <a:gd name="connsiteX162" fmla="*/ 957791 w 9013239"/>
                  <a:gd name="connsiteY162" fmla="*/ 3340352 h 4936668"/>
                  <a:gd name="connsiteX163" fmla="*/ 962556 w 9013239"/>
                  <a:gd name="connsiteY163" fmla="*/ 3340352 h 4936668"/>
                  <a:gd name="connsiteX164" fmla="*/ 986382 w 9013239"/>
                  <a:gd name="connsiteY164" fmla="*/ 3349882 h 4936668"/>
                  <a:gd name="connsiteX165" fmla="*/ 995912 w 9013239"/>
                  <a:gd name="connsiteY165" fmla="*/ 3354648 h 4936668"/>
                  <a:gd name="connsiteX166" fmla="*/ 1000677 w 9013239"/>
                  <a:gd name="connsiteY166" fmla="*/ 3368944 h 4936668"/>
                  <a:gd name="connsiteX167" fmla="*/ 991147 w 9013239"/>
                  <a:gd name="connsiteY167" fmla="*/ 3368944 h 4936668"/>
                  <a:gd name="connsiteX168" fmla="*/ 976851 w 9013239"/>
                  <a:gd name="connsiteY168" fmla="*/ 3368944 h 4936668"/>
                  <a:gd name="connsiteX169" fmla="*/ 976851 w 9013239"/>
                  <a:gd name="connsiteY169" fmla="*/ 3359412 h 4936668"/>
                  <a:gd name="connsiteX170" fmla="*/ 972086 w 9013239"/>
                  <a:gd name="connsiteY170" fmla="*/ 3349882 h 4936668"/>
                  <a:gd name="connsiteX171" fmla="*/ 962556 w 9013239"/>
                  <a:gd name="connsiteY171" fmla="*/ 3345118 h 4936668"/>
                  <a:gd name="connsiteX172" fmla="*/ 695709 w 9013239"/>
                  <a:gd name="connsiteY172" fmla="*/ 3235520 h 4936668"/>
                  <a:gd name="connsiteX173" fmla="*/ 724300 w 9013239"/>
                  <a:gd name="connsiteY173" fmla="*/ 3235520 h 4936668"/>
                  <a:gd name="connsiteX174" fmla="*/ 738595 w 9013239"/>
                  <a:gd name="connsiteY174" fmla="*/ 3245050 h 4936668"/>
                  <a:gd name="connsiteX175" fmla="*/ 729065 w 9013239"/>
                  <a:gd name="connsiteY175" fmla="*/ 3254580 h 4936668"/>
                  <a:gd name="connsiteX176" fmla="*/ 719535 w 9013239"/>
                  <a:gd name="connsiteY176" fmla="*/ 3259346 h 4936668"/>
                  <a:gd name="connsiteX177" fmla="*/ 710004 w 9013239"/>
                  <a:gd name="connsiteY177" fmla="*/ 3254580 h 4936668"/>
                  <a:gd name="connsiteX178" fmla="*/ 748125 w 9013239"/>
                  <a:gd name="connsiteY178" fmla="*/ 3225988 h 4936668"/>
                  <a:gd name="connsiteX179" fmla="*/ 752890 w 9013239"/>
                  <a:gd name="connsiteY179" fmla="*/ 3225988 h 4936668"/>
                  <a:gd name="connsiteX180" fmla="*/ 786246 w 9013239"/>
                  <a:gd name="connsiteY180" fmla="*/ 3235520 h 4936668"/>
                  <a:gd name="connsiteX181" fmla="*/ 805307 w 9013239"/>
                  <a:gd name="connsiteY181" fmla="*/ 3230754 h 4936668"/>
                  <a:gd name="connsiteX182" fmla="*/ 805307 w 9013239"/>
                  <a:gd name="connsiteY182" fmla="*/ 3235520 h 4936668"/>
                  <a:gd name="connsiteX183" fmla="*/ 805307 w 9013239"/>
                  <a:gd name="connsiteY183" fmla="*/ 3240284 h 4936668"/>
                  <a:gd name="connsiteX184" fmla="*/ 767186 w 9013239"/>
                  <a:gd name="connsiteY184" fmla="*/ 3245050 h 4936668"/>
                  <a:gd name="connsiteX185" fmla="*/ 752890 w 9013239"/>
                  <a:gd name="connsiteY185" fmla="*/ 3240284 h 4936668"/>
                  <a:gd name="connsiteX186" fmla="*/ 752890 w 9013239"/>
                  <a:gd name="connsiteY186" fmla="*/ 3235520 h 4936668"/>
                  <a:gd name="connsiteX187" fmla="*/ 681414 w 9013239"/>
                  <a:gd name="connsiteY187" fmla="*/ 3225988 h 4936668"/>
                  <a:gd name="connsiteX188" fmla="*/ 681414 w 9013239"/>
                  <a:gd name="connsiteY188" fmla="*/ 3230754 h 4936668"/>
                  <a:gd name="connsiteX189" fmla="*/ 686179 w 9013239"/>
                  <a:gd name="connsiteY189" fmla="*/ 3235520 h 4936668"/>
                  <a:gd name="connsiteX190" fmla="*/ 681414 w 9013239"/>
                  <a:gd name="connsiteY190" fmla="*/ 3235520 h 4936668"/>
                  <a:gd name="connsiteX191" fmla="*/ 667118 w 9013239"/>
                  <a:gd name="connsiteY191" fmla="*/ 3235520 h 4936668"/>
                  <a:gd name="connsiteX192" fmla="*/ 671883 w 9013239"/>
                  <a:gd name="connsiteY192" fmla="*/ 3230754 h 4936668"/>
                  <a:gd name="connsiteX193" fmla="*/ 7502694 w 9013239"/>
                  <a:gd name="connsiteY193" fmla="*/ 3106860 h 4936668"/>
                  <a:gd name="connsiteX194" fmla="*/ 7507459 w 9013239"/>
                  <a:gd name="connsiteY194" fmla="*/ 3106860 h 4936668"/>
                  <a:gd name="connsiteX195" fmla="*/ 7521755 w 9013239"/>
                  <a:gd name="connsiteY195" fmla="*/ 3116392 h 4936668"/>
                  <a:gd name="connsiteX196" fmla="*/ 7516990 w 9013239"/>
                  <a:gd name="connsiteY196" fmla="*/ 3116392 h 4936668"/>
                  <a:gd name="connsiteX197" fmla="*/ 7512225 w 9013239"/>
                  <a:gd name="connsiteY197" fmla="*/ 3116392 h 4936668"/>
                  <a:gd name="connsiteX198" fmla="*/ 7502694 w 9013239"/>
                  <a:gd name="connsiteY198" fmla="*/ 3111624 h 4936668"/>
                  <a:gd name="connsiteX199" fmla="*/ 7574170 w 9013239"/>
                  <a:gd name="connsiteY199" fmla="*/ 3063976 h 4936668"/>
                  <a:gd name="connsiteX200" fmla="*/ 7550345 w 9013239"/>
                  <a:gd name="connsiteY200" fmla="*/ 3087800 h 4936668"/>
                  <a:gd name="connsiteX201" fmla="*/ 7526519 w 9013239"/>
                  <a:gd name="connsiteY201" fmla="*/ 3121156 h 4936668"/>
                  <a:gd name="connsiteX202" fmla="*/ 7540814 w 9013239"/>
                  <a:gd name="connsiteY202" fmla="*/ 3097332 h 4936668"/>
                  <a:gd name="connsiteX203" fmla="*/ 7564640 w 9013239"/>
                  <a:gd name="connsiteY203" fmla="*/ 3068740 h 4936668"/>
                  <a:gd name="connsiteX204" fmla="*/ 7626587 w 9013239"/>
                  <a:gd name="connsiteY204" fmla="*/ 3016324 h 4936668"/>
                  <a:gd name="connsiteX205" fmla="*/ 7640883 w 9013239"/>
                  <a:gd name="connsiteY205" fmla="*/ 3016324 h 4936668"/>
                  <a:gd name="connsiteX206" fmla="*/ 7612291 w 9013239"/>
                  <a:gd name="connsiteY206" fmla="*/ 3025852 h 4936668"/>
                  <a:gd name="connsiteX207" fmla="*/ 7607526 w 9013239"/>
                  <a:gd name="connsiteY207" fmla="*/ 3025852 h 4936668"/>
                  <a:gd name="connsiteX208" fmla="*/ 7683769 w 9013239"/>
                  <a:gd name="connsiteY208" fmla="*/ 2901960 h 4936668"/>
                  <a:gd name="connsiteX209" fmla="*/ 7688533 w 9013239"/>
                  <a:gd name="connsiteY209" fmla="*/ 2911492 h 4936668"/>
                  <a:gd name="connsiteX210" fmla="*/ 7693299 w 9013239"/>
                  <a:gd name="connsiteY210" fmla="*/ 2940080 h 4936668"/>
                  <a:gd name="connsiteX211" fmla="*/ 7688533 w 9013239"/>
                  <a:gd name="connsiteY211" fmla="*/ 2963908 h 4936668"/>
                  <a:gd name="connsiteX212" fmla="*/ 7683769 w 9013239"/>
                  <a:gd name="connsiteY212" fmla="*/ 2997264 h 4936668"/>
                  <a:gd name="connsiteX213" fmla="*/ 7679003 w 9013239"/>
                  <a:gd name="connsiteY213" fmla="*/ 3006792 h 4936668"/>
                  <a:gd name="connsiteX214" fmla="*/ 7655179 w 9013239"/>
                  <a:gd name="connsiteY214" fmla="*/ 3011560 h 4936668"/>
                  <a:gd name="connsiteX215" fmla="*/ 7655179 w 9013239"/>
                  <a:gd name="connsiteY215" fmla="*/ 3006792 h 4936668"/>
                  <a:gd name="connsiteX216" fmla="*/ 7679003 w 9013239"/>
                  <a:gd name="connsiteY216" fmla="*/ 2997264 h 4936668"/>
                  <a:gd name="connsiteX217" fmla="*/ 7688533 w 9013239"/>
                  <a:gd name="connsiteY217" fmla="*/ 2959140 h 4936668"/>
                  <a:gd name="connsiteX218" fmla="*/ 7688533 w 9013239"/>
                  <a:gd name="connsiteY218" fmla="*/ 2940080 h 4936668"/>
                  <a:gd name="connsiteX219" fmla="*/ 7683769 w 9013239"/>
                  <a:gd name="connsiteY219" fmla="*/ 2911492 h 4936668"/>
                  <a:gd name="connsiteX220" fmla="*/ 7650413 w 9013239"/>
                  <a:gd name="connsiteY220" fmla="*/ 2868604 h 4936668"/>
                  <a:gd name="connsiteX221" fmla="*/ 7659943 w 9013239"/>
                  <a:gd name="connsiteY221" fmla="*/ 2878136 h 4936668"/>
                  <a:gd name="connsiteX222" fmla="*/ 7664707 w 9013239"/>
                  <a:gd name="connsiteY222" fmla="*/ 2882900 h 4936668"/>
                  <a:gd name="connsiteX223" fmla="*/ 7664707 w 9013239"/>
                  <a:gd name="connsiteY223" fmla="*/ 2887664 h 4936668"/>
                  <a:gd name="connsiteX224" fmla="*/ 7659943 w 9013239"/>
                  <a:gd name="connsiteY224" fmla="*/ 2892432 h 4936668"/>
                  <a:gd name="connsiteX225" fmla="*/ 7745715 w 9013239"/>
                  <a:gd name="connsiteY225" fmla="*/ 2406388 h 4936668"/>
                  <a:gd name="connsiteX226" fmla="*/ 7740949 w 9013239"/>
                  <a:gd name="connsiteY226" fmla="*/ 2430212 h 4936668"/>
                  <a:gd name="connsiteX227" fmla="*/ 7731419 w 9013239"/>
                  <a:gd name="connsiteY227" fmla="*/ 2454040 h 4936668"/>
                  <a:gd name="connsiteX228" fmla="*/ 7712359 w 9013239"/>
                  <a:gd name="connsiteY228" fmla="*/ 2487392 h 4936668"/>
                  <a:gd name="connsiteX229" fmla="*/ 7702829 w 9013239"/>
                  <a:gd name="connsiteY229" fmla="*/ 2492160 h 4936668"/>
                  <a:gd name="connsiteX230" fmla="*/ 7726655 w 9013239"/>
                  <a:gd name="connsiteY230" fmla="*/ 2454040 h 4936668"/>
                  <a:gd name="connsiteX231" fmla="*/ 7740949 w 9013239"/>
                  <a:gd name="connsiteY231" fmla="*/ 2420684 h 4936668"/>
                  <a:gd name="connsiteX232" fmla="*/ 7902965 w 9013239"/>
                  <a:gd name="connsiteY232" fmla="*/ 2115716 h 4936668"/>
                  <a:gd name="connsiteX233" fmla="*/ 7898199 w 9013239"/>
                  <a:gd name="connsiteY233" fmla="*/ 2130008 h 4936668"/>
                  <a:gd name="connsiteX234" fmla="*/ 7879139 w 9013239"/>
                  <a:gd name="connsiteY234" fmla="*/ 2163364 h 4936668"/>
                  <a:gd name="connsiteX235" fmla="*/ 7879139 w 9013239"/>
                  <a:gd name="connsiteY235" fmla="*/ 2158600 h 4936668"/>
                  <a:gd name="connsiteX236" fmla="*/ 7879139 w 9013239"/>
                  <a:gd name="connsiteY236" fmla="*/ 2153836 h 4936668"/>
                  <a:gd name="connsiteX237" fmla="*/ 7902965 w 9013239"/>
                  <a:gd name="connsiteY237" fmla="*/ 1929876 h 4936668"/>
                  <a:gd name="connsiteX238" fmla="*/ 7907731 w 9013239"/>
                  <a:gd name="connsiteY238" fmla="*/ 1934640 h 4936668"/>
                  <a:gd name="connsiteX239" fmla="*/ 7907731 w 9013239"/>
                  <a:gd name="connsiteY239" fmla="*/ 1939404 h 4936668"/>
                  <a:gd name="connsiteX240" fmla="*/ 7907731 w 9013239"/>
                  <a:gd name="connsiteY240" fmla="*/ 1944168 h 4936668"/>
                  <a:gd name="connsiteX241" fmla="*/ 7898199 w 9013239"/>
                  <a:gd name="connsiteY241" fmla="*/ 1953700 h 4936668"/>
                  <a:gd name="connsiteX242" fmla="*/ 7888669 w 9013239"/>
                  <a:gd name="connsiteY242" fmla="*/ 1958464 h 4936668"/>
                  <a:gd name="connsiteX243" fmla="*/ 7883903 w 9013239"/>
                  <a:gd name="connsiteY243" fmla="*/ 1958464 h 4936668"/>
                  <a:gd name="connsiteX244" fmla="*/ 7888669 w 9013239"/>
                  <a:gd name="connsiteY244" fmla="*/ 1939404 h 4936668"/>
                  <a:gd name="connsiteX245" fmla="*/ 8188873 w 9013239"/>
                  <a:gd name="connsiteY245" fmla="*/ 1829808 h 4936668"/>
                  <a:gd name="connsiteX246" fmla="*/ 8165047 w 9013239"/>
                  <a:gd name="connsiteY246" fmla="*/ 1853632 h 4936668"/>
                  <a:gd name="connsiteX247" fmla="*/ 8150751 w 9013239"/>
                  <a:gd name="connsiteY247" fmla="*/ 1863160 h 4936668"/>
                  <a:gd name="connsiteX248" fmla="*/ 8141221 w 9013239"/>
                  <a:gd name="connsiteY248" fmla="*/ 1877456 h 4936668"/>
                  <a:gd name="connsiteX249" fmla="*/ 8150751 w 9013239"/>
                  <a:gd name="connsiteY249" fmla="*/ 1877456 h 4936668"/>
                  <a:gd name="connsiteX250" fmla="*/ 8160281 w 9013239"/>
                  <a:gd name="connsiteY250" fmla="*/ 1872692 h 4936668"/>
                  <a:gd name="connsiteX251" fmla="*/ 8169811 w 9013239"/>
                  <a:gd name="connsiteY251" fmla="*/ 1867928 h 4936668"/>
                  <a:gd name="connsiteX252" fmla="*/ 8188873 w 9013239"/>
                  <a:gd name="connsiteY252" fmla="*/ 1853632 h 4936668"/>
                  <a:gd name="connsiteX253" fmla="*/ 8203167 w 9013239"/>
                  <a:gd name="connsiteY253" fmla="*/ 1848868 h 4936668"/>
                  <a:gd name="connsiteX254" fmla="*/ 8207933 w 9013239"/>
                  <a:gd name="connsiteY254" fmla="*/ 1848868 h 4936668"/>
                  <a:gd name="connsiteX255" fmla="*/ 8217463 w 9013239"/>
                  <a:gd name="connsiteY255" fmla="*/ 1858396 h 4936668"/>
                  <a:gd name="connsiteX256" fmla="*/ 8231759 w 9013239"/>
                  <a:gd name="connsiteY256" fmla="*/ 1848868 h 4936668"/>
                  <a:gd name="connsiteX257" fmla="*/ 8246055 w 9013239"/>
                  <a:gd name="connsiteY257" fmla="*/ 1848868 h 4936668"/>
                  <a:gd name="connsiteX258" fmla="*/ 8179343 w 9013239"/>
                  <a:gd name="connsiteY258" fmla="*/ 1882224 h 4936668"/>
                  <a:gd name="connsiteX259" fmla="*/ 8165047 w 9013239"/>
                  <a:gd name="connsiteY259" fmla="*/ 1886988 h 4936668"/>
                  <a:gd name="connsiteX260" fmla="*/ 8145987 w 9013239"/>
                  <a:gd name="connsiteY260" fmla="*/ 1896516 h 4936668"/>
                  <a:gd name="connsiteX261" fmla="*/ 8126925 w 9013239"/>
                  <a:gd name="connsiteY261" fmla="*/ 1901284 h 4936668"/>
                  <a:gd name="connsiteX262" fmla="*/ 8112631 w 9013239"/>
                  <a:gd name="connsiteY262" fmla="*/ 1906048 h 4936668"/>
                  <a:gd name="connsiteX263" fmla="*/ 8045919 w 9013239"/>
                  <a:gd name="connsiteY263" fmla="*/ 1929872 h 4936668"/>
                  <a:gd name="connsiteX264" fmla="*/ 8041153 w 9013239"/>
                  <a:gd name="connsiteY264" fmla="*/ 1929872 h 4936668"/>
                  <a:gd name="connsiteX265" fmla="*/ 8031623 w 9013239"/>
                  <a:gd name="connsiteY265" fmla="*/ 1929872 h 4936668"/>
                  <a:gd name="connsiteX266" fmla="*/ 7979207 w 9013239"/>
                  <a:gd name="connsiteY266" fmla="*/ 1944168 h 4936668"/>
                  <a:gd name="connsiteX267" fmla="*/ 7955381 w 9013239"/>
                  <a:gd name="connsiteY267" fmla="*/ 1944168 h 4936668"/>
                  <a:gd name="connsiteX268" fmla="*/ 7936321 w 9013239"/>
                  <a:gd name="connsiteY268" fmla="*/ 1948936 h 4936668"/>
                  <a:gd name="connsiteX269" fmla="*/ 7950617 w 9013239"/>
                  <a:gd name="connsiteY269" fmla="*/ 1939404 h 4936668"/>
                  <a:gd name="connsiteX270" fmla="*/ 7950617 w 9013239"/>
                  <a:gd name="connsiteY270" fmla="*/ 1934640 h 4936668"/>
                  <a:gd name="connsiteX271" fmla="*/ 7945851 w 9013239"/>
                  <a:gd name="connsiteY271" fmla="*/ 1929872 h 4936668"/>
                  <a:gd name="connsiteX272" fmla="*/ 7936321 w 9013239"/>
                  <a:gd name="connsiteY272" fmla="*/ 1929872 h 4936668"/>
                  <a:gd name="connsiteX273" fmla="*/ 7931555 w 9013239"/>
                  <a:gd name="connsiteY273" fmla="*/ 1944168 h 4936668"/>
                  <a:gd name="connsiteX274" fmla="*/ 7917261 w 9013239"/>
                  <a:gd name="connsiteY274" fmla="*/ 1948936 h 4936668"/>
                  <a:gd name="connsiteX275" fmla="*/ 7912495 w 9013239"/>
                  <a:gd name="connsiteY275" fmla="*/ 1934640 h 4936668"/>
                  <a:gd name="connsiteX276" fmla="*/ 7917261 w 9013239"/>
                  <a:gd name="connsiteY276" fmla="*/ 1925108 h 4936668"/>
                  <a:gd name="connsiteX277" fmla="*/ 7926791 w 9013239"/>
                  <a:gd name="connsiteY277" fmla="*/ 1915580 h 4936668"/>
                  <a:gd name="connsiteX278" fmla="*/ 7936321 w 9013239"/>
                  <a:gd name="connsiteY278" fmla="*/ 1901284 h 4936668"/>
                  <a:gd name="connsiteX279" fmla="*/ 7955381 w 9013239"/>
                  <a:gd name="connsiteY279" fmla="*/ 1896516 h 4936668"/>
                  <a:gd name="connsiteX280" fmla="*/ 7964911 w 9013239"/>
                  <a:gd name="connsiteY280" fmla="*/ 1886988 h 4936668"/>
                  <a:gd name="connsiteX281" fmla="*/ 7974441 w 9013239"/>
                  <a:gd name="connsiteY281" fmla="*/ 1891752 h 4936668"/>
                  <a:gd name="connsiteX282" fmla="*/ 7974441 w 9013239"/>
                  <a:gd name="connsiteY282" fmla="*/ 1882224 h 4936668"/>
                  <a:gd name="connsiteX283" fmla="*/ 7979207 w 9013239"/>
                  <a:gd name="connsiteY283" fmla="*/ 1877456 h 4936668"/>
                  <a:gd name="connsiteX284" fmla="*/ 7983971 w 9013239"/>
                  <a:gd name="connsiteY284" fmla="*/ 1877456 h 4936668"/>
                  <a:gd name="connsiteX285" fmla="*/ 7998267 w 9013239"/>
                  <a:gd name="connsiteY285" fmla="*/ 1877456 h 4936668"/>
                  <a:gd name="connsiteX286" fmla="*/ 8007797 w 9013239"/>
                  <a:gd name="connsiteY286" fmla="*/ 1877456 h 4936668"/>
                  <a:gd name="connsiteX287" fmla="*/ 8012563 w 9013239"/>
                  <a:gd name="connsiteY287" fmla="*/ 1872692 h 4936668"/>
                  <a:gd name="connsiteX288" fmla="*/ 8017327 w 9013239"/>
                  <a:gd name="connsiteY288" fmla="*/ 1872692 h 4936668"/>
                  <a:gd name="connsiteX289" fmla="*/ 8031623 w 9013239"/>
                  <a:gd name="connsiteY289" fmla="*/ 1877456 h 4936668"/>
                  <a:gd name="connsiteX290" fmla="*/ 8045919 w 9013239"/>
                  <a:gd name="connsiteY290" fmla="*/ 1872692 h 4936668"/>
                  <a:gd name="connsiteX291" fmla="*/ 8060213 w 9013239"/>
                  <a:gd name="connsiteY291" fmla="*/ 1867928 h 4936668"/>
                  <a:gd name="connsiteX292" fmla="*/ 8069745 w 9013239"/>
                  <a:gd name="connsiteY292" fmla="*/ 1867928 h 4936668"/>
                  <a:gd name="connsiteX293" fmla="*/ 8103101 w 9013239"/>
                  <a:gd name="connsiteY293" fmla="*/ 1867928 h 4936668"/>
                  <a:gd name="connsiteX294" fmla="*/ 8131691 w 9013239"/>
                  <a:gd name="connsiteY294" fmla="*/ 1863160 h 4936668"/>
                  <a:gd name="connsiteX295" fmla="*/ 8145987 w 9013239"/>
                  <a:gd name="connsiteY295" fmla="*/ 1853632 h 4936668"/>
                  <a:gd name="connsiteX296" fmla="*/ 8174577 w 9013239"/>
                  <a:gd name="connsiteY296" fmla="*/ 1834572 h 4936668"/>
                  <a:gd name="connsiteX297" fmla="*/ 8536725 w 9013239"/>
                  <a:gd name="connsiteY297" fmla="*/ 1777392 h 4936668"/>
                  <a:gd name="connsiteX298" fmla="*/ 8546255 w 9013239"/>
                  <a:gd name="connsiteY298" fmla="*/ 1796452 h 4936668"/>
                  <a:gd name="connsiteX299" fmla="*/ 8546255 w 9013239"/>
                  <a:gd name="connsiteY299" fmla="*/ 1805980 h 4936668"/>
                  <a:gd name="connsiteX300" fmla="*/ 8536725 w 9013239"/>
                  <a:gd name="connsiteY300" fmla="*/ 1810748 h 4936668"/>
                  <a:gd name="connsiteX301" fmla="*/ 8508135 w 9013239"/>
                  <a:gd name="connsiteY301" fmla="*/ 1801216 h 4936668"/>
                  <a:gd name="connsiteX302" fmla="*/ 8531961 w 9013239"/>
                  <a:gd name="connsiteY302" fmla="*/ 1796452 h 4936668"/>
                  <a:gd name="connsiteX303" fmla="*/ 8536725 w 9013239"/>
                  <a:gd name="connsiteY303" fmla="*/ 1791684 h 4936668"/>
                  <a:gd name="connsiteX304" fmla="*/ 8536725 w 9013239"/>
                  <a:gd name="connsiteY304" fmla="*/ 1782156 h 4936668"/>
                  <a:gd name="connsiteX305" fmla="*/ 8446189 w 9013239"/>
                  <a:gd name="connsiteY305" fmla="*/ 1763096 h 4936668"/>
                  <a:gd name="connsiteX306" fmla="*/ 8460483 w 9013239"/>
                  <a:gd name="connsiteY306" fmla="*/ 1772624 h 4936668"/>
                  <a:gd name="connsiteX307" fmla="*/ 8465249 w 9013239"/>
                  <a:gd name="connsiteY307" fmla="*/ 1782156 h 4936668"/>
                  <a:gd name="connsiteX308" fmla="*/ 8422363 w 9013239"/>
                  <a:gd name="connsiteY308" fmla="*/ 1791684 h 4936668"/>
                  <a:gd name="connsiteX309" fmla="*/ 8412833 w 9013239"/>
                  <a:gd name="connsiteY309" fmla="*/ 1786920 h 4936668"/>
                  <a:gd name="connsiteX310" fmla="*/ 8427129 w 9013239"/>
                  <a:gd name="connsiteY310" fmla="*/ 1782156 h 4936668"/>
                  <a:gd name="connsiteX311" fmla="*/ 8436659 w 9013239"/>
                  <a:gd name="connsiteY311" fmla="*/ 1767860 h 4936668"/>
                  <a:gd name="connsiteX312" fmla="*/ 8327061 w 9013239"/>
                  <a:gd name="connsiteY312" fmla="*/ 1739268 h 4936668"/>
                  <a:gd name="connsiteX313" fmla="*/ 8331827 w 9013239"/>
                  <a:gd name="connsiteY313" fmla="*/ 1739268 h 4936668"/>
                  <a:gd name="connsiteX314" fmla="*/ 8331827 w 9013239"/>
                  <a:gd name="connsiteY314" fmla="*/ 1748800 h 4936668"/>
                  <a:gd name="connsiteX315" fmla="*/ 8331827 w 9013239"/>
                  <a:gd name="connsiteY315" fmla="*/ 1758328 h 4936668"/>
                  <a:gd name="connsiteX316" fmla="*/ 8327061 w 9013239"/>
                  <a:gd name="connsiteY316" fmla="*/ 1763096 h 4936668"/>
                  <a:gd name="connsiteX317" fmla="*/ 8327061 w 9013239"/>
                  <a:gd name="connsiteY317" fmla="*/ 1753564 h 4936668"/>
                  <a:gd name="connsiteX318" fmla="*/ 8346121 w 9013239"/>
                  <a:gd name="connsiteY318" fmla="*/ 1724972 h 4936668"/>
                  <a:gd name="connsiteX319" fmla="*/ 8350887 w 9013239"/>
                  <a:gd name="connsiteY319" fmla="*/ 1724972 h 4936668"/>
                  <a:gd name="connsiteX320" fmla="*/ 8350887 w 9013239"/>
                  <a:gd name="connsiteY320" fmla="*/ 1758328 h 4936668"/>
                  <a:gd name="connsiteX321" fmla="*/ 8341355 w 9013239"/>
                  <a:gd name="connsiteY321" fmla="*/ 1763096 h 4936668"/>
                  <a:gd name="connsiteX322" fmla="*/ 8336591 w 9013239"/>
                  <a:gd name="connsiteY322" fmla="*/ 1763096 h 4936668"/>
                  <a:gd name="connsiteX323" fmla="*/ 8336591 w 9013239"/>
                  <a:gd name="connsiteY323" fmla="*/ 1753564 h 4936668"/>
                  <a:gd name="connsiteX324" fmla="*/ 8341355 w 9013239"/>
                  <a:gd name="connsiteY324" fmla="*/ 1744032 h 4936668"/>
                  <a:gd name="connsiteX325" fmla="*/ 8346121 w 9013239"/>
                  <a:gd name="connsiteY325" fmla="*/ 1729740 h 4936668"/>
                  <a:gd name="connsiteX326" fmla="*/ 7140544 w 9013239"/>
                  <a:gd name="connsiteY326" fmla="*/ 1424772 h 4936668"/>
                  <a:gd name="connsiteX327" fmla="*/ 7150074 w 9013239"/>
                  <a:gd name="connsiteY327" fmla="*/ 1429536 h 4936668"/>
                  <a:gd name="connsiteX328" fmla="*/ 7150074 w 9013239"/>
                  <a:gd name="connsiteY328" fmla="*/ 1434300 h 4936668"/>
                  <a:gd name="connsiteX329" fmla="*/ 7145309 w 9013239"/>
                  <a:gd name="connsiteY329" fmla="*/ 1443832 h 4936668"/>
                  <a:gd name="connsiteX330" fmla="*/ 7140544 w 9013239"/>
                  <a:gd name="connsiteY330" fmla="*/ 1443832 h 4936668"/>
                  <a:gd name="connsiteX331" fmla="*/ 7135779 w 9013239"/>
                  <a:gd name="connsiteY331" fmla="*/ 1439064 h 4936668"/>
                  <a:gd name="connsiteX332" fmla="*/ 7135779 w 9013239"/>
                  <a:gd name="connsiteY332" fmla="*/ 1434300 h 4936668"/>
                  <a:gd name="connsiteX333" fmla="*/ 7135779 w 9013239"/>
                  <a:gd name="connsiteY333" fmla="*/ 1429536 h 4936668"/>
                  <a:gd name="connsiteX334" fmla="*/ 7564640 w 9013239"/>
                  <a:gd name="connsiteY334" fmla="*/ 1219872 h 4936668"/>
                  <a:gd name="connsiteX335" fmla="*/ 7569405 w 9013239"/>
                  <a:gd name="connsiteY335" fmla="*/ 1219872 h 4936668"/>
                  <a:gd name="connsiteX336" fmla="*/ 7564640 w 9013239"/>
                  <a:gd name="connsiteY336" fmla="*/ 1224636 h 4936668"/>
                  <a:gd name="connsiteX337" fmla="*/ 8751157 w 9013239"/>
                  <a:gd name="connsiteY337" fmla="*/ 1167456 h 4936668"/>
                  <a:gd name="connsiteX338" fmla="*/ 8755923 w 9013239"/>
                  <a:gd name="connsiteY338" fmla="*/ 1172220 h 4936668"/>
                  <a:gd name="connsiteX339" fmla="*/ 8760687 w 9013239"/>
                  <a:gd name="connsiteY339" fmla="*/ 1181748 h 4936668"/>
                  <a:gd name="connsiteX340" fmla="*/ 8751157 w 9013239"/>
                  <a:gd name="connsiteY340" fmla="*/ 1186516 h 4936668"/>
                  <a:gd name="connsiteX341" fmla="*/ 8746391 w 9013239"/>
                  <a:gd name="connsiteY341" fmla="*/ 1186516 h 4936668"/>
                  <a:gd name="connsiteX342" fmla="*/ 8746391 w 9013239"/>
                  <a:gd name="connsiteY342" fmla="*/ 1172220 h 4936668"/>
                  <a:gd name="connsiteX343" fmla="*/ 8751157 w 9013239"/>
                  <a:gd name="connsiteY343" fmla="*/ 1172220 h 4936668"/>
                  <a:gd name="connsiteX344" fmla="*/ 7588466 w 9013239"/>
                  <a:gd name="connsiteY344" fmla="*/ 1157924 h 4936668"/>
                  <a:gd name="connsiteX345" fmla="*/ 7593231 w 9013239"/>
                  <a:gd name="connsiteY345" fmla="*/ 1157924 h 4936668"/>
                  <a:gd name="connsiteX346" fmla="*/ 7588466 w 9013239"/>
                  <a:gd name="connsiteY346" fmla="*/ 1162688 h 4936668"/>
                  <a:gd name="connsiteX347" fmla="*/ 7583701 w 9013239"/>
                  <a:gd name="connsiteY347" fmla="*/ 1167452 h 4936668"/>
                  <a:gd name="connsiteX348" fmla="*/ 7583701 w 9013239"/>
                  <a:gd name="connsiteY348" fmla="*/ 1162688 h 4936668"/>
                  <a:gd name="connsiteX349" fmla="*/ 8808339 w 9013239"/>
                  <a:gd name="connsiteY349" fmla="*/ 1124568 h 4936668"/>
                  <a:gd name="connsiteX350" fmla="*/ 8817869 w 9013239"/>
                  <a:gd name="connsiteY350" fmla="*/ 1129332 h 4936668"/>
                  <a:gd name="connsiteX351" fmla="*/ 8827399 w 9013239"/>
                  <a:gd name="connsiteY351" fmla="*/ 1143628 h 4936668"/>
                  <a:gd name="connsiteX352" fmla="*/ 8827399 w 9013239"/>
                  <a:gd name="connsiteY352" fmla="*/ 1153156 h 4936668"/>
                  <a:gd name="connsiteX353" fmla="*/ 8817869 w 9013239"/>
                  <a:gd name="connsiteY353" fmla="*/ 1157924 h 4936668"/>
                  <a:gd name="connsiteX354" fmla="*/ 8808339 w 9013239"/>
                  <a:gd name="connsiteY354" fmla="*/ 1153156 h 4936668"/>
                  <a:gd name="connsiteX355" fmla="*/ 8808339 w 9013239"/>
                  <a:gd name="connsiteY355" fmla="*/ 1167452 h 4936668"/>
                  <a:gd name="connsiteX356" fmla="*/ 8808339 w 9013239"/>
                  <a:gd name="connsiteY356" fmla="*/ 1172220 h 4936668"/>
                  <a:gd name="connsiteX357" fmla="*/ 8794043 w 9013239"/>
                  <a:gd name="connsiteY357" fmla="*/ 1162688 h 4936668"/>
                  <a:gd name="connsiteX358" fmla="*/ 8794043 w 9013239"/>
                  <a:gd name="connsiteY358" fmla="*/ 1157924 h 4936668"/>
                  <a:gd name="connsiteX359" fmla="*/ 8794043 w 9013239"/>
                  <a:gd name="connsiteY359" fmla="*/ 1143628 h 4936668"/>
                  <a:gd name="connsiteX360" fmla="*/ 8803573 w 9013239"/>
                  <a:gd name="connsiteY360" fmla="*/ 1129332 h 4936668"/>
                  <a:gd name="connsiteX361" fmla="*/ 6035034 w 9013239"/>
                  <a:gd name="connsiteY361" fmla="*/ 972084 h 4936668"/>
                  <a:gd name="connsiteX362" fmla="*/ 6044564 w 9013239"/>
                  <a:gd name="connsiteY362" fmla="*/ 972084 h 4936668"/>
                  <a:gd name="connsiteX363" fmla="*/ 6049329 w 9013239"/>
                  <a:gd name="connsiteY363" fmla="*/ 976848 h 4936668"/>
                  <a:gd name="connsiteX364" fmla="*/ 6049329 w 9013239"/>
                  <a:gd name="connsiteY364" fmla="*/ 981612 h 4936668"/>
                  <a:gd name="connsiteX365" fmla="*/ 6049329 w 9013239"/>
                  <a:gd name="connsiteY365" fmla="*/ 986380 h 4936668"/>
                  <a:gd name="connsiteX366" fmla="*/ 6044564 w 9013239"/>
                  <a:gd name="connsiteY366" fmla="*/ 986380 h 4936668"/>
                  <a:gd name="connsiteX367" fmla="*/ 6039799 w 9013239"/>
                  <a:gd name="connsiteY367" fmla="*/ 981612 h 4936668"/>
                  <a:gd name="connsiteX368" fmla="*/ 5884933 w 9013239"/>
                  <a:gd name="connsiteY368" fmla="*/ 938728 h 4936668"/>
                  <a:gd name="connsiteX369" fmla="*/ 5889698 w 9013239"/>
                  <a:gd name="connsiteY369" fmla="*/ 938728 h 4936668"/>
                  <a:gd name="connsiteX370" fmla="*/ 5894463 w 9013239"/>
                  <a:gd name="connsiteY370" fmla="*/ 943492 h 4936668"/>
                  <a:gd name="connsiteX371" fmla="*/ 5894463 w 9013239"/>
                  <a:gd name="connsiteY371" fmla="*/ 953024 h 4936668"/>
                  <a:gd name="connsiteX372" fmla="*/ 5889698 w 9013239"/>
                  <a:gd name="connsiteY372" fmla="*/ 953024 h 4936668"/>
                  <a:gd name="connsiteX373" fmla="*/ 5884933 w 9013239"/>
                  <a:gd name="connsiteY373" fmla="*/ 953024 h 4936668"/>
                  <a:gd name="connsiteX374" fmla="*/ 5884933 w 9013239"/>
                  <a:gd name="connsiteY374" fmla="*/ 957788 h 4936668"/>
                  <a:gd name="connsiteX375" fmla="*/ 5884933 w 9013239"/>
                  <a:gd name="connsiteY375" fmla="*/ 967320 h 4936668"/>
                  <a:gd name="connsiteX376" fmla="*/ 5880168 w 9013239"/>
                  <a:gd name="connsiteY376" fmla="*/ 972084 h 4936668"/>
                  <a:gd name="connsiteX377" fmla="*/ 5880168 w 9013239"/>
                  <a:gd name="connsiteY377" fmla="*/ 976848 h 4936668"/>
                  <a:gd name="connsiteX378" fmla="*/ 5880168 w 9013239"/>
                  <a:gd name="connsiteY378" fmla="*/ 981616 h 4936668"/>
                  <a:gd name="connsiteX379" fmla="*/ 5880168 w 9013239"/>
                  <a:gd name="connsiteY379" fmla="*/ 986380 h 4936668"/>
                  <a:gd name="connsiteX380" fmla="*/ 5875402 w 9013239"/>
                  <a:gd name="connsiteY380" fmla="*/ 991144 h 4936668"/>
                  <a:gd name="connsiteX381" fmla="*/ 5870637 w 9013239"/>
                  <a:gd name="connsiteY381" fmla="*/ 995908 h 4936668"/>
                  <a:gd name="connsiteX382" fmla="*/ 5861107 w 9013239"/>
                  <a:gd name="connsiteY382" fmla="*/ 1010204 h 4936668"/>
                  <a:gd name="connsiteX383" fmla="*/ 5861107 w 9013239"/>
                  <a:gd name="connsiteY383" fmla="*/ 1014972 h 4936668"/>
                  <a:gd name="connsiteX384" fmla="*/ 5861107 w 9013239"/>
                  <a:gd name="connsiteY384" fmla="*/ 1019736 h 4936668"/>
                  <a:gd name="connsiteX385" fmla="*/ 5861107 w 9013239"/>
                  <a:gd name="connsiteY385" fmla="*/ 1024500 h 4936668"/>
                  <a:gd name="connsiteX386" fmla="*/ 5846812 w 9013239"/>
                  <a:gd name="connsiteY386" fmla="*/ 1043560 h 4936668"/>
                  <a:gd name="connsiteX387" fmla="*/ 5842046 w 9013239"/>
                  <a:gd name="connsiteY387" fmla="*/ 1043560 h 4936668"/>
                  <a:gd name="connsiteX388" fmla="*/ 5837281 w 9013239"/>
                  <a:gd name="connsiteY388" fmla="*/ 1038796 h 4936668"/>
                  <a:gd name="connsiteX389" fmla="*/ 5832516 w 9013239"/>
                  <a:gd name="connsiteY389" fmla="*/ 1034032 h 4936668"/>
                  <a:gd name="connsiteX390" fmla="*/ 5827751 w 9013239"/>
                  <a:gd name="connsiteY390" fmla="*/ 1029264 h 4936668"/>
                  <a:gd name="connsiteX391" fmla="*/ 5827751 w 9013239"/>
                  <a:gd name="connsiteY391" fmla="*/ 1019736 h 4936668"/>
                  <a:gd name="connsiteX392" fmla="*/ 5827751 w 9013239"/>
                  <a:gd name="connsiteY392" fmla="*/ 1014972 h 4936668"/>
                  <a:gd name="connsiteX393" fmla="*/ 5842046 w 9013239"/>
                  <a:gd name="connsiteY393" fmla="*/ 1000676 h 4936668"/>
                  <a:gd name="connsiteX394" fmla="*/ 5846812 w 9013239"/>
                  <a:gd name="connsiteY394" fmla="*/ 986380 h 4936668"/>
                  <a:gd name="connsiteX395" fmla="*/ 5851577 w 9013239"/>
                  <a:gd name="connsiteY395" fmla="*/ 976848 h 4936668"/>
                  <a:gd name="connsiteX396" fmla="*/ 5856342 w 9013239"/>
                  <a:gd name="connsiteY396" fmla="*/ 967320 h 4936668"/>
                  <a:gd name="connsiteX397" fmla="*/ 5865872 w 9013239"/>
                  <a:gd name="connsiteY397" fmla="*/ 962552 h 4936668"/>
                  <a:gd name="connsiteX398" fmla="*/ 5870637 w 9013239"/>
                  <a:gd name="connsiteY398" fmla="*/ 957788 h 4936668"/>
                  <a:gd name="connsiteX399" fmla="*/ 5875402 w 9013239"/>
                  <a:gd name="connsiteY399" fmla="*/ 943492 h 4936668"/>
                  <a:gd name="connsiteX400" fmla="*/ 5899227 w 9013239"/>
                  <a:gd name="connsiteY400" fmla="*/ 910136 h 4936668"/>
                  <a:gd name="connsiteX401" fmla="*/ 5903993 w 9013239"/>
                  <a:gd name="connsiteY401" fmla="*/ 914904 h 4936668"/>
                  <a:gd name="connsiteX402" fmla="*/ 5908758 w 9013239"/>
                  <a:gd name="connsiteY402" fmla="*/ 914904 h 4936668"/>
                  <a:gd name="connsiteX403" fmla="*/ 5913523 w 9013239"/>
                  <a:gd name="connsiteY403" fmla="*/ 914904 h 4936668"/>
                  <a:gd name="connsiteX404" fmla="*/ 5913523 w 9013239"/>
                  <a:gd name="connsiteY404" fmla="*/ 919668 h 4936668"/>
                  <a:gd name="connsiteX405" fmla="*/ 5913523 w 9013239"/>
                  <a:gd name="connsiteY405" fmla="*/ 929200 h 4936668"/>
                  <a:gd name="connsiteX406" fmla="*/ 5908758 w 9013239"/>
                  <a:gd name="connsiteY406" fmla="*/ 929200 h 4936668"/>
                  <a:gd name="connsiteX407" fmla="*/ 5899227 w 9013239"/>
                  <a:gd name="connsiteY407" fmla="*/ 929200 h 4936668"/>
                  <a:gd name="connsiteX408" fmla="*/ 5894462 w 9013239"/>
                  <a:gd name="connsiteY408" fmla="*/ 924432 h 4936668"/>
                  <a:gd name="connsiteX409" fmla="*/ 6116041 w 9013239"/>
                  <a:gd name="connsiteY409" fmla="*/ 833896 h 4936668"/>
                  <a:gd name="connsiteX410" fmla="*/ 6125572 w 9013239"/>
                  <a:gd name="connsiteY410" fmla="*/ 838660 h 4936668"/>
                  <a:gd name="connsiteX411" fmla="*/ 6120807 w 9013239"/>
                  <a:gd name="connsiteY411" fmla="*/ 838660 h 4936668"/>
                  <a:gd name="connsiteX412" fmla="*/ 6125572 w 9013239"/>
                  <a:gd name="connsiteY412" fmla="*/ 857720 h 4936668"/>
                  <a:gd name="connsiteX413" fmla="*/ 6120807 w 9013239"/>
                  <a:gd name="connsiteY413" fmla="*/ 867252 h 4936668"/>
                  <a:gd name="connsiteX414" fmla="*/ 6116041 w 9013239"/>
                  <a:gd name="connsiteY414" fmla="*/ 872016 h 4936668"/>
                  <a:gd name="connsiteX415" fmla="*/ 6111276 w 9013239"/>
                  <a:gd name="connsiteY415" fmla="*/ 872016 h 4936668"/>
                  <a:gd name="connsiteX416" fmla="*/ 6106511 w 9013239"/>
                  <a:gd name="connsiteY416" fmla="*/ 872016 h 4936668"/>
                  <a:gd name="connsiteX417" fmla="*/ 6106511 w 9013239"/>
                  <a:gd name="connsiteY417" fmla="*/ 857720 h 4936668"/>
                  <a:gd name="connsiteX418" fmla="*/ 6111276 w 9013239"/>
                  <a:gd name="connsiteY418" fmla="*/ 843424 h 4936668"/>
                  <a:gd name="connsiteX419" fmla="*/ 6268526 w 9013239"/>
                  <a:gd name="connsiteY419" fmla="*/ 824364 h 4936668"/>
                  <a:gd name="connsiteX420" fmla="*/ 6292352 w 9013239"/>
                  <a:gd name="connsiteY420" fmla="*/ 824364 h 4936668"/>
                  <a:gd name="connsiteX421" fmla="*/ 6297117 w 9013239"/>
                  <a:gd name="connsiteY421" fmla="*/ 829128 h 4936668"/>
                  <a:gd name="connsiteX422" fmla="*/ 6297117 w 9013239"/>
                  <a:gd name="connsiteY422" fmla="*/ 833896 h 4936668"/>
                  <a:gd name="connsiteX423" fmla="*/ 6297117 w 9013239"/>
                  <a:gd name="connsiteY423" fmla="*/ 838660 h 4936668"/>
                  <a:gd name="connsiteX424" fmla="*/ 6292352 w 9013239"/>
                  <a:gd name="connsiteY424" fmla="*/ 843424 h 4936668"/>
                  <a:gd name="connsiteX425" fmla="*/ 6287587 w 9013239"/>
                  <a:gd name="connsiteY425" fmla="*/ 843424 h 4936668"/>
                  <a:gd name="connsiteX426" fmla="*/ 6282821 w 9013239"/>
                  <a:gd name="connsiteY426" fmla="*/ 838660 h 4936668"/>
                  <a:gd name="connsiteX427" fmla="*/ 6406715 w 9013239"/>
                  <a:gd name="connsiteY427" fmla="*/ 757652 h 4936668"/>
                  <a:gd name="connsiteX428" fmla="*/ 6416245 w 9013239"/>
                  <a:gd name="connsiteY428" fmla="*/ 762420 h 4936668"/>
                  <a:gd name="connsiteX429" fmla="*/ 6421011 w 9013239"/>
                  <a:gd name="connsiteY429" fmla="*/ 762420 h 4936668"/>
                  <a:gd name="connsiteX430" fmla="*/ 6430541 w 9013239"/>
                  <a:gd name="connsiteY430" fmla="*/ 776712 h 4936668"/>
                  <a:gd name="connsiteX431" fmla="*/ 6435306 w 9013239"/>
                  <a:gd name="connsiteY431" fmla="*/ 781480 h 4936668"/>
                  <a:gd name="connsiteX432" fmla="*/ 6435306 w 9013239"/>
                  <a:gd name="connsiteY432" fmla="*/ 786244 h 4936668"/>
                  <a:gd name="connsiteX433" fmla="*/ 6430541 w 9013239"/>
                  <a:gd name="connsiteY433" fmla="*/ 791008 h 4936668"/>
                  <a:gd name="connsiteX434" fmla="*/ 6421011 w 9013239"/>
                  <a:gd name="connsiteY434" fmla="*/ 795776 h 4936668"/>
                  <a:gd name="connsiteX435" fmla="*/ 6401950 w 9013239"/>
                  <a:gd name="connsiteY435" fmla="*/ 795776 h 4936668"/>
                  <a:gd name="connsiteX436" fmla="*/ 6382889 w 9013239"/>
                  <a:gd name="connsiteY436" fmla="*/ 791008 h 4936668"/>
                  <a:gd name="connsiteX437" fmla="*/ 6378124 w 9013239"/>
                  <a:gd name="connsiteY437" fmla="*/ 786244 h 4936668"/>
                  <a:gd name="connsiteX438" fmla="*/ 6378124 w 9013239"/>
                  <a:gd name="connsiteY438" fmla="*/ 776712 h 4936668"/>
                  <a:gd name="connsiteX439" fmla="*/ 6382889 w 9013239"/>
                  <a:gd name="connsiteY439" fmla="*/ 776712 h 4936668"/>
                  <a:gd name="connsiteX440" fmla="*/ 6387654 w 9013239"/>
                  <a:gd name="connsiteY440" fmla="*/ 781480 h 4936668"/>
                  <a:gd name="connsiteX441" fmla="*/ 6392419 w 9013239"/>
                  <a:gd name="connsiteY441" fmla="*/ 781480 h 4936668"/>
                  <a:gd name="connsiteX442" fmla="*/ 6401950 w 9013239"/>
                  <a:gd name="connsiteY442" fmla="*/ 771948 h 4936668"/>
                  <a:gd name="connsiteX443" fmla="*/ 6406715 w 9013239"/>
                  <a:gd name="connsiteY443" fmla="*/ 767184 h 4936668"/>
                  <a:gd name="connsiteX444" fmla="*/ 6406715 w 9013239"/>
                  <a:gd name="connsiteY444" fmla="*/ 762420 h 4936668"/>
                  <a:gd name="connsiteX445" fmla="*/ 6325707 w 9013239"/>
                  <a:gd name="connsiteY445" fmla="*/ 710000 h 4936668"/>
                  <a:gd name="connsiteX446" fmla="*/ 6330472 w 9013239"/>
                  <a:gd name="connsiteY446" fmla="*/ 710000 h 4936668"/>
                  <a:gd name="connsiteX447" fmla="*/ 6335237 w 9013239"/>
                  <a:gd name="connsiteY447" fmla="*/ 714768 h 4936668"/>
                  <a:gd name="connsiteX448" fmla="*/ 6340002 w 9013239"/>
                  <a:gd name="connsiteY448" fmla="*/ 719532 h 4936668"/>
                  <a:gd name="connsiteX449" fmla="*/ 6340002 w 9013239"/>
                  <a:gd name="connsiteY449" fmla="*/ 724296 h 4936668"/>
                  <a:gd name="connsiteX450" fmla="*/ 6340002 w 9013239"/>
                  <a:gd name="connsiteY450" fmla="*/ 729064 h 4936668"/>
                  <a:gd name="connsiteX451" fmla="*/ 6335237 w 9013239"/>
                  <a:gd name="connsiteY451" fmla="*/ 729064 h 4936668"/>
                  <a:gd name="connsiteX452" fmla="*/ 6330472 w 9013239"/>
                  <a:gd name="connsiteY452" fmla="*/ 719532 h 4936668"/>
                  <a:gd name="connsiteX453" fmla="*/ 6325707 w 9013239"/>
                  <a:gd name="connsiteY453" fmla="*/ 714768 h 4936668"/>
                  <a:gd name="connsiteX454" fmla="*/ 6325707 w 9013239"/>
                  <a:gd name="connsiteY454" fmla="*/ 662352 h 4936668"/>
                  <a:gd name="connsiteX455" fmla="*/ 6330473 w 9013239"/>
                  <a:gd name="connsiteY455" fmla="*/ 662352 h 4936668"/>
                  <a:gd name="connsiteX456" fmla="*/ 6335238 w 9013239"/>
                  <a:gd name="connsiteY456" fmla="*/ 662352 h 4936668"/>
                  <a:gd name="connsiteX457" fmla="*/ 6335238 w 9013239"/>
                  <a:gd name="connsiteY457" fmla="*/ 667116 h 4936668"/>
                  <a:gd name="connsiteX458" fmla="*/ 6330473 w 9013239"/>
                  <a:gd name="connsiteY458" fmla="*/ 681412 h 4936668"/>
                  <a:gd name="connsiteX459" fmla="*/ 6330473 w 9013239"/>
                  <a:gd name="connsiteY459" fmla="*/ 690940 h 4936668"/>
                  <a:gd name="connsiteX460" fmla="*/ 6335238 w 9013239"/>
                  <a:gd name="connsiteY460" fmla="*/ 700472 h 4936668"/>
                  <a:gd name="connsiteX461" fmla="*/ 6335238 w 9013239"/>
                  <a:gd name="connsiteY461" fmla="*/ 705236 h 4936668"/>
                  <a:gd name="connsiteX462" fmla="*/ 6330473 w 9013239"/>
                  <a:gd name="connsiteY462" fmla="*/ 705236 h 4936668"/>
                  <a:gd name="connsiteX463" fmla="*/ 6325707 w 9013239"/>
                  <a:gd name="connsiteY463" fmla="*/ 700472 h 4936668"/>
                  <a:gd name="connsiteX464" fmla="*/ 6325707 w 9013239"/>
                  <a:gd name="connsiteY464" fmla="*/ 695704 h 4936668"/>
                  <a:gd name="connsiteX465" fmla="*/ 6320942 w 9013239"/>
                  <a:gd name="connsiteY465" fmla="*/ 681412 h 4936668"/>
                  <a:gd name="connsiteX466" fmla="*/ 6316177 w 9013239"/>
                  <a:gd name="connsiteY466" fmla="*/ 671880 h 4936668"/>
                  <a:gd name="connsiteX467" fmla="*/ 5327413 w 9013239"/>
                  <a:gd name="connsiteY467" fmla="*/ 586108 h 4936668"/>
                  <a:gd name="connsiteX468" fmla="*/ 5332178 w 9013239"/>
                  <a:gd name="connsiteY468" fmla="*/ 590874 h 4936668"/>
                  <a:gd name="connsiteX469" fmla="*/ 5322648 w 9013239"/>
                  <a:gd name="connsiteY469" fmla="*/ 595640 h 4936668"/>
                  <a:gd name="connsiteX470" fmla="*/ 5317883 w 9013239"/>
                  <a:gd name="connsiteY470" fmla="*/ 600404 h 4936668"/>
                  <a:gd name="connsiteX471" fmla="*/ 5313117 w 9013239"/>
                  <a:gd name="connsiteY471" fmla="*/ 605170 h 4936668"/>
                  <a:gd name="connsiteX472" fmla="*/ 5303587 w 9013239"/>
                  <a:gd name="connsiteY472" fmla="*/ 609936 h 4936668"/>
                  <a:gd name="connsiteX473" fmla="*/ 5298822 w 9013239"/>
                  <a:gd name="connsiteY473" fmla="*/ 605170 h 4936668"/>
                  <a:gd name="connsiteX474" fmla="*/ 5303587 w 9013239"/>
                  <a:gd name="connsiteY474" fmla="*/ 600404 h 4936668"/>
                  <a:gd name="connsiteX475" fmla="*/ 5336942 w 9013239"/>
                  <a:gd name="connsiteY475" fmla="*/ 562284 h 4936668"/>
                  <a:gd name="connsiteX476" fmla="*/ 5336942 w 9013239"/>
                  <a:gd name="connsiteY476" fmla="*/ 567048 h 4936668"/>
                  <a:gd name="connsiteX477" fmla="*/ 5336942 w 9013239"/>
                  <a:gd name="connsiteY477" fmla="*/ 571814 h 4936668"/>
                  <a:gd name="connsiteX478" fmla="*/ 5332177 w 9013239"/>
                  <a:gd name="connsiteY478" fmla="*/ 576580 h 4936668"/>
                  <a:gd name="connsiteX479" fmla="*/ 5322647 w 9013239"/>
                  <a:gd name="connsiteY479" fmla="*/ 571814 h 4936668"/>
                  <a:gd name="connsiteX480" fmla="*/ 5332177 w 9013239"/>
                  <a:gd name="connsiteY480" fmla="*/ 567048 h 4936668"/>
                  <a:gd name="connsiteX481" fmla="*/ 5303587 w 9013239"/>
                  <a:gd name="connsiteY481" fmla="*/ 562284 h 4936668"/>
                  <a:gd name="connsiteX482" fmla="*/ 5308352 w 9013239"/>
                  <a:gd name="connsiteY482" fmla="*/ 562284 h 4936668"/>
                  <a:gd name="connsiteX483" fmla="*/ 5313117 w 9013239"/>
                  <a:gd name="connsiteY483" fmla="*/ 567048 h 4936668"/>
                  <a:gd name="connsiteX484" fmla="*/ 5313117 w 9013239"/>
                  <a:gd name="connsiteY484" fmla="*/ 571814 h 4936668"/>
                  <a:gd name="connsiteX485" fmla="*/ 5308352 w 9013239"/>
                  <a:gd name="connsiteY485" fmla="*/ 571814 h 4936668"/>
                  <a:gd name="connsiteX486" fmla="*/ 5303587 w 9013239"/>
                  <a:gd name="connsiteY486" fmla="*/ 571814 h 4936668"/>
                  <a:gd name="connsiteX487" fmla="*/ 5303587 w 9013239"/>
                  <a:gd name="connsiteY487" fmla="*/ 567048 h 4936668"/>
                  <a:gd name="connsiteX488" fmla="*/ 5351238 w 9013239"/>
                  <a:gd name="connsiteY488" fmla="*/ 538458 h 4936668"/>
                  <a:gd name="connsiteX489" fmla="*/ 5356003 w 9013239"/>
                  <a:gd name="connsiteY489" fmla="*/ 538458 h 4936668"/>
                  <a:gd name="connsiteX490" fmla="*/ 5360768 w 9013239"/>
                  <a:gd name="connsiteY490" fmla="*/ 543224 h 4936668"/>
                  <a:gd name="connsiteX491" fmla="*/ 5356003 w 9013239"/>
                  <a:gd name="connsiteY491" fmla="*/ 547988 h 4936668"/>
                  <a:gd name="connsiteX492" fmla="*/ 5351238 w 9013239"/>
                  <a:gd name="connsiteY492" fmla="*/ 552752 h 4936668"/>
                  <a:gd name="connsiteX493" fmla="*/ 5351238 w 9013239"/>
                  <a:gd name="connsiteY493" fmla="*/ 543224 h 4936668"/>
                  <a:gd name="connsiteX494" fmla="*/ 285908 w 9013239"/>
                  <a:gd name="connsiteY494" fmla="*/ 490808 h 4936668"/>
                  <a:gd name="connsiteX495" fmla="*/ 290673 w 9013239"/>
                  <a:gd name="connsiteY495" fmla="*/ 505100 h 4936668"/>
                  <a:gd name="connsiteX496" fmla="*/ 290673 w 9013239"/>
                  <a:gd name="connsiteY496" fmla="*/ 509868 h 4936668"/>
                  <a:gd name="connsiteX497" fmla="*/ 290673 w 9013239"/>
                  <a:gd name="connsiteY497" fmla="*/ 514632 h 4936668"/>
                  <a:gd name="connsiteX498" fmla="*/ 285908 w 9013239"/>
                  <a:gd name="connsiteY498" fmla="*/ 514632 h 4936668"/>
                  <a:gd name="connsiteX499" fmla="*/ 281143 w 9013239"/>
                  <a:gd name="connsiteY499" fmla="*/ 505100 h 4936668"/>
                  <a:gd name="connsiteX500" fmla="*/ 281143 w 9013239"/>
                  <a:gd name="connsiteY500" fmla="*/ 495572 h 4936668"/>
                  <a:gd name="connsiteX501" fmla="*/ 5737214 w 9013239"/>
                  <a:gd name="connsiteY501" fmla="*/ 443156 h 4936668"/>
                  <a:gd name="connsiteX502" fmla="*/ 5751509 w 9013239"/>
                  <a:gd name="connsiteY502" fmla="*/ 443156 h 4936668"/>
                  <a:gd name="connsiteX503" fmla="*/ 5765805 w 9013239"/>
                  <a:gd name="connsiteY503" fmla="*/ 447920 h 4936668"/>
                  <a:gd name="connsiteX504" fmla="*/ 5775335 w 9013239"/>
                  <a:gd name="connsiteY504" fmla="*/ 457450 h 4936668"/>
                  <a:gd name="connsiteX505" fmla="*/ 5765805 w 9013239"/>
                  <a:gd name="connsiteY505" fmla="*/ 462216 h 4936668"/>
                  <a:gd name="connsiteX506" fmla="*/ 5732449 w 9013239"/>
                  <a:gd name="connsiteY506" fmla="*/ 466980 h 4936668"/>
                  <a:gd name="connsiteX507" fmla="*/ 5737214 w 9013239"/>
                  <a:gd name="connsiteY507" fmla="*/ 471746 h 4936668"/>
                  <a:gd name="connsiteX508" fmla="*/ 5732449 w 9013239"/>
                  <a:gd name="connsiteY508" fmla="*/ 481276 h 4936668"/>
                  <a:gd name="connsiteX509" fmla="*/ 5699093 w 9013239"/>
                  <a:gd name="connsiteY509" fmla="*/ 505102 h 4936668"/>
                  <a:gd name="connsiteX510" fmla="*/ 5699093 w 9013239"/>
                  <a:gd name="connsiteY510" fmla="*/ 514632 h 4936668"/>
                  <a:gd name="connsiteX511" fmla="*/ 5699093 w 9013239"/>
                  <a:gd name="connsiteY511" fmla="*/ 519398 h 4936668"/>
                  <a:gd name="connsiteX512" fmla="*/ 5680032 w 9013239"/>
                  <a:gd name="connsiteY512" fmla="*/ 538458 h 4936668"/>
                  <a:gd name="connsiteX513" fmla="*/ 5670502 w 9013239"/>
                  <a:gd name="connsiteY513" fmla="*/ 552752 h 4936668"/>
                  <a:gd name="connsiteX514" fmla="*/ 5665737 w 9013239"/>
                  <a:gd name="connsiteY514" fmla="*/ 552752 h 4936668"/>
                  <a:gd name="connsiteX515" fmla="*/ 5660972 w 9013239"/>
                  <a:gd name="connsiteY515" fmla="*/ 543222 h 4936668"/>
                  <a:gd name="connsiteX516" fmla="*/ 5660972 w 9013239"/>
                  <a:gd name="connsiteY516" fmla="*/ 538458 h 4936668"/>
                  <a:gd name="connsiteX517" fmla="*/ 5665737 w 9013239"/>
                  <a:gd name="connsiteY517" fmla="*/ 533692 h 4936668"/>
                  <a:gd name="connsiteX518" fmla="*/ 5670502 w 9013239"/>
                  <a:gd name="connsiteY518" fmla="*/ 524162 h 4936668"/>
                  <a:gd name="connsiteX519" fmla="*/ 5670502 w 9013239"/>
                  <a:gd name="connsiteY519" fmla="*/ 514632 h 4936668"/>
                  <a:gd name="connsiteX520" fmla="*/ 5670502 w 9013239"/>
                  <a:gd name="connsiteY520" fmla="*/ 509866 h 4936668"/>
                  <a:gd name="connsiteX521" fmla="*/ 5665737 w 9013239"/>
                  <a:gd name="connsiteY521" fmla="*/ 519398 h 4936668"/>
                  <a:gd name="connsiteX522" fmla="*/ 5665737 w 9013239"/>
                  <a:gd name="connsiteY522" fmla="*/ 524162 h 4936668"/>
                  <a:gd name="connsiteX523" fmla="*/ 5670502 w 9013239"/>
                  <a:gd name="connsiteY523" fmla="*/ 524162 h 4936668"/>
                  <a:gd name="connsiteX524" fmla="*/ 5665737 w 9013239"/>
                  <a:gd name="connsiteY524" fmla="*/ 528928 h 4936668"/>
                  <a:gd name="connsiteX525" fmla="*/ 5646676 w 9013239"/>
                  <a:gd name="connsiteY525" fmla="*/ 524162 h 4936668"/>
                  <a:gd name="connsiteX526" fmla="*/ 5637146 w 9013239"/>
                  <a:gd name="connsiteY526" fmla="*/ 514632 h 4936668"/>
                  <a:gd name="connsiteX527" fmla="*/ 5641911 w 9013239"/>
                  <a:gd name="connsiteY527" fmla="*/ 505102 h 4936668"/>
                  <a:gd name="connsiteX528" fmla="*/ 5646676 w 9013239"/>
                  <a:gd name="connsiteY528" fmla="*/ 490806 h 4936668"/>
                  <a:gd name="connsiteX529" fmla="*/ 5675267 w 9013239"/>
                  <a:gd name="connsiteY529" fmla="*/ 466980 h 4936668"/>
                  <a:gd name="connsiteX530" fmla="*/ 5684797 w 9013239"/>
                  <a:gd name="connsiteY530" fmla="*/ 457450 h 4936668"/>
                  <a:gd name="connsiteX531" fmla="*/ 5718153 w 9013239"/>
                  <a:gd name="connsiteY531" fmla="*/ 447920 h 4936668"/>
                  <a:gd name="connsiteX532" fmla="*/ 347854 w 9013239"/>
                  <a:gd name="connsiteY532" fmla="*/ 443156 h 4936668"/>
                  <a:gd name="connsiteX533" fmla="*/ 352619 w 9013239"/>
                  <a:gd name="connsiteY533" fmla="*/ 443156 h 4936668"/>
                  <a:gd name="connsiteX534" fmla="*/ 357385 w 9013239"/>
                  <a:gd name="connsiteY534" fmla="*/ 452684 h 4936668"/>
                  <a:gd name="connsiteX535" fmla="*/ 362150 w 9013239"/>
                  <a:gd name="connsiteY535" fmla="*/ 466980 h 4936668"/>
                  <a:gd name="connsiteX536" fmla="*/ 362150 w 9013239"/>
                  <a:gd name="connsiteY536" fmla="*/ 471744 h 4936668"/>
                  <a:gd name="connsiteX537" fmla="*/ 357385 w 9013239"/>
                  <a:gd name="connsiteY537" fmla="*/ 471744 h 4936668"/>
                  <a:gd name="connsiteX538" fmla="*/ 352619 w 9013239"/>
                  <a:gd name="connsiteY538" fmla="*/ 471744 h 4936668"/>
                  <a:gd name="connsiteX539" fmla="*/ 352619 w 9013239"/>
                  <a:gd name="connsiteY539" fmla="*/ 466980 h 4936668"/>
                  <a:gd name="connsiteX540" fmla="*/ 343089 w 9013239"/>
                  <a:gd name="connsiteY540" fmla="*/ 471744 h 4936668"/>
                  <a:gd name="connsiteX541" fmla="*/ 343089 w 9013239"/>
                  <a:gd name="connsiteY541" fmla="*/ 457448 h 4936668"/>
                  <a:gd name="connsiteX542" fmla="*/ 338324 w 9013239"/>
                  <a:gd name="connsiteY542" fmla="*/ 395504 h 4936668"/>
                  <a:gd name="connsiteX543" fmla="*/ 343089 w 9013239"/>
                  <a:gd name="connsiteY543" fmla="*/ 395504 h 4936668"/>
                  <a:gd name="connsiteX544" fmla="*/ 343089 w 9013239"/>
                  <a:gd name="connsiteY544" fmla="*/ 400268 h 4936668"/>
                  <a:gd name="connsiteX545" fmla="*/ 347854 w 9013239"/>
                  <a:gd name="connsiteY545" fmla="*/ 419328 h 4936668"/>
                  <a:gd name="connsiteX546" fmla="*/ 347854 w 9013239"/>
                  <a:gd name="connsiteY546" fmla="*/ 424096 h 4936668"/>
                  <a:gd name="connsiteX547" fmla="*/ 338324 w 9013239"/>
                  <a:gd name="connsiteY547" fmla="*/ 419328 h 4936668"/>
                  <a:gd name="connsiteX548" fmla="*/ 333559 w 9013239"/>
                  <a:gd name="connsiteY548" fmla="*/ 414564 h 4936668"/>
                  <a:gd name="connsiteX549" fmla="*/ 333559 w 9013239"/>
                  <a:gd name="connsiteY549" fmla="*/ 400268 h 4936668"/>
                  <a:gd name="connsiteX550" fmla="*/ 5641911 w 9013239"/>
                  <a:gd name="connsiteY550" fmla="*/ 285906 h 4936668"/>
                  <a:gd name="connsiteX551" fmla="*/ 5656206 w 9013239"/>
                  <a:gd name="connsiteY551" fmla="*/ 285906 h 4936668"/>
                  <a:gd name="connsiteX552" fmla="*/ 5660971 w 9013239"/>
                  <a:gd name="connsiteY552" fmla="*/ 285906 h 4936668"/>
                  <a:gd name="connsiteX553" fmla="*/ 5646676 w 9013239"/>
                  <a:gd name="connsiteY553" fmla="*/ 300202 h 4936668"/>
                  <a:gd name="connsiteX554" fmla="*/ 5641911 w 9013239"/>
                  <a:gd name="connsiteY554" fmla="*/ 304966 h 4936668"/>
                  <a:gd name="connsiteX555" fmla="*/ 5641911 w 9013239"/>
                  <a:gd name="connsiteY555" fmla="*/ 309732 h 4936668"/>
                  <a:gd name="connsiteX556" fmla="*/ 5637145 w 9013239"/>
                  <a:gd name="connsiteY556" fmla="*/ 314496 h 4936668"/>
                  <a:gd name="connsiteX557" fmla="*/ 5594259 w 9013239"/>
                  <a:gd name="connsiteY557" fmla="*/ 338322 h 4936668"/>
                  <a:gd name="connsiteX558" fmla="*/ 5584729 w 9013239"/>
                  <a:gd name="connsiteY558" fmla="*/ 343088 h 4936668"/>
                  <a:gd name="connsiteX559" fmla="*/ 5584729 w 9013239"/>
                  <a:gd name="connsiteY559" fmla="*/ 347852 h 4936668"/>
                  <a:gd name="connsiteX560" fmla="*/ 5589494 w 9013239"/>
                  <a:gd name="connsiteY560" fmla="*/ 347852 h 4936668"/>
                  <a:gd name="connsiteX561" fmla="*/ 5584729 w 9013239"/>
                  <a:gd name="connsiteY561" fmla="*/ 352618 h 4936668"/>
                  <a:gd name="connsiteX562" fmla="*/ 5565669 w 9013239"/>
                  <a:gd name="connsiteY562" fmla="*/ 357382 h 4936668"/>
                  <a:gd name="connsiteX563" fmla="*/ 5556138 w 9013239"/>
                  <a:gd name="connsiteY563" fmla="*/ 362148 h 4936668"/>
                  <a:gd name="connsiteX564" fmla="*/ 5546608 w 9013239"/>
                  <a:gd name="connsiteY564" fmla="*/ 357382 h 4936668"/>
                  <a:gd name="connsiteX565" fmla="*/ 5546608 w 9013239"/>
                  <a:gd name="connsiteY565" fmla="*/ 352618 h 4936668"/>
                  <a:gd name="connsiteX566" fmla="*/ 5551373 w 9013239"/>
                  <a:gd name="connsiteY566" fmla="*/ 347852 h 4936668"/>
                  <a:gd name="connsiteX567" fmla="*/ 5551373 w 9013239"/>
                  <a:gd name="connsiteY567" fmla="*/ 343088 h 4936668"/>
                  <a:gd name="connsiteX568" fmla="*/ 5546608 w 9013239"/>
                  <a:gd name="connsiteY568" fmla="*/ 343088 h 4936668"/>
                  <a:gd name="connsiteX569" fmla="*/ 5546608 w 9013239"/>
                  <a:gd name="connsiteY569" fmla="*/ 338322 h 4936668"/>
                  <a:gd name="connsiteX570" fmla="*/ 5556138 w 9013239"/>
                  <a:gd name="connsiteY570" fmla="*/ 333558 h 4936668"/>
                  <a:gd name="connsiteX571" fmla="*/ 5618085 w 9013239"/>
                  <a:gd name="connsiteY571" fmla="*/ 300202 h 4936668"/>
                  <a:gd name="connsiteX572" fmla="*/ 324029 w 9013239"/>
                  <a:gd name="connsiteY572" fmla="*/ 233488 h 4936668"/>
                  <a:gd name="connsiteX573" fmla="*/ 328794 w 9013239"/>
                  <a:gd name="connsiteY573" fmla="*/ 233488 h 4936668"/>
                  <a:gd name="connsiteX574" fmla="*/ 333559 w 9013239"/>
                  <a:gd name="connsiteY574" fmla="*/ 238256 h 4936668"/>
                  <a:gd name="connsiteX575" fmla="*/ 343089 w 9013239"/>
                  <a:gd name="connsiteY575" fmla="*/ 247784 h 4936668"/>
                  <a:gd name="connsiteX576" fmla="*/ 338324 w 9013239"/>
                  <a:gd name="connsiteY576" fmla="*/ 257316 h 4936668"/>
                  <a:gd name="connsiteX577" fmla="*/ 314498 w 9013239"/>
                  <a:gd name="connsiteY577" fmla="*/ 266844 h 4936668"/>
                  <a:gd name="connsiteX578" fmla="*/ 314498 w 9013239"/>
                  <a:gd name="connsiteY578" fmla="*/ 271612 h 4936668"/>
                  <a:gd name="connsiteX579" fmla="*/ 328794 w 9013239"/>
                  <a:gd name="connsiteY579" fmla="*/ 276376 h 4936668"/>
                  <a:gd name="connsiteX580" fmla="*/ 333559 w 9013239"/>
                  <a:gd name="connsiteY580" fmla="*/ 285904 h 4936668"/>
                  <a:gd name="connsiteX581" fmla="*/ 343089 w 9013239"/>
                  <a:gd name="connsiteY581" fmla="*/ 319260 h 4936668"/>
                  <a:gd name="connsiteX582" fmla="*/ 347854 w 9013239"/>
                  <a:gd name="connsiteY582" fmla="*/ 304964 h 4936668"/>
                  <a:gd name="connsiteX583" fmla="*/ 366915 w 9013239"/>
                  <a:gd name="connsiteY583" fmla="*/ 328792 h 4936668"/>
                  <a:gd name="connsiteX584" fmla="*/ 366915 w 9013239"/>
                  <a:gd name="connsiteY584" fmla="*/ 338320 h 4936668"/>
                  <a:gd name="connsiteX585" fmla="*/ 366915 w 9013239"/>
                  <a:gd name="connsiteY585" fmla="*/ 343088 h 4936668"/>
                  <a:gd name="connsiteX586" fmla="*/ 362150 w 9013239"/>
                  <a:gd name="connsiteY586" fmla="*/ 343088 h 4936668"/>
                  <a:gd name="connsiteX587" fmla="*/ 357385 w 9013239"/>
                  <a:gd name="connsiteY587" fmla="*/ 338320 h 4936668"/>
                  <a:gd name="connsiteX588" fmla="*/ 352619 w 9013239"/>
                  <a:gd name="connsiteY588" fmla="*/ 333556 h 4936668"/>
                  <a:gd name="connsiteX589" fmla="*/ 347854 w 9013239"/>
                  <a:gd name="connsiteY589" fmla="*/ 328792 h 4936668"/>
                  <a:gd name="connsiteX590" fmla="*/ 338324 w 9013239"/>
                  <a:gd name="connsiteY590" fmla="*/ 324028 h 4936668"/>
                  <a:gd name="connsiteX591" fmla="*/ 333559 w 9013239"/>
                  <a:gd name="connsiteY591" fmla="*/ 319260 h 4936668"/>
                  <a:gd name="connsiteX592" fmla="*/ 328794 w 9013239"/>
                  <a:gd name="connsiteY592" fmla="*/ 309732 h 4936668"/>
                  <a:gd name="connsiteX593" fmla="*/ 328794 w 9013239"/>
                  <a:gd name="connsiteY593" fmla="*/ 295436 h 4936668"/>
                  <a:gd name="connsiteX594" fmla="*/ 328794 w 9013239"/>
                  <a:gd name="connsiteY594" fmla="*/ 290672 h 4936668"/>
                  <a:gd name="connsiteX595" fmla="*/ 324029 w 9013239"/>
                  <a:gd name="connsiteY595" fmla="*/ 285904 h 4936668"/>
                  <a:gd name="connsiteX596" fmla="*/ 319263 w 9013239"/>
                  <a:gd name="connsiteY596" fmla="*/ 285904 h 4936668"/>
                  <a:gd name="connsiteX597" fmla="*/ 309733 w 9013239"/>
                  <a:gd name="connsiteY597" fmla="*/ 271612 h 4936668"/>
                  <a:gd name="connsiteX598" fmla="*/ 309733 w 9013239"/>
                  <a:gd name="connsiteY598" fmla="*/ 266844 h 4936668"/>
                  <a:gd name="connsiteX599" fmla="*/ 309733 w 9013239"/>
                  <a:gd name="connsiteY599" fmla="*/ 257316 h 4936668"/>
                  <a:gd name="connsiteX600" fmla="*/ 319263 w 9013239"/>
                  <a:gd name="connsiteY600" fmla="*/ 243020 h 4936668"/>
                  <a:gd name="connsiteX601" fmla="*/ 285908 w 9013239"/>
                  <a:gd name="connsiteY601" fmla="*/ 195368 h 4936668"/>
                  <a:gd name="connsiteX602" fmla="*/ 290673 w 9013239"/>
                  <a:gd name="connsiteY602" fmla="*/ 195368 h 4936668"/>
                  <a:gd name="connsiteX603" fmla="*/ 290673 w 9013239"/>
                  <a:gd name="connsiteY603" fmla="*/ 204900 h 4936668"/>
                  <a:gd name="connsiteX604" fmla="*/ 295438 w 9013239"/>
                  <a:gd name="connsiteY604" fmla="*/ 219192 h 4936668"/>
                  <a:gd name="connsiteX605" fmla="*/ 295438 w 9013239"/>
                  <a:gd name="connsiteY605" fmla="*/ 223960 h 4936668"/>
                  <a:gd name="connsiteX606" fmla="*/ 285908 w 9013239"/>
                  <a:gd name="connsiteY606" fmla="*/ 223960 h 4936668"/>
                  <a:gd name="connsiteX607" fmla="*/ 281143 w 9013239"/>
                  <a:gd name="connsiteY607" fmla="*/ 219192 h 4936668"/>
                  <a:gd name="connsiteX608" fmla="*/ 281143 w 9013239"/>
                  <a:gd name="connsiteY608" fmla="*/ 209664 h 4936668"/>
                  <a:gd name="connsiteX609" fmla="*/ 281143 w 9013239"/>
                  <a:gd name="connsiteY609" fmla="*/ 200132 h 4936668"/>
                  <a:gd name="connsiteX610" fmla="*/ 243022 w 9013239"/>
                  <a:gd name="connsiteY610" fmla="*/ 181072 h 4936668"/>
                  <a:gd name="connsiteX611" fmla="*/ 252552 w 9013239"/>
                  <a:gd name="connsiteY611" fmla="*/ 181072 h 4936668"/>
                  <a:gd name="connsiteX612" fmla="*/ 266848 w 9013239"/>
                  <a:gd name="connsiteY612" fmla="*/ 200132 h 4936668"/>
                  <a:gd name="connsiteX613" fmla="*/ 266848 w 9013239"/>
                  <a:gd name="connsiteY613" fmla="*/ 204896 h 4936668"/>
                  <a:gd name="connsiteX614" fmla="*/ 271613 w 9013239"/>
                  <a:gd name="connsiteY614" fmla="*/ 214428 h 4936668"/>
                  <a:gd name="connsiteX615" fmla="*/ 252552 w 9013239"/>
                  <a:gd name="connsiteY615" fmla="*/ 209664 h 4936668"/>
                  <a:gd name="connsiteX616" fmla="*/ 247787 w 9013239"/>
                  <a:gd name="connsiteY616" fmla="*/ 204896 h 4936668"/>
                  <a:gd name="connsiteX617" fmla="*/ 243022 w 9013239"/>
                  <a:gd name="connsiteY617" fmla="*/ 200132 h 4936668"/>
                  <a:gd name="connsiteX618" fmla="*/ 243022 w 9013239"/>
                  <a:gd name="connsiteY618" fmla="*/ 185836 h 4936668"/>
                  <a:gd name="connsiteX619" fmla="*/ 281142 w 9013239"/>
                  <a:gd name="connsiteY619" fmla="*/ 157248 h 4936668"/>
                  <a:gd name="connsiteX620" fmla="*/ 285907 w 9013239"/>
                  <a:gd name="connsiteY620" fmla="*/ 157248 h 4936668"/>
                  <a:gd name="connsiteX621" fmla="*/ 300203 w 9013239"/>
                  <a:gd name="connsiteY621" fmla="*/ 166776 h 4936668"/>
                  <a:gd name="connsiteX622" fmla="*/ 304968 w 9013239"/>
                  <a:gd name="connsiteY622" fmla="*/ 171544 h 4936668"/>
                  <a:gd name="connsiteX623" fmla="*/ 300203 w 9013239"/>
                  <a:gd name="connsiteY623" fmla="*/ 176308 h 4936668"/>
                  <a:gd name="connsiteX624" fmla="*/ 295438 w 9013239"/>
                  <a:gd name="connsiteY624" fmla="*/ 176308 h 4936668"/>
                  <a:gd name="connsiteX625" fmla="*/ 285907 w 9013239"/>
                  <a:gd name="connsiteY625" fmla="*/ 171544 h 4936668"/>
                  <a:gd name="connsiteX626" fmla="*/ 281142 w 9013239"/>
                  <a:gd name="connsiteY626" fmla="*/ 166776 h 4936668"/>
                  <a:gd name="connsiteX627" fmla="*/ 285907 w 9013239"/>
                  <a:gd name="connsiteY627" fmla="*/ 181072 h 4936668"/>
                  <a:gd name="connsiteX628" fmla="*/ 285907 w 9013239"/>
                  <a:gd name="connsiteY628" fmla="*/ 185840 h 4936668"/>
                  <a:gd name="connsiteX629" fmla="*/ 271612 w 9013239"/>
                  <a:gd name="connsiteY629" fmla="*/ 176308 h 4936668"/>
                  <a:gd name="connsiteX630" fmla="*/ 266847 w 9013239"/>
                  <a:gd name="connsiteY630" fmla="*/ 171544 h 4936668"/>
                  <a:gd name="connsiteX631" fmla="*/ 271612 w 9013239"/>
                  <a:gd name="connsiteY631" fmla="*/ 166776 h 4936668"/>
                  <a:gd name="connsiteX632" fmla="*/ 4617409 w 9013239"/>
                  <a:gd name="connsiteY632" fmla="*/ 0 h 4936668"/>
                  <a:gd name="connsiteX633" fmla="*/ 4650765 w 9013239"/>
                  <a:gd name="connsiteY633" fmla="*/ 4764 h 4936668"/>
                  <a:gd name="connsiteX634" fmla="*/ 4660295 w 9013239"/>
                  <a:gd name="connsiteY634" fmla="*/ 14292 h 4936668"/>
                  <a:gd name="connsiteX635" fmla="*/ 4665060 w 9013239"/>
                  <a:gd name="connsiteY635" fmla="*/ 14292 h 4936668"/>
                  <a:gd name="connsiteX636" fmla="*/ 4665060 w 9013239"/>
                  <a:gd name="connsiteY636" fmla="*/ 28588 h 4936668"/>
                  <a:gd name="connsiteX637" fmla="*/ 4665060 w 9013239"/>
                  <a:gd name="connsiteY637" fmla="*/ 61944 h 4936668"/>
                  <a:gd name="connsiteX638" fmla="*/ 4674591 w 9013239"/>
                  <a:gd name="connsiteY638" fmla="*/ 90536 h 4936668"/>
                  <a:gd name="connsiteX639" fmla="*/ 4688885 w 9013239"/>
                  <a:gd name="connsiteY639" fmla="*/ 119128 h 4936668"/>
                  <a:gd name="connsiteX640" fmla="*/ 4688885 w 9013239"/>
                  <a:gd name="connsiteY640" fmla="*/ 133420 h 4936668"/>
                  <a:gd name="connsiteX641" fmla="*/ 4693651 w 9013239"/>
                  <a:gd name="connsiteY641" fmla="*/ 142952 h 4936668"/>
                  <a:gd name="connsiteX642" fmla="*/ 4703181 w 9013239"/>
                  <a:gd name="connsiteY642" fmla="*/ 147716 h 4936668"/>
                  <a:gd name="connsiteX643" fmla="*/ 4731772 w 9013239"/>
                  <a:gd name="connsiteY643" fmla="*/ 157248 h 4936668"/>
                  <a:gd name="connsiteX644" fmla="*/ 4788953 w 9013239"/>
                  <a:gd name="connsiteY644" fmla="*/ 171544 h 4936668"/>
                  <a:gd name="connsiteX645" fmla="*/ 4822309 w 9013239"/>
                  <a:gd name="connsiteY645" fmla="*/ 181072 h 4936668"/>
                  <a:gd name="connsiteX646" fmla="*/ 4827075 w 9013239"/>
                  <a:gd name="connsiteY646" fmla="*/ 195368 h 4936668"/>
                  <a:gd name="connsiteX647" fmla="*/ 4841369 w 9013239"/>
                  <a:gd name="connsiteY647" fmla="*/ 200132 h 4936668"/>
                  <a:gd name="connsiteX648" fmla="*/ 4865195 w 9013239"/>
                  <a:gd name="connsiteY648" fmla="*/ 200132 h 4936668"/>
                  <a:gd name="connsiteX649" fmla="*/ 4879491 w 9013239"/>
                  <a:gd name="connsiteY649" fmla="*/ 190604 h 4936668"/>
                  <a:gd name="connsiteX650" fmla="*/ 4893786 w 9013239"/>
                  <a:gd name="connsiteY650" fmla="*/ 181072 h 4936668"/>
                  <a:gd name="connsiteX651" fmla="*/ 4912847 w 9013239"/>
                  <a:gd name="connsiteY651" fmla="*/ 176308 h 4936668"/>
                  <a:gd name="connsiteX652" fmla="*/ 4931907 w 9013239"/>
                  <a:gd name="connsiteY652" fmla="*/ 176308 h 4936668"/>
                  <a:gd name="connsiteX653" fmla="*/ 4946203 w 9013239"/>
                  <a:gd name="connsiteY653" fmla="*/ 176308 h 4936668"/>
                  <a:gd name="connsiteX654" fmla="*/ 4955733 w 9013239"/>
                  <a:gd name="connsiteY654" fmla="*/ 181072 h 4936668"/>
                  <a:gd name="connsiteX655" fmla="*/ 4979559 w 9013239"/>
                  <a:gd name="connsiteY655" fmla="*/ 190604 h 4936668"/>
                  <a:gd name="connsiteX656" fmla="*/ 4993854 w 9013239"/>
                  <a:gd name="connsiteY656" fmla="*/ 200132 h 4936668"/>
                  <a:gd name="connsiteX657" fmla="*/ 5017679 w 9013239"/>
                  <a:gd name="connsiteY657" fmla="*/ 214428 h 4936668"/>
                  <a:gd name="connsiteX658" fmla="*/ 5031975 w 9013239"/>
                  <a:gd name="connsiteY658" fmla="*/ 223960 h 4936668"/>
                  <a:gd name="connsiteX659" fmla="*/ 5036740 w 9013239"/>
                  <a:gd name="connsiteY659" fmla="*/ 238256 h 4936668"/>
                  <a:gd name="connsiteX660" fmla="*/ 5046270 w 9013239"/>
                  <a:gd name="connsiteY660" fmla="*/ 257316 h 4936668"/>
                  <a:gd name="connsiteX661" fmla="*/ 5055801 w 9013239"/>
                  <a:gd name="connsiteY661" fmla="*/ 257316 h 4936668"/>
                  <a:gd name="connsiteX662" fmla="*/ 5065331 w 9013239"/>
                  <a:gd name="connsiteY662" fmla="*/ 247784 h 4936668"/>
                  <a:gd name="connsiteX663" fmla="*/ 5084391 w 9013239"/>
                  <a:gd name="connsiteY663" fmla="*/ 243020 h 4936668"/>
                  <a:gd name="connsiteX664" fmla="*/ 5108217 w 9013239"/>
                  <a:gd name="connsiteY664" fmla="*/ 252548 h 4936668"/>
                  <a:gd name="connsiteX665" fmla="*/ 5132043 w 9013239"/>
                  <a:gd name="connsiteY665" fmla="*/ 276376 h 4936668"/>
                  <a:gd name="connsiteX666" fmla="*/ 5165399 w 9013239"/>
                  <a:gd name="connsiteY666" fmla="*/ 300200 h 4936668"/>
                  <a:gd name="connsiteX667" fmla="*/ 5184459 w 9013239"/>
                  <a:gd name="connsiteY667" fmla="*/ 309732 h 4936668"/>
                  <a:gd name="connsiteX668" fmla="*/ 5203519 w 9013239"/>
                  <a:gd name="connsiteY668" fmla="*/ 309732 h 4936668"/>
                  <a:gd name="connsiteX669" fmla="*/ 5232110 w 9013239"/>
                  <a:gd name="connsiteY669" fmla="*/ 300200 h 4936668"/>
                  <a:gd name="connsiteX670" fmla="*/ 5260701 w 9013239"/>
                  <a:gd name="connsiteY670" fmla="*/ 281140 h 4936668"/>
                  <a:gd name="connsiteX671" fmla="*/ 5279761 w 9013239"/>
                  <a:gd name="connsiteY671" fmla="*/ 276376 h 4936668"/>
                  <a:gd name="connsiteX672" fmla="*/ 5289291 w 9013239"/>
                  <a:gd name="connsiteY672" fmla="*/ 276376 h 4936668"/>
                  <a:gd name="connsiteX673" fmla="*/ 5298822 w 9013239"/>
                  <a:gd name="connsiteY673" fmla="*/ 295436 h 4936668"/>
                  <a:gd name="connsiteX674" fmla="*/ 5303587 w 9013239"/>
                  <a:gd name="connsiteY674" fmla="*/ 300200 h 4936668"/>
                  <a:gd name="connsiteX675" fmla="*/ 5327413 w 9013239"/>
                  <a:gd name="connsiteY675" fmla="*/ 300200 h 4936668"/>
                  <a:gd name="connsiteX676" fmla="*/ 5370299 w 9013239"/>
                  <a:gd name="connsiteY676" fmla="*/ 300200 h 4936668"/>
                  <a:gd name="connsiteX677" fmla="*/ 5408420 w 9013239"/>
                  <a:gd name="connsiteY677" fmla="*/ 295436 h 4936668"/>
                  <a:gd name="connsiteX678" fmla="*/ 5417950 w 9013239"/>
                  <a:gd name="connsiteY678" fmla="*/ 304968 h 4936668"/>
                  <a:gd name="connsiteX679" fmla="*/ 5422715 w 9013239"/>
                  <a:gd name="connsiteY679" fmla="*/ 319260 h 4936668"/>
                  <a:gd name="connsiteX680" fmla="*/ 5437011 w 9013239"/>
                  <a:gd name="connsiteY680" fmla="*/ 324028 h 4936668"/>
                  <a:gd name="connsiteX681" fmla="*/ 5456071 w 9013239"/>
                  <a:gd name="connsiteY681" fmla="*/ 319260 h 4936668"/>
                  <a:gd name="connsiteX682" fmla="*/ 5489427 w 9013239"/>
                  <a:gd name="connsiteY682" fmla="*/ 324028 h 4936668"/>
                  <a:gd name="connsiteX683" fmla="*/ 5484662 w 9013239"/>
                  <a:gd name="connsiteY683" fmla="*/ 328792 h 4936668"/>
                  <a:gd name="connsiteX684" fmla="*/ 5479897 w 9013239"/>
                  <a:gd name="connsiteY684" fmla="*/ 324028 h 4936668"/>
                  <a:gd name="connsiteX685" fmla="*/ 5475131 w 9013239"/>
                  <a:gd name="connsiteY685" fmla="*/ 328792 h 4936668"/>
                  <a:gd name="connsiteX686" fmla="*/ 5465601 w 9013239"/>
                  <a:gd name="connsiteY686" fmla="*/ 338324 h 4936668"/>
                  <a:gd name="connsiteX687" fmla="*/ 5451306 w 9013239"/>
                  <a:gd name="connsiteY687" fmla="*/ 347852 h 4936668"/>
                  <a:gd name="connsiteX688" fmla="*/ 5422715 w 9013239"/>
                  <a:gd name="connsiteY688" fmla="*/ 362148 h 4936668"/>
                  <a:gd name="connsiteX689" fmla="*/ 5394125 w 9013239"/>
                  <a:gd name="connsiteY689" fmla="*/ 371676 h 4936668"/>
                  <a:gd name="connsiteX690" fmla="*/ 5327413 w 9013239"/>
                  <a:gd name="connsiteY690" fmla="*/ 395504 h 4936668"/>
                  <a:gd name="connsiteX691" fmla="*/ 5289291 w 9013239"/>
                  <a:gd name="connsiteY691" fmla="*/ 419328 h 4936668"/>
                  <a:gd name="connsiteX692" fmla="*/ 5274997 w 9013239"/>
                  <a:gd name="connsiteY692" fmla="*/ 433624 h 4936668"/>
                  <a:gd name="connsiteX693" fmla="*/ 5203519 w 9013239"/>
                  <a:gd name="connsiteY693" fmla="*/ 505100 h 4936668"/>
                  <a:gd name="connsiteX694" fmla="*/ 5165399 w 9013239"/>
                  <a:gd name="connsiteY694" fmla="*/ 543224 h 4936668"/>
                  <a:gd name="connsiteX695" fmla="*/ 5098687 w 9013239"/>
                  <a:gd name="connsiteY695" fmla="*/ 595640 h 4936668"/>
                  <a:gd name="connsiteX696" fmla="*/ 5093921 w 9013239"/>
                  <a:gd name="connsiteY696" fmla="*/ 605168 h 4936668"/>
                  <a:gd name="connsiteX697" fmla="*/ 5093921 w 9013239"/>
                  <a:gd name="connsiteY697" fmla="*/ 609936 h 4936668"/>
                  <a:gd name="connsiteX698" fmla="*/ 5098687 w 9013239"/>
                  <a:gd name="connsiteY698" fmla="*/ 614700 h 4936668"/>
                  <a:gd name="connsiteX699" fmla="*/ 5112982 w 9013239"/>
                  <a:gd name="connsiteY699" fmla="*/ 624228 h 4936668"/>
                  <a:gd name="connsiteX700" fmla="*/ 5122513 w 9013239"/>
                  <a:gd name="connsiteY700" fmla="*/ 624228 h 4936668"/>
                  <a:gd name="connsiteX701" fmla="*/ 5136807 w 9013239"/>
                  <a:gd name="connsiteY701" fmla="*/ 624228 h 4936668"/>
                  <a:gd name="connsiteX702" fmla="*/ 5189224 w 9013239"/>
                  <a:gd name="connsiteY702" fmla="*/ 609936 h 4936668"/>
                  <a:gd name="connsiteX703" fmla="*/ 5213049 w 9013239"/>
                  <a:gd name="connsiteY703" fmla="*/ 600404 h 4936668"/>
                  <a:gd name="connsiteX704" fmla="*/ 5232110 w 9013239"/>
                  <a:gd name="connsiteY704" fmla="*/ 581344 h 4936668"/>
                  <a:gd name="connsiteX705" fmla="*/ 5236875 w 9013239"/>
                  <a:gd name="connsiteY705" fmla="*/ 581344 h 4936668"/>
                  <a:gd name="connsiteX706" fmla="*/ 5241641 w 9013239"/>
                  <a:gd name="connsiteY706" fmla="*/ 586108 h 4936668"/>
                  <a:gd name="connsiteX707" fmla="*/ 5246405 w 9013239"/>
                  <a:gd name="connsiteY707" fmla="*/ 586108 h 4936668"/>
                  <a:gd name="connsiteX708" fmla="*/ 5274997 w 9013239"/>
                  <a:gd name="connsiteY708" fmla="*/ 567048 h 4936668"/>
                  <a:gd name="connsiteX709" fmla="*/ 5284527 w 9013239"/>
                  <a:gd name="connsiteY709" fmla="*/ 562284 h 4936668"/>
                  <a:gd name="connsiteX710" fmla="*/ 5289291 w 9013239"/>
                  <a:gd name="connsiteY710" fmla="*/ 562284 h 4936668"/>
                  <a:gd name="connsiteX711" fmla="*/ 5298822 w 9013239"/>
                  <a:gd name="connsiteY711" fmla="*/ 571812 h 4936668"/>
                  <a:gd name="connsiteX712" fmla="*/ 5303587 w 9013239"/>
                  <a:gd name="connsiteY712" fmla="*/ 576580 h 4936668"/>
                  <a:gd name="connsiteX713" fmla="*/ 5298822 w 9013239"/>
                  <a:gd name="connsiteY713" fmla="*/ 586108 h 4936668"/>
                  <a:gd name="connsiteX714" fmla="*/ 5289291 w 9013239"/>
                  <a:gd name="connsiteY714" fmla="*/ 600404 h 4936668"/>
                  <a:gd name="connsiteX715" fmla="*/ 5289291 w 9013239"/>
                  <a:gd name="connsiteY715" fmla="*/ 609936 h 4936668"/>
                  <a:gd name="connsiteX716" fmla="*/ 5289291 w 9013239"/>
                  <a:gd name="connsiteY716" fmla="*/ 619464 h 4936668"/>
                  <a:gd name="connsiteX717" fmla="*/ 5284527 w 9013239"/>
                  <a:gd name="connsiteY717" fmla="*/ 628996 h 4936668"/>
                  <a:gd name="connsiteX718" fmla="*/ 5274997 w 9013239"/>
                  <a:gd name="connsiteY718" fmla="*/ 643292 h 4936668"/>
                  <a:gd name="connsiteX719" fmla="*/ 5279761 w 9013239"/>
                  <a:gd name="connsiteY719" fmla="*/ 648056 h 4936668"/>
                  <a:gd name="connsiteX720" fmla="*/ 5303587 w 9013239"/>
                  <a:gd name="connsiteY720" fmla="*/ 638524 h 4936668"/>
                  <a:gd name="connsiteX721" fmla="*/ 5303587 w 9013239"/>
                  <a:gd name="connsiteY721" fmla="*/ 633760 h 4936668"/>
                  <a:gd name="connsiteX722" fmla="*/ 5303587 w 9013239"/>
                  <a:gd name="connsiteY722" fmla="*/ 628996 h 4936668"/>
                  <a:gd name="connsiteX723" fmla="*/ 5308352 w 9013239"/>
                  <a:gd name="connsiteY723" fmla="*/ 624228 h 4936668"/>
                  <a:gd name="connsiteX724" fmla="*/ 5327413 w 9013239"/>
                  <a:gd name="connsiteY724" fmla="*/ 638524 h 4936668"/>
                  <a:gd name="connsiteX725" fmla="*/ 5336943 w 9013239"/>
                  <a:gd name="connsiteY725" fmla="*/ 648056 h 4936668"/>
                  <a:gd name="connsiteX726" fmla="*/ 5351239 w 9013239"/>
                  <a:gd name="connsiteY726" fmla="*/ 648056 h 4936668"/>
                  <a:gd name="connsiteX727" fmla="*/ 5370299 w 9013239"/>
                  <a:gd name="connsiteY727" fmla="*/ 648056 h 4936668"/>
                  <a:gd name="connsiteX728" fmla="*/ 5398889 w 9013239"/>
                  <a:gd name="connsiteY728" fmla="*/ 633760 h 4936668"/>
                  <a:gd name="connsiteX729" fmla="*/ 5422715 w 9013239"/>
                  <a:gd name="connsiteY729" fmla="*/ 619464 h 4936668"/>
                  <a:gd name="connsiteX730" fmla="*/ 5446541 w 9013239"/>
                  <a:gd name="connsiteY730" fmla="*/ 605168 h 4936668"/>
                  <a:gd name="connsiteX731" fmla="*/ 5470367 w 9013239"/>
                  <a:gd name="connsiteY731" fmla="*/ 590872 h 4936668"/>
                  <a:gd name="connsiteX732" fmla="*/ 5498957 w 9013239"/>
                  <a:gd name="connsiteY732" fmla="*/ 590872 h 4936668"/>
                  <a:gd name="connsiteX733" fmla="*/ 5522783 w 9013239"/>
                  <a:gd name="connsiteY733" fmla="*/ 581344 h 4936668"/>
                  <a:gd name="connsiteX734" fmla="*/ 5537079 w 9013239"/>
                  <a:gd name="connsiteY734" fmla="*/ 571812 h 4936668"/>
                  <a:gd name="connsiteX735" fmla="*/ 5556139 w 9013239"/>
                  <a:gd name="connsiteY735" fmla="*/ 557516 h 4936668"/>
                  <a:gd name="connsiteX736" fmla="*/ 5565669 w 9013239"/>
                  <a:gd name="connsiteY736" fmla="*/ 552752 h 4936668"/>
                  <a:gd name="connsiteX737" fmla="*/ 5575199 w 9013239"/>
                  <a:gd name="connsiteY737" fmla="*/ 552752 h 4936668"/>
                  <a:gd name="connsiteX738" fmla="*/ 5584729 w 9013239"/>
                  <a:gd name="connsiteY738" fmla="*/ 547988 h 4936668"/>
                  <a:gd name="connsiteX739" fmla="*/ 5594260 w 9013239"/>
                  <a:gd name="connsiteY739" fmla="*/ 533692 h 4936668"/>
                  <a:gd name="connsiteX740" fmla="*/ 5603790 w 9013239"/>
                  <a:gd name="connsiteY740" fmla="*/ 524160 h 4936668"/>
                  <a:gd name="connsiteX741" fmla="*/ 5622851 w 9013239"/>
                  <a:gd name="connsiteY741" fmla="*/ 509868 h 4936668"/>
                  <a:gd name="connsiteX742" fmla="*/ 5632381 w 9013239"/>
                  <a:gd name="connsiteY742" fmla="*/ 500336 h 4936668"/>
                  <a:gd name="connsiteX743" fmla="*/ 5637146 w 9013239"/>
                  <a:gd name="connsiteY743" fmla="*/ 505100 h 4936668"/>
                  <a:gd name="connsiteX744" fmla="*/ 5637146 w 9013239"/>
                  <a:gd name="connsiteY744" fmla="*/ 509868 h 4936668"/>
                  <a:gd name="connsiteX745" fmla="*/ 5637146 w 9013239"/>
                  <a:gd name="connsiteY745" fmla="*/ 514632 h 4936668"/>
                  <a:gd name="connsiteX746" fmla="*/ 5637146 w 9013239"/>
                  <a:gd name="connsiteY746" fmla="*/ 519396 h 4936668"/>
                  <a:gd name="connsiteX747" fmla="*/ 5641911 w 9013239"/>
                  <a:gd name="connsiteY747" fmla="*/ 524160 h 4936668"/>
                  <a:gd name="connsiteX748" fmla="*/ 5651441 w 9013239"/>
                  <a:gd name="connsiteY748" fmla="*/ 528928 h 4936668"/>
                  <a:gd name="connsiteX749" fmla="*/ 5656207 w 9013239"/>
                  <a:gd name="connsiteY749" fmla="*/ 533692 h 4936668"/>
                  <a:gd name="connsiteX750" fmla="*/ 5651441 w 9013239"/>
                  <a:gd name="connsiteY750" fmla="*/ 543224 h 4936668"/>
                  <a:gd name="connsiteX751" fmla="*/ 5656207 w 9013239"/>
                  <a:gd name="connsiteY751" fmla="*/ 547988 h 4936668"/>
                  <a:gd name="connsiteX752" fmla="*/ 5660971 w 9013239"/>
                  <a:gd name="connsiteY752" fmla="*/ 552752 h 4936668"/>
                  <a:gd name="connsiteX753" fmla="*/ 5665737 w 9013239"/>
                  <a:gd name="connsiteY753" fmla="*/ 562284 h 4936668"/>
                  <a:gd name="connsiteX754" fmla="*/ 5660971 w 9013239"/>
                  <a:gd name="connsiteY754" fmla="*/ 581344 h 4936668"/>
                  <a:gd name="connsiteX755" fmla="*/ 5660971 w 9013239"/>
                  <a:gd name="connsiteY755" fmla="*/ 590872 h 4936668"/>
                  <a:gd name="connsiteX756" fmla="*/ 5660971 w 9013239"/>
                  <a:gd name="connsiteY756" fmla="*/ 600404 h 4936668"/>
                  <a:gd name="connsiteX757" fmla="*/ 5665737 w 9013239"/>
                  <a:gd name="connsiteY757" fmla="*/ 600404 h 4936668"/>
                  <a:gd name="connsiteX758" fmla="*/ 5670502 w 9013239"/>
                  <a:gd name="connsiteY758" fmla="*/ 600404 h 4936668"/>
                  <a:gd name="connsiteX759" fmla="*/ 5670502 w 9013239"/>
                  <a:gd name="connsiteY759" fmla="*/ 590872 h 4936668"/>
                  <a:gd name="connsiteX760" fmla="*/ 5675267 w 9013239"/>
                  <a:gd name="connsiteY760" fmla="*/ 586108 h 4936668"/>
                  <a:gd name="connsiteX761" fmla="*/ 5699093 w 9013239"/>
                  <a:gd name="connsiteY761" fmla="*/ 567048 h 4936668"/>
                  <a:gd name="connsiteX762" fmla="*/ 5708623 w 9013239"/>
                  <a:gd name="connsiteY762" fmla="*/ 567048 h 4936668"/>
                  <a:gd name="connsiteX763" fmla="*/ 5713388 w 9013239"/>
                  <a:gd name="connsiteY763" fmla="*/ 571812 h 4936668"/>
                  <a:gd name="connsiteX764" fmla="*/ 5751509 w 9013239"/>
                  <a:gd name="connsiteY764" fmla="*/ 576580 h 4936668"/>
                  <a:gd name="connsiteX765" fmla="*/ 5770569 w 9013239"/>
                  <a:gd name="connsiteY765" fmla="*/ 581344 h 4936668"/>
                  <a:gd name="connsiteX766" fmla="*/ 5784865 w 9013239"/>
                  <a:gd name="connsiteY766" fmla="*/ 590872 h 4936668"/>
                  <a:gd name="connsiteX767" fmla="*/ 5789630 w 9013239"/>
                  <a:gd name="connsiteY767" fmla="*/ 595640 h 4936668"/>
                  <a:gd name="connsiteX768" fmla="*/ 5813456 w 9013239"/>
                  <a:gd name="connsiteY768" fmla="*/ 628996 h 4936668"/>
                  <a:gd name="connsiteX769" fmla="*/ 5822986 w 9013239"/>
                  <a:gd name="connsiteY769" fmla="*/ 638524 h 4936668"/>
                  <a:gd name="connsiteX770" fmla="*/ 5827751 w 9013239"/>
                  <a:gd name="connsiteY770" fmla="*/ 643292 h 4936668"/>
                  <a:gd name="connsiteX771" fmla="*/ 5827751 w 9013239"/>
                  <a:gd name="connsiteY771" fmla="*/ 648056 h 4936668"/>
                  <a:gd name="connsiteX772" fmla="*/ 5832517 w 9013239"/>
                  <a:gd name="connsiteY772" fmla="*/ 662352 h 4936668"/>
                  <a:gd name="connsiteX773" fmla="*/ 5837281 w 9013239"/>
                  <a:gd name="connsiteY773" fmla="*/ 662352 h 4936668"/>
                  <a:gd name="connsiteX774" fmla="*/ 5865872 w 9013239"/>
                  <a:gd name="connsiteY774" fmla="*/ 667116 h 4936668"/>
                  <a:gd name="connsiteX775" fmla="*/ 5880167 w 9013239"/>
                  <a:gd name="connsiteY775" fmla="*/ 662352 h 4936668"/>
                  <a:gd name="connsiteX776" fmla="*/ 5884933 w 9013239"/>
                  <a:gd name="connsiteY776" fmla="*/ 657584 h 4936668"/>
                  <a:gd name="connsiteX777" fmla="*/ 5894463 w 9013239"/>
                  <a:gd name="connsiteY777" fmla="*/ 662352 h 4936668"/>
                  <a:gd name="connsiteX778" fmla="*/ 5903993 w 9013239"/>
                  <a:gd name="connsiteY778" fmla="*/ 671880 h 4936668"/>
                  <a:gd name="connsiteX779" fmla="*/ 5913523 w 9013239"/>
                  <a:gd name="connsiteY779" fmla="*/ 676648 h 4936668"/>
                  <a:gd name="connsiteX780" fmla="*/ 5923053 w 9013239"/>
                  <a:gd name="connsiteY780" fmla="*/ 671880 h 4936668"/>
                  <a:gd name="connsiteX781" fmla="*/ 5932584 w 9013239"/>
                  <a:gd name="connsiteY781" fmla="*/ 671880 h 4936668"/>
                  <a:gd name="connsiteX782" fmla="*/ 5942114 w 9013239"/>
                  <a:gd name="connsiteY782" fmla="*/ 676648 h 4936668"/>
                  <a:gd name="connsiteX783" fmla="*/ 5946879 w 9013239"/>
                  <a:gd name="connsiteY783" fmla="*/ 681412 h 4936668"/>
                  <a:gd name="connsiteX784" fmla="*/ 5965940 w 9013239"/>
                  <a:gd name="connsiteY784" fmla="*/ 662352 h 4936668"/>
                  <a:gd name="connsiteX785" fmla="*/ 5985001 w 9013239"/>
                  <a:gd name="connsiteY785" fmla="*/ 648056 h 4936668"/>
                  <a:gd name="connsiteX786" fmla="*/ 6013591 w 9013239"/>
                  <a:gd name="connsiteY786" fmla="*/ 633760 h 4936668"/>
                  <a:gd name="connsiteX787" fmla="*/ 6027887 w 9013239"/>
                  <a:gd name="connsiteY787" fmla="*/ 628996 h 4936668"/>
                  <a:gd name="connsiteX788" fmla="*/ 6030269 w 9013239"/>
                  <a:gd name="connsiteY788" fmla="*/ 628996 h 4936668"/>
                  <a:gd name="connsiteX789" fmla="*/ 6054095 w 9013239"/>
                  <a:gd name="connsiteY789" fmla="*/ 624228 h 4936668"/>
                  <a:gd name="connsiteX790" fmla="*/ 6077921 w 9013239"/>
                  <a:gd name="connsiteY790" fmla="*/ 624228 h 4936668"/>
                  <a:gd name="connsiteX791" fmla="*/ 6106511 w 9013239"/>
                  <a:gd name="connsiteY791" fmla="*/ 624228 h 4936668"/>
                  <a:gd name="connsiteX792" fmla="*/ 6130337 w 9013239"/>
                  <a:gd name="connsiteY792" fmla="*/ 624228 h 4936668"/>
                  <a:gd name="connsiteX793" fmla="*/ 6158927 w 9013239"/>
                  <a:gd name="connsiteY793" fmla="*/ 609936 h 4936668"/>
                  <a:gd name="connsiteX794" fmla="*/ 6177988 w 9013239"/>
                  <a:gd name="connsiteY794" fmla="*/ 605168 h 4936668"/>
                  <a:gd name="connsiteX795" fmla="*/ 6197049 w 9013239"/>
                  <a:gd name="connsiteY795" fmla="*/ 605168 h 4936668"/>
                  <a:gd name="connsiteX796" fmla="*/ 6206579 w 9013239"/>
                  <a:gd name="connsiteY796" fmla="*/ 609936 h 4936668"/>
                  <a:gd name="connsiteX797" fmla="*/ 6201813 w 9013239"/>
                  <a:gd name="connsiteY797" fmla="*/ 614700 h 4936668"/>
                  <a:gd name="connsiteX798" fmla="*/ 6197049 w 9013239"/>
                  <a:gd name="connsiteY798" fmla="*/ 628996 h 4936668"/>
                  <a:gd name="connsiteX799" fmla="*/ 6197049 w 9013239"/>
                  <a:gd name="connsiteY799" fmla="*/ 643292 h 4936668"/>
                  <a:gd name="connsiteX800" fmla="*/ 6197049 w 9013239"/>
                  <a:gd name="connsiteY800" fmla="*/ 657584 h 4936668"/>
                  <a:gd name="connsiteX801" fmla="*/ 6192283 w 9013239"/>
                  <a:gd name="connsiteY801" fmla="*/ 657584 h 4936668"/>
                  <a:gd name="connsiteX802" fmla="*/ 6192283 w 9013239"/>
                  <a:gd name="connsiteY802" fmla="*/ 662352 h 4936668"/>
                  <a:gd name="connsiteX803" fmla="*/ 6197049 w 9013239"/>
                  <a:gd name="connsiteY803" fmla="*/ 667116 h 4936668"/>
                  <a:gd name="connsiteX804" fmla="*/ 6216109 w 9013239"/>
                  <a:gd name="connsiteY804" fmla="*/ 671880 h 4936668"/>
                  <a:gd name="connsiteX805" fmla="*/ 6225639 w 9013239"/>
                  <a:gd name="connsiteY805" fmla="*/ 676648 h 4936668"/>
                  <a:gd name="connsiteX806" fmla="*/ 6235169 w 9013239"/>
                  <a:gd name="connsiteY806" fmla="*/ 676648 h 4936668"/>
                  <a:gd name="connsiteX807" fmla="*/ 6249465 w 9013239"/>
                  <a:gd name="connsiteY807" fmla="*/ 671880 h 4936668"/>
                  <a:gd name="connsiteX808" fmla="*/ 6258995 w 9013239"/>
                  <a:gd name="connsiteY808" fmla="*/ 671880 h 4936668"/>
                  <a:gd name="connsiteX809" fmla="*/ 6263761 w 9013239"/>
                  <a:gd name="connsiteY809" fmla="*/ 681412 h 4936668"/>
                  <a:gd name="connsiteX810" fmla="*/ 6273291 w 9013239"/>
                  <a:gd name="connsiteY810" fmla="*/ 686176 h 4936668"/>
                  <a:gd name="connsiteX811" fmla="*/ 6282821 w 9013239"/>
                  <a:gd name="connsiteY811" fmla="*/ 676648 h 4936668"/>
                  <a:gd name="connsiteX812" fmla="*/ 6292351 w 9013239"/>
                  <a:gd name="connsiteY812" fmla="*/ 671880 h 4936668"/>
                  <a:gd name="connsiteX813" fmla="*/ 6297116 w 9013239"/>
                  <a:gd name="connsiteY813" fmla="*/ 667116 h 4936668"/>
                  <a:gd name="connsiteX814" fmla="*/ 6301881 w 9013239"/>
                  <a:gd name="connsiteY814" fmla="*/ 667116 h 4936668"/>
                  <a:gd name="connsiteX815" fmla="*/ 6306647 w 9013239"/>
                  <a:gd name="connsiteY815" fmla="*/ 671880 h 4936668"/>
                  <a:gd name="connsiteX816" fmla="*/ 6311411 w 9013239"/>
                  <a:gd name="connsiteY816" fmla="*/ 676648 h 4936668"/>
                  <a:gd name="connsiteX817" fmla="*/ 6316177 w 9013239"/>
                  <a:gd name="connsiteY817" fmla="*/ 690940 h 4936668"/>
                  <a:gd name="connsiteX818" fmla="*/ 6320942 w 9013239"/>
                  <a:gd name="connsiteY818" fmla="*/ 700472 h 4936668"/>
                  <a:gd name="connsiteX819" fmla="*/ 6325707 w 9013239"/>
                  <a:gd name="connsiteY819" fmla="*/ 714768 h 4936668"/>
                  <a:gd name="connsiteX820" fmla="*/ 6325707 w 9013239"/>
                  <a:gd name="connsiteY820" fmla="*/ 719532 h 4936668"/>
                  <a:gd name="connsiteX821" fmla="*/ 6325707 w 9013239"/>
                  <a:gd name="connsiteY821" fmla="*/ 724296 h 4936668"/>
                  <a:gd name="connsiteX822" fmla="*/ 6320942 w 9013239"/>
                  <a:gd name="connsiteY822" fmla="*/ 733828 h 4936668"/>
                  <a:gd name="connsiteX823" fmla="*/ 6316177 w 9013239"/>
                  <a:gd name="connsiteY823" fmla="*/ 738592 h 4936668"/>
                  <a:gd name="connsiteX824" fmla="*/ 6320942 w 9013239"/>
                  <a:gd name="connsiteY824" fmla="*/ 743356 h 4936668"/>
                  <a:gd name="connsiteX825" fmla="*/ 6340003 w 9013239"/>
                  <a:gd name="connsiteY825" fmla="*/ 743356 h 4936668"/>
                  <a:gd name="connsiteX826" fmla="*/ 6349533 w 9013239"/>
                  <a:gd name="connsiteY826" fmla="*/ 748124 h 4936668"/>
                  <a:gd name="connsiteX827" fmla="*/ 6349533 w 9013239"/>
                  <a:gd name="connsiteY827" fmla="*/ 752888 h 4936668"/>
                  <a:gd name="connsiteX828" fmla="*/ 6349533 w 9013239"/>
                  <a:gd name="connsiteY828" fmla="*/ 757652 h 4936668"/>
                  <a:gd name="connsiteX829" fmla="*/ 6349533 w 9013239"/>
                  <a:gd name="connsiteY829" fmla="*/ 762420 h 4936668"/>
                  <a:gd name="connsiteX830" fmla="*/ 6354298 w 9013239"/>
                  <a:gd name="connsiteY830" fmla="*/ 767184 h 4936668"/>
                  <a:gd name="connsiteX831" fmla="*/ 6368593 w 9013239"/>
                  <a:gd name="connsiteY831" fmla="*/ 776712 h 4936668"/>
                  <a:gd name="connsiteX832" fmla="*/ 6373359 w 9013239"/>
                  <a:gd name="connsiteY832" fmla="*/ 781480 h 4936668"/>
                  <a:gd name="connsiteX833" fmla="*/ 6373359 w 9013239"/>
                  <a:gd name="connsiteY833" fmla="*/ 786244 h 4936668"/>
                  <a:gd name="connsiteX834" fmla="*/ 6368593 w 9013239"/>
                  <a:gd name="connsiteY834" fmla="*/ 791008 h 4936668"/>
                  <a:gd name="connsiteX835" fmla="*/ 6359063 w 9013239"/>
                  <a:gd name="connsiteY835" fmla="*/ 791008 h 4936668"/>
                  <a:gd name="connsiteX836" fmla="*/ 6306647 w 9013239"/>
                  <a:gd name="connsiteY836" fmla="*/ 781480 h 4936668"/>
                  <a:gd name="connsiteX837" fmla="*/ 6287586 w 9013239"/>
                  <a:gd name="connsiteY837" fmla="*/ 781480 h 4936668"/>
                  <a:gd name="connsiteX838" fmla="*/ 6287586 w 9013239"/>
                  <a:gd name="connsiteY838" fmla="*/ 786244 h 4936668"/>
                  <a:gd name="connsiteX839" fmla="*/ 6282821 w 9013239"/>
                  <a:gd name="connsiteY839" fmla="*/ 786244 h 4936668"/>
                  <a:gd name="connsiteX840" fmla="*/ 6282821 w 9013239"/>
                  <a:gd name="connsiteY840" fmla="*/ 781480 h 4936668"/>
                  <a:gd name="connsiteX841" fmla="*/ 6278055 w 9013239"/>
                  <a:gd name="connsiteY841" fmla="*/ 781480 h 4936668"/>
                  <a:gd name="connsiteX842" fmla="*/ 6273291 w 9013239"/>
                  <a:gd name="connsiteY842" fmla="*/ 781480 h 4936668"/>
                  <a:gd name="connsiteX843" fmla="*/ 6273291 w 9013239"/>
                  <a:gd name="connsiteY843" fmla="*/ 776712 h 4936668"/>
                  <a:gd name="connsiteX844" fmla="*/ 6268525 w 9013239"/>
                  <a:gd name="connsiteY844" fmla="*/ 771948 h 4936668"/>
                  <a:gd name="connsiteX845" fmla="*/ 6258995 w 9013239"/>
                  <a:gd name="connsiteY845" fmla="*/ 771948 h 4936668"/>
                  <a:gd name="connsiteX846" fmla="*/ 6254230 w 9013239"/>
                  <a:gd name="connsiteY846" fmla="*/ 776712 h 4936668"/>
                  <a:gd name="connsiteX847" fmla="*/ 6244700 w 9013239"/>
                  <a:gd name="connsiteY847" fmla="*/ 791008 h 4936668"/>
                  <a:gd name="connsiteX848" fmla="*/ 6244700 w 9013239"/>
                  <a:gd name="connsiteY848" fmla="*/ 795776 h 4936668"/>
                  <a:gd name="connsiteX849" fmla="*/ 6244700 w 9013239"/>
                  <a:gd name="connsiteY849" fmla="*/ 805304 h 4936668"/>
                  <a:gd name="connsiteX850" fmla="*/ 6244700 w 9013239"/>
                  <a:gd name="connsiteY850" fmla="*/ 810068 h 4936668"/>
                  <a:gd name="connsiteX851" fmla="*/ 6244700 w 9013239"/>
                  <a:gd name="connsiteY851" fmla="*/ 814836 h 4936668"/>
                  <a:gd name="connsiteX852" fmla="*/ 6239935 w 9013239"/>
                  <a:gd name="connsiteY852" fmla="*/ 814836 h 4936668"/>
                  <a:gd name="connsiteX853" fmla="*/ 6230405 w 9013239"/>
                  <a:gd name="connsiteY853" fmla="*/ 810068 h 4936668"/>
                  <a:gd name="connsiteX854" fmla="*/ 6206579 w 9013239"/>
                  <a:gd name="connsiteY854" fmla="*/ 786244 h 4936668"/>
                  <a:gd name="connsiteX855" fmla="*/ 6187519 w 9013239"/>
                  <a:gd name="connsiteY855" fmla="*/ 771948 h 4936668"/>
                  <a:gd name="connsiteX856" fmla="*/ 6158927 w 9013239"/>
                  <a:gd name="connsiteY856" fmla="*/ 762420 h 4936668"/>
                  <a:gd name="connsiteX857" fmla="*/ 6139867 w 9013239"/>
                  <a:gd name="connsiteY857" fmla="*/ 757652 h 4936668"/>
                  <a:gd name="connsiteX858" fmla="*/ 6125571 w 9013239"/>
                  <a:gd name="connsiteY858" fmla="*/ 757652 h 4936668"/>
                  <a:gd name="connsiteX859" fmla="*/ 6116041 w 9013239"/>
                  <a:gd name="connsiteY859" fmla="*/ 762420 h 4936668"/>
                  <a:gd name="connsiteX860" fmla="*/ 6106511 w 9013239"/>
                  <a:gd name="connsiteY860" fmla="*/ 776712 h 4936668"/>
                  <a:gd name="connsiteX861" fmla="*/ 6092215 w 9013239"/>
                  <a:gd name="connsiteY861" fmla="*/ 786244 h 4936668"/>
                  <a:gd name="connsiteX862" fmla="*/ 6073155 w 9013239"/>
                  <a:gd name="connsiteY862" fmla="*/ 786244 h 4936668"/>
                  <a:gd name="connsiteX863" fmla="*/ 6058860 w 9013239"/>
                  <a:gd name="connsiteY863" fmla="*/ 791008 h 4936668"/>
                  <a:gd name="connsiteX864" fmla="*/ 6058860 w 9013239"/>
                  <a:gd name="connsiteY864" fmla="*/ 795776 h 4936668"/>
                  <a:gd name="connsiteX865" fmla="*/ 6049329 w 9013239"/>
                  <a:gd name="connsiteY865" fmla="*/ 795776 h 4936668"/>
                  <a:gd name="connsiteX866" fmla="*/ 6039799 w 9013239"/>
                  <a:gd name="connsiteY866" fmla="*/ 791008 h 4936668"/>
                  <a:gd name="connsiteX867" fmla="*/ 6027887 w 9013239"/>
                  <a:gd name="connsiteY867" fmla="*/ 791008 h 4936668"/>
                  <a:gd name="connsiteX868" fmla="*/ 6013591 w 9013239"/>
                  <a:gd name="connsiteY868" fmla="*/ 791008 h 4936668"/>
                  <a:gd name="connsiteX869" fmla="*/ 6004061 w 9013239"/>
                  <a:gd name="connsiteY869" fmla="*/ 795776 h 4936668"/>
                  <a:gd name="connsiteX870" fmla="*/ 5994531 w 9013239"/>
                  <a:gd name="connsiteY870" fmla="*/ 814836 h 4936668"/>
                  <a:gd name="connsiteX871" fmla="*/ 5994531 w 9013239"/>
                  <a:gd name="connsiteY871" fmla="*/ 819600 h 4936668"/>
                  <a:gd name="connsiteX872" fmla="*/ 5985001 w 9013239"/>
                  <a:gd name="connsiteY872" fmla="*/ 829132 h 4936668"/>
                  <a:gd name="connsiteX873" fmla="*/ 5965940 w 9013239"/>
                  <a:gd name="connsiteY873" fmla="*/ 838660 h 4936668"/>
                  <a:gd name="connsiteX874" fmla="*/ 5965940 w 9013239"/>
                  <a:gd name="connsiteY874" fmla="*/ 843424 h 4936668"/>
                  <a:gd name="connsiteX875" fmla="*/ 5951645 w 9013239"/>
                  <a:gd name="connsiteY875" fmla="*/ 852956 h 4936668"/>
                  <a:gd name="connsiteX876" fmla="*/ 5951645 w 9013239"/>
                  <a:gd name="connsiteY876" fmla="*/ 862488 h 4936668"/>
                  <a:gd name="connsiteX877" fmla="*/ 5951645 w 9013239"/>
                  <a:gd name="connsiteY877" fmla="*/ 867252 h 4936668"/>
                  <a:gd name="connsiteX878" fmla="*/ 5946879 w 9013239"/>
                  <a:gd name="connsiteY878" fmla="*/ 867252 h 4936668"/>
                  <a:gd name="connsiteX879" fmla="*/ 5937349 w 9013239"/>
                  <a:gd name="connsiteY879" fmla="*/ 857720 h 4936668"/>
                  <a:gd name="connsiteX880" fmla="*/ 5937349 w 9013239"/>
                  <a:gd name="connsiteY880" fmla="*/ 848192 h 4936668"/>
                  <a:gd name="connsiteX881" fmla="*/ 5946879 w 9013239"/>
                  <a:gd name="connsiteY881" fmla="*/ 838660 h 4936668"/>
                  <a:gd name="connsiteX882" fmla="*/ 5951645 w 9013239"/>
                  <a:gd name="connsiteY882" fmla="*/ 829132 h 4936668"/>
                  <a:gd name="connsiteX883" fmla="*/ 5956409 w 9013239"/>
                  <a:gd name="connsiteY883" fmla="*/ 833896 h 4936668"/>
                  <a:gd name="connsiteX884" fmla="*/ 5961175 w 9013239"/>
                  <a:gd name="connsiteY884" fmla="*/ 824364 h 4936668"/>
                  <a:gd name="connsiteX885" fmla="*/ 5961175 w 9013239"/>
                  <a:gd name="connsiteY885" fmla="*/ 814836 h 4936668"/>
                  <a:gd name="connsiteX886" fmla="*/ 5961175 w 9013239"/>
                  <a:gd name="connsiteY886" fmla="*/ 810068 h 4936668"/>
                  <a:gd name="connsiteX887" fmla="*/ 5946879 w 9013239"/>
                  <a:gd name="connsiteY887" fmla="*/ 810068 h 4936668"/>
                  <a:gd name="connsiteX888" fmla="*/ 5942114 w 9013239"/>
                  <a:gd name="connsiteY888" fmla="*/ 814836 h 4936668"/>
                  <a:gd name="connsiteX889" fmla="*/ 5937349 w 9013239"/>
                  <a:gd name="connsiteY889" fmla="*/ 814836 h 4936668"/>
                  <a:gd name="connsiteX890" fmla="*/ 5927819 w 9013239"/>
                  <a:gd name="connsiteY890" fmla="*/ 814836 h 4936668"/>
                  <a:gd name="connsiteX891" fmla="*/ 5923053 w 9013239"/>
                  <a:gd name="connsiteY891" fmla="*/ 819600 h 4936668"/>
                  <a:gd name="connsiteX892" fmla="*/ 5918289 w 9013239"/>
                  <a:gd name="connsiteY892" fmla="*/ 833896 h 4936668"/>
                  <a:gd name="connsiteX893" fmla="*/ 5908759 w 9013239"/>
                  <a:gd name="connsiteY893" fmla="*/ 843424 h 4936668"/>
                  <a:gd name="connsiteX894" fmla="*/ 5899228 w 9013239"/>
                  <a:gd name="connsiteY894" fmla="*/ 848192 h 4936668"/>
                  <a:gd name="connsiteX895" fmla="*/ 5894463 w 9013239"/>
                  <a:gd name="connsiteY895" fmla="*/ 843424 h 4936668"/>
                  <a:gd name="connsiteX896" fmla="*/ 5894463 w 9013239"/>
                  <a:gd name="connsiteY896" fmla="*/ 829132 h 4936668"/>
                  <a:gd name="connsiteX897" fmla="*/ 5894463 w 9013239"/>
                  <a:gd name="connsiteY897" fmla="*/ 819600 h 4936668"/>
                  <a:gd name="connsiteX898" fmla="*/ 5894463 w 9013239"/>
                  <a:gd name="connsiteY898" fmla="*/ 805304 h 4936668"/>
                  <a:gd name="connsiteX899" fmla="*/ 5894463 w 9013239"/>
                  <a:gd name="connsiteY899" fmla="*/ 800540 h 4936668"/>
                  <a:gd name="connsiteX900" fmla="*/ 5889698 w 9013239"/>
                  <a:gd name="connsiteY900" fmla="*/ 805304 h 4936668"/>
                  <a:gd name="connsiteX901" fmla="*/ 5884933 w 9013239"/>
                  <a:gd name="connsiteY901" fmla="*/ 819600 h 4936668"/>
                  <a:gd name="connsiteX902" fmla="*/ 5880167 w 9013239"/>
                  <a:gd name="connsiteY902" fmla="*/ 843424 h 4936668"/>
                  <a:gd name="connsiteX903" fmla="*/ 5875403 w 9013239"/>
                  <a:gd name="connsiteY903" fmla="*/ 852956 h 4936668"/>
                  <a:gd name="connsiteX904" fmla="*/ 5865872 w 9013239"/>
                  <a:gd name="connsiteY904" fmla="*/ 852956 h 4936668"/>
                  <a:gd name="connsiteX905" fmla="*/ 5856342 w 9013239"/>
                  <a:gd name="connsiteY905" fmla="*/ 872016 h 4936668"/>
                  <a:gd name="connsiteX906" fmla="*/ 5842047 w 9013239"/>
                  <a:gd name="connsiteY906" fmla="*/ 895840 h 4936668"/>
                  <a:gd name="connsiteX907" fmla="*/ 5827751 w 9013239"/>
                  <a:gd name="connsiteY907" fmla="*/ 924432 h 4936668"/>
                  <a:gd name="connsiteX908" fmla="*/ 5813456 w 9013239"/>
                  <a:gd name="connsiteY908" fmla="*/ 948260 h 4936668"/>
                  <a:gd name="connsiteX909" fmla="*/ 5803925 w 9013239"/>
                  <a:gd name="connsiteY909" fmla="*/ 962552 h 4936668"/>
                  <a:gd name="connsiteX910" fmla="*/ 5799161 w 9013239"/>
                  <a:gd name="connsiteY910" fmla="*/ 967320 h 4936668"/>
                  <a:gd name="connsiteX911" fmla="*/ 5799161 w 9013239"/>
                  <a:gd name="connsiteY911" fmla="*/ 972084 h 4936668"/>
                  <a:gd name="connsiteX912" fmla="*/ 5794395 w 9013239"/>
                  <a:gd name="connsiteY912" fmla="*/ 986380 h 4936668"/>
                  <a:gd name="connsiteX913" fmla="*/ 5794395 w 9013239"/>
                  <a:gd name="connsiteY913" fmla="*/ 995908 h 4936668"/>
                  <a:gd name="connsiteX914" fmla="*/ 5784865 w 9013239"/>
                  <a:gd name="connsiteY914" fmla="*/ 1005440 h 4936668"/>
                  <a:gd name="connsiteX915" fmla="*/ 5761039 w 9013239"/>
                  <a:gd name="connsiteY915" fmla="*/ 1019736 h 4936668"/>
                  <a:gd name="connsiteX916" fmla="*/ 5756274 w 9013239"/>
                  <a:gd name="connsiteY916" fmla="*/ 1024500 h 4936668"/>
                  <a:gd name="connsiteX917" fmla="*/ 5756274 w 9013239"/>
                  <a:gd name="connsiteY917" fmla="*/ 1034032 h 4936668"/>
                  <a:gd name="connsiteX918" fmla="*/ 5741979 w 9013239"/>
                  <a:gd name="connsiteY918" fmla="*/ 1057856 h 4936668"/>
                  <a:gd name="connsiteX919" fmla="*/ 5737213 w 9013239"/>
                  <a:gd name="connsiteY919" fmla="*/ 1072152 h 4936668"/>
                  <a:gd name="connsiteX920" fmla="*/ 5732449 w 9013239"/>
                  <a:gd name="connsiteY920" fmla="*/ 1091212 h 4936668"/>
                  <a:gd name="connsiteX921" fmla="*/ 5732449 w 9013239"/>
                  <a:gd name="connsiteY921" fmla="*/ 1100744 h 4936668"/>
                  <a:gd name="connsiteX922" fmla="*/ 5741979 w 9013239"/>
                  <a:gd name="connsiteY922" fmla="*/ 1105508 h 4936668"/>
                  <a:gd name="connsiteX923" fmla="*/ 5746744 w 9013239"/>
                  <a:gd name="connsiteY923" fmla="*/ 1100744 h 4936668"/>
                  <a:gd name="connsiteX924" fmla="*/ 5751509 w 9013239"/>
                  <a:gd name="connsiteY924" fmla="*/ 1095976 h 4936668"/>
                  <a:gd name="connsiteX925" fmla="*/ 5756274 w 9013239"/>
                  <a:gd name="connsiteY925" fmla="*/ 1086448 h 4936668"/>
                  <a:gd name="connsiteX926" fmla="*/ 5765805 w 9013239"/>
                  <a:gd name="connsiteY926" fmla="*/ 1081680 h 4936668"/>
                  <a:gd name="connsiteX927" fmla="*/ 5775335 w 9013239"/>
                  <a:gd name="connsiteY927" fmla="*/ 1072152 h 4936668"/>
                  <a:gd name="connsiteX928" fmla="*/ 5784865 w 9013239"/>
                  <a:gd name="connsiteY928" fmla="*/ 1053092 h 4936668"/>
                  <a:gd name="connsiteX929" fmla="*/ 5799161 w 9013239"/>
                  <a:gd name="connsiteY929" fmla="*/ 1038796 h 4936668"/>
                  <a:gd name="connsiteX930" fmla="*/ 5803925 w 9013239"/>
                  <a:gd name="connsiteY930" fmla="*/ 1038796 h 4936668"/>
                  <a:gd name="connsiteX931" fmla="*/ 5818221 w 9013239"/>
                  <a:gd name="connsiteY931" fmla="*/ 1034032 h 4936668"/>
                  <a:gd name="connsiteX932" fmla="*/ 5827751 w 9013239"/>
                  <a:gd name="connsiteY932" fmla="*/ 1034032 h 4936668"/>
                  <a:gd name="connsiteX933" fmla="*/ 5832517 w 9013239"/>
                  <a:gd name="connsiteY933" fmla="*/ 1043560 h 4936668"/>
                  <a:gd name="connsiteX934" fmla="*/ 5837281 w 9013239"/>
                  <a:gd name="connsiteY934" fmla="*/ 1048324 h 4936668"/>
                  <a:gd name="connsiteX935" fmla="*/ 5837281 w 9013239"/>
                  <a:gd name="connsiteY935" fmla="*/ 1053092 h 4936668"/>
                  <a:gd name="connsiteX936" fmla="*/ 5837281 w 9013239"/>
                  <a:gd name="connsiteY936" fmla="*/ 1067388 h 4936668"/>
                  <a:gd name="connsiteX937" fmla="*/ 5827751 w 9013239"/>
                  <a:gd name="connsiteY937" fmla="*/ 1081680 h 4936668"/>
                  <a:gd name="connsiteX938" fmla="*/ 5822986 w 9013239"/>
                  <a:gd name="connsiteY938" fmla="*/ 1091212 h 4936668"/>
                  <a:gd name="connsiteX939" fmla="*/ 5813456 w 9013239"/>
                  <a:gd name="connsiteY939" fmla="*/ 1115036 h 4936668"/>
                  <a:gd name="connsiteX940" fmla="*/ 5808691 w 9013239"/>
                  <a:gd name="connsiteY940" fmla="*/ 1138864 h 4936668"/>
                  <a:gd name="connsiteX941" fmla="*/ 5808691 w 9013239"/>
                  <a:gd name="connsiteY941" fmla="*/ 1157924 h 4936668"/>
                  <a:gd name="connsiteX942" fmla="*/ 5808691 w 9013239"/>
                  <a:gd name="connsiteY942" fmla="*/ 1172220 h 4936668"/>
                  <a:gd name="connsiteX943" fmla="*/ 5808691 w 9013239"/>
                  <a:gd name="connsiteY943" fmla="*/ 1186516 h 4936668"/>
                  <a:gd name="connsiteX944" fmla="*/ 5799161 w 9013239"/>
                  <a:gd name="connsiteY944" fmla="*/ 1196044 h 4936668"/>
                  <a:gd name="connsiteX945" fmla="*/ 5789630 w 9013239"/>
                  <a:gd name="connsiteY945" fmla="*/ 1210340 h 4936668"/>
                  <a:gd name="connsiteX946" fmla="*/ 5780100 w 9013239"/>
                  <a:gd name="connsiteY946" fmla="*/ 1229400 h 4936668"/>
                  <a:gd name="connsiteX947" fmla="*/ 5780100 w 9013239"/>
                  <a:gd name="connsiteY947" fmla="*/ 1243696 h 4936668"/>
                  <a:gd name="connsiteX948" fmla="*/ 5775335 w 9013239"/>
                  <a:gd name="connsiteY948" fmla="*/ 1257992 h 4936668"/>
                  <a:gd name="connsiteX949" fmla="*/ 5780100 w 9013239"/>
                  <a:gd name="connsiteY949" fmla="*/ 1267520 h 4936668"/>
                  <a:gd name="connsiteX950" fmla="*/ 5780100 w 9013239"/>
                  <a:gd name="connsiteY950" fmla="*/ 1277052 h 4936668"/>
                  <a:gd name="connsiteX951" fmla="*/ 5780100 w 9013239"/>
                  <a:gd name="connsiteY951" fmla="*/ 1286584 h 4936668"/>
                  <a:gd name="connsiteX952" fmla="*/ 5770569 w 9013239"/>
                  <a:gd name="connsiteY952" fmla="*/ 1310408 h 4936668"/>
                  <a:gd name="connsiteX953" fmla="*/ 5765805 w 9013239"/>
                  <a:gd name="connsiteY953" fmla="*/ 1324704 h 4936668"/>
                  <a:gd name="connsiteX954" fmla="*/ 5765805 w 9013239"/>
                  <a:gd name="connsiteY954" fmla="*/ 1334232 h 4936668"/>
                  <a:gd name="connsiteX955" fmla="*/ 5761039 w 9013239"/>
                  <a:gd name="connsiteY955" fmla="*/ 1343764 h 4936668"/>
                  <a:gd name="connsiteX956" fmla="*/ 5751509 w 9013239"/>
                  <a:gd name="connsiteY956" fmla="*/ 1367588 h 4936668"/>
                  <a:gd name="connsiteX957" fmla="*/ 5751509 w 9013239"/>
                  <a:gd name="connsiteY957" fmla="*/ 1377120 h 4936668"/>
                  <a:gd name="connsiteX958" fmla="*/ 5751509 w 9013239"/>
                  <a:gd name="connsiteY958" fmla="*/ 1386652 h 4936668"/>
                  <a:gd name="connsiteX959" fmla="*/ 5751509 w 9013239"/>
                  <a:gd name="connsiteY959" fmla="*/ 1405712 h 4936668"/>
                  <a:gd name="connsiteX960" fmla="*/ 5751509 w 9013239"/>
                  <a:gd name="connsiteY960" fmla="*/ 1410476 h 4936668"/>
                  <a:gd name="connsiteX961" fmla="*/ 5751509 w 9013239"/>
                  <a:gd name="connsiteY961" fmla="*/ 1415240 h 4936668"/>
                  <a:gd name="connsiteX962" fmla="*/ 5751509 w 9013239"/>
                  <a:gd name="connsiteY962" fmla="*/ 1420004 h 4936668"/>
                  <a:gd name="connsiteX963" fmla="*/ 5751509 w 9013239"/>
                  <a:gd name="connsiteY963" fmla="*/ 1424772 h 4936668"/>
                  <a:gd name="connsiteX964" fmla="*/ 5751509 w 9013239"/>
                  <a:gd name="connsiteY964" fmla="*/ 1429536 h 4936668"/>
                  <a:gd name="connsiteX965" fmla="*/ 5751509 w 9013239"/>
                  <a:gd name="connsiteY965" fmla="*/ 1434300 h 4936668"/>
                  <a:gd name="connsiteX966" fmla="*/ 5756274 w 9013239"/>
                  <a:gd name="connsiteY966" fmla="*/ 1443832 h 4936668"/>
                  <a:gd name="connsiteX967" fmla="*/ 5761039 w 9013239"/>
                  <a:gd name="connsiteY967" fmla="*/ 1448596 h 4936668"/>
                  <a:gd name="connsiteX968" fmla="*/ 5761039 w 9013239"/>
                  <a:gd name="connsiteY968" fmla="*/ 1462892 h 4936668"/>
                  <a:gd name="connsiteX969" fmla="*/ 5761039 w 9013239"/>
                  <a:gd name="connsiteY969" fmla="*/ 1472424 h 4936668"/>
                  <a:gd name="connsiteX970" fmla="*/ 5765805 w 9013239"/>
                  <a:gd name="connsiteY970" fmla="*/ 1481952 h 4936668"/>
                  <a:gd name="connsiteX971" fmla="*/ 5770569 w 9013239"/>
                  <a:gd name="connsiteY971" fmla="*/ 1491484 h 4936668"/>
                  <a:gd name="connsiteX972" fmla="*/ 5765805 w 9013239"/>
                  <a:gd name="connsiteY972" fmla="*/ 1505780 h 4936668"/>
                  <a:gd name="connsiteX973" fmla="*/ 5765805 w 9013239"/>
                  <a:gd name="connsiteY973" fmla="*/ 1539136 h 4936668"/>
                  <a:gd name="connsiteX974" fmla="*/ 5765805 w 9013239"/>
                  <a:gd name="connsiteY974" fmla="*/ 1582020 h 4936668"/>
                  <a:gd name="connsiteX975" fmla="*/ 5765805 w 9013239"/>
                  <a:gd name="connsiteY975" fmla="*/ 1605844 h 4936668"/>
                  <a:gd name="connsiteX976" fmla="*/ 5770569 w 9013239"/>
                  <a:gd name="connsiteY976" fmla="*/ 1620140 h 4936668"/>
                  <a:gd name="connsiteX977" fmla="*/ 5775335 w 9013239"/>
                  <a:gd name="connsiteY977" fmla="*/ 1629672 h 4936668"/>
                  <a:gd name="connsiteX978" fmla="*/ 5784865 w 9013239"/>
                  <a:gd name="connsiteY978" fmla="*/ 1634436 h 4936668"/>
                  <a:gd name="connsiteX979" fmla="*/ 5789630 w 9013239"/>
                  <a:gd name="connsiteY979" fmla="*/ 1653496 h 4936668"/>
                  <a:gd name="connsiteX980" fmla="*/ 5799161 w 9013239"/>
                  <a:gd name="connsiteY980" fmla="*/ 1682088 h 4936668"/>
                  <a:gd name="connsiteX981" fmla="*/ 5803925 w 9013239"/>
                  <a:gd name="connsiteY981" fmla="*/ 1701148 h 4936668"/>
                  <a:gd name="connsiteX982" fmla="*/ 5808691 w 9013239"/>
                  <a:gd name="connsiteY982" fmla="*/ 1710680 h 4936668"/>
                  <a:gd name="connsiteX983" fmla="*/ 5818221 w 9013239"/>
                  <a:gd name="connsiteY983" fmla="*/ 1715444 h 4936668"/>
                  <a:gd name="connsiteX984" fmla="*/ 5822986 w 9013239"/>
                  <a:gd name="connsiteY984" fmla="*/ 1720208 h 4936668"/>
                  <a:gd name="connsiteX985" fmla="*/ 5827751 w 9013239"/>
                  <a:gd name="connsiteY985" fmla="*/ 1724976 h 4936668"/>
                  <a:gd name="connsiteX986" fmla="*/ 5837281 w 9013239"/>
                  <a:gd name="connsiteY986" fmla="*/ 1724976 h 4936668"/>
                  <a:gd name="connsiteX987" fmla="*/ 5851577 w 9013239"/>
                  <a:gd name="connsiteY987" fmla="*/ 1724976 h 4936668"/>
                  <a:gd name="connsiteX988" fmla="*/ 5865872 w 9013239"/>
                  <a:gd name="connsiteY988" fmla="*/ 1724976 h 4936668"/>
                  <a:gd name="connsiteX989" fmla="*/ 5880167 w 9013239"/>
                  <a:gd name="connsiteY989" fmla="*/ 1720208 h 4936668"/>
                  <a:gd name="connsiteX990" fmla="*/ 5923053 w 9013239"/>
                  <a:gd name="connsiteY990" fmla="*/ 1696384 h 4936668"/>
                  <a:gd name="connsiteX991" fmla="*/ 5937349 w 9013239"/>
                  <a:gd name="connsiteY991" fmla="*/ 1682088 h 4936668"/>
                  <a:gd name="connsiteX992" fmla="*/ 5946879 w 9013239"/>
                  <a:gd name="connsiteY992" fmla="*/ 1667792 h 4936668"/>
                  <a:gd name="connsiteX993" fmla="*/ 5956409 w 9013239"/>
                  <a:gd name="connsiteY993" fmla="*/ 1653496 h 4936668"/>
                  <a:gd name="connsiteX994" fmla="*/ 5965940 w 9013239"/>
                  <a:gd name="connsiteY994" fmla="*/ 1634436 h 4936668"/>
                  <a:gd name="connsiteX995" fmla="*/ 5985001 w 9013239"/>
                  <a:gd name="connsiteY995" fmla="*/ 1605844 h 4936668"/>
                  <a:gd name="connsiteX996" fmla="*/ 5994531 w 9013239"/>
                  <a:gd name="connsiteY996" fmla="*/ 1586784 h 4936668"/>
                  <a:gd name="connsiteX997" fmla="*/ 5999295 w 9013239"/>
                  <a:gd name="connsiteY997" fmla="*/ 1562960 h 4936668"/>
                  <a:gd name="connsiteX998" fmla="*/ 6008826 w 9013239"/>
                  <a:gd name="connsiteY998" fmla="*/ 1539136 h 4936668"/>
                  <a:gd name="connsiteX999" fmla="*/ 6013591 w 9013239"/>
                  <a:gd name="connsiteY999" fmla="*/ 1515308 h 4936668"/>
                  <a:gd name="connsiteX1000" fmla="*/ 6013591 w 9013239"/>
                  <a:gd name="connsiteY1000" fmla="*/ 1486716 h 4936668"/>
                  <a:gd name="connsiteX1001" fmla="*/ 6013591 w 9013239"/>
                  <a:gd name="connsiteY1001" fmla="*/ 1462892 h 4936668"/>
                  <a:gd name="connsiteX1002" fmla="*/ 6008826 w 9013239"/>
                  <a:gd name="connsiteY1002" fmla="*/ 1434300 h 4936668"/>
                  <a:gd name="connsiteX1003" fmla="*/ 5999295 w 9013239"/>
                  <a:gd name="connsiteY1003" fmla="*/ 1405712 h 4936668"/>
                  <a:gd name="connsiteX1004" fmla="*/ 5994531 w 9013239"/>
                  <a:gd name="connsiteY1004" fmla="*/ 1391416 h 4936668"/>
                  <a:gd name="connsiteX1005" fmla="*/ 5994531 w 9013239"/>
                  <a:gd name="connsiteY1005" fmla="*/ 1386652 h 4936668"/>
                  <a:gd name="connsiteX1006" fmla="*/ 5980235 w 9013239"/>
                  <a:gd name="connsiteY1006" fmla="*/ 1353296 h 4936668"/>
                  <a:gd name="connsiteX1007" fmla="*/ 5961175 w 9013239"/>
                  <a:gd name="connsiteY1007" fmla="*/ 1300876 h 4936668"/>
                  <a:gd name="connsiteX1008" fmla="*/ 5980235 w 9013239"/>
                  <a:gd name="connsiteY1008" fmla="*/ 1267520 h 4936668"/>
                  <a:gd name="connsiteX1009" fmla="*/ 5980235 w 9013239"/>
                  <a:gd name="connsiteY1009" fmla="*/ 1262756 h 4936668"/>
                  <a:gd name="connsiteX1010" fmla="*/ 5975470 w 9013239"/>
                  <a:gd name="connsiteY1010" fmla="*/ 1238932 h 4936668"/>
                  <a:gd name="connsiteX1011" fmla="*/ 5975470 w 9013239"/>
                  <a:gd name="connsiteY1011" fmla="*/ 1229400 h 4936668"/>
                  <a:gd name="connsiteX1012" fmla="*/ 5965940 w 9013239"/>
                  <a:gd name="connsiteY1012" fmla="*/ 1210340 h 4936668"/>
                  <a:gd name="connsiteX1013" fmla="*/ 5980235 w 9013239"/>
                  <a:gd name="connsiteY1013" fmla="*/ 1186516 h 4936668"/>
                  <a:gd name="connsiteX1014" fmla="*/ 5994531 w 9013239"/>
                  <a:gd name="connsiteY1014" fmla="*/ 1172220 h 4936668"/>
                  <a:gd name="connsiteX1015" fmla="*/ 5999295 w 9013239"/>
                  <a:gd name="connsiteY1015" fmla="*/ 1153160 h 4936668"/>
                  <a:gd name="connsiteX1016" fmla="*/ 6008826 w 9013239"/>
                  <a:gd name="connsiteY1016" fmla="*/ 1129332 h 4936668"/>
                  <a:gd name="connsiteX1017" fmla="*/ 6008826 w 9013239"/>
                  <a:gd name="connsiteY1017" fmla="*/ 1105508 h 4936668"/>
                  <a:gd name="connsiteX1018" fmla="*/ 6008826 w 9013239"/>
                  <a:gd name="connsiteY1018" fmla="*/ 1086448 h 4936668"/>
                  <a:gd name="connsiteX1019" fmla="*/ 6004061 w 9013239"/>
                  <a:gd name="connsiteY1019" fmla="*/ 1076916 h 4936668"/>
                  <a:gd name="connsiteX1020" fmla="*/ 6008826 w 9013239"/>
                  <a:gd name="connsiteY1020" fmla="*/ 1072152 h 4936668"/>
                  <a:gd name="connsiteX1021" fmla="*/ 6008826 w 9013239"/>
                  <a:gd name="connsiteY1021" fmla="*/ 1067388 h 4936668"/>
                  <a:gd name="connsiteX1022" fmla="*/ 6027887 w 9013239"/>
                  <a:gd name="connsiteY1022" fmla="*/ 1062620 h 4936668"/>
                  <a:gd name="connsiteX1023" fmla="*/ 6030269 w 9013239"/>
                  <a:gd name="connsiteY1023" fmla="*/ 1053092 h 4936668"/>
                  <a:gd name="connsiteX1024" fmla="*/ 6030269 w 9013239"/>
                  <a:gd name="connsiteY1024" fmla="*/ 1034032 h 4936668"/>
                  <a:gd name="connsiteX1025" fmla="*/ 6035034 w 9013239"/>
                  <a:gd name="connsiteY1025" fmla="*/ 1024500 h 4936668"/>
                  <a:gd name="connsiteX1026" fmla="*/ 6039799 w 9013239"/>
                  <a:gd name="connsiteY1026" fmla="*/ 1024500 h 4936668"/>
                  <a:gd name="connsiteX1027" fmla="*/ 6049329 w 9013239"/>
                  <a:gd name="connsiteY1027" fmla="*/ 1019736 h 4936668"/>
                  <a:gd name="connsiteX1028" fmla="*/ 6054095 w 9013239"/>
                  <a:gd name="connsiteY1028" fmla="*/ 1014972 h 4936668"/>
                  <a:gd name="connsiteX1029" fmla="*/ 6058860 w 9013239"/>
                  <a:gd name="connsiteY1029" fmla="*/ 1010204 h 4936668"/>
                  <a:gd name="connsiteX1030" fmla="*/ 6068390 w 9013239"/>
                  <a:gd name="connsiteY1030" fmla="*/ 1014972 h 4936668"/>
                  <a:gd name="connsiteX1031" fmla="*/ 6077921 w 9013239"/>
                  <a:gd name="connsiteY1031" fmla="*/ 1000676 h 4936668"/>
                  <a:gd name="connsiteX1032" fmla="*/ 6092215 w 9013239"/>
                  <a:gd name="connsiteY1032" fmla="*/ 976848 h 4936668"/>
                  <a:gd name="connsiteX1033" fmla="*/ 6106511 w 9013239"/>
                  <a:gd name="connsiteY1033" fmla="*/ 962552 h 4936668"/>
                  <a:gd name="connsiteX1034" fmla="*/ 6111276 w 9013239"/>
                  <a:gd name="connsiteY1034" fmla="*/ 957788 h 4936668"/>
                  <a:gd name="connsiteX1035" fmla="*/ 6116041 w 9013239"/>
                  <a:gd name="connsiteY1035" fmla="*/ 962552 h 4936668"/>
                  <a:gd name="connsiteX1036" fmla="*/ 6111276 w 9013239"/>
                  <a:gd name="connsiteY1036" fmla="*/ 972084 h 4936668"/>
                  <a:gd name="connsiteX1037" fmla="*/ 6106511 w 9013239"/>
                  <a:gd name="connsiteY1037" fmla="*/ 976848 h 4936668"/>
                  <a:gd name="connsiteX1038" fmla="*/ 6111276 w 9013239"/>
                  <a:gd name="connsiteY1038" fmla="*/ 986380 h 4936668"/>
                  <a:gd name="connsiteX1039" fmla="*/ 6106511 w 9013239"/>
                  <a:gd name="connsiteY1039" fmla="*/ 995908 h 4936668"/>
                  <a:gd name="connsiteX1040" fmla="*/ 6106511 w 9013239"/>
                  <a:gd name="connsiteY1040" fmla="*/ 1010204 h 4936668"/>
                  <a:gd name="connsiteX1041" fmla="*/ 6101746 w 9013239"/>
                  <a:gd name="connsiteY1041" fmla="*/ 1029264 h 4936668"/>
                  <a:gd name="connsiteX1042" fmla="*/ 6101746 w 9013239"/>
                  <a:gd name="connsiteY1042" fmla="*/ 1038796 h 4936668"/>
                  <a:gd name="connsiteX1043" fmla="*/ 6101746 w 9013239"/>
                  <a:gd name="connsiteY1043" fmla="*/ 1048324 h 4936668"/>
                  <a:gd name="connsiteX1044" fmla="*/ 6106511 w 9013239"/>
                  <a:gd name="connsiteY1044" fmla="*/ 1043560 h 4936668"/>
                  <a:gd name="connsiteX1045" fmla="*/ 6116041 w 9013239"/>
                  <a:gd name="connsiteY1045" fmla="*/ 1034032 h 4936668"/>
                  <a:gd name="connsiteX1046" fmla="*/ 6116041 w 9013239"/>
                  <a:gd name="connsiteY1046" fmla="*/ 1029264 h 4936668"/>
                  <a:gd name="connsiteX1047" fmla="*/ 6111276 w 9013239"/>
                  <a:gd name="connsiteY1047" fmla="*/ 1024500 h 4936668"/>
                  <a:gd name="connsiteX1048" fmla="*/ 6116041 w 9013239"/>
                  <a:gd name="connsiteY1048" fmla="*/ 1019736 h 4936668"/>
                  <a:gd name="connsiteX1049" fmla="*/ 6116041 w 9013239"/>
                  <a:gd name="connsiteY1049" fmla="*/ 1010204 h 4936668"/>
                  <a:gd name="connsiteX1050" fmla="*/ 6120807 w 9013239"/>
                  <a:gd name="connsiteY1050" fmla="*/ 1005440 h 4936668"/>
                  <a:gd name="connsiteX1051" fmla="*/ 6125571 w 9013239"/>
                  <a:gd name="connsiteY1051" fmla="*/ 1005440 h 4936668"/>
                  <a:gd name="connsiteX1052" fmla="*/ 6125571 w 9013239"/>
                  <a:gd name="connsiteY1052" fmla="*/ 1010204 h 4936668"/>
                  <a:gd name="connsiteX1053" fmla="*/ 6125571 w 9013239"/>
                  <a:gd name="connsiteY1053" fmla="*/ 1019736 h 4936668"/>
                  <a:gd name="connsiteX1054" fmla="*/ 6116041 w 9013239"/>
                  <a:gd name="connsiteY1054" fmla="*/ 1043560 h 4936668"/>
                  <a:gd name="connsiteX1055" fmla="*/ 6111276 w 9013239"/>
                  <a:gd name="connsiteY1055" fmla="*/ 1053092 h 4936668"/>
                  <a:gd name="connsiteX1056" fmla="*/ 6116041 w 9013239"/>
                  <a:gd name="connsiteY1056" fmla="*/ 1057856 h 4936668"/>
                  <a:gd name="connsiteX1057" fmla="*/ 6125571 w 9013239"/>
                  <a:gd name="connsiteY1057" fmla="*/ 1038796 h 4936668"/>
                  <a:gd name="connsiteX1058" fmla="*/ 6135102 w 9013239"/>
                  <a:gd name="connsiteY1058" fmla="*/ 1014972 h 4936668"/>
                  <a:gd name="connsiteX1059" fmla="*/ 6139867 w 9013239"/>
                  <a:gd name="connsiteY1059" fmla="*/ 995908 h 4936668"/>
                  <a:gd name="connsiteX1060" fmla="*/ 6139867 w 9013239"/>
                  <a:gd name="connsiteY1060" fmla="*/ 986380 h 4936668"/>
                  <a:gd name="connsiteX1061" fmla="*/ 6139867 w 9013239"/>
                  <a:gd name="connsiteY1061" fmla="*/ 962552 h 4936668"/>
                  <a:gd name="connsiteX1062" fmla="*/ 6139867 w 9013239"/>
                  <a:gd name="connsiteY1062" fmla="*/ 953024 h 4936668"/>
                  <a:gd name="connsiteX1063" fmla="*/ 6139867 w 9013239"/>
                  <a:gd name="connsiteY1063" fmla="*/ 943492 h 4936668"/>
                  <a:gd name="connsiteX1064" fmla="*/ 6149397 w 9013239"/>
                  <a:gd name="connsiteY1064" fmla="*/ 933964 h 4936668"/>
                  <a:gd name="connsiteX1065" fmla="*/ 6168458 w 9013239"/>
                  <a:gd name="connsiteY1065" fmla="*/ 924432 h 4936668"/>
                  <a:gd name="connsiteX1066" fmla="*/ 6182753 w 9013239"/>
                  <a:gd name="connsiteY1066" fmla="*/ 919668 h 4936668"/>
                  <a:gd name="connsiteX1067" fmla="*/ 6197049 w 9013239"/>
                  <a:gd name="connsiteY1067" fmla="*/ 919668 h 4936668"/>
                  <a:gd name="connsiteX1068" fmla="*/ 6206579 w 9013239"/>
                  <a:gd name="connsiteY1068" fmla="*/ 919668 h 4936668"/>
                  <a:gd name="connsiteX1069" fmla="*/ 6211344 w 9013239"/>
                  <a:gd name="connsiteY1069" fmla="*/ 914904 h 4936668"/>
                  <a:gd name="connsiteX1070" fmla="*/ 6211344 w 9013239"/>
                  <a:gd name="connsiteY1070" fmla="*/ 910136 h 4936668"/>
                  <a:gd name="connsiteX1071" fmla="*/ 6201813 w 9013239"/>
                  <a:gd name="connsiteY1071" fmla="*/ 910136 h 4936668"/>
                  <a:gd name="connsiteX1072" fmla="*/ 6192283 w 9013239"/>
                  <a:gd name="connsiteY1072" fmla="*/ 900608 h 4936668"/>
                  <a:gd name="connsiteX1073" fmla="*/ 6187519 w 9013239"/>
                  <a:gd name="connsiteY1073" fmla="*/ 891076 h 4936668"/>
                  <a:gd name="connsiteX1074" fmla="*/ 6187519 w 9013239"/>
                  <a:gd name="connsiteY1074" fmla="*/ 881548 h 4936668"/>
                  <a:gd name="connsiteX1075" fmla="*/ 6187519 w 9013239"/>
                  <a:gd name="connsiteY1075" fmla="*/ 872016 h 4936668"/>
                  <a:gd name="connsiteX1076" fmla="*/ 6192283 w 9013239"/>
                  <a:gd name="connsiteY1076" fmla="*/ 857720 h 4936668"/>
                  <a:gd name="connsiteX1077" fmla="*/ 6206579 w 9013239"/>
                  <a:gd name="connsiteY1077" fmla="*/ 848192 h 4936668"/>
                  <a:gd name="connsiteX1078" fmla="*/ 6206579 w 9013239"/>
                  <a:gd name="connsiteY1078" fmla="*/ 838660 h 4936668"/>
                  <a:gd name="connsiteX1079" fmla="*/ 6206579 w 9013239"/>
                  <a:gd name="connsiteY1079" fmla="*/ 833896 h 4936668"/>
                  <a:gd name="connsiteX1080" fmla="*/ 6220874 w 9013239"/>
                  <a:gd name="connsiteY1080" fmla="*/ 833896 h 4936668"/>
                  <a:gd name="connsiteX1081" fmla="*/ 6230405 w 9013239"/>
                  <a:gd name="connsiteY1081" fmla="*/ 833896 h 4936668"/>
                  <a:gd name="connsiteX1082" fmla="*/ 6235169 w 9013239"/>
                  <a:gd name="connsiteY1082" fmla="*/ 829132 h 4936668"/>
                  <a:gd name="connsiteX1083" fmla="*/ 6249465 w 9013239"/>
                  <a:gd name="connsiteY1083" fmla="*/ 833896 h 4936668"/>
                  <a:gd name="connsiteX1084" fmla="*/ 6268525 w 9013239"/>
                  <a:gd name="connsiteY1084" fmla="*/ 848192 h 4936668"/>
                  <a:gd name="connsiteX1085" fmla="*/ 6287586 w 9013239"/>
                  <a:gd name="connsiteY1085" fmla="*/ 852956 h 4936668"/>
                  <a:gd name="connsiteX1086" fmla="*/ 6306647 w 9013239"/>
                  <a:gd name="connsiteY1086" fmla="*/ 857720 h 4936668"/>
                  <a:gd name="connsiteX1087" fmla="*/ 6320942 w 9013239"/>
                  <a:gd name="connsiteY1087" fmla="*/ 862488 h 4936668"/>
                  <a:gd name="connsiteX1088" fmla="*/ 6325707 w 9013239"/>
                  <a:gd name="connsiteY1088" fmla="*/ 872016 h 4936668"/>
                  <a:gd name="connsiteX1089" fmla="*/ 6335237 w 9013239"/>
                  <a:gd name="connsiteY1089" fmla="*/ 876780 h 4936668"/>
                  <a:gd name="connsiteX1090" fmla="*/ 6335237 w 9013239"/>
                  <a:gd name="connsiteY1090" fmla="*/ 886312 h 4936668"/>
                  <a:gd name="connsiteX1091" fmla="*/ 6344767 w 9013239"/>
                  <a:gd name="connsiteY1091" fmla="*/ 891076 h 4936668"/>
                  <a:gd name="connsiteX1092" fmla="*/ 6359063 w 9013239"/>
                  <a:gd name="connsiteY1092" fmla="*/ 895840 h 4936668"/>
                  <a:gd name="connsiteX1093" fmla="*/ 6368593 w 9013239"/>
                  <a:gd name="connsiteY1093" fmla="*/ 895840 h 4936668"/>
                  <a:gd name="connsiteX1094" fmla="*/ 6378123 w 9013239"/>
                  <a:gd name="connsiteY1094" fmla="*/ 905372 h 4936668"/>
                  <a:gd name="connsiteX1095" fmla="*/ 6421009 w 9013239"/>
                  <a:gd name="connsiteY1095" fmla="*/ 919668 h 4936668"/>
                  <a:gd name="connsiteX1096" fmla="*/ 6440070 w 9013239"/>
                  <a:gd name="connsiteY1096" fmla="*/ 929196 h 4936668"/>
                  <a:gd name="connsiteX1097" fmla="*/ 6449601 w 9013239"/>
                  <a:gd name="connsiteY1097" fmla="*/ 938728 h 4936668"/>
                  <a:gd name="connsiteX1098" fmla="*/ 6449601 w 9013239"/>
                  <a:gd name="connsiteY1098" fmla="*/ 943492 h 4936668"/>
                  <a:gd name="connsiteX1099" fmla="*/ 6449601 w 9013239"/>
                  <a:gd name="connsiteY1099" fmla="*/ 948260 h 4936668"/>
                  <a:gd name="connsiteX1100" fmla="*/ 6449601 w 9013239"/>
                  <a:gd name="connsiteY1100" fmla="*/ 957788 h 4936668"/>
                  <a:gd name="connsiteX1101" fmla="*/ 6459131 w 9013239"/>
                  <a:gd name="connsiteY1101" fmla="*/ 967320 h 4936668"/>
                  <a:gd name="connsiteX1102" fmla="*/ 6463895 w 9013239"/>
                  <a:gd name="connsiteY1102" fmla="*/ 967320 h 4936668"/>
                  <a:gd name="connsiteX1103" fmla="*/ 6463895 w 9013239"/>
                  <a:gd name="connsiteY1103" fmla="*/ 976848 h 4936668"/>
                  <a:gd name="connsiteX1104" fmla="*/ 6463895 w 9013239"/>
                  <a:gd name="connsiteY1104" fmla="*/ 986380 h 4936668"/>
                  <a:gd name="connsiteX1105" fmla="*/ 6468661 w 9013239"/>
                  <a:gd name="connsiteY1105" fmla="*/ 991144 h 4936668"/>
                  <a:gd name="connsiteX1106" fmla="*/ 6468661 w 9013239"/>
                  <a:gd name="connsiteY1106" fmla="*/ 995908 h 4936668"/>
                  <a:gd name="connsiteX1107" fmla="*/ 6454365 w 9013239"/>
                  <a:gd name="connsiteY1107" fmla="*/ 991144 h 4936668"/>
                  <a:gd name="connsiteX1108" fmla="*/ 6444835 w 9013239"/>
                  <a:gd name="connsiteY1108" fmla="*/ 991144 h 4936668"/>
                  <a:gd name="connsiteX1109" fmla="*/ 6444835 w 9013239"/>
                  <a:gd name="connsiteY1109" fmla="*/ 1000676 h 4936668"/>
                  <a:gd name="connsiteX1110" fmla="*/ 6444835 w 9013239"/>
                  <a:gd name="connsiteY1110" fmla="*/ 1005440 h 4936668"/>
                  <a:gd name="connsiteX1111" fmla="*/ 6444835 w 9013239"/>
                  <a:gd name="connsiteY1111" fmla="*/ 1014972 h 4936668"/>
                  <a:gd name="connsiteX1112" fmla="*/ 6463895 w 9013239"/>
                  <a:gd name="connsiteY1112" fmla="*/ 1034032 h 4936668"/>
                  <a:gd name="connsiteX1113" fmla="*/ 6468661 w 9013239"/>
                  <a:gd name="connsiteY1113" fmla="*/ 1053092 h 4936668"/>
                  <a:gd name="connsiteX1114" fmla="*/ 6468661 w 9013239"/>
                  <a:gd name="connsiteY1114" fmla="*/ 1076916 h 4936668"/>
                  <a:gd name="connsiteX1115" fmla="*/ 6463895 w 9013239"/>
                  <a:gd name="connsiteY1115" fmla="*/ 1081680 h 4936668"/>
                  <a:gd name="connsiteX1116" fmla="*/ 6463895 w 9013239"/>
                  <a:gd name="connsiteY1116" fmla="*/ 1105508 h 4936668"/>
                  <a:gd name="connsiteX1117" fmla="*/ 6463895 w 9013239"/>
                  <a:gd name="connsiteY1117" fmla="*/ 1134100 h 4936668"/>
                  <a:gd name="connsiteX1118" fmla="*/ 6463895 w 9013239"/>
                  <a:gd name="connsiteY1118" fmla="*/ 1143628 h 4936668"/>
                  <a:gd name="connsiteX1119" fmla="*/ 6454365 w 9013239"/>
                  <a:gd name="connsiteY1119" fmla="*/ 1153160 h 4936668"/>
                  <a:gd name="connsiteX1120" fmla="*/ 6440070 w 9013239"/>
                  <a:gd name="connsiteY1120" fmla="*/ 1167456 h 4936668"/>
                  <a:gd name="connsiteX1121" fmla="*/ 6440070 w 9013239"/>
                  <a:gd name="connsiteY1121" fmla="*/ 1162688 h 4936668"/>
                  <a:gd name="connsiteX1122" fmla="*/ 6435305 w 9013239"/>
                  <a:gd name="connsiteY1122" fmla="*/ 1167456 h 4936668"/>
                  <a:gd name="connsiteX1123" fmla="*/ 6425775 w 9013239"/>
                  <a:gd name="connsiteY1123" fmla="*/ 1176984 h 4936668"/>
                  <a:gd name="connsiteX1124" fmla="*/ 6425775 w 9013239"/>
                  <a:gd name="connsiteY1124" fmla="*/ 1200812 h 4936668"/>
                  <a:gd name="connsiteX1125" fmla="*/ 6416245 w 9013239"/>
                  <a:gd name="connsiteY1125" fmla="*/ 1210340 h 4936668"/>
                  <a:gd name="connsiteX1126" fmla="*/ 6411479 w 9013239"/>
                  <a:gd name="connsiteY1126" fmla="*/ 1215104 h 4936668"/>
                  <a:gd name="connsiteX1127" fmla="*/ 6406714 w 9013239"/>
                  <a:gd name="connsiteY1127" fmla="*/ 1215104 h 4936668"/>
                  <a:gd name="connsiteX1128" fmla="*/ 6406714 w 9013239"/>
                  <a:gd name="connsiteY1128" fmla="*/ 1219872 h 4936668"/>
                  <a:gd name="connsiteX1129" fmla="*/ 6397184 w 9013239"/>
                  <a:gd name="connsiteY1129" fmla="*/ 1224636 h 4936668"/>
                  <a:gd name="connsiteX1130" fmla="*/ 6387653 w 9013239"/>
                  <a:gd name="connsiteY1130" fmla="*/ 1224636 h 4936668"/>
                  <a:gd name="connsiteX1131" fmla="*/ 6378123 w 9013239"/>
                  <a:gd name="connsiteY1131" fmla="*/ 1234164 h 4936668"/>
                  <a:gd name="connsiteX1132" fmla="*/ 6368593 w 9013239"/>
                  <a:gd name="connsiteY1132" fmla="*/ 1253228 h 4936668"/>
                  <a:gd name="connsiteX1133" fmla="*/ 6368593 w 9013239"/>
                  <a:gd name="connsiteY1133" fmla="*/ 1262756 h 4936668"/>
                  <a:gd name="connsiteX1134" fmla="*/ 6368593 w 9013239"/>
                  <a:gd name="connsiteY1134" fmla="*/ 1272288 h 4936668"/>
                  <a:gd name="connsiteX1135" fmla="*/ 6368593 w 9013239"/>
                  <a:gd name="connsiteY1135" fmla="*/ 1281816 h 4936668"/>
                  <a:gd name="connsiteX1136" fmla="*/ 6368593 w 9013239"/>
                  <a:gd name="connsiteY1136" fmla="*/ 1291348 h 4936668"/>
                  <a:gd name="connsiteX1137" fmla="*/ 6382889 w 9013239"/>
                  <a:gd name="connsiteY1137" fmla="*/ 1296112 h 4936668"/>
                  <a:gd name="connsiteX1138" fmla="*/ 6397184 w 9013239"/>
                  <a:gd name="connsiteY1138" fmla="*/ 1305644 h 4936668"/>
                  <a:gd name="connsiteX1139" fmla="*/ 6411479 w 9013239"/>
                  <a:gd name="connsiteY1139" fmla="*/ 1305644 h 4936668"/>
                  <a:gd name="connsiteX1140" fmla="*/ 6416245 w 9013239"/>
                  <a:gd name="connsiteY1140" fmla="*/ 1300876 h 4936668"/>
                  <a:gd name="connsiteX1141" fmla="*/ 6425775 w 9013239"/>
                  <a:gd name="connsiteY1141" fmla="*/ 1291348 h 4936668"/>
                  <a:gd name="connsiteX1142" fmla="*/ 6430540 w 9013239"/>
                  <a:gd name="connsiteY1142" fmla="*/ 1286584 h 4936668"/>
                  <a:gd name="connsiteX1143" fmla="*/ 6440070 w 9013239"/>
                  <a:gd name="connsiteY1143" fmla="*/ 1281816 h 4936668"/>
                  <a:gd name="connsiteX1144" fmla="*/ 6444835 w 9013239"/>
                  <a:gd name="connsiteY1144" fmla="*/ 1277052 h 4936668"/>
                  <a:gd name="connsiteX1145" fmla="*/ 6459131 w 9013239"/>
                  <a:gd name="connsiteY1145" fmla="*/ 1248460 h 4936668"/>
                  <a:gd name="connsiteX1146" fmla="*/ 6459131 w 9013239"/>
                  <a:gd name="connsiteY1146" fmla="*/ 1243696 h 4936668"/>
                  <a:gd name="connsiteX1147" fmla="*/ 6454365 w 9013239"/>
                  <a:gd name="connsiteY1147" fmla="*/ 1243696 h 4936668"/>
                  <a:gd name="connsiteX1148" fmla="*/ 6454365 w 9013239"/>
                  <a:gd name="connsiteY1148" fmla="*/ 1238932 h 4936668"/>
                  <a:gd name="connsiteX1149" fmla="*/ 6459131 w 9013239"/>
                  <a:gd name="connsiteY1149" fmla="*/ 1238932 h 4936668"/>
                  <a:gd name="connsiteX1150" fmla="*/ 6468661 w 9013239"/>
                  <a:gd name="connsiteY1150" fmla="*/ 1234164 h 4936668"/>
                  <a:gd name="connsiteX1151" fmla="*/ 6473426 w 9013239"/>
                  <a:gd name="connsiteY1151" fmla="*/ 1229400 h 4936668"/>
                  <a:gd name="connsiteX1152" fmla="*/ 6482956 w 9013239"/>
                  <a:gd name="connsiteY1152" fmla="*/ 1224636 h 4936668"/>
                  <a:gd name="connsiteX1153" fmla="*/ 6502017 w 9013239"/>
                  <a:gd name="connsiteY1153" fmla="*/ 1219872 h 4936668"/>
                  <a:gd name="connsiteX1154" fmla="*/ 6516312 w 9013239"/>
                  <a:gd name="connsiteY1154" fmla="*/ 1210340 h 4936668"/>
                  <a:gd name="connsiteX1155" fmla="*/ 6521077 w 9013239"/>
                  <a:gd name="connsiteY1155" fmla="*/ 1210340 h 4936668"/>
                  <a:gd name="connsiteX1156" fmla="*/ 6530607 w 9013239"/>
                  <a:gd name="connsiteY1156" fmla="*/ 1215104 h 4936668"/>
                  <a:gd name="connsiteX1157" fmla="*/ 6544903 w 9013239"/>
                  <a:gd name="connsiteY1157" fmla="*/ 1224636 h 4936668"/>
                  <a:gd name="connsiteX1158" fmla="*/ 6559198 w 9013239"/>
                  <a:gd name="connsiteY1158" fmla="*/ 1238932 h 4936668"/>
                  <a:gd name="connsiteX1159" fmla="*/ 6563963 w 9013239"/>
                  <a:gd name="connsiteY1159" fmla="*/ 1257992 h 4936668"/>
                  <a:gd name="connsiteX1160" fmla="*/ 6578259 w 9013239"/>
                  <a:gd name="connsiteY1160" fmla="*/ 1305644 h 4936668"/>
                  <a:gd name="connsiteX1161" fmla="*/ 6587789 w 9013239"/>
                  <a:gd name="connsiteY1161" fmla="*/ 1381884 h 4936668"/>
                  <a:gd name="connsiteX1162" fmla="*/ 6597319 w 9013239"/>
                  <a:gd name="connsiteY1162" fmla="*/ 1424772 h 4936668"/>
                  <a:gd name="connsiteX1163" fmla="*/ 6602085 w 9013239"/>
                  <a:gd name="connsiteY1163" fmla="*/ 1429536 h 4936668"/>
                  <a:gd name="connsiteX1164" fmla="*/ 6606849 w 9013239"/>
                  <a:gd name="connsiteY1164" fmla="*/ 1434300 h 4936668"/>
                  <a:gd name="connsiteX1165" fmla="*/ 6592554 w 9013239"/>
                  <a:gd name="connsiteY1165" fmla="*/ 1496248 h 4936668"/>
                  <a:gd name="connsiteX1166" fmla="*/ 6583024 w 9013239"/>
                  <a:gd name="connsiteY1166" fmla="*/ 1520072 h 4936668"/>
                  <a:gd name="connsiteX1167" fmla="*/ 6568729 w 9013239"/>
                  <a:gd name="connsiteY1167" fmla="*/ 1534368 h 4936668"/>
                  <a:gd name="connsiteX1168" fmla="*/ 6568729 w 9013239"/>
                  <a:gd name="connsiteY1168" fmla="*/ 1529604 h 4936668"/>
                  <a:gd name="connsiteX1169" fmla="*/ 6573493 w 9013239"/>
                  <a:gd name="connsiteY1169" fmla="*/ 1524840 h 4936668"/>
                  <a:gd name="connsiteX1170" fmla="*/ 6568729 w 9013239"/>
                  <a:gd name="connsiteY1170" fmla="*/ 1510544 h 4936668"/>
                  <a:gd name="connsiteX1171" fmla="*/ 6568729 w 9013239"/>
                  <a:gd name="connsiteY1171" fmla="*/ 1505780 h 4936668"/>
                  <a:gd name="connsiteX1172" fmla="*/ 6563963 w 9013239"/>
                  <a:gd name="connsiteY1172" fmla="*/ 1505780 h 4936668"/>
                  <a:gd name="connsiteX1173" fmla="*/ 6554433 w 9013239"/>
                  <a:gd name="connsiteY1173" fmla="*/ 1505780 h 4936668"/>
                  <a:gd name="connsiteX1174" fmla="*/ 6544903 w 9013239"/>
                  <a:gd name="connsiteY1174" fmla="*/ 1510544 h 4936668"/>
                  <a:gd name="connsiteX1175" fmla="*/ 6544903 w 9013239"/>
                  <a:gd name="connsiteY1175" fmla="*/ 1515308 h 4936668"/>
                  <a:gd name="connsiteX1176" fmla="*/ 6544903 w 9013239"/>
                  <a:gd name="connsiteY1176" fmla="*/ 1520072 h 4936668"/>
                  <a:gd name="connsiteX1177" fmla="*/ 6544903 w 9013239"/>
                  <a:gd name="connsiteY1177" fmla="*/ 1524840 h 4936668"/>
                  <a:gd name="connsiteX1178" fmla="*/ 6540137 w 9013239"/>
                  <a:gd name="connsiteY1178" fmla="*/ 1529604 h 4936668"/>
                  <a:gd name="connsiteX1179" fmla="*/ 6535373 w 9013239"/>
                  <a:gd name="connsiteY1179" fmla="*/ 1543900 h 4936668"/>
                  <a:gd name="connsiteX1180" fmla="*/ 6530607 w 9013239"/>
                  <a:gd name="connsiteY1180" fmla="*/ 1558196 h 4936668"/>
                  <a:gd name="connsiteX1181" fmla="*/ 6530607 w 9013239"/>
                  <a:gd name="connsiteY1181" fmla="*/ 1567724 h 4936668"/>
                  <a:gd name="connsiteX1182" fmla="*/ 6525843 w 9013239"/>
                  <a:gd name="connsiteY1182" fmla="*/ 1572492 h 4936668"/>
                  <a:gd name="connsiteX1183" fmla="*/ 6511547 w 9013239"/>
                  <a:gd name="connsiteY1183" fmla="*/ 1577256 h 4936668"/>
                  <a:gd name="connsiteX1184" fmla="*/ 6502017 w 9013239"/>
                  <a:gd name="connsiteY1184" fmla="*/ 1582020 h 4936668"/>
                  <a:gd name="connsiteX1185" fmla="*/ 6497251 w 9013239"/>
                  <a:gd name="connsiteY1185" fmla="*/ 1591552 h 4936668"/>
                  <a:gd name="connsiteX1186" fmla="*/ 6492487 w 9013239"/>
                  <a:gd name="connsiteY1186" fmla="*/ 1605844 h 4936668"/>
                  <a:gd name="connsiteX1187" fmla="*/ 6487721 w 9013239"/>
                  <a:gd name="connsiteY1187" fmla="*/ 1620140 h 4936668"/>
                  <a:gd name="connsiteX1188" fmla="*/ 6482956 w 9013239"/>
                  <a:gd name="connsiteY1188" fmla="*/ 1634436 h 4936668"/>
                  <a:gd name="connsiteX1189" fmla="*/ 6487721 w 9013239"/>
                  <a:gd name="connsiteY1189" fmla="*/ 1639200 h 4936668"/>
                  <a:gd name="connsiteX1190" fmla="*/ 6482956 w 9013239"/>
                  <a:gd name="connsiteY1190" fmla="*/ 1643968 h 4936668"/>
                  <a:gd name="connsiteX1191" fmla="*/ 6473426 w 9013239"/>
                  <a:gd name="connsiteY1191" fmla="*/ 1653496 h 4936668"/>
                  <a:gd name="connsiteX1192" fmla="*/ 6473426 w 9013239"/>
                  <a:gd name="connsiteY1192" fmla="*/ 1658264 h 4936668"/>
                  <a:gd name="connsiteX1193" fmla="*/ 6473426 w 9013239"/>
                  <a:gd name="connsiteY1193" fmla="*/ 1663028 h 4936668"/>
                  <a:gd name="connsiteX1194" fmla="*/ 6468661 w 9013239"/>
                  <a:gd name="connsiteY1194" fmla="*/ 1663028 h 4936668"/>
                  <a:gd name="connsiteX1195" fmla="*/ 6463895 w 9013239"/>
                  <a:gd name="connsiteY1195" fmla="*/ 1667792 h 4936668"/>
                  <a:gd name="connsiteX1196" fmla="*/ 6454365 w 9013239"/>
                  <a:gd name="connsiteY1196" fmla="*/ 1677324 h 4936668"/>
                  <a:gd name="connsiteX1197" fmla="*/ 6444835 w 9013239"/>
                  <a:gd name="connsiteY1197" fmla="*/ 1701148 h 4936668"/>
                  <a:gd name="connsiteX1198" fmla="*/ 6444835 w 9013239"/>
                  <a:gd name="connsiteY1198" fmla="*/ 1705912 h 4936668"/>
                  <a:gd name="connsiteX1199" fmla="*/ 6444835 w 9013239"/>
                  <a:gd name="connsiteY1199" fmla="*/ 1710680 h 4936668"/>
                  <a:gd name="connsiteX1200" fmla="*/ 6459131 w 9013239"/>
                  <a:gd name="connsiteY1200" fmla="*/ 1710680 h 4936668"/>
                  <a:gd name="connsiteX1201" fmla="*/ 6468661 w 9013239"/>
                  <a:gd name="connsiteY1201" fmla="*/ 1715444 h 4936668"/>
                  <a:gd name="connsiteX1202" fmla="*/ 6478191 w 9013239"/>
                  <a:gd name="connsiteY1202" fmla="*/ 1720208 h 4936668"/>
                  <a:gd name="connsiteX1203" fmla="*/ 6502017 w 9013239"/>
                  <a:gd name="connsiteY1203" fmla="*/ 1734504 h 4936668"/>
                  <a:gd name="connsiteX1204" fmla="*/ 6511547 w 9013239"/>
                  <a:gd name="connsiteY1204" fmla="*/ 1744036 h 4936668"/>
                  <a:gd name="connsiteX1205" fmla="*/ 6521077 w 9013239"/>
                  <a:gd name="connsiteY1205" fmla="*/ 1748800 h 4936668"/>
                  <a:gd name="connsiteX1206" fmla="*/ 6525843 w 9013239"/>
                  <a:gd name="connsiteY1206" fmla="*/ 1748800 h 4936668"/>
                  <a:gd name="connsiteX1207" fmla="*/ 6530607 w 9013239"/>
                  <a:gd name="connsiteY1207" fmla="*/ 1744036 h 4936668"/>
                  <a:gd name="connsiteX1208" fmla="*/ 6535373 w 9013239"/>
                  <a:gd name="connsiteY1208" fmla="*/ 1739268 h 4936668"/>
                  <a:gd name="connsiteX1209" fmla="*/ 6540137 w 9013239"/>
                  <a:gd name="connsiteY1209" fmla="*/ 1739268 h 4936668"/>
                  <a:gd name="connsiteX1210" fmla="*/ 6544903 w 9013239"/>
                  <a:gd name="connsiteY1210" fmla="*/ 1744036 h 4936668"/>
                  <a:gd name="connsiteX1211" fmla="*/ 6559198 w 9013239"/>
                  <a:gd name="connsiteY1211" fmla="*/ 1748800 h 4936668"/>
                  <a:gd name="connsiteX1212" fmla="*/ 6559198 w 9013239"/>
                  <a:gd name="connsiteY1212" fmla="*/ 1753564 h 4936668"/>
                  <a:gd name="connsiteX1213" fmla="*/ 6516312 w 9013239"/>
                  <a:gd name="connsiteY1213" fmla="*/ 1763096 h 4936668"/>
                  <a:gd name="connsiteX1214" fmla="*/ 6511547 w 9013239"/>
                  <a:gd name="connsiteY1214" fmla="*/ 1763096 h 4936668"/>
                  <a:gd name="connsiteX1215" fmla="*/ 6521077 w 9013239"/>
                  <a:gd name="connsiteY1215" fmla="*/ 1767860 h 4936668"/>
                  <a:gd name="connsiteX1216" fmla="*/ 6530607 w 9013239"/>
                  <a:gd name="connsiteY1216" fmla="*/ 1767860 h 4936668"/>
                  <a:gd name="connsiteX1217" fmla="*/ 6540137 w 9013239"/>
                  <a:gd name="connsiteY1217" fmla="*/ 1763096 h 4936668"/>
                  <a:gd name="connsiteX1218" fmla="*/ 6554433 w 9013239"/>
                  <a:gd name="connsiteY1218" fmla="*/ 1763096 h 4936668"/>
                  <a:gd name="connsiteX1219" fmla="*/ 6563963 w 9013239"/>
                  <a:gd name="connsiteY1219" fmla="*/ 1767860 h 4936668"/>
                  <a:gd name="connsiteX1220" fmla="*/ 6568729 w 9013239"/>
                  <a:gd name="connsiteY1220" fmla="*/ 1763096 h 4936668"/>
                  <a:gd name="connsiteX1221" fmla="*/ 6587789 w 9013239"/>
                  <a:gd name="connsiteY1221" fmla="*/ 1777392 h 4936668"/>
                  <a:gd name="connsiteX1222" fmla="*/ 6597319 w 9013239"/>
                  <a:gd name="connsiteY1222" fmla="*/ 1777392 h 4936668"/>
                  <a:gd name="connsiteX1223" fmla="*/ 6602085 w 9013239"/>
                  <a:gd name="connsiteY1223" fmla="*/ 1777392 h 4936668"/>
                  <a:gd name="connsiteX1224" fmla="*/ 6606849 w 9013239"/>
                  <a:gd name="connsiteY1224" fmla="*/ 1772624 h 4936668"/>
                  <a:gd name="connsiteX1225" fmla="*/ 6625910 w 9013239"/>
                  <a:gd name="connsiteY1225" fmla="*/ 1763096 h 4936668"/>
                  <a:gd name="connsiteX1226" fmla="*/ 6649735 w 9013239"/>
                  <a:gd name="connsiteY1226" fmla="*/ 1758328 h 4936668"/>
                  <a:gd name="connsiteX1227" fmla="*/ 6673561 w 9013239"/>
                  <a:gd name="connsiteY1227" fmla="*/ 1753564 h 4936668"/>
                  <a:gd name="connsiteX1228" fmla="*/ 6697387 w 9013239"/>
                  <a:gd name="connsiteY1228" fmla="*/ 1758328 h 4936668"/>
                  <a:gd name="connsiteX1229" fmla="*/ 6711683 w 9013239"/>
                  <a:gd name="connsiteY1229" fmla="*/ 1753564 h 4936668"/>
                  <a:gd name="connsiteX1230" fmla="*/ 6725977 w 9013239"/>
                  <a:gd name="connsiteY1230" fmla="*/ 1744036 h 4936668"/>
                  <a:gd name="connsiteX1231" fmla="*/ 6754569 w 9013239"/>
                  <a:gd name="connsiteY1231" fmla="*/ 1720208 h 4936668"/>
                  <a:gd name="connsiteX1232" fmla="*/ 6792689 w 9013239"/>
                  <a:gd name="connsiteY1232" fmla="*/ 1701148 h 4936668"/>
                  <a:gd name="connsiteX1233" fmla="*/ 6845106 w 9013239"/>
                  <a:gd name="connsiteY1233" fmla="*/ 1672556 h 4936668"/>
                  <a:gd name="connsiteX1234" fmla="*/ 6930878 w 9013239"/>
                  <a:gd name="connsiteY1234" fmla="*/ 1643968 h 4936668"/>
                  <a:gd name="connsiteX1235" fmla="*/ 6940409 w 9013239"/>
                  <a:gd name="connsiteY1235" fmla="*/ 1634436 h 4936668"/>
                  <a:gd name="connsiteX1236" fmla="*/ 6954704 w 9013239"/>
                  <a:gd name="connsiteY1236" fmla="*/ 1629672 h 4936668"/>
                  <a:gd name="connsiteX1237" fmla="*/ 6964234 w 9013239"/>
                  <a:gd name="connsiteY1237" fmla="*/ 1624908 h 4936668"/>
                  <a:gd name="connsiteX1238" fmla="*/ 6968999 w 9013239"/>
                  <a:gd name="connsiteY1238" fmla="*/ 1620140 h 4936668"/>
                  <a:gd name="connsiteX1239" fmla="*/ 7030946 w 9013239"/>
                  <a:gd name="connsiteY1239" fmla="*/ 1586784 h 4936668"/>
                  <a:gd name="connsiteX1240" fmla="*/ 7059537 w 9013239"/>
                  <a:gd name="connsiteY1240" fmla="*/ 1567724 h 4936668"/>
                  <a:gd name="connsiteX1241" fmla="*/ 7073832 w 9013239"/>
                  <a:gd name="connsiteY1241" fmla="*/ 1553428 h 4936668"/>
                  <a:gd name="connsiteX1242" fmla="*/ 7088127 w 9013239"/>
                  <a:gd name="connsiteY1242" fmla="*/ 1543900 h 4936668"/>
                  <a:gd name="connsiteX1243" fmla="*/ 7107188 w 9013239"/>
                  <a:gd name="connsiteY1243" fmla="*/ 1534368 h 4936668"/>
                  <a:gd name="connsiteX1244" fmla="*/ 7116718 w 9013239"/>
                  <a:gd name="connsiteY1244" fmla="*/ 1524840 h 4936668"/>
                  <a:gd name="connsiteX1245" fmla="*/ 7131013 w 9013239"/>
                  <a:gd name="connsiteY1245" fmla="*/ 1505780 h 4936668"/>
                  <a:gd name="connsiteX1246" fmla="*/ 7140544 w 9013239"/>
                  <a:gd name="connsiteY1246" fmla="*/ 1496248 h 4936668"/>
                  <a:gd name="connsiteX1247" fmla="*/ 7150074 w 9013239"/>
                  <a:gd name="connsiteY1247" fmla="*/ 1491484 h 4936668"/>
                  <a:gd name="connsiteX1248" fmla="*/ 7159605 w 9013239"/>
                  <a:gd name="connsiteY1248" fmla="*/ 1481952 h 4936668"/>
                  <a:gd name="connsiteX1249" fmla="*/ 7159605 w 9013239"/>
                  <a:gd name="connsiteY1249" fmla="*/ 1472424 h 4936668"/>
                  <a:gd name="connsiteX1250" fmla="*/ 7154839 w 9013239"/>
                  <a:gd name="connsiteY1250" fmla="*/ 1462892 h 4936668"/>
                  <a:gd name="connsiteX1251" fmla="*/ 7150074 w 9013239"/>
                  <a:gd name="connsiteY1251" fmla="*/ 1448596 h 4936668"/>
                  <a:gd name="connsiteX1252" fmla="*/ 7150074 w 9013239"/>
                  <a:gd name="connsiteY1252" fmla="*/ 1439068 h 4936668"/>
                  <a:gd name="connsiteX1253" fmla="*/ 7154839 w 9013239"/>
                  <a:gd name="connsiteY1253" fmla="*/ 1434300 h 4936668"/>
                  <a:gd name="connsiteX1254" fmla="*/ 7154839 w 9013239"/>
                  <a:gd name="connsiteY1254" fmla="*/ 1429536 h 4936668"/>
                  <a:gd name="connsiteX1255" fmla="*/ 7154839 w 9013239"/>
                  <a:gd name="connsiteY1255" fmla="*/ 1424772 h 4936668"/>
                  <a:gd name="connsiteX1256" fmla="*/ 7126249 w 9013239"/>
                  <a:gd name="connsiteY1256" fmla="*/ 1415240 h 4936668"/>
                  <a:gd name="connsiteX1257" fmla="*/ 7131013 w 9013239"/>
                  <a:gd name="connsiteY1257" fmla="*/ 1381884 h 4936668"/>
                  <a:gd name="connsiteX1258" fmla="*/ 7131013 w 9013239"/>
                  <a:gd name="connsiteY1258" fmla="*/ 1377120 h 4936668"/>
                  <a:gd name="connsiteX1259" fmla="*/ 7188195 w 9013239"/>
                  <a:gd name="connsiteY1259" fmla="*/ 1362824 h 4936668"/>
                  <a:gd name="connsiteX1260" fmla="*/ 7221551 w 9013239"/>
                  <a:gd name="connsiteY1260" fmla="*/ 1358060 h 4936668"/>
                  <a:gd name="connsiteX1261" fmla="*/ 7269203 w 9013239"/>
                  <a:gd name="connsiteY1261" fmla="*/ 1353296 h 4936668"/>
                  <a:gd name="connsiteX1262" fmla="*/ 7321619 w 9013239"/>
                  <a:gd name="connsiteY1262" fmla="*/ 1362824 h 4936668"/>
                  <a:gd name="connsiteX1263" fmla="*/ 7340679 w 9013239"/>
                  <a:gd name="connsiteY1263" fmla="*/ 1372356 h 4936668"/>
                  <a:gd name="connsiteX1264" fmla="*/ 7354975 w 9013239"/>
                  <a:gd name="connsiteY1264" fmla="*/ 1381884 h 4936668"/>
                  <a:gd name="connsiteX1265" fmla="*/ 7369270 w 9013239"/>
                  <a:gd name="connsiteY1265" fmla="*/ 1381884 h 4936668"/>
                  <a:gd name="connsiteX1266" fmla="*/ 7383565 w 9013239"/>
                  <a:gd name="connsiteY1266" fmla="*/ 1377120 h 4936668"/>
                  <a:gd name="connsiteX1267" fmla="*/ 7407391 w 9013239"/>
                  <a:gd name="connsiteY1267" fmla="*/ 1377120 h 4936668"/>
                  <a:gd name="connsiteX1268" fmla="*/ 7440747 w 9013239"/>
                  <a:gd name="connsiteY1268" fmla="*/ 1377120 h 4936668"/>
                  <a:gd name="connsiteX1269" fmla="*/ 7455042 w 9013239"/>
                  <a:gd name="connsiteY1269" fmla="*/ 1381884 h 4936668"/>
                  <a:gd name="connsiteX1270" fmla="*/ 7459807 w 9013239"/>
                  <a:gd name="connsiteY1270" fmla="*/ 1381884 h 4936668"/>
                  <a:gd name="connsiteX1271" fmla="*/ 7459807 w 9013239"/>
                  <a:gd name="connsiteY1271" fmla="*/ 1377120 h 4936668"/>
                  <a:gd name="connsiteX1272" fmla="*/ 7469337 w 9013239"/>
                  <a:gd name="connsiteY1272" fmla="*/ 1372356 h 4936668"/>
                  <a:gd name="connsiteX1273" fmla="*/ 7493163 w 9013239"/>
                  <a:gd name="connsiteY1273" fmla="*/ 1362824 h 4936668"/>
                  <a:gd name="connsiteX1274" fmla="*/ 7493163 w 9013239"/>
                  <a:gd name="connsiteY1274" fmla="*/ 1367588 h 4936668"/>
                  <a:gd name="connsiteX1275" fmla="*/ 7497929 w 9013239"/>
                  <a:gd name="connsiteY1275" fmla="*/ 1362824 h 4936668"/>
                  <a:gd name="connsiteX1276" fmla="*/ 7502693 w 9013239"/>
                  <a:gd name="connsiteY1276" fmla="*/ 1353296 h 4936668"/>
                  <a:gd name="connsiteX1277" fmla="*/ 7516989 w 9013239"/>
                  <a:gd name="connsiteY1277" fmla="*/ 1343764 h 4936668"/>
                  <a:gd name="connsiteX1278" fmla="*/ 7531285 w 9013239"/>
                  <a:gd name="connsiteY1278" fmla="*/ 1329468 h 4936668"/>
                  <a:gd name="connsiteX1279" fmla="*/ 7550345 w 9013239"/>
                  <a:gd name="connsiteY1279" fmla="*/ 1324704 h 4936668"/>
                  <a:gd name="connsiteX1280" fmla="*/ 7559875 w 9013239"/>
                  <a:gd name="connsiteY1280" fmla="*/ 1324704 h 4936668"/>
                  <a:gd name="connsiteX1281" fmla="*/ 7569405 w 9013239"/>
                  <a:gd name="connsiteY1281" fmla="*/ 1319940 h 4936668"/>
                  <a:gd name="connsiteX1282" fmla="*/ 7574171 w 9013239"/>
                  <a:gd name="connsiteY1282" fmla="*/ 1315172 h 4936668"/>
                  <a:gd name="connsiteX1283" fmla="*/ 7578935 w 9013239"/>
                  <a:gd name="connsiteY1283" fmla="*/ 1310408 h 4936668"/>
                  <a:gd name="connsiteX1284" fmla="*/ 7574171 w 9013239"/>
                  <a:gd name="connsiteY1284" fmla="*/ 1305644 h 4936668"/>
                  <a:gd name="connsiteX1285" fmla="*/ 7578935 w 9013239"/>
                  <a:gd name="connsiteY1285" fmla="*/ 1300876 h 4936668"/>
                  <a:gd name="connsiteX1286" fmla="*/ 7574171 w 9013239"/>
                  <a:gd name="connsiteY1286" fmla="*/ 1300876 h 4936668"/>
                  <a:gd name="connsiteX1287" fmla="*/ 7574171 w 9013239"/>
                  <a:gd name="connsiteY1287" fmla="*/ 1296112 h 4936668"/>
                  <a:gd name="connsiteX1288" fmla="*/ 7574171 w 9013239"/>
                  <a:gd name="connsiteY1288" fmla="*/ 1277052 h 4936668"/>
                  <a:gd name="connsiteX1289" fmla="*/ 7569405 w 9013239"/>
                  <a:gd name="connsiteY1289" fmla="*/ 1267520 h 4936668"/>
                  <a:gd name="connsiteX1290" fmla="*/ 7564640 w 9013239"/>
                  <a:gd name="connsiteY1290" fmla="*/ 1262756 h 4936668"/>
                  <a:gd name="connsiteX1291" fmla="*/ 7559875 w 9013239"/>
                  <a:gd name="connsiteY1291" fmla="*/ 1257992 h 4936668"/>
                  <a:gd name="connsiteX1292" fmla="*/ 7564640 w 9013239"/>
                  <a:gd name="connsiteY1292" fmla="*/ 1253228 h 4936668"/>
                  <a:gd name="connsiteX1293" fmla="*/ 7569405 w 9013239"/>
                  <a:gd name="connsiteY1293" fmla="*/ 1248460 h 4936668"/>
                  <a:gd name="connsiteX1294" fmla="*/ 7569405 w 9013239"/>
                  <a:gd name="connsiteY1294" fmla="*/ 1253228 h 4936668"/>
                  <a:gd name="connsiteX1295" fmla="*/ 7574171 w 9013239"/>
                  <a:gd name="connsiteY1295" fmla="*/ 1253228 h 4936668"/>
                  <a:gd name="connsiteX1296" fmla="*/ 7583701 w 9013239"/>
                  <a:gd name="connsiteY1296" fmla="*/ 1238932 h 4936668"/>
                  <a:gd name="connsiteX1297" fmla="*/ 7583701 w 9013239"/>
                  <a:gd name="connsiteY1297" fmla="*/ 1234164 h 4936668"/>
                  <a:gd name="connsiteX1298" fmla="*/ 7593231 w 9013239"/>
                  <a:gd name="connsiteY1298" fmla="*/ 1229400 h 4936668"/>
                  <a:gd name="connsiteX1299" fmla="*/ 7597996 w 9013239"/>
                  <a:gd name="connsiteY1299" fmla="*/ 1224636 h 4936668"/>
                  <a:gd name="connsiteX1300" fmla="*/ 7588466 w 9013239"/>
                  <a:gd name="connsiteY1300" fmla="*/ 1224636 h 4936668"/>
                  <a:gd name="connsiteX1301" fmla="*/ 7578935 w 9013239"/>
                  <a:gd name="connsiteY1301" fmla="*/ 1224636 h 4936668"/>
                  <a:gd name="connsiteX1302" fmla="*/ 7583701 w 9013239"/>
                  <a:gd name="connsiteY1302" fmla="*/ 1215104 h 4936668"/>
                  <a:gd name="connsiteX1303" fmla="*/ 7583701 w 9013239"/>
                  <a:gd name="connsiteY1303" fmla="*/ 1210340 h 4936668"/>
                  <a:gd name="connsiteX1304" fmla="*/ 7578935 w 9013239"/>
                  <a:gd name="connsiteY1304" fmla="*/ 1205576 h 4936668"/>
                  <a:gd name="connsiteX1305" fmla="*/ 7574171 w 9013239"/>
                  <a:gd name="connsiteY1305" fmla="*/ 1205576 h 4936668"/>
                  <a:gd name="connsiteX1306" fmla="*/ 7564640 w 9013239"/>
                  <a:gd name="connsiteY1306" fmla="*/ 1215104 h 4936668"/>
                  <a:gd name="connsiteX1307" fmla="*/ 7559875 w 9013239"/>
                  <a:gd name="connsiteY1307" fmla="*/ 1215104 h 4936668"/>
                  <a:gd name="connsiteX1308" fmla="*/ 7559875 w 9013239"/>
                  <a:gd name="connsiteY1308" fmla="*/ 1210340 h 4936668"/>
                  <a:gd name="connsiteX1309" fmla="*/ 7550345 w 9013239"/>
                  <a:gd name="connsiteY1309" fmla="*/ 1200812 h 4936668"/>
                  <a:gd name="connsiteX1310" fmla="*/ 7569405 w 9013239"/>
                  <a:gd name="connsiteY1310" fmla="*/ 1186516 h 4936668"/>
                  <a:gd name="connsiteX1311" fmla="*/ 7631351 w 9013239"/>
                  <a:gd name="connsiteY1311" fmla="*/ 1138864 h 4936668"/>
                  <a:gd name="connsiteX1312" fmla="*/ 7640883 w 9013239"/>
                  <a:gd name="connsiteY1312" fmla="*/ 1129332 h 4936668"/>
                  <a:gd name="connsiteX1313" fmla="*/ 7640883 w 9013239"/>
                  <a:gd name="connsiteY1313" fmla="*/ 1124568 h 4936668"/>
                  <a:gd name="connsiteX1314" fmla="*/ 7640883 w 9013239"/>
                  <a:gd name="connsiteY1314" fmla="*/ 1119804 h 4936668"/>
                  <a:gd name="connsiteX1315" fmla="*/ 7640883 w 9013239"/>
                  <a:gd name="connsiteY1315" fmla="*/ 1115036 h 4936668"/>
                  <a:gd name="connsiteX1316" fmla="*/ 7698063 w 9013239"/>
                  <a:gd name="connsiteY1316" fmla="*/ 1057856 h 4936668"/>
                  <a:gd name="connsiteX1317" fmla="*/ 7736185 w 9013239"/>
                  <a:gd name="connsiteY1317" fmla="*/ 1029264 h 4936668"/>
                  <a:gd name="connsiteX1318" fmla="*/ 7764775 w 9013239"/>
                  <a:gd name="connsiteY1318" fmla="*/ 1010204 h 4936668"/>
                  <a:gd name="connsiteX1319" fmla="*/ 7783835 w 9013239"/>
                  <a:gd name="connsiteY1319" fmla="*/ 1005440 h 4936668"/>
                  <a:gd name="connsiteX1320" fmla="*/ 7798131 w 9013239"/>
                  <a:gd name="connsiteY1320" fmla="*/ 1005440 h 4936668"/>
                  <a:gd name="connsiteX1321" fmla="*/ 7807661 w 9013239"/>
                  <a:gd name="connsiteY1321" fmla="*/ 1005440 h 4936668"/>
                  <a:gd name="connsiteX1322" fmla="*/ 8045919 w 9013239"/>
                  <a:gd name="connsiteY1322" fmla="*/ 1005440 h 4936668"/>
                  <a:gd name="connsiteX1323" fmla="*/ 8112631 w 9013239"/>
                  <a:gd name="connsiteY1323" fmla="*/ 1005440 h 4936668"/>
                  <a:gd name="connsiteX1324" fmla="*/ 8307999 w 9013239"/>
                  <a:gd name="connsiteY1324" fmla="*/ 1005440 h 4936668"/>
                  <a:gd name="connsiteX1325" fmla="*/ 8322295 w 9013239"/>
                  <a:gd name="connsiteY1325" fmla="*/ 962552 h 4936668"/>
                  <a:gd name="connsiteX1326" fmla="*/ 8336591 w 9013239"/>
                  <a:gd name="connsiteY1326" fmla="*/ 938728 h 4936668"/>
                  <a:gd name="connsiteX1327" fmla="*/ 8355651 w 9013239"/>
                  <a:gd name="connsiteY1327" fmla="*/ 948260 h 4936668"/>
                  <a:gd name="connsiteX1328" fmla="*/ 8365181 w 9013239"/>
                  <a:gd name="connsiteY1328" fmla="*/ 948260 h 4936668"/>
                  <a:gd name="connsiteX1329" fmla="*/ 8379477 w 9013239"/>
                  <a:gd name="connsiteY1329" fmla="*/ 938728 h 4936668"/>
                  <a:gd name="connsiteX1330" fmla="*/ 8389007 w 9013239"/>
                  <a:gd name="connsiteY1330" fmla="*/ 929196 h 4936668"/>
                  <a:gd name="connsiteX1331" fmla="*/ 8393771 w 9013239"/>
                  <a:gd name="connsiteY1331" fmla="*/ 933964 h 4936668"/>
                  <a:gd name="connsiteX1332" fmla="*/ 8398539 w 9013239"/>
                  <a:gd name="connsiteY1332" fmla="*/ 938728 h 4936668"/>
                  <a:gd name="connsiteX1333" fmla="*/ 8403303 w 9013239"/>
                  <a:gd name="connsiteY1333" fmla="*/ 948260 h 4936668"/>
                  <a:gd name="connsiteX1334" fmla="*/ 8408067 w 9013239"/>
                  <a:gd name="connsiteY1334" fmla="*/ 943492 h 4936668"/>
                  <a:gd name="connsiteX1335" fmla="*/ 8412833 w 9013239"/>
                  <a:gd name="connsiteY1335" fmla="*/ 938728 h 4936668"/>
                  <a:gd name="connsiteX1336" fmla="*/ 8412833 w 9013239"/>
                  <a:gd name="connsiteY1336" fmla="*/ 924432 h 4936668"/>
                  <a:gd name="connsiteX1337" fmla="*/ 8417599 w 9013239"/>
                  <a:gd name="connsiteY1337" fmla="*/ 914904 h 4936668"/>
                  <a:gd name="connsiteX1338" fmla="*/ 8427127 w 9013239"/>
                  <a:gd name="connsiteY1338" fmla="*/ 914904 h 4936668"/>
                  <a:gd name="connsiteX1339" fmla="*/ 8431893 w 9013239"/>
                  <a:gd name="connsiteY1339" fmla="*/ 914904 h 4936668"/>
                  <a:gd name="connsiteX1340" fmla="*/ 8436659 w 9013239"/>
                  <a:gd name="connsiteY1340" fmla="*/ 910136 h 4936668"/>
                  <a:gd name="connsiteX1341" fmla="*/ 8436659 w 9013239"/>
                  <a:gd name="connsiteY1341" fmla="*/ 905372 h 4936668"/>
                  <a:gd name="connsiteX1342" fmla="*/ 8431893 w 9013239"/>
                  <a:gd name="connsiteY1342" fmla="*/ 895840 h 4936668"/>
                  <a:gd name="connsiteX1343" fmla="*/ 8431893 w 9013239"/>
                  <a:gd name="connsiteY1343" fmla="*/ 881548 h 4936668"/>
                  <a:gd name="connsiteX1344" fmla="*/ 8450955 w 9013239"/>
                  <a:gd name="connsiteY1344" fmla="*/ 862488 h 4936668"/>
                  <a:gd name="connsiteX1345" fmla="*/ 8470015 w 9013239"/>
                  <a:gd name="connsiteY1345" fmla="*/ 848192 h 4936668"/>
                  <a:gd name="connsiteX1346" fmla="*/ 8479545 w 9013239"/>
                  <a:gd name="connsiteY1346" fmla="*/ 843424 h 4936668"/>
                  <a:gd name="connsiteX1347" fmla="*/ 8479545 w 9013239"/>
                  <a:gd name="connsiteY1347" fmla="*/ 824364 h 4936668"/>
                  <a:gd name="connsiteX1348" fmla="*/ 8493839 w 9013239"/>
                  <a:gd name="connsiteY1348" fmla="*/ 810068 h 4936668"/>
                  <a:gd name="connsiteX1349" fmla="*/ 8498605 w 9013239"/>
                  <a:gd name="connsiteY1349" fmla="*/ 805304 h 4936668"/>
                  <a:gd name="connsiteX1350" fmla="*/ 8498605 w 9013239"/>
                  <a:gd name="connsiteY1350" fmla="*/ 795776 h 4936668"/>
                  <a:gd name="connsiteX1351" fmla="*/ 8498605 w 9013239"/>
                  <a:gd name="connsiteY1351" fmla="*/ 786244 h 4936668"/>
                  <a:gd name="connsiteX1352" fmla="*/ 8498605 w 9013239"/>
                  <a:gd name="connsiteY1352" fmla="*/ 767184 h 4936668"/>
                  <a:gd name="connsiteX1353" fmla="*/ 8498605 w 9013239"/>
                  <a:gd name="connsiteY1353" fmla="*/ 748124 h 4936668"/>
                  <a:gd name="connsiteX1354" fmla="*/ 8503371 w 9013239"/>
                  <a:gd name="connsiteY1354" fmla="*/ 724296 h 4936668"/>
                  <a:gd name="connsiteX1355" fmla="*/ 8517667 w 9013239"/>
                  <a:gd name="connsiteY1355" fmla="*/ 705236 h 4936668"/>
                  <a:gd name="connsiteX1356" fmla="*/ 8531961 w 9013239"/>
                  <a:gd name="connsiteY1356" fmla="*/ 681412 h 4936668"/>
                  <a:gd name="connsiteX1357" fmla="*/ 8536727 w 9013239"/>
                  <a:gd name="connsiteY1357" fmla="*/ 652820 h 4936668"/>
                  <a:gd name="connsiteX1358" fmla="*/ 8541491 w 9013239"/>
                  <a:gd name="connsiteY1358" fmla="*/ 624228 h 4936668"/>
                  <a:gd name="connsiteX1359" fmla="*/ 8565317 w 9013239"/>
                  <a:gd name="connsiteY1359" fmla="*/ 590872 h 4936668"/>
                  <a:gd name="connsiteX1360" fmla="*/ 8589143 w 9013239"/>
                  <a:gd name="connsiteY1360" fmla="*/ 557516 h 4936668"/>
                  <a:gd name="connsiteX1361" fmla="*/ 8603439 w 9013239"/>
                  <a:gd name="connsiteY1361" fmla="*/ 538456 h 4936668"/>
                  <a:gd name="connsiteX1362" fmla="*/ 8627263 w 9013239"/>
                  <a:gd name="connsiteY1362" fmla="*/ 500336 h 4936668"/>
                  <a:gd name="connsiteX1363" fmla="*/ 8646323 w 9013239"/>
                  <a:gd name="connsiteY1363" fmla="*/ 476512 h 4936668"/>
                  <a:gd name="connsiteX1364" fmla="*/ 8651089 w 9013239"/>
                  <a:gd name="connsiteY1364" fmla="*/ 462216 h 4936668"/>
                  <a:gd name="connsiteX1365" fmla="*/ 8660619 w 9013239"/>
                  <a:gd name="connsiteY1365" fmla="*/ 447920 h 4936668"/>
                  <a:gd name="connsiteX1366" fmla="*/ 8679679 w 9013239"/>
                  <a:gd name="connsiteY1366" fmla="*/ 452684 h 4936668"/>
                  <a:gd name="connsiteX1367" fmla="*/ 8693975 w 9013239"/>
                  <a:gd name="connsiteY1367" fmla="*/ 457452 h 4936668"/>
                  <a:gd name="connsiteX1368" fmla="*/ 8689211 w 9013239"/>
                  <a:gd name="connsiteY1368" fmla="*/ 476512 h 4936668"/>
                  <a:gd name="connsiteX1369" fmla="*/ 8693975 w 9013239"/>
                  <a:gd name="connsiteY1369" fmla="*/ 490808 h 4936668"/>
                  <a:gd name="connsiteX1370" fmla="*/ 8698741 w 9013239"/>
                  <a:gd name="connsiteY1370" fmla="*/ 500336 h 4936668"/>
                  <a:gd name="connsiteX1371" fmla="*/ 8708271 w 9013239"/>
                  <a:gd name="connsiteY1371" fmla="*/ 505100 h 4936668"/>
                  <a:gd name="connsiteX1372" fmla="*/ 8717801 w 9013239"/>
                  <a:gd name="connsiteY1372" fmla="*/ 509868 h 4936668"/>
                  <a:gd name="connsiteX1373" fmla="*/ 8727331 w 9013239"/>
                  <a:gd name="connsiteY1373" fmla="*/ 509868 h 4936668"/>
                  <a:gd name="connsiteX1374" fmla="*/ 8751157 w 9013239"/>
                  <a:gd name="connsiteY1374" fmla="*/ 495572 h 4936668"/>
                  <a:gd name="connsiteX1375" fmla="*/ 8779747 w 9013239"/>
                  <a:gd name="connsiteY1375" fmla="*/ 490808 h 4936668"/>
                  <a:gd name="connsiteX1376" fmla="*/ 8798807 w 9013239"/>
                  <a:gd name="connsiteY1376" fmla="*/ 481276 h 4936668"/>
                  <a:gd name="connsiteX1377" fmla="*/ 8798807 w 9013239"/>
                  <a:gd name="connsiteY1377" fmla="*/ 476512 h 4936668"/>
                  <a:gd name="connsiteX1378" fmla="*/ 8808339 w 9013239"/>
                  <a:gd name="connsiteY1378" fmla="*/ 471744 h 4936668"/>
                  <a:gd name="connsiteX1379" fmla="*/ 8817869 w 9013239"/>
                  <a:gd name="connsiteY1379" fmla="*/ 476512 h 4936668"/>
                  <a:gd name="connsiteX1380" fmla="*/ 8841695 w 9013239"/>
                  <a:gd name="connsiteY1380" fmla="*/ 490808 h 4936668"/>
                  <a:gd name="connsiteX1381" fmla="*/ 8865519 w 9013239"/>
                  <a:gd name="connsiteY1381" fmla="*/ 519396 h 4936668"/>
                  <a:gd name="connsiteX1382" fmla="*/ 8884581 w 9013239"/>
                  <a:gd name="connsiteY1382" fmla="*/ 538456 h 4936668"/>
                  <a:gd name="connsiteX1383" fmla="*/ 8889347 w 9013239"/>
                  <a:gd name="connsiteY1383" fmla="*/ 571812 h 4936668"/>
                  <a:gd name="connsiteX1384" fmla="*/ 8889347 w 9013239"/>
                  <a:gd name="connsiteY1384" fmla="*/ 605168 h 4936668"/>
                  <a:gd name="connsiteX1385" fmla="*/ 8889347 w 9013239"/>
                  <a:gd name="connsiteY1385" fmla="*/ 643292 h 4936668"/>
                  <a:gd name="connsiteX1386" fmla="*/ 8889347 w 9013239"/>
                  <a:gd name="connsiteY1386" fmla="*/ 671880 h 4936668"/>
                  <a:gd name="connsiteX1387" fmla="*/ 8889347 w 9013239"/>
                  <a:gd name="connsiteY1387" fmla="*/ 705236 h 4936668"/>
                  <a:gd name="connsiteX1388" fmla="*/ 8889347 w 9013239"/>
                  <a:gd name="connsiteY1388" fmla="*/ 733828 h 4936668"/>
                  <a:gd name="connsiteX1389" fmla="*/ 8889347 w 9013239"/>
                  <a:gd name="connsiteY1389" fmla="*/ 771948 h 4936668"/>
                  <a:gd name="connsiteX1390" fmla="*/ 8889347 w 9013239"/>
                  <a:gd name="connsiteY1390" fmla="*/ 791008 h 4936668"/>
                  <a:gd name="connsiteX1391" fmla="*/ 8894111 w 9013239"/>
                  <a:gd name="connsiteY1391" fmla="*/ 800540 h 4936668"/>
                  <a:gd name="connsiteX1392" fmla="*/ 8889347 w 9013239"/>
                  <a:gd name="connsiteY1392" fmla="*/ 805304 h 4936668"/>
                  <a:gd name="connsiteX1393" fmla="*/ 8889347 w 9013239"/>
                  <a:gd name="connsiteY1393" fmla="*/ 810068 h 4936668"/>
                  <a:gd name="connsiteX1394" fmla="*/ 8889347 w 9013239"/>
                  <a:gd name="connsiteY1394" fmla="*/ 814836 h 4936668"/>
                  <a:gd name="connsiteX1395" fmla="*/ 8894111 w 9013239"/>
                  <a:gd name="connsiteY1395" fmla="*/ 819600 h 4936668"/>
                  <a:gd name="connsiteX1396" fmla="*/ 8889347 w 9013239"/>
                  <a:gd name="connsiteY1396" fmla="*/ 824364 h 4936668"/>
                  <a:gd name="connsiteX1397" fmla="*/ 8889347 w 9013239"/>
                  <a:gd name="connsiteY1397" fmla="*/ 829132 h 4936668"/>
                  <a:gd name="connsiteX1398" fmla="*/ 8889347 w 9013239"/>
                  <a:gd name="connsiteY1398" fmla="*/ 833896 h 4936668"/>
                  <a:gd name="connsiteX1399" fmla="*/ 8889347 w 9013239"/>
                  <a:gd name="connsiteY1399" fmla="*/ 838660 h 4936668"/>
                  <a:gd name="connsiteX1400" fmla="*/ 8879815 w 9013239"/>
                  <a:gd name="connsiteY1400" fmla="*/ 838660 h 4936668"/>
                  <a:gd name="connsiteX1401" fmla="*/ 8889347 w 9013239"/>
                  <a:gd name="connsiteY1401" fmla="*/ 857720 h 4936668"/>
                  <a:gd name="connsiteX1402" fmla="*/ 8913171 w 9013239"/>
                  <a:gd name="connsiteY1402" fmla="*/ 872016 h 4936668"/>
                  <a:gd name="connsiteX1403" fmla="*/ 8932231 w 9013239"/>
                  <a:gd name="connsiteY1403" fmla="*/ 876780 h 4936668"/>
                  <a:gd name="connsiteX1404" fmla="*/ 8941763 w 9013239"/>
                  <a:gd name="connsiteY1404" fmla="*/ 872016 h 4936668"/>
                  <a:gd name="connsiteX1405" fmla="*/ 8946527 w 9013239"/>
                  <a:gd name="connsiteY1405" fmla="*/ 872016 h 4936668"/>
                  <a:gd name="connsiteX1406" fmla="*/ 8946527 w 9013239"/>
                  <a:gd name="connsiteY1406" fmla="*/ 881548 h 4936668"/>
                  <a:gd name="connsiteX1407" fmla="*/ 8946527 w 9013239"/>
                  <a:gd name="connsiteY1407" fmla="*/ 886312 h 4936668"/>
                  <a:gd name="connsiteX1408" fmla="*/ 8941763 w 9013239"/>
                  <a:gd name="connsiteY1408" fmla="*/ 891076 h 4936668"/>
                  <a:gd name="connsiteX1409" fmla="*/ 8936997 w 9013239"/>
                  <a:gd name="connsiteY1409" fmla="*/ 895840 h 4936668"/>
                  <a:gd name="connsiteX1410" fmla="*/ 8936997 w 9013239"/>
                  <a:gd name="connsiteY1410" fmla="*/ 900608 h 4936668"/>
                  <a:gd name="connsiteX1411" fmla="*/ 8936997 w 9013239"/>
                  <a:gd name="connsiteY1411" fmla="*/ 905372 h 4936668"/>
                  <a:gd name="connsiteX1412" fmla="*/ 8941763 w 9013239"/>
                  <a:gd name="connsiteY1412" fmla="*/ 910136 h 4936668"/>
                  <a:gd name="connsiteX1413" fmla="*/ 8946527 w 9013239"/>
                  <a:gd name="connsiteY1413" fmla="*/ 919668 h 4936668"/>
                  <a:gd name="connsiteX1414" fmla="*/ 8946527 w 9013239"/>
                  <a:gd name="connsiteY1414" fmla="*/ 929196 h 4936668"/>
                  <a:gd name="connsiteX1415" fmla="*/ 8941763 w 9013239"/>
                  <a:gd name="connsiteY1415" fmla="*/ 938728 h 4936668"/>
                  <a:gd name="connsiteX1416" fmla="*/ 8936997 w 9013239"/>
                  <a:gd name="connsiteY1416" fmla="*/ 943492 h 4936668"/>
                  <a:gd name="connsiteX1417" fmla="*/ 8941763 w 9013239"/>
                  <a:gd name="connsiteY1417" fmla="*/ 953024 h 4936668"/>
                  <a:gd name="connsiteX1418" fmla="*/ 8951291 w 9013239"/>
                  <a:gd name="connsiteY1418" fmla="*/ 957788 h 4936668"/>
                  <a:gd name="connsiteX1419" fmla="*/ 8956057 w 9013239"/>
                  <a:gd name="connsiteY1419" fmla="*/ 967320 h 4936668"/>
                  <a:gd name="connsiteX1420" fmla="*/ 8965587 w 9013239"/>
                  <a:gd name="connsiteY1420" fmla="*/ 972084 h 4936668"/>
                  <a:gd name="connsiteX1421" fmla="*/ 8965587 w 9013239"/>
                  <a:gd name="connsiteY1421" fmla="*/ 967320 h 4936668"/>
                  <a:gd name="connsiteX1422" fmla="*/ 8970353 w 9013239"/>
                  <a:gd name="connsiteY1422" fmla="*/ 962552 h 4936668"/>
                  <a:gd name="connsiteX1423" fmla="*/ 8975119 w 9013239"/>
                  <a:gd name="connsiteY1423" fmla="*/ 962552 h 4936668"/>
                  <a:gd name="connsiteX1424" fmla="*/ 8979883 w 9013239"/>
                  <a:gd name="connsiteY1424" fmla="*/ 962552 h 4936668"/>
                  <a:gd name="connsiteX1425" fmla="*/ 8984647 w 9013239"/>
                  <a:gd name="connsiteY1425" fmla="*/ 962552 h 4936668"/>
                  <a:gd name="connsiteX1426" fmla="*/ 8994179 w 9013239"/>
                  <a:gd name="connsiteY1426" fmla="*/ 967320 h 4936668"/>
                  <a:gd name="connsiteX1427" fmla="*/ 8994179 w 9013239"/>
                  <a:gd name="connsiteY1427" fmla="*/ 976848 h 4936668"/>
                  <a:gd name="connsiteX1428" fmla="*/ 8994179 w 9013239"/>
                  <a:gd name="connsiteY1428" fmla="*/ 986380 h 4936668"/>
                  <a:gd name="connsiteX1429" fmla="*/ 8998943 w 9013239"/>
                  <a:gd name="connsiteY1429" fmla="*/ 1010204 h 4936668"/>
                  <a:gd name="connsiteX1430" fmla="*/ 8994179 w 9013239"/>
                  <a:gd name="connsiteY1430" fmla="*/ 1019736 h 4936668"/>
                  <a:gd name="connsiteX1431" fmla="*/ 8994179 w 9013239"/>
                  <a:gd name="connsiteY1431" fmla="*/ 1029264 h 4936668"/>
                  <a:gd name="connsiteX1432" fmla="*/ 9008475 w 9013239"/>
                  <a:gd name="connsiteY1432" fmla="*/ 1034032 h 4936668"/>
                  <a:gd name="connsiteX1433" fmla="*/ 9013239 w 9013239"/>
                  <a:gd name="connsiteY1433" fmla="*/ 1038796 h 4936668"/>
                  <a:gd name="connsiteX1434" fmla="*/ 9013239 w 9013239"/>
                  <a:gd name="connsiteY1434" fmla="*/ 1043560 h 4936668"/>
                  <a:gd name="connsiteX1435" fmla="*/ 8984647 w 9013239"/>
                  <a:gd name="connsiteY1435" fmla="*/ 1076916 h 4936668"/>
                  <a:gd name="connsiteX1436" fmla="*/ 8956057 w 9013239"/>
                  <a:gd name="connsiteY1436" fmla="*/ 1072152 h 4936668"/>
                  <a:gd name="connsiteX1437" fmla="*/ 8941763 w 9013239"/>
                  <a:gd name="connsiteY1437" fmla="*/ 1081680 h 4936668"/>
                  <a:gd name="connsiteX1438" fmla="*/ 8927467 w 9013239"/>
                  <a:gd name="connsiteY1438" fmla="*/ 1081680 h 4936668"/>
                  <a:gd name="connsiteX1439" fmla="*/ 8917935 w 9013239"/>
                  <a:gd name="connsiteY1439" fmla="*/ 1095976 h 4936668"/>
                  <a:gd name="connsiteX1440" fmla="*/ 8908407 w 9013239"/>
                  <a:gd name="connsiteY1440" fmla="*/ 1100744 h 4936668"/>
                  <a:gd name="connsiteX1441" fmla="*/ 8898875 w 9013239"/>
                  <a:gd name="connsiteY1441" fmla="*/ 1100744 h 4936668"/>
                  <a:gd name="connsiteX1442" fmla="*/ 8889347 w 9013239"/>
                  <a:gd name="connsiteY1442" fmla="*/ 1095976 h 4936668"/>
                  <a:gd name="connsiteX1443" fmla="*/ 8879815 w 9013239"/>
                  <a:gd name="connsiteY1443" fmla="*/ 1100744 h 4936668"/>
                  <a:gd name="connsiteX1444" fmla="*/ 8870285 w 9013239"/>
                  <a:gd name="connsiteY1444" fmla="*/ 1124568 h 4936668"/>
                  <a:gd name="connsiteX1445" fmla="*/ 8860755 w 9013239"/>
                  <a:gd name="connsiteY1445" fmla="*/ 1124568 h 4936668"/>
                  <a:gd name="connsiteX1446" fmla="*/ 8860755 w 9013239"/>
                  <a:gd name="connsiteY1446" fmla="*/ 1134100 h 4936668"/>
                  <a:gd name="connsiteX1447" fmla="*/ 8855991 w 9013239"/>
                  <a:gd name="connsiteY1447" fmla="*/ 1138864 h 4936668"/>
                  <a:gd name="connsiteX1448" fmla="*/ 8846459 w 9013239"/>
                  <a:gd name="connsiteY1448" fmla="*/ 1138864 h 4936668"/>
                  <a:gd name="connsiteX1449" fmla="*/ 8841695 w 9013239"/>
                  <a:gd name="connsiteY1449" fmla="*/ 1129332 h 4936668"/>
                  <a:gd name="connsiteX1450" fmla="*/ 8836929 w 9013239"/>
                  <a:gd name="connsiteY1450" fmla="*/ 1115036 h 4936668"/>
                  <a:gd name="connsiteX1451" fmla="*/ 8832163 w 9013239"/>
                  <a:gd name="connsiteY1451" fmla="*/ 1115036 h 4936668"/>
                  <a:gd name="connsiteX1452" fmla="*/ 8827399 w 9013239"/>
                  <a:gd name="connsiteY1452" fmla="*/ 1110272 h 4936668"/>
                  <a:gd name="connsiteX1453" fmla="*/ 8817869 w 9013239"/>
                  <a:gd name="connsiteY1453" fmla="*/ 1110272 h 4936668"/>
                  <a:gd name="connsiteX1454" fmla="*/ 8813103 w 9013239"/>
                  <a:gd name="connsiteY1454" fmla="*/ 1115036 h 4936668"/>
                  <a:gd name="connsiteX1455" fmla="*/ 8808339 w 9013239"/>
                  <a:gd name="connsiteY1455" fmla="*/ 1119804 h 4936668"/>
                  <a:gd name="connsiteX1456" fmla="*/ 8798807 w 9013239"/>
                  <a:gd name="connsiteY1456" fmla="*/ 1129332 h 4936668"/>
                  <a:gd name="connsiteX1457" fmla="*/ 8789279 w 9013239"/>
                  <a:gd name="connsiteY1457" fmla="*/ 1119804 h 4936668"/>
                  <a:gd name="connsiteX1458" fmla="*/ 8784513 w 9013239"/>
                  <a:gd name="connsiteY1458" fmla="*/ 1115036 h 4936668"/>
                  <a:gd name="connsiteX1459" fmla="*/ 8779747 w 9013239"/>
                  <a:gd name="connsiteY1459" fmla="*/ 1129332 h 4936668"/>
                  <a:gd name="connsiteX1460" fmla="*/ 8774983 w 9013239"/>
                  <a:gd name="connsiteY1460" fmla="*/ 1143628 h 4936668"/>
                  <a:gd name="connsiteX1461" fmla="*/ 8774983 w 9013239"/>
                  <a:gd name="connsiteY1461" fmla="*/ 1157924 h 4936668"/>
                  <a:gd name="connsiteX1462" fmla="*/ 8774983 w 9013239"/>
                  <a:gd name="connsiteY1462" fmla="*/ 1167456 h 4936668"/>
                  <a:gd name="connsiteX1463" fmla="*/ 8765451 w 9013239"/>
                  <a:gd name="connsiteY1463" fmla="*/ 1167456 h 4936668"/>
                  <a:gd name="connsiteX1464" fmla="*/ 8760687 w 9013239"/>
                  <a:gd name="connsiteY1464" fmla="*/ 1157924 h 4936668"/>
                  <a:gd name="connsiteX1465" fmla="*/ 8741627 w 9013239"/>
                  <a:gd name="connsiteY1465" fmla="*/ 1148392 h 4936668"/>
                  <a:gd name="connsiteX1466" fmla="*/ 8732095 w 9013239"/>
                  <a:gd name="connsiteY1466" fmla="*/ 1148392 h 4936668"/>
                  <a:gd name="connsiteX1467" fmla="*/ 8732095 w 9013239"/>
                  <a:gd name="connsiteY1467" fmla="*/ 1143628 h 4936668"/>
                  <a:gd name="connsiteX1468" fmla="*/ 8746391 w 9013239"/>
                  <a:gd name="connsiteY1468" fmla="*/ 1129332 h 4936668"/>
                  <a:gd name="connsiteX1469" fmla="*/ 8741627 w 9013239"/>
                  <a:gd name="connsiteY1469" fmla="*/ 1124568 h 4936668"/>
                  <a:gd name="connsiteX1470" fmla="*/ 8736863 w 9013239"/>
                  <a:gd name="connsiteY1470" fmla="*/ 1129332 h 4936668"/>
                  <a:gd name="connsiteX1471" fmla="*/ 8732095 w 9013239"/>
                  <a:gd name="connsiteY1471" fmla="*/ 1124568 h 4936668"/>
                  <a:gd name="connsiteX1472" fmla="*/ 8736863 w 9013239"/>
                  <a:gd name="connsiteY1472" fmla="*/ 1115036 h 4936668"/>
                  <a:gd name="connsiteX1473" fmla="*/ 8736863 w 9013239"/>
                  <a:gd name="connsiteY1473" fmla="*/ 1100744 h 4936668"/>
                  <a:gd name="connsiteX1474" fmla="*/ 8732095 w 9013239"/>
                  <a:gd name="connsiteY1474" fmla="*/ 1105508 h 4936668"/>
                  <a:gd name="connsiteX1475" fmla="*/ 8722567 w 9013239"/>
                  <a:gd name="connsiteY1475" fmla="*/ 1119804 h 4936668"/>
                  <a:gd name="connsiteX1476" fmla="*/ 8708271 w 9013239"/>
                  <a:gd name="connsiteY1476" fmla="*/ 1129332 h 4936668"/>
                  <a:gd name="connsiteX1477" fmla="*/ 8708271 w 9013239"/>
                  <a:gd name="connsiteY1477" fmla="*/ 1148392 h 4936668"/>
                  <a:gd name="connsiteX1478" fmla="*/ 8689211 w 9013239"/>
                  <a:gd name="connsiteY1478" fmla="*/ 1186516 h 4936668"/>
                  <a:gd name="connsiteX1479" fmla="*/ 8689211 w 9013239"/>
                  <a:gd name="connsiteY1479" fmla="*/ 1200812 h 4936668"/>
                  <a:gd name="connsiteX1480" fmla="*/ 8679679 w 9013239"/>
                  <a:gd name="connsiteY1480" fmla="*/ 1215104 h 4936668"/>
                  <a:gd name="connsiteX1481" fmla="*/ 8665385 w 9013239"/>
                  <a:gd name="connsiteY1481" fmla="*/ 1229400 h 4936668"/>
                  <a:gd name="connsiteX1482" fmla="*/ 8646323 w 9013239"/>
                  <a:gd name="connsiteY1482" fmla="*/ 1224636 h 4936668"/>
                  <a:gd name="connsiteX1483" fmla="*/ 8632029 w 9013239"/>
                  <a:gd name="connsiteY1483" fmla="*/ 1234164 h 4936668"/>
                  <a:gd name="connsiteX1484" fmla="*/ 8627263 w 9013239"/>
                  <a:gd name="connsiteY1484" fmla="*/ 1243696 h 4936668"/>
                  <a:gd name="connsiteX1485" fmla="*/ 8617733 w 9013239"/>
                  <a:gd name="connsiteY1485" fmla="*/ 1248460 h 4936668"/>
                  <a:gd name="connsiteX1486" fmla="*/ 8617733 w 9013239"/>
                  <a:gd name="connsiteY1486" fmla="*/ 1234164 h 4936668"/>
                  <a:gd name="connsiteX1487" fmla="*/ 8612967 w 9013239"/>
                  <a:gd name="connsiteY1487" fmla="*/ 1229400 h 4936668"/>
                  <a:gd name="connsiteX1488" fmla="*/ 8608203 w 9013239"/>
                  <a:gd name="connsiteY1488" fmla="*/ 1248460 h 4936668"/>
                  <a:gd name="connsiteX1489" fmla="*/ 8603439 w 9013239"/>
                  <a:gd name="connsiteY1489" fmla="*/ 1248460 h 4936668"/>
                  <a:gd name="connsiteX1490" fmla="*/ 8598673 w 9013239"/>
                  <a:gd name="connsiteY1490" fmla="*/ 1234164 h 4936668"/>
                  <a:gd name="connsiteX1491" fmla="*/ 8598673 w 9013239"/>
                  <a:gd name="connsiteY1491" fmla="*/ 1224636 h 4936668"/>
                  <a:gd name="connsiteX1492" fmla="*/ 8589143 w 9013239"/>
                  <a:gd name="connsiteY1492" fmla="*/ 1234164 h 4936668"/>
                  <a:gd name="connsiteX1493" fmla="*/ 8584379 w 9013239"/>
                  <a:gd name="connsiteY1493" fmla="*/ 1257992 h 4936668"/>
                  <a:gd name="connsiteX1494" fmla="*/ 8579611 w 9013239"/>
                  <a:gd name="connsiteY1494" fmla="*/ 1253228 h 4936668"/>
                  <a:gd name="connsiteX1495" fmla="*/ 8579611 w 9013239"/>
                  <a:gd name="connsiteY1495" fmla="*/ 1248460 h 4936668"/>
                  <a:gd name="connsiteX1496" fmla="*/ 8574847 w 9013239"/>
                  <a:gd name="connsiteY1496" fmla="*/ 1243696 h 4936668"/>
                  <a:gd name="connsiteX1497" fmla="*/ 8574847 w 9013239"/>
                  <a:gd name="connsiteY1497" fmla="*/ 1253228 h 4936668"/>
                  <a:gd name="connsiteX1498" fmla="*/ 8574847 w 9013239"/>
                  <a:gd name="connsiteY1498" fmla="*/ 1267520 h 4936668"/>
                  <a:gd name="connsiteX1499" fmla="*/ 8574847 w 9013239"/>
                  <a:gd name="connsiteY1499" fmla="*/ 1272288 h 4936668"/>
                  <a:gd name="connsiteX1500" fmla="*/ 8570083 w 9013239"/>
                  <a:gd name="connsiteY1500" fmla="*/ 1267520 h 4936668"/>
                  <a:gd name="connsiteX1501" fmla="*/ 8565317 w 9013239"/>
                  <a:gd name="connsiteY1501" fmla="*/ 1262756 h 4936668"/>
                  <a:gd name="connsiteX1502" fmla="*/ 8555787 w 9013239"/>
                  <a:gd name="connsiteY1502" fmla="*/ 1267520 h 4936668"/>
                  <a:gd name="connsiteX1503" fmla="*/ 8546255 w 9013239"/>
                  <a:gd name="connsiteY1503" fmla="*/ 1272288 h 4936668"/>
                  <a:gd name="connsiteX1504" fmla="*/ 8546255 w 9013239"/>
                  <a:gd name="connsiteY1504" fmla="*/ 1262756 h 4936668"/>
                  <a:gd name="connsiteX1505" fmla="*/ 8551023 w 9013239"/>
                  <a:gd name="connsiteY1505" fmla="*/ 1253228 h 4936668"/>
                  <a:gd name="connsiteX1506" fmla="*/ 8536727 w 9013239"/>
                  <a:gd name="connsiteY1506" fmla="*/ 1262756 h 4936668"/>
                  <a:gd name="connsiteX1507" fmla="*/ 8517667 w 9013239"/>
                  <a:gd name="connsiteY1507" fmla="*/ 1277052 h 4936668"/>
                  <a:gd name="connsiteX1508" fmla="*/ 8503371 w 9013239"/>
                  <a:gd name="connsiteY1508" fmla="*/ 1296112 h 4936668"/>
                  <a:gd name="connsiteX1509" fmla="*/ 8508135 w 9013239"/>
                  <a:gd name="connsiteY1509" fmla="*/ 1300876 h 4936668"/>
                  <a:gd name="connsiteX1510" fmla="*/ 8512901 w 9013239"/>
                  <a:gd name="connsiteY1510" fmla="*/ 1305644 h 4936668"/>
                  <a:gd name="connsiteX1511" fmla="*/ 8489075 w 9013239"/>
                  <a:gd name="connsiteY1511" fmla="*/ 1334232 h 4936668"/>
                  <a:gd name="connsiteX1512" fmla="*/ 8460483 w 9013239"/>
                  <a:gd name="connsiteY1512" fmla="*/ 1362824 h 4936668"/>
                  <a:gd name="connsiteX1513" fmla="*/ 8441423 w 9013239"/>
                  <a:gd name="connsiteY1513" fmla="*/ 1410476 h 4936668"/>
                  <a:gd name="connsiteX1514" fmla="*/ 8436659 w 9013239"/>
                  <a:gd name="connsiteY1514" fmla="*/ 1415240 h 4936668"/>
                  <a:gd name="connsiteX1515" fmla="*/ 8427127 w 9013239"/>
                  <a:gd name="connsiteY1515" fmla="*/ 1424772 h 4936668"/>
                  <a:gd name="connsiteX1516" fmla="*/ 8422363 w 9013239"/>
                  <a:gd name="connsiteY1516" fmla="*/ 1453360 h 4936668"/>
                  <a:gd name="connsiteX1517" fmla="*/ 8412833 w 9013239"/>
                  <a:gd name="connsiteY1517" fmla="*/ 1477188 h 4936668"/>
                  <a:gd name="connsiteX1518" fmla="*/ 8417599 w 9013239"/>
                  <a:gd name="connsiteY1518" fmla="*/ 1486716 h 4936668"/>
                  <a:gd name="connsiteX1519" fmla="*/ 8422363 w 9013239"/>
                  <a:gd name="connsiteY1519" fmla="*/ 1501012 h 4936668"/>
                  <a:gd name="connsiteX1520" fmla="*/ 8427127 w 9013239"/>
                  <a:gd name="connsiteY1520" fmla="*/ 1510544 h 4936668"/>
                  <a:gd name="connsiteX1521" fmla="*/ 8436659 w 9013239"/>
                  <a:gd name="connsiteY1521" fmla="*/ 1510544 h 4936668"/>
                  <a:gd name="connsiteX1522" fmla="*/ 8441423 w 9013239"/>
                  <a:gd name="connsiteY1522" fmla="*/ 1510544 h 4936668"/>
                  <a:gd name="connsiteX1523" fmla="*/ 8446189 w 9013239"/>
                  <a:gd name="connsiteY1523" fmla="*/ 1510544 h 4936668"/>
                  <a:gd name="connsiteX1524" fmla="*/ 8450955 w 9013239"/>
                  <a:gd name="connsiteY1524" fmla="*/ 1515308 h 4936668"/>
                  <a:gd name="connsiteX1525" fmla="*/ 8446189 w 9013239"/>
                  <a:gd name="connsiteY1525" fmla="*/ 1520072 h 4936668"/>
                  <a:gd name="connsiteX1526" fmla="*/ 8441423 w 9013239"/>
                  <a:gd name="connsiteY1526" fmla="*/ 1520072 h 4936668"/>
                  <a:gd name="connsiteX1527" fmla="*/ 8427127 w 9013239"/>
                  <a:gd name="connsiteY1527" fmla="*/ 1529604 h 4936668"/>
                  <a:gd name="connsiteX1528" fmla="*/ 8412833 w 9013239"/>
                  <a:gd name="connsiteY1528" fmla="*/ 1534368 h 4936668"/>
                  <a:gd name="connsiteX1529" fmla="*/ 8408067 w 9013239"/>
                  <a:gd name="connsiteY1529" fmla="*/ 1548664 h 4936668"/>
                  <a:gd name="connsiteX1530" fmla="*/ 8398539 w 9013239"/>
                  <a:gd name="connsiteY1530" fmla="*/ 1558196 h 4936668"/>
                  <a:gd name="connsiteX1531" fmla="*/ 8379477 w 9013239"/>
                  <a:gd name="connsiteY1531" fmla="*/ 1582020 h 4936668"/>
                  <a:gd name="connsiteX1532" fmla="*/ 8389007 w 9013239"/>
                  <a:gd name="connsiteY1532" fmla="*/ 1586784 h 4936668"/>
                  <a:gd name="connsiteX1533" fmla="*/ 8417599 w 9013239"/>
                  <a:gd name="connsiteY1533" fmla="*/ 1596316 h 4936668"/>
                  <a:gd name="connsiteX1534" fmla="*/ 8427127 w 9013239"/>
                  <a:gd name="connsiteY1534" fmla="*/ 1601080 h 4936668"/>
                  <a:gd name="connsiteX1535" fmla="*/ 8446189 w 9013239"/>
                  <a:gd name="connsiteY1535" fmla="*/ 1643968 h 4936668"/>
                  <a:gd name="connsiteX1536" fmla="*/ 8441423 w 9013239"/>
                  <a:gd name="connsiteY1536" fmla="*/ 1648732 h 4936668"/>
                  <a:gd name="connsiteX1537" fmla="*/ 8441423 w 9013239"/>
                  <a:gd name="connsiteY1537" fmla="*/ 1653496 h 4936668"/>
                  <a:gd name="connsiteX1538" fmla="*/ 8460483 w 9013239"/>
                  <a:gd name="connsiteY1538" fmla="*/ 1663028 h 4936668"/>
                  <a:gd name="connsiteX1539" fmla="*/ 8465249 w 9013239"/>
                  <a:gd name="connsiteY1539" fmla="*/ 1691620 h 4936668"/>
                  <a:gd name="connsiteX1540" fmla="*/ 8479545 w 9013239"/>
                  <a:gd name="connsiteY1540" fmla="*/ 1701148 h 4936668"/>
                  <a:gd name="connsiteX1541" fmla="*/ 8498605 w 9013239"/>
                  <a:gd name="connsiteY1541" fmla="*/ 1705912 h 4936668"/>
                  <a:gd name="connsiteX1542" fmla="*/ 8522431 w 9013239"/>
                  <a:gd name="connsiteY1542" fmla="*/ 1701148 h 4936668"/>
                  <a:gd name="connsiteX1543" fmla="*/ 8541491 w 9013239"/>
                  <a:gd name="connsiteY1543" fmla="*/ 1686852 h 4936668"/>
                  <a:gd name="connsiteX1544" fmla="*/ 8541491 w 9013239"/>
                  <a:gd name="connsiteY1544" fmla="*/ 1677324 h 4936668"/>
                  <a:gd name="connsiteX1545" fmla="*/ 8531961 w 9013239"/>
                  <a:gd name="connsiteY1545" fmla="*/ 1658264 h 4936668"/>
                  <a:gd name="connsiteX1546" fmla="*/ 8527195 w 9013239"/>
                  <a:gd name="connsiteY1546" fmla="*/ 1643968 h 4936668"/>
                  <a:gd name="connsiteX1547" fmla="*/ 8517667 w 9013239"/>
                  <a:gd name="connsiteY1547" fmla="*/ 1639200 h 4936668"/>
                  <a:gd name="connsiteX1548" fmla="*/ 8512901 w 9013239"/>
                  <a:gd name="connsiteY1548" fmla="*/ 1643968 h 4936668"/>
                  <a:gd name="connsiteX1549" fmla="*/ 8508135 w 9013239"/>
                  <a:gd name="connsiteY1549" fmla="*/ 1634436 h 4936668"/>
                  <a:gd name="connsiteX1550" fmla="*/ 8508135 w 9013239"/>
                  <a:gd name="connsiteY1550" fmla="*/ 1629672 h 4936668"/>
                  <a:gd name="connsiteX1551" fmla="*/ 8512901 w 9013239"/>
                  <a:gd name="connsiteY1551" fmla="*/ 1629672 h 4936668"/>
                  <a:gd name="connsiteX1552" fmla="*/ 8517667 w 9013239"/>
                  <a:gd name="connsiteY1552" fmla="*/ 1629672 h 4936668"/>
                  <a:gd name="connsiteX1553" fmla="*/ 8527195 w 9013239"/>
                  <a:gd name="connsiteY1553" fmla="*/ 1634436 h 4936668"/>
                  <a:gd name="connsiteX1554" fmla="*/ 8546255 w 9013239"/>
                  <a:gd name="connsiteY1554" fmla="*/ 1658264 h 4936668"/>
                  <a:gd name="connsiteX1555" fmla="*/ 8555787 w 9013239"/>
                  <a:gd name="connsiteY1555" fmla="*/ 1691620 h 4936668"/>
                  <a:gd name="connsiteX1556" fmla="*/ 8555787 w 9013239"/>
                  <a:gd name="connsiteY1556" fmla="*/ 1710680 h 4936668"/>
                  <a:gd name="connsiteX1557" fmla="*/ 8551023 w 9013239"/>
                  <a:gd name="connsiteY1557" fmla="*/ 1720208 h 4936668"/>
                  <a:gd name="connsiteX1558" fmla="*/ 8546255 w 9013239"/>
                  <a:gd name="connsiteY1558" fmla="*/ 1720208 h 4936668"/>
                  <a:gd name="connsiteX1559" fmla="*/ 8536727 w 9013239"/>
                  <a:gd name="connsiteY1559" fmla="*/ 1720208 h 4936668"/>
                  <a:gd name="connsiteX1560" fmla="*/ 8479545 w 9013239"/>
                  <a:gd name="connsiteY1560" fmla="*/ 1729740 h 4936668"/>
                  <a:gd name="connsiteX1561" fmla="*/ 8470015 w 9013239"/>
                  <a:gd name="connsiteY1561" fmla="*/ 1739268 h 4936668"/>
                  <a:gd name="connsiteX1562" fmla="*/ 8441423 w 9013239"/>
                  <a:gd name="connsiteY1562" fmla="*/ 1748800 h 4936668"/>
                  <a:gd name="connsiteX1563" fmla="*/ 8441423 w 9013239"/>
                  <a:gd name="connsiteY1563" fmla="*/ 1744036 h 4936668"/>
                  <a:gd name="connsiteX1564" fmla="*/ 8441423 w 9013239"/>
                  <a:gd name="connsiteY1564" fmla="*/ 1734504 h 4936668"/>
                  <a:gd name="connsiteX1565" fmla="*/ 8441423 w 9013239"/>
                  <a:gd name="connsiteY1565" fmla="*/ 1710680 h 4936668"/>
                  <a:gd name="connsiteX1566" fmla="*/ 8431893 w 9013239"/>
                  <a:gd name="connsiteY1566" fmla="*/ 1710680 h 4936668"/>
                  <a:gd name="connsiteX1567" fmla="*/ 8393771 w 9013239"/>
                  <a:gd name="connsiteY1567" fmla="*/ 1744036 h 4936668"/>
                  <a:gd name="connsiteX1568" fmla="*/ 8374711 w 9013239"/>
                  <a:gd name="connsiteY1568" fmla="*/ 1748800 h 4936668"/>
                  <a:gd name="connsiteX1569" fmla="*/ 8360417 w 9013239"/>
                  <a:gd name="connsiteY1569" fmla="*/ 1758328 h 4936668"/>
                  <a:gd name="connsiteX1570" fmla="*/ 8360417 w 9013239"/>
                  <a:gd name="connsiteY1570" fmla="*/ 1753564 h 4936668"/>
                  <a:gd name="connsiteX1571" fmla="*/ 8355651 w 9013239"/>
                  <a:gd name="connsiteY1571" fmla="*/ 1724976 h 4936668"/>
                  <a:gd name="connsiteX1572" fmla="*/ 8365181 w 9013239"/>
                  <a:gd name="connsiteY1572" fmla="*/ 1705912 h 4936668"/>
                  <a:gd name="connsiteX1573" fmla="*/ 8360417 w 9013239"/>
                  <a:gd name="connsiteY1573" fmla="*/ 1705912 h 4936668"/>
                  <a:gd name="connsiteX1574" fmla="*/ 8346121 w 9013239"/>
                  <a:gd name="connsiteY1574" fmla="*/ 1720208 h 4936668"/>
                  <a:gd name="connsiteX1575" fmla="*/ 8341355 w 9013239"/>
                  <a:gd name="connsiteY1575" fmla="*/ 1710680 h 4936668"/>
                  <a:gd name="connsiteX1576" fmla="*/ 8336591 w 9013239"/>
                  <a:gd name="connsiteY1576" fmla="*/ 1701148 h 4936668"/>
                  <a:gd name="connsiteX1577" fmla="*/ 8331825 w 9013239"/>
                  <a:gd name="connsiteY1577" fmla="*/ 1696384 h 4936668"/>
                  <a:gd name="connsiteX1578" fmla="*/ 8327061 w 9013239"/>
                  <a:gd name="connsiteY1578" fmla="*/ 1696384 h 4936668"/>
                  <a:gd name="connsiteX1579" fmla="*/ 8331825 w 9013239"/>
                  <a:gd name="connsiteY1579" fmla="*/ 1715444 h 4936668"/>
                  <a:gd name="connsiteX1580" fmla="*/ 8322295 w 9013239"/>
                  <a:gd name="connsiteY1580" fmla="*/ 1729740 h 4936668"/>
                  <a:gd name="connsiteX1581" fmla="*/ 8317531 w 9013239"/>
                  <a:gd name="connsiteY1581" fmla="*/ 1767860 h 4936668"/>
                  <a:gd name="connsiteX1582" fmla="*/ 8307999 w 9013239"/>
                  <a:gd name="connsiteY1582" fmla="*/ 1782156 h 4936668"/>
                  <a:gd name="connsiteX1583" fmla="*/ 8269879 w 9013239"/>
                  <a:gd name="connsiteY1583" fmla="*/ 1791684 h 4936668"/>
                  <a:gd name="connsiteX1584" fmla="*/ 8241289 w 9013239"/>
                  <a:gd name="connsiteY1584" fmla="*/ 1786920 h 4936668"/>
                  <a:gd name="connsiteX1585" fmla="*/ 8222227 w 9013239"/>
                  <a:gd name="connsiteY1585" fmla="*/ 1791684 h 4936668"/>
                  <a:gd name="connsiteX1586" fmla="*/ 8188871 w 9013239"/>
                  <a:gd name="connsiteY1586" fmla="*/ 1801216 h 4936668"/>
                  <a:gd name="connsiteX1587" fmla="*/ 8174577 w 9013239"/>
                  <a:gd name="connsiteY1587" fmla="*/ 1796452 h 4936668"/>
                  <a:gd name="connsiteX1588" fmla="*/ 8155515 w 9013239"/>
                  <a:gd name="connsiteY1588" fmla="*/ 1801216 h 4936668"/>
                  <a:gd name="connsiteX1589" fmla="*/ 8098335 w 9013239"/>
                  <a:gd name="connsiteY1589" fmla="*/ 1805980 h 4936668"/>
                  <a:gd name="connsiteX1590" fmla="*/ 8088803 w 9013239"/>
                  <a:gd name="connsiteY1590" fmla="*/ 1801216 h 4936668"/>
                  <a:gd name="connsiteX1591" fmla="*/ 8069743 w 9013239"/>
                  <a:gd name="connsiteY1591" fmla="*/ 1815512 h 4936668"/>
                  <a:gd name="connsiteX1592" fmla="*/ 8045919 w 9013239"/>
                  <a:gd name="connsiteY1592" fmla="*/ 1825040 h 4936668"/>
                  <a:gd name="connsiteX1593" fmla="*/ 7983971 w 9013239"/>
                  <a:gd name="connsiteY1593" fmla="*/ 1853632 h 4936668"/>
                  <a:gd name="connsiteX1594" fmla="*/ 7969675 w 9013239"/>
                  <a:gd name="connsiteY1594" fmla="*/ 1867928 h 4936668"/>
                  <a:gd name="connsiteX1595" fmla="*/ 7955381 w 9013239"/>
                  <a:gd name="connsiteY1595" fmla="*/ 1886988 h 4936668"/>
                  <a:gd name="connsiteX1596" fmla="*/ 7941085 w 9013239"/>
                  <a:gd name="connsiteY1596" fmla="*/ 1896520 h 4936668"/>
                  <a:gd name="connsiteX1597" fmla="*/ 7931555 w 9013239"/>
                  <a:gd name="connsiteY1597" fmla="*/ 1896520 h 4936668"/>
                  <a:gd name="connsiteX1598" fmla="*/ 7926791 w 9013239"/>
                  <a:gd name="connsiteY1598" fmla="*/ 1906048 h 4936668"/>
                  <a:gd name="connsiteX1599" fmla="*/ 7922025 w 9013239"/>
                  <a:gd name="connsiteY1599" fmla="*/ 1910816 h 4936668"/>
                  <a:gd name="connsiteX1600" fmla="*/ 7926791 w 9013239"/>
                  <a:gd name="connsiteY1600" fmla="*/ 1891752 h 4936668"/>
                  <a:gd name="connsiteX1601" fmla="*/ 7931555 w 9013239"/>
                  <a:gd name="connsiteY1601" fmla="*/ 1877460 h 4936668"/>
                  <a:gd name="connsiteX1602" fmla="*/ 7941085 w 9013239"/>
                  <a:gd name="connsiteY1602" fmla="*/ 1848868 h 4936668"/>
                  <a:gd name="connsiteX1603" fmla="*/ 7936319 w 9013239"/>
                  <a:gd name="connsiteY1603" fmla="*/ 1825040 h 4936668"/>
                  <a:gd name="connsiteX1604" fmla="*/ 7931555 w 9013239"/>
                  <a:gd name="connsiteY1604" fmla="*/ 1815512 h 4936668"/>
                  <a:gd name="connsiteX1605" fmla="*/ 7922025 w 9013239"/>
                  <a:gd name="connsiteY1605" fmla="*/ 1810748 h 4936668"/>
                  <a:gd name="connsiteX1606" fmla="*/ 7931555 w 9013239"/>
                  <a:gd name="connsiteY1606" fmla="*/ 1829808 h 4936668"/>
                  <a:gd name="connsiteX1607" fmla="*/ 7931555 w 9013239"/>
                  <a:gd name="connsiteY1607" fmla="*/ 1858396 h 4936668"/>
                  <a:gd name="connsiteX1608" fmla="*/ 7931555 w 9013239"/>
                  <a:gd name="connsiteY1608" fmla="*/ 1877460 h 4936668"/>
                  <a:gd name="connsiteX1609" fmla="*/ 7917259 w 9013239"/>
                  <a:gd name="connsiteY1609" fmla="*/ 1910816 h 4936668"/>
                  <a:gd name="connsiteX1610" fmla="*/ 7907729 w 9013239"/>
                  <a:gd name="connsiteY1610" fmla="*/ 1915580 h 4936668"/>
                  <a:gd name="connsiteX1611" fmla="*/ 7902965 w 9013239"/>
                  <a:gd name="connsiteY1611" fmla="*/ 1925108 h 4936668"/>
                  <a:gd name="connsiteX1612" fmla="*/ 7893435 w 9013239"/>
                  <a:gd name="connsiteY1612" fmla="*/ 1929876 h 4936668"/>
                  <a:gd name="connsiteX1613" fmla="*/ 7888669 w 9013239"/>
                  <a:gd name="connsiteY1613" fmla="*/ 1934640 h 4936668"/>
                  <a:gd name="connsiteX1614" fmla="*/ 7883903 w 9013239"/>
                  <a:gd name="connsiteY1614" fmla="*/ 1939404 h 4936668"/>
                  <a:gd name="connsiteX1615" fmla="*/ 7879139 w 9013239"/>
                  <a:gd name="connsiteY1615" fmla="*/ 1958464 h 4936668"/>
                  <a:gd name="connsiteX1616" fmla="*/ 7879139 w 9013239"/>
                  <a:gd name="connsiteY1616" fmla="*/ 1972760 h 4936668"/>
                  <a:gd name="connsiteX1617" fmla="*/ 7912495 w 9013239"/>
                  <a:gd name="connsiteY1617" fmla="*/ 1977524 h 4936668"/>
                  <a:gd name="connsiteX1618" fmla="*/ 7917259 w 9013239"/>
                  <a:gd name="connsiteY1618" fmla="*/ 1972760 h 4936668"/>
                  <a:gd name="connsiteX1619" fmla="*/ 7922025 w 9013239"/>
                  <a:gd name="connsiteY1619" fmla="*/ 1982292 h 4936668"/>
                  <a:gd name="connsiteX1620" fmla="*/ 7926791 w 9013239"/>
                  <a:gd name="connsiteY1620" fmla="*/ 1996588 h 4936668"/>
                  <a:gd name="connsiteX1621" fmla="*/ 7922025 w 9013239"/>
                  <a:gd name="connsiteY1621" fmla="*/ 2015648 h 4936668"/>
                  <a:gd name="connsiteX1622" fmla="*/ 7917259 w 9013239"/>
                  <a:gd name="connsiteY1622" fmla="*/ 2029944 h 4936668"/>
                  <a:gd name="connsiteX1623" fmla="*/ 7917259 w 9013239"/>
                  <a:gd name="connsiteY1623" fmla="*/ 2049004 h 4936668"/>
                  <a:gd name="connsiteX1624" fmla="*/ 7912495 w 9013239"/>
                  <a:gd name="connsiteY1624" fmla="*/ 2082360 h 4936668"/>
                  <a:gd name="connsiteX1625" fmla="*/ 7907729 w 9013239"/>
                  <a:gd name="connsiteY1625" fmla="*/ 2110948 h 4936668"/>
                  <a:gd name="connsiteX1626" fmla="*/ 7907729 w 9013239"/>
                  <a:gd name="connsiteY1626" fmla="*/ 2101420 h 4936668"/>
                  <a:gd name="connsiteX1627" fmla="*/ 7907729 w 9013239"/>
                  <a:gd name="connsiteY1627" fmla="*/ 2068064 h 4936668"/>
                  <a:gd name="connsiteX1628" fmla="*/ 7902965 w 9013239"/>
                  <a:gd name="connsiteY1628" fmla="*/ 2072828 h 4936668"/>
                  <a:gd name="connsiteX1629" fmla="*/ 7902965 w 9013239"/>
                  <a:gd name="connsiteY1629" fmla="*/ 2077592 h 4936668"/>
                  <a:gd name="connsiteX1630" fmla="*/ 7893435 w 9013239"/>
                  <a:gd name="connsiteY1630" fmla="*/ 2120480 h 4936668"/>
                  <a:gd name="connsiteX1631" fmla="*/ 7879139 w 9013239"/>
                  <a:gd name="connsiteY1631" fmla="*/ 2144304 h 4936668"/>
                  <a:gd name="connsiteX1632" fmla="*/ 7869609 w 9013239"/>
                  <a:gd name="connsiteY1632" fmla="*/ 2158600 h 4936668"/>
                  <a:gd name="connsiteX1633" fmla="*/ 7855313 w 9013239"/>
                  <a:gd name="connsiteY1633" fmla="*/ 2158600 h 4936668"/>
                  <a:gd name="connsiteX1634" fmla="*/ 7860079 w 9013239"/>
                  <a:gd name="connsiteY1634" fmla="*/ 2168132 h 4936668"/>
                  <a:gd name="connsiteX1635" fmla="*/ 7855313 w 9013239"/>
                  <a:gd name="connsiteY1635" fmla="*/ 2177660 h 4936668"/>
                  <a:gd name="connsiteX1636" fmla="*/ 7850547 w 9013239"/>
                  <a:gd name="connsiteY1636" fmla="*/ 2191956 h 4936668"/>
                  <a:gd name="connsiteX1637" fmla="*/ 7845783 w 9013239"/>
                  <a:gd name="connsiteY1637" fmla="*/ 2196720 h 4936668"/>
                  <a:gd name="connsiteX1638" fmla="*/ 7836253 w 9013239"/>
                  <a:gd name="connsiteY1638" fmla="*/ 2196720 h 4936668"/>
                  <a:gd name="connsiteX1639" fmla="*/ 7831487 w 9013239"/>
                  <a:gd name="connsiteY1639" fmla="*/ 2206252 h 4936668"/>
                  <a:gd name="connsiteX1640" fmla="*/ 7826723 w 9013239"/>
                  <a:gd name="connsiteY1640" fmla="*/ 2211016 h 4936668"/>
                  <a:gd name="connsiteX1641" fmla="*/ 7826723 w 9013239"/>
                  <a:gd name="connsiteY1641" fmla="*/ 2215784 h 4936668"/>
                  <a:gd name="connsiteX1642" fmla="*/ 7817191 w 9013239"/>
                  <a:gd name="connsiteY1642" fmla="*/ 2225312 h 4936668"/>
                  <a:gd name="connsiteX1643" fmla="*/ 7793367 w 9013239"/>
                  <a:gd name="connsiteY1643" fmla="*/ 2268200 h 4936668"/>
                  <a:gd name="connsiteX1644" fmla="*/ 7774307 w 9013239"/>
                  <a:gd name="connsiteY1644" fmla="*/ 2277728 h 4936668"/>
                  <a:gd name="connsiteX1645" fmla="*/ 7769541 w 9013239"/>
                  <a:gd name="connsiteY1645" fmla="*/ 2277728 h 4936668"/>
                  <a:gd name="connsiteX1646" fmla="*/ 7774307 w 9013239"/>
                  <a:gd name="connsiteY1646" fmla="*/ 2258668 h 4936668"/>
                  <a:gd name="connsiteX1647" fmla="*/ 7779071 w 9013239"/>
                  <a:gd name="connsiteY1647" fmla="*/ 2239608 h 4936668"/>
                  <a:gd name="connsiteX1648" fmla="*/ 7764775 w 9013239"/>
                  <a:gd name="connsiteY1648" fmla="*/ 2230076 h 4936668"/>
                  <a:gd name="connsiteX1649" fmla="*/ 7755245 w 9013239"/>
                  <a:gd name="connsiteY1649" fmla="*/ 2225312 h 4936668"/>
                  <a:gd name="connsiteX1650" fmla="*/ 7740951 w 9013239"/>
                  <a:gd name="connsiteY1650" fmla="*/ 2225312 h 4936668"/>
                  <a:gd name="connsiteX1651" fmla="*/ 7726655 w 9013239"/>
                  <a:gd name="connsiteY1651" fmla="*/ 2211016 h 4936668"/>
                  <a:gd name="connsiteX1652" fmla="*/ 7707595 w 9013239"/>
                  <a:gd name="connsiteY1652" fmla="*/ 2201488 h 4936668"/>
                  <a:gd name="connsiteX1653" fmla="*/ 7679003 w 9013239"/>
                  <a:gd name="connsiteY1653" fmla="*/ 2168132 h 4936668"/>
                  <a:gd name="connsiteX1654" fmla="*/ 7683769 w 9013239"/>
                  <a:gd name="connsiteY1654" fmla="*/ 2158600 h 4936668"/>
                  <a:gd name="connsiteX1655" fmla="*/ 7679003 w 9013239"/>
                  <a:gd name="connsiteY1655" fmla="*/ 2144304 h 4936668"/>
                  <a:gd name="connsiteX1656" fmla="*/ 7688533 w 9013239"/>
                  <a:gd name="connsiteY1656" fmla="*/ 2125244 h 4936668"/>
                  <a:gd name="connsiteX1657" fmla="*/ 7698063 w 9013239"/>
                  <a:gd name="connsiteY1657" fmla="*/ 2106184 h 4936668"/>
                  <a:gd name="connsiteX1658" fmla="*/ 7707595 w 9013239"/>
                  <a:gd name="connsiteY1658" fmla="*/ 2101420 h 4936668"/>
                  <a:gd name="connsiteX1659" fmla="*/ 7740951 w 9013239"/>
                  <a:gd name="connsiteY1659" fmla="*/ 2091888 h 4936668"/>
                  <a:gd name="connsiteX1660" fmla="*/ 7745715 w 9013239"/>
                  <a:gd name="connsiteY1660" fmla="*/ 2077592 h 4936668"/>
                  <a:gd name="connsiteX1661" fmla="*/ 7750479 w 9013239"/>
                  <a:gd name="connsiteY1661" fmla="*/ 2068064 h 4936668"/>
                  <a:gd name="connsiteX1662" fmla="*/ 7736185 w 9013239"/>
                  <a:gd name="connsiteY1662" fmla="*/ 2087124 h 4936668"/>
                  <a:gd name="connsiteX1663" fmla="*/ 7712359 w 9013239"/>
                  <a:gd name="connsiteY1663" fmla="*/ 2091888 h 4936668"/>
                  <a:gd name="connsiteX1664" fmla="*/ 7702829 w 9013239"/>
                  <a:gd name="connsiteY1664" fmla="*/ 2101420 h 4936668"/>
                  <a:gd name="connsiteX1665" fmla="*/ 7688533 w 9013239"/>
                  <a:gd name="connsiteY1665" fmla="*/ 2110948 h 4936668"/>
                  <a:gd name="connsiteX1666" fmla="*/ 7683769 w 9013239"/>
                  <a:gd name="connsiteY1666" fmla="*/ 2125244 h 4936668"/>
                  <a:gd name="connsiteX1667" fmla="*/ 7669473 w 9013239"/>
                  <a:gd name="connsiteY1667" fmla="*/ 2139540 h 4936668"/>
                  <a:gd name="connsiteX1668" fmla="*/ 7674239 w 9013239"/>
                  <a:gd name="connsiteY1668" fmla="*/ 2149072 h 4936668"/>
                  <a:gd name="connsiteX1669" fmla="*/ 7674239 w 9013239"/>
                  <a:gd name="connsiteY1669" fmla="*/ 2153836 h 4936668"/>
                  <a:gd name="connsiteX1670" fmla="*/ 7674239 w 9013239"/>
                  <a:gd name="connsiteY1670" fmla="*/ 2172896 h 4936668"/>
                  <a:gd name="connsiteX1671" fmla="*/ 7683769 w 9013239"/>
                  <a:gd name="connsiteY1671" fmla="*/ 2187192 h 4936668"/>
                  <a:gd name="connsiteX1672" fmla="*/ 7698063 w 9013239"/>
                  <a:gd name="connsiteY1672" fmla="*/ 2211016 h 4936668"/>
                  <a:gd name="connsiteX1673" fmla="*/ 7702829 w 9013239"/>
                  <a:gd name="connsiteY1673" fmla="*/ 2249140 h 4936668"/>
                  <a:gd name="connsiteX1674" fmla="*/ 7717125 w 9013239"/>
                  <a:gd name="connsiteY1674" fmla="*/ 2272964 h 4936668"/>
                  <a:gd name="connsiteX1675" fmla="*/ 7736185 w 9013239"/>
                  <a:gd name="connsiteY1675" fmla="*/ 2306320 h 4936668"/>
                  <a:gd name="connsiteX1676" fmla="*/ 7750479 w 9013239"/>
                  <a:gd name="connsiteY1676" fmla="*/ 2311084 h 4936668"/>
                  <a:gd name="connsiteX1677" fmla="*/ 7750479 w 9013239"/>
                  <a:gd name="connsiteY1677" fmla="*/ 2325380 h 4936668"/>
                  <a:gd name="connsiteX1678" fmla="*/ 7740951 w 9013239"/>
                  <a:gd name="connsiteY1678" fmla="*/ 2339676 h 4936668"/>
                  <a:gd name="connsiteX1679" fmla="*/ 7736185 w 9013239"/>
                  <a:gd name="connsiteY1679" fmla="*/ 2349204 h 4936668"/>
                  <a:gd name="connsiteX1680" fmla="*/ 7745715 w 9013239"/>
                  <a:gd name="connsiteY1680" fmla="*/ 2349204 h 4936668"/>
                  <a:gd name="connsiteX1681" fmla="*/ 7750479 w 9013239"/>
                  <a:gd name="connsiteY1681" fmla="*/ 2353972 h 4936668"/>
                  <a:gd name="connsiteX1682" fmla="*/ 7755245 w 9013239"/>
                  <a:gd name="connsiteY1682" fmla="*/ 2368268 h 4936668"/>
                  <a:gd name="connsiteX1683" fmla="*/ 7755245 w 9013239"/>
                  <a:gd name="connsiteY1683" fmla="*/ 2382560 h 4936668"/>
                  <a:gd name="connsiteX1684" fmla="*/ 7755245 w 9013239"/>
                  <a:gd name="connsiteY1684" fmla="*/ 2392092 h 4936668"/>
                  <a:gd name="connsiteX1685" fmla="*/ 7750479 w 9013239"/>
                  <a:gd name="connsiteY1685" fmla="*/ 2396856 h 4936668"/>
                  <a:gd name="connsiteX1686" fmla="*/ 7750479 w 9013239"/>
                  <a:gd name="connsiteY1686" fmla="*/ 2387328 h 4936668"/>
                  <a:gd name="connsiteX1687" fmla="*/ 7750479 w 9013239"/>
                  <a:gd name="connsiteY1687" fmla="*/ 2382560 h 4936668"/>
                  <a:gd name="connsiteX1688" fmla="*/ 7745715 w 9013239"/>
                  <a:gd name="connsiteY1688" fmla="*/ 2387328 h 4936668"/>
                  <a:gd name="connsiteX1689" fmla="*/ 7740951 w 9013239"/>
                  <a:gd name="connsiteY1689" fmla="*/ 2392092 h 4936668"/>
                  <a:gd name="connsiteX1690" fmla="*/ 7740951 w 9013239"/>
                  <a:gd name="connsiteY1690" fmla="*/ 2406388 h 4936668"/>
                  <a:gd name="connsiteX1691" fmla="*/ 7736185 w 9013239"/>
                  <a:gd name="connsiteY1691" fmla="*/ 2415916 h 4936668"/>
                  <a:gd name="connsiteX1692" fmla="*/ 7726655 w 9013239"/>
                  <a:gd name="connsiteY1692" fmla="*/ 2420684 h 4936668"/>
                  <a:gd name="connsiteX1693" fmla="*/ 7717125 w 9013239"/>
                  <a:gd name="connsiteY1693" fmla="*/ 2439744 h 4936668"/>
                  <a:gd name="connsiteX1694" fmla="*/ 7707595 w 9013239"/>
                  <a:gd name="connsiteY1694" fmla="*/ 2454040 h 4936668"/>
                  <a:gd name="connsiteX1695" fmla="*/ 7669473 w 9013239"/>
                  <a:gd name="connsiteY1695" fmla="*/ 2539812 h 4936668"/>
                  <a:gd name="connsiteX1696" fmla="*/ 7669473 w 9013239"/>
                  <a:gd name="connsiteY1696" fmla="*/ 2554108 h 4936668"/>
                  <a:gd name="connsiteX1697" fmla="*/ 7664707 w 9013239"/>
                  <a:gd name="connsiteY1697" fmla="*/ 2558872 h 4936668"/>
                  <a:gd name="connsiteX1698" fmla="*/ 7655177 w 9013239"/>
                  <a:gd name="connsiteY1698" fmla="*/ 2563636 h 4936668"/>
                  <a:gd name="connsiteX1699" fmla="*/ 7640883 w 9013239"/>
                  <a:gd name="connsiteY1699" fmla="*/ 2573168 h 4936668"/>
                  <a:gd name="connsiteX1700" fmla="*/ 7636117 w 9013239"/>
                  <a:gd name="connsiteY1700" fmla="*/ 2582696 h 4936668"/>
                  <a:gd name="connsiteX1701" fmla="*/ 7631351 w 9013239"/>
                  <a:gd name="connsiteY1701" fmla="*/ 2606524 h 4936668"/>
                  <a:gd name="connsiteX1702" fmla="*/ 7617057 w 9013239"/>
                  <a:gd name="connsiteY1702" fmla="*/ 2635112 h 4936668"/>
                  <a:gd name="connsiteX1703" fmla="*/ 7607527 w 9013239"/>
                  <a:gd name="connsiteY1703" fmla="*/ 2620820 h 4936668"/>
                  <a:gd name="connsiteX1704" fmla="*/ 7607527 w 9013239"/>
                  <a:gd name="connsiteY1704" fmla="*/ 2611288 h 4936668"/>
                  <a:gd name="connsiteX1705" fmla="*/ 7612291 w 9013239"/>
                  <a:gd name="connsiteY1705" fmla="*/ 2587464 h 4936668"/>
                  <a:gd name="connsiteX1706" fmla="*/ 7626587 w 9013239"/>
                  <a:gd name="connsiteY1706" fmla="*/ 2544576 h 4936668"/>
                  <a:gd name="connsiteX1707" fmla="*/ 7640883 w 9013239"/>
                  <a:gd name="connsiteY1707" fmla="*/ 2515984 h 4936668"/>
                  <a:gd name="connsiteX1708" fmla="*/ 7650413 w 9013239"/>
                  <a:gd name="connsiteY1708" fmla="*/ 2501688 h 4936668"/>
                  <a:gd name="connsiteX1709" fmla="*/ 7659943 w 9013239"/>
                  <a:gd name="connsiteY1709" fmla="*/ 2477864 h 4936668"/>
                  <a:gd name="connsiteX1710" fmla="*/ 7650413 w 9013239"/>
                  <a:gd name="connsiteY1710" fmla="*/ 2473100 h 4936668"/>
                  <a:gd name="connsiteX1711" fmla="*/ 7631351 w 9013239"/>
                  <a:gd name="connsiteY1711" fmla="*/ 2473100 h 4936668"/>
                  <a:gd name="connsiteX1712" fmla="*/ 7636117 w 9013239"/>
                  <a:gd name="connsiteY1712" fmla="*/ 2458804 h 4936668"/>
                  <a:gd name="connsiteX1713" fmla="*/ 7640883 w 9013239"/>
                  <a:gd name="connsiteY1713" fmla="*/ 2449272 h 4936668"/>
                  <a:gd name="connsiteX1714" fmla="*/ 7631351 w 9013239"/>
                  <a:gd name="connsiteY1714" fmla="*/ 2439744 h 4936668"/>
                  <a:gd name="connsiteX1715" fmla="*/ 7621821 w 9013239"/>
                  <a:gd name="connsiteY1715" fmla="*/ 2439744 h 4936668"/>
                  <a:gd name="connsiteX1716" fmla="*/ 7617057 w 9013239"/>
                  <a:gd name="connsiteY1716" fmla="*/ 2434980 h 4936668"/>
                  <a:gd name="connsiteX1717" fmla="*/ 7626587 w 9013239"/>
                  <a:gd name="connsiteY1717" fmla="*/ 2425448 h 4936668"/>
                  <a:gd name="connsiteX1718" fmla="*/ 7626587 w 9013239"/>
                  <a:gd name="connsiteY1718" fmla="*/ 2415916 h 4936668"/>
                  <a:gd name="connsiteX1719" fmla="*/ 7626587 w 9013239"/>
                  <a:gd name="connsiteY1719" fmla="*/ 2406388 h 4936668"/>
                  <a:gd name="connsiteX1720" fmla="*/ 7626587 w 9013239"/>
                  <a:gd name="connsiteY1720" fmla="*/ 2396856 h 4936668"/>
                  <a:gd name="connsiteX1721" fmla="*/ 7621821 w 9013239"/>
                  <a:gd name="connsiteY1721" fmla="*/ 2396856 h 4936668"/>
                  <a:gd name="connsiteX1722" fmla="*/ 7617057 w 9013239"/>
                  <a:gd name="connsiteY1722" fmla="*/ 2406388 h 4936668"/>
                  <a:gd name="connsiteX1723" fmla="*/ 7612291 w 9013239"/>
                  <a:gd name="connsiteY1723" fmla="*/ 2411152 h 4936668"/>
                  <a:gd name="connsiteX1724" fmla="*/ 7607527 w 9013239"/>
                  <a:gd name="connsiteY1724" fmla="*/ 2401624 h 4936668"/>
                  <a:gd name="connsiteX1725" fmla="*/ 7602761 w 9013239"/>
                  <a:gd name="connsiteY1725" fmla="*/ 2411152 h 4936668"/>
                  <a:gd name="connsiteX1726" fmla="*/ 7597996 w 9013239"/>
                  <a:gd name="connsiteY1726" fmla="*/ 2411152 h 4936668"/>
                  <a:gd name="connsiteX1727" fmla="*/ 7588466 w 9013239"/>
                  <a:gd name="connsiteY1727" fmla="*/ 2406388 h 4936668"/>
                  <a:gd name="connsiteX1728" fmla="*/ 7574171 w 9013239"/>
                  <a:gd name="connsiteY1728" fmla="*/ 2396856 h 4936668"/>
                  <a:gd name="connsiteX1729" fmla="*/ 7564640 w 9013239"/>
                  <a:gd name="connsiteY1729" fmla="*/ 2382560 h 4936668"/>
                  <a:gd name="connsiteX1730" fmla="*/ 7559875 w 9013239"/>
                  <a:gd name="connsiteY1730" fmla="*/ 2368268 h 4936668"/>
                  <a:gd name="connsiteX1731" fmla="*/ 7564640 w 9013239"/>
                  <a:gd name="connsiteY1731" fmla="*/ 2349204 h 4936668"/>
                  <a:gd name="connsiteX1732" fmla="*/ 7574171 w 9013239"/>
                  <a:gd name="connsiteY1732" fmla="*/ 2344440 h 4936668"/>
                  <a:gd name="connsiteX1733" fmla="*/ 7588466 w 9013239"/>
                  <a:gd name="connsiteY1733" fmla="*/ 2349204 h 4936668"/>
                  <a:gd name="connsiteX1734" fmla="*/ 7607527 w 9013239"/>
                  <a:gd name="connsiteY1734" fmla="*/ 2349204 h 4936668"/>
                  <a:gd name="connsiteX1735" fmla="*/ 7602761 w 9013239"/>
                  <a:gd name="connsiteY1735" fmla="*/ 2344440 h 4936668"/>
                  <a:gd name="connsiteX1736" fmla="*/ 7597996 w 9013239"/>
                  <a:gd name="connsiteY1736" fmla="*/ 2344440 h 4936668"/>
                  <a:gd name="connsiteX1737" fmla="*/ 7578935 w 9013239"/>
                  <a:gd name="connsiteY1737" fmla="*/ 2325380 h 4936668"/>
                  <a:gd name="connsiteX1738" fmla="*/ 7574171 w 9013239"/>
                  <a:gd name="connsiteY1738" fmla="*/ 2315848 h 4936668"/>
                  <a:gd name="connsiteX1739" fmla="*/ 7564640 w 9013239"/>
                  <a:gd name="connsiteY1739" fmla="*/ 2311084 h 4936668"/>
                  <a:gd name="connsiteX1740" fmla="*/ 7559875 w 9013239"/>
                  <a:gd name="connsiteY1740" fmla="*/ 2325380 h 4936668"/>
                  <a:gd name="connsiteX1741" fmla="*/ 7555110 w 9013239"/>
                  <a:gd name="connsiteY1741" fmla="*/ 2325380 h 4936668"/>
                  <a:gd name="connsiteX1742" fmla="*/ 7559875 w 9013239"/>
                  <a:gd name="connsiteY1742" fmla="*/ 2306320 h 4936668"/>
                  <a:gd name="connsiteX1743" fmla="*/ 7569405 w 9013239"/>
                  <a:gd name="connsiteY1743" fmla="*/ 2301556 h 4936668"/>
                  <a:gd name="connsiteX1744" fmla="*/ 7578935 w 9013239"/>
                  <a:gd name="connsiteY1744" fmla="*/ 2296788 h 4936668"/>
                  <a:gd name="connsiteX1745" fmla="*/ 7578935 w 9013239"/>
                  <a:gd name="connsiteY1745" fmla="*/ 2287260 h 4936668"/>
                  <a:gd name="connsiteX1746" fmla="*/ 7569405 w 9013239"/>
                  <a:gd name="connsiteY1746" fmla="*/ 2277728 h 4936668"/>
                  <a:gd name="connsiteX1747" fmla="*/ 7555110 w 9013239"/>
                  <a:gd name="connsiteY1747" fmla="*/ 2287260 h 4936668"/>
                  <a:gd name="connsiteX1748" fmla="*/ 7555110 w 9013239"/>
                  <a:gd name="connsiteY1748" fmla="*/ 2277728 h 4936668"/>
                  <a:gd name="connsiteX1749" fmla="*/ 7559875 w 9013239"/>
                  <a:gd name="connsiteY1749" fmla="*/ 2268200 h 4936668"/>
                  <a:gd name="connsiteX1750" fmla="*/ 7569405 w 9013239"/>
                  <a:gd name="connsiteY1750" fmla="*/ 2268200 h 4936668"/>
                  <a:gd name="connsiteX1751" fmla="*/ 7578935 w 9013239"/>
                  <a:gd name="connsiteY1751" fmla="*/ 2268200 h 4936668"/>
                  <a:gd name="connsiteX1752" fmla="*/ 7583701 w 9013239"/>
                  <a:gd name="connsiteY1752" fmla="*/ 2249140 h 4936668"/>
                  <a:gd name="connsiteX1753" fmla="*/ 7583701 w 9013239"/>
                  <a:gd name="connsiteY1753" fmla="*/ 2244372 h 4936668"/>
                  <a:gd name="connsiteX1754" fmla="*/ 7574171 w 9013239"/>
                  <a:gd name="connsiteY1754" fmla="*/ 2253904 h 4936668"/>
                  <a:gd name="connsiteX1755" fmla="*/ 7569405 w 9013239"/>
                  <a:gd name="connsiteY1755" fmla="*/ 2230076 h 4936668"/>
                  <a:gd name="connsiteX1756" fmla="*/ 7583701 w 9013239"/>
                  <a:gd name="connsiteY1756" fmla="*/ 2206252 h 4936668"/>
                  <a:gd name="connsiteX1757" fmla="*/ 7593231 w 9013239"/>
                  <a:gd name="connsiteY1757" fmla="*/ 2191956 h 4936668"/>
                  <a:gd name="connsiteX1758" fmla="*/ 7612291 w 9013239"/>
                  <a:gd name="connsiteY1758" fmla="*/ 2191956 h 4936668"/>
                  <a:gd name="connsiteX1759" fmla="*/ 7626587 w 9013239"/>
                  <a:gd name="connsiteY1759" fmla="*/ 2191956 h 4936668"/>
                  <a:gd name="connsiteX1760" fmla="*/ 7617057 w 9013239"/>
                  <a:gd name="connsiteY1760" fmla="*/ 2187192 h 4936668"/>
                  <a:gd name="connsiteX1761" fmla="*/ 7607527 w 9013239"/>
                  <a:gd name="connsiteY1761" fmla="*/ 2187192 h 4936668"/>
                  <a:gd name="connsiteX1762" fmla="*/ 7612291 w 9013239"/>
                  <a:gd name="connsiteY1762" fmla="*/ 2172896 h 4936668"/>
                  <a:gd name="connsiteX1763" fmla="*/ 7621821 w 9013239"/>
                  <a:gd name="connsiteY1763" fmla="*/ 2172896 h 4936668"/>
                  <a:gd name="connsiteX1764" fmla="*/ 7626587 w 9013239"/>
                  <a:gd name="connsiteY1764" fmla="*/ 2163364 h 4936668"/>
                  <a:gd name="connsiteX1765" fmla="*/ 7612291 w 9013239"/>
                  <a:gd name="connsiteY1765" fmla="*/ 2168132 h 4936668"/>
                  <a:gd name="connsiteX1766" fmla="*/ 7612291 w 9013239"/>
                  <a:gd name="connsiteY1766" fmla="*/ 2149072 h 4936668"/>
                  <a:gd name="connsiteX1767" fmla="*/ 7607527 w 9013239"/>
                  <a:gd name="connsiteY1767" fmla="*/ 2153836 h 4936668"/>
                  <a:gd name="connsiteX1768" fmla="*/ 7597996 w 9013239"/>
                  <a:gd name="connsiteY1768" fmla="*/ 2153836 h 4936668"/>
                  <a:gd name="connsiteX1769" fmla="*/ 7593231 w 9013239"/>
                  <a:gd name="connsiteY1769" fmla="*/ 2163364 h 4936668"/>
                  <a:gd name="connsiteX1770" fmla="*/ 7593231 w 9013239"/>
                  <a:gd name="connsiteY1770" fmla="*/ 2172896 h 4936668"/>
                  <a:gd name="connsiteX1771" fmla="*/ 7593231 w 9013239"/>
                  <a:gd name="connsiteY1771" fmla="*/ 2182428 h 4936668"/>
                  <a:gd name="connsiteX1772" fmla="*/ 7583701 w 9013239"/>
                  <a:gd name="connsiteY1772" fmla="*/ 2187192 h 4936668"/>
                  <a:gd name="connsiteX1773" fmla="*/ 7574171 w 9013239"/>
                  <a:gd name="connsiteY1773" fmla="*/ 2191956 h 4936668"/>
                  <a:gd name="connsiteX1774" fmla="*/ 7569405 w 9013239"/>
                  <a:gd name="connsiteY1774" fmla="*/ 2182428 h 4936668"/>
                  <a:gd name="connsiteX1775" fmla="*/ 7569405 w 9013239"/>
                  <a:gd name="connsiteY1775" fmla="*/ 2177660 h 4936668"/>
                  <a:gd name="connsiteX1776" fmla="*/ 7564640 w 9013239"/>
                  <a:gd name="connsiteY1776" fmla="*/ 2196720 h 4936668"/>
                  <a:gd name="connsiteX1777" fmla="*/ 7564640 w 9013239"/>
                  <a:gd name="connsiteY1777" fmla="*/ 2201488 h 4936668"/>
                  <a:gd name="connsiteX1778" fmla="*/ 7555110 w 9013239"/>
                  <a:gd name="connsiteY1778" fmla="*/ 2187192 h 4936668"/>
                  <a:gd name="connsiteX1779" fmla="*/ 7550345 w 9013239"/>
                  <a:gd name="connsiteY1779" fmla="*/ 2191956 h 4936668"/>
                  <a:gd name="connsiteX1780" fmla="*/ 7550345 w 9013239"/>
                  <a:gd name="connsiteY1780" fmla="*/ 2201488 h 4936668"/>
                  <a:gd name="connsiteX1781" fmla="*/ 7545579 w 9013239"/>
                  <a:gd name="connsiteY1781" fmla="*/ 2206252 h 4936668"/>
                  <a:gd name="connsiteX1782" fmla="*/ 7545579 w 9013239"/>
                  <a:gd name="connsiteY1782" fmla="*/ 2215784 h 4936668"/>
                  <a:gd name="connsiteX1783" fmla="*/ 7540815 w 9013239"/>
                  <a:gd name="connsiteY1783" fmla="*/ 2220548 h 4936668"/>
                  <a:gd name="connsiteX1784" fmla="*/ 7516989 w 9013239"/>
                  <a:gd name="connsiteY1784" fmla="*/ 2215784 h 4936668"/>
                  <a:gd name="connsiteX1785" fmla="*/ 7531285 w 9013239"/>
                  <a:gd name="connsiteY1785" fmla="*/ 2234844 h 4936668"/>
                  <a:gd name="connsiteX1786" fmla="*/ 7540815 w 9013239"/>
                  <a:gd name="connsiteY1786" fmla="*/ 2244372 h 4936668"/>
                  <a:gd name="connsiteX1787" fmla="*/ 7540815 w 9013239"/>
                  <a:gd name="connsiteY1787" fmla="*/ 2253904 h 4936668"/>
                  <a:gd name="connsiteX1788" fmla="*/ 7531285 w 9013239"/>
                  <a:gd name="connsiteY1788" fmla="*/ 2263432 h 4936668"/>
                  <a:gd name="connsiteX1789" fmla="*/ 7521754 w 9013239"/>
                  <a:gd name="connsiteY1789" fmla="*/ 2253904 h 4936668"/>
                  <a:gd name="connsiteX1790" fmla="*/ 7526519 w 9013239"/>
                  <a:gd name="connsiteY1790" fmla="*/ 2268200 h 4936668"/>
                  <a:gd name="connsiteX1791" fmla="*/ 7531285 w 9013239"/>
                  <a:gd name="connsiteY1791" fmla="*/ 2277728 h 4936668"/>
                  <a:gd name="connsiteX1792" fmla="*/ 7526519 w 9013239"/>
                  <a:gd name="connsiteY1792" fmla="*/ 2287260 h 4936668"/>
                  <a:gd name="connsiteX1793" fmla="*/ 7526519 w 9013239"/>
                  <a:gd name="connsiteY1793" fmla="*/ 2301556 h 4936668"/>
                  <a:gd name="connsiteX1794" fmla="*/ 7526519 w 9013239"/>
                  <a:gd name="connsiteY1794" fmla="*/ 2311084 h 4936668"/>
                  <a:gd name="connsiteX1795" fmla="*/ 7521754 w 9013239"/>
                  <a:gd name="connsiteY1795" fmla="*/ 2320616 h 4936668"/>
                  <a:gd name="connsiteX1796" fmla="*/ 7526519 w 9013239"/>
                  <a:gd name="connsiteY1796" fmla="*/ 2363500 h 4936668"/>
                  <a:gd name="connsiteX1797" fmla="*/ 7536049 w 9013239"/>
                  <a:gd name="connsiteY1797" fmla="*/ 2373032 h 4936668"/>
                  <a:gd name="connsiteX1798" fmla="*/ 7540815 w 9013239"/>
                  <a:gd name="connsiteY1798" fmla="*/ 2382560 h 4936668"/>
                  <a:gd name="connsiteX1799" fmla="*/ 7545579 w 9013239"/>
                  <a:gd name="connsiteY1799" fmla="*/ 2392092 h 4936668"/>
                  <a:gd name="connsiteX1800" fmla="*/ 7540815 w 9013239"/>
                  <a:gd name="connsiteY1800" fmla="*/ 2396856 h 4936668"/>
                  <a:gd name="connsiteX1801" fmla="*/ 7526519 w 9013239"/>
                  <a:gd name="connsiteY1801" fmla="*/ 2387328 h 4936668"/>
                  <a:gd name="connsiteX1802" fmla="*/ 7516989 w 9013239"/>
                  <a:gd name="connsiteY1802" fmla="*/ 2382560 h 4936668"/>
                  <a:gd name="connsiteX1803" fmla="*/ 7507459 w 9013239"/>
                  <a:gd name="connsiteY1803" fmla="*/ 2358736 h 4936668"/>
                  <a:gd name="connsiteX1804" fmla="*/ 7502693 w 9013239"/>
                  <a:gd name="connsiteY1804" fmla="*/ 2353972 h 4936668"/>
                  <a:gd name="connsiteX1805" fmla="*/ 7502693 w 9013239"/>
                  <a:gd name="connsiteY1805" fmla="*/ 2358736 h 4936668"/>
                  <a:gd name="connsiteX1806" fmla="*/ 7507459 w 9013239"/>
                  <a:gd name="connsiteY1806" fmla="*/ 2377796 h 4936668"/>
                  <a:gd name="connsiteX1807" fmla="*/ 7540815 w 9013239"/>
                  <a:gd name="connsiteY1807" fmla="*/ 2415916 h 4936668"/>
                  <a:gd name="connsiteX1808" fmla="*/ 7550345 w 9013239"/>
                  <a:gd name="connsiteY1808" fmla="*/ 2430212 h 4936668"/>
                  <a:gd name="connsiteX1809" fmla="*/ 7555110 w 9013239"/>
                  <a:gd name="connsiteY1809" fmla="*/ 2439744 h 4936668"/>
                  <a:gd name="connsiteX1810" fmla="*/ 7555110 w 9013239"/>
                  <a:gd name="connsiteY1810" fmla="*/ 2449272 h 4936668"/>
                  <a:gd name="connsiteX1811" fmla="*/ 7545579 w 9013239"/>
                  <a:gd name="connsiteY1811" fmla="*/ 2444508 h 4936668"/>
                  <a:gd name="connsiteX1812" fmla="*/ 7536049 w 9013239"/>
                  <a:gd name="connsiteY1812" fmla="*/ 2434980 h 4936668"/>
                  <a:gd name="connsiteX1813" fmla="*/ 7512224 w 9013239"/>
                  <a:gd name="connsiteY1813" fmla="*/ 2420684 h 4936668"/>
                  <a:gd name="connsiteX1814" fmla="*/ 7488398 w 9013239"/>
                  <a:gd name="connsiteY1814" fmla="*/ 2415916 h 4936668"/>
                  <a:gd name="connsiteX1815" fmla="*/ 7469337 w 9013239"/>
                  <a:gd name="connsiteY1815" fmla="*/ 2392092 h 4936668"/>
                  <a:gd name="connsiteX1816" fmla="*/ 7469337 w 9013239"/>
                  <a:gd name="connsiteY1816" fmla="*/ 2401624 h 4936668"/>
                  <a:gd name="connsiteX1817" fmla="*/ 7469337 w 9013239"/>
                  <a:gd name="connsiteY1817" fmla="*/ 2411152 h 4936668"/>
                  <a:gd name="connsiteX1818" fmla="*/ 7459807 w 9013239"/>
                  <a:gd name="connsiteY1818" fmla="*/ 2396856 h 4936668"/>
                  <a:gd name="connsiteX1819" fmla="*/ 7450277 w 9013239"/>
                  <a:gd name="connsiteY1819" fmla="*/ 2387328 h 4936668"/>
                  <a:gd name="connsiteX1820" fmla="*/ 7450277 w 9013239"/>
                  <a:gd name="connsiteY1820" fmla="*/ 2377796 h 4936668"/>
                  <a:gd name="connsiteX1821" fmla="*/ 7440747 w 9013239"/>
                  <a:gd name="connsiteY1821" fmla="*/ 2377796 h 4936668"/>
                  <a:gd name="connsiteX1822" fmla="*/ 7426451 w 9013239"/>
                  <a:gd name="connsiteY1822" fmla="*/ 2387328 h 4936668"/>
                  <a:gd name="connsiteX1823" fmla="*/ 7412156 w 9013239"/>
                  <a:gd name="connsiteY1823" fmla="*/ 2387328 h 4936668"/>
                  <a:gd name="connsiteX1824" fmla="*/ 7412156 w 9013239"/>
                  <a:gd name="connsiteY1824" fmla="*/ 2368268 h 4936668"/>
                  <a:gd name="connsiteX1825" fmla="*/ 7416921 w 9013239"/>
                  <a:gd name="connsiteY1825" fmla="*/ 2358736 h 4936668"/>
                  <a:gd name="connsiteX1826" fmla="*/ 7431217 w 9013239"/>
                  <a:gd name="connsiteY1826" fmla="*/ 2339676 h 4936668"/>
                  <a:gd name="connsiteX1827" fmla="*/ 7440747 w 9013239"/>
                  <a:gd name="connsiteY1827" fmla="*/ 2325380 h 4936668"/>
                  <a:gd name="connsiteX1828" fmla="*/ 7445512 w 9013239"/>
                  <a:gd name="connsiteY1828" fmla="*/ 2311084 h 4936668"/>
                  <a:gd name="connsiteX1829" fmla="*/ 7435981 w 9013239"/>
                  <a:gd name="connsiteY1829" fmla="*/ 2325380 h 4936668"/>
                  <a:gd name="connsiteX1830" fmla="*/ 7426451 w 9013239"/>
                  <a:gd name="connsiteY1830" fmla="*/ 2334912 h 4936668"/>
                  <a:gd name="connsiteX1831" fmla="*/ 7412156 w 9013239"/>
                  <a:gd name="connsiteY1831" fmla="*/ 2349204 h 4936668"/>
                  <a:gd name="connsiteX1832" fmla="*/ 7407391 w 9013239"/>
                  <a:gd name="connsiteY1832" fmla="*/ 2363500 h 4936668"/>
                  <a:gd name="connsiteX1833" fmla="*/ 7402626 w 9013239"/>
                  <a:gd name="connsiteY1833" fmla="*/ 2387328 h 4936668"/>
                  <a:gd name="connsiteX1834" fmla="*/ 7407391 w 9013239"/>
                  <a:gd name="connsiteY1834" fmla="*/ 2396856 h 4936668"/>
                  <a:gd name="connsiteX1835" fmla="*/ 7412156 w 9013239"/>
                  <a:gd name="connsiteY1835" fmla="*/ 2401624 h 4936668"/>
                  <a:gd name="connsiteX1836" fmla="*/ 7431217 w 9013239"/>
                  <a:gd name="connsiteY1836" fmla="*/ 2392092 h 4936668"/>
                  <a:gd name="connsiteX1837" fmla="*/ 7445512 w 9013239"/>
                  <a:gd name="connsiteY1837" fmla="*/ 2396856 h 4936668"/>
                  <a:gd name="connsiteX1838" fmla="*/ 7464573 w 9013239"/>
                  <a:gd name="connsiteY1838" fmla="*/ 2430212 h 4936668"/>
                  <a:gd name="connsiteX1839" fmla="*/ 7507459 w 9013239"/>
                  <a:gd name="connsiteY1839" fmla="*/ 2439744 h 4936668"/>
                  <a:gd name="connsiteX1840" fmla="*/ 7521754 w 9013239"/>
                  <a:gd name="connsiteY1840" fmla="*/ 2449272 h 4936668"/>
                  <a:gd name="connsiteX1841" fmla="*/ 7531285 w 9013239"/>
                  <a:gd name="connsiteY1841" fmla="*/ 2463568 h 4936668"/>
                  <a:gd name="connsiteX1842" fmla="*/ 7550345 w 9013239"/>
                  <a:gd name="connsiteY1842" fmla="*/ 2473100 h 4936668"/>
                  <a:gd name="connsiteX1843" fmla="*/ 7564640 w 9013239"/>
                  <a:gd name="connsiteY1843" fmla="*/ 2487396 h 4936668"/>
                  <a:gd name="connsiteX1844" fmla="*/ 7564640 w 9013239"/>
                  <a:gd name="connsiteY1844" fmla="*/ 2496924 h 4936668"/>
                  <a:gd name="connsiteX1845" fmla="*/ 7559875 w 9013239"/>
                  <a:gd name="connsiteY1845" fmla="*/ 2506456 h 4936668"/>
                  <a:gd name="connsiteX1846" fmla="*/ 7559875 w 9013239"/>
                  <a:gd name="connsiteY1846" fmla="*/ 2520752 h 4936668"/>
                  <a:gd name="connsiteX1847" fmla="*/ 7555110 w 9013239"/>
                  <a:gd name="connsiteY1847" fmla="*/ 2530280 h 4936668"/>
                  <a:gd name="connsiteX1848" fmla="*/ 7540815 w 9013239"/>
                  <a:gd name="connsiteY1848" fmla="*/ 2535044 h 4936668"/>
                  <a:gd name="connsiteX1849" fmla="*/ 7531285 w 9013239"/>
                  <a:gd name="connsiteY1849" fmla="*/ 2530280 h 4936668"/>
                  <a:gd name="connsiteX1850" fmla="*/ 7483633 w 9013239"/>
                  <a:gd name="connsiteY1850" fmla="*/ 2477864 h 4936668"/>
                  <a:gd name="connsiteX1851" fmla="*/ 7478868 w 9013239"/>
                  <a:gd name="connsiteY1851" fmla="*/ 2473100 h 4936668"/>
                  <a:gd name="connsiteX1852" fmla="*/ 7459807 w 9013239"/>
                  <a:gd name="connsiteY1852" fmla="*/ 2449272 h 4936668"/>
                  <a:gd name="connsiteX1853" fmla="*/ 7440747 w 9013239"/>
                  <a:gd name="connsiteY1853" fmla="*/ 2434980 h 4936668"/>
                  <a:gd name="connsiteX1854" fmla="*/ 7431217 w 9013239"/>
                  <a:gd name="connsiteY1854" fmla="*/ 2434980 h 4936668"/>
                  <a:gd name="connsiteX1855" fmla="*/ 7464573 w 9013239"/>
                  <a:gd name="connsiteY1855" fmla="*/ 2458804 h 4936668"/>
                  <a:gd name="connsiteX1856" fmla="*/ 7474103 w 9013239"/>
                  <a:gd name="connsiteY1856" fmla="*/ 2477864 h 4936668"/>
                  <a:gd name="connsiteX1857" fmla="*/ 7493163 w 9013239"/>
                  <a:gd name="connsiteY1857" fmla="*/ 2506456 h 4936668"/>
                  <a:gd name="connsiteX1858" fmla="*/ 7512224 w 9013239"/>
                  <a:gd name="connsiteY1858" fmla="*/ 2515984 h 4936668"/>
                  <a:gd name="connsiteX1859" fmla="*/ 7521754 w 9013239"/>
                  <a:gd name="connsiteY1859" fmla="*/ 2535044 h 4936668"/>
                  <a:gd name="connsiteX1860" fmla="*/ 7531285 w 9013239"/>
                  <a:gd name="connsiteY1860" fmla="*/ 2539812 h 4936668"/>
                  <a:gd name="connsiteX1861" fmla="*/ 7559875 w 9013239"/>
                  <a:gd name="connsiteY1861" fmla="*/ 2554108 h 4936668"/>
                  <a:gd name="connsiteX1862" fmla="*/ 7550345 w 9013239"/>
                  <a:gd name="connsiteY1862" fmla="*/ 2558872 h 4936668"/>
                  <a:gd name="connsiteX1863" fmla="*/ 7564640 w 9013239"/>
                  <a:gd name="connsiteY1863" fmla="*/ 2568400 h 4936668"/>
                  <a:gd name="connsiteX1864" fmla="*/ 7569405 w 9013239"/>
                  <a:gd name="connsiteY1864" fmla="*/ 2577932 h 4936668"/>
                  <a:gd name="connsiteX1865" fmla="*/ 7564640 w 9013239"/>
                  <a:gd name="connsiteY1865" fmla="*/ 2596992 h 4936668"/>
                  <a:gd name="connsiteX1866" fmla="*/ 7545579 w 9013239"/>
                  <a:gd name="connsiteY1866" fmla="*/ 2587464 h 4936668"/>
                  <a:gd name="connsiteX1867" fmla="*/ 7545579 w 9013239"/>
                  <a:gd name="connsiteY1867" fmla="*/ 2601756 h 4936668"/>
                  <a:gd name="connsiteX1868" fmla="*/ 7545579 w 9013239"/>
                  <a:gd name="connsiteY1868" fmla="*/ 2606524 h 4936668"/>
                  <a:gd name="connsiteX1869" fmla="*/ 7536049 w 9013239"/>
                  <a:gd name="connsiteY1869" fmla="*/ 2611288 h 4936668"/>
                  <a:gd name="connsiteX1870" fmla="*/ 7521754 w 9013239"/>
                  <a:gd name="connsiteY1870" fmla="*/ 2601756 h 4936668"/>
                  <a:gd name="connsiteX1871" fmla="*/ 7488398 w 9013239"/>
                  <a:gd name="connsiteY1871" fmla="*/ 2563636 h 4936668"/>
                  <a:gd name="connsiteX1872" fmla="*/ 7488398 w 9013239"/>
                  <a:gd name="connsiteY1872" fmla="*/ 2568400 h 4936668"/>
                  <a:gd name="connsiteX1873" fmla="*/ 7493163 w 9013239"/>
                  <a:gd name="connsiteY1873" fmla="*/ 2577932 h 4936668"/>
                  <a:gd name="connsiteX1874" fmla="*/ 7512224 w 9013239"/>
                  <a:gd name="connsiteY1874" fmla="*/ 2601756 h 4936668"/>
                  <a:gd name="connsiteX1875" fmla="*/ 7531285 w 9013239"/>
                  <a:gd name="connsiteY1875" fmla="*/ 2616052 h 4936668"/>
                  <a:gd name="connsiteX1876" fmla="*/ 7545579 w 9013239"/>
                  <a:gd name="connsiteY1876" fmla="*/ 2620820 h 4936668"/>
                  <a:gd name="connsiteX1877" fmla="*/ 7555110 w 9013239"/>
                  <a:gd name="connsiteY1877" fmla="*/ 2635112 h 4936668"/>
                  <a:gd name="connsiteX1878" fmla="*/ 7559875 w 9013239"/>
                  <a:gd name="connsiteY1878" fmla="*/ 2644644 h 4936668"/>
                  <a:gd name="connsiteX1879" fmla="*/ 7564640 w 9013239"/>
                  <a:gd name="connsiteY1879" fmla="*/ 2654172 h 4936668"/>
                  <a:gd name="connsiteX1880" fmla="*/ 7555110 w 9013239"/>
                  <a:gd name="connsiteY1880" fmla="*/ 2663704 h 4936668"/>
                  <a:gd name="connsiteX1881" fmla="*/ 7545579 w 9013239"/>
                  <a:gd name="connsiteY1881" fmla="*/ 2663704 h 4936668"/>
                  <a:gd name="connsiteX1882" fmla="*/ 7536049 w 9013239"/>
                  <a:gd name="connsiteY1882" fmla="*/ 2658940 h 4936668"/>
                  <a:gd name="connsiteX1883" fmla="*/ 7526519 w 9013239"/>
                  <a:gd name="connsiteY1883" fmla="*/ 2649408 h 4936668"/>
                  <a:gd name="connsiteX1884" fmla="*/ 7512224 w 9013239"/>
                  <a:gd name="connsiteY1884" fmla="*/ 2635112 h 4936668"/>
                  <a:gd name="connsiteX1885" fmla="*/ 7507459 w 9013239"/>
                  <a:gd name="connsiteY1885" fmla="*/ 2620820 h 4936668"/>
                  <a:gd name="connsiteX1886" fmla="*/ 7497929 w 9013239"/>
                  <a:gd name="connsiteY1886" fmla="*/ 2620820 h 4936668"/>
                  <a:gd name="connsiteX1887" fmla="*/ 7450277 w 9013239"/>
                  <a:gd name="connsiteY1887" fmla="*/ 2601756 h 4936668"/>
                  <a:gd name="connsiteX1888" fmla="*/ 7416921 w 9013239"/>
                  <a:gd name="connsiteY1888" fmla="*/ 2601756 h 4936668"/>
                  <a:gd name="connsiteX1889" fmla="*/ 7421687 w 9013239"/>
                  <a:gd name="connsiteY1889" fmla="*/ 2606524 h 4936668"/>
                  <a:gd name="connsiteX1890" fmla="*/ 7450277 w 9013239"/>
                  <a:gd name="connsiteY1890" fmla="*/ 2611288 h 4936668"/>
                  <a:gd name="connsiteX1891" fmla="*/ 7464573 w 9013239"/>
                  <a:gd name="connsiteY1891" fmla="*/ 2620820 h 4936668"/>
                  <a:gd name="connsiteX1892" fmla="*/ 7488398 w 9013239"/>
                  <a:gd name="connsiteY1892" fmla="*/ 2630348 h 4936668"/>
                  <a:gd name="connsiteX1893" fmla="*/ 7502693 w 9013239"/>
                  <a:gd name="connsiteY1893" fmla="*/ 2630348 h 4936668"/>
                  <a:gd name="connsiteX1894" fmla="*/ 7507459 w 9013239"/>
                  <a:gd name="connsiteY1894" fmla="*/ 2654172 h 4936668"/>
                  <a:gd name="connsiteX1895" fmla="*/ 7526519 w 9013239"/>
                  <a:gd name="connsiteY1895" fmla="*/ 2673236 h 4936668"/>
                  <a:gd name="connsiteX1896" fmla="*/ 7531285 w 9013239"/>
                  <a:gd name="connsiteY1896" fmla="*/ 2682764 h 4936668"/>
                  <a:gd name="connsiteX1897" fmla="*/ 7545579 w 9013239"/>
                  <a:gd name="connsiteY1897" fmla="*/ 2687528 h 4936668"/>
                  <a:gd name="connsiteX1898" fmla="*/ 7569405 w 9013239"/>
                  <a:gd name="connsiteY1898" fmla="*/ 2673236 h 4936668"/>
                  <a:gd name="connsiteX1899" fmla="*/ 7583701 w 9013239"/>
                  <a:gd name="connsiteY1899" fmla="*/ 2678000 h 4936668"/>
                  <a:gd name="connsiteX1900" fmla="*/ 7607527 w 9013239"/>
                  <a:gd name="connsiteY1900" fmla="*/ 2682764 h 4936668"/>
                  <a:gd name="connsiteX1901" fmla="*/ 7612291 w 9013239"/>
                  <a:gd name="connsiteY1901" fmla="*/ 2692296 h 4936668"/>
                  <a:gd name="connsiteX1902" fmla="*/ 7617057 w 9013239"/>
                  <a:gd name="connsiteY1902" fmla="*/ 2711356 h 4936668"/>
                  <a:gd name="connsiteX1903" fmla="*/ 7621821 w 9013239"/>
                  <a:gd name="connsiteY1903" fmla="*/ 2730416 h 4936668"/>
                  <a:gd name="connsiteX1904" fmla="*/ 7645647 w 9013239"/>
                  <a:gd name="connsiteY1904" fmla="*/ 2816188 h 4936668"/>
                  <a:gd name="connsiteX1905" fmla="*/ 7674239 w 9013239"/>
                  <a:gd name="connsiteY1905" fmla="*/ 2882900 h 4936668"/>
                  <a:gd name="connsiteX1906" fmla="*/ 7650413 w 9013239"/>
                  <a:gd name="connsiteY1906" fmla="*/ 2840012 h 4936668"/>
                  <a:gd name="connsiteX1907" fmla="*/ 7636117 w 9013239"/>
                  <a:gd name="connsiteY1907" fmla="*/ 2806656 h 4936668"/>
                  <a:gd name="connsiteX1908" fmla="*/ 7621821 w 9013239"/>
                  <a:gd name="connsiteY1908" fmla="*/ 2749476 h 4936668"/>
                  <a:gd name="connsiteX1909" fmla="*/ 7621821 w 9013239"/>
                  <a:gd name="connsiteY1909" fmla="*/ 2735180 h 4936668"/>
                  <a:gd name="connsiteX1910" fmla="*/ 7617057 w 9013239"/>
                  <a:gd name="connsiteY1910" fmla="*/ 2730416 h 4936668"/>
                  <a:gd name="connsiteX1911" fmla="*/ 7612291 w 9013239"/>
                  <a:gd name="connsiteY1911" fmla="*/ 2735180 h 4936668"/>
                  <a:gd name="connsiteX1912" fmla="*/ 7612291 w 9013239"/>
                  <a:gd name="connsiteY1912" fmla="*/ 2739948 h 4936668"/>
                  <a:gd name="connsiteX1913" fmla="*/ 7612291 w 9013239"/>
                  <a:gd name="connsiteY1913" fmla="*/ 2749476 h 4936668"/>
                  <a:gd name="connsiteX1914" fmla="*/ 7607527 w 9013239"/>
                  <a:gd name="connsiteY1914" fmla="*/ 2768536 h 4936668"/>
                  <a:gd name="connsiteX1915" fmla="*/ 7612291 w 9013239"/>
                  <a:gd name="connsiteY1915" fmla="*/ 2773304 h 4936668"/>
                  <a:gd name="connsiteX1916" fmla="*/ 7617057 w 9013239"/>
                  <a:gd name="connsiteY1916" fmla="*/ 2782832 h 4936668"/>
                  <a:gd name="connsiteX1917" fmla="*/ 7626587 w 9013239"/>
                  <a:gd name="connsiteY1917" fmla="*/ 2806656 h 4936668"/>
                  <a:gd name="connsiteX1918" fmla="*/ 7636117 w 9013239"/>
                  <a:gd name="connsiteY1918" fmla="*/ 2835248 h 4936668"/>
                  <a:gd name="connsiteX1919" fmla="*/ 7626587 w 9013239"/>
                  <a:gd name="connsiteY1919" fmla="*/ 2825720 h 4936668"/>
                  <a:gd name="connsiteX1920" fmla="*/ 7617057 w 9013239"/>
                  <a:gd name="connsiteY1920" fmla="*/ 2816188 h 4936668"/>
                  <a:gd name="connsiteX1921" fmla="*/ 7597996 w 9013239"/>
                  <a:gd name="connsiteY1921" fmla="*/ 2811424 h 4936668"/>
                  <a:gd name="connsiteX1922" fmla="*/ 7583701 w 9013239"/>
                  <a:gd name="connsiteY1922" fmla="*/ 2806656 h 4936668"/>
                  <a:gd name="connsiteX1923" fmla="*/ 7583701 w 9013239"/>
                  <a:gd name="connsiteY1923" fmla="*/ 2816188 h 4936668"/>
                  <a:gd name="connsiteX1924" fmla="*/ 7583701 w 9013239"/>
                  <a:gd name="connsiteY1924" fmla="*/ 2830484 h 4936668"/>
                  <a:gd name="connsiteX1925" fmla="*/ 7574171 w 9013239"/>
                  <a:gd name="connsiteY1925" fmla="*/ 2825720 h 4936668"/>
                  <a:gd name="connsiteX1926" fmla="*/ 7564640 w 9013239"/>
                  <a:gd name="connsiteY1926" fmla="*/ 2820952 h 4936668"/>
                  <a:gd name="connsiteX1927" fmla="*/ 7569405 w 9013239"/>
                  <a:gd name="connsiteY1927" fmla="*/ 2835248 h 4936668"/>
                  <a:gd name="connsiteX1928" fmla="*/ 7555110 w 9013239"/>
                  <a:gd name="connsiteY1928" fmla="*/ 2830484 h 4936668"/>
                  <a:gd name="connsiteX1929" fmla="*/ 7545579 w 9013239"/>
                  <a:gd name="connsiteY1929" fmla="*/ 2835248 h 4936668"/>
                  <a:gd name="connsiteX1930" fmla="*/ 7540815 w 9013239"/>
                  <a:gd name="connsiteY1930" fmla="*/ 2844780 h 4936668"/>
                  <a:gd name="connsiteX1931" fmla="*/ 7531285 w 9013239"/>
                  <a:gd name="connsiteY1931" fmla="*/ 2854308 h 4936668"/>
                  <a:gd name="connsiteX1932" fmla="*/ 7521754 w 9013239"/>
                  <a:gd name="connsiteY1932" fmla="*/ 2854308 h 4936668"/>
                  <a:gd name="connsiteX1933" fmla="*/ 7502693 w 9013239"/>
                  <a:gd name="connsiteY1933" fmla="*/ 2844780 h 4936668"/>
                  <a:gd name="connsiteX1934" fmla="*/ 7493163 w 9013239"/>
                  <a:gd name="connsiteY1934" fmla="*/ 2830484 h 4936668"/>
                  <a:gd name="connsiteX1935" fmla="*/ 7493163 w 9013239"/>
                  <a:gd name="connsiteY1935" fmla="*/ 2835248 h 4936668"/>
                  <a:gd name="connsiteX1936" fmla="*/ 7493163 w 9013239"/>
                  <a:gd name="connsiteY1936" fmla="*/ 2854308 h 4936668"/>
                  <a:gd name="connsiteX1937" fmla="*/ 7493163 w 9013239"/>
                  <a:gd name="connsiteY1937" fmla="*/ 2868604 h 4936668"/>
                  <a:gd name="connsiteX1938" fmla="*/ 7512224 w 9013239"/>
                  <a:gd name="connsiteY1938" fmla="*/ 2868604 h 4936668"/>
                  <a:gd name="connsiteX1939" fmla="*/ 7526519 w 9013239"/>
                  <a:gd name="connsiteY1939" fmla="*/ 2868604 h 4936668"/>
                  <a:gd name="connsiteX1940" fmla="*/ 7550345 w 9013239"/>
                  <a:gd name="connsiteY1940" fmla="*/ 2868604 h 4936668"/>
                  <a:gd name="connsiteX1941" fmla="*/ 7564640 w 9013239"/>
                  <a:gd name="connsiteY1941" fmla="*/ 2863840 h 4936668"/>
                  <a:gd name="connsiteX1942" fmla="*/ 7574171 w 9013239"/>
                  <a:gd name="connsiteY1942" fmla="*/ 2859076 h 4936668"/>
                  <a:gd name="connsiteX1943" fmla="*/ 7597996 w 9013239"/>
                  <a:gd name="connsiteY1943" fmla="*/ 2863840 h 4936668"/>
                  <a:gd name="connsiteX1944" fmla="*/ 7597996 w 9013239"/>
                  <a:gd name="connsiteY1944" fmla="*/ 2882900 h 4936668"/>
                  <a:gd name="connsiteX1945" fmla="*/ 7593231 w 9013239"/>
                  <a:gd name="connsiteY1945" fmla="*/ 2897196 h 4936668"/>
                  <a:gd name="connsiteX1946" fmla="*/ 7593231 w 9013239"/>
                  <a:gd name="connsiteY1946" fmla="*/ 2916256 h 4936668"/>
                  <a:gd name="connsiteX1947" fmla="*/ 7597996 w 9013239"/>
                  <a:gd name="connsiteY1947" fmla="*/ 2916256 h 4936668"/>
                  <a:gd name="connsiteX1948" fmla="*/ 7607527 w 9013239"/>
                  <a:gd name="connsiteY1948" fmla="*/ 2911492 h 4936668"/>
                  <a:gd name="connsiteX1949" fmla="*/ 7612291 w 9013239"/>
                  <a:gd name="connsiteY1949" fmla="*/ 2878136 h 4936668"/>
                  <a:gd name="connsiteX1950" fmla="*/ 7631351 w 9013239"/>
                  <a:gd name="connsiteY1950" fmla="*/ 2868604 h 4936668"/>
                  <a:gd name="connsiteX1951" fmla="*/ 7636117 w 9013239"/>
                  <a:gd name="connsiteY1951" fmla="*/ 2868604 h 4936668"/>
                  <a:gd name="connsiteX1952" fmla="*/ 7640883 w 9013239"/>
                  <a:gd name="connsiteY1952" fmla="*/ 2878136 h 4936668"/>
                  <a:gd name="connsiteX1953" fmla="*/ 7645647 w 9013239"/>
                  <a:gd name="connsiteY1953" fmla="*/ 2887664 h 4936668"/>
                  <a:gd name="connsiteX1954" fmla="*/ 7645647 w 9013239"/>
                  <a:gd name="connsiteY1954" fmla="*/ 2901960 h 4936668"/>
                  <a:gd name="connsiteX1955" fmla="*/ 7640883 w 9013239"/>
                  <a:gd name="connsiteY1955" fmla="*/ 2925788 h 4936668"/>
                  <a:gd name="connsiteX1956" fmla="*/ 7612291 w 9013239"/>
                  <a:gd name="connsiteY1956" fmla="*/ 2954376 h 4936668"/>
                  <a:gd name="connsiteX1957" fmla="*/ 7588466 w 9013239"/>
                  <a:gd name="connsiteY1957" fmla="*/ 2978204 h 4936668"/>
                  <a:gd name="connsiteX1958" fmla="*/ 7578935 w 9013239"/>
                  <a:gd name="connsiteY1958" fmla="*/ 2982968 h 4936668"/>
                  <a:gd name="connsiteX1959" fmla="*/ 7564640 w 9013239"/>
                  <a:gd name="connsiteY1959" fmla="*/ 2978204 h 4936668"/>
                  <a:gd name="connsiteX1960" fmla="*/ 7545579 w 9013239"/>
                  <a:gd name="connsiteY1960" fmla="*/ 2973436 h 4936668"/>
                  <a:gd name="connsiteX1961" fmla="*/ 7536049 w 9013239"/>
                  <a:gd name="connsiteY1961" fmla="*/ 2973436 h 4936668"/>
                  <a:gd name="connsiteX1962" fmla="*/ 7531285 w 9013239"/>
                  <a:gd name="connsiteY1962" fmla="*/ 2973436 h 4936668"/>
                  <a:gd name="connsiteX1963" fmla="*/ 7526519 w 9013239"/>
                  <a:gd name="connsiteY1963" fmla="*/ 2968672 h 4936668"/>
                  <a:gd name="connsiteX1964" fmla="*/ 7521754 w 9013239"/>
                  <a:gd name="connsiteY1964" fmla="*/ 2954376 h 4936668"/>
                  <a:gd name="connsiteX1965" fmla="*/ 7516989 w 9013239"/>
                  <a:gd name="connsiteY1965" fmla="*/ 2949612 h 4936668"/>
                  <a:gd name="connsiteX1966" fmla="*/ 7512224 w 9013239"/>
                  <a:gd name="connsiteY1966" fmla="*/ 2949612 h 4936668"/>
                  <a:gd name="connsiteX1967" fmla="*/ 7507459 w 9013239"/>
                  <a:gd name="connsiteY1967" fmla="*/ 2963908 h 4936668"/>
                  <a:gd name="connsiteX1968" fmla="*/ 7493163 w 9013239"/>
                  <a:gd name="connsiteY1968" fmla="*/ 2968672 h 4936668"/>
                  <a:gd name="connsiteX1969" fmla="*/ 7469337 w 9013239"/>
                  <a:gd name="connsiteY1969" fmla="*/ 2963908 h 4936668"/>
                  <a:gd name="connsiteX1970" fmla="*/ 7445512 w 9013239"/>
                  <a:gd name="connsiteY1970" fmla="*/ 2949612 h 4936668"/>
                  <a:gd name="connsiteX1971" fmla="*/ 7455042 w 9013239"/>
                  <a:gd name="connsiteY1971" fmla="*/ 2963908 h 4936668"/>
                  <a:gd name="connsiteX1972" fmla="*/ 7512224 w 9013239"/>
                  <a:gd name="connsiteY1972" fmla="*/ 2987732 h 4936668"/>
                  <a:gd name="connsiteX1973" fmla="*/ 7521754 w 9013239"/>
                  <a:gd name="connsiteY1973" fmla="*/ 2992496 h 4936668"/>
                  <a:gd name="connsiteX1974" fmla="*/ 7526519 w 9013239"/>
                  <a:gd name="connsiteY1974" fmla="*/ 2997264 h 4936668"/>
                  <a:gd name="connsiteX1975" fmla="*/ 7516989 w 9013239"/>
                  <a:gd name="connsiteY1975" fmla="*/ 3011560 h 4936668"/>
                  <a:gd name="connsiteX1976" fmla="*/ 7512224 w 9013239"/>
                  <a:gd name="connsiteY1976" fmla="*/ 3021088 h 4936668"/>
                  <a:gd name="connsiteX1977" fmla="*/ 7512224 w 9013239"/>
                  <a:gd name="connsiteY1977" fmla="*/ 3030620 h 4936668"/>
                  <a:gd name="connsiteX1978" fmla="*/ 7507459 w 9013239"/>
                  <a:gd name="connsiteY1978" fmla="*/ 3035384 h 4936668"/>
                  <a:gd name="connsiteX1979" fmla="*/ 7483633 w 9013239"/>
                  <a:gd name="connsiteY1979" fmla="*/ 3054444 h 4936668"/>
                  <a:gd name="connsiteX1980" fmla="*/ 7474103 w 9013239"/>
                  <a:gd name="connsiteY1980" fmla="*/ 3049680 h 4936668"/>
                  <a:gd name="connsiteX1981" fmla="*/ 7440747 w 9013239"/>
                  <a:gd name="connsiteY1981" fmla="*/ 3021088 h 4936668"/>
                  <a:gd name="connsiteX1982" fmla="*/ 7455042 w 9013239"/>
                  <a:gd name="connsiteY1982" fmla="*/ 3044916 h 4936668"/>
                  <a:gd name="connsiteX1983" fmla="*/ 7464573 w 9013239"/>
                  <a:gd name="connsiteY1983" fmla="*/ 3054444 h 4936668"/>
                  <a:gd name="connsiteX1984" fmla="*/ 7488398 w 9013239"/>
                  <a:gd name="connsiteY1984" fmla="*/ 3059208 h 4936668"/>
                  <a:gd name="connsiteX1985" fmla="*/ 7536049 w 9013239"/>
                  <a:gd name="connsiteY1985" fmla="*/ 3054444 h 4936668"/>
                  <a:gd name="connsiteX1986" fmla="*/ 7550345 w 9013239"/>
                  <a:gd name="connsiteY1986" fmla="*/ 3063976 h 4936668"/>
                  <a:gd name="connsiteX1987" fmla="*/ 7536049 w 9013239"/>
                  <a:gd name="connsiteY1987" fmla="*/ 3083036 h 4936668"/>
                  <a:gd name="connsiteX1988" fmla="*/ 7526519 w 9013239"/>
                  <a:gd name="connsiteY1988" fmla="*/ 3092564 h 4936668"/>
                  <a:gd name="connsiteX1989" fmla="*/ 7512224 w 9013239"/>
                  <a:gd name="connsiteY1989" fmla="*/ 3092564 h 4936668"/>
                  <a:gd name="connsiteX1990" fmla="*/ 7497929 w 9013239"/>
                  <a:gd name="connsiteY1990" fmla="*/ 3097332 h 4936668"/>
                  <a:gd name="connsiteX1991" fmla="*/ 7493163 w 9013239"/>
                  <a:gd name="connsiteY1991" fmla="*/ 3106860 h 4936668"/>
                  <a:gd name="connsiteX1992" fmla="*/ 7483633 w 9013239"/>
                  <a:gd name="connsiteY1992" fmla="*/ 3106860 h 4936668"/>
                  <a:gd name="connsiteX1993" fmla="*/ 7464573 w 9013239"/>
                  <a:gd name="connsiteY1993" fmla="*/ 3106860 h 4936668"/>
                  <a:gd name="connsiteX1994" fmla="*/ 7440747 w 9013239"/>
                  <a:gd name="connsiteY1994" fmla="*/ 3106860 h 4936668"/>
                  <a:gd name="connsiteX1995" fmla="*/ 7431217 w 9013239"/>
                  <a:gd name="connsiteY1995" fmla="*/ 3106860 h 4936668"/>
                  <a:gd name="connsiteX1996" fmla="*/ 7412156 w 9013239"/>
                  <a:gd name="connsiteY1996" fmla="*/ 3125920 h 4936668"/>
                  <a:gd name="connsiteX1997" fmla="*/ 7402626 w 9013239"/>
                  <a:gd name="connsiteY1997" fmla="*/ 3125920 h 4936668"/>
                  <a:gd name="connsiteX1998" fmla="*/ 7393095 w 9013239"/>
                  <a:gd name="connsiteY1998" fmla="*/ 3121156 h 4936668"/>
                  <a:gd name="connsiteX1999" fmla="*/ 7388331 w 9013239"/>
                  <a:gd name="connsiteY1999" fmla="*/ 3106860 h 4936668"/>
                  <a:gd name="connsiteX2000" fmla="*/ 7388331 w 9013239"/>
                  <a:gd name="connsiteY2000" fmla="*/ 3125920 h 4936668"/>
                  <a:gd name="connsiteX2001" fmla="*/ 7388331 w 9013239"/>
                  <a:gd name="connsiteY2001" fmla="*/ 3135452 h 4936668"/>
                  <a:gd name="connsiteX2002" fmla="*/ 7393095 w 9013239"/>
                  <a:gd name="connsiteY2002" fmla="*/ 3140216 h 4936668"/>
                  <a:gd name="connsiteX2003" fmla="*/ 7369270 w 9013239"/>
                  <a:gd name="connsiteY2003" fmla="*/ 3154512 h 4936668"/>
                  <a:gd name="connsiteX2004" fmla="*/ 7350209 w 9013239"/>
                  <a:gd name="connsiteY2004" fmla="*/ 3173572 h 4936668"/>
                  <a:gd name="connsiteX2005" fmla="*/ 7340679 w 9013239"/>
                  <a:gd name="connsiteY2005" fmla="*/ 3178336 h 4936668"/>
                  <a:gd name="connsiteX2006" fmla="*/ 7331149 w 9013239"/>
                  <a:gd name="connsiteY2006" fmla="*/ 3187868 h 4936668"/>
                  <a:gd name="connsiteX2007" fmla="*/ 7316853 w 9013239"/>
                  <a:gd name="connsiteY2007" fmla="*/ 3211692 h 4936668"/>
                  <a:gd name="connsiteX2008" fmla="*/ 7312089 w 9013239"/>
                  <a:gd name="connsiteY2008" fmla="*/ 3230756 h 4936668"/>
                  <a:gd name="connsiteX2009" fmla="*/ 7307323 w 9013239"/>
                  <a:gd name="connsiteY2009" fmla="*/ 3249816 h 4936668"/>
                  <a:gd name="connsiteX2010" fmla="*/ 7307323 w 9013239"/>
                  <a:gd name="connsiteY2010" fmla="*/ 3240284 h 4936668"/>
                  <a:gd name="connsiteX2011" fmla="*/ 7307323 w 9013239"/>
                  <a:gd name="connsiteY2011" fmla="*/ 3225988 h 4936668"/>
                  <a:gd name="connsiteX2012" fmla="*/ 7302558 w 9013239"/>
                  <a:gd name="connsiteY2012" fmla="*/ 3206928 h 4936668"/>
                  <a:gd name="connsiteX2013" fmla="*/ 7297793 w 9013239"/>
                  <a:gd name="connsiteY2013" fmla="*/ 3240284 h 4936668"/>
                  <a:gd name="connsiteX2014" fmla="*/ 7293028 w 9013239"/>
                  <a:gd name="connsiteY2014" fmla="*/ 3254580 h 4936668"/>
                  <a:gd name="connsiteX2015" fmla="*/ 7231081 w 9013239"/>
                  <a:gd name="connsiteY2015" fmla="*/ 3254580 h 4936668"/>
                  <a:gd name="connsiteX2016" fmla="*/ 7202491 w 9013239"/>
                  <a:gd name="connsiteY2016" fmla="*/ 3264112 h 4936668"/>
                  <a:gd name="connsiteX2017" fmla="*/ 7164369 w 9013239"/>
                  <a:gd name="connsiteY2017" fmla="*/ 3292700 h 4936668"/>
                  <a:gd name="connsiteX2018" fmla="*/ 7150074 w 9013239"/>
                  <a:gd name="connsiteY2018" fmla="*/ 3302232 h 4936668"/>
                  <a:gd name="connsiteX2019" fmla="*/ 7116718 w 9013239"/>
                  <a:gd name="connsiteY2019" fmla="*/ 3349884 h 4936668"/>
                  <a:gd name="connsiteX2020" fmla="*/ 7107188 w 9013239"/>
                  <a:gd name="connsiteY2020" fmla="*/ 3383240 h 4936668"/>
                  <a:gd name="connsiteX2021" fmla="*/ 7102423 w 9013239"/>
                  <a:gd name="connsiteY2021" fmla="*/ 3368944 h 4936668"/>
                  <a:gd name="connsiteX2022" fmla="*/ 7102423 w 9013239"/>
                  <a:gd name="connsiteY2022" fmla="*/ 3359412 h 4936668"/>
                  <a:gd name="connsiteX2023" fmla="*/ 7102423 w 9013239"/>
                  <a:gd name="connsiteY2023" fmla="*/ 3349884 h 4936668"/>
                  <a:gd name="connsiteX2024" fmla="*/ 7092893 w 9013239"/>
                  <a:gd name="connsiteY2024" fmla="*/ 3368944 h 4936668"/>
                  <a:gd name="connsiteX2025" fmla="*/ 7102423 w 9013239"/>
                  <a:gd name="connsiteY2025" fmla="*/ 3392768 h 4936668"/>
                  <a:gd name="connsiteX2026" fmla="*/ 7092893 w 9013239"/>
                  <a:gd name="connsiteY2026" fmla="*/ 3402300 h 4936668"/>
                  <a:gd name="connsiteX2027" fmla="*/ 7073832 w 9013239"/>
                  <a:gd name="connsiteY2027" fmla="*/ 3421360 h 4936668"/>
                  <a:gd name="connsiteX2028" fmla="*/ 7059537 w 9013239"/>
                  <a:gd name="connsiteY2028" fmla="*/ 3421360 h 4936668"/>
                  <a:gd name="connsiteX2029" fmla="*/ 7045241 w 9013239"/>
                  <a:gd name="connsiteY2029" fmla="*/ 3426124 h 4936668"/>
                  <a:gd name="connsiteX2030" fmla="*/ 7040476 w 9013239"/>
                  <a:gd name="connsiteY2030" fmla="*/ 3445184 h 4936668"/>
                  <a:gd name="connsiteX2031" fmla="*/ 7026181 w 9013239"/>
                  <a:gd name="connsiteY2031" fmla="*/ 3459480 h 4936668"/>
                  <a:gd name="connsiteX2032" fmla="*/ 7011885 w 9013239"/>
                  <a:gd name="connsiteY2032" fmla="*/ 3469012 h 4936668"/>
                  <a:gd name="connsiteX2033" fmla="*/ 6992825 w 9013239"/>
                  <a:gd name="connsiteY2033" fmla="*/ 3464244 h 4936668"/>
                  <a:gd name="connsiteX2034" fmla="*/ 6997590 w 9013239"/>
                  <a:gd name="connsiteY2034" fmla="*/ 3478540 h 4936668"/>
                  <a:gd name="connsiteX2035" fmla="*/ 6992825 w 9013239"/>
                  <a:gd name="connsiteY2035" fmla="*/ 3488072 h 4936668"/>
                  <a:gd name="connsiteX2036" fmla="*/ 6978529 w 9013239"/>
                  <a:gd name="connsiteY2036" fmla="*/ 3497600 h 4936668"/>
                  <a:gd name="connsiteX2037" fmla="*/ 6964234 w 9013239"/>
                  <a:gd name="connsiteY2037" fmla="*/ 3502368 h 4936668"/>
                  <a:gd name="connsiteX2038" fmla="*/ 6954704 w 9013239"/>
                  <a:gd name="connsiteY2038" fmla="*/ 3502368 h 4936668"/>
                  <a:gd name="connsiteX2039" fmla="*/ 6945173 w 9013239"/>
                  <a:gd name="connsiteY2039" fmla="*/ 3507132 h 4936668"/>
                  <a:gd name="connsiteX2040" fmla="*/ 6940409 w 9013239"/>
                  <a:gd name="connsiteY2040" fmla="*/ 3511896 h 4936668"/>
                  <a:gd name="connsiteX2041" fmla="*/ 6926113 w 9013239"/>
                  <a:gd name="connsiteY2041" fmla="*/ 3521428 h 4936668"/>
                  <a:gd name="connsiteX2042" fmla="*/ 6911817 w 9013239"/>
                  <a:gd name="connsiteY2042" fmla="*/ 3516660 h 4936668"/>
                  <a:gd name="connsiteX2043" fmla="*/ 6892757 w 9013239"/>
                  <a:gd name="connsiteY2043" fmla="*/ 3511896 h 4936668"/>
                  <a:gd name="connsiteX2044" fmla="*/ 6883227 w 9013239"/>
                  <a:gd name="connsiteY2044" fmla="*/ 3516660 h 4936668"/>
                  <a:gd name="connsiteX2045" fmla="*/ 6897523 w 9013239"/>
                  <a:gd name="connsiteY2045" fmla="*/ 3526192 h 4936668"/>
                  <a:gd name="connsiteX2046" fmla="*/ 6907053 w 9013239"/>
                  <a:gd name="connsiteY2046" fmla="*/ 3535724 h 4936668"/>
                  <a:gd name="connsiteX2047" fmla="*/ 6907053 w 9013239"/>
                  <a:gd name="connsiteY2047" fmla="*/ 3545252 h 4936668"/>
                  <a:gd name="connsiteX2048" fmla="*/ 6902287 w 9013239"/>
                  <a:gd name="connsiteY2048" fmla="*/ 3554784 h 4936668"/>
                  <a:gd name="connsiteX2049" fmla="*/ 6892757 w 9013239"/>
                  <a:gd name="connsiteY2049" fmla="*/ 3559548 h 4936668"/>
                  <a:gd name="connsiteX2050" fmla="*/ 6887992 w 9013239"/>
                  <a:gd name="connsiteY2050" fmla="*/ 3559548 h 4936668"/>
                  <a:gd name="connsiteX2051" fmla="*/ 6883227 w 9013239"/>
                  <a:gd name="connsiteY2051" fmla="*/ 3554784 h 4936668"/>
                  <a:gd name="connsiteX2052" fmla="*/ 6883227 w 9013239"/>
                  <a:gd name="connsiteY2052" fmla="*/ 3540488 h 4936668"/>
                  <a:gd name="connsiteX2053" fmla="*/ 6878462 w 9013239"/>
                  <a:gd name="connsiteY2053" fmla="*/ 3540488 h 4936668"/>
                  <a:gd name="connsiteX2054" fmla="*/ 6873697 w 9013239"/>
                  <a:gd name="connsiteY2054" fmla="*/ 3550016 h 4936668"/>
                  <a:gd name="connsiteX2055" fmla="*/ 6854636 w 9013239"/>
                  <a:gd name="connsiteY2055" fmla="*/ 3530956 h 4936668"/>
                  <a:gd name="connsiteX2056" fmla="*/ 6859401 w 9013239"/>
                  <a:gd name="connsiteY2056" fmla="*/ 3545252 h 4936668"/>
                  <a:gd name="connsiteX2057" fmla="*/ 6864167 w 9013239"/>
                  <a:gd name="connsiteY2057" fmla="*/ 3559548 h 4936668"/>
                  <a:gd name="connsiteX2058" fmla="*/ 6868931 w 9013239"/>
                  <a:gd name="connsiteY2058" fmla="*/ 3564312 h 4936668"/>
                  <a:gd name="connsiteX2059" fmla="*/ 6873697 w 9013239"/>
                  <a:gd name="connsiteY2059" fmla="*/ 3569080 h 4936668"/>
                  <a:gd name="connsiteX2060" fmla="*/ 6873697 w 9013239"/>
                  <a:gd name="connsiteY2060" fmla="*/ 3573844 h 4936668"/>
                  <a:gd name="connsiteX2061" fmla="*/ 6864167 w 9013239"/>
                  <a:gd name="connsiteY2061" fmla="*/ 3588140 h 4936668"/>
                  <a:gd name="connsiteX2062" fmla="*/ 6859401 w 9013239"/>
                  <a:gd name="connsiteY2062" fmla="*/ 3588140 h 4936668"/>
                  <a:gd name="connsiteX2063" fmla="*/ 6849871 w 9013239"/>
                  <a:gd name="connsiteY2063" fmla="*/ 3592904 h 4936668"/>
                  <a:gd name="connsiteX2064" fmla="*/ 6845106 w 9013239"/>
                  <a:gd name="connsiteY2064" fmla="*/ 3597668 h 4936668"/>
                  <a:gd name="connsiteX2065" fmla="*/ 6845106 w 9013239"/>
                  <a:gd name="connsiteY2065" fmla="*/ 3607200 h 4936668"/>
                  <a:gd name="connsiteX2066" fmla="*/ 6835575 w 9013239"/>
                  <a:gd name="connsiteY2066" fmla="*/ 3621496 h 4936668"/>
                  <a:gd name="connsiteX2067" fmla="*/ 6816515 w 9013239"/>
                  <a:gd name="connsiteY2067" fmla="*/ 3631024 h 4936668"/>
                  <a:gd name="connsiteX2068" fmla="*/ 6811750 w 9013239"/>
                  <a:gd name="connsiteY2068" fmla="*/ 3631024 h 4936668"/>
                  <a:gd name="connsiteX2069" fmla="*/ 6806985 w 9013239"/>
                  <a:gd name="connsiteY2069" fmla="*/ 3635792 h 4936668"/>
                  <a:gd name="connsiteX2070" fmla="*/ 6811750 w 9013239"/>
                  <a:gd name="connsiteY2070" fmla="*/ 3640556 h 4936668"/>
                  <a:gd name="connsiteX2071" fmla="*/ 6816515 w 9013239"/>
                  <a:gd name="connsiteY2071" fmla="*/ 3645320 h 4936668"/>
                  <a:gd name="connsiteX2072" fmla="*/ 6816515 w 9013239"/>
                  <a:gd name="connsiteY2072" fmla="*/ 3650084 h 4936668"/>
                  <a:gd name="connsiteX2073" fmla="*/ 6811750 w 9013239"/>
                  <a:gd name="connsiteY2073" fmla="*/ 3659616 h 4936668"/>
                  <a:gd name="connsiteX2074" fmla="*/ 6802220 w 9013239"/>
                  <a:gd name="connsiteY2074" fmla="*/ 3659616 h 4936668"/>
                  <a:gd name="connsiteX2075" fmla="*/ 6797455 w 9013239"/>
                  <a:gd name="connsiteY2075" fmla="*/ 3669144 h 4936668"/>
                  <a:gd name="connsiteX2076" fmla="*/ 6797455 w 9013239"/>
                  <a:gd name="connsiteY2076" fmla="*/ 3673912 h 4936668"/>
                  <a:gd name="connsiteX2077" fmla="*/ 6802220 w 9013239"/>
                  <a:gd name="connsiteY2077" fmla="*/ 3678676 h 4936668"/>
                  <a:gd name="connsiteX2078" fmla="*/ 6797455 w 9013239"/>
                  <a:gd name="connsiteY2078" fmla="*/ 3683440 h 4936668"/>
                  <a:gd name="connsiteX2079" fmla="*/ 6787925 w 9013239"/>
                  <a:gd name="connsiteY2079" fmla="*/ 3692972 h 4936668"/>
                  <a:gd name="connsiteX2080" fmla="*/ 6783159 w 9013239"/>
                  <a:gd name="connsiteY2080" fmla="*/ 3697736 h 4936668"/>
                  <a:gd name="connsiteX2081" fmla="*/ 6792689 w 9013239"/>
                  <a:gd name="connsiteY2081" fmla="*/ 3697736 h 4936668"/>
                  <a:gd name="connsiteX2082" fmla="*/ 6797455 w 9013239"/>
                  <a:gd name="connsiteY2082" fmla="*/ 3697736 h 4936668"/>
                  <a:gd name="connsiteX2083" fmla="*/ 6792689 w 9013239"/>
                  <a:gd name="connsiteY2083" fmla="*/ 3712032 h 4936668"/>
                  <a:gd name="connsiteX2084" fmla="*/ 6783159 w 9013239"/>
                  <a:gd name="connsiteY2084" fmla="*/ 3716796 h 4936668"/>
                  <a:gd name="connsiteX2085" fmla="*/ 6778394 w 9013239"/>
                  <a:gd name="connsiteY2085" fmla="*/ 3726328 h 4936668"/>
                  <a:gd name="connsiteX2086" fmla="*/ 6764099 w 9013239"/>
                  <a:gd name="connsiteY2086" fmla="*/ 3731092 h 4936668"/>
                  <a:gd name="connsiteX2087" fmla="*/ 6768864 w 9013239"/>
                  <a:gd name="connsiteY2087" fmla="*/ 3735856 h 4936668"/>
                  <a:gd name="connsiteX2088" fmla="*/ 6773629 w 9013239"/>
                  <a:gd name="connsiteY2088" fmla="*/ 3740624 h 4936668"/>
                  <a:gd name="connsiteX2089" fmla="*/ 6783159 w 9013239"/>
                  <a:gd name="connsiteY2089" fmla="*/ 3750152 h 4936668"/>
                  <a:gd name="connsiteX2090" fmla="*/ 6768864 w 9013239"/>
                  <a:gd name="connsiteY2090" fmla="*/ 3764448 h 4936668"/>
                  <a:gd name="connsiteX2091" fmla="*/ 6759333 w 9013239"/>
                  <a:gd name="connsiteY2091" fmla="*/ 3764448 h 4936668"/>
                  <a:gd name="connsiteX2092" fmla="*/ 6759333 w 9013239"/>
                  <a:gd name="connsiteY2092" fmla="*/ 3759684 h 4936668"/>
                  <a:gd name="connsiteX2093" fmla="*/ 6754569 w 9013239"/>
                  <a:gd name="connsiteY2093" fmla="*/ 3773980 h 4936668"/>
                  <a:gd name="connsiteX2094" fmla="*/ 6754569 w 9013239"/>
                  <a:gd name="connsiteY2094" fmla="*/ 3778744 h 4936668"/>
                  <a:gd name="connsiteX2095" fmla="*/ 6754569 w 9013239"/>
                  <a:gd name="connsiteY2095" fmla="*/ 3793040 h 4936668"/>
                  <a:gd name="connsiteX2096" fmla="*/ 6749803 w 9013239"/>
                  <a:gd name="connsiteY2096" fmla="*/ 3812100 h 4936668"/>
                  <a:gd name="connsiteX2097" fmla="*/ 6745038 w 9013239"/>
                  <a:gd name="connsiteY2097" fmla="*/ 3816864 h 4936668"/>
                  <a:gd name="connsiteX2098" fmla="*/ 6745038 w 9013239"/>
                  <a:gd name="connsiteY2098" fmla="*/ 3831160 h 4936668"/>
                  <a:gd name="connsiteX2099" fmla="*/ 6745038 w 9013239"/>
                  <a:gd name="connsiteY2099" fmla="*/ 3845456 h 4936668"/>
                  <a:gd name="connsiteX2100" fmla="*/ 6754569 w 9013239"/>
                  <a:gd name="connsiteY2100" fmla="*/ 3859752 h 4936668"/>
                  <a:gd name="connsiteX2101" fmla="*/ 6764099 w 9013239"/>
                  <a:gd name="connsiteY2101" fmla="*/ 3926464 h 4936668"/>
                  <a:gd name="connsiteX2102" fmla="*/ 6773629 w 9013239"/>
                  <a:gd name="connsiteY2102" fmla="*/ 3950288 h 4936668"/>
                  <a:gd name="connsiteX2103" fmla="*/ 6787925 w 9013239"/>
                  <a:gd name="connsiteY2103" fmla="*/ 4012236 h 4936668"/>
                  <a:gd name="connsiteX2104" fmla="*/ 6806985 w 9013239"/>
                  <a:gd name="connsiteY2104" fmla="*/ 4074180 h 4936668"/>
                  <a:gd name="connsiteX2105" fmla="*/ 6840341 w 9013239"/>
                  <a:gd name="connsiteY2105" fmla="*/ 4145660 h 4936668"/>
                  <a:gd name="connsiteX2106" fmla="*/ 6892757 w 9013239"/>
                  <a:gd name="connsiteY2106" fmla="*/ 4236196 h 4936668"/>
                  <a:gd name="connsiteX2107" fmla="*/ 6902287 w 9013239"/>
                  <a:gd name="connsiteY2107" fmla="*/ 4245728 h 4936668"/>
                  <a:gd name="connsiteX2108" fmla="*/ 6892757 w 9013239"/>
                  <a:gd name="connsiteY2108" fmla="*/ 4260020 h 4936668"/>
                  <a:gd name="connsiteX2109" fmla="*/ 6892757 w 9013239"/>
                  <a:gd name="connsiteY2109" fmla="*/ 4269552 h 4936668"/>
                  <a:gd name="connsiteX2110" fmla="*/ 6892757 w 9013239"/>
                  <a:gd name="connsiteY2110" fmla="*/ 4283848 h 4936668"/>
                  <a:gd name="connsiteX2111" fmla="*/ 6892757 w 9013239"/>
                  <a:gd name="connsiteY2111" fmla="*/ 4302908 h 4936668"/>
                  <a:gd name="connsiteX2112" fmla="*/ 6897523 w 9013239"/>
                  <a:gd name="connsiteY2112" fmla="*/ 4321968 h 4936668"/>
                  <a:gd name="connsiteX2113" fmla="*/ 6911817 w 9013239"/>
                  <a:gd name="connsiteY2113" fmla="*/ 4350560 h 4936668"/>
                  <a:gd name="connsiteX2114" fmla="*/ 6902287 w 9013239"/>
                  <a:gd name="connsiteY2114" fmla="*/ 4345796 h 4936668"/>
                  <a:gd name="connsiteX2115" fmla="*/ 6887992 w 9013239"/>
                  <a:gd name="connsiteY2115" fmla="*/ 4302908 h 4936668"/>
                  <a:gd name="connsiteX2116" fmla="*/ 6883227 w 9013239"/>
                  <a:gd name="connsiteY2116" fmla="*/ 4279084 h 4936668"/>
                  <a:gd name="connsiteX2117" fmla="*/ 6887992 w 9013239"/>
                  <a:gd name="connsiteY2117" fmla="*/ 4240960 h 4936668"/>
                  <a:gd name="connsiteX2118" fmla="*/ 6883227 w 9013239"/>
                  <a:gd name="connsiteY2118" fmla="*/ 4240960 h 4936668"/>
                  <a:gd name="connsiteX2119" fmla="*/ 6878462 w 9013239"/>
                  <a:gd name="connsiteY2119" fmla="*/ 4255256 h 4936668"/>
                  <a:gd name="connsiteX2120" fmla="*/ 6878462 w 9013239"/>
                  <a:gd name="connsiteY2120" fmla="*/ 4269552 h 4936668"/>
                  <a:gd name="connsiteX2121" fmla="*/ 6873697 w 9013239"/>
                  <a:gd name="connsiteY2121" fmla="*/ 4274316 h 4936668"/>
                  <a:gd name="connsiteX2122" fmla="*/ 6868931 w 9013239"/>
                  <a:gd name="connsiteY2122" fmla="*/ 4250492 h 4936668"/>
                  <a:gd name="connsiteX2123" fmla="*/ 6868931 w 9013239"/>
                  <a:gd name="connsiteY2123" fmla="*/ 4240960 h 4936668"/>
                  <a:gd name="connsiteX2124" fmla="*/ 6873697 w 9013239"/>
                  <a:gd name="connsiteY2124" fmla="*/ 4231432 h 4936668"/>
                  <a:gd name="connsiteX2125" fmla="*/ 6873697 w 9013239"/>
                  <a:gd name="connsiteY2125" fmla="*/ 4226664 h 4936668"/>
                  <a:gd name="connsiteX2126" fmla="*/ 6864167 w 9013239"/>
                  <a:gd name="connsiteY2126" fmla="*/ 4221900 h 4936668"/>
                  <a:gd name="connsiteX2127" fmla="*/ 6859401 w 9013239"/>
                  <a:gd name="connsiteY2127" fmla="*/ 4212372 h 4936668"/>
                  <a:gd name="connsiteX2128" fmla="*/ 6859401 w 9013239"/>
                  <a:gd name="connsiteY2128" fmla="*/ 4202840 h 4936668"/>
                  <a:gd name="connsiteX2129" fmla="*/ 6854636 w 9013239"/>
                  <a:gd name="connsiteY2129" fmla="*/ 4198076 h 4936668"/>
                  <a:gd name="connsiteX2130" fmla="*/ 6849871 w 9013239"/>
                  <a:gd name="connsiteY2130" fmla="*/ 4198076 h 4936668"/>
                  <a:gd name="connsiteX2131" fmla="*/ 6854636 w 9013239"/>
                  <a:gd name="connsiteY2131" fmla="*/ 4221900 h 4936668"/>
                  <a:gd name="connsiteX2132" fmla="*/ 6859401 w 9013239"/>
                  <a:gd name="connsiteY2132" fmla="*/ 4236196 h 4936668"/>
                  <a:gd name="connsiteX2133" fmla="*/ 6864167 w 9013239"/>
                  <a:gd name="connsiteY2133" fmla="*/ 4264788 h 4936668"/>
                  <a:gd name="connsiteX2134" fmla="*/ 6873697 w 9013239"/>
                  <a:gd name="connsiteY2134" fmla="*/ 4283848 h 4936668"/>
                  <a:gd name="connsiteX2135" fmla="*/ 6878462 w 9013239"/>
                  <a:gd name="connsiteY2135" fmla="*/ 4302908 h 4936668"/>
                  <a:gd name="connsiteX2136" fmla="*/ 6945173 w 9013239"/>
                  <a:gd name="connsiteY2136" fmla="*/ 4474452 h 4936668"/>
                  <a:gd name="connsiteX2137" fmla="*/ 6964234 w 9013239"/>
                  <a:gd name="connsiteY2137" fmla="*/ 4498280 h 4936668"/>
                  <a:gd name="connsiteX2138" fmla="*/ 6968999 w 9013239"/>
                  <a:gd name="connsiteY2138" fmla="*/ 4512572 h 4936668"/>
                  <a:gd name="connsiteX2139" fmla="*/ 6973765 w 9013239"/>
                  <a:gd name="connsiteY2139" fmla="*/ 4545928 h 4936668"/>
                  <a:gd name="connsiteX2140" fmla="*/ 6973765 w 9013239"/>
                  <a:gd name="connsiteY2140" fmla="*/ 4584052 h 4936668"/>
                  <a:gd name="connsiteX2141" fmla="*/ 6964234 w 9013239"/>
                  <a:gd name="connsiteY2141" fmla="*/ 4660292 h 4936668"/>
                  <a:gd name="connsiteX2142" fmla="*/ 6964234 w 9013239"/>
                  <a:gd name="connsiteY2142" fmla="*/ 4712708 h 4936668"/>
                  <a:gd name="connsiteX2143" fmla="*/ 6959469 w 9013239"/>
                  <a:gd name="connsiteY2143" fmla="*/ 4712708 h 4936668"/>
                  <a:gd name="connsiteX2144" fmla="*/ 6959469 w 9013239"/>
                  <a:gd name="connsiteY2144" fmla="*/ 4707944 h 4936668"/>
                  <a:gd name="connsiteX2145" fmla="*/ 6949939 w 9013239"/>
                  <a:gd name="connsiteY2145" fmla="*/ 4731768 h 4936668"/>
                  <a:gd name="connsiteX2146" fmla="*/ 6935643 w 9013239"/>
                  <a:gd name="connsiteY2146" fmla="*/ 4750828 h 4936668"/>
                  <a:gd name="connsiteX2147" fmla="*/ 6930878 w 9013239"/>
                  <a:gd name="connsiteY2147" fmla="*/ 4784184 h 4936668"/>
                  <a:gd name="connsiteX2148" fmla="*/ 6926113 w 9013239"/>
                  <a:gd name="connsiteY2148" fmla="*/ 4798480 h 4936668"/>
                  <a:gd name="connsiteX2149" fmla="*/ 6907053 w 9013239"/>
                  <a:gd name="connsiteY2149" fmla="*/ 4817540 h 4936668"/>
                  <a:gd name="connsiteX2150" fmla="*/ 6897523 w 9013239"/>
                  <a:gd name="connsiteY2150" fmla="*/ 4817540 h 4936668"/>
                  <a:gd name="connsiteX2151" fmla="*/ 6868931 w 9013239"/>
                  <a:gd name="connsiteY2151" fmla="*/ 4831836 h 4936668"/>
                  <a:gd name="connsiteX2152" fmla="*/ 6845106 w 9013239"/>
                  <a:gd name="connsiteY2152" fmla="*/ 4827072 h 4936668"/>
                  <a:gd name="connsiteX2153" fmla="*/ 6826045 w 9013239"/>
                  <a:gd name="connsiteY2153" fmla="*/ 4836604 h 4936668"/>
                  <a:gd name="connsiteX2154" fmla="*/ 6806985 w 9013239"/>
                  <a:gd name="connsiteY2154" fmla="*/ 4831836 h 4936668"/>
                  <a:gd name="connsiteX2155" fmla="*/ 6797455 w 9013239"/>
                  <a:gd name="connsiteY2155" fmla="*/ 4817540 h 4936668"/>
                  <a:gd name="connsiteX2156" fmla="*/ 6802220 w 9013239"/>
                  <a:gd name="connsiteY2156" fmla="*/ 4812776 h 4936668"/>
                  <a:gd name="connsiteX2157" fmla="*/ 6802220 w 9013239"/>
                  <a:gd name="connsiteY2157" fmla="*/ 4803248 h 4936668"/>
                  <a:gd name="connsiteX2158" fmla="*/ 6811750 w 9013239"/>
                  <a:gd name="connsiteY2158" fmla="*/ 4803248 h 4936668"/>
                  <a:gd name="connsiteX2159" fmla="*/ 6830811 w 9013239"/>
                  <a:gd name="connsiteY2159" fmla="*/ 4817540 h 4936668"/>
                  <a:gd name="connsiteX2160" fmla="*/ 6835575 w 9013239"/>
                  <a:gd name="connsiteY2160" fmla="*/ 4812776 h 4936668"/>
                  <a:gd name="connsiteX2161" fmla="*/ 6830811 w 9013239"/>
                  <a:gd name="connsiteY2161" fmla="*/ 4803248 h 4936668"/>
                  <a:gd name="connsiteX2162" fmla="*/ 6816515 w 9013239"/>
                  <a:gd name="connsiteY2162" fmla="*/ 4798480 h 4936668"/>
                  <a:gd name="connsiteX2163" fmla="*/ 6806985 w 9013239"/>
                  <a:gd name="connsiteY2163" fmla="*/ 4793716 h 4936668"/>
                  <a:gd name="connsiteX2164" fmla="*/ 6792689 w 9013239"/>
                  <a:gd name="connsiteY2164" fmla="*/ 4755596 h 4936668"/>
                  <a:gd name="connsiteX2165" fmla="*/ 6773629 w 9013239"/>
                  <a:gd name="connsiteY2165" fmla="*/ 4731768 h 4936668"/>
                  <a:gd name="connsiteX2166" fmla="*/ 6768864 w 9013239"/>
                  <a:gd name="connsiteY2166" fmla="*/ 4712708 h 4936668"/>
                  <a:gd name="connsiteX2167" fmla="*/ 6735508 w 9013239"/>
                  <a:gd name="connsiteY2167" fmla="*/ 4703180 h 4936668"/>
                  <a:gd name="connsiteX2168" fmla="*/ 6716447 w 9013239"/>
                  <a:gd name="connsiteY2168" fmla="*/ 4688884 h 4936668"/>
                  <a:gd name="connsiteX2169" fmla="*/ 6697387 w 9013239"/>
                  <a:gd name="connsiteY2169" fmla="*/ 4660292 h 4936668"/>
                  <a:gd name="connsiteX2170" fmla="*/ 6692622 w 9013239"/>
                  <a:gd name="connsiteY2170" fmla="*/ 4607876 h 4936668"/>
                  <a:gd name="connsiteX2171" fmla="*/ 6678327 w 9013239"/>
                  <a:gd name="connsiteY2171" fmla="*/ 4603112 h 4936668"/>
                  <a:gd name="connsiteX2172" fmla="*/ 6678327 w 9013239"/>
                  <a:gd name="connsiteY2172" fmla="*/ 4598344 h 4936668"/>
                  <a:gd name="connsiteX2173" fmla="*/ 6687857 w 9013239"/>
                  <a:gd name="connsiteY2173" fmla="*/ 4579284 h 4936668"/>
                  <a:gd name="connsiteX2174" fmla="*/ 6697387 w 9013239"/>
                  <a:gd name="connsiteY2174" fmla="*/ 4564992 h 4936668"/>
                  <a:gd name="connsiteX2175" fmla="*/ 6687857 w 9013239"/>
                  <a:gd name="connsiteY2175" fmla="*/ 4569756 h 4936668"/>
                  <a:gd name="connsiteX2176" fmla="*/ 6683091 w 9013239"/>
                  <a:gd name="connsiteY2176" fmla="*/ 4574520 h 4936668"/>
                  <a:gd name="connsiteX2177" fmla="*/ 6673561 w 9013239"/>
                  <a:gd name="connsiteY2177" fmla="*/ 4588816 h 4936668"/>
                  <a:gd name="connsiteX2178" fmla="*/ 6668796 w 9013239"/>
                  <a:gd name="connsiteY2178" fmla="*/ 4588816 h 4936668"/>
                  <a:gd name="connsiteX2179" fmla="*/ 6664031 w 9013239"/>
                  <a:gd name="connsiteY2179" fmla="*/ 4588816 h 4936668"/>
                  <a:gd name="connsiteX2180" fmla="*/ 6659266 w 9013239"/>
                  <a:gd name="connsiteY2180" fmla="*/ 4560224 h 4936668"/>
                  <a:gd name="connsiteX2181" fmla="*/ 6659266 w 9013239"/>
                  <a:gd name="connsiteY2181" fmla="*/ 4531636 h 4936668"/>
                  <a:gd name="connsiteX2182" fmla="*/ 6668796 w 9013239"/>
                  <a:gd name="connsiteY2182" fmla="*/ 4517340 h 4936668"/>
                  <a:gd name="connsiteX2183" fmla="*/ 6654501 w 9013239"/>
                  <a:gd name="connsiteY2183" fmla="*/ 4517340 h 4936668"/>
                  <a:gd name="connsiteX2184" fmla="*/ 6640205 w 9013239"/>
                  <a:gd name="connsiteY2184" fmla="*/ 4522104 h 4936668"/>
                  <a:gd name="connsiteX2185" fmla="*/ 6644971 w 9013239"/>
                  <a:gd name="connsiteY2185" fmla="*/ 4531636 h 4936668"/>
                  <a:gd name="connsiteX2186" fmla="*/ 6640205 w 9013239"/>
                  <a:gd name="connsiteY2186" fmla="*/ 4536400 h 4936668"/>
                  <a:gd name="connsiteX2187" fmla="*/ 6630675 w 9013239"/>
                  <a:gd name="connsiteY2187" fmla="*/ 4536400 h 4936668"/>
                  <a:gd name="connsiteX2188" fmla="*/ 6625910 w 9013239"/>
                  <a:gd name="connsiteY2188" fmla="*/ 4531636 h 4936668"/>
                  <a:gd name="connsiteX2189" fmla="*/ 6616380 w 9013239"/>
                  <a:gd name="connsiteY2189" fmla="*/ 4522104 h 4936668"/>
                  <a:gd name="connsiteX2190" fmla="*/ 6602085 w 9013239"/>
                  <a:gd name="connsiteY2190" fmla="*/ 4498280 h 4936668"/>
                  <a:gd name="connsiteX2191" fmla="*/ 6573493 w 9013239"/>
                  <a:gd name="connsiteY2191" fmla="*/ 4441096 h 4936668"/>
                  <a:gd name="connsiteX2192" fmla="*/ 6568729 w 9013239"/>
                  <a:gd name="connsiteY2192" fmla="*/ 4431568 h 4936668"/>
                  <a:gd name="connsiteX2193" fmla="*/ 6559198 w 9013239"/>
                  <a:gd name="connsiteY2193" fmla="*/ 4422036 h 4936668"/>
                  <a:gd name="connsiteX2194" fmla="*/ 6563963 w 9013239"/>
                  <a:gd name="connsiteY2194" fmla="*/ 4422036 h 4936668"/>
                  <a:gd name="connsiteX2195" fmla="*/ 6568729 w 9013239"/>
                  <a:gd name="connsiteY2195" fmla="*/ 4417272 h 4936668"/>
                  <a:gd name="connsiteX2196" fmla="*/ 6587789 w 9013239"/>
                  <a:gd name="connsiteY2196" fmla="*/ 4393444 h 4936668"/>
                  <a:gd name="connsiteX2197" fmla="*/ 6602085 w 9013239"/>
                  <a:gd name="connsiteY2197" fmla="*/ 4374384 h 4936668"/>
                  <a:gd name="connsiteX2198" fmla="*/ 6606849 w 9013239"/>
                  <a:gd name="connsiteY2198" fmla="*/ 4364856 h 4936668"/>
                  <a:gd name="connsiteX2199" fmla="*/ 6606849 w 9013239"/>
                  <a:gd name="connsiteY2199" fmla="*/ 4360088 h 4936668"/>
                  <a:gd name="connsiteX2200" fmla="*/ 6602085 w 9013239"/>
                  <a:gd name="connsiteY2200" fmla="*/ 4350560 h 4936668"/>
                  <a:gd name="connsiteX2201" fmla="*/ 6592554 w 9013239"/>
                  <a:gd name="connsiteY2201" fmla="*/ 4360088 h 4936668"/>
                  <a:gd name="connsiteX2202" fmla="*/ 6587789 w 9013239"/>
                  <a:gd name="connsiteY2202" fmla="*/ 4355324 h 4936668"/>
                  <a:gd name="connsiteX2203" fmla="*/ 6578259 w 9013239"/>
                  <a:gd name="connsiteY2203" fmla="*/ 4341028 h 4936668"/>
                  <a:gd name="connsiteX2204" fmla="*/ 6568729 w 9013239"/>
                  <a:gd name="connsiteY2204" fmla="*/ 4336264 h 4936668"/>
                  <a:gd name="connsiteX2205" fmla="*/ 6563963 w 9013239"/>
                  <a:gd name="connsiteY2205" fmla="*/ 4341028 h 4936668"/>
                  <a:gd name="connsiteX2206" fmla="*/ 6568729 w 9013239"/>
                  <a:gd name="connsiteY2206" fmla="*/ 4350560 h 4936668"/>
                  <a:gd name="connsiteX2207" fmla="*/ 6578259 w 9013239"/>
                  <a:gd name="connsiteY2207" fmla="*/ 4355324 h 4936668"/>
                  <a:gd name="connsiteX2208" fmla="*/ 6573493 w 9013239"/>
                  <a:gd name="connsiteY2208" fmla="*/ 4374384 h 4936668"/>
                  <a:gd name="connsiteX2209" fmla="*/ 6573493 w 9013239"/>
                  <a:gd name="connsiteY2209" fmla="*/ 4379152 h 4936668"/>
                  <a:gd name="connsiteX2210" fmla="*/ 6568729 w 9013239"/>
                  <a:gd name="connsiteY2210" fmla="*/ 4383916 h 4936668"/>
                  <a:gd name="connsiteX2211" fmla="*/ 6559198 w 9013239"/>
                  <a:gd name="connsiteY2211" fmla="*/ 4379152 h 4936668"/>
                  <a:gd name="connsiteX2212" fmla="*/ 6554433 w 9013239"/>
                  <a:gd name="connsiteY2212" fmla="*/ 4383916 h 4936668"/>
                  <a:gd name="connsiteX2213" fmla="*/ 6549668 w 9013239"/>
                  <a:gd name="connsiteY2213" fmla="*/ 4379152 h 4936668"/>
                  <a:gd name="connsiteX2214" fmla="*/ 6544903 w 9013239"/>
                  <a:gd name="connsiteY2214" fmla="*/ 4374384 h 4936668"/>
                  <a:gd name="connsiteX2215" fmla="*/ 6540137 w 9013239"/>
                  <a:gd name="connsiteY2215" fmla="*/ 4360088 h 4936668"/>
                  <a:gd name="connsiteX2216" fmla="*/ 6554433 w 9013239"/>
                  <a:gd name="connsiteY2216" fmla="*/ 4293376 h 4936668"/>
                  <a:gd name="connsiteX2217" fmla="*/ 6568729 w 9013239"/>
                  <a:gd name="connsiteY2217" fmla="*/ 4245728 h 4936668"/>
                  <a:gd name="connsiteX2218" fmla="*/ 6568729 w 9013239"/>
                  <a:gd name="connsiteY2218" fmla="*/ 4198076 h 4936668"/>
                  <a:gd name="connsiteX2219" fmla="*/ 6568729 w 9013239"/>
                  <a:gd name="connsiteY2219" fmla="*/ 4188544 h 4936668"/>
                  <a:gd name="connsiteX2220" fmla="*/ 6568729 w 9013239"/>
                  <a:gd name="connsiteY2220" fmla="*/ 4179016 h 4936668"/>
                  <a:gd name="connsiteX2221" fmla="*/ 6549668 w 9013239"/>
                  <a:gd name="connsiteY2221" fmla="*/ 4145660 h 4936668"/>
                  <a:gd name="connsiteX2222" fmla="*/ 6468661 w 9013239"/>
                  <a:gd name="connsiteY2222" fmla="*/ 4074180 h 4936668"/>
                  <a:gd name="connsiteX2223" fmla="*/ 6406714 w 9013239"/>
                  <a:gd name="connsiteY2223" fmla="*/ 3988408 h 4936668"/>
                  <a:gd name="connsiteX2224" fmla="*/ 6349533 w 9013239"/>
                  <a:gd name="connsiteY2224" fmla="*/ 3959820 h 4936668"/>
                  <a:gd name="connsiteX2225" fmla="*/ 6311411 w 9013239"/>
                  <a:gd name="connsiteY2225" fmla="*/ 3964584 h 4936668"/>
                  <a:gd name="connsiteX2226" fmla="*/ 6301881 w 9013239"/>
                  <a:gd name="connsiteY2226" fmla="*/ 3974116 h 4936668"/>
                  <a:gd name="connsiteX2227" fmla="*/ 6297116 w 9013239"/>
                  <a:gd name="connsiteY2227" fmla="*/ 3978880 h 4936668"/>
                  <a:gd name="connsiteX2228" fmla="*/ 6301881 w 9013239"/>
                  <a:gd name="connsiteY2228" fmla="*/ 3988408 h 4936668"/>
                  <a:gd name="connsiteX2229" fmla="*/ 6297116 w 9013239"/>
                  <a:gd name="connsiteY2229" fmla="*/ 3993176 h 4936668"/>
                  <a:gd name="connsiteX2230" fmla="*/ 6287586 w 9013239"/>
                  <a:gd name="connsiteY2230" fmla="*/ 3993176 h 4936668"/>
                  <a:gd name="connsiteX2231" fmla="*/ 6273291 w 9013239"/>
                  <a:gd name="connsiteY2231" fmla="*/ 3993176 h 4936668"/>
                  <a:gd name="connsiteX2232" fmla="*/ 6230405 w 9013239"/>
                  <a:gd name="connsiteY2232" fmla="*/ 4017000 h 4936668"/>
                  <a:gd name="connsiteX2233" fmla="*/ 6216109 w 9013239"/>
                  <a:gd name="connsiteY2233" fmla="*/ 4017000 h 4936668"/>
                  <a:gd name="connsiteX2234" fmla="*/ 6206579 w 9013239"/>
                  <a:gd name="connsiteY2234" fmla="*/ 4021764 h 4936668"/>
                  <a:gd name="connsiteX2235" fmla="*/ 6197049 w 9013239"/>
                  <a:gd name="connsiteY2235" fmla="*/ 4026532 h 4936668"/>
                  <a:gd name="connsiteX2236" fmla="*/ 6173223 w 9013239"/>
                  <a:gd name="connsiteY2236" fmla="*/ 4031296 h 4936668"/>
                  <a:gd name="connsiteX2237" fmla="*/ 6149397 w 9013239"/>
                  <a:gd name="connsiteY2237" fmla="*/ 4036060 h 4936668"/>
                  <a:gd name="connsiteX2238" fmla="*/ 6139867 w 9013239"/>
                  <a:gd name="connsiteY2238" fmla="*/ 4031296 h 4936668"/>
                  <a:gd name="connsiteX2239" fmla="*/ 6135102 w 9013239"/>
                  <a:gd name="connsiteY2239" fmla="*/ 4017000 h 4936668"/>
                  <a:gd name="connsiteX2240" fmla="*/ 6135102 w 9013239"/>
                  <a:gd name="connsiteY2240" fmla="*/ 4007472 h 4936668"/>
                  <a:gd name="connsiteX2241" fmla="*/ 6139867 w 9013239"/>
                  <a:gd name="connsiteY2241" fmla="*/ 4017000 h 4936668"/>
                  <a:gd name="connsiteX2242" fmla="*/ 6149397 w 9013239"/>
                  <a:gd name="connsiteY2242" fmla="*/ 4021764 h 4936668"/>
                  <a:gd name="connsiteX2243" fmla="*/ 6154163 w 9013239"/>
                  <a:gd name="connsiteY2243" fmla="*/ 4021764 h 4936668"/>
                  <a:gd name="connsiteX2244" fmla="*/ 6154163 w 9013239"/>
                  <a:gd name="connsiteY2244" fmla="*/ 4012236 h 4936668"/>
                  <a:gd name="connsiteX2245" fmla="*/ 6144632 w 9013239"/>
                  <a:gd name="connsiteY2245" fmla="*/ 3997940 h 4936668"/>
                  <a:gd name="connsiteX2246" fmla="*/ 6120807 w 9013239"/>
                  <a:gd name="connsiteY2246" fmla="*/ 3983644 h 4936668"/>
                  <a:gd name="connsiteX2247" fmla="*/ 6096981 w 9013239"/>
                  <a:gd name="connsiteY2247" fmla="*/ 3955052 h 4936668"/>
                  <a:gd name="connsiteX2248" fmla="*/ 6101746 w 9013239"/>
                  <a:gd name="connsiteY2248" fmla="*/ 3955052 h 4936668"/>
                  <a:gd name="connsiteX2249" fmla="*/ 6106511 w 9013239"/>
                  <a:gd name="connsiteY2249" fmla="*/ 3950288 h 4936668"/>
                  <a:gd name="connsiteX2250" fmla="*/ 6096981 w 9013239"/>
                  <a:gd name="connsiteY2250" fmla="*/ 3945524 h 4936668"/>
                  <a:gd name="connsiteX2251" fmla="*/ 6101746 w 9013239"/>
                  <a:gd name="connsiteY2251" fmla="*/ 3935992 h 4936668"/>
                  <a:gd name="connsiteX2252" fmla="*/ 6106511 w 9013239"/>
                  <a:gd name="connsiteY2252" fmla="*/ 3926464 h 4936668"/>
                  <a:gd name="connsiteX2253" fmla="*/ 6096981 w 9013239"/>
                  <a:gd name="connsiteY2253" fmla="*/ 3926464 h 4936668"/>
                  <a:gd name="connsiteX2254" fmla="*/ 6087451 w 9013239"/>
                  <a:gd name="connsiteY2254" fmla="*/ 3931228 h 4936668"/>
                  <a:gd name="connsiteX2255" fmla="*/ 6087451 w 9013239"/>
                  <a:gd name="connsiteY2255" fmla="*/ 3940760 h 4936668"/>
                  <a:gd name="connsiteX2256" fmla="*/ 6082685 w 9013239"/>
                  <a:gd name="connsiteY2256" fmla="*/ 3945524 h 4936668"/>
                  <a:gd name="connsiteX2257" fmla="*/ 6077921 w 9013239"/>
                  <a:gd name="connsiteY2257" fmla="*/ 3945524 h 4936668"/>
                  <a:gd name="connsiteX2258" fmla="*/ 6068390 w 9013239"/>
                  <a:gd name="connsiteY2258" fmla="*/ 3935992 h 4936668"/>
                  <a:gd name="connsiteX2259" fmla="*/ 6018357 w 9013239"/>
                  <a:gd name="connsiteY2259" fmla="*/ 3916932 h 4936668"/>
                  <a:gd name="connsiteX2260" fmla="*/ 5975470 w 9013239"/>
                  <a:gd name="connsiteY2260" fmla="*/ 3907404 h 4936668"/>
                  <a:gd name="connsiteX2261" fmla="*/ 6008826 w 9013239"/>
                  <a:gd name="connsiteY2261" fmla="*/ 3897872 h 4936668"/>
                  <a:gd name="connsiteX2262" fmla="*/ 6027887 w 9013239"/>
                  <a:gd name="connsiteY2262" fmla="*/ 3902636 h 4936668"/>
                  <a:gd name="connsiteX2263" fmla="*/ 6027887 w 9013239"/>
                  <a:gd name="connsiteY2263" fmla="*/ 3897872 h 4936668"/>
                  <a:gd name="connsiteX2264" fmla="*/ 6023121 w 9013239"/>
                  <a:gd name="connsiteY2264" fmla="*/ 3893108 h 4936668"/>
                  <a:gd name="connsiteX2265" fmla="*/ 6008826 w 9013239"/>
                  <a:gd name="connsiteY2265" fmla="*/ 3888340 h 4936668"/>
                  <a:gd name="connsiteX2266" fmla="*/ 5989765 w 9013239"/>
                  <a:gd name="connsiteY2266" fmla="*/ 3888340 h 4936668"/>
                  <a:gd name="connsiteX2267" fmla="*/ 5975470 w 9013239"/>
                  <a:gd name="connsiteY2267" fmla="*/ 3888340 h 4936668"/>
                  <a:gd name="connsiteX2268" fmla="*/ 5965940 w 9013239"/>
                  <a:gd name="connsiteY2268" fmla="*/ 3893108 h 4936668"/>
                  <a:gd name="connsiteX2269" fmla="*/ 5951645 w 9013239"/>
                  <a:gd name="connsiteY2269" fmla="*/ 3897872 h 4936668"/>
                  <a:gd name="connsiteX2270" fmla="*/ 5942114 w 9013239"/>
                  <a:gd name="connsiteY2270" fmla="*/ 3902636 h 4936668"/>
                  <a:gd name="connsiteX2271" fmla="*/ 5894463 w 9013239"/>
                  <a:gd name="connsiteY2271" fmla="*/ 3912168 h 4936668"/>
                  <a:gd name="connsiteX2272" fmla="*/ 5861107 w 9013239"/>
                  <a:gd name="connsiteY2272" fmla="*/ 3916932 h 4936668"/>
                  <a:gd name="connsiteX2273" fmla="*/ 5865872 w 9013239"/>
                  <a:gd name="connsiteY2273" fmla="*/ 3907404 h 4936668"/>
                  <a:gd name="connsiteX2274" fmla="*/ 5870637 w 9013239"/>
                  <a:gd name="connsiteY2274" fmla="*/ 3907404 h 4936668"/>
                  <a:gd name="connsiteX2275" fmla="*/ 5894463 w 9013239"/>
                  <a:gd name="connsiteY2275" fmla="*/ 3897872 h 4936668"/>
                  <a:gd name="connsiteX2276" fmla="*/ 5894463 w 9013239"/>
                  <a:gd name="connsiteY2276" fmla="*/ 3888340 h 4936668"/>
                  <a:gd name="connsiteX2277" fmla="*/ 5889698 w 9013239"/>
                  <a:gd name="connsiteY2277" fmla="*/ 3874048 h 4936668"/>
                  <a:gd name="connsiteX2278" fmla="*/ 5884933 w 9013239"/>
                  <a:gd name="connsiteY2278" fmla="*/ 3878812 h 4936668"/>
                  <a:gd name="connsiteX2279" fmla="*/ 5880167 w 9013239"/>
                  <a:gd name="connsiteY2279" fmla="*/ 3888340 h 4936668"/>
                  <a:gd name="connsiteX2280" fmla="*/ 5870637 w 9013239"/>
                  <a:gd name="connsiteY2280" fmla="*/ 3878812 h 4936668"/>
                  <a:gd name="connsiteX2281" fmla="*/ 5865872 w 9013239"/>
                  <a:gd name="connsiteY2281" fmla="*/ 3878812 h 4936668"/>
                  <a:gd name="connsiteX2282" fmla="*/ 5861107 w 9013239"/>
                  <a:gd name="connsiteY2282" fmla="*/ 3893108 h 4936668"/>
                  <a:gd name="connsiteX2283" fmla="*/ 5851577 w 9013239"/>
                  <a:gd name="connsiteY2283" fmla="*/ 3907404 h 4936668"/>
                  <a:gd name="connsiteX2284" fmla="*/ 5846811 w 9013239"/>
                  <a:gd name="connsiteY2284" fmla="*/ 3916932 h 4936668"/>
                  <a:gd name="connsiteX2285" fmla="*/ 5818221 w 9013239"/>
                  <a:gd name="connsiteY2285" fmla="*/ 3926464 h 4936668"/>
                  <a:gd name="connsiteX2286" fmla="*/ 5813456 w 9013239"/>
                  <a:gd name="connsiteY2286" fmla="*/ 3921696 h 4936668"/>
                  <a:gd name="connsiteX2287" fmla="*/ 5822986 w 9013239"/>
                  <a:gd name="connsiteY2287" fmla="*/ 3912168 h 4936668"/>
                  <a:gd name="connsiteX2288" fmla="*/ 5822986 w 9013239"/>
                  <a:gd name="connsiteY2288" fmla="*/ 3907404 h 4936668"/>
                  <a:gd name="connsiteX2289" fmla="*/ 5808691 w 9013239"/>
                  <a:gd name="connsiteY2289" fmla="*/ 3912168 h 4936668"/>
                  <a:gd name="connsiteX2290" fmla="*/ 5794395 w 9013239"/>
                  <a:gd name="connsiteY2290" fmla="*/ 3931228 h 4936668"/>
                  <a:gd name="connsiteX2291" fmla="*/ 5732449 w 9013239"/>
                  <a:gd name="connsiteY2291" fmla="*/ 3935992 h 4936668"/>
                  <a:gd name="connsiteX2292" fmla="*/ 5737213 w 9013239"/>
                  <a:gd name="connsiteY2292" fmla="*/ 3931228 h 4936668"/>
                  <a:gd name="connsiteX2293" fmla="*/ 5751509 w 9013239"/>
                  <a:gd name="connsiteY2293" fmla="*/ 3931228 h 4936668"/>
                  <a:gd name="connsiteX2294" fmla="*/ 5765805 w 9013239"/>
                  <a:gd name="connsiteY2294" fmla="*/ 3926464 h 4936668"/>
                  <a:gd name="connsiteX2295" fmla="*/ 5765805 w 9013239"/>
                  <a:gd name="connsiteY2295" fmla="*/ 3912168 h 4936668"/>
                  <a:gd name="connsiteX2296" fmla="*/ 5756274 w 9013239"/>
                  <a:gd name="connsiteY2296" fmla="*/ 3902636 h 4936668"/>
                  <a:gd name="connsiteX2297" fmla="*/ 5751509 w 9013239"/>
                  <a:gd name="connsiteY2297" fmla="*/ 3902636 h 4936668"/>
                  <a:gd name="connsiteX2298" fmla="*/ 5746744 w 9013239"/>
                  <a:gd name="connsiteY2298" fmla="*/ 3897872 h 4936668"/>
                  <a:gd name="connsiteX2299" fmla="*/ 5746744 w 9013239"/>
                  <a:gd name="connsiteY2299" fmla="*/ 3874048 h 4936668"/>
                  <a:gd name="connsiteX2300" fmla="*/ 5741979 w 9013239"/>
                  <a:gd name="connsiteY2300" fmla="*/ 3864516 h 4936668"/>
                  <a:gd name="connsiteX2301" fmla="*/ 5732449 w 9013239"/>
                  <a:gd name="connsiteY2301" fmla="*/ 3850220 h 4936668"/>
                  <a:gd name="connsiteX2302" fmla="*/ 5727683 w 9013239"/>
                  <a:gd name="connsiteY2302" fmla="*/ 3854984 h 4936668"/>
                  <a:gd name="connsiteX2303" fmla="*/ 5722919 w 9013239"/>
                  <a:gd name="connsiteY2303" fmla="*/ 3874048 h 4936668"/>
                  <a:gd name="connsiteX2304" fmla="*/ 5718153 w 9013239"/>
                  <a:gd name="connsiteY2304" fmla="*/ 3902636 h 4936668"/>
                  <a:gd name="connsiteX2305" fmla="*/ 5713388 w 9013239"/>
                  <a:gd name="connsiteY2305" fmla="*/ 3912168 h 4936668"/>
                  <a:gd name="connsiteX2306" fmla="*/ 5694327 w 9013239"/>
                  <a:gd name="connsiteY2306" fmla="*/ 3912168 h 4936668"/>
                  <a:gd name="connsiteX2307" fmla="*/ 5680032 w 9013239"/>
                  <a:gd name="connsiteY2307" fmla="*/ 3907404 h 4936668"/>
                  <a:gd name="connsiteX2308" fmla="*/ 5627616 w 9013239"/>
                  <a:gd name="connsiteY2308" fmla="*/ 3912168 h 4936668"/>
                  <a:gd name="connsiteX2309" fmla="*/ 5608555 w 9013239"/>
                  <a:gd name="connsiteY2309" fmla="*/ 3902636 h 4936668"/>
                  <a:gd name="connsiteX2310" fmla="*/ 5599025 w 9013239"/>
                  <a:gd name="connsiteY2310" fmla="*/ 3902636 h 4936668"/>
                  <a:gd name="connsiteX2311" fmla="*/ 5594260 w 9013239"/>
                  <a:gd name="connsiteY2311" fmla="*/ 3902636 h 4936668"/>
                  <a:gd name="connsiteX2312" fmla="*/ 5570435 w 9013239"/>
                  <a:gd name="connsiteY2312" fmla="*/ 3912168 h 4936668"/>
                  <a:gd name="connsiteX2313" fmla="*/ 5541843 w 9013239"/>
                  <a:gd name="connsiteY2313" fmla="*/ 3916932 h 4936668"/>
                  <a:gd name="connsiteX2314" fmla="*/ 5537079 w 9013239"/>
                  <a:gd name="connsiteY2314" fmla="*/ 3916932 h 4936668"/>
                  <a:gd name="connsiteX2315" fmla="*/ 5527548 w 9013239"/>
                  <a:gd name="connsiteY2315" fmla="*/ 3916932 h 4936668"/>
                  <a:gd name="connsiteX2316" fmla="*/ 5508487 w 9013239"/>
                  <a:gd name="connsiteY2316" fmla="*/ 3935992 h 4936668"/>
                  <a:gd name="connsiteX2317" fmla="*/ 5484662 w 9013239"/>
                  <a:gd name="connsiteY2317" fmla="*/ 3945524 h 4936668"/>
                  <a:gd name="connsiteX2318" fmla="*/ 5427481 w 9013239"/>
                  <a:gd name="connsiteY2318" fmla="*/ 3926464 h 4936668"/>
                  <a:gd name="connsiteX2319" fmla="*/ 5413185 w 9013239"/>
                  <a:gd name="connsiteY2319" fmla="*/ 3912168 h 4936668"/>
                  <a:gd name="connsiteX2320" fmla="*/ 5403655 w 9013239"/>
                  <a:gd name="connsiteY2320" fmla="*/ 3912168 h 4936668"/>
                  <a:gd name="connsiteX2321" fmla="*/ 5389359 w 9013239"/>
                  <a:gd name="connsiteY2321" fmla="*/ 3907404 h 4936668"/>
                  <a:gd name="connsiteX2322" fmla="*/ 5370299 w 9013239"/>
                  <a:gd name="connsiteY2322" fmla="*/ 3926464 h 4936668"/>
                  <a:gd name="connsiteX2323" fmla="*/ 5356003 w 9013239"/>
                  <a:gd name="connsiteY2323" fmla="*/ 3950288 h 4936668"/>
                  <a:gd name="connsiteX2324" fmla="*/ 5379829 w 9013239"/>
                  <a:gd name="connsiteY2324" fmla="*/ 3964584 h 4936668"/>
                  <a:gd name="connsiteX2325" fmla="*/ 5394125 w 9013239"/>
                  <a:gd name="connsiteY2325" fmla="*/ 3974116 h 4936668"/>
                  <a:gd name="connsiteX2326" fmla="*/ 5422715 w 9013239"/>
                  <a:gd name="connsiteY2326" fmla="*/ 3964584 h 4936668"/>
                  <a:gd name="connsiteX2327" fmla="*/ 5437011 w 9013239"/>
                  <a:gd name="connsiteY2327" fmla="*/ 3955052 h 4936668"/>
                  <a:gd name="connsiteX2328" fmla="*/ 5451306 w 9013239"/>
                  <a:gd name="connsiteY2328" fmla="*/ 3955052 h 4936668"/>
                  <a:gd name="connsiteX2329" fmla="*/ 5456071 w 9013239"/>
                  <a:gd name="connsiteY2329" fmla="*/ 3950288 h 4936668"/>
                  <a:gd name="connsiteX2330" fmla="*/ 5460837 w 9013239"/>
                  <a:gd name="connsiteY2330" fmla="*/ 3945524 h 4936668"/>
                  <a:gd name="connsiteX2331" fmla="*/ 5475131 w 9013239"/>
                  <a:gd name="connsiteY2331" fmla="*/ 3950288 h 4936668"/>
                  <a:gd name="connsiteX2332" fmla="*/ 5475131 w 9013239"/>
                  <a:gd name="connsiteY2332" fmla="*/ 3955052 h 4936668"/>
                  <a:gd name="connsiteX2333" fmla="*/ 5465601 w 9013239"/>
                  <a:gd name="connsiteY2333" fmla="*/ 3964584 h 4936668"/>
                  <a:gd name="connsiteX2334" fmla="*/ 5456071 w 9013239"/>
                  <a:gd name="connsiteY2334" fmla="*/ 3969348 h 4936668"/>
                  <a:gd name="connsiteX2335" fmla="*/ 5451306 w 9013239"/>
                  <a:gd name="connsiteY2335" fmla="*/ 3974116 h 4936668"/>
                  <a:gd name="connsiteX2336" fmla="*/ 5460837 w 9013239"/>
                  <a:gd name="connsiteY2336" fmla="*/ 3988408 h 4936668"/>
                  <a:gd name="connsiteX2337" fmla="*/ 5479897 w 9013239"/>
                  <a:gd name="connsiteY2337" fmla="*/ 3993176 h 4936668"/>
                  <a:gd name="connsiteX2338" fmla="*/ 5484662 w 9013239"/>
                  <a:gd name="connsiteY2338" fmla="*/ 3993176 h 4936668"/>
                  <a:gd name="connsiteX2339" fmla="*/ 5489427 w 9013239"/>
                  <a:gd name="connsiteY2339" fmla="*/ 3974116 h 4936668"/>
                  <a:gd name="connsiteX2340" fmla="*/ 5498957 w 9013239"/>
                  <a:gd name="connsiteY2340" fmla="*/ 3964584 h 4936668"/>
                  <a:gd name="connsiteX2341" fmla="*/ 5518018 w 9013239"/>
                  <a:gd name="connsiteY2341" fmla="*/ 3969348 h 4936668"/>
                  <a:gd name="connsiteX2342" fmla="*/ 5513253 w 9013239"/>
                  <a:gd name="connsiteY2342" fmla="*/ 3974116 h 4936668"/>
                  <a:gd name="connsiteX2343" fmla="*/ 5518018 w 9013239"/>
                  <a:gd name="connsiteY2343" fmla="*/ 3983644 h 4936668"/>
                  <a:gd name="connsiteX2344" fmla="*/ 5522783 w 9013239"/>
                  <a:gd name="connsiteY2344" fmla="*/ 3993176 h 4936668"/>
                  <a:gd name="connsiteX2345" fmla="*/ 5522783 w 9013239"/>
                  <a:gd name="connsiteY2345" fmla="*/ 4007472 h 4936668"/>
                  <a:gd name="connsiteX2346" fmla="*/ 5508487 w 9013239"/>
                  <a:gd name="connsiteY2346" fmla="*/ 4017000 h 4936668"/>
                  <a:gd name="connsiteX2347" fmla="*/ 5494192 w 9013239"/>
                  <a:gd name="connsiteY2347" fmla="*/ 4017000 h 4936668"/>
                  <a:gd name="connsiteX2348" fmla="*/ 5484662 w 9013239"/>
                  <a:gd name="connsiteY2348" fmla="*/ 4026532 h 4936668"/>
                  <a:gd name="connsiteX2349" fmla="*/ 5489427 w 9013239"/>
                  <a:gd name="connsiteY2349" fmla="*/ 4031296 h 4936668"/>
                  <a:gd name="connsiteX2350" fmla="*/ 5479897 w 9013239"/>
                  <a:gd name="connsiteY2350" fmla="*/ 4036060 h 4936668"/>
                  <a:gd name="connsiteX2351" fmla="*/ 5475131 w 9013239"/>
                  <a:gd name="connsiteY2351" fmla="*/ 4036060 h 4936668"/>
                  <a:gd name="connsiteX2352" fmla="*/ 5470367 w 9013239"/>
                  <a:gd name="connsiteY2352" fmla="*/ 4036060 h 4936668"/>
                  <a:gd name="connsiteX2353" fmla="*/ 5470367 w 9013239"/>
                  <a:gd name="connsiteY2353" fmla="*/ 4040824 h 4936668"/>
                  <a:gd name="connsiteX2354" fmla="*/ 5465601 w 9013239"/>
                  <a:gd name="connsiteY2354" fmla="*/ 4045592 h 4936668"/>
                  <a:gd name="connsiteX2355" fmla="*/ 5475131 w 9013239"/>
                  <a:gd name="connsiteY2355" fmla="*/ 4059888 h 4936668"/>
                  <a:gd name="connsiteX2356" fmla="*/ 5489427 w 9013239"/>
                  <a:gd name="connsiteY2356" fmla="*/ 4069416 h 4936668"/>
                  <a:gd name="connsiteX2357" fmla="*/ 5498957 w 9013239"/>
                  <a:gd name="connsiteY2357" fmla="*/ 4083712 h 4936668"/>
                  <a:gd name="connsiteX2358" fmla="*/ 5541843 w 9013239"/>
                  <a:gd name="connsiteY2358" fmla="*/ 4098008 h 4936668"/>
                  <a:gd name="connsiteX2359" fmla="*/ 5551373 w 9013239"/>
                  <a:gd name="connsiteY2359" fmla="*/ 4098008 h 4936668"/>
                  <a:gd name="connsiteX2360" fmla="*/ 5560904 w 9013239"/>
                  <a:gd name="connsiteY2360" fmla="*/ 4112304 h 4936668"/>
                  <a:gd name="connsiteX2361" fmla="*/ 5570435 w 9013239"/>
                  <a:gd name="connsiteY2361" fmla="*/ 4117068 h 4936668"/>
                  <a:gd name="connsiteX2362" fmla="*/ 5575199 w 9013239"/>
                  <a:gd name="connsiteY2362" fmla="*/ 4121832 h 4936668"/>
                  <a:gd name="connsiteX2363" fmla="*/ 5575199 w 9013239"/>
                  <a:gd name="connsiteY2363" fmla="*/ 4131364 h 4936668"/>
                  <a:gd name="connsiteX2364" fmla="*/ 5560904 w 9013239"/>
                  <a:gd name="connsiteY2364" fmla="*/ 4140892 h 4936668"/>
                  <a:gd name="connsiteX2365" fmla="*/ 5556139 w 9013239"/>
                  <a:gd name="connsiteY2365" fmla="*/ 4150424 h 4936668"/>
                  <a:gd name="connsiteX2366" fmla="*/ 5556139 w 9013239"/>
                  <a:gd name="connsiteY2366" fmla="*/ 4155188 h 4936668"/>
                  <a:gd name="connsiteX2367" fmla="*/ 5546609 w 9013239"/>
                  <a:gd name="connsiteY2367" fmla="*/ 4145660 h 4936668"/>
                  <a:gd name="connsiteX2368" fmla="*/ 5541843 w 9013239"/>
                  <a:gd name="connsiteY2368" fmla="*/ 4140892 h 4936668"/>
                  <a:gd name="connsiteX2369" fmla="*/ 5527548 w 9013239"/>
                  <a:gd name="connsiteY2369" fmla="*/ 4155188 h 4936668"/>
                  <a:gd name="connsiteX2370" fmla="*/ 5522783 w 9013239"/>
                  <a:gd name="connsiteY2370" fmla="*/ 4159956 h 4936668"/>
                  <a:gd name="connsiteX2371" fmla="*/ 5522783 w 9013239"/>
                  <a:gd name="connsiteY2371" fmla="*/ 4145660 h 4936668"/>
                  <a:gd name="connsiteX2372" fmla="*/ 5518018 w 9013239"/>
                  <a:gd name="connsiteY2372" fmla="*/ 4136128 h 4936668"/>
                  <a:gd name="connsiteX2373" fmla="*/ 5508487 w 9013239"/>
                  <a:gd name="connsiteY2373" fmla="*/ 4121832 h 4936668"/>
                  <a:gd name="connsiteX2374" fmla="*/ 5498957 w 9013239"/>
                  <a:gd name="connsiteY2374" fmla="*/ 4112304 h 4936668"/>
                  <a:gd name="connsiteX2375" fmla="*/ 5489427 w 9013239"/>
                  <a:gd name="connsiteY2375" fmla="*/ 4107536 h 4936668"/>
                  <a:gd name="connsiteX2376" fmla="*/ 5479897 w 9013239"/>
                  <a:gd name="connsiteY2376" fmla="*/ 4102772 h 4936668"/>
                  <a:gd name="connsiteX2377" fmla="*/ 5475131 w 9013239"/>
                  <a:gd name="connsiteY2377" fmla="*/ 4098008 h 4936668"/>
                  <a:gd name="connsiteX2378" fmla="*/ 5465601 w 9013239"/>
                  <a:gd name="connsiteY2378" fmla="*/ 4102772 h 4936668"/>
                  <a:gd name="connsiteX2379" fmla="*/ 5456071 w 9013239"/>
                  <a:gd name="connsiteY2379" fmla="*/ 4098008 h 4936668"/>
                  <a:gd name="connsiteX2380" fmla="*/ 5456071 w 9013239"/>
                  <a:gd name="connsiteY2380" fmla="*/ 4088476 h 4936668"/>
                  <a:gd name="connsiteX2381" fmla="*/ 5451306 w 9013239"/>
                  <a:gd name="connsiteY2381" fmla="*/ 4083712 h 4936668"/>
                  <a:gd name="connsiteX2382" fmla="*/ 5441776 w 9013239"/>
                  <a:gd name="connsiteY2382" fmla="*/ 4074180 h 4936668"/>
                  <a:gd name="connsiteX2383" fmla="*/ 5398889 w 9013239"/>
                  <a:gd name="connsiteY2383" fmla="*/ 4059888 h 4936668"/>
                  <a:gd name="connsiteX2384" fmla="*/ 5398889 w 9013239"/>
                  <a:gd name="connsiteY2384" fmla="*/ 4064652 h 4936668"/>
                  <a:gd name="connsiteX2385" fmla="*/ 5398889 w 9013239"/>
                  <a:gd name="connsiteY2385" fmla="*/ 4069416 h 4936668"/>
                  <a:gd name="connsiteX2386" fmla="*/ 5408420 w 9013239"/>
                  <a:gd name="connsiteY2386" fmla="*/ 4074180 h 4936668"/>
                  <a:gd name="connsiteX2387" fmla="*/ 5413185 w 9013239"/>
                  <a:gd name="connsiteY2387" fmla="*/ 4078948 h 4936668"/>
                  <a:gd name="connsiteX2388" fmla="*/ 5413185 w 9013239"/>
                  <a:gd name="connsiteY2388" fmla="*/ 4098008 h 4936668"/>
                  <a:gd name="connsiteX2389" fmla="*/ 5413185 w 9013239"/>
                  <a:gd name="connsiteY2389" fmla="*/ 4102772 h 4936668"/>
                  <a:gd name="connsiteX2390" fmla="*/ 5408420 w 9013239"/>
                  <a:gd name="connsiteY2390" fmla="*/ 4112304 h 4936668"/>
                  <a:gd name="connsiteX2391" fmla="*/ 5408420 w 9013239"/>
                  <a:gd name="connsiteY2391" fmla="*/ 4121832 h 4936668"/>
                  <a:gd name="connsiteX2392" fmla="*/ 5398889 w 9013239"/>
                  <a:gd name="connsiteY2392" fmla="*/ 4131364 h 4936668"/>
                  <a:gd name="connsiteX2393" fmla="*/ 5389359 w 9013239"/>
                  <a:gd name="connsiteY2393" fmla="*/ 4136128 h 4936668"/>
                  <a:gd name="connsiteX2394" fmla="*/ 5384595 w 9013239"/>
                  <a:gd name="connsiteY2394" fmla="*/ 4131364 h 4936668"/>
                  <a:gd name="connsiteX2395" fmla="*/ 5375064 w 9013239"/>
                  <a:gd name="connsiteY2395" fmla="*/ 4112304 h 4936668"/>
                  <a:gd name="connsiteX2396" fmla="*/ 5365534 w 9013239"/>
                  <a:gd name="connsiteY2396" fmla="*/ 4102772 h 4936668"/>
                  <a:gd name="connsiteX2397" fmla="*/ 5341708 w 9013239"/>
                  <a:gd name="connsiteY2397" fmla="*/ 4102772 h 4936668"/>
                  <a:gd name="connsiteX2398" fmla="*/ 5332178 w 9013239"/>
                  <a:gd name="connsiteY2398" fmla="*/ 4107536 h 4936668"/>
                  <a:gd name="connsiteX2399" fmla="*/ 5317883 w 9013239"/>
                  <a:gd name="connsiteY2399" fmla="*/ 4131364 h 4936668"/>
                  <a:gd name="connsiteX2400" fmla="*/ 5303587 w 9013239"/>
                  <a:gd name="connsiteY2400" fmla="*/ 4131364 h 4936668"/>
                  <a:gd name="connsiteX2401" fmla="*/ 5265466 w 9013239"/>
                  <a:gd name="connsiteY2401" fmla="*/ 4121832 h 4936668"/>
                  <a:gd name="connsiteX2402" fmla="*/ 5222580 w 9013239"/>
                  <a:gd name="connsiteY2402" fmla="*/ 4102772 h 4936668"/>
                  <a:gd name="connsiteX2403" fmla="*/ 5222580 w 9013239"/>
                  <a:gd name="connsiteY2403" fmla="*/ 4098008 h 4936668"/>
                  <a:gd name="connsiteX2404" fmla="*/ 5227345 w 9013239"/>
                  <a:gd name="connsiteY2404" fmla="*/ 4098008 h 4936668"/>
                  <a:gd name="connsiteX2405" fmla="*/ 5241641 w 9013239"/>
                  <a:gd name="connsiteY2405" fmla="*/ 4098008 h 4936668"/>
                  <a:gd name="connsiteX2406" fmla="*/ 5241641 w 9013239"/>
                  <a:gd name="connsiteY2406" fmla="*/ 4093244 h 4936668"/>
                  <a:gd name="connsiteX2407" fmla="*/ 5227345 w 9013239"/>
                  <a:gd name="connsiteY2407" fmla="*/ 4074180 h 4936668"/>
                  <a:gd name="connsiteX2408" fmla="*/ 5227345 w 9013239"/>
                  <a:gd name="connsiteY2408" fmla="*/ 4064652 h 4936668"/>
                  <a:gd name="connsiteX2409" fmla="*/ 5227345 w 9013239"/>
                  <a:gd name="connsiteY2409" fmla="*/ 4055120 h 4936668"/>
                  <a:gd name="connsiteX2410" fmla="*/ 5222580 w 9013239"/>
                  <a:gd name="connsiteY2410" fmla="*/ 4055120 h 4936668"/>
                  <a:gd name="connsiteX2411" fmla="*/ 5213049 w 9013239"/>
                  <a:gd name="connsiteY2411" fmla="*/ 4064652 h 4936668"/>
                  <a:gd name="connsiteX2412" fmla="*/ 5184459 w 9013239"/>
                  <a:gd name="connsiteY2412" fmla="*/ 4055120 h 4936668"/>
                  <a:gd name="connsiteX2413" fmla="*/ 5179694 w 9013239"/>
                  <a:gd name="connsiteY2413" fmla="*/ 4050356 h 4936668"/>
                  <a:gd name="connsiteX2414" fmla="*/ 5160633 w 9013239"/>
                  <a:gd name="connsiteY2414" fmla="*/ 4021764 h 4936668"/>
                  <a:gd name="connsiteX2415" fmla="*/ 5136807 w 9013239"/>
                  <a:gd name="connsiteY2415" fmla="*/ 4021764 h 4936668"/>
                  <a:gd name="connsiteX2416" fmla="*/ 5127277 w 9013239"/>
                  <a:gd name="connsiteY2416" fmla="*/ 4007472 h 4936668"/>
                  <a:gd name="connsiteX2417" fmla="*/ 5108217 w 9013239"/>
                  <a:gd name="connsiteY2417" fmla="*/ 4012236 h 4936668"/>
                  <a:gd name="connsiteX2418" fmla="*/ 5098687 w 9013239"/>
                  <a:gd name="connsiteY2418" fmla="*/ 4021764 h 4936668"/>
                  <a:gd name="connsiteX2419" fmla="*/ 5089157 w 9013239"/>
                  <a:gd name="connsiteY2419" fmla="*/ 4031296 h 4936668"/>
                  <a:gd name="connsiteX2420" fmla="*/ 5093921 w 9013239"/>
                  <a:gd name="connsiteY2420" fmla="*/ 4036060 h 4936668"/>
                  <a:gd name="connsiteX2421" fmla="*/ 5098687 w 9013239"/>
                  <a:gd name="connsiteY2421" fmla="*/ 4045592 h 4936668"/>
                  <a:gd name="connsiteX2422" fmla="*/ 5098687 w 9013239"/>
                  <a:gd name="connsiteY2422" fmla="*/ 4050356 h 4936668"/>
                  <a:gd name="connsiteX2423" fmla="*/ 5070096 w 9013239"/>
                  <a:gd name="connsiteY2423" fmla="*/ 4055120 h 4936668"/>
                  <a:gd name="connsiteX2424" fmla="*/ 5003384 w 9013239"/>
                  <a:gd name="connsiteY2424" fmla="*/ 4050356 h 4936668"/>
                  <a:gd name="connsiteX2425" fmla="*/ 4984323 w 9013239"/>
                  <a:gd name="connsiteY2425" fmla="*/ 4040824 h 4936668"/>
                  <a:gd name="connsiteX2426" fmla="*/ 4960498 w 9013239"/>
                  <a:gd name="connsiteY2426" fmla="*/ 4026532 h 4936668"/>
                  <a:gd name="connsiteX2427" fmla="*/ 4927142 w 9013239"/>
                  <a:gd name="connsiteY2427" fmla="*/ 4017000 h 4936668"/>
                  <a:gd name="connsiteX2428" fmla="*/ 4908081 w 9013239"/>
                  <a:gd name="connsiteY2428" fmla="*/ 4017000 h 4936668"/>
                  <a:gd name="connsiteX2429" fmla="*/ 4893786 w 9013239"/>
                  <a:gd name="connsiteY2429" fmla="*/ 4017000 h 4936668"/>
                  <a:gd name="connsiteX2430" fmla="*/ 4846135 w 9013239"/>
                  <a:gd name="connsiteY2430" fmla="*/ 4017000 h 4936668"/>
                  <a:gd name="connsiteX2431" fmla="*/ 4831839 w 9013239"/>
                  <a:gd name="connsiteY2431" fmla="*/ 4021764 h 4936668"/>
                  <a:gd name="connsiteX2432" fmla="*/ 4827075 w 9013239"/>
                  <a:gd name="connsiteY2432" fmla="*/ 4026532 h 4936668"/>
                  <a:gd name="connsiteX2433" fmla="*/ 4817544 w 9013239"/>
                  <a:gd name="connsiteY2433" fmla="*/ 4021764 h 4936668"/>
                  <a:gd name="connsiteX2434" fmla="*/ 4817544 w 9013239"/>
                  <a:gd name="connsiteY2434" fmla="*/ 4012236 h 4936668"/>
                  <a:gd name="connsiteX2435" fmla="*/ 4822309 w 9013239"/>
                  <a:gd name="connsiteY2435" fmla="*/ 4007472 h 4936668"/>
                  <a:gd name="connsiteX2436" fmla="*/ 4827075 w 9013239"/>
                  <a:gd name="connsiteY2436" fmla="*/ 4002704 h 4936668"/>
                  <a:gd name="connsiteX2437" fmla="*/ 4831839 w 9013239"/>
                  <a:gd name="connsiteY2437" fmla="*/ 3993176 h 4936668"/>
                  <a:gd name="connsiteX2438" fmla="*/ 4831839 w 9013239"/>
                  <a:gd name="connsiteY2438" fmla="*/ 3983644 h 4936668"/>
                  <a:gd name="connsiteX2439" fmla="*/ 4822309 w 9013239"/>
                  <a:gd name="connsiteY2439" fmla="*/ 3978880 h 4936668"/>
                  <a:gd name="connsiteX2440" fmla="*/ 4808014 w 9013239"/>
                  <a:gd name="connsiteY2440" fmla="*/ 4012236 h 4936668"/>
                  <a:gd name="connsiteX2441" fmla="*/ 4817544 w 9013239"/>
                  <a:gd name="connsiteY2441" fmla="*/ 4026532 h 4936668"/>
                  <a:gd name="connsiteX2442" fmla="*/ 4817544 w 9013239"/>
                  <a:gd name="connsiteY2442" fmla="*/ 4031296 h 4936668"/>
                  <a:gd name="connsiteX2443" fmla="*/ 4784188 w 9013239"/>
                  <a:gd name="connsiteY2443" fmla="*/ 4036060 h 4936668"/>
                  <a:gd name="connsiteX2444" fmla="*/ 4707946 w 9013239"/>
                  <a:gd name="connsiteY2444" fmla="*/ 4069416 h 4936668"/>
                  <a:gd name="connsiteX2445" fmla="*/ 4679355 w 9013239"/>
                  <a:gd name="connsiteY2445" fmla="*/ 4088476 h 4936668"/>
                  <a:gd name="connsiteX2446" fmla="*/ 4679355 w 9013239"/>
                  <a:gd name="connsiteY2446" fmla="*/ 4083712 h 4936668"/>
                  <a:gd name="connsiteX2447" fmla="*/ 4717477 w 9013239"/>
                  <a:gd name="connsiteY2447" fmla="*/ 4059888 h 4936668"/>
                  <a:gd name="connsiteX2448" fmla="*/ 4703181 w 9013239"/>
                  <a:gd name="connsiteY2448" fmla="*/ 4055120 h 4936668"/>
                  <a:gd name="connsiteX2449" fmla="*/ 4684121 w 9013239"/>
                  <a:gd name="connsiteY2449" fmla="*/ 4059888 h 4936668"/>
                  <a:gd name="connsiteX2450" fmla="*/ 4674591 w 9013239"/>
                  <a:gd name="connsiteY2450" fmla="*/ 4059888 h 4936668"/>
                  <a:gd name="connsiteX2451" fmla="*/ 4684121 w 9013239"/>
                  <a:gd name="connsiteY2451" fmla="*/ 4040824 h 4936668"/>
                  <a:gd name="connsiteX2452" fmla="*/ 4684121 w 9013239"/>
                  <a:gd name="connsiteY2452" fmla="*/ 4021764 h 4936668"/>
                  <a:gd name="connsiteX2453" fmla="*/ 4669825 w 9013239"/>
                  <a:gd name="connsiteY2453" fmla="*/ 4021764 h 4936668"/>
                  <a:gd name="connsiteX2454" fmla="*/ 4660295 w 9013239"/>
                  <a:gd name="connsiteY2454" fmla="*/ 4036060 h 4936668"/>
                  <a:gd name="connsiteX2455" fmla="*/ 4650765 w 9013239"/>
                  <a:gd name="connsiteY2455" fmla="*/ 4036060 h 4936668"/>
                  <a:gd name="connsiteX2456" fmla="*/ 4645999 w 9013239"/>
                  <a:gd name="connsiteY2456" fmla="*/ 4026532 h 4936668"/>
                  <a:gd name="connsiteX2457" fmla="*/ 4636469 w 9013239"/>
                  <a:gd name="connsiteY2457" fmla="*/ 4031296 h 4936668"/>
                  <a:gd name="connsiteX2458" fmla="*/ 4641235 w 9013239"/>
                  <a:gd name="connsiteY2458" fmla="*/ 4059888 h 4936668"/>
                  <a:gd name="connsiteX2459" fmla="*/ 4650765 w 9013239"/>
                  <a:gd name="connsiteY2459" fmla="*/ 4074180 h 4936668"/>
                  <a:gd name="connsiteX2460" fmla="*/ 4660295 w 9013239"/>
                  <a:gd name="connsiteY2460" fmla="*/ 4088476 h 4936668"/>
                  <a:gd name="connsiteX2461" fmla="*/ 4636469 w 9013239"/>
                  <a:gd name="connsiteY2461" fmla="*/ 4112304 h 4936668"/>
                  <a:gd name="connsiteX2462" fmla="*/ 4622174 w 9013239"/>
                  <a:gd name="connsiteY2462" fmla="*/ 4126600 h 4936668"/>
                  <a:gd name="connsiteX2463" fmla="*/ 4617409 w 9013239"/>
                  <a:gd name="connsiteY2463" fmla="*/ 4140892 h 4936668"/>
                  <a:gd name="connsiteX2464" fmla="*/ 4598348 w 9013239"/>
                  <a:gd name="connsiteY2464" fmla="*/ 4164720 h 4936668"/>
                  <a:gd name="connsiteX2465" fmla="*/ 4579287 w 9013239"/>
                  <a:gd name="connsiteY2465" fmla="*/ 4174248 h 4936668"/>
                  <a:gd name="connsiteX2466" fmla="*/ 4541167 w 9013239"/>
                  <a:gd name="connsiteY2466" fmla="*/ 4202840 h 4936668"/>
                  <a:gd name="connsiteX2467" fmla="*/ 4526871 w 9013239"/>
                  <a:gd name="connsiteY2467" fmla="*/ 4207604 h 4936668"/>
                  <a:gd name="connsiteX2468" fmla="*/ 4507811 w 9013239"/>
                  <a:gd name="connsiteY2468" fmla="*/ 4221900 h 4936668"/>
                  <a:gd name="connsiteX2469" fmla="*/ 4483985 w 9013239"/>
                  <a:gd name="connsiteY2469" fmla="*/ 4231432 h 4936668"/>
                  <a:gd name="connsiteX2470" fmla="*/ 4455395 w 9013239"/>
                  <a:gd name="connsiteY2470" fmla="*/ 4245728 h 4936668"/>
                  <a:gd name="connsiteX2471" fmla="*/ 4450629 w 9013239"/>
                  <a:gd name="connsiteY2471" fmla="*/ 4245728 h 4936668"/>
                  <a:gd name="connsiteX2472" fmla="*/ 4464925 w 9013239"/>
                  <a:gd name="connsiteY2472" fmla="*/ 4236196 h 4936668"/>
                  <a:gd name="connsiteX2473" fmla="*/ 4483985 w 9013239"/>
                  <a:gd name="connsiteY2473" fmla="*/ 4221900 h 4936668"/>
                  <a:gd name="connsiteX2474" fmla="*/ 4469690 w 9013239"/>
                  <a:gd name="connsiteY2474" fmla="*/ 4221900 h 4936668"/>
                  <a:gd name="connsiteX2475" fmla="*/ 4441099 w 9013239"/>
                  <a:gd name="connsiteY2475" fmla="*/ 4217136 h 4936668"/>
                  <a:gd name="connsiteX2476" fmla="*/ 4426803 w 9013239"/>
                  <a:gd name="connsiteY2476" fmla="*/ 4217136 h 4936668"/>
                  <a:gd name="connsiteX2477" fmla="*/ 4426803 w 9013239"/>
                  <a:gd name="connsiteY2477" fmla="*/ 4221900 h 4936668"/>
                  <a:gd name="connsiteX2478" fmla="*/ 4417273 w 9013239"/>
                  <a:gd name="connsiteY2478" fmla="*/ 4226664 h 4936668"/>
                  <a:gd name="connsiteX2479" fmla="*/ 4402978 w 9013239"/>
                  <a:gd name="connsiteY2479" fmla="*/ 4217136 h 4936668"/>
                  <a:gd name="connsiteX2480" fmla="*/ 4398213 w 9013239"/>
                  <a:gd name="connsiteY2480" fmla="*/ 4212372 h 4936668"/>
                  <a:gd name="connsiteX2481" fmla="*/ 4393447 w 9013239"/>
                  <a:gd name="connsiteY2481" fmla="*/ 4207604 h 4936668"/>
                  <a:gd name="connsiteX2482" fmla="*/ 4388683 w 9013239"/>
                  <a:gd name="connsiteY2482" fmla="*/ 4207604 h 4936668"/>
                  <a:gd name="connsiteX2483" fmla="*/ 4383917 w 9013239"/>
                  <a:gd name="connsiteY2483" fmla="*/ 4207604 h 4936668"/>
                  <a:gd name="connsiteX2484" fmla="*/ 4402978 w 9013239"/>
                  <a:gd name="connsiteY2484" fmla="*/ 4245728 h 4936668"/>
                  <a:gd name="connsiteX2485" fmla="*/ 4412508 w 9013239"/>
                  <a:gd name="connsiteY2485" fmla="*/ 4250492 h 4936668"/>
                  <a:gd name="connsiteX2486" fmla="*/ 4417273 w 9013239"/>
                  <a:gd name="connsiteY2486" fmla="*/ 4255256 h 4936668"/>
                  <a:gd name="connsiteX2487" fmla="*/ 4407743 w 9013239"/>
                  <a:gd name="connsiteY2487" fmla="*/ 4260020 h 4936668"/>
                  <a:gd name="connsiteX2488" fmla="*/ 4398213 w 9013239"/>
                  <a:gd name="connsiteY2488" fmla="*/ 4269552 h 4936668"/>
                  <a:gd name="connsiteX2489" fmla="*/ 4379153 w 9013239"/>
                  <a:gd name="connsiteY2489" fmla="*/ 4274316 h 4936668"/>
                  <a:gd name="connsiteX2490" fmla="*/ 4364857 w 9013239"/>
                  <a:gd name="connsiteY2490" fmla="*/ 4260020 h 4936668"/>
                  <a:gd name="connsiteX2491" fmla="*/ 4360092 w 9013239"/>
                  <a:gd name="connsiteY2491" fmla="*/ 4279084 h 4936668"/>
                  <a:gd name="connsiteX2492" fmla="*/ 4360092 w 9013239"/>
                  <a:gd name="connsiteY2492" fmla="*/ 4293376 h 4936668"/>
                  <a:gd name="connsiteX2493" fmla="*/ 4355327 w 9013239"/>
                  <a:gd name="connsiteY2493" fmla="*/ 4298144 h 4936668"/>
                  <a:gd name="connsiteX2494" fmla="*/ 4345797 w 9013239"/>
                  <a:gd name="connsiteY2494" fmla="*/ 4307672 h 4936668"/>
                  <a:gd name="connsiteX2495" fmla="*/ 4341031 w 9013239"/>
                  <a:gd name="connsiteY2495" fmla="*/ 4302908 h 4936668"/>
                  <a:gd name="connsiteX2496" fmla="*/ 4341031 w 9013239"/>
                  <a:gd name="connsiteY2496" fmla="*/ 4293376 h 4936668"/>
                  <a:gd name="connsiteX2497" fmla="*/ 4336266 w 9013239"/>
                  <a:gd name="connsiteY2497" fmla="*/ 4302908 h 4936668"/>
                  <a:gd name="connsiteX2498" fmla="*/ 4326736 w 9013239"/>
                  <a:gd name="connsiteY2498" fmla="*/ 4302908 h 4936668"/>
                  <a:gd name="connsiteX2499" fmla="*/ 4312441 w 9013239"/>
                  <a:gd name="connsiteY2499" fmla="*/ 4307672 h 4936668"/>
                  <a:gd name="connsiteX2500" fmla="*/ 4302911 w 9013239"/>
                  <a:gd name="connsiteY2500" fmla="*/ 4307672 h 4936668"/>
                  <a:gd name="connsiteX2501" fmla="*/ 4302911 w 9013239"/>
                  <a:gd name="connsiteY2501" fmla="*/ 4317204 h 4936668"/>
                  <a:gd name="connsiteX2502" fmla="*/ 4307675 w 9013239"/>
                  <a:gd name="connsiteY2502" fmla="*/ 4321968 h 4936668"/>
                  <a:gd name="connsiteX2503" fmla="*/ 4321971 w 9013239"/>
                  <a:gd name="connsiteY2503" fmla="*/ 4317204 h 4936668"/>
                  <a:gd name="connsiteX2504" fmla="*/ 4317205 w 9013239"/>
                  <a:gd name="connsiteY2504" fmla="*/ 4336264 h 4936668"/>
                  <a:gd name="connsiteX2505" fmla="*/ 4302911 w 9013239"/>
                  <a:gd name="connsiteY2505" fmla="*/ 4355324 h 4936668"/>
                  <a:gd name="connsiteX2506" fmla="*/ 4288615 w 9013239"/>
                  <a:gd name="connsiteY2506" fmla="*/ 4360088 h 4936668"/>
                  <a:gd name="connsiteX2507" fmla="*/ 4269555 w 9013239"/>
                  <a:gd name="connsiteY2507" fmla="*/ 4355324 h 4936668"/>
                  <a:gd name="connsiteX2508" fmla="*/ 4264789 w 9013239"/>
                  <a:gd name="connsiteY2508" fmla="*/ 4360088 h 4936668"/>
                  <a:gd name="connsiteX2509" fmla="*/ 4260024 w 9013239"/>
                  <a:gd name="connsiteY2509" fmla="*/ 4364856 h 4936668"/>
                  <a:gd name="connsiteX2510" fmla="*/ 4283850 w 9013239"/>
                  <a:gd name="connsiteY2510" fmla="*/ 4393444 h 4936668"/>
                  <a:gd name="connsiteX2511" fmla="*/ 4269555 w 9013239"/>
                  <a:gd name="connsiteY2511" fmla="*/ 4436332 h 4936668"/>
                  <a:gd name="connsiteX2512" fmla="*/ 4260024 w 9013239"/>
                  <a:gd name="connsiteY2512" fmla="*/ 4450628 h 4936668"/>
                  <a:gd name="connsiteX2513" fmla="*/ 4255259 w 9013239"/>
                  <a:gd name="connsiteY2513" fmla="*/ 4455392 h 4936668"/>
                  <a:gd name="connsiteX2514" fmla="*/ 4245729 w 9013239"/>
                  <a:gd name="connsiteY2514" fmla="*/ 4455392 h 4936668"/>
                  <a:gd name="connsiteX2515" fmla="*/ 4221903 w 9013239"/>
                  <a:gd name="connsiteY2515" fmla="*/ 4441096 h 4936668"/>
                  <a:gd name="connsiteX2516" fmla="*/ 4207607 w 9013239"/>
                  <a:gd name="connsiteY2516" fmla="*/ 4431568 h 4936668"/>
                  <a:gd name="connsiteX2517" fmla="*/ 4221903 w 9013239"/>
                  <a:gd name="connsiteY2517" fmla="*/ 4460156 h 4936668"/>
                  <a:gd name="connsiteX2518" fmla="*/ 4255259 w 9013239"/>
                  <a:gd name="connsiteY2518" fmla="*/ 4469688 h 4936668"/>
                  <a:gd name="connsiteX2519" fmla="*/ 4255259 w 9013239"/>
                  <a:gd name="connsiteY2519" fmla="*/ 4479216 h 4936668"/>
                  <a:gd name="connsiteX2520" fmla="*/ 4255259 w 9013239"/>
                  <a:gd name="connsiteY2520" fmla="*/ 4488748 h 4936668"/>
                  <a:gd name="connsiteX2521" fmla="*/ 4250494 w 9013239"/>
                  <a:gd name="connsiteY2521" fmla="*/ 4503044 h 4936668"/>
                  <a:gd name="connsiteX2522" fmla="*/ 4240963 w 9013239"/>
                  <a:gd name="connsiteY2522" fmla="*/ 4517340 h 4936668"/>
                  <a:gd name="connsiteX2523" fmla="*/ 4245729 w 9013239"/>
                  <a:gd name="connsiteY2523" fmla="*/ 4526868 h 4936668"/>
                  <a:gd name="connsiteX2524" fmla="*/ 4250494 w 9013239"/>
                  <a:gd name="connsiteY2524" fmla="*/ 4550696 h 4936668"/>
                  <a:gd name="connsiteX2525" fmla="*/ 4255259 w 9013239"/>
                  <a:gd name="connsiteY2525" fmla="*/ 4564992 h 4936668"/>
                  <a:gd name="connsiteX2526" fmla="*/ 4260024 w 9013239"/>
                  <a:gd name="connsiteY2526" fmla="*/ 4598344 h 4936668"/>
                  <a:gd name="connsiteX2527" fmla="*/ 4264789 w 9013239"/>
                  <a:gd name="connsiteY2527" fmla="*/ 4617408 h 4936668"/>
                  <a:gd name="connsiteX2528" fmla="*/ 4298145 w 9013239"/>
                  <a:gd name="connsiteY2528" fmla="*/ 4674588 h 4936668"/>
                  <a:gd name="connsiteX2529" fmla="*/ 4307675 w 9013239"/>
                  <a:gd name="connsiteY2529" fmla="*/ 4674588 h 4936668"/>
                  <a:gd name="connsiteX2530" fmla="*/ 4307675 w 9013239"/>
                  <a:gd name="connsiteY2530" fmla="*/ 4679352 h 4936668"/>
                  <a:gd name="connsiteX2531" fmla="*/ 4307675 w 9013239"/>
                  <a:gd name="connsiteY2531" fmla="*/ 4693648 h 4936668"/>
                  <a:gd name="connsiteX2532" fmla="*/ 4283850 w 9013239"/>
                  <a:gd name="connsiteY2532" fmla="*/ 4693648 h 4936668"/>
                  <a:gd name="connsiteX2533" fmla="*/ 4274319 w 9013239"/>
                  <a:gd name="connsiteY2533" fmla="*/ 4698412 h 4936668"/>
                  <a:gd name="connsiteX2534" fmla="*/ 4274319 w 9013239"/>
                  <a:gd name="connsiteY2534" fmla="*/ 4703180 h 4936668"/>
                  <a:gd name="connsiteX2535" fmla="*/ 4274319 w 9013239"/>
                  <a:gd name="connsiteY2535" fmla="*/ 4707944 h 4936668"/>
                  <a:gd name="connsiteX2536" fmla="*/ 4269555 w 9013239"/>
                  <a:gd name="connsiteY2536" fmla="*/ 4707944 h 4936668"/>
                  <a:gd name="connsiteX2537" fmla="*/ 4260024 w 9013239"/>
                  <a:gd name="connsiteY2537" fmla="*/ 4703180 h 4936668"/>
                  <a:gd name="connsiteX2538" fmla="*/ 4236199 w 9013239"/>
                  <a:gd name="connsiteY2538" fmla="*/ 4688884 h 4936668"/>
                  <a:gd name="connsiteX2539" fmla="*/ 4202843 w 9013239"/>
                  <a:gd name="connsiteY2539" fmla="*/ 4679352 h 4936668"/>
                  <a:gd name="connsiteX2540" fmla="*/ 4159957 w 9013239"/>
                  <a:gd name="connsiteY2540" fmla="*/ 4674588 h 4936668"/>
                  <a:gd name="connsiteX2541" fmla="*/ 4131366 w 9013239"/>
                  <a:gd name="connsiteY2541" fmla="*/ 4665056 h 4936668"/>
                  <a:gd name="connsiteX2542" fmla="*/ 4112305 w 9013239"/>
                  <a:gd name="connsiteY2542" fmla="*/ 4655528 h 4936668"/>
                  <a:gd name="connsiteX2543" fmla="*/ 4098010 w 9013239"/>
                  <a:gd name="connsiteY2543" fmla="*/ 4645996 h 4936668"/>
                  <a:gd name="connsiteX2544" fmla="*/ 4078949 w 9013239"/>
                  <a:gd name="connsiteY2544" fmla="*/ 4641232 h 4936668"/>
                  <a:gd name="connsiteX2545" fmla="*/ 4064654 w 9013239"/>
                  <a:gd name="connsiteY2545" fmla="*/ 4636468 h 4936668"/>
                  <a:gd name="connsiteX2546" fmla="*/ 4055124 w 9013239"/>
                  <a:gd name="connsiteY2546" fmla="*/ 4626936 h 4936668"/>
                  <a:gd name="connsiteX2547" fmla="*/ 4036063 w 9013239"/>
                  <a:gd name="connsiteY2547" fmla="*/ 4617408 h 4936668"/>
                  <a:gd name="connsiteX2548" fmla="*/ 4017003 w 9013239"/>
                  <a:gd name="connsiteY2548" fmla="*/ 4617408 h 4936668"/>
                  <a:gd name="connsiteX2549" fmla="*/ 3997942 w 9013239"/>
                  <a:gd name="connsiteY2549" fmla="*/ 4607876 h 4936668"/>
                  <a:gd name="connsiteX2550" fmla="*/ 3988412 w 9013239"/>
                  <a:gd name="connsiteY2550" fmla="*/ 4588816 h 4936668"/>
                  <a:gd name="connsiteX2551" fmla="*/ 3978881 w 9013239"/>
                  <a:gd name="connsiteY2551" fmla="*/ 4550696 h 4936668"/>
                  <a:gd name="connsiteX2552" fmla="*/ 3969351 w 9013239"/>
                  <a:gd name="connsiteY2552" fmla="*/ 4531636 h 4936668"/>
                  <a:gd name="connsiteX2553" fmla="*/ 3945526 w 9013239"/>
                  <a:gd name="connsiteY2553" fmla="*/ 4503044 h 4936668"/>
                  <a:gd name="connsiteX2554" fmla="*/ 3945526 w 9013239"/>
                  <a:gd name="connsiteY2554" fmla="*/ 4498280 h 4936668"/>
                  <a:gd name="connsiteX2555" fmla="*/ 3950291 w 9013239"/>
                  <a:gd name="connsiteY2555" fmla="*/ 4479216 h 4936668"/>
                  <a:gd name="connsiteX2556" fmla="*/ 3945526 w 9013239"/>
                  <a:gd name="connsiteY2556" fmla="*/ 4469688 h 4936668"/>
                  <a:gd name="connsiteX2557" fmla="*/ 3940761 w 9013239"/>
                  <a:gd name="connsiteY2557" fmla="*/ 4460156 h 4936668"/>
                  <a:gd name="connsiteX2558" fmla="*/ 3935995 w 9013239"/>
                  <a:gd name="connsiteY2558" fmla="*/ 4450628 h 4936668"/>
                  <a:gd name="connsiteX2559" fmla="*/ 3940761 w 9013239"/>
                  <a:gd name="connsiteY2559" fmla="*/ 4441096 h 4936668"/>
                  <a:gd name="connsiteX2560" fmla="*/ 3940761 w 9013239"/>
                  <a:gd name="connsiteY2560" fmla="*/ 4426800 h 4936668"/>
                  <a:gd name="connsiteX2561" fmla="*/ 3935995 w 9013239"/>
                  <a:gd name="connsiteY2561" fmla="*/ 4412504 h 4936668"/>
                  <a:gd name="connsiteX2562" fmla="*/ 3921700 w 9013239"/>
                  <a:gd name="connsiteY2562" fmla="*/ 4398212 h 4936668"/>
                  <a:gd name="connsiteX2563" fmla="*/ 3897875 w 9013239"/>
                  <a:gd name="connsiteY2563" fmla="*/ 4383916 h 4936668"/>
                  <a:gd name="connsiteX2564" fmla="*/ 3878814 w 9013239"/>
                  <a:gd name="connsiteY2564" fmla="*/ 4360088 h 4936668"/>
                  <a:gd name="connsiteX2565" fmla="*/ 3859753 w 9013239"/>
                  <a:gd name="connsiteY2565" fmla="*/ 4326732 h 4936668"/>
                  <a:gd name="connsiteX2566" fmla="*/ 3845458 w 9013239"/>
                  <a:gd name="connsiteY2566" fmla="*/ 4302908 h 4936668"/>
                  <a:gd name="connsiteX2567" fmla="*/ 3826397 w 9013239"/>
                  <a:gd name="connsiteY2567" fmla="*/ 4293376 h 4936668"/>
                  <a:gd name="connsiteX2568" fmla="*/ 3812102 w 9013239"/>
                  <a:gd name="connsiteY2568" fmla="*/ 4274316 h 4936668"/>
                  <a:gd name="connsiteX2569" fmla="*/ 3807337 w 9013239"/>
                  <a:gd name="connsiteY2569" fmla="*/ 4260020 h 4936668"/>
                  <a:gd name="connsiteX2570" fmla="*/ 3807337 w 9013239"/>
                  <a:gd name="connsiteY2570" fmla="*/ 4245728 h 4936668"/>
                  <a:gd name="connsiteX2571" fmla="*/ 3797807 w 9013239"/>
                  <a:gd name="connsiteY2571" fmla="*/ 4226664 h 4936668"/>
                  <a:gd name="connsiteX2572" fmla="*/ 3773981 w 9013239"/>
                  <a:gd name="connsiteY2572" fmla="*/ 4188544 h 4936668"/>
                  <a:gd name="connsiteX2573" fmla="*/ 3759686 w 9013239"/>
                  <a:gd name="connsiteY2573" fmla="*/ 4159956 h 4936668"/>
                  <a:gd name="connsiteX2574" fmla="*/ 3759686 w 9013239"/>
                  <a:gd name="connsiteY2574" fmla="*/ 4145660 h 4936668"/>
                  <a:gd name="connsiteX2575" fmla="*/ 3745390 w 9013239"/>
                  <a:gd name="connsiteY2575" fmla="*/ 4121832 h 4936668"/>
                  <a:gd name="connsiteX2576" fmla="*/ 3716799 w 9013239"/>
                  <a:gd name="connsiteY2576" fmla="*/ 4102772 h 4936668"/>
                  <a:gd name="connsiteX2577" fmla="*/ 3702504 w 9013239"/>
                  <a:gd name="connsiteY2577" fmla="*/ 4083712 h 4936668"/>
                  <a:gd name="connsiteX2578" fmla="*/ 3697739 w 9013239"/>
                  <a:gd name="connsiteY2578" fmla="*/ 4074180 h 4936668"/>
                  <a:gd name="connsiteX2579" fmla="*/ 3654853 w 9013239"/>
                  <a:gd name="connsiteY2579" fmla="*/ 4040824 h 4936668"/>
                  <a:gd name="connsiteX2580" fmla="*/ 3645323 w 9013239"/>
                  <a:gd name="connsiteY2580" fmla="*/ 4021764 h 4936668"/>
                  <a:gd name="connsiteX2581" fmla="*/ 3635793 w 9013239"/>
                  <a:gd name="connsiteY2581" fmla="*/ 4017000 h 4936668"/>
                  <a:gd name="connsiteX2582" fmla="*/ 3626262 w 9013239"/>
                  <a:gd name="connsiteY2582" fmla="*/ 4017000 h 4936668"/>
                  <a:gd name="connsiteX2583" fmla="*/ 3621497 w 9013239"/>
                  <a:gd name="connsiteY2583" fmla="*/ 4017000 h 4936668"/>
                  <a:gd name="connsiteX2584" fmla="*/ 3616732 w 9013239"/>
                  <a:gd name="connsiteY2584" fmla="*/ 4012236 h 4936668"/>
                  <a:gd name="connsiteX2585" fmla="*/ 3607202 w 9013239"/>
                  <a:gd name="connsiteY2585" fmla="*/ 4017000 h 4936668"/>
                  <a:gd name="connsiteX2586" fmla="*/ 3588141 w 9013239"/>
                  <a:gd name="connsiteY2586" fmla="*/ 4017000 h 4936668"/>
                  <a:gd name="connsiteX2587" fmla="*/ 3550020 w 9013239"/>
                  <a:gd name="connsiteY2587" fmla="*/ 4012236 h 4936668"/>
                  <a:gd name="connsiteX2588" fmla="*/ 3521429 w 9013239"/>
                  <a:gd name="connsiteY2588" fmla="*/ 4007472 h 4936668"/>
                  <a:gd name="connsiteX2589" fmla="*/ 3507134 w 9013239"/>
                  <a:gd name="connsiteY2589" fmla="*/ 4002704 h 4936668"/>
                  <a:gd name="connsiteX2590" fmla="*/ 3492839 w 9013239"/>
                  <a:gd name="connsiteY2590" fmla="*/ 4002704 h 4936668"/>
                  <a:gd name="connsiteX2591" fmla="*/ 3488073 w 9013239"/>
                  <a:gd name="connsiteY2591" fmla="*/ 4012236 h 4936668"/>
                  <a:gd name="connsiteX2592" fmla="*/ 3473778 w 9013239"/>
                  <a:gd name="connsiteY2592" fmla="*/ 4017000 h 4936668"/>
                  <a:gd name="connsiteX2593" fmla="*/ 3454717 w 9013239"/>
                  <a:gd name="connsiteY2593" fmla="*/ 4021764 h 4936668"/>
                  <a:gd name="connsiteX2594" fmla="*/ 3435657 w 9013239"/>
                  <a:gd name="connsiteY2594" fmla="*/ 4040824 h 4936668"/>
                  <a:gd name="connsiteX2595" fmla="*/ 3416597 w 9013239"/>
                  <a:gd name="connsiteY2595" fmla="*/ 4078948 h 4936668"/>
                  <a:gd name="connsiteX2596" fmla="*/ 3411831 w 9013239"/>
                  <a:gd name="connsiteY2596" fmla="*/ 4102772 h 4936668"/>
                  <a:gd name="connsiteX2597" fmla="*/ 3411831 w 9013239"/>
                  <a:gd name="connsiteY2597" fmla="*/ 4112304 h 4936668"/>
                  <a:gd name="connsiteX2598" fmla="*/ 3407066 w 9013239"/>
                  <a:gd name="connsiteY2598" fmla="*/ 4117068 h 4936668"/>
                  <a:gd name="connsiteX2599" fmla="*/ 3397536 w 9013239"/>
                  <a:gd name="connsiteY2599" fmla="*/ 4121832 h 4936668"/>
                  <a:gd name="connsiteX2600" fmla="*/ 3388006 w 9013239"/>
                  <a:gd name="connsiteY2600" fmla="*/ 4131364 h 4936668"/>
                  <a:gd name="connsiteX2601" fmla="*/ 3378475 w 9013239"/>
                  <a:gd name="connsiteY2601" fmla="*/ 4150424 h 4936668"/>
                  <a:gd name="connsiteX2602" fmla="*/ 3364180 w 9013239"/>
                  <a:gd name="connsiteY2602" fmla="*/ 4155188 h 4936668"/>
                  <a:gd name="connsiteX2603" fmla="*/ 3349885 w 9013239"/>
                  <a:gd name="connsiteY2603" fmla="*/ 4155188 h 4936668"/>
                  <a:gd name="connsiteX2604" fmla="*/ 3326059 w 9013239"/>
                  <a:gd name="connsiteY2604" fmla="*/ 4145660 h 4936668"/>
                  <a:gd name="connsiteX2605" fmla="*/ 3287938 w 9013239"/>
                  <a:gd name="connsiteY2605" fmla="*/ 4121832 h 4936668"/>
                  <a:gd name="connsiteX2606" fmla="*/ 3259347 w 9013239"/>
                  <a:gd name="connsiteY2606" fmla="*/ 4102772 h 4936668"/>
                  <a:gd name="connsiteX2607" fmla="*/ 3235522 w 9013239"/>
                  <a:gd name="connsiteY2607" fmla="*/ 4098008 h 4936668"/>
                  <a:gd name="connsiteX2608" fmla="*/ 3216461 w 9013239"/>
                  <a:gd name="connsiteY2608" fmla="*/ 4088476 h 4936668"/>
                  <a:gd name="connsiteX2609" fmla="*/ 3202166 w 9013239"/>
                  <a:gd name="connsiteY2609" fmla="*/ 4069416 h 4936668"/>
                  <a:gd name="connsiteX2610" fmla="*/ 3187871 w 9013239"/>
                  <a:gd name="connsiteY2610" fmla="*/ 4059888 h 4936668"/>
                  <a:gd name="connsiteX2611" fmla="*/ 3173575 w 9013239"/>
                  <a:gd name="connsiteY2611" fmla="*/ 4055120 h 4936668"/>
                  <a:gd name="connsiteX2612" fmla="*/ 3159280 w 9013239"/>
                  <a:gd name="connsiteY2612" fmla="*/ 4036060 h 4936668"/>
                  <a:gd name="connsiteX2613" fmla="*/ 3140219 w 9013239"/>
                  <a:gd name="connsiteY2613" fmla="*/ 4002704 h 4936668"/>
                  <a:gd name="connsiteX2614" fmla="*/ 3130689 w 9013239"/>
                  <a:gd name="connsiteY2614" fmla="*/ 3978880 h 4936668"/>
                  <a:gd name="connsiteX2615" fmla="*/ 3130689 w 9013239"/>
                  <a:gd name="connsiteY2615" fmla="*/ 3955052 h 4936668"/>
                  <a:gd name="connsiteX2616" fmla="*/ 3106863 w 9013239"/>
                  <a:gd name="connsiteY2616" fmla="*/ 3897872 h 4936668"/>
                  <a:gd name="connsiteX2617" fmla="*/ 3092568 w 9013239"/>
                  <a:gd name="connsiteY2617" fmla="*/ 3869280 h 4936668"/>
                  <a:gd name="connsiteX2618" fmla="*/ 3083037 w 9013239"/>
                  <a:gd name="connsiteY2618" fmla="*/ 3859752 h 4936668"/>
                  <a:gd name="connsiteX2619" fmla="*/ 3063977 w 9013239"/>
                  <a:gd name="connsiteY2619" fmla="*/ 3845456 h 4936668"/>
                  <a:gd name="connsiteX2620" fmla="*/ 3035386 w 9013239"/>
                  <a:gd name="connsiteY2620" fmla="*/ 3831160 h 4936668"/>
                  <a:gd name="connsiteX2621" fmla="*/ 3002031 w 9013239"/>
                  <a:gd name="connsiteY2621" fmla="*/ 3797804 h 4936668"/>
                  <a:gd name="connsiteX2622" fmla="*/ 2954379 w 9013239"/>
                  <a:gd name="connsiteY2622" fmla="*/ 3750152 h 4936668"/>
                  <a:gd name="connsiteX2623" fmla="*/ 2921023 w 9013239"/>
                  <a:gd name="connsiteY2623" fmla="*/ 3721564 h 4936668"/>
                  <a:gd name="connsiteX2624" fmla="*/ 2901963 w 9013239"/>
                  <a:gd name="connsiteY2624" fmla="*/ 3712032 h 4936668"/>
                  <a:gd name="connsiteX2625" fmla="*/ 2882902 w 9013239"/>
                  <a:gd name="connsiteY2625" fmla="*/ 3697736 h 4936668"/>
                  <a:gd name="connsiteX2626" fmla="*/ 2868607 w 9013239"/>
                  <a:gd name="connsiteY2626" fmla="*/ 3673912 h 4936668"/>
                  <a:gd name="connsiteX2627" fmla="*/ 2854311 w 9013239"/>
                  <a:gd name="connsiteY2627" fmla="*/ 3654852 h 4936668"/>
                  <a:gd name="connsiteX2628" fmla="*/ 2782835 w 9013239"/>
                  <a:gd name="connsiteY2628" fmla="*/ 3654852 h 4936668"/>
                  <a:gd name="connsiteX2629" fmla="*/ 2749479 w 9013239"/>
                  <a:gd name="connsiteY2629" fmla="*/ 3654852 h 4936668"/>
                  <a:gd name="connsiteX2630" fmla="*/ 2682767 w 9013239"/>
                  <a:gd name="connsiteY2630" fmla="*/ 3654852 h 4936668"/>
                  <a:gd name="connsiteX2631" fmla="*/ 2644646 w 9013239"/>
                  <a:gd name="connsiteY2631" fmla="*/ 3654852 h 4936668"/>
                  <a:gd name="connsiteX2632" fmla="*/ 2577934 w 9013239"/>
                  <a:gd name="connsiteY2632" fmla="*/ 3654852 h 4936668"/>
                  <a:gd name="connsiteX2633" fmla="*/ 2577934 w 9013239"/>
                  <a:gd name="connsiteY2633" fmla="*/ 3716796 h 4936668"/>
                  <a:gd name="connsiteX2634" fmla="*/ 2577934 w 9013239"/>
                  <a:gd name="connsiteY2634" fmla="*/ 3735856 h 4936668"/>
                  <a:gd name="connsiteX2635" fmla="*/ 2358738 w 9013239"/>
                  <a:gd name="connsiteY2635" fmla="*/ 3735856 h 4936668"/>
                  <a:gd name="connsiteX2636" fmla="*/ 2301557 w 9013239"/>
                  <a:gd name="connsiteY2636" fmla="*/ 3735856 h 4936668"/>
                  <a:gd name="connsiteX2637" fmla="*/ 2134777 w 9013239"/>
                  <a:gd name="connsiteY2637" fmla="*/ 3735856 h 4936668"/>
                  <a:gd name="connsiteX2638" fmla="*/ 2063300 w 9013239"/>
                  <a:gd name="connsiteY2638" fmla="*/ 3712032 h 4936668"/>
                  <a:gd name="connsiteX2639" fmla="*/ 1987058 w 9013239"/>
                  <a:gd name="connsiteY2639" fmla="*/ 3683440 h 4936668"/>
                  <a:gd name="connsiteX2640" fmla="*/ 1915581 w 9013239"/>
                  <a:gd name="connsiteY2640" fmla="*/ 3654852 h 4936668"/>
                  <a:gd name="connsiteX2641" fmla="*/ 1767862 w 9013239"/>
                  <a:gd name="connsiteY2641" fmla="*/ 3602436 h 4936668"/>
                  <a:gd name="connsiteX2642" fmla="*/ 1691620 w 9013239"/>
                  <a:gd name="connsiteY2642" fmla="*/ 3573844 h 4936668"/>
                  <a:gd name="connsiteX2643" fmla="*/ 1543901 w 9013239"/>
                  <a:gd name="connsiteY2643" fmla="*/ 3516660 h 4936668"/>
                  <a:gd name="connsiteX2644" fmla="*/ 1553432 w 9013239"/>
                  <a:gd name="connsiteY2644" fmla="*/ 3507132 h 4936668"/>
                  <a:gd name="connsiteX2645" fmla="*/ 1562962 w 9013239"/>
                  <a:gd name="connsiteY2645" fmla="*/ 3478540 h 4936668"/>
                  <a:gd name="connsiteX2646" fmla="*/ 1543901 w 9013239"/>
                  <a:gd name="connsiteY2646" fmla="*/ 3483308 h 4936668"/>
                  <a:gd name="connsiteX2647" fmla="*/ 1453364 w 9013239"/>
                  <a:gd name="connsiteY2647" fmla="*/ 3488072 h 4936668"/>
                  <a:gd name="connsiteX2648" fmla="*/ 1410478 w 9013239"/>
                  <a:gd name="connsiteY2648" fmla="*/ 3492836 h 4936668"/>
                  <a:gd name="connsiteX2649" fmla="*/ 1362827 w 9013239"/>
                  <a:gd name="connsiteY2649" fmla="*/ 3497600 h 4936668"/>
                  <a:gd name="connsiteX2650" fmla="*/ 1319940 w 9013239"/>
                  <a:gd name="connsiteY2650" fmla="*/ 3502368 h 4936668"/>
                  <a:gd name="connsiteX2651" fmla="*/ 1272289 w 9013239"/>
                  <a:gd name="connsiteY2651" fmla="*/ 3507132 h 4936668"/>
                  <a:gd name="connsiteX2652" fmla="*/ 1229403 w 9013239"/>
                  <a:gd name="connsiteY2652" fmla="*/ 3511896 h 4936668"/>
                  <a:gd name="connsiteX2653" fmla="*/ 1186517 w 9013239"/>
                  <a:gd name="connsiteY2653" fmla="*/ 3516660 h 4936668"/>
                  <a:gd name="connsiteX2654" fmla="*/ 1186517 w 9013239"/>
                  <a:gd name="connsiteY2654" fmla="*/ 3511896 h 4936668"/>
                  <a:gd name="connsiteX2655" fmla="*/ 1181752 w 9013239"/>
                  <a:gd name="connsiteY2655" fmla="*/ 3492836 h 4936668"/>
                  <a:gd name="connsiteX2656" fmla="*/ 1176987 w 9013239"/>
                  <a:gd name="connsiteY2656" fmla="*/ 3483308 h 4936668"/>
                  <a:gd name="connsiteX2657" fmla="*/ 1167456 w 9013239"/>
                  <a:gd name="connsiteY2657" fmla="*/ 3488072 h 4936668"/>
                  <a:gd name="connsiteX2658" fmla="*/ 1162691 w 9013239"/>
                  <a:gd name="connsiteY2658" fmla="*/ 3464244 h 4936668"/>
                  <a:gd name="connsiteX2659" fmla="*/ 1167456 w 9013239"/>
                  <a:gd name="connsiteY2659" fmla="*/ 3449952 h 4936668"/>
                  <a:gd name="connsiteX2660" fmla="*/ 1162691 w 9013239"/>
                  <a:gd name="connsiteY2660" fmla="*/ 3440420 h 4936668"/>
                  <a:gd name="connsiteX2661" fmla="*/ 1153161 w 9013239"/>
                  <a:gd name="connsiteY2661" fmla="*/ 3407064 h 4936668"/>
                  <a:gd name="connsiteX2662" fmla="*/ 1134100 w 9013239"/>
                  <a:gd name="connsiteY2662" fmla="*/ 3373708 h 4936668"/>
                  <a:gd name="connsiteX2663" fmla="*/ 1081684 w 9013239"/>
                  <a:gd name="connsiteY2663" fmla="*/ 3326056 h 4936668"/>
                  <a:gd name="connsiteX2664" fmla="*/ 1057858 w 9013239"/>
                  <a:gd name="connsiteY2664" fmla="*/ 3311760 h 4936668"/>
                  <a:gd name="connsiteX2665" fmla="*/ 1034033 w 9013239"/>
                  <a:gd name="connsiteY2665" fmla="*/ 3292700 h 4936668"/>
                  <a:gd name="connsiteX2666" fmla="*/ 1024502 w 9013239"/>
                  <a:gd name="connsiteY2666" fmla="*/ 3287936 h 4936668"/>
                  <a:gd name="connsiteX2667" fmla="*/ 1010207 w 9013239"/>
                  <a:gd name="connsiteY2667" fmla="*/ 3283172 h 4936668"/>
                  <a:gd name="connsiteX2668" fmla="*/ 1000677 w 9013239"/>
                  <a:gd name="connsiteY2668" fmla="*/ 3292700 h 4936668"/>
                  <a:gd name="connsiteX2669" fmla="*/ 986381 w 9013239"/>
                  <a:gd name="connsiteY2669" fmla="*/ 3287936 h 4936668"/>
                  <a:gd name="connsiteX2670" fmla="*/ 986381 w 9013239"/>
                  <a:gd name="connsiteY2670" fmla="*/ 3268876 h 4936668"/>
                  <a:gd name="connsiteX2671" fmla="*/ 972086 w 9013239"/>
                  <a:gd name="connsiteY2671" fmla="*/ 3235520 h 4936668"/>
                  <a:gd name="connsiteX2672" fmla="*/ 957791 w 9013239"/>
                  <a:gd name="connsiteY2672" fmla="*/ 3235520 h 4936668"/>
                  <a:gd name="connsiteX2673" fmla="*/ 919670 w 9013239"/>
                  <a:gd name="connsiteY2673" fmla="*/ 3235520 h 4936668"/>
                  <a:gd name="connsiteX2674" fmla="*/ 872018 w 9013239"/>
                  <a:gd name="connsiteY2674" fmla="*/ 3216460 h 4936668"/>
                  <a:gd name="connsiteX2675" fmla="*/ 857723 w 9013239"/>
                  <a:gd name="connsiteY2675" fmla="*/ 3206928 h 4936668"/>
                  <a:gd name="connsiteX2676" fmla="*/ 852958 w 9013239"/>
                  <a:gd name="connsiteY2676" fmla="*/ 3192632 h 4936668"/>
                  <a:gd name="connsiteX2677" fmla="*/ 829132 w 9013239"/>
                  <a:gd name="connsiteY2677" fmla="*/ 3173572 h 4936668"/>
                  <a:gd name="connsiteX2678" fmla="*/ 800541 w 9013239"/>
                  <a:gd name="connsiteY2678" fmla="*/ 3159276 h 4936668"/>
                  <a:gd name="connsiteX2679" fmla="*/ 781481 w 9013239"/>
                  <a:gd name="connsiteY2679" fmla="*/ 3164044 h 4936668"/>
                  <a:gd name="connsiteX2680" fmla="*/ 757655 w 9013239"/>
                  <a:gd name="connsiteY2680" fmla="*/ 3164044 h 4936668"/>
                  <a:gd name="connsiteX2681" fmla="*/ 729065 w 9013239"/>
                  <a:gd name="connsiteY2681" fmla="*/ 3149748 h 4936668"/>
                  <a:gd name="connsiteX2682" fmla="*/ 710004 w 9013239"/>
                  <a:gd name="connsiteY2682" fmla="*/ 3149748 h 4936668"/>
                  <a:gd name="connsiteX2683" fmla="*/ 676648 w 9013239"/>
                  <a:gd name="connsiteY2683" fmla="*/ 3154512 h 4936668"/>
                  <a:gd name="connsiteX2684" fmla="*/ 662353 w 9013239"/>
                  <a:gd name="connsiteY2684" fmla="*/ 3149748 h 4936668"/>
                  <a:gd name="connsiteX2685" fmla="*/ 648057 w 9013239"/>
                  <a:gd name="connsiteY2685" fmla="*/ 3135452 h 4936668"/>
                  <a:gd name="connsiteX2686" fmla="*/ 638527 w 9013239"/>
                  <a:gd name="connsiteY2686" fmla="*/ 3130688 h 4936668"/>
                  <a:gd name="connsiteX2687" fmla="*/ 638527 w 9013239"/>
                  <a:gd name="connsiteY2687" fmla="*/ 3111628 h 4936668"/>
                  <a:gd name="connsiteX2688" fmla="*/ 638527 w 9013239"/>
                  <a:gd name="connsiteY2688" fmla="*/ 3097332 h 4936668"/>
                  <a:gd name="connsiteX2689" fmla="*/ 638527 w 9013239"/>
                  <a:gd name="connsiteY2689" fmla="*/ 3087800 h 4936668"/>
                  <a:gd name="connsiteX2690" fmla="*/ 633762 w 9013239"/>
                  <a:gd name="connsiteY2690" fmla="*/ 3059208 h 4936668"/>
                  <a:gd name="connsiteX2691" fmla="*/ 638527 w 9013239"/>
                  <a:gd name="connsiteY2691" fmla="*/ 3035384 h 4936668"/>
                  <a:gd name="connsiteX2692" fmla="*/ 633762 w 9013239"/>
                  <a:gd name="connsiteY2692" fmla="*/ 3025852 h 4936668"/>
                  <a:gd name="connsiteX2693" fmla="*/ 624232 w 9013239"/>
                  <a:gd name="connsiteY2693" fmla="*/ 3021088 h 4936668"/>
                  <a:gd name="connsiteX2694" fmla="*/ 600406 w 9013239"/>
                  <a:gd name="connsiteY2694" fmla="*/ 3011560 h 4936668"/>
                  <a:gd name="connsiteX2695" fmla="*/ 600406 w 9013239"/>
                  <a:gd name="connsiteY2695" fmla="*/ 2997264 h 4936668"/>
                  <a:gd name="connsiteX2696" fmla="*/ 600406 w 9013239"/>
                  <a:gd name="connsiteY2696" fmla="*/ 2978204 h 4936668"/>
                  <a:gd name="connsiteX2697" fmla="*/ 595641 w 9013239"/>
                  <a:gd name="connsiteY2697" fmla="*/ 2968672 h 4936668"/>
                  <a:gd name="connsiteX2698" fmla="*/ 576580 w 9013239"/>
                  <a:gd name="connsiteY2698" fmla="*/ 2959144 h 4936668"/>
                  <a:gd name="connsiteX2699" fmla="*/ 557520 w 9013239"/>
                  <a:gd name="connsiteY2699" fmla="*/ 2935316 h 4936668"/>
                  <a:gd name="connsiteX2700" fmla="*/ 538459 w 9013239"/>
                  <a:gd name="connsiteY2700" fmla="*/ 2921020 h 4936668"/>
                  <a:gd name="connsiteX2701" fmla="*/ 528929 w 9013239"/>
                  <a:gd name="connsiteY2701" fmla="*/ 2897196 h 4936668"/>
                  <a:gd name="connsiteX2702" fmla="*/ 514634 w 9013239"/>
                  <a:gd name="connsiteY2702" fmla="*/ 2887664 h 4936668"/>
                  <a:gd name="connsiteX2703" fmla="*/ 509869 w 9013239"/>
                  <a:gd name="connsiteY2703" fmla="*/ 2873368 h 4936668"/>
                  <a:gd name="connsiteX2704" fmla="*/ 476513 w 9013239"/>
                  <a:gd name="connsiteY2704" fmla="*/ 2830484 h 4936668"/>
                  <a:gd name="connsiteX2705" fmla="*/ 443157 w 9013239"/>
                  <a:gd name="connsiteY2705" fmla="*/ 2792364 h 4936668"/>
                  <a:gd name="connsiteX2706" fmla="*/ 438392 w 9013239"/>
                  <a:gd name="connsiteY2706" fmla="*/ 2773304 h 4936668"/>
                  <a:gd name="connsiteX2707" fmla="*/ 438392 w 9013239"/>
                  <a:gd name="connsiteY2707" fmla="*/ 2749476 h 4936668"/>
                  <a:gd name="connsiteX2708" fmla="*/ 447922 w 9013239"/>
                  <a:gd name="connsiteY2708" fmla="*/ 2730416 h 4936668"/>
                  <a:gd name="connsiteX2709" fmla="*/ 457452 w 9013239"/>
                  <a:gd name="connsiteY2709" fmla="*/ 2716120 h 4936668"/>
                  <a:gd name="connsiteX2710" fmla="*/ 457452 w 9013239"/>
                  <a:gd name="connsiteY2710" fmla="*/ 2701824 h 4936668"/>
                  <a:gd name="connsiteX2711" fmla="*/ 452687 w 9013239"/>
                  <a:gd name="connsiteY2711" fmla="*/ 2692296 h 4936668"/>
                  <a:gd name="connsiteX2712" fmla="*/ 443157 w 9013239"/>
                  <a:gd name="connsiteY2712" fmla="*/ 2678000 h 4936668"/>
                  <a:gd name="connsiteX2713" fmla="*/ 400271 w 9013239"/>
                  <a:gd name="connsiteY2713" fmla="*/ 2663704 h 4936668"/>
                  <a:gd name="connsiteX2714" fmla="*/ 362150 w 9013239"/>
                  <a:gd name="connsiteY2714" fmla="*/ 2625584 h 4936668"/>
                  <a:gd name="connsiteX2715" fmla="*/ 362150 w 9013239"/>
                  <a:gd name="connsiteY2715" fmla="*/ 2592228 h 4936668"/>
                  <a:gd name="connsiteX2716" fmla="*/ 347854 w 9013239"/>
                  <a:gd name="connsiteY2716" fmla="*/ 2558872 h 4936668"/>
                  <a:gd name="connsiteX2717" fmla="*/ 347854 w 9013239"/>
                  <a:gd name="connsiteY2717" fmla="*/ 2535044 h 4936668"/>
                  <a:gd name="connsiteX2718" fmla="*/ 343089 w 9013239"/>
                  <a:gd name="connsiteY2718" fmla="*/ 2511220 h 4936668"/>
                  <a:gd name="connsiteX2719" fmla="*/ 357385 w 9013239"/>
                  <a:gd name="connsiteY2719" fmla="*/ 2506456 h 4936668"/>
                  <a:gd name="connsiteX2720" fmla="*/ 362150 w 9013239"/>
                  <a:gd name="connsiteY2720" fmla="*/ 2511220 h 4936668"/>
                  <a:gd name="connsiteX2721" fmla="*/ 362150 w 9013239"/>
                  <a:gd name="connsiteY2721" fmla="*/ 2520752 h 4936668"/>
                  <a:gd name="connsiteX2722" fmla="*/ 366915 w 9013239"/>
                  <a:gd name="connsiteY2722" fmla="*/ 2535044 h 4936668"/>
                  <a:gd name="connsiteX2723" fmla="*/ 376445 w 9013239"/>
                  <a:gd name="connsiteY2723" fmla="*/ 2549340 h 4936668"/>
                  <a:gd name="connsiteX2724" fmla="*/ 390740 w 9013239"/>
                  <a:gd name="connsiteY2724" fmla="*/ 2554108 h 4936668"/>
                  <a:gd name="connsiteX2725" fmla="*/ 400271 w 9013239"/>
                  <a:gd name="connsiteY2725" fmla="*/ 2563636 h 4936668"/>
                  <a:gd name="connsiteX2726" fmla="*/ 405036 w 9013239"/>
                  <a:gd name="connsiteY2726" fmla="*/ 2568400 h 4936668"/>
                  <a:gd name="connsiteX2727" fmla="*/ 414566 w 9013239"/>
                  <a:gd name="connsiteY2727" fmla="*/ 2573168 h 4936668"/>
                  <a:gd name="connsiteX2728" fmla="*/ 409801 w 9013239"/>
                  <a:gd name="connsiteY2728" fmla="*/ 2563636 h 4936668"/>
                  <a:gd name="connsiteX2729" fmla="*/ 405036 w 9013239"/>
                  <a:gd name="connsiteY2729" fmla="*/ 2558872 h 4936668"/>
                  <a:gd name="connsiteX2730" fmla="*/ 400271 w 9013239"/>
                  <a:gd name="connsiteY2730" fmla="*/ 2539812 h 4936668"/>
                  <a:gd name="connsiteX2731" fmla="*/ 390740 w 9013239"/>
                  <a:gd name="connsiteY2731" fmla="*/ 2520752 h 4936668"/>
                  <a:gd name="connsiteX2732" fmla="*/ 376445 w 9013239"/>
                  <a:gd name="connsiteY2732" fmla="*/ 2506456 h 4936668"/>
                  <a:gd name="connsiteX2733" fmla="*/ 371680 w 9013239"/>
                  <a:gd name="connsiteY2733" fmla="*/ 2487396 h 4936668"/>
                  <a:gd name="connsiteX2734" fmla="*/ 366915 w 9013239"/>
                  <a:gd name="connsiteY2734" fmla="*/ 2482628 h 4936668"/>
                  <a:gd name="connsiteX2735" fmla="*/ 362150 w 9013239"/>
                  <a:gd name="connsiteY2735" fmla="*/ 2477864 h 4936668"/>
                  <a:gd name="connsiteX2736" fmla="*/ 376445 w 9013239"/>
                  <a:gd name="connsiteY2736" fmla="*/ 2468332 h 4936668"/>
                  <a:gd name="connsiteX2737" fmla="*/ 390740 w 9013239"/>
                  <a:gd name="connsiteY2737" fmla="*/ 2458804 h 4936668"/>
                  <a:gd name="connsiteX2738" fmla="*/ 409801 w 9013239"/>
                  <a:gd name="connsiteY2738" fmla="*/ 2458804 h 4936668"/>
                  <a:gd name="connsiteX2739" fmla="*/ 466983 w 9013239"/>
                  <a:gd name="connsiteY2739" fmla="*/ 2458804 h 4936668"/>
                  <a:gd name="connsiteX2740" fmla="*/ 481278 w 9013239"/>
                  <a:gd name="connsiteY2740" fmla="*/ 2454040 h 4936668"/>
                  <a:gd name="connsiteX2741" fmla="*/ 490808 w 9013239"/>
                  <a:gd name="connsiteY2741" fmla="*/ 2458804 h 4936668"/>
                  <a:gd name="connsiteX2742" fmla="*/ 500338 w 9013239"/>
                  <a:gd name="connsiteY2742" fmla="*/ 2458804 h 4936668"/>
                  <a:gd name="connsiteX2743" fmla="*/ 481278 w 9013239"/>
                  <a:gd name="connsiteY2743" fmla="*/ 2449272 h 4936668"/>
                  <a:gd name="connsiteX2744" fmla="*/ 476513 w 9013239"/>
                  <a:gd name="connsiteY2744" fmla="*/ 2454040 h 4936668"/>
                  <a:gd name="connsiteX2745" fmla="*/ 462217 w 9013239"/>
                  <a:gd name="connsiteY2745" fmla="*/ 2449272 h 4936668"/>
                  <a:gd name="connsiteX2746" fmla="*/ 443157 w 9013239"/>
                  <a:gd name="connsiteY2746" fmla="*/ 2454040 h 4936668"/>
                  <a:gd name="connsiteX2747" fmla="*/ 433627 w 9013239"/>
                  <a:gd name="connsiteY2747" fmla="*/ 2449272 h 4936668"/>
                  <a:gd name="connsiteX2748" fmla="*/ 424096 w 9013239"/>
                  <a:gd name="connsiteY2748" fmla="*/ 2444508 h 4936668"/>
                  <a:gd name="connsiteX2749" fmla="*/ 419331 w 9013239"/>
                  <a:gd name="connsiteY2749" fmla="*/ 2444508 h 4936668"/>
                  <a:gd name="connsiteX2750" fmla="*/ 400271 w 9013239"/>
                  <a:gd name="connsiteY2750" fmla="*/ 2454040 h 4936668"/>
                  <a:gd name="connsiteX2751" fmla="*/ 390740 w 9013239"/>
                  <a:gd name="connsiteY2751" fmla="*/ 2454040 h 4936668"/>
                  <a:gd name="connsiteX2752" fmla="*/ 371680 w 9013239"/>
                  <a:gd name="connsiteY2752" fmla="*/ 2439744 h 4936668"/>
                  <a:gd name="connsiteX2753" fmla="*/ 362150 w 9013239"/>
                  <a:gd name="connsiteY2753" fmla="*/ 2439744 h 4936668"/>
                  <a:gd name="connsiteX2754" fmla="*/ 347854 w 9013239"/>
                  <a:gd name="connsiteY2754" fmla="*/ 2444508 h 4936668"/>
                  <a:gd name="connsiteX2755" fmla="*/ 347854 w 9013239"/>
                  <a:gd name="connsiteY2755" fmla="*/ 2477864 h 4936668"/>
                  <a:gd name="connsiteX2756" fmla="*/ 352619 w 9013239"/>
                  <a:gd name="connsiteY2756" fmla="*/ 2501688 h 4936668"/>
                  <a:gd name="connsiteX2757" fmla="*/ 343089 w 9013239"/>
                  <a:gd name="connsiteY2757" fmla="*/ 2501688 h 4936668"/>
                  <a:gd name="connsiteX2758" fmla="*/ 333559 w 9013239"/>
                  <a:gd name="connsiteY2758" fmla="*/ 2492160 h 4936668"/>
                  <a:gd name="connsiteX2759" fmla="*/ 319264 w 9013239"/>
                  <a:gd name="connsiteY2759" fmla="*/ 2487396 h 4936668"/>
                  <a:gd name="connsiteX2760" fmla="*/ 304968 w 9013239"/>
                  <a:gd name="connsiteY2760" fmla="*/ 2477864 h 4936668"/>
                  <a:gd name="connsiteX2761" fmla="*/ 285908 w 9013239"/>
                  <a:gd name="connsiteY2761" fmla="*/ 2463568 h 4936668"/>
                  <a:gd name="connsiteX2762" fmla="*/ 281143 w 9013239"/>
                  <a:gd name="connsiteY2762" fmla="*/ 2458804 h 4936668"/>
                  <a:gd name="connsiteX2763" fmla="*/ 266847 w 9013239"/>
                  <a:gd name="connsiteY2763" fmla="*/ 2468332 h 4936668"/>
                  <a:gd name="connsiteX2764" fmla="*/ 266847 w 9013239"/>
                  <a:gd name="connsiteY2764" fmla="*/ 2463568 h 4936668"/>
                  <a:gd name="connsiteX2765" fmla="*/ 271612 w 9013239"/>
                  <a:gd name="connsiteY2765" fmla="*/ 2449272 h 4936668"/>
                  <a:gd name="connsiteX2766" fmla="*/ 271612 w 9013239"/>
                  <a:gd name="connsiteY2766" fmla="*/ 2420684 h 4936668"/>
                  <a:gd name="connsiteX2767" fmla="*/ 285908 w 9013239"/>
                  <a:gd name="connsiteY2767" fmla="*/ 2444508 h 4936668"/>
                  <a:gd name="connsiteX2768" fmla="*/ 281143 w 9013239"/>
                  <a:gd name="connsiteY2768" fmla="*/ 2430212 h 4936668"/>
                  <a:gd name="connsiteX2769" fmla="*/ 271612 w 9013239"/>
                  <a:gd name="connsiteY2769" fmla="*/ 2411152 h 4936668"/>
                  <a:gd name="connsiteX2770" fmla="*/ 262082 w 9013239"/>
                  <a:gd name="connsiteY2770" fmla="*/ 2406388 h 4936668"/>
                  <a:gd name="connsiteX2771" fmla="*/ 247787 w 9013239"/>
                  <a:gd name="connsiteY2771" fmla="*/ 2377796 h 4936668"/>
                  <a:gd name="connsiteX2772" fmla="*/ 223961 w 9013239"/>
                  <a:gd name="connsiteY2772" fmla="*/ 2358736 h 4936668"/>
                  <a:gd name="connsiteX2773" fmla="*/ 200135 w 9013239"/>
                  <a:gd name="connsiteY2773" fmla="*/ 2334912 h 4936668"/>
                  <a:gd name="connsiteX2774" fmla="*/ 157249 w 9013239"/>
                  <a:gd name="connsiteY2774" fmla="*/ 2287260 h 4936668"/>
                  <a:gd name="connsiteX2775" fmla="*/ 157249 w 9013239"/>
                  <a:gd name="connsiteY2775" fmla="*/ 2244372 h 4936668"/>
                  <a:gd name="connsiteX2776" fmla="*/ 138189 w 9013239"/>
                  <a:gd name="connsiteY2776" fmla="*/ 2191956 h 4936668"/>
                  <a:gd name="connsiteX2777" fmla="*/ 147719 w 9013239"/>
                  <a:gd name="connsiteY2777" fmla="*/ 2163364 h 4936668"/>
                  <a:gd name="connsiteX2778" fmla="*/ 147719 w 9013239"/>
                  <a:gd name="connsiteY2778" fmla="*/ 2144304 h 4936668"/>
                  <a:gd name="connsiteX2779" fmla="*/ 138189 w 9013239"/>
                  <a:gd name="connsiteY2779" fmla="*/ 2110948 h 4936668"/>
                  <a:gd name="connsiteX2780" fmla="*/ 128658 w 9013239"/>
                  <a:gd name="connsiteY2780" fmla="*/ 2091888 h 4936668"/>
                  <a:gd name="connsiteX2781" fmla="*/ 95303 w 9013239"/>
                  <a:gd name="connsiteY2781" fmla="*/ 2044236 h 4936668"/>
                  <a:gd name="connsiteX2782" fmla="*/ 61947 w 9013239"/>
                  <a:gd name="connsiteY2782" fmla="*/ 2015648 h 4936668"/>
                  <a:gd name="connsiteX2783" fmla="*/ 57182 w 9013239"/>
                  <a:gd name="connsiteY2783" fmla="*/ 1991820 h 4936668"/>
                  <a:gd name="connsiteX2784" fmla="*/ 52416 w 9013239"/>
                  <a:gd name="connsiteY2784" fmla="*/ 1963232 h 4936668"/>
                  <a:gd name="connsiteX2785" fmla="*/ 61947 w 9013239"/>
                  <a:gd name="connsiteY2785" fmla="*/ 1944168 h 4936668"/>
                  <a:gd name="connsiteX2786" fmla="*/ 66712 w 9013239"/>
                  <a:gd name="connsiteY2786" fmla="*/ 1920344 h 4936668"/>
                  <a:gd name="connsiteX2787" fmla="*/ 71477 w 9013239"/>
                  <a:gd name="connsiteY2787" fmla="*/ 1915580 h 4936668"/>
                  <a:gd name="connsiteX2788" fmla="*/ 76242 w 9013239"/>
                  <a:gd name="connsiteY2788" fmla="*/ 1915580 h 4936668"/>
                  <a:gd name="connsiteX2789" fmla="*/ 71477 w 9013239"/>
                  <a:gd name="connsiteY2789" fmla="*/ 1920344 h 4936668"/>
                  <a:gd name="connsiteX2790" fmla="*/ 76242 w 9013239"/>
                  <a:gd name="connsiteY2790" fmla="*/ 1920344 h 4936668"/>
                  <a:gd name="connsiteX2791" fmla="*/ 81007 w 9013239"/>
                  <a:gd name="connsiteY2791" fmla="*/ 1910816 h 4936668"/>
                  <a:gd name="connsiteX2792" fmla="*/ 81007 w 9013239"/>
                  <a:gd name="connsiteY2792" fmla="*/ 1906048 h 4936668"/>
                  <a:gd name="connsiteX2793" fmla="*/ 76242 w 9013239"/>
                  <a:gd name="connsiteY2793" fmla="*/ 1906048 h 4936668"/>
                  <a:gd name="connsiteX2794" fmla="*/ 76242 w 9013239"/>
                  <a:gd name="connsiteY2794" fmla="*/ 1901284 h 4936668"/>
                  <a:gd name="connsiteX2795" fmla="*/ 81007 w 9013239"/>
                  <a:gd name="connsiteY2795" fmla="*/ 1896520 h 4936668"/>
                  <a:gd name="connsiteX2796" fmla="*/ 90537 w 9013239"/>
                  <a:gd name="connsiteY2796" fmla="*/ 1867928 h 4936668"/>
                  <a:gd name="connsiteX2797" fmla="*/ 90537 w 9013239"/>
                  <a:gd name="connsiteY2797" fmla="*/ 1829808 h 4936668"/>
                  <a:gd name="connsiteX2798" fmla="*/ 100068 w 9013239"/>
                  <a:gd name="connsiteY2798" fmla="*/ 1782156 h 4936668"/>
                  <a:gd name="connsiteX2799" fmla="*/ 100068 w 9013239"/>
                  <a:gd name="connsiteY2799" fmla="*/ 1763096 h 4936668"/>
                  <a:gd name="connsiteX2800" fmla="*/ 95303 w 9013239"/>
                  <a:gd name="connsiteY2800" fmla="*/ 1729740 h 4936668"/>
                  <a:gd name="connsiteX2801" fmla="*/ 85772 w 9013239"/>
                  <a:gd name="connsiteY2801" fmla="*/ 1710680 h 4936668"/>
                  <a:gd name="connsiteX2802" fmla="*/ 71477 w 9013239"/>
                  <a:gd name="connsiteY2802" fmla="*/ 1696384 h 4936668"/>
                  <a:gd name="connsiteX2803" fmla="*/ 81007 w 9013239"/>
                  <a:gd name="connsiteY2803" fmla="*/ 1677324 h 4936668"/>
                  <a:gd name="connsiteX2804" fmla="*/ 81007 w 9013239"/>
                  <a:gd name="connsiteY2804" fmla="*/ 1653496 h 4936668"/>
                  <a:gd name="connsiteX2805" fmla="*/ 57182 w 9013239"/>
                  <a:gd name="connsiteY2805" fmla="*/ 1624908 h 4936668"/>
                  <a:gd name="connsiteX2806" fmla="*/ 47651 w 9013239"/>
                  <a:gd name="connsiteY2806" fmla="*/ 1586784 h 4936668"/>
                  <a:gd name="connsiteX2807" fmla="*/ 47651 w 9013239"/>
                  <a:gd name="connsiteY2807" fmla="*/ 1572492 h 4936668"/>
                  <a:gd name="connsiteX2808" fmla="*/ 47651 w 9013239"/>
                  <a:gd name="connsiteY2808" fmla="*/ 1529604 h 4936668"/>
                  <a:gd name="connsiteX2809" fmla="*/ 42886 w 9013239"/>
                  <a:gd name="connsiteY2809" fmla="*/ 1510544 h 4936668"/>
                  <a:gd name="connsiteX2810" fmla="*/ 28591 w 9013239"/>
                  <a:gd name="connsiteY2810" fmla="*/ 1481952 h 4936668"/>
                  <a:gd name="connsiteX2811" fmla="*/ 33356 w 9013239"/>
                  <a:gd name="connsiteY2811" fmla="*/ 1453360 h 4936668"/>
                  <a:gd name="connsiteX2812" fmla="*/ 42886 w 9013239"/>
                  <a:gd name="connsiteY2812" fmla="*/ 1434300 h 4936668"/>
                  <a:gd name="connsiteX2813" fmla="*/ 57182 w 9013239"/>
                  <a:gd name="connsiteY2813" fmla="*/ 1367588 h 4936668"/>
                  <a:gd name="connsiteX2814" fmla="*/ 61947 w 9013239"/>
                  <a:gd name="connsiteY2814" fmla="*/ 1362824 h 4936668"/>
                  <a:gd name="connsiteX2815" fmla="*/ 66712 w 9013239"/>
                  <a:gd name="connsiteY2815" fmla="*/ 1362824 h 4936668"/>
                  <a:gd name="connsiteX2816" fmla="*/ 81007 w 9013239"/>
                  <a:gd name="connsiteY2816" fmla="*/ 1348528 h 4936668"/>
                  <a:gd name="connsiteX2817" fmla="*/ 76242 w 9013239"/>
                  <a:gd name="connsiteY2817" fmla="*/ 1348528 h 4936668"/>
                  <a:gd name="connsiteX2818" fmla="*/ 66712 w 9013239"/>
                  <a:gd name="connsiteY2818" fmla="*/ 1353296 h 4936668"/>
                  <a:gd name="connsiteX2819" fmla="*/ 76242 w 9013239"/>
                  <a:gd name="connsiteY2819" fmla="*/ 1324704 h 4936668"/>
                  <a:gd name="connsiteX2820" fmla="*/ 85772 w 9013239"/>
                  <a:gd name="connsiteY2820" fmla="*/ 1300876 h 4936668"/>
                  <a:gd name="connsiteX2821" fmla="*/ 90537 w 9013239"/>
                  <a:gd name="connsiteY2821" fmla="*/ 1291348 h 4936668"/>
                  <a:gd name="connsiteX2822" fmla="*/ 90537 w 9013239"/>
                  <a:gd name="connsiteY2822" fmla="*/ 1210340 h 4936668"/>
                  <a:gd name="connsiteX2823" fmla="*/ 95303 w 9013239"/>
                  <a:gd name="connsiteY2823" fmla="*/ 1153160 h 4936668"/>
                  <a:gd name="connsiteX2824" fmla="*/ 104833 w 9013239"/>
                  <a:gd name="connsiteY2824" fmla="*/ 1129332 h 4936668"/>
                  <a:gd name="connsiteX2825" fmla="*/ 100068 w 9013239"/>
                  <a:gd name="connsiteY2825" fmla="*/ 1110272 h 4936668"/>
                  <a:gd name="connsiteX2826" fmla="*/ 104833 w 9013239"/>
                  <a:gd name="connsiteY2826" fmla="*/ 1081680 h 4936668"/>
                  <a:gd name="connsiteX2827" fmla="*/ 104833 w 9013239"/>
                  <a:gd name="connsiteY2827" fmla="*/ 1053092 h 4936668"/>
                  <a:gd name="connsiteX2828" fmla="*/ 119128 w 9013239"/>
                  <a:gd name="connsiteY2828" fmla="*/ 914904 h 4936668"/>
                  <a:gd name="connsiteX2829" fmla="*/ 119128 w 9013239"/>
                  <a:gd name="connsiteY2829" fmla="*/ 900608 h 4936668"/>
                  <a:gd name="connsiteX2830" fmla="*/ 123893 w 9013239"/>
                  <a:gd name="connsiteY2830" fmla="*/ 876780 h 4936668"/>
                  <a:gd name="connsiteX2831" fmla="*/ 119128 w 9013239"/>
                  <a:gd name="connsiteY2831" fmla="*/ 819600 h 4936668"/>
                  <a:gd name="connsiteX2832" fmla="*/ 119128 w 9013239"/>
                  <a:gd name="connsiteY2832" fmla="*/ 752888 h 4936668"/>
                  <a:gd name="connsiteX2833" fmla="*/ 114363 w 9013239"/>
                  <a:gd name="connsiteY2833" fmla="*/ 743356 h 4936668"/>
                  <a:gd name="connsiteX2834" fmla="*/ 114363 w 9013239"/>
                  <a:gd name="connsiteY2834" fmla="*/ 733828 h 4936668"/>
                  <a:gd name="connsiteX2835" fmla="*/ 119128 w 9013239"/>
                  <a:gd name="connsiteY2835" fmla="*/ 729064 h 4936668"/>
                  <a:gd name="connsiteX2836" fmla="*/ 123893 w 9013239"/>
                  <a:gd name="connsiteY2836" fmla="*/ 743356 h 4936668"/>
                  <a:gd name="connsiteX2837" fmla="*/ 162014 w 9013239"/>
                  <a:gd name="connsiteY2837" fmla="*/ 743356 h 4936668"/>
                  <a:gd name="connsiteX2838" fmla="*/ 185840 w 9013239"/>
                  <a:gd name="connsiteY2838" fmla="*/ 733828 h 4936668"/>
                  <a:gd name="connsiteX2839" fmla="*/ 195370 w 9013239"/>
                  <a:gd name="connsiteY2839" fmla="*/ 733828 h 4936668"/>
                  <a:gd name="connsiteX2840" fmla="*/ 204900 w 9013239"/>
                  <a:gd name="connsiteY2840" fmla="*/ 748124 h 4936668"/>
                  <a:gd name="connsiteX2841" fmla="*/ 219196 w 9013239"/>
                  <a:gd name="connsiteY2841" fmla="*/ 748124 h 4936668"/>
                  <a:gd name="connsiteX2842" fmla="*/ 233491 w 9013239"/>
                  <a:gd name="connsiteY2842" fmla="*/ 748124 h 4936668"/>
                  <a:gd name="connsiteX2843" fmla="*/ 228726 w 9013239"/>
                  <a:gd name="connsiteY2843" fmla="*/ 743356 h 4936668"/>
                  <a:gd name="connsiteX2844" fmla="*/ 223961 w 9013239"/>
                  <a:gd name="connsiteY2844" fmla="*/ 743356 h 4936668"/>
                  <a:gd name="connsiteX2845" fmla="*/ 204900 w 9013239"/>
                  <a:gd name="connsiteY2845" fmla="*/ 733828 h 4936668"/>
                  <a:gd name="connsiteX2846" fmla="*/ 195370 w 9013239"/>
                  <a:gd name="connsiteY2846" fmla="*/ 719532 h 4936668"/>
                  <a:gd name="connsiteX2847" fmla="*/ 166779 w 9013239"/>
                  <a:gd name="connsiteY2847" fmla="*/ 724296 h 4936668"/>
                  <a:gd name="connsiteX2848" fmla="*/ 162014 w 9013239"/>
                  <a:gd name="connsiteY2848" fmla="*/ 714768 h 4936668"/>
                  <a:gd name="connsiteX2849" fmla="*/ 128658 w 9013239"/>
                  <a:gd name="connsiteY2849" fmla="*/ 724296 h 4936668"/>
                  <a:gd name="connsiteX2850" fmla="*/ 119128 w 9013239"/>
                  <a:gd name="connsiteY2850" fmla="*/ 714768 h 4936668"/>
                  <a:gd name="connsiteX2851" fmla="*/ 100068 w 9013239"/>
                  <a:gd name="connsiteY2851" fmla="*/ 719532 h 4936668"/>
                  <a:gd name="connsiteX2852" fmla="*/ 104833 w 9013239"/>
                  <a:gd name="connsiteY2852" fmla="*/ 700472 h 4936668"/>
                  <a:gd name="connsiteX2853" fmla="*/ 104833 w 9013239"/>
                  <a:gd name="connsiteY2853" fmla="*/ 671880 h 4936668"/>
                  <a:gd name="connsiteX2854" fmla="*/ 104833 w 9013239"/>
                  <a:gd name="connsiteY2854" fmla="*/ 643292 h 4936668"/>
                  <a:gd name="connsiteX2855" fmla="*/ 109598 w 9013239"/>
                  <a:gd name="connsiteY2855" fmla="*/ 662352 h 4936668"/>
                  <a:gd name="connsiteX2856" fmla="*/ 119128 w 9013239"/>
                  <a:gd name="connsiteY2856" fmla="*/ 686176 h 4936668"/>
                  <a:gd name="connsiteX2857" fmla="*/ 123893 w 9013239"/>
                  <a:gd name="connsiteY2857" fmla="*/ 662352 h 4936668"/>
                  <a:gd name="connsiteX2858" fmla="*/ 128658 w 9013239"/>
                  <a:gd name="connsiteY2858" fmla="*/ 633760 h 4936668"/>
                  <a:gd name="connsiteX2859" fmla="*/ 119128 w 9013239"/>
                  <a:gd name="connsiteY2859" fmla="*/ 624228 h 4936668"/>
                  <a:gd name="connsiteX2860" fmla="*/ 100068 w 9013239"/>
                  <a:gd name="connsiteY2860" fmla="*/ 614700 h 4936668"/>
                  <a:gd name="connsiteX2861" fmla="*/ 95303 w 9013239"/>
                  <a:gd name="connsiteY2861" fmla="*/ 586108 h 4936668"/>
                  <a:gd name="connsiteX2862" fmla="*/ 138189 w 9013239"/>
                  <a:gd name="connsiteY2862" fmla="*/ 562284 h 4936668"/>
                  <a:gd name="connsiteX2863" fmla="*/ 114363 w 9013239"/>
                  <a:gd name="connsiteY2863" fmla="*/ 557516 h 4936668"/>
                  <a:gd name="connsiteX2864" fmla="*/ 104833 w 9013239"/>
                  <a:gd name="connsiteY2864" fmla="*/ 547988 h 4936668"/>
                  <a:gd name="connsiteX2865" fmla="*/ 95303 w 9013239"/>
                  <a:gd name="connsiteY2865" fmla="*/ 547988 h 4936668"/>
                  <a:gd name="connsiteX2866" fmla="*/ 95303 w 9013239"/>
                  <a:gd name="connsiteY2866" fmla="*/ 557516 h 4936668"/>
                  <a:gd name="connsiteX2867" fmla="*/ 90537 w 9013239"/>
                  <a:gd name="connsiteY2867" fmla="*/ 567048 h 4936668"/>
                  <a:gd name="connsiteX2868" fmla="*/ 85772 w 9013239"/>
                  <a:gd name="connsiteY2868" fmla="*/ 552752 h 4936668"/>
                  <a:gd name="connsiteX2869" fmla="*/ 85772 w 9013239"/>
                  <a:gd name="connsiteY2869" fmla="*/ 533692 h 4936668"/>
                  <a:gd name="connsiteX2870" fmla="*/ 81007 w 9013239"/>
                  <a:gd name="connsiteY2870" fmla="*/ 509868 h 4936668"/>
                  <a:gd name="connsiteX2871" fmla="*/ 61947 w 9013239"/>
                  <a:gd name="connsiteY2871" fmla="*/ 462216 h 4936668"/>
                  <a:gd name="connsiteX2872" fmla="*/ 52416 w 9013239"/>
                  <a:gd name="connsiteY2872" fmla="*/ 405032 h 4936668"/>
                  <a:gd name="connsiteX2873" fmla="*/ 38121 w 9013239"/>
                  <a:gd name="connsiteY2873" fmla="*/ 376444 h 4936668"/>
                  <a:gd name="connsiteX2874" fmla="*/ 14295 w 9013239"/>
                  <a:gd name="connsiteY2874" fmla="*/ 347852 h 4936668"/>
                  <a:gd name="connsiteX2875" fmla="*/ 9530 w 9013239"/>
                  <a:gd name="connsiteY2875" fmla="*/ 328792 h 4936668"/>
                  <a:gd name="connsiteX2876" fmla="*/ 0 w 9013239"/>
                  <a:gd name="connsiteY2876" fmla="*/ 290672 h 4936668"/>
                  <a:gd name="connsiteX2877" fmla="*/ 4765 w 9013239"/>
                  <a:gd name="connsiteY2877" fmla="*/ 257316 h 4936668"/>
                  <a:gd name="connsiteX2878" fmla="*/ 0 w 9013239"/>
                  <a:gd name="connsiteY2878" fmla="*/ 233488 h 4936668"/>
                  <a:gd name="connsiteX2879" fmla="*/ 14295 w 9013239"/>
                  <a:gd name="connsiteY2879" fmla="*/ 238256 h 4936668"/>
                  <a:gd name="connsiteX2880" fmla="*/ 42886 w 9013239"/>
                  <a:gd name="connsiteY2880" fmla="*/ 252548 h 4936668"/>
                  <a:gd name="connsiteX2881" fmla="*/ 85772 w 9013239"/>
                  <a:gd name="connsiteY2881" fmla="*/ 266844 h 4936668"/>
                  <a:gd name="connsiteX2882" fmla="*/ 95303 w 9013239"/>
                  <a:gd name="connsiteY2882" fmla="*/ 276376 h 4936668"/>
                  <a:gd name="connsiteX2883" fmla="*/ 114363 w 9013239"/>
                  <a:gd name="connsiteY2883" fmla="*/ 285904 h 4936668"/>
                  <a:gd name="connsiteX2884" fmla="*/ 223961 w 9013239"/>
                  <a:gd name="connsiteY2884" fmla="*/ 295436 h 4936668"/>
                  <a:gd name="connsiteX2885" fmla="*/ 228726 w 9013239"/>
                  <a:gd name="connsiteY2885" fmla="*/ 295436 h 4936668"/>
                  <a:gd name="connsiteX2886" fmla="*/ 243022 w 9013239"/>
                  <a:gd name="connsiteY2886" fmla="*/ 290672 h 4936668"/>
                  <a:gd name="connsiteX2887" fmla="*/ 247787 w 9013239"/>
                  <a:gd name="connsiteY2887" fmla="*/ 290672 h 4936668"/>
                  <a:gd name="connsiteX2888" fmla="*/ 266847 w 9013239"/>
                  <a:gd name="connsiteY2888" fmla="*/ 304968 h 4936668"/>
                  <a:gd name="connsiteX2889" fmla="*/ 271612 w 9013239"/>
                  <a:gd name="connsiteY2889" fmla="*/ 309732 h 4936668"/>
                  <a:gd name="connsiteX2890" fmla="*/ 281143 w 9013239"/>
                  <a:gd name="connsiteY2890" fmla="*/ 304968 h 4936668"/>
                  <a:gd name="connsiteX2891" fmla="*/ 290673 w 9013239"/>
                  <a:gd name="connsiteY2891" fmla="*/ 304968 h 4936668"/>
                  <a:gd name="connsiteX2892" fmla="*/ 304968 w 9013239"/>
                  <a:gd name="connsiteY2892" fmla="*/ 290672 h 4936668"/>
                  <a:gd name="connsiteX2893" fmla="*/ 304968 w 9013239"/>
                  <a:gd name="connsiteY2893" fmla="*/ 295436 h 4936668"/>
                  <a:gd name="connsiteX2894" fmla="*/ 304968 w 9013239"/>
                  <a:gd name="connsiteY2894" fmla="*/ 304968 h 4936668"/>
                  <a:gd name="connsiteX2895" fmla="*/ 309733 w 9013239"/>
                  <a:gd name="connsiteY2895" fmla="*/ 319260 h 4936668"/>
                  <a:gd name="connsiteX2896" fmla="*/ 319264 w 9013239"/>
                  <a:gd name="connsiteY2896" fmla="*/ 338324 h 4936668"/>
                  <a:gd name="connsiteX2897" fmla="*/ 324029 w 9013239"/>
                  <a:gd name="connsiteY2897" fmla="*/ 352616 h 4936668"/>
                  <a:gd name="connsiteX2898" fmla="*/ 304968 w 9013239"/>
                  <a:gd name="connsiteY2898" fmla="*/ 385972 h 4936668"/>
                  <a:gd name="connsiteX2899" fmla="*/ 300203 w 9013239"/>
                  <a:gd name="connsiteY2899" fmla="*/ 385972 h 4936668"/>
                  <a:gd name="connsiteX2900" fmla="*/ 300203 w 9013239"/>
                  <a:gd name="connsiteY2900" fmla="*/ 376444 h 4936668"/>
                  <a:gd name="connsiteX2901" fmla="*/ 295438 w 9013239"/>
                  <a:gd name="connsiteY2901" fmla="*/ 371676 h 4936668"/>
                  <a:gd name="connsiteX2902" fmla="*/ 262082 w 9013239"/>
                  <a:gd name="connsiteY2902" fmla="*/ 428860 h 4936668"/>
                  <a:gd name="connsiteX2903" fmla="*/ 247787 w 9013239"/>
                  <a:gd name="connsiteY2903" fmla="*/ 452684 h 4936668"/>
                  <a:gd name="connsiteX2904" fmla="*/ 247787 w 9013239"/>
                  <a:gd name="connsiteY2904" fmla="*/ 466980 h 4936668"/>
                  <a:gd name="connsiteX2905" fmla="*/ 247787 w 9013239"/>
                  <a:gd name="connsiteY2905" fmla="*/ 471744 h 4936668"/>
                  <a:gd name="connsiteX2906" fmla="*/ 252552 w 9013239"/>
                  <a:gd name="connsiteY2906" fmla="*/ 476512 h 4936668"/>
                  <a:gd name="connsiteX2907" fmla="*/ 262082 w 9013239"/>
                  <a:gd name="connsiteY2907" fmla="*/ 471744 h 4936668"/>
                  <a:gd name="connsiteX2908" fmla="*/ 281143 w 9013239"/>
                  <a:gd name="connsiteY2908" fmla="*/ 462216 h 4936668"/>
                  <a:gd name="connsiteX2909" fmla="*/ 281143 w 9013239"/>
                  <a:gd name="connsiteY2909" fmla="*/ 457452 h 4936668"/>
                  <a:gd name="connsiteX2910" fmla="*/ 266847 w 9013239"/>
                  <a:gd name="connsiteY2910" fmla="*/ 462216 h 4936668"/>
                  <a:gd name="connsiteX2911" fmla="*/ 257317 w 9013239"/>
                  <a:gd name="connsiteY2911" fmla="*/ 462216 h 4936668"/>
                  <a:gd name="connsiteX2912" fmla="*/ 257317 w 9013239"/>
                  <a:gd name="connsiteY2912" fmla="*/ 452684 h 4936668"/>
                  <a:gd name="connsiteX2913" fmla="*/ 262082 w 9013239"/>
                  <a:gd name="connsiteY2913" fmla="*/ 443156 h 4936668"/>
                  <a:gd name="connsiteX2914" fmla="*/ 271612 w 9013239"/>
                  <a:gd name="connsiteY2914" fmla="*/ 428860 h 4936668"/>
                  <a:gd name="connsiteX2915" fmla="*/ 281143 w 9013239"/>
                  <a:gd name="connsiteY2915" fmla="*/ 414564 h 4936668"/>
                  <a:gd name="connsiteX2916" fmla="*/ 295438 w 9013239"/>
                  <a:gd name="connsiteY2916" fmla="*/ 405032 h 4936668"/>
                  <a:gd name="connsiteX2917" fmla="*/ 304968 w 9013239"/>
                  <a:gd name="connsiteY2917" fmla="*/ 395504 h 4936668"/>
                  <a:gd name="connsiteX2918" fmla="*/ 309733 w 9013239"/>
                  <a:gd name="connsiteY2918" fmla="*/ 381208 h 4936668"/>
                  <a:gd name="connsiteX2919" fmla="*/ 328794 w 9013239"/>
                  <a:gd name="connsiteY2919" fmla="*/ 362148 h 4936668"/>
                  <a:gd name="connsiteX2920" fmla="*/ 333559 w 9013239"/>
                  <a:gd name="connsiteY2920" fmla="*/ 357384 h 4936668"/>
                  <a:gd name="connsiteX2921" fmla="*/ 333559 w 9013239"/>
                  <a:gd name="connsiteY2921" fmla="*/ 343088 h 4936668"/>
                  <a:gd name="connsiteX2922" fmla="*/ 343089 w 9013239"/>
                  <a:gd name="connsiteY2922" fmla="*/ 343088 h 4936668"/>
                  <a:gd name="connsiteX2923" fmla="*/ 343089 w 9013239"/>
                  <a:gd name="connsiteY2923" fmla="*/ 366912 h 4936668"/>
                  <a:gd name="connsiteX2924" fmla="*/ 343089 w 9013239"/>
                  <a:gd name="connsiteY2924" fmla="*/ 376444 h 4936668"/>
                  <a:gd name="connsiteX2925" fmla="*/ 328794 w 9013239"/>
                  <a:gd name="connsiteY2925" fmla="*/ 390740 h 4936668"/>
                  <a:gd name="connsiteX2926" fmla="*/ 324029 w 9013239"/>
                  <a:gd name="connsiteY2926" fmla="*/ 395504 h 4936668"/>
                  <a:gd name="connsiteX2927" fmla="*/ 328794 w 9013239"/>
                  <a:gd name="connsiteY2927" fmla="*/ 414564 h 4936668"/>
                  <a:gd name="connsiteX2928" fmla="*/ 324029 w 9013239"/>
                  <a:gd name="connsiteY2928" fmla="*/ 414564 h 4936668"/>
                  <a:gd name="connsiteX2929" fmla="*/ 319264 w 9013239"/>
                  <a:gd name="connsiteY2929" fmla="*/ 414564 h 4936668"/>
                  <a:gd name="connsiteX2930" fmla="*/ 333559 w 9013239"/>
                  <a:gd name="connsiteY2930" fmla="*/ 433624 h 4936668"/>
                  <a:gd name="connsiteX2931" fmla="*/ 338324 w 9013239"/>
                  <a:gd name="connsiteY2931" fmla="*/ 447920 h 4936668"/>
                  <a:gd name="connsiteX2932" fmla="*/ 338324 w 9013239"/>
                  <a:gd name="connsiteY2932" fmla="*/ 462216 h 4936668"/>
                  <a:gd name="connsiteX2933" fmla="*/ 333559 w 9013239"/>
                  <a:gd name="connsiteY2933" fmla="*/ 486040 h 4936668"/>
                  <a:gd name="connsiteX2934" fmla="*/ 328794 w 9013239"/>
                  <a:gd name="connsiteY2934" fmla="*/ 490808 h 4936668"/>
                  <a:gd name="connsiteX2935" fmla="*/ 324029 w 9013239"/>
                  <a:gd name="connsiteY2935" fmla="*/ 490808 h 4936668"/>
                  <a:gd name="connsiteX2936" fmla="*/ 314498 w 9013239"/>
                  <a:gd name="connsiteY2936" fmla="*/ 481276 h 4936668"/>
                  <a:gd name="connsiteX2937" fmla="*/ 309733 w 9013239"/>
                  <a:gd name="connsiteY2937" fmla="*/ 486040 h 4936668"/>
                  <a:gd name="connsiteX2938" fmla="*/ 304968 w 9013239"/>
                  <a:gd name="connsiteY2938" fmla="*/ 505100 h 4936668"/>
                  <a:gd name="connsiteX2939" fmla="*/ 300203 w 9013239"/>
                  <a:gd name="connsiteY2939" fmla="*/ 505100 h 4936668"/>
                  <a:gd name="connsiteX2940" fmla="*/ 295438 w 9013239"/>
                  <a:gd name="connsiteY2940" fmla="*/ 481276 h 4936668"/>
                  <a:gd name="connsiteX2941" fmla="*/ 295438 w 9013239"/>
                  <a:gd name="connsiteY2941" fmla="*/ 476512 h 4936668"/>
                  <a:gd name="connsiteX2942" fmla="*/ 281143 w 9013239"/>
                  <a:gd name="connsiteY2942" fmla="*/ 490808 h 4936668"/>
                  <a:gd name="connsiteX2943" fmla="*/ 276377 w 9013239"/>
                  <a:gd name="connsiteY2943" fmla="*/ 500336 h 4936668"/>
                  <a:gd name="connsiteX2944" fmla="*/ 271612 w 9013239"/>
                  <a:gd name="connsiteY2944" fmla="*/ 514632 h 4936668"/>
                  <a:gd name="connsiteX2945" fmla="*/ 262082 w 9013239"/>
                  <a:gd name="connsiteY2945" fmla="*/ 524160 h 4936668"/>
                  <a:gd name="connsiteX2946" fmla="*/ 281143 w 9013239"/>
                  <a:gd name="connsiteY2946" fmla="*/ 524160 h 4936668"/>
                  <a:gd name="connsiteX2947" fmla="*/ 300203 w 9013239"/>
                  <a:gd name="connsiteY2947" fmla="*/ 524160 h 4936668"/>
                  <a:gd name="connsiteX2948" fmla="*/ 309733 w 9013239"/>
                  <a:gd name="connsiteY2948" fmla="*/ 528928 h 4936668"/>
                  <a:gd name="connsiteX2949" fmla="*/ 314498 w 9013239"/>
                  <a:gd name="connsiteY2949" fmla="*/ 528928 h 4936668"/>
                  <a:gd name="connsiteX2950" fmla="*/ 328794 w 9013239"/>
                  <a:gd name="connsiteY2950" fmla="*/ 524160 h 4936668"/>
                  <a:gd name="connsiteX2951" fmla="*/ 328794 w 9013239"/>
                  <a:gd name="connsiteY2951" fmla="*/ 519396 h 4936668"/>
                  <a:gd name="connsiteX2952" fmla="*/ 338324 w 9013239"/>
                  <a:gd name="connsiteY2952" fmla="*/ 490808 h 4936668"/>
                  <a:gd name="connsiteX2953" fmla="*/ 343089 w 9013239"/>
                  <a:gd name="connsiteY2953" fmla="*/ 486040 h 4936668"/>
                  <a:gd name="connsiteX2954" fmla="*/ 352619 w 9013239"/>
                  <a:gd name="connsiteY2954" fmla="*/ 486040 h 4936668"/>
                  <a:gd name="connsiteX2955" fmla="*/ 357385 w 9013239"/>
                  <a:gd name="connsiteY2955" fmla="*/ 486040 h 4936668"/>
                  <a:gd name="connsiteX2956" fmla="*/ 366915 w 9013239"/>
                  <a:gd name="connsiteY2956" fmla="*/ 471744 h 4936668"/>
                  <a:gd name="connsiteX2957" fmla="*/ 371680 w 9013239"/>
                  <a:gd name="connsiteY2957" fmla="*/ 466980 h 4936668"/>
                  <a:gd name="connsiteX2958" fmla="*/ 366915 w 9013239"/>
                  <a:gd name="connsiteY2958" fmla="*/ 433624 h 4936668"/>
                  <a:gd name="connsiteX2959" fmla="*/ 366915 w 9013239"/>
                  <a:gd name="connsiteY2959" fmla="*/ 414564 h 4936668"/>
                  <a:gd name="connsiteX2960" fmla="*/ 366915 w 9013239"/>
                  <a:gd name="connsiteY2960" fmla="*/ 409800 h 4936668"/>
                  <a:gd name="connsiteX2961" fmla="*/ 362150 w 9013239"/>
                  <a:gd name="connsiteY2961" fmla="*/ 405032 h 4936668"/>
                  <a:gd name="connsiteX2962" fmla="*/ 362150 w 9013239"/>
                  <a:gd name="connsiteY2962" fmla="*/ 400268 h 4936668"/>
                  <a:gd name="connsiteX2963" fmla="*/ 362150 w 9013239"/>
                  <a:gd name="connsiteY2963" fmla="*/ 390740 h 4936668"/>
                  <a:gd name="connsiteX2964" fmla="*/ 366915 w 9013239"/>
                  <a:gd name="connsiteY2964" fmla="*/ 381208 h 4936668"/>
                  <a:gd name="connsiteX2965" fmla="*/ 362150 w 9013239"/>
                  <a:gd name="connsiteY2965" fmla="*/ 376444 h 4936668"/>
                  <a:gd name="connsiteX2966" fmla="*/ 362150 w 9013239"/>
                  <a:gd name="connsiteY2966" fmla="*/ 366912 h 4936668"/>
                  <a:gd name="connsiteX2967" fmla="*/ 371680 w 9013239"/>
                  <a:gd name="connsiteY2967" fmla="*/ 347852 h 4936668"/>
                  <a:gd name="connsiteX2968" fmla="*/ 376445 w 9013239"/>
                  <a:gd name="connsiteY2968" fmla="*/ 338324 h 4936668"/>
                  <a:gd name="connsiteX2969" fmla="*/ 385975 w 9013239"/>
                  <a:gd name="connsiteY2969" fmla="*/ 324028 h 4936668"/>
                  <a:gd name="connsiteX2970" fmla="*/ 385975 w 9013239"/>
                  <a:gd name="connsiteY2970" fmla="*/ 314496 h 4936668"/>
                  <a:gd name="connsiteX2971" fmla="*/ 376445 w 9013239"/>
                  <a:gd name="connsiteY2971" fmla="*/ 304968 h 4936668"/>
                  <a:gd name="connsiteX2972" fmla="*/ 366915 w 9013239"/>
                  <a:gd name="connsiteY2972" fmla="*/ 295436 h 4936668"/>
                  <a:gd name="connsiteX2973" fmla="*/ 362150 w 9013239"/>
                  <a:gd name="connsiteY2973" fmla="*/ 285904 h 4936668"/>
                  <a:gd name="connsiteX2974" fmla="*/ 357385 w 9013239"/>
                  <a:gd name="connsiteY2974" fmla="*/ 281140 h 4936668"/>
                  <a:gd name="connsiteX2975" fmla="*/ 357385 w 9013239"/>
                  <a:gd name="connsiteY2975" fmla="*/ 285904 h 4936668"/>
                  <a:gd name="connsiteX2976" fmla="*/ 362150 w 9013239"/>
                  <a:gd name="connsiteY2976" fmla="*/ 304968 h 4936668"/>
                  <a:gd name="connsiteX2977" fmla="*/ 347854 w 9013239"/>
                  <a:gd name="connsiteY2977" fmla="*/ 295436 h 4936668"/>
                  <a:gd name="connsiteX2978" fmla="*/ 343089 w 9013239"/>
                  <a:gd name="connsiteY2978" fmla="*/ 285904 h 4936668"/>
                  <a:gd name="connsiteX2979" fmla="*/ 343089 w 9013239"/>
                  <a:gd name="connsiteY2979" fmla="*/ 276376 h 4936668"/>
                  <a:gd name="connsiteX2980" fmla="*/ 343089 w 9013239"/>
                  <a:gd name="connsiteY2980" fmla="*/ 271612 h 4936668"/>
                  <a:gd name="connsiteX2981" fmla="*/ 352619 w 9013239"/>
                  <a:gd name="connsiteY2981" fmla="*/ 262080 h 4936668"/>
                  <a:gd name="connsiteX2982" fmla="*/ 362150 w 9013239"/>
                  <a:gd name="connsiteY2982" fmla="*/ 262080 h 4936668"/>
                  <a:gd name="connsiteX2983" fmla="*/ 362150 w 9013239"/>
                  <a:gd name="connsiteY2983" fmla="*/ 257316 h 4936668"/>
                  <a:gd name="connsiteX2984" fmla="*/ 347854 w 9013239"/>
                  <a:gd name="connsiteY2984" fmla="*/ 238256 h 4936668"/>
                  <a:gd name="connsiteX2985" fmla="*/ 338324 w 9013239"/>
                  <a:gd name="connsiteY2985" fmla="*/ 228724 h 4936668"/>
                  <a:gd name="connsiteX2986" fmla="*/ 333559 w 9013239"/>
                  <a:gd name="connsiteY2986" fmla="*/ 223960 h 4936668"/>
                  <a:gd name="connsiteX2987" fmla="*/ 324029 w 9013239"/>
                  <a:gd name="connsiteY2987" fmla="*/ 223960 h 4936668"/>
                  <a:gd name="connsiteX2988" fmla="*/ 319264 w 9013239"/>
                  <a:gd name="connsiteY2988" fmla="*/ 219192 h 4936668"/>
                  <a:gd name="connsiteX2989" fmla="*/ 319264 w 9013239"/>
                  <a:gd name="connsiteY2989" fmla="*/ 214428 h 4936668"/>
                  <a:gd name="connsiteX2990" fmla="*/ 324029 w 9013239"/>
                  <a:gd name="connsiteY2990" fmla="*/ 209664 h 4936668"/>
                  <a:gd name="connsiteX2991" fmla="*/ 338324 w 9013239"/>
                  <a:gd name="connsiteY2991" fmla="*/ 209664 h 4936668"/>
                  <a:gd name="connsiteX2992" fmla="*/ 347854 w 9013239"/>
                  <a:gd name="connsiteY2992" fmla="*/ 204900 h 4936668"/>
                  <a:gd name="connsiteX2993" fmla="*/ 347854 w 9013239"/>
                  <a:gd name="connsiteY2993" fmla="*/ 200132 h 4936668"/>
                  <a:gd name="connsiteX2994" fmla="*/ 343089 w 9013239"/>
                  <a:gd name="connsiteY2994" fmla="*/ 195368 h 4936668"/>
                  <a:gd name="connsiteX2995" fmla="*/ 343089 w 9013239"/>
                  <a:gd name="connsiteY2995" fmla="*/ 166776 h 4936668"/>
                  <a:gd name="connsiteX2996" fmla="*/ 338324 w 9013239"/>
                  <a:gd name="connsiteY2996" fmla="*/ 147716 h 4936668"/>
                  <a:gd name="connsiteX2997" fmla="*/ 338324 w 9013239"/>
                  <a:gd name="connsiteY2997" fmla="*/ 142952 h 4936668"/>
                  <a:gd name="connsiteX2998" fmla="*/ 333559 w 9013239"/>
                  <a:gd name="connsiteY2998" fmla="*/ 142952 h 4936668"/>
                  <a:gd name="connsiteX2999" fmla="*/ 328794 w 9013239"/>
                  <a:gd name="connsiteY2999" fmla="*/ 142952 h 4936668"/>
                  <a:gd name="connsiteX3000" fmla="*/ 324029 w 9013239"/>
                  <a:gd name="connsiteY3000" fmla="*/ 142952 h 4936668"/>
                  <a:gd name="connsiteX3001" fmla="*/ 319264 w 9013239"/>
                  <a:gd name="connsiteY3001" fmla="*/ 138188 h 4936668"/>
                  <a:gd name="connsiteX3002" fmla="*/ 309733 w 9013239"/>
                  <a:gd name="connsiteY3002" fmla="*/ 123892 h 4936668"/>
                  <a:gd name="connsiteX3003" fmla="*/ 300203 w 9013239"/>
                  <a:gd name="connsiteY3003" fmla="*/ 90536 h 4936668"/>
                  <a:gd name="connsiteX3004" fmla="*/ 4617409 w 9013239"/>
                  <a:gd name="connsiteY3004" fmla="*/ 90536 h 4936668"/>
                  <a:gd name="connsiteX3005" fmla="*/ 4617409 w 9013239"/>
                  <a:gd name="connsiteY3005" fmla="*/ 38120 h 4936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  <a:cxn ang="0">
                    <a:pos x="connsiteX2947" y="connsiteY2947"/>
                  </a:cxn>
                  <a:cxn ang="0">
                    <a:pos x="connsiteX2948" y="connsiteY2948"/>
                  </a:cxn>
                  <a:cxn ang="0">
                    <a:pos x="connsiteX2949" y="connsiteY2949"/>
                  </a:cxn>
                  <a:cxn ang="0">
                    <a:pos x="connsiteX2950" y="connsiteY2950"/>
                  </a:cxn>
                  <a:cxn ang="0">
                    <a:pos x="connsiteX2951" y="connsiteY2951"/>
                  </a:cxn>
                  <a:cxn ang="0">
                    <a:pos x="connsiteX2952" y="connsiteY2952"/>
                  </a:cxn>
                  <a:cxn ang="0">
                    <a:pos x="connsiteX2953" y="connsiteY2953"/>
                  </a:cxn>
                  <a:cxn ang="0">
                    <a:pos x="connsiteX2954" y="connsiteY2954"/>
                  </a:cxn>
                  <a:cxn ang="0">
                    <a:pos x="connsiteX2955" y="connsiteY2955"/>
                  </a:cxn>
                  <a:cxn ang="0">
                    <a:pos x="connsiteX2956" y="connsiteY2956"/>
                  </a:cxn>
                  <a:cxn ang="0">
                    <a:pos x="connsiteX2957" y="connsiteY2957"/>
                  </a:cxn>
                  <a:cxn ang="0">
                    <a:pos x="connsiteX2958" y="connsiteY2958"/>
                  </a:cxn>
                  <a:cxn ang="0">
                    <a:pos x="connsiteX2959" y="connsiteY2959"/>
                  </a:cxn>
                  <a:cxn ang="0">
                    <a:pos x="connsiteX2960" y="connsiteY2960"/>
                  </a:cxn>
                  <a:cxn ang="0">
                    <a:pos x="connsiteX2961" y="connsiteY2961"/>
                  </a:cxn>
                  <a:cxn ang="0">
                    <a:pos x="connsiteX2962" y="connsiteY2962"/>
                  </a:cxn>
                  <a:cxn ang="0">
                    <a:pos x="connsiteX2963" y="connsiteY2963"/>
                  </a:cxn>
                  <a:cxn ang="0">
                    <a:pos x="connsiteX2964" y="connsiteY2964"/>
                  </a:cxn>
                  <a:cxn ang="0">
                    <a:pos x="connsiteX2965" y="connsiteY2965"/>
                  </a:cxn>
                  <a:cxn ang="0">
                    <a:pos x="connsiteX2966" y="connsiteY2966"/>
                  </a:cxn>
                  <a:cxn ang="0">
                    <a:pos x="connsiteX2967" y="connsiteY2967"/>
                  </a:cxn>
                  <a:cxn ang="0">
                    <a:pos x="connsiteX2968" y="connsiteY2968"/>
                  </a:cxn>
                  <a:cxn ang="0">
                    <a:pos x="connsiteX2969" y="connsiteY2969"/>
                  </a:cxn>
                  <a:cxn ang="0">
                    <a:pos x="connsiteX2970" y="connsiteY2970"/>
                  </a:cxn>
                  <a:cxn ang="0">
                    <a:pos x="connsiteX2971" y="connsiteY2971"/>
                  </a:cxn>
                  <a:cxn ang="0">
                    <a:pos x="connsiteX2972" y="connsiteY2972"/>
                  </a:cxn>
                  <a:cxn ang="0">
                    <a:pos x="connsiteX2973" y="connsiteY2973"/>
                  </a:cxn>
                  <a:cxn ang="0">
                    <a:pos x="connsiteX2974" y="connsiteY2974"/>
                  </a:cxn>
                  <a:cxn ang="0">
                    <a:pos x="connsiteX2975" y="connsiteY2975"/>
                  </a:cxn>
                  <a:cxn ang="0">
                    <a:pos x="connsiteX2976" y="connsiteY2976"/>
                  </a:cxn>
                  <a:cxn ang="0">
                    <a:pos x="connsiteX2977" y="connsiteY2977"/>
                  </a:cxn>
                  <a:cxn ang="0">
                    <a:pos x="connsiteX2978" y="connsiteY2978"/>
                  </a:cxn>
                  <a:cxn ang="0">
                    <a:pos x="connsiteX2979" y="connsiteY2979"/>
                  </a:cxn>
                  <a:cxn ang="0">
                    <a:pos x="connsiteX2980" y="connsiteY2980"/>
                  </a:cxn>
                  <a:cxn ang="0">
                    <a:pos x="connsiteX2981" y="connsiteY2981"/>
                  </a:cxn>
                  <a:cxn ang="0">
                    <a:pos x="connsiteX2982" y="connsiteY2982"/>
                  </a:cxn>
                  <a:cxn ang="0">
                    <a:pos x="connsiteX2983" y="connsiteY2983"/>
                  </a:cxn>
                  <a:cxn ang="0">
                    <a:pos x="connsiteX2984" y="connsiteY2984"/>
                  </a:cxn>
                  <a:cxn ang="0">
                    <a:pos x="connsiteX2985" y="connsiteY2985"/>
                  </a:cxn>
                  <a:cxn ang="0">
                    <a:pos x="connsiteX2986" y="connsiteY2986"/>
                  </a:cxn>
                  <a:cxn ang="0">
                    <a:pos x="connsiteX2987" y="connsiteY2987"/>
                  </a:cxn>
                  <a:cxn ang="0">
                    <a:pos x="connsiteX2988" y="connsiteY2988"/>
                  </a:cxn>
                  <a:cxn ang="0">
                    <a:pos x="connsiteX2989" y="connsiteY2989"/>
                  </a:cxn>
                  <a:cxn ang="0">
                    <a:pos x="connsiteX2990" y="connsiteY2990"/>
                  </a:cxn>
                  <a:cxn ang="0">
                    <a:pos x="connsiteX2991" y="connsiteY2991"/>
                  </a:cxn>
                  <a:cxn ang="0">
                    <a:pos x="connsiteX2992" y="connsiteY2992"/>
                  </a:cxn>
                  <a:cxn ang="0">
                    <a:pos x="connsiteX2993" y="connsiteY2993"/>
                  </a:cxn>
                  <a:cxn ang="0">
                    <a:pos x="connsiteX2994" y="connsiteY2994"/>
                  </a:cxn>
                  <a:cxn ang="0">
                    <a:pos x="connsiteX2995" y="connsiteY2995"/>
                  </a:cxn>
                  <a:cxn ang="0">
                    <a:pos x="connsiteX2996" y="connsiteY2996"/>
                  </a:cxn>
                  <a:cxn ang="0">
                    <a:pos x="connsiteX2997" y="connsiteY2997"/>
                  </a:cxn>
                  <a:cxn ang="0">
                    <a:pos x="connsiteX2998" y="connsiteY2998"/>
                  </a:cxn>
                  <a:cxn ang="0">
                    <a:pos x="connsiteX2999" y="connsiteY2999"/>
                  </a:cxn>
                  <a:cxn ang="0">
                    <a:pos x="connsiteX3000" y="connsiteY3000"/>
                  </a:cxn>
                  <a:cxn ang="0">
                    <a:pos x="connsiteX3001" y="connsiteY3001"/>
                  </a:cxn>
                  <a:cxn ang="0">
                    <a:pos x="connsiteX3002" y="connsiteY3002"/>
                  </a:cxn>
                  <a:cxn ang="0">
                    <a:pos x="connsiteX3003" y="connsiteY3003"/>
                  </a:cxn>
                  <a:cxn ang="0">
                    <a:pos x="connsiteX3004" y="connsiteY3004"/>
                  </a:cxn>
                  <a:cxn ang="0">
                    <a:pos x="connsiteX3005" y="connsiteY3005"/>
                  </a:cxn>
                </a:cxnLst>
                <a:rect l="l" t="t" r="r" b="b"/>
                <a:pathLst>
                  <a:path w="9013239" h="4936668">
                    <a:moveTo>
                      <a:pt x="6697387" y="4931904"/>
                    </a:moveTo>
                    <a:lnTo>
                      <a:pt x="6706917" y="4931904"/>
                    </a:lnTo>
                    <a:lnTo>
                      <a:pt x="6711682" y="4931904"/>
                    </a:lnTo>
                    <a:lnTo>
                      <a:pt x="6711682" y="4936668"/>
                    </a:lnTo>
                    <a:lnTo>
                      <a:pt x="6702152" y="4936668"/>
                    </a:lnTo>
                    <a:lnTo>
                      <a:pt x="6697387" y="4936668"/>
                    </a:lnTo>
                    <a:close/>
                    <a:moveTo>
                      <a:pt x="6740274" y="4912844"/>
                    </a:moveTo>
                    <a:lnTo>
                      <a:pt x="6745039" y="4917608"/>
                    </a:lnTo>
                    <a:lnTo>
                      <a:pt x="6745039" y="4922372"/>
                    </a:lnTo>
                    <a:lnTo>
                      <a:pt x="6735509" y="4927140"/>
                    </a:lnTo>
                    <a:lnTo>
                      <a:pt x="6725978" y="4927140"/>
                    </a:lnTo>
                    <a:lnTo>
                      <a:pt x="6735509" y="4922372"/>
                    </a:lnTo>
                    <a:close/>
                    <a:moveTo>
                      <a:pt x="6759334" y="4903312"/>
                    </a:moveTo>
                    <a:lnTo>
                      <a:pt x="6773630" y="4912844"/>
                    </a:lnTo>
                    <a:lnTo>
                      <a:pt x="6778395" y="4912844"/>
                    </a:lnTo>
                    <a:lnTo>
                      <a:pt x="6773630" y="4917608"/>
                    </a:lnTo>
                    <a:lnTo>
                      <a:pt x="6768865" y="4922376"/>
                    </a:lnTo>
                    <a:lnTo>
                      <a:pt x="6768865" y="4912844"/>
                    </a:lnTo>
                    <a:close/>
                    <a:moveTo>
                      <a:pt x="6835576" y="4898548"/>
                    </a:moveTo>
                    <a:lnTo>
                      <a:pt x="6826046" y="4903312"/>
                    </a:lnTo>
                    <a:lnTo>
                      <a:pt x="6821281" y="4908080"/>
                    </a:lnTo>
                    <a:lnTo>
                      <a:pt x="6811750" y="4912844"/>
                    </a:lnTo>
                    <a:lnTo>
                      <a:pt x="6802220" y="4908080"/>
                    </a:lnTo>
                    <a:lnTo>
                      <a:pt x="6811750" y="4903312"/>
                    </a:lnTo>
                    <a:close/>
                    <a:moveTo>
                      <a:pt x="6859401" y="4884252"/>
                    </a:moveTo>
                    <a:lnTo>
                      <a:pt x="6859401" y="4889020"/>
                    </a:lnTo>
                    <a:lnTo>
                      <a:pt x="6854636" y="4893784"/>
                    </a:lnTo>
                    <a:lnTo>
                      <a:pt x="6849871" y="4893784"/>
                    </a:lnTo>
                    <a:lnTo>
                      <a:pt x="6849871" y="4889020"/>
                    </a:lnTo>
                    <a:close/>
                    <a:moveTo>
                      <a:pt x="6883227" y="4869956"/>
                    </a:moveTo>
                    <a:lnTo>
                      <a:pt x="6887992" y="4869956"/>
                    </a:lnTo>
                    <a:lnTo>
                      <a:pt x="6883227" y="4874724"/>
                    </a:lnTo>
                    <a:lnTo>
                      <a:pt x="6878462" y="4874724"/>
                    </a:lnTo>
                    <a:close/>
                    <a:moveTo>
                      <a:pt x="6940408" y="4798480"/>
                    </a:moveTo>
                    <a:lnTo>
                      <a:pt x="6921348" y="4831836"/>
                    </a:lnTo>
                    <a:lnTo>
                      <a:pt x="6892757" y="4865192"/>
                    </a:lnTo>
                    <a:lnTo>
                      <a:pt x="6892757" y="4860428"/>
                    </a:lnTo>
                    <a:lnTo>
                      <a:pt x="6907052" y="4841368"/>
                    </a:lnTo>
                    <a:lnTo>
                      <a:pt x="6911817" y="4831836"/>
                    </a:lnTo>
                    <a:lnTo>
                      <a:pt x="6921348" y="4827072"/>
                    </a:lnTo>
                    <a:lnTo>
                      <a:pt x="6926113" y="4817540"/>
                    </a:lnTo>
                    <a:lnTo>
                      <a:pt x="6926113" y="4808012"/>
                    </a:lnTo>
                    <a:close/>
                    <a:moveTo>
                      <a:pt x="6640206" y="4588816"/>
                    </a:moveTo>
                    <a:lnTo>
                      <a:pt x="6649736" y="4603112"/>
                    </a:lnTo>
                    <a:lnTo>
                      <a:pt x="6664032" y="4607876"/>
                    </a:lnTo>
                    <a:lnTo>
                      <a:pt x="6659267" y="4612640"/>
                    </a:lnTo>
                    <a:lnTo>
                      <a:pt x="6644971" y="4607876"/>
                    </a:lnTo>
                    <a:lnTo>
                      <a:pt x="6640206" y="4603112"/>
                    </a:lnTo>
                    <a:close/>
                    <a:moveTo>
                      <a:pt x="6644971" y="4560224"/>
                    </a:moveTo>
                    <a:lnTo>
                      <a:pt x="6649736" y="4569756"/>
                    </a:lnTo>
                    <a:lnTo>
                      <a:pt x="6659266" y="4588816"/>
                    </a:lnTo>
                    <a:lnTo>
                      <a:pt x="6654501" y="4598344"/>
                    </a:lnTo>
                    <a:lnTo>
                      <a:pt x="6649736" y="4579284"/>
                    </a:lnTo>
                    <a:close/>
                    <a:moveTo>
                      <a:pt x="4269554" y="4474452"/>
                    </a:moveTo>
                    <a:lnTo>
                      <a:pt x="4274319" y="4545928"/>
                    </a:lnTo>
                    <a:lnTo>
                      <a:pt x="4298145" y="4631700"/>
                    </a:lnTo>
                    <a:lnTo>
                      <a:pt x="4302910" y="4655528"/>
                    </a:lnTo>
                    <a:lnTo>
                      <a:pt x="4298145" y="4665056"/>
                    </a:lnTo>
                    <a:lnTo>
                      <a:pt x="4288615" y="4626936"/>
                    </a:lnTo>
                    <a:lnTo>
                      <a:pt x="4264789" y="4541164"/>
                    </a:lnTo>
                    <a:lnTo>
                      <a:pt x="4264789" y="4493512"/>
                    </a:lnTo>
                    <a:close/>
                    <a:moveTo>
                      <a:pt x="4321970" y="4364856"/>
                    </a:moveTo>
                    <a:lnTo>
                      <a:pt x="4288614" y="4417272"/>
                    </a:lnTo>
                    <a:lnTo>
                      <a:pt x="4274319" y="4455392"/>
                    </a:lnTo>
                    <a:lnTo>
                      <a:pt x="4269554" y="4469688"/>
                    </a:lnTo>
                    <a:lnTo>
                      <a:pt x="4269554" y="4450628"/>
                    </a:lnTo>
                    <a:lnTo>
                      <a:pt x="4283849" y="4417272"/>
                    </a:lnTo>
                    <a:lnTo>
                      <a:pt x="4307675" y="4374384"/>
                    </a:lnTo>
                    <a:close/>
                    <a:moveTo>
                      <a:pt x="6911818" y="4360088"/>
                    </a:moveTo>
                    <a:lnTo>
                      <a:pt x="6921348" y="4369620"/>
                    </a:lnTo>
                    <a:lnTo>
                      <a:pt x="6926113" y="4393444"/>
                    </a:lnTo>
                    <a:lnTo>
                      <a:pt x="6954704" y="4460156"/>
                    </a:lnTo>
                    <a:lnTo>
                      <a:pt x="6954704" y="4474452"/>
                    </a:lnTo>
                    <a:lnTo>
                      <a:pt x="6940409" y="4445860"/>
                    </a:lnTo>
                    <a:lnTo>
                      <a:pt x="6921348" y="4398212"/>
                    </a:lnTo>
                    <a:close/>
                    <a:moveTo>
                      <a:pt x="4345796" y="4312436"/>
                    </a:moveTo>
                    <a:lnTo>
                      <a:pt x="4350561" y="4312436"/>
                    </a:lnTo>
                    <a:lnTo>
                      <a:pt x="4355326" y="4317204"/>
                    </a:lnTo>
                    <a:lnTo>
                      <a:pt x="4341031" y="4331496"/>
                    </a:lnTo>
                    <a:lnTo>
                      <a:pt x="4326735" y="4350560"/>
                    </a:lnTo>
                    <a:lnTo>
                      <a:pt x="4321970" y="4350560"/>
                    </a:lnTo>
                    <a:lnTo>
                      <a:pt x="4331500" y="4336264"/>
                    </a:lnTo>
                    <a:lnTo>
                      <a:pt x="4331500" y="4331496"/>
                    </a:lnTo>
                    <a:close/>
                    <a:moveTo>
                      <a:pt x="4422038" y="4269552"/>
                    </a:moveTo>
                    <a:lnTo>
                      <a:pt x="4422038" y="4274316"/>
                    </a:lnTo>
                    <a:lnTo>
                      <a:pt x="4398212" y="4283848"/>
                    </a:lnTo>
                    <a:lnTo>
                      <a:pt x="4364856" y="4307672"/>
                    </a:lnTo>
                    <a:lnTo>
                      <a:pt x="4360091" y="4307672"/>
                    </a:lnTo>
                    <a:lnTo>
                      <a:pt x="4369621" y="4298140"/>
                    </a:lnTo>
                    <a:lnTo>
                      <a:pt x="4379152" y="4293376"/>
                    </a:lnTo>
                    <a:lnTo>
                      <a:pt x="4402977" y="4274316"/>
                    </a:lnTo>
                    <a:lnTo>
                      <a:pt x="4412508" y="4274316"/>
                    </a:lnTo>
                    <a:close/>
                    <a:moveTo>
                      <a:pt x="4669825" y="4093244"/>
                    </a:moveTo>
                    <a:lnTo>
                      <a:pt x="4679355" y="4093244"/>
                    </a:lnTo>
                    <a:lnTo>
                      <a:pt x="4665060" y="4112304"/>
                    </a:lnTo>
                    <a:lnTo>
                      <a:pt x="4636469" y="4131364"/>
                    </a:lnTo>
                    <a:lnTo>
                      <a:pt x="4626939" y="4131364"/>
                    </a:lnTo>
                    <a:lnTo>
                      <a:pt x="4660295" y="4102772"/>
                    </a:lnTo>
                    <a:close/>
                    <a:moveTo>
                      <a:pt x="6192283" y="4040824"/>
                    </a:moveTo>
                    <a:lnTo>
                      <a:pt x="6201814" y="4045592"/>
                    </a:lnTo>
                    <a:lnTo>
                      <a:pt x="6182753" y="4045592"/>
                    </a:lnTo>
                    <a:close/>
                    <a:moveTo>
                      <a:pt x="5122511" y="4040824"/>
                    </a:moveTo>
                    <a:lnTo>
                      <a:pt x="5132042" y="4040824"/>
                    </a:lnTo>
                    <a:lnTo>
                      <a:pt x="5141572" y="4050356"/>
                    </a:lnTo>
                    <a:lnTo>
                      <a:pt x="5146337" y="4050356"/>
                    </a:lnTo>
                    <a:lnTo>
                      <a:pt x="5146337" y="4055120"/>
                    </a:lnTo>
                    <a:lnTo>
                      <a:pt x="5146337" y="4059884"/>
                    </a:lnTo>
                    <a:lnTo>
                      <a:pt x="5141572" y="4064652"/>
                    </a:lnTo>
                    <a:lnTo>
                      <a:pt x="5136807" y="4069416"/>
                    </a:lnTo>
                    <a:lnTo>
                      <a:pt x="5108216" y="4055120"/>
                    </a:lnTo>
                    <a:lnTo>
                      <a:pt x="5108216" y="4045592"/>
                    </a:lnTo>
                    <a:close/>
                    <a:moveTo>
                      <a:pt x="6230405" y="4026532"/>
                    </a:moveTo>
                    <a:lnTo>
                      <a:pt x="6244700" y="4026532"/>
                    </a:lnTo>
                    <a:lnTo>
                      <a:pt x="6216109" y="4040824"/>
                    </a:lnTo>
                    <a:lnTo>
                      <a:pt x="6201814" y="4045592"/>
                    </a:lnTo>
                    <a:lnTo>
                      <a:pt x="6220874" y="4036060"/>
                    </a:lnTo>
                    <a:close/>
                    <a:moveTo>
                      <a:pt x="5594259" y="4026532"/>
                    </a:moveTo>
                    <a:lnTo>
                      <a:pt x="5589494" y="4040828"/>
                    </a:lnTo>
                    <a:lnTo>
                      <a:pt x="5589494" y="4036060"/>
                    </a:lnTo>
                    <a:close/>
                    <a:moveTo>
                      <a:pt x="5599025" y="3969348"/>
                    </a:moveTo>
                    <a:lnTo>
                      <a:pt x="5603790" y="3978880"/>
                    </a:lnTo>
                    <a:lnTo>
                      <a:pt x="5608555" y="3988408"/>
                    </a:lnTo>
                    <a:lnTo>
                      <a:pt x="5603790" y="4012232"/>
                    </a:lnTo>
                    <a:lnTo>
                      <a:pt x="5603790" y="3988408"/>
                    </a:lnTo>
                    <a:close/>
                    <a:moveTo>
                      <a:pt x="5551374" y="3945524"/>
                    </a:moveTo>
                    <a:lnTo>
                      <a:pt x="5546609" y="3955052"/>
                    </a:lnTo>
                    <a:lnTo>
                      <a:pt x="5541844" y="3964584"/>
                    </a:lnTo>
                    <a:lnTo>
                      <a:pt x="5546609" y="3969348"/>
                    </a:lnTo>
                    <a:lnTo>
                      <a:pt x="5537078" y="3964584"/>
                    </a:lnTo>
                    <a:lnTo>
                      <a:pt x="5532313" y="3964584"/>
                    </a:lnTo>
                    <a:lnTo>
                      <a:pt x="5532313" y="3959820"/>
                    </a:lnTo>
                    <a:lnTo>
                      <a:pt x="5537078" y="3955052"/>
                    </a:lnTo>
                    <a:close/>
                    <a:moveTo>
                      <a:pt x="5622850" y="3931228"/>
                    </a:moveTo>
                    <a:lnTo>
                      <a:pt x="5646676" y="3935992"/>
                    </a:lnTo>
                    <a:lnTo>
                      <a:pt x="5646676" y="3940756"/>
                    </a:lnTo>
                    <a:lnTo>
                      <a:pt x="5632380" y="3935992"/>
                    </a:lnTo>
                    <a:close/>
                    <a:moveTo>
                      <a:pt x="5718153" y="3926464"/>
                    </a:moveTo>
                    <a:lnTo>
                      <a:pt x="5722918" y="3931228"/>
                    </a:lnTo>
                    <a:lnTo>
                      <a:pt x="5708623" y="3935992"/>
                    </a:lnTo>
                    <a:lnTo>
                      <a:pt x="5689562" y="3935992"/>
                    </a:lnTo>
                    <a:lnTo>
                      <a:pt x="5684797" y="3931228"/>
                    </a:lnTo>
                    <a:lnTo>
                      <a:pt x="5694327" y="3931228"/>
                    </a:lnTo>
                    <a:close/>
                    <a:moveTo>
                      <a:pt x="6759333" y="3802568"/>
                    </a:moveTo>
                    <a:lnTo>
                      <a:pt x="6754568" y="3845456"/>
                    </a:lnTo>
                    <a:lnTo>
                      <a:pt x="6749803" y="3831160"/>
                    </a:lnTo>
                    <a:lnTo>
                      <a:pt x="6749803" y="3812100"/>
                    </a:lnTo>
                    <a:lnTo>
                      <a:pt x="6754568" y="3807336"/>
                    </a:lnTo>
                    <a:close/>
                    <a:moveTo>
                      <a:pt x="962556" y="3421360"/>
                    </a:moveTo>
                    <a:lnTo>
                      <a:pt x="972086" y="3435656"/>
                    </a:lnTo>
                    <a:lnTo>
                      <a:pt x="991147" y="3454716"/>
                    </a:lnTo>
                    <a:lnTo>
                      <a:pt x="995912" y="3459480"/>
                    </a:lnTo>
                    <a:lnTo>
                      <a:pt x="986382" y="3459480"/>
                    </a:lnTo>
                    <a:lnTo>
                      <a:pt x="976851" y="3459480"/>
                    </a:lnTo>
                    <a:lnTo>
                      <a:pt x="967321" y="3440420"/>
                    </a:lnTo>
                    <a:lnTo>
                      <a:pt x="957791" y="3426126"/>
                    </a:lnTo>
                    <a:close/>
                    <a:moveTo>
                      <a:pt x="800541" y="3373708"/>
                    </a:moveTo>
                    <a:lnTo>
                      <a:pt x="810071" y="3373708"/>
                    </a:lnTo>
                    <a:lnTo>
                      <a:pt x="819602" y="3378472"/>
                    </a:lnTo>
                    <a:lnTo>
                      <a:pt x="824367" y="3383238"/>
                    </a:lnTo>
                    <a:lnTo>
                      <a:pt x="824367" y="3388004"/>
                    </a:lnTo>
                    <a:lnTo>
                      <a:pt x="819602" y="3388004"/>
                    </a:lnTo>
                    <a:lnTo>
                      <a:pt x="810071" y="3383238"/>
                    </a:lnTo>
                    <a:close/>
                    <a:moveTo>
                      <a:pt x="957791" y="3340352"/>
                    </a:moveTo>
                    <a:lnTo>
                      <a:pt x="962556" y="3340352"/>
                    </a:lnTo>
                    <a:lnTo>
                      <a:pt x="986382" y="3349882"/>
                    </a:lnTo>
                    <a:lnTo>
                      <a:pt x="995912" y="3354648"/>
                    </a:lnTo>
                    <a:lnTo>
                      <a:pt x="1000677" y="3368944"/>
                    </a:lnTo>
                    <a:lnTo>
                      <a:pt x="991147" y="3368944"/>
                    </a:lnTo>
                    <a:lnTo>
                      <a:pt x="976851" y="3368944"/>
                    </a:lnTo>
                    <a:lnTo>
                      <a:pt x="976851" y="3359412"/>
                    </a:lnTo>
                    <a:lnTo>
                      <a:pt x="972086" y="3349882"/>
                    </a:lnTo>
                    <a:lnTo>
                      <a:pt x="962556" y="3345118"/>
                    </a:lnTo>
                    <a:close/>
                    <a:moveTo>
                      <a:pt x="695709" y="3235520"/>
                    </a:moveTo>
                    <a:lnTo>
                      <a:pt x="724300" y="3235520"/>
                    </a:lnTo>
                    <a:lnTo>
                      <a:pt x="738595" y="3245050"/>
                    </a:lnTo>
                    <a:lnTo>
                      <a:pt x="729065" y="3254580"/>
                    </a:lnTo>
                    <a:lnTo>
                      <a:pt x="719535" y="3259346"/>
                    </a:lnTo>
                    <a:lnTo>
                      <a:pt x="710004" y="3254580"/>
                    </a:lnTo>
                    <a:close/>
                    <a:moveTo>
                      <a:pt x="748125" y="3225988"/>
                    </a:moveTo>
                    <a:lnTo>
                      <a:pt x="752890" y="3225988"/>
                    </a:lnTo>
                    <a:lnTo>
                      <a:pt x="786246" y="3235520"/>
                    </a:lnTo>
                    <a:lnTo>
                      <a:pt x="805307" y="3230754"/>
                    </a:lnTo>
                    <a:lnTo>
                      <a:pt x="805307" y="3235520"/>
                    </a:lnTo>
                    <a:lnTo>
                      <a:pt x="805307" y="3240284"/>
                    </a:lnTo>
                    <a:lnTo>
                      <a:pt x="767186" y="3245050"/>
                    </a:lnTo>
                    <a:lnTo>
                      <a:pt x="752890" y="3240284"/>
                    </a:lnTo>
                    <a:lnTo>
                      <a:pt x="752890" y="3235520"/>
                    </a:lnTo>
                    <a:close/>
                    <a:moveTo>
                      <a:pt x="681414" y="3225988"/>
                    </a:moveTo>
                    <a:lnTo>
                      <a:pt x="681414" y="3230754"/>
                    </a:lnTo>
                    <a:lnTo>
                      <a:pt x="686179" y="3235520"/>
                    </a:lnTo>
                    <a:lnTo>
                      <a:pt x="681414" y="3235520"/>
                    </a:lnTo>
                    <a:lnTo>
                      <a:pt x="667118" y="3235520"/>
                    </a:lnTo>
                    <a:lnTo>
                      <a:pt x="671883" y="3230754"/>
                    </a:lnTo>
                    <a:close/>
                    <a:moveTo>
                      <a:pt x="7502694" y="3106860"/>
                    </a:moveTo>
                    <a:lnTo>
                      <a:pt x="7507459" y="3106860"/>
                    </a:lnTo>
                    <a:lnTo>
                      <a:pt x="7521755" y="3116392"/>
                    </a:lnTo>
                    <a:lnTo>
                      <a:pt x="7516990" y="3116392"/>
                    </a:lnTo>
                    <a:lnTo>
                      <a:pt x="7512225" y="3116392"/>
                    </a:lnTo>
                    <a:lnTo>
                      <a:pt x="7502694" y="3111624"/>
                    </a:lnTo>
                    <a:close/>
                    <a:moveTo>
                      <a:pt x="7574170" y="3063976"/>
                    </a:moveTo>
                    <a:lnTo>
                      <a:pt x="7550345" y="3087800"/>
                    </a:lnTo>
                    <a:lnTo>
                      <a:pt x="7526519" y="3121156"/>
                    </a:lnTo>
                    <a:lnTo>
                      <a:pt x="7540814" y="3097332"/>
                    </a:lnTo>
                    <a:lnTo>
                      <a:pt x="7564640" y="3068740"/>
                    </a:lnTo>
                    <a:close/>
                    <a:moveTo>
                      <a:pt x="7626587" y="3016324"/>
                    </a:moveTo>
                    <a:lnTo>
                      <a:pt x="7640883" y="3016324"/>
                    </a:lnTo>
                    <a:lnTo>
                      <a:pt x="7612291" y="3025852"/>
                    </a:lnTo>
                    <a:lnTo>
                      <a:pt x="7607526" y="3025852"/>
                    </a:lnTo>
                    <a:close/>
                    <a:moveTo>
                      <a:pt x="7683769" y="2901960"/>
                    </a:moveTo>
                    <a:lnTo>
                      <a:pt x="7688533" y="2911492"/>
                    </a:lnTo>
                    <a:lnTo>
                      <a:pt x="7693299" y="2940080"/>
                    </a:lnTo>
                    <a:lnTo>
                      <a:pt x="7688533" y="2963908"/>
                    </a:lnTo>
                    <a:lnTo>
                      <a:pt x="7683769" y="2997264"/>
                    </a:lnTo>
                    <a:lnTo>
                      <a:pt x="7679003" y="3006792"/>
                    </a:lnTo>
                    <a:lnTo>
                      <a:pt x="7655179" y="3011560"/>
                    </a:lnTo>
                    <a:lnTo>
                      <a:pt x="7655179" y="3006792"/>
                    </a:lnTo>
                    <a:lnTo>
                      <a:pt x="7679003" y="2997264"/>
                    </a:lnTo>
                    <a:lnTo>
                      <a:pt x="7688533" y="2959140"/>
                    </a:lnTo>
                    <a:lnTo>
                      <a:pt x="7688533" y="2940080"/>
                    </a:lnTo>
                    <a:lnTo>
                      <a:pt x="7683769" y="2911492"/>
                    </a:lnTo>
                    <a:close/>
                    <a:moveTo>
                      <a:pt x="7650413" y="2868604"/>
                    </a:moveTo>
                    <a:lnTo>
                      <a:pt x="7659943" y="2878136"/>
                    </a:lnTo>
                    <a:lnTo>
                      <a:pt x="7664707" y="2882900"/>
                    </a:lnTo>
                    <a:lnTo>
                      <a:pt x="7664707" y="2887664"/>
                    </a:lnTo>
                    <a:lnTo>
                      <a:pt x="7659943" y="2892432"/>
                    </a:lnTo>
                    <a:close/>
                    <a:moveTo>
                      <a:pt x="7745715" y="2406388"/>
                    </a:moveTo>
                    <a:lnTo>
                      <a:pt x="7740949" y="2430212"/>
                    </a:lnTo>
                    <a:lnTo>
                      <a:pt x="7731419" y="2454040"/>
                    </a:lnTo>
                    <a:lnTo>
                      <a:pt x="7712359" y="2487392"/>
                    </a:lnTo>
                    <a:lnTo>
                      <a:pt x="7702829" y="2492160"/>
                    </a:lnTo>
                    <a:lnTo>
                      <a:pt x="7726655" y="2454040"/>
                    </a:lnTo>
                    <a:lnTo>
                      <a:pt x="7740949" y="2420684"/>
                    </a:lnTo>
                    <a:close/>
                    <a:moveTo>
                      <a:pt x="7902965" y="2115716"/>
                    </a:moveTo>
                    <a:lnTo>
                      <a:pt x="7898199" y="2130008"/>
                    </a:lnTo>
                    <a:lnTo>
                      <a:pt x="7879139" y="2163364"/>
                    </a:lnTo>
                    <a:lnTo>
                      <a:pt x="7879139" y="2158600"/>
                    </a:lnTo>
                    <a:lnTo>
                      <a:pt x="7879139" y="2153836"/>
                    </a:lnTo>
                    <a:close/>
                    <a:moveTo>
                      <a:pt x="7902965" y="1929876"/>
                    </a:moveTo>
                    <a:lnTo>
                      <a:pt x="7907731" y="1934640"/>
                    </a:lnTo>
                    <a:lnTo>
                      <a:pt x="7907731" y="1939404"/>
                    </a:lnTo>
                    <a:lnTo>
                      <a:pt x="7907731" y="1944168"/>
                    </a:lnTo>
                    <a:lnTo>
                      <a:pt x="7898199" y="1953700"/>
                    </a:lnTo>
                    <a:lnTo>
                      <a:pt x="7888669" y="1958464"/>
                    </a:lnTo>
                    <a:lnTo>
                      <a:pt x="7883903" y="1958464"/>
                    </a:lnTo>
                    <a:lnTo>
                      <a:pt x="7888669" y="1939404"/>
                    </a:lnTo>
                    <a:close/>
                    <a:moveTo>
                      <a:pt x="8188873" y="1829808"/>
                    </a:moveTo>
                    <a:lnTo>
                      <a:pt x="8165047" y="1853632"/>
                    </a:lnTo>
                    <a:lnTo>
                      <a:pt x="8150751" y="1863160"/>
                    </a:lnTo>
                    <a:lnTo>
                      <a:pt x="8141221" y="1877456"/>
                    </a:lnTo>
                    <a:lnTo>
                      <a:pt x="8150751" y="1877456"/>
                    </a:lnTo>
                    <a:lnTo>
                      <a:pt x="8160281" y="1872692"/>
                    </a:lnTo>
                    <a:lnTo>
                      <a:pt x="8169811" y="1867928"/>
                    </a:lnTo>
                    <a:lnTo>
                      <a:pt x="8188873" y="1853632"/>
                    </a:lnTo>
                    <a:lnTo>
                      <a:pt x="8203167" y="1848868"/>
                    </a:lnTo>
                    <a:lnTo>
                      <a:pt x="8207933" y="1848868"/>
                    </a:lnTo>
                    <a:lnTo>
                      <a:pt x="8217463" y="1858396"/>
                    </a:lnTo>
                    <a:lnTo>
                      <a:pt x="8231759" y="1848868"/>
                    </a:lnTo>
                    <a:lnTo>
                      <a:pt x="8246055" y="1848868"/>
                    </a:lnTo>
                    <a:lnTo>
                      <a:pt x="8179343" y="1882224"/>
                    </a:lnTo>
                    <a:lnTo>
                      <a:pt x="8165047" y="1886988"/>
                    </a:lnTo>
                    <a:lnTo>
                      <a:pt x="8145987" y="1896516"/>
                    </a:lnTo>
                    <a:lnTo>
                      <a:pt x="8126925" y="1901284"/>
                    </a:lnTo>
                    <a:lnTo>
                      <a:pt x="8112631" y="1906048"/>
                    </a:lnTo>
                    <a:lnTo>
                      <a:pt x="8045919" y="1929872"/>
                    </a:lnTo>
                    <a:lnTo>
                      <a:pt x="8041153" y="1929872"/>
                    </a:lnTo>
                    <a:lnTo>
                      <a:pt x="8031623" y="1929872"/>
                    </a:lnTo>
                    <a:lnTo>
                      <a:pt x="7979207" y="1944168"/>
                    </a:lnTo>
                    <a:lnTo>
                      <a:pt x="7955381" y="1944168"/>
                    </a:lnTo>
                    <a:lnTo>
                      <a:pt x="7936321" y="1948936"/>
                    </a:lnTo>
                    <a:lnTo>
                      <a:pt x="7950617" y="1939404"/>
                    </a:lnTo>
                    <a:lnTo>
                      <a:pt x="7950617" y="1934640"/>
                    </a:lnTo>
                    <a:lnTo>
                      <a:pt x="7945851" y="1929872"/>
                    </a:lnTo>
                    <a:lnTo>
                      <a:pt x="7936321" y="1929872"/>
                    </a:lnTo>
                    <a:lnTo>
                      <a:pt x="7931555" y="1944168"/>
                    </a:lnTo>
                    <a:lnTo>
                      <a:pt x="7917261" y="1948936"/>
                    </a:lnTo>
                    <a:lnTo>
                      <a:pt x="7912495" y="1934640"/>
                    </a:lnTo>
                    <a:lnTo>
                      <a:pt x="7917261" y="1925108"/>
                    </a:lnTo>
                    <a:lnTo>
                      <a:pt x="7926791" y="1915580"/>
                    </a:lnTo>
                    <a:lnTo>
                      <a:pt x="7936321" y="1901284"/>
                    </a:lnTo>
                    <a:lnTo>
                      <a:pt x="7955381" y="1896516"/>
                    </a:lnTo>
                    <a:lnTo>
                      <a:pt x="7964911" y="1886988"/>
                    </a:lnTo>
                    <a:lnTo>
                      <a:pt x="7974441" y="1891752"/>
                    </a:lnTo>
                    <a:lnTo>
                      <a:pt x="7974441" y="1882224"/>
                    </a:lnTo>
                    <a:lnTo>
                      <a:pt x="7979207" y="1877456"/>
                    </a:lnTo>
                    <a:lnTo>
                      <a:pt x="7983971" y="1877456"/>
                    </a:lnTo>
                    <a:lnTo>
                      <a:pt x="7998267" y="1877456"/>
                    </a:lnTo>
                    <a:lnTo>
                      <a:pt x="8007797" y="1877456"/>
                    </a:lnTo>
                    <a:lnTo>
                      <a:pt x="8012563" y="1872692"/>
                    </a:lnTo>
                    <a:lnTo>
                      <a:pt x="8017327" y="1872692"/>
                    </a:lnTo>
                    <a:lnTo>
                      <a:pt x="8031623" y="1877456"/>
                    </a:lnTo>
                    <a:lnTo>
                      <a:pt x="8045919" y="1872692"/>
                    </a:lnTo>
                    <a:lnTo>
                      <a:pt x="8060213" y="1867928"/>
                    </a:lnTo>
                    <a:lnTo>
                      <a:pt x="8069745" y="1867928"/>
                    </a:lnTo>
                    <a:lnTo>
                      <a:pt x="8103101" y="1867928"/>
                    </a:lnTo>
                    <a:lnTo>
                      <a:pt x="8131691" y="1863160"/>
                    </a:lnTo>
                    <a:lnTo>
                      <a:pt x="8145987" y="1853632"/>
                    </a:lnTo>
                    <a:lnTo>
                      <a:pt x="8174577" y="1834572"/>
                    </a:lnTo>
                    <a:close/>
                    <a:moveTo>
                      <a:pt x="8536725" y="1777392"/>
                    </a:moveTo>
                    <a:lnTo>
                      <a:pt x="8546255" y="1796452"/>
                    </a:lnTo>
                    <a:lnTo>
                      <a:pt x="8546255" y="1805980"/>
                    </a:lnTo>
                    <a:lnTo>
                      <a:pt x="8536725" y="1810748"/>
                    </a:lnTo>
                    <a:lnTo>
                      <a:pt x="8508135" y="1801216"/>
                    </a:lnTo>
                    <a:lnTo>
                      <a:pt x="8531961" y="1796452"/>
                    </a:lnTo>
                    <a:lnTo>
                      <a:pt x="8536725" y="1791684"/>
                    </a:lnTo>
                    <a:lnTo>
                      <a:pt x="8536725" y="1782156"/>
                    </a:lnTo>
                    <a:close/>
                    <a:moveTo>
                      <a:pt x="8446189" y="1763096"/>
                    </a:moveTo>
                    <a:lnTo>
                      <a:pt x="8460483" y="1772624"/>
                    </a:lnTo>
                    <a:lnTo>
                      <a:pt x="8465249" y="1782156"/>
                    </a:lnTo>
                    <a:lnTo>
                      <a:pt x="8422363" y="1791684"/>
                    </a:lnTo>
                    <a:lnTo>
                      <a:pt x="8412833" y="1786920"/>
                    </a:lnTo>
                    <a:lnTo>
                      <a:pt x="8427129" y="1782156"/>
                    </a:lnTo>
                    <a:lnTo>
                      <a:pt x="8436659" y="1767860"/>
                    </a:lnTo>
                    <a:close/>
                    <a:moveTo>
                      <a:pt x="8327061" y="1739268"/>
                    </a:moveTo>
                    <a:lnTo>
                      <a:pt x="8331827" y="1739268"/>
                    </a:lnTo>
                    <a:lnTo>
                      <a:pt x="8331827" y="1748800"/>
                    </a:lnTo>
                    <a:lnTo>
                      <a:pt x="8331827" y="1758328"/>
                    </a:lnTo>
                    <a:lnTo>
                      <a:pt x="8327061" y="1763096"/>
                    </a:lnTo>
                    <a:lnTo>
                      <a:pt x="8327061" y="1753564"/>
                    </a:lnTo>
                    <a:close/>
                    <a:moveTo>
                      <a:pt x="8346121" y="1724972"/>
                    </a:moveTo>
                    <a:lnTo>
                      <a:pt x="8350887" y="1724972"/>
                    </a:lnTo>
                    <a:lnTo>
                      <a:pt x="8350887" y="1758328"/>
                    </a:lnTo>
                    <a:lnTo>
                      <a:pt x="8341355" y="1763096"/>
                    </a:lnTo>
                    <a:lnTo>
                      <a:pt x="8336591" y="1763096"/>
                    </a:lnTo>
                    <a:lnTo>
                      <a:pt x="8336591" y="1753564"/>
                    </a:lnTo>
                    <a:lnTo>
                      <a:pt x="8341355" y="1744032"/>
                    </a:lnTo>
                    <a:lnTo>
                      <a:pt x="8346121" y="1729740"/>
                    </a:lnTo>
                    <a:close/>
                    <a:moveTo>
                      <a:pt x="7140544" y="1424772"/>
                    </a:moveTo>
                    <a:lnTo>
                      <a:pt x="7150074" y="1429536"/>
                    </a:lnTo>
                    <a:lnTo>
                      <a:pt x="7150074" y="1434300"/>
                    </a:lnTo>
                    <a:lnTo>
                      <a:pt x="7145309" y="1443832"/>
                    </a:lnTo>
                    <a:lnTo>
                      <a:pt x="7140544" y="1443832"/>
                    </a:lnTo>
                    <a:lnTo>
                      <a:pt x="7135779" y="1439064"/>
                    </a:lnTo>
                    <a:lnTo>
                      <a:pt x="7135779" y="1434300"/>
                    </a:lnTo>
                    <a:lnTo>
                      <a:pt x="7135779" y="1429536"/>
                    </a:lnTo>
                    <a:close/>
                    <a:moveTo>
                      <a:pt x="7564640" y="1219872"/>
                    </a:moveTo>
                    <a:lnTo>
                      <a:pt x="7569405" y="1219872"/>
                    </a:lnTo>
                    <a:lnTo>
                      <a:pt x="7564640" y="1224636"/>
                    </a:lnTo>
                    <a:close/>
                    <a:moveTo>
                      <a:pt x="8751157" y="1167456"/>
                    </a:moveTo>
                    <a:lnTo>
                      <a:pt x="8755923" y="1172220"/>
                    </a:lnTo>
                    <a:lnTo>
                      <a:pt x="8760687" y="1181748"/>
                    </a:lnTo>
                    <a:lnTo>
                      <a:pt x="8751157" y="1186516"/>
                    </a:lnTo>
                    <a:lnTo>
                      <a:pt x="8746391" y="1186516"/>
                    </a:lnTo>
                    <a:lnTo>
                      <a:pt x="8746391" y="1172220"/>
                    </a:lnTo>
                    <a:lnTo>
                      <a:pt x="8751157" y="1172220"/>
                    </a:lnTo>
                    <a:close/>
                    <a:moveTo>
                      <a:pt x="7588466" y="1157924"/>
                    </a:moveTo>
                    <a:lnTo>
                      <a:pt x="7593231" y="1157924"/>
                    </a:lnTo>
                    <a:lnTo>
                      <a:pt x="7588466" y="1162688"/>
                    </a:lnTo>
                    <a:lnTo>
                      <a:pt x="7583701" y="1167452"/>
                    </a:lnTo>
                    <a:lnTo>
                      <a:pt x="7583701" y="1162688"/>
                    </a:lnTo>
                    <a:close/>
                    <a:moveTo>
                      <a:pt x="8808339" y="1124568"/>
                    </a:moveTo>
                    <a:lnTo>
                      <a:pt x="8817869" y="1129332"/>
                    </a:lnTo>
                    <a:lnTo>
                      <a:pt x="8827399" y="1143628"/>
                    </a:lnTo>
                    <a:lnTo>
                      <a:pt x="8827399" y="1153156"/>
                    </a:lnTo>
                    <a:lnTo>
                      <a:pt x="8817869" y="1157924"/>
                    </a:lnTo>
                    <a:lnTo>
                      <a:pt x="8808339" y="1153156"/>
                    </a:lnTo>
                    <a:lnTo>
                      <a:pt x="8808339" y="1167452"/>
                    </a:lnTo>
                    <a:lnTo>
                      <a:pt x="8808339" y="1172220"/>
                    </a:lnTo>
                    <a:lnTo>
                      <a:pt x="8794043" y="1162688"/>
                    </a:lnTo>
                    <a:lnTo>
                      <a:pt x="8794043" y="1157924"/>
                    </a:lnTo>
                    <a:lnTo>
                      <a:pt x="8794043" y="1143628"/>
                    </a:lnTo>
                    <a:lnTo>
                      <a:pt x="8803573" y="1129332"/>
                    </a:lnTo>
                    <a:close/>
                    <a:moveTo>
                      <a:pt x="6035034" y="972084"/>
                    </a:moveTo>
                    <a:lnTo>
                      <a:pt x="6044564" y="972084"/>
                    </a:lnTo>
                    <a:lnTo>
                      <a:pt x="6049329" y="976848"/>
                    </a:lnTo>
                    <a:lnTo>
                      <a:pt x="6049329" y="981612"/>
                    </a:lnTo>
                    <a:lnTo>
                      <a:pt x="6049329" y="986380"/>
                    </a:lnTo>
                    <a:lnTo>
                      <a:pt x="6044564" y="986380"/>
                    </a:lnTo>
                    <a:lnTo>
                      <a:pt x="6039799" y="981612"/>
                    </a:lnTo>
                    <a:close/>
                    <a:moveTo>
                      <a:pt x="5884933" y="938728"/>
                    </a:moveTo>
                    <a:lnTo>
                      <a:pt x="5889698" y="938728"/>
                    </a:lnTo>
                    <a:lnTo>
                      <a:pt x="5894463" y="943492"/>
                    </a:lnTo>
                    <a:lnTo>
                      <a:pt x="5894463" y="953024"/>
                    </a:lnTo>
                    <a:lnTo>
                      <a:pt x="5889698" y="953024"/>
                    </a:lnTo>
                    <a:lnTo>
                      <a:pt x="5884933" y="953024"/>
                    </a:lnTo>
                    <a:lnTo>
                      <a:pt x="5884933" y="957788"/>
                    </a:lnTo>
                    <a:lnTo>
                      <a:pt x="5884933" y="967320"/>
                    </a:lnTo>
                    <a:lnTo>
                      <a:pt x="5880168" y="972084"/>
                    </a:lnTo>
                    <a:lnTo>
                      <a:pt x="5880168" y="976848"/>
                    </a:lnTo>
                    <a:lnTo>
                      <a:pt x="5880168" y="981616"/>
                    </a:lnTo>
                    <a:lnTo>
                      <a:pt x="5880168" y="986380"/>
                    </a:lnTo>
                    <a:lnTo>
                      <a:pt x="5875402" y="991144"/>
                    </a:lnTo>
                    <a:lnTo>
                      <a:pt x="5870637" y="995908"/>
                    </a:lnTo>
                    <a:lnTo>
                      <a:pt x="5861107" y="1010204"/>
                    </a:lnTo>
                    <a:lnTo>
                      <a:pt x="5861107" y="1014972"/>
                    </a:lnTo>
                    <a:lnTo>
                      <a:pt x="5861107" y="1019736"/>
                    </a:lnTo>
                    <a:lnTo>
                      <a:pt x="5861107" y="1024500"/>
                    </a:lnTo>
                    <a:lnTo>
                      <a:pt x="5846812" y="1043560"/>
                    </a:lnTo>
                    <a:lnTo>
                      <a:pt x="5842046" y="1043560"/>
                    </a:lnTo>
                    <a:lnTo>
                      <a:pt x="5837281" y="1038796"/>
                    </a:lnTo>
                    <a:lnTo>
                      <a:pt x="5832516" y="1034032"/>
                    </a:lnTo>
                    <a:lnTo>
                      <a:pt x="5827751" y="1029264"/>
                    </a:lnTo>
                    <a:lnTo>
                      <a:pt x="5827751" y="1019736"/>
                    </a:lnTo>
                    <a:lnTo>
                      <a:pt x="5827751" y="1014972"/>
                    </a:lnTo>
                    <a:lnTo>
                      <a:pt x="5842046" y="1000676"/>
                    </a:lnTo>
                    <a:lnTo>
                      <a:pt x="5846812" y="986380"/>
                    </a:lnTo>
                    <a:lnTo>
                      <a:pt x="5851577" y="976848"/>
                    </a:lnTo>
                    <a:lnTo>
                      <a:pt x="5856342" y="967320"/>
                    </a:lnTo>
                    <a:lnTo>
                      <a:pt x="5865872" y="962552"/>
                    </a:lnTo>
                    <a:lnTo>
                      <a:pt x="5870637" y="957788"/>
                    </a:lnTo>
                    <a:lnTo>
                      <a:pt x="5875402" y="943492"/>
                    </a:lnTo>
                    <a:close/>
                    <a:moveTo>
                      <a:pt x="5899227" y="910136"/>
                    </a:moveTo>
                    <a:lnTo>
                      <a:pt x="5903993" y="914904"/>
                    </a:lnTo>
                    <a:lnTo>
                      <a:pt x="5908758" y="914904"/>
                    </a:lnTo>
                    <a:lnTo>
                      <a:pt x="5913523" y="914904"/>
                    </a:lnTo>
                    <a:lnTo>
                      <a:pt x="5913523" y="919668"/>
                    </a:lnTo>
                    <a:lnTo>
                      <a:pt x="5913523" y="929200"/>
                    </a:lnTo>
                    <a:lnTo>
                      <a:pt x="5908758" y="929200"/>
                    </a:lnTo>
                    <a:lnTo>
                      <a:pt x="5899227" y="929200"/>
                    </a:lnTo>
                    <a:lnTo>
                      <a:pt x="5894462" y="924432"/>
                    </a:lnTo>
                    <a:close/>
                    <a:moveTo>
                      <a:pt x="6116041" y="833896"/>
                    </a:moveTo>
                    <a:lnTo>
                      <a:pt x="6125572" y="838660"/>
                    </a:lnTo>
                    <a:lnTo>
                      <a:pt x="6120807" y="838660"/>
                    </a:lnTo>
                    <a:lnTo>
                      <a:pt x="6125572" y="857720"/>
                    </a:lnTo>
                    <a:lnTo>
                      <a:pt x="6120807" y="867252"/>
                    </a:lnTo>
                    <a:lnTo>
                      <a:pt x="6116041" y="872016"/>
                    </a:lnTo>
                    <a:lnTo>
                      <a:pt x="6111276" y="872016"/>
                    </a:lnTo>
                    <a:lnTo>
                      <a:pt x="6106511" y="872016"/>
                    </a:lnTo>
                    <a:lnTo>
                      <a:pt x="6106511" y="857720"/>
                    </a:lnTo>
                    <a:lnTo>
                      <a:pt x="6111276" y="843424"/>
                    </a:lnTo>
                    <a:close/>
                    <a:moveTo>
                      <a:pt x="6268526" y="824364"/>
                    </a:moveTo>
                    <a:lnTo>
                      <a:pt x="6292352" y="824364"/>
                    </a:lnTo>
                    <a:lnTo>
                      <a:pt x="6297117" y="829128"/>
                    </a:lnTo>
                    <a:lnTo>
                      <a:pt x="6297117" y="833896"/>
                    </a:lnTo>
                    <a:lnTo>
                      <a:pt x="6297117" y="838660"/>
                    </a:lnTo>
                    <a:lnTo>
                      <a:pt x="6292352" y="843424"/>
                    </a:lnTo>
                    <a:lnTo>
                      <a:pt x="6287587" y="843424"/>
                    </a:lnTo>
                    <a:lnTo>
                      <a:pt x="6282821" y="838660"/>
                    </a:lnTo>
                    <a:close/>
                    <a:moveTo>
                      <a:pt x="6406715" y="757652"/>
                    </a:moveTo>
                    <a:lnTo>
                      <a:pt x="6416245" y="762420"/>
                    </a:lnTo>
                    <a:lnTo>
                      <a:pt x="6421011" y="762420"/>
                    </a:lnTo>
                    <a:lnTo>
                      <a:pt x="6430541" y="776712"/>
                    </a:lnTo>
                    <a:lnTo>
                      <a:pt x="6435306" y="781480"/>
                    </a:lnTo>
                    <a:lnTo>
                      <a:pt x="6435306" y="786244"/>
                    </a:lnTo>
                    <a:lnTo>
                      <a:pt x="6430541" y="791008"/>
                    </a:lnTo>
                    <a:lnTo>
                      <a:pt x="6421011" y="795776"/>
                    </a:lnTo>
                    <a:lnTo>
                      <a:pt x="6401950" y="795776"/>
                    </a:lnTo>
                    <a:lnTo>
                      <a:pt x="6382889" y="791008"/>
                    </a:lnTo>
                    <a:lnTo>
                      <a:pt x="6378124" y="786244"/>
                    </a:lnTo>
                    <a:lnTo>
                      <a:pt x="6378124" y="776712"/>
                    </a:lnTo>
                    <a:lnTo>
                      <a:pt x="6382889" y="776712"/>
                    </a:lnTo>
                    <a:lnTo>
                      <a:pt x="6387654" y="781480"/>
                    </a:lnTo>
                    <a:lnTo>
                      <a:pt x="6392419" y="781480"/>
                    </a:lnTo>
                    <a:lnTo>
                      <a:pt x="6401950" y="771948"/>
                    </a:lnTo>
                    <a:lnTo>
                      <a:pt x="6406715" y="767184"/>
                    </a:lnTo>
                    <a:lnTo>
                      <a:pt x="6406715" y="762420"/>
                    </a:lnTo>
                    <a:close/>
                    <a:moveTo>
                      <a:pt x="6325707" y="710000"/>
                    </a:moveTo>
                    <a:lnTo>
                      <a:pt x="6330472" y="710000"/>
                    </a:lnTo>
                    <a:lnTo>
                      <a:pt x="6335237" y="714768"/>
                    </a:lnTo>
                    <a:lnTo>
                      <a:pt x="6340002" y="719532"/>
                    </a:lnTo>
                    <a:lnTo>
                      <a:pt x="6340002" y="724296"/>
                    </a:lnTo>
                    <a:lnTo>
                      <a:pt x="6340002" y="729064"/>
                    </a:lnTo>
                    <a:lnTo>
                      <a:pt x="6335237" y="729064"/>
                    </a:lnTo>
                    <a:lnTo>
                      <a:pt x="6330472" y="719532"/>
                    </a:lnTo>
                    <a:lnTo>
                      <a:pt x="6325707" y="714768"/>
                    </a:lnTo>
                    <a:close/>
                    <a:moveTo>
                      <a:pt x="6325707" y="662352"/>
                    </a:moveTo>
                    <a:lnTo>
                      <a:pt x="6330473" y="662352"/>
                    </a:lnTo>
                    <a:lnTo>
                      <a:pt x="6335238" y="662352"/>
                    </a:lnTo>
                    <a:lnTo>
                      <a:pt x="6335238" y="667116"/>
                    </a:lnTo>
                    <a:lnTo>
                      <a:pt x="6330473" y="681412"/>
                    </a:lnTo>
                    <a:lnTo>
                      <a:pt x="6330473" y="690940"/>
                    </a:lnTo>
                    <a:lnTo>
                      <a:pt x="6335238" y="700472"/>
                    </a:lnTo>
                    <a:lnTo>
                      <a:pt x="6335238" y="705236"/>
                    </a:lnTo>
                    <a:lnTo>
                      <a:pt x="6330473" y="705236"/>
                    </a:lnTo>
                    <a:lnTo>
                      <a:pt x="6325707" y="700472"/>
                    </a:lnTo>
                    <a:lnTo>
                      <a:pt x="6325707" y="695704"/>
                    </a:lnTo>
                    <a:lnTo>
                      <a:pt x="6320942" y="681412"/>
                    </a:lnTo>
                    <a:lnTo>
                      <a:pt x="6316177" y="671880"/>
                    </a:lnTo>
                    <a:close/>
                    <a:moveTo>
                      <a:pt x="5327413" y="586108"/>
                    </a:moveTo>
                    <a:lnTo>
                      <a:pt x="5332178" y="590874"/>
                    </a:lnTo>
                    <a:lnTo>
                      <a:pt x="5322648" y="595640"/>
                    </a:lnTo>
                    <a:lnTo>
                      <a:pt x="5317883" y="600404"/>
                    </a:lnTo>
                    <a:lnTo>
                      <a:pt x="5313117" y="605170"/>
                    </a:lnTo>
                    <a:lnTo>
                      <a:pt x="5303587" y="609936"/>
                    </a:lnTo>
                    <a:lnTo>
                      <a:pt x="5298822" y="605170"/>
                    </a:lnTo>
                    <a:lnTo>
                      <a:pt x="5303587" y="600404"/>
                    </a:lnTo>
                    <a:close/>
                    <a:moveTo>
                      <a:pt x="5336942" y="562284"/>
                    </a:moveTo>
                    <a:lnTo>
                      <a:pt x="5336942" y="567048"/>
                    </a:lnTo>
                    <a:lnTo>
                      <a:pt x="5336942" y="571814"/>
                    </a:lnTo>
                    <a:lnTo>
                      <a:pt x="5332177" y="576580"/>
                    </a:lnTo>
                    <a:lnTo>
                      <a:pt x="5322647" y="571814"/>
                    </a:lnTo>
                    <a:lnTo>
                      <a:pt x="5332177" y="567048"/>
                    </a:lnTo>
                    <a:close/>
                    <a:moveTo>
                      <a:pt x="5303587" y="562284"/>
                    </a:moveTo>
                    <a:lnTo>
                      <a:pt x="5308352" y="562284"/>
                    </a:lnTo>
                    <a:lnTo>
                      <a:pt x="5313117" y="567048"/>
                    </a:lnTo>
                    <a:lnTo>
                      <a:pt x="5313117" y="571814"/>
                    </a:lnTo>
                    <a:lnTo>
                      <a:pt x="5308352" y="571814"/>
                    </a:lnTo>
                    <a:lnTo>
                      <a:pt x="5303587" y="571814"/>
                    </a:lnTo>
                    <a:lnTo>
                      <a:pt x="5303587" y="567048"/>
                    </a:lnTo>
                    <a:close/>
                    <a:moveTo>
                      <a:pt x="5351238" y="538458"/>
                    </a:moveTo>
                    <a:lnTo>
                      <a:pt x="5356003" y="538458"/>
                    </a:lnTo>
                    <a:lnTo>
                      <a:pt x="5360768" y="543224"/>
                    </a:lnTo>
                    <a:lnTo>
                      <a:pt x="5356003" y="547988"/>
                    </a:lnTo>
                    <a:lnTo>
                      <a:pt x="5351238" y="552752"/>
                    </a:lnTo>
                    <a:lnTo>
                      <a:pt x="5351238" y="543224"/>
                    </a:lnTo>
                    <a:close/>
                    <a:moveTo>
                      <a:pt x="285908" y="490808"/>
                    </a:moveTo>
                    <a:lnTo>
                      <a:pt x="290673" y="505100"/>
                    </a:lnTo>
                    <a:lnTo>
                      <a:pt x="290673" y="509868"/>
                    </a:lnTo>
                    <a:lnTo>
                      <a:pt x="290673" y="514632"/>
                    </a:lnTo>
                    <a:lnTo>
                      <a:pt x="285908" y="514632"/>
                    </a:lnTo>
                    <a:lnTo>
                      <a:pt x="281143" y="505100"/>
                    </a:lnTo>
                    <a:lnTo>
                      <a:pt x="281143" y="495572"/>
                    </a:lnTo>
                    <a:close/>
                    <a:moveTo>
                      <a:pt x="5737214" y="443156"/>
                    </a:moveTo>
                    <a:lnTo>
                      <a:pt x="5751509" y="443156"/>
                    </a:lnTo>
                    <a:lnTo>
                      <a:pt x="5765805" y="447920"/>
                    </a:lnTo>
                    <a:lnTo>
                      <a:pt x="5775335" y="457450"/>
                    </a:lnTo>
                    <a:lnTo>
                      <a:pt x="5765805" y="462216"/>
                    </a:lnTo>
                    <a:lnTo>
                      <a:pt x="5732449" y="466980"/>
                    </a:lnTo>
                    <a:lnTo>
                      <a:pt x="5737214" y="471746"/>
                    </a:lnTo>
                    <a:lnTo>
                      <a:pt x="5732449" y="481276"/>
                    </a:lnTo>
                    <a:lnTo>
                      <a:pt x="5699093" y="505102"/>
                    </a:lnTo>
                    <a:lnTo>
                      <a:pt x="5699093" y="514632"/>
                    </a:lnTo>
                    <a:lnTo>
                      <a:pt x="5699093" y="519398"/>
                    </a:lnTo>
                    <a:lnTo>
                      <a:pt x="5680032" y="538458"/>
                    </a:lnTo>
                    <a:lnTo>
                      <a:pt x="5670502" y="552752"/>
                    </a:lnTo>
                    <a:lnTo>
                      <a:pt x="5665737" y="552752"/>
                    </a:lnTo>
                    <a:lnTo>
                      <a:pt x="5660972" y="543222"/>
                    </a:lnTo>
                    <a:lnTo>
                      <a:pt x="5660972" y="538458"/>
                    </a:lnTo>
                    <a:lnTo>
                      <a:pt x="5665737" y="533692"/>
                    </a:lnTo>
                    <a:lnTo>
                      <a:pt x="5670502" y="524162"/>
                    </a:lnTo>
                    <a:lnTo>
                      <a:pt x="5670502" y="514632"/>
                    </a:lnTo>
                    <a:lnTo>
                      <a:pt x="5670502" y="509866"/>
                    </a:lnTo>
                    <a:lnTo>
                      <a:pt x="5665737" y="519398"/>
                    </a:lnTo>
                    <a:lnTo>
                      <a:pt x="5665737" y="524162"/>
                    </a:lnTo>
                    <a:lnTo>
                      <a:pt x="5670502" y="524162"/>
                    </a:lnTo>
                    <a:lnTo>
                      <a:pt x="5665737" y="528928"/>
                    </a:lnTo>
                    <a:lnTo>
                      <a:pt x="5646676" y="524162"/>
                    </a:lnTo>
                    <a:lnTo>
                      <a:pt x="5637146" y="514632"/>
                    </a:lnTo>
                    <a:lnTo>
                      <a:pt x="5641911" y="505102"/>
                    </a:lnTo>
                    <a:lnTo>
                      <a:pt x="5646676" y="490806"/>
                    </a:lnTo>
                    <a:lnTo>
                      <a:pt x="5675267" y="466980"/>
                    </a:lnTo>
                    <a:lnTo>
                      <a:pt x="5684797" y="457450"/>
                    </a:lnTo>
                    <a:lnTo>
                      <a:pt x="5718153" y="447920"/>
                    </a:lnTo>
                    <a:close/>
                    <a:moveTo>
                      <a:pt x="347854" y="443156"/>
                    </a:moveTo>
                    <a:lnTo>
                      <a:pt x="352619" y="443156"/>
                    </a:lnTo>
                    <a:lnTo>
                      <a:pt x="357385" y="452684"/>
                    </a:lnTo>
                    <a:lnTo>
                      <a:pt x="362150" y="466980"/>
                    </a:lnTo>
                    <a:lnTo>
                      <a:pt x="362150" y="471744"/>
                    </a:lnTo>
                    <a:lnTo>
                      <a:pt x="357385" y="471744"/>
                    </a:lnTo>
                    <a:lnTo>
                      <a:pt x="352619" y="471744"/>
                    </a:lnTo>
                    <a:lnTo>
                      <a:pt x="352619" y="466980"/>
                    </a:lnTo>
                    <a:lnTo>
                      <a:pt x="343089" y="471744"/>
                    </a:lnTo>
                    <a:lnTo>
                      <a:pt x="343089" y="457448"/>
                    </a:lnTo>
                    <a:close/>
                    <a:moveTo>
                      <a:pt x="338324" y="395504"/>
                    </a:moveTo>
                    <a:lnTo>
                      <a:pt x="343089" y="395504"/>
                    </a:lnTo>
                    <a:lnTo>
                      <a:pt x="343089" y="400268"/>
                    </a:lnTo>
                    <a:lnTo>
                      <a:pt x="347854" y="419328"/>
                    </a:lnTo>
                    <a:lnTo>
                      <a:pt x="347854" y="424096"/>
                    </a:lnTo>
                    <a:lnTo>
                      <a:pt x="338324" y="419328"/>
                    </a:lnTo>
                    <a:lnTo>
                      <a:pt x="333559" y="414564"/>
                    </a:lnTo>
                    <a:lnTo>
                      <a:pt x="333559" y="400268"/>
                    </a:lnTo>
                    <a:close/>
                    <a:moveTo>
                      <a:pt x="5641911" y="285906"/>
                    </a:moveTo>
                    <a:lnTo>
                      <a:pt x="5656206" y="285906"/>
                    </a:lnTo>
                    <a:lnTo>
                      <a:pt x="5660971" y="285906"/>
                    </a:lnTo>
                    <a:lnTo>
                      <a:pt x="5646676" y="300202"/>
                    </a:lnTo>
                    <a:lnTo>
                      <a:pt x="5641911" y="304966"/>
                    </a:lnTo>
                    <a:lnTo>
                      <a:pt x="5641911" y="309732"/>
                    </a:lnTo>
                    <a:lnTo>
                      <a:pt x="5637145" y="314496"/>
                    </a:lnTo>
                    <a:lnTo>
                      <a:pt x="5594259" y="338322"/>
                    </a:lnTo>
                    <a:lnTo>
                      <a:pt x="5584729" y="343088"/>
                    </a:lnTo>
                    <a:lnTo>
                      <a:pt x="5584729" y="347852"/>
                    </a:lnTo>
                    <a:lnTo>
                      <a:pt x="5589494" y="347852"/>
                    </a:lnTo>
                    <a:lnTo>
                      <a:pt x="5584729" y="352618"/>
                    </a:lnTo>
                    <a:lnTo>
                      <a:pt x="5565669" y="357382"/>
                    </a:lnTo>
                    <a:lnTo>
                      <a:pt x="5556138" y="362148"/>
                    </a:lnTo>
                    <a:lnTo>
                      <a:pt x="5546608" y="357382"/>
                    </a:lnTo>
                    <a:lnTo>
                      <a:pt x="5546608" y="352618"/>
                    </a:lnTo>
                    <a:lnTo>
                      <a:pt x="5551373" y="347852"/>
                    </a:lnTo>
                    <a:lnTo>
                      <a:pt x="5551373" y="343088"/>
                    </a:lnTo>
                    <a:lnTo>
                      <a:pt x="5546608" y="343088"/>
                    </a:lnTo>
                    <a:lnTo>
                      <a:pt x="5546608" y="338322"/>
                    </a:lnTo>
                    <a:lnTo>
                      <a:pt x="5556138" y="333558"/>
                    </a:lnTo>
                    <a:lnTo>
                      <a:pt x="5618085" y="300202"/>
                    </a:lnTo>
                    <a:close/>
                    <a:moveTo>
                      <a:pt x="324029" y="233488"/>
                    </a:moveTo>
                    <a:lnTo>
                      <a:pt x="328794" y="233488"/>
                    </a:lnTo>
                    <a:lnTo>
                      <a:pt x="333559" y="238256"/>
                    </a:lnTo>
                    <a:lnTo>
                      <a:pt x="343089" y="247784"/>
                    </a:lnTo>
                    <a:lnTo>
                      <a:pt x="338324" y="257316"/>
                    </a:lnTo>
                    <a:lnTo>
                      <a:pt x="314498" y="266844"/>
                    </a:lnTo>
                    <a:lnTo>
                      <a:pt x="314498" y="271612"/>
                    </a:lnTo>
                    <a:lnTo>
                      <a:pt x="328794" y="276376"/>
                    </a:lnTo>
                    <a:lnTo>
                      <a:pt x="333559" y="285904"/>
                    </a:lnTo>
                    <a:lnTo>
                      <a:pt x="343089" y="319260"/>
                    </a:lnTo>
                    <a:lnTo>
                      <a:pt x="347854" y="304964"/>
                    </a:lnTo>
                    <a:lnTo>
                      <a:pt x="366915" y="328792"/>
                    </a:lnTo>
                    <a:lnTo>
                      <a:pt x="366915" y="338320"/>
                    </a:lnTo>
                    <a:lnTo>
                      <a:pt x="366915" y="343088"/>
                    </a:lnTo>
                    <a:lnTo>
                      <a:pt x="362150" y="343088"/>
                    </a:lnTo>
                    <a:lnTo>
                      <a:pt x="357385" y="338320"/>
                    </a:lnTo>
                    <a:lnTo>
                      <a:pt x="352619" y="333556"/>
                    </a:lnTo>
                    <a:lnTo>
                      <a:pt x="347854" y="328792"/>
                    </a:lnTo>
                    <a:lnTo>
                      <a:pt x="338324" y="324028"/>
                    </a:lnTo>
                    <a:lnTo>
                      <a:pt x="333559" y="319260"/>
                    </a:lnTo>
                    <a:lnTo>
                      <a:pt x="328794" y="309732"/>
                    </a:lnTo>
                    <a:lnTo>
                      <a:pt x="328794" y="295436"/>
                    </a:lnTo>
                    <a:lnTo>
                      <a:pt x="328794" y="290672"/>
                    </a:lnTo>
                    <a:lnTo>
                      <a:pt x="324029" y="285904"/>
                    </a:lnTo>
                    <a:lnTo>
                      <a:pt x="319263" y="285904"/>
                    </a:lnTo>
                    <a:lnTo>
                      <a:pt x="309733" y="271612"/>
                    </a:lnTo>
                    <a:lnTo>
                      <a:pt x="309733" y="266844"/>
                    </a:lnTo>
                    <a:lnTo>
                      <a:pt x="309733" y="257316"/>
                    </a:lnTo>
                    <a:lnTo>
                      <a:pt x="319263" y="243020"/>
                    </a:lnTo>
                    <a:close/>
                    <a:moveTo>
                      <a:pt x="285908" y="195368"/>
                    </a:moveTo>
                    <a:lnTo>
                      <a:pt x="290673" y="195368"/>
                    </a:lnTo>
                    <a:lnTo>
                      <a:pt x="290673" y="204900"/>
                    </a:lnTo>
                    <a:lnTo>
                      <a:pt x="295438" y="219192"/>
                    </a:lnTo>
                    <a:lnTo>
                      <a:pt x="295438" y="223960"/>
                    </a:lnTo>
                    <a:lnTo>
                      <a:pt x="285908" y="223960"/>
                    </a:lnTo>
                    <a:lnTo>
                      <a:pt x="281143" y="219192"/>
                    </a:lnTo>
                    <a:lnTo>
                      <a:pt x="281143" y="209664"/>
                    </a:lnTo>
                    <a:lnTo>
                      <a:pt x="281143" y="200132"/>
                    </a:lnTo>
                    <a:close/>
                    <a:moveTo>
                      <a:pt x="243022" y="181072"/>
                    </a:moveTo>
                    <a:lnTo>
                      <a:pt x="252552" y="181072"/>
                    </a:lnTo>
                    <a:lnTo>
                      <a:pt x="266848" y="200132"/>
                    </a:lnTo>
                    <a:lnTo>
                      <a:pt x="266848" y="204896"/>
                    </a:lnTo>
                    <a:lnTo>
                      <a:pt x="271613" y="214428"/>
                    </a:lnTo>
                    <a:lnTo>
                      <a:pt x="252552" y="209664"/>
                    </a:lnTo>
                    <a:lnTo>
                      <a:pt x="247787" y="204896"/>
                    </a:lnTo>
                    <a:lnTo>
                      <a:pt x="243022" y="200132"/>
                    </a:lnTo>
                    <a:lnTo>
                      <a:pt x="243022" y="185836"/>
                    </a:lnTo>
                    <a:close/>
                    <a:moveTo>
                      <a:pt x="281142" y="157248"/>
                    </a:moveTo>
                    <a:lnTo>
                      <a:pt x="285907" y="157248"/>
                    </a:lnTo>
                    <a:lnTo>
                      <a:pt x="300203" y="166776"/>
                    </a:lnTo>
                    <a:lnTo>
                      <a:pt x="304968" y="171544"/>
                    </a:lnTo>
                    <a:lnTo>
                      <a:pt x="300203" y="176308"/>
                    </a:lnTo>
                    <a:lnTo>
                      <a:pt x="295438" y="176308"/>
                    </a:lnTo>
                    <a:lnTo>
                      <a:pt x="285907" y="171544"/>
                    </a:lnTo>
                    <a:lnTo>
                      <a:pt x="281142" y="166776"/>
                    </a:lnTo>
                    <a:lnTo>
                      <a:pt x="285907" y="181072"/>
                    </a:lnTo>
                    <a:lnTo>
                      <a:pt x="285907" y="185840"/>
                    </a:lnTo>
                    <a:lnTo>
                      <a:pt x="271612" y="176308"/>
                    </a:lnTo>
                    <a:lnTo>
                      <a:pt x="266847" y="171544"/>
                    </a:lnTo>
                    <a:lnTo>
                      <a:pt x="271612" y="166776"/>
                    </a:lnTo>
                    <a:close/>
                    <a:moveTo>
                      <a:pt x="4617409" y="0"/>
                    </a:moveTo>
                    <a:lnTo>
                      <a:pt x="4650765" y="4764"/>
                    </a:lnTo>
                    <a:lnTo>
                      <a:pt x="4660295" y="14292"/>
                    </a:lnTo>
                    <a:lnTo>
                      <a:pt x="4665060" y="14292"/>
                    </a:lnTo>
                    <a:lnTo>
                      <a:pt x="4665060" y="28588"/>
                    </a:lnTo>
                    <a:lnTo>
                      <a:pt x="4665060" y="61944"/>
                    </a:lnTo>
                    <a:lnTo>
                      <a:pt x="4674591" y="90536"/>
                    </a:lnTo>
                    <a:lnTo>
                      <a:pt x="4688885" y="119128"/>
                    </a:lnTo>
                    <a:lnTo>
                      <a:pt x="4688885" y="133420"/>
                    </a:lnTo>
                    <a:lnTo>
                      <a:pt x="4693651" y="142952"/>
                    </a:lnTo>
                    <a:lnTo>
                      <a:pt x="4703181" y="147716"/>
                    </a:lnTo>
                    <a:lnTo>
                      <a:pt x="4731772" y="157248"/>
                    </a:lnTo>
                    <a:lnTo>
                      <a:pt x="4788953" y="171544"/>
                    </a:lnTo>
                    <a:lnTo>
                      <a:pt x="4822309" y="181072"/>
                    </a:lnTo>
                    <a:lnTo>
                      <a:pt x="4827075" y="195368"/>
                    </a:lnTo>
                    <a:lnTo>
                      <a:pt x="4841369" y="200132"/>
                    </a:lnTo>
                    <a:lnTo>
                      <a:pt x="4865195" y="200132"/>
                    </a:lnTo>
                    <a:lnTo>
                      <a:pt x="4879491" y="190604"/>
                    </a:lnTo>
                    <a:lnTo>
                      <a:pt x="4893786" y="181072"/>
                    </a:lnTo>
                    <a:lnTo>
                      <a:pt x="4912847" y="176308"/>
                    </a:lnTo>
                    <a:lnTo>
                      <a:pt x="4931907" y="176308"/>
                    </a:lnTo>
                    <a:lnTo>
                      <a:pt x="4946203" y="176308"/>
                    </a:lnTo>
                    <a:lnTo>
                      <a:pt x="4955733" y="181072"/>
                    </a:lnTo>
                    <a:lnTo>
                      <a:pt x="4979559" y="190604"/>
                    </a:lnTo>
                    <a:lnTo>
                      <a:pt x="4993854" y="200132"/>
                    </a:lnTo>
                    <a:lnTo>
                      <a:pt x="5017679" y="214428"/>
                    </a:lnTo>
                    <a:lnTo>
                      <a:pt x="5031975" y="223960"/>
                    </a:lnTo>
                    <a:lnTo>
                      <a:pt x="5036740" y="238256"/>
                    </a:lnTo>
                    <a:lnTo>
                      <a:pt x="5046270" y="257316"/>
                    </a:lnTo>
                    <a:lnTo>
                      <a:pt x="5055801" y="257316"/>
                    </a:lnTo>
                    <a:lnTo>
                      <a:pt x="5065331" y="247784"/>
                    </a:lnTo>
                    <a:lnTo>
                      <a:pt x="5084391" y="243020"/>
                    </a:lnTo>
                    <a:lnTo>
                      <a:pt x="5108217" y="252548"/>
                    </a:lnTo>
                    <a:lnTo>
                      <a:pt x="5132043" y="276376"/>
                    </a:lnTo>
                    <a:lnTo>
                      <a:pt x="5165399" y="300200"/>
                    </a:lnTo>
                    <a:lnTo>
                      <a:pt x="5184459" y="309732"/>
                    </a:lnTo>
                    <a:lnTo>
                      <a:pt x="5203519" y="309732"/>
                    </a:lnTo>
                    <a:lnTo>
                      <a:pt x="5232110" y="300200"/>
                    </a:lnTo>
                    <a:lnTo>
                      <a:pt x="5260701" y="281140"/>
                    </a:lnTo>
                    <a:lnTo>
                      <a:pt x="5279761" y="276376"/>
                    </a:lnTo>
                    <a:lnTo>
                      <a:pt x="5289291" y="276376"/>
                    </a:lnTo>
                    <a:lnTo>
                      <a:pt x="5298822" y="295436"/>
                    </a:lnTo>
                    <a:lnTo>
                      <a:pt x="5303587" y="300200"/>
                    </a:lnTo>
                    <a:lnTo>
                      <a:pt x="5327413" y="300200"/>
                    </a:lnTo>
                    <a:lnTo>
                      <a:pt x="5370299" y="300200"/>
                    </a:lnTo>
                    <a:lnTo>
                      <a:pt x="5408420" y="295436"/>
                    </a:lnTo>
                    <a:lnTo>
                      <a:pt x="5417950" y="304968"/>
                    </a:lnTo>
                    <a:lnTo>
                      <a:pt x="5422715" y="319260"/>
                    </a:lnTo>
                    <a:lnTo>
                      <a:pt x="5437011" y="324028"/>
                    </a:lnTo>
                    <a:lnTo>
                      <a:pt x="5456071" y="319260"/>
                    </a:lnTo>
                    <a:lnTo>
                      <a:pt x="5489427" y="324028"/>
                    </a:lnTo>
                    <a:lnTo>
                      <a:pt x="5484662" y="328792"/>
                    </a:lnTo>
                    <a:lnTo>
                      <a:pt x="5479897" y="324028"/>
                    </a:lnTo>
                    <a:lnTo>
                      <a:pt x="5475131" y="328792"/>
                    </a:lnTo>
                    <a:lnTo>
                      <a:pt x="5465601" y="338324"/>
                    </a:lnTo>
                    <a:lnTo>
                      <a:pt x="5451306" y="347852"/>
                    </a:lnTo>
                    <a:lnTo>
                      <a:pt x="5422715" y="362148"/>
                    </a:lnTo>
                    <a:lnTo>
                      <a:pt x="5394125" y="371676"/>
                    </a:lnTo>
                    <a:lnTo>
                      <a:pt x="5327413" y="395504"/>
                    </a:lnTo>
                    <a:lnTo>
                      <a:pt x="5289291" y="419328"/>
                    </a:lnTo>
                    <a:lnTo>
                      <a:pt x="5274997" y="433624"/>
                    </a:lnTo>
                    <a:lnTo>
                      <a:pt x="5203519" y="505100"/>
                    </a:lnTo>
                    <a:lnTo>
                      <a:pt x="5165399" y="543224"/>
                    </a:lnTo>
                    <a:lnTo>
                      <a:pt x="5098687" y="595640"/>
                    </a:lnTo>
                    <a:lnTo>
                      <a:pt x="5093921" y="605168"/>
                    </a:lnTo>
                    <a:lnTo>
                      <a:pt x="5093921" y="609936"/>
                    </a:lnTo>
                    <a:lnTo>
                      <a:pt x="5098687" y="614700"/>
                    </a:lnTo>
                    <a:lnTo>
                      <a:pt x="5112982" y="624228"/>
                    </a:lnTo>
                    <a:lnTo>
                      <a:pt x="5122513" y="624228"/>
                    </a:lnTo>
                    <a:lnTo>
                      <a:pt x="5136807" y="624228"/>
                    </a:lnTo>
                    <a:lnTo>
                      <a:pt x="5189224" y="609936"/>
                    </a:lnTo>
                    <a:lnTo>
                      <a:pt x="5213049" y="600404"/>
                    </a:lnTo>
                    <a:lnTo>
                      <a:pt x="5232110" y="581344"/>
                    </a:lnTo>
                    <a:lnTo>
                      <a:pt x="5236875" y="581344"/>
                    </a:lnTo>
                    <a:lnTo>
                      <a:pt x="5241641" y="586108"/>
                    </a:lnTo>
                    <a:lnTo>
                      <a:pt x="5246405" y="586108"/>
                    </a:lnTo>
                    <a:lnTo>
                      <a:pt x="5274997" y="567048"/>
                    </a:lnTo>
                    <a:lnTo>
                      <a:pt x="5284527" y="562284"/>
                    </a:lnTo>
                    <a:lnTo>
                      <a:pt x="5289291" y="562284"/>
                    </a:lnTo>
                    <a:lnTo>
                      <a:pt x="5298822" y="571812"/>
                    </a:lnTo>
                    <a:lnTo>
                      <a:pt x="5303587" y="576580"/>
                    </a:lnTo>
                    <a:lnTo>
                      <a:pt x="5298822" y="586108"/>
                    </a:lnTo>
                    <a:lnTo>
                      <a:pt x="5289291" y="600404"/>
                    </a:lnTo>
                    <a:lnTo>
                      <a:pt x="5289291" y="609936"/>
                    </a:lnTo>
                    <a:lnTo>
                      <a:pt x="5289291" y="619464"/>
                    </a:lnTo>
                    <a:lnTo>
                      <a:pt x="5284527" y="628996"/>
                    </a:lnTo>
                    <a:lnTo>
                      <a:pt x="5274997" y="643292"/>
                    </a:lnTo>
                    <a:lnTo>
                      <a:pt x="5279761" y="648056"/>
                    </a:lnTo>
                    <a:lnTo>
                      <a:pt x="5303587" y="638524"/>
                    </a:lnTo>
                    <a:lnTo>
                      <a:pt x="5303587" y="633760"/>
                    </a:lnTo>
                    <a:lnTo>
                      <a:pt x="5303587" y="628996"/>
                    </a:lnTo>
                    <a:lnTo>
                      <a:pt x="5308352" y="624228"/>
                    </a:lnTo>
                    <a:lnTo>
                      <a:pt x="5327413" y="638524"/>
                    </a:lnTo>
                    <a:lnTo>
                      <a:pt x="5336943" y="648056"/>
                    </a:lnTo>
                    <a:lnTo>
                      <a:pt x="5351239" y="648056"/>
                    </a:lnTo>
                    <a:lnTo>
                      <a:pt x="5370299" y="648056"/>
                    </a:lnTo>
                    <a:lnTo>
                      <a:pt x="5398889" y="633760"/>
                    </a:lnTo>
                    <a:lnTo>
                      <a:pt x="5422715" y="619464"/>
                    </a:lnTo>
                    <a:lnTo>
                      <a:pt x="5446541" y="605168"/>
                    </a:lnTo>
                    <a:lnTo>
                      <a:pt x="5470367" y="590872"/>
                    </a:lnTo>
                    <a:lnTo>
                      <a:pt x="5498957" y="590872"/>
                    </a:lnTo>
                    <a:lnTo>
                      <a:pt x="5522783" y="581344"/>
                    </a:lnTo>
                    <a:lnTo>
                      <a:pt x="5537079" y="571812"/>
                    </a:lnTo>
                    <a:lnTo>
                      <a:pt x="5556139" y="557516"/>
                    </a:lnTo>
                    <a:lnTo>
                      <a:pt x="5565669" y="552752"/>
                    </a:lnTo>
                    <a:lnTo>
                      <a:pt x="5575199" y="552752"/>
                    </a:lnTo>
                    <a:lnTo>
                      <a:pt x="5584729" y="547988"/>
                    </a:lnTo>
                    <a:lnTo>
                      <a:pt x="5594260" y="533692"/>
                    </a:lnTo>
                    <a:lnTo>
                      <a:pt x="5603790" y="524160"/>
                    </a:lnTo>
                    <a:lnTo>
                      <a:pt x="5622851" y="509868"/>
                    </a:lnTo>
                    <a:lnTo>
                      <a:pt x="5632381" y="500336"/>
                    </a:lnTo>
                    <a:lnTo>
                      <a:pt x="5637146" y="505100"/>
                    </a:lnTo>
                    <a:lnTo>
                      <a:pt x="5637146" y="509868"/>
                    </a:lnTo>
                    <a:lnTo>
                      <a:pt x="5637146" y="514632"/>
                    </a:lnTo>
                    <a:lnTo>
                      <a:pt x="5637146" y="519396"/>
                    </a:lnTo>
                    <a:lnTo>
                      <a:pt x="5641911" y="524160"/>
                    </a:lnTo>
                    <a:lnTo>
                      <a:pt x="5651441" y="528928"/>
                    </a:lnTo>
                    <a:lnTo>
                      <a:pt x="5656207" y="533692"/>
                    </a:lnTo>
                    <a:lnTo>
                      <a:pt x="5651441" y="543224"/>
                    </a:lnTo>
                    <a:lnTo>
                      <a:pt x="5656207" y="547988"/>
                    </a:lnTo>
                    <a:lnTo>
                      <a:pt x="5660971" y="552752"/>
                    </a:lnTo>
                    <a:lnTo>
                      <a:pt x="5665737" y="562284"/>
                    </a:lnTo>
                    <a:lnTo>
                      <a:pt x="5660971" y="581344"/>
                    </a:lnTo>
                    <a:lnTo>
                      <a:pt x="5660971" y="590872"/>
                    </a:lnTo>
                    <a:lnTo>
                      <a:pt x="5660971" y="600404"/>
                    </a:lnTo>
                    <a:lnTo>
                      <a:pt x="5665737" y="600404"/>
                    </a:lnTo>
                    <a:lnTo>
                      <a:pt x="5670502" y="600404"/>
                    </a:lnTo>
                    <a:lnTo>
                      <a:pt x="5670502" y="590872"/>
                    </a:lnTo>
                    <a:lnTo>
                      <a:pt x="5675267" y="586108"/>
                    </a:lnTo>
                    <a:lnTo>
                      <a:pt x="5699093" y="567048"/>
                    </a:lnTo>
                    <a:lnTo>
                      <a:pt x="5708623" y="567048"/>
                    </a:lnTo>
                    <a:lnTo>
                      <a:pt x="5713388" y="571812"/>
                    </a:lnTo>
                    <a:lnTo>
                      <a:pt x="5751509" y="576580"/>
                    </a:lnTo>
                    <a:lnTo>
                      <a:pt x="5770569" y="581344"/>
                    </a:lnTo>
                    <a:lnTo>
                      <a:pt x="5784865" y="590872"/>
                    </a:lnTo>
                    <a:lnTo>
                      <a:pt x="5789630" y="595640"/>
                    </a:lnTo>
                    <a:lnTo>
                      <a:pt x="5813456" y="628996"/>
                    </a:lnTo>
                    <a:lnTo>
                      <a:pt x="5822986" y="638524"/>
                    </a:lnTo>
                    <a:lnTo>
                      <a:pt x="5827751" y="643292"/>
                    </a:lnTo>
                    <a:lnTo>
                      <a:pt x="5827751" y="648056"/>
                    </a:lnTo>
                    <a:lnTo>
                      <a:pt x="5832517" y="662352"/>
                    </a:lnTo>
                    <a:lnTo>
                      <a:pt x="5837281" y="662352"/>
                    </a:lnTo>
                    <a:lnTo>
                      <a:pt x="5865872" y="667116"/>
                    </a:lnTo>
                    <a:lnTo>
                      <a:pt x="5880167" y="662352"/>
                    </a:lnTo>
                    <a:lnTo>
                      <a:pt x="5884933" y="657584"/>
                    </a:lnTo>
                    <a:lnTo>
                      <a:pt x="5894463" y="662352"/>
                    </a:lnTo>
                    <a:lnTo>
                      <a:pt x="5903993" y="671880"/>
                    </a:lnTo>
                    <a:lnTo>
                      <a:pt x="5913523" y="676648"/>
                    </a:lnTo>
                    <a:lnTo>
                      <a:pt x="5923053" y="671880"/>
                    </a:lnTo>
                    <a:lnTo>
                      <a:pt x="5932584" y="671880"/>
                    </a:lnTo>
                    <a:lnTo>
                      <a:pt x="5942114" y="676648"/>
                    </a:lnTo>
                    <a:lnTo>
                      <a:pt x="5946879" y="681412"/>
                    </a:lnTo>
                    <a:lnTo>
                      <a:pt x="5965940" y="662352"/>
                    </a:lnTo>
                    <a:lnTo>
                      <a:pt x="5985001" y="648056"/>
                    </a:lnTo>
                    <a:lnTo>
                      <a:pt x="6013591" y="633760"/>
                    </a:lnTo>
                    <a:lnTo>
                      <a:pt x="6027887" y="628996"/>
                    </a:lnTo>
                    <a:lnTo>
                      <a:pt x="6030269" y="628996"/>
                    </a:lnTo>
                    <a:lnTo>
                      <a:pt x="6054095" y="624228"/>
                    </a:lnTo>
                    <a:lnTo>
                      <a:pt x="6077921" y="624228"/>
                    </a:lnTo>
                    <a:lnTo>
                      <a:pt x="6106511" y="624228"/>
                    </a:lnTo>
                    <a:lnTo>
                      <a:pt x="6130337" y="624228"/>
                    </a:lnTo>
                    <a:lnTo>
                      <a:pt x="6158927" y="609936"/>
                    </a:lnTo>
                    <a:lnTo>
                      <a:pt x="6177988" y="605168"/>
                    </a:lnTo>
                    <a:lnTo>
                      <a:pt x="6197049" y="605168"/>
                    </a:lnTo>
                    <a:lnTo>
                      <a:pt x="6206579" y="609936"/>
                    </a:lnTo>
                    <a:lnTo>
                      <a:pt x="6201813" y="614700"/>
                    </a:lnTo>
                    <a:lnTo>
                      <a:pt x="6197049" y="628996"/>
                    </a:lnTo>
                    <a:lnTo>
                      <a:pt x="6197049" y="643292"/>
                    </a:lnTo>
                    <a:lnTo>
                      <a:pt x="6197049" y="657584"/>
                    </a:lnTo>
                    <a:lnTo>
                      <a:pt x="6192283" y="657584"/>
                    </a:lnTo>
                    <a:lnTo>
                      <a:pt x="6192283" y="662352"/>
                    </a:lnTo>
                    <a:lnTo>
                      <a:pt x="6197049" y="667116"/>
                    </a:lnTo>
                    <a:lnTo>
                      <a:pt x="6216109" y="671880"/>
                    </a:lnTo>
                    <a:lnTo>
                      <a:pt x="6225639" y="676648"/>
                    </a:lnTo>
                    <a:lnTo>
                      <a:pt x="6235169" y="676648"/>
                    </a:lnTo>
                    <a:lnTo>
                      <a:pt x="6249465" y="671880"/>
                    </a:lnTo>
                    <a:lnTo>
                      <a:pt x="6258995" y="671880"/>
                    </a:lnTo>
                    <a:lnTo>
                      <a:pt x="6263761" y="681412"/>
                    </a:lnTo>
                    <a:lnTo>
                      <a:pt x="6273291" y="686176"/>
                    </a:lnTo>
                    <a:lnTo>
                      <a:pt x="6282821" y="676648"/>
                    </a:lnTo>
                    <a:lnTo>
                      <a:pt x="6292351" y="671880"/>
                    </a:lnTo>
                    <a:lnTo>
                      <a:pt x="6297116" y="667116"/>
                    </a:lnTo>
                    <a:lnTo>
                      <a:pt x="6301881" y="667116"/>
                    </a:lnTo>
                    <a:lnTo>
                      <a:pt x="6306647" y="671880"/>
                    </a:lnTo>
                    <a:lnTo>
                      <a:pt x="6311411" y="676648"/>
                    </a:lnTo>
                    <a:lnTo>
                      <a:pt x="6316177" y="690940"/>
                    </a:lnTo>
                    <a:lnTo>
                      <a:pt x="6320942" y="700472"/>
                    </a:lnTo>
                    <a:lnTo>
                      <a:pt x="6325707" y="714768"/>
                    </a:lnTo>
                    <a:lnTo>
                      <a:pt x="6325707" y="719532"/>
                    </a:lnTo>
                    <a:lnTo>
                      <a:pt x="6325707" y="724296"/>
                    </a:lnTo>
                    <a:lnTo>
                      <a:pt x="6320942" y="733828"/>
                    </a:lnTo>
                    <a:lnTo>
                      <a:pt x="6316177" y="738592"/>
                    </a:lnTo>
                    <a:lnTo>
                      <a:pt x="6320942" y="743356"/>
                    </a:lnTo>
                    <a:lnTo>
                      <a:pt x="6340003" y="743356"/>
                    </a:lnTo>
                    <a:lnTo>
                      <a:pt x="6349533" y="748124"/>
                    </a:lnTo>
                    <a:lnTo>
                      <a:pt x="6349533" y="752888"/>
                    </a:lnTo>
                    <a:lnTo>
                      <a:pt x="6349533" y="757652"/>
                    </a:lnTo>
                    <a:lnTo>
                      <a:pt x="6349533" y="762420"/>
                    </a:lnTo>
                    <a:lnTo>
                      <a:pt x="6354298" y="767184"/>
                    </a:lnTo>
                    <a:lnTo>
                      <a:pt x="6368593" y="776712"/>
                    </a:lnTo>
                    <a:lnTo>
                      <a:pt x="6373359" y="781480"/>
                    </a:lnTo>
                    <a:lnTo>
                      <a:pt x="6373359" y="786244"/>
                    </a:lnTo>
                    <a:lnTo>
                      <a:pt x="6368593" y="791008"/>
                    </a:lnTo>
                    <a:lnTo>
                      <a:pt x="6359063" y="791008"/>
                    </a:lnTo>
                    <a:lnTo>
                      <a:pt x="6306647" y="781480"/>
                    </a:lnTo>
                    <a:lnTo>
                      <a:pt x="6287586" y="781480"/>
                    </a:lnTo>
                    <a:lnTo>
                      <a:pt x="6287586" y="786244"/>
                    </a:lnTo>
                    <a:lnTo>
                      <a:pt x="6282821" y="786244"/>
                    </a:lnTo>
                    <a:lnTo>
                      <a:pt x="6282821" y="781480"/>
                    </a:lnTo>
                    <a:lnTo>
                      <a:pt x="6278055" y="781480"/>
                    </a:lnTo>
                    <a:lnTo>
                      <a:pt x="6273291" y="781480"/>
                    </a:lnTo>
                    <a:lnTo>
                      <a:pt x="6273291" y="776712"/>
                    </a:lnTo>
                    <a:lnTo>
                      <a:pt x="6268525" y="771948"/>
                    </a:lnTo>
                    <a:lnTo>
                      <a:pt x="6258995" y="771948"/>
                    </a:lnTo>
                    <a:lnTo>
                      <a:pt x="6254230" y="776712"/>
                    </a:lnTo>
                    <a:lnTo>
                      <a:pt x="6244700" y="791008"/>
                    </a:lnTo>
                    <a:lnTo>
                      <a:pt x="6244700" y="795776"/>
                    </a:lnTo>
                    <a:lnTo>
                      <a:pt x="6244700" y="805304"/>
                    </a:lnTo>
                    <a:lnTo>
                      <a:pt x="6244700" y="810068"/>
                    </a:lnTo>
                    <a:lnTo>
                      <a:pt x="6244700" y="814836"/>
                    </a:lnTo>
                    <a:lnTo>
                      <a:pt x="6239935" y="814836"/>
                    </a:lnTo>
                    <a:lnTo>
                      <a:pt x="6230405" y="810068"/>
                    </a:lnTo>
                    <a:lnTo>
                      <a:pt x="6206579" y="786244"/>
                    </a:lnTo>
                    <a:lnTo>
                      <a:pt x="6187519" y="771948"/>
                    </a:lnTo>
                    <a:lnTo>
                      <a:pt x="6158927" y="762420"/>
                    </a:lnTo>
                    <a:lnTo>
                      <a:pt x="6139867" y="757652"/>
                    </a:lnTo>
                    <a:lnTo>
                      <a:pt x="6125571" y="757652"/>
                    </a:lnTo>
                    <a:lnTo>
                      <a:pt x="6116041" y="762420"/>
                    </a:lnTo>
                    <a:lnTo>
                      <a:pt x="6106511" y="776712"/>
                    </a:lnTo>
                    <a:lnTo>
                      <a:pt x="6092215" y="786244"/>
                    </a:lnTo>
                    <a:lnTo>
                      <a:pt x="6073155" y="786244"/>
                    </a:lnTo>
                    <a:lnTo>
                      <a:pt x="6058860" y="791008"/>
                    </a:lnTo>
                    <a:lnTo>
                      <a:pt x="6058860" y="795776"/>
                    </a:lnTo>
                    <a:lnTo>
                      <a:pt x="6049329" y="795776"/>
                    </a:lnTo>
                    <a:lnTo>
                      <a:pt x="6039799" y="791008"/>
                    </a:lnTo>
                    <a:lnTo>
                      <a:pt x="6027887" y="791008"/>
                    </a:lnTo>
                    <a:lnTo>
                      <a:pt x="6013591" y="791008"/>
                    </a:lnTo>
                    <a:lnTo>
                      <a:pt x="6004061" y="795776"/>
                    </a:lnTo>
                    <a:lnTo>
                      <a:pt x="5994531" y="814836"/>
                    </a:lnTo>
                    <a:lnTo>
                      <a:pt x="5994531" y="819600"/>
                    </a:lnTo>
                    <a:lnTo>
                      <a:pt x="5985001" y="829132"/>
                    </a:lnTo>
                    <a:lnTo>
                      <a:pt x="5965940" y="838660"/>
                    </a:lnTo>
                    <a:lnTo>
                      <a:pt x="5965940" y="843424"/>
                    </a:lnTo>
                    <a:lnTo>
                      <a:pt x="5951645" y="852956"/>
                    </a:lnTo>
                    <a:lnTo>
                      <a:pt x="5951645" y="862488"/>
                    </a:lnTo>
                    <a:lnTo>
                      <a:pt x="5951645" y="867252"/>
                    </a:lnTo>
                    <a:lnTo>
                      <a:pt x="5946879" y="867252"/>
                    </a:lnTo>
                    <a:lnTo>
                      <a:pt x="5937349" y="857720"/>
                    </a:lnTo>
                    <a:lnTo>
                      <a:pt x="5937349" y="848192"/>
                    </a:lnTo>
                    <a:lnTo>
                      <a:pt x="5946879" y="838660"/>
                    </a:lnTo>
                    <a:lnTo>
                      <a:pt x="5951645" y="829132"/>
                    </a:lnTo>
                    <a:lnTo>
                      <a:pt x="5956409" y="833896"/>
                    </a:lnTo>
                    <a:lnTo>
                      <a:pt x="5961175" y="824364"/>
                    </a:lnTo>
                    <a:lnTo>
                      <a:pt x="5961175" y="814836"/>
                    </a:lnTo>
                    <a:lnTo>
                      <a:pt x="5961175" y="810068"/>
                    </a:lnTo>
                    <a:lnTo>
                      <a:pt x="5946879" y="810068"/>
                    </a:lnTo>
                    <a:lnTo>
                      <a:pt x="5942114" y="814836"/>
                    </a:lnTo>
                    <a:lnTo>
                      <a:pt x="5937349" y="814836"/>
                    </a:lnTo>
                    <a:lnTo>
                      <a:pt x="5927819" y="814836"/>
                    </a:lnTo>
                    <a:lnTo>
                      <a:pt x="5923053" y="819600"/>
                    </a:lnTo>
                    <a:lnTo>
                      <a:pt x="5918289" y="833896"/>
                    </a:lnTo>
                    <a:lnTo>
                      <a:pt x="5908759" y="843424"/>
                    </a:lnTo>
                    <a:lnTo>
                      <a:pt x="5899228" y="848192"/>
                    </a:lnTo>
                    <a:lnTo>
                      <a:pt x="5894463" y="843424"/>
                    </a:lnTo>
                    <a:lnTo>
                      <a:pt x="5894463" y="829132"/>
                    </a:lnTo>
                    <a:lnTo>
                      <a:pt x="5894463" y="819600"/>
                    </a:lnTo>
                    <a:lnTo>
                      <a:pt x="5894463" y="805304"/>
                    </a:lnTo>
                    <a:lnTo>
                      <a:pt x="5894463" y="800540"/>
                    </a:lnTo>
                    <a:lnTo>
                      <a:pt x="5889698" y="805304"/>
                    </a:lnTo>
                    <a:lnTo>
                      <a:pt x="5884933" y="819600"/>
                    </a:lnTo>
                    <a:lnTo>
                      <a:pt x="5880167" y="843424"/>
                    </a:lnTo>
                    <a:lnTo>
                      <a:pt x="5875403" y="852956"/>
                    </a:lnTo>
                    <a:lnTo>
                      <a:pt x="5865872" y="852956"/>
                    </a:lnTo>
                    <a:lnTo>
                      <a:pt x="5856342" y="872016"/>
                    </a:lnTo>
                    <a:lnTo>
                      <a:pt x="5842047" y="895840"/>
                    </a:lnTo>
                    <a:lnTo>
                      <a:pt x="5827751" y="924432"/>
                    </a:lnTo>
                    <a:lnTo>
                      <a:pt x="5813456" y="948260"/>
                    </a:lnTo>
                    <a:lnTo>
                      <a:pt x="5803925" y="962552"/>
                    </a:lnTo>
                    <a:lnTo>
                      <a:pt x="5799161" y="967320"/>
                    </a:lnTo>
                    <a:lnTo>
                      <a:pt x="5799161" y="972084"/>
                    </a:lnTo>
                    <a:lnTo>
                      <a:pt x="5794395" y="986380"/>
                    </a:lnTo>
                    <a:lnTo>
                      <a:pt x="5794395" y="995908"/>
                    </a:lnTo>
                    <a:lnTo>
                      <a:pt x="5784865" y="1005440"/>
                    </a:lnTo>
                    <a:lnTo>
                      <a:pt x="5761039" y="1019736"/>
                    </a:lnTo>
                    <a:lnTo>
                      <a:pt x="5756274" y="1024500"/>
                    </a:lnTo>
                    <a:lnTo>
                      <a:pt x="5756274" y="1034032"/>
                    </a:lnTo>
                    <a:lnTo>
                      <a:pt x="5741979" y="1057856"/>
                    </a:lnTo>
                    <a:lnTo>
                      <a:pt x="5737213" y="1072152"/>
                    </a:lnTo>
                    <a:lnTo>
                      <a:pt x="5732449" y="1091212"/>
                    </a:lnTo>
                    <a:lnTo>
                      <a:pt x="5732449" y="1100744"/>
                    </a:lnTo>
                    <a:lnTo>
                      <a:pt x="5741979" y="1105508"/>
                    </a:lnTo>
                    <a:lnTo>
                      <a:pt x="5746744" y="1100744"/>
                    </a:lnTo>
                    <a:lnTo>
                      <a:pt x="5751509" y="1095976"/>
                    </a:lnTo>
                    <a:lnTo>
                      <a:pt x="5756274" y="1086448"/>
                    </a:lnTo>
                    <a:lnTo>
                      <a:pt x="5765805" y="1081680"/>
                    </a:lnTo>
                    <a:lnTo>
                      <a:pt x="5775335" y="1072152"/>
                    </a:lnTo>
                    <a:lnTo>
                      <a:pt x="5784865" y="1053092"/>
                    </a:lnTo>
                    <a:lnTo>
                      <a:pt x="5799161" y="1038796"/>
                    </a:lnTo>
                    <a:lnTo>
                      <a:pt x="5803925" y="1038796"/>
                    </a:lnTo>
                    <a:lnTo>
                      <a:pt x="5818221" y="1034032"/>
                    </a:lnTo>
                    <a:lnTo>
                      <a:pt x="5827751" y="1034032"/>
                    </a:lnTo>
                    <a:lnTo>
                      <a:pt x="5832517" y="1043560"/>
                    </a:lnTo>
                    <a:lnTo>
                      <a:pt x="5837281" y="1048324"/>
                    </a:lnTo>
                    <a:lnTo>
                      <a:pt x="5837281" y="1053092"/>
                    </a:lnTo>
                    <a:lnTo>
                      <a:pt x="5837281" y="1067388"/>
                    </a:lnTo>
                    <a:lnTo>
                      <a:pt x="5827751" y="1081680"/>
                    </a:lnTo>
                    <a:lnTo>
                      <a:pt x="5822986" y="1091212"/>
                    </a:lnTo>
                    <a:lnTo>
                      <a:pt x="5813456" y="1115036"/>
                    </a:lnTo>
                    <a:lnTo>
                      <a:pt x="5808691" y="1138864"/>
                    </a:lnTo>
                    <a:lnTo>
                      <a:pt x="5808691" y="1157924"/>
                    </a:lnTo>
                    <a:lnTo>
                      <a:pt x="5808691" y="1172220"/>
                    </a:lnTo>
                    <a:lnTo>
                      <a:pt x="5808691" y="1186516"/>
                    </a:lnTo>
                    <a:lnTo>
                      <a:pt x="5799161" y="1196044"/>
                    </a:lnTo>
                    <a:lnTo>
                      <a:pt x="5789630" y="1210340"/>
                    </a:lnTo>
                    <a:lnTo>
                      <a:pt x="5780100" y="1229400"/>
                    </a:lnTo>
                    <a:lnTo>
                      <a:pt x="5780100" y="1243696"/>
                    </a:lnTo>
                    <a:lnTo>
                      <a:pt x="5775335" y="1257992"/>
                    </a:lnTo>
                    <a:lnTo>
                      <a:pt x="5780100" y="1267520"/>
                    </a:lnTo>
                    <a:lnTo>
                      <a:pt x="5780100" y="1277052"/>
                    </a:lnTo>
                    <a:lnTo>
                      <a:pt x="5780100" y="1286584"/>
                    </a:lnTo>
                    <a:lnTo>
                      <a:pt x="5770569" y="1310408"/>
                    </a:lnTo>
                    <a:lnTo>
                      <a:pt x="5765805" y="1324704"/>
                    </a:lnTo>
                    <a:lnTo>
                      <a:pt x="5765805" y="1334232"/>
                    </a:lnTo>
                    <a:lnTo>
                      <a:pt x="5761039" y="1343764"/>
                    </a:lnTo>
                    <a:lnTo>
                      <a:pt x="5751509" y="1367588"/>
                    </a:lnTo>
                    <a:lnTo>
                      <a:pt x="5751509" y="1377120"/>
                    </a:lnTo>
                    <a:lnTo>
                      <a:pt x="5751509" y="1386652"/>
                    </a:lnTo>
                    <a:lnTo>
                      <a:pt x="5751509" y="1405712"/>
                    </a:lnTo>
                    <a:lnTo>
                      <a:pt x="5751509" y="1410476"/>
                    </a:lnTo>
                    <a:lnTo>
                      <a:pt x="5751509" y="1415240"/>
                    </a:lnTo>
                    <a:lnTo>
                      <a:pt x="5751509" y="1420004"/>
                    </a:lnTo>
                    <a:lnTo>
                      <a:pt x="5751509" y="1424772"/>
                    </a:lnTo>
                    <a:lnTo>
                      <a:pt x="5751509" y="1429536"/>
                    </a:lnTo>
                    <a:lnTo>
                      <a:pt x="5751509" y="1434300"/>
                    </a:lnTo>
                    <a:lnTo>
                      <a:pt x="5756274" y="1443832"/>
                    </a:lnTo>
                    <a:lnTo>
                      <a:pt x="5761039" y="1448596"/>
                    </a:lnTo>
                    <a:lnTo>
                      <a:pt x="5761039" y="1462892"/>
                    </a:lnTo>
                    <a:lnTo>
                      <a:pt x="5761039" y="1472424"/>
                    </a:lnTo>
                    <a:lnTo>
                      <a:pt x="5765805" y="1481952"/>
                    </a:lnTo>
                    <a:lnTo>
                      <a:pt x="5770569" y="1491484"/>
                    </a:lnTo>
                    <a:lnTo>
                      <a:pt x="5765805" y="1505780"/>
                    </a:lnTo>
                    <a:lnTo>
                      <a:pt x="5765805" y="1539136"/>
                    </a:lnTo>
                    <a:lnTo>
                      <a:pt x="5765805" y="1582020"/>
                    </a:lnTo>
                    <a:lnTo>
                      <a:pt x="5765805" y="1605844"/>
                    </a:lnTo>
                    <a:lnTo>
                      <a:pt x="5770569" y="1620140"/>
                    </a:lnTo>
                    <a:lnTo>
                      <a:pt x="5775335" y="1629672"/>
                    </a:lnTo>
                    <a:lnTo>
                      <a:pt x="5784865" y="1634436"/>
                    </a:lnTo>
                    <a:lnTo>
                      <a:pt x="5789630" y="1653496"/>
                    </a:lnTo>
                    <a:lnTo>
                      <a:pt x="5799161" y="1682088"/>
                    </a:lnTo>
                    <a:lnTo>
                      <a:pt x="5803925" y="1701148"/>
                    </a:lnTo>
                    <a:lnTo>
                      <a:pt x="5808691" y="1710680"/>
                    </a:lnTo>
                    <a:lnTo>
                      <a:pt x="5818221" y="1715444"/>
                    </a:lnTo>
                    <a:lnTo>
                      <a:pt x="5822986" y="1720208"/>
                    </a:lnTo>
                    <a:lnTo>
                      <a:pt x="5827751" y="1724976"/>
                    </a:lnTo>
                    <a:lnTo>
                      <a:pt x="5837281" y="1724976"/>
                    </a:lnTo>
                    <a:lnTo>
                      <a:pt x="5851577" y="1724976"/>
                    </a:lnTo>
                    <a:lnTo>
                      <a:pt x="5865872" y="1724976"/>
                    </a:lnTo>
                    <a:lnTo>
                      <a:pt x="5880167" y="1720208"/>
                    </a:lnTo>
                    <a:lnTo>
                      <a:pt x="5923053" y="1696384"/>
                    </a:lnTo>
                    <a:lnTo>
                      <a:pt x="5937349" y="1682088"/>
                    </a:lnTo>
                    <a:lnTo>
                      <a:pt x="5946879" y="1667792"/>
                    </a:lnTo>
                    <a:lnTo>
                      <a:pt x="5956409" y="1653496"/>
                    </a:lnTo>
                    <a:lnTo>
                      <a:pt x="5965940" y="1634436"/>
                    </a:lnTo>
                    <a:lnTo>
                      <a:pt x="5985001" y="1605844"/>
                    </a:lnTo>
                    <a:lnTo>
                      <a:pt x="5994531" y="1586784"/>
                    </a:lnTo>
                    <a:lnTo>
                      <a:pt x="5999295" y="1562960"/>
                    </a:lnTo>
                    <a:lnTo>
                      <a:pt x="6008826" y="1539136"/>
                    </a:lnTo>
                    <a:lnTo>
                      <a:pt x="6013591" y="1515308"/>
                    </a:lnTo>
                    <a:lnTo>
                      <a:pt x="6013591" y="1486716"/>
                    </a:lnTo>
                    <a:lnTo>
                      <a:pt x="6013591" y="1462892"/>
                    </a:lnTo>
                    <a:lnTo>
                      <a:pt x="6008826" y="1434300"/>
                    </a:lnTo>
                    <a:lnTo>
                      <a:pt x="5999295" y="1405712"/>
                    </a:lnTo>
                    <a:lnTo>
                      <a:pt x="5994531" y="1391416"/>
                    </a:lnTo>
                    <a:lnTo>
                      <a:pt x="5994531" y="1386652"/>
                    </a:lnTo>
                    <a:lnTo>
                      <a:pt x="5980235" y="1353296"/>
                    </a:lnTo>
                    <a:lnTo>
                      <a:pt x="5961175" y="1300876"/>
                    </a:lnTo>
                    <a:lnTo>
                      <a:pt x="5980235" y="1267520"/>
                    </a:lnTo>
                    <a:lnTo>
                      <a:pt x="5980235" y="1262756"/>
                    </a:lnTo>
                    <a:lnTo>
                      <a:pt x="5975470" y="1238932"/>
                    </a:lnTo>
                    <a:lnTo>
                      <a:pt x="5975470" y="1229400"/>
                    </a:lnTo>
                    <a:lnTo>
                      <a:pt x="5965940" y="1210340"/>
                    </a:lnTo>
                    <a:lnTo>
                      <a:pt x="5980235" y="1186516"/>
                    </a:lnTo>
                    <a:lnTo>
                      <a:pt x="5994531" y="1172220"/>
                    </a:lnTo>
                    <a:lnTo>
                      <a:pt x="5999295" y="1153160"/>
                    </a:lnTo>
                    <a:lnTo>
                      <a:pt x="6008826" y="1129332"/>
                    </a:lnTo>
                    <a:lnTo>
                      <a:pt x="6008826" y="1105508"/>
                    </a:lnTo>
                    <a:lnTo>
                      <a:pt x="6008826" y="1086448"/>
                    </a:lnTo>
                    <a:lnTo>
                      <a:pt x="6004061" y="1076916"/>
                    </a:lnTo>
                    <a:lnTo>
                      <a:pt x="6008826" y="1072152"/>
                    </a:lnTo>
                    <a:lnTo>
                      <a:pt x="6008826" y="1067388"/>
                    </a:lnTo>
                    <a:lnTo>
                      <a:pt x="6027887" y="1062620"/>
                    </a:lnTo>
                    <a:lnTo>
                      <a:pt x="6030269" y="1053092"/>
                    </a:lnTo>
                    <a:lnTo>
                      <a:pt x="6030269" y="1034032"/>
                    </a:lnTo>
                    <a:lnTo>
                      <a:pt x="6035034" y="1024500"/>
                    </a:lnTo>
                    <a:lnTo>
                      <a:pt x="6039799" y="1024500"/>
                    </a:lnTo>
                    <a:lnTo>
                      <a:pt x="6049329" y="1019736"/>
                    </a:lnTo>
                    <a:lnTo>
                      <a:pt x="6054095" y="1014972"/>
                    </a:lnTo>
                    <a:lnTo>
                      <a:pt x="6058860" y="1010204"/>
                    </a:lnTo>
                    <a:lnTo>
                      <a:pt x="6068390" y="1014972"/>
                    </a:lnTo>
                    <a:lnTo>
                      <a:pt x="6077921" y="1000676"/>
                    </a:lnTo>
                    <a:lnTo>
                      <a:pt x="6092215" y="976848"/>
                    </a:lnTo>
                    <a:lnTo>
                      <a:pt x="6106511" y="962552"/>
                    </a:lnTo>
                    <a:lnTo>
                      <a:pt x="6111276" y="957788"/>
                    </a:lnTo>
                    <a:lnTo>
                      <a:pt x="6116041" y="962552"/>
                    </a:lnTo>
                    <a:lnTo>
                      <a:pt x="6111276" y="972084"/>
                    </a:lnTo>
                    <a:lnTo>
                      <a:pt x="6106511" y="976848"/>
                    </a:lnTo>
                    <a:lnTo>
                      <a:pt x="6111276" y="986380"/>
                    </a:lnTo>
                    <a:lnTo>
                      <a:pt x="6106511" y="995908"/>
                    </a:lnTo>
                    <a:lnTo>
                      <a:pt x="6106511" y="1010204"/>
                    </a:lnTo>
                    <a:lnTo>
                      <a:pt x="6101746" y="1029264"/>
                    </a:lnTo>
                    <a:lnTo>
                      <a:pt x="6101746" y="1038796"/>
                    </a:lnTo>
                    <a:lnTo>
                      <a:pt x="6101746" y="1048324"/>
                    </a:lnTo>
                    <a:lnTo>
                      <a:pt x="6106511" y="1043560"/>
                    </a:lnTo>
                    <a:lnTo>
                      <a:pt x="6116041" y="1034032"/>
                    </a:lnTo>
                    <a:lnTo>
                      <a:pt x="6116041" y="1029264"/>
                    </a:lnTo>
                    <a:lnTo>
                      <a:pt x="6111276" y="1024500"/>
                    </a:lnTo>
                    <a:lnTo>
                      <a:pt x="6116041" y="1019736"/>
                    </a:lnTo>
                    <a:lnTo>
                      <a:pt x="6116041" y="1010204"/>
                    </a:lnTo>
                    <a:lnTo>
                      <a:pt x="6120807" y="1005440"/>
                    </a:lnTo>
                    <a:lnTo>
                      <a:pt x="6125571" y="1005440"/>
                    </a:lnTo>
                    <a:lnTo>
                      <a:pt x="6125571" y="1010204"/>
                    </a:lnTo>
                    <a:lnTo>
                      <a:pt x="6125571" y="1019736"/>
                    </a:lnTo>
                    <a:lnTo>
                      <a:pt x="6116041" y="1043560"/>
                    </a:lnTo>
                    <a:lnTo>
                      <a:pt x="6111276" y="1053092"/>
                    </a:lnTo>
                    <a:lnTo>
                      <a:pt x="6116041" y="1057856"/>
                    </a:lnTo>
                    <a:lnTo>
                      <a:pt x="6125571" y="1038796"/>
                    </a:lnTo>
                    <a:lnTo>
                      <a:pt x="6135102" y="1014972"/>
                    </a:lnTo>
                    <a:lnTo>
                      <a:pt x="6139867" y="995908"/>
                    </a:lnTo>
                    <a:lnTo>
                      <a:pt x="6139867" y="986380"/>
                    </a:lnTo>
                    <a:lnTo>
                      <a:pt x="6139867" y="962552"/>
                    </a:lnTo>
                    <a:lnTo>
                      <a:pt x="6139867" y="953024"/>
                    </a:lnTo>
                    <a:lnTo>
                      <a:pt x="6139867" y="943492"/>
                    </a:lnTo>
                    <a:lnTo>
                      <a:pt x="6149397" y="933964"/>
                    </a:lnTo>
                    <a:lnTo>
                      <a:pt x="6168458" y="924432"/>
                    </a:lnTo>
                    <a:lnTo>
                      <a:pt x="6182753" y="919668"/>
                    </a:lnTo>
                    <a:lnTo>
                      <a:pt x="6197049" y="919668"/>
                    </a:lnTo>
                    <a:lnTo>
                      <a:pt x="6206579" y="919668"/>
                    </a:lnTo>
                    <a:lnTo>
                      <a:pt x="6211344" y="914904"/>
                    </a:lnTo>
                    <a:lnTo>
                      <a:pt x="6211344" y="910136"/>
                    </a:lnTo>
                    <a:lnTo>
                      <a:pt x="6201813" y="910136"/>
                    </a:lnTo>
                    <a:lnTo>
                      <a:pt x="6192283" y="900608"/>
                    </a:lnTo>
                    <a:lnTo>
                      <a:pt x="6187519" y="891076"/>
                    </a:lnTo>
                    <a:lnTo>
                      <a:pt x="6187519" y="881548"/>
                    </a:lnTo>
                    <a:lnTo>
                      <a:pt x="6187519" y="872016"/>
                    </a:lnTo>
                    <a:lnTo>
                      <a:pt x="6192283" y="857720"/>
                    </a:lnTo>
                    <a:lnTo>
                      <a:pt x="6206579" y="848192"/>
                    </a:lnTo>
                    <a:lnTo>
                      <a:pt x="6206579" y="838660"/>
                    </a:lnTo>
                    <a:lnTo>
                      <a:pt x="6206579" y="833896"/>
                    </a:lnTo>
                    <a:lnTo>
                      <a:pt x="6220874" y="833896"/>
                    </a:lnTo>
                    <a:lnTo>
                      <a:pt x="6230405" y="833896"/>
                    </a:lnTo>
                    <a:lnTo>
                      <a:pt x="6235169" y="829132"/>
                    </a:lnTo>
                    <a:lnTo>
                      <a:pt x="6249465" y="833896"/>
                    </a:lnTo>
                    <a:lnTo>
                      <a:pt x="6268525" y="848192"/>
                    </a:lnTo>
                    <a:lnTo>
                      <a:pt x="6287586" y="852956"/>
                    </a:lnTo>
                    <a:lnTo>
                      <a:pt x="6306647" y="857720"/>
                    </a:lnTo>
                    <a:lnTo>
                      <a:pt x="6320942" y="862488"/>
                    </a:lnTo>
                    <a:lnTo>
                      <a:pt x="6325707" y="872016"/>
                    </a:lnTo>
                    <a:lnTo>
                      <a:pt x="6335237" y="876780"/>
                    </a:lnTo>
                    <a:lnTo>
                      <a:pt x="6335237" y="886312"/>
                    </a:lnTo>
                    <a:lnTo>
                      <a:pt x="6344767" y="891076"/>
                    </a:lnTo>
                    <a:lnTo>
                      <a:pt x="6359063" y="895840"/>
                    </a:lnTo>
                    <a:lnTo>
                      <a:pt x="6368593" y="895840"/>
                    </a:lnTo>
                    <a:lnTo>
                      <a:pt x="6378123" y="905372"/>
                    </a:lnTo>
                    <a:lnTo>
                      <a:pt x="6421009" y="919668"/>
                    </a:lnTo>
                    <a:lnTo>
                      <a:pt x="6440070" y="929196"/>
                    </a:lnTo>
                    <a:lnTo>
                      <a:pt x="6449601" y="938728"/>
                    </a:lnTo>
                    <a:lnTo>
                      <a:pt x="6449601" y="943492"/>
                    </a:lnTo>
                    <a:lnTo>
                      <a:pt x="6449601" y="948260"/>
                    </a:lnTo>
                    <a:lnTo>
                      <a:pt x="6449601" y="957788"/>
                    </a:lnTo>
                    <a:lnTo>
                      <a:pt x="6459131" y="967320"/>
                    </a:lnTo>
                    <a:lnTo>
                      <a:pt x="6463895" y="967320"/>
                    </a:lnTo>
                    <a:lnTo>
                      <a:pt x="6463895" y="976848"/>
                    </a:lnTo>
                    <a:lnTo>
                      <a:pt x="6463895" y="986380"/>
                    </a:lnTo>
                    <a:lnTo>
                      <a:pt x="6468661" y="991144"/>
                    </a:lnTo>
                    <a:lnTo>
                      <a:pt x="6468661" y="995908"/>
                    </a:lnTo>
                    <a:lnTo>
                      <a:pt x="6454365" y="991144"/>
                    </a:lnTo>
                    <a:lnTo>
                      <a:pt x="6444835" y="991144"/>
                    </a:lnTo>
                    <a:lnTo>
                      <a:pt x="6444835" y="1000676"/>
                    </a:lnTo>
                    <a:lnTo>
                      <a:pt x="6444835" y="1005440"/>
                    </a:lnTo>
                    <a:lnTo>
                      <a:pt x="6444835" y="1014972"/>
                    </a:lnTo>
                    <a:lnTo>
                      <a:pt x="6463895" y="1034032"/>
                    </a:lnTo>
                    <a:lnTo>
                      <a:pt x="6468661" y="1053092"/>
                    </a:lnTo>
                    <a:lnTo>
                      <a:pt x="6468661" y="1076916"/>
                    </a:lnTo>
                    <a:lnTo>
                      <a:pt x="6463895" y="1081680"/>
                    </a:lnTo>
                    <a:lnTo>
                      <a:pt x="6463895" y="1105508"/>
                    </a:lnTo>
                    <a:lnTo>
                      <a:pt x="6463895" y="1134100"/>
                    </a:lnTo>
                    <a:lnTo>
                      <a:pt x="6463895" y="1143628"/>
                    </a:lnTo>
                    <a:lnTo>
                      <a:pt x="6454365" y="1153160"/>
                    </a:lnTo>
                    <a:lnTo>
                      <a:pt x="6440070" y="1167456"/>
                    </a:lnTo>
                    <a:lnTo>
                      <a:pt x="6440070" y="1162688"/>
                    </a:lnTo>
                    <a:lnTo>
                      <a:pt x="6435305" y="1167456"/>
                    </a:lnTo>
                    <a:lnTo>
                      <a:pt x="6425775" y="1176984"/>
                    </a:lnTo>
                    <a:lnTo>
                      <a:pt x="6425775" y="1200812"/>
                    </a:lnTo>
                    <a:lnTo>
                      <a:pt x="6416245" y="1210340"/>
                    </a:lnTo>
                    <a:lnTo>
                      <a:pt x="6411479" y="1215104"/>
                    </a:lnTo>
                    <a:lnTo>
                      <a:pt x="6406714" y="1215104"/>
                    </a:lnTo>
                    <a:lnTo>
                      <a:pt x="6406714" y="1219872"/>
                    </a:lnTo>
                    <a:lnTo>
                      <a:pt x="6397184" y="1224636"/>
                    </a:lnTo>
                    <a:lnTo>
                      <a:pt x="6387653" y="1224636"/>
                    </a:lnTo>
                    <a:lnTo>
                      <a:pt x="6378123" y="1234164"/>
                    </a:lnTo>
                    <a:lnTo>
                      <a:pt x="6368593" y="1253228"/>
                    </a:lnTo>
                    <a:lnTo>
                      <a:pt x="6368593" y="1262756"/>
                    </a:lnTo>
                    <a:lnTo>
                      <a:pt x="6368593" y="1272288"/>
                    </a:lnTo>
                    <a:lnTo>
                      <a:pt x="6368593" y="1281816"/>
                    </a:lnTo>
                    <a:lnTo>
                      <a:pt x="6368593" y="1291348"/>
                    </a:lnTo>
                    <a:lnTo>
                      <a:pt x="6382889" y="1296112"/>
                    </a:lnTo>
                    <a:lnTo>
                      <a:pt x="6397184" y="1305644"/>
                    </a:lnTo>
                    <a:lnTo>
                      <a:pt x="6411479" y="1305644"/>
                    </a:lnTo>
                    <a:lnTo>
                      <a:pt x="6416245" y="1300876"/>
                    </a:lnTo>
                    <a:lnTo>
                      <a:pt x="6425775" y="1291348"/>
                    </a:lnTo>
                    <a:lnTo>
                      <a:pt x="6430540" y="1286584"/>
                    </a:lnTo>
                    <a:lnTo>
                      <a:pt x="6440070" y="1281816"/>
                    </a:lnTo>
                    <a:lnTo>
                      <a:pt x="6444835" y="1277052"/>
                    </a:lnTo>
                    <a:lnTo>
                      <a:pt x="6459131" y="1248460"/>
                    </a:lnTo>
                    <a:lnTo>
                      <a:pt x="6459131" y="1243696"/>
                    </a:lnTo>
                    <a:lnTo>
                      <a:pt x="6454365" y="1243696"/>
                    </a:lnTo>
                    <a:lnTo>
                      <a:pt x="6454365" y="1238932"/>
                    </a:lnTo>
                    <a:lnTo>
                      <a:pt x="6459131" y="1238932"/>
                    </a:lnTo>
                    <a:lnTo>
                      <a:pt x="6468661" y="1234164"/>
                    </a:lnTo>
                    <a:lnTo>
                      <a:pt x="6473426" y="1229400"/>
                    </a:lnTo>
                    <a:lnTo>
                      <a:pt x="6482956" y="1224636"/>
                    </a:lnTo>
                    <a:lnTo>
                      <a:pt x="6502017" y="1219872"/>
                    </a:lnTo>
                    <a:lnTo>
                      <a:pt x="6516312" y="1210340"/>
                    </a:lnTo>
                    <a:lnTo>
                      <a:pt x="6521077" y="1210340"/>
                    </a:lnTo>
                    <a:lnTo>
                      <a:pt x="6530607" y="1215104"/>
                    </a:lnTo>
                    <a:lnTo>
                      <a:pt x="6544903" y="1224636"/>
                    </a:lnTo>
                    <a:lnTo>
                      <a:pt x="6559198" y="1238932"/>
                    </a:lnTo>
                    <a:lnTo>
                      <a:pt x="6563963" y="1257992"/>
                    </a:lnTo>
                    <a:lnTo>
                      <a:pt x="6578259" y="1305644"/>
                    </a:lnTo>
                    <a:lnTo>
                      <a:pt x="6587789" y="1381884"/>
                    </a:lnTo>
                    <a:lnTo>
                      <a:pt x="6597319" y="1424772"/>
                    </a:lnTo>
                    <a:lnTo>
                      <a:pt x="6602085" y="1429536"/>
                    </a:lnTo>
                    <a:lnTo>
                      <a:pt x="6606849" y="1434300"/>
                    </a:lnTo>
                    <a:lnTo>
                      <a:pt x="6592554" y="1496248"/>
                    </a:lnTo>
                    <a:lnTo>
                      <a:pt x="6583024" y="1520072"/>
                    </a:lnTo>
                    <a:lnTo>
                      <a:pt x="6568729" y="1534368"/>
                    </a:lnTo>
                    <a:lnTo>
                      <a:pt x="6568729" y="1529604"/>
                    </a:lnTo>
                    <a:lnTo>
                      <a:pt x="6573493" y="1524840"/>
                    </a:lnTo>
                    <a:lnTo>
                      <a:pt x="6568729" y="1510544"/>
                    </a:lnTo>
                    <a:lnTo>
                      <a:pt x="6568729" y="1505780"/>
                    </a:lnTo>
                    <a:lnTo>
                      <a:pt x="6563963" y="1505780"/>
                    </a:lnTo>
                    <a:lnTo>
                      <a:pt x="6554433" y="1505780"/>
                    </a:lnTo>
                    <a:lnTo>
                      <a:pt x="6544903" y="1510544"/>
                    </a:lnTo>
                    <a:lnTo>
                      <a:pt x="6544903" y="1515308"/>
                    </a:lnTo>
                    <a:lnTo>
                      <a:pt x="6544903" y="1520072"/>
                    </a:lnTo>
                    <a:lnTo>
                      <a:pt x="6544903" y="1524840"/>
                    </a:lnTo>
                    <a:lnTo>
                      <a:pt x="6540137" y="1529604"/>
                    </a:lnTo>
                    <a:lnTo>
                      <a:pt x="6535373" y="1543900"/>
                    </a:lnTo>
                    <a:lnTo>
                      <a:pt x="6530607" y="1558196"/>
                    </a:lnTo>
                    <a:lnTo>
                      <a:pt x="6530607" y="1567724"/>
                    </a:lnTo>
                    <a:lnTo>
                      <a:pt x="6525843" y="1572492"/>
                    </a:lnTo>
                    <a:lnTo>
                      <a:pt x="6511547" y="1577256"/>
                    </a:lnTo>
                    <a:lnTo>
                      <a:pt x="6502017" y="1582020"/>
                    </a:lnTo>
                    <a:lnTo>
                      <a:pt x="6497251" y="1591552"/>
                    </a:lnTo>
                    <a:lnTo>
                      <a:pt x="6492487" y="1605844"/>
                    </a:lnTo>
                    <a:lnTo>
                      <a:pt x="6487721" y="1620140"/>
                    </a:lnTo>
                    <a:lnTo>
                      <a:pt x="6482956" y="1634436"/>
                    </a:lnTo>
                    <a:lnTo>
                      <a:pt x="6487721" y="1639200"/>
                    </a:lnTo>
                    <a:lnTo>
                      <a:pt x="6482956" y="1643968"/>
                    </a:lnTo>
                    <a:lnTo>
                      <a:pt x="6473426" y="1653496"/>
                    </a:lnTo>
                    <a:lnTo>
                      <a:pt x="6473426" y="1658264"/>
                    </a:lnTo>
                    <a:lnTo>
                      <a:pt x="6473426" y="1663028"/>
                    </a:lnTo>
                    <a:lnTo>
                      <a:pt x="6468661" y="1663028"/>
                    </a:lnTo>
                    <a:lnTo>
                      <a:pt x="6463895" y="1667792"/>
                    </a:lnTo>
                    <a:lnTo>
                      <a:pt x="6454365" y="1677324"/>
                    </a:lnTo>
                    <a:lnTo>
                      <a:pt x="6444835" y="1701148"/>
                    </a:lnTo>
                    <a:lnTo>
                      <a:pt x="6444835" y="1705912"/>
                    </a:lnTo>
                    <a:lnTo>
                      <a:pt x="6444835" y="1710680"/>
                    </a:lnTo>
                    <a:lnTo>
                      <a:pt x="6459131" y="1710680"/>
                    </a:lnTo>
                    <a:lnTo>
                      <a:pt x="6468661" y="1715444"/>
                    </a:lnTo>
                    <a:lnTo>
                      <a:pt x="6478191" y="1720208"/>
                    </a:lnTo>
                    <a:lnTo>
                      <a:pt x="6502017" y="1734504"/>
                    </a:lnTo>
                    <a:lnTo>
                      <a:pt x="6511547" y="1744036"/>
                    </a:lnTo>
                    <a:lnTo>
                      <a:pt x="6521077" y="1748800"/>
                    </a:lnTo>
                    <a:lnTo>
                      <a:pt x="6525843" y="1748800"/>
                    </a:lnTo>
                    <a:lnTo>
                      <a:pt x="6530607" y="1744036"/>
                    </a:lnTo>
                    <a:lnTo>
                      <a:pt x="6535373" y="1739268"/>
                    </a:lnTo>
                    <a:lnTo>
                      <a:pt x="6540137" y="1739268"/>
                    </a:lnTo>
                    <a:lnTo>
                      <a:pt x="6544903" y="1744036"/>
                    </a:lnTo>
                    <a:lnTo>
                      <a:pt x="6559198" y="1748800"/>
                    </a:lnTo>
                    <a:lnTo>
                      <a:pt x="6559198" y="1753564"/>
                    </a:lnTo>
                    <a:lnTo>
                      <a:pt x="6516312" y="1763096"/>
                    </a:lnTo>
                    <a:lnTo>
                      <a:pt x="6511547" y="1763096"/>
                    </a:lnTo>
                    <a:lnTo>
                      <a:pt x="6521077" y="1767860"/>
                    </a:lnTo>
                    <a:lnTo>
                      <a:pt x="6530607" y="1767860"/>
                    </a:lnTo>
                    <a:lnTo>
                      <a:pt x="6540137" y="1763096"/>
                    </a:lnTo>
                    <a:lnTo>
                      <a:pt x="6554433" y="1763096"/>
                    </a:lnTo>
                    <a:lnTo>
                      <a:pt x="6563963" y="1767860"/>
                    </a:lnTo>
                    <a:lnTo>
                      <a:pt x="6568729" y="1763096"/>
                    </a:lnTo>
                    <a:lnTo>
                      <a:pt x="6587789" y="1777392"/>
                    </a:lnTo>
                    <a:lnTo>
                      <a:pt x="6597319" y="1777392"/>
                    </a:lnTo>
                    <a:lnTo>
                      <a:pt x="6602085" y="1777392"/>
                    </a:lnTo>
                    <a:lnTo>
                      <a:pt x="6606849" y="1772624"/>
                    </a:lnTo>
                    <a:lnTo>
                      <a:pt x="6625910" y="1763096"/>
                    </a:lnTo>
                    <a:lnTo>
                      <a:pt x="6649735" y="1758328"/>
                    </a:lnTo>
                    <a:lnTo>
                      <a:pt x="6673561" y="1753564"/>
                    </a:lnTo>
                    <a:lnTo>
                      <a:pt x="6697387" y="1758328"/>
                    </a:lnTo>
                    <a:lnTo>
                      <a:pt x="6711683" y="1753564"/>
                    </a:lnTo>
                    <a:lnTo>
                      <a:pt x="6725977" y="1744036"/>
                    </a:lnTo>
                    <a:lnTo>
                      <a:pt x="6754569" y="1720208"/>
                    </a:lnTo>
                    <a:lnTo>
                      <a:pt x="6792689" y="1701148"/>
                    </a:lnTo>
                    <a:lnTo>
                      <a:pt x="6845106" y="1672556"/>
                    </a:lnTo>
                    <a:lnTo>
                      <a:pt x="6930878" y="1643968"/>
                    </a:lnTo>
                    <a:lnTo>
                      <a:pt x="6940409" y="1634436"/>
                    </a:lnTo>
                    <a:lnTo>
                      <a:pt x="6954704" y="1629672"/>
                    </a:lnTo>
                    <a:lnTo>
                      <a:pt x="6964234" y="1624908"/>
                    </a:lnTo>
                    <a:lnTo>
                      <a:pt x="6968999" y="1620140"/>
                    </a:lnTo>
                    <a:lnTo>
                      <a:pt x="7030946" y="1586784"/>
                    </a:lnTo>
                    <a:lnTo>
                      <a:pt x="7059537" y="1567724"/>
                    </a:lnTo>
                    <a:lnTo>
                      <a:pt x="7073832" y="1553428"/>
                    </a:lnTo>
                    <a:lnTo>
                      <a:pt x="7088127" y="1543900"/>
                    </a:lnTo>
                    <a:lnTo>
                      <a:pt x="7107188" y="1534368"/>
                    </a:lnTo>
                    <a:lnTo>
                      <a:pt x="7116718" y="1524840"/>
                    </a:lnTo>
                    <a:lnTo>
                      <a:pt x="7131013" y="1505780"/>
                    </a:lnTo>
                    <a:lnTo>
                      <a:pt x="7140544" y="1496248"/>
                    </a:lnTo>
                    <a:lnTo>
                      <a:pt x="7150074" y="1491484"/>
                    </a:lnTo>
                    <a:lnTo>
                      <a:pt x="7159605" y="1481952"/>
                    </a:lnTo>
                    <a:lnTo>
                      <a:pt x="7159605" y="1472424"/>
                    </a:lnTo>
                    <a:lnTo>
                      <a:pt x="7154839" y="1462892"/>
                    </a:lnTo>
                    <a:lnTo>
                      <a:pt x="7150074" y="1448596"/>
                    </a:lnTo>
                    <a:lnTo>
                      <a:pt x="7150074" y="1439068"/>
                    </a:lnTo>
                    <a:lnTo>
                      <a:pt x="7154839" y="1434300"/>
                    </a:lnTo>
                    <a:lnTo>
                      <a:pt x="7154839" y="1429536"/>
                    </a:lnTo>
                    <a:lnTo>
                      <a:pt x="7154839" y="1424772"/>
                    </a:lnTo>
                    <a:lnTo>
                      <a:pt x="7126249" y="1415240"/>
                    </a:lnTo>
                    <a:lnTo>
                      <a:pt x="7131013" y="1381884"/>
                    </a:lnTo>
                    <a:lnTo>
                      <a:pt x="7131013" y="1377120"/>
                    </a:lnTo>
                    <a:lnTo>
                      <a:pt x="7188195" y="1362824"/>
                    </a:lnTo>
                    <a:lnTo>
                      <a:pt x="7221551" y="1358060"/>
                    </a:lnTo>
                    <a:lnTo>
                      <a:pt x="7269203" y="1353296"/>
                    </a:lnTo>
                    <a:lnTo>
                      <a:pt x="7321619" y="1362824"/>
                    </a:lnTo>
                    <a:lnTo>
                      <a:pt x="7340679" y="1372356"/>
                    </a:lnTo>
                    <a:lnTo>
                      <a:pt x="7354975" y="1381884"/>
                    </a:lnTo>
                    <a:lnTo>
                      <a:pt x="7369270" y="1381884"/>
                    </a:lnTo>
                    <a:lnTo>
                      <a:pt x="7383565" y="1377120"/>
                    </a:lnTo>
                    <a:lnTo>
                      <a:pt x="7407391" y="1377120"/>
                    </a:lnTo>
                    <a:lnTo>
                      <a:pt x="7440747" y="1377120"/>
                    </a:lnTo>
                    <a:lnTo>
                      <a:pt x="7455042" y="1381884"/>
                    </a:lnTo>
                    <a:lnTo>
                      <a:pt x="7459807" y="1381884"/>
                    </a:lnTo>
                    <a:lnTo>
                      <a:pt x="7459807" y="1377120"/>
                    </a:lnTo>
                    <a:lnTo>
                      <a:pt x="7469337" y="1372356"/>
                    </a:lnTo>
                    <a:lnTo>
                      <a:pt x="7493163" y="1362824"/>
                    </a:lnTo>
                    <a:lnTo>
                      <a:pt x="7493163" y="1367588"/>
                    </a:lnTo>
                    <a:lnTo>
                      <a:pt x="7497929" y="1362824"/>
                    </a:lnTo>
                    <a:lnTo>
                      <a:pt x="7502693" y="1353296"/>
                    </a:lnTo>
                    <a:lnTo>
                      <a:pt x="7516989" y="1343764"/>
                    </a:lnTo>
                    <a:lnTo>
                      <a:pt x="7531285" y="1329468"/>
                    </a:lnTo>
                    <a:lnTo>
                      <a:pt x="7550345" y="1324704"/>
                    </a:lnTo>
                    <a:lnTo>
                      <a:pt x="7559875" y="1324704"/>
                    </a:lnTo>
                    <a:lnTo>
                      <a:pt x="7569405" y="1319940"/>
                    </a:lnTo>
                    <a:lnTo>
                      <a:pt x="7574171" y="1315172"/>
                    </a:lnTo>
                    <a:lnTo>
                      <a:pt x="7578935" y="1310408"/>
                    </a:lnTo>
                    <a:lnTo>
                      <a:pt x="7574171" y="1305644"/>
                    </a:lnTo>
                    <a:lnTo>
                      <a:pt x="7578935" y="1300876"/>
                    </a:lnTo>
                    <a:lnTo>
                      <a:pt x="7574171" y="1300876"/>
                    </a:lnTo>
                    <a:lnTo>
                      <a:pt x="7574171" y="1296112"/>
                    </a:lnTo>
                    <a:lnTo>
                      <a:pt x="7574171" y="1277052"/>
                    </a:lnTo>
                    <a:lnTo>
                      <a:pt x="7569405" y="1267520"/>
                    </a:lnTo>
                    <a:lnTo>
                      <a:pt x="7564640" y="1262756"/>
                    </a:lnTo>
                    <a:lnTo>
                      <a:pt x="7559875" y="1257992"/>
                    </a:lnTo>
                    <a:lnTo>
                      <a:pt x="7564640" y="1253228"/>
                    </a:lnTo>
                    <a:lnTo>
                      <a:pt x="7569405" y="1248460"/>
                    </a:lnTo>
                    <a:lnTo>
                      <a:pt x="7569405" y="1253228"/>
                    </a:lnTo>
                    <a:lnTo>
                      <a:pt x="7574171" y="1253228"/>
                    </a:lnTo>
                    <a:lnTo>
                      <a:pt x="7583701" y="1238932"/>
                    </a:lnTo>
                    <a:lnTo>
                      <a:pt x="7583701" y="1234164"/>
                    </a:lnTo>
                    <a:lnTo>
                      <a:pt x="7593231" y="1229400"/>
                    </a:lnTo>
                    <a:lnTo>
                      <a:pt x="7597996" y="1224636"/>
                    </a:lnTo>
                    <a:lnTo>
                      <a:pt x="7588466" y="1224636"/>
                    </a:lnTo>
                    <a:lnTo>
                      <a:pt x="7578935" y="1224636"/>
                    </a:lnTo>
                    <a:lnTo>
                      <a:pt x="7583701" y="1215104"/>
                    </a:lnTo>
                    <a:lnTo>
                      <a:pt x="7583701" y="1210340"/>
                    </a:lnTo>
                    <a:lnTo>
                      <a:pt x="7578935" y="1205576"/>
                    </a:lnTo>
                    <a:lnTo>
                      <a:pt x="7574171" y="1205576"/>
                    </a:lnTo>
                    <a:lnTo>
                      <a:pt x="7564640" y="1215104"/>
                    </a:lnTo>
                    <a:lnTo>
                      <a:pt x="7559875" y="1215104"/>
                    </a:lnTo>
                    <a:lnTo>
                      <a:pt x="7559875" y="1210340"/>
                    </a:lnTo>
                    <a:lnTo>
                      <a:pt x="7550345" y="1200812"/>
                    </a:lnTo>
                    <a:lnTo>
                      <a:pt x="7569405" y="1186516"/>
                    </a:lnTo>
                    <a:lnTo>
                      <a:pt x="7631351" y="1138864"/>
                    </a:lnTo>
                    <a:lnTo>
                      <a:pt x="7640883" y="1129332"/>
                    </a:lnTo>
                    <a:lnTo>
                      <a:pt x="7640883" y="1124568"/>
                    </a:lnTo>
                    <a:lnTo>
                      <a:pt x="7640883" y="1119804"/>
                    </a:lnTo>
                    <a:lnTo>
                      <a:pt x="7640883" y="1115036"/>
                    </a:lnTo>
                    <a:lnTo>
                      <a:pt x="7698063" y="1057856"/>
                    </a:lnTo>
                    <a:lnTo>
                      <a:pt x="7736185" y="1029264"/>
                    </a:lnTo>
                    <a:lnTo>
                      <a:pt x="7764775" y="1010204"/>
                    </a:lnTo>
                    <a:lnTo>
                      <a:pt x="7783835" y="1005440"/>
                    </a:lnTo>
                    <a:lnTo>
                      <a:pt x="7798131" y="1005440"/>
                    </a:lnTo>
                    <a:lnTo>
                      <a:pt x="7807661" y="1005440"/>
                    </a:lnTo>
                    <a:lnTo>
                      <a:pt x="8045919" y="1005440"/>
                    </a:lnTo>
                    <a:lnTo>
                      <a:pt x="8112631" y="1005440"/>
                    </a:lnTo>
                    <a:lnTo>
                      <a:pt x="8307999" y="1005440"/>
                    </a:lnTo>
                    <a:lnTo>
                      <a:pt x="8322295" y="962552"/>
                    </a:lnTo>
                    <a:lnTo>
                      <a:pt x="8336591" y="938728"/>
                    </a:lnTo>
                    <a:lnTo>
                      <a:pt x="8355651" y="948260"/>
                    </a:lnTo>
                    <a:lnTo>
                      <a:pt x="8365181" y="948260"/>
                    </a:lnTo>
                    <a:lnTo>
                      <a:pt x="8379477" y="938728"/>
                    </a:lnTo>
                    <a:lnTo>
                      <a:pt x="8389007" y="929196"/>
                    </a:lnTo>
                    <a:lnTo>
                      <a:pt x="8393771" y="933964"/>
                    </a:lnTo>
                    <a:lnTo>
                      <a:pt x="8398539" y="938728"/>
                    </a:lnTo>
                    <a:lnTo>
                      <a:pt x="8403303" y="948260"/>
                    </a:lnTo>
                    <a:lnTo>
                      <a:pt x="8408067" y="943492"/>
                    </a:lnTo>
                    <a:lnTo>
                      <a:pt x="8412833" y="938728"/>
                    </a:lnTo>
                    <a:lnTo>
                      <a:pt x="8412833" y="924432"/>
                    </a:lnTo>
                    <a:lnTo>
                      <a:pt x="8417599" y="914904"/>
                    </a:lnTo>
                    <a:lnTo>
                      <a:pt x="8427127" y="914904"/>
                    </a:lnTo>
                    <a:lnTo>
                      <a:pt x="8431893" y="914904"/>
                    </a:lnTo>
                    <a:lnTo>
                      <a:pt x="8436659" y="910136"/>
                    </a:lnTo>
                    <a:lnTo>
                      <a:pt x="8436659" y="905372"/>
                    </a:lnTo>
                    <a:lnTo>
                      <a:pt x="8431893" y="895840"/>
                    </a:lnTo>
                    <a:lnTo>
                      <a:pt x="8431893" y="881548"/>
                    </a:lnTo>
                    <a:lnTo>
                      <a:pt x="8450955" y="862488"/>
                    </a:lnTo>
                    <a:lnTo>
                      <a:pt x="8470015" y="848192"/>
                    </a:lnTo>
                    <a:lnTo>
                      <a:pt x="8479545" y="843424"/>
                    </a:lnTo>
                    <a:lnTo>
                      <a:pt x="8479545" y="824364"/>
                    </a:lnTo>
                    <a:lnTo>
                      <a:pt x="8493839" y="810068"/>
                    </a:lnTo>
                    <a:lnTo>
                      <a:pt x="8498605" y="805304"/>
                    </a:lnTo>
                    <a:lnTo>
                      <a:pt x="8498605" y="795776"/>
                    </a:lnTo>
                    <a:lnTo>
                      <a:pt x="8498605" y="786244"/>
                    </a:lnTo>
                    <a:lnTo>
                      <a:pt x="8498605" y="767184"/>
                    </a:lnTo>
                    <a:lnTo>
                      <a:pt x="8498605" y="748124"/>
                    </a:lnTo>
                    <a:lnTo>
                      <a:pt x="8503371" y="724296"/>
                    </a:lnTo>
                    <a:lnTo>
                      <a:pt x="8517667" y="705236"/>
                    </a:lnTo>
                    <a:lnTo>
                      <a:pt x="8531961" y="681412"/>
                    </a:lnTo>
                    <a:lnTo>
                      <a:pt x="8536727" y="652820"/>
                    </a:lnTo>
                    <a:lnTo>
                      <a:pt x="8541491" y="624228"/>
                    </a:lnTo>
                    <a:lnTo>
                      <a:pt x="8565317" y="590872"/>
                    </a:lnTo>
                    <a:lnTo>
                      <a:pt x="8589143" y="557516"/>
                    </a:lnTo>
                    <a:lnTo>
                      <a:pt x="8603439" y="538456"/>
                    </a:lnTo>
                    <a:lnTo>
                      <a:pt x="8627263" y="500336"/>
                    </a:lnTo>
                    <a:lnTo>
                      <a:pt x="8646323" y="476512"/>
                    </a:lnTo>
                    <a:lnTo>
                      <a:pt x="8651089" y="462216"/>
                    </a:lnTo>
                    <a:lnTo>
                      <a:pt x="8660619" y="447920"/>
                    </a:lnTo>
                    <a:lnTo>
                      <a:pt x="8679679" y="452684"/>
                    </a:lnTo>
                    <a:lnTo>
                      <a:pt x="8693975" y="457452"/>
                    </a:lnTo>
                    <a:lnTo>
                      <a:pt x="8689211" y="476512"/>
                    </a:lnTo>
                    <a:lnTo>
                      <a:pt x="8693975" y="490808"/>
                    </a:lnTo>
                    <a:lnTo>
                      <a:pt x="8698741" y="500336"/>
                    </a:lnTo>
                    <a:lnTo>
                      <a:pt x="8708271" y="505100"/>
                    </a:lnTo>
                    <a:lnTo>
                      <a:pt x="8717801" y="509868"/>
                    </a:lnTo>
                    <a:lnTo>
                      <a:pt x="8727331" y="509868"/>
                    </a:lnTo>
                    <a:lnTo>
                      <a:pt x="8751157" y="495572"/>
                    </a:lnTo>
                    <a:lnTo>
                      <a:pt x="8779747" y="490808"/>
                    </a:lnTo>
                    <a:lnTo>
                      <a:pt x="8798807" y="481276"/>
                    </a:lnTo>
                    <a:lnTo>
                      <a:pt x="8798807" y="476512"/>
                    </a:lnTo>
                    <a:lnTo>
                      <a:pt x="8808339" y="471744"/>
                    </a:lnTo>
                    <a:lnTo>
                      <a:pt x="8817869" y="476512"/>
                    </a:lnTo>
                    <a:lnTo>
                      <a:pt x="8841695" y="490808"/>
                    </a:lnTo>
                    <a:lnTo>
                      <a:pt x="8865519" y="519396"/>
                    </a:lnTo>
                    <a:lnTo>
                      <a:pt x="8884581" y="538456"/>
                    </a:lnTo>
                    <a:lnTo>
                      <a:pt x="8889347" y="571812"/>
                    </a:lnTo>
                    <a:lnTo>
                      <a:pt x="8889347" y="605168"/>
                    </a:lnTo>
                    <a:lnTo>
                      <a:pt x="8889347" y="643292"/>
                    </a:lnTo>
                    <a:lnTo>
                      <a:pt x="8889347" y="671880"/>
                    </a:lnTo>
                    <a:lnTo>
                      <a:pt x="8889347" y="705236"/>
                    </a:lnTo>
                    <a:lnTo>
                      <a:pt x="8889347" y="733828"/>
                    </a:lnTo>
                    <a:lnTo>
                      <a:pt x="8889347" y="771948"/>
                    </a:lnTo>
                    <a:lnTo>
                      <a:pt x="8889347" y="791008"/>
                    </a:lnTo>
                    <a:lnTo>
                      <a:pt x="8894111" y="800540"/>
                    </a:lnTo>
                    <a:lnTo>
                      <a:pt x="8889347" y="805304"/>
                    </a:lnTo>
                    <a:lnTo>
                      <a:pt x="8889347" y="810068"/>
                    </a:lnTo>
                    <a:lnTo>
                      <a:pt x="8889347" y="814836"/>
                    </a:lnTo>
                    <a:lnTo>
                      <a:pt x="8894111" y="819600"/>
                    </a:lnTo>
                    <a:lnTo>
                      <a:pt x="8889347" y="824364"/>
                    </a:lnTo>
                    <a:lnTo>
                      <a:pt x="8889347" y="829132"/>
                    </a:lnTo>
                    <a:lnTo>
                      <a:pt x="8889347" y="833896"/>
                    </a:lnTo>
                    <a:lnTo>
                      <a:pt x="8889347" y="838660"/>
                    </a:lnTo>
                    <a:lnTo>
                      <a:pt x="8879815" y="838660"/>
                    </a:lnTo>
                    <a:lnTo>
                      <a:pt x="8889347" y="857720"/>
                    </a:lnTo>
                    <a:lnTo>
                      <a:pt x="8913171" y="872016"/>
                    </a:lnTo>
                    <a:lnTo>
                      <a:pt x="8932231" y="876780"/>
                    </a:lnTo>
                    <a:lnTo>
                      <a:pt x="8941763" y="872016"/>
                    </a:lnTo>
                    <a:lnTo>
                      <a:pt x="8946527" y="872016"/>
                    </a:lnTo>
                    <a:lnTo>
                      <a:pt x="8946527" y="881548"/>
                    </a:lnTo>
                    <a:lnTo>
                      <a:pt x="8946527" y="886312"/>
                    </a:lnTo>
                    <a:lnTo>
                      <a:pt x="8941763" y="891076"/>
                    </a:lnTo>
                    <a:lnTo>
                      <a:pt x="8936997" y="895840"/>
                    </a:lnTo>
                    <a:lnTo>
                      <a:pt x="8936997" y="900608"/>
                    </a:lnTo>
                    <a:lnTo>
                      <a:pt x="8936997" y="905372"/>
                    </a:lnTo>
                    <a:lnTo>
                      <a:pt x="8941763" y="910136"/>
                    </a:lnTo>
                    <a:lnTo>
                      <a:pt x="8946527" y="919668"/>
                    </a:lnTo>
                    <a:lnTo>
                      <a:pt x="8946527" y="929196"/>
                    </a:lnTo>
                    <a:lnTo>
                      <a:pt x="8941763" y="938728"/>
                    </a:lnTo>
                    <a:lnTo>
                      <a:pt x="8936997" y="943492"/>
                    </a:lnTo>
                    <a:lnTo>
                      <a:pt x="8941763" y="953024"/>
                    </a:lnTo>
                    <a:lnTo>
                      <a:pt x="8951291" y="957788"/>
                    </a:lnTo>
                    <a:lnTo>
                      <a:pt x="8956057" y="967320"/>
                    </a:lnTo>
                    <a:lnTo>
                      <a:pt x="8965587" y="972084"/>
                    </a:lnTo>
                    <a:lnTo>
                      <a:pt x="8965587" y="967320"/>
                    </a:lnTo>
                    <a:lnTo>
                      <a:pt x="8970353" y="962552"/>
                    </a:lnTo>
                    <a:lnTo>
                      <a:pt x="8975119" y="962552"/>
                    </a:lnTo>
                    <a:lnTo>
                      <a:pt x="8979883" y="962552"/>
                    </a:lnTo>
                    <a:lnTo>
                      <a:pt x="8984647" y="962552"/>
                    </a:lnTo>
                    <a:lnTo>
                      <a:pt x="8994179" y="967320"/>
                    </a:lnTo>
                    <a:lnTo>
                      <a:pt x="8994179" y="976848"/>
                    </a:lnTo>
                    <a:lnTo>
                      <a:pt x="8994179" y="986380"/>
                    </a:lnTo>
                    <a:lnTo>
                      <a:pt x="8998943" y="1010204"/>
                    </a:lnTo>
                    <a:lnTo>
                      <a:pt x="8994179" y="1019736"/>
                    </a:lnTo>
                    <a:lnTo>
                      <a:pt x="8994179" y="1029264"/>
                    </a:lnTo>
                    <a:lnTo>
                      <a:pt x="9008475" y="1034032"/>
                    </a:lnTo>
                    <a:lnTo>
                      <a:pt x="9013239" y="1038796"/>
                    </a:lnTo>
                    <a:lnTo>
                      <a:pt x="9013239" y="1043560"/>
                    </a:lnTo>
                    <a:lnTo>
                      <a:pt x="8984647" y="1076916"/>
                    </a:lnTo>
                    <a:lnTo>
                      <a:pt x="8956057" y="1072152"/>
                    </a:lnTo>
                    <a:lnTo>
                      <a:pt x="8941763" y="1081680"/>
                    </a:lnTo>
                    <a:lnTo>
                      <a:pt x="8927467" y="1081680"/>
                    </a:lnTo>
                    <a:lnTo>
                      <a:pt x="8917935" y="1095976"/>
                    </a:lnTo>
                    <a:lnTo>
                      <a:pt x="8908407" y="1100744"/>
                    </a:lnTo>
                    <a:lnTo>
                      <a:pt x="8898875" y="1100744"/>
                    </a:lnTo>
                    <a:lnTo>
                      <a:pt x="8889347" y="1095976"/>
                    </a:lnTo>
                    <a:lnTo>
                      <a:pt x="8879815" y="1100744"/>
                    </a:lnTo>
                    <a:lnTo>
                      <a:pt x="8870285" y="1124568"/>
                    </a:lnTo>
                    <a:lnTo>
                      <a:pt x="8860755" y="1124568"/>
                    </a:lnTo>
                    <a:lnTo>
                      <a:pt x="8860755" y="1134100"/>
                    </a:lnTo>
                    <a:lnTo>
                      <a:pt x="8855991" y="1138864"/>
                    </a:lnTo>
                    <a:lnTo>
                      <a:pt x="8846459" y="1138864"/>
                    </a:lnTo>
                    <a:lnTo>
                      <a:pt x="8841695" y="1129332"/>
                    </a:lnTo>
                    <a:lnTo>
                      <a:pt x="8836929" y="1115036"/>
                    </a:lnTo>
                    <a:lnTo>
                      <a:pt x="8832163" y="1115036"/>
                    </a:lnTo>
                    <a:lnTo>
                      <a:pt x="8827399" y="1110272"/>
                    </a:lnTo>
                    <a:lnTo>
                      <a:pt x="8817869" y="1110272"/>
                    </a:lnTo>
                    <a:lnTo>
                      <a:pt x="8813103" y="1115036"/>
                    </a:lnTo>
                    <a:lnTo>
                      <a:pt x="8808339" y="1119804"/>
                    </a:lnTo>
                    <a:lnTo>
                      <a:pt x="8798807" y="1129332"/>
                    </a:lnTo>
                    <a:lnTo>
                      <a:pt x="8789279" y="1119804"/>
                    </a:lnTo>
                    <a:lnTo>
                      <a:pt x="8784513" y="1115036"/>
                    </a:lnTo>
                    <a:lnTo>
                      <a:pt x="8779747" y="1129332"/>
                    </a:lnTo>
                    <a:lnTo>
                      <a:pt x="8774983" y="1143628"/>
                    </a:lnTo>
                    <a:lnTo>
                      <a:pt x="8774983" y="1157924"/>
                    </a:lnTo>
                    <a:lnTo>
                      <a:pt x="8774983" y="1167456"/>
                    </a:lnTo>
                    <a:lnTo>
                      <a:pt x="8765451" y="1167456"/>
                    </a:lnTo>
                    <a:lnTo>
                      <a:pt x="8760687" y="1157924"/>
                    </a:lnTo>
                    <a:lnTo>
                      <a:pt x="8741627" y="1148392"/>
                    </a:lnTo>
                    <a:lnTo>
                      <a:pt x="8732095" y="1148392"/>
                    </a:lnTo>
                    <a:lnTo>
                      <a:pt x="8732095" y="1143628"/>
                    </a:lnTo>
                    <a:lnTo>
                      <a:pt x="8746391" y="1129332"/>
                    </a:lnTo>
                    <a:lnTo>
                      <a:pt x="8741627" y="1124568"/>
                    </a:lnTo>
                    <a:lnTo>
                      <a:pt x="8736863" y="1129332"/>
                    </a:lnTo>
                    <a:lnTo>
                      <a:pt x="8732095" y="1124568"/>
                    </a:lnTo>
                    <a:lnTo>
                      <a:pt x="8736863" y="1115036"/>
                    </a:lnTo>
                    <a:lnTo>
                      <a:pt x="8736863" y="1100744"/>
                    </a:lnTo>
                    <a:lnTo>
                      <a:pt x="8732095" y="1105508"/>
                    </a:lnTo>
                    <a:lnTo>
                      <a:pt x="8722567" y="1119804"/>
                    </a:lnTo>
                    <a:lnTo>
                      <a:pt x="8708271" y="1129332"/>
                    </a:lnTo>
                    <a:lnTo>
                      <a:pt x="8708271" y="1148392"/>
                    </a:lnTo>
                    <a:lnTo>
                      <a:pt x="8689211" y="1186516"/>
                    </a:lnTo>
                    <a:lnTo>
                      <a:pt x="8689211" y="1200812"/>
                    </a:lnTo>
                    <a:lnTo>
                      <a:pt x="8679679" y="1215104"/>
                    </a:lnTo>
                    <a:lnTo>
                      <a:pt x="8665385" y="1229400"/>
                    </a:lnTo>
                    <a:lnTo>
                      <a:pt x="8646323" y="1224636"/>
                    </a:lnTo>
                    <a:lnTo>
                      <a:pt x="8632029" y="1234164"/>
                    </a:lnTo>
                    <a:lnTo>
                      <a:pt x="8627263" y="1243696"/>
                    </a:lnTo>
                    <a:lnTo>
                      <a:pt x="8617733" y="1248460"/>
                    </a:lnTo>
                    <a:lnTo>
                      <a:pt x="8617733" y="1234164"/>
                    </a:lnTo>
                    <a:lnTo>
                      <a:pt x="8612967" y="1229400"/>
                    </a:lnTo>
                    <a:lnTo>
                      <a:pt x="8608203" y="1248460"/>
                    </a:lnTo>
                    <a:lnTo>
                      <a:pt x="8603439" y="1248460"/>
                    </a:lnTo>
                    <a:lnTo>
                      <a:pt x="8598673" y="1234164"/>
                    </a:lnTo>
                    <a:lnTo>
                      <a:pt x="8598673" y="1224636"/>
                    </a:lnTo>
                    <a:lnTo>
                      <a:pt x="8589143" y="1234164"/>
                    </a:lnTo>
                    <a:lnTo>
                      <a:pt x="8584379" y="1257992"/>
                    </a:lnTo>
                    <a:lnTo>
                      <a:pt x="8579611" y="1253228"/>
                    </a:lnTo>
                    <a:lnTo>
                      <a:pt x="8579611" y="1248460"/>
                    </a:lnTo>
                    <a:lnTo>
                      <a:pt x="8574847" y="1243696"/>
                    </a:lnTo>
                    <a:lnTo>
                      <a:pt x="8574847" y="1253228"/>
                    </a:lnTo>
                    <a:lnTo>
                      <a:pt x="8574847" y="1267520"/>
                    </a:lnTo>
                    <a:lnTo>
                      <a:pt x="8574847" y="1272288"/>
                    </a:lnTo>
                    <a:lnTo>
                      <a:pt x="8570083" y="1267520"/>
                    </a:lnTo>
                    <a:lnTo>
                      <a:pt x="8565317" y="1262756"/>
                    </a:lnTo>
                    <a:lnTo>
                      <a:pt x="8555787" y="1267520"/>
                    </a:lnTo>
                    <a:lnTo>
                      <a:pt x="8546255" y="1272288"/>
                    </a:lnTo>
                    <a:lnTo>
                      <a:pt x="8546255" y="1262756"/>
                    </a:lnTo>
                    <a:lnTo>
                      <a:pt x="8551023" y="1253228"/>
                    </a:lnTo>
                    <a:lnTo>
                      <a:pt x="8536727" y="1262756"/>
                    </a:lnTo>
                    <a:lnTo>
                      <a:pt x="8517667" y="1277052"/>
                    </a:lnTo>
                    <a:lnTo>
                      <a:pt x="8503371" y="1296112"/>
                    </a:lnTo>
                    <a:lnTo>
                      <a:pt x="8508135" y="1300876"/>
                    </a:lnTo>
                    <a:lnTo>
                      <a:pt x="8512901" y="1305644"/>
                    </a:lnTo>
                    <a:lnTo>
                      <a:pt x="8489075" y="1334232"/>
                    </a:lnTo>
                    <a:lnTo>
                      <a:pt x="8460483" y="1362824"/>
                    </a:lnTo>
                    <a:lnTo>
                      <a:pt x="8441423" y="1410476"/>
                    </a:lnTo>
                    <a:lnTo>
                      <a:pt x="8436659" y="1415240"/>
                    </a:lnTo>
                    <a:lnTo>
                      <a:pt x="8427127" y="1424772"/>
                    </a:lnTo>
                    <a:lnTo>
                      <a:pt x="8422363" y="1453360"/>
                    </a:lnTo>
                    <a:lnTo>
                      <a:pt x="8412833" y="1477188"/>
                    </a:lnTo>
                    <a:lnTo>
                      <a:pt x="8417599" y="1486716"/>
                    </a:lnTo>
                    <a:lnTo>
                      <a:pt x="8422363" y="1501012"/>
                    </a:lnTo>
                    <a:lnTo>
                      <a:pt x="8427127" y="1510544"/>
                    </a:lnTo>
                    <a:lnTo>
                      <a:pt x="8436659" y="1510544"/>
                    </a:lnTo>
                    <a:lnTo>
                      <a:pt x="8441423" y="1510544"/>
                    </a:lnTo>
                    <a:lnTo>
                      <a:pt x="8446189" y="1510544"/>
                    </a:lnTo>
                    <a:lnTo>
                      <a:pt x="8450955" y="1515308"/>
                    </a:lnTo>
                    <a:lnTo>
                      <a:pt x="8446189" y="1520072"/>
                    </a:lnTo>
                    <a:lnTo>
                      <a:pt x="8441423" y="1520072"/>
                    </a:lnTo>
                    <a:lnTo>
                      <a:pt x="8427127" y="1529604"/>
                    </a:lnTo>
                    <a:lnTo>
                      <a:pt x="8412833" y="1534368"/>
                    </a:lnTo>
                    <a:lnTo>
                      <a:pt x="8408067" y="1548664"/>
                    </a:lnTo>
                    <a:lnTo>
                      <a:pt x="8398539" y="1558196"/>
                    </a:lnTo>
                    <a:lnTo>
                      <a:pt x="8379477" y="1582020"/>
                    </a:lnTo>
                    <a:lnTo>
                      <a:pt x="8389007" y="1586784"/>
                    </a:lnTo>
                    <a:lnTo>
                      <a:pt x="8417599" y="1596316"/>
                    </a:lnTo>
                    <a:lnTo>
                      <a:pt x="8427127" y="1601080"/>
                    </a:lnTo>
                    <a:lnTo>
                      <a:pt x="8446189" y="1643968"/>
                    </a:lnTo>
                    <a:lnTo>
                      <a:pt x="8441423" y="1648732"/>
                    </a:lnTo>
                    <a:lnTo>
                      <a:pt x="8441423" y="1653496"/>
                    </a:lnTo>
                    <a:lnTo>
                      <a:pt x="8460483" y="1663028"/>
                    </a:lnTo>
                    <a:lnTo>
                      <a:pt x="8465249" y="1691620"/>
                    </a:lnTo>
                    <a:lnTo>
                      <a:pt x="8479545" y="1701148"/>
                    </a:lnTo>
                    <a:lnTo>
                      <a:pt x="8498605" y="1705912"/>
                    </a:lnTo>
                    <a:lnTo>
                      <a:pt x="8522431" y="1701148"/>
                    </a:lnTo>
                    <a:lnTo>
                      <a:pt x="8541491" y="1686852"/>
                    </a:lnTo>
                    <a:lnTo>
                      <a:pt x="8541491" y="1677324"/>
                    </a:lnTo>
                    <a:lnTo>
                      <a:pt x="8531961" y="1658264"/>
                    </a:lnTo>
                    <a:lnTo>
                      <a:pt x="8527195" y="1643968"/>
                    </a:lnTo>
                    <a:lnTo>
                      <a:pt x="8517667" y="1639200"/>
                    </a:lnTo>
                    <a:lnTo>
                      <a:pt x="8512901" y="1643968"/>
                    </a:lnTo>
                    <a:lnTo>
                      <a:pt x="8508135" y="1634436"/>
                    </a:lnTo>
                    <a:lnTo>
                      <a:pt x="8508135" y="1629672"/>
                    </a:lnTo>
                    <a:lnTo>
                      <a:pt x="8512901" y="1629672"/>
                    </a:lnTo>
                    <a:lnTo>
                      <a:pt x="8517667" y="1629672"/>
                    </a:lnTo>
                    <a:lnTo>
                      <a:pt x="8527195" y="1634436"/>
                    </a:lnTo>
                    <a:lnTo>
                      <a:pt x="8546255" y="1658264"/>
                    </a:lnTo>
                    <a:lnTo>
                      <a:pt x="8555787" y="1691620"/>
                    </a:lnTo>
                    <a:lnTo>
                      <a:pt x="8555787" y="1710680"/>
                    </a:lnTo>
                    <a:lnTo>
                      <a:pt x="8551023" y="1720208"/>
                    </a:lnTo>
                    <a:lnTo>
                      <a:pt x="8546255" y="1720208"/>
                    </a:lnTo>
                    <a:lnTo>
                      <a:pt x="8536727" y="1720208"/>
                    </a:lnTo>
                    <a:lnTo>
                      <a:pt x="8479545" y="1729740"/>
                    </a:lnTo>
                    <a:lnTo>
                      <a:pt x="8470015" y="1739268"/>
                    </a:lnTo>
                    <a:lnTo>
                      <a:pt x="8441423" y="1748800"/>
                    </a:lnTo>
                    <a:lnTo>
                      <a:pt x="8441423" y="1744036"/>
                    </a:lnTo>
                    <a:lnTo>
                      <a:pt x="8441423" y="1734504"/>
                    </a:lnTo>
                    <a:lnTo>
                      <a:pt x="8441423" y="1710680"/>
                    </a:lnTo>
                    <a:lnTo>
                      <a:pt x="8431893" y="1710680"/>
                    </a:lnTo>
                    <a:lnTo>
                      <a:pt x="8393771" y="1744036"/>
                    </a:lnTo>
                    <a:lnTo>
                      <a:pt x="8374711" y="1748800"/>
                    </a:lnTo>
                    <a:lnTo>
                      <a:pt x="8360417" y="1758328"/>
                    </a:lnTo>
                    <a:lnTo>
                      <a:pt x="8360417" y="1753564"/>
                    </a:lnTo>
                    <a:lnTo>
                      <a:pt x="8355651" y="1724976"/>
                    </a:lnTo>
                    <a:lnTo>
                      <a:pt x="8365181" y="1705912"/>
                    </a:lnTo>
                    <a:lnTo>
                      <a:pt x="8360417" y="1705912"/>
                    </a:lnTo>
                    <a:lnTo>
                      <a:pt x="8346121" y="1720208"/>
                    </a:lnTo>
                    <a:lnTo>
                      <a:pt x="8341355" y="1710680"/>
                    </a:lnTo>
                    <a:lnTo>
                      <a:pt x="8336591" y="1701148"/>
                    </a:lnTo>
                    <a:lnTo>
                      <a:pt x="8331825" y="1696384"/>
                    </a:lnTo>
                    <a:lnTo>
                      <a:pt x="8327061" y="1696384"/>
                    </a:lnTo>
                    <a:lnTo>
                      <a:pt x="8331825" y="1715444"/>
                    </a:lnTo>
                    <a:lnTo>
                      <a:pt x="8322295" y="1729740"/>
                    </a:lnTo>
                    <a:lnTo>
                      <a:pt x="8317531" y="1767860"/>
                    </a:lnTo>
                    <a:lnTo>
                      <a:pt x="8307999" y="1782156"/>
                    </a:lnTo>
                    <a:lnTo>
                      <a:pt x="8269879" y="1791684"/>
                    </a:lnTo>
                    <a:lnTo>
                      <a:pt x="8241289" y="1786920"/>
                    </a:lnTo>
                    <a:lnTo>
                      <a:pt x="8222227" y="1791684"/>
                    </a:lnTo>
                    <a:lnTo>
                      <a:pt x="8188871" y="1801216"/>
                    </a:lnTo>
                    <a:lnTo>
                      <a:pt x="8174577" y="1796452"/>
                    </a:lnTo>
                    <a:lnTo>
                      <a:pt x="8155515" y="1801216"/>
                    </a:lnTo>
                    <a:lnTo>
                      <a:pt x="8098335" y="1805980"/>
                    </a:lnTo>
                    <a:lnTo>
                      <a:pt x="8088803" y="1801216"/>
                    </a:lnTo>
                    <a:lnTo>
                      <a:pt x="8069743" y="1815512"/>
                    </a:lnTo>
                    <a:lnTo>
                      <a:pt x="8045919" y="1825040"/>
                    </a:lnTo>
                    <a:lnTo>
                      <a:pt x="7983971" y="1853632"/>
                    </a:lnTo>
                    <a:lnTo>
                      <a:pt x="7969675" y="1867928"/>
                    </a:lnTo>
                    <a:lnTo>
                      <a:pt x="7955381" y="1886988"/>
                    </a:lnTo>
                    <a:lnTo>
                      <a:pt x="7941085" y="1896520"/>
                    </a:lnTo>
                    <a:lnTo>
                      <a:pt x="7931555" y="1896520"/>
                    </a:lnTo>
                    <a:lnTo>
                      <a:pt x="7926791" y="1906048"/>
                    </a:lnTo>
                    <a:lnTo>
                      <a:pt x="7922025" y="1910816"/>
                    </a:lnTo>
                    <a:lnTo>
                      <a:pt x="7926791" y="1891752"/>
                    </a:lnTo>
                    <a:lnTo>
                      <a:pt x="7931555" y="1877460"/>
                    </a:lnTo>
                    <a:lnTo>
                      <a:pt x="7941085" y="1848868"/>
                    </a:lnTo>
                    <a:lnTo>
                      <a:pt x="7936319" y="1825040"/>
                    </a:lnTo>
                    <a:lnTo>
                      <a:pt x="7931555" y="1815512"/>
                    </a:lnTo>
                    <a:lnTo>
                      <a:pt x="7922025" y="1810748"/>
                    </a:lnTo>
                    <a:lnTo>
                      <a:pt x="7931555" y="1829808"/>
                    </a:lnTo>
                    <a:lnTo>
                      <a:pt x="7931555" y="1858396"/>
                    </a:lnTo>
                    <a:lnTo>
                      <a:pt x="7931555" y="1877460"/>
                    </a:lnTo>
                    <a:lnTo>
                      <a:pt x="7917259" y="1910816"/>
                    </a:lnTo>
                    <a:lnTo>
                      <a:pt x="7907729" y="1915580"/>
                    </a:lnTo>
                    <a:lnTo>
                      <a:pt x="7902965" y="1925108"/>
                    </a:lnTo>
                    <a:lnTo>
                      <a:pt x="7893435" y="1929876"/>
                    </a:lnTo>
                    <a:lnTo>
                      <a:pt x="7888669" y="1934640"/>
                    </a:lnTo>
                    <a:lnTo>
                      <a:pt x="7883903" y="1939404"/>
                    </a:lnTo>
                    <a:lnTo>
                      <a:pt x="7879139" y="1958464"/>
                    </a:lnTo>
                    <a:lnTo>
                      <a:pt x="7879139" y="1972760"/>
                    </a:lnTo>
                    <a:lnTo>
                      <a:pt x="7912495" y="1977524"/>
                    </a:lnTo>
                    <a:lnTo>
                      <a:pt x="7917259" y="1972760"/>
                    </a:lnTo>
                    <a:lnTo>
                      <a:pt x="7922025" y="1982292"/>
                    </a:lnTo>
                    <a:lnTo>
                      <a:pt x="7926791" y="1996588"/>
                    </a:lnTo>
                    <a:lnTo>
                      <a:pt x="7922025" y="2015648"/>
                    </a:lnTo>
                    <a:lnTo>
                      <a:pt x="7917259" y="2029944"/>
                    </a:lnTo>
                    <a:lnTo>
                      <a:pt x="7917259" y="2049004"/>
                    </a:lnTo>
                    <a:lnTo>
                      <a:pt x="7912495" y="2082360"/>
                    </a:lnTo>
                    <a:lnTo>
                      <a:pt x="7907729" y="2110948"/>
                    </a:lnTo>
                    <a:lnTo>
                      <a:pt x="7907729" y="2101420"/>
                    </a:lnTo>
                    <a:lnTo>
                      <a:pt x="7907729" y="2068064"/>
                    </a:lnTo>
                    <a:lnTo>
                      <a:pt x="7902965" y="2072828"/>
                    </a:lnTo>
                    <a:lnTo>
                      <a:pt x="7902965" y="2077592"/>
                    </a:lnTo>
                    <a:lnTo>
                      <a:pt x="7893435" y="2120480"/>
                    </a:lnTo>
                    <a:lnTo>
                      <a:pt x="7879139" y="2144304"/>
                    </a:lnTo>
                    <a:lnTo>
                      <a:pt x="7869609" y="2158600"/>
                    </a:lnTo>
                    <a:lnTo>
                      <a:pt x="7855313" y="2158600"/>
                    </a:lnTo>
                    <a:lnTo>
                      <a:pt x="7860079" y="2168132"/>
                    </a:lnTo>
                    <a:lnTo>
                      <a:pt x="7855313" y="2177660"/>
                    </a:lnTo>
                    <a:lnTo>
                      <a:pt x="7850547" y="2191956"/>
                    </a:lnTo>
                    <a:lnTo>
                      <a:pt x="7845783" y="2196720"/>
                    </a:lnTo>
                    <a:lnTo>
                      <a:pt x="7836253" y="2196720"/>
                    </a:lnTo>
                    <a:lnTo>
                      <a:pt x="7831487" y="2206252"/>
                    </a:lnTo>
                    <a:lnTo>
                      <a:pt x="7826723" y="2211016"/>
                    </a:lnTo>
                    <a:lnTo>
                      <a:pt x="7826723" y="2215784"/>
                    </a:lnTo>
                    <a:lnTo>
                      <a:pt x="7817191" y="2225312"/>
                    </a:lnTo>
                    <a:lnTo>
                      <a:pt x="7793367" y="2268200"/>
                    </a:lnTo>
                    <a:lnTo>
                      <a:pt x="7774307" y="2277728"/>
                    </a:lnTo>
                    <a:lnTo>
                      <a:pt x="7769541" y="2277728"/>
                    </a:lnTo>
                    <a:lnTo>
                      <a:pt x="7774307" y="2258668"/>
                    </a:lnTo>
                    <a:lnTo>
                      <a:pt x="7779071" y="2239608"/>
                    </a:lnTo>
                    <a:lnTo>
                      <a:pt x="7764775" y="2230076"/>
                    </a:lnTo>
                    <a:lnTo>
                      <a:pt x="7755245" y="2225312"/>
                    </a:lnTo>
                    <a:lnTo>
                      <a:pt x="7740951" y="2225312"/>
                    </a:lnTo>
                    <a:lnTo>
                      <a:pt x="7726655" y="2211016"/>
                    </a:lnTo>
                    <a:lnTo>
                      <a:pt x="7707595" y="2201488"/>
                    </a:lnTo>
                    <a:lnTo>
                      <a:pt x="7679003" y="2168132"/>
                    </a:lnTo>
                    <a:lnTo>
                      <a:pt x="7683769" y="2158600"/>
                    </a:lnTo>
                    <a:lnTo>
                      <a:pt x="7679003" y="2144304"/>
                    </a:lnTo>
                    <a:lnTo>
                      <a:pt x="7688533" y="2125244"/>
                    </a:lnTo>
                    <a:lnTo>
                      <a:pt x="7698063" y="2106184"/>
                    </a:lnTo>
                    <a:lnTo>
                      <a:pt x="7707595" y="2101420"/>
                    </a:lnTo>
                    <a:lnTo>
                      <a:pt x="7740951" y="2091888"/>
                    </a:lnTo>
                    <a:lnTo>
                      <a:pt x="7745715" y="2077592"/>
                    </a:lnTo>
                    <a:lnTo>
                      <a:pt x="7750479" y="2068064"/>
                    </a:lnTo>
                    <a:lnTo>
                      <a:pt x="7736185" y="2087124"/>
                    </a:lnTo>
                    <a:lnTo>
                      <a:pt x="7712359" y="2091888"/>
                    </a:lnTo>
                    <a:lnTo>
                      <a:pt x="7702829" y="2101420"/>
                    </a:lnTo>
                    <a:lnTo>
                      <a:pt x="7688533" y="2110948"/>
                    </a:lnTo>
                    <a:lnTo>
                      <a:pt x="7683769" y="2125244"/>
                    </a:lnTo>
                    <a:lnTo>
                      <a:pt x="7669473" y="2139540"/>
                    </a:lnTo>
                    <a:lnTo>
                      <a:pt x="7674239" y="2149072"/>
                    </a:lnTo>
                    <a:lnTo>
                      <a:pt x="7674239" y="2153836"/>
                    </a:lnTo>
                    <a:lnTo>
                      <a:pt x="7674239" y="2172896"/>
                    </a:lnTo>
                    <a:lnTo>
                      <a:pt x="7683769" y="2187192"/>
                    </a:lnTo>
                    <a:lnTo>
                      <a:pt x="7698063" y="2211016"/>
                    </a:lnTo>
                    <a:lnTo>
                      <a:pt x="7702829" y="2249140"/>
                    </a:lnTo>
                    <a:lnTo>
                      <a:pt x="7717125" y="2272964"/>
                    </a:lnTo>
                    <a:lnTo>
                      <a:pt x="7736185" y="2306320"/>
                    </a:lnTo>
                    <a:lnTo>
                      <a:pt x="7750479" y="2311084"/>
                    </a:lnTo>
                    <a:lnTo>
                      <a:pt x="7750479" y="2325380"/>
                    </a:lnTo>
                    <a:lnTo>
                      <a:pt x="7740951" y="2339676"/>
                    </a:lnTo>
                    <a:lnTo>
                      <a:pt x="7736185" y="2349204"/>
                    </a:lnTo>
                    <a:lnTo>
                      <a:pt x="7745715" y="2349204"/>
                    </a:lnTo>
                    <a:lnTo>
                      <a:pt x="7750479" y="2353972"/>
                    </a:lnTo>
                    <a:lnTo>
                      <a:pt x="7755245" y="2368268"/>
                    </a:lnTo>
                    <a:lnTo>
                      <a:pt x="7755245" y="2382560"/>
                    </a:lnTo>
                    <a:lnTo>
                      <a:pt x="7755245" y="2392092"/>
                    </a:lnTo>
                    <a:lnTo>
                      <a:pt x="7750479" y="2396856"/>
                    </a:lnTo>
                    <a:lnTo>
                      <a:pt x="7750479" y="2387328"/>
                    </a:lnTo>
                    <a:lnTo>
                      <a:pt x="7750479" y="2382560"/>
                    </a:lnTo>
                    <a:lnTo>
                      <a:pt x="7745715" y="2387328"/>
                    </a:lnTo>
                    <a:lnTo>
                      <a:pt x="7740951" y="2392092"/>
                    </a:lnTo>
                    <a:lnTo>
                      <a:pt x="7740951" y="2406388"/>
                    </a:lnTo>
                    <a:lnTo>
                      <a:pt x="7736185" y="2415916"/>
                    </a:lnTo>
                    <a:lnTo>
                      <a:pt x="7726655" y="2420684"/>
                    </a:lnTo>
                    <a:lnTo>
                      <a:pt x="7717125" y="2439744"/>
                    </a:lnTo>
                    <a:lnTo>
                      <a:pt x="7707595" y="2454040"/>
                    </a:lnTo>
                    <a:lnTo>
                      <a:pt x="7669473" y="2539812"/>
                    </a:lnTo>
                    <a:lnTo>
                      <a:pt x="7669473" y="2554108"/>
                    </a:lnTo>
                    <a:lnTo>
                      <a:pt x="7664707" y="2558872"/>
                    </a:lnTo>
                    <a:lnTo>
                      <a:pt x="7655177" y="2563636"/>
                    </a:lnTo>
                    <a:lnTo>
                      <a:pt x="7640883" y="2573168"/>
                    </a:lnTo>
                    <a:lnTo>
                      <a:pt x="7636117" y="2582696"/>
                    </a:lnTo>
                    <a:lnTo>
                      <a:pt x="7631351" y="2606524"/>
                    </a:lnTo>
                    <a:lnTo>
                      <a:pt x="7617057" y="2635112"/>
                    </a:lnTo>
                    <a:lnTo>
                      <a:pt x="7607527" y="2620820"/>
                    </a:lnTo>
                    <a:lnTo>
                      <a:pt x="7607527" y="2611288"/>
                    </a:lnTo>
                    <a:lnTo>
                      <a:pt x="7612291" y="2587464"/>
                    </a:lnTo>
                    <a:lnTo>
                      <a:pt x="7626587" y="2544576"/>
                    </a:lnTo>
                    <a:lnTo>
                      <a:pt x="7640883" y="2515984"/>
                    </a:lnTo>
                    <a:lnTo>
                      <a:pt x="7650413" y="2501688"/>
                    </a:lnTo>
                    <a:lnTo>
                      <a:pt x="7659943" y="2477864"/>
                    </a:lnTo>
                    <a:lnTo>
                      <a:pt x="7650413" y="2473100"/>
                    </a:lnTo>
                    <a:lnTo>
                      <a:pt x="7631351" y="2473100"/>
                    </a:lnTo>
                    <a:lnTo>
                      <a:pt x="7636117" y="2458804"/>
                    </a:lnTo>
                    <a:lnTo>
                      <a:pt x="7640883" y="2449272"/>
                    </a:lnTo>
                    <a:lnTo>
                      <a:pt x="7631351" y="2439744"/>
                    </a:lnTo>
                    <a:lnTo>
                      <a:pt x="7621821" y="2439744"/>
                    </a:lnTo>
                    <a:lnTo>
                      <a:pt x="7617057" y="2434980"/>
                    </a:lnTo>
                    <a:lnTo>
                      <a:pt x="7626587" y="2425448"/>
                    </a:lnTo>
                    <a:lnTo>
                      <a:pt x="7626587" y="2415916"/>
                    </a:lnTo>
                    <a:lnTo>
                      <a:pt x="7626587" y="2406388"/>
                    </a:lnTo>
                    <a:lnTo>
                      <a:pt x="7626587" y="2396856"/>
                    </a:lnTo>
                    <a:lnTo>
                      <a:pt x="7621821" y="2396856"/>
                    </a:lnTo>
                    <a:lnTo>
                      <a:pt x="7617057" y="2406388"/>
                    </a:lnTo>
                    <a:lnTo>
                      <a:pt x="7612291" y="2411152"/>
                    </a:lnTo>
                    <a:lnTo>
                      <a:pt x="7607527" y="2401624"/>
                    </a:lnTo>
                    <a:lnTo>
                      <a:pt x="7602761" y="2411152"/>
                    </a:lnTo>
                    <a:lnTo>
                      <a:pt x="7597996" y="2411152"/>
                    </a:lnTo>
                    <a:lnTo>
                      <a:pt x="7588466" y="2406388"/>
                    </a:lnTo>
                    <a:lnTo>
                      <a:pt x="7574171" y="2396856"/>
                    </a:lnTo>
                    <a:lnTo>
                      <a:pt x="7564640" y="2382560"/>
                    </a:lnTo>
                    <a:lnTo>
                      <a:pt x="7559875" y="2368268"/>
                    </a:lnTo>
                    <a:lnTo>
                      <a:pt x="7564640" y="2349204"/>
                    </a:lnTo>
                    <a:lnTo>
                      <a:pt x="7574171" y="2344440"/>
                    </a:lnTo>
                    <a:lnTo>
                      <a:pt x="7588466" y="2349204"/>
                    </a:lnTo>
                    <a:lnTo>
                      <a:pt x="7607527" y="2349204"/>
                    </a:lnTo>
                    <a:lnTo>
                      <a:pt x="7602761" y="2344440"/>
                    </a:lnTo>
                    <a:lnTo>
                      <a:pt x="7597996" y="2344440"/>
                    </a:lnTo>
                    <a:lnTo>
                      <a:pt x="7578935" y="2325380"/>
                    </a:lnTo>
                    <a:lnTo>
                      <a:pt x="7574171" y="2315848"/>
                    </a:lnTo>
                    <a:lnTo>
                      <a:pt x="7564640" y="2311084"/>
                    </a:lnTo>
                    <a:lnTo>
                      <a:pt x="7559875" y="2325380"/>
                    </a:lnTo>
                    <a:lnTo>
                      <a:pt x="7555110" y="2325380"/>
                    </a:lnTo>
                    <a:lnTo>
                      <a:pt x="7559875" y="2306320"/>
                    </a:lnTo>
                    <a:lnTo>
                      <a:pt x="7569405" y="2301556"/>
                    </a:lnTo>
                    <a:lnTo>
                      <a:pt x="7578935" y="2296788"/>
                    </a:lnTo>
                    <a:lnTo>
                      <a:pt x="7578935" y="2287260"/>
                    </a:lnTo>
                    <a:lnTo>
                      <a:pt x="7569405" y="2277728"/>
                    </a:lnTo>
                    <a:lnTo>
                      <a:pt x="7555110" y="2287260"/>
                    </a:lnTo>
                    <a:lnTo>
                      <a:pt x="7555110" y="2277728"/>
                    </a:lnTo>
                    <a:lnTo>
                      <a:pt x="7559875" y="2268200"/>
                    </a:lnTo>
                    <a:lnTo>
                      <a:pt x="7569405" y="2268200"/>
                    </a:lnTo>
                    <a:lnTo>
                      <a:pt x="7578935" y="2268200"/>
                    </a:lnTo>
                    <a:lnTo>
                      <a:pt x="7583701" y="2249140"/>
                    </a:lnTo>
                    <a:lnTo>
                      <a:pt x="7583701" y="2244372"/>
                    </a:lnTo>
                    <a:lnTo>
                      <a:pt x="7574171" y="2253904"/>
                    </a:lnTo>
                    <a:lnTo>
                      <a:pt x="7569405" y="2230076"/>
                    </a:lnTo>
                    <a:lnTo>
                      <a:pt x="7583701" y="2206252"/>
                    </a:lnTo>
                    <a:lnTo>
                      <a:pt x="7593231" y="2191956"/>
                    </a:lnTo>
                    <a:lnTo>
                      <a:pt x="7612291" y="2191956"/>
                    </a:lnTo>
                    <a:lnTo>
                      <a:pt x="7626587" y="2191956"/>
                    </a:lnTo>
                    <a:lnTo>
                      <a:pt x="7617057" y="2187192"/>
                    </a:lnTo>
                    <a:lnTo>
                      <a:pt x="7607527" y="2187192"/>
                    </a:lnTo>
                    <a:lnTo>
                      <a:pt x="7612291" y="2172896"/>
                    </a:lnTo>
                    <a:lnTo>
                      <a:pt x="7621821" y="2172896"/>
                    </a:lnTo>
                    <a:lnTo>
                      <a:pt x="7626587" y="2163364"/>
                    </a:lnTo>
                    <a:lnTo>
                      <a:pt x="7612291" y="2168132"/>
                    </a:lnTo>
                    <a:lnTo>
                      <a:pt x="7612291" y="2149072"/>
                    </a:lnTo>
                    <a:lnTo>
                      <a:pt x="7607527" y="2153836"/>
                    </a:lnTo>
                    <a:lnTo>
                      <a:pt x="7597996" y="2153836"/>
                    </a:lnTo>
                    <a:lnTo>
                      <a:pt x="7593231" y="2163364"/>
                    </a:lnTo>
                    <a:lnTo>
                      <a:pt x="7593231" y="2172896"/>
                    </a:lnTo>
                    <a:lnTo>
                      <a:pt x="7593231" y="2182428"/>
                    </a:lnTo>
                    <a:lnTo>
                      <a:pt x="7583701" y="2187192"/>
                    </a:lnTo>
                    <a:lnTo>
                      <a:pt x="7574171" y="2191956"/>
                    </a:lnTo>
                    <a:lnTo>
                      <a:pt x="7569405" y="2182428"/>
                    </a:lnTo>
                    <a:lnTo>
                      <a:pt x="7569405" y="2177660"/>
                    </a:lnTo>
                    <a:lnTo>
                      <a:pt x="7564640" y="2196720"/>
                    </a:lnTo>
                    <a:lnTo>
                      <a:pt x="7564640" y="2201488"/>
                    </a:lnTo>
                    <a:lnTo>
                      <a:pt x="7555110" y="2187192"/>
                    </a:lnTo>
                    <a:lnTo>
                      <a:pt x="7550345" y="2191956"/>
                    </a:lnTo>
                    <a:lnTo>
                      <a:pt x="7550345" y="2201488"/>
                    </a:lnTo>
                    <a:lnTo>
                      <a:pt x="7545579" y="2206252"/>
                    </a:lnTo>
                    <a:lnTo>
                      <a:pt x="7545579" y="2215784"/>
                    </a:lnTo>
                    <a:lnTo>
                      <a:pt x="7540815" y="2220548"/>
                    </a:lnTo>
                    <a:lnTo>
                      <a:pt x="7516989" y="2215784"/>
                    </a:lnTo>
                    <a:lnTo>
                      <a:pt x="7531285" y="2234844"/>
                    </a:lnTo>
                    <a:lnTo>
                      <a:pt x="7540815" y="2244372"/>
                    </a:lnTo>
                    <a:lnTo>
                      <a:pt x="7540815" y="2253904"/>
                    </a:lnTo>
                    <a:lnTo>
                      <a:pt x="7531285" y="2263432"/>
                    </a:lnTo>
                    <a:lnTo>
                      <a:pt x="7521754" y="2253904"/>
                    </a:lnTo>
                    <a:lnTo>
                      <a:pt x="7526519" y="2268200"/>
                    </a:lnTo>
                    <a:lnTo>
                      <a:pt x="7531285" y="2277728"/>
                    </a:lnTo>
                    <a:lnTo>
                      <a:pt x="7526519" y="2287260"/>
                    </a:lnTo>
                    <a:lnTo>
                      <a:pt x="7526519" y="2301556"/>
                    </a:lnTo>
                    <a:lnTo>
                      <a:pt x="7526519" y="2311084"/>
                    </a:lnTo>
                    <a:lnTo>
                      <a:pt x="7521754" y="2320616"/>
                    </a:lnTo>
                    <a:lnTo>
                      <a:pt x="7526519" y="2363500"/>
                    </a:lnTo>
                    <a:lnTo>
                      <a:pt x="7536049" y="2373032"/>
                    </a:lnTo>
                    <a:lnTo>
                      <a:pt x="7540815" y="2382560"/>
                    </a:lnTo>
                    <a:lnTo>
                      <a:pt x="7545579" y="2392092"/>
                    </a:lnTo>
                    <a:lnTo>
                      <a:pt x="7540815" y="2396856"/>
                    </a:lnTo>
                    <a:lnTo>
                      <a:pt x="7526519" y="2387328"/>
                    </a:lnTo>
                    <a:lnTo>
                      <a:pt x="7516989" y="2382560"/>
                    </a:lnTo>
                    <a:lnTo>
                      <a:pt x="7507459" y="2358736"/>
                    </a:lnTo>
                    <a:lnTo>
                      <a:pt x="7502693" y="2353972"/>
                    </a:lnTo>
                    <a:lnTo>
                      <a:pt x="7502693" y="2358736"/>
                    </a:lnTo>
                    <a:lnTo>
                      <a:pt x="7507459" y="2377796"/>
                    </a:lnTo>
                    <a:lnTo>
                      <a:pt x="7540815" y="2415916"/>
                    </a:lnTo>
                    <a:lnTo>
                      <a:pt x="7550345" y="2430212"/>
                    </a:lnTo>
                    <a:lnTo>
                      <a:pt x="7555110" y="2439744"/>
                    </a:lnTo>
                    <a:lnTo>
                      <a:pt x="7555110" y="2449272"/>
                    </a:lnTo>
                    <a:lnTo>
                      <a:pt x="7545579" y="2444508"/>
                    </a:lnTo>
                    <a:lnTo>
                      <a:pt x="7536049" y="2434980"/>
                    </a:lnTo>
                    <a:lnTo>
                      <a:pt x="7512224" y="2420684"/>
                    </a:lnTo>
                    <a:lnTo>
                      <a:pt x="7488398" y="2415916"/>
                    </a:lnTo>
                    <a:lnTo>
                      <a:pt x="7469337" y="2392092"/>
                    </a:lnTo>
                    <a:lnTo>
                      <a:pt x="7469337" y="2401624"/>
                    </a:lnTo>
                    <a:lnTo>
                      <a:pt x="7469337" y="2411152"/>
                    </a:lnTo>
                    <a:lnTo>
                      <a:pt x="7459807" y="2396856"/>
                    </a:lnTo>
                    <a:lnTo>
                      <a:pt x="7450277" y="2387328"/>
                    </a:lnTo>
                    <a:lnTo>
                      <a:pt x="7450277" y="2377796"/>
                    </a:lnTo>
                    <a:lnTo>
                      <a:pt x="7440747" y="2377796"/>
                    </a:lnTo>
                    <a:lnTo>
                      <a:pt x="7426451" y="2387328"/>
                    </a:lnTo>
                    <a:lnTo>
                      <a:pt x="7412156" y="2387328"/>
                    </a:lnTo>
                    <a:lnTo>
                      <a:pt x="7412156" y="2368268"/>
                    </a:lnTo>
                    <a:lnTo>
                      <a:pt x="7416921" y="2358736"/>
                    </a:lnTo>
                    <a:lnTo>
                      <a:pt x="7431217" y="2339676"/>
                    </a:lnTo>
                    <a:lnTo>
                      <a:pt x="7440747" y="2325380"/>
                    </a:lnTo>
                    <a:lnTo>
                      <a:pt x="7445512" y="2311084"/>
                    </a:lnTo>
                    <a:lnTo>
                      <a:pt x="7435981" y="2325380"/>
                    </a:lnTo>
                    <a:lnTo>
                      <a:pt x="7426451" y="2334912"/>
                    </a:lnTo>
                    <a:lnTo>
                      <a:pt x="7412156" y="2349204"/>
                    </a:lnTo>
                    <a:lnTo>
                      <a:pt x="7407391" y="2363500"/>
                    </a:lnTo>
                    <a:lnTo>
                      <a:pt x="7402626" y="2387328"/>
                    </a:lnTo>
                    <a:lnTo>
                      <a:pt x="7407391" y="2396856"/>
                    </a:lnTo>
                    <a:lnTo>
                      <a:pt x="7412156" y="2401624"/>
                    </a:lnTo>
                    <a:lnTo>
                      <a:pt x="7431217" y="2392092"/>
                    </a:lnTo>
                    <a:lnTo>
                      <a:pt x="7445512" y="2396856"/>
                    </a:lnTo>
                    <a:lnTo>
                      <a:pt x="7464573" y="2430212"/>
                    </a:lnTo>
                    <a:lnTo>
                      <a:pt x="7507459" y="2439744"/>
                    </a:lnTo>
                    <a:lnTo>
                      <a:pt x="7521754" y="2449272"/>
                    </a:lnTo>
                    <a:lnTo>
                      <a:pt x="7531285" y="2463568"/>
                    </a:lnTo>
                    <a:lnTo>
                      <a:pt x="7550345" y="2473100"/>
                    </a:lnTo>
                    <a:lnTo>
                      <a:pt x="7564640" y="2487396"/>
                    </a:lnTo>
                    <a:lnTo>
                      <a:pt x="7564640" y="2496924"/>
                    </a:lnTo>
                    <a:lnTo>
                      <a:pt x="7559875" y="2506456"/>
                    </a:lnTo>
                    <a:lnTo>
                      <a:pt x="7559875" y="2520752"/>
                    </a:lnTo>
                    <a:lnTo>
                      <a:pt x="7555110" y="2530280"/>
                    </a:lnTo>
                    <a:lnTo>
                      <a:pt x="7540815" y="2535044"/>
                    </a:lnTo>
                    <a:lnTo>
                      <a:pt x="7531285" y="2530280"/>
                    </a:lnTo>
                    <a:lnTo>
                      <a:pt x="7483633" y="2477864"/>
                    </a:lnTo>
                    <a:lnTo>
                      <a:pt x="7478868" y="2473100"/>
                    </a:lnTo>
                    <a:lnTo>
                      <a:pt x="7459807" y="2449272"/>
                    </a:lnTo>
                    <a:lnTo>
                      <a:pt x="7440747" y="2434980"/>
                    </a:lnTo>
                    <a:lnTo>
                      <a:pt x="7431217" y="2434980"/>
                    </a:lnTo>
                    <a:lnTo>
                      <a:pt x="7464573" y="2458804"/>
                    </a:lnTo>
                    <a:lnTo>
                      <a:pt x="7474103" y="2477864"/>
                    </a:lnTo>
                    <a:lnTo>
                      <a:pt x="7493163" y="2506456"/>
                    </a:lnTo>
                    <a:lnTo>
                      <a:pt x="7512224" y="2515984"/>
                    </a:lnTo>
                    <a:lnTo>
                      <a:pt x="7521754" y="2535044"/>
                    </a:lnTo>
                    <a:lnTo>
                      <a:pt x="7531285" y="2539812"/>
                    </a:lnTo>
                    <a:lnTo>
                      <a:pt x="7559875" y="2554108"/>
                    </a:lnTo>
                    <a:lnTo>
                      <a:pt x="7550345" y="2558872"/>
                    </a:lnTo>
                    <a:lnTo>
                      <a:pt x="7564640" y="2568400"/>
                    </a:lnTo>
                    <a:lnTo>
                      <a:pt x="7569405" y="2577932"/>
                    </a:lnTo>
                    <a:lnTo>
                      <a:pt x="7564640" y="2596992"/>
                    </a:lnTo>
                    <a:lnTo>
                      <a:pt x="7545579" y="2587464"/>
                    </a:lnTo>
                    <a:lnTo>
                      <a:pt x="7545579" y="2601756"/>
                    </a:lnTo>
                    <a:lnTo>
                      <a:pt x="7545579" y="2606524"/>
                    </a:lnTo>
                    <a:lnTo>
                      <a:pt x="7536049" y="2611288"/>
                    </a:lnTo>
                    <a:lnTo>
                      <a:pt x="7521754" y="2601756"/>
                    </a:lnTo>
                    <a:lnTo>
                      <a:pt x="7488398" y="2563636"/>
                    </a:lnTo>
                    <a:lnTo>
                      <a:pt x="7488398" y="2568400"/>
                    </a:lnTo>
                    <a:lnTo>
                      <a:pt x="7493163" y="2577932"/>
                    </a:lnTo>
                    <a:lnTo>
                      <a:pt x="7512224" y="2601756"/>
                    </a:lnTo>
                    <a:lnTo>
                      <a:pt x="7531285" y="2616052"/>
                    </a:lnTo>
                    <a:lnTo>
                      <a:pt x="7545579" y="2620820"/>
                    </a:lnTo>
                    <a:lnTo>
                      <a:pt x="7555110" y="2635112"/>
                    </a:lnTo>
                    <a:lnTo>
                      <a:pt x="7559875" y="2644644"/>
                    </a:lnTo>
                    <a:lnTo>
                      <a:pt x="7564640" y="2654172"/>
                    </a:lnTo>
                    <a:lnTo>
                      <a:pt x="7555110" y="2663704"/>
                    </a:lnTo>
                    <a:lnTo>
                      <a:pt x="7545579" y="2663704"/>
                    </a:lnTo>
                    <a:lnTo>
                      <a:pt x="7536049" y="2658940"/>
                    </a:lnTo>
                    <a:lnTo>
                      <a:pt x="7526519" y="2649408"/>
                    </a:lnTo>
                    <a:lnTo>
                      <a:pt x="7512224" y="2635112"/>
                    </a:lnTo>
                    <a:lnTo>
                      <a:pt x="7507459" y="2620820"/>
                    </a:lnTo>
                    <a:lnTo>
                      <a:pt x="7497929" y="2620820"/>
                    </a:lnTo>
                    <a:lnTo>
                      <a:pt x="7450277" y="2601756"/>
                    </a:lnTo>
                    <a:lnTo>
                      <a:pt x="7416921" y="2601756"/>
                    </a:lnTo>
                    <a:lnTo>
                      <a:pt x="7421687" y="2606524"/>
                    </a:lnTo>
                    <a:lnTo>
                      <a:pt x="7450277" y="2611288"/>
                    </a:lnTo>
                    <a:lnTo>
                      <a:pt x="7464573" y="2620820"/>
                    </a:lnTo>
                    <a:lnTo>
                      <a:pt x="7488398" y="2630348"/>
                    </a:lnTo>
                    <a:lnTo>
                      <a:pt x="7502693" y="2630348"/>
                    </a:lnTo>
                    <a:lnTo>
                      <a:pt x="7507459" y="2654172"/>
                    </a:lnTo>
                    <a:lnTo>
                      <a:pt x="7526519" y="2673236"/>
                    </a:lnTo>
                    <a:lnTo>
                      <a:pt x="7531285" y="2682764"/>
                    </a:lnTo>
                    <a:lnTo>
                      <a:pt x="7545579" y="2687528"/>
                    </a:lnTo>
                    <a:lnTo>
                      <a:pt x="7569405" y="2673236"/>
                    </a:lnTo>
                    <a:lnTo>
                      <a:pt x="7583701" y="2678000"/>
                    </a:lnTo>
                    <a:lnTo>
                      <a:pt x="7607527" y="2682764"/>
                    </a:lnTo>
                    <a:lnTo>
                      <a:pt x="7612291" y="2692296"/>
                    </a:lnTo>
                    <a:lnTo>
                      <a:pt x="7617057" y="2711356"/>
                    </a:lnTo>
                    <a:lnTo>
                      <a:pt x="7621821" y="2730416"/>
                    </a:lnTo>
                    <a:lnTo>
                      <a:pt x="7645647" y="2816188"/>
                    </a:lnTo>
                    <a:lnTo>
                      <a:pt x="7674239" y="2882900"/>
                    </a:lnTo>
                    <a:lnTo>
                      <a:pt x="7650413" y="2840012"/>
                    </a:lnTo>
                    <a:lnTo>
                      <a:pt x="7636117" y="2806656"/>
                    </a:lnTo>
                    <a:lnTo>
                      <a:pt x="7621821" y="2749476"/>
                    </a:lnTo>
                    <a:lnTo>
                      <a:pt x="7621821" y="2735180"/>
                    </a:lnTo>
                    <a:lnTo>
                      <a:pt x="7617057" y="2730416"/>
                    </a:lnTo>
                    <a:lnTo>
                      <a:pt x="7612291" y="2735180"/>
                    </a:lnTo>
                    <a:lnTo>
                      <a:pt x="7612291" y="2739948"/>
                    </a:lnTo>
                    <a:lnTo>
                      <a:pt x="7612291" y="2749476"/>
                    </a:lnTo>
                    <a:lnTo>
                      <a:pt x="7607527" y="2768536"/>
                    </a:lnTo>
                    <a:lnTo>
                      <a:pt x="7612291" y="2773304"/>
                    </a:lnTo>
                    <a:lnTo>
                      <a:pt x="7617057" y="2782832"/>
                    </a:lnTo>
                    <a:lnTo>
                      <a:pt x="7626587" y="2806656"/>
                    </a:lnTo>
                    <a:lnTo>
                      <a:pt x="7636117" y="2835248"/>
                    </a:lnTo>
                    <a:lnTo>
                      <a:pt x="7626587" y="2825720"/>
                    </a:lnTo>
                    <a:lnTo>
                      <a:pt x="7617057" y="2816188"/>
                    </a:lnTo>
                    <a:lnTo>
                      <a:pt x="7597996" y="2811424"/>
                    </a:lnTo>
                    <a:lnTo>
                      <a:pt x="7583701" y="2806656"/>
                    </a:lnTo>
                    <a:lnTo>
                      <a:pt x="7583701" y="2816188"/>
                    </a:lnTo>
                    <a:lnTo>
                      <a:pt x="7583701" y="2830484"/>
                    </a:lnTo>
                    <a:lnTo>
                      <a:pt x="7574171" y="2825720"/>
                    </a:lnTo>
                    <a:lnTo>
                      <a:pt x="7564640" y="2820952"/>
                    </a:lnTo>
                    <a:lnTo>
                      <a:pt x="7569405" y="2835248"/>
                    </a:lnTo>
                    <a:lnTo>
                      <a:pt x="7555110" y="2830484"/>
                    </a:lnTo>
                    <a:lnTo>
                      <a:pt x="7545579" y="2835248"/>
                    </a:lnTo>
                    <a:lnTo>
                      <a:pt x="7540815" y="2844780"/>
                    </a:lnTo>
                    <a:lnTo>
                      <a:pt x="7531285" y="2854308"/>
                    </a:lnTo>
                    <a:lnTo>
                      <a:pt x="7521754" y="2854308"/>
                    </a:lnTo>
                    <a:lnTo>
                      <a:pt x="7502693" y="2844780"/>
                    </a:lnTo>
                    <a:lnTo>
                      <a:pt x="7493163" y="2830484"/>
                    </a:lnTo>
                    <a:lnTo>
                      <a:pt x="7493163" y="2835248"/>
                    </a:lnTo>
                    <a:lnTo>
                      <a:pt x="7493163" y="2854308"/>
                    </a:lnTo>
                    <a:lnTo>
                      <a:pt x="7493163" y="2868604"/>
                    </a:lnTo>
                    <a:lnTo>
                      <a:pt x="7512224" y="2868604"/>
                    </a:lnTo>
                    <a:lnTo>
                      <a:pt x="7526519" y="2868604"/>
                    </a:lnTo>
                    <a:lnTo>
                      <a:pt x="7550345" y="2868604"/>
                    </a:lnTo>
                    <a:lnTo>
                      <a:pt x="7564640" y="2863840"/>
                    </a:lnTo>
                    <a:lnTo>
                      <a:pt x="7574171" y="2859076"/>
                    </a:lnTo>
                    <a:lnTo>
                      <a:pt x="7597996" y="2863840"/>
                    </a:lnTo>
                    <a:lnTo>
                      <a:pt x="7597996" y="2882900"/>
                    </a:lnTo>
                    <a:lnTo>
                      <a:pt x="7593231" y="2897196"/>
                    </a:lnTo>
                    <a:lnTo>
                      <a:pt x="7593231" y="2916256"/>
                    </a:lnTo>
                    <a:lnTo>
                      <a:pt x="7597996" y="2916256"/>
                    </a:lnTo>
                    <a:lnTo>
                      <a:pt x="7607527" y="2911492"/>
                    </a:lnTo>
                    <a:lnTo>
                      <a:pt x="7612291" y="2878136"/>
                    </a:lnTo>
                    <a:lnTo>
                      <a:pt x="7631351" y="2868604"/>
                    </a:lnTo>
                    <a:lnTo>
                      <a:pt x="7636117" y="2868604"/>
                    </a:lnTo>
                    <a:lnTo>
                      <a:pt x="7640883" y="2878136"/>
                    </a:lnTo>
                    <a:lnTo>
                      <a:pt x="7645647" y="2887664"/>
                    </a:lnTo>
                    <a:lnTo>
                      <a:pt x="7645647" y="2901960"/>
                    </a:lnTo>
                    <a:lnTo>
                      <a:pt x="7640883" y="2925788"/>
                    </a:lnTo>
                    <a:lnTo>
                      <a:pt x="7612291" y="2954376"/>
                    </a:lnTo>
                    <a:lnTo>
                      <a:pt x="7588466" y="2978204"/>
                    </a:lnTo>
                    <a:lnTo>
                      <a:pt x="7578935" y="2982968"/>
                    </a:lnTo>
                    <a:lnTo>
                      <a:pt x="7564640" y="2978204"/>
                    </a:lnTo>
                    <a:lnTo>
                      <a:pt x="7545579" y="2973436"/>
                    </a:lnTo>
                    <a:lnTo>
                      <a:pt x="7536049" y="2973436"/>
                    </a:lnTo>
                    <a:lnTo>
                      <a:pt x="7531285" y="2973436"/>
                    </a:lnTo>
                    <a:lnTo>
                      <a:pt x="7526519" y="2968672"/>
                    </a:lnTo>
                    <a:lnTo>
                      <a:pt x="7521754" y="2954376"/>
                    </a:lnTo>
                    <a:lnTo>
                      <a:pt x="7516989" y="2949612"/>
                    </a:lnTo>
                    <a:lnTo>
                      <a:pt x="7512224" y="2949612"/>
                    </a:lnTo>
                    <a:lnTo>
                      <a:pt x="7507459" y="2963908"/>
                    </a:lnTo>
                    <a:lnTo>
                      <a:pt x="7493163" y="2968672"/>
                    </a:lnTo>
                    <a:lnTo>
                      <a:pt x="7469337" y="2963908"/>
                    </a:lnTo>
                    <a:lnTo>
                      <a:pt x="7445512" y="2949612"/>
                    </a:lnTo>
                    <a:lnTo>
                      <a:pt x="7455042" y="2963908"/>
                    </a:lnTo>
                    <a:lnTo>
                      <a:pt x="7512224" y="2987732"/>
                    </a:lnTo>
                    <a:lnTo>
                      <a:pt x="7521754" y="2992496"/>
                    </a:lnTo>
                    <a:lnTo>
                      <a:pt x="7526519" y="2997264"/>
                    </a:lnTo>
                    <a:lnTo>
                      <a:pt x="7516989" y="3011560"/>
                    </a:lnTo>
                    <a:lnTo>
                      <a:pt x="7512224" y="3021088"/>
                    </a:lnTo>
                    <a:lnTo>
                      <a:pt x="7512224" y="3030620"/>
                    </a:lnTo>
                    <a:lnTo>
                      <a:pt x="7507459" y="3035384"/>
                    </a:lnTo>
                    <a:lnTo>
                      <a:pt x="7483633" y="3054444"/>
                    </a:lnTo>
                    <a:lnTo>
                      <a:pt x="7474103" y="3049680"/>
                    </a:lnTo>
                    <a:lnTo>
                      <a:pt x="7440747" y="3021088"/>
                    </a:lnTo>
                    <a:lnTo>
                      <a:pt x="7455042" y="3044916"/>
                    </a:lnTo>
                    <a:lnTo>
                      <a:pt x="7464573" y="3054444"/>
                    </a:lnTo>
                    <a:lnTo>
                      <a:pt x="7488398" y="3059208"/>
                    </a:lnTo>
                    <a:lnTo>
                      <a:pt x="7536049" y="3054444"/>
                    </a:lnTo>
                    <a:lnTo>
                      <a:pt x="7550345" y="3063976"/>
                    </a:lnTo>
                    <a:lnTo>
                      <a:pt x="7536049" y="3083036"/>
                    </a:lnTo>
                    <a:lnTo>
                      <a:pt x="7526519" y="3092564"/>
                    </a:lnTo>
                    <a:lnTo>
                      <a:pt x="7512224" y="3092564"/>
                    </a:lnTo>
                    <a:lnTo>
                      <a:pt x="7497929" y="3097332"/>
                    </a:lnTo>
                    <a:lnTo>
                      <a:pt x="7493163" y="3106860"/>
                    </a:lnTo>
                    <a:lnTo>
                      <a:pt x="7483633" y="3106860"/>
                    </a:lnTo>
                    <a:lnTo>
                      <a:pt x="7464573" y="3106860"/>
                    </a:lnTo>
                    <a:lnTo>
                      <a:pt x="7440747" y="3106860"/>
                    </a:lnTo>
                    <a:lnTo>
                      <a:pt x="7431217" y="3106860"/>
                    </a:lnTo>
                    <a:lnTo>
                      <a:pt x="7412156" y="3125920"/>
                    </a:lnTo>
                    <a:lnTo>
                      <a:pt x="7402626" y="3125920"/>
                    </a:lnTo>
                    <a:lnTo>
                      <a:pt x="7393095" y="3121156"/>
                    </a:lnTo>
                    <a:lnTo>
                      <a:pt x="7388331" y="3106860"/>
                    </a:lnTo>
                    <a:lnTo>
                      <a:pt x="7388331" y="3125920"/>
                    </a:lnTo>
                    <a:lnTo>
                      <a:pt x="7388331" y="3135452"/>
                    </a:lnTo>
                    <a:lnTo>
                      <a:pt x="7393095" y="3140216"/>
                    </a:lnTo>
                    <a:lnTo>
                      <a:pt x="7369270" y="3154512"/>
                    </a:lnTo>
                    <a:lnTo>
                      <a:pt x="7350209" y="3173572"/>
                    </a:lnTo>
                    <a:lnTo>
                      <a:pt x="7340679" y="3178336"/>
                    </a:lnTo>
                    <a:lnTo>
                      <a:pt x="7331149" y="3187868"/>
                    </a:lnTo>
                    <a:lnTo>
                      <a:pt x="7316853" y="3211692"/>
                    </a:lnTo>
                    <a:lnTo>
                      <a:pt x="7312089" y="3230756"/>
                    </a:lnTo>
                    <a:lnTo>
                      <a:pt x="7307323" y="3249816"/>
                    </a:lnTo>
                    <a:lnTo>
                      <a:pt x="7307323" y="3240284"/>
                    </a:lnTo>
                    <a:lnTo>
                      <a:pt x="7307323" y="3225988"/>
                    </a:lnTo>
                    <a:lnTo>
                      <a:pt x="7302558" y="3206928"/>
                    </a:lnTo>
                    <a:lnTo>
                      <a:pt x="7297793" y="3240284"/>
                    </a:lnTo>
                    <a:lnTo>
                      <a:pt x="7293028" y="3254580"/>
                    </a:lnTo>
                    <a:lnTo>
                      <a:pt x="7231081" y="3254580"/>
                    </a:lnTo>
                    <a:lnTo>
                      <a:pt x="7202491" y="3264112"/>
                    </a:lnTo>
                    <a:lnTo>
                      <a:pt x="7164369" y="3292700"/>
                    </a:lnTo>
                    <a:lnTo>
                      <a:pt x="7150074" y="3302232"/>
                    </a:lnTo>
                    <a:lnTo>
                      <a:pt x="7116718" y="3349884"/>
                    </a:lnTo>
                    <a:lnTo>
                      <a:pt x="7107188" y="3383240"/>
                    </a:lnTo>
                    <a:lnTo>
                      <a:pt x="7102423" y="3368944"/>
                    </a:lnTo>
                    <a:lnTo>
                      <a:pt x="7102423" y="3359412"/>
                    </a:lnTo>
                    <a:lnTo>
                      <a:pt x="7102423" y="3349884"/>
                    </a:lnTo>
                    <a:lnTo>
                      <a:pt x="7092893" y="3368944"/>
                    </a:lnTo>
                    <a:lnTo>
                      <a:pt x="7102423" y="3392768"/>
                    </a:lnTo>
                    <a:lnTo>
                      <a:pt x="7092893" y="3402300"/>
                    </a:lnTo>
                    <a:lnTo>
                      <a:pt x="7073832" y="3421360"/>
                    </a:lnTo>
                    <a:lnTo>
                      <a:pt x="7059537" y="3421360"/>
                    </a:lnTo>
                    <a:lnTo>
                      <a:pt x="7045241" y="3426124"/>
                    </a:lnTo>
                    <a:lnTo>
                      <a:pt x="7040476" y="3445184"/>
                    </a:lnTo>
                    <a:lnTo>
                      <a:pt x="7026181" y="3459480"/>
                    </a:lnTo>
                    <a:lnTo>
                      <a:pt x="7011885" y="3469012"/>
                    </a:lnTo>
                    <a:lnTo>
                      <a:pt x="6992825" y="3464244"/>
                    </a:lnTo>
                    <a:lnTo>
                      <a:pt x="6997590" y="3478540"/>
                    </a:lnTo>
                    <a:lnTo>
                      <a:pt x="6992825" y="3488072"/>
                    </a:lnTo>
                    <a:lnTo>
                      <a:pt x="6978529" y="3497600"/>
                    </a:lnTo>
                    <a:lnTo>
                      <a:pt x="6964234" y="3502368"/>
                    </a:lnTo>
                    <a:lnTo>
                      <a:pt x="6954704" y="3502368"/>
                    </a:lnTo>
                    <a:lnTo>
                      <a:pt x="6945173" y="3507132"/>
                    </a:lnTo>
                    <a:lnTo>
                      <a:pt x="6940409" y="3511896"/>
                    </a:lnTo>
                    <a:lnTo>
                      <a:pt x="6926113" y="3521428"/>
                    </a:lnTo>
                    <a:lnTo>
                      <a:pt x="6911817" y="3516660"/>
                    </a:lnTo>
                    <a:lnTo>
                      <a:pt x="6892757" y="3511896"/>
                    </a:lnTo>
                    <a:lnTo>
                      <a:pt x="6883227" y="3516660"/>
                    </a:lnTo>
                    <a:lnTo>
                      <a:pt x="6897523" y="3526192"/>
                    </a:lnTo>
                    <a:lnTo>
                      <a:pt x="6907053" y="3535724"/>
                    </a:lnTo>
                    <a:lnTo>
                      <a:pt x="6907053" y="3545252"/>
                    </a:lnTo>
                    <a:lnTo>
                      <a:pt x="6902287" y="3554784"/>
                    </a:lnTo>
                    <a:lnTo>
                      <a:pt x="6892757" y="3559548"/>
                    </a:lnTo>
                    <a:lnTo>
                      <a:pt x="6887992" y="3559548"/>
                    </a:lnTo>
                    <a:lnTo>
                      <a:pt x="6883227" y="3554784"/>
                    </a:lnTo>
                    <a:lnTo>
                      <a:pt x="6883227" y="3540488"/>
                    </a:lnTo>
                    <a:lnTo>
                      <a:pt x="6878462" y="3540488"/>
                    </a:lnTo>
                    <a:lnTo>
                      <a:pt x="6873697" y="3550016"/>
                    </a:lnTo>
                    <a:lnTo>
                      <a:pt x="6854636" y="3530956"/>
                    </a:lnTo>
                    <a:lnTo>
                      <a:pt x="6859401" y="3545252"/>
                    </a:lnTo>
                    <a:lnTo>
                      <a:pt x="6864167" y="3559548"/>
                    </a:lnTo>
                    <a:lnTo>
                      <a:pt x="6868931" y="3564312"/>
                    </a:lnTo>
                    <a:lnTo>
                      <a:pt x="6873697" y="3569080"/>
                    </a:lnTo>
                    <a:lnTo>
                      <a:pt x="6873697" y="3573844"/>
                    </a:lnTo>
                    <a:lnTo>
                      <a:pt x="6864167" y="3588140"/>
                    </a:lnTo>
                    <a:lnTo>
                      <a:pt x="6859401" y="3588140"/>
                    </a:lnTo>
                    <a:lnTo>
                      <a:pt x="6849871" y="3592904"/>
                    </a:lnTo>
                    <a:lnTo>
                      <a:pt x="6845106" y="3597668"/>
                    </a:lnTo>
                    <a:lnTo>
                      <a:pt x="6845106" y="3607200"/>
                    </a:lnTo>
                    <a:lnTo>
                      <a:pt x="6835575" y="3621496"/>
                    </a:lnTo>
                    <a:lnTo>
                      <a:pt x="6816515" y="3631024"/>
                    </a:lnTo>
                    <a:lnTo>
                      <a:pt x="6811750" y="3631024"/>
                    </a:lnTo>
                    <a:lnTo>
                      <a:pt x="6806985" y="3635792"/>
                    </a:lnTo>
                    <a:lnTo>
                      <a:pt x="6811750" y="3640556"/>
                    </a:lnTo>
                    <a:lnTo>
                      <a:pt x="6816515" y="3645320"/>
                    </a:lnTo>
                    <a:lnTo>
                      <a:pt x="6816515" y="3650084"/>
                    </a:lnTo>
                    <a:lnTo>
                      <a:pt x="6811750" y="3659616"/>
                    </a:lnTo>
                    <a:lnTo>
                      <a:pt x="6802220" y="3659616"/>
                    </a:lnTo>
                    <a:lnTo>
                      <a:pt x="6797455" y="3669144"/>
                    </a:lnTo>
                    <a:lnTo>
                      <a:pt x="6797455" y="3673912"/>
                    </a:lnTo>
                    <a:lnTo>
                      <a:pt x="6802220" y="3678676"/>
                    </a:lnTo>
                    <a:lnTo>
                      <a:pt x="6797455" y="3683440"/>
                    </a:lnTo>
                    <a:lnTo>
                      <a:pt x="6787925" y="3692972"/>
                    </a:lnTo>
                    <a:lnTo>
                      <a:pt x="6783159" y="3697736"/>
                    </a:lnTo>
                    <a:lnTo>
                      <a:pt x="6792689" y="3697736"/>
                    </a:lnTo>
                    <a:lnTo>
                      <a:pt x="6797455" y="3697736"/>
                    </a:lnTo>
                    <a:lnTo>
                      <a:pt x="6792689" y="3712032"/>
                    </a:lnTo>
                    <a:lnTo>
                      <a:pt x="6783159" y="3716796"/>
                    </a:lnTo>
                    <a:lnTo>
                      <a:pt x="6778394" y="3726328"/>
                    </a:lnTo>
                    <a:lnTo>
                      <a:pt x="6764099" y="3731092"/>
                    </a:lnTo>
                    <a:lnTo>
                      <a:pt x="6768864" y="3735856"/>
                    </a:lnTo>
                    <a:lnTo>
                      <a:pt x="6773629" y="3740624"/>
                    </a:lnTo>
                    <a:lnTo>
                      <a:pt x="6783159" y="3750152"/>
                    </a:lnTo>
                    <a:lnTo>
                      <a:pt x="6768864" y="3764448"/>
                    </a:lnTo>
                    <a:lnTo>
                      <a:pt x="6759333" y="3764448"/>
                    </a:lnTo>
                    <a:lnTo>
                      <a:pt x="6759333" y="3759684"/>
                    </a:lnTo>
                    <a:lnTo>
                      <a:pt x="6754569" y="3773980"/>
                    </a:lnTo>
                    <a:lnTo>
                      <a:pt x="6754569" y="3778744"/>
                    </a:lnTo>
                    <a:lnTo>
                      <a:pt x="6754569" y="3793040"/>
                    </a:lnTo>
                    <a:lnTo>
                      <a:pt x="6749803" y="3812100"/>
                    </a:lnTo>
                    <a:lnTo>
                      <a:pt x="6745038" y="3816864"/>
                    </a:lnTo>
                    <a:lnTo>
                      <a:pt x="6745038" y="3831160"/>
                    </a:lnTo>
                    <a:lnTo>
                      <a:pt x="6745038" y="3845456"/>
                    </a:lnTo>
                    <a:lnTo>
                      <a:pt x="6754569" y="3859752"/>
                    </a:lnTo>
                    <a:lnTo>
                      <a:pt x="6764099" y="3926464"/>
                    </a:lnTo>
                    <a:lnTo>
                      <a:pt x="6773629" y="3950288"/>
                    </a:lnTo>
                    <a:lnTo>
                      <a:pt x="6787925" y="4012236"/>
                    </a:lnTo>
                    <a:lnTo>
                      <a:pt x="6806985" y="4074180"/>
                    </a:lnTo>
                    <a:lnTo>
                      <a:pt x="6840341" y="4145660"/>
                    </a:lnTo>
                    <a:lnTo>
                      <a:pt x="6892757" y="4236196"/>
                    </a:lnTo>
                    <a:lnTo>
                      <a:pt x="6902287" y="4245728"/>
                    </a:lnTo>
                    <a:lnTo>
                      <a:pt x="6892757" y="4260020"/>
                    </a:lnTo>
                    <a:lnTo>
                      <a:pt x="6892757" y="4269552"/>
                    </a:lnTo>
                    <a:lnTo>
                      <a:pt x="6892757" y="4283848"/>
                    </a:lnTo>
                    <a:lnTo>
                      <a:pt x="6892757" y="4302908"/>
                    </a:lnTo>
                    <a:lnTo>
                      <a:pt x="6897523" y="4321968"/>
                    </a:lnTo>
                    <a:lnTo>
                      <a:pt x="6911817" y="4350560"/>
                    </a:lnTo>
                    <a:lnTo>
                      <a:pt x="6902287" y="4345796"/>
                    </a:lnTo>
                    <a:lnTo>
                      <a:pt x="6887992" y="4302908"/>
                    </a:lnTo>
                    <a:lnTo>
                      <a:pt x="6883227" y="4279084"/>
                    </a:lnTo>
                    <a:lnTo>
                      <a:pt x="6887992" y="4240960"/>
                    </a:lnTo>
                    <a:lnTo>
                      <a:pt x="6883227" y="4240960"/>
                    </a:lnTo>
                    <a:lnTo>
                      <a:pt x="6878462" y="4255256"/>
                    </a:lnTo>
                    <a:lnTo>
                      <a:pt x="6878462" y="4269552"/>
                    </a:lnTo>
                    <a:lnTo>
                      <a:pt x="6873697" y="4274316"/>
                    </a:lnTo>
                    <a:lnTo>
                      <a:pt x="6868931" y="4250492"/>
                    </a:lnTo>
                    <a:lnTo>
                      <a:pt x="6868931" y="4240960"/>
                    </a:lnTo>
                    <a:lnTo>
                      <a:pt x="6873697" y="4231432"/>
                    </a:lnTo>
                    <a:lnTo>
                      <a:pt x="6873697" y="4226664"/>
                    </a:lnTo>
                    <a:lnTo>
                      <a:pt x="6864167" y="4221900"/>
                    </a:lnTo>
                    <a:lnTo>
                      <a:pt x="6859401" y="4212372"/>
                    </a:lnTo>
                    <a:lnTo>
                      <a:pt x="6859401" y="4202840"/>
                    </a:lnTo>
                    <a:lnTo>
                      <a:pt x="6854636" y="4198076"/>
                    </a:lnTo>
                    <a:lnTo>
                      <a:pt x="6849871" y="4198076"/>
                    </a:lnTo>
                    <a:lnTo>
                      <a:pt x="6854636" y="4221900"/>
                    </a:lnTo>
                    <a:lnTo>
                      <a:pt x="6859401" y="4236196"/>
                    </a:lnTo>
                    <a:lnTo>
                      <a:pt x="6864167" y="4264788"/>
                    </a:lnTo>
                    <a:lnTo>
                      <a:pt x="6873697" y="4283848"/>
                    </a:lnTo>
                    <a:lnTo>
                      <a:pt x="6878462" y="4302908"/>
                    </a:lnTo>
                    <a:lnTo>
                      <a:pt x="6945173" y="4474452"/>
                    </a:lnTo>
                    <a:lnTo>
                      <a:pt x="6964234" y="4498280"/>
                    </a:lnTo>
                    <a:lnTo>
                      <a:pt x="6968999" y="4512572"/>
                    </a:lnTo>
                    <a:lnTo>
                      <a:pt x="6973765" y="4545928"/>
                    </a:lnTo>
                    <a:lnTo>
                      <a:pt x="6973765" y="4584052"/>
                    </a:lnTo>
                    <a:lnTo>
                      <a:pt x="6964234" y="4660292"/>
                    </a:lnTo>
                    <a:lnTo>
                      <a:pt x="6964234" y="4712708"/>
                    </a:lnTo>
                    <a:lnTo>
                      <a:pt x="6959469" y="4712708"/>
                    </a:lnTo>
                    <a:lnTo>
                      <a:pt x="6959469" y="4707944"/>
                    </a:lnTo>
                    <a:lnTo>
                      <a:pt x="6949939" y="4731768"/>
                    </a:lnTo>
                    <a:lnTo>
                      <a:pt x="6935643" y="4750828"/>
                    </a:lnTo>
                    <a:lnTo>
                      <a:pt x="6930878" y="4784184"/>
                    </a:lnTo>
                    <a:lnTo>
                      <a:pt x="6926113" y="4798480"/>
                    </a:lnTo>
                    <a:lnTo>
                      <a:pt x="6907053" y="4817540"/>
                    </a:lnTo>
                    <a:lnTo>
                      <a:pt x="6897523" y="4817540"/>
                    </a:lnTo>
                    <a:lnTo>
                      <a:pt x="6868931" y="4831836"/>
                    </a:lnTo>
                    <a:lnTo>
                      <a:pt x="6845106" y="4827072"/>
                    </a:lnTo>
                    <a:lnTo>
                      <a:pt x="6826045" y="4836604"/>
                    </a:lnTo>
                    <a:lnTo>
                      <a:pt x="6806985" y="4831836"/>
                    </a:lnTo>
                    <a:lnTo>
                      <a:pt x="6797455" y="4817540"/>
                    </a:lnTo>
                    <a:lnTo>
                      <a:pt x="6802220" y="4812776"/>
                    </a:lnTo>
                    <a:lnTo>
                      <a:pt x="6802220" y="4803248"/>
                    </a:lnTo>
                    <a:lnTo>
                      <a:pt x="6811750" y="4803248"/>
                    </a:lnTo>
                    <a:lnTo>
                      <a:pt x="6830811" y="4817540"/>
                    </a:lnTo>
                    <a:lnTo>
                      <a:pt x="6835575" y="4812776"/>
                    </a:lnTo>
                    <a:lnTo>
                      <a:pt x="6830811" y="4803248"/>
                    </a:lnTo>
                    <a:lnTo>
                      <a:pt x="6816515" y="4798480"/>
                    </a:lnTo>
                    <a:lnTo>
                      <a:pt x="6806985" y="4793716"/>
                    </a:lnTo>
                    <a:lnTo>
                      <a:pt x="6792689" y="4755596"/>
                    </a:lnTo>
                    <a:lnTo>
                      <a:pt x="6773629" y="4731768"/>
                    </a:lnTo>
                    <a:lnTo>
                      <a:pt x="6768864" y="4712708"/>
                    </a:lnTo>
                    <a:lnTo>
                      <a:pt x="6735508" y="4703180"/>
                    </a:lnTo>
                    <a:lnTo>
                      <a:pt x="6716447" y="4688884"/>
                    </a:lnTo>
                    <a:lnTo>
                      <a:pt x="6697387" y="4660292"/>
                    </a:lnTo>
                    <a:lnTo>
                      <a:pt x="6692622" y="4607876"/>
                    </a:lnTo>
                    <a:lnTo>
                      <a:pt x="6678327" y="4603112"/>
                    </a:lnTo>
                    <a:lnTo>
                      <a:pt x="6678327" y="4598344"/>
                    </a:lnTo>
                    <a:lnTo>
                      <a:pt x="6687857" y="4579284"/>
                    </a:lnTo>
                    <a:lnTo>
                      <a:pt x="6697387" y="4564992"/>
                    </a:lnTo>
                    <a:lnTo>
                      <a:pt x="6687857" y="4569756"/>
                    </a:lnTo>
                    <a:lnTo>
                      <a:pt x="6683091" y="4574520"/>
                    </a:lnTo>
                    <a:lnTo>
                      <a:pt x="6673561" y="4588816"/>
                    </a:lnTo>
                    <a:lnTo>
                      <a:pt x="6668796" y="4588816"/>
                    </a:lnTo>
                    <a:lnTo>
                      <a:pt x="6664031" y="4588816"/>
                    </a:lnTo>
                    <a:lnTo>
                      <a:pt x="6659266" y="4560224"/>
                    </a:lnTo>
                    <a:lnTo>
                      <a:pt x="6659266" y="4531636"/>
                    </a:lnTo>
                    <a:lnTo>
                      <a:pt x="6668796" y="4517340"/>
                    </a:lnTo>
                    <a:lnTo>
                      <a:pt x="6654501" y="4517340"/>
                    </a:lnTo>
                    <a:lnTo>
                      <a:pt x="6640205" y="4522104"/>
                    </a:lnTo>
                    <a:lnTo>
                      <a:pt x="6644971" y="4531636"/>
                    </a:lnTo>
                    <a:lnTo>
                      <a:pt x="6640205" y="4536400"/>
                    </a:lnTo>
                    <a:lnTo>
                      <a:pt x="6630675" y="4536400"/>
                    </a:lnTo>
                    <a:lnTo>
                      <a:pt x="6625910" y="4531636"/>
                    </a:lnTo>
                    <a:lnTo>
                      <a:pt x="6616380" y="4522104"/>
                    </a:lnTo>
                    <a:lnTo>
                      <a:pt x="6602085" y="4498280"/>
                    </a:lnTo>
                    <a:lnTo>
                      <a:pt x="6573493" y="4441096"/>
                    </a:lnTo>
                    <a:lnTo>
                      <a:pt x="6568729" y="4431568"/>
                    </a:lnTo>
                    <a:lnTo>
                      <a:pt x="6559198" y="4422036"/>
                    </a:lnTo>
                    <a:lnTo>
                      <a:pt x="6563963" y="4422036"/>
                    </a:lnTo>
                    <a:lnTo>
                      <a:pt x="6568729" y="4417272"/>
                    </a:lnTo>
                    <a:lnTo>
                      <a:pt x="6587789" y="4393444"/>
                    </a:lnTo>
                    <a:lnTo>
                      <a:pt x="6602085" y="4374384"/>
                    </a:lnTo>
                    <a:lnTo>
                      <a:pt x="6606849" y="4364856"/>
                    </a:lnTo>
                    <a:lnTo>
                      <a:pt x="6606849" y="4360088"/>
                    </a:lnTo>
                    <a:lnTo>
                      <a:pt x="6602085" y="4350560"/>
                    </a:lnTo>
                    <a:lnTo>
                      <a:pt x="6592554" y="4360088"/>
                    </a:lnTo>
                    <a:lnTo>
                      <a:pt x="6587789" y="4355324"/>
                    </a:lnTo>
                    <a:lnTo>
                      <a:pt x="6578259" y="4341028"/>
                    </a:lnTo>
                    <a:lnTo>
                      <a:pt x="6568729" y="4336264"/>
                    </a:lnTo>
                    <a:lnTo>
                      <a:pt x="6563963" y="4341028"/>
                    </a:lnTo>
                    <a:lnTo>
                      <a:pt x="6568729" y="4350560"/>
                    </a:lnTo>
                    <a:lnTo>
                      <a:pt x="6578259" y="4355324"/>
                    </a:lnTo>
                    <a:lnTo>
                      <a:pt x="6573493" y="4374384"/>
                    </a:lnTo>
                    <a:lnTo>
                      <a:pt x="6573493" y="4379152"/>
                    </a:lnTo>
                    <a:lnTo>
                      <a:pt x="6568729" y="4383916"/>
                    </a:lnTo>
                    <a:lnTo>
                      <a:pt x="6559198" y="4379152"/>
                    </a:lnTo>
                    <a:lnTo>
                      <a:pt x="6554433" y="4383916"/>
                    </a:lnTo>
                    <a:lnTo>
                      <a:pt x="6549668" y="4379152"/>
                    </a:lnTo>
                    <a:lnTo>
                      <a:pt x="6544903" y="4374384"/>
                    </a:lnTo>
                    <a:lnTo>
                      <a:pt x="6540137" y="4360088"/>
                    </a:lnTo>
                    <a:lnTo>
                      <a:pt x="6554433" y="4293376"/>
                    </a:lnTo>
                    <a:lnTo>
                      <a:pt x="6568729" y="4245728"/>
                    </a:lnTo>
                    <a:lnTo>
                      <a:pt x="6568729" y="4198076"/>
                    </a:lnTo>
                    <a:lnTo>
                      <a:pt x="6568729" y="4188544"/>
                    </a:lnTo>
                    <a:lnTo>
                      <a:pt x="6568729" y="4179016"/>
                    </a:lnTo>
                    <a:lnTo>
                      <a:pt x="6549668" y="4145660"/>
                    </a:lnTo>
                    <a:lnTo>
                      <a:pt x="6468661" y="4074180"/>
                    </a:lnTo>
                    <a:lnTo>
                      <a:pt x="6406714" y="3988408"/>
                    </a:lnTo>
                    <a:lnTo>
                      <a:pt x="6349533" y="3959820"/>
                    </a:lnTo>
                    <a:lnTo>
                      <a:pt x="6311411" y="3964584"/>
                    </a:lnTo>
                    <a:lnTo>
                      <a:pt x="6301881" y="3974116"/>
                    </a:lnTo>
                    <a:lnTo>
                      <a:pt x="6297116" y="3978880"/>
                    </a:lnTo>
                    <a:lnTo>
                      <a:pt x="6301881" y="3988408"/>
                    </a:lnTo>
                    <a:lnTo>
                      <a:pt x="6297116" y="3993176"/>
                    </a:lnTo>
                    <a:lnTo>
                      <a:pt x="6287586" y="3993176"/>
                    </a:lnTo>
                    <a:lnTo>
                      <a:pt x="6273291" y="3993176"/>
                    </a:lnTo>
                    <a:lnTo>
                      <a:pt x="6230405" y="4017000"/>
                    </a:lnTo>
                    <a:lnTo>
                      <a:pt x="6216109" y="4017000"/>
                    </a:lnTo>
                    <a:lnTo>
                      <a:pt x="6206579" y="4021764"/>
                    </a:lnTo>
                    <a:lnTo>
                      <a:pt x="6197049" y="4026532"/>
                    </a:lnTo>
                    <a:lnTo>
                      <a:pt x="6173223" y="4031296"/>
                    </a:lnTo>
                    <a:lnTo>
                      <a:pt x="6149397" y="4036060"/>
                    </a:lnTo>
                    <a:lnTo>
                      <a:pt x="6139867" y="4031296"/>
                    </a:lnTo>
                    <a:lnTo>
                      <a:pt x="6135102" y="4017000"/>
                    </a:lnTo>
                    <a:lnTo>
                      <a:pt x="6135102" y="4007472"/>
                    </a:lnTo>
                    <a:lnTo>
                      <a:pt x="6139867" y="4017000"/>
                    </a:lnTo>
                    <a:lnTo>
                      <a:pt x="6149397" y="4021764"/>
                    </a:lnTo>
                    <a:lnTo>
                      <a:pt x="6154163" y="4021764"/>
                    </a:lnTo>
                    <a:lnTo>
                      <a:pt x="6154163" y="4012236"/>
                    </a:lnTo>
                    <a:lnTo>
                      <a:pt x="6144632" y="3997940"/>
                    </a:lnTo>
                    <a:lnTo>
                      <a:pt x="6120807" y="3983644"/>
                    </a:lnTo>
                    <a:lnTo>
                      <a:pt x="6096981" y="3955052"/>
                    </a:lnTo>
                    <a:lnTo>
                      <a:pt x="6101746" y="3955052"/>
                    </a:lnTo>
                    <a:lnTo>
                      <a:pt x="6106511" y="3950288"/>
                    </a:lnTo>
                    <a:lnTo>
                      <a:pt x="6096981" y="3945524"/>
                    </a:lnTo>
                    <a:lnTo>
                      <a:pt x="6101746" y="3935992"/>
                    </a:lnTo>
                    <a:lnTo>
                      <a:pt x="6106511" y="3926464"/>
                    </a:lnTo>
                    <a:lnTo>
                      <a:pt x="6096981" y="3926464"/>
                    </a:lnTo>
                    <a:lnTo>
                      <a:pt x="6087451" y="3931228"/>
                    </a:lnTo>
                    <a:lnTo>
                      <a:pt x="6087451" y="3940760"/>
                    </a:lnTo>
                    <a:lnTo>
                      <a:pt x="6082685" y="3945524"/>
                    </a:lnTo>
                    <a:lnTo>
                      <a:pt x="6077921" y="3945524"/>
                    </a:lnTo>
                    <a:lnTo>
                      <a:pt x="6068390" y="3935992"/>
                    </a:lnTo>
                    <a:lnTo>
                      <a:pt x="6018357" y="3916932"/>
                    </a:lnTo>
                    <a:lnTo>
                      <a:pt x="5975470" y="3907404"/>
                    </a:lnTo>
                    <a:lnTo>
                      <a:pt x="6008826" y="3897872"/>
                    </a:lnTo>
                    <a:lnTo>
                      <a:pt x="6027887" y="3902636"/>
                    </a:lnTo>
                    <a:lnTo>
                      <a:pt x="6027887" y="3897872"/>
                    </a:lnTo>
                    <a:lnTo>
                      <a:pt x="6023121" y="3893108"/>
                    </a:lnTo>
                    <a:lnTo>
                      <a:pt x="6008826" y="3888340"/>
                    </a:lnTo>
                    <a:lnTo>
                      <a:pt x="5989765" y="3888340"/>
                    </a:lnTo>
                    <a:lnTo>
                      <a:pt x="5975470" y="3888340"/>
                    </a:lnTo>
                    <a:lnTo>
                      <a:pt x="5965940" y="3893108"/>
                    </a:lnTo>
                    <a:lnTo>
                      <a:pt x="5951645" y="3897872"/>
                    </a:lnTo>
                    <a:lnTo>
                      <a:pt x="5942114" y="3902636"/>
                    </a:lnTo>
                    <a:lnTo>
                      <a:pt x="5894463" y="3912168"/>
                    </a:lnTo>
                    <a:lnTo>
                      <a:pt x="5861107" y="3916932"/>
                    </a:lnTo>
                    <a:lnTo>
                      <a:pt x="5865872" y="3907404"/>
                    </a:lnTo>
                    <a:lnTo>
                      <a:pt x="5870637" y="3907404"/>
                    </a:lnTo>
                    <a:lnTo>
                      <a:pt x="5894463" y="3897872"/>
                    </a:lnTo>
                    <a:lnTo>
                      <a:pt x="5894463" y="3888340"/>
                    </a:lnTo>
                    <a:lnTo>
                      <a:pt x="5889698" y="3874048"/>
                    </a:lnTo>
                    <a:lnTo>
                      <a:pt x="5884933" y="3878812"/>
                    </a:lnTo>
                    <a:lnTo>
                      <a:pt x="5880167" y="3888340"/>
                    </a:lnTo>
                    <a:lnTo>
                      <a:pt x="5870637" y="3878812"/>
                    </a:lnTo>
                    <a:lnTo>
                      <a:pt x="5865872" y="3878812"/>
                    </a:lnTo>
                    <a:lnTo>
                      <a:pt x="5861107" y="3893108"/>
                    </a:lnTo>
                    <a:lnTo>
                      <a:pt x="5851577" y="3907404"/>
                    </a:lnTo>
                    <a:lnTo>
                      <a:pt x="5846811" y="3916932"/>
                    </a:lnTo>
                    <a:lnTo>
                      <a:pt x="5818221" y="3926464"/>
                    </a:lnTo>
                    <a:lnTo>
                      <a:pt x="5813456" y="3921696"/>
                    </a:lnTo>
                    <a:lnTo>
                      <a:pt x="5822986" y="3912168"/>
                    </a:lnTo>
                    <a:lnTo>
                      <a:pt x="5822986" y="3907404"/>
                    </a:lnTo>
                    <a:lnTo>
                      <a:pt x="5808691" y="3912168"/>
                    </a:lnTo>
                    <a:lnTo>
                      <a:pt x="5794395" y="3931228"/>
                    </a:lnTo>
                    <a:lnTo>
                      <a:pt x="5732449" y="3935992"/>
                    </a:lnTo>
                    <a:lnTo>
                      <a:pt x="5737213" y="3931228"/>
                    </a:lnTo>
                    <a:lnTo>
                      <a:pt x="5751509" y="3931228"/>
                    </a:lnTo>
                    <a:lnTo>
                      <a:pt x="5765805" y="3926464"/>
                    </a:lnTo>
                    <a:lnTo>
                      <a:pt x="5765805" y="3912168"/>
                    </a:lnTo>
                    <a:lnTo>
                      <a:pt x="5756274" y="3902636"/>
                    </a:lnTo>
                    <a:lnTo>
                      <a:pt x="5751509" y="3902636"/>
                    </a:lnTo>
                    <a:lnTo>
                      <a:pt x="5746744" y="3897872"/>
                    </a:lnTo>
                    <a:lnTo>
                      <a:pt x="5746744" y="3874048"/>
                    </a:lnTo>
                    <a:lnTo>
                      <a:pt x="5741979" y="3864516"/>
                    </a:lnTo>
                    <a:lnTo>
                      <a:pt x="5732449" y="3850220"/>
                    </a:lnTo>
                    <a:lnTo>
                      <a:pt x="5727683" y="3854984"/>
                    </a:lnTo>
                    <a:lnTo>
                      <a:pt x="5722919" y="3874048"/>
                    </a:lnTo>
                    <a:lnTo>
                      <a:pt x="5718153" y="3902636"/>
                    </a:lnTo>
                    <a:lnTo>
                      <a:pt x="5713388" y="3912168"/>
                    </a:lnTo>
                    <a:lnTo>
                      <a:pt x="5694327" y="3912168"/>
                    </a:lnTo>
                    <a:lnTo>
                      <a:pt x="5680032" y="3907404"/>
                    </a:lnTo>
                    <a:lnTo>
                      <a:pt x="5627616" y="3912168"/>
                    </a:lnTo>
                    <a:lnTo>
                      <a:pt x="5608555" y="3902636"/>
                    </a:lnTo>
                    <a:lnTo>
                      <a:pt x="5599025" y="3902636"/>
                    </a:lnTo>
                    <a:lnTo>
                      <a:pt x="5594260" y="3902636"/>
                    </a:lnTo>
                    <a:lnTo>
                      <a:pt x="5570435" y="3912168"/>
                    </a:lnTo>
                    <a:lnTo>
                      <a:pt x="5541843" y="3916932"/>
                    </a:lnTo>
                    <a:lnTo>
                      <a:pt x="5537079" y="3916932"/>
                    </a:lnTo>
                    <a:lnTo>
                      <a:pt x="5527548" y="3916932"/>
                    </a:lnTo>
                    <a:lnTo>
                      <a:pt x="5508487" y="3935992"/>
                    </a:lnTo>
                    <a:lnTo>
                      <a:pt x="5484662" y="3945524"/>
                    </a:lnTo>
                    <a:lnTo>
                      <a:pt x="5427481" y="3926464"/>
                    </a:lnTo>
                    <a:lnTo>
                      <a:pt x="5413185" y="3912168"/>
                    </a:lnTo>
                    <a:lnTo>
                      <a:pt x="5403655" y="3912168"/>
                    </a:lnTo>
                    <a:lnTo>
                      <a:pt x="5389359" y="3907404"/>
                    </a:lnTo>
                    <a:lnTo>
                      <a:pt x="5370299" y="3926464"/>
                    </a:lnTo>
                    <a:lnTo>
                      <a:pt x="5356003" y="3950288"/>
                    </a:lnTo>
                    <a:lnTo>
                      <a:pt x="5379829" y="3964584"/>
                    </a:lnTo>
                    <a:lnTo>
                      <a:pt x="5394125" y="3974116"/>
                    </a:lnTo>
                    <a:lnTo>
                      <a:pt x="5422715" y="3964584"/>
                    </a:lnTo>
                    <a:lnTo>
                      <a:pt x="5437011" y="3955052"/>
                    </a:lnTo>
                    <a:lnTo>
                      <a:pt x="5451306" y="3955052"/>
                    </a:lnTo>
                    <a:lnTo>
                      <a:pt x="5456071" y="3950288"/>
                    </a:lnTo>
                    <a:lnTo>
                      <a:pt x="5460837" y="3945524"/>
                    </a:lnTo>
                    <a:lnTo>
                      <a:pt x="5475131" y="3950288"/>
                    </a:lnTo>
                    <a:lnTo>
                      <a:pt x="5475131" y="3955052"/>
                    </a:lnTo>
                    <a:lnTo>
                      <a:pt x="5465601" y="3964584"/>
                    </a:lnTo>
                    <a:lnTo>
                      <a:pt x="5456071" y="3969348"/>
                    </a:lnTo>
                    <a:lnTo>
                      <a:pt x="5451306" y="3974116"/>
                    </a:lnTo>
                    <a:lnTo>
                      <a:pt x="5460837" y="3988408"/>
                    </a:lnTo>
                    <a:lnTo>
                      <a:pt x="5479897" y="3993176"/>
                    </a:lnTo>
                    <a:lnTo>
                      <a:pt x="5484662" y="3993176"/>
                    </a:lnTo>
                    <a:lnTo>
                      <a:pt x="5489427" y="3974116"/>
                    </a:lnTo>
                    <a:lnTo>
                      <a:pt x="5498957" y="3964584"/>
                    </a:lnTo>
                    <a:lnTo>
                      <a:pt x="5518018" y="3969348"/>
                    </a:lnTo>
                    <a:lnTo>
                      <a:pt x="5513253" y="3974116"/>
                    </a:lnTo>
                    <a:lnTo>
                      <a:pt x="5518018" y="3983644"/>
                    </a:lnTo>
                    <a:lnTo>
                      <a:pt x="5522783" y="3993176"/>
                    </a:lnTo>
                    <a:lnTo>
                      <a:pt x="5522783" y="4007472"/>
                    </a:lnTo>
                    <a:lnTo>
                      <a:pt x="5508487" y="4017000"/>
                    </a:lnTo>
                    <a:lnTo>
                      <a:pt x="5494192" y="4017000"/>
                    </a:lnTo>
                    <a:lnTo>
                      <a:pt x="5484662" y="4026532"/>
                    </a:lnTo>
                    <a:lnTo>
                      <a:pt x="5489427" y="4031296"/>
                    </a:lnTo>
                    <a:lnTo>
                      <a:pt x="5479897" y="4036060"/>
                    </a:lnTo>
                    <a:lnTo>
                      <a:pt x="5475131" y="4036060"/>
                    </a:lnTo>
                    <a:lnTo>
                      <a:pt x="5470367" y="4036060"/>
                    </a:lnTo>
                    <a:lnTo>
                      <a:pt x="5470367" y="4040824"/>
                    </a:lnTo>
                    <a:lnTo>
                      <a:pt x="5465601" y="4045592"/>
                    </a:lnTo>
                    <a:lnTo>
                      <a:pt x="5475131" y="4059888"/>
                    </a:lnTo>
                    <a:lnTo>
                      <a:pt x="5489427" y="4069416"/>
                    </a:lnTo>
                    <a:lnTo>
                      <a:pt x="5498957" y="4083712"/>
                    </a:lnTo>
                    <a:lnTo>
                      <a:pt x="5541843" y="4098008"/>
                    </a:lnTo>
                    <a:lnTo>
                      <a:pt x="5551373" y="4098008"/>
                    </a:lnTo>
                    <a:lnTo>
                      <a:pt x="5560904" y="4112304"/>
                    </a:lnTo>
                    <a:lnTo>
                      <a:pt x="5570435" y="4117068"/>
                    </a:lnTo>
                    <a:lnTo>
                      <a:pt x="5575199" y="4121832"/>
                    </a:lnTo>
                    <a:lnTo>
                      <a:pt x="5575199" y="4131364"/>
                    </a:lnTo>
                    <a:lnTo>
                      <a:pt x="5560904" y="4140892"/>
                    </a:lnTo>
                    <a:lnTo>
                      <a:pt x="5556139" y="4150424"/>
                    </a:lnTo>
                    <a:lnTo>
                      <a:pt x="5556139" y="4155188"/>
                    </a:lnTo>
                    <a:lnTo>
                      <a:pt x="5546609" y="4145660"/>
                    </a:lnTo>
                    <a:lnTo>
                      <a:pt x="5541843" y="4140892"/>
                    </a:lnTo>
                    <a:lnTo>
                      <a:pt x="5527548" y="4155188"/>
                    </a:lnTo>
                    <a:lnTo>
                      <a:pt x="5522783" y="4159956"/>
                    </a:lnTo>
                    <a:lnTo>
                      <a:pt x="5522783" y="4145660"/>
                    </a:lnTo>
                    <a:lnTo>
                      <a:pt x="5518018" y="4136128"/>
                    </a:lnTo>
                    <a:lnTo>
                      <a:pt x="5508487" y="4121832"/>
                    </a:lnTo>
                    <a:lnTo>
                      <a:pt x="5498957" y="4112304"/>
                    </a:lnTo>
                    <a:lnTo>
                      <a:pt x="5489427" y="4107536"/>
                    </a:lnTo>
                    <a:lnTo>
                      <a:pt x="5479897" y="4102772"/>
                    </a:lnTo>
                    <a:lnTo>
                      <a:pt x="5475131" y="4098008"/>
                    </a:lnTo>
                    <a:lnTo>
                      <a:pt x="5465601" y="4102772"/>
                    </a:lnTo>
                    <a:lnTo>
                      <a:pt x="5456071" y="4098008"/>
                    </a:lnTo>
                    <a:lnTo>
                      <a:pt x="5456071" y="4088476"/>
                    </a:lnTo>
                    <a:lnTo>
                      <a:pt x="5451306" y="4083712"/>
                    </a:lnTo>
                    <a:lnTo>
                      <a:pt x="5441776" y="4074180"/>
                    </a:lnTo>
                    <a:lnTo>
                      <a:pt x="5398889" y="4059888"/>
                    </a:lnTo>
                    <a:lnTo>
                      <a:pt x="5398889" y="4064652"/>
                    </a:lnTo>
                    <a:lnTo>
                      <a:pt x="5398889" y="4069416"/>
                    </a:lnTo>
                    <a:lnTo>
                      <a:pt x="5408420" y="4074180"/>
                    </a:lnTo>
                    <a:lnTo>
                      <a:pt x="5413185" y="4078948"/>
                    </a:lnTo>
                    <a:lnTo>
                      <a:pt x="5413185" y="4098008"/>
                    </a:lnTo>
                    <a:lnTo>
                      <a:pt x="5413185" y="4102772"/>
                    </a:lnTo>
                    <a:lnTo>
                      <a:pt x="5408420" y="4112304"/>
                    </a:lnTo>
                    <a:lnTo>
                      <a:pt x="5408420" y="4121832"/>
                    </a:lnTo>
                    <a:lnTo>
                      <a:pt x="5398889" y="4131364"/>
                    </a:lnTo>
                    <a:lnTo>
                      <a:pt x="5389359" y="4136128"/>
                    </a:lnTo>
                    <a:lnTo>
                      <a:pt x="5384595" y="4131364"/>
                    </a:lnTo>
                    <a:lnTo>
                      <a:pt x="5375064" y="4112304"/>
                    </a:lnTo>
                    <a:lnTo>
                      <a:pt x="5365534" y="4102772"/>
                    </a:lnTo>
                    <a:lnTo>
                      <a:pt x="5341708" y="4102772"/>
                    </a:lnTo>
                    <a:lnTo>
                      <a:pt x="5332178" y="4107536"/>
                    </a:lnTo>
                    <a:lnTo>
                      <a:pt x="5317883" y="4131364"/>
                    </a:lnTo>
                    <a:lnTo>
                      <a:pt x="5303587" y="4131364"/>
                    </a:lnTo>
                    <a:lnTo>
                      <a:pt x="5265466" y="4121832"/>
                    </a:lnTo>
                    <a:lnTo>
                      <a:pt x="5222580" y="4102772"/>
                    </a:lnTo>
                    <a:lnTo>
                      <a:pt x="5222580" y="4098008"/>
                    </a:lnTo>
                    <a:lnTo>
                      <a:pt x="5227345" y="4098008"/>
                    </a:lnTo>
                    <a:lnTo>
                      <a:pt x="5241641" y="4098008"/>
                    </a:lnTo>
                    <a:lnTo>
                      <a:pt x="5241641" y="4093244"/>
                    </a:lnTo>
                    <a:lnTo>
                      <a:pt x="5227345" y="4074180"/>
                    </a:lnTo>
                    <a:lnTo>
                      <a:pt x="5227345" y="4064652"/>
                    </a:lnTo>
                    <a:lnTo>
                      <a:pt x="5227345" y="4055120"/>
                    </a:lnTo>
                    <a:lnTo>
                      <a:pt x="5222580" y="4055120"/>
                    </a:lnTo>
                    <a:lnTo>
                      <a:pt x="5213049" y="4064652"/>
                    </a:lnTo>
                    <a:lnTo>
                      <a:pt x="5184459" y="4055120"/>
                    </a:lnTo>
                    <a:lnTo>
                      <a:pt x="5179694" y="4050356"/>
                    </a:lnTo>
                    <a:lnTo>
                      <a:pt x="5160633" y="4021764"/>
                    </a:lnTo>
                    <a:lnTo>
                      <a:pt x="5136807" y="4021764"/>
                    </a:lnTo>
                    <a:lnTo>
                      <a:pt x="5127277" y="4007472"/>
                    </a:lnTo>
                    <a:lnTo>
                      <a:pt x="5108217" y="4012236"/>
                    </a:lnTo>
                    <a:lnTo>
                      <a:pt x="5098687" y="4021764"/>
                    </a:lnTo>
                    <a:lnTo>
                      <a:pt x="5089157" y="4031296"/>
                    </a:lnTo>
                    <a:lnTo>
                      <a:pt x="5093921" y="4036060"/>
                    </a:lnTo>
                    <a:lnTo>
                      <a:pt x="5098687" y="4045592"/>
                    </a:lnTo>
                    <a:lnTo>
                      <a:pt x="5098687" y="4050356"/>
                    </a:lnTo>
                    <a:lnTo>
                      <a:pt x="5070096" y="4055120"/>
                    </a:lnTo>
                    <a:lnTo>
                      <a:pt x="5003384" y="4050356"/>
                    </a:lnTo>
                    <a:lnTo>
                      <a:pt x="4984323" y="4040824"/>
                    </a:lnTo>
                    <a:lnTo>
                      <a:pt x="4960498" y="4026532"/>
                    </a:lnTo>
                    <a:lnTo>
                      <a:pt x="4927142" y="4017000"/>
                    </a:lnTo>
                    <a:lnTo>
                      <a:pt x="4908081" y="4017000"/>
                    </a:lnTo>
                    <a:lnTo>
                      <a:pt x="4893786" y="4017000"/>
                    </a:lnTo>
                    <a:lnTo>
                      <a:pt x="4846135" y="4017000"/>
                    </a:lnTo>
                    <a:lnTo>
                      <a:pt x="4831839" y="4021764"/>
                    </a:lnTo>
                    <a:lnTo>
                      <a:pt x="4827075" y="4026532"/>
                    </a:lnTo>
                    <a:lnTo>
                      <a:pt x="4817544" y="4021764"/>
                    </a:lnTo>
                    <a:lnTo>
                      <a:pt x="4817544" y="4012236"/>
                    </a:lnTo>
                    <a:lnTo>
                      <a:pt x="4822309" y="4007472"/>
                    </a:lnTo>
                    <a:lnTo>
                      <a:pt x="4827075" y="4002704"/>
                    </a:lnTo>
                    <a:lnTo>
                      <a:pt x="4831839" y="3993176"/>
                    </a:lnTo>
                    <a:lnTo>
                      <a:pt x="4831839" y="3983644"/>
                    </a:lnTo>
                    <a:lnTo>
                      <a:pt x="4822309" y="3978880"/>
                    </a:lnTo>
                    <a:lnTo>
                      <a:pt x="4808014" y="4012236"/>
                    </a:lnTo>
                    <a:lnTo>
                      <a:pt x="4817544" y="4026532"/>
                    </a:lnTo>
                    <a:lnTo>
                      <a:pt x="4817544" y="4031296"/>
                    </a:lnTo>
                    <a:lnTo>
                      <a:pt x="4784188" y="4036060"/>
                    </a:lnTo>
                    <a:lnTo>
                      <a:pt x="4707946" y="4069416"/>
                    </a:lnTo>
                    <a:lnTo>
                      <a:pt x="4679355" y="4088476"/>
                    </a:lnTo>
                    <a:lnTo>
                      <a:pt x="4679355" y="4083712"/>
                    </a:lnTo>
                    <a:lnTo>
                      <a:pt x="4717477" y="4059888"/>
                    </a:lnTo>
                    <a:lnTo>
                      <a:pt x="4703181" y="4055120"/>
                    </a:lnTo>
                    <a:lnTo>
                      <a:pt x="4684121" y="4059888"/>
                    </a:lnTo>
                    <a:lnTo>
                      <a:pt x="4674591" y="4059888"/>
                    </a:lnTo>
                    <a:lnTo>
                      <a:pt x="4684121" y="4040824"/>
                    </a:lnTo>
                    <a:lnTo>
                      <a:pt x="4684121" y="4021764"/>
                    </a:lnTo>
                    <a:lnTo>
                      <a:pt x="4669825" y="4021764"/>
                    </a:lnTo>
                    <a:lnTo>
                      <a:pt x="4660295" y="4036060"/>
                    </a:lnTo>
                    <a:lnTo>
                      <a:pt x="4650765" y="4036060"/>
                    </a:lnTo>
                    <a:lnTo>
                      <a:pt x="4645999" y="4026532"/>
                    </a:lnTo>
                    <a:lnTo>
                      <a:pt x="4636469" y="4031296"/>
                    </a:lnTo>
                    <a:lnTo>
                      <a:pt x="4641235" y="4059888"/>
                    </a:lnTo>
                    <a:lnTo>
                      <a:pt x="4650765" y="4074180"/>
                    </a:lnTo>
                    <a:lnTo>
                      <a:pt x="4660295" y="4088476"/>
                    </a:lnTo>
                    <a:lnTo>
                      <a:pt x="4636469" y="4112304"/>
                    </a:lnTo>
                    <a:lnTo>
                      <a:pt x="4622174" y="4126600"/>
                    </a:lnTo>
                    <a:lnTo>
                      <a:pt x="4617409" y="4140892"/>
                    </a:lnTo>
                    <a:lnTo>
                      <a:pt x="4598348" y="4164720"/>
                    </a:lnTo>
                    <a:lnTo>
                      <a:pt x="4579287" y="4174248"/>
                    </a:lnTo>
                    <a:lnTo>
                      <a:pt x="4541167" y="4202840"/>
                    </a:lnTo>
                    <a:lnTo>
                      <a:pt x="4526871" y="4207604"/>
                    </a:lnTo>
                    <a:lnTo>
                      <a:pt x="4507811" y="4221900"/>
                    </a:lnTo>
                    <a:lnTo>
                      <a:pt x="4483985" y="4231432"/>
                    </a:lnTo>
                    <a:lnTo>
                      <a:pt x="4455395" y="4245728"/>
                    </a:lnTo>
                    <a:lnTo>
                      <a:pt x="4450629" y="4245728"/>
                    </a:lnTo>
                    <a:lnTo>
                      <a:pt x="4464925" y="4236196"/>
                    </a:lnTo>
                    <a:lnTo>
                      <a:pt x="4483985" y="4221900"/>
                    </a:lnTo>
                    <a:lnTo>
                      <a:pt x="4469690" y="4221900"/>
                    </a:lnTo>
                    <a:lnTo>
                      <a:pt x="4441099" y="4217136"/>
                    </a:lnTo>
                    <a:lnTo>
                      <a:pt x="4426803" y="4217136"/>
                    </a:lnTo>
                    <a:lnTo>
                      <a:pt x="4426803" y="4221900"/>
                    </a:lnTo>
                    <a:lnTo>
                      <a:pt x="4417273" y="4226664"/>
                    </a:lnTo>
                    <a:lnTo>
                      <a:pt x="4402978" y="4217136"/>
                    </a:lnTo>
                    <a:lnTo>
                      <a:pt x="4398213" y="4212372"/>
                    </a:lnTo>
                    <a:lnTo>
                      <a:pt x="4393447" y="4207604"/>
                    </a:lnTo>
                    <a:lnTo>
                      <a:pt x="4388683" y="4207604"/>
                    </a:lnTo>
                    <a:lnTo>
                      <a:pt x="4383917" y="4207604"/>
                    </a:lnTo>
                    <a:lnTo>
                      <a:pt x="4402978" y="4245728"/>
                    </a:lnTo>
                    <a:lnTo>
                      <a:pt x="4412508" y="4250492"/>
                    </a:lnTo>
                    <a:lnTo>
                      <a:pt x="4417273" y="4255256"/>
                    </a:lnTo>
                    <a:lnTo>
                      <a:pt x="4407743" y="4260020"/>
                    </a:lnTo>
                    <a:lnTo>
                      <a:pt x="4398213" y="4269552"/>
                    </a:lnTo>
                    <a:lnTo>
                      <a:pt x="4379153" y="4274316"/>
                    </a:lnTo>
                    <a:lnTo>
                      <a:pt x="4364857" y="4260020"/>
                    </a:lnTo>
                    <a:lnTo>
                      <a:pt x="4360092" y="4279084"/>
                    </a:lnTo>
                    <a:lnTo>
                      <a:pt x="4360092" y="4293376"/>
                    </a:lnTo>
                    <a:lnTo>
                      <a:pt x="4355327" y="4298144"/>
                    </a:lnTo>
                    <a:lnTo>
                      <a:pt x="4345797" y="4307672"/>
                    </a:lnTo>
                    <a:lnTo>
                      <a:pt x="4341031" y="4302908"/>
                    </a:lnTo>
                    <a:lnTo>
                      <a:pt x="4341031" y="4293376"/>
                    </a:lnTo>
                    <a:lnTo>
                      <a:pt x="4336266" y="4302908"/>
                    </a:lnTo>
                    <a:lnTo>
                      <a:pt x="4326736" y="4302908"/>
                    </a:lnTo>
                    <a:lnTo>
                      <a:pt x="4312441" y="4307672"/>
                    </a:lnTo>
                    <a:lnTo>
                      <a:pt x="4302911" y="4307672"/>
                    </a:lnTo>
                    <a:lnTo>
                      <a:pt x="4302911" y="4317204"/>
                    </a:lnTo>
                    <a:lnTo>
                      <a:pt x="4307675" y="4321968"/>
                    </a:lnTo>
                    <a:lnTo>
                      <a:pt x="4321971" y="4317204"/>
                    </a:lnTo>
                    <a:lnTo>
                      <a:pt x="4317205" y="4336264"/>
                    </a:lnTo>
                    <a:lnTo>
                      <a:pt x="4302911" y="4355324"/>
                    </a:lnTo>
                    <a:lnTo>
                      <a:pt x="4288615" y="4360088"/>
                    </a:lnTo>
                    <a:lnTo>
                      <a:pt x="4269555" y="4355324"/>
                    </a:lnTo>
                    <a:lnTo>
                      <a:pt x="4264789" y="4360088"/>
                    </a:lnTo>
                    <a:lnTo>
                      <a:pt x="4260024" y="4364856"/>
                    </a:lnTo>
                    <a:lnTo>
                      <a:pt x="4283850" y="4393444"/>
                    </a:lnTo>
                    <a:lnTo>
                      <a:pt x="4269555" y="4436332"/>
                    </a:lnTo>
                    <a:lnTo>
                      <a:pt x="4260024" y="4450628"/>
                    </a:lnTo>
                    <a:lnTo>
                      <a:pt x="4255259" y="4455392"/>
                    </a:lnTo>
                    <a:lnTo>
                      <a:pt x="4245729" y="4455392"/>
                    </a:lnTo>
                    <a:lnTo>
                      <a:pt x="4221903" y="4441096"/>
                    </a:lnTo>
                    <a:lnTo>
                      <a:pt x="4207607" y="4431568"/>
                    </a:lnTo>
                    <a:lnTo>
                      <a:pt x="4221903" y="4460156"/>
                    </a:lnTo>
                    <a:lnTo>
                      <a:pt x="4255259" y="4469688"/>
                    </a:lnTo>
                    <a:lnTo>
                      <a:pt x="4255259" y="4479216"/>
                    </a:lnTo>
                    <a:lnTo>
                      <a:pt x="4255259" y="4488748"/>
                    </a:lnTo>
                    <a:lnTo>
                      <a:pt x="4250494" y="4503044"/>
                    </a:lnTo>
                    <a:lnTo>
                      <a:pt x="4240963" y="4517340"/>
                    </a:lnTo>
                    <a:lnTo>
                      <a:pt x="4245729" y="4526868"/>
                    </a:lnTo>
                    <a:lnTo>
                      <a:pt x="4250494" y="4550696"/>
                    </a:lnTo>
                    <a:lnTo>
                      <a:pt x="4255259" y="4564992"/>
                    </a:lnTo>
                    <a:lnTo>
                      <a:pt x="4260024" y="4598344"/>
                    </a:lnTo>
                    <a:lnTo>
                      <a:pt x="4264789" y="4617408"/>
                    </a:lnTo>
                    <a:lnTo>
                      <a:pt x="4298145" y="4674588"/>
                    </a:lnTo>
                    <a:lnTo>
                      <a:pt x="4307675" y="4674588"/>
                    </a:lnTo>
                    <a:lnTo>
                      <a:pt x="4307675" y="4679352"/>
                    </a:lnTo>
                    <a:lnTo>
                      <a:pt x="4307675" y="4693648"/>
                    </a:lnTo>
                    <a:lnTo>
                      <a:pt x="4283850" y="4693648"/>
                    </a:lnTo>
                    <a:lnTo>
                      <a:pt x="4274319" y="4698412"/>
                    </a:lnTo>
                    <a:lnTo>
                      <a:pt x="4274319" y="4703180"/>
                    </a:lnTo>
                    <a:lnTo>
                      <a:pt x="4274319" y="4707944"/>
                    </a:lnTo>
                    <a:lnTo>
                      <a:pt x="4269555" y="4707944"/>
                    </a:lnTo>
                    <a:lnTo>
                      <a:pt x="4260024" y="4703180"/>
                    </a:lnTo>
                    <a:lnTo>
                      <a:pt x="4236199" y="4688884"/>
                    </a:lnTo>
                    <a:lnTo>
                      <a:pt x="4202843" y="4679352"/>
                    </a:lnTo>
                    <a:lnTo>
                      <a:pt x="4159957" y="4674588"/>
                    </a:lnTo>
                    <a:lnTo>
                      <a:pt x="4131366" y="4665056"/>
                    </a:lnTo>
                    <a:lnTo>
                      <a:pt x="4112305" y="4655528"/>
                    </a:lnTo>
                    <a:lnTo>
                      <a:pt x="4098010" y="4645996"/>
                    </a:lnTo>
                    <a:lnTo>
                      <a:pt x="4078949" y="4641232"/>
                    </a:lnTo>
                    <a:lnTo>
                      <a:pt x="4064654" y="4636468"/>
                    </a:lnTo>
                    <a:lnTo>
                      <a:pt x="4055124" y="4626936"/>
                    </a:lnTo>
                    <a:lnTo>
                      <a:pt x="4036063" y="4617408"/>
                    </a:lnTo>
                    <a:lnTo>
                      <a:pt x="4017003" y="4617408"/>
                    </a:lnTo>
                    <a:lnTo>
                      <a:pt x="3997942" y="4607876"/>
                    </a:lnTo>
                    <a:lnTo>
                      <a:pt x="3988412" y="4588816"/>
                    </a:lnTo>
                    <a:lnTo>
                      <a:pt x="3978881" y="4550696"/>
                    </a:lnTo>
                    <a:lnTo>
                      <a:pt x="3969351" y="4531636"/>
                    </a:lnTo>
                    <a:lnTo>
                      <a:pt x="3945526" y="4503044"/>
                    </a:lnTo>
                    <a:lnTo>
                      <a:pt x="3945526" y="4498280"/>
                    </a:lnTo>
                    <a:lnTo>
                      <a:pt x="3950291" y="4479216"/>
                    </a:lnTo>
                    <a:lnTo>
                      <a:pt x="3945526" y="4469688"/>
                    </a:lnTo>
                    <a:lnTo>
                      <a:pt x="3940761" y="4460156"/>
                    </a:lnTo>
                    <a:lnTo>
                      <a:pt x="3935995" y="4450628"/>
                    </a:lnTo>
                    <a:lnTo>
                      <a:pt x="3940761" y="4441096"/>
                    </a:lnTo>
                    <a:lnTo>
                      <a:pt x="3940761" y="4426800"/>
                    </a:lnTo>
                    <a:lnTo>
                      <a:pt x="3935995" y="4412504"/>
                    </a:lnTo>
                    <a:lnTo>
                      <a:pt x="3921700" y="4398212"/>
                    </a:lnTo>
                    <a:lnTo>
                      <a:pt x="3897875" y="4383916"/>
                    </a:lnTo>
                    <a:lnTo>
                      <a:pt x="3878814" y="4360088"/>
                    </a:lnTo>
                    <a:lnTo>
                      <a:pt x="3859753" y="4326732"/>
                    </a:lnTo>
                    <a:lnTo>
                      <a:pt x="3845458" y="4302908"/>
                    </a:lnTo>
                    <a:lnTo>
                      <a:pt x="3826397" y="4293376"/>
                    </a:lnTo>
                    <a:lnTo>
                      <a:pt x="3812102" y="4274316"/>
                    </a:lnTo>
                    <a:lnTo>
                      <a:pt x="3807337" y="4260020"/>
                    </a:lnTo>
                    <a:lnTo>
                      <a:pt x="3807337" y="4245728"/>
                    </a:lnTo>
                    <a:lnTo>
                      <a:pt x="3797807" y="4226664"/>
                    </a:lnTo>
                    <a:lnTo>
                      <a:pt x="3773981" y="4188544"/>
                    </a:lnTo>
                    <a:lnTo>
                      <a:pt x="3759686" y="4159956"/>
                    </a:lnTo>
                    <a:lnTo>
                      <a:pt x="3759686" y="4145660"/>
                    </a:lnTo>
                    <a:lnTo>
                      <a:pt x="3745390" y="4121832"/>
                    </a:lnTo>
                    <a:lnTo>
                      <a:pt x="3716799" y="4102772"/>
                    </a:lnTo>
                    <a:lnTo>
                      <a:pt x="3702504" y="4083712"/>
                    </a:lnTo>
                    <a:lnTo>
                      <a:pt x="3697739" y="4074180"/>
                    </a:lnTo>
                    <a:lnTo>
                      <a:pt x="3654853" y="4040824"/>
                    </a:lnTo>
                    <a:lnTo>
                      <a:pt x="3645323" y="4021764"/>
                    </a:lnTo>
                    <a:lnTo>
                      <a:pt x="3635793" y="4017000"/>
                    </a:lnTo>
                    <a:lnTo>
                      <a:pt x="3626262" y="4017000"/>
                    </a:lnTo>
                    <a:lnTo>
                      <a:pt x="3621497" y="4017000"/>
                    </a:lnTo>
                    <a:lnTo>
                      <a:pt x="3616732" y="4012236"/>
                    </a:lnTo>
                    <a:lnTo>
                      <a:pt x="3607202" y="4017000"/>
                    </a:lnTo>
                    <a:lnTo>
                      <a:pt x="3588141" y="4017000"/>
                    </a:lnTo>
                    <a:lnTo>
                      <a:pt x="3550020" y="4012236"/>
                    </a:lnTo>
                    <a:lnTo>
                      <a:pt x="3521429" y="4007472"/>
                    </a:lnTo>
                    <a:lnTo>
                      <a:pt x="3507134" y="4002704"/>
                    </a:lnTo>
                    <a:lnTo>
                      <a:pt x="3492839" y="4002704"/>
                    </a:lnTo>
                    <a:lnTo>
                      <a:pt x="3488073" y="4012236"/>
                    </a:lnTo>
                    <a:lnTo>
                      <a:pt x="3473778" y="4017000"/>
                    </a:lnTo>
                    <a:lnTo>
                      <a:pt x="3454717" y="4021764"/>
                    </a:lnTo>
                    <a:lnTo>
                      <a:pt x="3435657" y="4040824"/>
                    </a:lnTo>
                    <a:lnTo>
                      <a:pt x="3416597" y="4078948"/>
                    </a:lnTo>
                    <a:lnTo>
                      <a:pt x="3411831" y="4102772"/>
                    </a:lnTo>
                    <a:lnTo>
                      <a:pt x="3411831" y="4112304"/>
                    </a:lnTo>
                    <a:lnTo>
                      <a:pt x="3407066" y="4117068"/>
                    </a:lnTo>
                    <a:lnTo>
                      <a:pt x="3397536" y="4121832"/>
                    </a:lnTo>
                    <a:lnTo>
                      <a:pt x="3388006" y="4131364"/>
                    </a:lnTo>
                    <a:lnTo>
                      <a:pt x="3378475" y="4150424"/>
                    </a:lnTo>
                    <a:lnTo>
                      <a:pt x="3364180" y="4155188"/>
                    </a:lnTo>
                    <a:lnTo>
                      <a:pt x="3349885" y="4155188"/>
                    </a:lnTo>
                    <a:lnTo>
                      <a:pt x="3326059" y="4145660"/>
                    </a:lnTo>
                    <a:lnTo>
                      <a:pt x="3287938" y="4121832"/>
                    </a:lnTo>
                    <a:lnTo>
                      <a:pt x="3259347" y="4102772"/>
                    </a:lnTo>
                    <a:lnTo>
                      <a:pt x="3235522" y="4098008"/>
                    </a:lnTo>
                    <a:lnTo>
                      <a:pt x="3216461" y="4088476"/>
                    </a:lnTo>
                    <a:lnTo>
                      <a:pt x="3202166" y="4069416"/>
                    </a:lnTo>
                    <a:lnTo>
                      <a:pt x="3187871" y="4059888"/>
                    </a:lnTo>
                    <a:lnTo>
                      <a:pt x="3173575" y="4055120"/>
                    </a:lnTo>
                    <a:lnTo>
                      <a:pt x="3159280" y="4036060"/>
                    </a:lnTo>
                    <a:lnTo>
                      <a:pt x="3140219" y="4002704"/>
                    </a:lnTo>
                    <a:lnTo>
                      <a:pt x="3130689" y="3978880"/>
                    </a:lnTo>
                    <a:lnTo>
                      <a:pt x="3130689" y="3955052"/>
                    </a:lnTo>
                    <a:lnTo>
                      <a:pt x="3106863" y="3897872"/>
                    </a:lnTo>
                    <a:lnTo>
                      <a:pt x="3092568" y="3869280"/>
                    </a:lnTo>
                    <a:lnTo>
                      <a:pt x="3083037" y="3859752"/>
                    </a:lnTo>
                    <a:lnTo>
                      <a:pt x="3063977" y="3845456"/>
                    </a:lnTo>
                    <a:lnTo>
                      <a:pt x="3035386" y="3831160"/>
                    </a:lnTo>
                    <a:lnTo>
                      <a:pt x="3002031" y="3797804"/>
                    </a:lnTo>
                    <a:lnTo>
                      <a:pt x="2954379" y="3750152"/>
                    </a:lnTo>
                    <a:lnTo>
                      <a:pt x="2921023" y="3721564"/>
                    </a:lnTo>
                    <a:lnTo>
                      <a:pt x="2901963" y="3712032"/>
                    </a:lnTo>
                    <a:lnTo>
                      <a:pt x="2882902" y="3697736"/>
                    </a:lnTo>
                    <a:lnTo>
                      <a:pt x="2868607" y="3673912"/>
                    </a:lnTo>
                    <a:lnTo>
                      <a:pt x="2854311" y="3654852"/>
                    </a:lnTo>
                    <a:lnTo>
                      <a:pt x="2782835" y="3654852"/>
                    </a:lnTo>
                    <a:lnTo>
                      <a:pt x="2749479" y="3654852"/>
                    </a:lnTo>
                    <a:lnTo>
                      <a:pt x="2682767" y="3654852"/>
                    </a:lnTo>
                    <a:lnTo>
                      <a:pt x="2644646" y="3654852"/>
                    </a:lnTo>
                    <a:lnTo>
                      <a:pt x="2577934" y="3654852"/>
                    </a:lnTo>
                    <a:lnTo>
                      <a:pt x="2577934" y="3716796"/>
                    </a:lnTo>
                    <a:lnTo>
                      <a:pt x="2577934" y="3735856"/>
                    </a:lnTo>
                    <a:lnTo>
                      <a:pt x="2358738" y="3735856"/>
                    </a:lnTo>
                    <a:lnTo>
                      <a:pt x="2301557" y="3735856"/>
                    </a:lnTo>
                    <a:lnTo>
                      <a:pt x="2134777" y="3735856"/>
                    </a:lnTo>
                    <a:lnTo>
                      <a:pt x="2063300" y="3712032"/>
                    </a:lnTo>
                    <a:lnTo>
                      <a:pt x="1987058" y="3683440"/>
                    </a:lnTo>
                    <a:lnTo>
                      <a:pt x="1915581" y="3654852"/>
                    </a:lnTo>
                    <a:lnTo>
                      <a:pt x="1767862" y="3602436"/>
                    </a:lnTo>
                    <a:lnTo>
                      <a:pt x="1691620" y="3573844"/>
                    </a:lnTo>
                    <a:lnTo>
                      <a:pt x="1543901" y="3516660"/>
                    </a:lnTo>
                    <a:lnTo>
                      <a:pt x="1553432" y="3507132"/>
                    </a:lnTo>
                    <a:lnTo>
                      <a:pt x="1562962" y="3478540"/>
                    </a:lnTo>
                    <a:lnTo>
                      <a:pt x="1543901" y="3483308"/>
                    </a:lnTo>
                    <a:lnTo>
                      <a:pt x="1453364" y="3488072"/>
                    </a:lnTo>
                    <a:lnTo>
                      <a:pt x="1410478" y="3492836"/>
                    </a:lnTo>
                    <a:lnTo>
                      <a:pt x="1362827" y="3497600"/>
                    </a:lnTo>
                    <a:lnTo>
                      <a:pt x="1319940" y="3502368"/>
                    </a:lnTo>
                    <a:lnTo>
                      <a:pt x="1272289" y="3507132"/>
                    </a:lnTo>
                    <a:lnTo>
                      <a:pt x="1229403" y="3511896"/>
                    </a:lnTo>
                    <a:lnTo>
                      <a:pt x="1186517" y="3516660"/>
                    </a:lnTo>
                    <a:lnTo>
                      <a:pt x="1186517" y="3511896"/>
                    </a:lnTo>
                    <a:lnTo>
                      <a:pt x="1181752" y="3492836"/>
                    </a:lnTo>
                    <a:lnTo>
                      <a:pt x="1176987" y="3483308"/>
                    </a:lnTo>
                    <a:lnTo>
                      <a:pt x="1167456" y="3488072"/>
                    </a:lnTo>
                    <a:lnTo>
                      <a:pt x="1162691" y="3464244"/>
                    </a:lnTo>
                    <a:lnTo>
                      <a:pt x="1167456" y="3449952"/>
                    </a:lnTo>
                    <a:lnTo>
                      <a:pt x="1162691" y="3440420"/>
                    </a:lnTo>
                    <a:lnTo>
                      <a:pt x="1153161" y="3407064"/>
                    </a:lnTo>
                    <a:lnTo>
                      <a:pt x="1134100" y="3373708"/>
                    </a:lnTo>
                    <a:lnTo>
                      <a:pt x="1081684" y="3326056"/>
                    </a:lnTo>
                    <a:lnTo>
                      <a:pt x="1057858" y="3311760"/>
                    </a:lnTo>
                    <a:lnTo>
                      <a:pt x="1034033" y="3292700"/>
                    </a:lnTo>
                    <a:lnTo>
                      <a:pt x="1024502" y="3287936"/>
                    </a:lnTo>
                    <a:lnTo>
                      <a:pt x="1010207" y="3283172"/>
                    </a:lnTo>
                    <a:lnTo>
                      <a:pt x="1000677" y="3292700"/>
                    </a:lnTo>
                    <a:lnTo>
                      <a:pt x="986381" y="3287936"/>
                    </a:lnTo>
                    <a:lnTo>
                      <a:pt x="986381" y="3268876"/>
                    </a:lnTo>
                    <a:lnTo>
                      <a:pt x="972086" y="3235520"/>
                    </a:lnTo>
                    <a:lnTo>
                      <a:pt x="957791" y="3235520"/>
                    </a:lnTo>
                    <a:lnTo>
                      <a:pt x="919670" y="3235520"/>
                    </a:lnTo>
                    <a:lnTo>
                      <a:pt x="872018" y="3216460"/>
                    </a:lnTo>
                    <a:lnTo>
                      <a:pt x="857723" y="3206928"/>
                    </a:lnTo>
                    <a:lnTo>
                      <a:pt x="852958" y="3192632"/>
                    </a:lnTo>
                    <a:lnTo>
                      <a:pt x="829132" y="3173572"/>
                    </a:lnTo>
                    <a:lnTo>
                      <a:pt x="800541" y="3159276"/>
                    </a:lnTo>
                    <a:lnTo>
                      <a:pt x="781481" y="3164044"/>
                    </a:lnTo>
                    <a:lnTo>
                      <a:pt x="757655" y="3164044"/>
                    </a:lnTo>
                    <a:lnTo>
                      <a:pt x="729065" y="3149748"/>
                    </a:lnTo>
                    <a:lnTo>
                      <a:pt x="710004" y="3149748"/>
                    </a:lnTo>
                    <a:lnTo>
                      <a:pt x="676648" y="3154512"/>
                    </a:lnTo>
                    <a:lnTo>
                      <a:pt x="662353" y="3149748"/>
                    </a:lnTo>
                    <a:lnTo>
                      <a:pt x="648057" y="3135452"/>
                    </a:lnTo>
                    <a:lnTo>
                      <a:pt x="638527" y="3130688"/>
                    </a:lnTo>
                    <a:lnTo>
                      <a:pt x="638527" y="3111628"/>
                    </a:lnTo>
                    <a:lnTo>
                      <a:pt x="638527" y="3097332"/>
                    </a:lnTo>
                    <a:lnTo>
                      <a:pt x="638527" y="3087800"/>
                    </a:lnTo>
                    <a:lnTo>
                      <a:pt x="633762" y="3059208"/>
                    </a:lnTo>
                    <a:lnTo>
                      <a:pt x="638527" y="3035384"/>
                    </a:lnTo>
                    <a:lnTo>
                      <a:pt x="633762" y="3025852"/>
                    </a:lnTo>
                    <a:lnTo>
                      <a:pt x="624232" y="3021088"/>
                    </a:lnTo>
                    <a:lnTo>
                      <a:pt x="600406" y="3011560"/>
                    </a:lnTo>
                    <a:lnTo>
                      <a:pt x="600406" y="2997264"/>
                    </a:lnTo>
                    <a:lnTo>
                      <a:pt x="600406" y="2978204"/>
                    </a:lnTo>
                    <a:lnTo>
                      <a:pt x="595641" y="2968672"/>
                    </a:lnTo>
                    <a:lnTo>
                      <a:pt x="576580" y="2959144"/>
                    </a:lnTo>
                    <a:lnTo>
                      <a:pt x="557520" y="2935316"/>
                    </a:lnTo>
                    <a:lnTo>
                      <a:pt x="538459" y="2921020"/>
                    </a:lnTo>
                    <a:lnTo>
                      <a:pt x="528929" y="2897196"/>
                    </a:lnTo>
                    <a:lnTo>
                      <a:pt x="514634" y="2887664"/>
                    </a:lnTo>
                    <a:lnTo>
                      <a:pt x="509869" y="2873368"/>
                    </a:lnTo>
                    <a:lnTo>
                      <a:pt x="476513" y="2830484"/>
                    </a:lnTo>
                    <a:lnTo>
                      <a:pt x="443157" y="2792364"/>
                    </a:lnTo>
                    <a:lnTo>
                      <a:pt x="438392" y="2773304"/>
                    </a:lnTo>
                    <a:lnTo>
                      <a:pt x="438392" y="2749476"/>
                    </a:lnTo>
                    <a:lnTo>
                      <a:pt x="447922" y="2730416"/>
                    </a:lnTo>
                    <a:lnTo>
                      <a:pt x="457452" y="2716120"/>
                    </a:lnTo>
                    <a:lnTo>
                      <a:pt x="457452" y="2701824"/>
                    </a:lnTo>
                    <a:lnTo>
                      <a:pt x="452687" y="2692296"/>
                    </a:lnTo>
                    <a:lnTo>
                      <a:pt x="443157" y="2678000"/>
                    </a:lnTo>
                    <a:lnTo>
                      <a:pt x="400271" y="2663704"/>
                    </a:lnTo>
                    <a:lnTo>
                      <a:pt x="362150" y="2625584"/>
                    </a:lnTo>
                    <a:lnTo>
                      <a:pt x="362150" y="2592228"/>
                    </a:lnTo>
                    <a:lnTo>
                      <a:pt x="347854" y="2558872"/>
                    </a:lnTo>
                    <a:lnTo>
                      <a:pt x="347854" y="2535044"/>
                    </a:lnTo>
                    <a:lnTo>
                      <a:pt x="343089" y="2511220"/>
                    </a:lnTo>
                    <a:lnTo>
                      <a:pt x="357385" y="2506456"/>
                    </a:lnTo>
                    <a:lnTo>
                      <a:pt x="362150" y="2511220"/>
                    </a:lnTo>
                    <a:lnTo>
                      <a:pt x="362150" y="2520752"/>
                    </a:lnTo>
                    <a:lnTo>
                      <a:pt x="366915" y="2535044"/>
                    </a:lnTo>
                    <a:lnTo>
                      <a:pt x="376445" y="2549340"/>
                    </a:lnTo>
                    <a:lnTo>
                      <a:pt x="390740" y="2554108"/>
                    </a:lnTo>
                    <a:lnTo>
                      <a:pt x="400271" y="2563636"/>
                    </a:lnTo>
                    <a:lnTo>
                      <a:pt x="405036" y="2568400"/>
                    </a:lnTo>
                    <a:lnTo>
                      <a:pt x="414566" y="2573168"/>
                    </a:lnTo>
                    <a:lnTo>
                      <a:pt x="409801" y="2563636"/>
                    </a:lnTo>
                    <a:lnTo>
                      <a:pt x="405036" y="2558872"/>
                    </a:lnTo>
                    <a:lnTo>
                      <a:pt x="400271" y="2539812"/>
                    </a:lnTo>
                    <a:lnTo>
                      <a:pt x="390740" y="2520752"/>
                    </a:lnTo>
                    <a:lnTo>
                      <a:pt x="376445" y="2506456"/>
                    </a:lnTo>
                    <a:lnTo>
                      <a:pt x="371680" y="2487396"/>
                    </a:lnTo>
                    <a:lnTo>
                      <a:pt x="366915" y="2482628"/>
                    </a:lnTo>
                    <a:lnTo>
                      <a:pt x="362150" y="2477864"/>
                    </a:lnTo>
                    <a:lnTo>
                      <a:pt x="376445" y="2468332"/>
                    </a:lnTo>
                    <a:lnTo>
                      <a:pt x="390740" y="2458804"/>
                    </a:lnTo>
                    <a:lnTo>
                      <a:pt x="409801" y="2458804"/>
                    </a:lnTo>
                    <a:lnTo>
                      <a:pt x="466983" y="2458804"/>
                    </a:lnTo>
                    <a:lnTo>
                      <a:pt x="481278" y="2454040"/>
                    </a:lnTo>
                    <a:lnTo>
                      <a:pt x="490808" y="2458804"/>
                    </a:lnTo>
                    <a:lnTo>
                      <a:pt x="500338" y="2458804"/>
                    </a:lnTo>
                    <a:lnTo>
                      <a:pt x="481278" y="2449272"/>
                    </a:lnTo>
                    <a:lnTo>
                      <a:pt x="476513" y="2454040"/>
                    </a:lnTo>
                    <a:lnTo>
                      <a:pt x="462217" y="2449272"/>
                    </a:lnTo>
                    <a:lnTo>
                      <a:pt x="443157" y="2454040"/>
                    </a:lnTo>
                    <a:lnTo>
                      <a:pt x="433627" y="2449272"/>
                    </a:lnTo>
                    <a:lnTo>
                      <a:pt x="424096" y="2444508"/>
                    </a:lnTo>
                    <a:lnTo>
                      <a:pt x="419331" y="2444508"/>
                    </a:lnTo>
                    <a:lnTo>
                      <a:pt x="400271" y="2454040"/>
                    </a:lnTo>
                    <a:lnTo>
                      <a:pt x="390740" y="2454040"/>
                    </a:lnTo>
                    <a:lnTo>
                      <a:pt x="371680" y="2439744"/>
                    </a:lnTo>
                    <a:lnTo>
                      <a:pt x="362150" y="2439744"/>
                    </a:lnTo>
                    <a:lnTo>
                      <a:pt x="347854" y="2444508"/>
                    </a:lnTo>
                    <a:lnTo>
                      <a:pt x="347854" y="2477864"/>
                    </a:lnTo>
                    <a:lnTo>
                      <a:pt x="352619" y="2501688"/>
                    </a:lnTo>
                    <a:lnTo>
                      <a:pt x="343089" y="2501688"/>
                    </a:lnTo>
                    <a:lnTo>
                      <a:pt x="333559" y="2492160"/>
                    </a:lnTo>
                    <a:lnTo>
                      <a:pt x="319264" y="2487396"/>
                    </a:lnTo>
                    <a:lnTo>
                      <a:pt x="304968" y="2477864"/>
                    </a:lnTo>
                    <a:lnTo>
                      <a:pt x="285908" y="2463568"/>
                    </a:lnTo>
                    <a:lnTo>
                      <a:pt x="281143" y="2458804"/>
                    </a:lnTo>
                    <a:lnTo>
                      <a:pt x="266847" y="2468332"/>
                    </a:lnTo>
                    <a:lnTo>
                      <a:pt x="266847" y="2463568"/>
                    </a:lnTo>
                    <a:lnTo>
                      <a:pt x="271612" y="2449272"/>
                    </a:lnTo>
                    <a:lnTo>
                      <a:pt x="271612" y="2420684"/>
                    </a:lnTo>
                    <a:lnTo>
                      <a:pt x="285908" y="2444508"/>
                    </a:lnTo>
                    <a:lnTo>
                      <a:pt x="281143" y="2430212"/>
                    </a:lnTo>
                    <a:lnTo>
                      <a:pt x="271612" y="2411152"/>
                    </a:lnTo>
                    <a:lnTo>
                      <a:pt x="262082" y="2406388"/>
                    </a:lnTo>
                    <a:lnTo>
                      <a:pt x="247787" y="2377796"/>
                    </a:lnTo>
                    <a:lnTo>
                      <a:pt x="223961" y="2358736"/>
                    </a:lnTo>
                    <a:lnTo>
                      <a:pt x="200135" y="2334912"/>
                    </a:lnTo>
                    <a:lnTo>
                      <a:pt x="157249" y="2287260"/>
                    </a:lnTo>
                    <a:lnTo>
                      <a:pt x="157249" y="2244372"/>
                    </a:lnTo>
                    <a:lnTo>
                      <a:pt x="138189" y="2191956"/>
                    </a:lnTo>
                    <a:lnTo>
                      <a:pt x="147719" y="2163364"/>
                    </a:lnTo>
                    <a:lnTo>
                      <a:pt x="147719" y="2144304"/>
                    </a:lnTo>
                    <a:lnTo>
                      <a:pt x="138189" y="2110948"/>
                    </a:lnTo>
                    <a:lnTo>
                      <a:pt x="128658" y="2091888"/>
                    </a:lnTo>
                    <a:lnTo>
                      <a:pt x="95303" y="2044236"/>
                    </a:lnTo>
                    <a:lnTo>
                      <a:pt x="61947" y="2015648"/>
                    </a:lnTo>
                    <a:lnTo>
                      <a:pt x="57182" y="1991820"/>
                    </a:lnTo>
                    <a:lnTo>
                      <a:pt x="52416" y="1963232"/>
                    </a:lnTo>
                    <a:lnTo>
                      <a:pt x="61947" y="1944168"/>
                    </a:lnTo>
                    <a:lnTo>
                      <a:pt x="66712" y="1920344"/>
                    </a:lnTo>
                    <a:lnTo>
                      <a:pt x="71477" y="1915580"/>
                    </a:lnTo>
                    <a:lnTo>
                      <a:pt x="76242" y="1915580"/>
                    </a:lnTo>
                    <a:lnTo>
                      <a:pt x="71477" y="1920344"/>
                    </a:lnTo>
                    <a:lnTo>
                      <a:pt x="76242" y="1920344"/>
                    </a:lnTo>
                    <a:lnTo>
                      <a:pt x="81007" y="1910816"/>
                    </a:lnTo>
                    <a:lnTo>
                      <a:pt x="81007" y="1906048"/>
                    </a:lnTo>
                    <a:lnTo>
                      <a:pt x="76242" y="1906048"/>
                    </a:lnTo>
                    <a:lnTo>
                      <a:pt x="76242" y="1901284"/>
                    </a:lnTo>
                    <a:lnTo>
                      <a:pt x="81007" y="1896520"/>
                    </a:lnTo>
                    <a:lnTo>
                      <a:pt x="90537" y="1867928"/>
                    </a:lnTo>
                    <a:lnTo>
                      <a:pt x="90537" y="1829808"/>
                    </a:lnTo>
                    <a:lnTo>
                      <a:pt x="100068" y="1782156"/>
                    </a:lnTo>
                    <a:lnTo>
                      <a:pt x="100068" y="1763096"/>
                    </a:lnTo>
                    <a:lnTo>
                      <a:pt x="95303" y="1729740"/>
                    </a:lnTo>
                    <a:lnTo>
                      <a:pt x="85772" y="1710680"/>
                    </a:lnTo>
                    <a:lnTo>
                      <a:pt x="71477" y="1696384"/>
                    </a:lnTo>
                    <a:lnTo>
                      <a:pt x="81007" y="1677324"/>
                    </a:lnTo>
                    <a:lnTo>
                      <a:pt x="81007" y="1653496"/>
                    </a:lnTo>
                    <a:lnTo>
                      <a:pt x="57182" y="1624908"/>
                    </a:lnTo>
                    <a:lnTo>
                      <a:pt x="47651" y="1586784"/>
                    </a:lnTo>
                    <a:lnTo>
                      <a:pt x="47651" y="1572492"/>
                    </a:lnTo>
                    <a:lnTo>
                      <a:pt x="47651" y="1529604"/>
                    </a:lnTo>
                    <a:lnTo>
                      <a:pt x="42886" y="1510544"/>
                    </a:lnTo>
                    <a:lnTo>
                      <a:pt x="28591" y="1481952"/>
                    </a:lnTo>
                    <a:lnTo>
                      <a:pt x="33356" y="1453360"/>
                    </a:lnTo>
                    <a:lnTo>
                      <a:pt x="42886" y="1434300"/>
                    </a:lnTo>
                    <a:lnTo>
                      <a:pt x="57182" y="1367588"/>
                    </a:lnTo>
                    <a:lnTo>
                      <a:pt x="61947" y="1362824"/>
                    </a:lnTo>
                    <a:lnTo>
                      <a:pt x="66712" y="1362824"/>
                    </a:lnTo>
                    <a:lnTo>
                      <a:pt x="81007" y="1348528"/>
                    </a:lnTo>
                    <a:lnTo>
                      <a:pt x="76242" y="1348528"/>
                    </a:lnTo>
                    <a:lnTo>
                      <a:pt x="66712" y="1353296"/>
                    </a:lnTo>
                    <a:lnTo>
                      <a:pt x="76242" y="1324704"/>
                    </a:lnTo>
                    <a:lnTo>
                      <a:pt x="85772" y="1300876"/>
                    </a:lnTo>
                    <a:lnTo>
                      <a:pt x="90537" y="1291348"/>
                    </a:lnTo>
                    <a:lnTo>
                      <a:pt x="90537" y="1210340"/>
                    </a:lnTo>
                    <a:lnTo>
                      <a:pt x="95303" y="1153160"/>
                    </a:lnTo>
                    <a:lnTo>
                      <a:pt x="104833" y="1129332"/>
                    </a:lnTo>
                    <a:lnTo>
                      <a:pt x="100068" y="1110272"/>
                    </a:lnTo>
                    <a:lnTo>
                      <a:pt x="104833" y="1081680"/>
                    </a:lnTo>
                    <a:lnTo>
                      <a:pt x="104833" y="1053092"/>
                    </a:lnTo>
                    <a:lnTo>
                      <a:pt x="119128" y="914904"/>
                    </a:lnTo>
                    <a:lnTo>
                      <a:pt x="119128" y="900608"/>
                    </a:lnTo>
                    <a:lnTo>
                      <a:pt x="123893" y="876780"/>
                    </a:lnTo>
                    <a:lnTo>
                      <a:pt x="119128" y="819600"/>
                    </a:lnTo>
                    <a:lnTo>
                      <a:pt x="119128" y="752888"/>
                    </a:lnTo>
                    <a:lnTo>
                      <a:pt x="114363" y="743356"/>
                    </a:lnTo>
                    <a:lnTo>
                      <a:pt x="114363" y="733828"/>
                    </a:lnTo>
                    <a:lnTo>
                      <a:pt x="119128" y="729064"/>
                    </a:lnTo>
                    <a:lnTo>
                      <a:pt x="123893" y="743356"/>
                    </a:lnTo>
                    <a:lnTo>
                      <a:pt x="162014" y="743356"/>
                    </a:lnTo>
                    <a:lnTo>
                      <a:pt x="185840" y="733828"/>
                    </a:lnTo>
                    <a:lnTo>
                      <a:pt x="195370" y="733828"/>
                    </a:lnTo>
                    <a:lnTo>
                      <a:pt x="204900" y="748124"/>
                    </a:lnTo>
                    <a:lnTo>
                      <a:pt x="219196" y="748124"/>
                    </a:lnTo>
                    <a:lnTo>
                      <a:pt x="233491" y="748124"/>
                    </a:lnTo>
                    <a:lnTo>
                      <a:pt x="228726" y="743356"/>
                    </a:lnTo>
                    <a:lnTo>
                      <a:pt x="223961" y="743356"/>
                    </a:lnTo>
                    <a:lnTo>
                      <a:pt x="204900" y="733828"/>
                    </a:lnTo>
                    <a:lnTo>
                      <a:pt x="195370" y="719532"/>
                    </a:lnTo>
                    <a:lnTo>
                      <a:pt x="166779" y="724296"/>
                    </a:lnTo>
                    <a:lnTo>
                      <a:pt x="162014" y="714768"/>
                    </a:lnTo>
                    <a:lnTo>
                      <a:pt x="128658" y="724296"/>
                    </a:lnTo>
                    <a:lnTo>
                      <a:pt x="119128" y="714768"/>
                    </a:lnTo>
                    <a:lnTo>
                      <a:pt x="100068" y="719532"/>
                    </a:lnTo>
                    <a:lnTo>
                      <a:pt x="104833" y="700472"/>
                    </a:lnTo>
                    <a:lnTo>
                      <a:pt x="104833" y="671880"/>
                    </a:lnTo>
                    <a:lnTo>
                      <a:pt x="104833" y="643292"/>
                    </a:lnTo>
                    <a:lnTo>
                      <a:pt x="109598" y="662352"/>
                    </a:lnTo>
                    <a:lnTo>
                      <a:pt x="119128" y="686176"/>
                    </a:lnTo>
                    <a:lnTo>
                      <a:pt x="123893" y="662352"/>
                    </a:lnTo>
                    <a:lnTo>
                      <a:pt x="128658" y="633760"/>
                    </a:lnTo>
                    <a:lnTo>
                      <a:pt x="119128" y="624228"/>
                    </a:lnTo>
                    <a:lnTo>
                      <a:pt x="100068" y="614700"/>
                    </a:lnTo>
                    <a:lnTo>
                      <a:pt x="95303" y="586108"/>
                    </a:lnTo>
                    <a:lnTo>
                      <a:pt x="138189" y="562284"/>
                    </a:lnTo>
                    <a:lnTo>
                      <a:pt x="114363" y="557516"/>
                    </a:lnTo>
                    <a:lnTo>
                      <a:pt x="104833" y="547988"/>
                    </a:lnTo>
                    <a:lnTo>
                      <a:pt x="95303" y="547988"/>
                    </a:lnTo>
                    <a:lnTo>
                      <a:pt x="95303" y="557516"/>
                    </a:lnTo>
                    <a:lnTo>
                      <a:pt x="90537" y="567048"/>
                    </a:lnTo>
                    <a:lnTo>
                      <a:pt x="85772" y="552752"/>
                    </a:lnTo>
                    <a:lnTo>
                      <a:pt x="85772" y="533692"/>
                    </a:lnTo>
                    <a:lnTo>
                      <a:pt x="81007" y="509868"/>
                    </a:lnTo>
                    <a:lnTo>
                      <a:pt x="61947" y="462216"/>
                    </a:lnTo>
                    <a:lnTo>
                      <a:pt x="52416" y="405032"/>
                    </a:lnTo>
                    <a:lnTo>
                      <a:pt x="38121" y="376444"/>
                    </a:lnTo>
                    <a:lnTo>
                      <a:pt x="14295" y="347852"/>
                    </a:lnTo>
                    <a:lnTo>
                      <a:pt x="9530" y="328792"/>
                    </a:lnTo>
                    <a:lnTo>
                      <a:pt x="0" y="290672"/>
                    </a:lnTo>
                    <a:lnTo>
                      <a:pt x="4765" y="257316"/>
                    </a:lnTo>
                    <a:lnTo>
                      <a:pt x="0" y="233488"/>
                    </a:lnTo>
                    <a:lnTo>
                      <a:pt x="14295" y="238256"/>
                    </a:lnTo>
                    <a:lnTo>
                      <a:pt x="42886" y="252548"/>
                    </a:lnTo>
                    <a:lnTo>
                      <a:pt x="85772" y="266844"/>
                    </a:lnTo>
                    <a:lnTo>
                      <a:pt x="95303" y="276376"/>
                    </a:lnTo>
                    <a:lnTo>
                      <a:pt x="114363" y="285904"/>
                    </a:lnTo>
                    <a:lnTo>
                      <a:pt x="223961" y="295436"/>
                    </a:lnTo>
                    <a:lnTo>
                      <a:pt x="228726" y="295436"/>
                    </a:lnTo>
                    <a:lnTo>
                      <a:pt x="243022" y="290672"/>
                    </a:lnTo>
                    <a:lnTo>
                      <a:pt x="247787" y="290672"/>
                    </a:lnTo>
                    <a:lnTo>
                      <a:pt x="266847" y="304968"/>
                    </a:lnTo>
                    <a:lnTo>
                      <a:pt x="271612" y="309732"/>
                    </a:lnTo>
                    <a:lnTo>
                      <a:pt x="281143" y="304968"/>
                    </a:lnTo>
                    <a:lnTo>
                      <a:pt x="290673" y="304968"/>
                    </a:lnTo>
                    <a:lnTo>
                      <a:pt x="304968" y="290672"/>
                    </a:lnTo>
                    <a:lnTo>
                      <a:pt x="304968" y="295436"/>
                    </a:lnTo>
                    <a:lnTo>
                      <a:pt x="304968" y="304968"/>
                    </a:lnTo>
                    <a:lnTo>
                      <a:pt x="309733" y="319260"/>
                    </a:lnTo>
                    <a:lnTo>
                      <a:pt x="319264" y="338324"/>
                    </a:lnTo>
                    <a:lnTo>
                      <a:pt x="324029" y="352616"/>
                    </a:lnTo>
                    <a:lnTo>
                      <a:pt x="304968" y="385972"/>
                    </a:lnTo>
                    <a:lnTo>
                      <a:pt x="300203" y="385972"/>
                    </a:lnTo>
                    <a:lnTo>
                      <a:pt x="300203" y="376444"/>
                    </a:lnTo>
                    <a:lnTo>
                      <a:pt x="295438" y="371676"/>
                    </a:lnTo>
                    <a:lnTo>
                      <a:pt x="262082" y="428860"/>
                    </a:lnTo>
                    <a:lnTo>
                      <a:pt x="247787" y="452684"/>
                    </a:lnTo>
                    <a:lnTo>
                      <a:pt x="247787" y="466980"/>
                    </a:lnTo>
                    <a:lnTo>
                      <a:pt x="247787" y="471744"/>
                    </a:lnTo>
                    <a:lnTo>
                      <a:pt x="252552" y="476512"/>
                    </a:lnTo>
                    <a:lnTo>
                      <a:pt x="262082" y="471744"/>
                    </a:lnTo>
                    <a:lnTo>
                      <a:pt x="281143" y="462216"/>
                    </a:lnTo>
                    <a:lnTo>
                      <a:pt x="281143" y="457452"/>
                    </a:lnTo>
                    <a:lnTo>
                      <a:pt x="266847" y="462216"/>
                    </a:lnTo>
                    <a:lnTo>
                      <a:pt x="257317" y="462216"/>
                    </a:lnTo>
                    <a:lnTo>
                      <a:pt x="257317" y="452684"/>
                    </a:lnTo>
                    <a:lnTo>
                      <a:pt x="262082" y="443156"/>
                    </a:lnTo>
                    <a:lnTo>
                      <a:pt x="271612" y="428860"/>
                    </a:lnTo>
                    <a:lnTo>
                      <a:pt x="281143" y="414564"/>
                    </a:lnTo>
                    <a:lnTo>
                      <a:pt x="295438" y="405032"/>
                    </a:lnTo>
                    <a:lnTo>
                      <a:pt x="304968" y="395504"/>
                    </a:lnTo>
                    <a:lnTo>
                      <a:pt x="309733" y="381208"/>
                    </a:lnTo>
                    <a:lnTo>
                      <a:pt x="328794" y="362148"/>
                    </a:lnTo>
                    <a:lnTo>
                      <a:pt x="333559" y="357384"/>
                    </a:lnTo>
                    <a:lnTo>
                      <a:pt x="333559" y="343088"/>
                    </a:lnTo>
                    <a:lnTo>
                      <a:pt x="343089" y="343088"/>
                    </a:lnTo>
                    <a:lnTo>
                      <a:pt x="343089" y="366912"/>
                    </a:lnTo>
                    <a:lnTo>
                      <a:pt x="343089" y="376444"/>
                    </a:lnTo>
                    <a:lnTo>
                      <a:pt x="328794" y="390740"/>
                    </a:lnTo>
                    <a:lnTo>
                      <a:pt x="324029" y="395504"/>
                    </a:lnTo>
                    <a:lnTo>
                      <a:pt x="328794" y="414564"/>
                    </a:lnTo>
                    <a:lnTo>
                      <a:pt x="324029" y="414564"/>
                    </a:lnTo>
                    <a:lnTo>
                      <a:pt x="319264" y="414564"/>
                    </a:lnTo>
                    <a:lnTo>
                      <a:pt x="333559" y="433624"/>
                    </a:lnTo>
                    <a:lnTo>
                      <a:pt x="338324" y="447920"/>
                    </a:lnTo>
                    <a:lnTo>
                      <a:pt x="338324" y="462216"/>
                    </a:lnTo>
                    <a:lnTo>
                      <a:pt x="333559" y="486040"/>
                    </a:lnTo>
                    <a:lnTo>
                      <a:pt x="328794" y="490808"/>
                    </a:lnTo>
                    <a:lnTo>
                      <a:pt x="324029" y="490808"/>
                    </a:lnTo>
                    <a:lnTo>
                      <a:pt x="314498" y="481276"/>
                    </a:lnTo>
                    <a:lnTo>
                      <a:pt x="309733" y="486040"/>
                    </a:lnTo>
                    <a:lnTo>
                      <a:pt x="304968" y="505100"/>
                    </a:lnTo>
                    <a:lnTo>
                      <a:pt x="300203" y="505100"/>
                    </a:lnTo>
                    <a:lnTo>
                      <a:pt x="295438" y="481276"/>
                    </a:lnTo>
                    <a:lnTo>
                      <a:pt x="295438" y="476512"/>
                    </a:lnTo>
                    <a:lnTo>
                      <a:pt x="281143" y="490808"/>
                    </a:lnTo>
                    <a:lnTo>
                      <a:pt x="276377" y="500336"/>
                    </a:lnTo>
                    <a:lnTo>
                      <a:pt x="271612" y="514632"/>
                    </a:lnTo>
                    <a:lnTo>
                      <a:pt x="262082" y="524160"/>
                    </a:lnTo>
                    <a:lnTo>
                      <a:pt x="281143" y="524160"/>
                    </a:lnTo>
                    <a:lnTo>
                      <a:pt x="300203" y="524160"/>
                    </a:lnTo>
                    <a:lnTo>
                      <a:pt x="309733" y="528928"/>
                    </a:lnTo>
                    <a:lnTo>
                      <a:pt x="314498" y="528928"/>
                    </a:lnTo>
                    <a:lnTo>
                      <a:pt x="328794" y="524160"/>
                    </a:lnTo>
                    <a:lnTo>
                      <a:pt x="328794" y="519396"/>
                    </a:lnTo>
                    <a:lnTo>
                      <a:pt x="338324" y="490808"/>
                    </a:lnTo>
                    <a:lnTo>
                      <a:pt x="343089" y="486040"/>
                    </a:lnTo>
                    <a:lnTo>
                      <a:pt x="352619" y="486040"/>
                    </a:lnTo>
                    <a:lnTo>
                      <a:pt x="357385" y="486040"/>
                    </a:lnTo>
                    <a:lnTo>
                      <a:pt x="366915" y="471744"/>
                    </a:lnTo>
                    <a:lnTo>
                      <a:pt x="371680" y="466980"/>
                    </a:lnTo>
                    <a:lnTo>
                      <a:pt x="366915" y="433624"/>
                    </a:lnTo>
                    <a:lnTo>
                      <a:pt x="366915" y="414564"/>
                    </a:lnTo>
                    <a:lnTo>
                      <a:pt x="366915" y="409800"/>
                    </a:lnTo>
                    <a:lnTo>
                      <a:pt x="362150" y="405032"/>
                    </a:lnTo>
                    <a:lnTo>
                      <a:pt x="362150" y="400268"/>
                    </a:lnTo>
                    <a:lnTo>
                      <a:pt x="362150" y="390740"/>
                    </a:lnTo>
                    <a:lnTo>
                      <a:pt x="366915" y="381208"/>
                    </a:lnTo>
                    <a:lnTo>
                      <a:pt x="362150" y="376444"/>
                    </a:lnTo>
                    <a:lnTo>
                      <a:pt x="362150" y="366912"/>
                    </a:lnTo>
                    <a:lnTo>
                      <a:pt x="371680" y="347852"/>
                    </a:lnTo>
                    <a:lnTo>
                      <a:pt x="376445" y="338324"/>
                    </a:lnTo>
                    <a:lnTo>
                      <a:pt x="385975" y="324028"/>
                    </a:lnTo>
                    <a:lnTo>
                      <a:pt x="385975" y="314496"/>
                    </a:lnTo>
                    <a:lnTo>
                      <a:pt x="376445" y="304968"/>
                    </a:lnTo>
                    <a:lnTo>
                      <a:pt x="366915" y="295436"/>
                    </a:lnTo>
                    <a:lnTo>
                      <a:pt x="362150" y="285904"/>
                    </a:lnTo>
                    <a:lnTo>
                      <a:pt x="357385" y="281140"/>
                    </a:lnTo>
                    <a:lnTo>
                      <a:pt x="357385" y="285904"/>
                    </a:lnTo>
                    <a:lnTo>
                      <a:pt x="362150" y="304968"/>
                    </a:lnTo>
                    <a:lnTo>
                      <a:pt x="347854" y="295436"/>
                    </a:lnTo>
                    <a:lnTo>
                      <a:pt x="343089" y="285904"/>
                    </a:lnTo>
                    <a:lnTo>
                      <a:pt x="343089" y="276376"/>
                    </a:lnTo>
                    <a:lnTo>
                      <a:pt x="343089" y="271612"/>
                    </a:lnTo>
                    <a:lnTo>
                      <a:pt x="352619" y="262080"/>
                    </a:lnTo>
                    <a:lnTo>
                      <a:pt x="362150" y="262080"/>
                    </a:lnTo>
                    <a:lnTo>
                      <a:pt x="362150" y="257316"/>
                    </a:lnTo>
                    <a:lnTo>
                      <a:pt x="347854" y="238256"/>
                    </a:lnTo>
                    <a:lnTo>
                      <a:pt x="338324" y="228724"/>
                    </a:lnTo>
                    <a:lnTo>
                      <a:pt x="333559" y="223960"/>
                    </a:lnTo>
                    <a:lnTo>
                      <a:pt x="324029" y="223960"/>
                    </a:lnTo>
                    <a:lnTo>
                      <a:pt x="319264" y="219192"/>
                    </a:lnTo>
                    <a:lnTo>
                      <a:pt x="319264" y="214428"/>
                    </a:lnTo>
                    <a:lnTo>
                      <a:pt x="324029" y="209664"/>
                    </a:lnTo>
                    <a:lnTo>
                      <a:pt x="338324" y="209664"/>
                    </a:lnTo>
                    <a:lnTo>
                      <a:pt x="347854" y="204900"/>
                    </a:lnTo>
                    <a:lnTo>
                      <a:pt x="347854" y="200132"/>
                    </a:lnTo>
                    <a:lnTo>
                      <a:pt x="343089" y="195368"/>
                    </a:lnTo>
                    <a:lnTo>
                      <a:pt x="343089" y="166776"/>
                    </a:lnTo>
                    <a:lnTo>
                      <a:pt x="338324" y="147716"/>
                    </a:lnTo>
                    <a:lnTo>
                      <a:pt x="338324" y="142952"/>
                    </a:lnTo>
                    <a:lnTo>
                      <a:pt x="333559" y="142952"/>
                    </a:lnTo>
                    <a:lnTo>
                      <a:pt x="328794" y="142952"/>
                    </a:lnTo>
                    <a:lnTo>
                      <a:pt x="324029" y="142952"/>
                    </a:lnTo>
                    <a:lnTo>
                      <a:pt x="319264" y="138188"/>
                    </a:lnTo>
                    <a:lnTo>
                      <a:pt x="309733" y="123892"/>
                    </a:lnTo>
                    <a:lnTo>
                      <a:pt x="300203" y="90536"/>
                    </a:lnTo>
                    <a:lnTo>
                      <a:pt x="4617409" y="90536"/>
                    </a:lnTo>
                    <a:lnTo>
                      <a:pt x="4617409" y="38120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1" name="Freeform 460">
                <a:extLst>
                  <a:ext uri="{FF2B5EF4-FFF2-40B4-BE49-F238E27FC236}">
                    <a16:creationId xmlns:a16="http://schemas.microsoft.com/office/drawing/2014/main" id="{169DDC31-9CFE-4570-80B2-DA7145AEEAE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96147" y="10843607"/>
                <a:ext cx="7524134" cy="6756949"/>
              </a:xfrm>
              <a:custGeom>
                <a:avLst/>
                <a:gdLst>
                  <a:gd name="connsiteX0" fmla="*/ 285908 w 7524134"/>
                  <a:gd name="connsiteY0" fmla="*/ 6690237 h 6756949"/>
                  <a:gd name="connsiteX1" fmla="*/ 300204 w 7524134"/>
                  <a:gd name="connsiteY1" fmla="*/ 6704533 h 6756949"/>
                  <a:gd name="connsiteX2" fmla="*/ 300204 w 7524134"/>
                  <a:gd name="connsiteY2" fmla="*/ 6709299 h 6756949"/>
                  <a:gd name="connsiteX3" fmla="*/ 290673 w 7524134"/>
                  <a:gd name="connsiteY3" fmla="*/ 6723593 h 6756949"/>
                  <a:gd name="connsiteX4" fmla="*/ 281143 w 7524134"/>
                  <a:gd name="connsiteY4" fmla="*/ 6718829 h 6756949"/>
                  <a:gd name="connsiteX5" fmla="*/ 281143 w 7524134"/>
                  <a:gd name="connsiteY5" fmla="*/ 6695003 h 6756949"/>
                  <a:gd name="connsiteX6" fmla="*/ 314497 w 7524134"/>
                  <a:gd name="connsiteY6" fmla="*/ 6685473 h 6756949"/>
                  <a:gd name="connsiteX7" fmla="*/ 333558 w 7524134"/>
                  <a:gd name="connsiteY7" fmla="*/ 6695003 h 6756949"/>
                  <a:gd name="connsiteX8" fmla="*/ 343089 w 7524134"/>
                  <a:gd name="connsiteY8" fmla="*/ 6704533 h 6756949"/>
                  <a:gd name="connsiteX9" fmla="*/ 328793 w 7524134"/>
                  <a:gd name="connsiteY9" fmla="*/ 6709299 h 6756949"/>
                  <a:gd name="connsiteX10" fmla="*/ 309733 w 7524134"/>
                  <a:gd name="connsiteY10" fmla="*/ 6699769 h 6756949"/>
                  <a:gd name="connsiteX11" fmla="*/ 166780 w 7524134"/>
                  <a:gd name="connsiteY11" fmla="*/ 6675943 h 6756949"/>
                  <a:gd name="connsiteX12" fmla="*/ 171545 w 7524134"/>
                  <a:gd name="connsiteY12" fmla="*/ 6675943 h 6756949"/>
                  <a:gd name="connsiteX13" fmla="*/ 176310 w 7524134"/>
                  <a:gd name="connsiteY13" fmla="*/ 6680709 h 6756949"/>
                  <a:gd name="connsiteX14" fmla="*/ 176310 w 7524134"/>
                  <a:gd name="connsiteY14" fmla="*/ 6690239 h 6756949"/>
                  <a:gd name="connsiteX15" fmla="*/ 166780 w 7524134"/>
                  <a:gd name="connsiteY15" fmla="*/ 6699769 h 6756949"/>
                  <a:gd name="connsiteX16" fmla="*/ 166780 w 7524134"/>
                  <a:gd name="connsiteY16" fmla="*/ 6704533 h 6756949"/>
                  <a:gd name="connsiteX17" fmla="*/ 162015 w 7524134"/>
                  <a:gd name="connsiteY17" fmla="*/ 6728359 h 6756949"/>
                  <a:gd name="connsiteX18" fmla="*/ 162015 w 7524134"/>
                  <a:gd name="connsiteY18" fmla="*/ 6733125 h 6756949"/>
                  <a:gd name="connsiteX19" fmla="*/ 152484 w 7524134"/>
                  <a:gd name="connsiteY19" fmla="*/ 6733125 h 6756949"/>
                  <a:gd name="connsiteX20" fmla="*/ 128659 w 7524134"/>
                  <a:gd name="connsiteY20" fmla="*/ 6733125 h 6756949"/>
                  <a:gd name="connsiteX21" fmla="*/ 114363 w 7524134"/>
                  <a:gd name="connsiteY21" fmla="*/ 6733125 h 6756949"/>
                  <a:gd name="connsiteX22" fmla="*/ 95303 w 7524134"/>
                  <a:gd name="connsiteY22" fmla="*/ 6733125 h 6756949"/>
                  <a:gd name="connsiteX23" fmla="*/ 85772 w 7524134"/>
                  <a:gd name="connsiteY23" fmla="*/ 6737889 h 6756949"/>
                  <a:gd name="connsiteX24" fmla="*/ 81007 w 7524134"/>
                  <a:gd name="connsiteY24" fmla="*/ 6733125 h 6756949"/>
                  <a:gd name="connsiteX25" fmla="*/ 81007 w 7524134"/>
                  <a:gd name="connsiteY25" fmla="*/ 6728359 h 6756949"/>
                  <a:gd name="connsiteX26" fmla="*/ 133423 w 7524134"/>
                  <a:gd name="connsiteY26" fmla="*/ 6714065 h 6756949"/>
                  <a:gd name="connsiteX27" fmla="*/ 147719 w 7524134"/>
                  <a:gd name="connsiteY27" fmla="*/ 6704533 h 6756949"/>
                  <a:gd name="connsiteX28" fmla="*/ 152484 w 7524134"/>
                  <a:gd name="connsiteY28" fmla="*/ 6695003 h 6756949"/>
                  <a:gd name="connsiteX29" fmla="*/ 162015 w 7524134"/>
                  <a:gd name="connsiteY29" fmla="*/ 6680709 h 6756949"/>
                  <a:gd name="connsiteX30" fmla="*/ 14296 w 7524134"/>
                  <a:gd name="connsiteY30" fmla="*/ 6675943 h 6756949"/>
                  <a:gd name="connsiteX31" fmla="*/ 38121 w 7524134"/>
                  <a:gd name="connsiteY31" fmla="*/ 6675943 h 6756949"/>
                  <a:gd name="connsiteX32" fmla="*/ 52417 w 7524134"/>
                  <a:gd name="connsiteY32" fmla="*/ 6690239 h 6756949"/>
                  <a:gd name="connsiteX33" fmla="*/ 61947 w 7524134"/>
                  <a:gd name="connsiteY33" fmla="*/ 6695003 h 6756949"/>
                  <a:gd name="connsiteX34" fmla="*/ 85772 w 7524134"/>
                  <a:gd name="connsiteY34" fmla="*/ 6699769 h 6756949"/>
                  <a:gd name="connsiteX35" fmla="*/ 71477 w 7524134"/>
                  <a:gd name="connsiteY35" fmla="*/ 6709299 h 6756949"/>
                  <a:gd name="connsiteX36" fmla="*/ 66712 w 7524134"/>
                  <a:gd name="connsiteY36" fmla="*/ 6714065 h 6756949"/>
                  <a:gd name="connsiteX37" fmla="*/ 57181 w 7524134"/>
                  <a:gd name="connsiteY37" fmla="*/ 6737889 h 6756949"/>
                  <a:gd name="connsiteX38" fmla="*/ 47651 w 7524134"/>
                  <a:gd name="connsiteY38" fmla="*/ 6747419 h 6756949"/>
                  <a:gd name="connsiteX39" fmla="*/ 47651 w 7524134"/>
                  <a:gd name="connsiteY39" fmla="*/ 6752185 h 6756949"/>
                  <a:gd name="connsiteX40" fmla="*/ 42886 w 7524134"/>
                  <a:gd name="connsiteY40" fmla="*/ 6752185 h 6756949"/>
                  <a:gd name="connsiteX41" fmla="*/ 19061 w 7524134"/>
                  <a:gd name="connsiteY41" fmla="*/ 6737889 h 6756949"/>
                  <a:gd name="connsiteX42" fmla="*/ 19061 w 7524134"/>
                  <a:gd name="connsiteY42" fmla="*/ 6733125 h 6756949"/>
                  <a:gd name="connsiteX43" fmla="*/ 28591 w 7524134"/>
                  <a:gd name="connsiteY43" fmla="*/ 6728359 h 6756949"/>
                  <a:gd name="connsiteX44" fmla="*/ 33356 w 7524134"/>
                  <a:gd name="connsiteY44" fmla="*/ 6723595 h 6756949"/>
                  <a:gd name="connsiteX45" fmla="*/ 33356 w 7524134"/>
                  <a:gd name="connsiteY45" fmla="*/ 6714065 h 6756949"/>
                  <a:gd name="connsiteX46" fmla="*/ 23826 w 7524134"/>
                  <a:gd name="connsiteY46" fmla="*/ 6709299 h 6756949"/>
                  <a:gd name="connsiteX47" fmla="*/ 4765 w 7524134"/>
                  <a:gd name="connsiteY47" fmla="*/ 6695003 h 6756949"/>
                  <a:gd name="connsiteX48" fmla="*/ 0 w 7524134"/>
                  <a:gd name="connsiteY48" fmla="*/ 6685473 h 6756949"/>
                  <a:gd name="connsiteX49" fmla="*/ 4765 w 7524134"/>
                  <a:gd name="connsiteY49" fmla="*/ 6680709 h 6756949"/>
                  <a:gd name="connsiteX50" fmla="*/ 233491 w 7524134"/>
                  <a:gd name="connsiteY50" fmla="*/ 6661647 h 6756949"/>
                  <a:gd name="connsiteX51" fmla="*/ 247786 w 7524134"/>
                  <a:gd name="connsiteY51" fmla="*/ 6661647 h 6756949"/>
                  <a:gd name="connsiteX52" fmla="*/ 257316 w 7524134"/>
                  <a:gd name="connsiteY52" fmla="*/ 6671177 h 6756949"/>
                  <a:gd name="connsiteX53" fmla="*/ 257316 w 7524134"/>
                  <a:gd name="connsiteY53" fmla="*/ 6675943 h 6756949"/>
                  <a:gd name="connsiteX54" fmla="*/ 252551 w 7524134"/>
                  <a:gd name="connsiteY54" fmla="*/ 6690237 h 6756949"/>
                  <a:gd name="connsiteX55" fmla="*/ 252551 w 7524134"/>
                  <a:gd name="connsiteY55" fmla="*/ 6699769 h 6756949"/>
                  <a:gd name="connsiteX56" fmla="*/ 266846 w 7524134"/>
                  <a:gd name="connsiteY56" fmla="*/ 6699769 h 6756949"/>
                  <a:gd name="connsiteX57" fmla="*/ 276376 w 7524134"/>
                  <a:gd name="connsiteY57" fmla="*/ 6699769 h 6756949"/>
                  <a:gd name="connsiteX58" fmla="*/ 276376 w 7524134"/>
                  <a:gd name="connsiteY58" fmla="*/ 6718829 h 6756949"/>
                  <a:gd name="connsiteX59" fmla="*/ 271612 w 7524134"/>
                  <a:gd name="connsiteY59" fmla="*/ 6723593 h 6756949"/>
                  <a:gd name="connsiteX60" fmla="*/ 262081 w 7524134"/>
                  <a:gd name="connsiteY60" fmla="*/ 6718829 h 6756949"/>
                  <a:gd name="connsiteX61" fmla="*/ 257316 w 7524134"/>
                  <a:gd name="connsiteY61" fmla="*/ 6728359 h 6756949"/>
                  <a:gd name="connsiteX62" fmla="*/ 223961 w 7524134"/>
                  <a:gd name="connsiteY62" fmla="*/ 6752185 h 6756949"/>
                  <a:gd name="connsiteX63" fmla="*/ 214431 w 7524134"/>
                  <a:gd name="connsiteY63" fmla="*/ 6737889 h 6756949"/>
                  <a:gd name="connsiteX64" fmla="*/ 190605 w 7524134"/>
                  <a:gd name="connsiteY64" fmla="*/ 6756949 h 6756949"/>
                  <a:gd name="connsiteX65" fmla="*/ 204900 w 7524134"/>
                  <a:gd name="connsiteY65" fmla="*/ 6709299 h 6756949"/>
                  <a:gd name="connsiteX66" fmla="*/ 223961 w 7524134"/>
                  <a:gd name="connsiteY66" fmla="*/ 6704533 h 6756949"/>
                  <a:gd name="connsiteX67" fmla="*/ 228726 w 7524134"/>
                  <a:gd name="connsiteY67" fmla="*/ 6695003 h 6756949"/>
                  <a:gd name="connsiteX68" fmla="*/ 228726 w 7524134"/>
                  <a:gd name="connsiteY68" fmla="*/ 6680707 h 6756949"/>
                  <a:gd name="connsiteX69" fmla="*/ 319263 w 7524134"/>
                  <a:gd name="connsiteY69" fmla="*/ 6633057 h 6756949"/>
                  <a:gd name="connsiteX70" fmla="*/ 328793 w 7524134"/>
                  <a:gd name="connsiteY70" fmla="*/ 6633057 h 6756949"/>
                  <a:gd name="connsiteX71" fmla="*/ 338323 w 7524134"/>
                  <a:gd name="connsiteY71" fmla="*/ 6637823 h 6756949"/>
                  <a:gd name="connsiteX72" fmla="*/ 343089 w 7524134"/>
                  <a:gd name="connsiteY72" fmla="*/ 6642587 h 6756949"/>
                  <a:gd name="connsiteX73" fmla="*/ 347854 w 7524134"/>
                  <a:gd name="connsiteY73" fmla="*/ 6647353 h 6756949"/>
                  <a:gd name="connsiteX74" fmla="*/ 338323 w 7524134"/>
                  <a:gd name="connsiteY74" fmla="*/ 6656883 h 6756949"/>
                  <a:gd name="connsiteX75" fmla="*/ 333558 w 7524134"/>
                  <a:gd name="connsiteY75" fmla="*/ 6661649 h 6756949"/>
                  <a:gd name="connsiteX76" fmla="*/ 319263 w 7524134"/>
                  <a:gd name="connsiteY76" fmla="*/ 6656883 h 6756949"/>
                  <a:gd name="connsiteX77" fmla="*/ 314497 w 7524134"/>
                  <a:gd name="connsiteY77" fmla="*/ 6647353 h 6756949"/>
                  <a:gd name="connsiteX78" fmla="*/ 314497 w 7524134"/>
                  <a:gd name="connsiteY78" fmla="*/ 6642587 h 6756949"/>
                  <a:gd name="connsiteX79" fmla="*/ 710004 w 7524134"/>
                  <a:gd name="connsiteY79" fmla="*/ 6618761 h 6756949"/>
                  <a:gd name="connsiteX80" fmla="*/ 724300 w 7524134"/>
                  <a:gd name="connsiteY80" fmla="*/ 6623527 h 6756949"/>
                  <a:gd name="connsiteX81" fmla="*/ 757656 w 7524134"/>
                  <a:gd name="connsiteY81" fmla="*/ 6633057 h 6756949"/>
                  <a:gd name="connsiteX82" fmla="*/ 795776 w 7524134"/>
                  <a:gd name="connsiteY82" fmla="*/ 6633057 h 6756949"/>
                  <a:gd name="connsiteX83" fmla="*/ 810072 w 7524134"/>
                  <a:gd name="connsiteY83" fmla="*/ 6633057 h 6756949"/>
                  <a:gd name="connsiteX84" fmla="*/ 810072 w 7524134"/>
                  <a:gd name="connsiteY84" fmla="*/ 6637821 h 6756949"/>
                  <a:gd name="connsiteX85" fmla="*/ 781481 w 7524134"/>
                  <a:gd name="connsiteY85" fmla="*/ 6642587 h 6756949"/>
                  <a:gd name="connsiteX86" fmla="*/ 776716 w 7524134"/>
                  <a:gd name="connsiteY86" fmla="*/ 6637821 h 6756949"/>
                  <a:gd name="connsiteX87" fmla="*/ 752890 w 7524134"/>
                  <a:gd name="connsiteY87" fmla="*/ 6642587 h 6756949"/>
                  <a:gd name="connsiteX88" fmla="*/ 738595 w 7524134"/>
                  <a:gd name="connsiteY88" fmla="*/ 6647353 h 6756949"/>
                  <a:gd name="connsiteX89" fmla="*/ 705239 w 7524134"/>
                  <a:gd name="connsiteY89" fmla="*/ 6642587 h 6756949"/>
                  <a:gd name="connsiteX90" fmla="*/ 681413 w 7524134"/>
                  <a:gd name="connsiteY90" fmla="*/ 6642587 h 6756949"/>
                  <a:gd name="connsiteX91" fmla="*/ 676649 w 7524134"/>
                  <a:gd name="connsiteY91" fmla="*/ 6642587 h 6756949"/>
                  <a:gd name="connsiteX92" fmla="*/ 667118 w 7524134"/>
                  <a:gd name="connsiteY92" fmla="*/ 6637821 h 6756949"/>
                  <a:gd name="connsiteX93" fmla="*/ 657588 w 7524134"/>
                  <a:gd name="connsiteY93" fmla="*/ 6628291 h 6756949"/>
                  <a:gd name="connsiteX94" fmla="*/ 657588 w 7524134"/>
                  <a:gd name="connsiteY94" fmla="*/ 6623527 h 6756949"/>
                  <a:gd name="connsiteX95" fmla="*/ 667118 w 7524134"/>
                  <a:gd name="connsiteY95" fmla="*/ 6623527 h 6756949"/>
                  <a:gd name="connsiteX96" fmla="*/ 686179 w 7524134"/>
                  <a:gd name="connsiteY96" fmla="*/ 6628291 h 6756949"/>
                  <a:gd name="connsiteX97" fmla="*/ 690944 w 7524134"/>
                  <a:gd name="connsiteY97" fmla="*/ 6628291 h 6756949"/>
                  <a:gd name="connsiteX98" fmla="*/ 895844 w 7524134"/>
                  <a:gd name="connsiteY98" fmla="*/ 6556815 h 6756949"/>
                  <a:gd name="connsiteX99" fmla="*/ 910139 w 7524134"/>
                  <a:gd name="connsiteY99" fmla="*/ 6561581 h 6756949"/>
                  <a:gd name="connsiteX100" fmla="*/ 919669 w 7524134"/>
                  <a:gd name="connsiteY100" fmla="*/ 6571111 h 6756949"/>
                  <a:gd name="connsiteX101" fmla="*/ 895844 w 7524134"/>
                  <a:gd name="connsiteY101" fmla="*/ 6585405 h 6756949"/>
                  <a:gd name="connsiteX102" fmla="*/ 886313 w 7524134"/>
                  <a:gd name="connsiteY102" fmla="*/ 6590171 h 6756949"/>
                  <a:gd name="connsiteX103" fmla="*/ 872018 w 7524134"/>
                  <a:gd name="connsiteY103" fmla="*/ 6585405 h 6756949"/>
                  <a:gd name="connsiteX104" fmla="*/ 876783 w 7524134"/>
                  <a:gd name="connsiteY104" fmla="*/ 6575875 h 6756949"/>
                  <a:gd name="connsiteX105" fmla="*/ 881548 w 7524134"/>
                  <a:gd name="connsiteY105" fmla="*/ 6566345 h 6756949"/>
                  <a:gd name="connsiteX106" fmla="*/ 628996 w 7524134"/>
                  <a:gd name="connsiteY106" fmla="*/ 6552049 h 6756949"/>
                  <a:gd name="connsiteX107" fmla="*/ 648057 w 7524134"/>
                  <a:gd name="connsiteY107" fmla="*/ 6561579 h 6756949"/>
                  <a:gd name="connsiteX108" fmla="*/ 652822 w 7524134"/>
                  <a:gd name="connsiteY108" fmla="*/ 6571109 h 6756949"/>
                  <a:gd name="connsiteX109" fmla="*/ 652822 w 7524134"/>
                  <a:gd name="connsiteY109" fmla="*/ 6580639 h 6756949"/>
                  <a:gd name="connsiteX110" fmla="*/ 648057 w 7524134"/>
                  <a:gd name="connsiteY110" fmla="*/ 6594935 h 6756949"/>
                  <a:gd name="connsiteX111" fmla="*/ 628996 w 7524134"/>
                  <a:gd name="connsiteY111" fmla="*/ 6599701 h 6756949"/>
                  <a:gd name="connsiteX112" fmla="*/ 628996 w 7524134"/>
                  <a:gd name="connsiteY112" fmla="*/ 6604465 h 6756949"/>
                  <a:gd name="connsiteX113" fmla="*/ 638527 w 7524134"/>
                  <a:gd name="connsiteY113" fmla="*/ 6623527 h 6756949"/>
                  <a:gd name="connsiteX114" fmla="*/ 600406 w 7524134"/>
                  <a:gd name="connsiteY114" fmla="*/ 6637821 h 6756949"/>
                  <a:gd name="connsiteX115" fmla="*/ 547989 w 7524134"/>
                  <a:gd name="connsiteY115" fmla="*/ 6647351 h 6756949"/>
                  <a:gd name="connsiteX116" fmla="*/ 466982 w 7524134"/>
                  <a:gd name="connsiteY116" fmla="*/ 6656881 h 6756949"/>
                  <a:gd name="connsiteX117" fmla="*/ 452687 w 7524134"/>
                  <a:gd name="connsiteY117" fmla="*/ 6652117 h 6756949"/>
                  <a:gd name="connsiteX118" fmla="*/ 466982 w 7524134"/>
                  <a:gd name="connsiteY118" fmla="*/ 6647351 h 6756949"/>
                  <a:gd name="connsiteX119" fmla="*/ 481278 w 7524134"/>
                  <a:gd name="connsiteY119" fmla="*/ 6642587 h 6756949"/>
                  <a:gd name="connsiteX120" fmla="*/ 514633 w 7524134"/>
                  <a:gd name="connsiteY120" fmla="*/ 6633057 h 6756949"/>
                  <a:gd name="connsiteX121" fmla="*/ 552754 w 7524134"/>
                  <a:gd name="connsiteY121" fmla="*/ 6623527 h 6756949"/>
                  <a:gd name="connsiteX122" fmla="*/ 581346 w 7524134"/>
                  <a:gd name="connsiteY122" fmla="*/ 6609231 h 6756949"/>
                  <a:gd name="connsiteX123" fmla="*/ 605171 w 7524134"/>
                  <a:gd name="connsiteY123" fmla="*/ 6599701 h 6756949"/>
                  <a:gd name="connsiteX124" fmla="*/ 614701 w 7524134"/>
                  <a:gd name="connsiteY124" fmla="*/ 6590171 h 6756949"/>
                  <a:gd name="connsiteX125" fmla="*/ 590875 w 7524134"/>
                  <a:gd name="connsiteY125" fmla="*/ 6580639 h 6756949"/>
                  <a:gd name="connsiteX126" fmla="*/ 586110 w 7524134"/>
                  <a:gd name="connsiteY126" fmla="*/ 6575875 h 6756949"/>
                  <a:gd name="connsiteX127" fmla="*/ 600406 w 7524134"/>
                  <a:gd name="connsiteY127" fmla="*/ 6571109 h 6756949"/>
                  <a:gd name="connsiteX128" fmla="*/ 605171 w 7524134"/>
                  <a:gd name="connsiteY128" fmla="*/ 6561579 h 6756949"/>
                  <a:gd name="connsiteX129" fmla="*/ 1172222 w 7524134"/>
                  <a:gd name="connsiteY129" fmla="*/ 6480573 h 6756949"/>
                  <a:gd name="connsiteX130" fmla="*/ 1186517 w 7524134"/>
                  <a:gd name="connsiteY130" fmla="*/ 6480573 h 6756949"/>
                  <a:gd name="connsiteX131" fmla="*/ 1191282 w 7524134"/>
                  <a:gd name="connsiteY131" fmla="*/ 6485339 h 6756949"/>
                  <a:gd name="connsiteX132" fmla="*/ 1186517 w 7524134"/>
                  <a:gd name="connsiteY132" fmla="*/ 6490103 h 6756949"/>
                  <a:gd name="connsiteX133" fmla="*/ 1186517 w 7524134"/>
                  <a:gd name="connsiteY133" fmla="*/ 6499633 h 6756949"/>
                  <a:gd name="connsiteX134" fmla="*/ 1176987 w 7524134"/>
                  <a:gd name="connsiteY134" fmla="*/ 6504399 h 6756949"/>
                  <a:gd name="connsiteX135" fmla="*/ 1172222 w 7524134"/>
                  <a:gd name="connsiteY135" fmla="*/ 6504399 h 6756949"/>
                  <a:gd name="connsiteX136" fmla="*/ 1167457 w 7524134"/>
                  <a:gd name="connsiteY136" fmla="*/ 6509163 h 6756949"/>
                  <a:gd name="connsiteX137" fmla="*/ 1157926 w 7524134"/>
                  <a:gd name="connsiteY137" fmla="*/ 6518693 h 6756949"/>
                  <a:gd name="connsiteX138" fmla="*/ 1153161 w 7524134"/>
                  <a:gd name="connsiteY138" fmla="*/ 6513929 h 6756949"/>
                  <a:gd name="connsiteX139" fmla="*/ 1153161 w 7524134"/>
                  <a:gd name="connsiteY139" fmla="*/ 6504399 h 6756949"/>
                  <a:gd name="connsiteX140" fmla="*/ 1157926 w 7524134"/>
                  <a:gd name="connsiteY140" fmla="*/ 6494869 h 6756949"/>
                  <a:gd name="connsiteX141" fmla="*/ 1310407 w 7524134"/>
                  <a:gd name="connsiteY141" fmla="*/ 6432921 h 6756949"/>
                  <a:gd name="connsiteX142" fmla="*/ 1319938 w 7524134"/>
                  <a:gd name="connsiteY142" fmla="*/ 6432921 h 6756949"/>
                  <a:gd name="connsiteX143" fmla="*/ 1324703 w 7524134"/>
                  <a:gd name="connsiteY143" fmla="*/ 6432921 h 6756949"/>
                  <a:gd name="connsiteX144" fmla="*/ 1329468 w 7524134"/>
                  <a:gd name="connsiteY144" fmla="*/ 6437687 h 6756949"/>
                  <a:gd name="connsiteX145" fmla="*/ 1324703 w 7524134"/>
                  <a:gd name="connsiteY145" fmla="*/ 6451981 h 6756949"/>
                  <a:gd name="connsiteX146" fmla="*/ 1300879 w 7524134"/>
                  <a:gd name="connsiteY146" fmla="*/ 6447217 h 6756949"/>
                  <a:gd name="connsiteX147" fmla="*/ 1281820 w 7524134"/>
                  <a:gd name="connsiteY147" fmla="*/ 6451981 h 6756949"/>
                  <a:gd name="connsiteX148" fmla="*/ 1281820 w 7524134"/>
                  <a:gd name="connsiteY148" fmla="*/ 6442451 h 6756949"/>
                  <a:gd name="connsiteX149" fmla="*/ 1281820 w 7524134"/>
                  <a:gd name="connsiteY149" fmla="*/ 6437687 h 6756949"/>
                  <a:gd name="connsiteX150" fmla="*/ 1582020 w 7524134"/>
                  <a:gd name="connsiteY150" fmla="*/ 6251847 h 6756949"/>
                  <a:gd name="connsiteX151" fmla="*/ 1596315 w 7524134"/>
                  <a:gd name="connsiteY151" fmla="*/ 6251847 h 6756949"/>
                  <a:gd name="connsiteX152" fmla="*/ 1620141 w 7524134"/>
                  <a:gd name="connsiteY152" fmla="*/ 6266143 h 6756949"/>
                  <a:gd name="connsiteX153" fmla="*/ 1624906 w 7524134"/>
                  <a:gd name="connsiteY153" fmla="*/ 6270907 h 6756949"/>
                  <a:gd name="connsiteX154" fmla="*/ 1615376 w 7524134"/>
                  <a:gd name="connsiteY154" fmla="*/ 6285203 h 6756949"/>
                  <a:gd name="connsiteX155" fmla="*/ 1615376 w 7524134"/>
                  <a:gd name="connsiteY155" fmla="*/ 6299499 h 6756949"/>
                  <a:gd name="connsiteX156" fmla="*/ 1596315 w 7524134"/>
                  <a:gd name="connsiteY156" fmla="*/ 6309029 h 6756949"/>
                  <a:gd name="connsiteX157" fmla="*/ 1548664 w 7524134"/>
                  <a:gd name="connsiteY157" fmla="*/ 6337619 h 6756949"/>
                  <a:gd name="connsiteX158" fmla="*/ 1534369 w 7524134"/>
                  <a:gd name="connsiteY158" fmla="*/ 6356679 h 6756949"/>
                  <a:gd name="connsiteX159" fmla="*/ 1524839 w 7524134"/>
                  <a:gd name="connsiteY159" fmla="*/ 6380505 h 6756949"/>
                  <a:gd name="connsiteX160" fmla="*/ 1515308 w 7524134"/>
                  <a:gd name="connsiteY160" fmla="*/ 6390035 h 6756949"/>
                  <a:gd name="connsiteX161" fmla="*/ 1505778 w 7524134"/>
                  <a:gd name="connsiteY161" fmla="*/ 6390035 h 6756949"/>
                  <a:gd name="connsiteX162" fmla="*/ 1501013 w 7524134"/>
                  <a:gd name="connsiteY162" fmla="*/ 6394801 h 6756949"/>
                  <a:gd name="connsiteX163" fmla="*/ 1481953 w 7524134"/>
                  <a:gd name="connsiteY163" fmla="*/ 6409097 h 6756949"/>
                  <a:gd name="connsiteX164" fmla="*/ 1477187 w 7524134"/>
                  <a:gd name="connsiteY164" fmla="*/ 6409097 h 6756949"/>
                  <a:gd name="connsiteX165" fmla="*/ 1424771 w 7524134"/>
                  <a:gd name="connsiteY165" fmla="*/ 6442453 h 6756949"/>
                  <a:gd name="connsiteX166" fmla="*/ 1424771 w 7524134"/>
                  <a:gd name="connsiteY166" fmla="*/ 6437687 h 6756949"/>
                  <a:gd name="connsiteX167" fmla="*/ 1439066 w 7524134"/>
                  <a:gd name="connsiteY167" fmla="*/ 6423391 h 6756949"/>
                  <a:gd name="connsiteX168" fmla="*/ 1448597 w 7524134"/>
                  <a:gd name="connsiteY168" fmla="*/ 6413861 h 6756949"/>
                  <a:gd name="connsiteX169" fmla="*/ 1462892 w 7524134"/>
                  <a:gd name="connsiteY169" fmla="*/ 6394801 h 6756949"/>
                  <a:gd name="connsiteX170" fmla="*/ 1467657 w 7524134"/>
                  <a:gd name="connsiteY170" fmla="*/ 6390035 h 6756949"/>
                  <a:gd name="connsiteX171" fmla="*/ 1472422 w 7524134"/>
                  <a:gd name="connsiteY171" fmla="*/ 6380505 h 6756949"/>
                  <a:gd name="connsiteX172" fmla="*/ 1472422 w 7524134"/>
                  <a:gd name="connsiteY172" fmla="*/ 6361445 h 6756949"/>
                  <a:gd name="connsiteX173" fmla="*/ 1472422 w 7524134"/>
                  <a:gd name="connsiteY173" fmla="*/ 6356679 h 6756949"/>
                  <a:gd name="connsiteX174" fmla="*/ 1486717 w 7524134"/>
                  <a:gd name="connsiteY174" fmla="*/ 6342385 h 6756949"/>
                  <a:gd name="connsiteX175" fmla="*/ 1491483 w 7524134"/>
                  <a:gd name="connsiteY175" fmla="*/ 6332855 h 6756949"/>
                  <a:gd name="connsiteX176" fmla="*/ 1501013 w 7524134"/>
                  <a:gd name="connsiteY176" fmla="*/ 6332855 h 6756949"/>
                  <a:gd name="connsiteX177" fmla="*/ 1524839 w 7524134"/>
                  <a:gd name="connsiteY177" fmla="*/ 6332855 h 6756949"/>
                  <a:gd name="connsiteX178" fmla="*/ 1534369 w 7524134"/>
                  <a:gd name="connsiteY178" fmla="*/ 6328089 h 6756949"/>
                  <a:gd name="connsiteX179" fmla="*/ 1534369 w 7524134"/>
                  <a:gd name="connsiteY179" fmla="*/ 6323323 h 6756949"/>
                  <a:gd name="connsiteX180" fmla="*/ 1529604 w 7524134"/>
                  <a:gd name="connsiteY180" fmla="*/ 6318559 h 6756949"/>
                  <a:gd name="connsiteX181" fmla="*/ 1529604 w 7524134"/>
                  <a:gd name="connsiteY181" fmla="*/ 6309029 h 6756949"/>
                  <a:gd name="connsiteX182" fmla="*/ 1529604 w 7524134"/>
                  <a:gd name="connsiteY182" fmla="*/ 6294733 h 6756949"/>
                  <a:gd name="connsiteX183" fmla="*/ 1539134 w 7524134"/>
                  <a:gd name="connsiteY183" fmla="*/ 6280437 h 6756949"/>
                  <a:gd name="connsiteX184" fmla="*/ 1548664 w 7524134"/>
                  <a:gd name="connsiteY184" fmla="*/ 6270907 h 6756949"/>
                  <a:gd name="connsiteX185" fmla="*/ 1562960 w 7524134"/>
                  <a:gd name="connsiteY185" fmla="*/ 6261377 h 6756949"/>
                  <a:gd name="connsiteX186" fmla="*/ 1882224 w 7524134"/>
                  <a:gd name="connsiteY186" fmla="*/ 6180369 h 6756949"/>
                  <a:gd name="connsiteX187" fmla="*/ 1886989 w 7524134"/>
                  <a:gd name="connsiteY187" fmla="*/ 6180369 h 6756949"/>
                  <a:gd name="connsiteX188" fmla="*/ 1882224 w 7524134"/>
                  <a:gd name="connsiteY188" fmla="*/ 6194665 h 6756949"/>
                  <a:gd name="connsiteX189" fmla="*/ 1877459 w 7524134"/>
                  <a:gd name="connsiteY189" fmla="*/ 6204195 h 6756949"/>
                  <a:gd name="connsiteX190" fmla="*/ 1872694 w 7524134"/>
                  <a:gd name="connsiteY190" fmla="*/ 6208961 h 6756949"/>
                  <a:gd name="connsiteX191" fmla="*/ 1867928 w 7524134"/>
                  <a:gd name="connsiteY191" fmla="*/ 6208961 h 6756949"/>
                  <a:gd name="connsiteX192" fmla="*/ 1867928 w 7524134"/>
                  <a:gd name="connsiteY192" fmla="*/ 6204195 h 6756949"/>
                  <a:gd name="connsiteX193" fmla="*/ 1867928 w 7524134"/>
                  <a:gd name="connsiteY193" fmla="*/ 6199431 h 6756949"/>
                  <a:gd name="connsiteX194" fmla="*/ 1877459 w 7524134"/>
                  <a:gd name="connsiteY194" fmla="*/ 6185135 h 6756949"/>
                  <a:gd name="connsiteX195" fmla="*/ 1791686 w 7524134"/>
                  <a:gd name="connsiteY195" fmla="*/ 6137483 h 6756949"/>
                  <a:gd name="connsiteX196" fmla="*/ 1801216 w 7524134"/>
                  <a:gd name="connsiteY196" fmla="*/ 6137483 h 6756949"/>
                  <a:gd name="connsiteX197" fmla="*/ 1805981 w 7524134"/>
                  <a:gd name="connsiteY197" fmla="*/ 6137483 h 6756949"/>
                  <a:gd name="connsiteX198" fmla="*/ 1810747 w 7524134"/>
                  <a:gd name="connsiteY198" fmla="*/ 6166073 h 6756949"/>
                  <a:gd name="connsiteX199" fmla="*/ 1815512 w 7524134"/>
                  <a:gd name="connsiteY199" fmla="*/ 6175603 h 6756949"/>
                  <a:gd name="connsiteX200" fmla="*/ 1829807 w 7524134"/>
                  <a:gd name="connsiteY200" fmla="*/ 6166073 h 6756949"/>
                  <a:gd name="connsiteX201" fmla="*/ 1834572 w 7524134"/>
                  <a:gd name="connsiteY201" fmla="*/ 6156543 h 6756949"/>
                  <a:gd name="connsiteX202" fmla="*/ 1844102 w 7524134"/>
                  <a:gd name="connsiteY202" fmla="*/ 6142249 h 6756949"/>
                  <a:gd name="connsiteX203" fmla="*/ 1848868 w 7524134"/>
                  <a:gd name="connsiteY203" fmla="*/ 6137483 h 6756949"/>
                  <a:gd name="connsiteX204" fmla="*/ 1853633 w 7524134"/>
                  <a:gd name="connsiteY204" fmla="*/ 6147013 h 6756949"/>
                  <a:gd name="connsiteX205" fmla="*/ 1867928 w 7524134"/>
                  <a:gd name="connsiteY205" fmla="*/ 6156543 h 6756949"/>
                  <a:gd name="connsiteX206" fmla="*/ 1853633 w 7524134"/>
                  <a:gd name="connsiteY206" fmla="*/ 6170839 h 6756949"/>
                  <a:gd name="connsiteX207" fmla="*/ 1829807 w 7524134"/>
                  <a:gd name="connsiteY207" fmla="*/ 6194665 h 6756949"/>
                  <a:gd name="connsiteX208" fmla="*/ 1820277 w 7524134"/>
                  <a:gd name="connsiteY208" fmla="*/ 6208959 h 6756949"/>
                  <a:gd name="connsiteX209" fmla="*/ 1820277 w 7524134"/>
                  <a:gd name="connsiteY209" fmla="*/ 6218491 h 6756949"/>
                  <a:gd name="connsiteX210" fmla="*/ 1844102 w 7524134"/>
                  <a:gd name="connsiteY210" fmla="*/ 6208959 h 6756949"/>
                  <a:gd name="connsiteX211" fmla="*/ 1853633 w 7524134"/>
                  <a:gd name="connsiteY211" fmla="*/ 6213725 h 6756949"/>
                  <a:gd name="connsiteX212" fmla="*/ 1858398 w 7524134"/>
                  <a:gd name="connsiteY212" fmla="*/ 6218491 h 6756949"/>
                  <a:gd name="connsiteX213" fmla="*/ 1848868 w 7524134"/>
                  <a:gd name="connsiteY213" fmla="*/ 6223255 h 6756949"/>
                  <a:gd name="connsiteX214" fmla="*/ 1834572 w 7524134"/>
                  <a:gd name="connsiteY214" fmla="*/ 6228021 h 6756949"/>
                  <a:gd name="connsiteX215" fmla="*/ 1825042 w 7524134"/>
                  <a:gd name="connsiteY215" fmla="*/ 6242315 h 6756949"/>
                  <a:gd name="connsiteX216" fmla="*/ 1796451 w 7524134"/>
                  <a:gd name="connsiteY216" fmla="*/ 6261377 h 6756949"/>
                  <a:gd name="connsiteX217" fmla="*/ 1786921 w 7524134"/>
                  <a:gd name="connsiteY217" fmla="*/ 6275671 h 6756949"/>
                  <a:gd name="connsiteX218" fmla="*/ 1772625 w 7524134"/>
                  <a:gd name="connsiteY218" fmla="*/ 6280437 h 6756949"/>
                  <a:gd name="connsiteX219" fmla="*/ 1753565 w 7524134"/>
                  <a:gd name="connsiteY219" fmla="*/ 6285201 h 6756949"/>
                  <a:gd name="connsiteX220" fmla="*/ 1724974 w 7524134"/>
                  <a:gd name="connsiteY220" fmla="*/ 6294733 h 6756949"/>
                  <a:gd name="connsiteX221" fmla="*/ 1705914 w 7524134"/>
                  <a:gd name="connsiteY221" fmla="*/ 6304263 h 6756949"/>
                  <a:gd name="connsiteX222" fmla="*/ 1701148 w 7524134"/>
                  <a:gd name="connsiteY222" fmla="*/ 6309027 h 6756949"/>
                  <a:gd name="connsiteX223" fmla="*/ 1696384 w 7524134"/>
                  <a:gd name="connsiteY223" fmla="*/ 6309027 h 6756949"/>
                  <a:gd name="connsiteX224" fmla="*/ 1691618 w 7524134"/>
                  <a:gd name="connsiteY224" fmla="*/ 6309027 h 6756949"/>
                  <a:gd name="connsiteX225" fmla="*/ 1682088 w 7524134"/>
                  <a:gd name="connsiteY225" fmla="*/ 6313793 h 6756949"/>
                  <a:gd name="connsiteX226" fmla="*/ 1672558 w 7524134"/>
                  <a:gd name="connsiteY226" fmla="*/ 6323323 h 6756949"/>
                  <a:gd name="connsiteX227" fmla="*/ 1667792 w 7524134"/>
                  <a:gd name="connsiteY227" fmla="*/ 6328087 h 6756949"/>
                  <a:gd name="connsiteX228" fmla="*/ 1658262 w 7524134"/>
                  <a:gd name="connsiteY228" fmla="*/ 6328087 h 6756949"/>
                  <a:gd name="connsiteX229" fmla="*/ 1648732 w 7524134"/>
                  <a:gd name="connsiteY229" fmla="*/ 6332853 h 6756949"/>
                  <a:gd name="connsiteX230" fmla="*/ 1643967 w 7524134"/>
                  <a:gd name="connsiteY230" fmla="*/ 6332853 h 6756949"/>
                  <a:gd name="connsiteX231" fmla="*/ 1629671 w 7524134"/>
                  <a:gd name="connsiteY231" fmla="*/ 6323323 h 6756949"/>
                  <a:gd name="connsiteX232" fmla="*/ 1620141 w 7524134"/>
                  <a:gd name="connsiteY232" fmla="*/ 6313793 h 6756949"/>
                  <a:gd name="connsiteX233" fmla="*/ 1639202 w 7524134"/>
                  <a:gd name="connsiteY233" fmla="*/ 6304263 h 6756949"/>
                  <a:gd name="connsiteX234" fmla="*/ 1648732 w 7524134"/>
                  <a:gd name="connsiteY234" fmla="*/ 6299497 h 6756949"/>
                  <a:gd name="connsiteX235" fmla="*/ 1667792 w 7524134"/>
                  <a:gd name="connsiteY235" fmla="*/ 6299497 h 6756949"/>
                  <a:gd name="connsiteX236" fmla="*/ 1682088 w 7524134"/>
                  <a:gd name="connsiteY236" fmla="*/ 6285201 h 6756949"/>
                  <a:gd name="connsiteX237" fmla="*/ 1715444 w 7524134"/>
                  <a:gd name="connsiteY237" fmla="*/ 6270907 h 6756949"/>
                  <a:gd name="connsiteX238" fmla="*/ 1729739 w 7524134"/>
                  <a:gd name="connsiteY238" fmla="*/ 6261377 h 6756949"/>
                  <a:gd name="connsiteX239" fmla="*/ 1734504 w 7524134"/>
                  <a:gd name="connsiteY239" fmla="*/ 6232785 h 6756949"/>
                  <a:gd name="connsiteX240" fmla="*/ 1744035 w 7524134"/>
                  <a:gd name="connsiteY240" fmla="*/ 6228021 h 6756949"/>
                  <a:gd name="connsiteX241" fmla="*/ 1748800 w 7524134"/>
                  <a:gd name="connsiteY241" fmla="*/ 6218491 h 6756949"/>
                  <a:gd name="connsiteX242" fmla="*/ 1763095 w 7524134"/>
                  <a:gd name="connsiteY242" fmla="*/ 6218491 h 6756949"/>
                  <a:gd name="connsiteX243" fmla="*/ 1772625 w 7524134"/>
                  <a:gd name="connsiteY243" fmla="*/ 6228021 h 6756949"/>
                  <a:gd name="connsiteX244" fmla="*/ 1777391 w 7524134"/>
                  <a:gd name="connsiteY244" fmla="*/ 6232785 h 6756949"/>
                  <a:gd name="connsiteX245" fmla="*/ 1777391 w 7524134"/>
                  <a:gd name="connsiteY245" fmla="*/ 6223255 h 6756949"/>
                  <a:gd name="connsiteX246" fmla="*/ 1791686 w 7524134"/>
                  <a:gd name="connsiteY246" fmla="*/ 6213725 h 6756949"/>
                  <a:gd name="connsiteX247" fmla="*/ 1782156 w 7524134"/>
                  <a:gd name="connsiteY247" fmla="*/ 6208959 h 6756949"/>
                  <a:gd name="connsiteX248" fmla="*/ 1767861 w 7524134"/>
                  <a:gd name="connsiteY248" fmla="*/ 6199429 h 6756949"/>
                  <a:gd name="connsiteX249" fmla="*/ 1753565 w 7524134"/>
                  <a:gd name="connsiteY249" fmla="*/ 6199429 h 6756949"/>
                  <a:gd name="connsiteX250" fmla="*/ 1744035 w 7524134"/>
                  <a:gd name="connsiteY250" fmla="*/ 6199429 h 6756949"/>
                  <a:gd name="connsiteX251" fmla="*/ 1739269 w 7524134"/>
                  <a:gd name="connsiteY251" fmla="*/ 6194665 h 6756949"/>
                  <a:gd name="connsiteX252" fmla="*/ 1734504 w 7524134"/>
                  <a:gd name="connsiteY252" fmla="*/ 6185135 h 6756949"/>
                  <a:gd name="connsiteX253" fmla="*/ 1729739 w 7524134"/>
                  <a:gd name="connsiteY253" fmla="*/ 6180369 h 6756949"/>
                  <a:gd name="connsiteX254" fmla="*/ 1729739 w 7524134"/>
                  <a:gd name="connsiteY254" fmla="*/ 6170839 h 6756949"/>
                  <a:gd name="connsiteX255" fmla="*/ 1734504 w 7524134"/>
                  <a:gd name="connsiteY255" fmla="*/ 6161309 h 6756949"/>
                  <a:gd name="connsiteX256" fmla="*/ 1744035 w 7524134"/>
                  <a:gd name="connsiteY256" fmla="*/ 6151779 h 6756949"/>
                  <a:gd name="connsiteX257" fmla="*/ 1753565 w 7524134"/>
                  <a:gd name="connsiteY257" fmla="*/ 6147013 h 6756949"/>
                  <a:gd name="connsiteX258" fmla="*/ 1772625 w 7524134"/>
                  <a:gd name="connsiteY258" fmla="*/ 6142249 h 6756949"/>
                  <a:gd name="connsiteX259" fmla="*/ 1910814 w 7524134"/>
                  <a:gd name="connsiteY259" fmla="*/ 6080301 h 6756949"/>
                  <a:gd name="connsiteX260" fmla="*/ 1920344 w 7524134"/>
                  <a:gd name="connsiteY260" fmla="*/ 6080301 h 6756949"/>
                  <a:gd name="connsiteX261" fmla="*/ 1944170 w 7524134"/>
                  <a:gd name="connsiteY261" fmla="*/ 6094597 h 6756949"/>
                  <a:gd name="connsiteX262" fmla="*/ 1948935 w 7524134"/>
                  <a:gd name="connsiteY262" fmla="*/ 6104127 h 6756949"/>
                  <a:gd name="connsiteX263" fmla="*/ 1953700 w 7524134"/>
                  <a:gd name="connsiteY263" fmla="*/ 6108893 h 6756949"/>
                  <a:gd name="connsiteX264" fmla="*/ 1944170 w 7524134"/>
                  <a:gd name="connsiteY264" fmla="*/ 6113657 h 6756949"/>
                  <a:gd name="connsiteX265" fmla="*/ 1929874 w 7524134"/>
                  <a:gd name="connsiteY265" fmla="*/ 6118423 h 6756949"/>
                  <a:gd name="connsiteX266" fmla="*/ 1925110 w 7524134"/>
                  <a:gd name="connsiteY266" fmla="*/ 6123189 h 6756949"/>
                  <a:gd name="connsiteX267" fmla="*/ 1920344 w 7524134"/>
                  <a:gd name="connsiteY267" fmla="*/ 6123189 h 6756949"/>
                  <a:gd name="connsiteX268" fmla="*/ 1915579 w 7524134"/>
                  <a:gd name="connsiteY268" fmla="*/ 6123189 h 6756949"/>
                  <a:gd name="connsiteX269" fmla="*/ 1901284 w 7524134"/>
                  <a:gd name="connsiteY269" fmla="*/ 6123189 h 6756949"/>
                  <a:gd name="connsiteX270" fmla="*/ 1896518 w 7524134"/>
                  <a:gd name="connsiteY270" fmla="*/ 6123189 h 6756949"/>
                  <a:gd name="connsiteX271" fmla="*/ 1886988 w 7524134"/>
                  <a:gd name="connsiteY271" fmla="*/ 6108893 h 6756949"/>
                  <a:gd name="connsiteX272" fmla="*/ 1886988 w 7524134"/>
                  <a:gd name="connsiteY272" fmla="*/ 6099363 h 6756949"/>
                  <a:gd name="connsiteX273" fmla="*/ 1891754 w 7524134"/>
                  <a:gd name="connsiteY273" fmla="*/ 6094597 h 6756949"/>
                  <a:gd name="connsiteX274" fmla="*/ 1896518 w 7524134"/>
                  <a:gd name="connsiteY274" fmla="*/ 6085067 h 6756949"/>
                  <a:gd name="connsiteX275" fmla="*/ 1967995 w 7524134"/>
                  <a:gd name="connsiteY275" fmla="*/ 6061241 h 6756949"/>
                  <a:gd name="connsiteX276" fmla="*/ 1972761 w 7524134"/>
                  <a:gd name="connsiteY276" fmla="*/ 6061241 h 6756949"/>
                  <a:gd name="connsiteX277" fmla="*/ 1977526 w 7524134"/>
                  <a:gd name="connsiteY277" fmla="*/ 6066007 h 6756949"/>
                  <a:gd name="connsiteX278" fmla="*/ 1987056 w 7524134"/>
                  <a:gd name="connsiteY278" fmla="*/ 6080301 h 6756949"/>
                  <a:gd name="connsiteX279" fmla="*/ 1991821 w 7524134"/>
                  <a:gd name="connsiteY279" fmla="*/ 6080301 h 6756949"/>
                  <a:gd name="connsiteX280" fmla="*/ 1996586 w 7524134"/>
                  <a:gd name="connsiteY280" fmla="*/ 6085067 h 6756949"/>
                  <a:gd name="connsiteX281" fmla="*/ 1987056 w 7524134"/>
                  <a:gd name="connsiteY281" fmla="*/ 6089831 h 6756949"/>
                  <a:gd name="connsiteX282" fmla="*/ 1972761 w 7524134"/>
                  <a:gd name="connsiteY282" fmla="*/ 6099361 h 6756949"/>
                  <a:gd name="connsiteX283" fmla="*/ 1967995 w 7524134"/>
                  <a:gd name="connsiteY283" fmla="*/ 6104127 h 6756949"/>
                  <a:gd name="connsiteX284" fmla="*/ 1963230 w 7524134"/>
                  <a:gd name="connsiteY284" fmla="*/ 6099361 h 6756949"/>
                  <a:gd name="connsiteX285" fmla="*/ 1963230 w 7524134"/>
                  <a:gd name="connsiteY285" fmla="*/ 6089831 h 6756949"/>
                  <a:gd name="connsiteX286" fmla="*/ 1958465 w 7524134"/>
                  <a:gd name="connsiteY286" fmla="*/ 6070771 h 6756949"/>
                  <a:gd name="connsiteX287" fmla="*/ 2401622 w 7524134"/>
                  <a:gd name="connsiteY287" fmla="*/ 6004061 h 6756949"/>
                  <a:gd name="connsiteX288" fmla="*/ 2430213 w 7524134"/>
                  <a:gd name="connsiteY288" fmla="*/ 6013591 h 6756949"/>
                  <a:gd name="connsiteX289" fmla="*/ 2434978 w 7524134"/>
                  <a:gd name="connsiteY289" fmla="*/ 6018355 h 6756949"/>
                  <a:gd name="connsiteX290" fmla="*/ 2444508 w 7524134"/>
                  <a:gd name="connsiteY290" fmla="*/ 6027885 h 6756949"/>
                  <a:gd name="connsiteX291" fmla="*/ 2430213 w 7524134"/>
                  <a:gd name="connsiteY291" fmla="*/ 6037417 h 6756949"/>
                  <a:gd name="connsiteX292" fmla="*/ 2415917 w 7524134"/>
                  <a:gd name="connsiteY292" fmla="*/ 6027885 h 6756949"/>
                  <a:gd name="connsiteX293" fmla="*/ 2401622 w 7524134"/>
                  <a:gd name="connsiteY293" fmla="*/ 6018355 h 6756949"/>
                  <a:gd name="connsiteX294" fmla="*/ 2487395 w 7524134"/>
                  <a:gd name="connsiteY294" fmla="*/ 5870636 h 6756949"/>
                  <a:gd name="connsiteX295" fmla="*/ 2492160 w 7524134"/>
                  <a:gd name="connsiteY295" fmla="*/ 5880166 h 6756949"/>
                  <a:gd name="connsiteX296" fmla="*/ 2492160 w 7524134"/>
                  <a:gd name="connsiteY296" fmla="*/ 5884931 h 6756949"/>
                  <a:gd name="connsiteX297" fmla="*/ 2487395 w 7524134"/>
                  <a:gd name="connsiteY297" fmla="*/ 5903992 h 6756949"/>
                  <a:gd name="connsiteX298" fmla="*/ 2482630 w 7524134"/>
                  <a:gd name="connsiteY298" fmla="*/ 5908757 h 6756949"/>
                  <a:gd name="connsiteX299" fmla="*/ 2477865 w 7524134"/>
                  <a:gd name="connsiteY299" fmla="*/ 5913522 h 6756949"/>
                  <a:gd name="connsiteX300" fmla="*/ 2468335 w 7524134"/>
                  <a:gd name="connsiteY300" fmla="*/ 5903992 h 6756949"/>
                  <a:gd name="connsiteX301" fmla="*/ 2463569 w 7524134"/>
                  <a:gd name="connsiteY301" fmla="*/ 5894462 h 6756949"/>
                  <a:gd name="connsiteX302" fmla="*/ 2463569 w 7524134"/>
                  <a:gd name="connsiteY302" fmla="*/ 5884931 h 6756949"/>
                  <a:gd name="connsiteX303" fmla="*/ 2482630 w 7524134"/>
                  <a:gd name="connsiteY303" fmla="*/ 5875401 h 6756949"/>
                  <a:gd name="connsiteX304" fmla="*/ 2239608 w 7524134"/>
                  <a:gd name="connsiteY304" fmla="*/ 5856341 h 6756949"/>
                  <a:gd name="connsiteX305" fmla="*/ 2249138 w 7524134"/>
                  <a:gd name="connsiteY305" fmla="*/ 5856341 h 6756949"/>
                  <a:gd name="connsiteX306" fmla="*/ 2277729 w 7524134"/>
                  <a:gd name="connsiteY306" fmla="*/ 5856341 h 6756949"/>
                  <a:gd name="connsiteX307" fmla="*/ 2287259 w 7524134"/>
                  <a:gd name="connsiteY307" fmla="*/ 5856341 h 6756949"/>
                  <a:gd name="connsiteX308" fmla="*/ 2292024 w 7524134"/>
                  <a:gd name="connsiteY308" fmla="*/ 5865871 h 6756949"/>
                  <a:gd name="connsiteX309" fmla="*/ 2301555 w 7524134"/>
                  <a:gd name="connsiteY309" fmla="*/ 5875402 h 6756949"/>
                  <a:gd name="connsiteX310" fmla="*/ 2315850 w 7524134"/>
                  <a:gd name="connsiteY310" fmla="*/ 5918288 h 6756949"/>
                  <a:gd name="connsiteX311" fmla="*/ 2320615 w 7524134"/>
                  <a:gd name="connsiteY311" fmla="*/ 5927818 h 6756949"/>
                  <a:gd name="connsiteX312" fmla="*/ 2330146 w 7524134"/>
                  <a:gd name="connsiteY312" fmla="*/ 5932583 h 6756949"/>
                  <a:gd name="connsiteX313" fmla="*/ 2344440 w 7524134"/>
                  <a:gd name="connsiteY313" fmla="*/ 5937349 h 6756949"/>
                  <a:gd name="connsiteX314" fmla="*/ 2353971 w 7524134"/>
                  <a:gd name="connsiteY314" fmla="*/ 5942113 h 6756949"/>
                  <a:gd name="connsiteX315" fmla="*/ 2358736 w 7524134"/>
                  <a:gd name="connsiteY315" fmla="*/ 5951643 h 6756949"/>
                  <a:gd name="connsiteX316" fmla="*/ 2358736 w 7524134"/>
                  <a:gd name="connsiteY316" fmla="*/ 5956409 h 6756949"/>
                  <a:gd name="connsiteX317" fmla="*/ 2315850 w 7524134"/>
                  <a:gd name="connsiteY317" fmla="*/ 5942113 h 6756949"/>
                  <a:gd name="connsiteX318" fmla="*/ 2292024 w 7524134"/>
                  <a:gd name="connsiteY318" fmla="*/ 5965939 h 6756949"/>
                  <a:gd name="connsiteX319" fmla="*/ 2282494 w 7524134"/>
                  <a:gd name="connsiteY319" fmla="*/ 5970705 h 6756949"/>
                  <a:gd name="connsiteX320" fmla="*/ 2206252 w 7524134"/>
                  <a:gd name="connsiteY320" fmla="*/ 5970705 h 6756949"/>
                  <a:gd name="connsiteX321" fmla="*/ 2191957 w 7524134"/>
                  <a:gd name="connsiteY321" fmla="*/ 5975469 h 6756949"/>
                  <a:gd name="connsiteX322" fmla="*/ 2182426 w 7524134"/>
                  <a:gd name="connsiteY322" fmla="*/ 5984999 h 6756949"/>
                  <a:gd name="connsiteX323" fmla="*/ 2163366 w 7524134"/>
                  <a:gd name="connsiteY323" fmla="*/ 6008825 h 6756949"/>
                  <a:gd name="connsiteX324" fmla="*/ 2153836 w 7524134"/>
                  <a:gd name="connsiteY324" fmla="*/ 6018355 h 6756949"/>
                  <a:gd name="connsiteX325" fmla="*/ 2144305 w 7524134"/>
                  <a:gd name="connsiteY325" fmla="*/ 6023121 h 6756949"/>
                  <a:gd name="connsiteX326" fmla="*/ 2125244 w 7524134"/>
                  <a:gd name="connsiteY326" fmla="*/ 6027885 h 6756949"/>
                  <a:gd name="connsiteX327" fmla="*/ 2101419 w 7524134"/>
                  <a:gd name="connsiteY327" fmla="*/ 6027885 h 6756949"/>
                  <a:gd name="connsiteX328" fmla="*/ 2087123 w 7524134"/>
                  <a:gd name="connsiteY328" fmla="*/ 6027885 h 6756949"/>
                  <a:gd name="connsiteX329" fmla="*/ 2082359 w 7524134"/>
                  <a:gd name="connsiteY329" fmla="*/ 6013591 h 6756949"/>
                  <a:gd name="connsiteX330" fmla="*/ 2077593 w 7524134"/>
                  <a:gd name="connsiteY330" fmla="*/ 5989765 h 6756949"/>
                  <a:gd name="connsiteX331" fmla="*/ 2077593 w 7524134"/>
                  <a:gd name="connsiteY331" fmla="*/ 5984999 h 6756949"/>
                  <a:gd name="connsiteX332" fmla="*/ 2077593 w 7524134"/>
                  <a:gd name="connsiteY332" fmla="*/ 5975469 h 6756949"/>
                  <a:gd name="connsiteX333" fmla="*/ 2101419 w 7524134"/>
                  <a:gd name="connsiteY333" fmla="*/ 5961175 h 6756949"/>
                  <a:gd name="connsiteX334" fmla="*/ 2106184 w 7524134"/>
                  <a:gd name="connsiteY334" fmla="*/ 5951643 h 6756949"/>
                  <a:gd name="connsiteX335" fmla="*/ 2134775 w 7524134"/>
                  <a:gd name="connsiteY335" fmla="*/ 5899227 h 6756949"/>
                  <a:gd name="connsiteX336" fmla="*/ 2144305 w 7524134"/>
                  <a:gd name="connsiteY336" fmla="*/ 5894462 h 6756949"/>
                  <a:gd name="connsiteX337" fmla="*/ 2149070 w 7524134"/>
                  <a:gd name="connsiteY337" fmla="*/ 5894462 h 6756949"/>
                  <a:gd name="connsiteX338" fmla="*/ 2172896 w 7524134"/>
                  <a:gd name="connsiteY338" fmla="*/ 5894462 h 6756949"/>
                  <a:gd name="connsiteX339" fmla="*/ 2196722 w 7524134"/>
                  <a:gd name="connsiteY339" fmla="*/ 5880167 h 6756949"/>
                  <a:gd name="connsiteX340" fmla="*/ 2925786 w 7524134"/>
                  <a:gd name="connsiteY340" fmla="*/ 5851576 h 6756949"/>
                  <a:gd name="connsiteX341" fmla="*/ 2940081 w 7524134"/>
                  <a:gd name="connsiteY341" fmla="*/ 5856341 h 6756949"/>
                  <a:gd name="connsiteX342" fmla="*/ 2940081 w 7524134"/>
                  <a:gd name="connsiteY342" fmla="*/ 5870637 h 6756949"/>
                  <a:gd name="connsiteX343" fmla="*/ 2940081 w 7524134"/>
                  <a:gd name="connsiteY343" fmla="*/ 5875402 h 6756949"/>
                  <a:gd name="connsiteX344" fmla="*/ 2935316 w 7524134"/>
                  <a:gd name="connsiteY344" fmla="*/ 5875402 h 6756949"/>
                  <a:gd name="connsiteX345" fmla="*/ 2930551 w 7524134"/>
                  <a:gd name="connsiteY345" fmla="*/ 5875402 h 6756949"/>
                  <a:gd name="connsiteX346" fmla="*/ 2925786 w 7524134"/>
                  <a:gd name="connsiteY346" fmla="*/ 5861106 h 6756949"/>
                  <a:gd name="connsiteX347" fmla="*/ 2906725 w 7524134"/>
                  <a:gd name="connsiteY347" fmla="*/ 5808690 h 6756949"/>
                  <a:gd name="connsiteX348" fmla="*/ 2911491 w 7524134"/>
                  <a:gd name="connsiteY348" fmla="*/ 5808690 h 6756949"/>
                  <a:gd name="connsiteX349" fmla="*/ 2916256 w 7524134"/>
                  <a:gd name="connsiteY349" fmla="*/ 5827750 h 6756949"/>
                  <a:gd name="connsiteX350" fmla="*/ 2916256 w 7524134"/>
                  <a:gd name="connsiteY350" fmla="*/ 5846811 h 6756949"/>
                  <a:gd name="connsiteX351" fmla="*/ 2916256 w 7524134"/>
                  <a:gd name="connsiteY351" fmla="*/ 5851576 h 6756949"/>
                  <a:gd name="connsiteX352" fmla="*/ 2911491 w 7524134"/>
                  <a:gd name="connsiteY352" fmla="*/ 5846811 h 6756949"/>
                  <a:gd name="connsiteX353" fmla="*/ 2901960 w 7524134"/>
                  <a:gd name="connsiteY353" fmla="*/ 5851576 h 6756949"/>
                  <a:gd name="connsiteX354" fmla="*/ 2897195 w 7524134"/>
                  <a:gd name="connsiteY354" fmla="*/ 5846811 h 6756949"/>
                  <a:gd name="connsiteX355" fmla="*/ 2897195 w 7524134"/>
                  <a:gd name="connsiteY355" fmla="*/ 5842046 h 6756949"/>
                  <a:gd name="connsiteX356" fmla="*/ 2897195 w 7524134"/>
                  <a:gd name="connsiteY356" fmla="*/ 5832516 h 6756949"/>
                  <a:gd name="connsiteX357" fmla="*/ 2906725 w 7524134"/>
                  <a:gd name="connsiteY357" fmla="*/ 5832516 h 6756949"/>
                  <a:gd name="connsiteX358" fmla="*/ 2906725 w 7524134"/>
                  <a:gd name="connsiteY358" fmla="*/ 5822985 h 6756949"/>
                  <a:gd name="connsiteX359" fmla="*/ 2906725 w 7524134"/>
                  <a:gd name="connsiteY359" fmla="*/ 5818220 h 6756949"/>
                  <a:gd name="connsiteX360" fmla="*/ 7285877 w 7524134"/>
                  <a:gd name="connsiteY360" fmla="*/ 5794394 h 6756949"/>
                  <a:gd name="connsiteX361" fmla="*/ 7290642 w 7524134"/>
                  <a:gd name="connsiteY361" fmla="*/ 5794394 h 6756949"/>
                  <a:gd name="connsiteX362" fmla="*/ 7309703 w 7524134"/>
                  <a:gd name="connsiteY362" fmla="*/ 5808689 h 6756949"/>
                  <a:gd name="connsiteX363" fmla="*/ 7319233 w 7524134"/>
                  <a:gd name="connsiteY363" fmla="*/ 5846811 h 6756949"/>
                  <a:gd name="connsiteX364" fmla="*/ 7333528 w 7524134"/>
                  <a:gd name="connsiteY364" fmla="*/ 5880166 h 6756949"/>
                  <a:gd name="connsiteX365" fmla="*/ 7333528 w 7524134"/>
                  <a:gd name="connsiteY365" fmla="*/ 5894462 h 6756949"/>
                  <a:gd name="connsiteX366" fmla="*/ 7319233 w 7524134"/>
                  <a:gd name="connsiteY366" fmla="*/ 5899227 h 6756949"/>
                  <a:gd name="connsiteX367" fmla="*/ 7309703 w 7524134"/>
                  <a:gd name="connsiteY367" fmla="*/ 5899227 h 6756949"/>
                  <a:gd name="connsiteX368" fmla="*/ 7304938 w 7524134"/>
                  <a:gd name="connsiteY368" fmla="*/ 5894462 h 6756949"/>
                  <a:gd name="connsiteX369" fmla="*/ 7300173 w 7524134"/>
                  <a:gd name="connsiteY369" fmla="*/ 5889697 h 6756949"/>
                  <a:gd name="connsiteX370" fmla="*/ 7304938 w 7524134"/>
                  <a:gd name="connsiteY370" fmla="*/ 5870636 h 6756949"/>
                  <a:gd name="connsiteX371" fmla="*/ 7295408 w 7524134"/>
                  <a:gd name="connsiteY371" fmla="*/ 5856341 h 6756949"/>
                  <a:gd name="connsiteX372" fmla="*/ 7285877 w 7524134"/>
                  <a:gd name="connsiteY372" fmla="*/ 5856341 h 6756949"/>
                  <a:gd name="connsiteX373" fmla="*/ 7281112 w 7524134"/>
                  <a:gd name="connsiteY373" fmla="*/ 5861106 h 6756949"/>
                  <a:gd name="connsiteX374" fmla="*/ 7281112 w 7524134"/>
                  <a:gd name="connsiteY374" fmla="*/ 5842045 h 6756949"/>
                  <a:gd name="connsiteX375" fmla="*/ 7285877 w 7524134"/>
                  <a:gd name="connsiteY375" fmla="*/ 5832515 h 6756949"/>
                  <a:gd name="connsiteX376" fmla="*/ 7281112 w 7524134"/>
                  <a:gd name="connsiteY376" fmla="*/ 5813455 h 6756949"/>
                  <a:gd name="connsiteX377" fmla="*/ 7281112 w 7524134"/>
                  <a:gd name="connsiteY377" fmla="*/ 5799159 h 6756949"/>
                  <a:gd name="connsiteX378" fmla="*/ 2854309 w 7524134"/>
                  <a:gd name="connsiteY378" fmla="*/ 5794394 h 6756949"/>
                  <a:gd name="connsiteX379" fmla="*/ 2859075 w 7524134"/>
                  <a:gd name="connsiteY379" fmla="*/ 5794394 h 6756949"/>
                  <a:gd name="connsiteX380" fmla="*/ 2863840 w 7524134"/>
                  <a:gd name="connsiteY380" fmla="*/ 5794394 h 6756949"/>
                  <a:gd name="connsiteX381" fmla="*/ 2859075 w 7524134"/>
                  <a:gd name="connsiteY381" fmla="*/ 5808689 h 6756949"/>
                  <a:gd name="connsiteX382" fmla="*/ 2868605 w 7524134"/>
                  <a:gd name="connsiteY382" fmla="*/ 5818220 h 6756949"/>
                  <a:gd name="connsiteX383" fmla="*/ 2863840 w 7524134"/>
                  <a:gd name="connsiteY383" fmla="*/ 5827750 h 6756949"/>
                  <a:gd name="connsiteX384" fmla="*/ 2863840 w 7524134"/>
                  <a:gd name="connsiteY384" fmla="*/ 5832515 h 6756949"/>
                  <a:gd name="connsiteX385" fmla="*/ 2854309 w 7524134"/>
                  <a:gd name="connsiteY385" fmla="*/ 5837280 h 6756949"/>
                  <a:gd name="connsiteX386" fmla="*/ 2849545 w 7524134"/>
                  <a:gd name="connsiteY386" fmla="*/ 5846811 h 6756949"/>
                  <a:gd name="connsiteX387" fmla="*/ 2844780 w 7524134"/>
                  <a:gd name="connsiteY387" fmla="*/ 5851576 h 6756949"/>
                  <a:gd name="connsiteX388" fmla="*/ 2835249 w 7524134"/>
                  <a:gd name="connsiteY388" fmla="*/ 5856341 h 6756949"/>
                  <a:gd name="connsiteX389" fmla="*/ 2816188 w 7524134"/>
                  <a:gd name="connsiteY389" fmla="*/ 5884932 h 6756949"/>
                  <a:gd name="connsiteX390" fmla="*/ 2806658 w 7524134"/>
                  <a:gd name="connsiteY390" fmla="*/ 5889697 h 6756949"/>
                  <a:gd name="connsiteX391" fmla="*/ 2816188 w 7524134"/>
                  <a:gd name="connsiteY391" fmla="*/ 5865871 h 6756949"/>
                  <a:gd name="connsiteX392" fmla="*/ 2816188 w 7524134"/>
                  <a:gd name="connsiteY392" fmla="*/ 5856341 h 6756949"/>
                  <a:gd name="connsiteX393" fmla="*/ 2816188 w 7524134"/>
                  <a:gd name="connsiteY393" fmla="*/ 5851576 h 6756949"/>
                  <a:gd name="connsiteX394" fmla="*/ 2816188 w 7524134"/>
                  <a:gd name="connsiteY394" fmla="*/ 5832515 h 6756949"/>
                  <a:gd name="connsiteX395" fmla="*/ 2820954 w 7524134"/>
                  <a:gd name="connsiteY395" fmla="*/ 5837280 h 6756949"/>
                  <a:gd name="connsiteX396" fmla="*/ 2825719 w 7524134"/>
                  <a:gd name="connsiteY396" fmla="*/ 5832515 h 6756949"/>
                  <a:gd name="connsiteX397" fmla="*/ 2835249 w 7524134"/>
                  <a:gd name="connsiteY397" fmla="*/ 5818220 h 6756949"/>
                  <a:gd name="connsiteX398" fmla="*/ 2844780 w 7524134"/>
                  <a:gd name="connsiteY398" fmla="*/ 5813455 h 6756949"/>
                  <a:gd name="connsiteX399" fmla="*/ 7014266 w 7524134"/>
                  <a:gd name="connsiteY399" fmla="*/ 5780099 h 6756949"/>
                  <a:gd name="connsiteX400" fmla="*/ 7042856 w 7524134"/>
                  <a:gd name="connsiteY400" fmla="*/ 5808690 h 6756949"/>
                  <a:gd name="connsiteX401" fmla="*/ 7047622 w 7524134"/>
                  <a:gd name="connsiteY401" fmla="*/ 5822985 h 6756949"/>
                  <a:gd name="connsiteX402" fmla="*/ 7061917 w 7524134"/>
                  <a:gd name="connsiteY402" fmla="*/ 5837281 h 6756949"/>
                  <a:gd name="connsiteX403" fmla="*/ 7061917 w 7524134"/>
                  <a:gd name="connsiteY403" fmla="*/ 5861106 h 6756949"/>
                  <a:gd name="connsiteX404" fmla="*/ 7066682 w 7524134"/>
                  <a:gd name="connsiteY404" fmla="*/ 5865871 h 6756949"/>
                  <a:gd name="connsiteX405" fmla="*/ 7080977 w 7524134"/>
                  <a:gd name="connsiteY405" fmla="*/ 5899227 h 6756949"/>
                  <a:gd name="connsiteX406" fmla="*/ 7085742 w 7524134"/>
                  <a:gd name="connsiteY406" fmla="*/ 5899227 h 6756949"/>
                  <a:gd name="connsiteX407" fmla="*/ 7090508 w 7524134"/>
                  <a:gd name="connsiteY407" fmla="*/ 5899227 h 6756949"/>
                  <a:gd name="connsiteX408" fmla="*/ 7095273 w 7524134"/>
                  <a:gd name="connsiteY408" fmla="*/ 5889697 h 6756949"/>
                  <a:gd name="connsiteX409" fmla="*/ 7104803 w 7524134"/>
                  <a:gd name="connsiteY409" fmla="*/ 5889697 h 6756949"/>
                  <a:gd name="connsiteX410" fmla="*/ 7114333 w 7524134"/>
                  <a:gd name="connsiteY410" fmla="*/ 5894462 h 6756949"/>
                  <a:gd name="connsiteX411" fmla="*/ 7119098 w 7524134"/>
                  <a:gd name="connsiteY411" fmla="*/ 5899227 h 6756949"/>
                  <a:gd name="connsiteX412" fmla="*/ 7114333 w 7524134"/>
                  <a:gd name="connsiteY412" fmla="*/ 5913523 h 6756949"/>
                  <a:gd name="connsiteX413" fmla="*/ 7114333 w 7524134"/>
                  <a:gd name="connsiteY413" fmla="*/ 5932583 h 6756949"/>
                  <a:gd name="connsiteX414" fmla="*/ 7109568 w 7524134"/>
                  <a:gd name="connsiteY414" fmla="*/ 5942113 h 6756949"/>
                  <a:gd name="connsiteX415" fmla="*/ 7104803 w 7524134"/>
                  <a:gd name="connsiteY415" fmla="*/ 5956409 h 6756949"/>
                  <a:gd name="connsiteX416" fmla="*/ 7090508 w 7524134"/>
                  <a:gd name="connsiteY416" fmla="*/ 5946879 h 6756949"/>
                  <a:gd name="connsiteX417" fmla="*/ 7076212 w 7524134"/>
                  <a:gd name="connsiteY417" fmla="*/ 5932583 h 6756949"/>
                  <a:gd name="connsiteX418" fmla="*/ 7057152 w 7524134"/>
                  <a:gd name="connsiteY418" fmla="*/ 5908758 h 6756949"/>
                  <a:gd name="connsiteX419" fmla="*/ 7047622 w 7524134"/>
                  <a:gd name="connsiteY419" fmla="*/ 5889697 h 6756949"/>
                  <a:gd name="connsiteX420" fmla="*/ 7047622 w 7524134"/>
                  <a:gd name="connsiteY420" fmla="*/ 5880167 h 6756949"/>
                  <a:gd name="connsiteX421" fmla="*/ 7038091 w 7524134"/>
                  <a:gd name="connsiteY421" fmla="*/ 5875402 h 6756949"/>
                  <a:gd name="connsiteX422" fmla="*/ 7028561 w 7524134"/>
                  <a:gd name="connsiteY422" fmla="*/ 5846811 h 6756949"/>
                  <a:gd name="connsiteX423" fmla="*/ 7019031 w 7524134"/>
                  <a:gd name="connsiteY423" fmla="*/ 5818220 h 6756949"/>
                  <a:gd name="connsiteX424" fmla="*/ 7009501 w 7524134"/>
                  <a:gd name="connsiteY424" fmla="*/ 5818220 h 6756949"/>
                  <a:gd name="connsiteX425" fmla="*/ 6995205 w 7524134"/>
                  <a:gd name="connsiteY425" fmla="*/ 5808690 h 6756949"/>
                  <a:gd name="connsiteX426" fmla="*/ 6990440 w 7524134"/>
                  <a:gd name="connsiteY426" fmla="*/ 5799160 h 6756949"/>
                  <a:gd name="connsiteX427" fmla="*/ 6990440 w 7524134"/>
                  <a:gd name="connsiteY427" fmla="*/ 5784864 h 6756949"/>
                  <a:gd name="connsiteX428" fmla="*/ 2763772 w 7524134"/>
                  <a:gd name="connsiteY428" fmla="*/ 5770569 h 6756949"/>
                  <a:gd name="connsiteX429" fmla="*/ 2787598 w 7524134"/>
                  <a:gd name="connsiteY429" fmla="*/ 5770569 h 6756949"/>
                  <a:gd name="connsiteX430" fmla="*/ 2792363 w 7524134"/>
                  <a:gd name="connsiteY430" fmla="*/ 5775334 h 6756949"/>
                  <a:gd name="connsiteX431" fmla="*/ 2787598 w 7524134"/>
                  <a:gd name="connsiteY431" fmla="*/ 5799160 h 6756949"/>
                  <a:gd name="connsiteX432" fmla="*/ 2768538 w 7524134"/>
                  <a:gd name="connsiteY432" fmla="*/ 5784865 h 6756949"/>
                  <a:gd name="connsiteX433" fmla="*/ 2759007 w 7524134"/>
                  <a:gd name="connsiteY433" fmla="*/ 5775334 h 6756949"/>
                  <a:gd name="connsiteX434" fmla="*/ 2730416 w 7524134"/>
                  <a:gd name="connsiteY434" fmla="*/ 5756273 h 6756949"/>
                  <a:gd name="connsiteX435" fmla="*/ 2735181 w 7524134"/>
                  <a:gd name="connsiteY435" fmla="*/ 5761038 h 6756949"/>
                  <a:gd name="connsiteX436" fmla="*/ 2735181 w 7524134"/>
                  <a:gd name="connsiteY436" fmla="*/ 5765803 h 6756949"/>
                  <a:gd name="connsiteX437" fmla="*/ 2739946 w 7524134"/>
                  <a:gd name="connsiteY437" fmla="*/ 5770568 h 6756949"/>
                  <a:gd name="connsiteX438" fmla="*/ 2735181 w 7524134"/>
                  <a:gd name="connsiteY438" fmla="*/ 5780099 h 6756949"/>
                  <a:gd name="connsiteX439" fmla="*/ 2744711 w 7524134"/>
                  <a:gd name="connsiteY439" fmla="*/ 5780099 h 6756949"/>
                  <a:gd name="connsiteX440" fmla="*/ 2754242 w 7524134"/>
                  <a:gd name="connsiteY440" fmla="*/ 5765803 h 6756949"/>
                  <a:gd name="connsiteX441" fmla="*/ 2754242 w 7524134"/>
                  <a:gd name="connsiteY441" fmla="*/ 5770568 h 6756949"/>
                  <a:gd name="connsiteX442" fmla="*/ 2749476 w 7524134"/>
                  <a:gd name="connsiteY442" fmla="*/ 5784864 h 6756949"/>
                  <a:gd name="connsiteX443" fmla="*/ 2759007 w 7524134"/>
                  <a:gd name="connsiteY443" fmla="*/ 5803924 h 6756949"/>
                  <a:gd name="connsiteX444" fmla="*/ 2768537 w 7524134"/>
                  <a:gd name="connsiteY444" fmla="*/ 5813455 h 6756949"/>
                  <a:gd name="connsiteX445" fmla="*/ 2768537 w 7524134"/>
                  <a:gd name="connsiteY445" fmla="*/ 5818220 h 6756949"/>
                  <a:gd name="connsiteX446" fmla="*/ 2749476 w 7524134"/>
                  <a:gd name="connsiteY446" fmla="*/ 5822985 h 6756949"/>
                  <a:gd name="connsiteX447" fmla="*/ 2730416 w 7524134"/>
                  <a:gd name="connsiteY447" fmla="*/ 5818220 h 6756949"/>
                  <a:gd name="connsiteX448" fmla="*/ 2725651 w 7524134"/>
                  <a:gd name="connsiteY448" fmla="*/ 5822985 h 6756949"/>
                  <a:gd name="connsiteX449" fmla="*/ 2716121 w 7524134"/>
                  <a:gd name="connsiteY449" fmla="*/ 5827750 h 6756949"/>
                  <a:gd name="connsiteX450" fmla="*/ 2711355 w 7524134"/>
                  <a:gd name="connsiteY450" fmla="*/ 5822985 h 6756949"/>
                  <a:gd name="connsiteX451" fmla="*/ 2711355 w 7524134"/>
                  <a:gd name="connsiteY451" fmla="*/ 5784864 h 6756949"/>
                  <a:gd name="connsiteX452" fmla="*/ 2711355 w 7524134"/>
                  <a:gd name="connsiteY452" fmla="*/ 5775334 h 6756949"/>
                  <a:gd name="connsiteX453" fmla="*/ 2720886 w 7524134"/>
                  <a:gd name="connsiteY453" fmla="*/ 5761038 h 6756949"/>
                  <a:gd name="connsiteX454" fmla="*/ 7004735 w 7524134"/>
                  <a:gd name="connsiteY454" fmla="*/ 5713387 h 6756949"/>
                  <a:gd name="connsiteX455" fmla="*/ 7014265 w 7524134"/>
                  <a:gd name="connsiteY455" fmla="*/ 5718152 h 6756949"/>
                  <a:gd name="connsiteX456" fmla="*/ 7014265 w 7524134"/>
                  <a:gd name="connsiteY456" fmla="*/ 5727682 h 6756949"/>
                  <a:gd name="connsiteX457" fmla="*/ 7014265 w 7524134"/>
                  <a:gd name="connsiteY457" fmla="*/ 5732447 h 6756949"/>
                  <a:gd name="connsiteX458" fmla="*/ 6995205 w 7524134"/>
                  <a:gd name="connsiteY458" fmla="*/ 5751508 h 6756949"/>
                  <a:gd name="connsiteX459" fmla="*/ 6990440 w 7524134"/>
                  <a:gd name="connsiteY459" fmla="*/ 5756273 h 6756949"/>
                  <a:gd name="connsiteX460" fmla="*/ 6985674 w 7524134"/>
                  <a:gd name="connsiteY460" fmla="*/ 5765803 h 6756949"/>
                  <a:gd name="connsiteX461" fmla="*/ 6980909 w 7524134"/>
                  <a:gd name="connsiteY461" fmla="*/ 5770568 h 6756949"/>
                  <a:gd name="connsiteX462" fmla="*/ 6976144 w 7524134"/>
                  <a:gd name="connsiteY462" fmla="*/ 5780099 h 6756949"/>
                  <a:gd name="connsiteX463" fmla="*/ 6957084 w 7524134"/>
                  <a:gd name="connsiteY463" fmla="*/ 5794394 h 6756949"/>
                  <a:gd name="connsiteX464" fmla="*/ 6961849 w 7524134"/>
                  <a:gd name="connsiteY464" fmla="*/ 5756273 h 6756949"/>
                  <a:gd name="connsiteX465" fmla="*/ 6942788 w 7524134"/>
                  <a:gd name="connsiteY465" fmla="*/ 5732447 h 6756949"/>
                  <a:gd name="connsiteX466" fmla="*/ 6961849 w 7524134"/>
                  <a:gd name="connsiteY466" fmla="*/ 5718152 h 6756949"/>
                  <a:gd name="connsiteX467" fmla="*/ 6971379 w 7524134"/>
                  <a:gd name="connsiteY467" fmla="*/ 5722917 h 6756949"/>
                  <a:gd name="connsiteX468" fmla="*/ 6990440 w 7524134"/>
                  <a:gd name="connsiteY468" fmla="*/ 5722917 h 6756949"/>
                  <a:gd name="connsiteX469" fmla="*/ 3530958 w 7524134"/>
                  <a:gd name="connsiteY469" fmla="*/ 5613320 h 6756949"/>
                  <a:gd name="connsiteX470" fmla="*/ 3535723 w 7524134"/>
                  <a:gd name="connsiteY470" fmla="*/ 5613320 h 6756949"/>
                  <a:gd name="connsiteX471" fmla="*/ 3535723 w 7524134"/>
                  <a:gd name="connsiteY471" fmla="*/ 5622850 h 6756949"/>
                  <a:gd name="connsiteX472" fmla="*/ 3535723 w 7524134"/>
                  <a:gd name="connsiteY472" fmla="*/ 5641911 h 6756949"/>
                  <a:gd name="connsiteX473" fmla="*/ 3530958 w 7524134"/>
                  <a:gd name="connsiteY473" fmla="*/ 5651441 h 6756949"/>
                  <a:gd name="connsiteX474" fmla="*/ 3516663 w 7524134"/>
                  <a:gd name="connsiteY474" fmla="*/ 5651441 h 6756949"/>
                  <a:gd name="connsiteX475" fmla="*/ 3511897 w 7524134"/>
                  <a:gd name="connsiteY475" fmla="*/ 5646676 h 6756949"/>
                  <a:gd name="connsiteX476" fmla="*/ 3507132 w 7524134"/>
                  <a:gd name="connsiteY476" fmla="*/ 5641911 h 6756949"/>
                  <a:gd name="connsiteX477" fmla="*/ 3526193 w 7524134"/>
                  <a:gd name="connsiteY477" fmla="*/ 5618085 h 6756949"/>
                  <a:gd name="connsiteX478" fmla="*/ 7328764 w 7524134"/>
                  <a:gd name="connsiteY478" fmla="*/ 5603789 h 6756949"/>
                  <a:gd name="connsiteX479" fmla="*/ 7333529 w 7524134"/>
                  <a:gd name="connsiteY479" fmla="*/ 5608554 h 6756949"/>
                  <a:gd name="connsiteX480" fmla="*/ 7352590 w 7524134"/>
                  <a:gd name="connsiteY480" fmla="*/ 5632380 h 6756949"/>
                  <a:gd name="connsiteX481" fmla="*/ 7371650 w 7524134"/>
                  <a:gd name="connsiteY481" fmla="*/ 5670501 h 6756949"/>
                  <a:gd name="connsiteX482" fmla="*/ 7376415 w 7524134"/>
                  <a:gd name="connsiteY482" fmla="*/ 5684796 h 6756949"/>
                  <a:gd name="connsiteX483" fmla="*/ 7376415 w 7524134"/>
                  <a:gd name="connsiteY483" fmla="*/ 5713387 h 6756949"/>
                  <a:gd name="connsiteX484" fmla="*/ 7376415 w 7524134"/>
                  <a:gd name="connsiteY484" fmla="*/ 5732448 h 6756949"/>
                  <a:gd name="connsiteX485" fmla="*/ 7371650 w 7524134"/>
                  <a:gd name="connsiteY485" fmla="*/ 5765803 h 6756949"/>
                  <a:gd name="connsiteX486" fmla="*/ 7357355 w 7524134"/>
                  <a:gd name="connsiteY486" fmla="*/ 5794394 h 6756949"/>
                  <a:gd name="connsiteX487" fmla="*/ 7343059 w 7524134"/>
                  <a:gd name="connsiteY487" fmla="*/ 5813455 h 6756949"/>
                  <a:gd name="connsiteX488" fmla="*/ 7328764 w 7524134"/>
                  <a:gd name="connsiteY488" fmla="*/ 5808690 h 6756949"/>
                  <a:gd name="connsiteX489" fmla="*/ 7323999 w 7524134"/>
                  <a:gd name="connsiteY489" fmla="*/ 5794394 h 6756949"/>
                  <a:gd name="connsiteX490" fmla="*/ 7314468 w 7524134"/>
                  <a:gd name="connsiteY490" fmla="*/ 5794394 h 6756949"/>
                  <a:gd name="connsiteX491" fmla="*/ 7304938 w 7524134"/>
                  <a:gd name="connsiteY491" fmla="*/ 5794394 h 6756949"/>
                  <a:gd name="connsiteX492" fmla="*/ 7300173 w 7524134"/>
                  <a:gd name="connsiteY492" fmla="*/ 5780099 h 6756949"/>
                  <a:gd name="connsiteX493" fmla="*/ 7304938 w 7524134"/>
                  <a:gd name="connsiteY493" fmla="*/ 5765803 h 6756949"/>
                  <a:gd name="connsiteX494" fmla="*/ 7300173 w 7524134"/>
                  <a:gd name="connsiteY494" fmla="*/ 5756273 h 6756949"/>
                  <a:gd name="connsiteX495" fmla="*/ 7295408 w 7524134"/>
                  <a:gd name="connsiteY495" fmla="*/ 5765803 h 6756949"/>
                  <a:gd name="connsiteX496" fmla="*/ 7290643 w 7524134"/>
                  <a:gd name="connsiteY496" fmla="*/ 5775334 h 6756949"/>
                  <a:gd name="connsiteX497" fmla="*/ 7271582 w 7524134"/>
                  <a:gd name="connsiteY497" fmla="*/ 5784864 h 6756949"/>
                  <a:gd name="connsiteX498" fmla="*/ 7257287 w 7524134"/>
                  <a:gd name="connsiteY498" fmla="*/ 5808690 h 6756949"/>
                  <a:gd name="connsiteX499" fmla="*/ 7252522 w 7524134"/>
                  <a:gd name="connsiteY499" fmla="*/ 5822985 h 6756949"/>
                  <a:gd name="connsiteX500" fmla="*/ 7247757 w 7524134"/>
                  <a:gd name="connsiteY500" fmla="*/ 5808690 h 6756949"/>
                  <a:gd name="connsiteX501" fmla="*/ 7242991 w 7524134"/>
                  <a:gd name="connsiteY501" fmla="*/ 5770569 h 6756949"/>
                  <a:gd name="connsiteX502" fmla="*/ 7238226 w 7524134"/>
                  <a:gd name="connsiteY502" fmla="*/ 5756273 h 6756949"/>
                  <a:gd name="connsiteX503" fmla="*/ 7252522 w 7524134"/>
                  <a:gd name="connsiteY503" fmla="*/ 5732448 h 6756949"/>
                  <a:gd name="connsiteX504" fmla="*/ 7271582 w 7524134"/>
                  <a:gd name="connsiteY504" fmla="*/ 5708622 h 6756949"/>
                  <a:gd name="connsiteX505" fmla="*/ 7276347 w 7524134"/>
                  <a:gd name="connsiteY505" fmla="*/ 5641910 h 6756949"/>
                  <a:gd name="connsiteX506" fmla="*/ 6971379 w 7524134"/>
                  <a:gd name="connsiteY506" fmla="*/ 5498956 h 6756949"/>
                  <a:gd name="connsiteX507" fmla="*/ 6999970 w 7524134"/>
                  <a:gd name="connsiteY507" fmla="*/ 5503721 h 6756949"/>
                  <a:gd name="connsiteX508" fmla="*/ 7028560 w 7524134"/>
                  <a:gd name="connsiteY508" fmla="*/ 5503721 h 6756949"/>
                  <a:gd name="connsiteX509" fmla="*/ 7038091 w 7524134"/>
                  <a:gd name="connsiteY509" fmla="*/ 5513251 h 6756949"/>
                  <a:gd name="connsiteX510" fmla="*/ 7042856 w 7524134"/>
                  <a:gd name="connsiteY510" fmla="*/ 5527547 h 6756949"/>
                  <a:gd name="connsiteX511" fmla="*/ 7047621 w 7524134"/>
                  <a:gd name="connsiteY511" fmla="*/ 5537077 h 6756949"/>
                  <a:gd name="connsiteX512" fmla="*/ 7047621 w 7524134"/>
                  <a:gd name="connsiteY512" fmla="*/ 5546607 h 6756949"/>
                  <a:gd name="connsiteX513" fmla="*/ 7047621 w 7524134"/>
                  <a:gd name="connsiteY513" fmla="*/ 5556138 h 6756949"/>
                  <a:gd name="connsiteX514" fmla="*/ 7042856 w 7524134"/>
                  <a:gd name="connsiteY514" fmla="*/ 5565668 h 6756949"/>
                  <a:gd name="connsiteX515" fmla="*/ 7095272 w 7524134"/>
                  <a:gd name="connsiteY515" fmla="*/ 5594259 h 6756949"/>
                  <a:gd name="connsiteX516" fmla="*/ 7123863 w 7524134"/>
                  <a:gd name="connsiteY516" fmla="*/ 5622849 h 6756949"/>
                  <a:gd name="connsiteX517" fmla="*/ 7133393 w 7524134"/>
                  <a:gd name="connsiteY517" fmla="*/ 5637145 h 6756949"/>
                  <a:gd name="connsiteX518" fmla="*/ 7138158 w 7524134"/>
                  <a:gd name="connsiteY518" fmla="*/ 5646675 h 6756949"/>
                  <a:gd name="connsiteX519" fmla="*/ 7147688 w 7524134"/>
                  <a:gd name="connsiteY519" fmla="*/ 5680031 h 6756949"/>
                  <a:gd name="connsiteX520" fmla="*/ 7171514 w 7524134"/>
                  <a:gd name="connsiteY520" fmla="*/ 5713387 h 6756949"/>
                  <a:gd name="connsiteX521" fmla="*/ 7181044 w 7524134"/>
                  <a:gd name="connsiteY521" fmla="*/ 5727682 h 6756949"/>
                  <a:gd name="connsiteX522" fmla="*/ 7190575 w 7524134"/>
                  <a:gd name="connsiteY522" fmla="*/ 5737212 h 6756949"/>
                  <a:gd name="connsiteX523" fmla="*/ 7185809 w 7524134"/>
                  <a:gd name="connsiteY523" fmla="*/ 5737212 h 6756949"/>
                  <a:gd name="connsiteX524" fmla="*/ 7171514 w 7524134"/>
                  <a:gd name="connsiteY524" fmla="*/ 5727682 h 6756949"/>
                  <a:gd name="connsiteX525" fmla="*/ 7138158 w 7524134"/>
                  <a:gd name="connsiteY525" fmla="*/ 5703856 h 6756949"/>
                  <a:gd name="connsiteX526" fmla="*/ 7133393 w 7524134"/>
                  <a:gd name="connsiteY526" fmla="*/ 5703856 h 6756949"/>
                  <a:gd name="connsiteX527" fmla="*/ 7128628 w 7524134"/>
                  <a:gd name="connsiteY527" fmla="*/ 5718152 h 6756949"/>
                  <a:gd name="connsiteX528" fmla="*/ 7123863 w 7524134"/>
                  <a:gd name="connsiteY528" fmla="*/ 5732447 h 6756949"/>
                  <a:gd name="connsiteX529" fmla="*/ 7119098 w 7524134"/>
                  <a:gd name="connsiteY529" fmla="*/ 5737212 h 6756949"/>
                  <a:gd name="connsiteX530" fmla="*/ 7123863 w 7524134"/>
                  <a:gd name="connsiteY530" fmla="*/ 5741978 h 6756949"/>
                  <a:gd name="connsiteX531" fmla="*/ 7152454 w 7524134"/>
                  <a:gd name="connsiteY531" fmla="*/ 5737212 h 6756949"/>
                  <a:gd name="connsiteX532" fmla="*/ 7171514 w 7524134"/>
                  <a:gd name="connsiteY532" fmla="*/ 5761038 h 6756949"/>
                  <a:gd name="connsiteX533" fmla="*/ 7181044 w 7524134"/>
                  <a:gd name="connsiteY533" fmla="*/ 5761038 h 6756949"/>
                  <a:gd name="connsiteX534" fmla="*/ 7190575 w 7524134"/>
                  <a:gd name="connsiteY534" fmla="*/ 5780099 h 6756949"/>
                  <a:gd name="connsiteX535" fmla="*/ 7190575 w 7524134"/>
                  <a:gd name="connsiteY535" fmla="*/ 5784864 h 6756949"/>
                  <a:gd name="connsiteX536" fmla="*/ 7185809 w 7524134"/>
                  <a:gd name="connsiteY536" fmla="*/ 5799159 h 6756949"/>
                  <a:gd name="connsiteX537" fmla="*/ 7181044 w 7524134"/>
                  <a:gd name="connsiteY537" fmla="*/ 5803924 h 6756949"/>
                  <a:gd name="connsiteX538" fmla="*/ 7181044 w 7524134"/>
                  <a:gd name="connsiteY538" fmla="*/ 5808689 h 6756949"/>
                  <a:gd name="connsiteX539" fmla="*/ 7190575 w 7524134"/>
                  <a:gd name="connsiteY539" fmla="*/ 5808689 h 6756949"/>
                  <a:gd name="connsiteX540" fmla="*/ 7214400 w 7524134"/>
                  <a:gd name="connsiteY540" fmla="*/ 5803924 h 6756949"/>
                  <a:gd name="connsiteX541" fmla="*/ 7219165 w 7524134"/>
                  <a:gd name="connsiteY541" fmla="*/ 5813454 h 6756949"/>
                  <a:gd name="connsiteX542" fmla="*/ 7214400 w 7524134"/>
                  <a:gd name="connsiteY542" fmla="*/ 5861106 h 6756949"/>
                  <a:gd name="connsiteX543" fmla="*/ 7219165 w 7524134"/>
                  <a:gd name="connsiteY543" fmla="*/ 5875401 h 6756949"/>
                  <a:gd name="connsiteX544" fmla="*/ 7219165 w 7524134"/>
                  <a:gd name="connsiteY544" fmla="*/ 5884931 h 6756949"/>
                  <a:gd name="connsiteX545" fmla="*/ 7214400 w 7524134"/>
                  <a:gd name="connsiteY545" fmla="*/ 5894462 h 6756949"/>
                  <a:gd name="connsiteX546" fmla="*/ 7214400 w 7524134"/>
                  <a:gd name="connsiteY546" fmla="*/ 5903992 h 6756949"/>
                  <a:gd name="connsiteX547" fmla="*/ 7219165 w 7524134"/>
                  <a:gd name="connsiteY547" fmla="*/ 5913522 h 6756949"/>
                  <a:gd name="connsiteX548" fmla="*/ 7219165 w 7524134"/>
                  <a:gd name="connsiteY548" fmla="*/ 5923052 h 6756949"/>
                  <a:gd name="connsiteX549" fmla="*/ 7214400 w 7524134"/>
                  <a:gd name="connsiteY549" fmla="*/ 5942113 h 6756949"/>
                  <a:gd name="connsiteX550" fmla="*/ 7204870 w 7524134"/>
                  <a:gd name="connsiteY550" fmla="*/ 5946877 h 6756949"/>
                  <a:gd name="connsiteX551" fmla="*/ 7195340 w 7524134"/>
                  <a:gd name="connsiteY551" fmla="*/ 5946877 h 6756949"/>
                  <a:gd name="connsiteX552" fmla="*/ 7185809 w 7524134"/>
                  <a:gd name="connsiteY552" fmla="*/ 5942113 h 6756949"/>
                  <a:gd name="connsiteX553" fmla="*/ 7176279 w 7524134"/>
                  <a:gd name="connsiteY553" fmla="*/ 5923052 h 6756949"/>
                  <a:gd name="connsiteX554" fmla="*/ 7161984 w 7524134"/>
                  <a:gd name="connsiteY554" fmla="*/ 5894462 h 6756949"/>
                  <a:gd name="connsiteX555" fmla="*/ 7157219 w 7524134"/>
                  <a:gd name="connsiteY555" fmla="*/ 5889696 h 6756949"/>
                  <a:gd name="connsiteX556" fmla="*/ 7142923 w 7524134"/>
                  <a:gd name="connsiteY556" fmla="*/ 5884931 h 6756949"/>
                  <a:gd name="connsiteX557" fmla="*/ 7138158 w 7524134"/>
                  <a:gd name="connsiteY557" fmla="*/ 5880166 h 6756949"/>
                  <a:gd name="connsiteX558" fmla="*/ 7128628 w 7524134"/>
                  <a:gd name="connsiteY558" fmla="*/ 5880166 h 6756949"/>
                  <a:gd name="connsiteX559" fmla="*/ 7123863 w 7524134"/>
                  <a:gd name="connsiteY559" fmla="*/ 5870636 h 6756949"/>
                  <a:gd name="connsiteX560" fmla="*/ 7123863 w 7524134"/>
                  <a:gd name="connsiteY560" fmla="*/ 5856341 h 6756949"/>
                  <a:gd name="connsiteX561" fmla="*/ 7119098 w 7524134"/>
                  <a:gd name="connsiteY561" fmla="*/ 5837280 h 6756949"/>
                  <a:gd name="connsiteX562" fmla="*/ 7119098 w 7524134"/>
                  <a:gd name="connsiteY562" fmla="*/ 5832515 h 6756949"/>
                  <a:gd name="connsiteX563" fmla="*/ 7109567 w 7524134"/>
                  <a:gd name="connsiteY563" fmla="*/ 5827750 h 6756949"/>
                  <a:gd name="connsiteX564" fmla="*/ 7104802 w 7524134"/>
                  <a:gd name="connsiteY564" fmla="*/ 5832515 h 6756949"/>
                  <a:gd name="connsiteX565" fmla="*/ 7109567 w 7524134"/>
                  <a:gd name="connsiteY565" fmla="*/ 5846810 h 6756949"/>
                  <a:gd name="connsiteX566" fmla="*/ 7104802 w 7524134"/>
                  <a:gd name="connsiteY566" fmla="*/ 5861106 h 6756949"/>
                  <a:gd name="connsiteX567" fmla="*/ 7095272 w 7524134"/>
                  <a:gd name="connsiteY567" fmla="*/ 5856341 h 6756949"/>
                  <a:gd name="connsiteX568" fmla="*/ 7071447 w 7524134"/>
                  <a:gd name="connsiteY568" fmla="*/ 5818220 h 6756949"/>
                  <a:gd name="connsiteX569" fmla="*/ 7052386 w 7524134"/>
                  <a:gd name="connsiteY569" fmla="*/ 5784864 h 6756949"/>
                  <a:gd name="connsiteX570" fmla="*/ 7042856 w 7524134"/>
                  <a:gd name="connsiteY570" fmla="*/ 5780099 h 6756949"/>
                  <a:gd name="connsiteX571" fmla="*/ 7042856 w 7524134"/>
                  <a:gd name="connsiteY571" fmla="*/ 5770568 h 6756949"/>
                  <a:gd name="connsiteX572" fmla="*/ 7057151 w 7524134"/>
                  <a:gd name="connsiteY572" fmla="*/ 5765803 h 6756949"/>
                  <a:gd name="connsiteX573" fmla="*/ 7061916 w 7524134"/>
                  <a:gd name="connsiteY573" fmla="*/ 5765803 h 6756949"/>
                  <a:gd name="connsiteX574" fmla="*/ 7066681 w 7524134"/>
                  <a:gd name="connsiteY574" fmla="*/ 5761038 h 6756949"/>
                  <a:gd name="connsiteX575" fmla="*/ 7047621 w 7524134"/>
                  <a:gd name="connsiteY575" fmla="*/ 5732447 h 6756949"/>
                  <a:gd name="connsiteX576" fmla="*/ 7047621 w 7524134"/>
                  <a:gd name="connsiteY576" fmla="*/ 5722917 h 6756949"/>
                  <a:gd name="connsiteX577" fmla="*/ 7052386 w 7524134"/>
                  <a:gd name="connsiteY577" fmla="*/ 5708622 h 6756949"/>
                  <a:gd name="connsiteX578" fmla="*/ 7047621 w 7524134"/>
                  <a:gd name="connsiteY578" fmla="*/ 5699091 h 6756949"/>
                  <a:gd name="connsiteX579" fmla="*/ 7019030 w 7524134"/>
                  <a:gd name="connsiteY579" fmla="*/ 5703856 h 6756949"/>
                  <a:gd name="connsiteX580" fmla="*/ 7014265 w 7524134"/>
                  <a:gd name="connsiteY580" fmla="*/ 5703856 h 6756949"/>
                  <a:gd name="connsiteX581" fmla="*/ 7004735 w 7524134"/>
                  <a:gd name="connsiteY581" fmla="*/ 5689561 h 6756949"/>
                  <a:gd name="connsiteX582" fmla="*/ 6999970 w 7524134"/>
                  <a:gd name="connsiteY582" fmla="*/ 5680031 h 6756949"/>
                  <a:gd name="connsiteX583" fmla="*/ 6980909 w 7524134"/>
                  <a:gd name="connsiteY583" fmla="*/ 5675266 h 6756949"/>
                  <a:gd name="connsiteX584" fmla="*/ 6971379 w 7524134"/>
                  <a:gd name="connsiteY584" fmla="*/ 5680031 h 6756949"/>
                  <a:gd name="connsiteX585" fmla="*/ 6957084 w 7524134"/>
                  <a:gd name="connsiteY585" fmla="*/ 5660970 h 6756949"/>
                  <a:gd name="connsiteX586" fmla="*/ 6952318 w 7524134"/>
                  <a:gd name="connsiteY586" fmla="*/ 5651440 h 6756949"/>
                  <a:gd name="connsiteX587" fmla="*/ 6957084 w 7524134"/>
                  <a:gd name="connsiteY587" fmla="*/ 5646675 h 6756949"/>
                  <a:gd name="connsiteX588" fmla="*/ 6966614 w 7524134"/>
                  <a:gd name="connsiteY588" fmla="*/ 5637145 h 6756949"/>
                  <a:gd name="connsiteX589" fmla="*/ 6976144 w 7524134"/>
                  <a:gd name="connsiteY589" fmla="*/ 5637145 h 6756949"/>
                  <a:gd name="connsiteX590" fmla="*/ 6990439 w 7524134"/>
                  <a:gd name="connsiteY590" fmla="*/ 5646675 h 6756949"/>
                  <a:gd name="connsiteX591" fmla="*/ 6995205 w 7524134"/>
                  <a:gd name="connsiteY591" fmla="*/ 5646675 h 6756949"/>
                  <a:gd name="connsiteX592" fmla="*/ 7009500 w 7524134"/>
                  <a:gd name="connsiteY592" fmla="*/ 5637145 h 6756949"/>
                  <a:gd name="connsiteX593" fmla="*/ 7009500 w 7524134"/>
                  <a:gd name="connsiteY593" fmla="*/ 5622849 h 6756949"/>
                  <a:gd name="connsiteX594" fmla="*/ 7023795 w 7524134"/>
                  <a:gd name="connsiteY594" fmla="*/ 5613319 h 6756949"/>
                  <a:gd name="connsiteX595" fmla="*/ 7019030 w 7524134"/>
                  <a:gd name="connsiteY595" fmla="*/ 5603789 h 6756949"/>
                  <a:gd name="connsiteX596" fmla="*/ 7014265 w 7524134"/>
                  <a:gd name="connsiteY596" fmla="*/ 5589493 h 6756949"/>
                  <a:gd name="connsiteX597" fmla="*/ 6999970 w 7524134"/>
                  <a:gd name="connsiteY597" fmla="*/ 5584728 h 6756949"/>
                  <a:gd name="connsiteX598" fmla="*/ 6976144 w 7524134"/>
                  <a:gd name="connsiteY598" fmla="*/ 5594259 h 6756949"/>
                  <a:gd name="connsiteX599" fmla="*/ 6952318 w 7524134"/>
                  <a:gd name="connsiteY599" fmla="*/ 5608554 h 6756949"/>
                  <a:gd name="connsiteX600" fmla="*/ 6942788 w 7524134"/>
                  <a:gd name="connsiteY600" fmla="*/ 5603789 h 6756949"/>
                  <a:gd name="connsiteX601" fmla="*/ 6942788 w 7524134"/>
                  <a:gd name="connsiteY601" fmla="*/ 5594259 h 6756949"/>
                  <a:gd name="connsiteX602" fmla="*/ 6966614 w 7524134"/>
                  <a:gd name="connsiteY602" fmla="*/ 5565668 h 6756949"/>
                  <a:gd name="connsiteX603" fmla="*/ 6976144 w 7524134"/>
                  <a:gd name="connsiteY603" fmla="*/ 5551372 h 6756949"/>
                  <a:gd name="connsiteX604" fmla="*/ 6976144 w 7524134"/>
                  <a:gd name="connsiteY604" fmla="*/ 5541842 h 6756949"/>
                  <a:gd name="connsiteX605" fmla="*/ 6966614 w 7524134"/>
                  <a:gd name="connsiteY605" fmla="*/ 5532312 h 6756949"/>
                  <a:gd name="connsiteX606" fmla="*/ 6966614 w 7524134"/>
                  <a:gd name="connsiteY606" fmla="*/ 5503721 h 6756949"/>
                  <a:gd name="connsiteX607" fmla="*/ 7076212 w 7524134"/>
                  <a:gd name="connsiteY607" fmla="*/ 5465601 h 6756949"/>
                  <a:gd name="connsiteX608" fmla="*/ 7104803 w 7524134"/>
                  <a:gd name="connsiteY608" fmla="*/ 5465601 h 6756949"/>
                  <a:gd name="connsiteX609" fmla="*/ 7114333 w 7524134"/>
                  <a:gd name="connsiteY609" fmla="*/ 5470366 h 6756949"/>
                  <a:gd name="connsiteX610" fmla="*/ 7119098 w 7524134"/>
                  <a:gd name="connsiteY610" fmla="*/ 5475131 h 6756949"/>
                  <a:gd name="connsiteX611" fmla="*/ 7119098 w 7524134"/>
                  <a:gd name="connsiteY611" fmla="*/ 5484662 h 6756949"/>
                  <a:gd name="connsiteX612" fmla="*/ 7114333 w 7524134"/>
                  <a:gd name="connsiteY612" fmla="*/ 5489427 h 6756949"/>
                  <a:gd name="connsiteX613" fmla="*/ 7114333 w 7524134"/>
                  <a:gd name="connsiteY613" fmla="*/ 5498957 h 6756949"/>
                  <a:gd name="connsiteX614" fmla="*/ 7114333 w 7524134"/>
                  <a:gd name="connsiteY614" fmla="*/ 5503722 h 6756949"/>
                  <a:gd name="connsiteX615" fmla="*/ 7109568 w 7524134"/>
                  <a:gd name="connsiteY615" fmla="*/ 5513253 h 6756949"/>
                  <a:gd name="connsiteX616" fmla="*/ 7095273 w 7524134"/>
                  <a:gd name="connsiteY616" fmla="*/ 5522783 h 6756949"/>
                  <a:gd name="connsiteX617" fmla="*/ 7085742 w 7524134"/>
                  <a:gd name="connsiteY617" fmla="*/ 5522783 h 6756949"/>
                  <a:gd name="connsiteX618" fmla="*/ 7076212 w 7524134"/>
                  <a:gd name="connsiteY618" fmla="*/ 5518018 h 6756949"/>
                  <a:gd name="connsiteX619" fmla="*/ 7052386 w 7524134"/>
                  <a:gd name="connsiteY619" fmla="*/ 5498957 h 6756949"/>
                  <a:gd name="connsiteX620" fmla="*/ 7052386 w 7524134"/>
                  <a:gd name="connsiteY620" fmla="*/ 5489427 h 6756949"/>
                  <a:gd name="connsiteX621" fmla="*/ 7057151 w 7524134"/>
                  <a:gd name="connsiteY621" fmla="*/ 5484662 h 6756949"/>
                  <a:gd name="connsiteX622" fmla="*/ 7071447 w 7524134"/>
                  <a:gd name="connsiteY622" fmla="*/ 5470366 h 6756949"/>
                  <a:gd name="connsiteX623" fmla="*/ 7157220 w 7524134"/>
                  <a:gd name="connsiteY623" fmla="*/ 5451305 h 6756949"/>
                  <a:gd name="connsiteX624" fmla="*/ 7166750 w 7524134"/>
                  <a:gd name="connsiteY624" fmla="*/ 5456070 h 6756949"/>
                  <a:gd name="connsiteX625" fmla="*/ 7181046 w 7524134"/>
                  <a:gd name="connsiteY625" fmla="*/ 5484661 h 6756949"/>
                  <a:gd name="connsiteX626" fmla="*/ 7204871 w 7524134"/>
                  <a:gd name="connsiteY626" fmla="*/ 5522782 h 6756949"/>
                  <a:gd name="connsiteX627" fmla="*/ 7200106 w 7524134"/>
                  <a:gd name="connsiteY627" fmla="*/ 5560903 h 6756949"/>
                  <a:gd name="connsiteX628" fmla="*/ 7195341 w 7524134"/>
                  <a:gd name="connsiteY628" fmla="*/ 5608554 h 6756949"/>
                  <a:gd name="connsiteX629" fmla="*/ 7190576 w 7524134"/>
                  <a:gd name="connsiteY629" fmla="*/ 5603789 h 6756949"/>
                  <a:gd name="connsiteX630" fmla="*/ 7181046 w 7524134"/>
                  <a:gd name="connsiteY630" fmla="*/ 5603789 h 6756949"/>
                  <a:gd name="connsiteX631" fmla="*/ 7171515 w 7524134"/>
                  <a:gd name="connsiteY631" fmla="*/ 5613319 h 6756949"/>
                  <a:gd name="connsiteX632" fmla="*/ 7157220 w 7524134"/>
                  <a:gd name="connsiteY632" fmla="*/ 5608554 h 6756949"/>
                  <a:gd name="connsiteX633" fmla="*/ 7152455 w 7524134"/>
                  <a:gd name="connsiteY633" fmla="*/ 5603789 h 6756949"/>
                  <a:gd name="connsiteX634" fmla="*/ 7152455 w 7524134"/>
                  <a:gd name="connsiteY634" fmla="*/ 5599024 h 6756949"/>
                  <a:gd name="connsiteX635" fmla="*/ 7152455 w 7524134"/>
                  <a:gd name="connsiteY635" fmla="*/ 5584728 h 6756949"/>
                  <a:gd name="connsiteX636" fmla="*/ 7147690 w 7524134"/>
                  <a:gd name="connsiteY636" fmla="*/ 5575198 h 6756949"/>
                  <a:gd name="connsiteX637" fmla="*/ 7119099 w 7524134"/>
                  <a:gd name="connsiteY637" fmla="*/ 5575198 h 6756949"/>
                  <a:gd name="connsiteX638" fmla="*/ 7114334 w 7524134"/>
                  <a:gd name="connsiteY638" fmla="*/ 5570433 h 6756949"/>
                  <a:gd name="connsiteX639" fmla="*/ 7109568 w 7524134"/>
                  <a:gd name="connsiteY639" fmla="*/ 5556138 h 6756949"/>
                  <a:gd name="connsiteX640" fmla="*/ 7104803 w 7524134"/>
                  <a:gd name="connsiteY640" fmla="*/ 5537077 h 6756949"/>
                  <a:gd name="connsiteX641" fmla="*/ 7109568 w 7524134"/>
                  <a:gd name="connsiteY641" fmla="*/ 5527547 h 6756949"/>
                  <a:gd name="connsiteX642" fmla="*/ 7123864 w 7524134"/>
                  <a:gd name="connsiteY642" fmla="*/ 5522782 h 6756949"/>
                  <a:gd name="connsiteX643" fmla="*/ 7133394 w 7524134"/>
                  <a:gd name="connsiteY643" fmla="*/ 5503721 h 6756949"/>
                  <a:gd name="connsiteX644" fmla="*/ 7138159 w 7524134"/>
                  <a:gd name="connsiteY644" fmla="*/ 5498956 h 6756949"/>
                  <a:gd name="connsiteX645" fmla="*/ 3745388 w 7524134"/>
                  <a:gd name="connsiteY645" fmla="*/ 5422714 h 6756949"/>
                  <a:gd name="connsiteX646" fmla="*/ 3764448 w 7524134"/>
                  <a:gd name="connsiteY646" fmla="*/ 5422714 h 6756949"/>
                  <a:gd name="connsiteX647" fmla="*/ 3764448 w 7524134"/>
                  <a:gd name="connsiteY647" fmla="*/ 5427479 h 6756949"/>
                  <a:gd name="connsiteX648" fmla="*/ 3764448 w 7524134"/>
                  <a:gd name="connsiteY648" fmla="*/ 5437010 h 6756949"/>
                  <a:gd name="connsiteX649" fmla="*/ 3759683 w 7524134"/>
                  <a:gd name="connsiteY649" fmla="*/ 5441775 h 6756949"/>
                  <a:gd name="connsiteX650" fmla="*/ 3754918 w 7524134"/>
                  <a:gd name="connsiteY650" fmla="*/ 5441775 h 6756949"/>
                  <a:gd name="connsiteX651" fmla="*/ 3745388 w 7524134"/>
                  <a:gd name="connsiteY651" fmla="*/ 5446540 h 6756949"/>
                  <a:gd name="connsiteX652" fmla="*/ 3740623 w 7524134"/>
                  <a:gd name="connsiteY652" fmla="*/ 5446540 h 6756949"/>
                  <a:gd name="connsiteX653" fmla="*/ 3726327 w 7524134"/>
                  <a:gd name="connsiteY653" fmla="*/ 5441775 h 6756949"/>
                  <a:gd name="connsiteX654" fmla="*/ 3731092 w 7524134"/>
                  <a:gd name="connsiteY654" fmla="*/ 5432244 h 6756949"/>
                  <a:gd name="connsiteX655" fmla="*/ 3697737 w 7524134"/>
                  <a:gd name="connsiteY655" fmla="*/ 5422714 h 6756949"/>
                  <a:gd name="connsiteX656" fmla="*/ 3707267 w 7524134"/>
                  <a:gd name="connsiteY656" fmla="*/ 5422714 h 6756949"/>
                  <a:gd name="connsiteX657" fmla="*/ 3712032 w 7524134"/>
                  <a:gd name="connsiteY657" fmla="*/ 5432244 h 6756949"/>
                  <a:gd name="connsiteX658" fmla="*/ 3697737 w 7524134"/>
                  <a:gd name="connsiteY658" fmla="*/ 5446539 h 6756949"/>
                  <a:gd name="connsiteX659" fmla="*/ 3673912 w 7524134"/>
                  <a:gd name="connsiteY659" fmla="*/ 5470365 h 6756949"/>
                  <a:gd name="connsiteX660" fmla="*/ 3659616 w 7524134"/>
                  <a:gd name="connsiteY660" fmla="*/ 5475130 h 6756949"/>
                  <a:gd name="connsiteX661" fmla="*/ 3659616 w 7524134"/>
                  <a:gd name="connsiteY661" fmla="*/ 5470365 h 6756949"/>
                  <a:gd name="connsiteX662" fmla="*/ 3659616 w 7524134"/>
                  <a:gd name="connsiteY662" fmla="*/ 5460835 h 6756949"/>
                  <a:gd name="connsiteX663" fmla="*/ 3664381 w 7524134"/>
                  <a:gd name="connsiteY663" fmla="*/ 5451305 h 6756949"/>
                  <a:gd name="connsiteX664" fmla="*/ 3683442 w 7524134"/>
                  <a:gd name="connsiteY664" fmla="*/ 5437009 h 6756949"/>
                  <a:gd name="connsiteX665" fmla="*/ 1319938 w 7524134"/>
                  <a:gd name="connsiteY665" fmla="*/ 5413184 h 6756949"/>
                  <a:gd name="connsiteX666" fmla="*/ 1338999 w 7524134"/>
                  <a:gd name="connsiteY666" fmla="*/ 5417949 h 6756949"/>
                  <a:gd name="connsiteX667" fmla="*/ 1353294 w 7524134"/>
                  <a:gd name="connsiteY667" fmla="*/ 5413184 h 6756949"/>
                  <a:gd name="connsiteX668" fmla="*/ 1362824 w 7524134"/>
                  <a:gd name="connsiteY668" fmla="*/ 5417949 h 6756949"/>
                  <a:gd name="connsiteX669" fmla="*/ 1362824 w 7524134"/>
                  <a:gd name="connsiteY669" fmla="*/ 5427479 h 6756949"/>
                  <a:gd name="connsiteX670" fmla="*/ 1343764 w 7524134"/>
                  <a:gd name="connsiteY670" fmla="*/ 5441775 h 6756949"/>
                  <a:gd name="connsiteX671" fmla="*/ 1338999 w 7524134"/>
                  <a:gd name="connsiteY671" fmla="*/ 5437010 h 6756949"/>
                  <a:gd name="connsiteX672" fmla="*/ 1315173 w 7524134"/>
                  <a:gd name="connsiteY672" fmla="*/ 5422714 h 6756949"/>
                  <a:gd name="connsiteX673" fmla="*/ 7085743 w 7524134"/>
                  <a:gd name="connsiteY673" fmla="*/ 5370298 h 6756949"/>
                  <a:gd name="connsiteX674" fmla="*/ 7114334 w 7524134"/>
                  <a:gd name="connsiteY674" fmla="*/ 5398889 h 6756949"/>
                  <a:gd name="connsiteX675" fmla="*/ 7123864 w 7524134"/>
                  <a:gd name="connsiteY675" fmla="*/ 5413184 h 6756949"/>
                  <a:gd name="connsiteX676" fmla="*/ 7128629 w 7524134"/>
                  <a:gd name="connsiteY676" fmla="*/ 5432245 h 6756949"/>
                  <a:gd name="connsiteX677" fmla="*/ 7114334 w 7524134"/>
                  <a:gd name="connsiteY677" fmla="*/ 5437010 h 6756949"/>
                  <a:gd name="connsiteX678" fmla="*/ 7104803 w 7524134"/>
                  <a:gd name="connsiteY678" fmla="*/ 5441775 h 6756949"/>
                  <a:gd name="connsiteX679" fmla="*/ 7100038 w 7524134"/>
                  <a:gd name="connsiteY679" fmla="*/ 5446540 h 6756949"/>
                  <a:gd name="connsiteX680" fmla="*/ 7095273 w 7524134"/>
                  <a:gd name="connsiteY680" fmla="*/ 5446540 h 6756949"/>
                  <a:gd name="connsiteX681" fmla="*/ 7076213 w 7524134"/>
                  <a:gd name="connsiteY681" fmla="*/ 5446540 h 6756949"/>
                  <a:gd name="connsiteX682" fmla="*/ 7071447 w 7524134"/>
                  <a:gd name="connsiteY682" fmla="*/ 5446540 h 6756949"/>
                  <a:gd name="connsiteX683" fmla="*/ 7066682 w 7524134"/>
                  <a:gd name="connsiteY683" fmla="*/ 5432245 h 6756949"/>
                  <a:gd name="connsiteX684" fmla="*/ 7071447 w 7524134"/>
                  <a:gd name="connsiteY684" fmla="*/ 5422714 h 6756949"/>
                  <a:gd name="connsiteX685" fmla="*/ 7076213 w 7524134"/>
                  <a:gd name="connsiteY685" fmla="*/ 5413184 h 6756949"/>
                  <a:gd name="connsiteX686" fmla="*/ 7080978 w 7524134"/>
                  <a:gd name="connsiteY686" fmla="*/ 5398889 h 6756949"/>
                  <a:gd name="connsiteX687" fmla="*/ 6880842 w 7524134"/>
                  <a:gd name="connsiteY687" fmla="*/ 5327412 h 6756949"/>
                  <a:gd name="connsiteX688" fmla="*/ 6895138 w 7524134"/>
                  <a:gd name="connsiteY688" fmla="*/ 5336942 h 6756949"/>
                  <a:gd name="connsiteX689" fmla="*/ 6904668 w 7524134"/>
                  <a:gd name="connsiteY689" fmla="*/ 5346472 h 6756949"/>
                  <a:gd name="connsiteX690" fmla="*/ 6904668 w 7524134"/>
                  <a:gd name="connsiteY690" fmla="*/ 5356003 h 6756949"/>
                  <a:gd name="connsiteX691" fmla="*/ 6914198 w 7524134"/>
                  <a:gd name="connsiteY691" fmla="*/ 5375063 h 6756949"/>
                  <a:gd name="connsiteX692" fmla="*/ 6928494 w 7524134"/>
                  <a:gd name="connsiteY692" fmla="*/ 5370298 h 6756949"/>
                  <a:gd name="connsiteX693" fmla="*/ 6938024 w 7524134"/>
                  <a:gd name="connsiteY693" fmla="*/ 5389359 h 6756949"/>
                  <a:gd name="connsiteX694" fmla="*/ 6942789 w 7524134"/>
                  <a:gd name="connsiteY694" fmla="*/ 5408419 h 6756949"/>
                  <a:gd name="connsiteX695" fmla="*/ 6938024 w 7524134"/>
                  <a:gd name="connsiteY695" fmla="*/ 5422714 h 6756949"/>
                  <a:gd name="connsiteX696" fmla="*/ 6933259 w 7524134"/>
                  <a:gd name="connsiteY696" fmla="*/ 5422714 h 6756949"/>
                  <a:gd name="connsiteX697" fmla="*/ 6923729 w 7524134"/>
                  <a:gd name="connsiteY697" fmla="*/ 5427479 h 6756949"/>
                  <a:gd name="connsiteX698" fmla="*/ 6923729 w 7524134"/>
                  <a:gd name="connsiteY698" fmla="*/ 5456070 h 6756949"/>
                  <a:gd name="connsiteX699" fmla="*/ 6923729 w 7524134"/>
                  <a:gd name="connsiteY699" fmla="*/ 5484661 h 6756949"/>
                  <a:gd name="connsiteX700" fmla="*/ 6918964 w 7524134"/>
                  <a:gd name="connsiteY700" fmla="*/ 5508486 h 6756949"/>
                  <a:gd name="connsiteX701" fmla="*/ 6914198 w 7524134"/>
                  <a:gd name="connsiteY701" fmla="*/ 5537077 h 6756949"/>
                  <a:gd name="connsiteX702" fmla="*/ 6909433 w 7524134"/>
                  <a:gd name="connsiteY702" fmla="*/ 5556138 h 6756949"/>
                  <a:gd name="connsiteX703" fmla="*/ 6909433 w 7524134"/>
                  <a:gd name="connsiteY703" fmla="*/ 5560903 h 6756949"/>
                  <a:gd name="connsiteX704" fmla="*/ 6904668 w 7524134"/>
                  <a:gd name="connsiteY704" fmla="*/ 5565668 h 6756949"/>
                  <a:gd name="connsiteX705" fmla="*/ 6899903 w 7524134"/>
                  <a:gd name="connsiteY705" fmla="*/ 5560903 h 6756949"/>
                  <a:gd name="connsiteX706" fmla="*/ 6895138 w 7524134"/>
                  <a:gd name="connsiteY706" fmla="*/ 5556138 h 6756949"/>
                  <a:gd name="connsiteX707" fmla="*/ 6885608 w 7524134"/>
                  <a:gd name="connsiteY707" fmla="*/ 5570433 h 6756949"/>
                  <a:gd name="connsiteX708" fmla="*/ 6876077 w 7524134"/>
                  <a:gd name="connsiteY708" fmla="*/ 5570433 h 6756949"/>
                  <a:gd name="connsiteX709" fmla="*/ 6866547 w 7524134"/>
                  <a:gd name="connsiteY709" fmla="*/ 5537077 h 6756949"/>
                  <a:gd name="connsiteX710" fmla="*/ 6871312 w 7524134"/>
                  <a:gd name="connsiteY710" fmla="*/ 5475131 h 6756949"/>
                  <a:gd name="connsiteX711" fmla="*/ 6890373 w 7524134"/>
                  <a:gd name="connsiteY711" fmla="*/ 5465600 h 6756949"/>
                  <a:gd name="connsiteX712" fmla="*/ 6880842 w 7524134"/>
                  <a:gd name="connsiteY712" fmla="*/ 5446540 h 6756949"/>
                  <a:gd name="connsiteX713" fmla="*/ 6857017 w 7524134"/>
                  <a:gd name="connsiteY713" fmla="*/ 5427479 h 6756949"/>
                  <a:gd name="connsiteX714" fmla="*/ 6861782 w 7524134"/>
                  <a:gd name="connsiteY714" fmla="*/ 5417949 h 6756949"/>
                  <a:gd name="connsiteX715" fmla="*/ 6842721 w 7524134"/>
                  <a:gd name="connsiteY715" fmla="*/ 5389359 h 6756949"/>
                  <a:gd name="connsiteX716" fmla="*/ 6842721 w 7524134"/>
                  <a:gd name="connsiteY716" fmla="*/ 5379828 h 6756949"/>
                  <a:gd name="connsiteX717" fmla="*/ 6842721 w 7524134"/>
                  <a:gd name="connsiteY717" fmla="*/ 5356003 h 6756949"/>
                  <a:gd name="connsiteX718" fmla="*/ 6861782 w 7524134"/>
                  <a:gd name="connsiteY718" fmla="*/ 5332177 h 6756949"/>
                  <a:gd name="connsiteX719" fmla="*/ 6923728 w 7524134"/>
                  <a:gd name="connsiteY719" fmla="*/ 5289291 h 6756949"/>
                  <a:gd name="connsiteX720" fmla="*/ 6947553 w 7524134"/>
                  <a:gd name="connsiteY720" fmla="*/ 5289291 h 6756949"/>
                  <a:gd name="connsiteX721" fmla="*/ 6999970 w 7524134"/>
                  <a:gd name="connsiteY721" fmla="*/ 5308352 h 6756949"/>
                  <a:gd name="connsiteX722" fmla="*/ 7014265 w 7524134"/>
                  <a:gd name="connsiteY722" fmla="*/ 5317882 h 6756949"/>
                  <a:gd name="connsiteX723" fmla="*/ 7019030 w 7524134"/>
                  <a:gd name="connsiteY723" fmla="*/ 5308352 h 6756949"/>
                  <a:gd name="connsiteX724" fmla="*/ 7028560 w 7524134"/>
                  <a:gd name="connsiteY724" fmla="*/ 5308352 h 6756949"/>
                  <a:gd name="connsiteX725" fmla="*/ 7047621 w 7524134"/>
                  <a:gd name="connsiteY725" fmla="*/ 5317882 h 6756949"/>
                  <a:gd name="connsiteX726" fmla="*/ 7061916 w 7524134"/>
                  <a:gd name="connsiteY726" fmla="*/ 5327412 h 6756949"/>
                  <a:gd name="connsiteX727" fmla="*/ 7066681 w 7524134"/>
                  <a:gd name="connsiteY727" fmla="*/ 5341707 h 6756949"/>
                  <a:gd name="connsiteX728" fmla="*/ 7066681 w 7524134"/>
                  <a:gd name="connsiteY728" fmla="*/ 5351238 h 6756949"/>
                  <a:gd name="connsiteX729" fmla="*/ 7066681 w 7524134"/>
                  <a:gd name="connsiteY729" fmla="*/ 5370298 h 6756949"/>
                  <a:gd name="connsiteX730" fmla="*/ 7066681 w 7524134"/>
                  <a:gd name="connsiteY730" fmla="*/ 5389359 h 6756949"/>
                  <a:gd name="connsiteX731" fmla="*/ 7066681 w 7524134"/>
                  <a:gd name="connsiteY731" fmla="*/ 5403654 h 6756949"/>
                  <a:gd name="connsiteX732" fmla="*/ 7061916 w 7524134"/>
                  <a:gd name="connsiteY732" fmla="*/ 5408419 h 6756949"/>
                  <a:gd name="connsiteX733" fmla="*/ 7057151 w 7524134"/>
                  <a:gd name="connsiteY733" fmla="*/ 5417950 h 6756949"/>
                  <a:gd name="connsiteX734" fmla="*/ 7052386 w 7524134"/>
                  <a:gd name="connsiteY734" fmla="*/ 5417950 h 6756949"/>
                  <a:gd name="connsiteX735" fmla="*/ 7038091 w 7524134"/>
                  <a:gd name="connsiteY735" fmla="*/ 5398889 h 6756949"/>
                  <a:gd name="connsiteX736" fmla="*/ 7019030 w 7524134"/>
                  <a:gd name="connsiteY736" fmla="*/ 5370298 h 6756949"/>
                  <a:gd name="connsiteX737" fmla="*/ 7009500 w 7524134"/>
                  <a:gd name="connsiteY737" fmla="*/ 5360768 h 6756949"/>
                  <a:gd name="connsiteX738" fmla="*/ 7009500 w 7524134"/>
                  <a:gd name="connsiteY738" fmla="*/ 5370298 h 6756949"/>
                  <a:gd name="connsiteX739" fmla="*/ 7023795 w 7524134"/>
                  <a:gd name="connsiteY739" fmla="*/ 5389359 h 6756949"/>
                  <a:gd name="connsiteX740" fmla="*/ 7023795 w 7524134"/>
                  <a:gd name="connsiteY740" fmla="*/ 5398889 h 6756949"/>
                  <a:gd name="connsiteX741" fmla="*/ 7033325 w 7524134"/>
                  <a:gd name="connsiteY741" fmla="*/ 5408419 h 6756949"/>
                  <a:gd name="connsiteX742" fmla="*/ 7033325 w 7524134"/>
                  <a:gd name="connsiteY742" fmla="*/ 5422715 h 6756949"/>
                  <a:gd name="connsiteX743" fmla="*/ 7038091 w 7524134"/>
                  <a:gd name="connsiteY743" fmla="*/ 5432245 h 6756949"/>
                  <a:gd name="connsiteX744" fmla="*/ 7038091 w 7524134"/>
                  <a:gd name="connsiteY744" fmla="*/ 5441775 h 6756949"/>
                  <a:gd name="connsiteX745" fmla="*/ 7033325 w 7524134"/>
                  <a:gd name="connsiteY745" fmla="*/ 5451306 h 6756949"/>
                  <a:gd name="connsiteX746" fmla="*/ 7033325 w 7524134"/>
                  <a:gd name="connsiteY746" fmla="*/ 5460836 h 6756949"/>
                  <a:gd name="connsiteX747" fmla="*/ 7023795 w 7524134"/>
                  <a:gd name="connsiteY747" fmla="*/ 5460836 h 6756949"/>
                  <a:gd name="connsiteX748" fmla="*/ 6999970 w 7524134"/>
                  <a:gd name="connsiteY748" fmla="*/ 5460836 h 6756949"/>
                  <a:gd name="connsiteX749" fmla="*/ 6985674 w 7524134"/>
                  <a:gd name="connsiteY749" fmla="*/ 5465601 h 6756949"/>
                  <a:gd name="connsiteX750" fmla="*/ 6966614 w 7524134"/>
                  <a:gd name="connsiteY750" fmla="*/ 5460836 h 6756949"/>
                  <a:gd name="connsiteX751" fmla="*/ 6961849 w 7524134"/>
                  <a:gd name="connsiteY751" fmla="*/ 5456071 h 6756949"/>
                  <a:gd name="connsiteX752" fmla="*/ 6957084 w 7524134"/>
                  <a:gd name="connsiteY752" fmla="*/ 5446540 h 6756949"/>
                  <a:gd name="connsiteX753" fmla="*/ 6957084 w 7524134"/>
                  <a:gd name="connsiteY753" fmla="*/ 5422715 h 6756949"/>
                  <a:gd name="connsiteX754" fmla="*/ 6952318 w 7524134"/>
                  <a:gd name="connsiteY754" fmla="*/ 5394124 h 6756949"/>
                  <a:gd name="connsiteX755" fmla="*/ 6952318 w 7524134"/>
                  <a:gd name="connsiteY755" fmla="*/ 5365533 h 6756949"/>
                  <a:gd name="connsiteX756" fmla="*/ 6942788 w 7524134"/>
                  <a:gd name="connsiteY756" fmla="*/ 5346473 h 6756949"/>
                  <a:gd name="connsiteX757" fmla="*/ 6933258 w 7524134"/>
                  <a:gd name="connsiteY757" fmla="*/ 5332177 h 6756949"/>
                  <a:gd name="connsiteX758" fmla="*/ 6914197 w 7524134"/>
                  <a:gd name="connsiteY758" fmla="*/ 5317882 h 6756949"/>
                  <a:gd name="connsiteX759" fmla="*/ 6904667 w 7524134"/>
                  <a:gd name="connsiteY759" fmla="*/ 5308352 h 6756949"/>
                  <a:gd name="connsiteX760" fmla="*/ 6909432 w 7524134"/>
                  <a:gd name="connsiteY760" fmla="*/ 5298821 h 6756949"/>
                  <a:gd name="connsiteX761" fmla="*/ 3893108 w 7524134"/>
                  <a:gd name="connsiteY761" fmla="*/ 5255935 h 6756949"/>
                  <a:gd name="connsiteX762" fmla="*/ 3945524 w 7524134"/>
                  <a:gd name="connsiteY762" fmla="*/ 5260700 h 6756949"/>
                  <a:gd name="connsiteX763" fmla="*/ 3950289 w 7524134"/>
                  <a:gd name="connsiteY763" fmla="*/ 5265465 h 6756949"/>
                  <a:gd name="connsiteX764" fmla="*/ 3950289 w 7524134"/>
                  <a:gd name="connsiteY764" fmla="*/ 5270230 h 6756949"/>
                  <a:gd name="connsiteX765" fmla="*/ 3945524 w 7524134"/>
                  <a:gd name="connsiteY765" fmla="*/ 5270230 h 6756949"/>
                  <a:gd name="connsiteX766" fmla="*/ 3935994 w 7524134"/>
                  <a:gd name="connsiteY766" fmla="*/ 5274995 h 6756949"/>
                  <a:gd name="connsiteX767" fmla="*/ 3916933 w 7524134"/>
                  <a:gd name="connsiteY767" fmla="*/ 5284526 h 6756949"/>
                  <a:gd name="connsiteX768" fmla="*/ 3912168 w 7524134"/>
                  <a:gd name="connsiteY768" fmla="*/ 5284526 h 6756949"/>
                  <a:gd name="connsiteX769" fmla="*/ 3897873 w 7524134"/>
                  <a:gd name="connsiteY769" fmla="*/ 5303586 h 6756949"/>
                  <a:gd name="connsiteX770" fmla="*/ 3888343 w 7524134"/>
                  <a:gd name="connsiteY770" fmla="*/ 5308351 h 6756949"/>
                  <a:gd name="connsiteX771" fmla="*/ 3878812 w 7524134"/>
                  <a:gd name="connsiteY771" fmla="*/ 5294056 h 6756949"/>
                  <a:gd name="connsiteX772" fmla="*/ 3878812 w 7524134"/>
                  <a:gd name="connsiteY772" fmla="*/ 5270230 h 6756949"/>
                  <a:gd name="connsiteX773" fmla="*/ 1262759 w 7524134"/>
                  <a:gd name="connsiteY773" fmla="*/ 5241640 h 6756949"/>
                  <a:gd name="connsiteX774" fmla="*/ 1253229 w 7524134"/>
                  <a:gd name="connsiteY774" fmla="*/ 5255935 h 6756949"/>
                  <a:gd name="connsiteX775" fmla="*/ 1238934 w 7524134"/>
                  <a:gd name="connsiteY775" fmla="*/ 5270231 h 6756949"/>
                  <a:gd name="connsiteX776" fmla="*/ 1224638 w 7524134"/>
                  <a:gd name="connsiteY776" fmla="*/ 5265466 h 6756949"/>
                  <a:gd name="connsiteX777" fmla="*/ 1219873 w 7524134"/>
                  <a:gd name="connsiteY777" fmla="*/ 5255935 h 6756949"/>
                  <a:gd name="connsiteX778" fmla="*/ 1219873 w 7524134"/>
                  <a:gd name="connsiteY778" fmla="*/ 5251170 h 6756949"/>
                  <a:gd name="connsiteX779" fmla="*/ 6675941 w 7524134"/>
                  <a:gd name="connsiteY779" fmla="*/ 5155867 h 6756949"/>
                  <a:gd name="connsiteX780" fmla="*/ 6695002 w 7524134"/>
                  <a:gd name="connsiteY780" fmla="*/ 5155867 h 6756949"/>
                  <a:gd name="connsiteX781" fmla="*/ 6728358 w 7524134"/>
                  <a:gd name="connsiteY781" fmla="*/ 5184458 h 6756949"/>
                  <a:gd name="connsiteX782" fmla="*/ 6737888 w 7524134"/>
                  <a:gd name="connsiteY782" fmla="*/ 5189223 h 6756949"/>
                  <a:gd name="connsiteX783" fmla="*/ 6752183 w 7524134"/>
                  <a:gd name="connsiteY783" fmla="*/ 5208283 h 6756949"/>
                  <a:gd name="connsiteX784" fmla="*/ 6766479 w 7524134"/>
                  <a:gd name="connsiteY784" fmla="*/ 5241639 h 6756949"/>
                  <a:gd name="connsiteX785" fmla="*/ 6776009 w 7524134"/>
                  <a:gd name="connsiteY785" fmla="*/ 5265465 h 6756949"/>
                  <a:gd name="connsiteX786" fmla="*/ 6785540 w 7524134"/>
                  <a:gd name="connsiteY786" fmla="*/ 5294056 h 6756949"/>
                  <a:gd name="connsiteX787" fmla="*/ 6799835 w 7524134"/>
                  <a:gd name="connsiteY787" fmla="*/ 5356002 h 6756949"/>
                  <a:gd name="connsiteX788" fmla="*/ 6804600 w 7524134"/>
                  <a:gd name="connsiteY788" fmla="*/ 5375063 h 6756949"/>
                  <a:gd name="connsiteX789" fmla="*/ 6804600 w 7524134"/>
                  <a:gd name="connsiteY789" fmla="*/ 5389358 h 6756949"/>
                  <a:gd name="connsiteX790" fmla="*/ 6809365 w 7524134"/>
                  <a:gd name="connsiteY790" fmla="*/ 5422714 h 6756949"/>
                  <a:gd name="connsiteX791" fmla="*/ 6804600 w 7524134"/>
                  <a:gd name="connsiteY791" fmla="*/ 5427479 h 6756949"/>
                  <a:gd name="connsiteX792" fmla="*/ 6799835 w 7524134"/>
                  <a:gd name="connsiteY792" fmla="*/ 5437009 h 6756949"/>
                  <a:gd name="connsiteX793" fmla="*/ 6799835 w 7524134"/>
                  <a:gd name="connsiteY793" fmla="*/ 5446540 h 6756949"/>
                  <a:gd name="connsiteX794" fmla="*/ 6804600 w 7524134"/>
                  <a:gd name="connsiteY794" fmla="*/ 5470365 h 6756949"/>
                  <a:gd name="connsiteX795" fmla="*/ 6804600 w 7524134"/>
                  <a:gd name="connsiteY795" fmla="*/ 5508486 h 6756949"/>
                  <a:gd name="connsiteX796" fmla="*/ 6799835 w 7524134"/>
                  <a:gd name="connsiteY796" fmla="*/ 5527547 h 6756949"/>
                  <a:gd name="connsiteX797" fmla="*/ 6795070 w 7524134"/>
                  <a:gd name="connsiteY797" fmla="*/ 5532312 h 6756949"/>
                  <a:gd name="connsiteX798" fmla="*/ 6785540 w 7524134"/>
                  <a:gd name="connsiteY798" fmla="*/ 5522782 h 6756949"/>
                  <a:gd name="connsiteX799" fmla="*/ 6776009 w 7524134"/>
                  <a:gd name="connsiteY799" fmla="*/ 5513251 h 6756949"/>
                  <a:gd name="connsiteX800" fmla="*/ 6771244 w 7524134"/>
                  <a:gd name="connsiteY800" fmla="*/ 5503721 h 6756949"/>
                  <a:gd name="connsiteX801" fmla="*/ 6756949 w 7524134"/>
                  <a:gd name="connsiteY801" fmla="*/ 5465600 h 6756949"/>
                  <a:gd name="connsiteX802" fmla="*/ 6752183 w 7524134"/>
                  <a:gd name="connsiteY802" fmla="*/ 5446540 h 6756949"/>
                  <a:gd name="connsiteX803" fmla="*/ 6747418 w 7524134"/>
                  <a:gd name="connsiteY803" fmla="*/ 5432244 h 6756949"/>
                  <a:gd name="connsiteX804" fmla="*/ 6752183 w 7524134"/>
                  <a:gd name="connsiteY804" fmla="*/ 5422714 h 6756949"/>
                  <a:gd name="connsiteX805" fmla="*/ 6756949 w 7524134"/>
                  <a:gd name="connsiteY805" fmla="*/ 5417949 h 6756949"/>
                  <a:gd name="connsiteX806" fmla="*/ 6766479 w 7524134"/>
                  <a:gd name="connsiteY806" fmla="*/ 5403654 h 6756949"/>
                  <a:gd name="connsiteX807" fmla="*/ 6756949 w 7524134"/>
                  <a:gd name="connsiteY807" fmla="*/ 5403654 h 6756949"/>
                  <a:gd name="connsiteX808" fmla="*/ 6742653 w 7524134"/>
                  <a:gd name="connsiteY808" fmla="*/ 5408419 h 6756949"/>
                  <a:gd name="connsiteX809" fmla="*/ 6733123 w 7524134"/>
                  <a:gd name="connsiteY809" fmla="*/ 5394123 h 6756949"/>
                  <a:gd name="connsiteX810" fmla="*/ 6723593 w 7524134"/>
                  <a:gd name="connsiteY810" fmla="*/ 5389358 h 6756949"/>
                  <a:gd name="connsiteX811" fmla="*/ 6723593 w 7524134"/>
                  <a:gd name="connsiteY811" fmla="*/ 5365533 h 6756949"/>
                  <a:gd name="connsiteX812" fmla="*/ 6723593 w 7524134"/>
                  <a:gd name="connsiteY812" fmla="*/ 5360767 h 6756949"/>
                  <a:gd name="connsiteX813" fmla="*/ 6704532 w 7524134"/>
                  <a:gd name="connsiteY813" fmla="*/ 5365533 h 6756949"/>
                  <a:gd name="connsiteX814" fmla="*/ 6695002 w 7524134"/>
                  <a:gd name="connsiteY814" fmla="*/ 5360767 h 6756949"/>
                  <a:gd name="connsiteX815" fmla="*/ 6695002 w 7524134"/>
                  <a:gd name="connsiteY815" fmla="*/ 5351237 h 6756949"/>
                  <a:gd name="connsiteX816" fmla="*/ 6695002 w 7524134"/>
                  <a:gd name="connsiteY816" fmla="*/ 5341707 h 6756949"/>
                  <a:gd name="connsiteX817" fmla="*/ 6699767 w 7524134"/>
                  <a:gd name="connsiteY817" fmla="*/ 5327412 h 6756949"/>
                  <a:gd name="connsiteX818" fmla="*/ 6714062 w 7524134"/>
                  <a:gd name="connsiteY818" fmla="*/ 5303586 h 6756949"/>
                  <a:gd name="connsiteX819" fmla="*/ 6714062 w 7524134"/>
                  <a:gd name="connsiteY819" fmla="*/ 5294056 h 6756949"/>
                  <a:gd name="connsiteX820" fmla="*/ 6704532 w 7524134"/>
                  <a:gd name="connsiteY820" fmla="*/ 5294056 h 6756949"/>
                  <a:gd name="connsiteX821" fmla="*/ 6695002 w 7524134"/>
                  <a:gd name="connsiteY821" fmla="*/ 5284525 h 6756949"/>
                  <a:gd name="connsiteX822" fmla="*/ 6690237 w 7524134"/>
                  <a:gd name="connsiteY822" fmla="*/ 5255935 h 6756949"/>
                  <a:gd name="connsiteX823" fmla="*/ 6675941 w 7524134"/>
                  <a:gd name="connsiteY823" fmla="*/ 5236874 h 6756949"/>
                  <a:gd name="connsiteX824" fmla="*/ 6666411 w 7524134"/>
                  <a:gd name="connsiteY824" fmla="*/ 5241639 h 6756949"/>
                  <a:gd name="connsiteX825" fmla="*/ 6652116 w 7524134"/>
                  <a:gd name="connsiteY825" fmla="*/ 5289291 h 6756949"/>
                  <a:gd name="connsiteX826" fmla="*/ 6642585 w 7524134"/>
                  <a:gd name="connsiteY826" fmla="*/ 5298821 h 6756949"/>
                  <a:gd name="connsiteX827" fmla="*/ 6618760 w 7524134"/>
                  <a:gd name="connsiteY827" fmla="*/ 5308351 h 6756949"/>
                  <a:gd name="connsiteX828" fmla="*/ 6623525 w 7524134"/>
                  <a:gd name="connsiteY828" fmla="*/ 5294056 h 6756949"/>
                  <a:gd name="connsiteX829" fmla="*/ 6628290 w 7524134"/>
                  <a:gd name="connsiteY829" fmla="*/ 5279760 h 6756949"/>
                  <a:gd name="connsiteX830" fmla="*/ 6618760 w 7524134"/>
                  <a:gd name="connsiteY830" fmla="*/ 5241639 h 6756949"/>
                  <a:gd name="connsiteX831" fmla="*/ 6618760 w 7524134"/>
                  <a:gd name="connsiteY831" fmla="*/ 5227344 h 6756949"/>
                  <a:gd name="connsiteX832" fmla="*/ 6623525 w 7524134"/>
                  <a:gd name="connsiteY832" fmla="*/ 5217814 h 6756949"/>
                  <a:gd name="connsiteX833" fmla="*/ 6642585 w 7524134"/>
                  <a:gd name="connsiteY833" fmla="*/ 5213049 h 6756949"/>
                  <a:gd name="connsiteX834" fmla="*/ 6647351 w 7524134"/>
                  <a:gd name="connsiteY834" fmla="*/ 5208283 h 6756949"/>
                  <a:gd name="connsiteX835" fmla="*/ 6656881 w 7524134"/>
                  <a:gd name="connsiteY835" fmla="*/ 5198753 h 6756949"/>
                  <a:gd name="connsiteX836" fmla="*/ 6656881 w 7524134"/>
                  <a:gd name="connsiteY836" fmla="*/ 5189223 h 6756949"/>
                  <a:gd name="connsiteX837" fmla="*/ 6671176 w 7524134"/>
                  <a:gd name="connsiteY837" fmla="*/ 5160632 h 6756949"/>
                  <a:gd name="connsiteX838" fmla="*/ 3912167 w 7524134"/>
                  <a:gd name="connsiteY838" fmla="*/ 5027209 h 6756949"/>
                  <a:gd name="connsiteX839" fmla="*/ 3945523 w 7524134"/>
                  <a:gd name="connsiteY839" fmla="*/ 5036739 h 6756949"/>
                  <a:gd name="connsiteX840" fmla="*/ 3959819 w 7524134"/>
                  <a:gd name="connsiteY840" fmla="*/ 5051035 h 6756949"/>
                  <a:gd name="connsiteX841" fmla="*/ 3950288 w 7524134"/>
                  <a:gd name="connsiteY841" fmla="*/ 5070095 h 6756949"/>
                  <a:gd name="connsiteX842" fmla="*/ 3950288 w 7524134"/>
                  <a:gd name="connsiteY842" fmla="*/ 5089156 h 6756949"/>
                  <a:gd name="connsiteX843" fmla="*/ 3959819 w 7524134"/>
                  <a:gd name="connsiteY843" fmla="*/ 5084390 h 6756949"/>
                  <a:gd name="connsiteX844" fmla="*/ 3983644 w 7524134"/>
                  <a:gd name="connsiteY844" fmla="*/ 5070095 h 6756949"/>
                  <a:gd name="connsiteX845" fmla="*/ 3997940 w 7524134"/>
                  <a:gd name="connsiteY845" fmla="*/ 5065330 h 6756949"/>
                  <a:gd name="connsiteX846" fmla="*/ 4012235 w 7524134"/>
                  <a:gd name="connsiteY846" fmla="*/ 5060565 h 6756949"/>
                  <a:gd name="connsiteX847" fmla="*/ 4026530 w 7524134"/>
                  <a:gd name="connsiteY847" fmla="*/ 5070095 h 6756949"/>
                  <a:gd name="connsiteX848" fmla="*/ 4026530 w 7524134"/>
                  <a:gd name="connsiteY848" fmla="*/ 5074860 h 6756949"/>
                  <a:gd name="connsiteX849" fmla="*/ 4026530 w 7524134"/>
                  <a:gd name="connsiteY849" fmla="*/ 5084390 h 6756949"/>
                  <a:gd name="connsiteX850" fmla="*/ 4017000 w 7524134"/>
                  <a:gd name="connsiteY850" fmla="*/ 5098686 h 6756949"/>
                  <a:gd name="connsiteX851" fmla="*/ 4017000 w 7524134"/>
                  <a:gd name="connsiteY851" fmla="*/ 5108216 h 6756949"/>
                  <a:gd name="connsiteX852" fmla="*/ 4026530 w 7524134"/>
                  <a:gd name="connsiteY852" fmla="*/ 5122511 h 6756949"/>
                  <a:gd name="connsiteX853" fmla="*/ 4055121 w 7524134"/>
                  <a:gd name="connsiteY853" fmla="*/ 5132042 h 6756949"/>
                  <a:gd name="connsiteX854" fmla="*/ 4059886 w 7524134"/>
                  <a:gd name="connsiteY854" fmla="*/ 5136807 h 6756949"/>
                  <a:gd name="connsiteX855" fmla="*/ 4059886 w 7524134"/>
                  <a:gd name="connsiteY855" fmla="*/ 5141572 h 6756949"/>
                  <a:gd name="connsiteX856" fmla="*/ 4040826 w 7524134"/>
                  <a:gd name="connsiteY856" fmla="*/ 5170163 h 6756949"/>
                  <a:gd name="connsiteX857" fmla="*/ 4031296 w 7524134"/>
                  <a:gd name="connsiteY857" fmla="*/ 5174928 h 6756949"/>
                  <a:gd name="connsiteX858" fmla="*/ 4026530 w 7524134"/>
                  <a:gd name="connsiteY858" fmla="*/ 5179693 h 6756949"/>
                  <a:gd name="connsiteX859" fmla="*/ 3993175 w 7524134"/>
                  <a:gd name="connsiteY859" fmla="*/ 5174928 h 6756949"/>
                  <a:gd name="connsiteX860" fmla="*/ 3959819 w 7524134"/>
                  <a:gd name="connsiteY860" fmla="*/ 5165398 h 6756949"/>
                  <a:gd name="connsiteX861" fmla="*/ 3950288 w 7524134"/>
                  <a:gd name="connsiteY861" fmla="*/ 5165398 h 6756949"/>
                  <a:gd name="connsiteX862" fmla="*/ 3945523 w 7524134"/>
                  <a:gd name="connsiteY862" fmla="*/ 5165398 h 6756949"/>
                  <a:gd name="connsiteX863" fmla="*/ 3935993 w 7524134"/>
                  <a:gd name="connsiteY863" fmla="*/ 5174928 h 6756949"/>
                  <a:gd name="connsiteX864" fmla="*/ 3940758 w 7524134"/>
                  <a:gd name="connsiteY864" fmla="*/ 5174928 h 6756949"/>
                  <a:gd name="connsiteX865" fmla="*/ 3969349 w 7524134"/>
                  <a:gd name="connsiteY865" fmla="*/ 5179693 h 6756949"/>
                  <a:gd name="connsiteX866" fmla="*/ 3978879 w 7524134"/>
                  <a:gd name="connsiteY866" fmla="*/ 5189223 h 6756949"/>
                  <a:gd name="connsiteX867" fmla="*/ 3983644 w 7524134"/>
                  <a:gd name="connsiteY867" fmla="*/ 5198753 h 6756949"/>
                  <a:gd name="connsiteX868" fmla="*/ 3983644 w 7524134"/>
                  <a:gd name="connsiteY868" fmla="*/ 5208284 h 6756949"/>
                  <a:gd name="connsiteX869" fmla="*/ 3978879 w 7524134"/>
                  <a:gd name="connsiteY869" fmla="*/ 5213049 h 6756949"/>
                  <a:gd name="connsiteX870" fmla="*/ 3969349 w 7524134"/>
                  <a:gd name="connsiteY870" fmla="*/ 5217814 h 6756949"/>
                  <a:gd name="connsiteX871" fmla="*/ 3955054 w 7524134"/>
                  <a:gd name="connsiteY871" fmla="*/ 5217814 h 6756949"/>
                  <a:gd name="connsiteX872" fmla="*/ 3935993 w 7524134"/>
                  <a:gd name="connsiteY872" fmla="*/ 5227344 h 6756949"/>
                  <a:gd name="connsiteX873" fmla="*/ 3926463 w 7524134"/>
                  <a:gd name="connsiteY873" fmla="*/ 5241640 h 6756949"/>
                  <a:gd name="connsiteX874" fmla="*/ 3893107 w 7524134"/>
                  <a:gd name="connsiteY874" fmla="*/ 5246405 h 6756949"/>
                  <a:gd name="connsiteX875" fmla="*/ 3864516 w 7524134"/>
                  <a:gd name="connsiteY875" fmla="*/ 5260700 h 6756949"/>
                  <a:gd name="connsiteX876" fmla="*/ 3854986 w 7524134"/>
                  <a:gd name="connsiteY876" fmla="*/ 5270230 h 6756949"/>
                  <a:gd name="connsiteX877" fmla="*/ 3854986 w 7524134"/>
                  <a:gd name="connsiteY877" fmla="*/ 5279761 h 6756949"/>
                  <a:gd name="connsiteX878" fmla="*/ 3845456 w 7524134"/>
                  <a:gd name="connsiteY878" fmla="*/ 5289291 h 6756949"/>
                  <a:gd name="connsiteX879" fmla="*/ 3821630 w 7524134"/>
                  <a:gd name="connsiteY879" fmla="*/ 5294056 h 6756949"/>
                  <a:gd name="connsiteX880" fmla="*/ 3835926 w 7524134"/>
                  <a:gd name="connsiteY880" fmla="*/ 5303586 h 6756949"/>
                  <a:gd name="connsiteX881" fmla="*/ 3835926 w 7524134"/>
                  <a:gd name="connsiteY881" fmla="*/ 5308351 h 6756949"/>
                  <a:gd name="connsiteX882" fmla="*/ 3835926 w 7524134"/>
                  <a:gd name="connsiteY882" fmla="*/ 5313116 h 6756949"/>
                  <a:gd name="connsiteX883" fmla="*/ 3835926 w 7524134"/>
                  <a:gd name="connsiteY883" fmla="*/ 5322647 h 6756949"/>
                  <a:gd name="connsiteX884" fmla="*/ 3816865 w 7524134"/>
                  <a:gd name="connsiteY884" fmla="*/ 5351237 h 6756949"/>
                  <a:gd name="connsiteX885" fmla="*/ 3783509 w 7524134"/>
                  <a:gd name="connsiteY885" fmla="*/ 5375063 h 6756949"/>
                  <a:gd name="connsiteX886" fmla="*/ 3773979 w 7524134"/>
                  <a:gd name="connsiteY886" fmla="*/ 5375063 h 6756949"/>
                  <a:gd name="connsiteX887" fmla="*/ 3769214 w 7524134"/>
                  <a:gd name="connsiteY887" fmla="*/ 5370298 h 6756949"/>
                  <a:gd name="connsiteX888" fmla="*/ 3769214 w 7524134"/>
                  <a:gd name="connsiteY888" fmla="*/ 5365533 h 6756949"/>
                  <a:gd name="connsiteX889" fmla="*/ 3769214 w 7524134"/>
                  <a:gd name="connsiteY889" fmla="*/ 5360768 h 6756949"/>
                  <a:gd name="connsiteX890" fmla="*/ 3812100 w 7524134"/>
                  <a:gd name="connsiteY890" fmla="*/ 5313116 h 6756949"/>
                  <a:gd name="connsiteX891" fmla="*/ 3812100 w 7524134"/>
                  <a:gd name="connsiteY891" fmla="*/ 5308351 h 6756949"/>
                  <a:gd name="connsiteX892" fmla="*/ 3797805 w 7524134"/>
                  <a:gd name="connsiteY892" fmla="*/ 5308351 h 6756949"/>
                  <a:gd name="connsiteX893" fmla="*/ 3778744 w 7524134"/>
                  <a:gd name="connsiteY893" fmla="*/ 5294056 h 6756949"/>
                  <a:gd name="connsiteX894" fmla="*/ 3764449 w 7524134"/>
                  <a:gd name="connsiteY894" fmla="*/ 5303586 h 6756949"/>
                  <a:gd name="connsiteX895" fmla="*/ 3769214 w 7524134"/>
                  <a:gd name="connsiteY895" fmla="*/ 5294056 h 6756949"/>
                  <a:gd name="connsiteX896" fmla="*/ 3773979 w 7524134"/>
                  <a:gd name="connsiteY896" fmla="*/ 5279761 h 6756949"/>
                  <a:gd name="connsiteX897" fmla="*/ 3773979 w 7524134"/>
                  <a:gd name="connsiteY897" fmla="*/ 5274995 h 6756949"/>
                  <a:gd name="connsiteX898" fmla="*/ 3769214 w 7524134"/>
                  <a:gd name="connsiteY898" fmla="*/ 5270230 h 6756949"/>
                  <a:gd name="connsiteX899" fmla="*/ 3759684 w 7524134"/>
                  <a:gd name="connsiteY899" fmla="*/ 5270230 h 6756949"/>
                  <a:gd name="connsiteX900" fmla="*/ 3740623 w 7524134"/>
                  <a:gd name="connsiteY900" fmla="*/ 5270230 h 6756949"/>
                  <a:gd name="connsiteX901" fmla="*/ 3731093 w 7524134"/>
                  <a:gd name="connsiteY901" fmla="*/ 5270230 h 6756949"/>
                  <a:gd name="connsiteX902" fmla="*/ 3721563 w 7524134"/>
                  <a:gd name="connsiteY902" fmla="*/ 5279761 h 6756949"/>
                  <a:gd name="connsiteX903" fmla="*/ 3735858 w 7524134"/>
                  <a:gd name="connsiteY903" fmla="*/ 5279761 h 6756949"/>
                  <a:gd name="connsiteX904" fmla="*/ 3740623 w 7524134"/>
                  <a:gd name="connsiteY904" fmla="*/ 5284526 h 6756949"/>
                  <a:gd name="connsiteX905" fmla="*/ 3745388 w 7524134"/>
                  <a:gd name="connsiteY905" fmla="*/ 5289291 h 6756949"/>
                  <a:gd name="connsiteX906" fmla="*/ 3750153 w 7524134"/>
                  <a:gd name="connsiteY906" fmla="*/ 5298821 h 6756949"/>
                  <a:gd name="connsiteX907" fmla="*/ 3750153 w 7524134"/>
                  <a:gd name="connsiteY907" fmla="*/ 5308351 h 6756949"/>
                  <a:gd name="connsiteX908" fmla="*/ 3745388 w 7524134"/>
                  <a:gd name="connsiteY908" fmla="*/ 5317882 h 6756949"/>
                  <a:gd name="connsiteX909" fmla="*/ 3740623 w 7524134"/>
                  <a:gd name="connsiteY909" fmla="*/ 5336942 h 6756949"/>
                  <a:gd name="connsiteX910" fmla="*/ 3726328 w 7524134"/>
                  <a:gd name="connsiteY910" fmla="*/ 5332177 h 6756949"/>
                  <a:gd name="connsiteX911" fmla="*/ 3702502 w 7524134"/>
                  <a:gd name="connsiteY911" fmla="*/ 5298821 h 6756949"/>
                  <a:gd name="connsiteX912" fmla="*/ 3688207 w 7524134"/>
                  <a:gd name="connsiteY912" fmla="*/ 5251170 h 6756949"/>
                  <a:gd name="connsiteX913" fmla="*/ 3669146 w 7524134"/>
                  <a:gd name="connsiteY913" fmla="*/ 5213049 h 6756949"/>
                  <a:gd name="connsiteX914" fmla="*/ 3669146 w 7524134"/>
                  <a:gd name="connsiteY914" fmla="*/ 5203519 h 6756949"/>
                  <a:gd name="connsiteX915" fmla="*/ 3673911 w 7524134"/>
                  <a:gd name="connsiteY915" fmla="*/ 5179693 h 6756949"/>
                  <a:gd name="connsiteX916" fmla="*/ 3697737 w 7524134"/>
                  <a:gd name="connsiteY916" fmla="*/ 5146337 h 6756949"/>
                  <a:gd name="connsiteX917" fmla="*/ 3721563 w 7524134"/>
                  <a:gd name="connsiteY917" fmla="*/ 5136807 h 6756949"/>
                  <a:gd name="connsiteX918" fmla="*/ 3735858 w 7524134"/>
                  <a:gd name="connsiteY918" fmla="*/ 5127277 h 6756949"/>
                  <a:gd name="connsiteX919" fmla="*/ 3750153 w 7524134"/>
                  <a:gd name="connsiteY919" fmla="*/ 5122511 h 6756949"/>
                  <a:gd name="connsiteX920" fmla="*/ 3759684 w 7524134"/>
                  <a:gd name="connsiteY920" fmla="*/ 5122511 h 6756949"/>
                  <a:gd name="connsiteX921" fmla="*/ 3773979 w 7524134"/>
                  <a:gd name="connsiteY921" fmla="*/ 5127277 h 6756949"/>
                  <a:gd name="connsiteX922" fmla="*/ 3778744 w 7524134"/>
                  <a:gd name="connsiteY922" fmla="*/ 5141572 h 6756949"/>
                  <a:gd name="connsiteX923" fmla="*/ 3778744 w 7524134"/>
                  <a:gd name="connsiteY923" fmla="*/ 5146337 h 6756949"/>
                  <a:gd name="connsiteX924" fmla="*/ 3778744 w 7524134"/>
                  <a:gd name="connsiteY924" fmla="*/ 5151102 h 6756949"/>
                  <a:gd name="connsiteX925" fmla="*/ 3788274 w 7524134"/>
                  <a:gd name="connsiteY925" fmla="*/ 5155867 h 6756949"/>
                  <a:gd name="connsiteX926" fmla="*/ 3797805 w 7524134"/>
                  <a:gd name="connsiteY926" fmla="*/ 5184458 h 6756949"/>
                  <a:gd name="connsiteX927" fmla="*/ 3812100 w 7524134"/>
                  <a:gd name="connsiteY927" fmla="*/ 5208284 h 6756949"/>
                  <a:gd name="connsiteX928" fmla="*/ 3816865 w 7524134"/>
                  <a:gd name="connsiteY928" fmla="*/ 5217814 h 6756949"/>
                  <a:gd name="connsiteX929" fmla="*/ 3826395 w 7524134"/>
                  <a:gd name="connsiteY929" fmla="*/ 5222579 h 6756949"/>
                  <a:gd name="connsiteX930" fmla="*/ 3816865 w 7524134"/>
                  <a:gd name="connsiteY930" fmla="*/ 5203519 h 6756949"/>
                  <a:gd name="connsiteX931" fmla="*/ 3812100 w 7524134"/>
                  <a:gd name="connsiteY931" fmla="*/ 5179693 h 6756949"/>
                  <a:gd name="connsiteX932" fmla="*/ 3807335 w 7524134"/>
                  <a:gd name="connsiteY932" fmla="*/ 5136807 h 6756949"/>
                  <a:gd name="connsiteX933" fmla="*/ 3802570 w 7524134"/>
                  <a:gd name="connsiteY933" fmla="*/ 5127277 h 6756949"/>
                  <a:gd name="connsiteX934" fmla="*/ 3812100 w 7524134"/>
                  <a:gd name="connsiteY934" fmla="*/ 5122511 h 6756949"/>
                  <a:gd name="connsiteX935" fmla="*/ 3826395 w 7524134"/>
                  <a:gd name="connsiteY935" fmla="*/ 5122511 h 6756949"/>
                  <a:gd name="connsiteX936" fmla="*/ 3826395 w 7524134"/>
                  <a:gd name="connsiteY936" fmla="*/ 5117746 h 6756949"/>
                  <a:gd name="connsiteX937" fmla="*/ 3807335 w 7524134"/>
                  <a:gd name="connsiteY937" fmla="*/ 5103451 h 6756949"/>
                  <a:gd name="connsiteX938" fmla="*/ 3797805 w 7524134"/>
                  <a:gd name="connsiteY938" fmla="*/ 5089156 h 6756949"/>
                  <a:gd name="connsiteX939" fmla="*/ 3793039 w 7524134"/>
                  <a:gd name="connsiteY939" fmla="*/ 5079625 h 6756949"/>
                  <a:gd name="connsiteX940" fmla="*/ 3793039 w 7524134"/>
                  <a:gd name="connsiteY940" fmla="*/ 5070095 h 6756949"/>
                  <a:gd name="connsiteX941" fmla="*/ 3802570 w 7524134"/>
                  <a:gd name="connsiteY941" fmla="*/ 5060565 h 6756949"/>
                  <a:gd name="connsiteX942" fmla="*/ 3812100 w 7524134"/>
                  <a:gd name="connsiteY942" fmla="*/ 5055800 h 6756949"/>
                  <a:gd name="connsiteX943" fmla="*/ 3816865 w 7524134"/>
                  <a:gd name="connsiteY943" fmla="*/ 5055800 h 6756949"/>
                  <a:gd name="connsiteX944" fmla="*/ 3826395 w 7524134"/>
                  <a:gd name="connsiteY944" fmla="*/ 5055800 h 6756949"/>
                  <a:gd name="connsiteX945" fmla="*/ 3831160 w 7524134"/>
                  <a:gd name="connsiteY945" fmla="*/ 5060565 h 6756949"/>
                  <a:gd name="connsiteX946" fmla="*/ 3845456 w 7524134"/>
                  <a:gd name="connsiteY946" fmla="*/ 5089156 h 6756949"/>
                  <a:gd name="connsiteX947" fmla="*/ 3854986 w 7524134"/>
                  <a:gd name="connsiteY947" fmla="*/ 5098686 h 6756949"/>
                  <a:gd name="connsiteX948" fmla="*/ 3859751 w 7524134"/>
                  <a:gd name="connsiteY948" fmla="*/ 5098686 h 6756949"/>
                  <a:gd name="connsiteX949" fmla="*/ 3864516 w 7524134"/>
                  <a:gd name="connsiteY949" fmla="*/ 5093921 h 6756949"/>
                  <a:gd name="connsiteX950" fmla="*/ 3869281 w 7524134"/>
                  <a:gd name="connsiteY950" fmla="*/ 5084390 h 6756949"/>
                  <a:gd name="connsiteX951" fmla="*/ 3874046 w 7524134"/>
                  <a:gd name="connsiteY951" fmla="*/ 5079625 h 6756949"/>
                  <a:gd name="connsiteX952" fmla="*/ 3878812 w 7524134"/>
                  <a:gd name="connsiteY952" fmla="*/ 5074860 h 6756949"/>
                  <a:gd name="connsiteX953" fmla="*/ 3897872 w 7524134"/>
                  <a:gd name="connsiteY953" fmla="*/ 5079625 h 6756949"/>
                  <a:gd name="connsiteX954" fmla="*/ 3902637 w 7524134"/>
                  <a:gd name="connsiteY954" fmla="*/ 5079625 h 6756949"/>
                  <a:gd name="connsiteX955" fmla="*/ 3902637 w 7524134"/>
                  <a:gd name="connsiteY955" fmla="*/ 5070095 h 6756949"/>
                  <a:gd name="connsiteX956" fmla="*/ 3902637 w 7524134"/>
                  <a:gd name="connsiteY956" fmla="*/ 5060565 h 6756949"/>
                  <a:gd name="connsiteX957" fmla="*/ 3907402 w 7524134"/>
                  <a:gd name="connsiteY957" fmla="*/ 5055800 h 6756949"/>
                  <a:gd name="connsiteX958" fmla="*/ 3907402 w 7524134"/>
                  <a:gd name="connsiteY958" fmla="*/ 5046269 h 6756949"/>
                  <a:gd name="connsiteX959" fmla="*/ 3902637 w 7524134"/>
                  <a:gd name="connsiteY959" fmla="*/ 5031974 h 6756949"/>
                  <a:gd name="connsiteX960" fmla="*/ 3859751 w 7524134"/>
                  <a:gd name="connsiteY960" fmla="*/ 5027209 h 6756949"/>
                  <a:gd name="connsiteX961" fmla="*/ 3883577 w 7524134"/>
                  <a:gd name="connsiteY961" fmla="*/ 5036739 h 6756949"/>
                  <a:gd name="connsiteX962" fmla="*/ 3888342 w 7524134"/>
                  <a:gd name="connsiteY962" fmla="*/ 5051035 h 6756949"/>
                  <a:gd name="connsiteX963" fmla="*/ 3897872 w 7524134"/>
                  <a:gd name="connsiteY963" fmla="*/ 5060565 h 6756949"/>
                  <a:gd name="connsiteX964" fmla="*/ 3893107 w 7524134"/>
                  <a:gd name="connsiteY964" fmla="*/ 5070095 h 6756949"/>
                  <a:gd name="connsiteX965" fmla="*/ 3888342 w 7524134"/>
                  <a:gd name="connsiteY965" fmla="*/ 5070095 h 6756949"/>
                  <a:gd name="connsiteX966" fmla="*/ 3878812 w 7524134"/>
                  <a:gd name="connsiteY966" fmla="*/ 5060565 h 6756949"/>
                  <a:gd name="connsiteX967" fmla="*/ 3864516 w 7524134"/>
                  <a:gd name="connsiteY967" fmla="*/ 5046269 h 6756949"/>
                  <a:gd name="connsiteX968" fmla="*/ 3854986 w 7524134"/>
                  <a:gd name="connsiteY968" fmla="*/ 5036739 h 6756949"/>
                  <a:gd name="connsiteX969" fmla="*/ 3854986 w 7524134"/>
                  <a:gd name="connsiteY969" fmla="*/ 5031974 h 6756949"/>
                  <a:gd name="connsiteX970" fmla="*/ 6623525 w 7524134"/>
                  <a:gd name="connsiteY970" fmla="*/ 4941437 h 6756949"/>
                  <a:gd name="connsiteX971" fmla="*/ 6633055 w 7524134"/>
                  <a:gd name="connsiteY971" fmla="*/ 4946202 h 6756949"/>
                  <a:gd name="connsiteX972" fmla="*/ 6656881 w 7524134"/>
                  <a:gd name="connsiteY972" fmla="*/ 4974793 h 6756949"/>
                  <a:gd name="connsiteX973" fmla="*/ 6656881 w 7524134"/>
                  <a:gd name="connsiteY973" fmla="*/ 4979558 h 6756949"/>
                  <a:gd name="connsiteX974" fmla="*/ 6652116 w 7524134"/>
                  <a:gd name="connsiteY974" fmla="*/ 5003384 h 6756949"/>
                  <a:gd name="connsiteX975" fmla="*/ 6637820 w 7524134"/>
                  <a:gd name="connsiteY975" fmla="*/ 5008149 h 6756949"/>
                  <a:gd name="connsiteX976" fmla="*/ 6642585 w 7524134"/>
                  <a:gd name="connsiteY976" fmla="*/ 5017679 h 6756949"/>
                  <a:gd name="connsiteX977" fmla="*/ 6652116 w 7524134"/>
                  <a:gd name="connsiteY977" fmla="*/ 5022444 h 6756949"/>
                  <a:gd name="connsiteX978" fmla="*/ 6656881 w 7524134"/>
                  <a:gd name="connsiteY978" fmla="*/ 5017679 h 6756949"/>
                  <a:gd name="connsiteX979" fmla="*/ 6680706 w 7524134"/>
                  <a:gd name="connsiteY979" fmla="*/ 4989088 h 6756949"/>
                  <a:gd name="connsiteX980" fmla="*/ 6690237 w 7524134"/>
                  <a:gd name="connsiteY980" fmla="*/ 4984323 h 6756949"/>
                  <a:gd name="connsiteX981" fmla="*/ 6695002 w 7524134"/>
                  <a:gd name="connsiteY981" fmla="*/ 4984323 h 6756949"/>
                  <a:gd name="connsiteX982" fmla="*/ 6723593 w 7524134"/>
                  <a:gd name="connsiteY982" fmla="*/ 4989088 h 6756949"/>
                  <a:gd name="connsiteX983" fmla="*/ 6747418 w 7524134"/>
                  <a:gd name="connsiteY983" fmla="*/ 5003384 h 6756949"/>
                  <a:gd name="connsiteX984" fmla="*/ 6752183 w 7524134"/>
                  <a:gd name="connsiteY984" fmla="*/ 5012914 h 6756949"/>
                  <a:gd name="connsiteX985" fmla="*/ 6756949 w 7524134"/>
                  <a:gd name="connsiteY985" fmla="*/ 5031975 h 6756949"/>
                  <a:gd name="connsiteX986" fmla="*/ 6752183 w 7524134"/>
                  <a:gd name="connsiteY986" fmla="*/ 5074861 h 6756949"/>
                  <a:gd name="connsiteX987" fmla="*/ 6733123 w 7524134"/>
                  <a:gd name="connsiteY987" fmla="*/ 5079626 h 6756949"/>
                  <a:gd name="connsiteX988" fmla="*/ 6723593 w 7524134"/>
                  <a:gd name="connsiteY988" fmla="*/ 5079626 h 6756949"/>
                  <a:gd name="connsiteX989" fmla="*/ 6709297 w 7524134"/>
                  <a:gd name="connsiteY989" fmla="*/ 5074861 h 6756949"/>
                  <a:gd name="connsiteX990" fmla="*/ 6695002 w 7524134"/>
                  <a:gd name="connsiteY990" fmla="*/ 5089156 h 6756949"/>
                  <a:gd name="connsiteX991" fmla="*/ 6709297 w 7524134"/>
                  <a:gd name="connsiteY991" fmla="*/ 5098686 h 6756949"/>
                  <a:gd name="connsiteX992" fmla="*/ 6752183 w 7524134"/>
                  <a:gd name="connsiteY992" fmla="*/ 5098686 h 6756949"/>
                  <a:gd name="connsiteX993" fmla="*/ 6761714 w 7524134"/>
                  <a:gd name="connsiteY993" fmla="*/ 5122512 h 6756949"/>
                  <a:gd name="connsiteX994" fmla="*/ 6766479 w 7524134"/>
                  <a:gd name="connsiteY994" fmla="*/ 5136808 h 6756949"/>
                  <a:gd name="connsiteX995" fmla="*/ 6756949 w 7524134"/>
                  <a:gd name="connsiteY995" fmla="*/ 5170163 h 6756949"/>
                  <a:gd name="connsiteX996" fmla="*/ 6733123 w 7524134"/>
                  <a:gd name="connsiteY996" fmla="*/ 5160633 h 6756949"/>
                  <a:gd name="connsiteX997" fmla="*/ 6714062 w 7524134"/>
                  <a:gd name="connsiteY997" fmla="*/ 5146338 h 6756949"/>
                  <a:gd name="connsiteX998" fmla="*/ 6671176 w 7524134"/>
                  <a:gd name="connsiteY998" fmla="*/ 5117747 h 6756949"/>
                  <a:gd name="connsiteX999" fmla="*/ 6656881 w 7524134"/>
                  <a:gd name="connsiteY999" fmla="*/ 5117747 h 6756949"/>
                  <a:gd name="connsiteX1000" fmla="*/ 6652116 w 7524134"/>
                  <a:gd name="connsiteY1000" fmla="*/ 5122512 h 6756949"/>
                  <a:gd name="connsiteX1001" fmla="*/ 6652116 w 7524134"/>
                  <a:gd name="connsiteY1001" fmla="*/ 5136808 h 6756949"/>
                  <a:gd name="connsiteX1002" fmla="*/ 6652116 w 7524134"/>
                  <a:gd name="connsiteY1002" fmla="*/ 5170163 h 6756949"/>
                  <a:gd name="connsiteX1003" fmla="*/ 6637820 w 7524134"/>
                  <a:gd name="connsiteY1003" fmla="*/ 5189224 h 6756949"/>
                  <a:gd name="connsiteX1004" fmla="*/ 6604464 w 7524134"/>
                  <a:gd name="connsiteY1004" fmla="*/ 5179694 h 6756949"/>
                  <a:gd name="connsiteX1005" fmla="*/ 6590169 w 7524134"/>
                  <a:gd name="connsiteY1005" fmla="*/ 5155868 h 6756949"/>
                  <a:gd name="connsiteX1006" fmla="*/ 6580639 w 7524134"/>
                  <a:gd name="connsiteY1006" fmla="*/ 5112982 h 6756949"/>
                  <a:gd name="connsiteX1007" fmla="*/ 6532988 w 7524134"/>
                  <a:gd name="connsiteY1007" fmla="*/ 5065331 h 6756949"/>
                  <a:gd name="connsiteX1008" fmla="*/ 6518692 w 7524134"/>
                  <a:gd name="connsiteY1008" fmla="*/ 5055800 h 6756949"/>
                  <a:gd name="connsiteX1009" fmla="*/ 6504397 w 7524134"/>
                  <a:gd name="connsiteY1009" fmla="*/ 5027209 h 6756949"/>
                  <a:gd name="connsiteX1010" fmla="*/ 6509162 w 7524134"/>
                  <a:gd name="connsiteY1010" fmla="*/ 5003384 h 6756949"/>
                  <a:gd name="connsiteX1011" fmla="*/ 6509162 w 7524134"/>
                  <a:gd name="connsiteY1011" fmla="*/ 4989088 h 6756949"/>
                  <a:gd name="connsiteX1012" fmla="*/ 6518692 w 7524134"/>
                  <a:gd name="connsiteY1012" fmla="*/ 4984323 h 6756949"/>
                  <a:gd name="connsiteX1013" fmla="*/ 6532988 w 7524134"/>
                  <a:gd name="connsiteY1013" fmla="*/ 4974793 h 6756949"/>
                  <a:gd name="connsiteX1014" fmla="*/ 6542518 w 7524134"/>
                  <a:gd name="connsiteY1014" fmla="*/ 4955732 h 6756949"/>
                  <a:gd name="connsiteX1015" fmla="*/ 6552048 w 7524134"/>
                  <a:gd name="connsiteY1015" fmla="*/ 4974793 h 6756949"/>
                  <a:gd name="connsiteX1016" fmla="*/ 6566343 w 7524134"/>
                  <a:gd name="connsiteY1016" fmla="*/ 4989088 h 6756949"/>
                  <a:gd name="connsiteX1017" fmla="*/ 6566343 w 7524134"/>
                  <a:gd name="connsiteY1017" fmla="*/ 4974793 h 6756949"/>
                  <a:gd name="connsiteX1018" fmla="*/ 6575874 w 7524134"/>
                  <a:gd name="connsiteY1018" fmla="*/ 4960498 h 6756949"/>
                  <a:gd name="connsiteX1019" fmla="*/ 6590169 w 7524134"/>
                  <a:gd name="connsiteY1019" fmla="*/ 4960498 h 6756949"/>
                  <a:gd name="connsiteX1020" fmla="*/ 6599699 w 7524134"/>
                  <a:gd name="connsiteY1020" fmla="*/ 4955732 h 6756949"/>
                  <a:gd name="connsiteX1021" fmla="*/ 6609230 w 7524134"/>
                  <a:gd name="connsiteY1021" fmla="*/ 4946202 h 6756949"/>
                  <a:gd name="connsiteX1022" fmla="*/ 6823661 w 7524134"/>
                  <a:gd name="connsiteY1022" fmla="*/ 4922376 h 6756949"/>
                  <a:gd name="connsiteX1023" fmla="*/ 6842722 w 7524134"/>
                  <a:gd name="connsiteY1023" fmla="*/ 4931906 h 6756949"/>
                  <a:gd name="connsiteX1024" fmla="*/ 6857017 w 7524134"/>
                  <a:gd name="connsiteY1024" fmla="*/ 4950967 h 6756949"/>
                  <a:gd name="connsiteX1025" fmla="*/ 6852252 w 7524134"/>
                  <a:gd name="connsiteY1025" fmla="*/ 4960497 h 6756949"/>
                  <a:gd name="connsiteX1026" fmla="*/ 6833191 w 7524134"/>
                  <a:gd name="connsiteY1026" fmla="*/ 4955732 h 6756949"/>
                  <a:gd name="connsiteX1027" fmla="*/ 6809366 w 7524134"/>
                  <a:gd name="connsiteY1027" fmla="*/ 4946202 h 6756949"/>
                  <a:gd name="connsiteX1028" fmla="*/ 6799835 w 7524134"/>
                  <a:gd name="connsiteY1028" fmla="*/ 4931906 h 6756949"/>
                  <a:gd name="connsiteX1029" fmla="*/ 6799835 w 7524134"/>
                  <a:gd name="connsiteY1029" fmla="*/ 4927141 h 6756949"/>
                  <a:gd name="connsiteX1030" fmla="*/ 6756948 w 7524134"/>
                  <a:gd name="connsiteY1030" fmla="*/ 4912846 h 6756949"/>
                  <a:gd name="connsiteX1031" fmla="*/ 6771244 w 7524134"/>
                  <a:gd name="connsiteY1031" fmla="*/ 4922376 h 6756949"/>
                  <a:gd name="connsiteX1032" fmla="*/ 6790304 w 7524134"/>
                  <a:gd name="connsiteY1032" fmla="*/ 4950967 h 6756949"/>
                  <a:gd name="connsiteX1033" fmla="*/ 6795069 w 7524134"/>
                  <a:gd name="connsiteY1033" fmla="*/ 4970027 h 6756949"/>
                  <a:gd name="connsiteX1034" fmla="*/ 6837956 w 7524134"/>
                  <a:gd name="connsiteY1034" fmla="*/ 4979558 h 6756949"/>
                  <a:gd name="connsiteX1035" fmla="*/ 6866546 w 7524134"/>
                  <a:gd name="connsiteY1035" fmla="*/ 4974793 h 6756949"/>
                  <a:gd name="connsiteX1036" fmla="*/ 6890372 w 7524134"/>
                  <a:gd name="connsiteY1036" fmla="*/ 5022444 h 6756949"/>
                  <a:gd name="connsiteX1037" fmla="*/ 6909433 w 7524134"/>
                  <a:gd name="connsiteY1037" fmla="*/ 5055800 h 6756949"/>
                  <a:gd name="connsiteX1038" fmla="*/ 6918963 w 7524134"/>
                  <a:gd name="connsiteY1038" fmla="*/ 5079625 h 6756949"/>
                  <a:gd name="connsiteX1039" fmla="*/ 6923728 w 7524134"/>
                  <a:gd name="connsiteY1039" fmla="*/ 5103451 h 6756949"/>
                  <a:gd name="connsiteX1040" fmla="*/ 6933258 w 7524134"/>
                  <a:gd name="connsiteY1040" fmla="*/ 5127277 h 6756949"/>
                  <a:gd name="connsiteX1041" fmla="*/ 6928493 w 7524134"/>
                  <a:gd name="connsiteY1041" fmla="*/ 5132042 h 6756949"/>
                  <a:gd name="connsiteX1042" fmla="*/ 6914198 w 7524134"/>
                  <a:gd name="connsiteY1042" fmla="*/ 5112981 h 6756949"/>
                  <a:gd name="connsiteX1043" fmla="*/ 6904667 w 7524134"/>
                  <a:gd name="connsiteY1043" fmla="*/ 5084390 h 6756949"/>
                  <a:gd name="connsiteX1044" fmla="*/ 6899902 w 7524134"/>
                  <a:gd name="connsiteY1044" fmla="*/ 5070095 h 6756949"/>
                  <a:gd name="connsiteX1045" fmla="*/ 6895137 w 7524134"/>
                  <a:gd name="connsiteY1045" fmla="*/ 5065330 h 6756949"/>
                  <a:gd name="connsiteX1046" fmla="*/ 6885607 w 7524134"/>
                  <a:gd name="connsiteY1046" fmla="*/ 5055800 h 6756949"/>
                  <a:gd name="connsiteX1047" fmla="*/ 6876077 w 7524134"/>
                  <a:gd name="connsiteY1047" fmla="*/ 5022444 h 6756949"/>
                  <a:gd name="connsiteX1048" fmla="*/ 6876077 w 7524134"/>
                  <a:gd name="connsiteY1048" fmla="*/ 5017679 h 6756949"/>
                  <a:gd name="connsiteX1049" fmla="*/ 6871311 w 7524134"/>
                  <a:gd name="connsiteY1049" fmla="*/ 5008148 h 6756949"/>
                  <a:gd name="connsiteX1050" fmla="*/ 6861781 w 7524134"/>
                  <a:gd name="connsiteY1050" fmla="*/ 5003383 h 6756949"/>
                  <a:gd name="connsiteX1051" fmla="*/ 6857016 w 7524134"/>
                  <a:gd name="connsiteY1051" fmla="*/ 5008148 h 6756949"/>
                  <a:gd name="connsiteX1052" fmla="*/ 6857016 w 7524134"/>
                  <a:gd name="connsiteY1052" fmla="*/ 5031974 h 6756949"/>
                  <a:gd name="connsiteX1053" fmla="*/ 6861781 w 7524134"/>
                  <a:gd name="connsiteY1053" fmla="*/ 5051035 h 6756949"/>
                  <a:gd name="connsiteX1054" fmla="*/ 6890372 w 7524134"/>
                  <a:gd name="connsiteY1054" fmla="*/ 5103451 h 6756949"/>
                  <a:gd name="connsiteX1055" fmla="*/ 6909433 w 7524134"/>
                  <a:gd name="connsiteY1055" fmla="*/ 5132042 h 6756949"/>
                  <a:gd name="connsiteX1056" fmla="*/ 6914198 w 7524134"/>
                  <a:gd name="connsiteY1056" fmla="*/ 5141572 h 6756949"/>
                  <a:gd name="connsiteX1057" fmla="*/ 6914198 w 7524134"/>
                  <a:gd name="connsiteY1057" fmla="*/ 5165398 h 6756949"/>
                  <a:gd name="connsiteX1058" fmla="*/ 6909433 w 7524134"/>
                  <a:gd name="connsiteY1058" fmla="*/ 5179693 h 6756949"/>
                  <a:gd name="connsiteX1059" fmla="*/ 6918963 w 7524134"/>
                  <a:gd name="connsiteY1059" fmla="*/ 5203519 h 6756949"/>
                  <a:gd name="connsiteX1060" fmla="*/ 6918963 w 7524134"/>
                  <a:gd name="connsiteY1060" fmla="*/ 5208284 h 6756949"/>
                  <a:gd name="connsiteX1061" fmla="*/ 6914198 w 7524134"/>
                  <a:gd name="connsiteY1061" fmla="*/ 5213049 h 6756949"/>
                  <a:gd name="connsiteX1062" fmla="*/ 6890372 w 7524134"/>
                  <a:gd name="connsiteY1062" fmla="*/ 5222579 h 6756949"/>
                  <a:gd name="connsiteX1063" fmla="*/ 6861781 w 7524134"/>
                  <a:gd name="connsiteY1063" fmla="*/ 5265465 h 6756949"/>
                  <a:gd name="connsiteX1064" fmla="*/ 6833190 w 7524134"/>
                  <a:gd name="connsiteY1064" fmla="*/ 5294056 h 6756949"/>
                  <a:gd name="connsiteX1065" fmla="*/ 6823660 w 7524134"/>
                  <a:gd name="connsiteY1065" fmla="*/ 5298821 h 6756949"/>
                  <a:gd name="connsiteX1066" fmla="*/ 6818895 w 7524134"/>
                  <a:gd name="connsiteY1066" fmla="*/ 5294056 h 6756949"/>
                  <a:gd name="connsiteX1067" fmla="*/ 6809365 w 7524134"/>
                  <a:gd name="connsiteY1067" fmla="*/ 5284526 h 6756949"/>
                  <a:gd name="connsiteX1068" fmla="*/ 6809365 w 7524134"/>
                  <a:gd name="connsiteY1068" fmla="*/ 5270230 h 6756949"/>
                  <a:gd name="connsiteX1069" fmla="*/ 6804600 w 7524134"/>
                  <a:gd name="connsiteY1069" fmla="*/ 5251170 h 6756949"/>
                  <a:gd name="connsiteX1070" fmla="*/ 6814130 w 7524134"/>
                  <a:gd name="connsiteY1070" fmla="*/ 5241640 h 6756949"/>
                  <a:gd name="connsiteX1071" fmla="*/ 6828425 w 7524134"/>
                  <a:gd name="connsiteY1071" fmla="*/ 5189223 h 6756949"/>
                  <a:gd name="connsiteX1072" fmla="*/ 6828425 w 7524134"/>
                  <a:gd name="connsiteY1072" fmla="*/ 5170163 h 6756949"/>
                  <a:gd name="connsiteX1073" fmla="*/ 6809365 w 7524134"/>
                  <a:gd name="connsiteY1073" fmla="*/ 5146337 h 6756949"/>
                  <a:gd name="connsiteX1074" fmla="*/ 6799834 w 7524134"/>
                  <a:gd name="connsiteY1074" fmla="*/ 5127277 h 6756949"/>
                  <a:gd name="connsiteX1075" fmla="*/ 6795069 w 7524134"/>
                  <a:gd name="connsiteY1075" fmla="*/ 5093921 h 6756949"/>
                  <a:gd name="connsiteX1076" fmla="*/ 6785539 w 7524134"/>
                  <a:gd name="connsiteY1076" fmla="*/ 5022444 h 6756949"/>
                  <a:gd name="connsiteX1077" fmla="*/ 6780774 w 7524134"/>
                  <a:gd name="connsiteY1077" fmla="*/ 4993853 h 6756949"/>
                  <a:gd name="connsiteX1078" fmla="*/ 6776009 w 7524134"/>
                  <a:gd name="connsiteY1078" fmla="*/ 4974793 h 6756949"/>
                  <a:gd name="connsiteX1079" fmla="*/ 6766479 w 7524134"/>
                  <a:gd name="connsiteY1079" fmla="*/ 4960497 h 6756949"/>
                  <a:gd name="connsiteX1080" fmla="*/ 6761713 w 7524134"/>
                  <a:gd name="connsiteY1080" fmla="*/ 4941437 h 6756949"/>
                  <a:gd name="connsiteX1081" fmla="*/ 6756948 w 7524134"/>
                  <a:gd name="connsiteY1081" fmla="*/ 4922376 h 6756949"/>
                  <a:gd name="connsiteX1082" fmla="*/ 3988410 w 7524134"/>
                  <a:gd name="connsiteY1082" fmla="*/ 4884255 h 6756949"/>
                  <a:gd name="connsiteX1083" fmla="*/ 3997941 w 7524134"/>
                  <a:gd name="connsiteY1083" fmla="*/ 4889020 h 6756949"/>
                  <a:gd name="connsiteX1084" fmla="*/ 4007471 w 7524134"/>
                  <a:gd name="connsiteY1084" fmla="*/ 4893785 h 6756949"/>
                  <a:gd name="connsiteX1085" fmla="*/ 4017001 w 7524134"/>
                  <a:gd name="connsiteY1085" fmla="*/ 4898550 h 6756949"/>
                  <a:gd name="connsiteX1086" fmla="*/ 4026531 w 7524134"/>
                  <a:gd name="connsiteY1086" fmla="*/ 4912846 h 6756949"/>
                  <a:gd name="connsiteX1087" fmla="*/ 4031296 w 7524134"/>
                  <a:gd name="connsiteY1087" fmla="*/ 4912846 h 6756949"/>
                  <a:gd name="connsiteX1088" fmla="*/ 4036062 w 7524134"/>
                  <a:gd name="connsiteY1088" fmla="*/ 4898550 h 6756949"/>
                  <a:gd name="connsiteX1089" fmla="*/ 4040827 w 7524134"/>
                  <a:gd name="connsiteY1089" fmla="*/ 4898550 h 6756949"/>
                  <a:gd name="connsiteX1090" fmla="*/ 4059887 w 7524134"/>
                  <a:gd name="connsiteY1090" fmla="*/ 4912846 h 6756949"/>
                  <a:gd name="connsiteX1091" fmla="*/ 4074183 w 7524134"/>
                  <a:gd name="connsiteY1091" fmla="*/ 4908081 h 6756949"/>
                  <a:gd name="connsiteX1092" fmla="*/ 4078948 w 7524134"/>
                  <a:gd name="connsiteY1092" fmla="*/ 4927141 h 6756949"/>
                  <a:gd name="connsiteX1093" fmla="*/ 4083713 w 7524134"/>
                  <a:gd name="connsiteY1093" fmla="*/ 4927141 h 6756949"/>
                  <a:gd name="connsiteX1094" fmla="*/ 4093243 w 7524134"/>
                  <a:gd name="connsiteY1094" fmla="*/ 4927141 h 6756949"/>
                  <a:gd name="connsiteX1095" fmla="*/ 4098008 w 7524134"/>
                  <a:gd name="connsiteY1095" fmla="*/ 4927141 h 6756949"/>
                  <a:gd name="connsiteX1096" fmla="*/ 4093243 w 7524134"/>
                  <a:gd name="connsiteY1096" fmla="*/ 4946202 h 6756949"/>
                  <a:gd name="connsiteX1097" fmla="*/ 4078948 w 7524134"/>
                  <a:gd name="connsiteY1097" fmla="*/ 4965262 h 6756949"/>
                  <a:gd name="connsiteX1098" fmla="*/ 4074183 w 7524134"/>
                  <a:gd name="connsiteY1098" fmla="*/ 4970027 h 6756949"/>
                  <a:gd name="connsiteX1099" fmla="*/ 4064652 w 7524134"/>
                  <a:gd name="connsiteY1099" fmla="*/ 4965262 h 6756949"/>
                  <a:gd name="connsiteX1100" fmla="*/ 4055122 w 7524134"/>
                  <a:gd name="connsiteY1100" fmla="*/ 4955732 h 6756949"/>
                  <a:gd name="connsiteX1101" fmla="*/ 4050357 w 7524134"/>
                  <a:gd name="connsiteY1101" fmla="*/ 4946202 h 6756949"/>
                  <a:gd name="connsiteX1102" fmla="*/ 4040827 w 7524134"/>
                  <a:gd name="connsiteY1102" fmla="*/ 4955732 h 6756949"/>
                  <a:gd name="connsiteX1103" fmla="*/ 4040827 w 7524134"/>
                  <a:gd name="connsiteY1103" fmla="*/ 4965262 h 6756949"/>
                  <a:gd name="connsiteX1104" fmla="*/ 4045592 w 7524134"/>
                  <a:gd name="connsiteY1104" fmla="*/ 4974793 h 6756949"/>
                  <a:gd name="connsiteX1105" fmla="*/ 4045592 w 7524134"/>
                  <a:gd name="connsiteY1105" fmla="*/ 4979558 h 6756949"/>
                  <a:gd name="connsiteX1106" fmla="*/ 4031296 w 7524134"/>
                  <a:gd name="connsiteY1106" fmla="*/ 4979558 h 6756949"/>
                  <a:gd name="connsiteX1107" fmla="*/ 4021766 w 7524134"/>
                  <a:gd name="connsiteY1107" fmla="*/ 4979558 h 6756949"/>
                  <a:gd name="connsiteX1108" fmla="*/ 4007471 w 7524134"/>
                  <a:gd name="connsiteY1108" fmla="*/ 4989088 h 6756949"/>
                  <a:gd name="connsiteX1109" fmla="*/ 4002706 w 7524134"/>
                  <a:gd name="connsiteY1109" fmla="*/ 4984323 h 6756949"/>
                  <a:gd name="connsiteX1110" fmla="*/ 4002706 w 7524134"/>
                  <a:gd name="connsiteY1110" fmla="*/ 4970027 h 6756949"/>
                  <a:gd name="connsiteX1111" fmla="*/ 3997941 w 7524134"/>
                  <a:gd name="connsiteY1111" fmla="*/ 4970027 h 6756949"/>
                  <a:gd name="connsiteX1112" fmla="*/ 3993175 w 7524134"/>
                  <a:gd name="connsiteY1112" fmla="*/ 4989088 h 6756949"/>
                  <a:gd name="connsiteX1113" fmla="*/ 3983645 w 7524134"/>
                  <a:gd name="connsiteY1113" fmla="*/ 4998618 h 6756949"/>
                  <a:gd name="connsiteX1114" fmla="*/ 3974115 w 7524134"/>
                  <a:gd name="connsiteY1114" fmla="*/ 5008149 h 6756949"/>
                  <a:gd name="connsiteX1115" fmla="*/ 3969350 w 7524134"/>
                  <a:gd name="connsiteY1115" fmla="*/ 5012914 h 6756949"/>
                  <a:gd name="connsiteX1116" fmla="*/ 3959819 w 7524134"/>
                  <a:gd name="connsiteY1116" fmla="*/ 5012914 h 6756949"/>
                  <a:gd name="connsiteX1117" fmla="*/ 3945524 w 7524134"/>
                  <a:gd name="connsiteY1117" fmla="*/ 5022444 h 6756949"/>
                  <a:gd name="connsiteX1118" fmla="*/ 3940759 w 7524134"/>
                  <a:gd name="connsiteY1118" fmla="*/ 5017679 h 6756949"/>
                  <a:gd name="connsiteX1119" fmla="*/ 3888343 w 7524134"/>
                  <a:gd name="connsiteY1119" fmla="*/ 4998618 h 6756949"/>
                  <a:gd name="connsiteX1120" fmla="*/ 3878812 w 7524134"/>
                  <a:gd name="connsiteY1120" fmla="*/ 4993853 h 6756949"/>
                  <a:gd name="connsiteX1121" fmla="*/ 3916933 w 7524134"/>
                  <a:gd name="connsiteY1121" fmla="*/ 4946202 h 6756949"/>
                  <a:gd name="connsiteX1122" fmla="*/ 3940759 w 7524134"/>
                  <a:gd name="connsiteY1122" fmla="*/ 4931906 h 6756949"/>
                  <a:gd name="connsiteX1123" fmla="*/ 3950289 w 7524134"/>
                  <a:gd name="connsiteY1123" fmla="*/ 4931906 h 6756949"/>
                  <a:gd name="connsiteX1124" fmla="*/ 3964585 w 7524134"/>
                  <a:gd name="connsiteY1124" fmla="*/ 4936672 h 6756949"/>
                  <a:gd name="connsiteX1125" fmla="*/ 3969350 w 7524134"/>
                  <a:gd name="connsiteY1125" fmla="*/ 4936672 h 6756949"/>
                  <a:gd name="connsiteX1126" fmla="*/ 3969350 w 7524134"/>
                  <a:gd name="connsiteY1126" fmla="*/ 4917611 h 6756949"/>
                  <a:gd name="connsiteX1127" fmla="*/ 3959819 w 7524134"/>
                  <a:gd name="connsiteY1127" fmla="*/ 4903316 h 6756949"/>
                  <a:gd name="connsiteX1128" fmla="*/ 3959819 w 7524134"/>
                  <a:gd name="connsiteY1128" fmla="*/ 4893785 h 6756949"/>
                  <a:gd name="connsiteX1129" fmla="*/ 4021766 w 7524134"/>
                  <a:gd name="connsiteY1129" fmla="*/ 4836604 h 6756949"/>
                  <a:gd name="connsiteX1130" fmla="*/ 4031296 w 7524134"/>
                  <a:gd name="connsiteY1130" fmla="*/ 4836604 h 6756949"/>
                  <a:gd name="connsiteX1131" fmla="*/ 4036061 w 7524134"/>
                  <a:gd name="connsiteY1131" fmla="*/ 4836604 h 6756949"/>
                  <a:gd name="connsiteX1132" fmla="*/ 4036061 w 7524134"/>
                  <a:gd name="connsiteY1132" fmla="*/ 4841369 h 6756949"/>
                  <a:gd name="connsiteX1133" fmla="*/ 4036061 w 7524134"/>
                  <a:gd name="connsiteY1133" fmla="*/ 4850899 h 6756949"/>
                  <a:gd name="connsiteX1134" fmla="*/ 4031296 w 7524134"/>
                  <a:gd name="connsiteY1134" fmla="*/ 4860430 h 6756949"/>
                  <a:gd name="connsiteX1135" fmla="*/ 4017001 w 7524134"/>
                  <a:gd name="connsiteY1135" fmla="*/ 4874725 h 6756949"/>
                  <a:gd name="connsiteX1136" fmla="*/ 4012236 w 7524134"/>
                  <a:gd name="connsiteY1136" fmla="*/ 4874725 h 6756949"/>
                  <a:gd name="connsiteX1137" fmla="*/ 3997940 w 7524134"/>
                  <a:gd name="connsiteY1137" fmla="*/ 4865195 h 6756949"/>
                  <a:gd name="connsiteX1138" fmla="*/ 3993175 w 7524134"/>
                  <a:gd name="connsiteY1138" fmla="*/ 4855665 h 6756949"/>
                  <a:gd name="connsiteX1139" fmla="*/ 3997940 w 7524134"/>
                  <a:gd name="connsiteY1139" fmla="*/ 4850899 h 6756949"/>
                  <a:gd name="connsiteX1140" fmla="*/ 2730416 w 7524134"/>
                  <a:gd name="connsiteY1140" fmla="*/ 4779422 h 6756949"/>
                  <a:gd name="connsiteX1141" fmla="*/ 2697060 w 7524134"/>
                  <a:gd name="connsiteY1141" fmla="*/ 4846134 h 6756949"/>
                  <a:gd name="connsiteX1142" fmla="*/ 2687530 w 7524134"/>
                  <a:gd name="connsiteY1142" fmla="*/ 4850899 h 6756949"/>
                  <a:gd name="connsiteX1143" fmla="*/ 2673234 w 7524134"/>
                  <a:gd name="connsiteY1143" fmla="*/ 4850899 h 6756949"/>
                  <a:gd name="connsiteX1144" fmla="*/ 2663704 w 7524134"/>
                  <a:gd name="connsiteY1144" fmla="*/ 4822308 h 6756949"/>
                  <a:gd name="connsiteX1145" fmla="*/ 2673234 w 7524134"/>
                  <a:gd name="connsiteY1145" fmla="*/ 4817543 h 6756949"/>
                  <a:gd name="connsiteX1146" fmla="*/ 2687530 w 7524134"/>
                  <a:gd name="connsiteY1146" fmla="*/ 4798483 h 6756949"/>
                  <a:gd name="connsiteX1147" fmla="*/ 2720886 w 7524134"/>
                  <a:gd name="connsiteY1147" fmla="*/ 4784187 h 6756949"/>
                  <a:gd name="connsiteX1148" fmla="*/ 5303585 w 7524134"/>
                  <a:gd name="connsiteY1148" fmla="*/ 4407742 h 6756949"/>
                  <a:gd name="connsiteX1149" fmla="*/ 5303585 w 7524134"/>
                  <a:gd name="connsiteY1149" fmla="*/ 4417272 h 6756949"/>
                  <a:gd name="connsiteX1150" fmla="*/ 5279759 w 7524134"/>
                  <a:gd name="connsiteY1150" fmla="*/ 4436333 h 6756949"/>
                  <a:gd name="connsiteX1151" fmla="*/ 5251168 w 7524134"/>
                  <a:gd name="connsiteY1151" fmla="*/ 4469689 h 6756949"/>
                  <a:gd name="connsiteX1152" fmla="*/ 5246403 w 7524134"/>
                  <a:gd name="connsiteY1152" fmla="*/ 4469689 h 6756949"/>
                  <a:gd name="connsiteX1153" fmla="*/ 5255934 w 7524134"/>
                  <a:gd name="connsiteY1153" fmla="*/ 4450628 h 6756949"/>
                  <a:gd name="connsiteX1154" fmla="*/ 5270229 w 7524134"/>
                  <a:gd name="connsiteY1154" fmla="*/ 4426803 h 6756949"/>
                  <a:gd name="connsiteX1155" fmla="*/ 5284525 w 7524134"/>
                  <a:gd name="connsiteY1155" fmla="*/ 4412507 h 6756949"/>
                  <a:gd name="connsiteX1156" fmla="*/ 4703179 w 7524134"/>
                  <a:gd name="connsiteY1156" fmla="*/ 4364856 h 6756949"/>
                  <a:gd name="connsiteX1157" fmla="*/ 4731770 w 7524134"/>
                  <a:gd name="connsiteY1157" fmla="*/ 4383917 h 6756949"/>
                  <a:gd name="connsiteX1158" fmla="*/ 4712710 w 7524134"/>
                  <a:gd name="connsiteY1158" fmla="*/ 4393447 h 6756949"/>
                  <a:gd name="connsiteX1159" fmla="*/ 4703179 w 7524134"/>
                  <a:gd name="connsiteY1159" fmla="*/ 4402977 h 6756949"/>
                  <a:gd name="connsiteX1160" fmla="*/ 4674588 w 7524134"/>
                  <a:gd name="connsiteY1160" fmla="*/ 4393447 h 6756949"/>
                  <a:gd name="connsiteX1161" fmla="*/ 4679353 w 7524134"/>
                  <a:gd name="connsiteY1161" fmla="*/ 4379151 h 6756949"/>
                  <a:gd name="connsiteX1162" fmla="*/ 4846132 w 7524134"/>
                  <a:gd name="connsiteY1162" fmla="*/ 4298144 h 6756949"/>
                  <a:gd name="connsiteX1163" fmla="*/ 4855663 w 7524134"/>
                  <a:gd name="connsiteY1163" fmla="*/ 4298144 h 6756949"/>
                  <a:gd name="connsiteX1164" fmla="*/ 4869958 w 7524134"/>
                  <a:gd name="connsiteY1164" fmla="*/ 4307674 h 6756949"/>
                  <a:gd name="connsiteX1165" fmla="*/ 4879488 w 7524134"/>
                  <a:gd name="connsiteY1165" fmla="*/ 4321970 h 6756949"/>
                  <a:gd name="connsiteX1166" fmla="*/ 4874723 w 7524134"/>
                  <a:gd name="connsiteY1166" fmla="*/ 4331500 h 6756949"/>
                  <a:gd name="connsiteX1167" fmla="*/ 4822307 w 7524134"/>
                  <a:gd name="connsiteY1167" fmla="*/ 4388682 h 6756949"/>
                  <a:gd name="connsiteX1168" fmla="*/ 4817542 w 7524134"/>
                  <a:gd name="connsiteY1168" fmla="*/ 4393447 h 6756949"/>
                  <a:gd name="connsiteX1169" fmla="*/ 4812776 w 7524134"/>
                  <a:gd name="connsiteY1169" fmla="*/ 4412507 h 6756949"/>
                  <a:gd name="connsiteX1170" fmla="*/ 4808011 w 7524134"/>
                  <a:gd name="connsiteY1170" fmla="*/ 4422038 h 6756949"/>
                  <a:gd name="connsiteX1171" fmla="*/ 4803246 w 7524134"/>
                  <a:gd name="connsiteY1171" fmla="*/ 4426803 h 6756949"/>
                  <a:gd name="connsiteX1172" fmla="*/ 4798481 w 7524134"/>
                  <a:gd name="connsiteY1172" fmla="*/ 4431568 h 6756949"/>
                  <a:gd name="connsiteX1173" fmla="*/ 4793716 w 7524134"/>
                  <a:gd name="connsiteY1173" fmla="*/ 4445863 h 6756949"/>
                  <a:gd name="connsiteX1174" fmla="*/ 4788951 w 7524134"/>
                  <a:gd name="connsiteY1174" fmla="*/ 4455393 h 6756949"/>
                  <a:gd name="connsiteX1175" fmla="*/ 4779420 w 7524134"/>
                  <a:gd name="connsiteY1175" fmla="*/ 4455393 h 6756949"/>
                  <a:gd name="connsiteX1176" fmla="*/ 4769890 w 7524134"/>
                  <a:gd name="connsiteY1176" fmla="*/ 4460159 h 6756949"/>
                  <a:gd name="connsiteX1177" fmla="*/ 4769890 w 7524134"/>
                  <a:gd name="connsiteY1177" fmla="*/ 4464924 h 6756949"/>
                  <a:gd name="connsiteX1178" fmla="*/ 4760360 w 7524134"/>
                  <a:gd name="connsiteY1178" fmla="*/ 4469689 h 6756949"/>
                  <a:gd name="connsiteX1179" fmla="*/ 4741299 w 7524134"/>
                  <a:gd name="connsiteY1179" fmla="*/ 4474454 h 6756949"/>
                  <a:gd name="connsiteX1180" fmla="*/ 4736534 w 7524134"/>
                  <a:gd name="connsiteY1180" fmla="*/ 4464924 h 6756949"/>
                  <a:gd name="connsiteX1181" fmla="*/ 4746065 w 7524134"/>
                  <a:gd name="connsiteY1181" fmla="*/ 4441098 h 6756949"/>
                  <a:gd name="connsiteX1182" fmla="*/ 4750830 w 7524134"/>
                  <a:gd name="connsiteY1182" fmla="*/ 4431568 h 6756949"/>
                  <a:gd name="connsiteX1183" fmla="*/ 4760360 w 7524134"/>
                  <a:gd name="connsiteY1183" fmla="*/ 4426803 h 6756949"/>
                  <a:gd name="connsiteX1184" fmla="*/ 4779420 w 7524134"/>
                  <a:gd name="connsiteY1184" fmla="*/ 4402977 h 6756949"/>
                  <a:gd name="connsiteX1185" fmla="*/ 4798481 w 7524134"/>
                  <a:gd name="connsiteY1185" fmla="*/ 4383916 h 6756949"/>
                  <a:gd name="connsiteX1186" fmla="*/ 4822307 w 7524134"/>
                  <a:gd name="connsiteY1186" fmla="*/ 4355326 h 6756949"/>
                  <a:gd name="connsiteX1187" fmla="*/ 4841367 w 7524134"/>
                  <a:gd name="connsiteY1187" fmla="*/ 4312439 h 6756949"/>
                  <a:gd name="connsiteX1188" fmla="*/ 1867928 w 7524134"/>
                  <a:gd name="connsiteY1188" fmla="*/ 4288614 h 6756949"/>
                  <a:gd name="connsiteX1189" fmla="*/ 1877459 w 7524134"/>
                  <a:gd name="connsiteY1189" fmla="*/ 4288614 h 6756949"/>
                  <a:gd name="connsiteX1190" fmla="*/ 1882224 w 7524134"/>
                  <a:gd name="connsiteY1190" fmla="*/ 4293379 h 6756949"/>
                  <a:gd name="connsiteX1191" fmla="*/ 1896519 w 7524134"/>
                  <a:gd name="connsiteY1191" fmla="*/ 4307674 h 6756949"/>
                  <a:gd name="connsiteX1192" fmla="*/ 1906050 w 7524134"/>
                  <a:gd name="connsiteY1192" fmla="*/ 4307674 h 6756949"/>
                  <a:gd name="connsiteX1193" fmla="*/ 1929875 w 7524134"/>
                  <a:gd name="connsiteY1193" fmla="*/ 4302909 h 6756949"/>
                  <a:gd name="connsiteX1194" fmla="*/ 1939405 w 7524134"/>
                  <a:gd name="connsiteY1194" fmla="*/ 4307674 h 6756949"/>
                  <a:gd name="connsiteX1195" fmla="*/ 1948936 w 7524134"/>
                  <a:gd name="connsiteY1195" fmla="*/ 4312440 h 6756949"/>
                  <a:gd name="connsiteX1196" fmla="*/ 1953701 w 7524134"/>
                  <a:gd name="connsiteY1196" fmla="*/ 4321970 h 6756949"/>
                  <a:gd name="connsiteX1197" fmla="*/ 1953701 w 7524134"/>
                  <a:gd name="connsiteY1197" fmla="*/ 4341030 h 6756949"/>
                  <a:gd name="connsiteX1198" fmla="*/ 1948936 w 7524134"/>
                  <a:gd name="connsiteY1198" fmla="*/ 4355326 h 6756949"/>
                  <a:gd name="connsiteX1199" fmla="*/ 1948936 w 7524134"/>
                  <a:gd name="connsiteY1199" fmla="*/ 4379151 h 6756949"/>
                  <a:gd name="connsiteX1200" fmla="*/ 1948936 w 7524134"/>
                  <a:gd name="connsiteY1200" fmla="*/ 4388682 h 6756949"/>
                  <a:gd name="connsiteX1201" fmla="*/ 1963231 w 7524134"/>
                  <a:gd name="connsiteY1201" fmla="*/ 4402977 h 6756949"/>
                  <a:gd name="connsiteX1202" fmla="*/ 1967996 w 7524134"/>
                  <a:gd name="connsiteY1202" fmla="*/ 4422037 h 6756949"/>
                  <a:gd name="connsiteX1203" fmla="*/ 1967996 w 7524134"/>
                  <a:gd name="connsiteY1203" fmla="*/ 4441098 h 6756949"/>
                  <a:gd name="connsiteX1204" fmla="*/ 1939405 w 7524134"/>
                  <a:gd name="connsiteY1204" fmla="*/ 4445863 h 6756949"/>
                  <a:gd name="connsiteX1205" fmla="*/ 1915580 w 7524134"/>
                  <a:gd name="connsiteY1205" fmla="*/ 4445863 h 6756949"/>
                  <a:gd name="connsiteX1206" fmla="*/ 1891754 w 7524134"/>
                  <a:gd name="connsiteY1206" fmla="*/ 4460158 h 6756949"/>
                  <a:gd name="connsiteX1207" fmla="*/ 1886989 w 7524134"/>
                  <a:gd name="connsiteY1207" fmla="*/ 4469689 h 6756949"/>
                  <a:gd name="connsiteX1208" fmla="*/ 1886989 w 7524134"/>
                  <a:gd name="connsiteY1208" fmla="*/ 4483984 h 6756949"/>
                  <a:gd name="connsiteX1209" fmla="*/ 1882224 w 7524134"/>
                  <a:gd name="connsiteY1209" fmla="*/ 4483984 h 6756949"/>
                  <a:gd name="connsiteX1210" fmla="*/ 1877459 w 7524134"/>
                  <a:gd name="connsiteY1210" fmla="*/ 4483984 h 6756949"/>
                  <a:gd name="connsiteX1211" fmla="*/ 1863163 w 7524134"/>
                  <a:gd name="connsiteY1211" fmla="*/ 4469689 h 6756949"/>
                  <a:gd name="connsiteX1212" fmla="*/ 1853633 w 7524134"/>
                  <a:gd name="connsiteY1212" fmla="*/ 4464924 h 6756949"/>
                  <a:gd name="connsiteX1213" fmla="*/ 1805982 w 7524134"/>
                  <a:gd name="connsiteY1213" fmla="*/ 4455393 h 6756949"/>
                  <a:gd name="connsiteX1214" fmla="*/ 1753565 w 7524134"/>
                  <a:gd name="connsiteY1214" fmla="*/ 4417272 h 6756949"/>
                  <a:gd name="connsiteX1215" fmla="*/ 1729740 w 7524134"/>
                  <a:gd name="connsiteY1215" fmla="*/ 4407742 h 6756949"/>
                  <a:gd name="connsiteX1216" fmla="*/ 1701149 w 7524134"/>
                  <a:gd name="connsiteY1216" fmla="*/ 4383916 h 6756949"/>
                  <a:gd name="connsiteX1217" fmla="*/ 1682088 w 7524134"/>
                  <a:gd name="connsiteY1217" fmla="*/ 4345795 h 6756949"/>
                  <a:gd name="connsiteX1218" fmla="*/ 1696384 w 7524134"/>
                  <a:gd name="connsiteY1218" fmla="*/ 4341030 h 6756949"/>
                  <a:gd name="connsiteX1219" fmla="*/ 1710679 w 7524134"/>
                  <a:gd name="connsiteY1219" fmla="*/ 4341030 h 6756949"/>
                  <a:gd name="connsiteX1220" fmla="*/ 1772626 w 7524134"/>
                  <a:gd name="connsiteY1220" fmla="*/ 4345795 h 6756949"/>
                  <a:gd name="connsiteX1221" fmla="*/ 1782156 w 7524134"/>
                  <a:gd name="connsiteY1221" fmla="*/ 4317205 h 6756949"/>
                  <a:gd name="connsiteX1222" fmla="*/ 1791686 w 7524134"/>
                  <a:gd name="connsiteY1222" fmla="*/ 4312440 h 6756949"/>
                  <a:gd name="connsiteX1223" fmla="*/ 1810747 w 7524134"/>
                  <a:gd name="connsiteY1223" fmla="*/ 4307674 h 6756949"/>
                  <a:gd name="connsiteX1224" fmla="*/ 1829807 w 7524134"/>
                  <a:gd name="connsiteY1224" fmla="*/ 4293379 h 6756949"/>
                  <a:gd name="connsiteX1225" fmla="*/ 1839338 w 7524134"/>
                  <a:gd name="connsiteY1225" fmla="*/ 4293379 h 6756949"/>
                  <a:gd name="connsiteX1226" fmla="*/ 1848868 w 7524134"/>
                  <a:gd name="connsiteY1226" fmla="*/ 4298144 h 6756949"/>
                  <a:gd name="connsiteX1227" fmla="*/ 5165396 w 7524134"/>
                  <a:gd name="connsiteY1227" fmla="*/ 4283849 h 6756949"/>
                  <a:gd name="connsiteX1228" fmla="*/ 5170161 w 7524134"/>
                  <a:gd name="connsiteY1228" fmla="*/ 4288614 h 6756949"/>
                  <a:gd name="connsiteX1229" fmla="*/ 5165396 w 7524134"/>
                  <a:gd name="connsiteY1229" fmla="*/ 4307675 h 6756949"/>
                  <a:gd name="connsiteX1230" fmla="*/ 5160631 w 7524134"/>
                  <a:gd name="connsiteY1230" fmla="*/ 4312440 h 6756949"/>
                  <a:gd name="connsiteX1231" fmla="*/ 5146335 w 7524134"/>
                  <a:gd name="connsiteY1231" fmla="*/ 4312440 h 6756949"/>
                  <a:gd name="connsiteX1232" fmla="*/ 5141570 w 7524134"/>
                  <a:gd name="connsiteY1232" fmla="*/ 4307675 h 6756949"/>
                  <a:gd name="connsiteX1233" fmla="*/ 4941435 w 7524134"/>
                  <a:gd name="connsiteY1233" fmla="*/ 4260023 h 6756949"/>
                  <a:gd name="connsiteX1234" fmla="*/ 4965261 w 7524134"/>
                  <a:gd name="connsiteY1234" fmla="*/ 4269553 h 6756949"/>
                  <a:gd name="connsiteX1235" fmla="*/ 4970026 w 7524134"/>
                  <a:gd name="connsiteY1235" fmla="*/ 4279084 h 6756949"/>
                  <a:gd name="connsiteX1236" fmla="*/ 4998617 w 7524134"/>
                  <a:gd name="connsiteY1236" fmla="*/ 4279084 h 6756949"/>
                  <a:gd name="connsiteX1237" fmla="*/ 5008147 w 7524134"/>
                  <a:gd name="connsiteY1237" fmla="*/ 4279084 h 6756949"/>
                  <a:gd name="connsiteX1238" fmla="*/ 5012912 w 7524134"/>
                  <a:gd name="connsiteY1238" fmla="*/ 4283849 h 6756949"/>
                  <a:gd name="connsiteX1239" fmla="*/ 5008147 w 7524134"/>
                  <a:gd name="connsiteY1239" fmla="*/ 4288614 h 6756949"/>
                  <a:gd name="connsiteX1240" fmla="*/ 4998617 w 7524134"/>
                  <a:gd name="connsiteY1240" fmla="*/ 4298144 h 6756949"/>
                  <a:gd name="connsiteX1241" fmla="*/ 4965261 w 7524134"/>
                  <a:gd name="connsiteY1241" fmla="*/ 4312440 h 6756949"/>
                  <a:gd name="connsiteX1242" fmla="*/ 4936670 w 7524134"/>
                  <a:gd name="connsiteY1242" fmla="*/ 4326735 h 6756949"/>
                  <a:gd name="connsiteX1243" fmla="*/ 4931905 w 7524134"/>
                  <a:gd name="connsiteY1243" fmla="*/ 4326735 h 6756949"/>
                  <a:gd name="connsiteX1244" fmla="*/ 4927140 w 7524134"/>
                  <a:gd name="connsiteY1244" fmla="*/ 4307674 h 6756949"/>
                  <a:gd name="connsiteX1245" fmla="*/ 4922374 w 7524134"/>
                  <a:gd name="connsiteY1245" fmla="*/ 4298144 h 6756949"/>
                  <a:gd name="connsiteX1246" fmla="*/ 4917609 w 7524134"/>
                  <a:gd name="connsiteY1246" fmla="*/ 4288614 h 6756949"/>
                  <a:gd name="connsiteX1247" fmla="*/ 4917609 w 7524134"/>
                  <a:gd name="connsiteY1247" fmla="*/ 4283849 h 6756949"/>
                  <a:gd name="connsiteX1248" fmla="*/ 4922374 w 7524134"/>
                  <a:gd name="connsiteY1248" fmla="*/ 4274318 h 6756949"/>
                  <a:gd name="connsiteX1249" fmla="*/ 4936670 w 7524134"/>
                  <a:gd name="connsiteY1249" fmla="*/ 4264788 h 6756949"/>
                  <a:gd name="connsiteX1250" fmla="*/ 4765125 w 7524134"/>
                  <a:gd name="connsiteY1250" fmla="*/ 4255258 h 6756949"/>
                  <a:gd name="connsiteX1251" fmla="*/ 4769890 w 7524134"/>
                  <a:gd name="connsiteY1251" fmla="*/ 4269553 h 6756949"/>
                  <a:gd name="connsiteX1252" fmla="*/ 4769890 w 7524134"/>
                  <a:gd name="connsiteY1252" fmla="*/ 4279084 h 6756949"/>
                  <a:gd name="connsiteX1253" fmla="*/ 4765125 w 7524134"/>
                  <a:gd name="connsiteY1253" fmla="*/ 4288614 h 6756949"/>
                  <a:gd name="connsiteX1254" fmla="*/ 4769890 w 7524134"/>
                  <a:gd name="connsiteY1254" fmla="*/ 4302909 h 6756949"/>
                  <a:gd name="connsiteX1255" fmla="*/ 4760360 w 7524134"/>
                  <a:gd name="connsiteY1255" fmla="*/ 4326735 h 6756949"/>
                  <a:gd name="connsiteX1256" fmla="*/ 4760360 w 7524134"/>
                  <a:gd name="connsiteY1256" fmla="*/ 4341031 h 6756949"/>
                  <a:gd name="connsiteX1257" fmla="*/ 4755595 w 7524134"/>
                  <a:gd name="connsiteY1257" fmla="*/ 4350561 h 6756949"/>
                  <a:gd name="connsiteX1258" fmla="*/ 4750830 w 7524134"/>
                  <a:gd name="connsiteY1258" fmla="*/ 4355326 h 6756949"/>
                  <a:gd name="connsiteX1259" fmla="*/ 4746065 w 7524134"/>
                  <a:gd name="connsiteY1259" fmla="*/ 4355326 h 6756949"/>
                  <a:gd name="connsiteX1260" fmla="*/ 4746065 w 7524134"/>
                  <a:gd name="connsiteY1260" fmla="*/ 4350561 h 6756949"/>
                  <a:gd name="connsiteX1261" fmla="*/ 4746065 w 7524134"/>
                  <a:gd name="connsiteY1261" fmla="*/ 4341031 h 6756949"/>
                  <a:gd name="connsiteX1262" fmla="*/ 4736534 w 7524134"/>
                  <a:gd name="connsiteY1262" fmla="*/ 4341031 h 6756949"/>
                  <a:gd name="connsiteX1263" fmla="*/ 4731769 w 7524134"/>
                  <a:gd name="connsiteY1263" fmla="*/ 4317205 h 6756949"/>
                  <a:gd name="connsiteX1264" fmla="*/ 4741299 w 7524134"/>
                  <a:gd name="connsiteY1264" fmla="*/ 4312440 h 6756949"/>
                  <a:gd name="connsiteX1265" fmla="*/ 4741299 w 7524134"/>
                  <a:gd name="connsiteY1265" fmla="*/ 4302909 h 6756949"/>
                  <a:gd name="connsiteX1266" fmla="*/ 4741299 w 7524134"/>
                  <a:gd name="connsiteY1266" fmla="*/ 4293379 h 6756949"/>
                  <a:gd name="connsiteX1267" fmla="*/ 4750830 w 7524134"/>
                  <a:gd name="connsiteY1267" fmla="*/ 4269553 h 6756949"/>
                  <a:gd name="connsiteX1268" fmla="*/ 4750830 w 7524134"/>
                  <a:gd name="connsiteY1268" fmla="*/ 4274319 h 6756949"/>
                  <a:gd name="connsiteX1269" fmla="*/ 4755595 w 7524134"/>
                  <a:gd name="connsiteY1269" fmla="*/ 4274319 h 6756949"/>
                  <a:gd name="connsiteX1270" fmla="*/ 4755595 w 7524134"/>
                  <a:gd name="connsiteY1270" fmla="*/ 4269553 h 6756949"/>
                  <a:gd name="connsiteX1271" fmla="*/ 4765125 w 7524134"/>
                  <a:gd name="connsiteY1271" fmla="*/ 4260023 h 6756949"/>
                  <a:gd name="connsiteX1272" fmla="*/ 4098008 w 7524134"/>
                  <a:gd name="connsiteY1272" fmla="*/ 4255258 h 6756949"/>
                  <a:gd name="connsiteX1273" fmla="*/ 4107538 w 7524134"/>
                  <a:gd name="connsiteY1273" fmla="*/ 4255258 h 6756949"/>
                  <a:gd name="connsiteX1274" fmla="*/ 4107538 w 7524134"/>
                  <a:gd name="connsiteY1274" fmla="*/ 4264788 h 6756949"/>
                  <a:gd name="connsiteX1275" fmla="*/ 4093243 w 7524134"/>
                  <a:gd name="connsiteY1275" fmla="*/ 4293379 h 6756949"/>
                  <a:gd name="connsiteX1276" fmla="*/ 4088478 w 7524134"/>
                  <a:gd name="connsiteY1276" fmla="*/ 4298144 h 6756949"/>
                  <a:gd name="connsiteX1277" fmla="*/ 4078947 w 7524134"/>
                  <a:gd name="connsiteY1277" fmla="*/ 4298144 h 6756949"/>
                  <a:gd name="connsiteX1278" fmla="*/ 4088478 w 7524134"/>
                  <a:gd name="connsiteY1278" fmla="*/ 4283849 h 6756949"/>
                  <a:gd name="connsiteX1279" fmla="*/ 824365 w 7524134"/>
                  <a:gd name="connsiteY1279" fmla="*/ 4221902 h 6756949"/>
                  <a:gd name="connsiteX1280" fmla="*/ 833896 w 7524134"/>
                  <a:gd name="connsiteY1280" fmla="*/ 4255258 h 6756949"/>
                  <a:gd name="connsiteX1281" fmla="*/ 852956 w 7524134"/>
                  <a:gd name="connsiteY1281" fmla="*/ 4269553 h 6756949"/>
                  <a:gd name="connsiteX1282" fmla="*/ 886312 w 7524134"/>
                  <a:gd name="connsiteY1282" fmla="*/ 4288614 h 6756949"/>
                  <a:gd name="connsiteX1283" fmla="*/ 905373 w 7524134"/>
                  <a:gd name="connsiteY1283" fmla="*/ 4288614 h 6756949"/>
                  <a:gd name="connsiteX1284" fmla="*/ 924433 w 7524134"/>
                  <a:gd name="connsiteY1284" fmla="*/ 4302910 h 6756949"/>
                  <a:gd name="connsiteX1285" fmla="*/ 933964 w 7524134"/>
                  <a:gd name="connsiteY1285" fmla="*/ 4317205 h 6756949"/>
                  <a:gd name="connsiteX1286" fmla="*/ 905373 w 7524134"/>
                  <a:gd name="connsiteY1286" fmla="*/ 4307675 h 6756949"/>
                  <a:gd name="connsiteX1287" fmla="*/ 867252 w 7524134"/>
                  <a:gd name="connsiteY1287" fmla="*/ 4307675 h 6756949"/>
                  <a:gd name="connsiteX1288" fmla="*/ 819600 w 7524134"/>
                  <a:gd name="connsiteY1288" fmla="*/ 4264788 h 6756949"/>
                  <a:gd name="connsiteX1289" fmla="*/ 800540 w 7524134"/>
                  <a:gd name="connsiteY1289" fmla="*/ 4255258 h 6756949"/>
                  <a:gd name="connsiteX1290" fmla="*/ 805305 w 7524134"/>
                  <a:gd name="connsiteY1290" fmla="*/ 4231432 h 6756949"/>
                  <a:gd name="connsiteX1291" fmla="*/ 4712709 w 7524134"/>
                  <a:gd name="connsiteY1291" fmla="*/ 4117070 h 6756949"/>
                  <a:gd name="connsiteX1292" fmla="*/ 4722239 w 7524134"/>
                  <a:gd name="connsiteY1292" fmla="*/ 4126600 h 6756949"/>
                  <a:gd name="connsiteX1293" fmla="*/ 4727004 w 7524134"/>
                  <a:gd name="connsiteY1293" fmla="*/ 4136131 h 6756949"/>
                  <a:gd name="connsiteX1294" fmla="*/ 4727004 w 7524134"/>
                  <a:gd name="connsiteY1294" fmla="*/ 4150426 h 6756949"/>
                  <a:gd name="connsiteX1295" fmla="*/ 4707944 w 7524134"/>
                  <a:gd name="connsiteY1295" fmla="*/ 4155191 h 6756949"/>
                  <a:gd name="connsiteX1296" fmla="*/ 4698413 w 7524134"/>
                  <a:gd name="connsiteY1296" fmla="*/ 4150426 h 6756949"/>
                  <a:gd name="connsiteX1297" fmla="*/ 4698413 w 7524134"/>
                  <a:gd name="connsiteY1297" fmla="*/ 4145661 h 6756949"/>
                  <a:gd name="connsiteX1298" fmla="*/ 4703178 w 7524134"/>
                  <a:gd name="connsiteY1298" fmla="*/ 4126600 h 6756949"/>
                  <a:gd name="connsiteX1299" fmla="*/ 4703178 w 7524134"/>
                  <a:gd name="connsiteY1299" fmla="*/ 4121835 h 6756949"/>
                  <a:gd name="connsiteX1300" fmla="*/ 1024501 w 7524134"/>
                  <a:gd name="connsiteY1300" fmla="*/ 3173575 h 6756949"/>
                  <a:gd name="connsiteX1301" fmla="*/ 1053092 w 7524134"/>
                  <a:gd name="connsiteY1301" fmla="*/ 3206931 h 6756949"/>
                  <a:gd name="connsiteX1302" fmla="*/ 1053092 w 7524134"/>
                  <a:gd name="connsiteY1302" fmla="*/ 3216461 h 6756949"/>
                  <a:gd name="connsiteX1303" fmla="*/ 1072152 w 7524134"/>
                  <a:gd name="connsiteY1303" fmla="*/ 3211696 h 6756949"/>
                  <a:gd name="connsiteX1304" fmla="*/ 1091213 w 7524134"/>
                  <a:gd name="connsiteY1304" fmla="*/ 3216461 h 6756949"/>
                  <a:gd name="connsiteX1305" fmla="*/ 1119804 w 7524134"/>
                  <a:gd name="connsiteY1305" fmla="*/ 3225991 h 6756949"/>
                  <a:gd name="connsiteX1306" fmla="*/ 1143630 w 7524134"/>
                  <a:gd name="connsiteY1306" fmla="*/ 3221226 h 6756949"/>
                  <a:gd name="connsiteX1307" fmla="*/ 1176985 w 7524134"/>
                  <a:gd name="connsiteY1307" fmla="*/ 3197401 h 6756949"/>
                  <a:gd name="connsiteX1308" fmla="*/ 1196046 w 7524134"/>
                  <a:gd name="connsiteY1308" fmla="*/ 3187870 h 6756949"/>
                  <a:gd name="connsiteX1309" fmla="*/ 1215106 w 7524134"/>
                  <a:gd name="connsiteY1309" fmla="*/ 3187870 h 6756949"/>
                  <a:gd name="connsiteX1310" fmla="*/ 1234167 w 7524134"/>
                  <a:gd name="connsiteY1310" fmla="*/ 3192635 h 6756949"/>
                  <a:gd name="connsiteX1311" fmla="*/ 1253227 w 7524134"/>
                  <a:gd name="connsiteY1311" fmla="*/ 3206931 h 6756949"/>
                  <a:gd name="connsiteX1312" fmla="*/ 1262758 w 7524134"/>
                  <a:gd name="connsiteY1312" fmla="*/ 3216461 h 6756949"/>
                  <a:gd name="connsiteX1313" fmla="*/ 1267523 w 7524134"/>
                  <a:gd name="connsiteY1313" fmla="*/ 3230756 h 6756949"/>
                  <a:gd name="connsiteX1314" fmla="*/ 1272288 w 7524134"/>
                  <a:gd name="connsiteY1314" fmla="*/ 3245052 h 6756949"/>
                  <a:gd name="connsiteX1315" fmla="*/ 1277053 w 7524134"/>
                  <a:gd name="connsiteY1315" fmla="*/ 3259347 h 6756949"/>
                  <a:gd name="connsiteX1316" fmla="*/ 1315174 w 7524134"/>
                  <a:gd name="connsiteY1316" fmla="*/ 3273643 h 6756949"/>
                  <a:gd name="connsiteX1317" fmla="*/ 1338999 w 7524134"/>
                  <a:gd name="connsiteY1317" fmla="*/ 3278408 h 6756949"/>
                  <a:gd name="connsiteX1318" fmla="*/ 1343764 w 7524134"/>
                  <a:gd name="connsiteY1318" fmla="*/ 3287938 h 6756949"/>
                  <a:gd name="connsiteX1319" fmla="*/ 1348530 w 7524134"/>
                  <a:gd name="connsiteY1319" fmla="*/ 3297468 h 6756949"/>
                  <a:gd name="connsiteX1320" fmla="*/ 1367590 w 7524134"/>
                  <a:gd name="connsiteY1320" fmla="*/ 3306998 h 6756949"/>
                  <a:gd name="connsiteX1321" fmla="*/ 1391416 w 7524134"/>
                  <a:gd name="connsiteY1321" fmla="*/ 3306998 h 6756949"/>
                  <a:gd name="connsiteX1322" fmla="*/ 1400946 w 7524134"/>
                  <a:gd name="connsiteY1322" fmla="*/ 3306998 h 6756949"/>
                  <a:gd name="connsiteX1323" fmla="*/ 1439067 w 7524134"/>
                  <a:gd name="connsiteY1323" fmla="*/ 3306998 h 6756949"/>
                  <a:gd name="connsiteX1324" fmla="*/ 1481953 w 7524134"/>
                  <a:gd name="connsiteY1324" fmla="*/ 3321294 h 6756949"/>
                  <a:gd name="connsiteX1325" fmla="*/ 1472423 w 7524134"/>
                  <a:gd name="connsiteY1325" fmla="*/ 3354650 h 6756949"/>
                  <a:gd name="connsiteX1326" fmla="*/ 1458128 w 7524134"/>
                  <a:gd name="connsiteY1326" fmla="*/ 3368945 h 6756949"/>
                  <a:gd name="connsiteX1327" fmla="*/ 1420006 w 7524134"/>
                  <a:gd name="connsiteY1327" fmla="*/ 3364180 h 6756949"/>
                  <a:gd name="connsiteX1328" fmla="*/ 1381885 w 7524134"/>
                  <a:gd name="connsiteY1328" fmla="*/ 3368945 h 6756949"/>
                  <a:gd name="connsiteX1329" fmla="*/ 1362825 w 7524134"/>
                  <a:gd name="connsiteY1329" fmla="*/ 3388006 h 6756949"/>
                  <a:gd name="connsiteX1330" fmla="*/ 1348530 w 7524134"/>
                  <a:gd name="connsiteY1330" fmla="*/ 3407066 h 6756949"/>
                  <a:gd name="connsiteX1331" fmla="*/ 1348530 w 7524134"/>
                  <a:gd name="connsiteY1331" fmla="*/ 3430892 h 6756949"/>
                  <a:gd name="connsiteX1332" fmla="*/ 1338999 w 7524134"/>
                  <a:gd name="connsiteY1332" fmla="*/ 3440422 h 6756949"/>
                  <a:gd name="connsiteX1333" fmla="*/ 1329469 w 7524134"/>
                  <a:gd name="connsiteY1333" fmla="*/ 3445187 h 6756949"/>
                  <a:gd name="connsiteX1334" fmla="*/ 1324704 w 7524134"/>
                  <a:gd name="connsiteY1334" fmla="*/ 3430892 h 6756949"/>
                  <a:gd name="connsiteX1335" fmla="*/ 1315174 w 7524134"/>
                  <a:gd name="connsiteY1335" fmla="*/ 3397536 h 6756949"/>
                  <a:gd name="connsiteX1336" fmla="*/ 1310408 w 7524134"/>
                  <a:gd name="connsiteY1336" fmla="*/ 3388006 h 6756949"/>
                  <a:gd name="connsiteX1337" fmla="*/ 1300879 w 7524134"/>
                  <a:gd name="connsiteY1337" fmla="*/ 3383240 h 6756949"/>
                  <a:gd name="connsiteX1338" fmla="*/ 1281818 w 7524134"/>
                  <a:gd name="connsiteY1338" fmla="*/ 3368945 h 6756949"/>
                  <a:gd name="connsiteX1339" fmla="*/ 1262758 w 7524134"/>
                  <a:gd name="connsiteY1339" fmla="*/ 3364180 h 6756949"/>
                  <a:gd name="connsiteX1340" fmla="*/ 1248462 w 7524134"/>
                  <a:gd name="connsiteY1340" fmla="*/ 3359415 h 6756949"/>
                  <a:gd name="connsiteX1341" fmla="*/ 1243697 w 7524134"/>
                  <a:gd name="connsiteY1341" fmla="*/ 3349885 h 6756949"/>
                  <a:gd name="connsiteX1342" fmla="*/ 1238932 w 7524134"/>
                  <a:gd name="connsiteY1342" fmla="*/ 3330824 h 6756949"/>
                  <a:gd name="connsiteX1343" fmla="*/ 1229402 w 7524134"/>
                  <a:gd name="connsiteY1343" fmla="*/ 3321294 h 6756949"/>
                  <a:gd name="connsiteX1344" fmla="*/ 1215106 w 7524134"/>
                  <a:gd name="connsiteY1344" fmla="*/ 3306998 h 6756949"/>
                  <a:gd name="connsiteX1345" fmla="*/ 1196046 w 7524134"/>
                  <a:gd name="connsiteY1345" fmla="*/ 3297468 h 6756949"/>
                  <a:gd name="connsiteX1346" fmla="*/ 1148395 w 7524134"/>
                  <a:gd name="connsiteY1346" fmla="*/ 3273643 h 6756949"/>
                  <a:gd name="connsiteX1347" fmla="*/ 1129334 w 7524134"/>
                  <a:gd name="connsiteY1347" fmla="*/ 3273643 h 6756949"/>
                  <a:gd name="connsiteX1348" fmla="*/ 1115039 w 7524134"/>
                  <a:gd name="connsiteY1348" fmla="*/ 3273643 h 6756949"/>
                  <a:gd name="connsiteX1349" fmla="*/ 1095978 w 7524134"/>
                  <a:gd name="connsiteY1349" fmla="*/ 3283173 h 6756949"/>
                  <a:gd name="connsiteX1350" fmla="*/ 1081683 w 7524134"/>
                  <a:gd name="connsiteY1350" fmla="*/ 3302233 h 6756949"/>
                  <a:gd name="connsiteX1351" fmla="*/ 1062622 w 7524134"/>
                  <a:gd name="connsiteY1351" fmla="*/ 3311764 h 6756949"/>
                  <a:gd name="connsiteX1352" fmla="*/ 1043562 w 7524134"/>
                  <a:gd name="connsiteY1352" fmla="*/ 3316529 h 6756949"/>
                  <a:gd name="connsiteX1353" fmla="*/ 1024501 w 7524134"/>
                  <a:gd name="connsiteY1353" fmla="*/ 3306998 h 6756949"/>
                  <a:gd name="connsiteX1354" fmla="*/ 1010206 w 7524134"/>
                  <a:gd name="connsiteY1354" fmla="*/ 3292703 h 6756949"/>
                  <a:gd name="connsiteX1355" fmla="*/ 1000676 w 7524134"/>
                  <a:gd name="connsiteY1355" fmla="*/ 3283173 h 6756949"/>
                  <a:gd name="connsiteX1356" fmla="*/ 995911 w 7524134"/>
                  <a:gd name="connsiteY1356" fmla="*/ 3264112 h 6756949"/>
                  <a:gd name="connsiteX1357" fmla="*/ 995911 w 7524134"/>
                  <a:gd name="connsiteY1357" fmla="*/ 3245052 h 6756949"/>
                  <a:gd name="connsiteX1358" fmla="*/ 1000676 w 7524134"/>
                  <a:gd name="connsiteY1358" fmla="*/ 3225991 h 6756949"/>
                  <a:gd name="connsiteX1359" fmla="*/ 1005441 w 7524134"/>
                  <a:gd name="connsiteY1359" fmla="*/ 3183105 h 6756949"/>
                  <a:gd name="connsiteX1360" fmla="*/ 1934639 w 7524134"/>
                  <a:gd name="connsiteY1360" fmla="*/ 2211019 h 6756949"/>
                  <a:gd name="connsiteX1361" fmla="*/ 1929874 w 7524134"/>
                  <a:gd name="connsiteY1361" fmla="*/ 2215784 h 6756949"/>
                  <a:gd name="connsiteX1362" fmla="*/ 1915579 w 7524134"/>
                  <a:gd name="connsiteY1362" fmla="*/ 2230079 h 6756949"/>
                  <a:gd name="connsiteX1363" fmla="*/ 1886988 w 7524134"/>
                  <a:gd name="connsiteY1363" fmla="*/ 2253905 h 6756949"/>
                  <a:gd name="connsiteX1364" fmla="*/ 1886988 w 7524134"/>
                  <a:gd name="connsiteY1364" fmla="*/ 2253905 h 6756949"/>
                  <a:gd name="connsiteX1365" fmla="*/ 1882223 w 7524134"/>
                  <a:gd name="connsiteY1365" fmla="*/ 2253905 h 6756949"/>
                  <a:gd name="connsiteX1366" fmla="*/ 1882223 w 7524134"/>
                  <a:gd name="connsiteY1366" fmla="*/ 2249140 h 6756949"/>
                  <a:gd name="connsiteX1367" fmla="*/ 1901283 w 7524134"/>
                  <a:gd name="connsiteY1367" fmla="*/ 2234845 h 6756949"/>
                  <a:gd name="connsiteX1368" fmla="*/ 3392769 w 7524134"/>
                  <a:gd name="connsiteY1368" fmla="*/ 0 h 6756949"/>
                  <a:gd name="connsiteX1369" fmla="*/ 3407064 w 7524134"/>
                  <a:gd name="connsiteY1369" fmla="*/ 4765 h 6756949"/>
                  <a:gd name="connsiteX1370" fmla="*/ 3388004 w 7524134"/>
                  <a:gd name="connsiteY1370" fmla="*/ 14295 h 6756949"/>
                  <a:gd name="connsiteX1371" fmla="*/ 3378473 w 7524134"/>
                  <a:gd name="connsiteY1371" fmla="*/ 33356 h 6756949"/>
                  <a:gd name="connsiteX1372" fmla="*/ 3392769 w 7524134"/>
                  <a:gd name="connsiteY1372" fmla="*/ 57182 h 6756949"/>
                  <a:gd name="connsiteX1373" fmla="*/ 3497602 w 7524134"/>
                  <a:gd name="connsiteY1373" fmla="*/ 109598 h 6756949"/>
                  <a:gd name="connsiteX1374" fmla="*/ 3521427 w 7524134"/>
                  <a:gd name="connsiteY1374" fmla="*/ 109598 h 6756949"/>
                  <a:gd name="connsiteX1375" fmla="*/ 3530957 w 7524134"/>
                  <a:gd name="connsiteY1375" fmla="*/ 142954 h 6756949"/>
                  <a:gd name="connsiteX1376" fmla="*/ 3526192 w 7524134"/>
                  <a:gd name="connsiteY1376" fmla="*/ 171545 h 6756949"/>
                  <a:gd name="connsiteX1377" fmla="*/ 3497602 w 7524134"/>
                  <a:gd name="connsiteY1377" fmla="*/ 200135 h 6756949"/>
                  <a:gd name="connsiteX1378" fmla="*/ 3445185 w 7524134"/>
                  <a:gd name="connsiteY1378" fmla="*/ 233491 h 6756949"/>
                  <a:gd name="connsiteX1379" fmla="*/ 3459481 w 7524134"/>
                  <a:gd name="connsiteY1379" fmla="*/ 247787 h 6756949"/>
                  <a:gd name="connsiteX1380" fmla="*/ 3469011 w 7524134"/>
                  <a:gd name="connsiteY1380" fmla="*/ 276377 h 6756949"/>
                  <a:gd name="connsiteX1381" fmla="*/ 3488071 w 7524134"/>
                  <a:gd name="connsiteY1381" fmla="*/ 276377 h 6756949"/>
                  <a:gd name="connsiteX1382" fmla="*/ 3511897 w 7524134"/>
                  <a:gd name="connsiteY1382" fmla="*/ 266847 h 6756949"/>
                  <a:gd name="connsiteX1383" fmla="*/ 3530957 w 7524134"/>
                  <a:gd name="connsiteY1383" fmla="*/ 247787 h 6756949"/>
                  <a:gd name="connsiteX1384" fmla="*/ 3573844 w 7524134"/>
                  <a:gd name="connsiteY1384" fmla="*/ 190605 h 6756949"/>
                  <a:gd name="connsiteX1385" fmla="*/ 3588139 w 7524134"/>
                  <a:gd name="connsiteY1385" fmla="*/ 162014 h 6756949"/>
                  <a:gd name="connsiteX1386" fmla="*/ 3597669 w 7524134"/>
                  <a:gd name="connsiteY1386" fmla="*/ 152484 h 6756949"/>
                  <a:gd name="connsiteX1387" fmla="*/ 3631025 w 7524134"/>
                  <a:gd name="connsiteY1387" fmla="*/ 157249 h 6756949"/>
                  <a:gd name="connsiteX1388" fmla="*/ 3650086 w 7524134"/>
                  <a:gd name="connsiteY1388" fmla="*/ 176310 h 6756949"/>
                  <a:gd name="connsiteX1389" fmla="*/ 3673911 w 7524134"/>
                  <a:gd name="connsiteY1389" fmla="*/ 204900 h 6756949"/>
                  <a:gd name="connsiteX1390" fmla="*/ 3664381 w 7524134"/>
                  <a:gd name="connsiteY1390" fmla="*/ 233491 h 6756949"/>
                  <a:gd name="connsiteX1391" fmla="*/ 3654851 w 7524134"/>
                  <a:gd name="connsiteY1391" fmla="*/ 247787 h 6756949"/>
                  <a:gd name="connsiteX1392" fmla="*/ 3688207 w 7524134"/>
                  <a:gd name="connsiteY1392" fmla="*/ 271612 h 6756949"/>
                  <a:gd name="connsiteX1393" fmla="*/ 3716797 w 7524134"/>
                  <a:gd name="connsiteY1393" fmla="*/ 276377 h 6756949"/>
                  <a:gd name="connsiteX1394" fmla="*/ 3750153 w 7524134"/>
                  <a:gd name="connsiteY1394" fmla="*/ 295438 h 6756949"/>
                  <a:gd name="connsiteX1395" fmla="*/ 3793039 w 7524134"/>
                  <a:gd name="connsiteY1395" fmla="*/ 257317 h 6756949"/>
                  <a:gd name="connsiteX1396" fmla="*/ 3826395 w 7524134"/>
                  <a:gd name="connsiteY1396" fmla="*/ 247787 h 6756949"/>
                  <a:gd name="connsiteX1397" fmla="*/ 3859751 w 7524134"/>
                  <a:gd name="connsiteY1397" fmla="*/ 252552 h 6756949"/>
                  <a:gd name="connsiteX1398" fmla="*/ 3897872 w 7524134"/>
                  <a:gd name="connsiteY1398" fmla="*/ 233491 h 6756949"/>
                  <a:gd name="connsiteX1399" fmla="*/ 3969349 w 7524134"/>
                  <a:gd name="connsiteY1399" fmla="*/ 257317 h 6756949"/>
                  <a:gd name="connsiteX1400" fmla="*/ 3988410 w 7524134"/>
                  <a:gd name="connsiteY1400" fmla="*/ 252552 h 6756949"/>
                  <a:gd name="connsiteX1401" fmla="*/ 4017000 w 7524134"/>
                  <a:gd name="connsiteY1401" fmla="*/ 257317 h 6756949"/>
                  <a:gd name="connsiteX1402" fmla="*/ 4045591 w 7524134"/>
                  <a:gd name="connsiteY1402" fmla="*/ 271612 h 6756949"/>
                  <a:gd name="connsiteX1403" fmla="*/ 4055121 w 7524134"/>
                  <a:gd name="connsiteY1403" fmla="*/ 290673 h 6756949"/>
                  <a:gd name="connsiteX1404" fmla="*/ 4021765 w 7524134"/>
                  <a:gd name="connsiteY1404" fmla="*/ 324029 h 6756949"/>
                  <a:gd name="connsiteX1405" fmla="*/ 4017000 w 7524134"/>
                  <a:gd name="connsiteY1405" fmla="*/ 362150 h 6756949"/>
                  <a:gd name="connsiteX1406" fmla="*/ 4031296 w 7524134"/>
                  <a:gd name="connsiteY1406" fmla="*/ 381210 h 6756949"/>
                  <a:gd name="connsiteX1407" fmla="*/ 4050356 w 7524134"/>
                  <a:gd name="connsiteY1407" fmla="*/ 381210 h 6756949"/>
                  <a:gd name="connsiteX1408" fmla="*/ 4050356 w 7524134"/>
                  <a:gd name="connsiteY1408" fmla="*/ 405036 h 6756949"/>
                  <a:gd name="connsiteX1409" fmla="*/ 4064652 w 7524134"/>
                  <a:gd name="connsiteY1409" fmla="*/ 409801 h 6756949"/>
                  <a:gd name="connsiteX1410" fmla="*/ 4126598 w 7524134"/>
                  <a:gd name="connsiteY1410" fmla="*/ 409801 h 6756949"/>
                  <a:gd name="connsiteX1411" fmla="*/ 4121833 w 7524134"/>
                  <a:gd name="connsiteY1411" fmla="*/ 419331 h 6756949"/>
                  <a:gd name="connsiteX1412" fmla="*/ 4121833 w 7524134"/>
                  <a:gd name="connsiteY1412" fmla="*/ 428861 h 6756949"/>
                  <a:gd name="connsiteX1413" fmla="*/ 4102773 w 7524134"/>
                  <a:gd name="connsiteY1413" fmla="*/ 457452 h 6756949"/>
                  <a:gd name="connsiteX1414" fmla="*/ 4212371 w 7524134"/>
                  <a:gd name="connsiteY1414" fmla="*/ 471748 h 6756949"/>
                  <a:gd name="connsiteX1415" fmla="*/ 4226666 w 7524134"/>
                  <a:gd name="connsiteY1415" fmla="*/ 457452 h 6756949"/>
                  <a:gd name="connsiteX1416" fmla="*/ 4250492 w 7524134"/>
                  <a:gd name="connsiteY1416" fmla="*/ 452687 h 6756949"/>
                  <a:gd name="connsiteX1417" fmla="*/ 4302908 w 7524134"/>
                  <a:gd name="connsiteY1417" fmla="*/ 433627 h 6756949"/>
                  <a:gd name="connsiteX1418" fmla="*/ 4317203 w 7524134"/>
                  <a:gd name="connsiteY1418" fmla="*/ 438392 h 6756949"/>
                  <a:gd name="connsiteX1419" fmla="*/ 4341029 w 7524134"/>
                  <a:gd name="connsiteY1419" fmla="*/ 462217 h 6756949"/>
                  <a:gd name="connsiteX1420" fmla="*/ 4360090 w 7524134"/>
                  <a:gd name="connsiteY1420" fmla="*/ 466982 h 6756949"/>
                  <a:gd name="connsiteX1421" fmla="*/ 4379150 w 7524134"/>
                  <a:gd name="connsiteY1421" fmla="*/ 462217 h 6756949"/>
                  <a:gd name="connsiteX1422" fmla="*/ 4426801 w 7524134"/>
                  <a:gd name="connsiteY1422" fmla="*/ 433627 h 6756949"/>
                  <a:gd name="connsiteX1423" fmla="*/ 4474453 w 7524134"/>
                  <a:gd name="connsiteY1423" fmla="*/ 428861 h 6756949"/>
                  <a:gd name="connsiteX1424" fmla="*/ 4498278 w 7524134"/>
                  <a:gd name="connsiteY1424" fmla="*/ 438392 h 6756949"/>
                  <a:gd name="connsiteX1425" fmla="*/ 4517339 w 7524134"/>
                  <a:gd name="connsiteY1425" fmla="*/ 433627 h 6756949"/>
                  <a:gd name="connsiteX1426" fmla="*/ 4584051 w 7524134"/>
                  <a:gd name="connsiteY1426" fmla="*/ 471748 h 6756949"/>
                  <a:gd name="connsiteX1427" fmla="*/ 4607876 w 7524134"/>
                  <a:gd name="connsiteY1427" fmla="*/ 476513 h 6756949"/>
                  <a:gd name="connsiteX1428" fmla="*/ 4641232 w 7524134"/>
                  <a:gd name="connsiteY1428" fmla="*/ 519399 h 6756949"/>
                  <a:gd name="connsiteX1429" fmla="*/ 4660293 w 7524134"/>
                  <a:gd name="connsiteY1429" fmla="*/ 524164 h 6756949"/>
                  <a:gd name="connsiteX1430" fmla="*/ 4679353 w 7524134"/>
                  <a:gd name="connsiteY1430" fmla="*/ 500338 h 6756949"/>
                  <a:gd name="connsiteX1431" fmla="*/ 4693648 w 7524134"/>
                  <a:gd name="connsiteY1431" fmla="*/ 505103 h 6756949"/>
                  <a:gd name="connsiteX1432" fmla="*/ 4712709 w 7524134"/>
                  <a:gd name="connsiteY1432" fmla="*/ 524164 h 6756949"/>
                  <a:gd name="connsiteX1433" fmla="*/ 4736535 w 7524134"/>
                  <a:gd name="connsiteY1433" fmla="*/ 528929 h 6756949"/>
                  <a:gd name="connsiteX1434" fmla="*/ 4750830 w 7524134"/>
                  <a:gd name="connsiteY1434" fmla="*/ 557520 h 6756949"/>
                  <a:gd name="connsiteX1435" fmla="*/ 4765125 w 7524134"/>
                  <a:gd name="connsiteY1435" fmla="*/ 567050 h 6756949"/>
                  <a:gd name="connsiteX1436" fmla="*/ 4865193 w 7524134"/>
                  <a:gd name="connsiteY1436" fmla="*/ 590876 h 6756949"/>
                  <a:gd name="connsiteX1437" fmla="*/ 4912844 w 7524134"/>
                  <a:gd name="connsiteY1437" fmla="*/ 581345 h 6756949"/>
                  <a:gd name="connsiteX1438" fmla="*/ 4984321 w 7524134"/>
                  <a:gd name="connsiteY1438" fmla="*/ 581345 h 6756949"/>
                  <a:gd name="connsiteX1439" fmla="*/ 5017677 w 7524134"/>
                  <a:gd name="connsiteY1439" fmla="*/ 595641 h 6756949"/>
                  <a:gd name="connsiteX1440" fmla="*/ 5055798 w 7524134"/>
                  <a:gd name="connsiteY1440" fmla="*/ 595641 h 6756949"/>
                  <a:gd name="connsiteX1441" fmla="*/ 5117745 w 7524134"/>
                  <a:gd name="connsiteY1441" fmla="*/ 643292 h 6756949"/>
                  <a:gd name="connsiteX1442" fmla="*/ 5146336 w 7524134"/>
                  <a:gd name="connsiteY1442" fmla="*/ 652822 h 6756949"/>
                  <a:gd name="connsiteX1443" fmla="*/ 5155866 w 7524134"/>
                  <a:gd name="connsiteY1443" fmla="*/ 662353 h 6756949"/>
                  <a:gd name="connsiteX1444" fmla="*/ 5246403 w 7524134"/>
                  <a:gd name="connsiteY1444" fmla="*/ 676648 h 6756949"/>
                  <a:gd name="connsiteX1445" fmla="*/ 5274994 w 7524134"/>
                  <a:gd name="connsiteY1445" fmla="*/ 648057 h 6756949"/>
                  <a:gd name="connsiteX1446" fmla="*/ 5332176 w 7524134"/>
                  <a:gd name="connsiteY1446" fmla="*/ 643292 h 6756949"/>
                  <a:gd name="connsiteX1447" fmla="*/ 5379827 w 7524134"/>
                  <a:gd name="connsiteY1447" fmla="*/ 619467 h 6756949"/>
                  <a:gd name="connsiteX1448" fmla="*/ 5408418 w 7524134"/>
                  <a:gd name="connsiteY1448" fmla="*/ 619467 h 6756949"/>
                  <a:gd name="connsiteX1449" fmla="*/ 5441773 w 7524134"/>
                  <a:gd name="connsiteY1449" fmla="*/ 624232 h 6756949"/>
                  <a:gd name="connsiteX1450" fmla="*/ 5456069 w 7524134"/>
                  <a:gd name="connsiteY1450" fmla="*/ 624232 h 6756949"/>
                  <a:gd name="connsiteX1451" fmla="*/ 5465599 w 7524134"/>
                  <a:gd name="connsiteY1451" fmla="*/ 614701 h 6756949"/>
                  <a:gd name="connsiteX1452" fmla="*/ 5541841 w 7524134"/>
                  <a:gd name="connsiteY1452" fmla="*/ 652822 h 6756949"/>
                  <a:gd name="connsiteX1453" fmla="*/ 5589492 w 7524134"/>
                  <a:gd name="connsiteY1453" fmla="*/ 695709 h 6756949"/>
                  <a:gd name="connsiteX1454" fmla="*/ 5608553 w 7524134"/>
                  <a:gd name="connsiteY1454" fmla="*/ 724299 h 6756949"/>
                  <a:gd name="connsiteX1455" fmla="*/ 5699090 w 7524134"/>
                  <a:gd name="connsiteY1455" fmla="*/ 771951 h 6756949"/>
                  <a:gd name="connsiteX1456" fmla="*/ 5727681 w 7524134"/>
                  <a:gd name="connsiteY1456" fmla="*/ 795776 h 6756949"/>
                  <a:gd name="connsiteX1457" fmla="*/ 5746742 w 7524134"/>
                  <a:gd name="connsiteY1457" fmla="*/ 824367 h 6756949"/>
                  <a:gd name="connsiteX1458" fmla="*/ 5756272 w 7524134"/>
                  <a:gd name="connsiteY1458" fmla="*/ 829132 h 6756949"/>
                  <a:gd name="connsiteX1459" fmla="*/ 5765802 w 7524134"/>
                  <a:gd name="connsiteY1459" fmla="*/ 819602 h 6756949"/>
                  <a:gd name="connsiteX1460" fmla="*/ 5799158 w 7524134"/>
                  <a:gd name="connsiteY1460" fmla="*/ 819602 h 6756949"/>
                  <a:gd name="connsiteX1461" fmla="*/ 5808688 w 7524134"/>
                  <a:gd name="connsiteY1461" fmla="*/ 824367 h 6756949"/>
                  <a:gd name="connsiteX1462" fmla="*/ 5808688 w 7524134"/>
                  <a:gd name="connsiteY1462" fmla="*/ 4317205 h 6756949"/>
                  <a:gd name="connsiteX1463" fmla="*/ 5884930 w 7524134"/>
                  <a:gd name="connsiteY1463" fmla="*/ 4345795 h 6756949"/>
                  <a:gd name="connsiteX1464" fmla="*/ 5894461 w 7524134"/>
                  <a:gd name="connsiteY1464" fmla="*/ 4317205 h 6756949"/>
                  <a:gd name="connsiteX1465" fmla="*/ 5937347 w 7524134"/>
                  <a:gd name="connsiteY1465" fmla="*/ 4336265 h 6756949"/>
                  <a:gd name="connsiteX1466" fmla="*/ 5970703 w 7524134"/>
                  <a:gd name="connsiteY1466" fmla="*/ 4355326 h 6756949"/>
                  <a:gd name="connsiteX1467" fmla="*/ 5994528 w 7524134"/>
                  <a:gd name="connsiteY1467" fmla="*/ 4331501 h 6756949"/>
                  <a:gd name="connsiteX1468" fmla="*/ 6018354 w 7524134"/>
                  <a:gd name="connsiteY1468" fmla="*/ 4307675 h 6756949"/>
                  <a:gd name="connsiteX1469" fmla="*/ 6051710 w 7524134"/>
                  <a:gd name="connsiteY1469" fmla="*/ 4307675 h 6756949"/>
                  <a:gd name="connsiteX1470" fmla="*/ 6085066 w 7524134"/>
                  <a:gd name="connsiteY1470" fmla="*/ 4307675 h 6756949"/>
                  <a:gd name="connsiteX1471" fmla="*/ 6108891 w 7524134"/>
                  <a:gd name="connsiteY1471" fmla="*/ 4302909 h 6756949"/>
                  <a:gd name="connsiteX1472" fmla="*/ 6108891 w 7524134"/>
                  <a:gd name="connsiteY1472" fmla="*/ 4326735 h 6756949"/>
                  <a:gd name="connsiteX1473" fmla="*/ 6099361 w 7524134"/>
                  <a:gd name="connsiteY1473" fmla="*/ 4360091 h 6756949"/>
                  <a:gd name="connsiteX1474" fmla="*/ 6094596 w 7524134"/>
                  <a:gd name="connsiteY1474" fmla="*/ 4383917 h 6756949"/>
                  <a:gd name="connsiteX1475" fmla="*/ 6113657 w 7524134"/>
                  <a:gd name="connsiteY1475" fmla="*/ 4412507 h 6756949"/>
                  <a:gd name="connsiteX1476" fmla="*/ 6142247 w 7524134"/>
                  <a:gd name="connsiteY1476" fmla="*/ 4426803 h 6756949"/>
                  <a:gd name="connsiteX1477" fmla="*/ 6170838 w 7524134"/>
                  <a:gd name="connsiteY1477" fmla="*/ 4441099 h 6756949"/>
                  <a:gd name="connsiteX1478" fmla="*/ 6180368 w 7524134"/>
                  <a:gd name="connsiteY1478" fmla="*/ 4479219 h 6756949"/>
                  <a:gd name="connsiteX1479" fmla="*/ 6208959 w 7524134"/>
                  <a:gd name="connsiteY1479" fmla="*/ 4512575 h 6756949"/>
                  <a:gd name="connsiteX1480" fmla="*/ 6228020 w 7524134"/>
                  <a:gd name="connsiteY1480" fmla="*/ 4531635 h 6756949"/>
                  <a:gd name="connsiteX1481" fmla="*/ 6247080 w 7524134"/>
                  <a:gd name="connsiteY1481" fmla="*/ 4555461 h 6756949"/>
                  <a:gd name="connsiteX1482" fmla="*/ 6280436 w 7524134"/>
                  <a:gd name="connsiteY1482" fmla="*/ 4584052 h 6756949"/>
                  <a:gd name="connsiteX1483" fmla="*/ 6299497 w 7524134"/>
                  <a:gd name="connsiteY1483" fmla="*/ 4607877 h 6756949"/>
                  <a:gd name="connsiteX1484" fmla="*/ 6328087 w 7524134"/>
                  <a:gd name="connsiteY1484" fmla="*/ 4631703 h 6756949"/>
                  <a:gd name="connsiteX1485" fmla="*/ 6342383 w 7524134"/>
                  <a:gd name="connsiteY1485" fmla="*/ 4650764 h 6756949"/>
                  <a:gd name="connsiteX1486" fmla="*/ 6351913 w 7524134"/>
                  <a:gd name="connsiteY1486" fmla="*/ 4684120 h 6756949"/>
                  <a:gd name="connsiteX1487" fmla="*/ 6356678 w 7524134"/>
                  <a:gd name="connsiteY1487" fmla="*/ 4722241 h 6756949"/>
                  <a:gd name="connsiteX1488" fmla="*/ 6351913 w 7524134"/>
                  <a:gd name="connsiteY1488" fmla="*/ 4746067 h 6756949"/>
                  <a:gd name="connsiteX1489" fmla="*/ 6366208 w 7524134"/>
                  <a:gd name="connsiteY1489" fmla="*/ 4750831 h 6756949"/>
                  <a:gd name="connsiteX1490" fmla="*/ 6390034 w 7524134"/>
                  <a:gd name="connsiteY1490" fmla="*/ 4722241 h 6756949"/>
                  <a:gd name="connsiteX1491" fmla="*/ 6413860 w 7524134"/>
                  <a:gd name="connsiteY1491" fmla="*/ 4707945 h 6756949"/>
                  <a:gd name="connsiteX1492" fmla="*/ 6442450 w 7524134"/>
                  <a:gd name="connsiteY1492" fmla="*/ 4688885 h 6756949"/>
                  <a:gd name="connsiteX1493" fmla="*/ 6466276 w 7524134"/>
                  <a:gd name="connsiteY1493" fmla="*/ 4674589 h 6756949"/>
                  <a:gd name="connsiteX1494" fmla="*/ 6499632 w 7524134"/>
                  <a:gd name="connsiteY1494" fmla="*/ 4674589 h 6756949"/>
                  <a:gd name="connsiteX1495" fmla="*/ 6518692 w 7524134"/>
                  <a:gd name="connsiteY1495" fmla="*/ 4636469 h 6756949"/>
                  <a:gd name="connsiteX1496" fmla="*/ 6518692 w 7524134"/>
                  <a:gd name="connsiteY1496" fmla="*/ 4579287 h 6756949"/>
                  <a:gd name="connsiteX1497" fmla="*/ 6537753 w 7524134"/>
                  <a:gd name="connsiteY1497" fmla="*/ 4579287 h 6756949"/>
                  <a:gd name="connsiteX1498" fmla="*/ 6547283 w 7524134"/>
                  <a:gd name="connsiteY1498" fmla="*/ 4574522 h 6756949"/>
                  <a:gd name="connsiteX1499" fmla="*/ 6552048 w 7524134"/>
                  <a:gd name="connsiteY1499" fmla="*/ 4555461 h 6756949"/>
                  <a:gd name="connsiteX1500" fmla="*/ 6542518 w 7524134"/>
                  <a:gd name="connsiteY1500" fmla="*/ 4536401 h 6756949"/>
                  <a:gd name="connsiteX1501" fmla="*/ 6575874 w 7524134"/>
                  <a:gd name="connsiteY1501" fmla="*/ 4526871 h 6756949"/>
                  <a:gd name="connsiteX1502" fmla="*/ 6599700 w 7524134"/>
                  <a:gd name="connsiteY1502" fmla="*/ 4517341 h 6756949"/>
                  <a:gd name="connsiteX1503" fmla="*/ 6637821 w 7524134"/>
                  <a:gd name="connsiteY1503" fmla="*/ 4498280 h 6756949"/>
                  <a:gd name="connsiteX1504" fmla="*/ 6671176 w 7524134"/>
                  <a:gd name="connsiteY1504" fmla="*/ 4474454 h 6756949"/>
                  <a:gd name="connsiteX1505" fmla="*/ 6690237 w 7524134"/>
                  <a:gd name="connsiteY1505" fmla="*/ 4493515 h 6756949"/>
                  <a:gd name="connsiteX1506" fmla="*/ 6704532 w 7524134"/>
                  <a:gd name="connsiteY1506" fmla="*/ 4507810 h 6756949"/>
                  <a:gd name="connsiteX1507" fmla="*/ 6737888 w 7524134"/>
                  <a:gd name="connsiteY1507" fmla="*/ 4541166 h 6756949"/>
                  <a:gd name="connsiteX1508" fmla="*/ 6742653 w 7524134"/>
                  <a:gd name="connsiteY1508" fmla="*/ 4550696 h 6756949"/>
                  <a:gd name="connsiteX1509" fmla="*/ 6737888 w 7524134"/>
                  <a:gd name="connsiteY1509" fmla="*/ 4569757 h 6756949"/>
                  <a:gd name="connsiteX1510" fmla="*/ 6737888 w 7524134"/>
                  <a:gd name="connsiteY1510" fmla="*/ 4584052 h 6756949"/>
                  <a:gd name="connsiteX1511" fmla="*/ 6756949 w 7524134"/>
                  <a:gd name="connsiteY1511" fmla="*/ 4631703 h 6756949"/>
                  <a:gd name="connsiteX1512" fmla="*/ 6761714 w 7524134"/>
                  <a:gd name="connsiteY1512" fmla="*/ 4636469 h 6756949"/>
                  <a:gd name="connsiteX1513" fmla="*/ 6776009 w 7524134"/>
                  <a:gd name="connsiteY1513" fmla="*/ 4645999 h 6756949"/>
                  <a:gd name="connsiteX1514" fmla="*/ 6799835 w 7524134"/>
                  <a:gd name="connsiteY1514" fmla="*/ 4660294 h 6756949"/>
                  <a:gd name="connsiteX1515" fmla="*/ 6804600 w 7524134"/>
                  <a:gd name="connsiteY1515" fmla="*/ 4674589 h 6756949"/>
                  <a:gd name="connsiteX1516" fmla="*/ 6833191 w 7524134"/>
                  <a:gd name="connsiteY1516" fmla="*/ 4693650 h 6756949"/>
                  <a:gd name="connsiteX1517" fmla="*/ 6837956 w 7524134"/>
                  <a:gd name="connsiteY1517" fmla="*/ 4703181 h 6756949"/>
                  <a:gd name="connsiteX1518" fmla="*/ 6842721 w 7524134"/>
                  <a:gd name="connsiteY1518" fmla="*/ 4717475 h 6756949"/>
                  <a:gd name="connsiteX1519" fmla="*/ 6847486 w 7524134"/>
                  <a:gd name="connsiteY1519" fmla="*/ 4731771 h 6756949"/>
                  <a:gd name="connsiteX1520" fmla="*/ 6852251 w 7524134"/>
                  <a:gd name="connsiteY1520" fmla="*/ 4736536 h 6756949"/>
                  <a:gd name="connsiteX1521" fmla="*/ 6857016 w 7524134"/>
                  <a:gd name="connsiteY1521" fmla="*/ 4750831 h 6756949"/>
                  <a:gd name="connsiteX1522" fmla="*/ 6866547 w 7524134"/>
                  <a:gd name="connsiteY1522" fmla="*/ 4765127 h 6756949"/>
                  <a:gd name="connsiteX1523" fmla="*/ 6895137 w 7524134"/>
                  <a:gd name="connsiteY1523" fmla="*/ 4779423 h 6756949"/>
                  <a:gd name="connsiteX1524" fmla="*/ 6909433 w 7524134"/>
                  <a:gd name="connsiteY1524" fmla="*/ 4793717 h 6756949"/>
                  <a:gd name="connsiteX1525" fmla="*/ 6933258 w 7524134"/>
                  <a:gd name="connsiteY1525" fmla="*/ 4808013 h 6756949"/>
                  <a:gd name="connsiteX1526" fmla="*/ 6952319 w 7524134"/>
                  <a:gd name="connsiteY1526" fmla="*/ 4841369 h 6756949"/>
                  <a:gd name="connsiteX1527" fmla="*/ 6976145 w 7524134"/>
                  <a:gd name="connsiteY1527" fmla="*/ 4869959 h 6756949"/>
                  <a:gd name="connsiteX1528" fmla="*/ 6995205 w 7524134"/>
                  <a:gd name="connsiteY1528" fmla="*/ 4898551 h 6756949"/>
                  <a:gd name="connsiteX1529" fmla="*/ 6995205 w 7524134"/>
                  <a:gd name="connsiteY1529" fmla="*/ 4917611 h 6756949"/>
                  <a:gd name="connsiteX1530" fmla="*/ 7014266 w 7524134"/>
                  <a:gd name="connsiteY1530" fmla="*/ 4950967 h 6756949"/>
                  <a:gd name="connsiteX1531" fmla="*/ 7042856 w 7524134"/>
                  <a:gd name="connsiteY1531" fmla="*/ 4993853 h 6756949"/>
                  <a:gd name="connsiteX1532" fmla="*/ 7057152 w 7524134"/>
                  <a:gd name="connsiteY1532" fmla="*/ 5031974 h 6756949"/>
                  <a:gd name="connsiteX1533" fmla="*/ 7071447 w 7524134"/>
                  <a:gd name="connsiteY1533" fmla="*/ 5055799 h 6756949"/>
                  <a:gd name="connsiteX1534" fmla="*/ 7090508 w 7524134"/>
                  <a:gd name="connsiteY1534" fmla="*/ 5084391 h 6756949"/>
                  <a:gd name="connsiteX1535" fmla="*/ 7109568 w 7524134"/>
                  <a:gd name="connsiteY1535" fmla="*/ 5122511 h 6756949"/>
                  <a:gd name="connsiteX1536" fmla="*/ 7128629 w 7524134"/>
                  <a:gd name="connsiteY1536" fmla="*/ 5165397 h 6756949"/>
                  <a:gd name="connsiteX1537" fmla="*/ 7147689 w 7524134"/>
                  <a:gd name="connsiteY1537" fmla="*/ 5193989 h 6756949"/>
                  <a:gd name="connsiteX1538" fmla="*/ 7166750 w 7524134"/>
                  <a:gd name="connsiteY1538" fmla="*/ 5232109 h 6756949"/>
                  <a:gd name="connsiteX1539" fmla="*/ 7181045 w 7524134"/>
                  <a:gd name="connsiteY1539" fmla="*/ 5251170 h 6756949"/>
                  <a:gd name="connsiteX1540" fmla="*/ 7171515 w 7524134"/>
                  <a:gd name="connsiteY1540" fmla="*/ 5270231 h 6756949"/>
                  <a:gd name="connsiteX1541" fmla="*/ 7161985 w 7524134"/>
                  <a:gd name="connsiteY1541" fmla="*/ 5284525 h 6756949"/>
                  <a:gd name="connsiteX1542" fmla="*/ 7190575 w 7524134"/>
                  <a:gd name="connsiteY1542" fmla="*/ 5294056 h 6756949"/>
                  <a:gd name="connsiteX1543" fmla="*/ 7209636 w 7524134"/>
                  <a:gd name="connsiteY1543" fmla="*/ 5303586 h 6756949"/>
                  <a:gd name="connsiteX1544" fmla="*/ 7204871 w 7524134"/>
                  <a:gd name="connsiteY1544" fmla="*/ 5322647 h 6756949"/>
                  <a:gd name="connsiteX1545" fmla="*/ 7200106 w 7524134"/>
                  <a:gd name="connsiteY1545" fmla="*/ 5351237 h 6756949"/>
                  <a:gd name="connsiteX1546" fmla="*/ 7219166 w 7524134"/>
                  <a:gd name="connsiteY1546" fmla="*/ 5360768 h 6756949"/>
                  <a:gd name="connsiteX1547" fmla="*/ 7238227 w 7524134"/>
                  <a:gd name="connsiteY1547" fmla="*/ 5370298 h 6756949"/>
                  <a:gd name="connsiteX1548" fmla="*/ 7233461 w 7524134"/>
                  <a:gd name="connsiteY1548" fmla="*/ 5384593 h 6756949"/>
                  <a:gd name="connsiteX1549" fmla="*/ 7242992 w 7524134"/>
                  <a:gd name="connsiteY1549" fmla="*/ 5398889 h 6756949"/>
                  <a:gd name="connsiteX1550" fmla="*/ 7242992 w 7524134"/>
                  <a:gd name="connsiteY1550" fmla="*/ 5427479 h 6756949"/>
                  <a:gd name="connsiteX1551" fmla="*/ 7271582 w 7524134"/>
                  <a:gd name="connsiteY1551" fmla="*/ 5422715 h 6756949"/>
                  <a:gd name="connsiteX1552" fmla="*/ 7281113 w 7524134"/>
                  <a:gd name="connsiteY1552" fmla="*/ 5422715 h 6756949"/>
                  <a:gd name="connsiteX1553" fmla="*/ 7300173 w 7524134"/>
                  <a:gd name="connsiteY1553" fmla="*/ 5437010 h 6756949"/>
                  <a:gd name="connsiteX1554" fmla="*/ 7319234 w 7524134"/>
                  <a:gd name="connsiteY1554" fmla="*/ 5451305 h 6756949"/>
                  <a:gd name="connsiteX1555" fmla="*/ 7338294 w 7524134"/>
                  <a:gd name="connsiteY1555" fmla="*/ 5465601 h 6756949"/>
                  <a:gd name="connsiteX1556" fmla="*/ 7357355 w 7524134"/>
                  <a:gd name="connsiteY1556" fmla="*/ 5479896 h 6756949"/>
                  <a:gd name="connsiteX1557" fmla="*/ 7381180 w 7524134"/>
                  <a:gd name="connsiteY1557" fmla="*/ 5484661 h 6756949"/>
                  <a:gd name="connsiteX1558" fmla="*/ 7409771 w 7524134"/>
                  <a:gd name="connsiteY1558" fmla="*/ 5498957 h 6756949"/>
                  <a:gd name="connsiteX1559" fmla="*/ 7428832 w 7524134"/>
                  <a:gd name="connsiteY1559" fmla="*/ 5518017 h 6756949"/>
                  <a:gd name="connsiteX1560" fmla="*/ 7452657 w 7524134"/>
                  <a:gd name="connsiteY1560" fmla="*/ 5527547 h 6756949"/>
                  <a:gd name="connsiteX1561" fmla="*/ 7462188 w 7524134"/>
                  <a:gd name="connsiteY1561" fmla="*/ 5556138 h 6756949"/>
                  <a:gd name="connsiteX1562" fmla="*/ 7495543 w 7524134"/>
                  <a:gd name="connsiteY1562" fmla="*/ 5570433 h 6756949"/>
                  <a:gd name="connsiteX1563" fmla="*/ 7514604 w 7524134"/>
                  <a:gd name="connsiteY1563" fmla="*/ 5560903 h 6756949"/>
                  <a:gd name="connsiteX1564" fmla="*/ 7519369 w 7524134"/>
                  <a:gd name="connsiteY1564" fmla="*/ 5575199 h 6756949"/>
                  <a:gd name="connsiteX1565" fmla="*/ 7524134 w 7524134"/>
                  <a:gd name="connsiteY1565" fmla="*/ 5589494 h 6756949"/>
                  <a:gd name="connsiteX1566" fmla="*/ 7524134 w 7524134"/>
                  <a:gd name="connsiteY1566" fmla="*/ 5608555 h 6756949"/>
                  <a:gd name="connsiteX1567" fmla="*/ 7524134 w 7524134"/>
                  <a:gd name="connsiteY1567" fmla="*/ 5622850 h 6756949"/>
                  <a:gd name="connsiteX1568" fmla="*/ 7514604 w 7524134"/>
                  <a:gd name="connsiteY1568" fmla="*/ 5637145 h 6756949"/>
                  <a:gd name="connsiteX1569" fmla="*/ 7509839 w 7524134"/>
                  <a:gd name="connsiteY1569" fmla="*/ 5656205 h 6756949"/>
                  <a:gd name="connsiteX1570" fmla="*/ 7505074 w 7524134"/>
                  <a:gd name="connsiteY1570" fmla="*/ 5670501 h 6756949"/>
                  <a:gd name="connsiteX1571" fmla="*/ 7505074 w 7524134"/>
                  <a:gd name="connsiteY1571" fmla="*/ 5689561 h 6756949"/>
                  <a:gd name="connsiteX1572" fmla="*/ 7505074 w 7524134"/>
                  <a:gd name="connsiteY1572" fmla="*/ 5708622 h 6756949"/>
                  <a:gd name="connsiteX1573" fmla="*/ 7509839 w 7524134"/>
                  <a:gd name="connsiteY1573" fmla="*/ 5722917 h 6756949"/>
                  <a:gd name="connsiteX1574" fmla="*/ 7519369 w 7524134"/>
                  <a:gd name="connsiteY1574" fmla="*/ 5756273 h 6756949"/>
                  <a:gd name="connsiteX1575" fmla="*/ 7524134 w 7524134"/>
                  <a:gd name="connsiteY1575" fmla="*/ 5775334 h 6756949"/>
                  <a:gd name="connsiteX1576" fmla="*/ 7524134 w 7524134"/>
                  <a:gd name="connsiteY1576" fmla="*/ 5784864 h 6756949"/>
                  <a:gd name="connsiteX1577" fmla="*/ 7500309 w 7524134"/>
                  <a:gd name="connsiteY1577" fmla="*/ 5832515 h 6756949"/>
                  <a:gd name="connsiteX1578" fmla="*/ 7495543 w 7524134"/>
                  <a:gd name="connsiteY1578" fmla="*/ 5851576 h 6756949"/>
                  <a:gd name="connsiteX1579" fmla="*/ 7495543 w 7524134"/>
                  <a:gd name="connsiteY1579" fmla="*/ 5861106 h 6756949"/>
                  <a:gd name="connsiteX1580" fmla="*/ 7481248 w 7524134"/>
                  <a:gd name="connsiteY1580" fmla="*/ 5884931 h 6756949"/>
                  <a:gd name="connsiteX1581" fmla="*/ 7452657 w 7524134"/>
                  <a:gd name="connsiteY1581" fmla="*/ 5913523 h 6756949"/>
                  <a:gd name="connsiteX1582" fmla="*/ 7438362 w 7524134"/>
                  <a:gd name="connsiteY1582" fmla="*/ 5932583 h 6756949"/>
                  <a:gd name="connsiteX1583" fmla="*/ 7433597 w 7524134"/>
                  <a:gd name="connsiteY1583" fmla="*/ 5927818 h 6756949"/>
                  <a:gd name="connsiteX1584" fmla="*/ 7395476 w 7524134"/>
                  <a:gd name="connsiteY1584" fmla="*/ 5918287 h 6756949"/>
                  <a:gd name="connsiteX1585" fmla="*/ 7381180 w 7524134"/>
                  <a:gd name="connsiteY1585" fmla="*/ 5880167 h 6756949"/>
                  <a:gd name="connsiteX1586" fmla="*/ 7376415 w 7524134"/>
                  <a:gd name="connsiteY1586" fmla="*/ 5851576 h 6756949"/>
                  <a:gd name="connsiteX1587" fmla="*/ 7366885 w 7524134"/>
                  <a:gd name="connsiteY1587" fmla="*/ 5822985 h 6756949"/>
                  <a:gd name="connsiteX1588" fmla="*/ 7366885 w 7524134"/>
                  <a:gd name="connsiteY1588" fmla="*/ 5818220 h 6756949"/>
                  <a:gd name="connsiteX1589" fmla="*/ 7376415 w 7524134"/>
                  <a:gd name="connsiteY1589" fmla="*/ 5803925 h 6756949"/>
                  <a:gd name="connsiteX1590" fmla="*/ 7409771 w 7524134"/>
                  <a:gd name="connsiteY1590" fmla="*/ 5784864 h 6756949"/>
                  <a:gd name="connsiteX1591" fmla="*/ 7409771 w 7524134"/>
                  <a:gd name="connsiteY1591" fmla="*/ 5780099 h 6756949"/>
                  <a:gd name="connsiteX1592" fmla="*/ 7400241 w 7524134"/>
                  <a:gd name="connsiteY1592" fmla="*/ 5775334 h 6756949"/>
                  <a:gd name="connsiteX1593" fmla="*/ 7395476 w 7524134"/>
                  <a:gd name="connsiteY1593" fmla="*/ 5770569 h 6756949"/>
                  <a:gd name="connsiteX1594" fmla="*/ 7390711 w 7524134"/>
                  <a:gd name="connsiteY1594" fmla="*/ 5741978 h 6756949"/>
                  <a:gd name="connsiteX1595" fmla="*/ 7390711 w 7524134"/>
                  <a:gd name="connsiteY1595" fmla="*/ 5718153 h 6756949"/>
                  <a:gd name="connsiteX1596" fmla="*/ 7390711 w 7524134"/>
                  <a:gd name="connsiteY1596" fmla="*/ 5699092 h 6756949"/>
                  <a:gd name="connsiteX1597" fmla="*/ 7385946 w 7524134"/>
                  <a:gd name="connsiteY1597" fmla="*/ 5665736 h 6756949"/>
                  <a:gd name="connsiteX1598" fmla="*/ 7376415 w 7524134"/>
                  <a:gd name="connsiteY1598" fmla="*/ 5646675 h 6756949"/>
                  <a:gd name="connsiteX1599" fmla="*/ 7352590 w 7524134"/>
                  <a:gd name="connsiteY1599" fmla="*/ 5603789 h 6756949"/>
                  <a:gd name="connsiteX1600" fmla="*/ 7347825 w 7524134"/>
                  <a:gd name="connsiteY1600" fmla="*/ 5594259 h 6756949"/>
                  <a:gd name="connsiteX1601" fmla="*/ 7362120 w 7524134"/>
                  <a:gd name="connsiteY1601" fmla="*/ 5579963 h 6756949"/>
                  <a:gd name="connsiteX1602" fmla="*/ 7366885 w 7524134"/>
                  <a:gd name="connsiteY1602" fmla="*/ 5565668 h 6756949"/>
                  <a:gd name="connsiteX1603" fmla="*/ 7328764 w 7524134"/>
                  <a:gd name="connsiteY1603" fmla="*/ 5589494 h 6756949"/>
                  <a:gd name="connsiteX1604" fmla="*/ 7271582 w 7524134"/>
                  <a:gd name="connsiteY1604" fmla="*/ 5613319 h 6756949"/>
                  <a:gd name="connsiteX1605" fmla="*/ 7247757 w 7524134"/>
                  <a:gd name="connsiteY1605" fmla="*/ 5627615 h 6756949"/>
                  <a:gd name="connsiteX1606" fmla="*/ 7242992 w 7524134"/>
                  <a:gd name="connsiteY1606" fmla="*/ 5632380 h 6756949"/>
                  <a:gd name="connsiteX1607" fmla="*/ 7242992 w 7524134"/>
                  <a:gd name="connsiteY1607" fmla="*/ 5637145 h 6756949"/>
                  <a:gd name="connsiteX1608" fmla="*/ 7247757 w 7524134"/>
                  <a:gd name="connsiteY1608" fmla="*/ 5651441 h 6756949"/>
                  <a:gd name="connsiteX1609" fmla="*/ 7247757 w 7524134"/>
                  <a:gd name="connsiteY1609" fmla="*/ 5656205 h 6756949"/>
                  <a:gd name="connsiteX1610" fmla="*/ 7242992 w 7524134"/>
                  <a:gd name="connsiteY1610" fmla="*/ 5665736 h 6756949"/>
                  <a:gd name="connsiteX1611" fmla="*/ 7238227 w 7524134"/>
                  <a:gd name="connsiteY1611" fmla="*/ 5689561 h 6756949"/>
                  <a:gd name="connsiteX1612" fmla="*/ 7223931 w 7524134"/>
                  <a:gd name="connsiteY1612" fmla="*/ 5718153 h 6756949"/>
                  <a:gd name="connsiteX1613" fmla="*/ 7219166 w 7524134"/>
                  <a:gd name="connsiteY1613" fmla="*/ 5722917 h 6756949"/>
                  <a:gd name="connsiteX1614" fmla="*/ 7195340 w 7524134"/>
                  <a:gd name="connsiteY1614" fmla="*/ 5713387 h 6756949"/>
                  <a:gd name="connsiteX1615" fmla="*/ 7190575 w 7524134"/>
                  <a:gd name="connsiteY1615" fmla="*/ 5703857 h 6756949"/>
                  <a:gd name="connsiteX1616" fmla="*/ 7181045 w 7524134"/>
                  <a:gd name="connsiteY1616" fmla="*/ 5670501 h 6756949"/>
                  <a:gd name="connsiteX1617" fmla="*/ 7181045 w 7524134"/>
                  <a:gd name="connsiteY1617" fmla="*/ 5660971 h 6756949"/>
                  <a:gd name="connsiteX1618" fmla="*/ 7190575 w 7524134"/>
                  <a:gd name="connsiteY1618" fmla="*/ 5656205 h 6756949"/>
                  <a:gd name="connsiteX1619" fmla="*/ 7200106 w 7524134"/>
                  <a:gd name="connsiteY1619" fmla="*/ 5637145 h 6756949"/>
                  <a:gd name="connsiteX1620" fmla="*/ 7214401 w 7524134"/>
                  <a:gd name="connsiteY1620" fmla="*/ 5613319 h 6756949"/>
                  <a:gd name="connsiteX1621" fmla="*/ 7238227 w 7524134"/>
                  <a:gd name="connsiteY1621" fmla="*/ 5546607 h 6756949"/>
                  <a:gd name="connsiteX1622" fmla="*/ 7257287 w 7524134"/>
                  <a:gd name="connsiteY1622" fmla="*/ 5546607 h 6756949"/>
                  <a:gd name="connsiteX1623" fmla="*/ 7285878 w 7524134"/>
                  <a:gd name="connsiteY1623" fmla="*/ 5537077 h 6756949"/>
                  <a:gd name="connsiteX1624" fmla="*/ 7238227 w 7524134"/>
                  <a:gd name="connsiteY1624" fmla="*/ 5527547 h 6756949"/>
                  <a:gd name="connsiteX1625" fmla="*/ 7233461 w 7524134"/>
                  <a:gd name="connsiteY1625" fmla="*/ 5522782 h 6756949"/>
                  <a:gd name="connsiteX1626" fmla="*/ 7228696 w 7524134"/>
                  <a:gd name="connsiteY1626" fmla="*/ 5518017 h 6756949"/>
                  <a:gd name="connsiteX1627" fmla="*/ 7219166 w 7524134"/>
                  <a:gd name="connsiteY1627" fmla="*/ 5503721 h 6756949"/>
                  <a:gd name="connsiteX1628" fmla="*/ 7214401 w 7524134"/>
                  <a:gd name="connsiteY1628" fmla="*/ 5484661 h 6756949"/>
                  <a:gd name="connsiteX1629" fmla="*/ 7195340 w 7524134"/>
                  <a:gd name="connsiteY1629" fmla="*/ 5479896 h 6756949"/>
                  <a:gd name="connsiteX1630" fmla="*/ 7185810 w 7524134"/>
                  <a:gd name="connsiteY1630" fmla="*/ 5475131 h 6756949"/>
                  <a:gd name="connsiteX1631" fmla="*/ 7176280 w 7524134"/>
                  <a:gd name="connsiteY1631" fmla="*/ 5456071 h 6756949"/>
                  <a:gd name="connsiteX1632" fmla="*/ 7166750 w 7524134"/>
                  <a:gd name="connsiteY1632" fmla="*/ 5446540 h 6756949"/>
                  <a:gd name="connsiteX1633" fmla="*/ 7161985 w 7524134"/>
                  <a:gd name="connsiteY1633" fmla="*/ 5437010 h 6756949"/>
                  <a:gd name="connsiteX1634" fmla="*/ 7161985 w 7524134"/>
                  <a:gd name="connsiteY1634" fmla="*/ 5422715 h 6756949"/>
                  <a:gd name="connsiteX1635" fmla="*/ 7161985 w 7524134"/>
                  <a:gd name="connsiteY1635" fmla="*/ 5417949 h 6756949"/>
                  <a:gd name="connsiteX1636" fmla="*/ 7147689 w 7524134"/>
                  <a:gd name="connsiteY1636" fmla="*/ 5413184 h 6756949"/>
                  <a:gd name="connsiteX1637" fmla="*/ 7142924 w 7524134"/>
                  <a:gd name="connsiteY1637" fmla="*/ 5408419 h 6756949"/>
                  <a:gd name="connsiteX1638" fmla="*/ 7138159 w 7524134"/>
                  <a:gd name="connsiteY1638" fmla="*/ 5375063 h 6756949"/>
                  <a:gd name="connsiteX1639" fmla="*/ 7114333 w 7524134"/>
                  <a:gd name="connsiteY1639" fmla="*/ 5365533 h 6756949"/>
                  <a:gd name="connsiteX1640" fmla="*/ 7104803 w 7524134"/>
                  <a:gd name="connsiteY1640" fmla="*/ 5360768 h 6756949"/>
                  <a:gd name="connsiteX1641" fmla="*/ 7090508 w 7524134"/>
                  <a:gd name="connsiteY1641" fmla="*/ 5341707 h 6756949"/>
                  <a:gd name="connsiteX1642" fmla="*/ 7085743 w 7524134"/>
                  <a:gd name="connsiteY1642" fmla="*/ 5327412 h 6756949"/>
                  <a:gd name="connsiteX1643" fmla="*/ 7085743 w 7524134"/>
                  <a:gd name="connsiteY1643" fmla="*/ 5322647 h 6756949"/>
                  <a:gd name="connsiteX1644" fmla="*/ 7090508 w 7524134"/>
                  <a:gd name="connsiteY1644" fmla="*/ 5298821 h 6756949"/>
                  <a:gd name="connsiteX1645" fmla="*/ 7085743 w 7524134"/>
                  <a:gd name="connsiteY1645" fmla="*/ 5294056 h 6756949"/>
                  <a:gd name="connsiteX1646" fmla="*/ 7071447 w 7524134"/>
                  <a:gd name="connsiteY1646" fmla="*/ 5294056 h 6756949"/>
                  <a:gd name="connsiteX1647" fmla="*/ 6985675 w 7524134"/>
                  <a:gd name="connsiteY1647" fmla="*/ 5260700 h 6756949"/>
                  <a:gd name="connsiteX1648" fmla="*/ 6990440 w 7524134"/>
                  <a:gd name="connsiteY1648" fmla="*/ 5213049 h 6756949"/>
                  <a:gd name="connsiteX1649" fmla="*/ 6976145 w 7524134"/>
                  <a:gd name="connsiteY1649" fmla="*/ 5151102 h 6756949"/>
                  <a:gd name="connsiteX1650" fmla="*/ 6957084 w 7524134"/>
                  <a:gd name="connsiteY1650" fmla="*/ 5122511 h 6756949"/>
                  <a:gd name="connsiteX1651" fmla="*/ 6961849 w 7524134"/>
                  <a:gd name="connsiteY1651" fmla="*/ 5112981 h 6756949"/>
                  <a:gd name="connsiteX1652" fmla="*/ 6966614 w 7524134"/>
                  <a:gd name="connsiteY1652" fmla="*/ 5108216 h 6756949"/>
                  <a:gd name="connsiteX1653" fmla="*/ 6971379 w 7524134"/>
                  <a:gd name="connsiteY1653" fmla="*/ 5108216 h 6756949"/>
                  <a:gd name="connsiteX1654" fmla="*/ 7004735 w 7524134"/>
                  <a:gd name="connsiteY1654" fmla="*/ 5127277 h 6756949"/>
                  <a:gd name="connsiteX1655" fmla="*/ 7038091 w 7524134"/>
                  <a:gd name="connsiteY1655" fmla="*/ 5151102 h 6756949"/>
                  <a:gd name="connsiteX1656" fmla="*/ 7042856 w 7524134"/>
                  <a:gd name="connsiteY1656" fmla="*/ 5146337 h 6756949"/>
                  <a:gd name="connsiteX1657" fmla="*/ 6990440 w 7524134"/>
                  <a:gd name="connsiteY1657" fmla="*/ 5098686 h 6756949"/>
                  <a:gd name="connsiteX1658" fmla="*/ 6980910 w 7524134"/>
                  <a:gd name="connsiteY1658" fmla="*/ 5084391 h 6756949"/>
                  <a:gd name="connsiteX1659" fmla="*/ 6976145 w 7524134"/>
                  <a:gd name="connsiteY1659" fmla="*/ 5070095 h 6756949"/>
                  <a:gd name="connsiteX1660" fmla="*/ 6976145 w 7524134"/>
                  <a:gd name="connsiteY1660" fmla="*/ 5060565 h 6756949"/>
                  <a:gd name="connsiteX1661" fmla="*/ 6980910 w 7524134"/>
                  <a:gd name="connsiteY1661" fmla="*/ 5055799 h 6756949"/>
                  <a:gd name="connsiteX1662" fmla="*/ 7023796 w 7524134"/>
                  <a:gd name="connsiteY1662" fmla="*/ 5060565 h 6756949"/>
                  <a:gd name="connsiteX1663" fmla="*/ 7028561 w 7524134"/>
                  <a:gd name="connsiteY1663" fmla="*/ 5055799 h 6756949"/>
                  <a:gd name="connsiteX1664" fmla="*/ 6980910 w 7524134"/>
                  <a:gd name="connsiteY1664" fmla="*/ 5041505 h 6756949"/>
                  <a:gd name="connsiteX1665" fmla="*/ 6971379 w 7524134"/>
                  <a:gd name="connsiteY1665" fmla="*/ 5041505 h 6756949"/>
                  <a:gd name="connsiteX1666" fmla="*/ 6961849 w 7524134"/>
                  <a:gd name="connsiteY1666" fmla="*/ 5060565 h 6756949"/>
                  <a:gd name="connsiteX1667" fmla="*/ 6957084 w 7524134"/>
                  <a:gd name="connsiteY1667" fmla="*/ 5065330 h 6756949"/>
                  <a:gd name="connsiteX1668" fmla="*/ 6947554 w 7524134"/>
                  <a:gd name="connsiteY1668" fmla="*/ 5065330 h 6756949"/>
                  <a:gd name="connsiteX1669" fmla="*/ 6942789 w 7524134"/>
                  <a:gd name="connsiteY1669" fmla="*/ 5060565 h 6756949"/>
                  <a:gd name="connsiteX1670" fmla="*/ 6933258 w 7524134"/>
                  <a:gd name="connsiteY1670" fmla="*/ 5036739 h 6756949"/>
                  <a:gd name="connsiteX1671" fmla="*/ 6918963 w 7524134"/>
                  <a:gd name="connsiteY1671" fmla="*/ 5022444 h 6756949"/>
                  <a:gd name="connsiteX1672" fmla="*/ 6899903 w 7524134"/>
                  <a:gd name="connsiteY1672" fmla="*/ 4998618 h 6756949"/>
                  <a:gd name="connsiteX1673" fmla="*/ 6895137 w 7524134"/>
                  <a:gd name="connsiteY1673" fmla="*/ 4979557 h 6756949"/>
                  <a:gd name="connsiteX1674" fmla="*/ 6895137 w 7524134"/>
                  <a:gd name="connsiteY1674" fmla="*/ 4955732 h 6756949"/>
                  <a:gd name="connsiteX1675" fmla="*/ 6895137 w 7524134"/>
                  <a:gd name="connsiteY1675" fmla="*/ 4931907 h 6756949"/>
                  <a:gd name="connsiteX1676" fmla="*/ 6914198 w 7524134"/>
                  <a:gd name="connsiteY1676" fmla="*/ 4879490 h 6756949"/>
                  <a:gd name="connsiteX1677" fmla="*/ 6918963 w 7524134"/>
                  <a:gd name="connsiteY1677" fmla="*/ 4869959 h 6756949"/>
                  <a:gd name="connsiteX1678" fmla="*/ 6923728 w 7524134"/>
                  <a:gd name="connsiteY1678" fmla="*/ 4865195 h 6756949"/>
                  <a:gd name="connsiteX1679" fmla="*/ 6918963 w 7524134"/>
                  <a:gd name="connsiteY1679" fmla="*/ 4865195 h 6756949"/>
                  <a:gd name="connsiteX1680" fmla="*/ 6914198 w 7524134"/>
                  <a:gd name="connsiteY1680" fmla="*/ 4869959 h 6756949"/>
                  <a:gd name="connsiteX1681" fmla="*/ 6899903 w 7524134"/>
                  <a:gd name="connsiteY1681" fmla="*/ 4893785 h 6756949"/>
                  <a:gd name="connsiteX1682" fmla="*/ 6880842 w 7524134"/>
                  <a:gd name="connsiteY1682" fmla="*/ 4936671 h 6756949"/>
                  <a:gd name="connsiteX1683" fmla="*/ 6871312 w 7524134"/>
                  <a:gd name="connsiteY1683" fmla="*/ 4950967 h 6756949"/>
                  <a:gd name="connsiteX1684" fmla="*/ 6861782 w 7524134"/>
                  <a:gd name="connsiteY1684" fmla="*/ 4946201 h 6756949"/>
                  <a:gd name="connsiteX1685" fmla="*/ 6852251 w 7524134"/>
                  <a:gd name="connsiteY1685" fmla="*/ 4931907 h 6756949"/>
                  <a:gd name="connsiteX1686" fmla="*/ 6828426 w 7524134"/>
                  <a:gd name="connsiteY1686" fmla="*/ 4908081 h 6756949"/>
                  <a:gd name="connsiteX1687" fmla="*/ 6799835 w 7524134"/>
                  <a:gd name="connsiteY1687" fmla="*/ 4903315 h 6756949"/>
                  <a:gd name="connsiteX1688" fmla="*/ 6780774 w 7524134"/>
                  <a:gd name="connsiteY1688" fmla="*/ 4884255 h 6756949"/>
                  <a:gd name="connsiteX1689" fmla="*/ 6756949 w 7524134"/>
                  <a:gd name="connsiteY1689" fmla="*/ 4827073 h 6756949"/>
                  <a:gd name="connsiteX1690" fmla="*/ 6752184 w 7524134"/>
                  <a:gd name="connsiteY1690" fmla="*/ 4798483 h 6756949"/>
                  <a:gd name="connsiteX1691" fmla="*/ 6747418 w 7524134"/>
                  <a:gd name="connsiteY1691" fmla="*/ 4788953 h 6756949"/>
                  <a:gd name="connsiteX1692" fmla="*/ 6733123 w 7524134"/>
                  <a:gd name="connsiteY1692" fmla="*/ 4779423 h 6756949"/>
                  <a:gd name="connsiteX1693" fmla="*/ 6728358 w 7524134"/>
                  <a:gd name="connsiteY1693" fmla="*/ 4765127 h 6756949"/>
                  <a:gd name="connsiteX1694" fmla="*/ 6714063 w 7524134"/>
                  <a:gd name="connsiteY1694" fmla="*/ 4698415 h 6756949"/>
                  <a:gd name="connsiteX1695" fmla="*/ 6695002 w 7524134"/>
                  <a:gd name="connsiteY1695" fmla="*/ 4645999 h 6756949"/>
                  <a:gd name="connsiteX1696" fmla="*/ 6690237 w 7524134"/>
                  <a:gd name="connsiteY1696" fmla="*/ 4622173 h 6756949"/>
                  <a:gd name="connsiteX1697" fmla="*/ 6690237 w 7524134"/>
                  <a:gd name="connsiteY1697" fmla="*/ 4593583 h 6756949"/>
                  <a:gd name="connsiteX1698" fmla="*/ 6685472 w 7524134"/>
                  <a:gd name="connsiteY1698" fmla="*/ 4612643 h 6756949"/>
                  <a:gd name="connsiteX1699" fmla="*/ 6680707 w 7524134"/>
                  <a:gd name="connsiteY1699" fmla="*/ 4622173 h 6756949"/>
                  <a:gd name="connsiteX1700" fmla="*/ 6671176 w 7524134"/>
                  <a:gd name="connsiteY1700" fmla="*/ 4626938 h 6756949"/>
                  <a:gd name="connsiteX1701" fmla="*/ 6680707 w 7524134"/>
                  <a:gd name="connsiteY1701" fmla="*/ 4645999 h 6756949"/>
                  <a:gd name="connsiteX1702" fmla="*/ 6685472 w 7524134"/>
                  <a:gd name="connsiteY1702" fmla="*/ 4655529 h 6756949"/>
                  <a:gd name="connsiteX1703" fmla="*/ 6680707 w 7524134"/>
                  <a:gd name="connsiteY1703" fmla="*/ 4655529 h 6756949"/>
                  <a:gd name="connsiteX1704" fmla="*/ 6666411 w 7524134"/>
                  <a:gd name="connsiteY1704" fmla="*/ 4660294 h 6756949"/>
                  <a:gd name="connsiteX1705" fmla="*/ 6685472 w 7524134"/>
                  <a:gd name="connsiteY1705" fmla="*/ 4693650 h 6756949"/>
                  <a:gd name="connsiteX1706" fmla="*/ 6695002 w 7524134"/>
                  <a:gd name="connsiteY1706" fmla="*/ 4746067 h 6756949"/>
                  <a:gd name="connsiteX1707" fmla="*/ 6704532 w 7524134"/>
                  <a:gd name="connsiteY1707" fmla="*/ 4788953 h 6756949"/>
                  <a:gd name="connsiteX1708" fmla="*/ 6714063 w 7524134"/>
                  <a:gd name="connsiteY1708" fmla="*/ 4817543 h 6756949"/>
                  <a:gd name="connsiteX1709" fmla="*/ 6718828 w 7524134"/>
                  <a:gd name="connsiteY1709" fmla="*/ 4841369 h 6756949"/>
                  <a:gd name="connsiteX1710" fmla="*/ 6723593 w 7524134"/>
                  <a:gd name="connsiteY1710" fmla="*/ 4865195 h 6756949"/>
                  <a:gd name="connsiteX1711" fmla="*/ 6737888 w 7524134"/>
                  <a:gd name="connsiteY1711" fmla="*/ 4917611 h 6756949"/>
                  <a:gd name="connsiteX1712" fmla="*/ 6737888 w 7524134"/>
                  <a:gd name="connsiteY1712" fmla="*/ 4927141 h 6756949"/>
                  <a:gd name="connsiteX1713" fmla="*/ 6737888 w 7524134"/>
                  <a:gd name="connsiteY1713" fmla="*/ 4936671 h 6756949"/>
                  <a:gd name="connsiteX1714" fmla="*/ 6733123 w 7524134"/>
                  <a:gd name="connsiteY1714" fmla="*/ 4946201 h 6756949"/>
                  <a:gd name="connsiteX1715" fmla="*/ 6723593 w 7524134"/>
                  <a:gd name="connsiteY1715" fmla="*/ 4950967 h 6756949"/>
                  <a:gd name="connsiteX1716" fmla="*/ 6699767 w 7524134"/>
                  <a:gd name="connsiteY1716" fmla="*/ 4941437 h 6756949"/>
                  <a:gd name="connsiteX1717" fmla="*/ 6690237 w 7524134"/>
                  <a:gd name="connsiteY1717" fmla="*/ 4931907 h 6756949"/>
                  <a:gd name="connsiteX1718" fmla="*/ 6675942 w 7524134"/>
                  <a:gd name="connsiteY1718" fmla="*/ 4908081 h 6756949"/>
                  <a:gd name="connsiteX1719" fmla="*/ 6656881 w 7524134"/>
                  <a:gd name="connsiteY1719" fmla="*/ 4898551 h 6756949"/>
                  <a:gd name="connsiteX1720" fmla="*/ 6609230 w 7524134"/>
                  <a:gd name="connsiteY1720" fmla="*/ 4903315 h 6756949"/>
                  <a:gd name="connsiteX1721" fmla="*/ 6609230 w 7524134"/>
                  <a:gd name="connsiteY1721" fmla="*/ 4898551 h 6756949"/>
                  <a:gd name="connsiteX1722" fmla="*/ 6609230 w 7524134"/>
                  <a:gd name="connsiteY1722" fmla="*/ 4879490 h 6756949"/>
                  <a:gd name="connsiteX1723" fmla="*/ 6613995 w 7524134"/>
                  <a:gd name="connsiteY1723" fmla="*/ 4846134 h 6756949"/>
                  <a:gd name="connsiteX1724" fmla="*/ 6609230 w 7524134"/>
                  <a:gd name="connsiteY1724" fmla="*/ 4831839 h 6756949"/>
                  <a:gd name="connsiteX1725" fmla="*/ 6585404 w 7524134"/>
                  <a:gd name="connsiteY1725" fmla="*/ 4784187 h 6756949"/>
                  <a:gd name="connsiteX1726" fmla="*/ 6585404 w 7524134"/>
                  <a:gd name="connsiteY1726" fmla="*/ 4774657 h 6756949"/>
                  <a:gd name="connsiteX1727" fmla="*/ 6618760 w 7524134"/>
                  <a:gd name="connsiteY1727" fmla="*/ 4750831 h 6756949"/>
                  <a:gd name="connsiteX1728" fmla="*/ 6599700 w 7524134"/>
                  <a:gd name="connsiteY1728" fmla="*/ 4750831 h 6756949"/>
                  <a:gd name="connsiteX1729" fmla="*/ 6590169 w 7524134"/>
                  <a:gd name="connsiteY1729" fmla="*/ 4760362 h 6756949"/>
                  <a:gd name="connsiteX1730" fmla="*/ 6585404 w 7524134"/>
                  <a:gd name="connsiteY1730" fmla="*/ 4750831 h 6756949"/>
                  <a:gd name="connsiteX1731" fmla="*/ 6575874 w 7524134"/>
                  <a:gd name="connsiteY1731" fmla="*/ 4722241 h 6756949"/>
                  <a:gd name="connsiteX1732" fmla="*/ 6571109 w 7524134"/>
                  <a:gd name="connsiteY1732" fmla="*/ 4707945 h 6756949"/>
                  <a:gd name="connsiteX1733" fmla="*/ 6566344 w 7524134"/>
                  <a:gd name="connsiteY1733" fmla="*/ 4703181 h 6756949"/>
                  <a:gd name="connsiteX1734" fmla="*/ 6566344 w 7524134"/>
                  <a:gd name="connsiteY1734" fmla="*/ 4736536 h 6756949"/>
                  <a:gd name="connsiteX1735" fmla="*/ 6571109 w 7524134"/>
                  <a:gd name="connsiteY1735" fmla="*/ 4750831 h 6756949"/>
                  <a:gd name="connsiteX1736" fmla="*/ 6571109 w 7524134"/>
                  <a:gd name="connsiteY1736" fmla="*/ 4760362 h 6756949"/>
                  <a:gd name="connsiteX1737" fmla="*/ 6571109 w 7524134"/>
                  <a:gd name="connsiteY1737" fmla="*/ 4774657 h 6756949"/>
                  <a:gd name="connsiteX1738" fmla="*/ 6566344 w 7524134"/>
                  <a:gd name="connsiteY1738" fmla="*/ 4784187 h 6756949"/>
                  <a:gd name="connsiteX1739" fmla="*/ 6561579 w 7524134"/>
                  <a:gd name="connsiteY1739" fmla="*/ 4788953 h 6756949"/>
                  <a:gd name="connsiteX1740" fmla="*/ 6556813 w 7524134"/>
                  <a:gd name="connsiteY1740" fmla="*/ 4788953 h 6756949"/>
                  <a:gd name="connsiteX1741" fmla="*/ 6542518 w 7524134"/>
                  <a:gd name="connsiteY1741" fmla="*/ 4784187 h 6756949"/>
                  <a:gd name="connsiteX1742" fmla="*/ 6532988 w 7524134"/>
                  <a:gd name="connsiteY1742" fmla="*/ 4774657 h 6756949"/>
                  <a:gd name="connsiteX1743" fmla="*/ 6518692 w 7524134"/>
                  <a:gd name="connsiteY1743" fmla="*/ 4765127 h 6756949"/>
                  <a:gd name="connsiteX1744" fmla="*/ 6513927 w 7524134"/>
                  <a:gd name="connsiteY1744" fmla="*/ 4760362 h 6756949"/>
                  <a:gd name="connsiteX1745" fmla="*/ 6509162 w 7524134"/>
                  <a:gd name="connsiteY1745" fmla="*/ 4746067 h 6756949"/>
                  <a:gd name="connsiteX1746" fmla="*/ 6504397 w 7524134"/>
                  <a:gd name="connsiteY1746" fmla="*/ 4736536 h 6756949"/>
                  <a:gd name="connsiteX1747" fmla="*/ 6461511 w 7524134"/>
                  <a:gd name="connsiteY1747" fmla="*/ 4727006 h 6756949"/>
                  <a:gd name="connsiteX1748" fmla="*/ 6437685 w 7524134"/>
                  <a:gd name="connsiteY1748" fmla="*/ 4707945 h 6756949"/>
                  <a:gd name="connsiteX1749" fmla="*/ 6432920 w 7524134"/>
                  <a:gd name="connsiteY1749" fmla="*/ 4712711 h 6756949"/>
                  <a:gd name="connsiteX1750" fmla="*/ 6442450 w 7524134"/>
                  <a:gd name="connsiteY1750" fmla="*/ 4731771 h 6756949"/>
                  <a:gd name="connsiteX1751" fmla="*/ 6442450 w 7524134"/>
                  <a:gd name="connsiteY1751" fmla="*/ 4741301 h 6756949"/>
                  <a:gd name="connsiteX1752" fmla="*/ 6437685 w 7524134"/>
                  <a:gd name="connsiteY1752" fmla="*/ 4741301 h 6756949"/>
                  <a:gd name="connsiteX1753" fmla="*/ 6423390 w 7524134"/>
                  <a:gd name="connsiteY1753" fmla="*/ 4760362 h 6756949"/>
                  <a:gd name="connsiteX1754" fmla="*/ 6428155 w 7524134"/>
                  <a:gd name="connsiteY1754" fmla="*/ 4760362 h 6756949"/>
                  <a:gd name="connsiteX1755" fmla="*/ 6442450 w 7524134"/>
                  <a:gd name="connsiteY1755" fmla="*/ 4755597 h 6756949"/>
                  <a:gd name="connsiteX1756" fmla="*/ 6451981 w 7524134"/>
                  <a:gd name="connsiteY1756" fmla="*/ 4755597 h 6756949"/>
                  <a:gd name="connsiteX1757" fmla="*/ 6475806 w 7524134"/>
                  <a:gd name="connsiteY1757" fmla="*/ 4765127 h 6756949"/>
                  <a:gd name="connsiteX1758" fmla="*/ 6494867 w 7524134"/>
                  <a:gd name="connsiteY1758" fmla="*/ 4779423 h 6756949"/>
                  <a:gd name="connsiteX1759" fmla="*/ 6504397 w 7524134"/>
                  <a:gd name="connsiteY1759" fmla="*/ 4784187 h 6756949"/>
                  <a:gd name="connsiteX1760" fmla="*/ 6504397 w 7524134"/>
                  <a:gd name="connsiteY1760" fmla="*/ 4793717 h 6756949"/>
                  <a:gd name="connsiteX1761" fmla="*/ 6509162 w 7524134"/>
                  <a:gd name="connsiteY1761" fmla="*/ 4798483 h 6756949"/>
                  <a:gd name="connsiteX1762" fmla="*/ 6528223 w 7524134"/>
                  <a:gd name="connsiteY1762" fmla="*/ 4812778 h 6756949"/>
                  <a:gd name="connsiteX1763" fmla="*/ 6528223 w 7524134"/>
                  <a:gd name="connsiteY1763" fmla="*/ 4817543 h 6756949"/>
                  <a:gd name="connsiteX1764" fmla="*/ 6513927 w 7524134"/>
                  <a:gd name="connsiteY1764" fmla="*/ 4836604 h 6756949"/>
                  <a:gd name="connsiteX1765" fmla="*/ 6542518 w 7524134"/>
                  <a:gd name="connsiteY1765" fmla="*/ 4831839 h 6756949"/>
                  <a:gd name="connsiteX1766" fmla="*/ 6556813 w 7524134"/>
                  <a:gd name="connsiteY1766" fmla="*/ 4841369 h 6756949"/>
                  <a:gd name="connsiteX1767" fmla="*/ 6575874 w 7524134"/>
                  <a:gd name="connsiteY1767" fmla="*/ 4869959 h 6756949"/>
                  <a:gd name="connsiteX1768" fmla="*/ 6580639 w 7524134"/>
                  <a:gd name="connsiteY1768" fmla="*/ 4884255 h 6756949"/>
                  <a:gd name="connsiteX1769" fmla="*/ 6580639 w 7524134"/>
                  <a:gd name="connsiteY1769" fmla="*/ 4903315 h 6756949"/>
                  <a:gd name="connsiteX1770" fmla="*/ 6580639 w 7524134"/>
                  <a:gd name="connsiteY1770" fmla="*/ 4912846 h 6756949"/>
                  <a:gd name="connsiteX1771" fmla="*/ 6571109 w 7524134"/>
                  <a:gd name="connsiteY1771" fmla="*/ 4912846 h 6756949"/>
                  <a:gd name="connsiteX1772" fmla="*/ 6518692 w 7524134"/>
                  <a:gd name="connsiteY1772" fmla="*/ 4922376 h 6756949"/>
                  <a:gd name="connsiteX1773" fmla="*/ 6499632 w 7524134"/>
                  <a:gd name="connsiteY1773" fmla="*/ 4946201 h 6756949"/>
                  <a:gd name="connsiteX1774" fmla="*/ 6494867 w 7524134"/>
                  <a:gd name="connsiteY1774" fmla="*/ 4946201 h 6756949"/>
                  <a:gd name="connsiteX1775" fmla="*/ 6480571 w 7524134"/>
                  <a:gd name="connsiteY1775" fmla="*/ 4941437 h 6756949"/>
                  <a:gd name="connsiteX1776" fmla="*/ 6456746 w 7524134"/>
                  <a:gd name="connsiteY1776" fmla="*/ 4922376 h 6756949"/>
                  <a:gd name="connsiteX1777" fmla="*/ 6423390 w 7524134"/>
                  <a:gd name="connsiteY1777" fmla="*/ 4903315 h 6756949"/>
                  <a:gd name="connsiteX1778" fmla="*/ 6351913 w 7524134"/>
                  <a:gd name="connsiteY1778" fmla="*/ 4846134 h 6756949"/>
                  <a:gd name="connsiteX1779" fmla="*/ 6347148 w 7524134"/>
                  <a:gd name="connsiteY1779" fmla="*/ 4841369 h 6756949"/>
                  <a:gd name="connsiteX1780" fmla="*/ 6347148 w 7524134"/>
                  <a:gd name="connsiteY1780" fmla="*/ 4831839 h 6756949"/>
                  <a:gd name="connsiteX1781" fmla="*/ 6342383 w 7524134"/>
                  <a:gd name="connsiteY1781" fmla="*/ 4827073 h 6756949"/>
                  <a:gd name="connsiteX1782" fmla="*/ 6332852 w 7524134"/>
                  <a:gd name="connsiteY1782" fmla="*/ 4822309 h 6756949"/>
                  <a:gd name="connsiteX1783" fmla="*/ 6318557 w 7524134"/>
                  <a:gd name="connsiteY1783" fmla="*/ 4808013 h 6756949"/>
                  <a:gd name="connsiteX1784" fmla="*/ 6299497 w 7524134"/>
                  <a:gd name="connsiteY1784" fmla="*/ 4784187 h 6756949"/>
                  <a:gd name="connsiteX1785" fmla="*/ 6289966 w 7524134"/>
                  <a:gd name="connsiteY1785" fmla="*/ 4765127 h 6756949"/>
                  <a:gd name="connsiteX1786" fmla="*/ 6285201 w 7524134"/>
                  <a:gd name="connsiteY1786" fmla="*/ 4750831 h 6756949"/>
                  <a:gd name="connsiteX1787" fmla="*/ 6275671 w 7524134"/>
                  <a:gd name="connsiteY1787" fmla="*/ 4736536 h 6756949"/>
                  <a:gd name="connsiteX1788" fmla="*/ 6242315 w 7524134"/>
                  <a:gd name="connsiteY1788" fmla="*/ 4703181 h 6756949"/>
                  <a:gd name="connsiteX1789" fmla="*/ 6223254 w 7524134"/>
                  <a:gd name="connsiteY1789" fmla="*/ 4693650 h 6756949"/>
                  <a:gd name="connsiteX1790" fmla="*/ 6208959 w 7524134"/>
                  <a:gd name="connsiteY1790" fmla="*/ 4684120 h 6756949"/>
                  <a:gd name="connsiteX1791" fmla="*/ 6194664 w 7524134"/>
                  <a:gd name="connsiteY1791" fmla="*/ 4684120 h 6756949"/>
                  <a:gd name="connsiteX1792" fmla="*/ 6189899 w 7524134"/>
                  <a:gd name="connsiteY1792" fmla="*/ 4679355 h 6756949"/>
                  <a:gd name="connsiteX1793" fmla="*/ 6199429 w 7524134"/>
                  <a:gd name="connsiteY1793" fmla="*/ 4674589 h 6756949"/>
                  <a:gd name="connsiteX1794" fmla="*/ 6199429 w 7524134"/>
                  <a:gd name="connsiteY1794" fmla="*/ 4669825 h 6756949"/>
                  <a:gd name="connsiteX1795" fmla="*/ 6170838 w 7524134"/>
                  <a:gd name="connsiteY1795" fmla="*/ 4665059 h 6756949"/>
                  <a:gd name="connsiteX1796" fmla="*/ 6142247 w 7524134"/>
                  <a:gd name="connsiteY1796" fmla="*/ 4645999 h 6756949"/>
                  <a:gd name="connsiteX1797" fmla="*/ 6070770 w 7524134"/>
                  <a:gd name="connsiteY1797" fmla="*/ 4603113 h 6756949"/>
                  <a:gd name="connsiteX1798" fmla="*/ 6032649 w 7524134"/>
                  <a:gd name="connsiteY1798" fmla="*/ 4579287 h 6756949"/>
                  <a:gd name="connsiteX1799" fmla="*/ 6008824 w 7524134"/>
                  <a:gd name="connsiteY1799" fmla="*/ 4564991 h 6756949"/>
                  <a:gd name="connsiteX1800" fmla="*/ 5999293 w 7524134"/>
                  <a:gd name="connsiteY1800" fmla="*/ 4560227 h 6756949"/>
                  <a:gd name="connsiteX1801" fmla="*/ 5999293 w 7524134"/>
                  <a:gd name="connsiteY1801" fmla="*/ 4550696 h 6756949"/>
                  <a:gd name="connsiteX1802" fmla="*/ 6004059 w 7524134"/>
                  <a:gd name="connsiteY1802" fmla="*/ 4545931 h 6756949"/>
                  <a:gd name="connsiteX1803" fmla="*/ 6018354 w 7524134"/>
                  <a:gd name="connsiteY1803" fmla="*/ 4541166 h 6756949"/>
                  <a:gd name="connsiteX1804" fmla="*/ 6027884 w 7524134"/>
                  <a:gd name="connsiteY1804" fmla="*/ 4531635 h 6756949"/>
                  <a:gd name="connsiteX1805" fmla="*/ 6042180 w 7524134"/>
                  <a:gd name="connsiteY1805" fmla="*/ 4507810 h 6756949"/>
                  <a:gd name="connsiteX1806" fmla="*/ 6042180 w 7524134"/>
                  <a:gd name="connsiteY1806" fmla="*/ 4498280 h 6756949"/>
                  <a:gd name="connsiteX1807" fmla="*/ 6037414 w 7524134"/>
                  <a:gd name="connsiteY1807" fmla="*/ 4479219 h 6756949"/>
                  <a:gd name="connsiteX1808" fmla="*/ 6032649 w 7524134"/>
                  <a:gd name="connsiteY1808" fmla="*/ 4460159 h 6756949"/>
                  <a:gd name="connsiteX1809" fmla="*/ 6032649 w 7524134"/>
                  <a:gd name="connsiteY1809" fmla="*/ 4450629 h 6756949"/>
                  <a:gd name="connsiteX1810" fmla="*/ 6032649 w 7524134"/>
                  <a:gd name="connsiteY1810" fmla="*/ 4441099 h 6756949"/>
                  <a:gd name="connsiteX1811" fmla="*/ 6037414 w 7524134"/>
                  <a:gd name="connsiteY1811" fmla="*/ 4431568 h 6756949"/>
                  <a:gd name="connsiteX1812" fmla="*/ 6042180 w 7524134"/>
                  <a:gd name="connsiteY1812" fmla="*/ 4426803 h 6756949"/>
                  <a:gd name="connsiteX1813" fmla="*/ 6046945 w 7524134"/>
                  <a:gd name="connsiteY1813" fmla="*/ 4422038 h 6756949"/>
                  <a:gd name="connsiteX1814" fmla="*/ 6051710 w 7524134"/>
                  <a:gd name="connsiteY1814" fmla="*/ 4426803 h 6756949"/>
                  <a:gd name="connsiteX1815" fmla="*/ 6070770 w 7524134"/>
                  <a:gd name="connsiteY1815" fmla="*/ 4450629 h 6756949"/>
                  <a:gd name="connsiteX1816" fmla="*/ 6075536 w 7524134"/>
                  <a:gd name="connsiteY1816" fmla="*/ 4460159 h 6756949"/>
                  <a:gd name="connsiteX1817" fmla="*/ 6070770 w 7524134"/>
                  <a:gd name="connsiteY1817" fmla="*/ 4493515 h 6756949"/>
                  <a:gd name="connsiteX1818" fmla="*/ 6075536 w 7524134"/>
                  <a:gd name="connsiteY1818" fmla="*/ 4531635 h 6756949"/>
                  <a:gd name="connsiteX1819" fmla="*/ 6080301 w 7524134"/>
                  <a:gd name="connsiteY1819" fmla="*/ 4531635 h 6756949"/>
                  <a:gd name="connsiteX1820" fmla="*/ 6080301 w 7524134"/>
                  <a:gd name="connsiteY1820" fmla="*/ 4517341 h 6756949"/>
                  <a:gd name="connsiteX1821" fmla="*/ 6080301 w 7524134"/>
                  <a:gd name="connsiteY1821" fmla="*/ 4493515 h 6756949"/>
                  <a:gd name="connsiteX1822" fmla="*/ 6085066 w 7524134"/>
                  <a:gd name="connsiteY1822" fmla="*/ 4479219 h 6756949"/>
                  <a:gd name="connsiteX1823" fmla="*/ 6089831 w 7524134"/>
                  <a:gd name="connsiteY1823" fmla="*/ 4469689 h 6756949"/>
                  <a:gd name="connsiteX1824" fmla="*/ 6094596 w 7524134"/>
                  <a:gd name="connsiteY1824" fmla="*/ 4460159 h 6756949"/>
                  <a:gd name="connsiteX1825" fmla="*/ 6113657 w 7524134"/>
                  <a:gd name="connsiteY1825" fmla="*/ 4464924 h 6756949"/>
                  <a:gd name="connsiteX1826" fmla="*/ 6123187 w 7524134"/>
                  <a:gd name="connsiteY1826" fmla="*/ 4464924 h 6756949"/>
                  <a:gd name="connsiteX1827" fmla="*/ 6085066 w 7524134"/>
                  <a:gd name="connsiteY1827" fmla="*/ 4445863 h 6756949"/>
                  <a:gd name="connsiteX1828" fmla="*/ 6061240 w 7524134"/>
                  <a:gd name="connsiteY1828" fmla="*/ 4412507 h 6756949"/>
                  <a:gd name="connsiteX1829" fmla="*/ 6056475 w 7524134"/>
                  <a:gd name="connsiteY1829" fmla="*/ 4407743 h 6756949"/>
                  <a:gd name="connsiteX1830" fmla="*/ 6042180 w 7524134"/>
                  <a:gd name="connsiteY1830" fmla="*/ 4407743 h 6756949"/>
                  <a:gd name="connsiteX1831" fmla="*/ 6027884 w 7524134"/>
                  <a:gd name="connsiteY1831" fmla="*/ 4422038 h 6756949"/>
                  <a:gd name="connsiteX1832" fmla="*/ 5989763 w 7524134"/>
                  <a:gd name="connsiteY1832" fmla="*/ 4464924 h 6756949"/>
                  <a:gd name="connsiteX1833" fmla="*/ 5980233 w 7524134"/>
                  <a:gd name="connsiteY1833" fmla="*/ 4474454 h 6756949"/>
                  <a:gd name="connsiteX1834" fmla="*/ 5932582 w 7524134"/>
                  <a:gd name="connsiteY1834" fmla="*/ 4498280 h 6756949"/>
                  <a:gd name="connsiteX1835" fmla="*/ 5899226 w 7524134"/>
                  <a:gd name="connsiteY1835" fmla="*/ 4503045 h 6756949"/>
                  <a:gd name="connsiteX1836" fmla="*/ 5865870 w 7524134"/>
                  <a:gd name="connsiteY1836" fmla="*/ 4498280 h 6756949"/>
                  <a:gd name="connsiteX1837" fmla="*/ 5832514 w 7524134"/>
                  <a:gd name="connsiteY1837" fmla="*/ 4488749 h 6756949"/>
                  <a:gd name="connsiteX1838" fmla="*/ 5756272 w 7524134"/>
                  <a:gd name="connsiteY1838" fmla="*/ 4450629 h 6756949"/>
                  <a:gd name="connsiteX1839" fmla="*/ 5746742 w 7524134"/>
                  <a:gd name="connsiteY1839" fmla="*/ 4441099 h 6756949"/>
                  <a:gd name="connsiteX1840" fmla="*/ 5765802 w 7524134"/>
                  <a:gd name="connsiteY1840" fmla="*/ 4417273 h 6756949"/>
                  <a:gd name="connsiteX1841" fmla="*/ 5765802 w 7524134"/>
                  <a:gd name="connsiteY1841" fmla="*/ 4412507 h 6756949"/>
                  <a:gd name="connsiteX1842" fmla="*/ 5761037 w 7524134"/>
                  <a:gd name="connsiteY1842" fmla="*/ 4388682 h 6756949"/>
                  <a:gd name="connsiteX1843" fmla="*/ 5751507 w 7524134"/>
                  <a:gd name="connsiteY1843" fmla="*/ 4379151 h 6756949"/>
                  <a:gd name="connsiteX1844" fmla="*/ 5746742 w 7524134"/>
                  <a:gd name="connsiteY1844" fmla="*/ 4374387 h 6756949"/>
                  <a:gd name="connsiteX1845" fmla="*/ 5741976 w 7524134"/>
                  <a:gd name="connsiteY1845" fmla="*/ 4379151 h 6756949"/>
                  <a:gd name="connsiteX1846" fmla="*/ 5741976 w 7524134"/>
                  <a:gd name="connsiteY1846" fmla="*/ 4383917 h 6756949"/>
                  <a:gd name="connsiteX1847" fmla="*/ 5746742 w 7524134"/>
                  <a:gd name="connsiteY1847" fmla="*/ 4398212 h 6756949"/>
                  <a:gd name="connsiteX1848" fmla="*/ 5741976 w 7524134"/>
                  <a:gd name="connsiteY1848" fmla="*/ 4407743 h 6756949"/>
                  <a:gd name="connsiteX1849" fmla="*/ 5727681 w 7524134"/>
                  <a:gd name="connsiteY1849" fmla="*/ 4412507 h 6756949"/>
                  <a:gd name="connsiteX1850" fmla="*/ 5703855 w 7524134"/>
                  <a:gd name="connsiteY1850" fmla="*/ 4422038 h 6756949"/>
                  <a:gd name="connsiteX1851" fmla="*/ 5637144 w 7524134"/>
                  <a:gd name="connsiteY1851" fmla="*/ 4402977 h 6756949"/>
                  <a:gd name="connsiteX1852" fmla="*/ 5570432 w 7524134"/>
                  <a:gd name="connsiteY1852" fmla="*/ 4383917 h 6756949"/>
                  <a:gd name="connsiteX1853" fmla="*/ 5508485 w 7524134"/>
                  <a:gd name="connsiteY1853" fmla="*/ 4383917 h 6756949"/>
                  <a:gd name="connsiteX1854" fmla="*/ 5417948 w 7524134"/>
                  <a:gd name="connsiteY1854" fmla="*/ 4393447 h 6756949"/>
                  <a:gd name="connsiteX1855" fmla="*/ 5370297 w 7524134"/>
                  <a:gd name="connsiteY1855" fmla="*/ 4407743 h 6756949"/>
                  <a:gd name="connsiteX1856" fmla="*/ 5346471 w 7524134"/>
                  <a:gd name="connsiteY1856" fmla="*/ 4407743 h 6756949"/>
                  <a:gd name="connsiteX1857" fmla="*/ 5317880 w 7524134"/>
                  <a:gd name="connsiteY1857" fmla="*/ 4407743 h 6756949"/>
                  <a:gd name="connsiteX1858" fmla="*/ 5317880 w 7524134"/>
                  <a:gd name="connsiteY1858" fmla="*/ 4398212 h 6756949"/>
                  <a:gd name="connsiteX1859" fmla="*/ 5327410 w 7524134"/>
                  <a:gd name="connsiteY1859" fmla="*/ 4393447 h 6756949"/>
                  <a:gd name="connsiteX1860" fmla="*/ 5327410 w 7524134"/>
                  <a:gd name="connsiteY1860" fmla="*/ 4383917 h 6756949"/>
                  <a:gd name="connsiteX1861" fmla="*/ 5313115 w 7524134"/>
                  <a:gd name="connsiteY1861" fmla="*/ 4364856 h 6756949"/>
                  <a:gd name="connsiteX1862" fmla="*/ 5289289 w 7524134"/>
                  <a:gd name="connsiteY1862" fmla="*/ 4350561 h 6756949"/>
                  <a:gd name="connsiteX1863" fmla="*/ 5260699 w 7524134"/>
                  <a:gd name="connsiteY1863" fmla="*/ 4345795 h 6756949"/>
                  <a:gd name="connsiteX1864" fmla="*/ 5241638 w 7524134"/>
                  <a:gd name="connsiteY1864" fmla="*/ 4341031 h 6756949"/>
                  <a:gd name="connsiteX1865" fmla="*/ 5236873 w 7524134"/>
                  <a:gd name="connsiteY1865" fmla="*/ 4331501 h 6756949"/>
                  <a:gd name="connsiteX1866" fmla="*/ 5227343 w 7524134"/>
                  <a:gd name="connsiteY1866" fmla="*/ 4326735 h 6756949"/>
                  <a:gd name="connsiteX1867" fmla="*/ 5208282 w 7524134"/>
                  <a:gd name="connsiteY1867" fmla="*/ 4317205 h 6756949"/>
                  <a:gd name="connsiteX1868" fmla="*/ 5198752 w 7524134"/>
                  <a:gd name="connsiteY1868" fmla="*/ 4307675 h 6756949"/>
                  <a:gd name="connsiteX1869" fmla="*/ 5208282 w 7524134"/>
                  <a:gd name="connsiteY1869" fmla="*/ 4269553 h 6756949"/>
                  <a:gd name="connsiteX1870" fmla="*/ 5213047 w 7524134"/>
                  <a:gd name="connsiteY1870" fmla="*/ 4245728 h 6756949"/>
                  <a:gd name="connsiteX1871" fmla="*/ 5217812 w 7524134"/>
                  <a:gd name="connsiteY1871" fmla="*/ 4226667 h 6756949"/>
                  <a:gd name="connsiteX1872" fmla="*/ 5232108 w 7524134"/>
                  <a:gd name="connsiteY1872" fmla="*/ 4202842 h 6756949"/>
                  <a:gd name="connsiteX1873" fmla="*/ 5227343 w 7524134"/>
                  <a:gd name="connsiteY1873" fmla="*/ 4202842 h 6756949"/>
                  <a:gd name="connsiteX1874" fmla="*/ 5208282 w 7524134"/>
                  <a:gd name="connsiteY1874" fmla="*/ 4221903 h 6756949"/>
                  <a:gd name="connsiteX1875" fmla="*/ 5189222 w 7524134"/>
                  <a:gd name="connsiteY1875" fmla="*/ 4240963 h 6756949"/>
                  <a:gd name="connsiteX1876" fmla="*/ 5170161 w 7524134"/>
                  <a:gd name="connsiteY1876" fmla="*/ 4269553 h 6756949"/>
                  <a:gd name="connsiteX1877" fmla="*/ 5160631 w 7524134"/>
                  <a:gd name="connsiteY1877" fmla="*/ 4279084 h 6756949"/>
                  <a:gd name="connsiteX1878" fmla="*/ 5146336 w 7524134"/>
                  <a:gd name="connsiteY1878" fmla="*/ 4293379 h 6756949"/>
                  <a:gd name="connsiteX1879" fmla="*/ 5127275 w 7524134"/>
                  <a:gd name="connsiteY1879" fmla="*/ 4288614 h 6756949"/>
                  <a:gd name="connsiteX1880" fmla="*/ 5098684 w 7524134"/>
                  <a:gd name="connsiteY1880" fmla="*/ 4274319 h 6756949"/>
                  <a:gd name="connsiteX1881" fmla="*/ 5074859 w 7524134"/>
                  <a:gd name="connsiteY1881" fmla="*/ 4264789 h 6756949"/>
                  <a:gd name="connsiteX1882" fmla="*/ 5051033 w 7524134"/>
                  <a:gd name="connsiteY1882" fmla="*/ 4264789 h 6756949"/>
                  <a:gd name="connsiteX1883" fmla="*/ 5046268 w 7524134"/>
                  <a:gd name="connsiteY1883" fmla="*/ 4260023 h 6756949"/>
                  <a:gd name="connsiteX1884" fmla="*/ 5060563 w 7524134"/>
                  <a:gd name="connsiteY1884" fmla="*/ 4245728 h 6756949"/>
                  <a:gd name="connsiteX1885" fmla="*/ 5065328 w 7524134"/>
                  <a:gd name="connsiteY1885" fmla="*/ 4236198 h 6756949"/>
                  <a:gd name="connsiteX1886" fmla="*/ 5079624 w 7524134"/>
                  <a:gd name="connsiteY1886" fmla="*/ 4217137 h 6756949"/>
                  <a:gd name="connsiteX1887" fmla="*/ 5079624 w 7524134"/>
                  <a:gd name="connsiteY1887" fmla="*/ 4207607 h 6756949"/>
                  <a:gd name="connsiteX1888" fmla="*/ 5003382 w 7524134"/>
                  <a:gd name="connsiteY1888" fmla="*/ 4202842 h 6756949"/>
                  <a:gd name="connsiteX1889" fmla="*/ 5003382 w 7524134"/>
                  <a:gd name="connsiteY1889" fmla="*/ 4193312 h 6756949"/>
                  <a:gd name="connsiteX1890" fmla="*/ 5003382 w 7524134"/>
                  <a:gd name="connsiteY1890" fmla="*/ 4188547 h 6756949"/>
                  <a:gd name="connsiteX1891" fmla="*/ 4998617 w 7524134"/>
                  <a:gd name="connsiteY1891" fmla="*/ 4179016 h 6756949"/>
                  <a:gd name="connsiteX1892" fmla="*/ 4989086 w 7524134"/>
                  <a:gd name="connsiteY1892" fmla="*/ 4174251 h 6756949"/>
                  <a:gd name="connsiteX1893" fmla="*/ 4974791 w 7524134"/>
                  <a:gd name="connsiteY1893" fmla="*/ 4179016 h 6756949"/>
                  <a:gd name="connsiteX1894" fmla="*/ 4950965 w 7524134"/>
                  <a:gd name="connsiteY1894" fmla="*/ 4188547 h 6756949"/>
                  <a:gd name="connsiteX1895" fmla="*/ 4941435 w 7524134"/>
                  <a:gd name="connsiteY1895" fmla="*/ 4183781 h 6756949"/>
                  <a:gd name="connsiteX1896" fmla="*/ 4941435 w 7524134"/>
                  <a:gd name="connsiteY1896" fmla="*/ 4174251 h 6756949"/>
                  <a:gd name="connsiteX1897" fmla="*/ 4950965 w 7524134"/>
                  <a:gd name="connsiteY1897" fmla="*/ 4174251 h 6756949"/>
                  <a:gd name="connsiteX1898" fmla="*/ 4965261 w 7524134"/>
                  <a:gd name="connsiteY1898" fmla="*/ 4155191 h 6756949"/>
                  <a:gd name="connsiteX1899" fmla="*/ 4946200 w 7524134"/>
                  <a:gd name="connsiteY1899" fmla="*/ 4145661 h 6756949"/>
                  <a:gd name="connsiteX1900" fmla="*/ 4936670 w 7524134"/>
                  <a:gd name="connsiteY1900" fmla="*/ 4136130 h 6756949"/>
                  <a:gd name="connsiteX1901" fmla="*/ 4927140 w 7524134"/>
                  <a:gd name="connsiteY1901" fmla="*/ 4126600 h 6756949"/>
                  <a:gd name="connsiteX1902" fmla="*/ 4927140 w 7524134"/>
                  <a:gd name="connsiteY1902" fmla="*/ 4098009 h 6756949"/>
                  <a:gd name="connsiteX1903" fmla="*/ 4936670 w 7524134"/>
                  <a:gd name="connsiteY1903" fmla="*/ 4078949 h 6756949"/>
                  <a:gd name="connsiteX1904" fmla="*/ 4984321 w 7524134"/>
                  <a:gd name="connsiteY1904" fmla="*/ 4059888 h 6756949"/>
                  <a:gd name="connsiteX1905" fmla="*/ 4970026 w 7524134"/>
                  <a:gd name="connsiteY1905" fmla="*/ 4050358 h 6756949"/>
                  <a:gd name="connsiteX1906" fmla="*/ 4936670 w 7524134"/>
                  <a:gd name="connsiteY1906" fmla="*/ 4055123 h 6756949"/>
                  <a:gd name="connsiteX1907" fmla="*/ 4917609 w 7524134"/>
                  <a:gd name="connsiteY1907" fmla="*/ 4069419 h 6756949"/>
                  <a:gd name="connsiteX1908" fmla="*/ 4893784 w 7524134"/>
                  <a:gd name="connsiteY1908" fmla="*/ 4093244 h 6756949"/>
                  <a:gd name="connsiteX1909" fmla="*/ 4874723 w 7524134"/>
                  <a:gd name="connsiteY1909" fmla="*/ 4102774 h 6756949"/>
                  <a:gd name="connsiteX1910" fmla="*/ 4865193 w 7524134"/>
                  <a:gd name="connsiteY1910" fmla="*/ 4098009 h 6756949"/>
                  <a:gd name="connsiteX1911" fmla="*/ 4855663 w 7524134"/>
                  <a:gd name="connsiteY1911" fmla="*/ 4093244 h 6756949"/>
                  <a:gd name="connsiteX1912" fmla="*/ 4841367 w 7524134"/>
                  <a:gd name="connsiteY1912" fmla="*/ 4098009 h 6756949"/>
                  <a:gd name="connsiteX1913" fmla="*/ 4831837 w 7524134"/>
                  <a:gd name="connsiteY1913" fmla="*/ 4102774 h 6756949"/>
                  <a:gd name="connsiteX1914" fmla="*/ 4827072 w 7524134"/>
                  <a:gd name="connsiteY1914" fmla="*/ 4112305 h 6756949"/>
                  <a:gd name="connsiteX1915" fmla="*/ 4822307 w 7524134"/>
                  <a:gd name="connsiteY1915" fmla="*/ 4117070 h 6756949"/>
                  <a:gd name="connsiteX1916" fmla="*/ 4817542 w 7524134"/>
                  <a:gd name="connsiteY1916" fmla="*/ 4121835 h 6756949"/>
                  <a:gd name="connsiteX1917" fmla="*/ 4812777 w 7524134"/>
                  <a:gd name="connsiteY1917" fmla="*/ 4121835 h 6756949"/>
                  <a:gd name="connsiteX1918" fmla="*/ 4803246 w 7524134"/>
                  <a:gd name="connsiteY1918" fmla="*/ 4112305 h 6756949"/>
                  <a:gd name="connsiteX1919" fmla="*/ 4788951 w 7524134"/>
                  <a:gd name="connsiteY1919" fmla="*/ 4102774 h 6756949"/>
                  <a:gd name="connsiteX1920" fmla="*/ 4784186 w 7524134"/>
                  <a:gd name="connsiteY1920" fmla="*/ 4098009 h 6756949"/>
                  <a:gd name="connsiteX1921" fmla="*/ 4779421 w 7524134"/>
                  <a:gd name="connsiteY1921" fmla="*/ 4102774 h 6756949"/>
                  <a:gd name="connsiteX1922" fmla="*/ 4774656 w 7524134"/>
                  <a:gd name="connsiteY1922" fmla="*/ 4117070 h 6756949"/>
                  <a:gd name="connsiteX1923" fmla="*/ 4769890 w 7524134"/>
                  <a:gd name="connsiteY1923" fmla="*/ 4121835 h 6756949"/>
                  <a:gd name="connsiteX1924" fmla="*/ 4746065 w 7524134"/>
                  <a:gd name="connsiteY1924" fmla="*/ 4131365 h 6756949"/>
                  <a:gd name="connsiteX1925" fmla="*/ 4731769 w 7524134"/>
                  <a:gd name="connsiteY1925" fmla="*/ 4131365 h 6756949"/>
                  <a:gd name="connsiteX1926" fmla="*/ 4717474 w 7524134"/>
                  <a:gd name="connsiteY1926" fmla="*/ 4112305 h 6756949"/>
                  <a:gd name="connsiteX1927" fmla="*/ 4717474 w 7524134"/>
                  <a:gd name="connsiteY1927" fmla="*/ 4107539 h 6756949"/>
                  <a:gd name="connsiteX1928" fmla="*/ 4722239 w 7524134"/>
                  <a:gd name="connsiteY1928" fmla="*/ 4088479 h 6756949"/>
                  <a:gd name="connsiteX1929" fmla="*/ 4755595 w 7524134"/>
                  <a:gd name="connsiteY1929" fmla="*/ 4021767 h 6756949"/>
                  <a:gd name="connsiteX1930" fmla="*/ 4750830 w 7524134"/>
                  <a:gd name="connsiteY1930" fmla="*/ 4026532 h 6756949"/>
                  <a:gd name="connsiteX1931" fmla="*/ 4741300 w 7524134"/>
                  <a:gd name="connsiteY1931" fmla="*/ 4036063 h 6756949"/>
                  <a:gd name="connsiteX1932" fmla="*/ 4717474 w 7524134"/>
                  <a:gd name="connsiteY1932" fmla="*/ 4059888 h 6756949"/>
                  <a:gd name="connsiteX1933" fmla="*/ 4707944 w 7524134"/>
                  <a:gd name="connsiteY1933" fmla="*/ 4069419 h 6756949"/>
                  <a:gd name="connsiteX1934" fmla="*/ 4693648 w 7524134"/>
                  <a:gd name="connsiteY1934" fmla="*/ 4069419 h 6756949"/>
                  <a:gd name="connsiteX1935" fmla="*/ 4684118 w 7524134"/>
                  <a:gd name="connsiteY1935" fmla="*/ 4064653 h 6756949"/>
                  <a:gd name="connsiteX1936" fmla="*/ 4674588 w 7524134"/>
                  <a:gd name="connsiteY1936" fmla="*/ 4069419 h 6756949"/>
                  <a:gd name="connsiteX1937" fmla="*/ 4665058 w 7524134"/>
                  <a:gd name="connsiteY1937" fmla="*/ 4074183 h 6756949"/>
                  <a:gd name="connsiteX1938" fmla="*/ 4655527 w 7524134"/>
                  <a:gd name="connsiteY1938" fmla="*/ 4083714 h 6756949"/>
                  <a:gd name="connsiteX1939" fmla="*/ 4650762 w 7524134"/>
                  <a:gd name="connsiteY1939" fmla="*/ 4093244 h 6756949"/>
                  <a:gd name="connsiteX1940" fmla="*/ 4655527 w 7524134"/>
                  <a:gd name="connsiteY1940" fmla="*/ 4093244 h 6756949"/>
                  <a:gd name="connsiteX1941" fmla="*/ 4669823 w 7524134"/>
                  <a:gd name="connsiteY1941" fmla="*/ 4083714 h 6756949"/>
                  <a:gd name="connsiteX1942" fmla="*/ 4679353 w 7524134"/>
                  <a:gd name="connsiteY1942" fmla="*/ 4078949 h 6756949"/>
                  <a:gd name="connsiteX1943" fmla="*/ 4684118 w 7524134"/>
                  <a:gd name="connsiteY1943" fmla="*/ 4083714 h 6756949"/>
                  <a:gd name="connsiteX1944" fmla="*/ 4669823 w 7524134"/>
                  <a:gd name="connsiteY1944" fmla="*/ 4112305 h 6756949"/>
                  <a:gd name="connsiteX1945" fmla="*/ 4665058 w 7524134"/>
                  <a:gd name="connsiteY1945" fmla="*/ 4140895 h 6756949"/>
                  <a:gd name="connsiteX1946" fmla="*/ 4655527 w 7524134"/>
                  <a:gd name="connsiteY1946" fmla="*/ 4150425 h 6756949"/>
                  <a:gd name="connsiteX1947" fmla="*/ 4641232 w 7524134"/>
                  <a:gd name="connsiteY1947" fmla="*/ 4145661 h 6756949"/>
                  <a:gd name="connsiteX1948" fmla="*/ 4631702 w 7524134"/>
                  <a:gd name="connsiteY1948" fmla="*/ 4150425 h 6756949"/>
                  <a:gd name="connsiteX1949" fmla="*/ 4631702 w 7524134"/>
                  <a:gd name="connsiteY1949" fmla="*/ 4159956 h 6756949"/>
                  <a:gd name="connsiteX1950" fmla="*/ 4655527 w 7524134"/>
                  <a:gd name="connsiteY1950" fmla="*/ 4179016 h 6756949"/>
                  <a:gd name="connsiteX1951" fmla="*/ 4665058 w 7524134"/>
                  <a:gd name="connsiteY1951" fmla="*/ 4183781 h 6756949"/>
                  <a:gd name="connsiteX1952" fmla="*/ 4674588 w 7524134"/>
                  <a:gd name="connsiteY1952" fmla="*/ 4193312 h 6756949"/>
                  <a:gd name="connsiteX1953" fmla="*/ 4674588 w 7524134"/>
                  <a:gd name="connsiteY1953" fmla="*/ 4198077 h 6756949"/>
                  <a:gd name="connsiteX1954" fmla="*/ 4669823 w 7524134"/>
                  <a:gd name="connsiteY1954" fmla="*/ 4221903 h 6756949"/>
                  <a:gd name="connsiteX1955" fmla="*/ 4669823 w 7524134"/>
                  <a:gd name="connsiteY1955" fmla="*/ 4226667 h 6756949"/>
                  <a:gd name="connsiteX1956" fmla="*/ 4665058 w 7524134"/>
                  <a:gd name="connsiteY1956" fmla="*/ 4231433 h 6756949"/>
                  <a:gd name="connsiteX1957" fmla="*/ 4645997 w 7524134"/>
                  <a:gd name="connsiteY1957" fmla="*/ 4231433 h 6756949"/>
                  <a:gd name="connsiteX1958" fmla="*/ 4636467 w 7524134"/>
                  <a:gd name="connsiteY1958" fmla="*/ 4236198 h 6756949"/>
                  <a:gd name="connsiteX1959" fmla="*/ 4622172 w 7524134"/>
                  <a:gd name="connsiteY1959" fmla="*/ 4245728 h 6756949"/>
                  <a:gd name="connsiteX1960" fmla="*/ 4617406 w 7524134"/>
                  <a:gd name="connsiteY1960" fmla="*/ 4260023 h 6756949"/>
                  <a:gd name="connsiteX1961" fmla="*/ 4631702 w 7524134"/>
                  <a:gd name="connsiteY1961" fmla="*/ 4250493 h 6756949"/>
                  <a:gd name="connsiteX1962" fmla="*/ 4645997 w 7524134"/>
                  <a:gd name="connsiteY1962" fmla="*/ 4245728 h 6756949"/>
                  <a:gd name="connsiteX1963" fmla="*/ 4669823 w 7524134"/>
                  <a:gd name="connsiteY1963" fmla="*/ 4245728 h 6756949"/>
                  <a:gd name="connsiteX1964" fmla="*/ 4688883 w 7524134"/>
                  <a:gd name="connsiteY1964" fmla="*/ 4240963 h 6756949"/>
                  <a:gd name="connsiteX1965" fmla="*/ 4698414 w 7524134"/>
                  <a:gd name="connsiteY1965" fmla="*/ 4231433 h 6756949"/>
                  <a:gd name="connsiteX1966" fmla="*/ 4707944 w 7524134"/>
                  <a:gd name="connsiteY1966" fmla="*/ 4231433 h 6756949"/>
                  <a:gd name="connsiteX1967" fmla="*/ 4717474 w 7524134"/>
                  <a:gd name="connsiteY1967" fmla="*/ 4245728 h 6756949"/>
                  <a:gd name="connsiteX1968" fmla="*/ 4722239 w 7524134"/>
                  <a:gd name="connsiteY1968" fmla="*/ 4260023 h 6756949"/>
                  <a:gd name="connsiteX1969" fmla="*/ 4717474 w 7524134"/>
                  <a:gd name="connsiteY1969" fmla="*/ 4269553 h 6756949"/>
                  <a:gd name="connsiteX1970" fmla="*/ 4707944 w 7524134"/>
                  <a:gd name="connsiteY1970" fmla="*/ 4279084 h 6756949"/>
                  <a:gd name="connsiteX1971" fmla="*/ 4698414 w 7524134"/>
                  <a:gd name="connsiteY1971" fmla="*/ 4283849 h 6756949"/>
                  <a:gd name="connsiteX1972" fmla="*/ 4688883 w 7524134"/>
                  <a:gd name="connsiteY1972" fmla="*/ 4288614 h 6756949"/>
                  <a:gd name="connsiteX1973" fmla="*/ 4684118 w 7524134"/>
                  <a:gd name="connsiteY1973" fmla="*/ 4298145 h 6756949"/>
                  <a:gd name="connsiteX1974" fmla="*/ 4684118 w 7524134"/>
                  <a:gd name="connsiteY1974" fmla="*/ 4312440 h 6756949"/>
                  <a:gd name="connsiteX1975" fmla="*/ 4684118 w 7524134"/>
                  <a:gd name="connsiteY1975" fmla="*/ 4326735 h 6756949"/>
                  <a:gd name="connsiteX1976" fmla="*/ 4684118 w 7524134"/>
                  <a:gd name="connsiteY1976" fmla="*/ 4360091 h 6756949"/>
                  <a:gd name="connsiteX1977" fmla="*/ 4684118 w 7524134"/>
                  <a:gd name="connsiteY1977" fmla="*/ 4364856 h 6756949"/>
                  <a:gd name="connsiteX1978" fmla="*/ 4679353 w 7524134"/>
                  <a:gd name="connsiteY1978" fmla="*/ 4364856 h 6756949"/>
                  <a:gd name="connsiteX1979" fmla="*/ 4669823 w 7524134"/>
                  <a:gd name="connsiteY1979" fmla="*/ 4364856 h 6756949"/>
                  <a:gd name="connsiteX1980" fmla="*/ 4665058 w 7524134"/>
                  <a:gd name="connsiteY1980" fmla="*/ 4374387 h 6756949"/>
                  <a:gd name="connsiteX1981" fmla="*/ 4650762 w 7524134"/>
                  <a:gd name="connsiteY1981" fmla="*/ 4417273 h 6756949"/>
                  <a:gd name="connsiteX1982" fmla="*/ 4645997 w 7524134"/>
                  <a:gd name="connsiteY1982" fmla="*/ 4422038 h 6756949"/>
                  <a:gd name="connsiteX1983" fmla="*/ 4636467 w 7524134"/>
                  <a:gd name="connsiteY1983" fmla="*/ 4417273 h 6756949"/>
                  <a:gd name="connsiteX1984" fmla="*/ 4631702 w 7524134"/>
                  <a:gd name="connsiteY1984" fmla="*/ 4417273 h 6756949"/>
                  <a:gd name="connsiteX1985" fmla="*/ 4626937 w 7524134"/>
                  <a:gd name="connsiteY1985" fmla="*/ 4422038 h 6756949"/>
                  <a:gd name="connsiteX1986" fmla="*/ 4617406 w 7524134"/>
                  <a:gd name="connsiteY1986" fmla="*/ 4426803 h 6756949"/>
                  <a:gd name="connsiteX1987" fmla="*/ 4598346 w 7524134"/>
                  <a:gd name="connsiteY1987" fmla="*/ 4426803 h 6756949"/>
                  <a:gd name="connsiteX1988" fmla="*/ 4584051 w 7524134"/>
                  <a:gd name="connsiteY1988" fmla="*/ 4426803 h 6756949"/>
                  <a:gd name="connsiteX1989" fmla="*/ 4560225 w 7524134"/>
                  <a:gd name="connsiteY1989" fmla="*/ 4417273 h 6756949"/>
                  <a:gd name="connsiteX1990" fmla="*/ 4550695 w 7524134"/>
                  <a:gd name="connsiteY1990" fmla="*/ 4412507 h 6756949"/>
                  <a:gd name="connsiteX1991" fmla="*/ 4541164 w 7524134"/>
                  <a:gd name="connsiteY1991" fmla="*/ 4402977 h 6756949"/>
                  <a:gd name="connsiteX1992" fmla="*/ 4517339 w 7524134"/>
                  <a:gd name="connsiteY1992" fmla="*/ 4412507 h 6756949"/>
                  <a:gd name="connsiteX1993" fmla="*/ 4512574 w 7524134"/>
                  <a:gd name="connsiteY1993" fmla="*/ 4407743 h 6756949"/>
                  <a:gd name="connsiteX1994" fmla="*/ 4498278 w 7524134"/>
                  <a:gd name="connsiteY1994" fmla="*/ 4379151 h 6756949"/>
                  <a:gd name="connsiteX1995" fmla="*/ 4493513 w 7524134"/>
                  <a:gd name="connsiteY1995" fmla="*/ 4379151 h 6756949"/>
                  <a:gd name="connsiteX1996" fmla="*/ 4493513 w 7524134"/>
                  <a:gd name="connsiteY1996" fmla="*/ 4412507 h 6756949"/>
                  <a:gd name="connsiteX1997" fmla="*/ 4488748 w 7524134"/>
                  <a:gd name="connsiteY1997" fmla="*/ 4422038 h 6756949"/>
                  <a:gd name="connsiteX1998" fmla="*/ 4474453 w 7524134"/>
                  <a:gd name="connsiteY1998" fmla="*/ 4445863 h 6756949"/>
                  <a:gd name="connsiteX1999" fmla="*/ 4464922 w 7524134"/>
                  <a:gd name="connsiteY1999" fmla="*/ 4483985 h 6756949"/>
                  <a:gd name="connsiteX2000" fmla="*/ 4460157 w 7524134"/>
                  <a:gd name="connsiteY2000" fmla="*/ 4479219 h 6756949"/>
                  <a:gd name="connsiteX2001" fmla="*/ 4455392 w 7524134"/>
                  <a:gd name="connsiteY2001" fmla="*/ 4445863 h 6756949"/>
                  <a:gd name="connsiteX2002" fmla="*/ 4450627 w 7524134"/>
                  <a:gd name="connsiteY2002" fmla="*/ 4436333 h 6756949"/>
                  <a:gd name="connsiteX2003" fmla="*/ 4436332 w 7524134"/>
                  <a:gd name="connsiteY2003" fmla="*/ 4455393 h 6756949"/>
                  <a:gd name="connsiteX2004" fmla="*/ 4436332 w 7524134"/>
                  <a:gd name="connsiteY2004" fmla="*/ 4464924 h 6756949"/>
                  <a:gd name="connsiteX2005" fmla="*/ 4436332 w 7524134"/>
                  <a:gd name="connsiteY2005" fmla="*/ 4488749 h 6756949"/>
                  <a:gd name="connsiteX2006" fmla="*/ 4436332 w 7524134"/>
                  <a:gd name="connsiteY2006" fmla="*/ 4493515 h 6756949"/>
                  <a:gd name="connsiteX2007" fmla="*/ 4407741 w 7524134"/>
                  <a:gd name="connsiteY2007" fmla="*/ 4479219 h 6756949"/>
                  <a:gd name="connsiteX2008" fmla="*/ 4402976 w 7524134"/>
                  <a:gd name="connsiteY2008" fmla="*/ 4479219 h 6756949"/>
                  <a:gd name="connsiteX2009" fmla="*/ 4402976 w 7524134"/>
                  <a:gd name="connsiteY2009" fmla="*/ 4483985 h 6756949"/>
                  <a:gd name="connsiteX2010" fmla="*/ 4412506 w 7524134"/>
                  <a:gd name="connsiteY2010" fmla="*/ 4503045 h 6756949"/>
                  <a:gd name="connsiteX2011" fmla="*/ 4407741 w 7524134"/>
                  <a:gd name="connsiteY2011" fmla="*/ 4507810 h 6756949"/>
                  <a:gd name="connsiteX2012" fmla="*/ 4374385 w 7524134"/>
                  <a:gd name="connsiteY2012" fmla="*/ 4545931 h 6756949"/>
                  <a:gd name="connsiteX2013" fmla="*/ 4364855 w 7524134"/>
                  <a:gd name="connsiteY2013" fmla="*/ 4545931 h 6756949"/>
                  <a:gd name="connsiteX2014" fmla="*/ 4360090 w 7524134"/>
                  <a:gd name="connsiteY2014" fmla="*/ 4541166 h 6756949"/>
                  <a:gd name="connsiteX2015" fmla="*/ 4350559 w 7524134"/>
                  <a:gd name="connsiteY2015" fmla="*/ 4541166 h 6756949"/>
                  <a:gd name="connsiteX2016" fmla="*/ 4326734 w 7524134"/>
                  <a:gd name="connsiteY2016" fmla="*/ 4555461 h 6756949"/>
                  <a:gd name="connsiteX2017" fmla="*/ 4321969 w 7524134"/>
                  <a:gd name="connsiteY2017" fmla="*/ 4555461 h 6756949"/>
                  <a:gd name="connsiteX2018" fmla="*/ 4312438 w 7524134"/>
                  <a:gd name="connsiteY2018" fmla="*/ 4545931 h 6756949"/>
                  <a:gd name="connsiteX2019" fmla="*/ 4307673 w 7524134"/>
                  <a:gd name="connsiteY2019" fmla="*/ 4545931 h 6756949"/>
                  <a:gd name="connsiteX2020" fmla="*/ 4307673 w 7524134"/>
                  <a:gd name="connsiteY2020" fmla="*/ 4555461 h 6756949"/>
                  <a:gd name="connsiteX2021" fmla="*/ 4307673 w 7524134"/>
                  <a:gd name="connsiteY2021" fmla="*/ 4574522 h 6756949"/>
                  <a:gd name="connsiteX2022" fmla="*/ 4298143 w 7524134"/>
                  <a:gd name="connsiteY2022" fmla="*/ 4588817 h 6756949"/>
                  <a:gd name="connsiteX2023" fmla="*/ 4269552 w 7524134"/>
                  <a:gd name="connsiteY2023" fmla="*/ 4617408 h 6756949"/>
                  <a:gd name="connsiteX2024" fmla="*/ 4264787 w 7524134"/>
                  <a:gd name="connsiteY2024" fmla="*/ 4626938 h 6756949"/>
                  <a:gd name="connsiteX2025" fmla="*/ 4260022 w 7524134"/>
                  <a:gd name="connsiteY2025" fmla="*/ 4645999 h 6756949"/>
                  <a:gd name="connsiteX2026" fmla="*/ 4255257 w 7524134"/>
                  <a:gd name="connsiteY2026" fmla="*/ 4645999 h 6756949"/>
                  <a:gd name="connsiteX2027" fmla="*/ 4236196 w 7524134"/>
                  <a:gd name="connsiteY2027" fmla="*/ 4636469 h 6756949"/>
                  <a:gd name="connsiteX2028" fmla="*/ 4217136 w 7524134"/>
                  <a:gd name="connsiteY2028" fmla="*/ 4626938 h 6756949"/>
                  <a:gd name="connsiteX2029" fmla="*/ 4217136 w 7524134"/>
                  <a:gd name="connsiteY2029" fmla="*/ 4631703 h 6756949"/>
                  <a:gd name="connsiteX2030" fmla="*/ 4221901 w 7524134"/>
                  <a:gd name="connsiteY2030" fmla="*/ 4641233 h 6756949"/>
                  <a:gd name="connsiteX2031" fmla="*/ 4221901 w 7524134"/>
                  <a:gd name="connsiteY2031" fmla="*/ 4645999 h 6756949"/>
                  <a:gd name="connsiteX2032" fmla="*/ 4212371 w 7524134"/>
                  <a:gd name="connsiteY2032" fmla="*/ 4650764 h 6756949"/>
                  <a:gd name="connsiteX2033" fmla="*/ 4202840 w 7524134"/>
                  <a:gd name="connsiteY2033" fmla="*/ 4650764 h 6756949"/>
                  <a:gd name="connsiteX2034" fmla="*/ 4193310 w 7524134"/>
                  <a:gd name="connsiteY2034" fmla="*/ 4645999 h 6756949"/>
                  <a:gd name="connsiteX2035" fmla="*/ 4174250 w 7524134"/>
                  <a:gd name="connsiteY2035" fmla="*/ 4650764 h 6756949"/>
                  <a:gd name="connsiteX2036" fmla="*/ 4150424 w 7524134"/>
                  <a:gd name="connsiteY2036" fmla="*/ 4665059 h 6756949"/>
                  <a:gd name="connsiteX2037" fmla="*/ 4131363 w 7524134"/>
                  <a:gd name="connsiteY2037" fmla="*/ 4660294 h 6756949"/>
                  <a:gd name="connsiteX2038" fmla="*/ 4107538 w 7524134"/>
                  <a:gd name="connsiteY2038" fmla="*/ 4641233 h 6756949"/>
                  <a:gd name="connsiteX2039" fmla="*/ 4098008 w 7524134"/>
                  <a:gd name="connsiteY2039" fmla="*/ 4641233 h 6756949"/>
                  <a:gd name="connsiteX2040" fmla="*/ 4098008 w 7524134"/>
                  <a:gd name="connsiteY2040" fmla="*/ 4631703 h 6756949"/>
                  <a:gd name="connsiteX2041" fmla="*/ 4102773 w 7524134"/>
                  <a:gd name="connsiteY2041" fmla="*/ 4617408 h 6756949"/>
                  <a:gd name="connsiteX2042" fmla="*/ 4107538 w 7524134"/>
                  <a:gd name="connsiteY2042" fmla="*/ 4603113 h 6756949"/>
                  <a:gd name="connsiteX2043" fmla="*/ 4117068 w 7524134"/>
                  <a:gd name="connsiteY2043" fmla="*/ 4598347 h 6756949"/>
                  <a:gd name="connsiteX2044" fmla="*/ 4140894 w 7524134"/>
                  <a:gd name="connsiteY2044" fmla="*/ 4579287 h 6756949"/>
                  <a:gd name="connsiteX2045" fmla="*/ 4169484 w 7524134"/>
                  <a:gd name="connsiteY2045" fmla="*/ 4574522 h 6756949"/>
                  <a:gd name="connsiteX2046" fmla="*/ 4183780 w 7524134"/>
                  <a:gd name="connsiteY2046" fmla="*/ 4560227 h 6756949"/>
                  <a:gd name="connsiteX2047" fmla="*/ 4207605 w 7524134"/>
                  <a:gd name="connsiteY2047" fmla="*/ 4541166 h 6756949"/>
                  <a:gd name="connsiteX2048" fmla="*/ 4217136 w 7524134"/>
                  <a:gd name="connsiteY2048" fmla="*/ 4526871 h 6756949"/>
                  <a:gd name="connsiteX2049" fmla="*/ 4240961 w 7524134"/>
                  <a:gd name="connsiteY2049" fmla="*/ 4483985 h 6756949"/>
                  <a:gd name="connsiteX2050" fmla="*/ 4240961 w 7524134"/>
                  <a:gd name="connsiteY2050" fmla="*/ 4479219 h 6756949"/>
                  <a:gd name="connsiteX2051" fmla="*/ 4236196 w 7524134"/>
                  <a:gd name="connsiteY2051" fmla="*/ 4479219 h 6756949"/>
                  <a:gd name="connsiteX2052" fmla="*/ 4183780 w 7524134"/>
                  <a:gd name="connsiteY2052" fmla="*/ 4517341 h 6756949"/>
                  <a:gd name="connsiteX2053" fmla="*/ 4179015 w 7524134"/>
                  <a:gd name="connsiteY2053" fmla="*/ 4522105 h 6756949"/>
                  <a:gd name="connsiteX2054" fmla="*/ 4169484 w 7524134"/>
                  <a:gd name="connsiteY2054" fmla="*/ 4522105 h 6756949"/>
                  <a:gd name="connsiteX2055" fmla="*/ 4126598 w 7524134"/>
                  <a:gd name="connsiteY2055" fmla="*/ 4507810 h 6756949"/>
                  <a:gd name="connsiteX2056" fmla="*/ 4121833 w 7524134"/>
                  <a:gd name="connsiteY2056" fmla="*/ 4498280 h 6756949"/>
                  <a:gd name="connsiteX2057" fmla="*/ 4117068 w 7524134"/>
                  <a:gd name="connsiteY2057" fmla="*/ 4479219 h 6756949"/>
                  <a:gd name="connsiteX2058" fmla="*/ 4126598 w 7524134"/>
                  <a:gd name="connsiteY2058" fmla="*/ 4436333 h 6756949"/>
                  <a:gd name="connsiteX2059" fmla="*/ 4131363 w 7524134"/>
                  <a:gd name="connsiteY2059" fmla="*/ 4417273 h 6756949"/>
                  <a:gd name="connsiteX2060" fmla="*/ 4150424 w 7524134"/>
                  <a:gd name="connsiteY2060" fmla="*/ 4383917 h 6756949"/>
                  <a:gd name="connsiteX2061" fmla="*/ 4179015 w 7524134"/>
                  <a:gd name="connsiteY2061" fmla="*/ 4350561 h 6756949"/>
                  <a:gd name="connsiteX2062" fmla="*/ 4183780 w 7524134"/>
                  <a:gd name="connsiteY2062" fmla="*/ 4326735 h 6756949"/>
                  <a:gd name="connsiteX2063" fmla="*/ 4198075 w 7524134"/>
                  <a:gd name="connsiteY2063" fmla="*/ 4264789 h 6756949"/>
                  <a:gd name="connsiteX2064" fmla="*/ 4198075 w 7524134"/>
                  <a:gd name="connsiteY2064" fmla="*/ 4236198 h 6756949"/>
                  <a:gd name="connsiteX2065" fmla="*/ 4193310 w 7524134"/>
                  <a:gd name="connsiteY2065" fmla="*/ 4202842 h 6756949"/>
                  <a:gd name="connsiteX2066" fmla="*/ 4193310 w 7524134"/>
                  <a:gd name="connsiteY2066" fmla="*/ 4183781 h 6756949"/>
                  <a:gd name="connsiteX2067" fmla="*/ 4198075 w 7524134"/>
                  <a:gd name="connsiteY2067" fmla="*/ 4179016 h 6756949"/>
                  <a:gd name="connsiteX2068" fmla="*/ 4255257 w 7524134"/>
                  <a:gd name="connsiteY2068" fmla="*/ 4145661 h 6756949"/>
                  <a:gd name="connsiteX2069" fmla="*/ 4283847 w 7524134"/>
                  <a:gd name="connsiteY2069" fmla="*/ 4121835 h 6756949"/>
                  <a:gd name="connsiteX2070" fmla="*/ 4336264 w 7524134"/>
                  <a:gd name="connsiteY2070" fmla="*/ 4088479 h 6756949"/>
                  <a:gd name="connsiteX2071" fmla="*/ 4350559 w 7524134"/>
                  <a:gd name="connsiteY2071" fmla="*/ 4088479 h 6756949"/>
                  <a:gd name="connsiteX2072" fmla="*/ 4360090 w 7524134"/>
                  <a:gd name="connsiteY2072" fmla="*/ 4098009 h 6756949"/>
                  <a:gd name="connsiteX2073" fmla="*/ 4374385 w 7524134"/>
                  <a:gd name="connsiteY2073" fmla="*/ 4107539 h 6756949"/>
                  <a:gd name="connsiteX2074" fmla="*/ 4388680 w 7524134"/>
                  <a:gd name="connsiteY2074" fmla="*/ 4117070 h 6756949"/>
                  <a:gd name="connsiteX2075" fmla="*/ 4402976 w 7524134"/>
                  <a:gd name="connsiteY2075" fmla="*/ 4117070 h 6756949"/>
                  <a:gd name="connsiteX2076" fmla="*/ 4426801 w 7524134"/>
                  <a:gd name="connsiteY2076" fmla="*/ 4107539 h 6756949"/>
                  <a:gd name="connsiteX2077" fmla="*/ 4460157 w 7524134"/>
                  <a:gd name="connsiteY2077" fmla="*/ 4112305 h 6756949"/>
                  <a:gd name="connsiteX2078" fmla="*/ 4531634 w 7524134"/>
                  <a:gd name="connsiteY2078" fmla="*/ 4131365 h 6756949"/>
                  <a:gd name="connsiteX2079" fmla="*/ 4550695 w 7524134"/>
                  <a:gd name="connsiteY2079" fmla="*/ 4136130 h 6756949"/>
                  <a:gd name="connsiteX2080" fmla="*/ 4550695 w 7524134"/>
                  <a:gd name="connsiteY2080" fmla="*/ 4131365 h 6756949"/>
                  <a:gd name="connsiteX2081" fmla="*/ 4536399 w 7524134"/>
                  <a:gd name="connsiteY2081" fmla="*/ 4117070 h 6756949"/>
                  <a:gd name="connsiteX2082" fmla="*/ 4488748 w 7524134"/>
                  <a:gd name="connsiteY2082" fmla="*/ 4107539 h 6756949"/>
                  <a:gd name="connsiteX2083" fmla="*/ 4469687 w 7524134"/>
                  <a:gd name="connsiteY2083" fmla="*/ 4098009 h 6756949"/>
                  <a:gd name="connsiteX2084" fmla="*/ 4407741 w 7524134"/>
                  <a:gd name="connsiteY2084" fmla="*/ 4055123 h 6756949"/>
                  <a:gd name="connsiteX2085" fmla="*/ 4398211 w 7524134"/>
                  <a:gd name="connsiteY2085" fmla="*/ 4040827 h 6756949"/>
                  <a:gd name="connsiteX2086" fmla="*/ 4402976 w 7524134"/>
                  <a:gd name="connsiteY2086" fmla="*/ 4031297 h 6756949"/>
                  <a:gd name="connsiteX2087" fmla="*/ 4417271 w 7524134"/>
                  <a:gd name="connsiteY2087" fmla="*/ 4026532 h 6756949"/>
                  <a:gd name="connsiteX2088" fmla="*/ 4422036 w 7524134"/>
                  <a:gd name="connsiteY2088" fmla="*/ 4021767 h 6756949"/>
                  <a:gd name="connsiteX2089" fmla="*/ 4422036 w 7524134"/>
                  <a:gd name="connsiteY2089" fmla="*/ 4007472 h 6756949"/>
                  <a:gd name="connsiteX2090" fmla="*/ 4431566 w 7524134"/>
                  <a:gd name="connsiteY2090" fmla="*/ 3993176 h 6756949"/>
                  <a:gd name="connsiteX2091" fmla="*/ 4445862 w 7524134"/>
                  <a:gd name="connsiteY2091" fmla="*/ 3978881 h 6756949"/>
                  <a:gd name="connsiteX2092" fmla="*/ 4469687 w 7524134"/>
                  <a:gd name="connsiteY2092" fmla="*/ 3959821 h 6756949"/>
                  <a:gd name="connsiteX2093" fmla="*/ 4507808 w 7524134"/>
                  <a:gd name="connsiteY2093" fmla="*/ 3931230 h 6756949"/>
                  <a:gd name="connsiteX2094" fmla="*/ 4493513 w 7524134"/>
                  <a:gd name="connsiteY2094" fmla="*/ 3931230 h 6756949"/>
                  <a:gd name="connsiteX2095" fmla="*/ 4460157 w 7524134"/>
                  <a:gd name="connsiteY2095" fmla="*/ 3935995 h 6756949"/>
                  <a:gd name="connsiteX2096" fmla="*/ 4450627 w 7524134"/>
                  <a:gd name="connsiteY2096" fmla="*/ 3940760 h 6756949"/>
                  <a:gd name="connsiteX2097" fmla="*/ 4431566 w 7524134"/>
                  <a:gd name="connsiteY2097" fmla="*/ 3959821 h 6756949"/>
                  <a:gd name="connsiteX2098" fmla="*/ 4422036 w 7524134"/>
                  <a:gd name="connsiteY2098" fmla="*/ 3974116 h 6756949"/>
                  <a:gd name="connsiteX2099" fmla="*/ 4412506 w 7524134"/>
                  <a:gd name="connsiteY2099" fmla="*/ 3997941 h 6756949"/>
                  <a:gd name="connsiteX2100" fmla="*/ 4407741 w 7524134"/>
                  <a:gd name="connsiteY2100" fmla="*/ 4002707 h 6756949"/>
                  <a:gd name="connsiteX2101" fmla="*/ 4388680 w 7524134"/>
                  <a:gd name="connsiteY2101" fmla="*/ 4007472 h 6756949"/>
                  <a:gd name="connsiteX2102" fmla="*/ 4331499 w 7524134"/>
                  <a:gd name="connsiteY2102" fmla="*/ 4012237 h 6756949"/>
                  <a:gd name="connsiteX2103" fmla="*/ 4321969 w 7524134"/>
                  <a:gd name="connsiteY2103" fmla="*/ 3997941 h 6756949"/>
                  <a:gd name="connsiteX2104" fmla="*/ 4317203 w 7524134"/>
                  <a:gd name="connsiteY2104" fmla="*/ 3997941 h 6756949"/>
                  <a:gd name="connsiteX2105" fmla="*/ 4307673 w 7524134"/>
                  <a:gd name="connsiteY2105" fmla="*/ 3997941 h 6756949"/>
                  <a:gd name="connsiteX2106" fmla="*/ 4255257 w 7524134"/>
                  <a:gd name="connsiteY2106" fmla="*/ 4031297 h 6756949"/>
                  <a:gd name="connsiteX2107" fmla="*/ 4236196 w 7524134"/>
                  <a:gd name="connsiteY2107" fmla="*/ 4050358 h 6756949"/>
                  <a:gd name="connsiteX2108" fmla="*/ 4226666 w 7524134"/>
                  <a:gd name="connsiteY2108" fmla="*/ 4069419 h 6756949"/>
                  <a:gd name="connsiteX2109" fmla="*/ 4202840 w 7524134"/>
                  <a:gd name="connsiteY2109" fmla="*/ 4078949 h 6756949"/>
                  <a:gd name="connsiteX2110" fmla="*/ 4174250 w 7524134"/>
                  <a:gd name="connsiteY2110" fmla="*/ 4088479 h 6756949"/>
                  <a:gd name="connsiteX2111" fmla="*/ 4155189 w 7524134"/>
                  <a:gd name="connsiteY2111" fmla="*/ 4102774 h 6756949"/>
                  <a:gd name="connsiteX2112" fmla="*/ 4131363 w 7524134"/>
                  <a:gd name="connsiteY2112" fmla="*/ 4121835 h 6756949"/>
                  <a:gd name="connsiteX2113" fmla="*/ 4126598 w 7524134"/>
                  <a:gd name="connsiteY2113" fmla="*/ 4140895 h 6756949"/>
                  <a:gd name="connsiteX2114" fmla="*/ 4126598 w 7524134"/>
                  <a:gd name="connsiteY2114" fmla="*/ 4150425 h 6756949"/>
                  <a:gd name="connsiteX2115" fmla="*/ 4131363 w 7524134"/>
                  <a:gd name="connsiteY2115" fmla="*/ 4174251 h 6756949"/>
                  <a:gd name="connsiteX2116" fmla="*/ 4126598 w 7524134"/>
                  <a:gd name="connsiteY2116" fmla="*/ 4179016 h 6756949"/>
                  <a:gd name="connsiteX2117" fmla="*/ 4112303 w 7524134"/>
                  <a:gd name="connsiteY2117" fmla="*/ 4179016 h 6756949"/>
                  <a:gd name="connsiteX2118" fmla="*/ 4093242 w 7524134"/>
                  <a:gd name="connsiteY2118" fmla="*/ 4198077 h 6756949"/>
                  <a:gd name="connsiteX2119" fmla="*/ 4050356 w 7524134"/>
                  <a:gd name="connsiteY2119" fmla="*/ 4245728 h 6756949"/>
                  <a:gd name="connsiteX2120" fmla="*/ 4045591 w 7524134"/>
                  <a:gd name="connsiteY2120" fmla="*/ 4264789 h 6756949"/>
                  <a:gd name="connsiteX2121" fmla="*/ 4045591 w 7524134"/>
                  <a:gd name="connsiteY2121" fmla="*/ 4269553 h 6756949"/>
                  <a:gd name="connsiteX2122" fmla="*/ 4050356 w 7524134"/>
                  <a:gd name="connsiteY2122" fmla="*/ 4283849 h 6756949"/>
                  <a:gd name="connsiteX2123" fmla="*/ 4045591 w 7524134"/>
                  <a:gd name="connsiteY2123" fmla="*/ 4293379 h 6756949"/>
                  <a:gd name="connsiteX2124" fmla="*/ 4036061 w 7524134"/>
                  <a:gd name="connsiteY2124" fmla="*/ 4307675 h 6756949"/>
                  <a:gd name="connsiteX2125" fmla="*/ 4007470 w 7524134"/>
                  <a:gd name="connsiteY2125" fmla="*/ 4326735 h 6756949"/>
                  <a:gd name="connsiteX2126" fmla="*/ 3988410 w 7524134"/>
                  <a:gd name="connsiteY2126" fmla="*/ 4336265 h 6756949"/>
                  <a:gd name="connsiteX2127" fmla="*/ 3978879 w 7524134"/>
                  <a:gd name="connsiteY2127" fmla="*/ 4336265 h 6756949"/>
                  <a:gd name="connsiteX2128" fmla="*/ 3969349 w 7524134"/>
                  <a:gd name="connsiteY2128" fmla="*/ 4336265 h 6756949"/>
                  <a:gd name="connsiteX2129" fmla="*/ 3945523 w 7524134"/>
                  <a:gd name="connsiteY2129" fmla="*/ 4321970 h 6756949"/>
                  <a:gd name="connsiteX2130" fmla="*/ 3931228 w 7524134"/>
                  <a:gd name="connsiteY2130" fmla="*/ 4317205 h 6756949"/>
                  <a:gd name="connsiteX2131" fmla="*/ 3931228 w 7524134"/>
                  <a:gd name="connsiteY2131" fmla="*/ 4321970 h 6756949"/>
                  <a:gd name="connsiteX2132" fmla="*/ 3950289 w 7524134"/>
                  <a:gd name="connsiteY2132" fmla="*/ 4336265 h 6756949"/>
                  <a:gd name="connsiteX2133" fmla="*/ 3974114 w 7524134"/>
                  <a:gd name="connsiteY2133" fmla="*/ 4355326 h 6756949"/>
                  <a:gd name="connsiteX2134" fmla="*/ 3988410 w 7524134"/>
                  <a:gd name="connsiteY2134" fmla="*/ 4374387 h 6756949"/>
                  <a:gd name="connsiteX2135" fmla="*/ 3993175 w 7524134"/>
                  <a:gd name="connsiteY2135" fmla="*/ 4383917 h 6756949"/>
                  <a:gd name="connsiteX2136" fmla="*/ 3993175 w 7524134"/>
                  <a:gd name="connsiteY2136" fmla="*/ 4398212 h 6756949"/>
                  <a:gd name="connsiteX2137" fmla="*/ 3988410 w 7524134"/>
                  <a:gd name="connsiteY2137" fmla="*/ 4412507 h 6756949"/>
                  <a:gd name="connsiteX2138" fmla="*/ 3974114 w 7524134"/>
                  <a:gd name="connsiteY2138" fmla="*/ 4436333 h 6756949"/>
                  <a:gd name="connsiteX2139" fmla="*/ 3959819 w 7524134"/>
                  <a:gd name="connsiteY2139" fmla="*/ 4445863 h 6756949"/>
                  <a:gd name="connsiteX2140" fmla="*/ 3916933 w 7524134"/>
                  <a:gd name="connsiteY2140" fmla="*/ 4450629 h 6756949"/>
                  <a:gd name="connsiteX2141" fmla="*/ 3907402 w 7524134"/>
                  <a:gd name="connsiteY2141" fmla="*/ 4455393 h 6756949"/>
                  <a:gd name="connsiteX2142" fmla="*/ 3902637 w 7524134"/>
                  <a:gd name="connsiteY2142" fmla="*/ 4460159 h 6756949"/>
                  <a:gd name="connsiteX2143" fmla="*/ 3931228 w 7524134"/>
                  <a:gd name="connsiteY2143" fmla="*/ 4469689 h 6756949"/>
                  <a:gd name="connsiteX2144" fmla="*/ 3931228 w 7524134"/>
                  <a:gd name="connsiteY2144" fmla="*/ 4474454 h 6756949"/>
                  <a:gd name="connsiteX2145" fmla="*/ 3926463 w 7524134"/>
                  <a:gd name="connsiteY2145" fmla="*/ 4498280 h 6756949"/>
                  <a:gd name="connsiteX2146" fmla="*/ 3921698 w 7524134"/>
                  <a:gd name="connsiteY2146" fmla="*/ 4503045 h 6756949"/>
                  <a:gd name="connsiteX2147" fmla="*/ 3897872 w 7524134"/>
                  <a:gd name="connsiteY2147" fmla="*/ 4512575 h 6756949"/>
                  <a:gd name="connsiteX2148" fmla="*/ 3878812 w 7524134"/>
                  <a:gd name="connsiteY2148" fmla="*/ 4517341 h 6756949"/>
                  <a:gd name="connsiteX2149" fmla="*/ 3874047 w 7524134"/>
                  <a:gd name="connsiteY2149" fmla="*/ 4517341 h 6756949"/>
                  <a:gd name="connsiteX2150" fmla="*/ 3878812 w 7524134"/>
                  <a:gd name="connsiteY2150" fmla="*/ 4498280 h 6756949"/>
                  <a:gd name="connsiteX2151" fmla="*/ 3869281 w 7524134"/>
                  <a:gd name="connsiteY2151" fmla="*/ 4493515 h 6756949"/>
                  <a:gd name="connsiteX2152" fmla="*/ 3859751 w 7524134"/>
                  <a:gd name="connsiteY2152" fmla="*/ 4498280 h 6756949"/>
                  <a:gd name="connsiteX2153" fmla="*/ 3831160 w 7524134"/>
                  <a:gd name="connsiteY2153" fmla="*/ 4522105 h 6756949"/>
                  <a:gd name="connsiteX2154" fmla="*/ 3831160 w 7524134"/>
                  <a:gd name="connsiteY2154" fmla="*/ 4526871 h 6756949"/>
                  <a:gd name="connsiteX2155" fmla="*/ 3840691 w 7524134"/>
                  <a:gd name="connsiteY2155" fmla="*/ 4531635 h 6756949"/>
                  <a:gd name="connsiteX2156" fmla="*/ 3840691 w 7524134"/>
                  <a:gd name="connsiteY2156" fmla="*/ 4536401 h 6756949"/>
                  <a:gd name="connsiteX2157" fmla="*/ 3826395 w 7524134"/>
                  <a:gd name="connsiteY2157" fmla="*/ 4550696 h 6756949"/>
                  <a:gd name="connsiteX2158" fmla="*/ 3816865 w 7524134"/>
                  <a:gd name="connsiteY2158" fmla="*/ 4564991 h 6756949"/>
                  <a:gd name="connsiteX2159" fmla="*/ 3807335 w 7524134"/>
                  <a:gd name="connsiteY2159" fmla="*/ 4574522 h 6756949"/>
                  <a:gd name="connsiteX2160" fmla="*/ 3764449 w 7524134"/>
                  <a:gd name="connsiteY2160" fmla="*/ 4607877 h 6756949"/>
                  <a:gd name="connsiteX2161" fmla="*/ 3769214 w 7524134"/>
                  <a:gd name="connsiteY2161" fmla="*/ 4617408 h 6756949"/>
                  <a:gd name="connsiteX2162" fmla="*/ 3759683 w 7524134"/>
                  <a:gd name="connsiteY2162" fmla="*/ 4645999 h 6756949"/>
                  <a:gd name="connsiteX2163" fmla="*/ 3750153 w 7524134"/>
                  <a:gd name="connsiteY2163" fmla="*/ 4674589 h 6756949"/>
                  <a:gd name="connsiteX2164" fmla="*/ 3759683 w 7524134"/>
                  <a:gd name="connsiteY2164" fmla="*/ 4684120 h 6756949"/>
                  <a:gd name="connsiteX2165" fmla="*/ 3793039 w 7524134"/>
                  <a:gd name="connsiteY2165" fmla="*/ 4698415 h 6756949"/>
                  <a:gd name="connsiteX2166" fmla="*/ 3812100 w 7524134"/>
                  <a:gd name="connsiteY2166" fmla="*/ 4698415 h 6756949"/>
                  <a:gd name="connsiteX2167" fmla="*/ 3831160 w 7524134"/>
                  <a:gd name="connsiteY2167" fmla="*/ 4707945 h 6756949"/>
                  <a:gd name="connsiteX2168" fmla="*/ 3869281 w 7524134"/>
                  <a:gd name="connsiteY2168" fmla="*/ 4731771 h 6756949"/>
                  <a:gd name="connsiteX2169" fmla="*/ 3883577 w 7524134"/>
                  <a:gd name="connsiteY2169" fmla="*/ 4746067 h 6756949"/>
                  <a:gd name="connsiteX2170" fmla="*/ 3883577 w 7524134"/>
                  <a:gd name="connsiteY2170" fmla="*/ 4755597 h 6756949"/>
                  <a:gd name="connsiteX2171" fmla="*/ 3883577 w 7524134"/>
                  <a:gd name="connsiteY2171" fmla="*/ 4765127 h 6756949"/>
                  <a:gd name="connsiteX2172" fmla="*/ 3878812 w 7524134"/>
                  <a:gd name="connsiteY2172" fmla="*/ 4774657 h 6756949"/>
                  <a:gd name="connsiteX2173" fmla="*/ 3869281 w 7524134"/>
                  <a:gd name="connsiteY2173" fmla="*/ 4793717 h 6756949"/>
                  <a:gd name="connsiteX2174" fmla="*/ 3840691 w 7524134"/>
                  <a:gd name="connsiteY2174" fmla="*/ 4822309 h 6756949"/>
                  <a:gd name="connsiteX2175" fmla="*/ 3826395 w 7524134"/>
                  <a:gd name="connsiteY2175" fmla="*/ 4831839 h 6756949"/>
                  <a:gd name="connsiteX2176" fmla="*/ 3807335 w 7524134"/>
                  <a:gd name="connsiteY2176" fmla="*/ 4841369 h 6756949"/>
                  <a:gd name="connsiteX2177" fmla="*/ 3802570 w 7524134"/>
                  <a:gd name="connsiteY2177" fmla="*/ 4846134 h 6756949"/>
                  <a:gd name="connsiteX2178" fmla="*/ 3773979 w 7524134"/>
                  <a:gd name="connsiteY2178" fmla="*/ 4874725 h 6756949"/>
                  <a:gd name="connsiteX2179" fmla="*/ 3769214 w 7524134"/>
                  <a:gd name="connsiteY2179" fmla="*/ 4889020 h 6756949"/>
                  <a:gd name="connsiteX2180" fmla="*/ 3769214 w 7524134"/>
                  <a:gd name="connsiteY2180" fmla="*/ 4903315 h 6756949"/>
                  <a:gd name="connsiteX2181" fmla="*/ 3764449 w 7524134"/>
                  <a:gd name="connsiteY2181" fmla="*/ 4912846 h 6756949"/>
                  <a:gd name="connsiteX2182" fmla="*/ 3735858 w 7524134"/>
                  <a:gd name="connsiteY2182" fmla="*/ 4927141 h 6756949"/>
                  <a:gd name="connsiteX2183" fmla="*/ 3735858 w 7524134"/>
                  <a:gd name="connsiteY2183" fmla="*/ 4931907 h 6756949"/>
                  <a:gd name="connsiteX2184" fmla="*/ 3745388 w 7524134"/>
                  <a:gd name="connsiteY2184" fmla="*/ 4931907 h 6756949"/>
                  <a:gd name="connsiteX2185" fmla="*/ 3740623 w 7524134"/>
                  <a:gd name="connsiteY2185" fmla="*/ 4950967 h 6756949"/>
                  <a:gd name="connsiteX2186" fmla="*/ 3740623 w 7524134"/>
                  <a:gd name="connsiteY2186" fmla="*/ 4970027 h 6756949"/>
                  <a:gd name="connsiteX2187" fmla="*/ 3735858 w 7524134"/>
                  <a:gd name="connsiteY2187" fmla="*/ 4974793 h 6756949"/>
                  <a:gd name="connsiteX2188" fmla="*/ 3716797 w 7524134"/>
                  <a:gd name="connsiteY2188" fmla="*/ 4974793 h 6756949"/>
                  <a:gd name="connsiteX2189" fmla="*/ 3688207 w 7524134"/>
                  <a:gd name="connsiteY2189" fmla="*/ 4984323 h 6756949"/>
                  <a:gd name="connsiteX2190" fmla="*/ 3688207 w 7524134"/>
                  <a:gd name="connsiteY2190" fmla="*/ 5003383 h 6756949"/>
                  <a:gd name="connsiteX2191" fmla="*/ 3621495 w 7524134"/>
                  <a:gd name="connsiteY2191" fmla="*/ 5012913 h 6756949"/>
                  <a:gd name="connsiteX2192" fmla="*/ 3607199 w 7524134"/>
                  <a:gd name="connsiteY2192" fmla="*/ 5046269 h 6756949"/>
                  <a:gd name="connsiteX2193" fmla="*/ 3597669 w 7524134"/>
                  <a:gd name="connsiteY2193" fmla="*/ 5055799 h 6756949"/>
                  <a:gd name="connsiteX2194" fmla="*/ 3573844 w 7524134"/>
                  <a:gd name="connsiteY2194" fmla="*/ 5074860 h 6756949"/>
                  <a:gd name="connsiteX2195" fmla="*/ 3559548 w 7524134"/>
                  <a:gd name="connsiteY2195" fmla="*/ 5084391 h 6756949"/>
                  <a:gd name="connsiteX2196" fmla="*/ 3540488 w 7524134"/>
                  <a:gd name="connsiteY2196" fmla="*/ 5089155 h 6756949"/>
                  <a:gd name="connsiteX2197" fmla="*/ 3530957 w 7524134"/>
                  <a:gd name="connsiteY2197" fmla="*/ 5098686 h 6756949"/>
                  <a:gd name="connsiteX2198" fmla="*/ 3530957 w 7524134"/>
                  <a:gd name="connsiteY2198" fmla="*/ 5108216 h 6756949"/>
                  <a:gd name="connsiteX2199" fmla="*/ 3526192 w 7524134"/>
                  <a:gd name="connsiteY2199" fmla="*/ 5112981 h 6756949"/>
                  <a:gd name="connsiteX2200" fmla="*/ 3511897 w 7524134"/>
                  <a:gd name="connsiteY2200" fmla="*/ 5127277 h 6756949"/>
                  <a:gd name="connsiteX2201" fmla="*/ 3502367 w 7524134"/>
                  <a:gd name="connsiteY2201" fmla="*/ 5146337 h 6756949"/>
                  <a:gd name="connsiteX2202" fmla="*/ 3497602 w 7524134"/>
                  <a:gd name="connsiteY2202" fmla="*/ 5146337 h 6756949"/>
                  <a:gd name="connsiteX2203" fmla="*/ 3469011 w 7524134"/>
                  <a:gd name="connsiteY2203" fmla="*/ 5151102 h 6756949"/>
                  <a:gd name="connsiteX2204" fmla="*/ 3459481 w 7524134"/>
                  <a:gd name="connsiteY2204" fmla="*/ 5155867 h 6756949"/>
                  <a:gd name="connsiteX2205" fmla="*/ 3459481 w 7524134"/>
                  <a:gd name="connsiteY2205" fmla="*/ 5179693 h 6756949"/>
                  <a:gd name="connsiteX2206" fmla="*/ 3454715 w 7524134"/>
                  <a:gd name="connsiteY2206" fmla="*/ 5179693 h 6756949"/>
                  <a:gd name="connsiteX2207" fmla="*/ 3440420 w 7524134"/>
                  <a:gd name="connsiteY2207" fmla="*/ 5174928 h 6756949"/>
                  <a:gd name="connsiteX2208" fmla="*/ 3430890 w 7524134"/>
                  <a:gd name="connsiteY2208" fmla="*/ 5179693 h 6756949"/>
                  <a:gd name="connsiteX2209" fmla="*/ 3397534 w 7524134"/>
                  <a:gd name="connsiteY2209" fmla="*/ 5208283 h 6756949"/>
                  <a:gd name="connsiteX2210" fmla="*/ 3392769 w 7524134"/>
                  <a:gd name="connsiteY2210" fmla="*/ 5213049 h 6756949"/>
                  <a:gd name="connsiteX2211" fmla="*/ 3392769 w 7524134"/>
                  <a:gd name="connsiteY2211" fmla="*/ 5217814 h 6756949"/>
                  <a:gd name="connsiteX2212" fmla="*/ 3397534 w 7524134"/>
                  <a:gd name="connsiteY2212" fmla="*/ 5227344 h 6756949"/>
                  <a:gd name="connsiteX2213" fmla="*/ 3407064 w 7524134"/>
                  <a:gd name="connsiteY2213" fmla="*/ 5241639 h 6756949"/>
                  <a:gd name="connsiteX2214" fmla="*/ 3407064 w 7524134"/>
                  <a:gd name="connsiteY2214" fmla="*/ 5251170 h 6756949"/>
                  <a:gd name="connsiteX2215" fmla="*/ 3392769 w 7524134"/>
                  <a:gd name="connsiteY2215" fmla="*/ 5279761 h 6756949"/>
                  <a:gd name="connsiteX2216" fmla="*/ 3388004 w 7524134"/>
                  <a:gd name="connsiteY2216" fmla="*/ 5284525 h 6756949"/>
                  <a:gd name="connsiteX2217" fmla="*/ 3373708 w 7524134"/>
                  <a:gd name="connsiteY2217" fmla="*/ 5289291 h 6756949"/>
                  <a:gd name="connsiteX2218" fmla="*/ 3368943 w 7524134"/>
                  <a:gd name="connsiteY2218" fmla="*/ 5308351 h 6756949"/>
                  <a:gd name="connsiteX2219" fmla="*/ 3354648 w 7524134"/>
                  <a:gd name="connsiteY2219" fmla="*/ 5303586 h 6756949"/>
                  <a:gd name="connsiteX2220" fmla="*/ 3345117 w 7524134"/>
                  <a:gd name="connsiteY2220" fmla="*/ 5308351 h 6756949"/>
                  <a:gd name="connsiteX2221" fmla="*/ 3340352 w 7524134"/>
                  <a:gd name="connsiteY2221" fmla="*/ 5317881 h 6756949"/>
                  <a:gd name="connsiteX2222" fmla="*/ 3330822 w 7524134"/>
                  <a:gd name="connsiteY2222" fmla="*/ 5322647 h 6756949"/>
                  <a:gd name="connsiteX2223" fmla="*/ 3321292 w 7524134"/>
                  <a:gd name="connsiteY2223" fmla="*/ 5327412 h 6756949"/>
                  <a:gd name="connsiteX2224" fmla="*/ 3311762 w 7524134"/>
                  <a:gd name="connsiteY2224" fmla="*/ 5332177 h 6756949"/>
                  <a:gd name="connsiteX2225" fmla="*/ 3302231 w 7524134"/>
                  <a:gd name="connsiteY2225" fmla="*/ 5351237 h 6756949"/>
                  <a:gd name="connsiteX2226" fmla="*/ 3287936 w 7524134"/>
                  <a:gd name="connsiteY2226" fmla="*/ 5360768 h 6756949"/>
                  <a:gd name="connsiteX2227" fmla="*/ 3278406 w 7524134"/>
                  <a:gd name="connsiteY2227" fmla="*/ 5365533 h 6756949"/>
                  <a:gd name="connsiteX2228" fmla="*/ 3268875 w 7524134"/>
                  <a:gd name="connsiteY2228" fmla="*/ 5365533 h 6756949"/>
                  <a:gd name="connsiteX2229" fmla="*/ 3259345 w 7524134"/>
                  <a:gd name="connsiteY2229" fmla="*/ 5360768 h 6756949"/>
                  <a:gd name="connsiteX2230" fmla="*/ 3249815 w 7524134"/>
                  <a:gd name="connsiteY2230" fmla="*/ 5365533 h 6756949"/>
                  <a:gd name="connsiteX2231" fmla="*/ 3240285 w 7524134"/>
                  <a:gd name="connsiteY2231" fmla="*/ 5370298 h 6756949"/>
                  <a:gd name="connsiteX2232" fmla="*/ 3235520 w 7524134"/>
                  <a:gd name="connsiteY2232" fmla="*/ 5379829 h 6756949"/>
                  <a:gd name="connsiteX2233" fmla="*/ 3225989 w 7524134"/>
                  <a:gd name="connsiteY2233" fmla="*/ 5403654 h 6756949"/>
                  <a:gd name="connsiteX2234" fmla="*/ 3221224 w 7524134"/>
                  <a:gd name="connsiteY2234" fmla="*/ 5413184 h 6756949"/>
                  <a:gd name="connsiteX2235" fmla="*/ 3216459 w 7524134"/>
                  <a:gd name="connsiteY2235" fmla="*/ 5413184 h 6756949"/>
                  <a:gd name="connsiteX2236" fmla="*/ 3206929 w 7524134"/>
                  <a:gd name="connsiteY2236" fmla="*/ 5413184 h 6756949"/>
                  <a:gd name="connsiteX2237" fmla="*/ 3187868 w 7524134"/>
                  <a:gd name="connsiteY2237" fmla="*/ 5408419 h 6756949"/>
                  <a:gd name="connsiteX2238" fmla="*/ 3173573 w 7524134"/>
                  <a:gd name="connsiteY2238" fmla="*/ 5408419 h 6756949"/>
                  <a:gd name="connsiteX2239" fmla="*/ 3149747 w 7524134"/>
                  <a:gd name="connsiteY2239" fmla="*/ 5427479 h 6756949"/>
                  <a:gd name="connsiteX2240" fmla="*/ 3140217 w 7524134"/>
                  <a:gd name="connsiteY2240" fmla="*/ 5437010 h 6756949"/>
                  <a:gd name="connsiteX2241" fmla="*/ 3159277 w 7524134"/>
                  <a:gd name="connsiteY2241" fmla="*/ 5441775 h 6756949"/>
                  <a:gd name="connsiteX2242" fmla="*/ 3164043 w 7524134"/>
                  <a:gd name="connsiteY2242" fmla="*/ 5441775 h 6756949"/>
                  <a:gd name="connsiteX2243" fmla="*/ 3164043 w 7524134"/>
                  <a:gd name="connsiteY2243" fmla="*/ 5446540 h 6756949"/>
                  <a:gd name="connsiteX2244" fmla="*/ 3159277 w 7524134"/>
                  <a:gd name="connsiteY2244" fmla="*/ 5451305 h 6756949"/>
                  <a:gd name="connsiteX2245" fmla="*/ 3144982 w 7524134"/>
                  <a:gd name="connsiteY2245" fmla="*/ 5451305 h 6756949"/>
                  <a:gd name="connsiteX2246" fmla="*/ 3135452 w 7524134"/>
                  <a:gd name="connsiteY2246" fmla="*/ 5451305 h 6756949"/>
                  <a:gd name="connsiteX2247" fmla="*/ 3125922 w 7524134"/>
                  <a:gd name="connsiteY2247" fmla="*/ 5456071 h 6756949"/>
                  <a:gd name="connsiteX2248" fmla="*/ 3102096 w 7524134"/>
                  <a:gd name="connsiteY2248" fmla="*/ 5465601 h 6756949"/>
                  <a:gd name="connsiteX2249" fmla="*/ 3087801 w 7524134"/>
                  <a:gd name="connsiteY2249" fmla="*/ 5470365 h 6756949"/>
                  <a:gd name="connsiteX2250" fmla="*/ 3068740 w 7524134"/>
                  <a:gd name="connsiteY2250" fmla="*/ 5498957 h 6756949"/>
                  <a:gd name="connsiteX2251" fmla="*/ 3068740 w 7524134"/>
                  <a:gd name="connsiteY2251" fmla="*/ 5503721 h 6756949"/>
                  <a:gd name="connsiteX2252" fmla="*/ 3068740 w 7524134"/>
                  <a:gd name="connsiteY2252" fmla="*/ 5508487 h 6756949"/>
                  <a:gd name="connsiteX2253" fmla="*/ 3083035 w 7524134"/>
                  <a:gd name="connsiteY2253" fmla="*/ 5503721 h 6756949"/>
                  <a:gd name="connsiteX2254" fmla="*/ 3092566 w 7524134"/>
                  <a:gd name="connsiteY2254" fmla="*/ 5508487 h 6756949"/>
                  <a:gd name="connsiteX2255" fmla="*/ 3102096 w 7524134"/>
                  <a:gd name="connsiteY2255" fmla="*/ 5513252 h 6756949"/>
                  <a:gd name="connsiteX2256" fmla="*/ 3106861 w 7524134"/>
                  <a:gd name="connsiteY2256" fmla="*/ 5522782 h 6756949"/>
                  <a:gd name="connsiteX2257" fmla="*/ 3106861 w 7524134"/>
                  <a:gd name="connsiteY2257" fmla="*/ 5537077 h 6756949"/>
                  <a:gd name="connsiteX2258" fmla="*/ 3111626 w 7524134"/>
                  <a:gd name="connsiteY2258" fmla="*/ 5537077 h 6756949"/>
                  <a:gd name="connsiteX2259" fmla="*/ 3087801 w 7524134"/>
                  <a:gd name="connsiteY2259" fmla="*/ 5560903 h 6756949"/>
                  <a:gd name="connsiteX2260" fmla="*/ 3078270 w 7524134"/>
                  <a:gd name="connsiteY2260" fmla="*/ 5570433 h 6756949"/>
                  <a:gd name="connsiteX2261" fmla="*/ 3078270 w 7524134"/>
                  <a:gd name="connsiteY2261" fmla="*/ 5575199 h 6756949"/>
                  <a:gd name="connsiteX2262" fmla="*/ 3073505 w 7524134"/>
                  <a:gd name="connsiteY2262" fmla="*/ 5570433 h 6756949"/>
                  <a:gd name="connsiteX2263" fmla="*/ 3068740 w 7524134"/>
                  <a:gd name="connsiteY2263" fmla="*/ 5546607 h 6756949"/>
                  <a:gd name="connsiteX2264" fmla="*/ 3068740 w 7524134"/>
                  <a:gd name="connsiteY2264" fmla="*/ 5541843 h 6756949"/>
                  <a:gd name="connsiteX2265" fmla="*/ 3063975 w 7524134"/>
                  <a:gd name="connsiteY2265" fmla="*/ 5541843 h 6756949"/>
                  <a:gd name="connsiteX2266" fmla="*/ 3059210 w 7524134"/>
                  <a:gd name="connsiteY2266" fmla="*/ 5551373 h 6756949"/>
                  <a:gd name="connsiteX2267" fmla="*/ 3044914 w 7524134"/>
                  <a:gd name="connsiteY2267" fmla="*/ 5579963 h 6756949"/>
                  <a:gd name="connsiteX2268" fmla="*/ 3030619 w 7524134"/>
                  <a:gd name="connsiteY2268" fmla="*/ 5594259 h 6756949"/>
                  <a:gd name="connsiteX2269" fmla="*/ 2930551 w 7524134"/>
                  <a:gd name="connsiteY2269" fmla="*/ 5637145 h 6756949"/>
                  <a:gd name="connsiteX2270" fmla="*/ 2916256 w 7524134"/>
                  <a:gd name="connsiteY2270" fmla="*/ 5646675 h 6756949"/>
                  <a:gd name="connsiteX2271" fmla="*/ 2911491 w 7524134"/>
                  <a:gd name="connsiteY2271" fmla="*/ 5660971 h 6756949"/>
                  <a:gd name="connsiteX2272" fmla="*/ 2911491 w 7524134"/>
                  <a:gd name="connsiteY2272" fmla="*/ 5675266 h 6756949"/>
                  <a:gd name="connsiteX2273" fmla="*/ 2901961 w 7524134"/>
                  <a:gd name="connsiteY2273" fmla="*/ 5689561 h 6756949"/>
                  <a:gd name="connsiteX2274" fmla="*/ 2897195 w 7524134"/>
                  <a:gd name="connsiteY2274" fmla="*/ 5694327 h 6756949"/>
                  <a:gd name="connsiteX2275" fmla="*/ 2892430 w 7524134"/>
                  <a:gd name="connsiteY2275" fmla="*/ 5689561 h 6756949"/>
                  <a:gd name="connsiteX2276" fmla="*/ 2892430 w 7524134"/>
                  <a:gd name="connsiteY2276" fmla="*/ 5651441 h 6756949"/>
                  <a:gd name="connsiteX2277" fmla="*/ 2892430 w 7524134"/>
                  <a:gd name="connsiteY2277" fmla="*/ 5641911 h 6756949"/>
                  <a:gd name="connsiteX2278" fmla="*/ 2882900 w 7524134"/>
                  <a:gd name="connsiteY2278" fmla="*/ 5637145 h 6756949"/>
                  <a:gd name="connsiteX2279" fmla="*/ 2878135 w 7524134"/>
                  <a:gd name="connsiteY2279" fmla="*/ 5637145 h 6756949"/>
                  <a:gd name="connsiteX2280" fmla="*/ 2873370 w 7524134"/>
                  <a:gd name="connsiteY2280" fmla="*/ 5637145 h 6756949"/>
                  <a:gd name="connsiteX2281" fmla="*/ 2863840 w 7524134"/>
                  <a:gd name="connsiteY2281" fmla="*/ 5646675 h 6756949"/>
                  <a:gd name="connsiteX2282" fmla="*/ 2854309 w 7524134"/>
                  <a:gd name="connsiteY2282" fmla="*/ 5651441 h 6756949"/>
                  <a:gd name="connsiteX2283" fmla="*/ 2849544 w 7524134"/>
                  <a:gd name="connsiteY2283" fmla="*/ 5651441 h 6756949"/>
                  <a:gd name="connsiteX2284" fmla="*/ 2835249 w 7524134"/>
                  <a:gd name="connsiteY2284" fmla="*/ 5660971 h 6756949"/>
                  <a:gd name="connsiteX2285" fmla="*/ 2806658 w 7524134"/>
                  <a:gd name="connsiteY2285" fmla="*/ 5684797 h 6756949"/>
                  <a:gd name="connsiteX2286" fmla="*/ 2782832 w 7524134"/>
                  <a:gd name="connsiteY2286" fmla="*/ 5694327 h 6756949"/>
                  <a:gd name="connsiteX2287" fmla="*/ 2778067 w 7524134"/>
                  <a:gd name="connsiteY2287" fmla="*/ 5699092 h 6756949"/>
                  <a:gd name="connsiteX2288" fmla="*/ 2768537 w 7524134"/>
                  <a:gd name="connsiteY2288" fmla="*/ 5713387 h 6756949"/>
                  <a:gd name="connsiteX2289" fmla="*/ 2763772 w 7524134"/>
                  <a:gd name="connsiteY2289" fmla="*/ 5722917 h 6756949"/>
                  <a:gd name="connsiteX2290" fmla="*/ 2754242 w 7524134"/>
                  <a:gd name="connsiteY2290" fmla="*/ 5722917 h 6756949"/>
                  <a:gd name="connsiteX2291" fmla="*/ 2744711 w 7524134"/>
                  <a:gd name="connsiteY2291" fmla="*/ 5718153 h 6756949"/>
                  <a:gd name="connsiteX2292" fmla="*/ 2735181 w 7524134"/>
                  <a:gd name="connsiteY2292" fmla="*/ 5718153 h 6756949"/>
                  <a:gd name="connsiteX2293" fmla="*/ 2730416 w 7524134"/>
                  <a:gd name="connsiteY2293" fmla="*/ 5732447 h 6756949"/>
                  <a:gd name="connsiteX2294" fmla="*/ 2720886 w 7524134"/>
                  <a:gd name="connsiteY2294" fmla="*/ 5737213 h 6756949"/>
                  <a:gd name="connsiteX2295" fmla="*/ 2701825 w 7524134"/>
                  <a:gd name="connsiteY2295" fmla="*/ 5727683 h 6756949"/>
                  <a:gd name="connsiteX2296" fmla="*/ 2692295 w 7524134"/>
                  <a:gd name="connsiteY2296" fmla="*/ 5732447 h 6756949"/>
                  <a:gd name="connsiteX2297" fmla="*/ 2682765 w 7524134"/>
                  <a:gd name="connsiteY2297" fmla="*/ 5746743 h 6756949"/>
                  <a:gd name="connsiteX2298" fmla="*/ 2668469 w 7524134"/>
                  <a:gd name="connsiteY2298" fmla="*/ 5756273 h 6756949"/>
                  <a:gd name="connsiteX2299" fmla="*/ 2658939 w 7524134"/>
                  <a:gd name="connsiteY2299" fmla="*/ 5761039 h 6756949"/>
                  <a:gd name="connsiteX2300" fmla="*/ 2625583 w 7524134"/>
                  <a:gd name="connsiteY2300" fmla="*/ 5765803 h 6756949"/>
                  <a:gd name="connsiteX2301" fmla="*/ 2616053 w 7524134"/>
                  <a:gd name="connsiteY2301" fmla="*/ 5765803 h 6756949"/>
                  <a:gd name="connsiteX2302" fmla="*/ 2611288 w 7524134"/>
                  <a:gd name="connsiteY2302" fmla="*/ 5761039 h 6756949"/>
                  <a:gd name="connsiteX2303" fmla="*/ 2611288 w 7524134"/>
                  <a:gd name="connsiteY2303" fmla="*/ 5741978 h 6756949"/>
                  <a:gd name="connsiteX2304" fmla="*/ 2616053 w 7524134"/>
                  <a:gd name="connsiteY2304" fmla="*/ 5727683 h 6756949"/>
                  <a:gd name="connsiteX2305" fmla="*/ 2620818 w 7524134"/>
                  <a:gd name="connsiteY2305" fmla="*/ 5722917 h 6756949"/>
                  <a:gd name="connsiteX2306" fmla="*/ 2630348 w 7524134"/>
                  <a:gd name="connsiteY2306" fmla="*/ 5718153 h 6756949"/>
                  <a:gd name="connsiteX2307" fmla="*/ 2635113 w 7524134"/>
                  <a:gd name="connsiteY2307" fmla="*/ 5713387 h 6756949"/>
                  <a:gd name="connsiteX2308" fmla="*/ 2654174 w 7524134"/>
                  <a:gd name="connsiteY2308" fmla="*/ 5718153 h 6756949"/>
                  <a:gd name="connsiteX2309" fmla="*/ 2654174 w 7524134"/>
                  <a:gd name="connsiteY2309" fmla="*/ 5713387 h 6756949"/>
                  <a:gd name="connsiteX2310" fmla="*/ 2644644 w 7524134"/>
                  <a:gd name="connsiteY2310" fmla="*/ 5708622 h 6756949"/>
                  <a:gd name="connsiteX2311" fmla="*/ 2630348 w 7524134"/>
                  <a:gd name="connsiteY2311" fmla="*/ 5699092 h 6756949"/>
                  <a:gd name="connsiteX2312" fmla="*/ 2616053 w 7524134"/>
                  <a:gd name="connsiteY2312" fmla="*/ 5694327 h 6756949"/>
                  <a:gd name="connsiteX2313" fmla="*/ 2606523 w 7524134"/>
                  <a:gd name="connsiteY2313" fmla="*/ 5699092 h 6756949"/>
                  <a:gd name="connsiteX2314" fmla="*/ 2592227 w 7524134"/>
                  <a:gd name="connsiteY2314" fmla="*/ 5703857 h 6756949"/>
                  <a:gd name="connsiteX2315" fmla="*/ 2582697 w 7524134"/>
                  <a:gd name="connsiteY2315" fmla="*/ 5713387 h 6756949"/>
                  <a:gd name="connsiteX2316" fmla="*/ 2577932 w 7524134"/>
                  <a:gd name="connsiteY2316" fmla="*/ 5722917 h 6756949"/>
                  <a:gd name="connsiteX2317" fmla="*/ 2573167 w 7524134"/>
                  <a:gd name="connsiteY2317" fmla="*/ 5751508 h 6756949"/>
                  <a:gd name="connsiteX2318" fmla="*/ 2568402 w 7524134"/>
                  <a:gd name="connsiteY2318" fmla="*/ 5761039 h 6756949"/>
                  <a:gd name="connsiteX2319" fmla="*/ 2535046 w 7524134"/>
                  <a:gd name="connsiteY2319" fmla="*/ 5813455 h 6756949"/>
                  <a:gd name="connsiteX2320" fmla="*/ 2515985 w 7524134"/>
                  <a:gd name="connsiteY2320" fmla="*/ 5832515 h 6756949"/>
                  <a:gd name="connsiteX2321" fmla="*/ 2501690 w 7524134"/>
                  <a:gd name="connsiteY2321" fmla="*/ 5827750 h 6756949"/>
                  <a:gd name="connsiteX2322" fmla="*/ 2496925 w 7524134"/>
                  <a:gd name="connsiteY2322" fmla="*/ 5837281 h 6756949"/>
                  <a:gd name="connsiteX2323" fmla="*/ 2487394 w 7524134"/>
                  <a:gd name="connsiteY2323" fmla="*/ 5846811 h 6756949"/>
                  <a:gd name="connsiteX2324" fmla="*/ 2477864 w 7524134"/>
                  <a:gd name="connsiteY2324" fmla="*/ 5856341 h 6756949"/>
                  <a:gd name="connsiteX2325" fmla="*/ 2468334 w 7524134"/>
                  <a:gd name="connsiteY2325" fmla="*/ 5856341 h 6756949"/>
                  <a:gd name="connsiteX2326" fmla="*/ 2463569 w 7524134"/>
                  <a:gd name="connsiteY2326" fmla="*/ 5851576 h 6756949"/>
                  <a:gd name="connsiteX2327" fmla="*/ 2458804 w 7524134"/>
                  <a:gd name="connsiteY2327" fmla="*/ 5846811 h 6756949"/>
                  <a:gd name="connsiteX2328" fmla="*/ 2458804 w 7524134"/>
                  <a:gd name="connsiteY2328" fmla="*/ 5842045 h 6756949"/>
                  <a:gd name="connsiteX2329" fmla="*/ 2463569 w 7524134"/>
                  <a:gd name="connsiteY2329" fmla="*/ 5837281 h 6756949"/>
                  <a:gd name="connsiteX2330" fmla="*/ 2463569 w 7524134"/>
                  <a:gd name="connsiteY2330" fmla="*/ 5827750 h 6756949"/>
                  <a:gd name="connsiteX2331" fmla="*/ 2454039 w 7524134"/>
                  <a:gd name="connsiteY2331" fmla="*/ 5813455 h 6756949"/>
                  <a:gd name="connsiteX2332" fmla="*/ 2444508 w 7524134"/>
                  <a:gd name="connsiteY2332" fmla="*/ 5803925 h 6756949"/>
                  <a:gd name="connsiteX2333" fmla="*/ 2430213 w 7524134"/>
                  <a:gd name="connsiteY2333" fmla="*/ 5799159 h 6756949"/>
                  <a:gd name="connsiteX2334" fmla="*/ 2430213 w 7524134"/>
                  <a:gd name="connsiteY2334" fmla="*/ 5808689 h 6756949"/>
                  <a:gd name="connsiteX2335" fmla="*/ 2434978 w 7524134"/>
                  <a:gd name="connsiteY2335" fmla="*/ 5846811 h 6756949"/>
                  <a:gd name="connsiteX2336" fmla="*/ 2434978 w 7524134"/>
                  <a:gd name="connsiteY2336" fmla="*/ 5856341 h 6756949"/>
                  <a:gd name="connsiteX2337" fmla="*/ 2425448 w 7524134"/>
                  <a:gd name="connsiteY2337" fmla="*/ 5870637 h 6756949"/>
                  <a:gd name="connsiteX2338" fmla="*/ 2401622 w 7524134"/>
                  <a:gd name="connsiteY2338" fmla="*/ 5880167 h 6756949"/>
                  <a:gd name="connsiteX2339" fmla="*/ 2396857 w 7524134"/>
                  <a:gd name="connsiteY2339" fmla="*/ 5880167 h 6756949"/>
                  <a:gd name="connsiteX2340" fmla="*/ 2373031 w 7524134"/>
                  <a:gd name="connsiteY2340" fmla="*/ 5856341 h 6756949"/>
                  <a:gd name="connsiteX2341" fmla="*/ 2353971 w 7524134"/>
                  <a:gd name="connsiteY2341" fmla="*/ 5851576 h 6756949"/>
                  <a:gd name="connsiteX2342" fmla="*/ 2353971 w 7524134"/>
                  <a:gd name="connsiteY2342" fmla="*/ 5861106 h 6756949"/>
                  <a:gd name="connsiteX2343" fmla="*/ 2358736 w 7524134"/>
                  <a:gd name="connsiteY2343" fmla="*/ 5875401 h 6756949"/>
                  <a:gd name="connsiteX2344" fmla="*/ 2353971 w 7524134"/>
                  <a:gd name="connsiteY2344" fmla="*/ 5889697 h 6756949"/>
                  <a:gd name="connsiteX2345" fmla="*/ 2339676 w 7524134"/>
                  <a:gd name="connsiteY2345" fmla="*/ 5903992 h 6756949"/>
                  <a:gd name="connsiteX2346" fmla="*/ 2330145 w 7524134"/>
                  <a:gd name="connsiteY2346" fmla="*/ 5913523 h 6756949"/>
                  <a:gd name="connsiteX2347" fmla="*/ 2320615 w 7524134"/>
                  <a:gd name="connsiteY2347" fmla="*/ 5913523 h 6756949"/>
                  <a:gd name="connsiteX2348" fmla="*/ 2320615 w 7524134"/>
                  <a:gd name="connsiteY2348" fmla="*/ 5903992 h 6756949"/>
                  <a:gd name="connsiteX2349" fmla="*/ 2325380 w 7524134"/>
                  <a:gd name="connsiteY2349" fmla="*/ 5880167 h 6756949"/>
                  <a:gd name="connsiteX2350" fmla="*/ 2330145 w 7524134"/>
                  <a:gd name="connsiteY2350" fmla="*/ 5865871 h 6756949"/>
                  <a:gd name="connsiteX2351" fmla="*/ 2325380 w 7524134"/>
                  <a:gd name="connsiteY2351" fmla="*/ 5851576 h 6756949"/>
                  <a:gd name="connsiteX2352" fmla="*/ 2325380 w 7524134"/>
                  <a:gd name="connsiteY2352" fmla="*/ 5842045 h 6756949"/>
                  <a:gd name="connsiteX2353" fmla="*/ 2330145 w 7524134"/>
                  <a:gd name="connsiteY2353" fmla="*/ 5837281 h 6756949"/>
                  <a:gd name="connsiteX2354" fmla="*/ 2353971 w 7524134"/>
                  <a:gd name="connsiteY2354" fmla="*/ 5813455 h 6756949"/>
                  <a:gd name="connsiteX2355" fmla="*/ 2368266 w 7524134"/>
                  <a:gd name="connsiteY2355" fmla="*/ 5813455 h 6756949"/>
                  <a:gd name="connsiteX2356" fmla="*/ 2373031 w 7524134"/>
                  <a:gd name="connsiteY2356" fmla="*/ 5818220 h 6756949"/>
                  <a:gd name="connsiteX2357" fmla="*/ 2377797 w 7524134"/>
                  <a:gd name="connsiteY2357" fmla="*/ 5818220 h 6756949"/>
                  <a:gd name="connsiteX2358" fmla="*/ 2387327 w 7524134"/>
                  <a:gd name="connsiteY2358" fmla="*/ 5813455 h 6756949"/>
                  <a:gd name="connsiteX2359" fmla="*/ 2392092 w 7524134"/>
                  <a:gd name="connsiteY2359" fmla="*/ 5808689 h 6756949"/>
                  <a:gd name="connsiteX2360" fmla="*/ 2396857 w 7524134"/>
                  <a:gd name="connsiteY2360" fmla="*/ 5799159 h 6756949"/>
                  <a:gd name="connsiteX2361" fmla="*/ 2406387 w 7524134"/>
                  <a:gd name="connsiteY2361" fmla="*/ 5784864 h 6756949"/>
                  <a:gd name="connsiteX2362" fmla="*/ 2425448 w 7524134"/>
                  <a:gd name="connsiteY2362" fmla="*/ 5770569 h 6756949"/>
                  <a:gd name="connsiteX2363" fmla="*/ 2449273 w 7524134"/>
                  <a:gd name="connsiteY2363" fmla="*/ 5746743 h 6756949"/>
                  <a:gd name="connsiteX2364" fmla="*/ 2473099 w 7524134"/>
                  <a:gd name="connsiteY2364" fmla="*/ 5703857 h 6756949"/>
                  <a:gd name="connsiteX2365" fmla="*/ 2506455 w 7524134"/>
                  <a:gd name="connsiteY2365" fmla="*/ 5670501 h 6756949"/>
                  <a:gd name="connsiteX2366" fmla="*/ 2539811 w 7524134"/>
                  <a:gd name="connsiteY2366" fmla="*/ 5641911 h 6756949"/>
                  <a:gd name="connsiteX2367" fmla="*/ 2577932 w 7524134"/>
                  <a:gd name="connsiteY2367" fmla="*/ 5618085 h 6756949"/>
                  <a:gd name="connsiteX2368" fmla="*/ 2654174 w 7524134"/>
                  <a:gd name="connsiteY2368" fmla="*/ 5584729 h 6756949"/>
                  <a:gd name="connsiteX2369" fmla="*/ 2658939 w 7524134"/>
                  <a:gd name="connsiteY2369" fmla="*/ 5589494 h 6756949"/>
                  <a:gd name="connsiteX2370" fmla="*/ 2649409 w 7524134"/>
                  <a:gd name="connsiteY2370" fmla="*/ 5599024 h 6756949"/>
                  <a:gd name="connsiteX2371" fmla="*/ 2654174 w 7524134"/>
                  <a:gd name="connsiteY2371" fmla="*/ 5603789 h 6756949"/>
                  <a:gd name="connsiteX2372" fmla="*/ 2663704 w 7524134"/>
                  <a:gd name="connsiteY2372" fmla="*/ 5603789 h 6756949"/>
                  <a:gd name="connsiteX2373" fmla="*/ 2692295 w 7524134"/>
                  <a:gd name="connsiteY2373" fmla="*/ 5599024 h 6756949"/>
                  <a:gd name="connsiteX2374" fmla="*/ 2701825 w 7524134"/>
                  <a:gd name="connsiteY2374" fmla="*/ 5594259 h 6756949"/>
                  <a:gd name="connsiteX2375" fmla="*/ 2706590 w 7524134"/>
                  <a:gd name="connsiteY2375" fmla="*/ 5599024 h 6756949"/>
                  <a:gd name="connsiteX2376" fmla="*/ 2701825 w 7524134"/>
                  <a:gd name="connsiteY2376" fmla="*/ 5608555 h 6756949"/>
                  <a:gd name="connsiteX2377" fmla="*/ 2682765 w 7524134"/>
                  <a:gd name="connsiteY2377" fmla="*/ 5618085 h 6756949"/>
                  <a:gd name="connsiteX2378" fmla="*/ 2687530 w 7524134"/>
                  <a:gd name="connsiteY2378" fmla="*/ 5622850 h 6756949"/>
                  <a:gd name="connsiteX2379" fmla="*/ 2711356 w 7524134"/>
                  <a:gd name="connsiteY2379" fmla="*/ 5656205 h 6756949"/>
                  <a:gd name="connsiteX2380" fmla="*/ 2716121 w 7524134"/>
                  <a:gd name="connsiteY2380" fmla="*/ 5660971 h 6756949"/>
                  <a:gd name="connsiteX2381" fmla="*/ 2725651 w 7524134"/>
                  <a:gd name="connsiteY2381" fmla="*/ 5660971 h 6756949"/>
                  <a:gd name="connsiteX2382" fmla="*/ 2725651 w 7524134"/>
                  <a:gd name="connsiteY2382" fmla="*/ 5656205 h 6756949"/>
                  <a:gd name="connsiteX2383" fmla="*/ 2725651 w 7524134"/>
                  <a:gd name="connsiteY2383" fmla="*/ 5632380 h 6756949"/>
                  <a:gd name="connsiteX2384" fmla="*/ 2730416 w 7524134"/>
                  <a:gd name="connsiteY2384" fmla="*/ 5627615 h 6756949"/>
                  <a:gd name="connsiteX2385" fmla="*/ 2749477 w 7524134"/>
                  <a:gd name="connsiteY2385" fmla="*/ 5627615 h 6756949"/>
                  <a:gd name="connsiteX2386" fmla="*/ 2759007 w 7524134"/>
                  <a:gd name="connsiteY2386" fmla="*/ 5632380 h 6756949"/>
                  <a:gd name="connsiteX2387" fmla="*/ 2763772 w 7524134"/>
                  <a:gd name="connsiteY2387" fmla="*/ 5637145 h 6756949"/>
                  <a:gd name="connsiteX2388" fmla="*/ 2773302 w 7524134"/>
                  <a:gd name="connsiteY2388" fmla="*/ 5641911 h 6756949"/>
                  <a:gd name="connsiteX2389" fmla="*/ 2787598 w 7524134"/>
                  <a:gd name="connsiteY2389" fmla="*/ 5646675 h 6756949"/>
                  <a:gd name="connsiteX2390" fmla="*/ 2797128 w 7524134"/>
                  <a:gd name="connsiteY2390" fmla="*/ 5646675 h 6756949"/>
                  <a:gd name="connsiteX2391" fmla="*/ 2801893 w 7524134"/>
                  <a:gd name="connsiteY2391" fmla="*/ 5637145 h 6756949"/>
                  <a:gd name="connsiteX2392" fmla="*/ 2792363 w 7524134"/>
                  <a:gd name="connsiteY2392" fmla="*/ 5632380 h 6756949"/>
                  <a:gd name="connsiteX2393" fmla="*/ 2768537 w 7524134"/>
                  <a:gd name="connsiteY2393" fmla="*/ 5608555 h 6756949"/>
                  <a:gd name="connsiteX2394" fmla="*/ 2759007 w 7524134"/>
                  <a:gd name="connsiteY2394" fmla="*/ 5603789 h 6756949"/>
                  <a:gd name="connsiteX2395" fmla="*/ 2759007 w 7524134"/>
                  <a:gd name="connsiteY2395" fmla="*/ 5589494 h 6756949"/>
                  <a:gd name="connsiteX2396" fmla="*/ 2763772 w 7524134"/>
                  <a:gd name="connsiteY2396" fmla="*/ 5575199 h 6756949"/>
                  <a:gd name="connsiteX2397" fmla="*/ 2768537 w 7524134"/>
                  <a:gd name="connsiteY2397" fmla="*/ 5556138 h 6756949"/>
                  <a:gd name="connsiteX2398" fmla="*/ 2782832 w 7524134"/>
                  <a:gd name="connsiteY2398" fmla="*/ 5522782 h 6756949"/>
                  <a:gd name="connsiteX2399" fmla="*/ 2797128 w 7524134"/>
                  <a:gd name="connsiteY2399" fmla="*/ 5503721 h 6756949"/>
                  <a:gd name="connsiteX2400" fmla="*/ 2820953 w 7524134"/>
                  <a:gd name="connsiteY2400" fmla="*/ 5479896 h 6756949"/>
                  <a:gd name="connsiteX2401" fmla="*/ 2835249 w 7524134"/>
                  <a:gd name="connsiteY2401" fmla="*/ 5470365 h 6756949"/>
                  <a:gd name="connsiteX2402" fmla="*/ 2873370 w 7524134"/>
                  <a:gd name="connsiteY2402" fmla="*/ 5437010 h 6756949"/>
                  <a:gd name="connsiteX2403" fmla="*/ 2954377 w 7524134"/>
                  <a:gd name="connsiteY2403" fmla="*/ 5398889 h 6756949"/>
                  <a:gd name="connsiteX2404" fmla="*/ 2973438 w 7524134"/>
                  <a:gd name="connsiteY2404" fmla="*/ 5375063 h 6756949"/>
                  <a:gd name="connsiteX2405" fmla="*/ 3002028 w 7524134"/>
                  <a:gd name="connsiteY2405" fmla="*/ 5351237 h 6756949"/>
                  <a:gd name="connsiteX2406" fmla="*/ 3011559 w 7524134"/>
                  <a:gd name="connsiteY2406" fmla="*/ 5341707 h 6756949"/>
                  <a:gd name="connsiteX2407" fmla="*/ 3011559 w 7524134"/>
                  <a:gd name="connsiteY2407" fmla="*/ 5351237 h 6756949"/>
                  <a:gd name="connsiteX2408" fmla="*/ 3016324 w 7524134"/>
                  <a:gd name="connsiteY2408" fmla="*/ 5360768 h 6756949"/>
                  <a:gd name="connsiteX2409" fmla="*/ 3030619 w 7524134"/>
                  <a:gd name="connsiteY2409" fmla="*/ 5370298 h 6756949"/>
                  <a:gd name="connsiteX2410" fmla="*/ 3044914 w 7524134"/>
                  <a:gd name="connsiteY2410" fmla="*/ 5370298 h 6756949"/>
                  <a:gd name="connsiteX2411" fmla="*/ 3049680 w 7524134"/>
                  <a:gd name="connsiteY2411" fmla="*/ 5370298 h 6756949"/>
                  <a:gd name="connsiteX2412" fmla="*/ 3049680 w 7524134"/>
                  <a:gd name="connsiteY2412" fmla="*/ 5360768 h 6756949"/>
                  <a:gd name="connsiteX2413" fmla="*/ 3049680 w 7524134"/>
                  <a:gd name="connsiteY2413" fmla="*/ 5341707 h 6756949"/>
                  <a:gd name="connsiteX2414" fmla="*/ 3049680 w 7524134"/>
                  <a:gd name="connsiteY2414" fmla="*/ 5327412 h 6756949"/>
                  <a:gd name="connsiteX2415" fmla="*/ 3049680 w 7524134"/>
                  <a:gd name="connsiteY2415" fmla="*/ 5308351 h 6756949"/>
                  <a:gd name="connsiteX2416" fmla="*/ 3049680 w 7524134"/>
                  <a:gd name="connsiteY2416" fmla="*/ 5298821 h 6756949"/>
                  <a:gd name="connsiteX2417" fmla="*/ 3063975 w 7524134"/>
                  <a:gd name="connsiteY2417" fmla="*/ 5274995 h 6756949"/>
                  <a:gd name="connsiteX2418" fmla="*/ 3083035 w 7524134"/>
                  <a:gd name="connsiteY2418" fmla="*/ 5251170 h 6756949"/>
                  <a:gd name="connsiteX2419" fmla="*/ 3106861 w 7524134"/>
                  <a:gd name="connsiteY2419" fmla="*/ 5222579 h 6756949"/>
                  <a:gd name="connsiteX2420" fmla="*/ 3121156 w 7524134"/>
                  <a:gd name="connsiteY2420" fmla="*/ 5213049 h 6756949"/>
                  <a:gd name="connsiteX2421" fmla="*/ 3135452 w 7524134"/>
                  <a:gd name="connsiteY2421" fmla="*/ 5203519 h 6756949"/>
                  <a:gd name="connsiteX2422" fmla="*/ 3149747 w 7524134"/>
                  <a:gd name="connsiteY2422" fmla="*/ 5189223 h 6756949"/>
                  <a:gd name="connsiteX2423" fmla="*/ 3173573 w 7524134"/>
                  <a:gd name="connsiteY2423" fmla="*/ 5160633 h 6756949"/>
                  <a:gd name="connsiteX2424" fmla="*/ 3178338 w 7524134"/>
                  <a:gd name="connsiteY2424" fmla="*/ 5155867 h 6756949"/>
                  <a:gd name="connsiteX2425" fmla="*/ 3197399 w 7524134"/>
                  <a:gd name="connsiteY2425" fmla="*/ 5151102 h 6756949"/>
                  <a:gd name="connsiteX2426" fmla="*/ 3202164 w 7524134"/>
                  <a:gd name="connsiteY2426" fmla="*/ 5155867 h 6756949"/>
                  <a:gd name="connsiteX2427" fmla="*/ 3206929 w 7524134"/>
                  <a:gd name="connsiteY2427" fmla="*/ 5160633 h 6756949"/>
                  <a:gd name="connsiteX2428" fmla="*/ 3211694 w 7524134"/>
                  <a:gd name="connsiteY2428" fmla="*/ 5165397 h 6756949"/>
                  <a:gd name="connsiteX2429" fmla="*/ 3225989 w 7524134"/>
                  <a:gd name="connsiteY2429" fmla="*/ 5170163 h 6756949"/>
                  <a:gd name="connsiteX2430" fmla="*/ 3240285 w 7524134"/>
                  <a:gd name="connsiteY2430" fmla="*/ 5165397 h 6756949"/>
                  <a:gd name="connsiteX2431" fmla="*/ 3235520 w 7524134"/>
                  <a:gd name="connsiteY2431" fmla="*/ 5160633 h 6756949"/>
                  <a:gd name="connsiteX2432" fmla="*/ 3225989 w 7524134"/>
                  <a:gd name="connsiteY2432" fmla="*/ 5155867 h 6756949"/>
                  <a:gd name="connsiteX2433" fmla="*/ 3221224 w 7524134"/>
                  <a:gd name="connsiteY2433" fmla="*/ 5151102 h 6756949"/>
                  <a:gd name="connsiteX2434" fmla="*/ 3216459 w 7524134"/>
                  <a:gd name="connsiteY2434" fmla="*/ 5136807 h 6756949"/>
                  <a:gd name="connsiteX2435" fmla="*/ 3202164 w 7524134"/>
                  <a:gd name="connsiteY2435" fmla="*/ 5127277 h 6756949"/>
                  <a:gd name="connsiteX2436" fmla="*/ 3202164 w 7524134"/>
                  <a:gd name="connsiteY2436" fmla="*/ 5112981 h 6756949"/>
                  <a:gd name="connsiteX2437" fmla="*/ 3202164 w 7524134"/>
                  <a:gd name="connsiteY2437" fmla="*/ 5093921 h 6756949"/>
                  <a:gd name="connsiteX2438" fmla="*/ 3216459 w 7524134"/>
                  <a:gd name="connsiteY2438" fmla="*/ 5051035 h 6756949"/>
                  <a:gd name="connsiteX2439" fmla="*/ 3216459 w 7524134"/>
                  <a:gd name="connsiteY2439" fmla="*/ 5003383 h 6756949"/>
                  <a:gd name="connsiteX2440" fmla="*/ 3225989 w 7524134"/>
                  <a:gd name="connsiteY2440" fmla="*/ 4979557 h 6756949"/>
                  <a:gd name="connsiteX2441" fmla="*/ 3240285 w 7524134"/>
                  <a:gd name="connsiteY2441" fmla="*/ 4970027 h 6756949"/>
                  <a:gd name="connsiteX2442" fmla="*/ 3278406 w 7524134"/>
                  <a:gd name="connsiteY2442" fmla="*/ 4960497 h 6756949"/>
                  <a:gd name="connsiteX2443" fmla="*/ 3259345 w 7524134"/>
                  <a:gd name="connsiteY2443" fmla="*/ 4950967 h 6756949"/>
                  <a:gd name="connsiteX2444" fmla="*/ 3249815 w 7524134"/>
                  <a:gd name="connsiteY2444" fmla="*/ 4950967 h 6756949"/>
                  <a:gd name="connsiteX2445" fmla="*/ 3235520 w 7524134"/>
                  <a:gd name="connsiteY2445" fmla="*/ 4941437 h 6756949"/>
                  <a:gd name="connsiteX2446" fmla="*/ 3230754 w 7524134"/>
                  <a:gd name="connsiteY2446" fmla="*/ 4912846 h 6756949"/>
                  <a:gd name="connsiteX2447" fmla="*/ 3230754 w 7524134"/>
                  <a:gd name="connsiteY2447" fmla="*/ 4893785 h 6756949"/>
                  <a:gd name="connsiteX2448" fmla="*/ 3240285 w 7524134"/>
                  <a:gd name="connsiteY2448" fmla="*/ 4869959 h 6756949"/>
                  <a:gd name="connsiteX2449" fmla="*/ 3273641 w 7524134"/>
                  <a:gd name="connsiteY2449" fmla="*/ 4827073 h 6756949"/>
                  <a:gd name="connsiteX2450" fmla="*/ 3316527 w 7524134"/>
                  <a:gd name="connsiteY2450" fmla="*/ 4798483 h 6756949"/>
                  <a:gd name="connsiteX2451" fmla="*/ 3306996 w 7524134"/>
                  <a:gd name="connsiteY2451" fmla="*/ 4798483 h 6756949"/>
                  <a:gd name="connsiteX2452" fmla="*/ 3302231 w 7524134"/>
                  <a:gd name="connsiteY2452" fmla="*/ 4788953 h 6756949"/>
                  <a:gd name="connsiteX2453" fmla="*/ 3321292 w 7524134"/>
                  <a:gd name="connsiteY2453" fmla="*/ 4731771 h 6756949"/>
                  <a:gd name="connsiteX2454" fmla="*/ 3340352 w 7524134"/>
                  <a:gd name="connsiteY2454" fmla="*/ 4679355 h 6756949"/>
                  <a:gd name="connsiteX2455" fmla="*/ 3316527 w 7524134"/>
                  <a:gd name="connsiteY2455" fmla="*/ 4722241 h 6756949"/>
                  <a:gd name="connsiteX2456" fmla="*/ 3287936 w 7524134"/>
                  <a:gd name="connsiteY2456" fmla="*/ 4755597 h 6756949"/>
                  <a:gd name="connsiteX2457" fmla="*/ 3206929 w 7524134"/>
                  <a:gd name="connsiteY2457" fmla="*/ 4793717 h 6756949"/>
                  <a:gd name="connsiteX2458" fmla="*/ 3149747 w 7524134"/>
                  <a:gd name="connsiteY2458" fmla="*/ 4827073 h 6756949"/>
                  <a:gd name="connsiteX2459" fmla="*/ 3125922 w 7524134"/>
                  <a:gd name="connsiteY2459" fmla="*/ 4836604 h 6756949"/>
                  <a:gd name="connsiteX2460" fmla="*/ 3106861 w 7524134"/>
                  <a:gd name="connsiteY2460" fmla="*/ 4827073 h 6756949"/>
                  <a:gd name="connsiteX2461" fmla="*/ 3092566 w 7524134"/>
                  <a:gd name="connsiteY2461" fmla="*/ 4798483 h 6756949"/>
                  <a:gd name="connsiteX2462" fmla="*/ 3087801 w 7524134"/>
                  <a:gd name="connsiteY2462" fmla="*/ 4784187 h 6756949"/>
                  <a:gd name="connsiteX2463" fmla="*/ 3078270 w 7524134"/>
                  <a:gd name="connsiteY2463" fmla="*/ 4765127 h 6756949"/>
                  <a:gd name="connsiteX2464" fmla="*/ 3078270 w 7524134"/>
                  <a:gd name="connsiteY2464" fmla="*/ 4736536 h 6756949"/>
                  <a:gd name="connsiteX2465" fmla="*/ 3087801 w 7524134"/>
                  <a:gd name="connsiteY2465" fmla="*/ 4722241 h 6756949"/>
                  <a:gd name="connsiteX2466" fmla="*/ 3106861 w 7524134"/>
                  <a:gd name="connsiteY2466" fmla="*/ 4717475 h 6756949"/>
                  <a:gd name="connsiteX2467" fmla="*/ 3125922 w 7524134"/>
                  <a:gd name="connsiteY2467" fmla="*/ 4727006 h 6756949"/>
                  <a:gd name="connsiteX2468" fmla="*/ 3140217 w 7524134"/>
                  <a:gd name="connsiteY2468" fmla="*/ 4727006 h 6756949"/>
                  <a:gd name="connsiteX2469" fmla="*/ 3121156 w 7524134"/>
                  <a:gd name="connsiteY2469" fmla="*/ 4707945 h 6756949"/>
                  <a:gd name="connsiteX2470" fmla="*/ 3087801 w 7524134"/>
                  <a:gd name="connsiteY2470" fmla="*/ 4693650 h 6756949"/>
                  <a:gd name="connsiteX2471" fmla="*/ 3073505 w 7524134"/>
                  <a:gd name="connsiteY2471" fmla="*/ 4698415 h 6756949"/>
                  <a:gd name="connsiteX2472" fmla="*/ 3063975 w 7524134"/>
                  <a:gd name="connsiteY2472" fmla="*/ 4722241 h 6756949"/>
                  <a:gd name="connsiteX2473" fmla="*/ 3049680 w 7524134"/>
                  <a:gd name="connsiteY2473" fmla="*/ 4741301 h 6756949"/>
                  <a:gd name="connsiteX2474" fmla="*/ 3035384 w 7524134"/>
                  <a:gd name="connsiteY2474" fmla="*/ 4736536 h 6756949"/>
                  <a:gd name="connsiteX2475" fmla="*/ 3025854 w 7524134"/>
                  <a:gd name="connsiteY2475" fmla="*/ 4727006 h 6756949"/>
                  <a:gd name="connsiteX2476" fmla="*/ 3035384 w 7524134"/>
                  <a:gd name="connsiteY2476" fmla="*/ 4750831 h 6756949"/>
                  <a:gd name="connsiteX2477" fmla="*/ 3025854 w 7524134"/>
                  <a:gd name="connsiteY2477" fmla="*/ 4784187 h 6756949"/>
                  <a:gd name="connsiteX2478" fmla="*/ 3021089 w 7524134"/>
                  <a:gd name="connsiteY2478" fmla="*/ 4803248 h 6756949"/>
                  <a:gd name="connsiteX2479" fmla="*/ 3035384 w 7524134"/>
                  <a:gd name="connsiteY2479" fmla="*/ 4865195 h 6756949"/>
                  <a:gd name="connsiteX2480" fmla="*/ 3030619 w 7524134"/>
                  <a:gd name="connsiteY2480" fmla="*/ 4889020 h 6756949"/>
                  <a:gd name="connsiteX2481" fmla="*/ 3006793 w 7524134"/>
                  <a:gd name="connsiteY2481" fmla="*/ 4898551 h 6756949"/>
                  <a:gd name="connsiteX2482" fmla="*/ 2987733 w 7524134"/>
                  <a:gd name="connsiteY2482" fmla="*/ 4879490 h 6756949"/>
                  <a:gd name="connsiteX2483" fmla="*/ 2944847 w 7524134"/>
                  <a:gd name="connsiteY2483" fmla="*/ 4803248 h 6756949"/>
                  <a:gd name="connsiteX2484" fmla="*/ 2925786 w 7524134"/>
                  <a:gd name="connsiteY2484" fmla="*/ 4784187 h 6756949"/>
                  <a:gd name="connsiteX2485" fmla="*/ 2892430 w 7524134"/>
                  <a:gd name="connsiteY2485" fmla="*/ 4746067 h 6756949"/>
                  <a:gd name="connsiteX2486" fmla="*/ 2882900 w 7524134"/>
                  <a:gd name="connsiteY2486" fmla="*/ 4750831 h 6756949"/>
                  <a:gd name="connsiteX2487" fmla="*/ 2868605 w 7524134"/>
                  <a:gd name="connsiteY2487" fmla="*/ 4769892 h 6756949"/>
                  <a:gd name="connsiteX2488" fmla="*/ 2854309 w 7524134"/>
                  <a:gd name="connsiteY2488" fmla="*/ 4774657 h 6756949"/>
                  <a:gd name="connsiteX2489" fmla="*/ 2816188 w 7524134"/>
                  <a:gd name="connsiteY2489" fmla="*/ 4746067 h 6756949"/>
                  <a:gd name="connsiteX2490" fmla="*/ 2801893 w 7524134"/>
                  <a:gd name="connsiteY2490" fmla="*/ 4727006 h 6756949"/>
                  <a:gd name="connsiteX2491" fmla="*/ 2787598 w 7524134"/>
                  <a:gd name="connsiteY2491" fmla="*/ 4703181 h 6756949"/>
                  <a:gd name="connsiteX2492" fmla="*/ 2759007 w 7524134"/>
                  <a:gd name="connsiteY2492" fmla="*/ 4717475 h 6756949"/>
                  <a:gd name="connsiteX2493" fmla="*/ 2739946 w 7524134"/>
                  <a:gd name="connsiteY2493" fmla="*/ 4731771 h 6756949"/>
                  <a:gd name="connsiteX2494" fmla="*/ 2716121 w 7524134"/>
                  <a:gd name="connsiteY2494" fmla="*/ 4760362 h 6756949"/>
                  <a:gd name="connsiteX2495" fmla="*/ 2697060 w 7524134"/>
                  <a:gd name="connsiteY2495" fmla="*/ 4760362 h 6756949"/>
                  <a:gd name="connsiteX2496" fmla="*/ 2654174 w 7524134"/>
                  <a:gd name="connsiteY2496" fmla="*/ 4779423 h 6756949"/>
                  <a:gd name="connsiteX2497" fmla="*/ 2649409 w 7524134"/>
                  <a:gd name="connsiteY2497" fmla="*/ 4779423 h 6756949"/>
                  <a:gd name="connsiteX2498" fmla="*/ 2639879 w 7524134"/>
                  <a:gd name="connsiteY2498" fmla="*/ 4793717 h 6756949"/>
                  <a:gd name="connsiteX2499" fmla="*/ 2635113 w 7524134"/>
                  <a:gd name="connsiteY2499" fmla="*/ 4798483 h 6756949"/>
                  <a:gd name="connsiteX2500" fmla="*/ 2630348 w 7524134"/>
                  <a:gd name="connsiteY2500" fmla="*/ 4817543 h 6756949"/>
                  <a:gd name="connsiteX2501" fmla="*/ 2568402 w 7524134"/>
                  <a:gd name="connsiteY2501" fmla="*/ 4836604 h 6756949"/>
                  <a:gd name="connsiteX2502" fmla="*/ 2506455 w 7524134"/>
                  <a:gd name="connsiteY2502" fmla="*/ 4827073 h 6756949"/>
                  <a:gd name="connsiteX2503" fmla="*/ 2530281 w 7524134"/>
                  <a:gd name="connsiteY2503" fmla="*/ 4812778 h 6756949"/>
                  <a:gd name="connsiteX2504" fmla="*/ 2554106 w 7524134"/>
                  <a:gd name="connsiteY2504" fmla="*/ 4803248 h 6756949"/>
                  <a:gd name="connsiteX2505" fmla="*/ 2573167 w 7524134"/>
                  <a:gd name="connsiteY2505" fmla="*/ 4784187 h 6756949"/>
                  <a:gd name="connsiteX2506" fmla="*/ 2563637 w 7524134"/>
                  <a:gd name="connsiteY2506" fmla="*/ 4750831 h 6756949"/>
                  <a:gd name="connsiteX2507" fmla="*/ 2563637 w 7524134"/>
                  <a:gd name="connsiteY2507" fmla="*/ 4736536 h 6756949"/>
                  <a:gd name="connsiteX2508" fmla="*/ 2563637 w 7524134"/>
                  <a:gd name="connsiteY2508" fmla="*/ 4717475 h 6756949"/>
                  <a:gd name="connsiteX2509" fmla="*/ 2587462 w 7524134"/>
                  <a:gd name="connsiteY2509" fmla="*/ 4684120 h 6756949"/>
                  <a:gd name="connsiteX2510" fmla="*/ 2563637 w 7524134"/>
                  <a:gd name="connsiteY2510" fmla="*/ 4684120 h 6756949"/>
                  <a:gd name="connsiteX2511" fmla="*/ 2549341 w 7524134"/>
                  <a:gd name="connsiteY2511" fmla="*/ 4698415 h 6756949"/>
                  <a:gd name="connsiteX2512" fmla="*/ 2535046 w 7524134"/>
                  <a:gd name="connsiteY2512" fmla="*/ 4674589 h 6756949"/>
                  <a:gd name="connsiteX2513" fmla="*/ 2525516 w 7524134"/>
                  <a:gd name="connsiteY2513" fmla="*/ 4631703 h 6756949"/>
                  <a:gd name="connsiteX2514" fmla="*/ 2539811 w 7524134"/>
                  <a:gd name="connsiteY2514" fmla="*/ 4607877 h 6756949"/>
                  <a:gd name="connsiteX2515" fmla="*/ 2549341 w 7524134"/>
                  <a:gd name="connsiteY2515" fmla="*/ 4588817 h 6756949"/>
                  <a:gd name="connsiteX2516" fmla="*/ 2554106 w 7524134"/>
                  <a:gd name="connsiteY2516" fmla="*/ 4564991 h 6756949"/>
                  <a:gd name="connsiteX2517" fmla="*/ 2558871 w 7524134"/>
                  <a:gd name="connsiteY2517" fmla="*/ 4541166 h 6756949"/>
                  <a:gd name="connsiteX2518" fmla="*/ 2544576 w 7524134"/>
                  <a:gd name="connsiteY2518" fmla="*/ 4503045 h 6756949"/>
                  <a:gd name="connsiteX2519" fmla="*/ 2506455 w 7524134"/>
                  <a:gd name="connsiteY2519" fmla="*/ 4417273 h 6756949"/>
                  <a:gd name="connsiteX2520" fmla="*/ 2492160 w 7524134"/>
                  <a:gd name="connsiteY2520" fmla="*/ 4355326 h 6756949"/>
                  <a:gd name="connsiteX2521" fmla="*/ 2463569 w 7524134"/>
                  <a:gd name="connsiteY2521" fmla="*/ 4321970 h 6756949"/>
                  <a:gd name="connsiteX2522" fmla="*/ 2482629 w 7524134"/>
                  <a:gd name="connsiteY2522" fmla="*/ 4269553 h 6756949"/>
                  <a:gd name="connsiteX2523" fmla="*/ 2506455 w 7524134"/>
                  <a:gd name="connsiteY2523" fmla="*/ 4217137 h 6756949"/>
                  <a:gd name="connsiteX2524" fmla="*/ 2539811 w 7524134"/>
                  <a:gd name="connsiteY2524" fmla="*/ 4198077 h 6756949"/>
                  <a:gd name="connsiteX2525" fmla="*/ 2535046 w 7524134"/>
                  <a:gd name="connsiteY2525" fmla="*/ 4193312 h 6756949"/>
                  <a:gd name="connsiteX2526" fmla="*/ 2520751 w 7524134"/>
                  <a:gd name="connsiteY2526" fmla="*/ 4193312 h 6756949"/>
                  <a:gd name="connsiteX2527" fmla="*/ 2506455 w 7524134"/>
                  <a:gd name="connsiteY2527" fmla="*/ 4193312 h 6756949"/>
                  <a:gd name="connsiteX2528" fmla="*/ 2496925 w 7524134"/>
                  <a:gd name="connsiteY2528" fmla="*/ 4212372 h 6756949"/>
                  <a:gd name="connsiteX2529" fmla="*/ 2487394 w 7524134"/>
                  <a:gd name="connsiteY2529" fmla="*/ 4226667 h 6756949"/>
                  <a:gd name="connsiteX2530" fmla="*/ 2458804 w 7524134"/>
                  <a:gd name="connsiteY2530" fmla="*/ 4288614 h 6756949"/>
                  <a:gd name="connsiteX2531" fmla="*/ 2434978 w 7524134"/>
                  <a:gd name="connsiteY2531" fmla="*/ 4317205 h 6756949"/>
                  <a:gd name="connsiteX2532" fmla="*/ 2420683 w 7524134"/>
                  <a:gd name="connsiteY2532" fmla="*/ 4326735 h 6756949"/>
                  <a:gd name="connsiteX2533" fmla="*/ 2444508 w 7524134"/>
                  <a:gd name="connsiteY2533" fmla="*/ 4341031 h 6756949"/>
                  <a:gd name="connsiteX2534" fmla="*/ 2449273 w 7524134"/>
                  <a:gd name="connsiteY2534" fmla="*/ 4350561 h 6756949"/>
                  <a:gd name="connsiteX2535" fmla="*/ 2454039 w 7524134"/>
                  <a:gd name="connsiteY2535" fmla="*/ 4374387 h 6756949"/>
                  <a:gd name="connsiteX2536" fmla="*/ 2444508 w 7524134"/>
                  <a:gd name="connsiteY2536" fmla="*/ 4398212 h 6756949"/>
                  <a:gd name="connsiteX2537" fmla="*/ 2439743 w 7524134"/>
                  <a:gd name="connsiteY2537" fmla="*/ 4417273 h 6756949"/>
                  <a:gd name="connsiteX2538" fmla="*/ 2415918 w 7524134"/>
                  <a:gd name="connsiteY2538" fmla="*/ 4412507 h 6756949"/>
                  <a:gd name="connsiteX2539" fmla="*/ 2392092 w 7524134"/>
                  <a:gd name="connsiteY2539" fmla="*/ 4436333 h 6756949"/>
                  <a:gd name="connsiteX2540" fmla="*/ 2339676 w 7524134"/>
                  <a:gd name="connsiteY2540" fmla="*/ 4460159 h 6756949"/>
                  <a:gd name="connsiteX2541" fmla="*/ 2268199 w 7524134"/>
                  <a:gd name="connsiteY2541" fmla="*/ 4474454 h 6756949"/>
                  <a:gd name="connsiteX2542" fmla="*/ 2230078 w 7524134"/>
                  <a:gd name="connsiteY2542" fmla="*/ 4474454 h 6756949"/>
                  <a:gd name="connsiteX2543" fmla="*/ 2196722 w 7524134"/>
                  <a:gd name="connsiteY2543" fmla="*/ 4445863 h 6756949"/>
                  <a:gd name="connsiteX2544" fmla="*/ 2196722 w 7524134"/>
                  <a:gd name="connsiteY2544" fmla="*/ 4426803 h 6756949"/>
                  <a:gd name="connsiteX2545" fmla="*/ 2196722 w 7524134"/>
                  <a:gd name="connsiteY2545" fmla="*/ 4412507 h 6756949"/>
                  <a:gd name="connsiteX2546" fmla="*/ 2144305 w 7524134"/>
                  <a:gd name="connsiteY2546" fmla="*/ 4364856 h 6756949"/>
                  <a:gd name="connsiteX2547" fmla="*/ 2115715 w 7524134"/>
                  <a:gd name="connsiteY2547" fmla="*/ 4317205 h 6756949"/>
                  <a:gd name="connsiteX2548" fmla="*/ 2091889 w 7524134"/>
                  <a:gd name="connsiteY2548" fmla="*/ 4317205 h 6756949"/>
                  <a:gd name="connsiteX2549" fmla="*/ 2072828 w 7524134"/>
                  <a:gd name="connsiteY2549" fmla="*/ 4302909 h 6756949"/>
                  <a:gd name="connsiteX2550" fmla="*/ 2053768 w 7524134"/>
                  <a:gd name="connsiteY2550" fmla="*/ 4283849 h 6756949"/>
                  <a:gd name="connsiteX2551" fmla="*/ 2053768 w 7524134"/>
                  <a:gd name="connsiteY2551" fmla="*/ 4264789 h 6756949"/>
                  <a:gd name="connsiteX2552" fmla="*/ 2058533 w 7524134"/>
                  <a:gd name="connsiteY2552" fmla="*/ 4255259 h 6756949"/>
                  <a:gd name="connsiteX2553" fmla="*/ 2044238 w 7524134"/>
                  <a:gd name="connsiteY2553" fmla="*/ 4245728 h 6756949"/>
                  <a:gd name="connsiteX2554" fmla="*/ 2025177 w 7524134"/>
                  <a:gd name="connsiteY2554" fmla="*/ 4245728 h 6756949"/>
                  <a:gd name="connsiteX2555" fmla="*/ 2006117 w 7524134"/>
                  <a:gd name="connsiteY2555" fmla="*/ 4240963 h 6756949"/>
                  <a:gd name="connsiteX2556" fmla="*/ 2058533 w 7524134"/>
                  <a:gd name="connsiteY2556" fmla="*/ 4179016 h 6756949"/>
                  <a:gd name="connsiteX2557" fmla="*/ 2077594 w 7524134"/>
                  <a:gd name="connsiteY2557" fmla="*/ 4136130 h 6756949"/>
                  <a:gd name="connsiteX2558" fmla="*/ 2091889 w 7524134"/>
                  <a:gd name="connsiteY2558" fmla="*/ 4131365 h 6756949"/>
                  <a:gd name="connsiteX2559" fmla="*/ 2110949 w 7524134"/>
                  <a:gd name="connsiteY2559" fmla="*/ 4136130 h 6756949"/>
                  <a:gd name="connsiteX2560" fmla="*/ 2139540 w 7524134"/>
                  <a:gd name="connsiteY2560" fmla="*/ 4155191 h 6756949"/>
                  <a:gd name="connsiteX2561" fmla="*/ 2158601 w 7524134"/>
                  <a:gd name="connsiteY2561" fmla="*/ 4159956 h 6756949"/>
                  <a:gd name="connsiteX2562" fmla="*/ 2168131 w 7524134"/>
                  <a:gd name="connsiteY2562" fmla="*/ 4169486 h 6756949"/>
                  <a:gd name="connsiteX2563" fmla="*/ 2177661 w 7524134"/>
                  <a:gd name="connsiteY2563" fmla="*/ 4183781 h 6756949"/>
                  <a:gd name="connsiteX2564" fmla="*/ 2168131 w 7524134"/>
                  <a:gd name="connsiteY2564" fmla="*/ 4207607 h 6756949"/>
                  <a:gd name="connsiteX2565" fmla="*/ 2158601 w 7524134"/>
                  <a:gd name="connsiteY2565" fmla="*/ 4226667 h 6756949"/>
                  <a:gd name="connsiteX2566" fmla="*/ 2168131 w 7524134"/>
                  <a:gd name="connsiteY2566" fmla="*/ 4221903 h 6756949"/>
                  <a:gd name="connsiteX2567" fmla="*/ 2196722 w 7524134"/>
                  <a:gd name="connsiteY2567" fmla="*/ 4193312 h 6756949"/>
                  <a:gd name="connsiteX2568" fmla="*/ 2215782 w 7524134"/>
                  <a:gd name="connsiteY2568" fmla="*/ 4169486 h 6756949"/>
                  <a:gd name="connsiteX2569" fmla="*/ 2225312 w 7524134"/>
                  <a:gd name="connsiteY2569" fmla="*/ 4174251 h 6756949"/>
                  <a:gd name="connsiteX2570" fmla="*/ 2234843 w 7524134"/>
                  <a:gd name="connsiteY2570" fmla="*/ 4174251 h 6756949"/>
                  <a:gd name="connsiteX2571" fmla="*/ 2244373 w 7524134"/>
                  <a:gd name="connsiteY2571" fmla="*/ 4202842 h 6756949"/>
                  <a:gd name="connsiteX2572" fmla="*/ 2258669 w 7524134"/>
                  <a:gd name="connsiteY2572" fmla="*/ 4226667 h 6756949"/>
                  <a:gd name="connsiteX2573" fmla="*/ 2292024 w 7524134"/>
                  <a:gd name="connsiteY2573" fmla="*/ 4202842 h 6756949"/>
                  <a:gd name="connsiteX2574" fmla="*/ 2306320 w 7524134"/>
                  <a:gd name="connsiteY2574" fmla="*/ 4174251 h 6756949"/>
                  <a:gd name="connsiteX2575" fmla="*/ 2292024 w 7524134"/>
                  <a:gd name="connsiteY2575" fmla="*/ 4159956 h 6756949"/>
                  <a:gd name="connsiteX2576" fmla="*/ 2277729 w 7524134"/>
                  <a:gd name="connsiteY2576" fmla="*/ 4150425 h 6756949"/>
                  <a:gd name="connsiteX2577" fmla="*/ 2230078 w 7524134"/>
                  <a:gd name="connsiteY2577" fmla="*/ 4140895 h 6756949"/>
                  <a:gd name="connsiteX2578" fmla="*/ 2244373 w 7524134"/>
                  <a:gd name="connsiteY2578" fmla="*/ 4131365 h 6756949"/>
                  <a:gd name="connsiteX2579" fmla="*/ 2272964 w 7524134"/>
                  <a:gd name="connsiteY2579" fmla="*/ 4136130 h 6756949"/>
                  <a:gd name="connsiteX2580" fmla="*/ 2282494 w 7524134"/>
                  <a:gd name="connsiteY2580" fmla="*/ 4126600 h 6756949"/>
                  <a:gd name="connsiteX2581" fmla="*/ 2268199 w 7524134"/>
                  <a:gd name="connsiteY2581" fmla="*/ 4117070 h 6756949"/>
                  <a:gd name="connsiteX2582" fmla="*/ 2258669 w 7524134"/>
                  <a:gd name="connsiteY2582" fmla="*/ 4102774 h 6756949"/>
                  <a:gd name="connsiteX2583" fmla="*/ 2220547 w 7524134"/>
                  <a:gd name="connsiteY2583" fmla="*/ 4136130 h 6756949"/>
                  <a:gd name="connsiteX2584" fmla="*/ 2149070 w 7524134"/>
                  <a:gd name="connsiteY2584" fmla="*/ 4136130 h 6756949"/>
                  <a:gd name="connsiteX2585" fmla="*/ 2101419 w 7524134"/>
                  <a:gd name="connsiteY2585" fmla="*/ 4117070 h 6756949"/>
                  <a:gd name="connsiteX2586" fmla="*/ 2049003 w 7524134"/>
                  <a:gd name="connsiteY2586" fmla="*/ 4121835 h 6756949"/>
                  <a:gd name="connsiteX2587" fmla="*/ 2044238 w 7524134"/>
                  <a:gd name="connsiteY2587" fmla="*/ 4117070 h 6756949"/>
                  <a:gd name="connsiteX2588" fmla="*/ 2034707 w 7524134"/>
                  <a:gd name="connsiteY2588" fmla="*/ 4107539 h 6756949"/>
                  <a:gd name="connsiteX2589" fmla="*/ 2063298 w 7524134"/>
                  <a:gd name="connsiteY2589" fmla="*/ 4078949 h 6756949"/>
                  <a:gd name="connsiteX2590" fmla="*/ 2082359 w 7524134"/>
                  <a:gd name="connsiteY2590" fmla="*/ 4069419 h 6756949"/>
                  <a:gd name="connsiteX2591" fmla="*/ 2082359 w 7524134"/>
                  <a:gd name="connsiteY2591" fmla="*/ 4059888 h 6756949"/>
                  <a:gd name="connsiteX2592" fmla="*/ 2068063 w 7524134"/>
                  <a:gd name="connsiteY2592" fmla="*/ 4059888 h 6756949"/>
                  <a:gd name="connsiteX2593" fmla="*/ 2049003 w 7524134"/>
                  <a:gd name="connsiteY2593" fmla="*/ 4064653 h 6756949"/>
                  <a:gd name="connsiteX2594" fmla="*/ 2039472 w 7524134"/>
                  <a:gd name="connsiteY2594" fmla="*/ 4055123 h 6756949"/>
                  <a:gd name="connsiteX2595" fmla="*/ 2039472 w 7524134"/>
                  <a:gd name="connsiteY2595" fmla="*/ 4036063 h 6756949"/>
                  <a:gd name="connsiteX2596" fmla="*/ 2029942 w 7524134"/>
                  <a:gd name="connsiteY2596" fmla="*/ 4045593 h 6756949"/>
                  <a:gd name="connsiteX2597" fmla="*/ 2015647 w 7524134"/>
                  <a:gd name="connsiteY2597" fmla="*/ 4040827 h 6756949"/>
                  <a:gd name="connsiteX2598" fmla="*/ 2006117 w 7524134"/>
                  <a:gd name="connsiteY2598" fmla="*/ 4031297 h 6756949"/>
                  <a:gd name="connsiteX2599" fmla="*/ 2010882 w 7524134"/>
                  <a:gd name="connsiteY2599" fmla="*/ 4021767 h 6756949"/>
                  <a:gd name="connsiteX2600" fmla="*/ 2025177 w 7524134"/>
                  <a:gd name="connsiteY2600" fmla="*/ 4007472 h 6756949"/>
                  <a:gd name="connsiteX2601" fmla="*/ 2020412 w 7524134"/>
                  <a:gd name="connsiteY2601" fmla="*/ 4007472 h 6756949"/>
                  <a:gd name="connsiteX2602" fmla="*/ 2010882 w 7524134"/>
                  <a:gd name="connsiteY2602" fmla="*/ 4007472 h 6756949"/>
                  <a:gd name="connsiteX2603" fmla="*/ 2001351 w 7524134"/>
                  <a:gd name="connsiteY2603" fmla="*/ 4026532 h 6756949"/>
                  <a:gd name="connsiteX2604" fmla="*/ 2001351 w 7524134"/>
                  <a:gd name="connsiteY2604" fmla="*/ 4040827 h 6756949"/>
                  <a:gd name="connsiteX2605" fmla="*/ 2001351 w 7524134"/>
                  <a:gd name="connsiteY2605" fmla="*/ 4059888 h 6756949"/>
                  <a:gd name="connsiteX2606" fmla="*/ 1987056 w 7524134"/>
                  <a:gd name="connsiteY2606" fmla="*/ 4064653 h 6756949"/>
                  <a:gd name="connsiteX2607" fmla="*/ 1972761 w 7524134"/>
                  <a:gd name="connsiteY2607" fmla="*/ 4059888 h 6756949"/>
                  <a:gd name="connsiteX2608" fmla="*/ 1963230 w 7524134"/>
                  <a:gd name="connsiteY2608" fmla="*/ 4040827 h 6756949"/>
                  <a:gd name="connsiteX2609" fmla="*/ 1953700 w 7524134"/>
                  <a:gd name="connsiteY2609" fmla="*/ 3997941 h 6756949"/>
                  <a:gd name="connsiteX2610" fmla="*/ 1925109 w 7524134"/>
                  <a:gd name="connsiteY2610" fmla="*/ 3983646 h 6756949"/>
                  <a:gd name="connsiteX2611" fmla="*/ 1920344 w 7524134"/>
                  <a:gd name="connsiteY2611" fmla="*/ 3964585 h 6756949"/>
                  <a:gd name="connsiteX2612" fmla="*/ 1934640 w 7524134"/>
                  <a:gd name="connsiteY2612" fmla="*/ 3935995 h 6756949"/>
                  <a:gd name="connsiteX2613" fmla="*/ 1929875 w 7524134"/>
                  <a:gd name="connsiteY2613" fmla="*/ 3921699 h 6756949"/>
                  <a:gd name="connsiteX2614" fmla="*/ 1910814 w 7524134"/>
                  <a:gd name="connsiteY2614" fmla="*/ 3916934 h 6756949"/>
                  <a:gd name="connsiteX2615" fmla="*/ 1891754 w 7524134"/>
                  <a:gd name="connsiteY2615" fmla="*/ 3931230 h 6756949"/>
                  <a:gd name="connsiteX2616" fmla="*/ 1882223 w 7524134"/>
                  <a:gd name="connsiteY2616" fmla="*/ 3916934 h 6756949"/>
                  <a:gd name="connsiteX2617" fmla="*/ 1877458 w 7524134"/>
                  <a:gd name="connsiteY2617" fmla="*/ 3902639 h 6756949"/>
                  <a:gd name="connsiteX2618" fmla="*/ 1877458 w 7524134"/>
                  <a:gd name="connsiteY2618" fmla="*/ 3883579 h 6756949"/>
                  <a:gd name="connsiteX2619" fmla="*/ 1886988 w 7524134"/>
                  <a:gd name="connsiteY2619" fmla="*/ 3878813 h 6756949"/>
                  <a:gd name="connsiteX2620" fmla="*/ 1891754 w 7524134"/>
                  <a:gd name="connsiteY2620" fmla="*/ 3883579 h 6756949"/>
                  <a:gd name="connsiteX2621" fmla="*/ 1929875 w 7524134"/>
                  <a:gd name="connsiteY2621" fmla="*/ 3874048 h 6756949"/>
                  <a:gd name="connsiteX2622" fmla="*/ 1934640 w 7524134"/>
                  <a:gd name="connsiteY2622" fmla="*/ 3869283 h 6756949"/>
                  <a:gd name="connsiteX2623" fmla="*/ 1901284 w 7524134"/>
                  <a:gd name="connsiteY2623" fmla="*/ 3850223 h 6756949"/>
                  <a:gd name="connsiteX2624" fmla="*/ 1891754 w 7524134"/>
                  <a:gd name="connsiteY2624" fmla="*/ 3831162 h 6756949"/>
                  <a:gd name="connsiteX2625" fmla="*/ 1906049 w 7524134"/>
                  <a:gd name="connsiteY2625" fmla="*/ 3821632 h 6756949"/>
                  <a:gd name="connsiteX2626" fmla="*/ 1929875 w 7524134"/>
                  <a:gd name="connsiteY2626" fmla="*/ 3821632 h 6756949"/>
                  <a:gd name="connsiteX2627" fmla="*/ 1967996 w 7524134"/>
                  <a:gd name="connsiteY2627" fmla="*/ 3812101 h 6756949"/>
                  <a:gd name="connsiteX2628" fmla="*/ 1948935 w 7524134"/>
                  <a:gd name="connsiteY2628" fmla="*/ 3793041 h 6756949"/>
                  <a:gd name="connsiteX2629" fmla="*/ 1948935 w 7524134"/>
                  <a:gd name="connsiteY2629" fmla="*/ 3778746 h 6756949"/>
                  <a:gd name="connsiteX2630" fmla="*/ 1944170 w 7524134"/>
                  <a:gd name="connsiteY2630" fmla="*/ 3764450 h 6756949"/>
                  <a:gd name="connsiteX2631" fmla="*/ 1948935 w 7524134"/>
                  <a:gd name="connsiteY2631" fmla="*/ 3735859 h 6756949"/>
                  <a:gd name="connsiteX2632" fmla="*/ 1991821 w 7524134"/>
                  <a:gd name="connsiteY2632" fmla="*/ 3664383 h 6756949"/>
                  <a:gd name="connsiteX2633" fmla="*/ 2029942 w 7524134"/>
                  <a:gd name="connsiteY2633" fmla="*/ 3607201 h 6756949"/>
                  <a:gd name="connsiteX2634" fmla="*/ 2044238 w 7524134"/>
                  <a:gd name="connsiteY2634" fmla="*/ 3592906 h 6756949"/>
                  <a:gd name="connsiteX2635" fmla="*/ 2063298 w 7524134"/>
                  <a:gd name="connsiteY2635" fmla="*/ 3588141 h 6756949"/>
                  <a:gd name="connsiteX2636" fmla="*/ 2077594 w 7524134"/>
                  <a:gd name="connsiteY2636" fmla="*/ 3592906 h 6756949"/>
                  <a:gd name="connsiteX2637" fmla="*/ 2096654 w 7524134"/>
                  <a:gd name="connsiteY2637" fmla="*/ 3607201 h 6756949"/>
                  <a:gd name="connsiteX2638" fmla="*/ 2101419 w 7524134"/>
                  <a:gd name="connsiteY2638" fmla="*/ 3602436 h 6756949"/>
                  <a:gd name="connsiteX2639" fmla="*/ 2091889 w 7524134"/>
                  <a:gd name="connsiteY2639" fmla="*/ 3597671 h 6756949"/>
                  <a:gd name="connsiteX2640" fmla="*/ 2087124 w 7524134"/>
                  <a:gd name="connsiteY2640" fmla="*/ 3573845 h 6756949"/>
                  <a:gd name="connsiteX2641" fmla="*/ 2110949 w 7524134"/>
                  <a:gd name="connsiteY2641" fmla="*/ 3564315 h 6756949"/>
                  <a:gd name="connsiteX2642" fmla="*/ 2125245 w 7524134"/>
                  <a:gd name="connsiteY2642" fmla="*/ 3535724 h 6756949"/>
                  <a:gd name="connsiteX2643" fmla="*/ 2125245 w 7524134"/>
                  <a:gd name="connsiteY2643" fmla="*/ 3530959 h 6756949"/>
                  <a:gd name="connsiteX2644" fmla="*/ 2110949 w 7524134"/>
                  <a:gd name="connsiteY2644" fmla="*/ 3540489 h 6756949"/>
                  <a:gd name="connsiteX2645" fmla="*/ 2091889 w 7524134"/>
                  <a:gd name="connsiteY2645" fmla="*/ 3559550 h 6756949"/>
                  <a:gd name="connsiteX2646" fmla="*/ 2091889 w 7524134"/>
                  <a:gd name="connsiteY2646" fmla="*/ 3540489 h 6756949"/>
                  <a:gd name="connsiteX2647" fmla="*/ 2087124 w 7524134"/>
                  <a:gd name="connsiteY2647" fmla="*/ 3497603 h 6756949"/>
                  <a:gd name="connsiteX2648" fmla="*/ 2091889 w 7524134"/>
                  <a:gd name="connsiteY2648" fmla="*/ 3454717 h 6756949"/>
                  <a:gd name="connsiteX2649" fmla="*/ 2096654 w 7524134"/>
                  <a:gd name="connsiteY2649" fmla="*/ 3440422 h 6756949"/>
                  <a:gd name="connsiteX2650" fmla="*/ 2110949 w 7524134"/>
                  <a:gd name="connsiteY2650" fmla="*/ 3421361 h 6756949"/>
                  <a:gd name="connsiteX2651" fmla="*/ 2149070 w 7524134"/>
                  <a:gd name="connsiteY2651" fmla="*/ 3416596 h 6756949"/>
                  <a:gd name="connsiteX2652" fmla="*/ 2158601 w 7524134"/>
                  <a:gd name="connsiteY2652" fmla="*/ 3416596 h 6756949"/>
                  <a:gd name="connsiteX2653" fmla="*/ 2158601 w 7524134"/>
                  <a:gd name="connsiteY2653" fmla="*/ 3411831 h 6756949"/>
                  <a:gd name="connsiteX2654" fmla="*/ 2134775 w 7524134"/>
                  <a:gd name="connsiteY2654" fmla="*/ 3383240 h 6756949"/>
                  <a:gd name="connsiteX2655" fmla="*/ 2144305 w 7524134"/>
                  <a:gd name="connsiteY2655" fmla="*/ 3364179 h 6756949"/>
                  <a:gd name="connsiteX2656" fmla="*/ 2153836 w 7524134"/>
                  <a:gd name="connsiteY2656" fmla="*/ 3354649 h 6756949"/>
                  <a:gd name="connsiteX2657" fmla="*/ 2201487 w 7524134"/>
                  <a:gd name="connsiteY2657" fmla="*/ 3340354 h 6756949"/>
                  <a:gd name="connsiteX2658" fmla="*/ 2225312 w 7524134"/>
                  <a:gd name="connsiteY2658" fmla="*/ 3345119 h 6756949"/>
                  <a:gd name="connsiteX2659" fmla="*/ 2258669 w 7524134"/>
                  <a:gd name="connsiteY2659" fmla="*/ 3364179 h 6756949"/>
                  <a:gd name="connsiteX2660" fmla="*/ 2277729 w 7524134"/>
                  <a:gd name="connsiteY2660" fmla="*/ 3388005 h 6756949"/>
                  <a:gd name="connsiteX2661" fmla="*/ 2272964 w 7524134"/>
                  <a:gd name="connsiteY2661" fmla="*/ 3397535 h 6756949"/>
                  <a:gd name="connsiteX2662" fmla="*/ 2268199 w 7524134"/>
                  <a:gd name="connsiteY2662" fmla="*/ 3407066 h 6756949"/>
                  <a:gd name="connsiteX2663" fmla="*/ 2258669 w 7524134"/>
                  <a:gd name="connsiteY2663" fmla="*/ 3411831 h 6756949"/>
                  <a:gd name="connsiteX2664" fmla="*/ 2258669 w 7524134"/>
                  <a:gd name="connsiteY2664" fmla="*/ 3416596 h 6756949"/>
                  <a:gd name="connsiteX2665" fmla="*/ 2258669 w 7524134"/>
                  <a:gd name="connsiteY2665" fmla="*/ 3426126 h 6756949"/>
                  <a:gd name="connsiteX2666" fmla="*/ 2272964 w 7524134"/>
                  <a:gd name="connsiteY2666" fmla="*/ 3411831 h 6756949"/>
                  <a:gd name="connsiteX2667" fmla="*/ 2296789 w 7524134"/>
                  <a:gd name="connsiteY2667" fmla="*/ 3392770 h 6756949"/>
                  <a:gd name="connsiteX2668" fmla="*/ 2306320 w 7524134"/>
                  <a:gd name="connsiteY2668" fmla="*/ 3397535 h 6756949"/>
                  <a:gd name="connsiteX2669" fmla="*/ 2315850 w 7524134"/>
                  <a:gd name="connsiteY2669" fmla="*/ 3411831 h 6756949"/>
                  <a:gd name="connsiteX2670" fmla="*/ 2330145 w 7524134"/>
                  <a:gd name="connsiteY2670" fmla="*/ 3411831 h 6756949"/>
                  <a:gd name="connsiteX2671" fmla="*/ 2363501 w 7524134"/>
                  <a:gd name="connsiteY2671" fmla="*/ 3402301 h 6756949"/>
                  <a:gd name="connsiteX2672" fmla="*/ 2382562 w 7524134"/>
                  <a:gd name="connsiteY2672" fmla="*/ 3388005 h 6756949"/>
                  <a:gd name="connsiteX2673" fmla="*/ 2401622 w 7524134"/>
                  <a:gd name="connsiteY2673" fmla="*/ 3359415 h 6756949"/>
                  <a:gd name="connsiteX2674" fmla="*/ 2434978 w 7524134"/>
                  <a:gd name="connsiteY2674" fmla="*/ 3335589 h 6756949"/>
                  <a:gd name="connsiteX2675" fmla="*/ 2473099 w 7524134"/>
                  <a:gd name="connsiteY2675" fmla="*/ 3273642 h 6756949"/>
                  <a:gd name="connsiteX2676" fmla="*/ 2487394 w 7524134"/>
                  <a:gd name="connsiteY2676" fmla="*/ 3245051 h 6756949"/>
                  <a:gd name="connsiteX2677" fmla="*/ 2501690 w 7524134"/>
                  <a:gd name="connsiteY2677" fmla="*/ 3240286 h 6756949"/>
                  <a:gd name="connsiteX2678" fmla="*/ 2511220 w 7524134"/>
                  <a:gd name="connsiteY2678" fmla="*/ 3245051 h 6756949"/>
                  <a:gd name="connsiteX2679" fmla="*/ 2520751 w 7524134"/>
                  <a:gd name="connsiteY2679" fmla="*/ 3264112 h 6756949"/>
                  <a:gd name="connsiteX2680" fmla="*/ 2535046 w 7524134"/>
                  <a:gd name="connsiteY2680" fmla="*/ 3273642 h 6756949"/>
                  <a:gd name="connsiteX2681" fmla="*/ 2606523 w 7524134"/>
                  <a:gd name="connsiteY2681" fmla="*/ 3268877 h 6756949"/>
                  <a:gd name="connsiteX2682" fmla="*/ 2644644 w 7524134"/>
                  <a:gd name="connsiteY2682" fmla="*/ 3254582 h 6756949"/>
                  <a:gd name="connsiteX2683" fmla="*/ 2668469 w 7524134"/>
                  <a:gd name="connsiteY2683" fmla="*/ 3235521 h 6756949"/>
                  <a:gd name="connsiteX2684" fmla="*/ 2697060 w 7524134"/>
                  <a:gd name="connsiteY2684" fmla="*/ 3197400 h 6756949"/>
                  <a:gd name="connsiteX2685" fmla="*/ 2711356 w 7524134"/>
                  <a:gd name="connsiteY2685" fmla="*/ 3173575 h 6756949"/>
                  <a:gd name="connsiteX2686" fmla="*/ 2720886 w 7524134"/>
                  <a:gd name="connsiteY2686" fmla="*/ 3144984 h 6756949"/>
                  <a:gd name="connsiteX2687" fmla="*/ 2711356 w 7524134"/>
                  <a:gd name="connsiteY2687" fmla="*/ 3102097 h 6756949"/>
                  <a:gd name="connsiteX2688" fmla="*/ 2701825 w 7524134"/>
                  <a:gd name="connsiteY2688" fmla="*/ 3068742 h 6756949"/>
                  <a:gd name="connsiteX2689" fmla="*/ 2687530 w 7524134"/>
                  <a:gd name="connsiteY2689" fmla="*/ 2987735 h 6756949"/>
                  <a:gd name="connsiteX2690" fmla="*/ 2649409 w 7524134"/>
                  <a:gd name="connsiteY2690" fmla="*/ 2935318 h 6756949"/>
                  <a:gd name="connsiteX2691" fmla="*/ 2625583 w 7524134"/>
                  <a:gd name="connsiteY2691" fmla="*/ 2921023 h 6756949"/>
                  <a:gd name="connsiteX2692" fmla="*/ 2611288 w 7524134"/>
                  <a:gd name="connsiteY2692" fmla="*/ 2921023 h 6756949"/>
                  <a:gd name="connsiteX2693" fmla="*/ 2620818 w 7524134"/>
                  <a:gd name="connsiteY2693" fmla="*/ 2887667 h 6756949"/>
                  <a:gd name="connsiteX2694" fmla="*/ 2654174 w 7524134"/>
                  <a:gd name="connsiteY2694" fmla="*/ 2892432 h 6756949"/>
                  <a:gd name="connsiteX2695" fmla="*/ 2678000 w 7524134"/>
                  <a:gd name="connsiteY2695" fmla="*/ 2887667 h 6756949"/>
                  <a:gd name="connsiteX2696" fmla="*/ 2697060 w 7524134"/>
                  <a:gd name="connsiteY2696" fmla="*/ 2873371 h 6756949"/>
                  <a:gd name="connsiteX2697" fmla="*/ 2701825 w 7524134"/>
                  <a:gd name="connsiteY2697" fmla="*/ 2859076 h 6756949"/>
                  <a:gd name="connsiteX2698" fmla="*/ 2711356 w 7524134"/>
                  <a:gd name="connsiteY2698" fmla="*/ 2835251 h 6756949"/>
                  <a:gd name="connsiteX2699" fmla="*/ 2706590 w 7524134"/>
                  <a:gd name="connsiteY2699" fmla="*/ 2806660 h 6756949"/>
                  <a:gd name="connsiteX2700" fmla="*/ 2701825 w 7524134"/>
                  <a:gd name="connsiteY2700" fmla="*/ 2792364 h 6756949"/>
                  <a:gd name="connsiteX2701" fmla="*/ 2692295 w 7524134"/>
                  <a:gd name="connsiteY2701" fmla="*/ 2773304 h 6756949"/>
                  <a:gd name="connsiteX2702" fmla="*/ 2678000 w 7524134"/>
                  <a:gd name="connsiteY2702" fmla="*/ 2749478 h 6756949"/>
                  <a:gd name="connsiteX2703" fmla="*/ 2663704 w 7524134"/>
                  <a:gd name="connsiteY2703" fmla="*/ 2744713 h 6756949"/>
                  <a:gd name="connsiteX2704" fmla="*/ 2658939 w 7524134"/>
                  <a:gd name="connsiteY2704" fmla="*/ 2744713 h 6756949"/>
                  <a:gd name="connsiteX2705" fmla="*/ 2611288 w 7524134"/>
                  <a:gd name="connsiteY2705" fmla="*/ 2792364 h 6756949"/>
                  <a:gd name="connsiteX2706" fmla="*/ 2587462 w 7524134"/>
                  <a:gd name="connsiteY2706" fmla="*/ 2792364 h 6756949"/>
                  <a:gd name="connsiteX2707" fmla="*/ 2568402 w 7524134"/>
                  <a:gd name="connsiteY2707" fmla="*/ 2782834 h 6756949"/>
                  <a:gd name="connsiteX2708" fmla="*/ 2549341 w 7524134"/>
                  <a:gd name="connsiteY2708" fmla="*/ 2811425 h 6756949"/>
                  <a:gd name="connsiteX2709" fmla="*/ 2501690 w 7524134"/>
                  <a:gd name="connsiteY2709" fmla="*/ 2835251 h 6756949"/>
                  <a:gd name="connsiteX2710" fmla="*/ 2477864 w 7524134"/>
                  <a:gd name="connsiteY2710" fmla="*/ 2859076 h 6756949"/>
                  <a:gd name="connsiteX2711" fmla="*/ 2430213 w 7524134"/>
                  <a:gd name="connsiteY2711" fmla="*/ 2916258 h 6756949"/>
                  <a:gd name="connsiteX2712" fmla="*/ 2420683 w 7524134"/>
                  <a:gd name="connsiteY2712" fmla="*/ 2944849 h 6756949"/>
                  <a:gd name="connsiteX2713" fmla="*/ 2401622 w 7524134"/>
                  <a:gd name="connsiteY2713" fmla="*/ 2944849 h 6756949"/>
                  <a:gd name="connsiteX2714" fmla="*/ 2392092 w 7524134"/>
                  <a:gd name="connsiteY2714" fmla="*/ 2892432 h 6756949"/>
                  <a:gd name="connsiteX2715" fmla="*/ 2339676 w 7524134"/>
                  <a:gd name="connsiteY2715" fmla="*/ 2844781 h 6756949"/>
                  <a:gd name="connsiteX2716" fmla="*/ 2325380 w 7524134"/>
                  <a:gd name="connsiteY2716" fmla="*/ 2859076 h 6756949"/>
                  <a:gd name="connsiteX2717" fmla="*/ 2334910 w 7524134"/>
                  <a:gd name="connsiteY2717" fmla="*/ 2878137 h 6756949"/>
                  <a:gd name="connsiteX2718" fmla="*/ 2344441 w 7524134"/>
                  <a:gd name="connsiteY2718" fmla="*/ 2887667 h 6756949"/>
                  <a:gd name="connsiteX2719" fmla="*/ 2363501 w 7524134"/>
                  <a:gd name="connsiteY2719" fmla="*/ 2892432 h 6756949"/>
                  <a:gd name="connsiteX2720" fmla="*/ 2358736 w 7524134"/>
                  <a:gd name="connsiteY2720" fmla="*/ 2906727 h 6756949"/>
                  <a:gd name="connsiteX2721" fmla="*/ 2349206 w 7524134"/>
                  <a:gd name="connsiteY2721" fmla="*/ 2925788 h 6756949"/>
                  <a:gd name="connsiteX2722" fmla="*/ 2330145 w 7524134"/>
                  <a:gd name="connsiteY2722" fmla="*/ 2906727 h 6756949"/>
                  <a:gd name="connsiteX2723" fmla="*/ 2296789 w 7524134"/>
                  <a:gd name="connsiteY2723" fmla="*/ 2882902 h 6756949"/>
                  <a:gd name="connsiteX2724" fmla="*/ 2263434 w 7524134"/>
                  <a:gd name="connsiteY2724" fmla="*/ 2868607 h 6756949"/>
                  <a:gd name="connsiteX2725" fmla="*/ 2168131 w 7524134"/>
                  <a:gd name="connsiteY2725" fmla="*/ 2868607 h 6756949"/>
                  <a:gd name="connsiteX2726" fmla="*/ 2110949 w 7524134"/>
                  <a:gd name="connsiteY2726" fmla="*/ 2897197 h 6756949"/>
                  <a:gd name="connsiteX2727" fmla="*/ 2106184 w 7524134"/>
                  <a:gd name="connsiteY2727" fmla="*/ 2892432 h 6756949"/>
                  <a:gd name="connsiteX2728" fmla="*/ 2096654 w 7524134"/>
                  <a:gd name="connsiteY2728" fmla="*/ 2887667 h 6756949"/>
                  <a:gd name="connsiteX2729" fmla="*/ 2087124 w 7524134"/>
                  <a:gd name="connsiteY2729" fmla="*/ 2897197 h 6756949"/>
                  <a:gd name="connsiteX2730" fmla="*/ 2082359 w 7524134"/>
                  <a:gd name="connsiteY2730" fmla="*/ 2906727 h 6756949"/>
                  <a:gd name="connsiteX2731" fmla="*/ 2077594 w 7524134"/>
                  <a:gd name="connsiteY2731" fmla="*/ 2916258 h 6756949"/>
                  <a:gd name="connsiteX2732" fmla="*/ 2063298 w 7524134"/>
                  <a:gd name="connsiteY2732" fmla="*/ 2916258 h 6756949"/>
                  <a:gd name="connsiteX2733" fmla="*/ 2039472 w 7524134"/>
                  <a:gd name="connsiteY2733" fmla="*/ 2911493 h 6756949"/>
                  <a:gd name="connsiteX2734" fmla="*/ 1991821 w 7524134"/>
                  <a:gd name="connsiteY2734" fmla="*/ 2897197 h 6756949"/>
                  <a:gd name="connsiteX2735" fmla="*/ 1882223 w 7524134"/>
                  <a:gd name="connsiteY2735" fmla="*/ 2868607 h 6756949"/>
                  <a:gd name="connsiteX2736" fmla="*/ 1853633 w 7524134"/>
                  <a:gd name="connsiteY2736" fmla="*/ 2854311 h 6756949"/>
                  <a:gd name="connsiteX2737" fmla="*/ 1829807 w 7524134"/>
                  <a:gd name="connsiteY2737" fmla="*/ 2816190 h 6756949"/>
                  <a:gd name="connsiteX2738" fmla="*/ 1829807 w 7524134"/>
                  <a:gd name="connsiteY2738" fmla="*/ 2792364 h 6756949"/>
                  <a:gd name="connsiteX2739" fmla="*/ 1839337 w 7524134"/>
                  <a:gd name="connsiteY2739" fmla="*/ 2778069 h 6756949"/>
                  <a:gd name="connsiteX2740" fmla="*/ 1839337 w 7524134"/>
                  <a:gd name="connsiteY2740" fmla="*/ 2744713 h 6756949"/>
                  <a:gd name="connsiteX2741" fmla="*/ 1820277 w 7524134"/>
                  <a:gd name="connsiteY2741" fmla="*/ 2735183 h 6756949"/>
                  <a:gd name="connsiteX2742" fmla="*/ 1777390 w 7524134"/>
                  <a:gd name="connsiteY2742" fmla="*/ 2682767 h 6756949"/>
                  <a:gd name="connsiteX2743" fmla="*/ 1758330 w 7524134"/>
                  <a:gd name="connsiteY2743" fmla="*/ 2658941 h 6756949"/>
                  <a:gd name="connsiteX2744" fmla="*/ 1763095 w 7524134"/>
                  <a:gd name="connsiteY2744" fmla="*/ 2654176 h 6756949"/>
                  <a:gd name="connsiteX2745" fmla="*/ 1772625 w 7524134"/>
                  <a:gd name="connsiteY2745" fmla="*/ 2663706 h 6756949"/>
                  <a:gd name="connsiteX2746" fmla="*/ 1786921 w 7524134"/>
                  <a:gd name="connsiteY2746" fmla="*/ 2668471 h 6756949"/>
                  <a:gd name="connsiteX2747" fmla="*/ 1820277 w 7524134"/>
                  <a:gd name="connsiteY2747" fmla="*/ 2658941 h 6756949"/>
                  <a:gd name="connsiteX2748" fmla="*/ 1834572 w 7524134"/>
                  <a:gd name="connsiteY2748" fmla="*/ 2625585 h 6756949"/>
                  <a:gd name="connsiteX2749" fmla="*/ 1863163 w 7524134"/>
                  <a:gd name="connsiteY2749" fmla="*/ 2616055 h 6756949"/>
                  <a:gd name="connsiteX2750" fmla="*/ 1886988 w 7524134"/>
                  <a:gd name="connsiteY2750" fmla="*/ 2620820 h 6756949"/>
                  <a:gd name="connsiteX2751" fmla="*/ 1882223 w 7524134"/>
                  <a:gd name="connsiteY2751" fmla="*/ 2611289 h 6756949"/>
                  <a:gd name="connsiteX2752" fmla="*/ 1872693 w 7524134"/>
                  <a:gd name="connsiteY2752" fmla="*/ 2601759 h 6756949"/>
                  <a:gd name="connsiteX2753" fmla="*/ 1810746 w 7524134"/>
                  <a:gd name="connsiteY2753" fmla="*/ 2587464 h 6756949"/>
                  <a:gd name="connsiteX2754" fmla="*/ 1801216 w 7524134"/>
                  <a:gd name="connsiteY2754" fmla="*/ 2592229 h 6756949"/>
                  <a:gd name="connsiteX2755" fmla="*/ 1686853 w 7524134"/>
                  <a:gd name="connsiteY2755" fmla="*/ 2558873 h 6756949"/>
                  <a:gd name="connsiteX2756" fmla="*/ 1596316 w 7524134"/>
                  <a:gd name="connsiteY2756" fmla="*/ 2506457 h 6756949"/>
                  <a:gd name="connsiteX2757" fmla="*/ 1586785 w 7524134"/>
                  <a:gd name="connsiteY2757" fmla="*/ 2492161 h 6756949"/>
                  <a:gd name="connsiteX2758" fmla="*/ 1577255 w 7524134"/>
                  <a:gd name="connsiteY2758" fmla="*/ 2468336 h 6756949"/>
                  <a:gd name="connsiteX2759" fmla="*/ 1591551 w 7524134"/>
                  <a:gd name="connsiteY2759" fmla="*/ 2449275 h 6756949"/>
                  <a:gd name="connsiteX2760" fmla="*/ 1601081 w 7524134"/>
                  <a:gd name="connsiteY2760" fmla="*/ 2434980 h 6756949"/>
                  <a:gd name="connsiteX2761" fmla="*/ 1605846 w 7524134"/>
                  <a:gd name="connsiteY2761" fmla="*/ 2449275 h 6756949"/>
                  <a:gd name="connsiteX2762" fmla="*/ 1605846 w 7524134"/>
                  <a:gd name="connsiteY2762" fmla="*/ 2458805 h 6756949"/>
                  <a:gd name="connsiteX2763" fmla="*/ 1658262 w 7524134"/>
                  <a:gd name="connsiteY2763" fmla="*/ 2430215 h 6756949"/>
                  <a:gd name="connsiteX2764" fmla="*/ 1686853 w 7524134"/>
                  <a:gd name="connsiteY2764" fmla="*/ 2392094 h 6756949"/>
                  <a:gd name="connsiteX2765" fmla="*/ 1739269 w 7524134"/>
                  <a:gd name="connsiteY2765" fmla="*/ 2387329 h 6756949"/>
                  <a:gd name="connsiteX2766" fmla="*/ 1748800 w 7524134"/>
                  <a:gd name="connsiteY2766" fmla="*/ 2377798 h 6756949"/>
                  <a:gd name="connsiteX2767" fmla="*/ 1763095 w 7524134"/>
                  <a:gd name="connsiteY2767" fmla="*/ 2353973 h 6756949"/>
                  <a:gd name="connsiteX2768" fmla="*/ 1786921 w 7524134"/>
                  <a:gd name="connsiteY2768" fmla="*/ 2320617 h 6756949"/>
                  <a:gd name="connsiteX2769" fmla="*/ 1820277 w 7524134"/>
                  <a:gd name="connsiteY2769" fmla="*/ 2301556 h 6756949"/>
                  <a:gd name="connsiteX2770" fmla="*/ 1844102 w 7524134"/>
                  <a:gd name="connsiteY2770" fmla="*/ 2282496 h 6756949"/>
                  <a:gd name="connsiteX2771" fmla="*/ 1872693 w 7524134"/>
                  <a:gd name="connsiteY2771" fmla="*/ 2272965 h 6756949"/>
                  <a:gd name="connsiteX2772" fmla="*/ 1896519 w 7524134"/>
                  <a:gd name="connsiteY2772" fmla="*/ 2292026 h 6756949"/>
                  <a:gd name="connsiteX2773" fmla="*/ 1906049 w 7524134"/>
                  <a:gd name="connsiteY2773" fmla="*/ 2292026 h 6756949"/>
                  <a:gd name="connsiteX2774" fmla="*/ 1948935 w 7524134"/>
                  <a:gd name="connsiteY2774" fmla="*/ 2296791 h 6756949"/>
                  <a:gd name="connsiteX2775" fmla="*/ 1963230 w 7524134"/>
                  <a:gd name="connsiteY2775" fmla="*/ 2287261 h 6756949"/>
                  <a:gd name="connsiteX2776" fmla="*/ 1967996 w 7524134"/>
                  <a:gd name="connsiteY2776" fmla="*/ 2282496 h 6756949"/>
                  <a:gd name="connsiteX2777" fmla="*/ 1972761 w 7524134"/>
                  <a:gd name="connsiteY2777" fmla="*/ 2272965 h 6756949"/>
                  <a:gd name="connsiteX2778" fmla="*/ 1929875 w 7524134"/>
                  <a:gd name="connsiteY2778" fmla="*/ 2244375 h 6756949"/>
                  <a:gd name="connsiteX2779" fmla="*/ 1934640 w 7524134"/>
                  <a:gd name="connsiteY2779" fmla="*/ 2230079 h 6756949"/>
                  <a:gd name="connsiteX2780" fmla="*/ 1939405 w 7524134"/>
                  <a:gd name="connsiteY2780" fmla="*/ 2215784 h 6756949"/>
                  <a:gd name="connsiteX2781" fmla="*/ 1991821 w 7524134"/>
                  <a:gd name="connsiteY2781" fmla="*/ 2182428 h 6756949"/>
                  <a:gd name="connsiteX2782" fmla="*/ 2029942 w 7524134"/>
                  <a:gd name="connsiteY2782" fmla="*/ 2168133 h 6756949"/>
                  <a:gd name="connsiteX2783" fmla="*/ 2049003 w 7524134"/>
                  <a:gd name="connsiteY2783" fmla="*/ 2168133 h 6756949"/>
                  <a:gd name="connsiteX2784" fmla="*/ 2110949 w 7524134"/>
                  <a:gd name="connsiteY2784" fmla="*/ 2125247 h 6756949"/>
                  <a:gd name="connsiteX2785" fmla="*/ 2144305 w 7524134"/>
                  <a:gd name="connsiteY2785" fmla="*/ 2110951 h 6756949"/>
                  <a:gd name="connsiteX2786" fmla="*/ 2206252 w 7524134"/>
                  <a:gd name="connsiteY2786" fmla="*/ 2101421 h 6756949"/>
                  <a:gd name="connsiteX2787" fmla="*/ 2258669 w 7524134"/>
                  <a:gd name="connsiteY2787" fmla="*/ 2101421 h 6756949"/>
                  <a:gd name="connsiteX2788" fmla="*/ 2272964 w 7524134"/>
                  <a:gd name="connsiteY2788" fmla="*/ 2115716 h 6756949"/>
                  <a:gd name="connsiteX2789" fmla="*/ 2244373 w 7524134"/>
                  <a:gd name="connsiteY2789" fmla="*/ 2110951 h 6756949"/>
                  <a:gd name="connsiteX2790" fmla="*/ 2234843 w 7524134"/>
                  <a:gd name="connsiteY2790" fmla="*/ 2115716 h 6756949"/>
                  <a:gd name="connsiteX2791" fmla="*/ 2244373 w 7524134"/>
                  <a:gd name="connsiteY2791" fmla="*/ 2120481 h 6756949"/>
                  <a:gd name="connsiteX2792" fmla="*/ 2253903 w 7524134"/>
                  <a:gd name="connsiteY2792" fmla="*/ 2134777 h 6756949"/>
                  <a:gd name="connsiteX2793" fmla="*/ 2249138 w 7524134"/>
                  <a:gd name="connsiteY2793" fmla="*/ 2149072 h 6756949"/>
                  <a:gd name="connsiteX2794" fmla="*/ 2230078 w 7524134"/>
                  <a:gd name="connsiteY2794" fmla="*/ 2191959 h 6756949"/>
                  <a:gd name="connsiteX2795" fmla="*/ 2234843 w 7524134"/>
                  <a:gd name="connsiteY2795" fmla="*/ 2230079 h 6756949"/>
                  <a:gd name="connsiteX2796" fmla="*/ 2225312 w 7524134"/>
                  <a:gd name="connsiteY2796" fmla="*/ 2239610 h 6756949"/>
                  <a:gd name="connsiteX2797" fmla="*/ 2211017 w 7524134"/>
                  <a:gd name="connsiteY2797" fmla="*/ 2258670 h 6756949"/>
                  <a:gd name="connsiteX2798" fmla="*/ 2263434 w 7524134"/>
                  <a:gd name="connsiteY2798" fmla="*/ 2306321 h 6756949"/>
                  <a:gd name="connsiteX2799" fmla="*/ 2344441 w 7524134"/>
                  <a:gd name="connsiteY2799" fmla="*/ 2311087 h 6756949"/>
                  <a:gd name="connsiteX2800" fmla="*/ 2392092 w 7524134"/>
                  <a:gd name="connsiteY2800" fmla="*/ 2301556 h 6756949"/>
                  <a:gd name="connsiteX2801" fmla="*/ 2415918 w 7524134"/>
                  <a:gd name="connsiteY2801" fmla="*/ 2315852 h 6756949"/>
                  <a:gd name="connsiteX2802" fmla="*/ 2439743 w 7524134"/>
                  <a:gd name="connsiteY2802" fmla="*/ 2320617 h 6756949"/>
                  <a:gd name="connsiteX2803" fmla="*/ 2496925 w 7524134"/>
                  <a:gd name="connsiteY2803" fmla="*/ 2311087 h 6756949"/>
                  <a:gd name="connsiteX2804" fmla="*/ 2539811 w 7524134"/>
                  <a:gd name="connsiteY2804" fmla="*/ 2325382 h 6756949"/>
                  <a:gd name="connsiteX2805" fmla="*/ 2558871 w 7524134"/>
                  <a:gd name="connsiteY2805" fmla="*/ 2320617 h 6756949"/>
                  <a:gd name="connsiteX2806" fmla="*/ 2596992 w 7524134"/>
                  <a:gd name="connsiteY2806" fmla="*/ 2244375 h 6756949"/>
                  <a:gd name="connsiteX2807" fmla="*/ 2616053 w 7524134"/>
                  <a:gd name="connsiteY2807" fmla="*/ 2230079 h 6756949"/>
                  <a:gd name="connsiteX2808" fmla="*/ 2630348 w 7524134"/>
                  <a:gd name="connsiteY2808" fmla="*/ 2244375 h 6756949"/>
                  <a:gd name="connsiteX2809" fmla="*/ 2654174 w 7524134"/>
                  <a:gd name="connsiteY2809" fmla="*/ 2253905 h 6756949"/>
                  <a:gd name="connsiteX2810" fmla="*/ 2668469 w 7524134"/>
                  <a:gd name="connsiteY2810" fmla="*/ 2249140 h 6756949"/>
                  <a:gd name="connsiteX2811" fmla="*/ 2682765 w 7524134"/>
                  <a:gd name="connsiteY2811" fmla="*/ 2268201 h 6756949"/>
                  <a:gd name="connsiteX2812" fmla="*/ 2673234 w 7524134"/>
                  <a:gd name="connsiteY2812" fmla="*/ 2225314 h 6756949"/>
                  <a:gd name="connsiteX2813" fmla="*/ 2668469 w 7524134"/>
                  <a:gd name="connsiteY2813" fmla="*/ 2211019 h 6756949"/>
                  <a:gd name="connsiteX2814" fmla="*/ 2601758 w 7524134"/>
                  <a:gd name="connsiteY2814" fmla="*/ 2182428 h 6756949"/>
                  <a:gd name="connsiteX2815" fmla="*/ 2558871 w 7524134"/>
                  <a:gd name="connsiteY2815" fmla="*/ 2196723 h 6756949"/>
                  <a:gd name="connsiteX2816" fmla="*/ 2544576 w 7524134"/>
                  <a:gd name="connsiteY2816" fmla="*/ 2182428 h 6756949"/>
                  <a:gd name="connsiteX2817" fmla="*/ 2549341 w 7524134"/>
                  <a:gd name="connsiteY2817" fmla="*/ 2149072 h 6756949"/>
                  <a:gd name="connsiteX2818" fmla="*/ 2501690 w 7524134"/>
                  <a:gd name="connsiteY2818" fmla="*/ 2068065 h 6756949"/>
                  <a:gd name="connsiteX2819" fmla="*/ 2477864 w 7524134"/>
                  <a:gd name="connsiteY2819" fmla="*/ 2053770 h 6756949"/>
                  <a:gd name="connsiteX2820" fmla="*/ 2458804 w 7524134"/>
                  <a:gd name="connsiteY2820" fmla="*/ 2053770 h 6756949"/>
                  <a:gd name="connsiteX2821" fmla="*/ 2444508 w 7524134"/>
                  <a:gd name="connsiteY2821" fmla="*/ 2025179 h 6756949"/>
                  <a:gd name="connsiteX2822" fmla="*/ 2434978 w 7524134"/>
                  <a:gd name="connsiteY2822" fmla="*/ 1991823 h 6756949"/>
                  <a:gd name="connsiteX2823" fmla="*/ 2454039 w 7524134"/>
                  <a:gd name="connsiteY2823" fmla="*/ 1977528 h 6756949"/>
                  <a:gd name="connsiteX2824" fmla="*/ 2473099 w 7524134"/>
                  <a:gd name="connsiteY2824" fmla="*/ 1967997 h 6756949"/>
                  <a:gd name="connsiteX2825" fmla="*/ 2492160 w 7524134"/>
                  <a:gd name="connsiteY2825" fmla="*/ 1982293 h 6756949"/>
                  <a:gd name="connsiteX2826" fmla="*/ 2511220 w 7524134"/>
                  <a:gd name="connsiteY2826" fmla="*/ 2025179 h 6756949"/>
                  <a:gd name="connsiteX2827" fmla="*/ 2525516 w 7524134"/>
                  <a:gd name="connsiteY2827" fmla="*/ 2034709 h 6756949"/>
                  <a:gd name="connsiteX2828" fmla="*/ 2520751 w 7524134"/>
                  <a:gd name="connsiteY2828" fmla="*/ 2077595 h 6756949"/>
                  <a:gd name="connsiteX2829" fmla="*/ 2544576 w 7524134"/>
                  <a:gd name="connsiteY2829" fmla="*/ 2120481 h 6756949"/>
                  <a:gd name="connsiteX2830" fmla="*/ 2592227 w 7524134"/>
                  <a:gd name="connsiteY2830" fmla="*/ 2163367 h 6756949"/>
                  <a:gd name="connsiteX2831" fmla="*/ 2635113 w 7524134"/>
                  <a:gd name="connsiteY2831" fmla="*/ 2149072 h 6756949"/>
                  <a:gd name="connsiteX2832" fmla="*/ 2663704 w 7524134"/>
                  <a:gd name="connsiteY2832" fmla="*/ 2149072 h 6756949"/>
                  <a:gd name="connsiteX2833" fmla="*/ 2678000 w 7524134"/>
                  <a:gd name="connsiteY2833" fmla="*/ 2153837 h 6756949"/>
                  <a:gd name="connsiteX2834" fmla="*/ 2720886 w 7524134"/>
                  <a:gd name="connsiteY2834" fmla="*/ 2191959 h 6756949"/>
                  <a:gd name="connsiteX2835" fmla="*/ 2739946 w 7524134"/>
                  <a:gd name="connsiteY2835" fmla="*/ 2196723 h 6756949"/>
                  <a:gd name="connsiteX2836" fmla="*/ 2806658 w 7524134"/>
                  <a:gd name="connsiteY2836" fmla="*/ 2177663 h 6756949"/>
                  <a:gd name="connsiteX2837" fmla="*/ 2806658 w 7524134"/>
                  <a:gd name="connsiteY2837" fmla="*/ 2144307 h 6756949"/>
                  <a:gd name="connsiteX2838" fmla="*/ 2801893 w 7524134"/>
                  <a:gd name="connsiteY2838" fmla="*/ 2115716 h 6756949"/>
                  <a:gd name="connsiteX2839" fmla="*/ 2787598 w 7524134"/>
                  <a:gd name="connsiteY2839" fmla="*/ 2101421 h 6756949"/>
                  <a:gd name="connsiteX2840" fmla="*/ 2739946 w 7524134"/>
                  <a:gd name="connsiteY2840" fmla="*/ 2106186 h 6756949"/>
                  <a:gd name="connsiteX2841" fmla="*/ 2706590 w 7524134"/>
                  <a:gd name="connsiteY2841" fmla="*/ 2077595 h 6756949"/>
                  <a:gd name="connsiteX2842" fmla="*/ 2678000 w 7524134"/>
                  <a:gd name="connsiteY2842" fmla="*/ 2087126 h 6756949"/>
                  <a:gd name="connsiteX2843" fmla="*/ 2625583 w 7524134"/>
                  <a:gd name="connsiteY2843" fmla="*/ 2125247 h 6756949"/>
                  <a:gd name="connsiteX2844" fmla="*/ 2596992 w 7524134"/>
                  <a:gd name="connsiteY2844" fmla="*/ 2110951 h 6756949"/>
                  <a:gd name="connsiteX2845" fmla="*/ 2577932 w 7524134"/>
                  <a:gd name="connsiteY2845" fmla="*/ 2087126 h 6756949"/>
                  <a:gd name="connsiteX2846" fmla="*/ 2554106 w 7524134"/>
                  <a:gd name="connsiteY2846" fmla="*/ 2068065 h 6756949"/>
                  <a:gd name="connsiteX2847" fmla="*/ 2549341 w 7524134"/>
                  <a:gd name="connsiteY2847" fmla="*/ 2025179 h 6756949"/>
                  <a:gd name="connsiteX2848" fmla="*/ 2573167 w 7524134"/>
                  <a:gd name="connsiteY2848" fmla="*/ 1977528 h 6756949"/>
                  <a:gd name="connsiteX2849" fmla="*/ 2587462 w 7524134"/>
                  <a:gd name="connsiteY2849" fmla="*/ 1958467 h 6756949"/>
                  <a:gd name="connsiteX2850" fmla="*/ 2573167 w 7524134"/>
                  <a:gd name="connsiteY2850" fmla="*/ 1939407 h 6756949"/>
                  <a:gd name="connsiteX2851" fmla="*/ 2535046 w 7524134"/>
                  <a:gd name="connsiteY2851" fmla="*/ 1929876 h 6756949"/>
                  <a:gd name="connsiteX2852" fmla="*/ 2468334 w 7524134"/>
                  <a:gd name="connsiteY2852" fmla="*/ 1939407 h 6756949"/>
                  <a:gd name="connsiteX2853" fmla="*/ 2463569 w 7524134"/>
                  <a:gd name="connsiteY2853" fmla="*/ 1925111 h 6756949"/>
                  <a:gd name="connsiteX2854" fmla="*/ 2463569 w 7524134"/>
                  <a:gd name="connsiteY2854" fmla="*/ 1906051 h 6756949"/>
                  <a:gd name="connsiteX2855" fmla="*/ 2439743 w 7524134"/>
                  <a:gd name="connsiteY2855" fmla="*/ 1939407 h 6756949"/>
                  <a:gd name="connsiteX2856" fmla="*/ 2411152 w 7524134"/>
                  <a:gd name="connsiteY2856" fmla="*/ 1934641 h 6756949"/>
                  <a:gd name="connsiteX2857" fmla="*/ 2373031 w 7524134"/>
                  <a:gd name="connsiteY2857" fmla="*/ 1939407 h 6756949"/>
                  <a:gd name="connsiteX2858" fmla="*/ 2292024 w 7524134"/>
                  <a:gd name="connsiteY2858" fmla="*/ 1906051 h 6756949"/>
                  <a:gd name="connsiteX2859" fmla="*/ 2263434 w 7524134"/>
                  <a:gd name="connsiteY2859" fmla="*/ 1867930 h 6756949"/>
                  <a:gd name="connsiteX2860" fmla="*/ 2249138 w 7524134"/>
                  <a:gd name="connsiteY2860" fmla="*/ 1839339 h 6756949"/>
                  <a:gd name="connsiteX2861" fmla="*/ 2225312 w 7524134"/>
                  <a:gd name="connsiteY2861" fmla="*/ 1753567 h 6756949"/>
                  <a:gd name="connsiteX2862" fmla="*/ 2196722 w 7524134"/>
                  <a:gd name="connsiteY2862" fmla="*/ 1701150 h 6756949"/>
                  <a:gd name="connsiteX2863" fmla="*/ 2001351 w 7524134"/>
                  <a:gd name="connsiteY2863" fmla="*/ 1520075 h 6756949"/>
                  <a:gd name="connsiteX2864" fmla="*/ 1910814 w 7524134"/>
                  <a:gd name="connsiteY2864" fmla="*/ 1472424 h 6756949"/>
                  <a:gd name="connsiteX2865" fmla="*/ 1867928 w 7524134"/>
                  <a:gd name="connsiteY2865" fmla="*/ 1424773 h 6756949"/>
                  <a:gd name="connsiteX2866" fmla="*/ 1839337 w 7524134"/>
                  <a:gd name="connsiteY2866" fmla="*/ 1410478 h 6756949"/>
                  <a:gd name="connsiteX2867" fmla="*/ 1815512 w 7524134"/>
                  <a:gd name="connsiteY2867" fmla="*/ 1405713 h 6756949"/>
                  <a:gd name="connsiteX2868" fmla="*/ 1782156 w 7524134"/>
                  <a:gd name="connsiteY2868" fmla="*/ 1386652 h 6756949"/>
                  <a:gd name="connsiteX2869" fmla="*/ 1805981 w 7524134"/>
                  <a:gd name="connsiteY2869" fmla="*/ 1367591 h 6756949"/>
                  <a:gd name="connsiteX2870" fmla="*/ 1820277 w 7524134"/>
                  <a:gd name="connsiteY2870" fmla="*/ 1362826 h 6756949"/>
                  <a:gd name="connsiteX2871" fmla="*/ 1801216 w 7524134"/>
                  <a:gd name="connsiteY2871" fmla="*/ 1381887 h 6756949"/>
                  <a:gd name="connsiteX2872" fmla="*/ 1815512 w 7524134"/>
                  <a:gd name="connsiteY2872" fmla="*/ 1386652 h 6756949"/>
                  <a:gd name="connsiteX2873" fmla="*/ 1834572 w 7524134"/>
                  <a:gd name="connsiteY2873" fmla="*/ 1377122 h 6756949"/>
                  <a:gd name="connsiteX2874" fmla="*/ 1844102 w 7524134"/>
                  <a:gd name="connsiteY2874" fmla="*/ 1362826 h 6756949"/>
                  <a:gd name="connsiteX2875" fmla="*/ 1863163 w 7524134"/>
                  <a:gd name="connsiteY2875" fmla="*/ 1296115 h 6756949"/>
                  <a:gd name="connsiteX2876" fmla="*/ 1877458 w 7524134"/>
                  <a:gd name="connsiteY2876" fmla="*/ 1200812 h 6756949"/>
                  <a:gd name="connsiteX2877" fmla="*/ 1872693 w 7524134"/>
                  <a:gd name="connsiteY2877" fmla="*/ 1162691 h 6756949"/>
                  <a:gd name="connsiteX2878" fmla="*/ 1982291 w 7524134"/>
                  <a:gd name="connsiteY2878" fmla="*/ 1172221 h 6756949"/>
                  <a:gd name="connsiteX2879" fmla="*/ 2053768 w 7524134"/>
                  <a:gd name="connsiteY2879" fmla="*/ 1162691 h 6756949"/>
                  <a:gd name="connsiteX2880" fmla="*/ 2077594 w 7524134"/>
                  <a:gd name="connsiteY2880" fmla="*/ 1157926 h 6756949"/>
                  <a:gd name="connsiteX2881" fmla="*/ 2168131 w 7524134"/>
                  <a:gd name="connsiteY2881" fmla="*/ 1138865 h 6756949"/>
                  <a:gd name="connsiteX2882" fmla="*/ 2191957 w 7524134"/>
                  <a:gd name="connsiteY2882" fmla="*/ 1129335 h 6756949"/>
                  <a:gd name="connsiteX2883" fmla="*/ 2239608 w 7524134"/>
                  <a:gd name="connsiteY2883" fmla="*/ 1095979 h 6756949"/>
                  <a:gd name="connsiteX2884" fmla="*/ 2292024 w 7524134"/>
                  <a:gd name="connsiteY2884" fmla="*/ 1038798 h 6756949"/>
                  <a:gd name="connsiteX2885" fmla="*/ 2334910 w 7524134"/>
                  <a:gd name="connsiteY2885" fmla="*/ 962556 h 6756949"/>
                  <a:gd name="connsiteX2886" fmla="*/ 2339676 w 7524134"/>
                  <a:gd name="connsiteY2886" fmla="*/ 938730 h 6756949"/>
                  <a:gd name="connsiteX2887" fmla="*/ 2344441 w 7524134"/>
                  <a:gd name="connsiteY2887" fmla="*/ 948260 h 6756949"/>
                  <a:gd name="connsiteX2888" fmla="*/ 2349206 w 7524134"/>
                  <a:gd name="connsiteY2888" fmla="*/ 943495 h 6756949"/>
                  <a:gd name="connsiteX2889" fmla="*/ 2353971 w 7524134"/>
                  <a:gd name="connsiteY2889" fmla="*/ 914904 h 6756949"/>
                  <a:gd name="connsiteX2890" fmla="*/ 2358736 w 7524134"/>
                  <a:gd name="connsiteY2890" fmla="*/ 843427 h 6756949"/>
                  <a:gd name="connsiteX2891" fmla="*/ 2382562 w 7524134"/>
                  <a:gd name="connsiteY2891" fmla="*/ 776716 h 6756949"/>
                  <a:gd name="connsiteX2892" fmla="*/ 2473099 w 7524134"/>
                  <a:gd name="connsiteY2892" fmla="*/ 624232 h 6756949"/>
                  <a:gd name="connsiteX2893" fmla="*/ 2520751 w 7524134"/>
                  <a:gd name="connsiteY2893" fmla="*/ 562285 h 6756949"/>
                  <a:gd name="connsiteX2894" fmla="*/ 2535046 w 7524134"/>
                  <a:gd name="connsiteY2894" fmla="*/ 533694 h 6756949"/>
                  <a:gd name="connsiteX2895" fmla="*/ 2549341 w 7524134"/>
                  <a:gd name="connsiteY2895" fmla="*/ 514634 h 6756949"/>
                  <a:gd name="connsiteX2896" fmla="*/ 2558871 w 7524134"/>
                  <a:gd name="connsiteY2896" fmla="*/ 533694 h 6756949"/>
                  <a:gd name="connsiteX2897" fmla="*/ 2563637 w 7524134"/>
                  <a:gd name="connsiteY2897" fmla="*/ 538459 h 6756949"/>
                  <a:gd name="connsiteX2898" fmla="*/ 2568402 w 7524134"/>
                  <a:gd name="connsiteY2898" fmla="*/ 547990 h 6756949"/>
                  <a:gd name="connsiteX2899" fmla="*/ 2558871 w 7524134"/>
                  <a:gd name="connsiteY2899" fmla="*/ 552755 h 6756949"/>
                  <a:gd name="connsiteX2900" fmla="*/ 2544576 w 7524134"/>
                  <a:gd name="connsiteY2900" fmla="*/ 571815 h 6756949"/>
                  <a:gd name="connsiteX2901" fmla="*/ 2520751 w 7524134"/>
                  <a:gd name="connsiteY2901" fmla="*/ 586111 h 6756949"/>
                  <a:gd name="connsiteX2902" fmla="*/ 2515985 w 7524134"/>
                  <a:gd name="connsiteY2902" fmla="*/ 590876 h 6756949"/>
                  <a:gd name="connsiteX2903" fmla="*/ 2530281 w 7524134"/>
                  <a:gd name="connsiteY2903" fmla="*/ 590876 h 6756949"/>
                  <a:gd name="connsiteX2904" fmla="*/ 2568402 w 7524134"/>
                  <a:gd name="connsiteY2904" fmla="*/ 576580 h 6756949"/>
                  <a:gd name="connsiteX2905" fmla="*/ 2587462 w 7524134"/>
                  <a:gd name="connsiteY2905" fmla="*/ 557520 h 6756949"/>
                  <a:gd name="connsiteX2906" fmla="*/ 2687530 w 7524134"/>
                  <a:gd name="connsiteY2906" fmla="*/ 528929 h 6756949"/>
                  <a:gd name="connsiteX2907" fmla="*/ 2739946 w 7524134"/>
                  <a:gd name="connsiteY2907" fmla="*/ 471748 h 6756949"/>
                  <a:gd name="connsiteX2908" fmla="*/ 2744711 w 7524134"/>
                  <a:gd name="connsiteY2908" fmla="*/ 462217 h 6756949"/>
                  <a:gd name="connsiteX2909" fmla="*/ 2825719 w 7524134"/>
                  <a:gd name="connsiteY2909" fmla="*/ 395506 h 6756949"/>
                  <a:gd name="connsiteX2910" fmla="*/ 2835249 w 7524134"/>
                  <a:gd name="connsiteY2910" fmla="*/ 395506 h 6756949"/>
                  <a:gd name="connsiteX2911" fmla="*/ 2849544 w 7524134"/>
                  <a:gd name="connsiteY2911" fmla="*/ 405036 h 6756949"/>
                  <a:gd name="connsiteX2912" fmla="*/ 2825719 w 7524134"/>
                  <a:gd name="connsiteY2912" fmla="*/ 447922 h 6756949"/>
                  <a:gd name="connsiteX2913" fmla="*/ 2840014 w 7524134"/>
                  <a:gd name="connsiteY2913" fmla="*/ 462217 h 6756949"/>
                  <a:gd name="connsiteX2914" fmla="*/ 2825719 w 7524134"/>
                  <a:gd name="connsiteY2914" fmla="*/ 514634 h 6756949"/>
                  <a:gd name="connsiteX2915" fmla="*/ 2854309 w 7524134"/>
                  <a:gd name="connsiteY2915" fmla="*/ 514634 h 6756949"/>
                  <a:gd name="connsiteX2916" fmla="*/ 2863840 w 7524134"/>
                  <a:gd name="connsiteY2916" fmla="*/ 538459 h 6756949"/>
                  <a:gd name="connsiteX2917" fmla="*/ 2863840 w 7524134"/>
                  <a:gd name="connsiteY2917" fmla="*/ 519399 h 6756949"/>
                  <a:gd name="connsiteX2918" fmla="*/ 2863840 w 7524134"/>
                  <a:gd name="connsiteY2918" fmla="*/ 486043 h 6756949"/>
                  <a:gd name="connsiteX2919" fmla="*/ 2868605 w 7524134"/>
                  <a:gd name="connsiteY2919" fmla="*/ 457452 h 6756949"/>
                  <a:gd name="connsiteX2920" fmla="*/ 2873370 w 7524134"/>
                  <a:gd name="connsiteY2920" fmla="*/ 438392 h 6756949"/>
                  <a:gd name="connsiteX2921" fmla="*/ 2892430 w 7524134"/>
                  <a:gd name="connsiteY2921" fmla="*/ 447922 h 6756949"/>
                  <a:gd name="connsiteX2922" fmla="*/ 2940082 w 7524134"/>
                  <a:gd name="connsiteY2922" fmla="*/ 424096 h 6756949"/>
                  <a:gd name="connsiteX2923" fmla="*/ 2882900 w 7524134"/>
                  <a:gd name="connsiteY2923" fmla="*/ 419331 h 6756949"/>
                  <a:gd name="connsiteX2924" fmla="*/ 2849544 w 7524134"/>
                  <a:gd name="connsiteY2924" fmla="*/ 371680 h 6756949"/>
                  <a:gd name="connsiteX2925" fmla="*/ 2830484 w 7524134"/>
                  <a:gd name="connsiteY2925" fmla="*/ 371680 h 6756949"/>
                  <a:gd name="connsiteX2926" fmla="*/ 2892430 w 7524134"/>
                  <a:gd name="connsiteY2926" fmla="*/ 300203 h 6756949"/>
                  <a:gd name="connsiteX2927" fmla="*/ 2949612 w 7524134"/>
                  <a:gd name="connsiteY2927" fmla="*/ 257317 h 6756949"/>
                  <a:gd name="connsiteX2928" fmla="*/ 2963907 w 7524134"/>
                  <a:gd name="connsiteY2928" fmla="*/ 257317 h 6756949"/>
                  <a:gd name="connsiteX2929" fmla="*/ 2968672 w 7524134"/>
                  <a:gd name="connsiteY2929" fmla="*/ 266847 h 6756949"/>
                  <a:gd name="connsiteX2930" fmla="*/ 2968672 w 7524134"/>
                  <a:gd name="connsiteY2930" fmla="*/ 281143 h 6756949"/>
                  <a:gd name="connsiteX2931" fmla="*/ 2959142 w 7524134"/>
                  <a:gd name="connsiteY2931" fmla="*/ 285908 h 6756949"/>
                  <a:gd name="connsiteX2932" fmla="*/ 2944847 w 7524134"/>
                  <a:gd name="connsiteY2932" fmla="*/ 304968 h 6756949"/>
                  <a:gd name="connsiteX2933" fmla="*/ 2949612 w 7524134"/>
                  <a:gd name="connsiteY2933" fmla="*/ 319263 h 6756949"/>
                  <a:gd name="connsiteX2934" fmla="*/ 2959142 w 7524134"/>
                  <a:gd name="connsiteY2934" fmla="*/ 319263 h 6756949"/>
                  <a:gd name="connsiteX2935" fmla="*/ 2987733 w 7524134"/>
                  <a:gd name="connsiteY2935" fmla="*/ 309733 h 6756949"/>
                  <a:gd name="connsiteX2936" fmla="*/ 2997263 w 7524134"/>
                  <a:gd name="connsiteY2936" fmla="*/ 295438 h 6756949"/>
                  <a:gd name="connsiteX2937" fmla="*/ 3059210 w 7524134"/>
                  <a:gd name="connsiteY2937" fmla="*/ 295438 h 6756949"/>
                  <a:gd name="connsiteX2938" fmla="*/ 3073505 w 7524134"/>
                  <a:gd name="connsiteY2938" fmla="*/ 285908 h 6756949"/>
                  <a:gd name="connsiteX2939" fmla="*/ 3078270 w 7524134"/>
                  <a:gd name="connsiteY2939" fmla="*/ 276377 h 6756949"/>
                  <a:gd name="connsiteX2940" fmla="*/ 3154512 w 7524134"/>
                  <a:gd name="connsiteY2940" fmla="*/ 271612 h 6756949"/>
                  <a:gd name="connsiteX2941" fmla="*/ 3168808 w 7524134"/>
                  <a:gd name="connsiteY2941" fmla="*/ 266847 h 6756949"/>
                  <a:gd name="connsiteX2942" fmla="*/ 3216459 w 7524134"/>
                  <a:gd name="connsiteY2942" fmla="*/ 228726 h 6756949"/>
                  <a:gd name="connsiteX2943" fmla="*/ 3259345 w 7524134"/>
                  <a:gd name="connsiteY2943" fmla="*/ 181075 h 6756949"/>
                  <a:gd name="connsiteX2944" fmla="*/ 3278406 w 7524134"/>
                  <a:gd name="connsiteY2944" fmla="*/ 152484 h 6756949"/>
                  <a:gd name="connsiteX2945" fmla="*/ 3316527 w 7524134"/>
                  <a:gd name="connsiteY2945" fmla="*/ 85772 h 6756949"/>
                  <a:gd name="connsiteX2946" fmla="*/ 3345117 w 7524134"/>
                  <a:gd name="connsiteY2946" fmla="*/ 42886 h 6756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  <a:cxn ang="0">
                    <a:pos x="connsiteX2523" y="connsiteY2523"/>
                  </a:cxn>
                  <a:cxn ang="0">
                    <a:pos x="connsiteX2524" y="connsiteY2524"/>
                  </a:cxn>
                  <a:cxn ang="0">
                    <a:pos x="connsiteX2525" y="connsiteY2525"/>
                  </a:cxn>
                  <a:cxn ang="0">
                    <a:pos x="connsiteX2526" y="connsiteY2526"/>
                  </a:cxn>
                  <a:cxn ang="0">
                    <a:pos x="connsiteX2527" y="connsiteY2527"/>
                  </a:cxn>
                  <a:cxn ang="0">
                    <a:pos x="connsiteX2528" y="connsiteY2528"/>
                  </a:cxn>
                  <a:cxn ang="0">
                    <a:pos x="connsiteX2529" y="connsiteY2529"/>
                  </a:cxn>
                  <a:cxn ang="0">
                    <a:pos x="connsiteX2530" y="connsiteY2530"/>
                  </a:cxn>
                  <a:cxn ang="0">
                    <a:pos x="connsiteX2531" y="connsiteY2531"/>
                  </a:cxn>
                  <a:cxn ang="0">
                    <a:pos x="connsiteX2532" y="connsiteY2532"/>
                  </a:cxn>
                  <a:cxn ang="0">
                    <a:pos x="connsiteX2533" y="connsiteY2533"/>
                  </a:cxn>
                  <a:cxn ang="0">
                    <a:pos x="connsiteX2534" y="connsiteY2534"/>
                  </a:cxn>
                  <a:cxn ang="0">
                    <a:pos x="connsiteX2535" y="connsiteY2535"/>
                  </a:cxn>
                  <a:cxn ang="0">
                    <a:pos x="connsiteX2536" y="connsiteY2536"/>
                  </a:cxn>
                  <a:cxn ang="0">
                    <a:pos x="connsiteX2537" y="connsiteY2537"/>
                  </a:cxn>
                  <a:cxn ang="0">
                    <a:pos x="connsiteX2538" y="connsiteY2538"/>
                  </a:cxn>
                  <a:cxn ang="0">
                    <a:pos x="connsiteX2539" y="connsiteY2539"/>
                  </a:cxn>
                  <a:cxn ang="0">
                    <a:pos x="connsiteX2540" y="connsiteY2540"/>
                  </a:cxn>
                  <a:cxn ang="0">
                    <a:pos x="connsiteX2541" y="connsiteY2541"/>
                  </a:cxn>
                  <a:cxn ang="0">
                    <a:pos x="connsiteX2542" y="connsiteY2542"/>
                  </a:cxn>
                  <a:cxn ang="0">
                    <a:pos x="connsiteX2543" y="connsiteY2543"/>
                  </a:cxn>
                  <a:cxn ang="0">
                    <a:pos x="connsiteX2544" y="connsiteY2544"/>
                  </a:cxn>
                  <a:cxn ang="0">
                    <a:pos x="connsiteX2545" y="connsiteY2545"/>
                  </a:cxn>
                  <a:cxn ang="0">
                    <a:pos x="connsiteX2546" y="connsiteY2546"/>
                  </a:cxn>
                  <a:cxn ang="0">
                    <a:pos x="connsiteX2547" y="connsiteY2547"/>
                  </a:cxn>
                  <a:cxn ang="0">
                    <a:pos x="connsiteX2548" y="connsiteY2548"/>
                  </a:cxn>
                  <a:cxn ang="0">
                    <a:pos x="connsiteX2549" y="connsiteY2549"/>
                  </a:cxn>
                  <a:cxn ang="0">
                    <a:pos x="connsiteX2550" y="connsiteY2550"/>
                  </a:cxn>
                  <a:cxn ang="0">
                    <a:pos x="connsiteX2551" y="connsiteY2551"/>
                  </a:cxn>
                  <a:cxn ang="0">
                    <a:pos x="connsiteX2552" y="connsiteY2552"/>
                  </a:cxn>
                  <a:cxn ang="0">
                    <a:pos x="connsiteX2553" y="connsiteY2553"/>
                  </a:cxn>
                  <a:cxn ang="0">
                    <a:pos x="connsiteX2554" y="connsiteY2554"/>
                  </a:cxn>
                  <a:cxn ang="0">
                    <a:pos x="connsiteX2555" y="connsiteY2555"/>
                  </a:cxn>
                  <a:cxn ang="0">
                    <a:pos x="connsiteX2556" y="connsiteY2556"/>
                  </a:cxn>
                  <a:cxn ang="0">
                    <a:pos x="connsiteX2557" y="connsiteY2557"/>
                  </a:cxn>
                  <a:cxn ang="0">
                    <a:pos x="connsiteX2558" y="connsiteY2558"/>
                  </a:cxn>
                  <a:cxn ang="0">
                    <a:pos x="connsiteX2559" y="connsiteY2559"/>
                  </a:cxn>
                  <a:cxn ang="0">
                    <a:pos x="connsiteX2560" y="connsiteY2560"/>
                  </a:cxn>
                  <a:cxn ang="0">
                    <a:pos x="connsiteX2561" y="connsiteY2561"/>
                  </a:cxn>
                  <a:cxn ang="0">
                    <a:pos x="connsiteX2562" y="connsiteY2562"/>
                  </a:cxn>
                  <a:cxn ang="0">
                    <a:pos x="connsiteX2563" y="connsiteY2563"/>
                  </a:cxn>
                  <a:cxn ang="0">
                    <a:pos x="connsiteX2564" y="connsiteY2564"/>
                  </a:cxn>
                  <a:cxn ang="0">
                    <a:pos x="connsiteX2565" y="connsiteY2565"/>
                  </a:cxn>
                  <a:cxn ang="0">
                    <a:pos x="connsiteX2566" y="connsiteY2566"/>
                  </a:cxn>
                  <a:cxn ang="0">
                    <a:pos x="connsiteX2567" y="connsiteY2567"/>
                  </a:cxn>
                  <a:cxn ang="0">
                    <a:pos x="connsiteX2568" y="connsiteY2568"/>
                  </a:cxn>
                  <a:cxn ang="0">
                    <a:pos x="connsiteX2569" y="connsiteY2569"/>
                  </a:cxn>
                  <a:cxn ang="0">
                    <a:pos x="connsiteX2570" y="connsiteY2570"/>
                  </a:cxn>
                  <a:cxn ang="0">
                    <a:pos x="connsiteX2571" y="connsiteY2571"/>
                  </a:cxn>
                  <a:cxn ang="0">
                    <a:pos x="connsiteX2572" y="connsiteY2572"/>
                  </a:cxn>
                  <a:cxn ang="0">
                    <a:pos x="connsiteX2573" y="connsiteY2573"/>
                  </a:cxn>
                  <a:cxn ang="0">
                    <a:pos x="connsiteX2574" y="connsiteY2574"/>
                  </a:cxn>
                  <a:cxn ang="0">
                    <a:pos x="connsiteX2575" y="connsiteY2575"/>
                  </a:cxn>
                  <a:cxn ang="0">
                    <a:pos x="connsiteX2576" y="connsiteY2576"/>
                  </a:cxn>
                  <a:cxn ang="0">
                    <a:pos x="connsiteX2577" y="connsiteY2577"/>
                  </a:cxn>
                  <a:cxn ang="0">
                    <a:pos x="connsiteX2578" y="connsiteY2578"/>
                  </a:cxn>
                  <a:cxn ang="0">
                    <a:pos x="connsiteX2579" y="connsiteY2579"/>
                  </a:cxn>
                  <a:cxn ang="0">
                    <a:pos x="connsiteX2580" y="connsiteY2580"/>
                  </a:cxn>
                  <a:cxn ang="0">
                    <a:pos x="connsiteX2581" y="connsiteY2581"/>
                  </a:cxn>
                  <a:cxn ang="0">
                    <a:pos x="connsiteX2582" y="connsiteY2582"/>
                  </a:cxn>
                  <a:cxn ang="0">
                    <a:pos x="connsiteX2583" y="connsiteY2583"/>
                  </a:cxn>
                  <a:cxn ang="0">
                    <a:pos x="connsiteX2584" y="connsiteY2584"/>
                  </a:cxn>
                  <a:cxn ang="0">
                    <a:pos x="connsiteX2585" y="connsiteY2585"/>
                  </a:cxn>
                  <a:cxn ang="0">
                    <a:pos x="connsiteX2586" y="connsiteY2586"/>
                  </a:cxn>
                  <a:cxn ang="0">
                    <a:pos x="connsiteX2587" y="connsiteY2587"/>
                  </a:cxn>
                  <a:cxn ang="0">
                    <a:pos x="connsiteX2588" y="connsiteY2588"/>
                  </a:cxn>
                  <a:cxn ang="0">
                    <a:pos x="connsiteX2589" y="connsiteY2589"/>
                  </a:cxn>
                  <a:cxn ang="0">
                    <a:pos x="connsiteX2590" y="connsiteY2590"/>
                  </a:cxn>
                  <a:cxn ang="0">
                    <a:pos x="connsiteX2591" y="connsiteY2591"/>
                  </a:cxn>
                  <a:cxn ang="0">
                    <a:pos x="connsiteX2592" y="connsiteY2592"/>
                  </a:cxn>
                  <a:cxn ang="0">
                    <a:pos x="connsiteX2593" y="connsiteY2593"/>
                  </a:cxn>
                  <a:cxn ang="0">
                    <a:pos x="connsiteX2594" y="connsiteY2594"/>
                  </a:cxn>
                  <a:cxn ang="0">
                    <a:pos x="connsiteX2595" y="connsiteY2595"/>
                  </a:cxn>
                  <a:cxn ang="0">
                    <a:pos x="connsiteX2596" y="connsiteY2596"/>
                  </a:cxn>
                  <a:cxn ang="0">
                    <a:pos x="connsiteX2597" y="connsiteY2597"/>
                  </a:cxn>
                  <a:cxn ang="0">
                    <a:pos x="connsiteX2598" y="connsiteY2598"/>
                  </a:cxn>
                  <a:cxn ang="0">
                    <a:pos x="connsiteX2599" y="connsiteY2599"/>
                  </a:cxn>
                  <a:cxn ang="0">
                    <a:pos x="connsiteX2600" y="connsiteY2600"/>
                  </a:cxn>
                  <a:cxn ang="0">
                    <a:pos x="connsiteX2601" y="connsiteY2601"/>
                  </a:cxn>
                  <a:cxn ang="0">
                    <a:pos x="connsiteX2602" y="connsiteY2602"/>
                  </a:cxn>
                  <a:cxn ang="0">
                    <a:pos x="connsiteX2603" y="connsiteY2603"/>
                  </a:cxn>
                  <a:cxn ang="0">
                    <a:pos x="connsiteX2604" y="connsiteY2604"/>
                  </a:cxn>
                  <a:cxn ang="0">
                    <a:pos x="connsiteX2605" y="connsiteY2605"/>
                  </a:cxn>
                  <a:cxn ang="0">
                    <a:pos x="connsiteX2606" y="connsiteY2606"/>
                  </a:cxn>
                  <a:cxn ang="0">
                    <a:pos x="connsiteX2607" y="connsiteY2607"/>
                  </a:cxn>
                  <a:cxn ang="0">
                    <a:pos x="connsiteX2608" y="connsiteY2608"/>
                  </a:cxn>
                  <a:cxn ang="0">
                    <a:pos x="connsiteX2609" y="connsiteY2609"/>
                  </a:cxn>
                  <a:cxn ang="0">
                    <a:pos x="connsiteX2610" y="connsiteY2610"/>
                  </a:cxn>
                  <a:cxn ang="0">
                    <a:pos x="connsiteX2611" y="connsiteY2611"/>
                  </a:cxn>
                  <a:cxn ang="0">
                    <a:pos x="connsiteX2612" y="connsiteY2612"/>
                  </a:cxn>
                  <a:cxn ang="0">
                    <a:pos x="connsiteX2613" y="connsiteY2613"/>
                  </a:cxn>
                  <a:cxn ang="0">
                    <a:pos x="connsiteX2614" y="connsiteY2614"/>
                  </a:cxn>
                  <a:cxn ang="0">
                    <a:pos x="connsiteX2615" y="connsiteY2615"/>
                  </a:cxn>
                  <a:cxn ang="0">
                    <a:pos x="connsiteX2616" y="connsiteY2616"/>
                  </a:cxn>
                  <a:cxn ang="0">
                    <a:pos x="connsiteX2617" y="connsiteY2617"/>
                  </a:cxn>
                  <a:cxn ang="0">
                    <a:pos x="connsiteX2618" y="connsiteY2618"/>
                  </a:cxn>
                  <a:cxn ang="0">
                    <a:pos x="connsiteX2619" y="connsiteY2619"/>
                  </a:cxn>
                  <a:cxn ang="0">
                    <a:pos x="connsiteX2620" y="connsiteY2620"/>
                  </a:cxn>
                  <a:cxn ang="0">
                    <a:pos x="connsiteX2621" y="connsiteY2621"/>
                  </a:cxn>
                  <a:cxn ang="0">
                    <a:pos x="connsiteX2622" y="connsiteY2622"/>
                  </a:cxn>
                  <a:cxn ang="0">
                    <a:pos x="connsiteX2623" y="connsiteY2623"/>
                  </a:cxn>
                  <a:cxn ang="0">
                    <a:pos x="connsiteX2624" y="connsiteY2624"/>
                  </a:cxn>
                  <a:cxn ang="0">
                    <a:pos x="connsiteX2625" y="connsiteY2625"/>
                  </a:cxn>
                  <a:cxn ang="0">
                    <a:pos x="connsiteX2626" y="connsiteY2626"/>
                  </a:cxn>
                  <a:cxn ang="0">
                    <a:pos x="connsiteX2627" y="connsiteY2627"/>
                  </a:cxn>
                  <a:cxn ang="0">
                    <a:pos x="connsiteX2628" y="connsiteY2628"/>
                  </a:cxn>
                  <a:cxn ang="0">
                    <a:pos x="connsiteX2629" y="connsiteY2629"/>
                  </a:cxn>
                  <a:cxn ang="0">
                    <a:pos x="connsiteX2630" y="connsiteY2630"/>
                  </a:cxn>
                  <a:cxn ang="0">
                    <a:pos x="connsiteX2631" y="connsiteY2631"/>
                  </a:cxn>
                  <a:cxn ang="0">
                    <a:pos x="connsiteX2632" y="connsiteY2632"/>
                  </a:cxn>
                  <a:cxn ang="0">
                    <a:pos x="connsiteX2633" y="connsiteY2633"/>
                  </a:cxn>
                  <a:cxn ang="0">
                    <a:pos x="connsiteX2634" y="connsiteY2634"/>
                  </a:cxn>
                  <a:cxn ang="0">
                    <a:pos x="connsiteX2635" y="connsiteY2635"/>
                  </a:cxn>
                  <a:cxn ang="0">
                    <a:pos x="connsiteX2636" y="connsiteY2636"/>
                  </a:cxn>
                  <a:cxn ang="0">
                    <a:pos x="connsiteX2637" y="connsiteY2637"/>
                  </a:cxn>
                  <a:cxn ang="0">
                    <a:pos x="connsiteX2638" y="connsiteY2638"/>
                  </a:cxn>
                  <a:cxn ang="0">
                    <a:pos x="connsiteX2639" y="connsiteY2639"/>
                  </a:cxn>
                  <a:cxn ang="0">
                    <a:pos x="connsiteX2640" y="connsiteY2640"/>
                  </a:cxn>
                  <a:cxn ang="0">
                    <a:pos x="connsiteX2641" y="connsiteY2641"/>
                  </a:cxn>
                  <a:cxn ang="0">
                    <a:pos x="connsiteX2642" y="connsiteY2642"/>
                  </a:cxn>
                  <a:cxn ang="0">
                    <a:pos x="connsiteX2643" y="connsiteY2643"/>
                  </a:cxn>
                  <a:cxn ang="0">
                    <a:pos x="connsiteX2644" y="connsiteY2644"/>
                  </a:cxn>
                  <a:cxn ang="0">
                    <a:pos x="connsiteX2645" y="connsiteY2645"/>
                  </a:cxn>
                  <a:cxn ang="0">
                    <a:pos x="connsiteX2646" y="connsiteY2646"/>
                  </a:cxn>
                  <a:cxn ang="0">
                    <a:pos x="connsiteX2647" y="connsiteY2647"/>
                  </a:cxn>
                  <a:cxn ang="0">
                    <a:pos x="connsiteX2648" y="connsiteY2648"/>
                  </a:cxn>
                  <a:cxn ang="0">
                    <a:pos x="connsiteX2649" y="connsiteY2649"/>
                  </a:cxn>
                  <a:cxn ang="0">
                    <a:pos x="connsiteX2650" y="connsiteY2650"/>
                  </a:cxn>
                  <a:cxn ang="0">
                    <a:pos x="connsiteX2651" y="connsiteY2651"/>
                  </a:cxn>
                  <a:cxn ang="0">
                    <a:pos x="connsiteX2652" y="connsiteY2652"/>
                  </a:cxn>
                  <a:cxn ang="0">
                    <a:pos x="connsiteX2653" y="connsiteY2653"/>
                  </a:cxn>
                  <a:cxn ang="0">
                    <a:pos x="connsiteX2654" y="connsiteY2654"/>
                  </a:cxn>
                  <a:cxn ang="0">
                    <a:pos x="connsiteX2655" y="connsiteY2655"/>
                  </a:cxn>
                  <a:cxn ang="0">
                    <a:pos x="connsiteX2656" y="connsiteY2656"/>
                  </a:cxn>
                  <a:cxn ang="0">
                    <a:pos x="connsiteX2657" y="connsiteY2657"/>
                  </a:cxn>
                  <a:cxn ang="0">
                    <a:pos x="connsiteX2658" y="connsiteY2658"/>
                  </a:cxn>
                  <a:cxn ang="0">
                    <a:pos x="connsiteX2659" y="connsiteY2659"/>
                  </a:cxn>
                  <a:cxn ang="0">
                    <a:pos x="connsiteX2660" y="connsiteY2660"/>
                  </a:cxn>
                  <a:cxn ang="0">
                    <a:pos x="connsiteX2661" y="connsiteY2661"/>
                  </a:cxn>
                  <a:cxn ang="0">
                    <a:pos x="connsiteX2662" y="connsiteY2662"/>
                  </a:cxn>
                  <a:cxn ang="0">
                    <a:pos x="connsiteX2663" y="connsiteY2663"/>
                  </a:cxn>
                  <a:cxn ang="0">
                    <a:pos x="connsiteX2664" y="connsiteY2664"/>
                  </a:cxn>
                  <a:cxn ang="0">
                    <a:pos x="connsiteX2665" y="connsiteY2665"/>
                  </a:cxn>
                  <a:cxn ang="0">
                    <a:pos x="connsiteX2666" y="connsiteY2666"/>
                  </a:cxn>
                  <a:cxn ang="0">
                    <a:pos x="connsiteX2667" y="connsiteY2667"/>
                  </a:cxn>
                  <a:cxn ang="0">
                    <a:pos x="connsiteX2668" y="connsiteY2668"/>
                  </a:cxn>
                  <a:cxn ang="0">
                    <a:pos x="connsiteX2669" y="connsiteY2669"/>
                  </a:cxn>
                  <a:cxn ang="0">
                    <a:pos x="connsiteX2670" y="connsiteY2670"/>
                  </a:cxn>
                  <a:cxn ang="0">
                    <a:pos x="connsiteX2671" y="connsiteY2671"/>
                  </a:cxn>
                  <a:cxn ang="0">
                    <a:pos x="connsiteX2672" y="connsiteY2672"/>
                  </a:cxn>
                  <a:cxn ang="0">
                    <a:pos x="connsiteX2673" y="connsiteY2673"/>
                  </a:cxn>
                  <a:cxn ang="0">
                    <a:pos x="connsiteX2674" y="connsiteY2674"/>
                  </a:cxn>
                  <a:cxn ang="0">
                    <a:pos x="connsiteX2675" y="connsiteY2675"/>
                  </a:cxn>
                  <a:cxn ang="0">
                    <a:pos x="connsiteX2676" y="connsiteY2676"/>
                  </a:cxn>
                  <a:cxn ang="0">
                    <a:pos x="connsiteX2677" y="connsiteY2677"/>
                  </a:cxn>
                  <a:cxn ang="0">
                    <a:pos x="connsiteX2678" y="connsiteY2678"/>
                  </a:cxn>
                  <a:cxn ang="0">
                    <a:pos x="connsiteX2679" y="connsiteY2679"/>
                  </a:cxn>
                  <a:cxn ang="0">
                    <a:pos x="connsiteX2680" y="connsiteY2680"/>
                  </a:cxn>
                  <a:cxn ang="0">
                    <a:pos x="connsiteX2681" y="connsiteY2681"/>
                  </a:cxn>
                  <a:cxn ang="0">
                    <a:pos x="connsiteX2682" y="connsiteY2682"/>
                  </a:cxn>
                  <a:cxn ang="0">
                    <a:pos x="connsiteX2683" y="connsiteY2683"/>
                  </a:cxn>
                  <a:cxn ang="0">
                    <a:pos x="connsiteX2684" y="connsiteY2684"/>
                  </a:cxn>
                  <a:cxn ang="0">
                    <a:pos x="connsiteX2685" y="connsiteY2685"/>
                  </a:cxn>
                  <a:cxn ang="0">
                    <a:pos x="connsiteX2686" y="connsiteY2686"/>
                  </a:cxn>
                  <a:cxn ang="0">
                    <a:pos x="connsiteX2687" y="connsiteY2687"/>
                  </a:cxn>
                  <a:cxn ang="0">
                    <a:pos x="connsiteX2688" y="connsiteY2688"/>
                  </a:cxn>
                  <a:cxn ang="0">
                    <a:pos x="connsiteX2689" y="connsiteY2689"/>
                  </a:cxn>
                  <a:cxn ang="0">
                    <a:pos x="connsiteX2690" y="connsiteY2690"/>
                  </a:cxn>
                  <a:cxn ang="0">
                    <a:pos x="connsiteX2691" y="connsiteY2691"/>
                  </a:cxn>
                  <a:cxn ang="0">
                    <a:pos x="connsiteX2692" y="connsiteY2692"/>
                  </a:cxn>
                  <a:cxn ang="0">
                    <a:pos x="connsiteX2693" y="connsiteY2693"/>
                  </a:cxn>
                  <a:cxn ang="0">
                    <a:pos x="connsiteX2694" y="connsiteY2694"/>
                  </a:cxn>
                  <a:cxn ang="0">
                    <a:pos x="connsiteX2695" y="connsiteY2695"/>
                  </a:cxn>
                  <a:cxn ang="0">
                    <a:pos x="connsiteX2696" y="connsiteY2696"/>
                  </a:cxn>
                  <a:cxn ang="0">
                    <a:pos x="connsiteX2697" y="connsiteY2697"/>
                  </a:cxn>
                  <a:cxn ang="0">
                    <a:pos x="connsiteX2698" y="connsiteY2698"/>
                  </a:cxn>
                  <a:cxn ang="0">
                    <a:pos x="connsiteX2699" y="connsiteY2699"/>
                  </a:cxn>
                  <a:cxn ang="0">
                    <a:pos x="connsiteX2700" y="connsiteY2700"/>
                  </a:cxn>
                  <a:cxn ang="0">
                    <a:pos x="connsiteX2701" y="connsiteY2701"/>
                  </a:cxn>
                  <a:cxn ang="0">
                    <a:pos x="connsiteX2702" y="connsiteY2702"/>
                  </a:cxn>
                  <a:cxn ang="0">
                    <a:pos x="connsiteX2703" y="connsiteY2703"/>
                  </a:cxn>
                  <a:cxn ang="0">
                    <a:pos x="connsiteX2704" y="connsiteY2704"/>
                  </a:cxn>
                  <a:cxn ang="0">
                    <a:pos x="connsiteX2705" y="connsiteY2705"/>
                  </a:cxn>
                  <a:cxn ang="0">
                    <a:pos x="connsiteX2706" y="connsiteY2706"/>
                  </a:cxn>
                  <a:cxn ang="0">
                    <a:pos x="connsiteX2707" y="connsiteY2707"/>
                  </a:cxn>
                  <a:cxn ang="0">
                    <a:pos x="connsiteX2708" y="connsiteY2708"/>
                  </a:cxn>
                  <a:cxn ang="0">
                    <a:pos x="connsiteX2709" y="connsiteY2709"/>
                  </a:cxn>
                  <a:cxn ang="0">
                    <a:pos x="connsiteX2710" y="connsiteY2710"/>
                  </a:cxn>
                  <a:cxn ang="0">
                    <a:pos x="connsiteX2711" y="connsiteY2711"/>
                  </a:cxn>
                  <a:cxn ang="0">
                    <a:pos x="connsiteX2712" y="connsiteY2712"/>
                  </a:cxn>
                  <a:cxn ang="0">
                    <a:pos x="connsiteX2713" y="connsiteY2713"/>
                  </a:cxn>
                  <a:cxn ang="0">
                    <a:pos x="connsiteX2714" y="connsiteY2714"/>
                  </a:cxn>
                  <a:cxn ang="0">
                    <a:pos x="connsiteX2715" y="connsiteY2715"/>
                  </a:cxn>
                  <a:cxn ang="0">
                    <a:pos x="connsiteX2716" y="connsiteY2716"/>
                  </a:cxn>
                  <a:cxn ang="0">
                    <a:pos x="connsiteX2717" y="connsiteY2717"/>
                  </a:cxn>
                  <a:cxn ang="0">
                    <a:pos x="connsiteX2718" y="connsiteY2718"/>
                  </a:cxn>
                  <a:cxn ang="0">
                    <a:pos x="connsiteX2719" y="connsiteY2719"/>
                  </a:cxn>
                  <a:cxn ang="0">
                    <a:pos x="connsiteX2720" y="connsiteY2720"/>
                  </a:cxn>
                  <a:cxn ang="0">
                    <a:pos x="connsiteX2721" y="connsiteY2721"/>
                  </a:cxn>
                  <a:cxn ang="0">
                    <a:pos x="connsiteX2722" y="connsiteY2722"/>
                  </a:cxn>
                  <a:cxn ang="0">
                    <a:pos x="connsiteX2723" y="connsiteY2723"/>
                  </a:cxn>
                  <a:cxn ang="0">
                    <a:pos x="connsiteX2724" y="connsiteY2724"/>
                  </a:cxn>
                  <a:cxn ang="0">
                    <a:pos x="connsiteX2725" y="connsiteY2725"/>
                  </a:cxn>
                  <a:cxn ang="0">
                    <a:pos x="connsiteX2726" y="connsiteY2726"/>
                  </a:cxn>
                  <a:cxn ang="0">
                    <a:pos x="connsiteX2727" y="connsiteY2727"/>
                  </a:cxn>
                  <a:cxn ang="0">
                    <a:pos x="connsiteX2728" y="connsiteY2728"/>
                  </a:cxn>
                  <a:cxn ang="0">
                    <a:pos x="connsiteX2729" y="connsiteY2729"/>
                  </a:cxn>
                  <a:cxn ang="0">
                    <a:pos x="connsiteX2730" y="connsiteY2730"/>
                  </a:cxn>
                  <a:cxn ang="0">
                    <a:pos x="connsiteX2731" y="connsiteY2731"/>
                  </a:cxn>
                  <a:cxn ang="0">
                    <a:pos x="connsiteX2732" y="connsiteY2732"/>
                  </a:cxn>
                  <a:cxn ang="0">
                    <a:pos x="connsiteX2733" y="connsiteY2733"/>
                  </a:cxn>
                  <a:cxn ang="0">
                    <a:pos x="connsiteX2734" y="connsiteY2734"/>
                  </a:cxn>
                  <a:cxn ang="0">
                    <a:pos x="connsiteX2735" y="connsiteY2735"/>
                  </a:cxn>
                  <a:cxn ang="0">
                    <a:pos x="connsiteX2736" y="connsiteY2736"/>
                  </a:cxn>
                  <a:cxn ang="0">
                    <a:pos x="connsiteX2737" y="connsiteY2737"/>
                  </a:cxn>
                  <a:cxn ang="0">
                    <a:pos x="connsiteX2738" y="connsiteY2738"/>
                  </a:cxn>
                  <a:cxn ang="0">
                    <a:pos x="connsiteX2739" y="connsiteY2739"/>
                  </a:cxn>
                  <a:cxn ang="0">
                    <a:pos x="connsiteX2740" y="connsiteY2740"/>
                  </a:cxn>
                  <a:cxn ang="0">
                    <a:pos x="connsiteX2741" y="connsiteY2741"/>
                  </a:cxn>
                  <a:cxn ang="0">
                    <a:pos x="connsiteX2742" y="connsiteY2742"/>
                  </a:cxn>
                  <a:cxn ang="0">
                    <a:pos x="connsiteX2743" y="connsiteY2743"/>
                  </a:cxn>
                  <a:cxn ang="0">
                    <a:pos x="connsiteX2744" y="connsiteY2744"/>
                  </a:cxn>
                  <a:cxn ang="0">
                    <a:pos x="connsiteX2745" y="connsiteY2745"/>
                  </a:cxn>
                  <a:cxn ang="0">
                    <a:pos x="connsiteX2746" y="connsiteY2746"/>
                  </a:cxn>
                  <a:cxn ang="0">
                    <a:pos x="connsiteX2747" y="connsiteY2747"/>
                  </a:cxn>
                  <a:cxn ang="0">
                    <a:pos x="connsiteX2748" y="connsiteY2748"/>
                  </a:cxn>
                  <a:cxn ang="0">
                    <a:pos x="connsiteX2749" y="connsiteY2749"/>
                  </a:cxn>
                  <a:cxn ang="0">
                    <a:pos x="connsiteX2750" y="connsiteY2750"/>
                  </a:cxn>
                  <a:cxn ang="0">
                    <a:pos x="connsiteX2751" y="connsiteY2751"/>
                  </a:cxn>
                  <a:cxn ang="0">
                    <a:pos x="connsiteX2752" y="connsiteY2752"/>
                  </a:cxn>
                  <a:cxn ang="0">
                    <a:pos x="connsiteX2753" y="connsiteY2753"/>
                  </a:cxn>
                  <a:cxn ang="0">
                    <a:pos x="connsiteX2754" y="connsiteY2754"/>
                  </a:cxn>
                  <a:cxn ang="0">
                    <a:pos x="connsiteX2755" y="connsiteY2755"/>
                  </a:cxn>
                  <a:cxn ang="0">
                    <a:pos x="connsiteX2756" y="connsiteY2756"/>
                  </a:cxn>
                  <a:cxn ang="0">
                    <a:pos x="connsiteX2757" y="connsiteY2757"/>
                  </a:cxn>
                  <a:cxn ang="0">
                    <a:pos x="connsiteX2758" y="connsiteY2758"/>
                  </a:cxn>
                  <a:cxn ang="0">
                    <a:pos x="connsiteX2759" y="connsiteY2759"/>
                  </a:cxn>
                  <a:cxn ang="0">
                    <a:pos x="connsiteX2760" y="connsiteY2760"/>
                  </a:cxn>
                  <a:cxn ang="0">
                    <a:pos x="connsiteX2761" y="connsiteY2761"/>
                  </a:cxn>
                  <a:cxn ang="0">
                    <a:pos x="connsiteX2762" y="connsiteY2762"/>
                  </a:cxn>
                  <a:cxn ang="0">
                    <a:pos x="connsiteX2763" y="connsiteY2763"/>
                  </a:cxn>
                  <a:cxn ang="0">
                    <a:pos x="connsiteX2764" y="connsiteY2764"/>
                  </a:cxn>
                  <a:cxn ang="0">
                    <a:pos x="connsiteX2765" y="connsiteY2765"/>
                  </a:cxn>
                  <a:cxn ang="0">
                    <a:pos x="connsiteX2766" y="connsiteY2766"/>
                  </a:cxn>
                  <a:cxn ang="0">
                    <a:pos x="connsiteX2767" y="connsiteY2767"/>
                  </a:cxn>
                  <a:cxn ang="0">
                    <a:pos x="connsiteX2768" y="connsiteY2768"/>
                  </a:cxn>
                  <a:cxn ang="0">
                    <a:pos x="connsiteX2769" y="connsiteY2769"/>
                  </a:cxn>
                  <a:cxn ang="0">
                    <a:pos x="connsiteX2770" y="connsiteY2770"/>
                  </a:cxn>
                  <a:cxn ang="0">
                    <a:pos x="connsiteX2771" y="connsiteY2771"/>
                  </a:cxn>
                  <a:cxn ang="0">
                    <a:pos x="connsiteX2772" y="connsiteY2772"/>
                  </a:cxn>
                  <a:cxn ang="0">
                    <a:pos x="connsiteX2773" y="connsiteY2773"/>
                  </a:cxn>
                  <a:cxn ang="0">
                    <a:pos x="connsiteX2774" y="connsiteY2774"/>
                  </a:cxn>
                  <a:cxn ang="0">
                    <a:pos x="connsiteX2775" y="connsiteY2775"/>
                  </a:cxn>
                  <a:cxn ang="0">
                    <a:pos x="connsiteX2776" y="connsiteY2776"/>
                  </a:cxn>
                  <a:cxn ang="0">
                    <a:pos x="connsiteX2777" y="connsiteY2777"/>
                  </a:cxn>
                  <a:cxn ang="0">
                    <a:pos x="connsiteX2778" y="connsiteY2778"/>
                  </a:cxn>
                  <a:cxn ang="0">
                    <a:pos x="connsiteX2779" y="connsiteY2779"/>
                  </a:cxn>
                  <a:cxn ang="0">
                    <a:pos x="connsiteX2780" y="connsiteY2780"/>
                  </a:cxn>
                  <a:cxn ang="0">
                    <a:pos x="connsiteX2781" y="connsiteY2781"/>
                  </a:cxn>
                  <a:cxn ang="0">
                    <a:pos x="connsiteX2782" y="connsiteY2782"/>
                  </a:cxn>
                  <a:cxn ang="0">
                    <a:pos x="connsiteX2783" y="connsiteY2783"/>
                  </a:cxn>
                  <a:cxn ang="0">
                    <a:pos x="connsiteX2784" y="connsiteY2784"/>
                  </a:cxn>
                  <a:cxn ang="0">
                    <a:pos x="connsiteX2785" y="connsiteY2785"/>
                  </a:cxn>
                  <a:cxn ang="0">
                    <a:pos x="connsiteX2786" y="connsiteY2786"/>
                  </a:cxn>
                  <a:cxn ang="0">
                    <a:pos x="connsiteX2787" y="connsiteY2787"/>
                  </a:cxn>
                  <a:cxn ang="0">
                    <a:pos x="connsiteX2788" y="connsiteY2788"/>
                  </a:cxn>
                  <a:cxn ang="0">
                    <a:pos x="connsiteX2789" y="connsiteY2789"/>
                  </a:cxn>
                  <a:cxn ang="0">
                    <a:pos x="connsiteX2790" y="connsiteY2790"/>
                  </a:cxn>
                  <a:cxn ang="0">
                    <a:pos x="connsiteX2791" y="connsiteY2791"/>
                  </a:cxn>
                  <a:cxn ang="0">
                    <a:pos x="connsiteX2792" y="connsiteY2792"/>
                  </a:cxn>
                  <a:cxn ang="0">
                    <a:pos x="connsiteX2793" y="connsiteY2793"/>
                  </a:cxn>
                  <a:cxn ang="0">
                    <a:pos x="connsiteX2794" y="connsiteY2794"/>
                  </a:cxn>
                  <a:cxn ang="0">
                    <a:pos x="connsiteX2795" y="connsiteY2795"/>
                  </a:cxn>
                  <a:cxn ang="0">
                    <a:pos x="connsiteX2796" y="connsiteY2796"/>
                  </a:cxn>
                  <a:cxn ang="0">
                    <a:pos x="connsiteX2797" y="connsiteY2797"/>
                  </a:cxn>
                  <a:cxn ang="0">
                    <a:pos x="connsiteX2798" y="connsiteY2798"/>
                  </a:cxn>
                  <a:cxn ang="0">
                    <a:pos x="connsiteX2799" y="connsiteY2799"/>
                  </a:cxn>
                  <a:cxn ang="0">
                    <a:pos x="connsiteX2800" y="connsiteY2800"/>
                  </a:cxn>
                  <a:cxn ang="0">
                    <a:pos x="connsiteX2801" y="connsiteY2801"/>
                  </a:cxn>
                  <a:cxn ang="0">
                    <a:pos x="connsiteX2802" y="connsiteY2802"/>
                  </a:cxn>
                  <a:cxn ang="0">
                    <a:pos x="connsiteX2803" y="connsiteY2803"/>
                  </a:cxn>
                  <a:cxn ang="0">
                    <a:pos x="connsiteX2804" y="connsiteY2804"/>
                  </a:cxn>
                  <a:cxn ang="0">
                    <a:pos x="connsiteX2805" y="connsiteY2805"/>
                  </a:cxn>
                  <a:cxn ang="0">
                    <a:pos x="connsiteX2806" y="connsiteY2806"/>
                  </a:cxn>
                  <a:cxn ang="0">
                    <a:pos x="connsiteX2807" y="connsiteY2807"/>
                  </a:cxn>
                  <a:cxn ang="0">
                    <a:pos x="connsiteX2808" y="connsiteY2808"/>
                  </a:cxn>
                  <a:cxn ang="0">
                    <a:pos x="connsiteX2809" y="connsiteY2809"/>
                  </a:cxn>
                  <a:cxn ang="0">
                    <a:pos x="connsiteX2810" y="connsiteY2810"/>
                  </a:cxn>
                  <a:cxn ang="0">
                    <a:pos x="connsiteX2811" y="connsiteY2811"/>
                  </a:cxn>
                  <a:cxn ang="0">
                    <a:pos x="connsiteX2812" y="connsiteY2812"/>
                  </a:cxn>
                  <a:cxn ang="0">
                    <a:pos x="connsiteX2813" y="connsiteY2813"/>
                  </a:cxn>
                  <a:cxn ang="0">
                    <a:pos x="connsiteX2814" y="connsiteY2814"/>
                  </a:cxn>
                  <a:cxn ang="0">
                    <a:pos x="connsiteX2815" y="connsiteY2815"/>
                  </a:cxn>
                  <a:cxn ang="0">
                    <a:pos x="connsiteX2816" y="connsiteY2816"/>
                  </a:cxn>
                  <a:cxn ang="0">
                    <a:pos x="connsiteX2817" y="connsiteY2817"/>
                  </a:cxn>
                  <a:cxn ang="0">
                    <a:pos x="connsiteX2818" y="connsiteY2818"/>
                  </a:cxn>
                  <a:cxn ang="0">
                    <a:pos x="connsiteX2819" y="connsiteY2819"/>
                  </a:cxn>
                  <a:cxn ang="0">
                    <a:pos x="connsiteX2820" y="connsiteY2820"/>
                  </a:cxn>
                  <a:cxn ang="0">
                    <a:pos x="connsiteX2821" y="connsiteY2821"/>
                  </a:cxn>
                  <a:cxn ang="0">
                    <a:pos x="connsiteX2822" y="connsiteY2822"/>
                  </a:cxn>
                  <a:cxn ang="0">
                    <a:pos x="connsiteX2823" y="connsiteY2823"/>
                  </a:cxn>
                  <a:cxn ang="0">
                    <a:pos x="connsiteX2824" y="connsiteY2824"/>
                  </a:cxn>
                  <a:cxn ang="0">
                    <a:pos x="connsiteX2825" y="connsiteY2825"/>
                  </a:cxn>
                  <a:cxn ang="0">
                    <a:pos x="connsiteX2826" y="connsiteY2826"/>
                  </a:cxn>
                  <a:cxn ang="0">
                    <a:pos x="connsiteX2827" y="connsiteY2827"/>
                  </a:cxn>
                  <a:cxn ang="0">
                    <a:pos x="connsiteX2828" y="connsiteY2828"/>
                  </a:cxn>
                  <a:cxn ang="0">
                    <a:pos x="connsiteX2829" y="connsiteY2829"/>
                  </a:cxn>
                  <a:cxn ang="0">
                    <a:pos x="connsiteX2830" y="connsiteY2830"/>
                  </a:cxn>
                  <a:cxn ang="0">
                    <a:pos x="connsiteX2831" y="connsiteY2831"/>
                  </a:cxn>
                  <a:cxn ang="0">
                    <a:pos x="connsiteX2832" y="connsiteY2832"/>
                  </a:cxn>
                  <a:cxn ang="0">
                    <a:pos x="connsiteX2833" y="connsiteY2833"/>
                  </a:cxn>
                  <a:cxn ang="0">
                    <a:pos x="connsiteX2834" y="connsiteY2834"/>
                  </a:cxn>
                  <a:cxn ang="0">
                    <a:pos x="connsiteX2835" y="connsiteY2835"/>
                  </a:cxn>
                  <a:cxn ang="0">
                    <a:pos x="connsiteX2836" y="connsiteY2836"/>
                  </a:cxn>
                  <a:cxn ang="0">
                    <a:pos x="connsiteX2837" y="connsiteY2837"/>
                  </a:cxn>
                  <a:cxn ang="0">
                    <a:pos x="connsiteX2838" y="connsiteY2838"/>
                  </a:cxn>
                  <a:cxn ang="0">
                    <a:pos x="connsiteX2839" y="connsiteY2839"/>
                  </a:cxn>
                  <a:cxn ang="0">
                    <a:pos x="connsiteX2840" y="connsiteY2840"/>
                  </a:cxn>
                  <a:cxn ang="0">
                    <a:pos x="connsiteX2841" y="connsiteY2841"/>
                  </a:cxn>
                  <a:cxn ang="0">
                    <a:pos x="connsiteX2842" y="connsiteY2842"/>
                  </a:cxn>
                  <a:cxn ang="0">
                    <a:pos x="connsiteX2843" y="connsiteY2843"/>
                  </a:cxn>
                  <a:cxn ang="0">
                    <a:pos x="connsiteX2844" y="connsiteY2844"/>
                  </a:cxn>
                  <a:cxn ang="0">
                    <a:pos x="connsiteX2845" y="connsiteY2845"/>
                  </a:cxn>
                  <a:cxn ang="0">
                    <a:pos x="connsiteX2846" y="connsiteY2846"/>
                  </a:cxn>
                  <a:cxn ang="0">
                    <a:pos x="connsiteX2847" y="connsiteY2847"/>
                  </a:cxn>
                  <a:cxn ang="0">
                    <a:pos x="connsiteX2848" y="connsiteY2848"/>
                  </a:cxn>
                  <a:cxn ang="0">
                    <a:pos x="connsiteX2849" y="connsiteY2849"/>
                  </a:cxn>
                  <a:cxn ang="0">
                    <a:pos x="connsiteX2850" y="connsiteY2850"/>
                  </a:cxn>
                  <a:cxn ang="0">
                    <a:pos x="connsiteX2851" y="connsiteY2851"/>
                  </a:cxn>
                  <a:cxn ang="0">
                    <a:pos x="connsiteX2852" y="connsiteY2852"/>
                  </a:cxn>
                  <a:cxn ang="0">
                    <a:pos x="connsiteX2853" y="connsiteY2853"/>
                  </a:cxn>
                  <a:cxn ang="0">
                    <a:pos x="connsiteX2854" y="connsiteY2854"/>
                  </a:cxn>
                  <a:cxn ang="0">
                    <a:pos x="connsiteX2855" y="connsiteY2855"/>
                  </a:cxn>
                  <a:cxn ang="0">
                    <a:pos x="connsiteX2856" y="connsiteY2856"/>
                  </a:cxn>
                  <a:cxn ang="0">
                    <a:pos x="connsiteX2857" y="connsiteY2857"/>
                  </a:cxn>
                  <a:cxn ang="0">
                    <a:pos x="connsiteX2858" y="connsiteY2858"/>
                  </a:cxn>
                  <a:cxn ang="0">
                    <a:pos x="connsiteX2859" y="connsiteY2859"/>
                  </a:cxn>
                  <a:cxn ang="0">
                    <a:pos x="connsiteX2860" y="connsiteY2860"/>
                  </a:cxn>
                  <a:cxn ang="0">
                    <a:pos x="connsiteX2861" y="connsiteY2861"/>
                  </a:cxn>
                  <a:cxn ang="0">
                    <a:pos x="connsiteX2862" y="connsiteY2862"/>
                  </a:cxn>
                  <a:cxn ang="0">
                    <a:pos x="connsiteX2863" y="connsiteY2863"/>
                  </a:cxn>
                  <a:cxn ang="0">
                    <a:pos x="connsiteX2864" y="connsiteY2864"/>
                  </a:cxn>
                  <a:cxn ang="0">
                    <a:pos x="connsiteX2865" y="connsiteY2865"/>
                  </a:cxn>
                  <a:cxn ang="0">
                    <a:pos x="connsiteX2866" y="connsiteY2866"/>
                  </a:cxn>
                  <a:cxn ang="0">
                    <a:pos x="connsiteX2867" y="connsiteY2867"/>
                  </a:cxn>
                  <a:cxn ang="0">
                    <a:pos x="connsiteX2868" y="connsiteY2868"/>
                  </a:cxn>
                  <a:cxn ang="0">
                    <a:pos x="connsiteX2869" y="connsiteY2869"/>
                  </a:cxn>
                  <a:cxn ang="0">
                    <a:pos x="connsiteX2870" y="connsiteY2870"/>
                  </a:cxn>
                  <a:cxn ang="0">
                    <a:pos x="connsiteX2871" y="connsiteY2871"/>
                  </a:cxn>
                  <a:cxn ang="0">
                    <a:pos x="connsiteX2872" y="connsiteY2872"/>
                  </a:cxn>
                  <a:cxn ang="0">
                    <a:pos x="connsiteX2873" y="connsiteY2873"/>
                  </a:cxn>
                  <a:cxn ang="0">
                    <a:pos x="connsiteX2874" y="connsiteY2874"/>
                  </a:cxn>
                  <a:cxn ang="0">
                    <a:pos x="connsiteX2875" y="connsiteY2875"/>
                  </a:cxn>
                  <a:cxn ang="0">
                    <a:pos x="connsiteX2876" y="connsiteY2876"/>
                  </a:cxn>
                  <a:cxn ang="0">
                    <a:pos x="connsiteX2877" y="connsiteY2877"/>
                  </a:cxn>
                  <a:cxn ang="0">
                    <a:pos x="connsiteX2878" y="connsiteY2878"/>
                  </a:cxn>
                  <a:cxn ang="0">
                    <a:pos x="connsiteX2879" y="connsiteY2879"/>
                  </a:cxn>
                  <a:cxn ang="0">
                    <a:pos x="connsiteX2880" y="connsiteY2880"/>
                  </a:cxn>
                  <a:cxn ang="0">
                    <a:pos x="connsiteX2881" y="connsiteY2881"/>
                  </a:cxn>
                  <a:cxn ang="0">
                    <a:pos x="connsiteX2882" y="connsiteY2882"/>
                  </a:cxn>
                  <a:cxn ang="0">
                    <a:pos x="connsiteX2883" y="connsiteY2883"/>
                  </a:cxn>
                  <a:cxn ang="0">
                    <a:pos x="connsiteX2884" y="connsiteY2884"/>
                  </a:cxn>
                  <a:cxn ang="0">
                    <a:pos x="connsiteX2885" y="connsiteY2885"/>
                  </a:cxn>
                  <a:cxn ang="0">
                    <a:pos x="connsiteX2886" y="connsiteY2886"/>
                  </a:cxn>
                  <a:cxn ang="0">
                    <a:pos x="connsiteX2887" y="connsiteY2887"/>
                  </a:cxn>
                  <a:cxn ang="0">
                    <a:pos x="connsiteX2888" y="connsiteY2888"/>
                  </a:cxn>
                  <a:cxn ang="0">
                    <a:pos x="connsiteX2889" y="connsiteY2889"/>
                  </a:cxn>
                  <a:cxn ang="0">
                    <a:pos x="connsiteX2890" y="connsiteY2890"/>
                  </a:cxn>
                  <a:cxn ang="0">
                    <a:pos x="connsiteX2891" y="connsiteY2891"/>
                  </a:cxn>
                  <a:cxn ang="0">
                    <a:pos x="connsiteX2892" y="connsiteY2892"/>
                  </a:cxn>
                  <a:cxn ang="0">
                    <a:pos x="connsiteX2893" y="connsiteY2893"/>
                  </a:cxn>
                  <a:cxn ang="0">
                    <a:pos x="connsiteX2894" y="connsiteY2894"/>
                  </a:cxn>
                  <a:cxn ang="0">
                    <a:pos x="connsiteX2895" y="connsiteY2895"/>
                  </a:cxn>
                  <a:cxn ang="0">
                    <a:pos x="connsiteX2896" y="connsiteY2896"/>
                  </a:cxn>
                  <a:cxn ang="0">
                    <a:pos x="connsiteX2897" y="connsiteY2897"/>
                  </a:cxn>
                  <a:cxn ang="0">
                    <a:pos x="connsiteX2898" y="connsiteY2898"/>
                  </a:cxn>
                  <a:cxn ang="0">
                    <a:pos x="connsiteX2899" y="connsiteY2899"/>
                  </a:cxn>
                  <a:cxn ang="0">
                    <a:pos x="connsiteX2900" y="connsiteY2900"/>
                  </a:cxn>
                  <a:cxn ang="0">
                    <a:pos x="connsiteX2901" y="connsiteY2901"/>
                  </a:cxn>
                  <a:cxn ang="0">
                    <a:pos x="connsiteX2902" y="connsiteY2902"/>
                  </a:cxn>
                  <a:cxn ang="0">
                    <a:pos x="connsiteX2903" y="connsiteY2903"/>
                  </a:cxn>
                  <a:cxn ang="0">
                    <a:pos x="connsiteX2904" y="connsiteY2904"/>
                  </a:cxn>
                  <a:cxn ang="0">
                    <a:pos x="connsiteX2905" y="connsiteY2905"/>
                  </a:cxn>
                  <a:cxn ang="0">
                    <a:pos x="connsiteX2906" y="connsiteY2906"/>
                  </a:cxn>
                  <a:cxn ang="0">
                    <a:pos x="connsiteX2907" y="connsiteY2907"/>
                  </a:cxn>
                  <a:cxn ang="0">
                    <a:pos x="connsiteX2908" y="connsiteY2908"/>
                  </a:cxn>
                  <a:cxn ang="0">
                    <a:pos x="connsiteX2909" y="connsiteY2909"/>
                  </a:cxn>
                  <a:cxn ang="0">
                    <a:pos x="connsiteX2910" y="connsiteY2910"/>
                  </a:cxn>
                  <a:cxn ang="0">
                    <a:pos x="connsiteX2911" y="connsiteY2911"/>
                  </a:cxn>
                  <a:cxn ang="0">
                    <a:pos x="connsiteX2912" y="connsiteY2912"/>
                  </a:cxn>
                  <a:cxn ang="0">
                    <a:pos x="connsiteX2913" y="connsiteY2913"/>
                  </a:cxn>
                  <a:cxn ang="0">
                    <a:pos x="connsiteX2914" y="connsiteY2914"/>
                  </a:cxn>
                  <a:cxn ang="0">
                    <a:pos x="connsiteX2915" y="connsiteY2915"/>
                  </a:cxn>
                  <a:cxn ang="0">
                    <a:pos x="connsiteX2916" y="connsiteY2916"/>
                  </a:cxn>
                  <a:cxn ang="0">
                    <a:pos x="connsiteX2917" y="connsiteY2917"/>
                  </a:cxn>
                  <a:cxn ang="0">
                    <a:pos x="connsiteX2918" y="connsiteY2918"/>
                  </a:cxn>
                  <a:cxn ang="0">
                    <a:pos x="connsiteX2919" y="connsiteY2919"/>
                  </a:cxn>
                  <a:cxn ang="0">
                    <a:pos x="connsiteX2920" y="connsiteY2920"/>
                  </a:cxn>
                  <a:cxn ang="0">
                    <a:pos x="connsiteX2921" y="connsiteY2921"/>
                  </a:cxn>
                  <a:cxn ang="0">
                    <a:pos x="connsiteX2922" y="connsiteY2922"/>
                  </a:cxn>
                  <a:cxn ang="0">
                    <a:pos x="connsiteX2923" y="connsiteY2923"/>
                  </a:cxn>
                  <a:cxn ang="0">
                    <a:pos x="connsiteX2924" y="connsiteY2924"/>
                  </a:cxn>
                  <a:cxn ang="0">
                    <a:pos x="connsiteX2925" y="connsiteY2925"/>
                  </a:cxn>
                  <a:cxn ang="0">
                    <a:pos x="connsiteX2926" y="connsiteY2926"/>
                  </a:cxn>
                  <a:cxn ang="0">
                    <a:pos x="connsiteX2927" y="connsiteY2927"/>
                  </a:cxn>
                  <a:cxn ang="0">
                    <a:pos x="connsiteX2928" y="connsiteY2928"/>
                  </a:cxn>
                  <a:cxn ang="0">
                    <a:pos x="connsiteX2929" y="connsiteY2929"/>
                  </a:cxn>
                  <a:cxn ang="0">
                    <a:pos x="connsiteX2930" y="connsiteY2930"/>
                  </a:cxn>
                  <a:cxn ang="0">
                    <a:pos x="connsiteX2931" y="connsiteY2931"/>
                  </a:cxn>
                  <a:cxn ang="0">
                    <a:pos x="connsiteX2932" y="connsiteY2932"/>
                  </a:cxn>
                  <a:cxn ang="0">
                    <a:pos x="connsiteX2933" y="connsiteY2933"/>
                  </a:cxn>
                  <a:cxn ang="0">
                    <a:pos x="connsiteX2934" y="connsiteY2934"/>
                  </a:cxn>
                  <a:cxn ang="0">
                    <a:pos x="connsiteX2935" y="connsiteY2935"/>
                  </a:cxn>
                  <a:cxn ang="0">
                    <a:pos x="connsiteX2936" y="connsiteY2936"/>
                  </a:cxn>
                  <a:cxn ang="0">
                    <a:pos x="connsiteX2937" y="connsiteY2937"/>
                  </a:cxn>
                  <a:cxn ang="0">
                    <a:pos x="connsiteX2938" y="connsiteY2938"/>
                  </a:cxn>
                  <a:cxn ang="0">
                    <a:pos x="connsiteX2939" y="connsiteY2939"/>
                  </a:cxn>
                  <a:cxn ang="0">
                    <a:pos x="connsiteX2940" y="connsiteY2940"/>
                  </a:cxn>
                  <a:cxn ang="0">
                    <a:pos x="connsiteX2941" y="connsiteY2941"/>
                  </a:cxn>
                  <a:cxn ang="0">
                    <a:pos x="connsiteX2942" y="connsiteY2942"/>
                  </a:cxn>
                  <a:cxn ang="0">
                    <a:pos x="connsiteX2943" y="connsiteY2943"/>
                  </a:cxn>
                  <a:cxn ang="0">
                    <a:pos x="connsiteX2944" y="connsiteY2944"/>
                  </a:cxn>
                  <a:cxn ang="0">
                    <a:pos x="connsiteX2945" y="connsiteY2945"/>
                  </a:cxn>
                  <a:cxn ang="0">
                    <a:pos x="connsiteX2946" y="connsiteY2946"/>
                  </a:cxn>
                </a:cxnLst>
                <a:rect l="l" t="t" r="r" b="b"/>
                <a:pathLst>
                  <a:path w="7524133" h="6756949">
                    <a:moveTo>
                      <a:pt x="285908" y="6690237"/>
                    </a:moveTo>
                    <a:lnTo>
                      <a:pt x="300204" y="6704533"/>
                    </a:lnTo>
                    <a:lnTo>
                      <a:pt x="300204" y="6709299"/>
                    </a:lnTo>
                    <a:lnTo>
                      <a:pt x="290673" y="6723593"/>
                    </a:lnTo>
                    <a:lnTo>
                      <a:pt x="281143" y="6718829"/>
                    </a:lnTo>
                    <a:lnTo>
                      <a:pt x="281143" y="6695003"/>
                    </a:lnTo>
                    <a:close/>
                    <a:moveTo>
                      <a:pt x="314497" y="6685473"/>
                    </a:moveTo>
                    <a:lnTo>
                      <a:pt x="333558" y="6695003"/>
                    </a:lnTo>
                    <a:lnTo>
                      <a:pt x="343089" y="6704533"/>
                    </a:lnTo>
                    <a:lnTo>
                      <a:pt x="328793" y="6709299"/>
                    </a:lnTo>
                    <a:lnTo>
                      <a:pt x="309733" y="6699769"/>
                    </a:lnTo>
                    <a:close/>
                    <a:moveTo>
                      <a:pt x="166780" y="6675943"/>
                    </a:moveTo>
                    <a:lnTo>
                      <a:pt x="171545" y="6675943"/>
                    </a:lnTo>
                    <a:lnTo>
                      <a:pt x="176310" y="6680709"/>
                    </a:lnTo>
                    <a:lnTo>
                      <a:pt x="176310" y="6690239"/>
                    </a:lnTo>
                    <a:lnTo>
                      <a:pt x="166780" y="6699769"/>
                    </a:lnTo>
                    <a:lnTo>
                      <a:pt x="166780" y="6704533"/>
                    </a:lnTo>
                    <a:lnTo>
                      <a:pt x="162015" y="6728359"/>
                    </a:lnTo>
                    <a:lnTo>
                      <a:pt x="162015" y="6733125"/>
                    </a:lnTo>
                    <a:lnTo>
                      <a:pt x="152484" y="6733125"/>
                    </a:lnTo>
                    <a:lnTo>
                      <a:pt x="128659" y="6733125"/>
                    </a:lnTo>
                    <a:lnTo>
                      <a:pt x="114363" y="6733125"/>
                    </a:lnTo>
                    <a:lnTo>
                      <a:pt x="95303" y="6733125"/>
                    </a:lnTo>
                    <a:lnTo>
                      <a:pt x="85772" y="6737889"/>
                    </a:lnTo>
                    <a:lnTo>
                      <a:pt x="81007" y="6733125"/>
                    </a:lnTo>
                    <a:lnTo>
                      <a:pt x="81007" y="6728359"/>
                    </a:lnTo>
                    <a:lnTo>
                      <a:pt x="133423" y="6714065"/>
                    </a:lnTo>
                    <a:lnTo>
                      <a:pt x="147719" y="6704533"/>
                    </a:lnTo>
                    <a:lnTo>
                      <a:pt x="152484" y="6695003"/>
                    </a:lnTo>
                    <a:lnTo>
                      <a:pt x="162015" y="6680709"/>
                    </a:lnTo>
                    <a:close/>
                    <a:moveTo>
                      <a:pt x="14296" y="6675943"/>
                    </a:moveTo>
                    <a:lnTo>
                      <a:pt x="38121" y="6675943"/>
                    </a:lnTo>
                    <a:lnTo>
                      <a:pt x="52417" y="6690239"/>
                    </a:lnTo>
                    <a:lnTo>
                      <a:pt x="61947" y="6695003"/>
                    </a:lnTo>
                    <a:lnTo>
                      <a:pt x="85772" y="6699769"/>
                    </a:lnTo>
                    <a:lnTo>
                      <a:pt x="71477" y="6709299"/>
                    </a:lnTo>
                    <a:lnTo>
                      <a:pt x="66712" y="6714065"/>
                    </a:lnTo>
                    <a:lnTo>
                      <a:pt x="57181" y="6737889"/>
                    </a:lnTo>
                    <a:lnTo>
                      <a:pt x="47651" y="6747419"/>
                    </a:lnTo>
                    <a:lnTo>
                      <a:pt x="47651" y="6752185"/>
                    </a:lnTo>
                    <a:lnTo>
                      <a:pt x="42886" y="6752185"/>
                    </a:lnTo>
                    <a:lnTo>
                      <a:pt x="19061" y="6737889"/>
                    </a:lnTo>
                    <a:lnTo>
                      <a:pt x="19061" y="6733125"/>
                    </a:lnTo>
                    <a:lnTo>
                      <a:pt x="28591" y="6728359"/>
                    </a:lnTo>
                    <a:lnTo>
                      <a:pt x="33356" y="6723595"/>
                    </a:lnTo>
                    <a:lnTo>
                      <a:pt x="33356" y="6714065"/>
                    </a:lnTo>
                    <a:lnTo>
                      <a:pt x="23826" y="6709299"/>
                    </a:lnTo>
                    <a:lnTo>
                      <a:pt x="4765" y="6695003"/>
                    </a:lnTo>
                    <a:lnTo>
                      <a:pt x="0" y="6685473"/>
                    </a:lnTo>
                    <a:lnTo>
                      <a:pt x="4765" y="6680709"/>
                    </a:lnTo>
                    <a:close/>
                    <a:moveTo>
                      <a:pt x="233491" y="6661647"/>
                    </a:moveTo>
                    <a:lnTo>
                      <a:pt x="247786" y="6661647"/>
                    </a:lnTo>
                    <a:lnTo>
                      <a:pt x="257316" y="6671177"/>
                    </a:lnTo>
                    <a:lnTo>
                      <a:pt x="257316" y="6675943"/>
                    </a:lnTo>
                    <a:lnTo>
                      <a:pt x="252551" y="6690237"/>
                    </a:lnTo>
                    <a:lnTo>
                      <a:pt x="252551" y="6699769"/>
                    </a:lnTo>
                    <a:lnTo>
                      <a:pt x="266846" y="6699769"/>
                    </a:lnTo>
                    <a:lnTo>
                      <a:pt x="276376" y="6699769"/>
                    </a:lnTo>
                    <a:lnTo>
                      <a:pt x="276376" y="6718829"/>
                    </a:lnTo>
                    <a:lnTo>
                      <a:pt x="271612" y="6723593"/>
                    </a:lnTo>
                    <a:lnTo>
                      <a:pt x="262081" y="6718829"/>
                    </a:lnTo>
                    <a:lnTo>
                      <a:pt x="257316" y="6728359"/>
                    </a:lnTo>
                    <a:lnTo>
                      <a:pt x="223961" y="6752185"/>
                    </a:lnTo>
                    <a:lnTo>
                      <a:pt x="214431" y="6737889"/>
                    </a:lnTo>
                    <a:lnTo>
                      <a:pt x="190605" y="6756949"/>
                    </a:lnTo>
                    <a:lnTo>
                      <a:pt x="204900" y="6709299"/>
                    </a:lnTo>
                    <a:lnTo>
                      <a:pt x="223961" y="6704533"/>
                    </a:lnTo>
                    <a:lnTo>
                      <a:pt x="228726" y="6695003"/>
                    </a:lnTo>
                    <a:lnTo>
                      <a:pt x="228726" y="6680707"/>
                    </a:lnTo>
                    <a:close/>
                    <a:moveTo>
                      <a:pt x="319263" y="6633057"/>
                    </a:moveTo>
                    <a:lnTo>
                      <a:pt x="328793" y="6633057"/>
                    </a:lnTo>
                    <a:lnTo>
                      <a:pt x="338323" y="6637823"/>
                    </a:lnTo>
                    <a:lnTo>
                      <a:pt x="343089" y="6642587"/>
                    </a:lnTo>
                    <a:lnTo>
                      <a:pt x="347854" y="6647353"/>
                    </a:lnTo>
                    <a:lnTo>
                      <a:pt x="338323" y="6656883"/>
                    </a:lnTo>
                    <a:lnTo>
                      <a:pt x="333558" y="6661649"/>
                    </a:lnTo>
                    <a:lnTo>
                      <a:pt x="319263" y="6656883"/>
                    </a:lnTo>
                    <a:lnTo>
                      <a:pt x="314497" y="6647353"/>
                    </a:lnTo>
                    <a:lnTo>
                      <a:pt x="314497" y="6642587"/>
                    </a:lnTo>
                    <a:close/>
                    <a:moveTo>
                      <a:pt x="710004" y="6618761"/>
                    </a:moveTo>
                    <a:lnTo>
                      <a:pt x="724300" y="6623527"/>
                    </a:lnTo>
                    <a:lnTo>
                      <a:pt x="757656" y="6633057"/>
                    </a:lnTo>
                    <a:lnTo>
                      <a:pt x="795776" y="6633057"/>
                    </a:lnTo>
                    <a:lnTo>
                      <a:pt x="810072" y="6633057"/>
                    </a:lnTo>
                    <a:lnTo>
                      <a:pt x="810072" y="6637821"/>
                    </a:lnTo>
                    <a:lnTo>
                      <a:pt x="781481" y="6642587"/>
                    </a:lnTo>
                    <a:lnTo>
                      <a:pt x="776716" y="6637821"/>
                    </a:lnTo>
                    <a:lnTo>
                      <a:pt x="752890" y="6642587"/>
                    </a:lnTo>
                    <a:lnTo>
                      <a:pt x="738595" y="6647353"/>
                    </a:lnTo>
                    <a:lnTo>
                      <a:pt x="705239" y="6642587"/>
                    </a:lnTo>
                    <a:lnTo>
                      <a:pt x="681413" y="6642587"/>
                    </a:lnTo>
                    <a:lnTo>
                      <a:pt x="676649" y="6642587"/>
                    </a:lnTo>
                    <a:lnTo>
                      <a:pt x="667118" y="6637821"/>
                    </a:lnTo>
                    <a:lnTo>
                      <a:pt x="657588" y="6628291"/>
                    </a:lnTo>
                    <a:lnTo>
                      <a:pt x="657588" y="6623527"/>
                    </a:lnTo>
                    <a:lnTo>
                      <a:pt x="667118" y="6623527"/>
                    </a:lnTo>
                    <a:lnTo>
                      <a:pt x="686179" y="6628291"/>
                    </a:lnTo>
                    <a:lnTo>
                      <a:pt x="690944" y="6628291"/>
                    </a:lnTo>
                    <a:close/>
                    <a:moveTo>
                      <a:pt x="895844" y="6556815"/>
                    </a:moveTo>
                    <a:lnTo>
                      <a:pt x="910139" y="6561581"/>
                    </a:lnTo>
                    <a:lnTo>
                      <a:pt x="919669" y="6571111"/>
                    </a:lnTo>
                    <a:lnTo>
                      <a:pt x="895844" y="6585405"/>
                    </a:lnTo>
                    <a:lnTo>
                      <a:pt x="886313" y="6590171"/>
                    </a:lnTo>
                    <a:lnTo>
                      <a:pt x="872018" y="6585405"/>
                    </a:lnTo>
                    <a:lnTo>
                      <a:pt x="876783" y="6575875"/>
                    </a:lnTo>
                    <a:lnTo>
                      <a:pt x="881548" y="6566345"/>
                    </a:lnTo>
                    <a:close/>
                    <a:moveTo>
                      <a:pt x="628996" y="6552049"/>
                    </a:moveTo>
                    <a:lnTo>
                      <a:pt x="648057" y="6561579"/>
                    </a:lnTo>
                    <a:lnTo>
                      <a:pt x="652822" y="6571109"/>
                    </a:lnTo>
                    <a:lnTo>
                      <a:pt x="652822" y="6580639"/>
                    </a:lnTo>
                    <a:lnTo>
                      <a:pt x="648057" y="6594935"/>
                    </a:lnTo>
                    <a:lnTo>
                      <a:pt x="628996" y="6599701"/>
                    </a:lnTo>
                    <a:lnTo>
                      <a:pt x="628996" y="6604465"/>
                    </a:lnTo>
                    <a:lnTo>
                      <a:pt x="638527" y="6623527"/>
                    </a:lnTo>
                    <a:lnTo>
                      <a:pt x="600406" y="6637821"/>
                    </a:lnTo>
                    <a:lnTo>
                      <a:pt x="547989" y="6647351"/>
                    </a:lnTo>
                    <a:lnTo>
                      <a:pt x="466982" y="6656881"/>
                    </a:lnTo>
                    <a:lnTo>
                      <a:pt x="452687" y="6652117"/>
                    </a:lnTo>
                    <a:lnTo>
                      <a:pt x="466982" y="6647351"/>
                    </a:lnTo>
                    <a:lnTo>
                      <a:pt x="481278" y="6642587"/>
                    </a:lnTo>
                    <a:lnTo>
                      <a:pt x="514633" y="6633057"/>
                    </a:lnTo>
                    <a:lnTo>
                      <a:pt x="552754" y="6623527"/>
                    </a:lnTo>
                    <a:lnTo>
                      <a:pt x="581346" y="6609231"/>
                    </a:lnTo>
                    <a:lnTo>
                      <a:pt x="605171" y="6599701"/>
                    </a:lnTo>
                    <a:lnTo>
                      <a:pt x="614701" y="6590171"/>
                    </a:lnTo>
                    <a:lnTo>
                      <a:pt x="590875" y="6580639"/>
                    </a:lnTo>
                    <a:lnTo>
                      <a:pt x="586110" y="6575875"/>
                    </a:lnTo>
                    <a:lnTo>
                      <a:pt x="600406" y="6571109"/>
                    </a:lnTo>
                    <a:lnTo>
                      <a:pt x="605171" y="6561579"/>
                    </a:lnTo>
                    <a:close/>
                    <a:moveTo>
                      <a:pt x="1172222" y="6480573"/>
                    </a:moveTo>
                    <a:lnTo>
                      <a:pt x="1186517" y="6480573"/>
                    </a:lnTo>
                    <a:lnTo>
                      <a:pt x="1191282" y="6485339"/>
                    </a:lnTo>
                    <a:lnTo>
                      <a:pt x="1186517" y="6490103"/>
                    </a:lnTo>
                    <a:lnTo>
                      <a:pt x="1186517" y="6499633"/>
                    </a:lnTo>
                    <a:lnTo>
                      <a:pt x="1176987" y="6504399"/>
                    </a:lnTo>
                    <a:lnTo>
                      <a:pt x="1172222" y="6504399"/>
                    </a:lnTo>
                    <a:lnTo>
                      <a:pt x="1167457" y="6509163"/>
                    </a:lnTo>
                    <a:lnTo>
                      <a:pt x="1157926" y="6518693"/>
                    </a:lnTo>
                    <a:lnTo>
                      <a:pt x="1153161" y="6513929"/>
                    </a:lnTo>
                    <a:lnTo>
                      <a:pt x="1153161" y="6504399"/>
                    </a:lnTo>
                    <a:lnTo>
                      <a:pt x="1157926" y="6494869"/>
                    </a:lnTo>
                    <a:close/>
                    <a:moveTo>
                      <a:pt x="1310407" y="6432921"/>
                    </a:moveTo>
                    <a:lnTo>
                      <a:pt x="1319938" y="6432921"/>
                    </a:lnTo>
                    <a:lnTo>
                      <a:pt x="1324703" y="6432921"/>
                    </a:lnTo>
                    <a:lnTo>
                      <a:pt x="1329468" y="6437687"/>
                    </a:lnTo>
                    <a:lnTo>
                      <a:pt x="1324703" y="6451981"/>
                    </a:lnTo>
                    <a:lnTo>
                      <a:pt x="1300879" y="6447217"/>
                    </a:lnTo>
                    <a:lnTo>
                      <a:pt x="1281820" y="6451981"/>
                    </a:lnTo>
                    <a:lnTo>
                      <a:pt x="1281820" y="6442451"/>
                    </a:lnTo>
                    <a:lnTo>
                      <a:pt x="1281820" y="6437687"/>
                    </a:lnTo>
                    <a:close/>
                    <a:moveTo>
                      <a:pt x="1582020" y="6251847"/>
                    </a:moveTo>
                    <a:lnTo>
                      <a:pt x="1596315" y="6251847"/>
                    </a:lnTo>
                    <a:lnTo>
                      <a:pt x="1620141" y="6266143"/>
                    </a:lnTo>
                    <a:lnTo>
                      <a:pt x="1624906" y="6270907"/>
                    </a:lnTo>
                    <a:lnTo>
                      <a:pt x="1615376" y="6285203"/>
                    </a:lnTo>
                    <a:lnTo>
                      <a:pt x="1615376" y="6299499"/>
                    </a:lnTo>
                    <a:lnTo>
                      <a:pt x="1596315" y="6309029"/>
                    </a:lnTo>
                    <a:lnTo>
                      <a:pt x="1548664" y="6337619"/>
                    </a:lnTo>
                    <a:lnTo>
                      <a:pt x="1534369" y="6356679"/>
                    </a:lnTo>
                    <a:lnTo>
                      <a:pt x="1524839" y="6380505"/>
                    </a:lnTo>
                    <a:lnTo>
                      <a:pt x="1515308" y="6390035"/>
                    </a:lnTo>
                    <a:lnTo>
                      <a:pt x="1505778" y="6390035"/>
                    </a:lnTo>
                    <a:lnTo>
                      <a:pt x="1501013" y="6394801"/>
                    </a:lnTo>
                    <a:lnTo>
                      <a:pt x="1481953" y="6409097"/>
                    </a:lnTo>
                    <a:lnTo>
                      <a:pt x="1477187" y="6409097"/>
                    </a:lnTo>
                    <a:lnTo>
                      <a:pt x="1424771" y="6442453"/>
                    </a:lnTo>
                    <a:lnTo>
                      <a:pt x="1424771" y="6437687"/>
                    </a:lnTo>
                    <a:lnTo>
                      <a:pt x="1439066" y="6423391"/>
                    </a:lnTo>
                    <a:lnTo>
                      <a:pt x="1448597" y="6413861"/>
                    </a:lnTo>
                    <a:lnTo>
                      <a:pt x="1462892" y="6394801"/>
                    </a:lnTo>
                    <a:lnTo>
                      <a:pt x="1467657" y="6390035"/>
                    </a:lnTo>
                    <a:lnTo>
                      <a:pt x="1472422" y="6380505"/>
                    </a:lnTo>
                    <a:lnTo>
                      <a:pt x="1472422" y="6361445"/>
                    </a:lnTo>
                    <a:lnTo>
                      <a:pt x="1472422" y="6356679"/>
                    </a:lnTo>
                    <a:lnTo>
                      <a:pt x="1486717" y="6342385"/>
                    </a:lnTo>
                    <a:lnTo>
                      <a:pt x="1491483" y="6332855"/>
                    </a:lnTo>
                    <a:lnTo>
                      <a:pt x="1501013" y="6332855"/>
                    </a:lnTo>
                    <a:lnTo>
                      <a:pt x="1524839" y="6332855"/>
                    </a:lnTo>
                    <a:lnTo>
                      <a:pt x="1534369" y="6328089"/>
                    </a:lnTo>
                    <a:lnTo>
                      <a:pt x="1534369" y="6323323"/>
                    </a:lnTo>
                    <a:lnTo>
                      <a:pt x="1529604" y="6318559"/>
                    </a:lnTo>
                    <a:lnTo>
                      <a:pt x="1529604" y="6309029"/>
                    </a:lnTo>
                    <a:lnTo>
                      <a:pt x="1529604" y="6294733"/>
                    </a:lnTo>
                    <a:lnTo>
                      <a:pt x="1539134" y="6280437"/>
                    </a:lnTo>
                    <a:lnTo>
                      <a:pt x="1548664" y="6270907"/>
                    </a:lnTo>
                    <a:lnTo>
                      <a:pt x="1562960" y="6261377"/>
                    </a:lnTo>
                    <a:close/>
                    <a:moveTo>
                      <a:pt x="1882224" y="6180369"/>
                    </a:moveTo>
                    <a:lnTo>
                      <a:pt x="1886989" y="6180369"/>
                    </a:lnTo>
                    <a:lnTo>
                      <a:pt x="1882224" y="6194665"/>
                    </a:lnTo>
                    <a:lnTo>
                      <a:pt x="1877459" y="6204195"/>
                    </a:lnTo>
                    <a:lnTo>
                      <a:pt x="1872694" y="6208961"/>
                    </a:lnTo>
                    <a:lnTo>
                      <a:pt x="1867928" y="6208961"/>
                    </a:lnTo>
                    <a:lnTo>
                      <a:pt x="1867928" y="6204195"/>
                    </a:lnTo>
                    <a:lnTo>
                      <a:pt x="1867928" y="6199431"/>
                    </a:lnTo>
                    <a:lnTo>
                      <a:pt x="1877459" y="6185135"/>
                    </a:lnTo>
                    <a:close/>
                    <a:moveTo>
                      <a:pt x="1791686" y="6137483"/>
                    </a:moveTo>
                    <a:lnTo>
                      <a:pt x="1801216" y="6137483"/>
                    </a:lnTo>
                    <a:lnTo>
                      <a:pt x="1805981" y="6137483"/>
                    </a:lnTo>
                    <a:lnTo>
                      <a:pt x="1810747" y="6166073"/>
                    </a:lnTo>
                    <a:lnTo>
                      <a:pt x="1815512" y="6175603"/>
                    </a:lnTo>
                    <a:lnTo>
                      <a:pt x="1829807" y="6166073"/>
                    </a:lnTo>
                    <a:lnTo>
                      <a:pt x="1834572" y="6156543"/>
                    </a:lnTo>
                    <a:lnTo>
                      <a:pt x="1844102" y="6142249"/>
                    </a:lnTo>
                    <a:lnTo>
                      <a:pt x="1848868" y="6137483"/>
                    </a:lnTo>
                    <a:lnTo>
                      <a:pt x="1853633" y="6147013"/>
                    </a:lnTo>
                    <a:lnTo>
                      <a:pt x="1867928" y="6156543"/>
                    </a:lnTo>
                    <a:lnTo>
                      <a:pt x="1853633" y="6170839"/>
                    </a:lnTo>
                    <a:lnTo>
                      <a:pt x="1829807" y="6194665"/>
                    </a:lnTo>
                    <a:lnTo>
                      <a:pt x="1820277" y="6208959"/>
                    </a:lnTo>
                    <a:lnTo>
                      <a:pt x="1820277" y="6218491"/>
                    </a:lnTo>
                    <a:lnTo>
                      <a:pt x="1844102" y="6208959"/>
                    </a:lnTo>
                    <a:lnTo>
                      <a:pt x="1853633" y="6213725"/>
                    </a:lnTo>
                    <a:lnTo>
                      <a:pt x="1858398" y="6218491"/>
                    </a:lnTo>
                    <a:lnTo>
                      <a:pt x="1848868" y="6223255"/>
                    </a:lnTo>
                    <a:lnTo>
                      <a:pt x="1834572" y="6228021"/>
                    </a:lnTo>
                    <a:lnTo>
                      <a:pt x="1825042" y="6242315"/>
                    </a:lnTo>
                    <a:lnTo>
                      <a:pt x="1796451" y="6261377"/>
                    </a:lnTo>
                    <a:lnTo>
                      <a:pt x="1786921" y="6275671"/>
                    </a:lnTo>
                    <a:lnTo>
                      <a:pt x="1772625" y="6280437"/>
                    </a:lnTo>
                    <a:lnTo>
                      <a:pt x="1753565" y="6285201"/>
                    </a:lnTo>
                    <a:lnTo>
                      <a:pt x="1724974" y="6294733"/>
                    </a:lnTo>
                    <a:lnTo>
                      <a:pt x="1705914" y="6304263"/>
                    </a:lnTo>
                    <a:lnTo>
                      <a:pt x="1701148" y="6309027"/>
                    </a:lnTo>
                    <a:lnTo>
                      <a:pt x="1696384" y="6309027"/>
                    </a:lnTo>
                    <a:lnTo>
                      <a:pt x="1691618" y="6309027"/>
                    </a:lnTo>
                    <a:lnTo>
                      <a:pt x="1682088" y="6313793"/>
                    </a:lnTo>
                    <a:lnTo>
                      <a:pt x="1672558" y="6323323"/>
                    </a:lnTo>
                    <a:lnTo>
                      <a:pt x="1667792" y="6328087"/>
                    </a:lnTo>
                    <a:lnTo>
                      <a:pt x="1658262" y="6328087"/>
                    </a:lnTo>
                    <a:lnTo>
                      <a:pt x="1648732" y="6332853"/>
                    </a:lnTo>
                    <a:lnTo>
                      <a:pt x="1643967" y="6332853"/>
                    </a:lnTo>
                    <a:lnTo>
                      <a:pt x="1629671" y="6323323"/>
                    </a:lnTo>
                    <a:lnTo>
                      <a:pt x="1620141" y="6313793"/>
                    </a:lnTo>
                    <a:lnTo>
                      <a:pt x="1639202" y="6304263"/>
                    </a:lnTo>
                    <a:lnTo>
                      <a:pt x="1648732" y="6299497"/>
                    </a:lnTo>
                    <a:lnTo>
                      <a:pt x="1667792" y="6299497"/>
                    </a:lnTo>
                    <a:lnTo>
                      <a:pt x="1682088" y="6285201"/>
                    </a:lnTo>
                    <a:lnTo>
                      <a:pt x="1715444" y="6270907"/>
                    </a:lnTo>
                    <a:lnTo>
                      <a:pt x="1729739" y="6261377"/>
                    </a:lnTo>
                    <a:lnTo>
                      <a:pt x="1734504" y="6232785"/>
                    </a:lnTo>
                    <a:lnTo>
                      <a:pt x="1744035" y="6228021"/>
                    </a:lnTo>
                    <a:lnTo>
                      <a:pt x="1748800" y="6218491"/>
                    </a:lnTo>
                    <a:lnTo>
                      <a:pt x="1763095" y="6218491"/>
                    </a:lnTo>
                    <a:lnTo>
                      <a:pt x="1772625" y="6228021"/>
                    </a:lnTo>
                    <a:lnTo>
                      <a:pt x="1777391" y="6232785"/>
                    </a:lnTo>
                    <a:lnTo>
                      <a:pt x="1777391" y="6223255"/>
                    </a:lnTo>
                    <a:lnTo>
                      <a:pt x="1791686" y="6213725"/>
                    </a:lnTo>
                    <a:lnTo>
                      <a:pt x="1782156" y="6208959"/>
                    </a:lnTo>
                    <a:lnTo>
                      <a:pt x="1767861" y="6199429"/>
                    </a:lnTo>
                    <a:lnTo>
                      <a:pt x="1753565" y="6199429"/>
                    </a:lnTo>
                    <a:lnTo>
                      <a:pt x="1744035" y="6199429"/>
                    </a:lnTo>
                    <a:lnTo>
                      <a:pt x="1739269" y="6194665"/>
                    </a:lnTo>
                    <a:lnTo>
                      <a:pt x="1734504" y="6185135"/>
                    </a:lnTo>
                    <a:lnTo>
                      <a:pt x="1729739" y="6180369"/>
                    </a:lnTo>
                    <a:lnTo>
                      <a:pt x="1729739" y="6170839"/>
                    </a:lnTo>
                    <a:lnTo>
                      <a:pt x="1734504" y="6161309"/>
                    </a:lnTo>
                    <a:lnTo>
                      <a:pt x="1744035" y="6151779"/>
                    </a:lnTo>
                    <a:lnTo>
                      <a:pt x="1753565" y="6147013"/>
                    </a:lnTo>
                    <a:lnTo>
                      <a:pt x="1772625" y="6142249"/>
                    </a:lnTo>
                    <a:close/>
                    <a:moveTo>
                      <a:pt x="1910814" y="6080301"/>
                    </a:moveTo>
                    <a:lnTo>
                      <a:pt x="1920344" y="6080301"/>
                    </a:lnTo>
                    <a:lnTo>
                      <a:pt x="1944170" y="6094597"/>
                    </a:lnTo>
                    <a:lnTo>
                      <a:pt x="1948935" y="6104127"/>
                    </a:lnTo>
                    <a:lnTo>
                      <a:pt x="1953700" y="6108893"/>
                    </a:lnTo>
                    <a:lnTo>
                      <a:pt x="1944170" y="6113657"/>
                    </a:lnTo>
                    <a:lnTo>
                      <a:pt x="1929874" y="6118423"/>
                    </a:lnTo>
                    <a:lnTo>
                      <a:pt x="1925110" y="6123189"/>
                    </a:lnTo>
                    <a:lnTo>
                      <a:pt x="1920344" y="6123189"/>
                    </a:lnTo>
                    <a:lnTo>
                      <a:pt x="1915579" y="6123189"/>
                    </a:lnTo>
                    <a:lnTo>
                      <a:pt x="1901284" y="6123189"/>
                    </a:lnTo>
                    <a:lnTo>
                      <a:pt x="1896518" y="6123189"/>
                    </a:lnTo>
                    <a:lnTo>
                      <a:pt x="1886988" y="6108893"/>
                    </a:lnTo>
                    <a:lnTo>
                      <a:pt x="1886988" y="6099363"/>
                    </a:lnTo>
                    <a:lnTo>
                      <a:pt x="1891754" y="6094597"/>
                    </a:lnTo>
                    <a:lnTo>
                      <a:pt x="1896518" y="6085067"/>
                    </a:lnTo>
                    <a:close/>
                    <a:moveTo>
                      <a:pt x="1967995" y="6061241"/>
                    </a:moveTo>
                    <a:lnTo>
                      <a:pt x="1972761" y="6061241"/>
                    </a:lnTo>
                    <a:lnTo>
                      <a:pt x="1977526" y="6066007"/>
                    </a:lnTo>
                    <a:lnTo>
                      <a:pt x="1987056" y="6080301"/>
                    </a:lnTo>
                    <a:lnTo>
                      <a:pt x="1991821" y="6080301"/>
                    </a:lnTo>
                    <a:lnTo>
                      <a:pt x="1996586" y="6085067"/>
                    </a:lnTo>
                    <a:lnTo>
                      <a:pt x="1987056" y="6089831"/>
                    </a:lnTo>
                    <a:lnTo>
                      <a:pt x="1972761" y="6099361"/>
                    </a:lnTo>
                    <a:lnTo>
                      <a:pt x="1967995" y="6104127"/>
                    </a:lnTo>
                    <a:lnTo>
                      <a:pt x="1963230" y="6099361"/>
                    </a:lnTo>
                    <a:lnTo>
                      <a:pt x="1963230" y="6089831"/>
                    </a:lnTo>
                    <a:lnTo>
                      <a:pt x="1958465" y="6070771"/>
                    </a:lnTo>
                    <a:close/>
                    <a:moveTo>
                      <a:pt x="2401622" y="6004061"/>
                    </a:moveTo>
                    <a:lnTo>
                      <a:pt x="2430213" y="6013591"/>
                    </a:lnTo>
                    <a:lnTo>
                      <a:pt x="2434978" y="6018355"/>
                    </a:lnTo>
                    <a:lnTo>
                      <a:pt x="2444508" y="6027885"/>
                    </a:lnTo>
                    <a:lnTo>
                      <a:pt x="2430213" y="6037417"/>
                    </a:lnTo>
                    <a:lnTo>
                      <a:pt x="2415917" y="6027885"/>
                    </a:lnTo>
                    <a:lnTo>
                      <a:pt x="2401622" y="6018355"/>
                    </a:lnTo>
                    <a:close/>
                    <a:moveTo>
                      <a:pt x="2487395" y="5870636"/>
                    </a:moveTo>
                    <a:lnTo>
                      <a:pt x="2492160" y="5880166"/>
                    </a:lnTo>
                    <a:lnTo>
                      <a:pt x="2492160" y="5884931"/>
                    </a:lnTo>
                    <a:lnTo>
                      <a:pt x="2487395" y="5903992"/>
                    </a:lnTo>
                    <a:lnTo>
                      <a:pt x="2482630" y="5908757"/>
                    </a:lnTo>
                    <a:lnTo>
                      <a:pt x="2477865" y="5913522"/>
                    </a:lnTo>
                    <a:lnTo>
                      <a:pt x="2468335" y="5903992"/>
                    </a:lnTo>
                    <a:lnTo>
                      <a:pt x="2463569" y="5894462"/>
                    </a:lnTo>
                    <a:lnTo>
                      <a:pt x="2463569" y="5884931"/>
                    </a:lnTo>
                    <a:lnTo>
                      <a:pt x="2482630" y="5875401"/>
                    </a:lnTo>
                    <a:close/>
                    <a:moveTo>
                      <a:pt x="2239608" y="5856341"/>
                    </a:moveTo>
                    <a:lnTo>
                      <a:pt x="2249138" y="5856341"/>
                    </a:lnTo>
                    <a:lnTo>
                      <a:pt x="2277729" y="5856341"/>
                    </a:lnTo>
                    <a:lnTo>
                      <a:pt x="2287259" y="5856341"/>
                    </a:lnTo>
                    <a:lnTo>
                      <a:pt x="2292024" y="5865871"/>
                    </a:lnTo>
                    <a:lnTo>
                      <a:pt x="2301555" y="5875402"/>
                    </a:lnTo>
                    <a:lnTo>
                      <a:pt x="2315850" y="5918288"/>
                    </a:lnTo>
                    <a:lnTo>
                      <a:pt x="2320615" y="5927818"/>
                    </a:lnTo>
                    <a:lnTo>
                      <a:pt x="2330146" y="5932583"/>
                    </a:lnTo>
                    <a:lnTo>
                      <a:pt x="2344440" y="5937349"/>
                    </a:lnTo>
                    <a:lnTo>
                      <a:pt x="2353971" y="5942113"/>
                    </a:lnTo>
                    <a:lnTo>
                      <a:pt x="2358736" y="5951643"/>
                    </a:lnTo>
                    <a:lnTo>
                      <a:pt x="2358736" y="5956409"/>
                    </a:lnTo>
                    <a:lnTo>
                      <a:pt x="2315850" y="5942113"/>
                    </a:lnTo>
                    <a:lnTo>
                      <a:pt x="2292024" y="5965939"/>
                    </a:lnTo>
                    <a:lnTo>
                      <a:pt x="2282494" y="5970705"/>
                    </a:lnTo>
                    <a:lnTo>
                      <a:pt x="2206252" y="5970705"/>
                    </a:lnTo>
                    <a:lnTo>
                      <a:pt x="2191957" y="5975469"/>
                    </a:lnTo>
                    <a:lnTo>
                      <a:pt x="2182426" y="5984999"/>
                    </a:lnTo>
                    <a:lnTo>
                      <a:pt x="2163366" y="6008825"/>
                    </a:lnTo>
                    <a:lnTo>
                      <a:pt x="2153836" y="6018355"/>
                    </a:lnTo>
                    <a:lnTo>
                      <a:pt x="2144305" y="6023121"/>
                    </a:lnTo>
                    <a:lnTo>
                      <a:pt x="2125244" y="6027885"/>
                    </a:lnTo>
                    <a:lnTo>
                      <a:pt x="2101419" y="6027885"/>
                    </a:lnTo>
                    <a:lnTo>
                      <a:pt x="2087123" y="6027885"/>
                    </a:lnTo>
                    <a:lnTo>
                      <a:pt x="2082359" y="6013591"/>
                    </a:lnTo>
                    <a:lnTo>
                      <a:pt x="2077593" y="5989765"/>
                    </a:lnTo>
                    <a:lnTo>
                      <a:pt x="2077593" y="5984999"/>
                    </a:lnTo>
                    <a:lnTo>
                      <a:pt x="2077593" y="5975469"/>
                    </a:lnTo>
                    <a:lnTo>
                      <a:pt x="2101419" y="5961175"/>
                    </a:lnTo>
                    <a:lnTo>
                      <a:pt x="2106184" y="5951643"/>
                    </a:lnTo>
                    <a:lnTo>
                      <a:pt x="2134775" y="5899227"/>
                    </a:lnTo>
                    <a:lnTo>
                      <a:pt x="2144305" y="5894462"/>
                    </a:lnTo>
                    <a:lnTo>
                      <a:pt x="2149070" y="5894462"/>
                    </a:lnTo>
                    <a:lnTo>
                      <a:pt x="2172896" y="5894462"/>
                    </a:lnTo>
                    <a:lnTo>
                      <a:pt x="2196722" y="5880167"/>
                    </a:lnTo>
                    <a:close/>
                    <a:moveTo>
                      <a:pt x="2925786" y="5851576"/>
                    </a:moveTo>
                    <a:lnTo>
                      <a:pt x="2940081" y="5856341"/>
                    </a:lnTo>
                    <a:lnTo>
                      <a:pt x="2940081" y="5870637"/>
                    </a:lnTo>
                    <a:lnTo>
                      <a:pt x="2940081" y="5875402"/>
                    </a:lnTo>
                    <a:lnTo>
                      <a:pt x="2935316" y="5875402"/>
                    </a:lnTo>
                    <a:lnTo>
                      <a:pt x="2930551" y="5875402"/>
                    </a:lnTo>
                    <a:lnTo>
                      <a:pt x="2925786" y="5861106"/>
                    </a:lnTo>
                    <a:close/>
                    <a:moveTo>
                      <a:pt x="2906725" y="5808690"/>
                    </a:moveTo>
                    <a:lnTo>
                      <a:pt x="2911491" y="5808690"/>
                    </a:lnTo>
                    <a:lnTo>
                      <a:pt x="2916256" y="5827750"/>
                    </a:lnTo>
                    <a:lnTo>
                      <a:pt x="2916256" y="5846811"/>
                    </a:lnTo>
                    <a:lnTo>
                      <a:pt x="2916256" y="5851576"/>
                    </a:lnTo>
                    <a:lnTo>
                      <a:pt x="2911491" y="5846811"/>
                    </a:lnTo>
                    <a:lnTo>
                      <a:pt x="2901960" y="5851576"/>
                    </a:lnTo>
                    <a:lnTo>
                      <a:pt x="2897195" y="5846811"/>
                    </a:lnTo>
                    <a:lnTo>
                      <a:pt x="2897195" y="5842046"/>
                    </a:lnTo>
                    <a:lnTo>
                      <a:pt x="2897195" y="5832516"/>
                    </a:lnTo>
                    <a:lnTo>
                      <a:pt x="2906725" y="5832516"/>
                    </a:lnTo>
                    <a:lnTo>
                      <a:pt x="2906725" y="5822985"/>
                    </a:lnTo>
                    <a:lnTo>
                      <a:pt x="2906725" y="5818220"/>
                    </a:lnTo>
                    <a:close/>
                    <a:moveTo>
                      <a:pt x="7285877" y="5794394"/>
                    </a:moveTo>
                    <a:lnTo>
                      <a:pt x="7290642" y="5794394"/>
                    </a:lnTo>
                    <a:lnTo>
                      <a:pt x="7309703" y="5808689"/>
                    </a:lnTo>
                    <a:lnTo>
                      <a:pt x="7319233" y="5846811"/>
                    </a:lnTo>
                    <a:lnTo>
                      <a:pt x="7333528" y="5880166"/>
                    </a:lnTo>
                    <a:lnTo>
                      <a:pt x="7333528" y="5894462"/>
                    </a:lnTo>
                    <a:lnTo>
                      <a:pt x="7319233" y="5899227"/>
                    </a:lnTo>
                    <a:lnTo>
                      <a:pt x="7309703" y="5899227"/>
                    </a:lnTo>
                    <a:lnTo>
                      <a:pt x="7304938" y="5894462"/>
                    </a:lnTo>
                    <a:lnTo>
                      <a:pt x="7300173" y="5889697"/>
                    </a:lnTo>
                    <a:lnTo>
                      <a:pt x="7304938" y="5870636"/>
                    </a:lnTo>
                    <a:lnTo>
                      <a:pt x="7295408" y="5856341"/>
                    </a:lnTo>
                    <a:lnTo>
                      <a:pt x="7285877" y="5856341"/>
                    </a:lnTo>
                    <a:lnTo>
                      <a:pt x="7281112" y="5861106"/>
                    </a:lnTo>
                    <a:lnTo>
                      <a:pt x="7281112" y="5842045"/>
                    </a:lnTo>
                    <a:lnTo>
                      <a:pt x="7285877" y="5832515"/>
                    </a:lnTo>
                    <a:lnTo>
                      <a:pt x="7281112" y="5813455"/>
                    </a:lnTo>
                    <a:lnTo>
                      <a:pt x="7281112" y="5799159"/>
                    </a:lnTo>
                    <a:close/>
                    <a:moveTo>
                      <a:pt x="2854309" y="5794394"/>
                    </a:moveTo>
                    <a:lnTo>
                      <a:pt x="2859075" y="5794394"/>
                    </a:lnTo>
                    <a:lnTo>
                      <a:pt x="2863840" y="5794394"/>
                    </a:lnTo>
                    <a:lnTo>
                      <a:pt x="2859075" y="5808689"/>
                    </a:lnTo>
                    <a:lnTo>
                      <a:pt x="2868605" y="5818220"/>
                    </a:lnTo>
                    <a:lnTo>
                      <a:pt x="2863840" y="5827750"/>
                    </a:lnTo>
                    <a:lnTo>
                      <a:pt x="2863840" y="5832515"/>
                    </a:lnTo>
                    <a:lnTo>
                      <a:pt x="2854309" y="5837280"/>
                    </a:lnTo>
                    <a:lnTo>
                      <a:pt x="2849545" y="5846811"/>
                    </a:lnTo>
                    <a:lnTo>
                      <a:pt x="2844780" y="5851576"/>
                    </a:lnTo>
                    <a:lnTo>
                      <a:pt x="2835249" y="5856341"/>
                    </a:lnTo>
                    <a:lnTo>
                      <a:pt x="2816188" y="5884932"/>
                    </a:lnTo>
                    <a:lnTo>
                      <a:pt x="2806658" y="5889697"/>
                    </a:lnTo>
                    <a:lnTo>
                      <a:pt x="2816188" y="5865871"/>
                    </a:lnTo>
                    <a:lnTo>
                      <a:pt x="2816188" y="5856341"/>
                    </a:lnTo>
                    <a:lnTo>
                      <a:pt x="2816188" y="5851576"/>
                    </a:lnTo>
                    <a:lnTo>
                      <a:pt x="2816188" y="5832515"/>
                    </a:lnTo>
                    <a:lnTo>
                      <a:pt x="2820954" y="5837280"/>
                    </a:lnTo>
                    <a:lnTo>
                      <a:pt x="2825719" y="5832515"/>
                    </a:lnTo>
                    <a:lnTo>
                      <a:pt x="2835249" y="5818220"/>
                    </a:lnTo>
                    <a:lnTo>
                      <a:pt x="2844780" y="5813455"/>
                    </a:lnTo>
                    <a:close/>
                    <a:moveTo>
                      <a:pt x="7014266" y="5780099"/>
                    </a:moveTo>
                    <a:lnTo>
                      <a:pt x="7042856" y="5808690"/>
                    </a:lnTo>
                    <a:lnTo>
                      <a:pt x="7047622" y="5822985"/>
                    </a:lnTo>
                    <a:lnTo>
                      <a:pt x="7061917" y="5837281"/>
                    </a:lnTo>
                    <a:lnTo>
                      <a:pt x="7061917" y="5861106"/>
                    </a:lnTo>
                    <a:lnTo>
                      <a:pt x="7066682" y="5865871"/>
                    </a:lnTo>
                    <a:lnTo>
                      <a:pt x="7080977" y="5899227"/>
                    </a:lnTo>
                    <a:lnTo>
                      <a:pt x="7085742" y="5899227"/>
                    </a:lnTo>
                    <a:lnTo>
                      <a:pt x="7090508" y="5899227"/>
                    </a:lnTo>
                    <a:lnTo>
                      <a:pt x="7095273" y="5889697"/>
                    </a:lnTo>
                    <a:lnTo>
                      <a:pt x="7104803" y="5889697"/>
                    </a:lnTo>
                    <a:lnTo>
                      <a:pt x="7114333" y="5894462"/>
                    </a:lnTo>
                    <a:lnTo>
                      <a:pt x="7119098" y="5899227"/>
                    </a:lnTo>
                    <a:lnTo>
                      <a:pt x="7114333" y="5913523"/>
                    </a:lnTo>
                    <a:lnTo>
                      <a:pt x="7114333" y="5932583"/>
                    </a:lnTo>
                    <a:lnTo>
                      <a:pt x="7109568" y="5942113"/>
                    </a:lnTo>
                    <a:lnTo>
                      <a:pt x="7104803" y="5956409"/>
                    </a:lnTo>
                    <a:lnTo>
                      <a:pt x="7090508" y="5946879"/>
                    </a:lnTo>
                    <a:lnTo>
                      <a:pt x="7076212" y="5932583"/>
                    </a:lnTo>
                    <a:lnTo>
                      <a:pt x="7057152" y="5908758"/>
                    </a:lnTo>
                    <a:lnTo>
                      <a:pt x="7047622" y="5889697"/>
                    </a:lnTo>
                    <a:lnTo>
                      <a:pt x="7047622" y="5880167"/>
                    </a:lnTo>
                    <a:lnTo>
                      <a:pt x="7038091" y="5875402"/>
                    </a:lnTo>
                    <a:lnTo>
                      <a:pt x="7028561" y="5846811"/>
                    </a:lnTo>
                    <a:lnTo>
                      <a:pt x="7019031" y="5818220"/>
                    </a:lnTo>
                    <a:lnTo>
                      <a:pt x="7009501" y="5818220"/>
                    </a:lnTo>
                    <a:lnTo>
                      <a:pt x="6995205" y="5808690"/>
                    </a:lnTo>
                    <a:lnTo>
                      <a:pt x="6990440" y="5799160"/>
                    </a:lnTo>
                    <a:lnTo>
                      <a:pt x="6990440" y="5784864"/>
                    </a:lnTo>
                    <a:close/>
                    <a:moveTo>
                      <a:pt x="2763772" y="5770569"/>
                    </a:moveTo>
                    <a:lnTo>
                      <a:pt x="2787598" y="5770569"/>
                    </a:lnTo>
                    <a:lnTo>
                      <a:pt x="2792363" y="5775334"/>
                    </a:lnTo>
                    <a:lnTo>
                      <a:pt x="2787598" y="5799160"/>
                    </a:lnTo>
                    <a:lnTo>
                      <a:pt x="2768538" y="5784865"/>
                    </a:lnTo>
                    <a:lnTo>
                      <a:pt x="2759007" y="5775334"/>
                    </a:lnTo>
                    <a:close/>
                    <a:moveTo>
                      <a:pt x="2730416" y="5756273"/>
                    </a:moveTo>
                    <a:lnTo>
                      <a:pt x="2735181" y="5761038"/>
                    </a:lnTo>
                    <a:lnTo>
                      <a:pt x="2735181" y="5765803"/>
                    </a:lnTo>
                    <a:lnTo>
                      <a:pt x="2739946" y="5770568"/>
                    </a:lnTo>
                    <a:lnTo>
                      <a:pt x="2735181" y="5780099"/>
                    </a:lnTo>
                    <a:lnTo>
                      <a:pt x="2744711" y="5780099"/>
                    </a:lnTo>
                    <a:lnTo>
                      <a:pt x="2754242" y="5765803"/>
                    </a:lnTo>
                    <a:lnTo>
                      <a:pt x="2754242" y="5770568"/>
                    </a:lnTo>
                    <a:lnTo>
                      <a:pt x="2749476" y="5784864"/>
                    </a:lnTo>
                    <a:lnTo>
                      <a:pt x="2759007" y="5803924"/>
                    </a:lnTo>
                    <a:lnTo>
                      <a:pt x="2768537" y="5813455"/>
                    </a:lnTo>
                    <a:lnTo>
                      <a:pt x="2768537" y="5818220"/>
                    </a:lnTo>
                    <a:lnTo>
                      <a:pt x="2749476" y="5822985"/>
                    </a:lnTo>
                    <a:lnTo>
                      <a:pt x="2730416" y="5818220"/>
                    </a:lnTo>
                    <a:lnTo>
                      <a:pt x="2725651" y="5822985"/>
                    </a:lnTo>
                    <a:lnTo>
                      <a:pt x="2716121" y="5827750"/>
                    </a:lnTo>
                    <a:lnTo>
                      <a:pt x="2711355" y="5822985"/>
                    </a:lnTo>
                    <a:lnTo>
                      <a:pt x="2711355" y="5784864"/>
                    </a:lnTo>
                    <a:lnTo>
                      <a:pt x="2711355" y="5775334"/>
                    </a:lnTo>
                    <a:lnTo>
                      <a:pt x="2720886" y="5761038"/>
                    </a:lnTo>
                    <a:close/>
                    <a:moveTo>
                      <a:pt x="7004735" y="5713387"/>
                    </a:moveTo>
                    <a:lnTo>
                      <a:pt x="7014265" y="5718152"/>
                    </a:lnTo>
                    <a:lnTo>
                      <a:pt x="7014265" y="5727682"/>
                    </a:lnTo>
                    <a:lnTo>
                      <a:pt x="7014265" y="5732447"/>
                    </a:lnTo>
                    <a:lnTo>
                      <a:pt x="6995205" y="5751508"/>
                    </a:lnTo>
                    <a:lnTo>
                      <a:pt x="6990440" y="5756273"/>
                    </a:lnTo>
                    <a:lnTo>
                      <a:pt x="6985674" y="5765803"/>
                    </a:lnTo>
                    <a:lnTo>
                      <a:pt x="6980909" y="5770568"/>
                    </a:lnTo>
                    <a:lnTo>
                      <a:pt x="6976144" y="5780099"/>
                    </a:lnTo>
                    <a:lnTo>
                      <a:pt x="6957084" y="5794394"/>
                    </a:lnTo>
                    <a:lnTo>
                      <a:pt x="6961849" y="5756273"/>
                    </a:lnTo>
                    <a:lnTo>
                      <a:pt x="6942788" y="5732447"/>
                    </a:lnTo>
                    <a:lnTo>
                      <a:pt x="6961849" y="5718152"/>
                    </a:lnTo>
                    <a:lnTo>
                      <a:pt x="6971379" y="5722917"/>
                    </a:lnTo>
                    <a:lnTo>
                      <a:pt x="6990440" y="5722917"/>
                    </a:lnTo>
                    <a:close/>
                    <a:moveTo>
                      <a:pt x="3530958" y="5613320"/>
                    </a:moveTo>
                    <a:lnTo>
                      <a:pt x="3535723" y="5613320"/>
                    </a:lnTo>
                    <a:lnTo>
                      <a:pt x="3535723" y="5622850"/>
                    </a:lnTo>
                    <a:lnTo>
                      <a:pt x="3535723" y="5641911"/>
                    </a:lnTo>
                    <a:lnTo>
                      <a:pt x="3530958" y="5651441"/>
                    </a:lnTo>
                    <a:lnTo>
                      <a:pt x="3516663" y="5651441"/>
                    </a:lnTo>
                    <a:lnTo>
                      <a:pt x="3511897" y="5646676"/>
                    </a:lnTo>
                    <a:lnTo>
                      <a:pt x="3507132" y="5641911"/>
                    </a:lnTo>
                    <a:lnTo>
                      <a:pt x="3526193" y="5618085"/>
                    </a:lnTo>
                    <a:close/>
                    <a:moveTo>
                      <a:pt x="7328764" y="5603789"/>
                    </a:moveTo>
                    <a:lnTo>
                      <a:pt x="7333529" y="5608554"/>
                    </a:lnTo>
                    <a:lnTo>
                      <a:pt x="7352590" y="5632380"/>
                    </a:lnTo>
                    <a:lnTo>
                      <a:pt x="7371650" y="5670501"/>
                    </a:lnTo>
                    <a:lnTo>
                      <a:pt x="7376415" y="5684796"/>
                    </a:lnTo>
                    <a:lnTo>
                      <a:pt x="7376415" y="5713387"/>
                    </a:lnTo>
                    <a:lnTo>
                      <a:pt x="7376415" y="5732448"/>
                    </a:lnTo>
                    <a:lnTo>
                      <a:pt x="7371650" y="5765803"/>
                    </a:lnTo>
                    <a:lnTo>
                      <a:pt x="7357355" y="5794394"/>
                    </a:lnTo>
                    <a:lnTo>
                      <a:pt x="7343059" y="5813455"/>
                    </a:lnTo>
                    <a:lnTo>
                      <a:pt x="7328764" y="5808690"/>
                    </a:lnTo>
                    <a:lnTo>
                      <a:pt x="7323999" y="5794394"/>
                    </a:lnTo>
                    <a:lnTo>
                      <a:pt x="7314468" y="5794394"/>
                    </a:lnTo>
                    <a:lnTo>
                      <a:pt x="7304938" y="5794394"/>
                    </a:lnTo>
                    <a:lnTo>
                      <a:pt x="7300173" y="5780099"/>
                    </a:lnTo>
                    <a:lnTo>
                      <a:pt x="7304938" y="5765803"/>
                    </a:lnTo>
                    <a:lnTo>
                      <a:pt x="7300173" y="5756273"/>
                    </a:lnTo>
                    <a:lnTo>
                      <a:pt x="7295408" y="5765803"/>
                    </a:lnTo>
                    <a:lnTo>
                      <a:pt x="7290643" y="5775334"/>
                    </a:lnTo>
                    <a:lnTo>
                      <a:pt x="7271582" y="5784864"/>
                    </a:lnTo>
                    <a:lnTo>
                      <a:pt x="7257287" y="5808690"/>
                    </a:lnTo>
                    <a:lnTo>
                      <a:pt x="7252522" y="5822985"/>
                    </a:lnTo>
                    <a:lnTo>
                      <a:pt x="7247757" y="5808690"/>
                    </a:lnTo>
                    <a:lnTo>
                      <a:pt x="7242991" y="5770569"/>
                    </a:lnTo>
                    <a:lnTo>
                      <a:pt x="7238226" y="5756273"/>
                    </a:lnTo>
                    <a:lnTo>
                      <a:pt x="7252522" y="5732448"/>
                    </a:lnTo>
                    <a:lnTo>
                      <a:pt x="7271582" y="5708622"/>
                    </a:lnTo>
                    <a:lnTo>
                      <a:pt x="7276347" y="5641910"/>
                    </a:lnTo>
                    <a:close/>
                    <a:moveTo>
                      <a:pt x="6971379" y="5498956"/>
                    </a:moveTo>
                    <a:lnTo>
                      <a:pt x="6999970" y="5503721"/>
                    </a:lnTo>
                    <a:lnTo>
                      <a:pt x="7028560" y="5503721"/>
                    </a:lnTo>
                    <a:lnTo>
                      <a:pt x="7038091" y="5513251"/>
                    </a:lnTo>
                    <a:lnTo>
                      <a:pt x="7042856" y="5527547"/>
                    </a:lnTo>
                    <a:lnTo>
                      <a:pt x="7047621" y="5537077"/>
                    </a:lnTo>
                    <a:lnTo>
                      <a:pt x="7047621" y="5546607"/>
                    </a:lnTo>
                    <a:lnTo>
                      <a:pt x="7047621" y="5556138"/>
                    </a:lnTo>
                    <a:lnTo>
                      <a:pt x="7042856" y="5565668"/>
                    </a:lnTo>
                    <a:lnTo>
                      <a:pt x="7095272" y="5594259"/>
                    </a:lnTo>
                    <a:lnTo>
                      <a:pt x="7123863" y="5622849"/>
                    </a:lnTo>
                    <a:lnTo>
                      <a:pt x="7133393" y="5637145"/>
                    </a:lnTo>
                    <a:lnTo>
                      <a:pt x="7138158" y="5646675"/>
                    </a:lnTo>
                    <a:lnTo>
                      <a:pt x="7147688" y="5680031"/>
                    </a:lnTo>
                    <a:lnTo>
                      <a:pt x="7171514" y="5713387"/>
                    </a:lnTo>
                    <a:lnTo>
                      <a:pt x="7181044" y="5727682"/>
                    </a:lnTo>
                    <a:lnTo>
                      <a:pt x="7190575" y="5737212"/>
                    </a:lnTo>
                    <a:lnTo>
                      <a:pt x="7185809" y="5737212"/>
                    </a:lnTo>
                    <a:lnTo>
                      <a:pt x="7171514" y="5727682"/>
                    </a:lnTo>
                    <a:lnTo>
                      <a:pt x="7138158" y="5703856"/>
                    </a:lnTo>
                    <a:lnTo>
                      <a:pt x="7133393" y="5703856"/>
                    </a:lnTo>
                    <a:lnTo>
                      <a:pt x="7128628" y="5718152"/>
                    </a:lnTo>
                    <a:lnTo>
                      <a:pt x="7123863" y="5732447"/>
                    </a:lnTo>
                    <a:lnTo>
                      <a:pt x="7119098" y="5737212"/>
                    </a:lnTo>
                    <a:lnTo>
                      <a:pt x="7123863" y="5741978"/>
                    </a:lnTo>
                    <a:lnTo>
                      <a:pt x="7152454" y="5737212"/>
                    </a:lnTo>
                    <a:lnTo>
                      <a:pt x="7171514" y="5761038"/>
                    </a:lnTo>
                    <a:lnTo>
                      <a:pt x="7181044" y="5761038"/>
                    </a:lnTo>
                    <a:lnTo>
                      <a:pt x="7190575" y="5780099"/>
                    </a:lnTo>
                    <a:lnTo>
                      <a:pt x="7190575" y="5784864"/>
                    </a:lnTo>
                    <a:lnTo>
                      <a:pt x="7185809" y="5799159"/>
                    </a:lnTo>
                    <a:lnTo>
                      <a:pt x="7181044" y="5803924"/>
                    </a:lnTo>
                    <a:lnTo>
                      <a:pt x="7181044" y="5808689"/>
                    </a:lnTo>
                    <a:lnTo>
                      <a:pt x="7190575" y="5808689"/>
                    </a:lnTo>
                    <a:lnTo>
                      <a:pt x="7214400" y="5803924"/>
                    </a:lnTo>
                    <a:lnTo>
                      <a:pt x="7219165" y="5813454"/>
                    </a:lnTo>
                    <a:lnTo>
                      <a:pt x="7214400" y="5861106"/>
                    </a:lnTo>
                    <a:lnTo>
                      <a:pt x="7219165" y="5875401"/>
                    </a:lnTo>
                    <a:lnTo>
                      <a:pt x="7219165" y="5884931"/>
                    </a:lnTo>
                    <a:lnTo>
                      <a:pt x="7214400" y="5894462"/>
                    </a:lnTo>
                    <a:lnTo>
                      <a:pt x="7214400" y="5903992"/>
                    </a:lnTo>
                    <a:lnTo>
                      <a:pt x="7219165" y="5913522"/>
                    </a:lnTo>
                    <a:lnTo>
                      <a:pt x="7219165" y="5923052"/>
                    </a:lnTo>
                    <a:lnTo>
                      <a:pt x="7214400" y="5942113"/>
                    </a:lnTo>
                    <a:lnTo>
                      <a:pt x="7204870" y="5946877"/>
                    </a:lnTo>
                    <a:lnTo>
                      <a:pt x="7195340" y="5946877"/>
                    </a:lnTo>
                    <a:lnTo>
                      <a:pt x="7185809" y="5942113"/>
                    </a:lnTo>
                    <a:lnTo>
                      <a:pt x="7176279" y="5923052"/>
                    </a:lnTo>
                    <a:lnTo>
                      <a:pt x="7161984" y="5894462"/>
                    </a:lnTo>
                    <a:lnTo>
                      <a:pt x="7157219" y="5889696"/>
                    </a:lnTo>
                    <a:lnTo>
                      <a:pt x="7142923" y="5884931"/>
                    </a:lnTo>
                    <a:lnTo>
                      <a:pt x="7138158" y="5880166"/>
                    </a:lnTo>
                    <a:lnTo>
                      <a:pt x="7128628" y="5880166"/>
                    </a:lnTo>
                    <a:lnTo>
                      <a:pt x="7123863" y="5870636"/>
                    </a:lnTo>
                    <a:lnTo>
                      <a:pt x="7123863" y="5856341"/>
                    </a:lnTo>
                    <a:lnTo>
                      <a:pt x="7119098" y="5837280"/>
                    </a:lnTo>
                    <a:lnTo>
                      <a:pt x="7119098" y="5832515"/>
                    </a:lnTo>
                    <a:lnTo>
                      <a:pt x="7109567" y="5827750"/>
                    </a:lnTo>
                    <a:lnTo>
                      <a:pt x="7104802" y="5832515"/>
                    </a:lnTo>
                    <a:lnTo>
                      <a:pt x="7109567" y="5846810"/>
                    </a:lnTo>
                    <a:lnTo>
                      <a:pt x="7104802" y="5861106"/>
                    </a:lnTo>
                    <a:lnTo>
                      <a:pt x="7095272" y="5856341"/>
                    </a:lnTo>
                    <a:lnTo>
                      <a:pt x="7071447" y="5818220"/>
                    </a:lnTo>
                    <a:lnTo>
                      <a:pt x="7052386" y="5784864"/>
                    </a:lnTo>
                    <a:lnTo>
                      <a:pt x="7042856" y="5780099"/>
                    </a:lnTo>
                    <a:lnTo>
                      <a:pt x="7042856" y="5770568"/>
                    </a:lnTo>
                    <a:lnTo>
                      <a:pt x="7057151" y="5765803"/>
                    </a:lnTo>
                    <a:lnTo>
                      <a:pt x="7061916" y="5765803"/>
                    </a:lnTo>
                    <a:lnTo>
                      <a:pt x="7066681" y="5761038"/>
                    </a:lnTo>
                    <a:lnTo>
                      <a:pt x="7047621" y="5732447"/>
                    </a:lnTo>
                    <a:lnTo>
                      <a:pt x="7047621" y="5722917"/>
                    </a:lnTo>
                    <a:lnTo>
                      <a:pt x="7052386" y="5708622"/>
                    </a:lnTo>
                    <a:lnTo>
                      <a:pt x="7047621" y="5699091"/>
                    </a:lnTo>
                    <a:lnTo>
                      <a:pt x="7019030" y="5703856"/>
                    </a:lnTo>
                    <a:lnTo>
                      <a:pt x="7014265" y="5703856"/>
                    </a:lnTo>
                    <a:lnTo>
                      <a:pt x="7004735" y="5689561"/>
                    </a:lnTo>
                    <a:lnTo>
                      <a:pt x="6999970" y="5680031"/>
                    </a:lnTo>
                    <a:lnTo>
                      <a:pt x="6980909" y="5675266"/>
                    </a:lnTo>
                    <a:lnTo>
                      <a:pt x="6971379" y="5680031"/>
                    </a:lnTo>
                    <a:lnTo>
                      <a:pt x="6957084" y="5660970"/>
                    </a:lnTo>
                    <a:lnTo>
                      <a:pt x="6952318" y="5651440"/>
                    </a:lnTo>
                    <a:lnTo>
                      <a:pt x="6957084" y="5646675"/>
                    </a:lnTo>
                    <a:lnTo>
                      <a:pt x="6966614" y="5637145"/>
                    </a:lnTo>
                    <a:lnTo>
                      <a:pt x="6976144" y="5637145"/>
                    </a:lnTo>
                    <a:lnTo>
                      <a:pt x="6990439" y="5646675"/>
                    </a:lnTo>
                    <a:lnTo>
                      <a:pt x="6995205" y="5646675"/>
                    </a:lnTo>
                    <a:lnTo>
                      <a:pt x="7009500" y="5637145"/>
                    </a:lnTo>
                    <a:lnTo>
                      <a:pt x="7009500" y="5622849"/>
                    </a:lnTo>
                    <a:lnTo>
                      <a:pt x="7023795" y="5613319"/>
                    </a:lnTo>
                    <a:lnTo>
                      <a:pt x="7019030" y="5603789"/>
                    </a:lnTo>
                    <a:lnTo>
                      <a:pt x="7014265" y="5589493"/>
                    </a:lnTo>
                    <a:lnTo>
                      <a:pt x="6999970" y="5584728"/>
                    </a:lnTo>
                    <a:lnTo>
                      <a:pt x="6976144" y="5594259"/>
                    </a:lnTo>
                    <a:lnTo>
                      <a:pt x="6952318" y="5608554"/>
                    </a:lnTo>
                    <a:lnTo>
                      <a:pt x="6942788" y="5603789"/>
                    </a:lnTo>
                    <a:lnTo>
                      <a:pt x="6942788" y="5594259"/>
                    </a:lnTo>
                    <a:lnTo>
                      <a:pt x="6966614" y="5565668"/>
                    </a:lnTo>
                    <a:lnTo>
                      <a:pt x="6976144" y="5551372"/>
                    </a:lnTo>
                    <a:lnTo>
                      <a:pt x="6976144" y="5541842"/>
                    </a:lnTo>
                    <a:lnTo>
                      <a:pt x="6966614" y="5532312"/>
                    </a:lnTo>
                    <a:lnTo>
                      <a:pt x="6966614" y="5503721"/>
                    </a:lnTo>
                    <a:close/>
                    <a:moveTo>
                      <a:pt x="7076212" y="5465601"/>
                    </a:moveTo>
                    <a:lnTo>
                      <a:pt x="7104803" y="5465601"/>
                    </a:lnTo>
                    <a:lnTo>
                      <a:pt x="7114333" y="5470366"/>
                    </a:lnTo>
                    <a:lnTo>
                      <a:pt x="7119098" y="5475131"/>
                    </a:lnTo>
                    <a:lnTo>
                      <a:pt x="7119098" y="5484662"/>
                    </a:lnTo>
                    <a:lnTo>
                      <a:pt x="7114333" y="5489427"/>
                    </a:lnTo>
                    <a:lnTo>
                      <a:pt x="7114333" y="5498957"/>
                    </a:lnTo>
                    <a:lnTo>
                      <a:pt x="7114333" y="5503722"/>
                    </a:lnTo>
                    <a:lnTo>
                      <a:pt x="7109568" y="5513253"/>
                    </a:lnTo>
                    <a:lnTo>
                      <a:pt x="7095273" y="5522783"/>
                    </a:lnTo>
                    <a:lnTo>
                      <a:pt x="7085742" y="5522783"/>
                    </a:lnTo>
                    <a:lnTo>
                      <a:pt x="7076212" y="5518018"/>
                    </a:lnTo>
                    <a:lnTo>
                      <a:pt x="7052386" y="5498957"/>
                    </a:lnTo>
                    <a:lnTo>
                      <a:pt x="7052386" y="5489427"/>
                    </a:lnTo>
                    <a:lnTo>
                      <a:pt x="7057151" y="5484662"/>
                    </a:lnTo>
                    <a:lnTo>
                      <a:pt x="7071447" y="5470366"/>
                    </a:lnTo>
                    <a:close/>
                    <a:moveTo>
                      <a:pt x="7157220" y="5451305"/>
                    </a:moveTo>
                    <a:lnTo>
                      <a:pt x="7166750" y="5456070"/>
                    </a:lnTo>
                    <a:lnTo>
                      <a:pt x="7181046" y="5484661"/>
                    </a:lnTo>
                    <a:lnTo>
                      <a:pt x="7204871" y="5522782"/>
                    </a:lnTo>
                    <a:lnTo>
                      <a:pt x="7200106" y="5560903"/>
                    </a:lnTo>
                    <a:lnTo>
                      <a:pt x="7195341" y="5608554"/>
                    </a:lnTo>
                    <a:lnTo>
                      <a:pt x="7190576" y="5603789"/>
                    </a:lnTo>
                    <a:lnTo>
                      <a:pt x="7181046" y="5603789"/>
                    </a:lnTo>
                    <a:lnTo>
                      <a:pt x="7171515" y="5613319"/>
                    </a:lnTo>
                    <a:lnTo>
                      <a:pt x="7157220" y="5608554"/>
                    </a:lnTo>
                    <a:lnTo>
                      <a:pt x="7152455" y="5603789"/>
                    </a:lnTo>
                    <a:lnTo>
                      <a:pt x="7152455" y="5599024"/>
                    </a:lnTo>
                    <a:lnTo>
                      <a:pt x="7152455" y="5584728"/>
                    </a:lnTo>
                    <a:lnTo>
                      <a:pt x="7147690" y="5575198"/>
                    </a:lnTo>
                    <a:lnTo>
                      <a:pt x="7119099" y="5575198"/>
                    </a:lnTo>
                    <a:lnTo>
                      <a:pt x="7114334" y="5570433"/>
                    </a:lnTo>
                    <a:lnTo>
                      <a:pt x="7109568" y="5556138"/>
                    </a:lnTo>
                    <a:lnTo>
                      <a:pt x="7104803" y="5537077"/>
                    </a:lnTo>
                    <a:lnTo>
                      <a:pt x="7109568" y="5527547"/>
                    </a:lnTo>
                    <a:lnTo>
                      <a:pt x="7123864" y="5522782"/>
                    </a:lnTo>
                    <a:lnTo>
                      <a:pt x="7133394" y="5503721"/>
                    </a:lnTo>
                    <a:lnTo>
                      <a:pt x="7138159" y="5498956"/>
                    </a:lnTo>
                    <a:close/>
                    <a:moveTo>
                      <a:pt x="3745388" y="5422714"/>
                    </a:moveTo>
                    <a:lnTo>
                      <a:pt x="3764448" y="5422714"/>
                    </a:lnTo>
                    <a:lnTo>
                      <a:pt x="3764448" y="5427479"/>
                    </a:lnTo>
                    <a:lnTo>
                      <a:pt x="3764448" y="5437010"/>
                    </a:lnTo>
                    <a:lnTo>
                      <a:pt x="3759683" y="5441775"/>
                    </a:lnTo>
                    <a:lnTo>
                      <a:pt x="3754918" y="5441775"/>
                    </a:lnTo>
                    <a:lnTo>
                      <a:pt x="3745388" y="5446540"/>
                    </a:lnTo>
                    <a:lnTo>
                      <a:pt x="3740623" y="5446540"/>
                    </a:lnTo>
                    <a:lnTo>
                      <a:pt x="3726327" y="5441775"/>
                    </a:lnTo>
                    <a:lnTo>
                      <a:pt x="3731092" y="5432244"/>
                    </a:lnTo>
                    <a:close/>
                    <a:moveTo>
                      <a:pt x="3697737" y="5422714"/>
                    </a:moveTo>
                    <a:lnTo>
                      <a:pt x="3707267" y="5422714"/>
                    </a:lnTo>
                    <a:lnTo>
                      <a:pt x="3712032" y="5432244"/>
                    </a:lnTo>
                    <a:lnTo>
                      <a:pt x="3697737" y="5446539"/>
                    </a:lnTo>
                    <a:lnTo>
                      <a:pt x="3673912" y="5470365"/>
                    </a:lnTo>
                    <a:lnTo>
                      <a:pt x="3659616" y="5475130"/>
                    </a:lnTo>
                    <a:lnTo>
                      <a:pt x="3659616" y="5470365"/>
                    </a:lnTo>
                    <a:lnTo>
                      <a:pt x="3659616" y="5460835"/>
                    </a:lnTo>
                    <a:lnTo>
                      <a:pt x="3664381" y="5451305"/>
                    </a:lnTo>
                    <a:lnTo>
                      <a:pt x="3683442" y="5437009"/>
                    </a:lnTo>
                    <a:close/>
                    <a:moveTo>
                      <a:pt x="1319938" y="5413184"/>
                    </a:moveTo>
                    <a:lnTo>
                      <a:pt x="1338999" y="5417949"/>
                    </a:lnTo>
                    <a:lnTo>
                      <a:pt x="1353294" y="5413184"/>
                    </a:lnTo>
                    <a:lnTo>
                      <a:pt x="1362824" y="5417949"/>
                    </a:lnTo>
                    <a:lnTo>
                      <a:pt x="1362824" y="5427479"/>
                    </a:lnTo>
                    <a:lnTo>
                      <a:pt x="1343764" y="5441775"/>
                    </a:lnTo>
                    <a:lnTo>
                      <a:pt x="1338999" y="5437010"/>
                    </a:lnTo>
                    <a:lnTo>
                      <a:pt x="1315173" y="5422714"/>
                    </a:lnTo>
                    <a:close/>
                    <a:moveTo>
                      <a:pt x="7085743" y="5370298"/>
                    </a:moveTo>
                    <a:lnTo>
                      <a:pt x="7114334" y="5398889"/>
                    </a:lnTo>
                    <a:lnTo>
                      <a:pt x="7123864" y="5413184"/>
                    </a:lnTo>
                    <a:lnTo>
                      <a:pt x="7128629" y="5432245"/>
                    </a:lnTo>
                    <a:lnTo>
                      <a:pt x="7114334" y="5437010"/>
                    </a:lnTo>
                    <a:lnTo>
                      <a:pt x="7104803" y="5441775"/>
                    </a:lnTo>
                    <a:lnTo>
                      <a:pt x="7100038" y="5446540"/>
                    </a:lnTo>
                    <a:lnTo>
                      <a:pt x="7095273" y="5446540"/>
                    </a:lnTo>
                    <a:lnTo>
                      <a:pt x="7076213" y="5446540"/>
                    </a:lnTo>
                    <a:lnTo>
                      <a:pt x="7071447" y="5446540"/>
                    </a:lnTo>
                    <a:lnTo>
                      <a:pt x="7066682" y="5432245"/>
                    </a:lnTo>
                    <a:lnTo>
                      <a:pt x="7071447" y="5422714"/>
                    </a:lnTo>
                    <a:lnTo>
                      <a:pt x="7076213" y="5413184"/>
                    </a:lnTo>
                    <a:lnTo>
                      <a:pt x="7080978" y="5398889"/>
                    </a:lnTo>
                    <a:close/>
                    <a:moveTo>
                      <a:pt x="6880842" y="5327412"/>
                    </a:moveTo>
                    <a:lnTo>
                      <a:pt x="6895138" y="5336942"/>
                    </a:lnTo>
                    <a:lnTo>
                      <a:pt x="6904668" y="5346472"/>
                    </a:lnTo>
                    <a:lnTo>
                      <a:pt x="6904668" y="5356003"/>
                    </a:lnTo>
                    <a:lnTo>
                      <a:pt x="6914198" y="5375063"/>
                    </a:lnTo>
                    <a:lnTo>
                      <a:pt x="6928494" y="5370298"/>
                    </a:lnTo>
                    <a:lnTo>
                      <a:pt x="6938024" y="5389359"/>
                    </a:lnTo>
                    <a:lnTo>
                      <a:pt x="6942789" y="5408419"/>
                    </a:lnTo>
                    <a:lnTo>
                      <a:pt x="6938024" y="5422714"/>
                    </a:lnTo>
                    <a:lnTo>
                      <a:pt x="6933259" y="5422714"/>
                    </a:lnTo>
                    <a:lnTo>
                      <a:pt x="6923729" y="5427479"/>
                    </a:lnTo>
                    <a:lnTo>
                      <a:pt x="6923729" y="5456070"/>
                    </a:lnTo>
                    <a:lnTo>
                      <a:pt x="6923729" y="5484661"/>
                    </a:lnTo>
                    <a:lnTo>
                      <a:pt x="6918964" y="5508486"/>
                    </a:lnTo>
                    <a:lnTo>
                      <a:pt x="6914198" y="5537077"/>
                    </a:lnTo>
                    <a:lnTo>
                      <a:pt x="6909433" y="5556138"/>
                    </a:lnTo>
                    <a:lnTo>
                      <a:pt x="6909433" y="5560903"/>
                    </a:lnTo>
                    <a:lnTo>
                      <a:pt x="6904668" y="5565668"/>
                    </a:lnTo>
                    <a:lnTo>
                      <a:pt x="6899903" y="5560903"/>
                    </a:lnTo>
                    <a:lnTo>
                      <a:pt x="6895138" y="5556138"/>
                    </a:lnTo>
                    <a:lnTo>
                      <a:pt x="6885608" y="5570433"/>
                    </a:lnTo>
                    <a:lnTo>
                      <a:pt x="6876077" y="5570433"/>
                    </a:lnTo>
                    <a:lnTo>
                      <a:pt x="6866547" y="5537077"/>
                    </a:lnTo>
                    <a:lnTo>
                      <a:pt x="6871312" y="5475131"/>
                    </a:lnTo>
                    <a:lnTo>
                      <a:pt x="6890373" y="5465600"/>
                    </a:lnTo>
                    <a:lnTo>
                      <a:pt x="6880842" y="5446540"/>
                    </a:lnTo>
                    <a:lnTo>
                      <a:pt x="6857017" y="5427479"/>
                    </a:lnTo>
                    <a:lnTo>
                      <a:pt x="6861782" y="5417949"/>
                    </a:lnTo>
                    <a:lnTo>
                      <a:pt x="6842721" y="5389359"/>
                    </a:lnTo>
                    <a:lnTo>
                      <a:pt x="6842721" y="5379828"/>
                    </a:lnTo>
                    <a:lnTo>
                      <a:pt x="6842721" y="5356003"/>
                    </a:lnTo>
                    <a:lnTo>
                      <a:pt x="6861782" y="5332177"/>
                    </a:lnTo>
                    <a:close/>
                    <a:moveTo>
                      <a:pt x="6923728" y="5289291"/>
                    </a:moveTo>
                    <a:lnTo>
                      <a:pt x="6947553" y="5289291"/>
                    </a:lnTo>
                    <a:lnTo>
                      <a:pt x="6999970" y="5308352"/>
                    </a:lnTo>
                    <a:lnTo>
                      <a:pt x="7014265" y="5317882"/>
                    </a:lnTo>
                    <a:lnTo>
                      <a:pt x="7019030" y="5308352"/>
                    </a:lnTo>
                    <a:lnTo>
                      <a:pt x="7028560" y="5308352"/>
                    </a:lnTo>
                    <a:lnTo>
                      <a:pt x="7047621" y="5317882"/>
                    </a:lnTo>
                    <a:lnTo>
                      <a:pt x="7061916" y="5327412"/>
                    </a:lnTo>
                    <a:lnTo>
                      <a:pt x="7066681" y="5341707"/>
                    </a:lnTo>
                    <a:lnTo>
                      <a:pt x="7066681" y="5351238"/>
                    </a:lnTo>
                    <a:lnTo>
                      <a:pt x="7066681" y="5370298"/>
                    </a:lnTo>
                    <a:lnTo>
                      <a:pt x="7066681" y="5389359"/>
                    </a:lnTo>
                    <a:lnTo>
                      <a:pt x="7066681" y="5403654"/>
                    </a:lnTo>
                    <a:lnTo>
                      <a:pt x="7061916" y="5408419"/>
                    </a:lnTo>
                    <a:lnTo>
                      <a:pt x="7057151" y="5417950"/>
                    </a:lnTo>
                    <a:lnTo>
                      <a:pt x="7052386" y="5417950"/>
                    </a:lnTo>
                    <a:lnTo>
                      <a:pt x="7038091" y="5398889"/>
                    </a:lnTo>
                    <a:lnTo>
                      <a:pt x="7019030" y="5370298"/>
                    </a:lnTo>
                    <a:lnTo>
                      <a:pt x="7009500" y="5360768"/>
                    </a:lnTo>
                    <a:lnTo>
                      <a:pt x="7009500" y="5370298"/>
                    </a:lnTo>
                    <a:lnTo>
                      <a:pt x="7023795" y="5389359"/>
                    </a:lnTo>
                    <a:lnTo>
                      <a:pt x="7023795" y="5398889"/>
                    </a:lnTo>
                    <a:lnTo>
                      <a:pt x="7033325" y="5408419"/>
                    </a:lnTo>
                    <a:lnTo>
                      <a:pt x="7033325" y="5422715"/>
                    </a:lnTo>
                    <a:lnTo>
                      <a:pt x="7038091" y="5432245"/>
                    </a:lnTo>
                    <a:lnTo>
                      <a:pt x="7038091" y="5441775"/>
                    </a:lnTo>
                    <a:lnTo>
                      <a:pt x="7033325" y="5451306"/>
                    </a:lnTo>
                    <a:lnTo>
                      <a:pt x="7033325" y="5460836"/>
                    </a:lnTo>
                    <a:lnTo>
                      <a:pt x="7023795" y="5460836"/>
                    </a:lnTo>
                    <a:lnTo>
                      <a:pt x="6999970" y="5460836"/>
                    </a:lnTo>
                    <a:lnTo>
                      <a:pt x="6985674" y="5465601"/>
                    </a:lnTo>
                    <a:lnTo>
                      <a:pt x="6966614" y="5460836"/>
                    </a:lnTo>
                    <a:lnTo>
                      <a:pt x="6961849" y="5456071"/>
                    </a:lnTo>
                    <a:lnTo>
                      <a:pt x="6957084" y="5446540"/>
                    </a:lnTo>
                    <a:lnTo>
                      <a:pt x="6957084" y="5422715"/>
                    </a:lnTo>
                    <a:lnTo>
                      <a:pt x="6952318" y="5394124"/>
                    </a:lnTo>
                    <a:lnTo>
                      <a:pt x="6952318" y="5365533"/>
                    </a:lnTo>
                    <a:lnTo>
                      <a:pt x="6942788" y="5346473"/>
                    </a:lnTo>
                    <a:lnTo>
                      <a:pt x="6933258" y="5332177"/>
                    </a:lnTo>
                    <a:lnTo>
                      <a:pt x="6914197" y="5317882"/>
                    </a:lnTo>
                    <a:lnTo>
                      <a:pt x="6904667" y="5308352"/>
                    </a:lnTo>
                    <a:lnTo>
                      <a:pt x="6909432" y="5298821"/>
                    </a:lnTo>
                    <a:close/>
                    <a:moveTo>
                      <a:pt x="3893108" y="5255935"/>
                    </a:moveTo>
                    <a:lnTo>
                      <a:pt x="3945524" y="5260700"/>
                    </a:lnTo>
                    <a:lnTo>
                      <a:pt x="3950289" y="5265465"/>
                    </a:lnTo>
                    <a:lnTo>
                      <a:pt x="3950289" y="5270230"/>
                    </a:lnTo>
                    <a:lnTo>
                      <a:pt x="3945524" y="5270230"/>
                    </a:lnTo>
                    <a:lnTo>
                      <a:pt x="3935994" y="5274995"/>
                    </a:lnTo>
                    <a:lnTo>
                      <a:pt x="3916933" y="5284526"/>
                    </a:lnTo>
                    <a:lnTo>
                      <a:pt x="3912168" y="5284526"/>
                    </a:lnTo>
                    <a:lnTo>
                      <a:pt x="3897873" y="5303586"/>
                    </a:lnTo>
                    <a:lnTo>
                      <a:pt x="3888343" y="5308351"/>
                    </a:lnTo>
                    <a:lnTo>
                      <a:pt x="3878812" y="5294056"/>
                    </a:lnTo>
                    <a:lnTo>
                      <a:pt x="3878812" y="5270230"/>
                    </a:lnTo>
                    <a:close/>
                    <a:moveTo>
                      <a:pt x="1262759" y="5241640"/>
                    </a:moveTo>
                    <a:lnTo>
                      <a:pt x="1253229" y="5255935"/>
                    </a:lnTo>
                    <a:lnTo>
                      <a:pt x="1238934" y="5270231"/>
                    </a:lnTo>
                    <a:lnTo>
                      <a:pt x="1224638" y="5265466"/>
                    </a:lnTo>
                    <a:lnTo>
                      <a:pt x="1219873" y="5255935"/>
                    </a:lnTo>
                    <a:lnTo>
                      <a:pt x="1219873" y="5251170"/>
                    </a:lnTo>
                    <a:close/>
                    <a:moveTo>
                      <a:pt x="6675941" y="5155867"/>
                    </a:moveTo>
                    <a:lnTo>
                      <a:pt x="6695002" y="5155867"/>
                    </a:lnTo>
                    <a:lnTo>
                      <a:pt x="6728358" y="5184458"/>
                    </a:lnTo>
                    <a:lnTo>
                      <a:pt x="6737888" y="5189223"/>
                    </a:lnTo>
                    <a:lnTo>
                      <a:pt x="6752183" y="5208283"/>
                    </a:lnTo>
                    <a:lnTo>
                      <a:pt x="6766479" y="5241639"/>
                    </a:lnTo>
                    <a:lnTo>
                      <a:pt x="6776009" y="5265465"/>
                    </a:lnTo>
                    <a:lnTo>
                      <a:pt x="6785540" y="5294056"/>
                    </a:lnTo>
                    <a:lnTo>
                      <a:pt x="6799835" y="5356002"/>
                    </a:lnTo>
                    <a:lnTo>
                      <a:pt x="6804600" y="5375063"/>
                    </a:lnTo>
                    <a:lnTo>
                      <a:pt x="6804600" y="5389358"/>
                    </a:lnTo>
                    <a:lnTo>
                      <a:pt x="6809365" y="5422714"/>
                    </a:lnTo>
                    <a:lnTo>
                      <a:pt x="6804600" y="5427479"/>
                    </a:lnTo>
                    <a:lnTo>
                      <a:pt x="6799835" y="5437009"/>
                    </a:lnTo>
                    <a:lnTo>
                      <a:pt x="6799835" y="5446540"/>
                    </a:lnTo>
                    <a:lnTo>
                      <a:pt x="6804600" y="5470365"/>
                    </a:lnTo>
                    <a:lnTo>
                      <a:pt x="6804600" y="5508486"/>
                    </a:lnTo>
                    <a:lnTo>
                      <a:pt x="6799835" y="5527547"/>
                    </a:lnTo>
                    <a:lnTo>
                      <a:pt x="6795070" y="5532312"/>
                    </a:lnTo>
                    <a:lnTo>
                      <a:pt x="6785540" y="5522782"/>
                    </a:lnTo>
                    <a:lnTo>
                      <a:pt x="6776009" y="5513251"/>
                    </a:lnTo>
                    <a:lnTo>
                      <a:pt x="6771244" y="5503721"/>
                    </a:lnTo>
                    <a:lnTo>
                      <a:pt x="6756949" y="5465600"/>
                    </a:lnTo>
                    <a:lnTo>
                      <a:pt x="6752183" y="5446540"/>
                    </a:lnTo>
                    <a:lnTo>
                      <a:pt x="6747418" y="5432244"/>
                    </a:lnTo>
                    <a:lnTo>
                      <a:pt x="6752183" y="5422714"/>
                    </a:lnTo>
                    <a:lnTo>
                      <a:pt x="6756949" y="5417949"/>
                    </a:lnTo>
                    <a:lnTo>
                      <a:pt x="6766479" y="5403654"/>
                    </a:lnTo>
                    <a:lnTo>
                      <a:pt x="6756949" y="5403654"/>
                    </a:lnTo>
                    <a:lnTo>
                      <a:pt x="6742653" y="5408419"/>
                    </a:lnTo>
                    <a:lnTo>
                      <a:pt x="6733123" y="5394123"/>
                    </a:lnTo>
                    <a:lnTo>
                      <a:pt x="6723593" y="5389358"/>
                    </a:lnTo>
                    <a:lnTo>
                      <a:pt x="6723593" y="5365533"/>
                    </a:lnTo>
                    <a:lnTo>
                      <a:pt x="6723593" y="5360767"/>
                    </a:lnTo>
                    <a:lnTo>
                      <a:pt x="6704532" y="5365533"/>
                    </a:lnTo>
                    <a:lnTo>
                      <a:pt x="6695002" y="5360767"/>
                    </a:lnTo>
                    <a:lnTo>
                      <a:pt x="6695002" y="5351237"/>
                    </a:lnTo>
                    <a:lnTo>
                      <a:pt x="6695002" y="5341707"/>
                    </a:lnTo>
                    <a:lnTo>
                      <a:pt x="6699767" y="5327412"/>
                    </a:lnTo>
                    <a:lnTo>
                      <a:pt x="6714062" y="5303586"/>
                    </a:lnTo>
                    <a:lnTo>
                      <a:pt x="6714062" y="5294056"/>
                    </a:lnTo>
                    <a:lnTo>
                      <a:pt x="6704532" y="5294056"/>
                    </a:lnTo>
                    <a:lnTo>
                      <a:pt x="6695002" y="5284525"/>
                    </a:lnTo>
                    <a:lnTo>
                      <a:pt x="6690237" y="5255935"/>
                    </a:lnTo>
                    <a:lnTo>
                      <a:pt x="6675941" y="5236874"/>
                    </a:lnTo>
                    <a:lnTo>
                      <a:pt x="6666411" y="5241639"/>
                    </a:lnTo>
                    <a:lnTo>
                      <a:pt x="6652116" y="5289291"/>
                    </a:lnTo>
                    <a:lnTo>
                      <a:pt x="6642585" y="5298821"/>
                    </a:lnTo>
                    <a:lnTo>
                      <a:pt x="6618760" y="5308351"/>
                    </a:lnTo>
                    <a:lnTo>
                      <a:pt x="6623525" y="5294056"/>
                    </a:lnTo>
                    <a:lnTo>
                      <a:pt x="6628290" y="5279760"/>
                    </a:lnTo>
                    <a:lnTo>
                      <a:pt x="6618760" y="5241639"/>
                    </a:lnTo>
                    <a:lnTo>
                      <a:pt x="6618760" y="5227344"/>
                    </a:lnTo>
                    <a:lnTo>
                      <a:pt x="6623525" y="5217814"/>
                    </a:lnTo>
                    <a:lnTo>
                      <a:pt x="6642585" y="5213049"/>
                    </a:lnTo>
                    <a:lnTo>
                      <a:pt x="6647351" y="5208283"/>
                    </a:lnTo>
                    <a:lnTo>
                      <a:pt x="6656881" y="5198753"/>
                    </a:lnTo>
                    <a:lnTo>
                      <a:pt x="6656881" y="5189223"/>
                    </a:lnTo>
                    <a:lnTo>
                      <a:pt x="6671176" y="5160632"/>
                    </a:lnTo>
                    <a:close/>
                    <a:moveTo>
                      <a:pt x="3912167" y="5027209"/>
                    </a:moveTo>
                    <a:lnTo>
                      <a:pt x="3945523" y="5036739"/>
                    </a:lnTo>
                    <a:lnTo>
                      <a:pt x="3959819" y="5051035"/>
                    </a:lnTo>
                    <a:lnTo>
                      <a:pt x="3950288" y="5070095"/>
                    </a:lnTo>
                    <a:lnTo>
                      <a:pt x="3950288" y="5089156"/>
                    </a:lnTo>
                    <a:lnTo>
                      <a:pt x="3959819" y="5084390"/>
                    </a:lnTo>
                    <a:lnTo>
                      <a:pt x="3983644" y="5070095"/>
                    </a:lnTo>
                    <a:lnTo>
                      <a:pt x="3997940" y="5065330"/>
                    </a:lnTo>
                    <a:lnTo>
                      <a:pt x="4012235" y="5060565"/>
                    </a:lnTo>
                    <a:lnTo>
                      <a:pt x="4026530" y="5070095"/>
                    </a:lnTo>
                    <a:lnTo>
                      <a:pt x="4026530" y="5074860"/>
                    </a:lnTo>
                    <a:lnTo>
                      <a:pt x="4026530" y="5084390"/>
                    </a:lnTo>
                    <a:lnTo>
                      <a:pt x="4017000" y="5098686"/>
                    </a:lnTo>
                    <a:lnTo>
                      <a:pt x="4017000" y="5108216"/>
                    </a:lnTo>
                    <a:lnTo>
                      <a:pt x="4026530" y="5122511"/>
                    </a:lnTo>
                    <a:lnTo>
                      <a:pt x="4055121" y="5132042"/>
                    </a:lnTo>
                    <a:lnTo>
                      <a:pt x="4059886" y="5136807"/>
                    </a:lnTo>
                    <a:lnTo>
                      <a:pt x="4059886" y="5141572"/>
                    </a:lnTo>
                    <a:lnTo>
                      <a:pt x="4040826" y="5170163"/>
                    </a:lnTo>
                    <a:lnTo>
                      <a:pt x="4031296" y="5174928"/>
                    </a:lnTo>
                    <a:lnTo>
                      <a:pt x="4026530" y="5179693"/>
                    </a:lnTo>
                    <a:lnTo>
                      <a:pt x="3993175" y="5174928"/>
                    </a:lnTo>
                    <a:lnTo>
                      <a:pt x="3959819" y="5165398"/>
                    </a:lnTo>
                    <a:lnTo>
                      <a:pt x="3950288" y="5165398"/>
                    </a:lnTo>
                    <a:lnTo>
                      <a:pt x="3945523" y="5165398"/>
                    </a:lnTo>
                    <a:lnTo>
                      <a:pt x="3935993" y="5174928"/>
                    </a:lnTo>
                    <a:lnTo>
                      <a:pt x="3940758" y="5174928"/>
                    </a:lnTo>
                    <a:lnTo>
                      <a:pt x="3969349" y="5179693"/>
                    </a:lnTo>
                    <a:lnTo>
                      <a:pt x="3978879" y="5189223"/>
                    </a:lnTo>
                    <a:lnTo>
                      <a:pt x="3983644" y="5198753"/>
                    </a:lnTo>
                    <a:lnTo>
                      <a:pt x="3983644" y="5208284"/>
                    </a:lnTo>
                    <a:lnTo>
                      <a:pt x="3978879" y="5213049"/>
                    </a:lnTo>
                    <a:lnTo>
                      <a:pt x="3969349" y="5217814"/>
                    </a:lnTo>
                    <a:lnTo>
                      <a:pt x="3955054" y="5217814"/>
                    </a:lnTo>
                    <a:lnTo>
                      <a:pt x="3935993" y="5227344"/>
                    </a:lnTo>
                    <a:lnTo>
                      <a:pt x="3926463" y="5241640"/>
                    </a:lnTo>
                    <a:lnTo>
                      <a:pt x="3893107" y="5246405"/>
                    </a:lnTo>
                    <a:lnTo>
                      <a:pt x="3864516" y="5260700"/>
                    </a:lnTo>
                    <a:lnTo>
                      <a:pt x="3854986" y="5270230"/>
                    </a:lnTo>
                    <a:lnTo>
                      <a:pt x="3854986" y="5279761"/>
                    </a:lnTo>
                    <a:lnTo>
                      <a:pt x="3845456" y="5289291"/>
                    </a:lnTo>
                    <a:lnTo>
                      <a:pt x="3821630" y="5294056"/>
                    </a:lnTo>
                    <a:lnTo>
                      <a:pt x="3835926" y="5303586"/>
                    </a:lnTo>
                    <a:lnTo>
                      <a:pt x="3835926" y="5308351"/>
                    </a:lnTo>
                    <a:lnTo>
                      <a:pt x="3835926" y="5313116"/>
                    </a:lnTo>
                    <a:lnTo>
                      <a:pt x="3835926" y="5322647"/>
                    </a:lnTo>
                    <a:lnTo>
                      <a:pt x="3816865" y="5351237"/>
                    </a:lnTo>
                    <a:lnTo>
                      <a:pt x="3783509" y="5375063"/>
                    </a:lnTo>
                    <a:lnTo>
                      <a:pt x="3773979" y="5375063"/>
                    </a:lnTo>
                    <a:lnTo>
                      <a:pt x="3769214" y="5370298"/>
                    </a:lnTo>
                    <a:lnTo>
                      <a:pt x="3769214" y="5365533"/>
                    </a:lnTo>
                    <a:lnTo>
                      <a:pt x="3769214" y="5360768"/>
                    </a:lnTo>
                    <a:lnTo>
                      <a:pt x="3812100" y="5313116"/>
                    </a:lnTo>
                    <a:lnTo>
                      <a:pt x="3812100" y="5308351"/>
                    </a:lnTo>
                    <a:lnTo>
                      <a:pt x="3797805" y="5308351"/>
                    </a:lnTo>
                    <a:lnTo>
                      <a:pt x="3778744" y="5294056"/>
                    </a:lnTo>
                    <a:lnTo>
                      <a:pt x="3764449" y="5303586"/>
                    </a:lnTo>
                    <a:lnTo>
                      <a:pt x="3769214" y="5294056"/>
                    </a:lnTo>
                    <a:lnTo>
                      <a:pt x="3773979" y="5279761"/>
                    </a:lnTo>
                    <a:lnTo>
                      <a:pt x="3773979" y="5274995"/>
                    </a:lnTo>
                    <a:lnTo>
                      <a:pt x="3769214" y="5270230"/>
                    </a:lnTo>
                    <a:lnTo>
                      <a:pt x="3759684" y="5270230"/>
                    </a:lnTo>
                    <a:lnTo>
                      <a:pt x="3740623" y="5270230"/>
                    </a:lnTo>
                    <a:lnTo>
                      <a:pt x="3731093" y="5270230"/>
                    </a:lnTo>
                    <a:lnTo>
                      <a:pt x="3721563" y="5279761"/>
                    </a:lnTo>
                    <a:lnTo>
                      <a:pt x="3735858" y="5279761"/>
                    </a:lnTo>
                    <a:lnTo>
                      <a:pt x="3740623" y="5284526"/>
                    </a:lnTo>
                    <a:lnTo>
                      <a:pt x="3745388" y="5289291"/>
                    </a:lnTo>
                    <a:lnTo>
                      <a:pt x="3750153" y="5298821"/>
                    </a:lnTo>
                    <a:lnTo>
                      <a:pt x="3750153" y="5308351"/>
                    </a:lnTo>
                    <a:lnTo>
                      <a:pt x="3745388" y="5317882"/>
                    </a:lnTo>
                    <a:lnTo>
                      <a:pt x="3740623" y="5336942"/>
                    </a:lnTo>
                    <a:lnTo>
                      <a:pt x="3726328" y="5332177"/>
                    </a:lnTo>
                    <a:lnTo>
                      <a:pt x="3702502" y="5298821"/>
                    </a:lnTo>
                    <a:lnTo>
                      <a:pt x="3688207" y="5251170"/>
                    </a:lnTo>
                    <a:lnTo>
                      <a:pt x="3669146" y="5213049"/>
                    </a:lnTo>
                    <a:lnTo>
                      <a:pt x="3669146" y="5203519"/>
                    </a:lnTo>
                    <a:lnTo>
                      <a:pt x="3673911" y="5179693"/>
                    </a:lnTo>
                    <a:lnTo>
                      <a:pt x="3697737" y="5146337"/>
                    </a:lnTo>
                    <a:lnTo>
                      <a:pt x="3721563" y="5136807"/>
                    </a:lnTo>
                    <a:lnTo>
                      <a:pt x="3735858" y="5127277"/>
                    </a:lnTo>
                    <a:lnTo>
                      <a:pt x="3750153" y="5122511"/>
                    </a:lnTo>
                    <a:lnTo>
                      <a:pt x="3759684" y="5122511"/>
                    </a:lnTo>
                    <a:lnTo>
                      <a:pt x="3773979" y="5127277"/>
                    </a:lnTo>
                    <a:lnTo>
                      <a:pt x="3778744" y="5141572"/>
                    </a:lnTo>
                    <a:lnTo>
                      <a:pt x="3778744" y="5146337"/>
                    </a:lnTo>
                    <a:lnTo>
                      <a:pt x="3778744" y="5151102"/>
                    </a:lnTo>
                    <a:lnTo>
                      <a:pt x="3788274" y="5155867"/>
                    </a:lnTo>
                    <a:lnTo>
                      <a:pt x="3797805" y="5184458"/>
                    </a:lnTo>
                    <a:lnTo>
                      <a:pt x="3812100" y="5208284"/>
                    </a:lnTo>
                    <a:lnTo>
                      <a:pt x="3816865" y="5217814"/>
                    </a:lnTo>
                    <a:lnTo>
                      <a:pt x="3826395" y="5222579"/>
                    </a:lnTo>
                    <a:lnTo>
                      <a:pt x="3816865" y="5203519"/>
                    </a:lnTo>
                    <a:lnTo>
                      <a:pt x="3812100" y="5179693"/>
                    </a:lnTo>
                    <a:lnTo>
                      <a:pt x="3807335" y="5136807"/>
                    </a:lnTo>
                    <a:lnTo>
                      <a:pt x="3802570" y="5127277"/>
                    </a:lnTo>
                    <a:lnTo>
                      <a:pt x="3812100" y="5122511"/>
                    </a:lnTo>
                    <a:lnTo>
                      <a:pt x="3826395" y="5122511"/>
                    </a:lnTo>
                    <a:lnTo>
                      <a:pt x="3826395" y="5117746"/>
                    </a:lnTo>
                    <a:lnTo>
                      <a:pt x="3807335" y="5103451"/>
                    </a:lnTo>
                    <a:lnTo>
                      <a:pt x="3797805" y="5089156"/>
                    </a:lnTo>
                    <a:lnTo>
                      <a:pt x="3793039" y="5079625"/>
                    </a:lnTo>
                    <a:lnTo>
                      <a:pt x="3793039" y="5070095"/>
                    </a:lnTo>
                    <a:lnTo>
                      <a:pt x="3802570" y="5060565"/>
                    </a:lnTo>
                    <a:lnTo>
                      <a:pt x="3812100" y="5055800"/>
                    </a:lnTo>
                    <a:lnTo>
                      <a:pt x="3816865" y="5055800"/>
                    </a:lnTo>
                    <a:lnTo>
                      <a:pt x="3826395" y="5055800"/>
                    </a:lnTo>
                    <a:lnTo>
                      <a:pt x="3831160" y="5060565"/>
                    </a:lnTo>
                    <a:lnTo>
                      <a:pt x="3845456" y="5089156"/>
                    </a:lnTo>
                    <a:lnTo>
                      <a:pt x="3854986" y="5098686"/>
                    </a:lnTo>
                    <a:lnTo>
                      <a:pt x="3859751" y="5098686"/>
                    </a:lnTo>
                    <a:lnTo>
                      <a:pt x="3864516" y="5093921"/>
                    </a:lnTo>
                    <a:lnTo>
                      <a:pt x="3869281" y="5084390"/>
                    </a:lnTo>
                    <a:lnTo>
                      <a:pt x="3874046" y="5079625"/>
                    </a:lnTo>
                    <a:lnTo>
                      <a:pt x="3878812" y="5074860"/>
                    </a:lnTo>
                    <a:lnTo>
                      <a:pt x="3897872" y="5079625"/>
                    </a:lnTo>
                    <a:lnTo>
                      <a:pt x="3902637" y="5079625"/>
                    </a:lnTo>
                    <a:lnTo>
                      <a:pt x="3902637" y="5070095"/>
                    </a:lnTo>
                    <a:lnTo>
                      <a:pt x="3902637" y="5060565"/>
                    </a:lnTo>
                    <a:lnTo>
                      <a:pt x="3907402" y="5055800"/>
                    </a:lnTo>
                    <a:lnTo>
                      <a:pt x="3907402" y="5046269"/>
                    </a:lnTo>
                    <a:lnTo>
                      <a:pt x="3902637" y="5031974"/>
                    </a:lnTo>
                    <a:close/>
                    <a:moveTo>
                      <a:pt x="3859751" y="5027209"/>
                    </a:moveTo>
                    <a:lnTo>
                      <a:pt x="3883577" y="5036739"/>
                    </a:lnTo>
                    <a:lnTo>
                      <a:pt x="3888342" y="5051035"/>
                    </a:lnTo>
                    <a:lnTo>
                      <a:pt x="3897872" y="5060565"/>
                    </a:lnTo>
                    <a:lnTo>
                      <a:pt x="3893107" y="5070095"/>
                    </a:lnTo>
                    <a:lnTo>
                      <a:pt x="3888342" y="5070095"/>
                    </a:lnTo>
                    <a:lnTo>
                      <a:pt x="3878812" y="5060565"/>
                    </a:lnTo>
                    <a:lnTo>
                      <a:pt x="3864516" y="5046269"/>
                    </a:lnTo>
                    <a:lnTo>
                      <a:pt x="3854986" y="5036739"/>
                    </a:lnTo>
                    <a:lnTo>
                      <a:pt x="3854986" y="5031974"/>
                    </a:lnTo>
                    <a:close/>
                    <a:moveTo>
                      <a:pt x="6623525" y="4941437"/>
                    </a:moveTo>
                    <a:lnTo>
                      <a:pt x="6633055" y="4946202"/>
                    </a:lnTo>
                    <a:lnTo>
                      <a:pt x="6656881" y="4974793"/>
                    </a:lnTo>
                    <a:lnTo>
                      <a:pt x="6656881" y="4979558"/>
                    </a:lnTo>
                    <a:lnTo>
                      <a:pt x="6652116" y="5003384"/>
                    </a:lnTo>
                    <a:lnTo>
                      <a:pt x="6637820" y="5008149"/>
                    </a:lnTo>
                    <a:lnTo>
                      <a:pt x="6642585" y="5017679"/>
                    </a:lnTo>
                    <a:lnTo>
                      <a:pt x="6652116" y="5022444"/>
                    </a:lnTo>
                    <a:lnTo>
                      <a:pt x="6656881" y="5017679"/>
                    </a:lnTo>
                    <a:lnTo>
                      <a:pt x="6680706" y="4989088"/>
                    </a:lnTo>
                    <a:lnTo>
                      <a:pt x="6690237" y="4984323"/>
                    </a:lnTo>
                    <a:lnTo>
                      <a:pt x="6695002" y="4984323"/>
                    </a:lnTo>
                    <a:lnTo>
                      <a:pt x="6723593" y="4989088"/>
                    </a:lnTo>
                    <a:lnTo>
                      <a:pt x="6747418" y="5003384"/>
                    </a:lnTo>
                    <a:lnTo>
                      <a:pt x="6752183" y="5012914"/>
                    </a:lnTo>
                    <a:lnTo>
                      <a:pt x="6756949" y="5031975"/>
                    </a:lnTo>
                    <a:lnTo>
                      <a:pt x="6752183" y="5074861"/>
                    </a:lnTo>
                    <a:lnTo>
                      <a:pt x="6733123" y="5079626"/>
                    </a:lnTo>
                    <a:lnTo>
                      <a:pt x="6723593" y="5079626"/>
                    </a:lnTo>
                    <a:lnTo>
                      <a:pt x="6709297" y="5074861"/>
                    </a:lnTo>
                    <a:lnTo>
                      <a:pt x="6695002" y="5089156"/>
                    </a:lnTo>
                    <a:lnTo>
                      <a:pt x="6709297" y="5098686"/>
                    </a:lnTo>
                    <a:lnTo>
                      <a:pt x="6752183" y="5098686"/>
                    </a:lnTo>
                    <a:lnTo>
                      <a:pt x="6761714" y="5122512"/>
                    </a:lnTo>
                    <a:lnTo>
                      <a:pt x="6766479" y="5136808"/>
                    </a:lnTo>
                    <a:lnTo>
                      <a:pt x="6756949" y="5170163"/>
                    </a:lnTo>
                    <a:lnTo>
                      <a:pt x="6733123" y="5160633"/>
                    </a:lnTo>
                    <a:lnTo>
                      <a:pt x="6714062" y="5146338"/>
                    </a:lnTo>
                    <a:lnTo>
                      <a:pt x="6671176" y="5117747"/>
                    </a:lnTo>
                    <a:lnTo>
                      <a:pt x="6656881" y="5117747"/>
                    </a:lnTo>
                    <a:lnTo>
                      <a:pt x="6652116" y="5122512"/>
                    </a:lnTo>
                    <a:lnTo>
                      <a:pt x="6652116" y="5136808"/>
                    </a:lnTo>
                    <a:lnTo>
                      <a:pt x="6652116" y="5170163"/>
                    </a:lnTo>
                    <a:lnTo>
                      <a:pt x="6637820" y="5189224"/>
                    </a:lnTo>
                    <a:lnTo>
                      <a:pt x="6604464" y="5179694"/>
                    </a:lnTo>
                    <a:lnTo>
                      <a:pt x="6590169" y="5155868"/>
                    </a:lnTo>
                    <a:lnTo>
                      <a:pt x="6580639" y="5112982"/>
                    </a:lnTo>
                    <a:lnTo>
                      <a:pt x="6532988" y="5065331"/>
                    </a:lnTo>
                    <a:lnTo>
                      <a:pt x="6518692" y="5055800"/>
                    </a:lnTo>
                    <a:lnTo>
                      <a:pt x="6504397" y="5027209"/>
                    </a:lnTo>
                    <a:lnTo>
                      <a:pt x="6509162" y="5003384"/>
                    </a:lnTo>
                    <a:lnTo>
                      <a:pt x="6509162" y="4989088"/>
                    </a:lnTo>
                    <a:lnTo>
                      <a:pt x="6518692" y="4984323"/>
                    </a:lnTo>
                    <a:lnTo>
                      <a:pt x="6532988" y="4974793"/>
                    </a:lnTo>
                    <a:lnTo>
                      <a:pt x="6542518" y="4955732"/>
                    </a:lnTo>
                    <a:lnTo>
                      <a:pt x="6552048" y="4974793"/>
                    </a:lnTo>
                    <a:lnTo>
                      <a:pt x="6566343" y="4989088"/>
                    </a:lnTo>
                    <a:lnTo>
                      <a:pt x="6566343" y="4974793"/>
                    </a:lnTo>
                    <a:lnTo>
                      <a:pt x="6575874" y="4960498"/>
                    </a:lnTo>
                    <a:lnTo>
                      <a:pt x="6590169" y="4960498"/>
                    </a:lnTo>
                    <a:lnTo>
                      <a:pt x="6599699" y="4955732"/>
                    </a:lnTo>
                    <a:lnTo>
                      <a:pt x="6609230" y="4946202"/>
                    </a:lnTo>
                    <a:close/>
                    <a:moveTo>
                      <a:pt x="6823661" y="4922376"/>
                    </a:moveTo>
                    <a:lnTo>
                      <a:pt x="6842722" y="4931906"/>
                    </a:lnTo>
                    <a:lnTo>
                      <a:pt x="6857017" y="4950967"/>
                    </a:lnTo>
                    <a:lnTo>
                      <a:pt x="6852252" y="4960497"/>
                    </a:lnTo>
                    <a:lnTo>
                      <a:pt x="6833191" y="4955732"/>
                    </a:lnTo>
                    <a:lnTo>
                      <a:pt x="6809366" y="4946202"/>
                    </a:lnTo>
                    <a:lnTo>
                      <a:pt x="6799835" y="4931906"/>
                    </a:lnTo>
                    <a:lnTo>
                      <a:pt x="6799835" y="4927141"/>
                    </a:lnTo>
                    <a:close/>
                    <a:moveTo>
                      <a:pt x="6756948" y="4912846"/>
                    </a:moveTo>
                    <a:lnTo>
                      <a:pt x="6771244" y="4922376"/>
                    </a:lnTo>
                    <a:lnTo>
                      <a:pt x="6790304" y="4950967"/>
                    </a:lnTo>
                    <a:lnTo>
                      <a:pt x="6795069" y="4970027"/>
                    </a:lnTo>
                    <a:lnTo>
                      <a:pt x="6837956" y="4979558"/>
                    </a:lnTo>
                    <a:lnTo>
                      <a:pt x="6866546" y="4974793"/>
                    </a:lnTo>
                    <a:lnTo>
                      <a:pt x="6890372" y="5022444"/>
                    </a:lnTo>
                    <a:lnTo>
                      <a:pt x="6909433" y="5055800"/>
                    </a:lnTo>
                    <a:lnTo>
                      <a:pt x="6918963" y="5079625"/>
                    </a:lnTo>
                    <a:lnTo>
                      <a:pt x="6923728" y="5103451"/>
                    </a:lnTo>
                    <a:lnTo>
                      <a:pt x="6933258" y="5127277"/>
                    </a:lnTo>
                    <a:lnTo>
                      <a:pt x="6928493" y="5132042"/>
                    </a:lnTo>
                    <a:lnTo>
                      <a:pt x="6914198" y="5112981"/>
                    </a:lnTo>
                    <a:lnTo>
                      <a:pt x="6904667" y="5084390"/>
                    </a:lnTo>
                    <a:lnTo>
                      <a:pt x="6899902" y="5070095"/>
                    </a:lnTo>
                    <a:lnTo>
                      <a:pt x="6895137" y="5065330"/>
                    </a:lnTo>
                    <a:lnTo>
                      <a:pt x="6885607" y="5055800"/>
                    </a:lnTo>
                    <a:lnTo>
                      <a:pt x="6876077" y="5022444"/>
                    </a:lnTo>
                    <a:lnTo>
                      <a:pt x="6876077" y="5017679"/>
                    </a:lnTo>
                    <a:lnTo>
                      <a:pt x="6871311" y="5008148"/>
                    </a:lnTo>
                    <a:lnTo>
                      <a:pt x="6861781" y="5003383"/>
                    </a:lnTo>
                    <a:lnTo>
                      <a:pt x="6857016" y="5008148"/>
                    </a:lnTo>
                    <a:lnTo>
                      <a:pt x="6857016" y="5031974"/>
                    </a:lnTo>
                    <a:lnTo>
                      <a:pt x="6861781" y="5051035"/>
                    </a:lnTo>
                    <a:lnTo>
                      <a:pt x="6890372" y="5103451"/>
                    </a:lnTo>
                    <a:lnTo>
                      <a:pt x="6909433" y="5132042"/>
                    </a:lnTo>
                    <a:lnTo>
                      <a:pt x="6914198" y="5141572"/>
                    </a:lnTo>
                    <a:lnTo>
                      <a:pt x="6914198" y="5165398"/>
                    </a:lnTo>
                    <a:lnTo>
                      <a:pt x="6909433" y="5179693"/>
                    </a:lnTo>
                    <a:lnTo>
                      <a:pt x="6918963" y="5203519"/>
                    </a:lnTo>
                    <a:lnTo>
                      <a:pt x="6918963" y="5208284"/>
                    </a:lnTo>
                    <a:lnTo>
                      <a:pt x="6914198" y="5213049"/>
                    </a:lnTo>
                    <a:lnTo>
                      <a:pt x="6890372" y="5222579"/>
                    </a:lnTo>
                    <a:lnTo>
                      <a:pt x="6861781" y="5265465"/>
                    </a:lnTo>
                    <a:lnTo>
                      <a:pt x="6833190" y="5294056"/>
                    </a:lnTo>
                    <a:lnTo>
                      <a:pt x="6823660" y="5298821"/>
                    </a:lnTo>
                    <a:lnTo>
                      <a:pt x="6818895" y="5294056"/>
                    </a:lnTo>
                    <a:lnTo>
                      <a:pt x="6809365" y="5284526"/>
                    </a:lnTo>
                    <a:lnTo>
                      <a:pt x="6809365" y="5270230"/>
                    </a:lnTo>
                    <a:lnTo>
                      <a:pt x="6804600" y="5251170"/>
                    </a:lnTo>
                    <a:lnTo>
                      <a:pt x="6814130" y="5241640"/>
                    </a:lnTo>
                    <a:lnTo>
                      <a:pt x="6828425" y="5189223"/>
                    </a:lnTo>
                    <a:lnTo>
                      <a:pt x="6828425" y="5170163"/>
                    </a:lnTo>
                    <a:lnTo>
                      <a:pt x="6809365" y="5146337"/>
                    </a:lnTo>
                    <a:lnTo>
                      <a:pt x="6799834" y="5127277"/>
                    </a:lnTo>
                    <a:lnTo>
                      <a:pt x="6795069" y="5093921"/>
                    </a:lnTo>
                    <a:lnTo>
                      <a:pt x="6785539" y="5022444"/>
                    </a:lnTo>
                    <a:lnTo>
                      <a:pt x="6780774" y="4993853"/>
                    </a:lnTo>
                    <a:lnTo>
                      <a:pt x="6776009" y="4974793"/>
                    </a:lnTo>
                    <a:lnTo>
                      <a:pt x="6766479" y="4960497"/>
                    </a:lnTo>
                    <a:lnTo>
                      <a:pt x="6761713" y="4941437"/>
                    </a:lnTo>
                    <a:lnTo>
                      <a:pt x="6756948" y="4922376"/>
                    </a:lnTo>
                    <a:close/>
                    <a:moveTo>
                      <a:pt x="3988410" y="4884255"/>
                    </a:moveTo>
                    <a:lnTo>
                      <a:pt x="3997941" y="4889020"/>
                    </a:lnTo>
                    <a:lnTo>
                      <a:pt x="4007471" y="4893785"/>
                    </a:lnTo>
                    <a:lnTo>
                      <a:pt x="4017001" y="4898550"/>
                    </a:lnTo>
                    <a:lnTo>
                      <a:pt x="4026531" y="4912846"/>
                    </a:lnTo>
                    <a:lnTo>
                      <a:pt x="4031296" y="4912846"/>
                    </a:lnTo>
                    <a:lnTo>
                      <a:pt x="4036062" y="4898550"/>
                    </a:lnTo>
                    <a:lnTo>
                      <a:pt x="4040827" y="4898550"/>
                    </a:lnTo>
                    <a:lnTo>
                      <a:pt x="4059887" y="4912846"/>
                    </a:lnTo>
                    <a:lnTo>
                      <a:pt x="4074183" y="4908081"/>
                    </a:lnTo>
                    <a:lnTo>
                      <a:pt x="4078948" y="4927141"/>
                    </a:lnTo>
                    <a:lnTo>
                      <a:pt x="4083713" y="4927141"/>
                    </a:lnTo>
                    <a:lnTo>
                      <a:pt x="4093243" y="4927141"/>
                    </a:lnTo>
                    <a:lnTo>
                      <a:pt x="4098008" y="4927141"/>
                    </a:lnTo>
                    <a:lnTo>
                      <a:pt x="4093243" y="4946202"/>
                    </a:lnTo>
                    <a:lnTo>
                      <a:pt x="4078948" y="4965262"/>
                    </a:lnTo>
                    <a:lnTo>
                      <a:pt x="4074183" y="4970027"/>
                    </a:lnTo>
                    <a:lnTo>
                      <a:pt x="4064652" y="4965262"/>
                    </a:lnTo>
                    <a:lnTo>
                      <a:pt x="4055122" y="4955732"/>
                    </a:lnTo>
                    <a:lnTo>
                      <a:pt x="4050357" y="4946202"/>
                    </a:lnTo>
                    <a:lnTo>
                      <a:pt x="4040827" y="4955732"/>
                    </a:lnTo>
                    <a:lnTo>
                      <a:pt x="4040827" y="4965262"/>
                    </a:lnTo>
                    <a:lnTo>
                      <a:pt x="4045592" y="4974793"/>
                    </a:lnTo>
                    <a:lnTo>
                      <a:pt x="4045592" y="4979558"/>
                    </a:lnTo>
                    <a:lnTo>
                      <a:pt x="4031296" y="4979558"/>
                    </a:lnTo>
                    <a:lnTo>
                      <a:pt x="4021766" y="4979558"/>
                    </a:lnTo>
                    <a:lnTo>
                      <a:pt x="4007471" y="4989088"/>
                    </a:lnTo>
                    <a:lnTo>
                      <a:pt x="4002706" y="4984323"/>
                    </a:lnTo>
                    <a:lnTo>
                      <a:pt x="4002706" y="4970027"/>
                    </a:lnTo>
                    <a:lnTo>
                      <a:pt x="3997941" y="4970027"/>
                    </a:lnTo>
                    <a:lnTo>
                      <a:pt x="3993175" y="4989088"/>
                    </a:lnTo>
                    <a:lnTo>
                      <a:pt x="3983645" y="4998618"/>
                    </a:lnTo>
                    <a:lnTo>
                      <a:pt x="3974115" y="5008149"/>
                    </a:lnTo>
                    <a:lnTo>
                      <a:pt x="3969350" y="5012914"/>
                    </a:lnTo>
                    <a:lnTo>
                      <a:pt x="3959819" y="5012914"/>
                    </a:lnTo>
                    <a:lnTo>
                      <a:pt x="3945524" y="5022444"/>
                    </a:lnTo>
                    <a:lnTo>
                      <a:pt x="3940759" y="5017679"/>
                    </a:lnTo>
                    <a:lnTo>
                      <a:pt x="3888343" y="4998618"/>
                    </a:lnTo>
                    <a:lnTo>
                      <a:pt x="3878812" y="4993853"/>
                    </a:lnTo>
                    <a:lnTo>
                      <a:pt x="3916933" y="4946202"/>
                    </a:lnTo>
                    <a:lnTo>
                      <a:pt x="3940759" y="4931906"/>
                    </a:lnTo>
                    <a:lnTo>
                      <a:pt x="3950289" y="4931906"/>
                    </a:lnTo>
                    <a:lnTo>
                      <a:pt x="3964585" y="4936672"/>
                    </a:lnTo>
                    <a:lnTo>
                      <a:pt x="3969350" y="4936672"/>
                    </a:lnTo>
                    <a:lnTo>
                      <a:pt x="3969350" y="4917611"/>
                    </a:lnTo>
                    <a:lnTo>
                      <a:pt x="3959819" y="4903316"/>
                    </a:lnTo>
                    <a:lnTo>
                      <a:pt x="3959819" y="4893785"/>
                    </a:lnTo>
                    <a:close/>
                    <a:moveTo>
                      <a:pt x="4021766" y="4836604"/>
                    </a:moveTo>
                    <a:lnTo>
                      <a:pt x="4031296" y="4836604"/>
                    </a:lnTo>
                    <a:lnTo>
                      <a:pt x="4036061" y="4836604"/>
                    </a:lnTo>
                    <a:lnTo>
                      <a:pt x="4036061" y="4841369"/>
                    </a:lnTo>
                    <a:lnTo>
                      <a:pt x="4036061" y="4850899"/>
                    </a:lnTo>
                    <a:lnTo>
                      <a:pt x="4031296" y="4860430"/>
                    </a:lnTo>
                    <a:lnTo>
                      <a:pt x="4017001" y="4874725"/>
                    </a:lnTo>
                    <a:lnTo>
                      <a:pt x="4012236" y="4874725"/>
                    </a:lnTo>
                    <a:lnTo>
                      <a:pt x="3997940" y="4865195"/>
                    </a:lnTo>
                    <a:lnTo>
                      <a:pt x="3993175" y="4855665"/>
                    </a:lnTo>
                    <a:lnTo>
                      <a:pt x="3997940" y="4850899"/>
                    </a:lnTo>
                    <a:close/>
                    <a:moveTo>
                      <a:pt x="2730416" y="4779422"/>
                    </a:moveTo>
                    <a:lnTo>
                      <a:pt x="2697060" y="4846134"/>
                    </a:lnTo>
                    <a:lnTo>
                      <a:pt x="2687530" y="4850899"/>
                    </a:lnTo>
                    <a:lnTo>
                      <a:pt x="2673234" y="4850899"/>
                    </a:lnTo>
                    <a:lnTo>
                      <a:pt x="2663704" y="4822308"/>
                    </a:lnTo>
                    <a:lnTo>
                      <a:pt x="2673234" y="4817543"/>
                    </a:lnTo>
                    <a:lnTo>
                      <a:pt x="2687530" y="4798483"/>
                    </a:lnTo>
                    <a:lnTo>
                      <a:pt x="2720886" y="4784187"/>
                    </a:lnTo>
                    <a:close/>
                    <a:moveTo>
                      <a:pt x="5303585" y="4407742"/>
                    </a:moveTo>
                    <a:lnTo>
                      <a:pt x="5303585" y="4417272"/>
                    </a:lnTo>
                    <a:lnTo>
                      <a:pt x="5279759" y="4436333"/>
                    </a:lnTo>
                    <a:lnTo>
                      <a:pt x="5251168" y="4469689"/>
                    </a:lnTo>
                    <a:lnTo>
                      <a:pt x="5246403" y="4469689"/>
                    </a:lnTo>
                    <a:lnTo>
                      <a:pt x="5255934" y="4450628"/>
                    </a:lnTo>
                    <a:lnTo>
                      <a:pt x="5270229" y="4426803"/>
                    </a:lnTo>
                    <a:lnTo>
                      <a:pt x="5284525" y="4412507"/>
                    </a:lnTo>
                    <a:close/>
                    <a:moveTo>
                      <a:pt x="4703179" y="4364856"/>
                    </a:moveTo>
                    <a:lnTo>
                      <a:pt x="4731770" y="4383917"/>
                    </a:lnTo>
                    <a:lnTo>
                      <a:pt x="4712710" y="4393447"/>
                    </a:lnTo>
                    <a:lnTo>
                      <a:pt x="4703179" y="4402977"/>
                    </a:lnTo>
                    <a:lnTo>
                      <a:pt x="4674588" y="4393447"/>
                    </a:lnTo>
                    <a:lnTo>
                      <a:pt x="4679353" y="4379151"/>
                    </a:lnTo>
                    <a:close/>
                    <a:moveTo>
                      <a:pt x="4846132" y="4298144"/>
                    </a:moveTo>
                    <a:lnTo>
                      <a:pt x="4855663" y="4298144"/>
                    </a:lnTo>
                    <a:lnTo>
                      <a:pt x="4869958" y="4307674"/>
                    </a:lnTo>
                    <a:lnTo>
                      <a:pt x="4879488" y="4321970"/>
                    </a:lnTo>
                    <a:lnTo>
                      <a:pt x="4874723" y="4331500"/>
                    </a:lnTo>
                    <a:lnTo>
                      <a:pt x="4822307" y="4388682"/>
                    </a:lnTo>
                    <a:lnTo>
                      <a:pt x="4817542" y="4393447"/>
                    </a:lnTo>
                    <a:lnTo>
                      <a:pt x="4812776" y="4412507"/>
                    </a:lnTo>
                    <a:lnTo>
                      <a:pt x="4808011" y="4422038"/>
                    </a:lnTo>
                    <a:lnTo>
                      <a:pt x="4803246" y="4426803"/>
                    </a:lnTo>
                    <a:lnTo>
                      <a:pt x="4798481" y="4431568"/>
                    </a:lnTo>
                    <a:lnTo>
                      <a:pt x="4793716" y="4445863"/>
                    </a:lnTo>
                    <a:lnTo>
                      <a:pt x="4788951" y="4455393"/>
                    </a:lnTo>
                    <a:lnTo>
                      <a:pt x="4779420" y="4455393"/>
                    </a:lnTo>
                    <a:lnTo>
                      <a:pt x="4769890" y="4460159"/>
                    </a:lnTo>
                    <a:lnTo>
                      <a:pt x="4769890" y="4464924"/>
                    </a:lnTo>
                    <a:lnTo>
                      <a:pt x="4760360" y="4469689"/>
                    </a:lnTo>
                    <a:lnTo>
                      <a:pt x="4741299" y="4474454"/>
                    </a:lnTo>
                    <a:lnTo>
                      <a:pt x="4736534" y="4464924"/>
                    </a:lnTo>
                    <a:lnTo>
                      <a:pt x="4746065" y="4441098"/>
                    </a:lnTo>
                    <a:lnTo>
                      <a:pt x="4750830" y="4431568"/>
                    </a:lnTo>
                    <a:lnTo>
                      <a:pt x="4760360" y="4426803"/>
                    </a:lnTo>
                    <a:lnTo>
                      <a:pt x="4779420" y="4402977"/>
                    </a:lnTo>
                    <a:lnTo>
                      <a:pt x="4798481" y="4383916"/>
                    </a:lnTo>
                    <a:lnTo>
                      <a:pt x="4822307" y="4355326"/>
                    </a:lnTo>
                    <a:lnTo>
                      <a:pt x="4841367" y="4312439"/>
                    </a:lnTo>
                    <a:close/>
                    <a:moveTo>
                      <a:pt x="1867928" y="4288614"/>
                    </a:moveTo>
                    <a:lnTo>
                      <a:pt x="1877459" y="4288614"/>
                    </a:lnTo>
                    <a:lnTo>
                      <a:pt x="1882224" y="4293379"/>
                    </a:lnTo>
                    <a:lnTo>
                      <a:pt x="1896519" y="4307674"/>
                    </a:lnTo>
                    <a:lnTo>
                      <a:pt x="1906050" y="4307674"/>
                    </a:lnTo>
                    <a:lnTo>
                      <a:pt x="1929875" y="4302909"/>
                    </a:lnTo>
                    <a:lnTo>
                      <a:pt x="1939405" y="4307674"/>
                    </a:lnTo>
                    <a:lnTo>
                      <a:pt x="1948936" y="4312440"/>
                    </a:lnTo>
                    <a:lnTo>
                      <a:pt x="1953701" y="4321970"/>
                    </a:lnTo>
                    <a:lnTo>
                      <a:pt x="1953701" y="4341030"/>
                    </a:lnTo>
                    <a:lnTo>
                      <a:pt x="1948936" y="4355326"/>
                    </a:lnTo>
                    <a:lnTo>
                      <a:pt x="1948936" y="4379151"/>
                    </a:lnTo>
                    <a:lnTo>
                      <a:pt x="1948936" y="4388682"/>
                    </a:lnTo>
                    <a:lnTo>
                      <a:pt x="1963231" y="4402977"/>
                    </a:lnTo>
                    <a:lnTo>
                      <a:pt x="1967996" y="4422037"/>
                    </a:lnTo>
                    <a:lnTo>
                      <a:pt x="1967996" y="4441098"/>
                    </a:lnTo>
                    <a:lnTo>
                      <a:pt x="1939405" y="4445863"/>
                    </a:lnTo>
                    <a:lnTo>
                      <a:pt x="1915580" y="4445863"/>
                    </a:lnTo>
                    <a:lnTo>
                      <a:pt x="1891754" y="4460158"/>
                    </a:lnTo>
                    <a:lnTo>
                      <a:pt x="1886989" y="4469689"/>
                    </a:lnTo>
                    <a:lnTo>
                      <a:pt x="1886989" y="4483984"/>
                    </a:lnTo>
                    <a:lnTo>
                      <a:pt x="1882224" y="4483984"/>
                    </a:lnTo>
                    <a:lnTo>
                      <a:pt x="1877459" y="4483984"/>
                    </a:lnTo>
                    <a:lnTo>
                      <a:pt x="1863163" y="4469689"/>
                    </a:lnTo>
                    <a:lnTo>
                      <a:pt x="1853633" y="4464924"/>
                    </a:lnTo>
                    <a:lnTo>
                      <a:pt x="1805982" y="4455393"/>
                    </a:lnTo>
                    <a:lnTo>
                      <a:pt x="1753565" y="4417272"/>
                    </a:lnTo>
                    <a:lnTo>
                      <a:pt x="1729740" y="4407742"/>
                    </a:lnTo>
                    <a:lnTo>
                      <a:pt x="1701149" y="4383916"/>
                    </a:lnTo>
                    <a:lnTo>
                      <a:pt x="1682088" y="4345795"/>
                    </a:lnTo>
                    <a:lnTo>
                      <a:pt x="1696384" y="4341030"/>
                    </a:lnTo>
                    <a:lnTo>
                      <a:pt x="1710679" y="4341030"/>
                    </a:lnTo>
                    <a:lnTo>
                      <a:pt x="1772626" y="4345795"/>
                    </a:lnTo>
                    <a:lnTo>
                      <a:pt x="1782156" y="4317205"/>
                    </a:lnTo>
                    <a:lnTo>
                      <a:pt x="1791686" y="4312440"/>
                    </a:lnTo>
                    <a:lnTo>
                      <a:pt x="1810747" y="4307674"/>
                    </a:lnTo>
                    <a:lnTo>
                      <a:pt x="1829807" y="4293379"/>
                    </a:lnTo>
                    <a:lnTo>
                      <a:pt x="1839338" y="4293379"/>
                    </a:lnTo>
                    <a:lnTo>
                      <a:pt x="1848868" y="4298144"/>
                    </a:lnTo>
                    <a:close/>
                    <a:moveTo>
                      <a:pt x="5165396" y="4283849"/>
                    </a:moveTo>
                    <a:lnTo>
                      <a:pt x="5170161" y="4288614"/>
                    </a:lnTo>
                    <a:lnTo>
                      <a:pt x="5165396" y="4307675"/>
                    </a:lnTo>
                    <a:lnTo>
                      <a:pt x="5160631" y="4312440"/>
                    </a:lnTo>
                    <a:lnTo>
                      <a:pt x="5146335" y="4312440"/>
                    </a:lnTo>
                    <a:lnTo>
                      <a:pt x="5141570" y="4307675"/>
                    </a:lnTo>
                    <a:close/>
                    <a:moveTo>
                      <a:pt x="4941435" y="4260023"/>
                    </a:moveTo>
                    <a:lnTo>
                      <a:pt x="4965261" y="4269553"/>
                    </a:lnTo>
                    <a:lnTo>
                      <a:pt x="4970026" y="4279084"/>
                    </a:lnTo>
                    <a:lnTo>
                      <a:pt x="4998617" y="4279084"/>
                    </a:lnTo>
                    <a:lnTo>
                      <a:pt x="5008147" y="4279084"/>
                    </a:lnTo>
                    <a:lnTo>
                      <a:pt x="5012912" y="4283849"/>
                    </a:lnTo>
                    <a:lnTo>
                      <a:pt x="5008147" y="4288614"/>
                    </a:lnTo>
                    <a:lnTo>
                      <a:pt x="4998617" y="4298144"/>
                    </a:lnTo>
                    <a:lnTo>
                      <a:pt x="4965261" y="4312440"/>
                    </a:lnTo>
                    <a:lnTo>
                      <a:pt x="4936670" y="4326735"/>
                    </a:lnTo>
                    <a:lnTo>
                      <a:pt x="4931905" y="4326735"/>
                    </a:lnTo>
                    <a:lnTo>
                      <a:pt x="4927140" y="4307674"/>
                    </a:lnTo>
                    <a:lnTo>
                      <a:pt x="4922374" y="4298144"/>
                    </a:lnTo>
                    <a:lnTo>
                      <a:pt x="4917609" y="4288614"/>
                    </a:lnTo>
                    <a:lnTo>
                      <a:pt x="4917609" y="4283849"/>
                    </a:lnTo>
                    <a:lnTo>
                      <a:pt x="4922374" y="4274318"/>
                    </a:lnTo>
                    <a:lnTo>
                      <a:pt x="4936670" y="4264788"/>
                    </a:lnTo>
                    <a:close/>
                    <a:moveTo>
                      <a:pt x="4765125" y="4255258"/>
                    </a:moveTo>
                    <a:lnTo>
                      <a:pt x="4769890" y="4269553"/>
                    </a:lnTo>
                    <a:lnTo>
                      <a:pt x="4769890" y="4279084"/>
                    </a:lnTo>
                    <a:lnTo>
                      <a:pt x="4765125" y="4288614"/>
                    </a:lnTo>
                    <a:lnTo>
                      <a:pt x="4769890" y="4302909"/>
                    </a:lnTo>
                    <a:lnTo>
                      <a:pt x="4760360" y="4326735"/>
                    </a:lnTo>
                    <a:lnTo>
                      <a:pt x="4760360" y="4341031"/>
                    </a:lnTo>
                    <a:lnTo>
                      <a:pt x="4755595" y="4350561"/>
                    </a:lnTo>
                    <a:lnTo>
                      <a:pt x="4750830" y="4355326"/>
                    </a:lnTo>
                    <a:lnTo>
                      <a:pt x="4746065" y="4355326"/>
                    </a:lnTo>
                    <a:lnTo>
                      <a:pt x="4746065" y="4350561"/>
                    </a:lnTo>
                    <a:lnTo>
                      <a:pt x="4746065" y="4341031"/>
                    </a:lnTo>
                    <a:lnTo>
                      <a:pt x="4736534" y="4341031"/>
                    </a:lnTo>
                    <a:lnTo>
                      <a:pt x="4731769" y="4317205"/>
                    </a:lnTo>
                    <a:lnTo>
                      <a:pt x="4741299" y="4312440"/>
                    </a:lnTo>
                    <a:lnTo>
                      <a:pt x="4741299" y="4302909"/>
                    </a:lnTo>
                    <a:lnTo>
                      <a:pt x="4741299" y="4293379"/>
                    </a:lnTo>
                    <a:lnTo>
                      <a:pt x="4750830" y="4269553"/>
                    </a:lnTo>
                    <a:lnTo>
                      <a:pt x="4750830" y="4274319"/>
                    </a:lnTo>
                    <a:lnTo>
                      <a:pt x="4755595" y="4274319"/>
                    </a:lnTo>
                    <a:lnTo>
                      <a:pt x="4755595" y="4269553"/>
                    </a:lnTo>
                    <a:lnTo>
                      <a:pt x="4765125" y="4260023"/>
                    </a:lnTo>
                    <a:close/>
                    <a:moveTo>
                      <a:pt x="4098008" y="4255258"/>
                    </a:moveTo>
                    <a:lnTo>
                      <a:pt x="4107538" y="4255258"/>
                    </a:lnTo>
                    <a:lnTo>
                      <a:pt x="4107538" y="4264788"/>
                    </a:lnTo>
                    <a:lnTo>
                      <a:pt x="4093243" y="4293379"/>
                    </a:lnTo>
                    <a:lnTo>
                      <a:pt x="4088478" y="4298144"/>
                    </a:lnTo>
                    <a:lnTo>
                      <a:pt x="4078947" y="4298144"/>
                    </a:lnTo>
                    <a:lnTo>
                      <a:pt x="4088478" y="4283849"/>
                    </a:lnTo>
                    <a:close/>
                    <a:moveTo>
                      <a:pt x="824365" y="4221902"/>
                    </a:moveTo>
                    <a:lnTo>
                      <a:pt x="833896" y="4255258"/>
                    </a:lnTo>
                    <a:lnTo>
                      <a:pt x="852956" y="4269553"/>
                    </a:lnTo>
                    <a:lnTo>
                      <a:pt x="886312" y="4288614"/>
                    </a:lnTo>
                    <a:lnTo>
                      <a:pt x="905373" y="4288614"/>
                    </a:lnTo>
                    <a:lnTo>
                      <a:pt x="924433" y="4302910"/>
                    </a:lnTo>
                    <a:lnTo>
                      <a:pt x="933964" y="4317205"/>
                    </a:lnTo>
                    <a:lnTo>
                      <a:pt x="905373" y="4307675"/>
                    </a:lnTo>
                    <a:lnTo>
                      <a:pt x="867252" y="4307675"/>
                    </a:lnTo>
                    <a:lnTo>
                      <a:pt x="819600" y="4264788"/>
                    </a:lnTo>
                    <a:lnTo>
                      <a:pt x="800540" y="4255258"/>
                    </a:lnTo>
                    <a:lnTo>
                      <a:pt x="805305" y="4231432"/>
                    </a:lnTo>
                    <a:close/>
                    <a:moveTo>
                      <a:pt x="4712709" y="4117070"/>
                    </a:moveTo>
                    <a:lnTo>
                      <a:pt x="4722239" y="4126600"/>
                    </a:lnTo>
                    <a:lnTo>
                      <a:pt x="4727004" y="4136131"/>
                    </a:lnTo>
                    <a:lnTo>
                      <a:pt x="4727004" y="4150426"/>
                    </a:lnTo>
                    <a:lnTo>
                      <a:pt x="4707944" y="4155191"/>
                    </a:lnTo>
                    <a:lnTo>
                      <a:pt x="4698413" y="4150426"/>
                    </a:lnTo>
                    <a:lnTo>
                      <a:pt x="4698413" y="4145661"/>
                    </a:lnTo>
                    <a:lnTo>
                      <a:pt x="4703178" y="4126600"/>
                    </a:lnTo>
                    <a:lnTo>
                      <a:pt x="4703178" y="4121835"/>
                    </a:lnTo>
                    <a:close/>
                    <a:moveTo>
                      <a:pt x="1024501" y="3173575"/>
                    </a:moveTo>
                    <a:lnTo>
                      <a:pt x="1053092" y="3206931"/>
                    </a:lnTo>
                    <a:lnTo>
                      <a:pt x="1053092" y="3216461"/>
                    </a:lnTo>
                    <a:lnTo>
                      <a:pt x="1072152" y="3211696"/>
                    </a:lnTo>
                    <a:lnTo>
                      <a:pt x="1091213" y="3216461"/>
                    </a:lnTo>
                    <a:lnTo>
                      <a:pt x="1119804" y="3225991"/>
                    </a:lnTo>
                    <a:lnTo>
                      <a:pt x="1143630" y="3221226"/>
                    </a:lnTo>
                    <a:lnTo>
                      <a:pt x="1176985" y="3197401"/>
                    </a:lnTo>
                    <a:lnTo>
                      <a:pt x="1196046" y="3187870"/>
                    </a:lnTo>
                    <a:lnTo>
                      <a:pt x="1215106" y="3187870"/>
                    </a:lnTo>
                    <a:lnTo>
                      <a:pt x="1234167" y="3192635"/>
                    </a:lnTo>
                    <a:lnTo>
                      <a:pt x="1253227" y="3206931"/>
                    </a:lnTo>
                    <a:lnTo>
                      <a:pt x="1262758" y="3216461"/>
                    </a:lnTo>
                    <a:lnTo>
                      <a:pt x="1267523" y="3230756"/>
                    </a:lnTo>
                    <a:lnTo>
                      <a:pt x="1272288" y="3245052"/>
                    </a:lnTo>
                    <a:lnTo>
                      <a:pt x="1277053" y="3259347"/>
                    </a:lnTo>
                    <a:lnTo>
                      <a:pt x="1315174" y="3273643"/>
                    </a:lnTo>
                    <a:lnTo>
                      <a:pt x="1338999" y="3278408"/>
                    </a:lnTo>
                    <a:lnTo>
                      <a:pt x="1343764" y="3287938"/>
                    </a:lnTo>
                    <a:lnTo>
                      <a:pt x="1348530" y="3297468"/>
                    </a:lnTo>
                    <a:lnTo>
                      <a:pt x="1367590" y="3306998"/>
                    </a:lnTo>
                    <a:lnTo>
                      <a:pt x="1391416" y="3306998"/>
                    </a:lnTo>
                    <a:lnTo>
                      <a:pt x="1400946" y="3306998"/>
                    </a:lnTo>
                    <a:lnTo>
                      <a:pt x="1439067" y="3306998"/>
                    </a:lnTo>
                    <a:lnTo>
                      <a:pt x="1481953" y="3321294"/>
                    </a:lnTo>
                    <a:lnTo>
                      <a:pt x="1472423" y="3354650"/>
                    </a:lnTo>
                    <a:lnTo>
                      <a:pt x="1458128" y="3368945"/>
                    </a:lnTo>
                    <a:lnTo>
                      <a:pt x="1420006" y="3364180"/>
                    </a:lnTo>
                    <a:lnTo>
                      <a:pt x="1381885" y="3368945"/>
                    </a:lnTo>
                    <a:lnTo>
                      <a:pt x="1362825" y="3388006"/>
                    </a:lnTo>
                    <a:lnTo>
                      <a:pt x="1348530" y="3407066"/>
                    </a:lnTo>
                    <a:lnTo>
                      <a:pt x="1348530" y="3430892"/>
                    </a:lnTo>
                    <a:lnTo>
                      <a:pt x="1338999" y="3440422"/>
                    </a:lnTo>
                    <a:lnTo>
                      <a:pt x="1329469" y="3445187"/>
                    </a:lnTo>
                    <a:lnTo>
                      <a:pt x="1324704" y="3430892"/>
                    </a:lnTo>
                    <a:lnTo>
                      <a:pt x="1315174" y="3397536"/>
                    </a:lnTo>
                    <a:lnTo>
                      <a:pt x="1310408" y="3388006"/>
                    </a:lnTo>
                    <a:lnTo>
                      <a:pt x="1300879" y="3383240"/>
                    </a:lnTo>
                    <a:lnTo>
                      <a:pt x="1281818" y="3368945"/>
                    </a:lnTo>
                    <a:lnTo>
                      <a:pt x="1262758" y="3364180"/>
                    </a:lnTo>
                    <a:lnTo>
                      <a:pt x="1248462" y="3359415"/>
                    </a:lnTo>
                    <a:lnTo>
                      <a:pt x="1243697" y="3349885"/>
                    </a:lnTo>
                    <a:lnTo>
                      <a:pt x="1238932" y="3330824"/>
                    </a:lnTo>
                    <a:lnTo>
                      <a:pt x="1229402" y="3321294"/>
                    </a:lnTo>
                    <a:lnTo>
                      <a:pt x="1215106" y="3306998"/>
                    </a:lnTo>
                    <a:lnTo>
                      <a:pt x="1196046" y="3297468"/>
                    </a:lnTo>
                    <a:lnTo>
                      <a:pt x="1148395" y="3273643"/>
                    </a:lnTo>
                    <a:lnTo>
                      <a:pt x="1129334" y="3273643"/>
                    </a:lnTo>
                    <a:lnTo>
                      <a:pt x="1115039" y="3273643"/>
                    </a:lnTo>
                    <a:lnTo>
                      <a:pt x="1095978" y="3283173"/>
                    </a:lnTo>
                    <a:lnTo>
                      <a:pt x="1081683" y="3302233"/>
                    </a:lnTo>
                    <a:lnTo>
                      <a:pt x="1062622" y="3311764"/>
                    </a:lnTo>
                    <a:lnTo>
                      <a:pt x="1043562" y="3316529"/>
                    </a:lnTo>
                    <a:lnTo>
                      <a:pt x="1024501" y="3306998"/>
                    </a:lnTo>
                    <a:lnTo>
                      <a:pt x="1010206" y="3292703"/>
                    </a:lnTo>
                    <a:lnTo>
                      <a:pt x="1000676" y="3283173"/>
                    </a:lnTo>
                    <a:lnTo>
                      <a:pt x="995911" y="3264112"/>
                    </a:lnTo>
                    <a:lnTo>
                      <a:pt x="995911" y="3245052"/>
                    </a:lnTo>
                    <a:lnTo>
                      <a:pt x="1000676" y="3225991"/>
                    </a:lnTo>
                    <a:lnTo>
                      <a:pt x="1005441" y="3183105"/>
                    </a:lnTo>
                    <a:close/>
                    <a:moveTo>
                      <a:pt x="1934639" y="2211019"/>
                    </a:moveTo>
                    <a:lnTo>
                      <a:pt x="1929874" y="2215784"/>
                    </a:lnTo>
                    <a:lnTo>
                      <a:pt x="1915579" y="2230079"/>
                    </a:lnTo>
                    <a:lnTo>
                      <a:pt x="1886988" y="2253905"/>
                    </a:lnTo>
                    <a:lnTo>
                      <a:pt x="1886988" y="2253905"/>
                    </a:lnTo>
                    <a:lnTo>
                      <a:pt x="1882223" y="2253905"/>
                    </a:lnTo>
                    <a:lnTo>
                      <a:pt x="1882223" y="2249140"/>
                    </a:lnTo>
                    <a:lnTo>
                      <a:pt x="1901283" y="2234845"/>
                    </a:lnTo>
                    <a:close/>
                    <a:moveTo>
                      <a:pt x="3392769" y="0"/>
                    </a:moveTo>
                    <a:lnTo>
                      <a:pt x="3407064" y="4765"/>
                    </a:lnTo>
                    <a:lnTo>
                      <a:pt x="3388004" y="14295"/>
                    </a:lnTo>
                    <a:lnTo>
                      <a:pt x="3378473" y="33356"/>
                    </a:lnTo>
                    <a:lnTo>
                      <a:pt x="3392769" y="57182"/>
                    </a:lnTo>
                    <a:lnTo>
                      <a:pt x="3497602" y="109598"/>
                    </a:lnTo>
                    <a:lnTo>
                      <a:pt x="3521427" y="109598"/>
                    </a:lnTo>
                    <a:lnTo>
                      <a:pt x="3530957" y="142954"/>
                    </a:lnTo>
                    <a:lnTo>
                      <a:pt x="3526192" y="171545"/>
                    </a:lnTo>
                    <a:lnTo>
                      <a:pt x="3497602" y="200135"/>
                    </a:lnTo>
                    <a:lnTo>
                      <a:pt x="3445185" y="233491"/>
                    </a:lnTo>
                    <a:lnTo>
                      <a:pt x="3459481" y="247787"/>
                    </a:lnTo>
                    <a:lnTo>
                      <a:pt x="3469011" y="276377"/>
                    </a:lnTo>
                    <a:lnTo>
                      <a:pt x="3488071" y="276377"/>
                    </a:lnTo>
                    <a:lnTo>
                      <a:pt x="3511897" y="266847"/>
                    </a:lnTo>
                    <a:lnTo>
                      <a:pt x="3530957" y="247787"/>
                    </a:lnTo>
                    <a:lnTo>
                      <a:pt x="3573844" y="190605"/>
                    </a:lnTo>
                    <a:lnTo>
                      <a:pt x="3588139" y="162014"/>
                    </a:lnTo>
                    <a:lnTo>
                      <a:pt x="3597669" y="152484"/>
                    </a:lnTo>
                    <a:lnTo>
                      <a:pt x="3631025" y="157249"/>
                    </a:lnTo>
                    <a:lnTo>
                      <a:pt x="3650086" y="176310"/>
                    </a:lnTo>
                    <a:lnTo>
                      <a:pt x="3673911" y="204900"/>
                    </a:lnTo>
                    <a:lnTo>
                      <a:pt x="3664381" y="233491"/>
                    </a:lnTo>
                    <a:lnTo>
                      <a:pt x="3654851" y="247787"/>
                    </a:lnTo>
                    <a:lnTo>
                      <a:pt x="3688207" y="271612"/>
                    </a:lnTo>
                    <a:lnTo>
                      <a:pt x="3716797" y="276377"/>
                    </a:lnTo>
                    <a:lnTo>
                      <a:pt x="3750153" y="295438"/>
                    </a:lnTo>
                    <a:lnTo>
                      <a:pt x="3793039" y="257317"/>
                    </a:lnTo>
                    <a:lnTo>
                      <a:pt x="3826395" y="247787"/>
                    </a:lnTo>
                    <a:lnTo>
                      <a:pt x="3859751" y="252552"/>
                    </a:lnTo>
                    <a:lnTo>
                      <a:pt x="3897872" y="233491"/>
                    </a:lnTo>
                    <a:lnTo>
                      <a:pt x="3969349" y="257317"/>
                    </a:lnTo>
                    <a:lnTo>
                      <a:pt x="3988410" y="252552"/>
                    </a:lnTo>
                    <a:lnTo>
                      <a:pt x="4017000" y="257317"/>
                    </a:lnTo>
                    <a:lnTo>
                      <a:pt x="4045591" y="271612"/>
                    </a:lnTo>
                    <a:lnTo>
                      <a:pt x="4055121" y="290673"/>
                    </a:lnTo>
                    <a:lnTo>
                      <a:pt x="4021765" y="324029"/>
                    </a:lnTo>
                    <a:lnTo>
                      <a:pt x="4017000" y="362150"/>
                    </a:lnTo>
                    <a:lnTo>
                      <a:pt x="4031296" y="381210"/>
                    </a:lnTo>
                    <a:lnTo>
                      <a:pt x="4050356" y="381210"/>
                    </a:lnTo>
                    <a:lnTo>
                      <a:pt x="4050356" y="405036"/>
                    </a:lnTo>
                    <a:lnTo>
                      <a:pt x="4064652" y="409801"/>
                    </a:lnTo>
                    <a:lnTo>
                      <a:pt x="4126598" y="409801"/>
                    </a:lnTo>
                    <a:lnTo>
                      <a:pt x="4121833" y="419331"/>
                    </a:lnTo>
                    <a:lnTo>
                      <a:pt x="4121833" y="428861"/>
                    </a:lnTo>
                    <a:lnTo>
                      <a:pt x="4102773" y="457452"/>
                    </a:lnTo>
                    <a:lnTo>
                      <a:pt x="4212371" y="471748"/>
                    </a:lnTo>
                    <a:lnTo>
                      <a:pt x="4226666" y="457452"/>
                    </a:lnTo>
                    <a:lnTo>
                      <a:pt x="4250492" y="452687"/>
                    </a:lnTo>
                    <a:lnTo>
                      <a:pt x="4302908" y="433627"/>
                    </a:lnTo>
                    <a:lnTo>
                      <a:pt x="4317203" y="438392"/>
                    </a:lnTo>
                    <a:lnTo>
                      <a:pt x="4341029" y="462217"/>
                    </a:lnTo>
                    <a:lnTo>
                      <a:pt x="4360090" y="466982"/>
                    </a:lnTo>
                    <a:lnTo>
                      <a:pt x="4379150" y="462217"/>
                    </a:lnTo>
                    <a:lnTo>
                      <a:pt x="4426801" y="433627"/>
                    </a:lnTo>
                    <a:lnTo>
                      <a:pt x="4474453" y="428861"/>
                    </a:lnTo>
                    <a:lnTo>
                      <a:pt x="4498278" y="438392"/>
                    </a:lnTo>
                    <a:lnTo>
                      <a:pt x="4517339" y="433627"/>
                    </a:lnTo>
                    <a:lnTo>
                      <a:pt x="4584051" y="471748"/>
                    </a:lnTo>
                    <a:lnTo>
                      <a:pt x="4607876" y="476513"/>
                    </a:lnTo>
                    <a:lnTo>
                      <a:pt x="4641232" y="519399"/>
                    </a:lnTo>
                    <a:lnTo>
                      <a:pt x="4660293" y="524164"/>
                    </a:lnTo>
                    <a:lnTo>
                      <a:pt x="4679353" y="500338"/>
                    </a:lnTo>
                    <a:lnTo>
                      <a:pt x="4693648" y="505103"/>
                    </a:lnTo>
                    <a:lnTo>
                      <a:pt x="4712709" y="524164"/>
                    </a:lnTo>
                    <a:lnTo>
                      <a:pt x="4736535" y="528929"/>
                    </a:lnTo>
                    <a:lnTo>
                      <a:pt x="4750830" y="557520"/>
                    </a:lnTo>
                    <a:lnTo>
                      <a:pt x="4765125" y="567050"/>
                    </a:lnTo>
                    <a:lnTo>
                      <a:pt x="4865193" y="590876"/>
                    </a:lnTo>
                    <a:lnTo>
                      <a:pt x="4912844" y="581345"/>
                    </a:lnTo>
                    <a:lnTo>
                      <a:pt x="4984321" y="581345"/>
                    </a:lnTo>
                    <a:lnTo>
                      <a:pt x="5017677" y="595641"/>
                    </a:lnTo>
                    <a:lnTo>
                      <a:pt x="5055798" y="595641"/>
                    </a:lnTo>
                    <a:lnTo>
                      <a:pt x="5117745" y="643292"/>
                    </a:lnTo>
                    <a:lnTo>
                      <a:pt x="5146336" y="652822"/>
                    </a:lnTo>
                    <a:lnTo>
                      <a:pt x="5155866" y="662353"/>
                    </a:lnTo>
                    <a:lnTo>
                      <a:pt x="5246403" y="676648"/>
                    </a:lnTo>
                    <a:lnTo>
                      <a:pt x="5274994" y="648057"/>
                    </a:lnTo>
                    <a:lnTo>
                      <a:pt x="5332176" y="643292"/>
                    </a:lnTo>
                    <a:lnTo>
                      <a:pt x="5379827" y="619467"/>
                    </a:lnTo>
                    <a:lnTo>
                      <a:pt x="5408418" y="619467"/>
                    </a:lnTo>
                    <a:lnTo>
                      <a:pt x="5441773" y="624232"/>
                    </a:lnTo>
                    <a:lnTo>
                      <a:pt x="5456069" y="624232"/>
                    </a:lnTo>
                    <a:lnTo>
                      <a:pt x="5465599" y="614701"/>
                    </a:lnTo>
                    <a:lnTo>
                      <a:pt x="5541841" y="652822"/>
                    </a:lnTo>
                    <a:lnTo>
                      <a:pt x="5589492" y="695709"/>
                    </a:lnTo>
                    <a:lnTo>
                      <a:pt x="5608553" y="724299"/>
                    </a:lnTo>
                    <a:lnTo>
                      <a:pt x="5699090" y="771951"/>
                    </a:lnTo>
                    <a:lnTo>
                      <a:pt x="5727681" y="795776"/>
                    </a:lnTo>
                    <a:lnTo>
                      <a:pt x="5746742" y="824367"/>
                    </a:lnTo>
                    <a:lnTo>
                      <a:pt x="5756272" y="829132"/>
                    </a:lnTo>
                    <a:lnTo>
                      <a:pt x="5765802" y="819602"/>
                    </a:lnTo>
                    <a:lnTo>
                      <a:pt x="5799158" y="819602"/>
                    </a:lnTo>
                    <a:lnTo>
                      <a:pt x="5808688" y="824367"/>
                    </a:lnTo>
                    <a:lnTo>
                      <a:pt x="5808688" y="4317205"/>
                    </a:lnTo>
                    <a:lnTo>
                      <a:pt x="5884930" y="4345795"/>
                    </a:lnTo>
                    <a:lnTo>
                      <a:pt x="5894461" y="4317205"/>
                    </a:lnTo>
                    <a:lnTo>
                      <a:pt x="5937347" y="4336265"/>
                    </a:lnTo>
                    <a:lnTo>
                      <a:pt x="5970703" y="4355326"/>
                    </a:lnTo>
                    <a:lnTo>
                      <a:pt x="5994528" y="4331501"/>
                    </a:lnTo>
                    <a:lnTo>
                      <a:pt x="6018354" y="4307675"/>
                    </a:lnTo>
                    <a:lnTo>
                      <a:pt x="6051710" y="4307675"/>
                    </a:lnTo>
                    <a:lnTo>
                      <a:pt x="6085066" y="4307675"/>
                    </a:lnTo>
                    <a:lnTo>
                      <a:pt x="6108891" y="4302909"/>
                    </a:lnTo>
                    <a:lnTo>
                      <a:pt x="6108891" y="4326735"/>
                    </a:lnTo>
                    <a:lnTo>
                      <a:pt x="6099361" y="4360091"/>
                    </a:lnTo>
                    <a:lnTo>
                      <a:pt x="6094596" y="4383917"/>
                    </a:lnTo>
                    <a:lnTo>
                      <a:pt x="6113657" y="4412507"/>
                    </a:lnTo>
                    <a:lnTo>
                      <a:pt x="6142247" y="4426803"/>
                    </a:lnTo>
                    <a:lnTo>
                      <a:pt x="6170838" y="4441099"/>
                    </a:lnTo>
                    <a:lnTo>
                      <a:pt x="6180368" y="4479219"/>
                    </a:lnTo>
                    <a:lnTo>
                      <a:pt x="6208959" y="4512575"/>
                    </a:lnTo>
                    <a:lnTo>
                      <a:pt x="6228020" y="4531635"/>
                    </a:lnTo>
                    <a:lnTo>
                      <a:pt x="6247080" y="4555461"/>
                    </a:lnTo>
                    <a:lnTo>
                      <a:pt x="6280436" y="4584052"/>
                    </a:lnTo>
                    <a:lnTo>
                      <a:pt x="6299497" y="4607877"/>
                    </a:lnTo>
                    <a:lnTo>
                      <a:pt x="6328087" y="4631703"/>
                    </a:lnTo>
                    <a:lnTo>
                      <a:pt x="6342383" y="4650764"/>
                    </a:lnTo>
                    <a:lnTo>
                      <a:pt x="6351913" y="4684120"/>
                    </a:lnTo>
                    <a:lnTo>
                      <a:pt x="6356678" y="4722241"/>
                    </a:lnTo>
                    <a:lnTo>
                      <a:pt x="6351913" y="4746067"/>
                    </a:lnTo>
                    <a:lnTo>
                      <a:pt x="6366208" y="4750831"/>
                    </a:lnTo>
                    <a:lnTo>
                      <a:pt x="6390034" y="4722241"/>
                    </a:lnTo>
                    <a:lnTo>
                      <a:pt x="6413860" y="4707945"/>
                    </a:lnTo>
                    <a:lnTo>
                      <a:pt x="6442450" y="4688885"/>
                    </a:lnTo>
                    <a:lnTo>
                      <a:pt x="6466276" y="4674589"/>
                    </a:lnTo>
                    <a:lnTo>
                      <a:pt x="6499632" y="4674589"/>
                    </a:lnTo>
                    <a:lnTo>
                      <a:pt x="6518692" y="4636469"/>
                    </a:lnTo>
                    <a:lnTo>
                      <a:pt x="6518692" y="4579287"/>
                    </a:lnTo>
                    <a:lnTo>
                      <a:pt x="6537753" y="4579287"/>
                    </a:lnTo>
                    <a:lnTo>
                      <a:pt x="6547283" y="4574522"/>
                    </a:lnTo>
                    <a:lnTo>
                      <a:pt x="6552048" y="4555461"/>
                    </a:lnTo>
                    <a:lnTo>
                      <a:pt x="6542518" y="4536401"/>
                    </a:lnTo>
                    <a:lnTo>
                      <a:pt x="6575874" y="4526871"/>
                    </a:lnTo>
                    <a:lnTo>
                      <a:pt x="6599700" y="4517341"/>
                    </a:lnTo>
                    <a:lnTo>
                      <a:pt x="6637821" y="4498280"/>
                    </a:lnTo>
                    <a:lnTo>
                      <a:pt x="6671176" y="4474454"/>
                    </a:lnTo>
                    <a:lnTo>
                      <a:pt x="6690237" y="4493515"/>
                    </a:lnTo>
                    <a:lnTo>
                      <a:pt x="6704532" y="4507810"/>
                    </a:lnTo>
                    <a:lnTo>
                      <a:pt x="6737888" y="4541166"/>
                    </a:lnTo>
                    <a:lnTo>
                      <a:pt x="6742653" y="4550696"/>
                    </a:lnTo>
                    <a:lnTo>
                      <a:pt x="6737888" y="4569757"/>
                    </a:lnTo>
                    <a:lnTo>
                      <a:pt x="6737888" y="4584052"/>
                    </a:lnTo>
                    <a:lnTo>
                      <a:pt x="6756949" y="4631703"/>
                    </a:lnTo>
                    <a:lnTo>
                      <a:pt x="6761714" y="4636469"/>
                    </a:lnTo>
                    <a:lnTo>
                      <a:pt x="6776009" y="4645999"/>
                    </a:lnTo>
                    <a:lnTo>
                      <a:pt x="6799835" y="4660294"/>
                    </a:lnTo>
                    <a:lnTo>
                      <a:pt x="6804600" y="4674589"/>
                    </a:lnTo>
                    <a:lnTo>
                      <a:pt x="6833191" y="4693650"/>
                    </a:lnTo>
                    <a:lnTo>
                      <a:pt x="6837956" y="4703181"/>
                    </a:lnTo>
                    <a:lnTo>
                      <a:pt x="6842721" y="4717475"/>
                    </a:lnTo>
                    <a:lnTo>
                      <a:pt x="6847486" y="4731771"/>
                    </a:lnTo>
                    <a:lnTo>
                      <a:pt x="6852251" y="4736536"/>
                    </a:lnTo>
                    <a:lnTo>
                      <a:pt x="6857016" y="4750831"/>
                    </a:lnTo>
                    <a:lnTo>
                      <a:pt x="6866547" y="4765127"/>
                    </a:lnTo>
                    <a:lnTo>
                      <a:pt x="6895137" y="4779423"/>
                    </a:lnTo>
                    <a:lnTo>
                      <a:pt x="6909433" y="4793717"/>
                    </a:lnTo>
                    <a:lnTo>
                      <a:pt x="6933258" y="4808013"/>
                    </a:lnTo>
                    <a:lnTo>
                      <a:pt x="6952319" y="4841369"/>
                    </a:lnTo>
                    <a:lnTo>
                      <a:pt x="6976145" y="4869959"/>
                    </a:lnTo>
                    <a:lnTo>
                      <a:pt x="6995205" y="4898551"/>
                    </a:lnTo>
                    <a:lnTo>
                      <a:pt x="6995205" y="4917611"/>
                    </a:lnTo>
                    <a:lnTo>
                      <a:pt x="7014266" y="4950967"/>
                    </a:lnTo>
                    <a:lnTo>
                      <a:pt x="7042856" y="4993853"/>
                    </a:lnTo>
                    <a:lnTo>
                      <a:pt x="7057152" y="5031974"/>
                    </a:lnTo>
                    <a:lnTo>
                      <a:pt x="7071447" y="5055799"/>
                    </a:lnTo>
                    <a:lnTo>
                      <a:pt x="7090508" y="5084391"/>
                    </a:lnTo>
                    <a:lnTo>
                      <a:pt x="7109568" y="5122511"/>
                    </a:lnTo>
                    <a:lnTo>
                      <a:pt x="7128629" y="5165397"/>
                    </a:lnTo>
                    <a:lnTo>
                      <a:pt x="7147689" y="5193989"/>
                    </a:lnTo>
                    <a:lnTo>
                      <a:pt x="7166750" y="5232109"/>
                    </a:lnTo>
                    <a:lnTo>
                      <a:pt x="7181045" y="5251170"/>
                    </a:lnTo>
                    <a:lnTo>
                      <a:pt x="7171515" y="5270231"/>
                    </a:lnTo>
                    <a:lnTo>
                      <a:pt x="7161985" y="5284525"/>
                    </a:lnTo>
                    <a:lnTo>
                      <a:pt x="7190575" y="5294056"/>
                    </a:lnTo>
                    <a:lnTo>
                      <a:pt x="7209636" y="5303586"/>
                    </a:lnTo>
                    <a:lnTo>
                      <a:pt x="7204871" y="5322647"/>
                    </a:lnTo>
                    <a:lnTo>
                      <a:pt x="7200106" y="5351237"/>
                    </a:lnTo>
                    <a:lnTo>
                      <a:pt x="7219166" y="5360768"/>
                    </a:lnTo>
                    <a:lnTo>
                      <a:pt x="7238227" y="5370298"/>
                    </a:lnTo>
                    <a:lnTo>
                      <a:pt x="7233461" y="5384593"/>
                    </a:lnTo>
                    <a:lnTo>
                      <a:pt x="7242992" y="5398889"/>
                    </a:lnTo>
                    <a:lnTo>
                      <a:pt x="7242992" y="5427479"/>
                    </a:lnTo>
                    <a:lnTo>
                      <a:pt x="7271582" y="5422715"/>
                    </a:lnTo>
                    <a:lnTo>
                      <a:pt x="7281113" y="5422715"/>
                    </a:lnTo>
                    <a:lnTo>
                      <a:pt x="7300173" y="5437010"/>
                    </a:lnTo>
                    <a:lnTo>
                      <a:pt x="7319234" y="5451305"/>
                    </a:lnTo>
                    <a:lnTo>
                      <a:pt x="7338294" y="5465601"/>
                    </a:lnTo>
                    <a:lnTo>
                      <a:pt x="7357355" y="5479896"/>
                    </a:lnTo>
                    <a:lnTo>
                      <a:pt x="7381180" y="5484661"/>
                    </a:lnTo>
                    <a:lnTo>
                      <a:pt x="7409771" y="5498957"/>
                    </a:lnTo>
                    <a:lnTo>
                      <a:pt x="7428832" y="5518017"/>
                    </a:lnTo>
                    <a:lnTo>
                      <a:pt x="7452657" y="5527547"/>
                    </a:lnTo>
                    <a:lnTo>
                      <a:pt x="7462188" y="5556138"/>
                    </a:lnTo>
                    <a:lnTo>
                      <a:pt x="7495543" y="5570433"/>
                    </a:lnTo>
                    <a:lnTo>
                      <a:pt x="7514604" y="5560903"/>
                    </a:lnTo>
                    <a:lnTo>
                      <a:pt x="7519369" y="5575199"/>
                    </a:lnTo>
                    <a:lnTo>
                      <a:pt x="7524134" y="5589494"/>
                    </a:lnTo>
                    <a:lnTo>
                      <a:pt x="7524134" y="5608555"/>
                    </a:lnTo>
                    <a:lnTo>
                      <a:pt x="7524134" y="5622850"/>
                    </a:lnTo>
                    <a:lnTo>
                      <a:pt x="7514604" y="5637145"/>
                    </a:lnTo>
                    <a:lnTo>
                      <a:pt x="7509839" y="5656205"/>
                    </a:lnTo>
                    <a:lnTo>
                      <a:pt x="7505074" y="5670501"/>
                    </a:lnTo>
                    <a:lnTo>
                      <a:pt x="7505074" y="5689561"/>
                    </a:lnTo>
                    <a:lnTo>
                      <a:pt x="7505074" y="5708622"/>
                    </a:lnTo>
                    <a:lnTo>
                      <a:pt x="7509839" y="5722917"/>
                    </a:lnTo>
                    <a:lnTo>
                      <a:pt x="7519369" y="5756273"/>
                    </a:lnTo>
                    <a:lnTo>
                      <a:pt x="7524134" y="5775334"/>
                    </a:lnTo>
                    <a:lnTo>
                      <a:pt x="7524134" y="5784864"/>
                    </a:lnTo>
                    <a:lnTo>
                      <a:pt x="7500309" y="5832515"/>
                    </a:lnTo>
                    <a:lnTo>
                      <a:pt x="7495543" y="5851576"/>
                    </a:lnTo>
                    <a:lnTo>
                      <a:pt x="7495543" y="5861106"/>
                    </a:lnTo>
                    <a:lnTo>
                      <a:pt x="7481248" y="5884931"/>
                    </a:lnTo>
                    <a:lnTo>
                      <a:pt x="7452657" y="5913523"/>
                    </a:lnTo>
                    <a:lnTo>
                      <a:pt x="7438362" y="5932583"/>
                    </a:lnTo>
                    <a:lnTo>
                      <a:pt x="7433597" y="5927818"/>
                    </a:lnTo>
                    <a:lnTo>
                      <a:pt x="7395476" y="5918287"/>
                    </a:lnTo>
                    <a:lnTo>
                      <a:pt x="7381180" y="5880167"/>
                    </a:lnTo>
                    <a:lnTo>
                      <a:pt x="7376415" y="5851576"/>
                    </a:lnTo>
                    <a:lnTo>
                      <a:pt x="7366885" y="5822985"/>
                    </a:lnTo>
                    <a:lnTo>
                      <a:pt x="7366885" y="5818220"/>
                    </a:lnTo>
                    <a:lnTo>
                      <a:pt x="7376415" y="5803925"/>
                    </a:lnTo>
                    <a:lnTo>
                      <a:pt x="7409771" y="5784864"/>
                    </a:lnTo>
                    <a:lnTo>
                      <a:pt x="7409771" y="5780099"/>
                    </a:lnTo>
                    <a:lnTo>
                      <a:pt x="7400241" y="5775334"/>
                    </a:lnTo>
                    <a:lnTo>
                      <a:pt x="7395476" y="5770569"/>
                    </a:lnTo>
                    <a:lnTo>
                      <a:pt x="7390711" y="5741978"/>
                    </a:lnTo>
                    <a:lnTo>
                      <a:pt x="7390711" y="5718153"/>
                    </a:lnTo>
                    <a:lnTo>
                      <a:pt x="7390711" y="5699092"/>
                    </a:lnTo>
                    <a:lnTo>
                      <a:pt x="7385946" y="5665736"/>
                    </a:lnTo>
                    <a:lnTo>
                      <a:pt x="7376415" y="5646675"/>
                    </a:lnTo>
                    <a:lnTo>
                      <a:pt x="7352590" y="5603789"/>
                    </a:lnTo>
                    <a:lnTo>
                      <a:pt x="7347825" y="5594259"/>
                    </a:lnTo>
                    <a:lnTo>
                      <a:pt x="7362120" y="5579963"/>
                    </a:lnTo>
                    <a:lnTo>
                      <a:pt x="7366885" y="5565668"/>
                    </a:lnTo>
                    <a:lnTo>
                      <a:pt x="7328764" y="5589494"/>
                    </a:lnTo>
                    <a:lnTo>
                      <a:pt x="7271582" y="5613319"/>
                    </a:lnTo>
                    <a:lnTo>
                      <a:pt x="7247757" y="5627615"/>
                    </a:lnTo>
                    <a:lnTo>
                      <a:pt x="7242992" y="5632380"/>
                    </a:lnTo>
                    <a:lnTo>
                      <a:pt x="7242992" y="5637145"/>
                    </a:lnTo>
                    <a:lnTo>
                      <a:pt x="7247757" y="5651441"/>
                    </a:lnTo>
                    <a:lnTo>
                      <a:pt x="7247757" y="5656205"/>
                    </a:lnTo>
                    <a:lnTo>
                      <a:pt x="7242992" y="5665736"/>
                    </a:lnTo>
                    <a:lnTo>
                      <a:pt x="7238227" y="5689561"/>
                    </a:lnTo>
                    <a:lnTo>
                      <a:pt x="7223931" y="5718153"/>
                    </a:lnTo>
                    <a:lnTo>
                      <a:pt x="7219166" y="5722917"/>
                    </a:lnTo>
                    <a:lnTo>
                      <a:pt x="7195340" y="5713387"/>
                    </a:lnTo>
                    <a:lnTo>
                      <a:pt x="7190575" y="5703857"/>
                    </a:lnTo>
                    <a:lnTo>
                      <a:pt x="7181045" y="5670501"/>
                    </a:lnTo>
                    <a:lnTo>
                      <a:pt x="7181045" y="5660971"/>
                    </a:lnTo>
                    <a:lnTo>
                      <a:pt x="7190575" y="5656205"/>
                    </a:lnTo>
                    <a:lnTo>
                      <a:pt x="7200106" y="5637145"/>
                    </a:lnTo>
                    <a:lnTo>
                      <a:pt x="7214401" y="5613319"/>
                    </a:lnTo>
                    <a:lnTo>
                      <a:pt x="7238227" y="5546607"/>
                    </a:lnTo>
                    <a:lnTo>
                      <a:pt x="7257287" y="5546607"/>
                    </a:lnTo>
                    <a:lnTo>
                      <a:pt x="7285878" y="5537077"/>
                    </a:lnTo>
                    <a:lnTo>
                      <a:pt x="7238227" y="5527547"/>
                    </a:lnTo>
                    <a:lnTo>
                      <a:pt x="7233461" y="5522782"/>
                    </a:lnTo>
                    <a:lnTo>
                      <a:pt x="7228696" y="5518017"/>
                    </a:lnTo>
                    <a:lnTo>
                      <a:pt x="7219166" y="5503721"/>
                    </a:lnTo>
                    <a:lnTo>
                      <a:pt x="7214401" y="5484661"/>
                    </a:lnTo>
                    <a:lnTo>
                      <a:pt x="7195340" y="5479896"/>
                    </a:lnTo>
                    <a:lnTo>
                      <a:pt x="7185810" y="5475131"/>
                    </a:lnTo>
                    <a:lnTo>
                      <a:pt x="7176280" y="5456071"/>
                    </a:lnTo>
                    <a:lnTo>
                      <a:pt x="7166750" y="5446540"/>
                    </a:lnTo>
                    <a:lnTo>
                      <a:pt x="7161985" y="5437010"/>
                    </a:lnTo>
                    <a:lnTo>
                      <a:pt x="7161985" y="5422715"/>
                    </a:lnTo>
                    <a:lnTo>
                      <a:pt x="7161985" y="5417949"/>
                    </a:lnTo>
                    <a:lnTo>
                      <a:pt x="7147689" y="5413184"/>
                    </a:lnTo>
                    <a:lnTo>
                      <a:pt x="7142924" y="5408419"/>
                    </a:lnTo>
                    <a:lnTo>
                      <a:pt x="7138159" y="5375063"/>
                    </a:lnTo>
                    <a:lnTo>
                      <a:pt x="7114333" y="5365533"/>
                    </a:lnTo>
                    <a:lnTo>
                      <a:pt x="7104803" y="5360768"/>
                    </a:lnTo>
                    <a:lnTo>
                      <a:pt x="7090508" y="5341707"/>
                    </a:lnTo>
                    <a:lnTo>
                      <a:pt x="7085743" y="5327412"/>
                    </a:lnTo>
                    <a:lnTo>
                      <a:pt x="7085743" y="5322647"/>
                    </a:lnTo>
                    <a:lnTo>
                      <a:pt x="7090508" y="5298821"/>
                    </a:lnTo>
                    <a:lnTo>
                      <a:pt x="7085743" y="5294056"/>
                    </a:lnTo>
                    <a:lnTo>
                      <a:pt x="7071447" y="5294056"/>
                    </a:lnTo>
                    <a:lnTo>
                      <a:pt x="6985675" y="5260700"/>
                    </a:lnTo>
                    <a:lnTo>
                      <a:pt x="6990440" y="5213049"/>
                    </a:lnTo>
                    <a:lnTo>
                      <a:pt x="6976145" y="5151102"/>
                    </a:lnTo>
                    <a:lnTo>
                      <a:pt x="6957084" y="5122511"/>
                    </a:lnTo>
                    <a:lnTo>
                      <a:pt x="6961849" y="5112981"/>
                    </a:lnTo>
                    <a:lnTo>
                      <a:pt x="6966614" y="5108216"/>
                    </a:lnTo>
                    <a:lnTo>
                      <a:pt x="6971379" y="5108216"/>
                    </a:lnTo>
                    <a:lnTo>
                      <a:pt x="7004735" y="5127277"/>
                    </a:lnTo>
                    <a:lnTo>
                      <a:pt x="7038091" y="5151102"/>
                    </a:lnTo>
                    <a:lnTo>
                      <a:pt x="7042856" y="5146337"/>
                    </a:lnTo>
                    <a:lnTo>
                      <a:pt x="6990440" y="5098686"/>
                    </a:lnTo>
                    <a:lnTo>
                      <a:pt x="6980910" y="5084391"/>
                    </a:lnTo>
                    <a:lnTo>
                      <a:pt x="6976145" y="5070095"/>
                    </a:lnTo>
                    <a:lnTo>
                      <a:pt x="6976145" y="5060565"/>
                    </a:lnTo>
                    <a:lnTo>
                      <a:pt x="6980910" y="5055799"/>
                    </a:lnTo>
                    <a:lnTo>
                      <a:pt x="7023796" y="5060565"/>
                    </a:lnTo>
                    <a:lnTo>
                      <a:pt x="7028561" y="5055799"/>
                    </a:lnTo>
                    <a:lnTo>
                      <a:pt x="6980910" y="5041505"/>
                    </a:lnTo>
                    <a:lnTo>
                      <a:pt x="6971379" y="5041505"/>
                    </a:lnTo>
                    <a:lnTo>
                      <a:pt x="6961849" y="5060565"/>
                    </a:lnTo>
                    <a:lnTo>
                      <a:pt x="6957084" y="5065330"/>
                    </a:lnTo>
                    <a:lnTo>
                      <a:pt x="6947554" y="5065330"/>
                    </a:lnTo>
                    <a:lnTo>
                      <a:pt x="6942789" y="5060565"/>
                    </a:lnTo>
                    <a:lnTo>
                      <a:pt x="6933258" y="5036739"/>
                    </a:lnTo>
                    <a:lnTo>
                      <a:pt x="6918963" y="5022444"/>
                    </a:lnTo>
                    <a:lnTo>
                      <a:pt x="6899903" y="4998618"/>
                    </a:lnTo>
                    <a:lnTo>
                      <a:pt x="6895137" y="4979557"/>
                    </a:lnTo>
                    <a:lnTo>
                      <a:pt x="6895137" y="4955732"/>
                    </a:lnTo>
                    <a:lnTo>
                      <a:pt x="6895137" y="4931907"/>
                    </a:lnTo>
                    <a:lnTo>
                      <a:pt x="6914198" y="4879490"/>
                    </a:lnTo>
                    <a:lnTo>
                      <a:pt x="6918963" y="4869959"/>
                    </a:lnTo>
                    <a:lnTo>
                      <a:pt x="6923728" y="4865195"/>
                    </a:lnTo>
                    <a:lnTo>
                      <a:pt x="6918963" y="4865195"/>
                    </a:lnTo>
                    <a:lnTo>
                      <a:pt x="6914198" y="4869959"/>
                    </a:lnTo>
                    <a:lnTo>
                      <a:pt x="6899903" y="4893785"/>
                    </a:lnTo>
                    <a:lnTo>
                      <a:pt x="6880842" y="4936671"/>
                    </a:lnTo>
                    <a:lnTo>
                      <a:pt x="6871312" y="4950967"/>
                    </a:lnTo>
                    <a:lnTo>
                      <a:pt x="6861782" y="4946201"/>
                    </a:lnTo>
                    <a:lnTo>
                      <a:pt x="6852251" y="4931907"/>
                    </a:lnTo>
                    <a:lnTo>
                      <a:pt x="6828426" y="4908081"/>
                    </a:lnTo>
                    <a:lnTo>
                      <a:pt x="6799835" y="4903315"/>
                    </a:lnTo>
                    <a:lnTo>
                      <a:pt x="6780774" y="4884255"/>
                    </a:lnTo>
                    <a:lnTo>
                      <a:pt x="6756949" y="4827073"/>
                    </a:lnTo>
                    <a:lnTo>
                      <a:pt x="6752184" y="4798483"/>
                    </a:lnTo>
                    <a:lnTo>
                      <a:pt x="6747418" y="4788953"/>
                    </a:lnTo>
                    <a:lnTo>
                      <a:pt x="6733123" y="4779423"/>
                    </a:lnTo>
                    <a:lnTo>
                      <a:pt x="6728358" y="4765127"/>
                    </a:lnTo>
                    <a:lnTo>
                      <a:pt x="6714063" y="4698415"/>
                    </a:lnTo>
                    <a:lnTo>
                      <a:pt x="6695002" y="4645999"/>
                    </a:lnTo>
                    <a:lnTo>
                      <a:pt x="6690237" y="4622173"/>
                    </a:lnTo>
                    <a:lnTo>
                      <a:pt x="6690237" y="4593583"/>
                    </a:lnTo>
                    <a:lnTo>
                      <a:pt x="6685472" y="4612643"/>
                    </a:lnTo>
                    <a:lnTo>
                      <a:pt x="6680707" y="4622173"/>
                    </a:lnTo>
                    <a:lnTo>
                      <a:pt x="6671176" y="4626938"/>
                    </a:lnTo>
                    <a:lnTo>
                      <a:pt x="6680707" y="4645999"/>
                    </a:lnTo>
                    <a:lnTo>
                      <a:pt x="6685472" y="4655529"/>
                    </a:lnTo>
                    <a:lnTo>
                      <a:pt x="6680707" y="4655529"/>
                    </a:lnTo>
                    <a:lnTo>
                      <a:pt x="6666411" y="4660294"/>
                    </a:lnTo>
                    <a:lnTo>
                      <a:pt x="6685472" y="4693650"/>
                    </a:lnTo>
                    <a:lnTo>
                      <a:pt x="6695002" y="4746067"/>
                    </a:lnTo>
                    <a:lnTo>
                      <a:pt x="6704532" y="4788953"/>
                    </a:lnTo>
                    <a:lnTo>
                      <a:pt x="6714063" y="4817543"/>
                    </a:lnTo>
                    <a:lnTo>
                      <a:pt x="6718828" y="4841369"/>
                    </a:lnTo>
                    <a:lnTo>
                      <a:pt x="6723593" y="4865195"/>
                    </a:lnTo>
                    <a:lnTo>
                      <a:pt x="6737888" y="4917611"/>
                    </a:lnTo>
                    <a:lnTo>
                      <a:pt x="6737888" y="4927141"/>
                    </a:lnTo>
                    <a:lnTo>
                      <a:pt x="6737888" y="4936671"/>
                    </a:lnTo>
                    <a:lnTo>
                      <a:pt x="6733123" y="4946201"/>
                    </a:lnTo>
                    <a:lnTo>
                      <a:pt x="6723593" y="4950967"/>
                    </a:lnTo>
                    <a:lnTo>
                      <a:pt x="6699767" y="4941437"/>
                    </a:lnTo>
                    <a:lnTo>
                      <a:pt x="6690237" y="4931907"/>
                    </a:lnTo>
                    <a:lnTo>
                      <a:pt x="6675942" y="4908081"/>
                    </a:lnTo>
                    <a:lnTo>
                      <a:pt x="6656881" y="4898551"/>
                    </a:lnTo>
                    <a:lnTo>
                      <a:pt x="6609230" y="4903315"/>
                    </a:lnTo>
                    <a:lnTo>
                      <a:pt x="6609230" y="4898551"/>
                    </a:lnTo>
                    <a:lnTo>
                      <a:pt x="6609230" y="4879490"/>
                    </a:lnTo>
                    <a:lnTo>
                      <a:pt x="6613995" y="4846134"/>
                    </a:lnTo>
                    <a:lnTo>
                      <a:pt x="6609230" y="4831839"/>
                    </a:lnTo>
                    <a:lnTo>
                      <a:pt x="6585404" y="4784187"/>
                    </a:lnTo>
                    <a:lnTo>
                      <a:pt x="6585404" y="4774657"/>
                    </a:lnTo>
                    <a:lnTo>
                      <a:pt x="6618760" y="4750831"/>
                    </a:lnTo>
                    <a:lnTo>
                      <a:pt x="6599700" y="4750831"/>
                    </a:lnTo>
                    <a:lnTo>
                      <a:pt x="6590169" y="4760362"/>
                    </a:lnTo>
                    <a:lnTo>
                      <a:pt x="6585404" y="4750831"/>
                    </a:lnTo>
                    <a:lnTo>
                      <a:pt x="6575874" y="4722241"/>
                    </a:lnTo>
                    <a:lnTo>
                      <a:pt x="6571109" y="4707945"/>
                    </a:lnTo>
                    <a:lnTo>
                      <a:pt x="6566344" y="4703181"/>
                    </a:lnTo>
                    <a:lnTo>
                      <a:pt x="6566344" y="4736536"/>
                    </a:lnTo>
                    <a:lnTo>
                      <a:pt x="6571109" y="4750831"/>
                    </a:lnTo>
                    <a:lnTo>
                      <a:pt x="6571109" y="4760362"/>
                    </a:lnTo>
                    <a:lnTo>
                      <a:pt x="6571109" y="4774657"/>
                    </a:lnTo>
                    <a:lnTo>
                      <a:pt x="6566344" y="4784187"/>
                    </a:lnTo>
                    <a:lnTo>
                      <a:pt x="6561579" y="4788953"/>
                    </a:lnTo>
                    <a:lnTo>
                      <a:pt x="6556813" y="4788953"/>
                    </a:lnTo>
                    <a:lnTo>
                      <a:pt x="6542518" y="4784187"/>
                    </a:lnTo>
                    <a:lnTo>
                      <a:pt x="6532988" y="4774657"/>
                    </a:lnTo>
                    <a:lnTo>
                      <a:pt x="6518692" y="4765127"/>
                    </a:lnTo>
                    <a:lnTo>
                      <a:pt x="6513927" y="4760362"/>
                    </a:lnTo>
                    <a:lnTo>
                      <a:pt x="6509162" y="4746067"/>
                    </a:lnTo>
                    <a:lnTo>
                      <a:pt x="6504397" y="4736536"/>
                    </a:lnTo>
                    <a:lnTo>
                      <a:pt x="6461511" y="4727006"/>
                    </a:lnTo>
                    <a:lnTo>
                      <a:pt x="6437685" y="4707945"/>
                    </a:lnTo>
                    <a:lnTo>
                      <a:pt x="6432920" y="4712711"/>
                    </a:lnTo>
                    <a:lnTo>
                      <a:pt x="6442450" y="4731771"/>
                    </a:lnTo>
                    <a:lnTo>
                      <a:pt x="6442450" y="4741301"/>
                    </a:lnTo>
                    <a:lnTo>
                      <a:pt x="6437685" y="4741301"/>
                    </a:lnTo>
                    <a:lnTo>
                      <a:pt x="6423390" y="4760362"/>
                    </a:lnTo>
                    <a:lnTo>
                      <a:pt x="6428155" y="4760362"/>
                    </a:lnTo>
                    <a:lnTo>
                      <a:pt x="6442450" y="4755597"/>
                    </a:lnTo>
                    <a:lnTo>
                      <a:pt x="6451981" y="4755597"/>
                    </a:lnTo>
                    <a:lnTo>
                      <a:pt x="6475806" y="4765127"/>
                    </a:lnTo>
                    <a:lnTo>
                      <a:pt x="6494867" y="4779423"/>
                    </a:lnTo>
                    <a:lnTo>
                      <a:pt x="6504397" y="4784187"/>
                    </a:lnTo>
                    <a:lnTo>
                      <a:pt x="6504397" y="4793717"/>
                    </a:lnTo>
                    <a:lnTo>
                      <a:pt x="6509162" y="4798483"/>
                    </a:lnTo>
                    <a:lnTo>
                      <a:pt x="6528223" y="4812778"/>
                    </a:lnTo>
                    <a:lnTo>
                      <a:pt x="6528223" y="4817543"/>
                    </a:lnTo>
                    <a:lnTo>
                      <a:pt x="6513927" y="4836604"/>
                    </a:lnTo>
                    <a:lnTo>
                      <a:pt x="6542518" y="4831839"/>
                    </a:lnTo>
                    <a:lnTo>
                      <a:pt x="6556813" y="4841369"/>
                    </a:lnTo>
                    <a:lnTo>
                      <a:pt x="6575874" y="4869959"/>
                    </a:lnTo>
                    <a:lnTo>
                      <a:pt x="6580639" y="4884255"/>
                    </a:lnTo>
                    <a:lnTo>
                      <a:pt x="6580639" y="4903315"/>
                    </a:lnTo>
                    <a:lnTo>
                      <a:pt x="6580639" y="4912846"/>
                    </a:lnTo>
                    <a:lnTo>
                      <a:pt x="6571109" y="4912846"/>
                    </a:lnTo>
                    <a:lnTo>
                      <a:pt x="6518692" y="4922376"/>
                    </a:lnTo>
                    <a:lnTo>
                      <a:pt x="6499632" y="4946201"/>
                    </a:lnTo>
                    <a:lnTo>
                      <a:pt x="6494867" y="4946201"/>
                    </a:lnTo>
                    <a:lnTo>
                      <a:pt x="6480571" y="4941437"/>
                    </a:lnTo>
                    <a:lnTo>
                      <a:pt x="6456746" y="4922376"/>
                    </a:lnTo>
                    <a:lnTo>
                      <a:pt x="6423390" y="4903315"/>
                    </a:lnTo>
                    <a:lnTo>
                      <a:pt x="6351913" y="4846134"/>
                    </a:lnTo>
                    <a:lnTo>
                      <a:pt x="6347148" y="4841369"/>
                    </a:lnTo>
                    <a:lnTo>
                      <a:pt x="6347148" y="4831839"/>
                    </a:lnTo>
                    <a:lnTo>
                      <a:pt x="6342383" y="4827073"/>
                    </a:lnTo>
                    <a:lnTo>
                      <a:pt x="6332852" y="4822309"/>
                    </a:lnTo>
                    <a:lnTo>
                      <a:pt x="6318557" y="4808013"/>
                    </a:lnTo>
                    <a:lnTo>
                      <a:pt x="6299497" y="4784187"/>
                    </a:lnTo>
                    <a:lnTo>
                      <a:pt x="6289966" y="4765127"/>
                    </a:lnTo>
                    <a:lnTo>
                      <a:pt x="6285201" y="4750831"/>
                    </a:lnTo>
                    <a:lnTo>
                      <a:pt x="6275671" y="4736536"/>
                    </a:lnTo>
                    <a:lnTo>
                      <a:pt x="6242315" y="4703181"/>
                    </a:lnTo>
                    <a:lnTo>
                      <a:pt x="6223254" y="4693650"/>
                    </a:lnTo>
                    <a:lnTo>
                      <a:pt x="6208959" y="4684120"/>
                    </a:lnTo>
                    <a:lnTo>
                      <a:pt x="6194664" y="4684120"/>
                    </a:lnTo>
                    <a:lnTo>
                      <a:pt x="6189899" y="4679355"/>
                    </a:lnTo>
                    <a:lnTo>
                      <a:pt x="6199429" y="4674589"/>
                    </a:lnTo>
                    <a:lnTo>
                      <a:pt x="6199429" y="4669825"/>
                    </a:lnTo>
                    <a:lnTo>
                      <a:pt x="6170838" y="4665059"/>
                    </a:lnTo>
                    <a:lnTo>
                      <a:pt x="6142247" y="4645999"/>
                    </a:lnTo>
                    <a:lnTo>
                      <a:pt x="6070770" y="4603113"/>
                    </a:lnTo>
                    <a:lnTo>
                      <a:pt x="6032649" y="4579287"/>
                    </a:lnTo>
                    <a:lnTo>
                      <a:pt x="6008824" y="4564991"/>
                    </a:lnTo>
                    <a:lnTo>
                      <a:pt x="5999293" y="4560227"/>
                    </a:lnTo>
                    <a:lnTo>
                      <a:pt x="5999293" y="4550696"/>
                    </a:lnTo>
                    <a:lnTo>
                      <a:pt x="6004059" y="4545931"/>
                    </a:lnTo>
                    <a:lnTo>
                      <a:pt x="6018354" y="4541166"/>
                    </a:lnTo>
                    <a:lnTo>
                      <a:pt x="6027884" y="4531635"/>
                    </a:lnTo>
                    <a:lnTo>
                      <a:pt x="6042180" y="4507810"/>
                    </a:lnTo>
                    <a:lnTo>
                      <a:pt x="6042180" y="4498280"/>
                    </a:lnTo>
                    <a:lnTo>
                      <a:pt x="6037414" y="4479219"/>
                    </a:lnTo>
                    <a:lnTo>
                      <a:pt x="6032649" y="4460159"/>
                    </a:lnTo>
                    <a:lnTo>
                      <a:pt x="6032649" y="4450629"/>
                    </a:lnTo>
                    <a:lnTo>
                      <a:pt x="6032649" y="4441099"/>
                    </a:lnTo>
                    <a:lnTo>
                      <a:pt x="6037414" y="4431568"/>
                    </a:lnTo>
                    <a:lnTo>
                      <a:pt x="6042180" y="4426803"/>
                    </a:lnTo>
                    <a:lnTo>
                      <a:pt x="6046945" y="4422038"/>
                    </a:lnTo>
                    <a:lnTo>
                      <a:pt x="6051710" y="4426803"/>
                    </a:lnTo>
                    <a:lnTo>
                      <a:pt x="6070770" y="4450629"/>
                    </a:lnTo>
                    <a:lnTo>
                      <a:pt x="6075536" y="4460159"/>
                    </a:lnTo>
                    <a:lnTo>
                      <a:pt x="6070770" y="4493515"/>
                    </a:lnTo>
                    <a:lnTo>
                      <a:pt x="6075536" y="4531635"/>
                    </a:lnTo>
                    <a:lnTo>
                      <a:pt x="6080301" y="4531635"/>
                    </a:lnTo>
                    <a:lnTo>
                      <a:pt x="6080301" y="4517341"/>
                    </a:lnTo>
                    <a:lnTo>
                      <a:pt x="6080301" y="4493515"/>
                    </a:lnTo>
                    <a:lnTo>
                      <a:pt x="6085066" y="4479219"/>
                    </a:lnTo>
                    <a:lnTo>
                      <a:pt x="6089831" y="4469689"/>
                    </a:lnTo>
                    <a:lnTo>
                      <a:pt x="6094596" y="4460159"/>
                    </a:lnTo>
                    <a:lnTo>
                      <a:pt x="6113657" y="4464924"/>
                    </a:lnTo>
                    <a:lnTo>
                      <a:pt x="6123187" y="4464924"/>
                    </a:lnTo>
                    <a:lnTo>
                      <a:pt x="6085066" y="4445863"/>
                    </a:lnTo>
                    <a:lnTo>
                      <a:pt x="6061240" y="4412507"/>
                    </a:lnTo>
                    <a:lnTo>
                      <a:pt x="6056475" y="4407743"/>
                    </a:lnTo>
                    <a:lnTo>
                      <a:pt x="6042180" y="4407743"/>
                    </a:lnTo>
                    <a:lnTo>
                      <a:pt x="6027884" y="4422038"/>
                    </a:lnTo>
                    <a:lnTo>
                      <a:pt x="5989763" y="4464924"/>
                    </a:lnTo>
                    <a:lnTo>
                      <a:pt x="5980233" y="4474454"/>
                    </a:lnTo>
                    <a:lnTo>
                      <a:pt x="5932582" y="4498280"/>
                    </a:lnTo>
                    <a:lnTo>
                      <a:pt x="5899226" y="4503045"/>
                    </a:lnTo>
                    <a:lnTo>
                      <a:pt x="5865870" y="4498280"/>
                    </a:lnTo>
                    <a:lnTo>
                      <a:pt x="5832514" y="4488749"/>
                    </a:lnTo>
                    <a:lnTo>
                      <a:pt x="5756272" y="4450629"/>
                    </a:lnTo>
                    <a:lnTo>
                      <a:pt x="5746742" y="4441099"/>
                    </a:lnTo>
                    <a:lnTo>
                      <a:pt x="5765802" y="4417273"/>
                    </a:lnTo>
                    <a:lnTo>
                      <a:pt x="5765802" y="4412507"/>
                    </a:lnTo>
                    <a:lnTo>
                      <a:pt x="5761037" y="4388682"/>
                    </a:lnTo>
                    <a:lnTo>
                      <a:pt x="5751507" y="4379151"/>
                    </a:lnTo>
                    <a:lnTo>
                      <a:pt x="5746742" y="4374387"/>
                    </a:lnTo>
                    <a:lnTo>
                      <a:pt x="5741976" y="4379151"/>
                    </a:lnTo>
                    <a:lnTo>
                      <a:pt x="5741976" y="4383917"/>
                    </a:lnTo>
                    <a:lnTo>
                      <a:pt x="5746742" y="4398212"/>
                    </a:lnTo>
                    <a:lnTo>
                      <a:pt x="5741976" y="4407743"/>
                    </a:lnTo>
                    <a:lnTo>
                      <a:pt x="5727681" y="4412507"/>
                    </a:lnTo>
                    <a:lnTo>
                      <a:pt x="5703855" y="4422038"/>
                    </a:lnTo>
                    <a:lnTo>
                      <a:pt x="5637144" y="4402977"/>
                    </a:lnTo>
                    <a:lnTo>
                      <a:pt x="5570432" y="4383917"/>
                    </a:lnTo>
                    <a:lnTo>
                      <a:pt x="5508485" y="4383917"/>
                    </a:lnTo>
                    <a:lnTo>
                      <a:pt x="5417948" y="4393447"/>
                    </a:lnTo>
                    <a:lnTo>
                      <a:pt x="5370297" y="4407743"/>
                    </a:lnTo>
                    <a:lnTo>
                      <a:pt x="5346471" y="4407743"/>
                    </a:lnTo>
                    <a:lnTo>
                      <a:pt x="5317880" y="4407743"/>
                    </a:lnTo>
                    <a:lnTo>
                      <a:pt x="5317880" y="4398212"/>
                    </a:lnTo>
                    <a:lnTo>
                      <a:pt x="5327410" y="4393447"/>
                    </a:lnTo>
                    <a:lnTo>
                      <a:pt x="5327410" y="4383917"/>
                    </a:lnTo>
                    <a:lnTo>
                      <a:pt x="5313115" y="4364856"/>
                    </a:lnTo>
                    <a:lnTo>
                      <a:pt x="5289289" y="4350561"/>
                    </a:lnTo>
                    <a:lnTo>
                      <a:pt x="5260699" y="4345795"/>
                    </a:lnTo>
                    <a:lnTo>
                      <a:pt x="5241638" y="4341031"/>
                    </a:lnTo>
                    <a:lnTo>
                      <a:pt x="5236873" y="4331501"/>
                    </a:lnTo>
                    <a:lnTo>
                      <a:pt x="5227343" y="4326735"/>
                    </a:lnTo>
                    <a:lnTo>
                      <a:pt x="5208282" y="4317205"/>
                    </a:lnTo>
                    <a:lnTo>
                      <a:pt x="5198752" y="4307675"/>
                    </a:lnTo>
                    <a:lnTo>
                      <a:pt x="5208282" y="4269553"/>
                    </a:lnTo>
                    <a:lnTo>
                      <a:pt x="5213047" y="4245728"/>
                    </a:lnTo>
                    <a:lnTo>
                      <a:pt x="5217812" y="4226667"/>
                    </a:lnTo>
                    <a:lnTo>
                      <a:pt x="5232108" y="4202842"/>
                    </a:lnTo>
                    <a:lnTo>
                      <a:pt x="5227343" y="4202842"/>
                    </a:lnTo>
                    <a:lnTo>
                      <a:pt x="5208282" y="4221903"/>
                    </a:lnTo>
                    <a:lnTo>
                      <a:pt x="5189222" y="4240963"/>
                    </a:lnTo>
                    <a:lnTo>
                      <a:pt x="5170161" y="4269553"/>
                    </a:lnTo>
                    <a:lnTo>
                      <a:pt x="5160631" y="4279084"/>
                    </a:lnTo>
                    <a:lnTo>
                      <a:pt x="5146336" y="4293379"/>
                    </a:lnTo>
                    <a:lnTo>
                      <a:pt x="5127275" y="4288614"/>
                    </a:lnTo>
                    <a:lnTo>
                      <a:pt x="5098684" y="4274319"/>
                    </a:lnTo>
                    <a:lnTo>
                      <a:pt x="5074859" y="4264789"/>
                    </a:lnTo>
                    <a:lnTo>
                      <a:pt x="5051033" y="4264789"/>
                    </a:lnTo>
                    <a:lnTo>
                      <a:pt x="5046268" y="4260023"/>
                    </a:lnTo>
                    <a:lnTo>
                      <a:pt x="5060563" y="4245728"/>
                    </a:lnTo>
                    <a:lnTo>
                      <a:pt x="5065328" y="4236198"/>
                    </a:lnTo>
                    <a:lnTo>
                      <a:pt x="5079624" y="4217137"/>
                    </a:lnTo>
                    <a:lnTo>
                      <a:pt x="5079624" y="4207607"/>
                    </a:lnTo>
                    <a:lnTo>
                      <a:pt x="5003382" y="4202842"/>
                    </a:lnTo>
                    <a:lnTo>
                      <a:pt x="5003382" y="4193312"/>
                    </a:lnTo>
                    <a:lnTo>
                      <a:pt x="5003382" y="4188547"/>
                    </a:lnTo>
                    <a:lnTo>
                      <a:pt x="4998617" y="4179016"/>
                    </a:lnTo>
                    <a:lnTo>
                      <a:pt x="4989086" y="4174251"/>
                    </a:lnTo>
                    <a:lnTo>
                      <a:pt x="4974791" y="4179016"/>
                    </a:lnTo>
                    <a:lnTo>
                      <a:pt x="4950965" y="4188547"/>
                    </a:lnTo>
                    <a:lnTo>
                      <a:pt x="4941435" y="4183781"/>
                    </a:lnTo>
                    <a:lnTo>
                      <a:pt x="4941435" y="4174251"/>
                    </a:lnTo>
                    <a:lnTo>
                      <a:pt x="4950965" y="4174251"/>
                    </a:lnTo>
                    <a:lnTo>
                      <a:pt x="4965261" y="4155191"/>
                    </a:lnTo>
                    <a:lnTo>
                      <a:pt x="4946200" y="4145661"/>
                    </a:lnTo>
                    <a:lnTo>
                      <a:pt x="4936670" y="4136130"/>
                    </a:lnTo>
                    <a:lnTo>
                      <a:pt x="4927140" y="4126600"/>
                    </a:lnTo>
                    <a:lnTo>
                      <a:pt x="4927140" y="4098009"/>
                    </a:lnTo>
                    <a:lnTo>
                      <a:pt x="4936670" y="4078949"/>
                    </a:lnTo>
                    <a:lnTo>
                      <a:pt x="4984321" y="4059888"/>
                    </a:lnTo>
                    <a:lnTo>
                      <a:pt x="4970026" y="4050358"/>
                    </a:lnTo>
                    <a:lnTo>
                      <a:pt x="4936670" y="4055123"/>
                    </a:lnTo>
                    <a:lnTo>
                      <a:pt x="4917609" y="4069419"/>
                    </a:lnTo>
                    <a:lnTo>
                      <a:pt x="4893784" y="4093244"/>
                    </a:lnTo>
                    <a:lnTo>
                      <a:pt x="4874723" y="4102774"/>
                    </a:lnTo>
                    <a:lnTo>
                      <a:pt x="4865193" y="4098009"/>
                    </a:lnTo>
                    <a:lnTo>
                      <a:pt x="4855663" y="4093244"/>
                    </a:lnTo>
                    <a:lnTo>
                      <a:pt x="4841367" y="4098009"/>
                    </a:lnTo>
                    <a:lnTo>
                      <a:pt x="4831837" y="4102774"/>
                    </a:lnTo>
                    <a:lnTo>
                      <a:pt x="4827072" y="4112305"/>
                    </a:lnTo>
                    <a:lnTo>
                      <a:pt x="4822307" y="4117070"/>
                    </a:lnTo>
                    <a:lnTo>
                      <a:pt x="4817542" y="4121835"/>
                    </a:lnTo>
                    <a:lnTo>
                      <a:pt x="4812777" y="4121835"/>
                    </a:lnTo>
                    <a:lnTo>
                      <a:pt x="4803246" y="4112305"/>
                    </a:lnTo>
                    <a:lnTo>
                      <a:pt x="4788951" y="4102774"/>
                    </a:lnTo>
                    <a:lnTo>
                      <a:pt x="4784186" y="4098009"/>
                    </a:lnTo>
                    <a:lnTo>
                      <a:pt x="4779421" y="4102774"/>
                    </a:lnTo>
                    <a:lnTo>
                      <a:pt x="4774656" y="4117070"/>
                    </a:lnTo>
                    <a:lnTo>
                      <a:pt x="4769890" y="4121835"/>
                    </a:lnTo>
                    <a:lnTo>
                      <a:pt x="4746065" y="4131365"/>
                    </a:lnTo>
                    <a:lnTo>
                      <a:pt x="4731769" y="4131365"/>
                    </a:lnTo>
                    <a:lnTo>
                      <a:pt x="4717474" y="4112305"/>
                    </a:lnTo>
                    <a:lnTo>
                      <a:pt x="4717474" y="4107539"/>
                    </a:lnTo>
                    <a:lnTo>
                      <a:pt x="4722239" y="4088479"/>
                    </a:lnTo>
                    <a:lnTo>
                      <a:pt x="4755595" y="4021767"/>
                    </a:lnTo>
                    <a:lnTo>
                      <a:pt x="4750830" y="4026532"/>
                    </a:lnTo>
                    <a:lnTo>
                      <a:pt x="4741300" y="4036063"/>
                    </a:lnTo>
                    <a:lnTo>
                      <a:pt x="4717474" y="4059888"/>
                    </a:lnTo>
                    <a:lnTo>
                      <a:pt x="4707944" y="4069419"/>
                    </a:lnTo>
                    <a:lnTo>
                      <a:pt x="4693648" y="4069419"/>
                    </a:lnTo>
                    <a:lnTo>
                      <a:pt x="4684118" y="4064653"/>
                    </a:lnTo>
                    <a:lnTo>
                      <a:pt x="4674588" y="4069419"/>
                    </a:lnTo>
                    <a:lnTo>
                      <a:pt x="4665058" y="4074183"/>
                    </a:lnTo>
                    <a:lnTo>
                      <a:pt x="4655527" y="4083714"/>
                    </a:lnTo>
                    <a:lnTo>
                      <a:pt x="4650762" y="4093244"/>
                    </a:lnTo>
                    <a:lnTo>
                      <a:pt x="4655527" y="4093244"/>
                    </a:lnTo>
                    <a:lnTo>
                      <a:pt x="4669823" y="4083714"/>
                    </a:lnTo>
                    <a:lnTo>
                      <a:pt x="4679353" y="4078949"/>
                    </a:lnTo>
                    <a:lnTo>
                      <a:pt x="4684118" y="4083714"/>
                    </a:lnTo>
                    <a:lnTo>
                      <a:pt x="4669823" y="4112305"/>
                    </a:lnTo>
                    <a:lnTo>
                      <a:pt x="4665058" y="4140895"/>
                    </a:lnTo>
                    <a:lnTo>
                      <a:pt x="4655527" y="4150425"/>
                    </a:lnTo>
                    <a:lnTo>
                      <a:pt x="4641232" y="4145661"/>
                    </a:lnTo>
                    <a:lnTo>
                      <a:pt x="4631702" y="4150425"/>
                    </a:lnTo>
                    <a:lnTo>
                      <a:pt x="4631702" y="4159956"/>
                    </a:lnTo>
                    <a:lnTo>
                      <a:pt x="4655527" y="4179016"/>
                    </a:lnTo>
                    <a:lnTo>
                      <a:pt x="4665058" y="4183781"/>
                    </a:lnTo>
                    <a:lnTo>
                      <a:pt x="4674588" y="4193312"/>
                    </a:lnTo>
                    <a:lnTo>
                      <a:pt x="4674588" y="4198077"/>
                    </a:lnTo>
                    <a:lnTo>
                      <a:pt x="4669823" y="4221903"/>
                    </a:lnTo>
                    <a:lnTo>
                      <a:pt x="4669823" y="4226667"/>
                    </a:lnTo>
                    <a:lnTo>
                      <a:pt x="4665058" y="4231433"/>
                    </a:lnTo>
                    <a:lnTo>
                      <a:pt x="4645997" y="4231433"/>
                    </a:lnTo>
                    <a:lnTo>
                      <a:pt x="4636467" y="4236198"/>
                    </a:lnTo>
                    <a:lnTo>
                      <a:pt x="4622172" y="4245728"/>
                    </a:lnTo>
                    <a:lnTo>
                      <a:pt x="4617406" y="4260023"/>
                    </a:lnTo>
                    <a:lnTo>
                      <a:pt x="4631702" y="4250493"/>
                    </a:lnTo>
                    <a:lnTo>
                      <a:pt x="4645997" y="4245728"/>
                    </a:lnTo>
                    <a:lnTo>
                      <a:pt x="4669823" y="4245728"/>
                    </a:lnTo>
                    <a:lnTo>
                      <a:pt x="4688883" y="4240963"/>
                    </a:lnTo>
                    <a:lnTo>
                      <a:pt x="4698414" y="4231433"/>
                    </a:lnTo>
                    <a:lnTo>
                      <a:pt x="4707944" y="4231433"/>
                    </a:lnTo>
                    <a:lnTo>
                      <a:pt x="4717474" y="4245728"/>
                    </a:lnTo>
                    <a:lnTo>
                      <a:pt x="4722239" y="4260023"/>
                    </a:lnTo>
                    <a:lnTo>
                      <a:pt x="4717474" y="4269553"/>
                    </a:lnTo>
                    <a:lnTo>
                      <a:pt x="4707944" y="4279084"/>
                    </a:lnTo>
                    <a:lnTo>
                      <a:pt x="4698414" y="4283849"/>
                    </a:lnTo>
                    <a:lnTo>
                      <a:pt x="4688883" y="4288614"/>
                    </a:lnTo>
                    <a:lnTo>
                      <a:pt x="4684118" y="4298145"/>
                    </a:lnTo>
                    <a:lnTo>
                      <a:pt x="4684118" y="4312440"/>
                    </a:lnTo>
                    <a:lnTo>
                      <a:pt x="4684118" y="4326735"/>
                    </a:lnTo>
                    <a:lnTo>
                      <a:pt x="4684118" y="4360091"/>
                    </a:lnTo>
                    <a:lnTo>
                      <a:pt x="4684118" y="4364856"/>
                    </a:lnTo>
                    <a:lnTo>
                      <a:pt x="4679353" y="4364856"/>
                    </a:lnTo>
                    <a:lnTo>
                      <a:pt x="4669823" y="4364856"/>
                    </a:lnTo>
                    <a:lnTo>
                      <a:pt x="4665058" y="4374387"/>
                    </a:lnTo>
                    <a:lnTo>
                      <a:pt x="4650762" y="4417273"/>
                    </a:lnTo>
                    <a:lnTo>
                      <a:pt x="4645997" y="4422038"/>
                    </a:lnTo>
                    <a:lnTo>
                      <a:pt x="4636467" y="4417273"/>
                    </a:lnTo>
                    <a:lnTo>
                      <a:pt x="4631702" y="4417273"/>
                    </a:lnTo>
                    <a:lnTo>
                      <a:pt x="4626937" y="4422038"/>
                    </a:lnTo>
                    <a:lnTo>
                      <a:pt x="4617406" y="4426803"/>
                    </a:lnTo>
                    <a:lnTo>
                      <a:pt x="4598346" y="4426803"/>
                    </a:lnTo>
                    <a:lnTo>
                      <a:pt x="4584051" y="4426803"/>
                    </a:lnTo>
                    <a:lnTo>
                      <a:pt x="4560225" y="4417273"/>
                    </a:lnTo>
                    <a:lnTo>
                      <a:pt x="4550695" y="4412507"/>
                    </a:lnTo>
                    <a:lnTo>
                      <a:pt x="4541164" y="4402977"/>
                    </a:lnTo>
                    <a:lnTo>
                      <a:pt x="4517339" y="4412507"/>
                    </a:lnTo>
                    <a:lnTo>
                      <a:pt x="4512574" y="4407743"/>
                    </a:lnTo>
                    <a:lnTo>
                      <a:pt x="4498278" y="4379151"/>
                    </a:lnTo>
                    <a:lnTo>
                      <a:pt x="4493513" y="4379151"/>
                    </a:lnTo>
                    <a:lnTo>
                      <a:pt x="4493513" y="4412507"/>
                    </a:lnTo>
                    <a:lnTo>
                      <a:pt x="4488748" y="4422038"/>
                    </a:lnTo>
                    <a:lnTo>
                      <a:pt x="4474453" y="4445863"/>
                    </a:lnTo>
                    <a:lnTo>
                      <a:pt x="4464922" y="4483985"/>
                    </a:lnTo>
                    <a:lnTo>
                      <a:pt x="4460157" y="4479219"/>
                    </a:lnTo>
                    <a:lnTo>
                      <a:pt x="4455392" y="4445863"/>
                    </a:lnTo>
                    <a:lnTo>
                      <a:pt x="4450627" y="4436333"/>
                    </a:lnTo>
                    <a:lnTo>
                      <a:pt x="4436332" y="4455393"/>
                    </a:lnTo>
                    <a:lnTo>
                      <a:pt x="4436332" y="4464924"/>
                    </a:lnTo>
                    <a:lnTo>
                      <a:pt x="4436332" y="4488749"/>
                    </a:lnTo>
                    <a:lnTo>
                      <a:pt x="4436332" y="4493515"/>
                    </a:lnTo>
                    <a:lnTo>
                      <a:pt x="4407741" y="4479219"/>
                    </a:lnTo>
                    <a:lnTo>
                      <a:pt x="4402976" y="4479219"/>
                    </a:lnTo>
                    <a:lnTo>
                      <a:pt x="4402976" y="4483985"/>
                    </a:lnTo>
                    <a:lnTo>
                      <a:pt x="4412506" y="4503045"/>
                    </a:lnTo>
                    <a:lnTo>
                      <a:pt x="4407741" y="4507810"/>
                    </a:lnTo>
                    <a:lnTo>
                      <a:pt x="4374385" y="4545931"/>
                    </a:lnTo>
                    <a:lnTo>
                      <a:pt x="4364855" y="4545931"/>
                    </a:lnTo>
                    <a:lnTo>
                      <a:pt x="4360090" y="4541166"/>
                    </a:lnTo>
                    <a:lnTo>
                      <a:pt x="4350559" y="4541166"/>
                    </a:lnTo>
                    <a:lnTo>
                      <a:pt x="4326734" y="4555461"/>
                    </a:lnTo>
                    <a:lnTo>
                      <a:pt x="4321969" y="4555461"/>
                    </a:lnTo>
                    <a:lnTo>
                      <a:pt x="4312438" y="4545931"/>
                    </a:lnTo>
                    <a:lnTo>
                      <a:pt x="4307673" y="4545931"/>
                    </a:lnTo>
                    <a:lnTo>
                      <a:pt x="4307673" y="4555461"/>
                    </a:lnTo>
                    <a:lnTo>
                      <a:pt x="4307673" y="4574522"/>
                    </a:lnTo>
                    <a:lnTo>
                      <a:pt x="4298143" y="4588817"/>
                    </a:lnTo>
                    <a:lnTo>
                      <a:pt x="4269552" y="4617408"/>
                    </a:lnTo>
                    <a:lnTo>
                      <a:pt x="4264787" y="4626938"/>
                    </a:lnTo>
                    <a:lnTo>
                      <a:pt x="4260022" y="4645999"/>
                    </a:lnTo>
                    <a:lnTo>
                      <a:pt x="4255257" y="4645999"/>
                    </a:lnTo>
                    <a:lnTo>
                      <a:pt x="4236196" y="4636469"/>
                    </a:lnTo>
                    <a:lnTo>
                      <a:pt x="4217136" y="4626938"/>
                    </a:lnTo>
                    <a:lnTo>
                      <a:pt x="4217136" y="4631703"/>
                    </a:lnTo>
                    <a:lnTo>
                      <a:pt x="4221901" y="4641233"/>
                    </a:lnTo>
                    <a:lnTo>
                      <a:pt x="4221901" y="4645999"/>
                    </a:lnTo>
                    <a:lnTo>
                      <a:pt x="4212371" y="4650764"/>
                    </a:lnTo>
                    <a:lnTo>
                      <a:pt x="4202840" y="4650764"/>
                    </a:lnTo>
                    <a:lnTo>
                      <a:pt x="4193310" y="4645999"/>
                    </a:lnTo>
                    <a:lnTo>
                      <a:pt x="4174250" y="4650764"/>
                    </a:lnTo>
                    <a:lnTo>
                      <a:pt x="4150424" y="4665059"/>
                    </a:lnTo>
                    <a:lnTo>
                      <a:pt x="4131363" y="4660294"/>
                    </a:lnTo>
                    <a:lnTo>
                      <a:pt x="4107538" y="4641233"/>
                    </a:lnTo>
                    <a:lnTo>
                      <a:pt x="4098008" y="4641233"/>
                    </a:lnTo>
                    <a:lnTo>
                      <a:pt x="4098008" y="4631703"/>
                    </a:lnTo>
                    <a:lnTo>
                      <a:pt x="4102773" y="4617408"/>
                    </a:lnTo>
                    <a:lnTo>
                      <a:pt x="4107538" y="4603113"/>
                    </a:lnTo>
                    <a:lnTo>
                      <a:pt x="4117068" y="4598347"/>
                    </a:lnTo>
                    <a:lnTo>
                      <a:pt x="4140894" y="4579287"/>
                    </a:lnTo>
                    <a:lnTo>
                      <a:pt x="4169484" y="4574522"/>
                    </a:lnTo>
                    <a:lnTo>
                      <a:pt x="4183780" y="4560227"/>
                    </a:lnTo>
                    <a:lnTo>
                      <a:pt x="4207605" y="4541166"/>
                    </a:lnTo>
                    <a:lnTo>
                      <a:pt x="4217136" y="4526871"/>
                    </a:lnTo>
                    <a:lnTo>
                      <a:pt x="4240961" y="4483985"/>
                    </a:lnTo>
                    <a:lnTo>
                      <a:pt x="4240961" y="4479219"/>
                    </a:lnTo>
                    <a:lnTo>
                      <a:pt x="4236196" y="4479219"/>
                    </a:lnTo>
                    <a:lnTo>
                      <a:pt x="4183780" y="4517341"/>
                    </a:lnTo>
                    <a:lnTo>
                      <a:pt x="4179015" y="4522105"/>
                    </a:lnTo>
                    <a:lnTo>
                      <a:pt x="4169484" y="4522105"/>
                    </a:lnTo>
                    <a:lnTo>
                      <a:pt x="4126598" y="4507810"/>
                    </a:lnTo>
                    <a:lnTo>
                      <a:pt x="4121833" y="4498280"/>
                    </a:lnTo>
                    <a:lnTo>
                      <a:pt x="4117068" y="4479219"/>
                    </a:lnTo>
                    <a:lnTo>
                      <a:pt x="4126598" y="4436333"/>
                    </a:lnTo>
                    <a:lnTo>
                      <a:pt x="4131363" y="4417273"/>
                    </a:lnTo>
                    <a:lnTo>
                      <a:pt x="4150424" y="4383917"/>
                    </a:lnTo>
                    <a:lnTo>
                      <a:pt x="4179015" y="4350561"/>
                    </a:lnTo>
                    <a:lnTo>
                      <a:pt x="4183780" y="4326735"/>
                    </a:lnTo>
                    <a:lnTo>
                      <a:pt x="4198075" y="4264789"/>
                    </a:lnTo>
                    <a:lnTo>
                      <a:pt x="4198075" y="4236198"/>
                    </a:lnTo>
                    <a:lnTo>
                      <a:pt x="4193310" y="4202842"/>
                    </a:lnTo>
                    <a:lnTo>
                      <a:pt x="4193310" y="4183781"/>
                    </a:lnTo>
                    <a:lnTo>
                      <a:pt x="4198075" y="4179016"/>
                    </a:lnTo>
                    <a:lnTo>
                      <a:pt x="4255257" y="4145661"/>
                    </a:lnTo>
                    <a:lnTo>
                      <a:pt x="4283847" y="4121835"/>
                    </a:lnTo>
                    <a:lnTo>
                      <a:pt x="4336264" y="4088479"/>
                    </a:lnTo>
                    <a:lnTo>
                      <a:pt x="4350559" y="4088479"/>
                    </a:lnTo>
                    <a:lnTo>
                      <a:pt x="4360090" y="4098009"/>
                    </a:lnTo>
                    <a:lnTo>
                      <a:pt x="4374385" y="4107539"/>
                    </a:lnTo>
                    <a:lnTo>
                      <a:pt x="4388680" y="4117070"/>
                    </a:lnTo>
                    <a:lnTo>
                      <a:pt x="4402976" y="4117070"/>
                    </a:lnTo>
                    <a:lnTo>
                      <a:pt x="4426801" y="4107539"/>
                    </a:lnTo>
                    <a:lnTo>
                      <a:pt x="4460157" y="4112305"/>
                    </a:lnTo>
                    <a:lnTo>
                      <a:pt x="4531634" y="4131365"/>
                    </a:lnTo>
                    <a:lnTo>
                      <a:pt x="4550695" y="4136130"/>
                    </a:lnTo>
                    <a:lnTo>
                      <a:pt x="4550695" y="4131365"/>
                    </a:lnTo>
                    <a:lnTo>
                      <a:pt x="4536399" y="4117070"/>
                    </a:lnTo>
                    <a:lnTo>
                      <a:pt x="4488748" y="4107539"/>
                    </a:lnTo>
                    <a:lnTo>
                      <a:pt x="4469687" y="4098009"/>
                    </a:lnTo>
                    <a:lnTo>
                      <a:pt x="4407741" y="4055123"/>
                    </a:lnTo>
                    <a:lnTo>
                      <a:pt x="4398211" y="4040827"/>
                    </a:lnTo>
                    <a:lnTo>
                      <a:pt x="4402976" y="4031297"/>
                    </a:lnTo>
                    <a:lnTo>
                      <a:pt x="4417271" y="4026532"/>
                    </a:lnTo>
                    <a:lnTo>
                      <a:pt x="4422036" y="4021767"/>
                    </a:lnTo>
                    <a:lnTo>
                      <a:pt x="4422036" y="4007472"/>
                    </a:lnTo>
                    <a:lnTo>
                      <a:pt x="4431566" y="3993176"/>
                    </a:lnTo>
                    <a:lnTo>
                      <a:pt x="4445862" y="3978881"/>
                    </a:lnTo>
                    <a:lnTo>
                      <a:pt x="4469687" y="3959821"/>
                    </a:lnTo>
                    <a:lnTo>
                      <a:pt x="4507808" y="3931230"/>
                    </a:lnTo>
                    <a:lnTo>
                      <a:pt x="4493513" y="3931230"/>
                    </a:lnTo>
                    <a:lnTo>
                      <a:pt x="4460157" y="3935995"/>
                    </a:lnTo>
                    <a:lnTo>
                      <a:pt x="4450627" y="3940760"/>
                    </a:lnTo>
                    <a:lnTo>
                      <a:pt x="4431566" y="3959821"/>
                    </a:lnTo>
                    <a:lnTo>
                      <a:pt x="4422036" y="3974116"/>
                    </a:lnTo>
                    <a:lnTo>
                      <a:pt x="4412506" y="3997941"/>
                    </a:lnTo>
                    <a:lnTo>
                      <a:pt x="4407741" y="4002707"/>
                    </a:lnTo>
                    <a:lnTo>
                      <a:pt x="4388680" y="4007472"/>
                    </a:lnTo>
                    <a:lnTo>
                      <a:pt x="4331499" y="4012237"/>
                    </a:lnTo>
                    <a:lnTo>
                      <a:pt x="4321969" y="3997941"/>
                    </a:lnTo>
                    <a:lnTo>
                      <a:pt x="4317203" y="3997941"/>
                    </a:lnTo>
                    <a:lnTo>
                      <a:pt x="4307673" y="3997941"/>
                    </a:lnTo>
                    <a:lnTo>
                      <a:pt x="4255257" y="4031297"/>
                    </a:lnTo>
                    <a:lnTo>
                      <a:pt x="4236196" y="4050358"/>
                    </a:lnTo>
                    <a:lnTo>
                      <a:pt x="4226666" y="4069419"/>
                    </a:lnTo>
                    <a:lnTo>
                      <a:pt x="4202840" y="4078949"/>
                    </a:lnTo>
                    <a:lnTo>
                      <a:pt x="4174250" y="4088479"/>
                    </a:lnTo>
                    <a:lnTo>
                      <a:pt x="4155189" y="4102774"/>
                    </a:lnTo>
                    <a:lnTo>
                      <a:pt x="4131363" y="4121835"/>
                    </a:lnTo>
                    <a:lnTo>
                      <a:pt x="4126598" y="4140895"/>
                    </a:lnTo>
                    <a:lnTo>
                      <a:pt x="4126598" y="4150425"/>
                    </a:lnTo>
                    <a:lnTo>
                      <a:pt x="4131363" y="4174251"/>
                    </a:lnTo>
                    <a:lnTo>
                      <a:pt x="4126598" y="4179016"/>
                    </a:lnTo>
                    <a:lnTo>
                      <a:pt x="4112303" y="4179016"/>
                    </a:lnTo>
                    <a:lnTo>
                      <a:pt x="4093242" y="4198077"/>
                    </a:lnTo>
                    <a:lnTo>
                      <a:pt x="4050356" y="4245728"/>
                    </a:lnTo>
                    <a:lnTo>
                      <a:pt x="4045591" y="4264789"/>
                    </a:lnTo>
                    <a:lnTo>
                      <a:pt x="4045591" y="4269553"/>
                    </a:lnTo>
                    <a:lnTo>
                      <a:pt x="4050356" y="4283849"/>
                    </a:lnTo>
                    <a:lnTo>
                      <a:pt x="4045591" y="4293379"/>
                    </a:lnTo>
                    <a:lnTo>
                      <a:pt x="4036061" y="4307675"/>
                    </a:lnTo>
                    <a:lnTo>
                      <a:pt x="4007470" y="4326735"/>
                    </a:lnTo>
                    <a:lnTo>
                      <a:pt x="3988410" y="4336265"/>
                    </a:lnTo>
                    <a:lnTo>
                      <a:pt x="3978879" y="4336265"/>
                    </a:lnTo>
                    <a:lnTo>
                      <a:pt x="3969349" y="4336265"/>
                    </a:lnTo>
                    <a:lnTo>
                      <a:pt x="3945523" y="4321970"/>
                    </a:lnTo>
                    <a:lnTo>
                      <a:pt x="3931228" y="4317205"/>
                    </a:lnTo>
                    <a:lnTo>
                      <a:pt x="3931228" y="4321970"/>
                    </a:lnTo>
                    <a:lnTo>
                      <a:pt x="3950289" y="4336265"/>
                    </a:lnTo>
                    <a:lnTo>
                      <a:pt x="3974114" y="4355326"/>
                    </a:lnTo>
                    <a:lnTo>
                      <a:pt x="3988410" y="4374387"/>
                    </a:lnTo>
                    <a:lnTo>
                      <a:pt x="3993175" y="4383917"/>
                    </a:lnTo>
                    <a:lnTo>
                      <a:pt x="3993175" y="4398212"/>
                    </a:lnTo>
                    <a:lnTo>
                      <a:pt x="3988410" y="4412507"/>
                    </a:lnTo>
                    <a:lnTo>
                      <a:pt x="3974114" y="4436333"/>
                    </a:lnTo>
                    <a:lnTo>
                      <a:pt x="3959819" y="4445863"/>
                    </a:lnTo>
                    <a:lnTo>
                      <a:pt x="3916933" y="4450629"/>
                    </a:lnTo>
                    <a:lnTo>
                      <a:pt x="3907402" y="4455393"/>
                    </a:lnTo>
                    <a:lnTo>
                      <a:pt x="3902637" y="4460159"/>
                    </a:lnTo>
                    <a:lnTo>
                      <a:pt x="3931228" y="4469689"/>
                    </a:lnTo>
                    <a:lnTo>
                      <a:pt x="3931228" y="4474454"/>
                    </a:lnTo>
                    <a:lnTo>
                      <a:pt x="3926463" y="4498280"/>
                    </a:lnTo>
                    <a:lnTo>
                      <a:pt x="3921698" y="4503045"/>
                    </a:lnTo>
                    <a:lnTo>
                      <a:pt x="3897872" y="4512575"/>
                    </a:lnTo>
                    <a:lnTo>
                      <a:pt x="3878812" y="4517341"/>
                    </a:lnTo>
                    <a:lnTo>
                      <a:pt x="3874047" y="4517341"/>
                    </a:lnTo>
                    <a:lnTo>
                      <a:pt x="3878812" y="4498280"/>
                    </a:lnTo>
                    <a:lnTo>
                      <a:pt x="3869281" y="4493515"/>
                    </a:lnTo>
                    <a:lnTo>
                      <a:pt x="3859751" y="4498280"/>
                    </a:lnTo>
                    <a:lnTo>
                      <a:pt x="3831160" y="4522105"/>
                    </a:lnTo>
                    <a:lnTo>
                      <a:pt x="3831160" y="4526871"/>
                    </a:lnTo>
                    <a:lnTo>
                      <a:pt x="3840691" y="4531635"/>
                    </a:lnTo>
                    <a:lnTo>
                      <a:pt x="3840691" y="4536401"/>
                    </a:lnTo>
                    <a:lnTo>
                      <a:pt x="3826395" y="4550696"/>
                    </a:lnTo>
                    <a:lnTo>
                      <a:pt x="3816865" y="4564991"/>
                    </a:lnTo>
                    <a:lnTo>
                      <a:pt x="3807335" y="4574522"/>
                    </a:lnTo>
                    <a:lnTo>
                      <a:pt x="3764449" y="4607877"/>
                    </a:lnTo>
                    <a:lnTo>
                      <a:pt x="3769214" y="4617408"/>
                    </a:lnTo>
                    <a:lnTo>
                      <a:pt x="3759683" y="4645999"/>
                    </a:lnTo>
                    <a:lnTo>
                      <a:pt x="3750153" y="4674589"/>
                    </a:lnTo>
                    <a:lnTo>
                      <a:pt x="3759683" y="4684120"/>
                    </a:lnTo>
                    <a:lnTo>
                      <a:pt x="3793039" y="4698415"/>
                    </a:lnTo>
                    <a:lnTo>
                      <a:pt x="3812100" y="4698415"/>
                    </a:lnTo>
                    <a:lnTo>
                      <a:pt x="3831160" y="4707945"/>
                    </a:lnTo>
                    <a:lnTo>
                      <a:pt x="3869281" y="4731771"/>
                    </a:lnTo>
                    <a:lnTo>
                      <a:pt x="3883577" y="4746067"/>
                    </a:lnTo>
                    <a:lnTo>
                      <a:pt x="3883577" y="4755597"/>
                    </a:lnTo>
                    <a:lnTo>
                      <a:pt x="3883577" y="4765127"/>
                    </a:lnTo>
                    <a:lnTo>
                      <a:pt x="3878812" y="4774657"/>
                    </a:lnTo>
                    <a:lnTo>
                      <a:pt x="3869281" y="4793717"/>
                    </a:lnTo>
                    <a:lnTo>
                      <a:pt x="3840691" y="4822309"/>
                    </a:lnTo>
                    <a:lnTo>
                      <a:pt x="3826395" y="4831839"/>
                    </a:lnTo>
                    <a:lnTo>
                      <a:pt x="3807335" y="4841369"/>
                    </a:lnTo>
                    <a:lnTo>
                      <a:pt x="3802570" y="4846134"/>
                    </a:lnTo>
                    <a:lnTo>
                      <a:pt x="3773979" y="4874725"/>
                    </a:lnTo>
                    <a:lnTo>
                      <a:pt x="3769214" y="4889020"/>
                    </a:lnTo>
                    <a:lnTo>
                      <a:pt x="3769214" y="4903315"/>
                    </a:lnTo>
                    <a:lnTo>
                      <a:pt x="3764449" y="4912846"/>
                    </a:lnTo>
                    <a:lnTo>
                      <a:pt x="3735858" y="4927141"/>
                    </a:lnTo>
                    <a:lnTo>
                      <a:pt x="3735858" y="4931907"/>
                    </a:lnTo>
                    <a:lnTo>
                      <a:pt x="3745388" y="4931907"/>
                    </a:lnTo>
                    <a:lnTo>
                      <a:pt x="3740623" y="4950967"/>
                    </a:lnTo>
                    <a:lnTo>
                      <a:pt x="3740623" y="4970027"/>
                    </a:lnTo>
                    <a:lnTo>
                      <a:pt x="3735858" y="4974793"/>
                    </a:lnTo>
                    <a:lnTo>
                      <a:pt x="3716797" y="4974793"/>
                    </a:lnTo>
                    <a:lnTo>
                      <a:pt x="3688207" y="4984323"/>
                    </a:lnTo>
                    <a:lnTo>
                      <a:pt x="3688207" y="5003383"/>
                    </a:lnTo>
                    <a:lnTo>
                      <a:pt x="3621495" y="5012913"/>
                    </a:lnTo>
                    <a:lnTo>
                      <a:pt x="3607199" y="5046269"/>
                    </a:lnTo>
                    <a:lnTo>
                      <a:pt x="3597669" y="5055799"/>
                    </a:lnTo>
                    <a:lnTo>
                      <a:pt x="3573844" y="5074860"/>
                    </a:lnTo>
                    <a:lnTo>
                      <a:pt x="3559548" y="5084391"/>
                    </a:lnTo>
                    <a:lnTo>
                      <a:pt x="3540488" y="5089155"/>
                    </a:lnTo>
                    <a:lnTo>
                      <a:pt x="3530957" y="5098686"/>
                    </a:lnTo>
                    <a:lnTo>
                      <a:pt x="3530957" y="5108216"/>
                    </a:lnTo>
                    <a:lnTo>
                      <a:pt x="3526192" y="5112981"/>
                    </a:lnTo>
                    <a:lnTo>
                      <a:pt x="3511897" y="5127277"/>
                    </a:lnTo>
                    <a:lnTo>
                      <a:pt x="3502367" y="5146337"/>
                    </a:lnTo>
                    <a:lnTo>
                      <a:pt x="3497602" y="5146337"/>
                    </a:lnTo>
                    <a:lnTo>
                      <a:pt x="3469011" y="5151102"/>
                    </a:lnTo>
                    <a:lnTo>
                      <a:pt x="3459481" y="5155867"/>
                    </a:lnTo>
                    <a:lnTo>
                      <a:pt x="3459481" y="5179693"/>
                    </a:lnTo>
                    <a:lnTo>
                      <a:pt x="3454715" y="5179693"/>
                    </a:lnTo>
                    <a:lnTo>
                      <a:pt x="3440420" y="5174928"/>
                    </a:lnTo>
                    <a:lnTo>
                      <a:pt x="3430890" y="5179693"/>
                    </a:lnTo>
                    <a:lnTo>
                      <a:pt x="3397534" y="5208283"/>
                    </a:lnTo>
                    <a:lnTo>
                      <a:pt x="3392769" y="5213049"/>
                    </a:lnTo>
                    <a:lnTo>
                      <a:pt x="3392769" y="5217814"/>
                    </a:lnTo>
                    <a:lnTo>
                      <a:pt x="3397534" y="5227344"/>
                    </a:lnTo>
                    <a:lnTo>
                      <a:pt x="3407064" y="5241639"/>
                    </a:lnTo>
                    <a:lnTo>
                      <a:pt x="3407064" y="5251170"/>
                    </a:lnTo>
                    <a:lnTo>
                      <a:pt x="3392769" y="5279761"/>
                    </a:lnTo>
                    <a:lnTo>
                      <a:pt x="3388004" y="5284525"/>
                    </a:lnTo>
                    <a:lnTo>
                      <a:pt x="3373708" y="5289291"/>
                    </a:lnTo>
                    <a:lnTo>
                      <a:pt x="3368943" y="5308351"/>
                    </a:lnTo>
                    <a:lnTo>
                      <a:pt x="3354648" y="5303586"/>
                    </a:lnTo>
                    <a:lnTo>
                      <a:pt x="3345117" y="5308351"/>
                    </a:lnTo>
                    <a:lnTo>
                      <a:pt x="3340352" y="5317881"/>
                    </a:lnTo>
                    <a:lnTo>
                      <a:pt x="3330822" y="5322647"/>
                    </a:lnTo>
                    <a:lnTo>
                      <a:pt x="3321292" y="5327412"/>
                    </a:lnTo>
                    <a:lnTo>
                      <a:pt x="3311762" y="5332177"/>
                    </a:lnTo>
                    <a:lnTo>
                      <a:pt x="3302231" y="5351237"/>
                    </a:lnTo>
                    <a:lnTo>
                      <a:pt x="3287936" y="5360768"/>
                    </a:lnTo>
                    <a:lnTo>
                      <a:pt x="3278406" y="5365533"/>
                    </a:lnTo>
                    <a:lnTo>
                      <a:pt x="3268875" y="5365533"/>
                    </a:lnTo>
                    <a:lnTo>
                      <a:pt x="3259345" y="5360768"/>
                    </a:lnTo>
                    <a:lnTo>
                      <a:pt x="3249815" y="5365533"/>
                    </a:lnTo>
                    <a:lnTo>
                      <a:pt x="3240285" y="5370298"/>
                    </a:lnTo>
                    <a:lnTo>
                      <a:pt x="3235520" y="5379829"/>
                    </a:lnTo>
                    <a:lnTo>
                      <a:pt x="3225989" y="5403654"/>
                    </a:lnTo>
                    <a:lnTo>
                      <a:pt x="3221224" y="5413184"/>
                    </a:lnTo>
                    <a:lnTo>
                      <a:pt x="3216459" y="5413184"/>
                    </a:lnTo>
                    <a:lnTo>
                      <a:pt x="3206929" y="5413184"/>
                    </a:lnTo>
                    <a:lnTo>
                      <a:pt x="3187868" y="5408419"/>
                    </a:lnTo>
                    <a:lnTo>
                      <a:pt x="3173573" y="5408419"/>
                    </a:lnTo>
                    <a:lnTo>
                      <a:pt x="3149747" y="5427479"/>
                    </a:lnTo>
                    <a:lnTo>
                      <a:pt x="3140217" y="5437010"/>
                    </a:lnTo>
                    <a:lnTo>
                      <a:pt x="3159277" y="5441775"/>
                    </a:lnTo>
                    <a:lnTo>
                      <a:pt x="3164043" y="5441775"/>
                    </a:lnTo>
                    <a:lnTo>
                      <a:pt x="3164043" y="5446540"/>
                    </a:lnTo>
                    <a:lnTo>
                      <a:pt x="3159277" y="5451305"/>
                    </a:lnTo>
                    <a:lnTo>
                      <a:pt x="3144982" y="5451305"/>
                    </a:lnTo>
                    <a:lnTo>
                      <a:pt x="3135452" y="5451305"/>
                    </a:lnTo>
                    <a:lnTo>
                      <a:pt x="3125922" y="5456071"/>
                    </a:lnTo>
                    <a:lnTo>
                      <a:pt x="3102096" y="5465601"/>
                    </a:lnTo>
                    <a:lnTo>
                      <a:pt x="3087801" y="5470365"/>
                    </a:lnTo>
                    <a:lnTo>
                      <a:pt x="3068740" y="5498957"/>
                    </a:lnTo>
                    <a:lnTo>
                      <a:pt x="3068740" y="5503721"/>
                    </a:lnTo>
                    <a:lnTo>
                      <a:pt x="3068740" y="5508487"/>
                    </a:lnTo>
                    <a:lnTo>
                      <a:pt x="3083035" y="5503721"/>
                    </a:lnTo>
                    <a:lnTo>
                      <a:pt x="3092566" y="5508487"/>
                    </a:lnTo>
                    <a:lnTo>
                      <a:pt x="3102096" y="5513252"/>
                    </a:lnTo>
                    <a:lnTo>
                      <a:pt x="3106861" y="5522782"/>
                    </a:lnTo>
                    <a:lnTo>
                      <a:pt x="3106861" y="5537077"/>
                    </a:lnTo>
                    <a:lnTo>
                      <a:pt x="3111626" y="5537077"/>
                    </a:lnTo>
                    <a:lnTo>
                      <a:pt x="3087801" y="5560903"/>
                    </a:lnTo>
                    <a:lnTo>
                      <a:pt x="3078270" y="5570433"/>
                    </a:lnTo>
                    <a:lnTo>
                      <a:pt x="3078270" y="5575199"/>
                    </a:lnTo>
                    <a:lnTo>
                      <a:pt x="3073505" y="5570433"/>
                    </a:lnTo>
                    <a:lnTo>
                      <a:pt x="3068740" y="5546607"/>
                    </a:lnTo>
                    <a:lnTo>
                      <a:pt x="3068740" y="5541843"/>
                    </a:lnTo>
                    <a:lnTo>
                      <a:pt x="3063975" y="5541843"/>
                    </a:lnTo>
                    <a:lnTo>
                      <a:pt x="3059210" y="5551373"/>
                    </a:lnTo>
                    <a:lnTo>
                      <a:pt x="3044914" y="5579963"/>
                    </a:lnTo>
                    <a:lnTo>
                      <a:pt x="3030619" y="5594259"/>
                    </a:lnTo>
                    <a:lnTo>
                      <a:pt x="2930551" y="5637145"/>
                    </a:lnTo>
                    <a:lnTo>
                      <a:pt x="2916256" y="5646675"/>
                    </a:lnTo>
                    <a:lnTo>
                      <a:pt x="2911491" y="5660971"/>
                    </a:lnTo>
                    <a:lnTo>
                      <a:pt x="2911491" y="5675266"/>
                    </a:lnTo>
                    <a:lnTo>
                      <a:pt x="2901961" y="5689561"/>
                    </a:lnTo>
                    <a:lnTo>
                      <a:pt x="2897195" y="5694327"/>
                    </a:lnTo>
                    <a:lnTo>
                      <a:pt x="2892430" y="5689561"/>
                    </a:lnTo>
                    <a:lnTo>
                      <a:pt x="2892430" y="5651441"/>
                    </a:lnTo>
                    <a:lnTo>
                      <a:pt x="2892430" y="5641911"/>
                    </a:lnTo>
                    <a:lnTo>
                      <a:pt x="2882900" y="5637145"/>
                    </a:lnTo>
                    <a:lnTo>
                      <a:pt x="2878135" y="5637145"/>
                    </a:lnTo>
                    <a:lnTo>
                      <a:pt x="2873370" y="5637145"/>
                    </a:lnTo>
                    <a:lnTo>
                      <a:pt x="2863840" y="5646675"/>
                    </a:lnTo>
                    <a:lnTo>
                      <a:pt x="2854309" y="5651441"/>
                    </a:lnTo>
                    <a:lnTo>
                      <a:pt x="2849544" y="5651441"/>
                    </a:lnTo>
                    <a:lnTo>
                      <a:pt x="2835249" y="5660971"/>
                    </a:lnTo>
                    <a:lnTo>
                      <a:pt x="2806658" y="5684797"/>
                    </a:lnTo>
                    <a:lnTo>
                      <a:pt x="2782832" y="5694327"/>
                    </a:lnTo>
                    <a:lnTo>
                      <a:pt x="2778067" y="5699092"/>
                    </a:lnTo>
                    <a:lnTo>
                      <a:pt x="2768537" y="5713387"/>
                    </a:lnTo>
                    <a:lnTo>
                      <a:pt x="2763772" y="5722917"/>
                    </a:lnTo>
                    <a:lnTo>
                      <a:pt x="2754242" y="5722917"/>
                    </a:lnTo>
                    <a:lnTo>
                      <a:pt x="2744711" y="5718153"/>
                    </a:lnTo>
                    <a:lnTo>
                      <a:pt x="2735181" y="5718153"/>
                    </a:lnTo>
                    <a:lnTo>
                      <a:pt x="2730416" y="5732447"/>
                    </a:lnTo>
                    <a:lnTo>
                      <a:pt x="2720886" y="5737213"/>
                    </a:lnTo>
                    <a:lnTo>
                      <a:pt x="2701825" y="5727683"/>
                    </a:lnTo>
                    <a:lnTo>
                      <a:pt x="2692295" y="5732447"/>
                    </a:lnTo>
                    <a:lnTo>
                      <a:pt x="2682765" y="5746743"/>
                    </a:lnTo>
                    <a:lnTo>
                      <a:pt x="2668469" y="5756273"/>
                    </a:lnTo>
                    <a:lnTo>
                      <a:pt x="2658939" y="5761039"/>
                    </a:lnTo>
                    <a:lnTo>
                      <a:pt x="2625583" y="5765803"/>
                    </a:lnTo>
                    <a:lnTo>
                      <a:pt x="2616053" y="5765803"/>
                    </a:lnTo>
                    <a:lnTo>
                      <a:pt x="2611288" y="5761039"/>
                    </a:lnTo>
                    <a:lnTo>
                      <a:pt x="2611288" y="5741978"/>
                    </a:lnTo>
                    <a:lnTo>
                      <a:pt x="2616053" y="5727683"/>
                    </a:lnTo>
                    <a:lnTo>
                      <a:pt x="2620818" y="5722917"/>
                    </a:lnTo>
                    <a:lnTo>
                      <a:pt x="2630348" y="5718153"/>
                    </a:lnTo>
                    <a:lnTo>
                      <a:pt x="2635113" y="5713387"/>
                    </a:lnTo>
                    <a:lnTo>
                      <a:pt x="2654174" y="5718153"/>
                    </a:lnTo>
                    <a:lnTo>
                      <a:pt x="2654174" y="5713387"/>
                    </a:lnTo>
                    <a:lnTo>
                      <a:pt x="2644644" y="5708622"/>
                    </a:lnTo>
                    <a:lnTo>
                      <a:pt x="2630348" y="5699092"/>
                    </a:lnTo>
                    <a:lnTo>
                      <a:pt x="2616053" y="5694327"/>
                    </a:lnTo>
                    <a:lnTo>
                      <a:pt x="2606523" y="5699092"/>
                    </a:lnTo>
                    <a:lnTo>
                      <a:pt x="2592227" y="5703857"/>
                    </a:lnTo>
                    <a:lnTo>
                      <a:pt x="2582697" y="5713387"/>
                    </a:lnTo>
                    <a:lnTo>
                      <a:pt x="2577932" y="5722917"/>
                    </a:lnTo>
                    <a:lnTo>
                      <a:pt x="2573167" y="5751508"/>
                    </a:lnTo>
                    <a:lnTo>
                      <a:pt x="2568402" y="5761039"/>
                    </a:lnTo>
                    <a:lnTo>
                      <a:pt x="2535046" y="5813455"/>
                    </a:lnTo>
                    <a:lnTo>
                      <a:pt x="2515985" y="5832515"/>
                    </a:lnTo>
                    <a:lnTo>
                      <a:pt x="2501690" y="5827750"/>
                    </a:lnTo>
                    <a:lnTo>
                      <a:pt x="2496925" y="5837281"/>
                    </a:lnTo>
                    <a:lnTo>
                      <a:pt x="2487394" y="5846811"/>
                    </a:lnTo>
                    <a:lnTo>
                      <a:pt x="2477864" y="5856341"/>
                    </a:lnTo>
                    <a:lnTo>
                      <a:pt x="2468334" y="5856341"/>
                    </a:lnTo>
                    <a:lnTo>
                      <a:pt x="2463569" y="5851576"/>
                    </a:lnTo>
                    <a:lnTo>
                      <a:pt x="2458804" y="5846811"/>
                    </a:lnTo>
                    <a:lnTo>
                      <a:pt x="2458804" y="5842045"/>
                    </a:lnTo>
                    <a:lnTo>
                      <a:pt x="2463569" y="5837281"/>
                    </a:lnTo>
                    <a:lnTo>
                      <a:pt x="2463569" y="5827750"/>
                    </a:lnTo>
                    <a:lnTo>
                      <a:pt x="2454039" y="5813455"/>
                    </a:lnTo>
                    <a:lnTo>
                      <a:pt x="2444508" y="5803925"/>
                    </a:lnTo>
                    <a:lnTo>
                      <a:pt x="2430213" y="5799159"/>
                    </a:lnTo>
                    <a:lnTo>
                      <a:pt x="2430213" y="5808689"/>
                    </a:lnTo>
                    <a:lnTo>
                      <a:pt x="2434978" y="5846811"/>
                    </a:lnTo>
                    <a:lnTo>
                      <a:pt x="2434978" y="5856341"/>
                    </a:lnTo>
                    <a:lnTo>
                      <a:pt x="2425448" y="5870637"/>
                    </a:lnTo>
                    <a:lnTo>
                      <a:pt x="2401622" y="5880167"/>
                    </a:lnTo>
                    <a:lnTo>
                      <a:pt x="2396857" y="5880167"/>
                    </a:lnTo>
                    <a:lnTo>
                      <a:pt x="2373031" y="5856341"/>
                    </a:lnTo>
                    <a:lnTo>
                      <a:pt x="2353971" y="5851576"/>
                    </a:lnTo>
                    <a:lnTo>
                      <a:pt x="2353971" y="5861106"/>
                    </a:lnTo>
                    <a:lnTo>
                      <a:pt x="2358736" y="5875401"/>
                    </a:lnTo>
                    <a:lnTo>
                      <a:pt x="2353971" y="5889697"/>
                    </a:lnTo>
                    <a:lnTo>
                      <a:pt x="2339676" y="5903992"/>
                    </a:lnTo>
                    <a:lnTo>
                      <a:pt x="2330145" y="5913523"/>
                    </a:lnTo>
                    <a:lnTo>
                      <a:pt x="2320615" y="5913523"/>
                    </a:lnTo>
                    <a:lnTo>
                      <a:pt x="2320615" y="5903992"/>
                    </a:lnTo>
                    <a:lnTo>
                      <a:pt x="2325380" y="5880167"/>
                    </a:lnTo>
                    <a:lnTo>
                      <a:pt x="2330145" y="5865871"/>
                    </a:lnTo>
                    <a:lnTo>
                      <a:pt x="2325380" y="5851576"/>
                    </a:lnTo>
                    <a:lnTo>
                      <a:pt x="2325380" y="5842045"/>
                    </a:lnTo>
                    <a:lnTo>
                      <a:pt x="2330145" y="5837281"/>
                    </a:lnTo>
                    <a:lnTo>
                      <a:pt x="2353971" y="5813455"/>
                    </a:lnTo>
                    <a:lnTo>
                      <a:pt x="2368266" y="5813455"/>
                    </a:lnTo>
                    <a:lnTo>
                      <a:pt x="2373031" y="5818220"/>
                    </a:lnTo>
                    <a:lnTo>
                      <a:pt x="2377797" y="5818220"/>
                    </a:lnTo>
                    <a:lnTo>
                      <a:pt x="2387327" y="5813455"/>
                    </a:lnTo>
                    <a:lnTo>
                      <a:pt x="2392092" y="5808689"/>
                    </a:lnTo>
                    <a:lnTo>
                      <a:pt x="2396857" y="5799159"/>
                    </a:lnTo>
                    <a:lnTo>
                      <a:pt x="2406387" y="5784864"/>
                    </a:lnTo>
                    <a:lnTo>
                      <a:pt x="2425448" y="5770569"/>
                    </a:lnTo>
                    <a:lnTo>
                      <a:pt x="2449273" y="5746743"/>
                    </a:lnTo>
                    <a:lnTo>
                      <a:pt x="2473099" y="5703857"/>
                    </a:lnTo>
                    <a:lnTo>
                      <a:pt x="2506455" y="5670501"/>
                    </a:lnTo>
                    <a:lnTo>
                      <a:pt x="2539811" y="5641911"/>
                    </a:lnTo>
                    <a:lnTo>
                      <a:pt x="2577932" y="5618085"/>
                    </a:lnTo>
                    <a:lnTo>
                      <a:pt x="2654174" y="5584729"/>
                    </a:lnTo>
                    <a:lnTo>
                      <a:pt x="2658939" y="5589494"/>
                    </a:lnTo>
                    <a:lnTo>
                      <a:pt x="2649409" y="5599024"/>
                    </a:lnTo>
                    <a:lnTo>
                      <a:pt x="2654174" y="5603789"/>
                    </a:lnTo>
                    <a:lnTo>
                      <a:pt x="2663704" y="5603789"/>
                    </a:lnTo>
                    <a:lnTo>
                      <a:pt x="2692295" y="5599024"/>
                    </a:lnTo>
                    <a:lnTo>
                      <a:pt x="2701825" y="5594259"/>
                    </a:lnTo>
                    <a:lnTo>
                      <a:pt x="2706590" y="5599024"/>
                    </a:lnTo>
                    <a:lnTo>
                      <a:pt x="2701825" y="5608555"/>
                    </a:lnTo>
                    <a:lnTo>
                      <a:pt x="2682765" y="5618085"/>
                    </a:lnTo>
                    <a:lnTo>
                      <a:pt x="2687530" y="5622850"/>
                    </a:lnTo>
                    <a:lnTo>
                      <a:pt x="2711356" y="5656205"/>
                    </a:lnTo>
                    <a:lnTo>
                      <a:pt x="2716121" y="5660971"/>
                    </a:lnTo>
                    <a:lnTo>
                      <a:pt x="2725651" y="5660971"/>
                    </a:lnTo>
                    <a:lnTo>
                      <a:pt x="2725651" y="5656205"/>
                    </a:lnTo>
                    <a:lnTo>
                      <a:pt x="2725651" y="5632380"/>
                    </a:lnTo>
                    <a:lnTo>
                      <a:pt x="2730416" y="5627615"/>
                    </a:lnTo>
                    <a:lnTo>
                      <a:pt x="2749477" y="5627615"/>
                    </a:lnTo>
                    <a:lnTo>
                      <a:pt x="2759007" y="5632380"/>
                    </a:lnTo>
                    <a:lnTo>
                      <a:pt x="2763772" y="5637145"/>
                    </a:lnTo>
                    <a:lnTo>
                      <a:pt x="2773302" y="5641911"/>
                    </a:lnTo>
                    <a:lnTo>
                      <a:pt x="2787598" y="5646675"/>
                    </a:lnTo>
                    <a:lnTo>
                      <a:pt x="2797128" y="5646675"/>
                    </a:lnTo>
                    <a:lnTo>
                      <a:pt x="2801893" y="5637145"/>
                    </a:lnTo>
                    <a:lnTo>
                      <a:pt x="2792363" y="5632380"/>
                    </a:lnTo>
                    <a:lnTo>
                      <a:pt x="2768537" y="5608555"/>
                    </a:lnTo>
                    <a:lnTo>
                      <a:pt x="2759007" y="5603789"/>
                    </a:lnTo>
                    <a:lnTo>
                      <a:pt x="2759007" y="5589494"/>
                    </a:lnTo>
                    <a:lnTo>
                      <a:pt x="2763772" y="5575199"/>
                    </a:lnTo>
                    <a:lnTo>
                      <a:pt x="2768537" y="5556138"/>
                    </a:lnTo>
                    <a:lnTo>
                      <a:pt x="2782832" y="5522782"/>
                    </a:lnTo>
                    <a:lnTo>
                      <a:pt x="2797128" y="5503721"/>
                    </a:lnTo>
                    <a:lnTo>
                      <a:pt x="2820953" y="5479896"/>
                    </a:lnTo>
                    <a:lnTo>
                      <a:pt x="2835249" y="5470365"/>
                    </a:lnTo>
                    <a:lnTo>
                      <a:pt x="2873370" y="5437010"/>
                    </a:lnTo>
                    <a:lnTo>
                      <a:pt x="2954377" y="5398889"/>
                    </a:lnTo>
                    <a:lnTo>
                      <a:pt x="2973438" y="5375063"/>
                    </a:lnTo>
                    <a:lnTo>
                      <a:pt x="3002028" y="5351237"/>
                    </a:lnTo>
                    <a:lnTo>
                      <a:pt x="3011559" y="5341707"/>
                    </a:lnTo>
                    <a:lnTo>
                      <a:pt x="3011559" y="5351237"/>
                    </a:lnTo>
                    <a:lnTo>
                      <a:pt x="3016324" y="5360768"/>
                    </a:lnTo>
                    <a:lnTo>
                      <a:pt x="3030619" y="5370298"/>
                    </a:lnTo>
                    <a:lnTo>
                      <a:pt x="3044914" y="5370298"/>
                    </a:lnTo>
                    <a:lnTo>
                      <a:pt x="3049680" y="5370298"/>
                    </a:lnTo>
                    <a:lnTo>
                      <a:pt x="3049680" y="5360768"/>
                    </a:lnTo>
                    <a:lnTo>
                      <a:pt x="3049680" y="5341707"/>
                    </a:lnTo>
                    <a:lnTo>
                      <a:pt x="3049680" y="5327412"/>
                    </a:lnTo>
                    <a:lnTo>
                      <a:pt x="3049680" y="5308351"/>
                    </a:lnTo>
                    <a:lnTo>
                      <a:pt x="3049680" y="5298821"/>
                    </a:lnTo>
                    <a:lnTo>
                      <a:pt x="3063975" y="5274995"/>
                    </a:lnTo>
                    <a:lnTo>
                      <a:pt x="3083035" y="5251170"/>
                    </a:lnTo>
                    <a:lnTo>
                      <a:pt x="3106861" y="5222579"/>
                    </a:lnTo>
                    <a:lnTo>
                      <a:pt x="3121156" y="5213049"/>
                    </a:lnTo>
                    <a:lnTo>
                      <a:pt x="3135452" y="5203519"/>
                    </a:lnTo>
                    <a:lnTo>
                      <a:pt x="3149747" y="5189223"/>
                    </a:lnTo>
                    <a:lnTo>
                      <a:pt x="3173573" y="5160633"/>
                    </a:lnTo>
                    <a:lnTo>
                      <a:pt x="3178338" y="5155867"/>
                    </a:lnTo>
                    <a:lnTo>
                      <a:pt x="3197399" y="5151102"/>
                    </a:lnTo>
                    <a:lnTo>
                      <a:pt x="3202164" y="5155867"/>
                    </a:lnTo>
                    <a:lnTo>
                      <a:pt x="3206929" y="5160633"/>
                    </a:lnTo>
                    <a:lnTo>
                      <a:pt x="3211694" y="5165397"/>
                    </a:lnTo>
                    <a:lnTo>
                      <a:pt x="3225989" y="5170163"/>
                    </a:lnTo>
                    <a:lnTo>
                      <a:pt x="3240285" y="5165397"/>
                    </a:lnTo>
                    <a:lnTo>
                      <a:pt x="3235520" y="5160633"/>
                    </a:lnTo>
                    <a:lnTo>
                      <a:pt x="3225989" y="5155867"/>
                    </a:lnTo>
                    <a:lnTo>
                      <a:pt x="3221224" y="5151102"/>
                    </a:lnTo>
                    <a:lnTo>
                      <a:pt x="3216459" y="5136807"/>
                    </a:lnTo>
                    <a:lnTo>
                      <a:pt x="3202164" y="5127277"/>
                    </a:lnTo>
                    <a:lnTo>
                      <a:pt x="3202164" y="5112981"/>
                    </a:lnTo>
                    <a:lnTo>
                      <a:pt x="3202164" y="5093921"/>
                    </a:lnTo>
                    <a:lnTo>
                      <a:pt x="3216459" y="5051035"/>
                    </a:lnTo>
                    <a:lnTo>
                      <a:pt x="3216459" y="5003383"/>
                    </a:lnTo>
                    <a:lnTo>
                      <a:pt x="3225989" y="4979557"/>
                    </a:lnTo>
                    <a:lnTo>
                      <a:pt x="3240285" y="4970027"/>
                    </a:lnTo>
                    <a:lnTo>
                      <a:pt x="3278406" y="4960497"/>
                    </a:lnTo>
                    <a:lnTo>
                      <a:pt x="3259345" y="4950967"/>
                    </a:lnTo>
                    <a:lnTo>
                      <a:pt x="3249815" y="4950967"/>
                    </a:lnTo>
                    <a:lnTo>
                      <a:pt x="3235520" y="4941437"/>
                    </a:lnTo>
                    <a:lnTo>
                      <a:pt x="3230754" y="4912846"/>
                    </a:lnTo>
                    <a:lnTo>
                      <a:pt x="3230754" y="4893785"/>
                    </a:lnTo>
                    <a:lnTo>
                      <a:pt x="3240285" y="4869959"/>
                    </a:lnTo>
                    <a:lnTo>
                      <a:pt x="3273641" y="4827073"/>
                    </a:lnTo>
                    <a:lnTo>
                      <a:pt x="3316527" y="4798483"/>
                    </a:lnTo>
                    <a:lnTo>
                      <a:pt x="3306996" y="4798483"/>
                    </a:lnTo>
                    <a:lnTo>
                      <a:pt x="3302231" y="4788953"/>
                    </a:lnTo>
                    <a:lnTo>
                      <a:pt x="3321292" y="4731771"/>
                    </a:lnTo>
                    <a:lnTo>
                      <a:pt x="3340352" y="4679355"/>
                    </a:lnTo>
                    <a:lnTo>
                      <a:pt x="3316527" y="4722241"/>
                    </a:lnTo>
                    <a:lnTo>
                      <a:pt x="3287936" y="4755597"/>
                    </a:lnTo>
                    <a:lnTo>
                      <a:pt x="3206929" y="4793717"/>
                    </a:lnTo>
                    <a:lnTo>
                      <a:pt x="3149747" y="4827073"/>
                    </a:lnTo>
                    <a:lnTo>
                      <a:pt x="3125922" y="4836604"/>
                    </a:lnTo>
                    <a:lnTo>
                      <a:pt x="3106861" y="4827073"/>
                    </a:lnTo>
                    <a:lnTo>
                      <a:pt x="3092566" y="4798483"/>
                    </a:lnTo>
                    <a:lnTo>
                      <a:pt x="3087801" y="4784187"/>
                    </a:lnTo>
                    <a:lnTo>
                      <a:pt x="3078270" y="4765127"/>
                    </a:lnTo>
                    <a:lnTo>
                      <a:pt x="3078270" y="4736536"/>
                    </a:lnTo>
                    <a:lnTo>
                      <a:pt x="3087801" y="4722241"/>
                    </a:lnTo>
                    <a:lnTo>
                      <a:pt x="3106861" y="4717475"/>
                    </a:lnTo>
                    <a:lnTo>
                      <a:pt x="3125922" y="4727006"/>
                    </a:lnTo>
                    <a:lnTo>
                      <a:pt x="3140217" y="4727006"/>
                    </a:lnTo>
                    <a:lnTo>
                      <a:pt x="3121156" y="4707945"/>
                    </a:lnTo>
                    <a:lnTo>
                      <a:pt x="3087801" y="4693650"/>
                    </a:lnTo>
                    <a:lnTo>
                      <a:pt x="3073505" y="4698415"/>
                    </a:lnTo>
                    <a:lnTo>
                      <a:pt x="3063975" y="4722241"/>
                    </a:lnTo>
                    <a:lnTo>
                      <a:pt x="3049680" y="4741301"/>
                    </a:lnTo>
                    <a:lnTo>
                      <a:pt x="3035384" y="4736536"/>
                    </a:lnTo>
                    <a:lnTo>
                      <a:pt x="3025854" y="4727006"/>
                    </a:lnTo>
                    <a:lnTo>
                      <a:pt x="3035384" y="4750831"/>
                    </a:lnTo>
                    <a:lnTo>
                      <a:pt x="3025854" y="4784187"/>
                    </a:lnTo>
                    <a:lnTo>
                      <a:pt x="3021089" y="4803248"/>
                    </a:lnTo>
                    <a:lnTo>
                      <a:pt x="3035384" y="4865195"/>
                    </a:lnTo>
                    <a:lnTo>
                      <a:pt x="3030619" y="4889020"/>
                    </a:lnTo>
                    <a:lnTo>
                      <a:pt x="3006793" y="4898551"/>
                    </a:lnTo>
                    <a:lnTo>
                      <a:pt x="2987733" y="4879490"/>
                    </a:lnTo>
                    <a:lnTo>
                      <a:pt x="2944847" y="4803248"/>
                    </a:lnTo>
                    <a:lnTo>
                      <a:pt x="2925786" y="4784187"/>
                    </a:lnTo>
                    <a:lnTo>
                      <a:pt x="2892430" y="4746067"/>
                    </a:lnTo>
                    <a:lnTo>
                      <a:pt x="2882900" y="4750831"/>
                    </a:lnTo>
                    <a:lnTo>
                      <a:pt x="2868605" y="4769892"/>
                    </a:lnTo>
                    <a:lnTo>
                      <a:pt x="2854309" y="4774657"/>
                    </a:lnTo>
                    <a:lnTo>
                      <a:pt x="2816188" y="4746067"/>
                    </a:lnTo>
                    <a:lnTo>
                      <a:pt x="2801893" y="4727006"/>
                    </a:lnTo>
                    <a:lnTo>
                      <a:pt x="2787598" y="4703181"/>
                    </a:lnTo>
                    <a:lnTo>
                      <a:pt x="2759007" y="4717475"/>
                    </a:lnTo>
                    <a:lnTo>
                      <a:pt x="2739946" y="4731771"/>
                    </a:lnTo>
                    <a:lnTo>
                      <a:pt x="2716121" y="4760362"/>
                    </a:lnTo>
                    <a:lnTo>
                      <a:pt x="2697060" y="4760362"/>
                    </a:lnTo>
                    <a:lnTo>
                      <a:pt x="2654174" y="4779423"/>
                    </a:lnTo>
                    <a:lnTo>
                      <a:pt x="2649409" y="4779423"/>
                    </a:lnTo>
                    <a:lnTo>
                      <a:pt x="2639879" y="4793717"/>
                    </a:lnTo>
                    <a:lnTo>
                      <a:pt x="2635113" y="4798483"/>
                    </a:lnTo>
                    <a:lnTo>
                      <a:pt x="2630348" y="4817543"/>
                    </a:lnTo>
                    <a:lnTo>
                      <a:pt x="2568402" y="4836604"/>
                    </a:lnTo>
                    <a:lnTo>
                      <a:pt x="2506455" y="4827073"/>
                    </a:lnTo>
                    <a:lnTo>
                      <a:pt x="2530281" y="4812778"/>
                    </a:lnTo>
                    <a:lnTo>
                      <a:pt x="2554106" y="4803248"/>
                    </a:lnTo>
                    <a:lnTo>
                      <a:pt x="2573167" y="4784187"/>
                    </a:lnTo>
                    <a:lnTo>
                      <a:pt x="2563637" y="4750831"/>
                    </a:lnTo>
                    <a:lnTo>
                      <a:pt x="2563637" y="4736536"/>
                    </a:lnTo>
                    <a:lnTo>
                      <a:pt x="2563637" y="4717475"/>
                    </a:lnTo>
                    <a:lnTo>
                      <a:pt x="2587462" y="4684120"/>
                    </a:lnTo>
                    <a:lnTo>
                      <a:pt x="2563637" y="4684120"/>
                    </a:lnTo>
                    <a:lnTo>
                      <a:pt x="2549341" y="4698415"/>
                    </a:lnTo>
                    <a:lnTo>
                      <a:pt x="2535046" y="4674589"/>
                    </a:lnTo>
                    <a:lnTo>
                      <a:pt x="2525516" y="4631703"/>
                    </a:lnTo>
                    <a:lnTo>
                      <a:pt x="2539811" y="4607877"/>
                    </a:lnTo>
                    <a:lnTo>
                      <a:pt x="2549341" y="4588817"/>
                    </a:lnTo>
                    <a:lnTo>
                      <a:pt x="2554106" y="4564991"/>
                    </a:lnTo>
                    <a:lnTo>
                      <a:pt x="2558871" y="4541166"/>
                    </a:lnTo>
                    <a:lnTo>
                      <a:pt x="2544576" y="4503045"/>
                    </a:lnTo>
                    <a:lnTo>
                      <a:pt x="2506455" y="4417273"/>
                    </a:lnTo>
                    <a:lnTo>
                      <a:pt x="2492160" y="4355326"/>
                    </a:lnTo>
                    <a:lnTo>
                      <a:pt x="2463569" y="4321970"/>
                    </a:lnTo>
                    <a:lnTo>
                      <a:pt x="2482629" y="4269553"/>
                    </a:lnTo>
                    <a:lnTo>
                      <a:pt x="2506455" y="4217137"/>
                    </a:lnTo>
                    <a:lnTo>
                      <a:pt x="2539811" y="4198077"/>
                    </a:lnTo>
                    <a:lnTo>
                      <a:pt x="2535046" y="4193312"/>
                    </a:lnTo>
                    <a:lnTo>
                      <a:pt x="2520751" y="4193312"/>
                    </a:lnTo>
                    <a:lnTo>
                      <a:pt x="2506455" y="4193312"/>
                    </a:lnTo>
                    <a:lnTo>
                      <a:pt x="2496925" y="4212372"/>
                    </a:lnTo>
                    <a:lnTo>
                      <a:pt x="2487394" y="4226667"/>
                    </a:lnTo>
                    <a:lnTo>
                      <a:pt x="2458804" y="4288614"/>
                    </a:lnTo>
                    <a:lnTo>
                      <a:pt x="2434978" y="4317205"/>
                    </a:lnTo>
                    <a:lnTo>
                      <a:pt x="2420683" y="4326735"/>
                    </a:lnTo>
                    <a:lnTo>
                      <a:pt x="2444508" y="4341031"/>
                    </a:lnTo>
                    <a:lnTo>
                      <a:pt x="2449273" y="4350561"/>
                    </a:lnTo>
                    <a:lnTo>
                      <a:pt x="2454039" y="4374387"/>
                    </a:lnTo>
                    <a:lnTo>
                      <a:pt x="2444508" y="4398212"/>
                    </a:lnTo>
                    <a:lnTo>
                      <a:pt x="2439743" y="4417273"/>
                    </a:lnTo>
                    <a:lnTo>
                      <a:pt x="2415918" y="4412507"/>
                    </a:lnTo>
                    <a:lnTo>
                      <a:pt x="2392092" y="4436333"/>
                    </a:lnTo>
                    <a:lnTo>
                      <a:pt x="2339676" y="4460159"/>
                    </a:lnTo>
                    <a:lnTo>
                      <a:pt x="2268199" y="4474454"/>
                    </a:lnTo>
                    <a:lnTo>
                      <a:pt x="2230078" y="4474454"/>
                    </a:lnTo>
                    <a:lnTo>
                      <a:pt x="2196722" y="4445863"/>
                    </a:lnTo>
                    <a:lnTo>
                      <a:pt x="2196722" y="4426803"/>
                    </a:lnTo>
                    <a:lnTo>
                      <a:pt x="2196722" y="4412507"/>
                    </a:lnTo>
                    <a:lnTo>
                      <a:pt x="2144305" y="4364856"/>
                    </a:lnTo>
                    <a:lnTo>
                      <a:pt x="2115715" y="4317205"/>
                    </a:lnTo>
                    <a:lnTo>
                      <a:pt x="2091889" y="4317205"/>
                    </a:lnTo>
                    <a:lnTo>
                      <a:pt x="2072828" y="4302909"/>
                    </a:lnTo>
                    <a:lnTo>
                      <a:pt x="2053768" y="4283849"/>
                    </a:lnTo>
                    <a:lnTo>
                      <a:pt x="2053768" y="4264789"/>
                    </a:lnTo>
                    <a:lnTo>
                      <a:pt x="2058533" y="4255259"/>
                    </a:lnTo>
                    <a:lnTo>
                      <a:pt x="2044238" y="4245728"/>
                    </a:lnTo>
                    <a:lnTo>
                      <a:pt x="2025177" y="4245728"/>
                    </a:lnTo>
                    <a:lnTo>
                      <a:pt x="2006117" y="4240963"/>
                    </a:lnTo>
                    <a:lnTo>
                      <a:pt x="2058533" y="4179016"/>
                    </a:lnTo>
                    <a:lnTo>
                      <a:pt x="2077594" y="4136130"/>
                    </a:lnTo>
                    <a:lnTo>
                      <a:pt x="2091889" y="4131365"/>
                    </a:lnTo>
                    <a:lnTo>
                      <a:pt x="2110949" y="4136130"/>
                    </a:lnTo>
                    <a:lnTo>
                      <a:pt x="2139540" y="4155191"/>
                    </a:lnTo>
                    <a:lnTo>
                      <a:pt x="2158601" y="4159956"/>
                    </a:lnTo>
                    <a:lnTo>
                      <a:pt x="2168131" y="4169486"/>
                    </a:lnTo>
                    <a:lnTo>
                      <a:pt x="2177661" y="4183781"/>
                    </a:lnTo>
                    <a:lnTo>
                      <a:pt x="2168131" y="4207607"/>
                    </a:lnTo>
                    <a:lnTo>
                      <a:pt x="2158601" y="4226667"/>
                    </a:lnTo>
                    <a:lnTo>
                      <a:pt x="2168131" y="4221903"/>
                    </a:lnTo>
                    <a:lnTo>
                      <a:pt x="2196722" y="4193312"/>
                    </a:lnTo>
                    <a:lnTo>
                      <a:pt x="2215782" y="4169486"/>
                    </a:lnTo>
                    <a:lnTo>
                      <a:pt x="2225312" y="4174251"/>
                    </a:lnTo>
                    <a:lnTo>
                      <a:pt x="2234843" y="4174251"/>
                    </a:lnTo>
                    <a:lnTo>
                      <a:pt x="2244373" y="4202842"/>
                    </a:lnTo>
                    <a:lnTo>
                      <a:pt x="2258669" y="4226667"/>
                    </a:lnTo>
                    <a:lnTo>
                      <a:pt x="2292024" y="4202842"/>
                    </a:lnTo>
                    <a:lnTo>
                      <a:pt x="2306320" y="4174251"/>
                    </a:lnTo>
                    <a:lnTo>
                      <a:pt x="2292024" y="4159956"/>
                    </a:lnTo>
                    <a:lnTo>
                      <a:pt x="2277729" y="4150425"/>
                    </a:lnTo>
                    <a:lnTo>
                      <a:pt x="2230078" y="4140895"/>
                    </a:lnTo>
                    <a:lnTo>
                      <a:pt x="2244373" y="4131365"/>
                    </a:lnTo>
                    <a:lnTo>
                      <a:pt x="2272964" y="4136130"/>
                    </a:lnTo>
                    <a:lnTo>
                      <a:pt x="2282494" y="4126600"/>
                    </a:lnTo>
                    <a:lnTo>
                      <a:pt x="2268199" y="4117070"/>
                    </a:lnTo>
                    <a:lnTo>
                      <a:pt x="2258669" y="4102774"/>
                    </a:lnTo>
                    <a:lnTo>
                      <a:pt x="2220547" y="4136130"/>
                    </a:lnTo>
                    <a:lnTo>
                      <a:pt x="2149070" y="4136130"/>
                    </a:lnTo>
                    <a:lnTo>
                      <a:pt x="2101419" y="4117070"/>
                    </a:lnTo>
                    <a:lnTo>
                      <a:pt x="2049003" y="4121835"/>
                    </a:lnTo>
                    <a:lnTo>
                      <a:pt x="2044238" y="4117070"/>
                    </a:lnTo>
                    <a:lnTo>
                      <a:pt x="2034707" y="4107539"/>
                    </a:lnTo>
                    <a:lnTo>
                      <a:pt x="2063298" y="4078949"/>
                    </a:lnTo>
                    <a:lnTo>
                      <a:pt x="2082359" y="4069419"/>
                    </a:lnTo>
                    <a:lnTo>
                      <a:pt x="2082359" y="4059888"/>
                    </a:lnTo>
                    <a:lnTo>
                      <a:pt x="2068063" y="4059888"/>
                    </a:lnTo>
                    <a:lnTo>
                      <a:pt x="2049003" y="4064653"/>
                    </a:lnTo>
                    <a:lnTo>
                      <a:pt x="2039472" y="4055123"/>
                    </a:lnTo>
                    <a:lnTo>
                      <a:pt x="2039472" y="4036063"/>
                    </a:lnTo>
                    <a:lnTo>
                      <a:pt x="2029942" y="4045593"/>
                    </a:lnTo>
                    <a:lnTo>
                      <a:pt x="2015647" y="4040827"/>
                    </a:lnTo>
                    <a:lnTo>
                      <a:pt x="2006117" y="4031297"/>
                    </a:lnTo>
                    <a:lnTo>
                      <a:pt x="2010882" y="4021767"/>
                    </a:lnTo>
                    <a:lnTo>
                      <a:pt x="2025177" y="4007472"/>
                    </a:lnTo>
                    <a:lnTo>
                      <a:pt x="2020412" y="4007472"/>
                    </a:lnTo>
                    <a:lnTo>
                      <a:pt x="2010882" y="4007472"/>
                    </a:lnTo>
                    <a:lnTo>
                      <a:pt x="2001351" y="4026532"/>
                    </a:lnTo>
                    <a:lnTo>
                      <a:pt x="2001351" y="4040827"/>
                    </a:lnTo>
                    <a:lnTo>
                      <a:pt x="2001351" y="4059888"/>
                    </a:lnTo>
                    <a:lnTo>
                      <a:pt x="1987056" y="4064653"/>
                    </a:lnTo>
                    <a:lnTo>
                      <a:pt x="1972761" y="4059888"/>
                    </a:lnTo>
                    <a:lnTo>
                      <a:pt x="1963230" y="4040827"/>
                    </a:lnTo>
                    <a:lnTo>
                      <a:pt x="1953700" y="3997941"/>
                    </a:lnTo>
                    <a:lnTo>
                      <a:pt x="1925109" y="3983646"/>
                    </a:lnTo>
                    <a:lnTo>
                      <a:pt x="1920344" y="3964585"/>
                    </a:lnTo>
                    <a:lnTo>
                      <a:pt x="1934640" y="3935995"/>
                    </a:lnTo>
                    <a:lnTo>
                      <a:pt x="1929875" y="3921699"/>
                    </a:lnTo>
                    <a:lnTo>
                      <a:pt x="1910814" y="3916934"/>
                    </a:lnTo>
                    <a:lnTo>
                      <a:pt x="1891754" y="3931230"/>
                    </a:lnTo>
                    <a:lnTo>
                      <a:pt x="1882223" y="3916934"/>
                    </a:lnTo>
                    <a:lnTo>
                      <a:pt x="1877458" y="3902639"/>
                    </a:lnTo>
                    <a:lnTo>
                      <a:pt x="1877458" y="3883579"/>
                    </a:lnTo>
                    <a:lnTo>
                      <a:pt x="1886988" y="3878813"/>
                    </a:lnTo>
                    <a:lnTo>
                      <a:pt x="1891754" y="3883579"/>
                    </a:lnTo>
                    <a:lnTo>
                      <a:pt x="1929875" y="3874048"/>
                    </a:lnTo>
                    <a:lnTo>
                      <a:pt x="1934640" y="3869283"/>
                    </a:lnTo>
                    <a:lnTo>
                      <a:pt x="1901284" y="3850223"/>
                    </a:lnTo>
                    <a:lnTo>
                      <a:pt x="1891754" y="3831162"/>
                    </a:lnTo>
                    <a:lnTo>
                      <a:pt x="1906049" y="3821632"/>
                    </a:lnTo>
                    <a:lnTo>
                      <a:pt x="1929875" y="3821632"/>
                    </a:lnTo>
                    <a:lnTo>
                      <a:pt x="1967996" y="3812101"/>
                    </a:lnTo>
                    <a:lnTo>
                      <a:pt x="1948935" y="3793041"/>
                    </a:lnTo>
                    <a:lnTo>
                      <a:pt x="1948935" y="3778746"/>
                    </a:lnTo>
                    <a:lnTo>
                      <a:pt x="1944170" y="3764450"/>
                    </a:lnTo>
                    <a:lnTo>
                      <a:pt x="1948935" y="3735859"/>
                    </a:lnTo>
                    <a:lnTo>
                      <a:pt x="1991821" y="3664383"/>
                    </a:lnTo>
                    <a:lnTo>
                      <a:pt x="2029942" y="3607201"/>
                    </a:lnTo>
                    <a:lnTo>
                      <a:pt x="2044238" y="3592906"/>
                    </a:lnTo>
                    <a:lnTo>
                      <a:pt x="2063298" y="3588141"/>
                    </a:lnTo>
                    <a:lnTo>
                      <a:pt x="2077594" y="3592906"/>
                    </a:lnTo>
                    <a:lnTo>
                      <a:pt x="2096654" y="3607201"/>
                    </a:lnTo>
                    <a:lnTo>
                      <a:pt x="2101419" y="3602436"/>
                    </a:lnTo>
                    <a:lnTo>
                      <a:pt x="2091889" y="3597671"/>
                    </a:lnTo>
                    <a:lnTo>
                      <a:pt x="2087124" y="3573845"/>
                    </a:lnTo>
                    <a:lnTo>
                      <a:pt x="2110949" y="3564315"/>
                    </a:lnTo>
                    <a:lnTo>
                      <a:pt x="2125245" y="3535724"/>
                    </a:lnTo>
                    <a:lnTo>
                      <a:pt x="2125245" y="3530959"/>
                    </a:lnTo>
                    <a:lnTo>
                      <a:pt x="2110949" y="3540489"/>
                    </a:lnTo>
                    <a:lnTo>
                      <a:pt x="2091889" y="3559550"/>
                    </a:lnTo>
                    <a:lnTo>
                      <a:pt x="2091889" y="3540489"/>
                    </a:lnTo>
                    <a:lnTo>
                      <a:pt x="2087124" y="3497603"/>
                    </a:lnTo>
                    <a:lnTo>
                      <a:pt x="2091889" y="3454717"/>
                    </a:lnTo>
                    <a:lnTo>
                      <a:pt x="2096654" y="3440422"/>
                    </a:lnTo>
                    <a:lnTo>
                      <a:pt x="2110949" y="3421361"/>
                    </a:lnTo>
                    <a:lnTo>
                      <a:pt x="2149070" y="3416596"/>
                    </a:lnTo>
                    <a:lnTo>
                      <a:pt x="2158601" y="3416596"/>
                    </a:lnTo>
                    <a:lnTo>
                      <a:pt x="2158601" y="3411831"/>
                    </a:lnTo>
                    <a:lnTo>
                      <a:pt x="2134775" y="3383240"/>
                    </a:lnTo>
                    <a:lnTo>
                      <a:pt x="2144305" y="3364179"/>
                    </a:lnTo>
                    <a:lnTo>
                      <a:pt x="2153836" y="3354649"/>
                    </a:lnTo>
                    <a:lnTo>
                      <a:pt x="2201487" y="3340354"/>
                    </a:lnTo>
                    <a:lnTo>
                      <a:pt x="2225312" y="3345119"/>
                    </a:lnTo>
                    <a:lnTo>
                      <a:pt x="2258669" y="3364179"/>
                    </a:lnTo>
                    <a:lnTo>
                      <a:pt x="2277729" y="3388005"/>
                    </a:lnTo>
                    <a:lnTo>
                      <a:pt x="2272964" y="3397535"/>
                    </a:lnTo>
                    <a:lnTo>
                      <a:pt x="2268199" y="3407066"/>
                    </a:lnTo>
                    <a:lnTo>
                      <a:pt x="2258669" y="3411831"/>
                    </a:lnTo>
                    <a:lnTo>
                      <a:pt x="2258669" y="3416596"/>
                    </a:lnTo>
                    <a:lnTo>
                      <a:pt x="2258669" y="3426126"/>
                    </a:lnTo>
                    <a:lnTo>
                      <a:pt x="2272964" y="3411831"/>
                    </a:lnTo>
                    <a:lnTo>
                      <a:pt x="2296789" y="3392770"/>
                    </a:lnTo>
                    <a:lnTo>
                      <a:pt x="2306320" y="3397535"/>
                    </a:lnTo>
                    <a:lnTo>
                      <a:pt x="2315850" y="3411831"/>
                    </a:lnTo>
                    <a:lnTo>
                      <a:pt x="2330145" y="3411831"/>
                    </a:lnTo>
                    <a:lnTo>
                      <a:pt x="2363501" y="3402301"/>
                    </a:lnTo>
                    <a:lnTo>
                      <a:pt x="2382562" y="3388005"/>
                    </a:lnTo>
                    <a:lnTo>
                      <a:pt x="2401622" y="3359415"/>
                    </a:lnTo>
                    <a:lnTo>
                      <a:pt x="2434978" y="3335589"/>
                    </a:lnTo>
                    <a:lnTo>
                      <a:pt x="2473099" y="3273642"/>
                    </a:lnTo>
                    <a:lnTo>
                      <a:pt x="2487394" y="3245051"/>
                    </a:lnTo>
                    <a:lnTo>
                      <a:pt x="2501690" y="3240286"/>
                    </a:lnTo>
                    <a:lnTo>
                      <a:pt x="2511220" y="3245051"/>
                    </a:lnTo>
                    <a:lnTo>
                      <a:pt x="2520751" y="3264112"/>
                    </a:lnTo>
                    <a:lnTo>
                      <a:pt x="2535046" y="3273642"/>
                    </a:lnTo>
                    <a:lnTo>
                      <a:pt x="2606523" y="3268877"/>
                    </a:lnTo>
                    <a:lnTo>
                      <a:pt x="2644644" y="3254582"/>
                    </a:lnTo>
                    <a:lnTo>
                      <a:pt x="2668469" y="3235521"/>
                    </a:lnTo>
                    <a:lnTo>
                      <a:pt x="2697060" y="3197400"/>
                    </a:lnTo>
                    <a:lnTo>
                      <a:pt x="2711356" y="3173575"/>
                    </a:lnTo>
                    <a:lnTo>
                      <a:pt x="2720886" y="3144984"/>
                    </a:lnTo>
                    <a:lnTo>
                      <a:pt x="2711356" y="3102097"/>
                    </a:lnTo>
                    <a:lnTo>
                      <a:pt x="2701825" y="3068742"/>
                    </a:lnTo>
                    <a:lnTo>
                      <a:pt x="2687530" y="2987735"/>
                    </a:lnTo>
                    <a:lnTo>
                      <a:pt x="2649409" y="2935318"/>
                    </a:lnTo>
                    <a:lnTo>
                      <a:pt x="2625583" y="2921023"/>
                    </a:lnTo>
                    <a:lnTo>
                      <a:pt x="2611288" y="2921023"/>
                    </a:lnTo>
                    <a:lnTo>
                      <a:pt x="2620818" y="2887667"/>
                    </a:lnTo>
                    <a:lnTo>
                      <a:pt x="2654174" y="2892432"/>
                    </a:lnTo>
                    <a:lnTo>
                      <a:pt x="2678000" y="2887667"/>
                    </a:lnTo>
                    <a:lnTo>
                      <a:pt x="2697060" y="2873371"/>
                    </a:lnTo>
                    <a:lnTo>
                      <a:pt x="2701825" y="2859076"/>
                    </a:lnTo>
                    <a:lnTo>
                      <a:pt x="2711356" y="2835251"/>
                    </a:lnTo>
                    <a:lnTo>
                      <a:pt x="2706590" y="2806660"/>
                    </a:lnTo>
                    <a:lnTo>
                      <a:pt x="2701825" y="2792364"/>
                    </a:lnTo>
                    <a:lnTo>
                      <a:pt x="2692295" y="2773304"/>
                    </a:lnTo>
                    <a:lnTo>
                      <a:pt x="2678000" y="2749478"/>
                    </a:lnTo>
                    <a:lnTo>
                      <a:pt x="2663704" y="2744713"/>
                    </a:lnTo>
                    <a:lnTo>
                      <a:pt x="2658939" y="2744713"/>
                    </a:lnTo>
                    <a:lnTo>
                      <a:pt x="2611288" y="2792364"/>
                    </a:lnTo>
                    <a:lnTo>
                      <a:pt x="2587462" y="2792364"/>
                    </a:lnTo>
                    <a:lnTo>
                      <a:pt x="2568402" y="2782834"/>
                    </a:lnTo>
                    <a:lnTo>
                      <a:pt x="2549341" y="2811425"/>
                    </a:lnTo>
                    <a:lnTo>
                      <a:pt x="2501690" y="2835251"/>
                    </a:lnTo>
                    <a:lnTo>
                      <a:pt x="2477864" y="2859076"/>
                    </a:lnTo>
                    <a:lnTo>
                      <a:pt x="2430213" y="2916258"/>
                    </a:lnTo>
                    <a:lnTo>
                      <a:pt x="2420683" y="2944849"/>
                    </a:lnTo>
                    <a:lnTo>
                      <a:pt x="2401622" y="2944849"/>
                    </a:lnTo>
                    <a:lnTo>
                      <a:pt x="2392092" y="2892432"/>
                    </a:lnTo>
                    <a:lnTo>
                      <a:pt x="2339676" y="2844781"/>
                    </a:lnTo>
                    <a:lnTo>
                      <a:pt x="2325380" y="2859076"/>
                    </a:lnTo>
                    <a:lnTo>
                      <a:pt x="2334910" y="2878137"/>
                    </a:lnTo>
                    <a:lnTo>
                      <a:pt x="2344441" y="2887667"/>
                    </a:lnTo>
                    <a:lnTo>
                      <a:pt x="2363501" y="2892432"/>
                    </a:lnTo>
                    <a:lnTo>
                      <a:pt x="2358736" y="2906727"/>
                    </a:lnTo>
                    <a:lnTo>
                      <a:pt x="2349206" y="2925788"/>
                    </a:lnTo>
                    <a:lnTo>
                      <a:pt x="2330145" y="2906727"/>
                    </a:lnTo>
                    <a:lnTo>
                      <a:pt x="2296789" y="2882902"/>
                    </a:lnTo>
                    <a:lnTo>
                      <a:pt x="2263434" y="2868607"/>
                    </a:lnTo>
                    <a:lnTo>
                      <a:pt x="2168131" y="2868607"/>
                    </a:lnTo>
                    <a:lnTo>
                      <a:pt x="2110949" y="2897197"/>
                    </a:lnTo>
                    <a:lnTo>
                      <a:pt x="2106184" y="2892432"/>
                    </a:lnTo>
                    <a:lnTo>
                      <a:pt x="2096654" y="2887667"/>
                    </a:lnTo>
                    <a:lnTo>
                      <a:pt x="2087124" y="2897197"/>
                    </a:lnTo>
                    <a:lnTo>
                      <a:pt x="2082359" y="2906727"/>
                    </a:lnTo>
                    <a:lnTo>
                      <a:pt x="2077594" y="2916258"/>
                    </a:lnTo>
                    <a:lnTo>
                      <a:pt x="2063298" y="2916258"/>
                    </a:lnTo>
                    <a:lnTo>
                      <a:pt x="2039472" y="2911493"/>
                    </a:lnTo>
                    <a:lnTo>
                      <a:pt x="1991821" y="2897197"/>
                    </a:lnTo>
                    <a:lnTo>
                      <a:pt x="1882223" y="2868607"/>
                    </a:lnTo>
                    <a:lnTo>
                      <a:pt x="1853633" y="2854311"/>
                    </a:lnTo>
                    <a:lnTo>
                      <a:pt x="1829807" y="2816190"/>
                    </a:lnTo>
                    <a:lnTo>
                      <a:pt x="1829807" y="2792364"/>
                    </a:lnTo>
                    <a:lnTo>
                      <a:pt x="1839337" y="2778069"/>
                    </a:lnTo>
                    <a:lnTo>
                      <a:pt x="1839337" y="2744713"/>
                    </a:lnTo>
                    <a:lnTo>
                      <a:pt x="1820277" y="2735183"/>
                    </a:lnTo>
                    <a:lnTo>
                      <a:pt x="1777390" y="2682767"/>
                    </a:lnTo>
                    <a:lnTo>
                      <a:pt x="1758330" y="2658941"/>
                    </a:lnTo>
                    <a:lnTo>
                      <a:pt x="1763095" y="2654176"/>
                    </a:lnTo>
                    <a:lnTo>
                      <a:pt x="1772625" y="2663706"/>
                    </a:lnTo>
                    <a:lnTo>
                      <a:pt x="1786921" y="2668471"/>
                    </a:lnTo>
                    <a:lnTo>
                      <a:pt x="1820277" y="2658941"/>
                    </a:lnTo>
                    <a:lnTo>
                      <a:pt x="1834572" y="2625585"/>
                    </a:lnTo>
                    <a:lnTo>
                      <a:pt x="1863163" y="2616055"/>
                    </a:lnTo>
                    <a:lnTo>
                      <a:pt x="1886988" y="2620820"/>
                    </a:lnTo>
                    <a:lnTo>
                      <a:pt x="1882223" y="2611289"/>
                    </a:lnTo>
                    <a:lnTo>
                      <a:pt x="1872693" y="2601759"/>
                    </a:lnTo>
                    <a:lnTo>
                      <a:pt x="1810746" y="2587464"/>
                    </a:lnTo>
                    <a:lnTo>
                      <a:pt x="1801216" y="2592229"/>
                    </a:lnTo>
                    <a:lnTo>
                      <a:pt x="1686853" y="2558873"/>
                    </a:lnTo>
                    <a:lnTo>
                      <a:pt x="1596316" y="2506457"/>
                    </a:lnTo>
                    <a:lnTo>
                      <a:pt x="1586785" y="2492161"/>
                    </a:lnTo>
                    <a:lnTo>
                      <a:pt x="1577255" y="2468336"/>
                    </a:lnTo>
                    <a:lnTo>
                      <a:pt x="1591551" y="2449275"/>
                    </a:lnTo>
                    <a:lnTo>
                      <a:pt x="1601081" y="2434980"/>
                    </a:lnTo>
                    <a:lnTo>
                      <a:pt x="1605846" y="2449275"/>
                    </a:lnTo>
                    <a:lnTo>
                      <a:pt x="1605846" y="2458805"/>
                    </a:lnTo>
                    <a:lnTo>
                      <a:pt x="1658262" y="2430215"/>
                    </a:lnTo>
                    <a:lnTo>
                      <a:pt x="1686853" y="2392094"/>
                    </a:lnTo>
                    <a:lnTo>
                      <a:pt x="1739269" y="2387329"/>
                    </a:lnTo>
                    <a:lnTo>
                      <a:pt x="1748800" y="2377798"/>
                    </a:lnTo>
                    <a:lnTo>
                      <a:pt x="1763095" y="2353973"/>
                    </a:lnTo>
                    <a:lnTo>
                      <a:pt x="1786921" y="2320617"/>
                    </a:lnTo>
                    <a:lnTo>
                      <a:pt x="1820277" y="2301556"/>
                    </a:lnTo>
                    <a:lnTo>
                      <a:pt x="1844102" y="2282496"/>
                    </a:lnTo>
                    <a:lnTo>
                      <a:pt x="1872693" y="2272965"/>
                    </a:lnTo>
                    <a:lnTo>
                      <a:pt x="1896519" y="2292026"/>
                    </a:lnTo>
                    <a:lnTo>
                      <a:pt x="1906049" y="2292026"/>
                    </a:lnTo>
                    <a:lnTo>
                      <a:pt x="1948935" y="2296791"/>
                    </a:lnTo>
                    <a:lnTo>
                      <a:pt x="1963230" y="2287261"/>
                    </a:lnTo>
                    <a:lnTo>
                      <a:pt x="1967996" y="2282496"/>
                    </a:lnTo>
                    <a:lnTo>
                      <a:pt x="1972761" y="2272965"/>
                    </a:lnTo>
                    <a:lnTo>
                      <a:pt x="1929875" y="2244375"/>
                    </a:lnTo>
                    <a:lnTo>
                      <a:pt x="1934640" y="2230079"/>
                    </a:lnTo>
                    <a:lnTo>
                      <a:pt x="1939405" y="2215784"/>
                    </a:lnTo>
                    <a:lnTo>
                      <a:pt x="1991821" y="2182428"/>
                    </a:lnTo>
                    <a:lnTo>
                      <a:pt x="2029942" y="2168133"/>
                    </a:lnTo>
                    <a:lnTo>
                      <a:pt x="2049003" y="2168133"/>
                    </a:lnTo>
                    <a:lnTo>
                      <a:pt x="2110949" y="2125247"/>
                    </a:lnTo>
                    <a:lnTo>
                      <a:pt x="2144305" y="2110951"/>
                    </a:lnTo>
                    <a:lnTo>
                      <a:pt x="2206252" y="2101421"/>
                    </a:lnTo>
                    <a:lnTo>
                      <a:pt x="2258669" y="2101421"/>
                    </a:lnTo>
                    <a:lnTo>
                      <a:pt x="2272964" y="2115716"/>
                    </a:lnTo>
                    <a:lnTo>
                      <a:pt x="2244373" y="2110951"/>
                    </a:lnTo>
                    <a:lnTo>
                      <a:pt x="2234843" y="2115716"/>
                    </a:lnTo>
                    <a:lnTo>
                      <a:pt x="2244373" y="2120481"/>
                    </a:lnTo>
                    <a:lnTo>
                      <a:pt x="2253903" y="2134777"/>
                    </a:lnTo>
                    <a:lnTo>
                      <a:pt x="2249138" y="2149072"/>
                    </a:lnTo>
                    <a:lnTo>
                      <a:pt x="2230078" y="2191959"/>
                    </a:lnTo>
                    <a:lnTo>
                      <a:pt x="2234843" y="2230079"/>
                    </a:lnTo>
                    <a:lnTo>
                      <a:pt x="2225312" y="2239610"/>
                    </a:lnTo>
                    <a:lnTo>
                      <a:pt x="2211017" y="2258670"/>
                    </a:lnTo>
                    <a:lnTo>
                      <a:pt x="2263434" y="2306321"/>
                    </a:lnTo>
                    <a:lnTo>
                      <a:pt x="2344441" y="2311087"/>
                    </a:lnTo>
                    <a:lnTo>
                      <a:pt x="2392092" y="2301556"/>
                    </a:lnTo>
                    <a:lnTo>
                      <a:pt x="2415918" y="2315852"/>
                    </a:lnTo>
                    <a:lnTo>
                      <a:pt x="2439743" y="2320617"/>
                    </a:lnTo>
                    <a:lnTo>
                      <a:pt x="2496925" y="2311087"/>
                    </a:lnTo>
                    <a:lnTo>
                      <a:pt x="2539811" y="2325382"/>
                    </a:lnTo>
                    <a:lnTo>
                      <a:pt x="2558871" y="2320617"/>
                    </a:lnTo>
                    <a:lnTo>
                      <a:pt x="2596992" y="2244375"/>
                    </a:lnTo>
                    <a:lnTo>
                      <a:pt x="2616053" y="2230079"/>
                    </a:lnTo>
                    <a:lnTo>
                      <a:pt x="2630348" y="2244375"/>
                    </a:lnTo>
                    <a:lnTo>
                      <a:pt x="2654174" y="2253905"/>
                    </a:lnTo>
                    <a:lnTo>
                      <a:pt x="2668469" y="2249140"/>
                    </a:lnTo>
                    <a:lnTo>
                      <a:pt x="2682765" y="2268201"/>
                    </a:lnTo>
                    <a:lnTo>
                      <a:pt x="2673234" y="2225314"/>
                    </a:lnTo>
                    <a:lnTo>
                      <a:pt x="2668469" y="2211019"/>
                    </a:lnTo>
                    <a:lnTo>
                      <a:pt x="2601758" y="2182428"/>
                    </a:lnTo>
                    <a:lnTo>
                      <a:pt x="2558871" y="2196723"/>
                    </a:lnTo>
                    <a:lnTo>
                      <a:pt x="2544576" y="2182428"/>
                    </a:lnTo>
                    <a:lnTo>
                      <a:pt x="2549341" y="2149072"/>
                    </a:lnTo>
                    <a:lnTo>
                      <a:pt x="2501690" y="2068065"/>
                    </a:lnTo>
                    <a:lnTo>
                      <a:pt x="2477864" y="2053770"/>
                    </a:lnTo>
                    <a:lnTo>
                      <a:pt x="2458804" y="2053770"/>
                    </a:lnTo>
                    <a:lnTo>
                      <a:pt x="2444508" y="2025179"/>
                    </a:lnTo>
                    <a:lnTo>
                      <a:pt x="2434978" y="1991823"/>
                    </a:lnTo>
                    <a:lnTo>
                      <a:pt x="2454039" y="1977528"/>
                    </a:lnTo>
                    <a:lnTo>
                      <a:pt x="2473099" y="1967997"/>
                    </a:lnTo>
                    <a:lnTo>
                      <a:pt x="2492160" y="1982293"/>
                    </a:lnTo>
                    <a:lnTo>
                      <a:pt x="2511220" y="2025179"/>
                    </a:lnTo>
                    <a:lnTo>
                      <a:pt x="2525516" y="2034709"/>
                    </a:lnTo>
                    <a:lnTo>
                      <a:pt x="2520751" y="2077595"/>
                    </a:lnTo>
                    <a:lnTo>
                      <a:pt x="2544576" y="2120481"/>
                    </a:lnTo>
                    <a:lnTo>
                      <a:pt x="2592227" y="2163367"/>
                    </a:lnTo>
                    <a:lnTo>
                      <a:pt x="2635113" y="2149072"/>
                    </a:lnTo>
                    <a:lnTo>
                      <a:pt x="2663704" y="2149072"/>
                    </a:lnTo>
                    <a:lnTo>
                      <a:pt x="2678000" y="2153837"/>
                    </a:lnTo>
                    <a:lnTo>
                      <a:pt x="2720886" y="2191959"/>
                    </a:lnTo>
                    <a:lnTo>
                      <a:pt x="2739946" y="2196723"/>
                    </a:lnTo>
                    <a:lnTo>
                      <a:pt x="2806658" y="2177663"/>
                    </a:lnTo>
                    <a:lnTo>
                      <a:pt x="2806658" y="2144307"/>
                    </a:lnTo>
                    <a:lnTo>
                      <a:pt x="2801893" y="2115716"/>
                    </a:lnTo>
                    <a:lnTo>
                      <a:pt x="2787598" y="2101421"/>
                    </a:lnTo>
                    <a:lnTo>
                      <a:pt x="2739946" y="2106186"/>
                    </a:lnTo>
                    <a:lnTo>
                      <a:pt x="2706590" y="2077595"/>
                    </a:lnTo>
                    <a:lnTo>
                      <a:pt x="2678000" y="2087126"/>
                    </a:lnTo>
                    <a:lnTo>
                      <a:pt x="2625583" y="2125247"/>
                    </a:lnTo>
                    <a:lnTo>
                      <a:pt x="2596992" y="2110951"/>
                    </a:lnTo>
                    <a:lnTo>
                      <a:pt x="2577932" y="2087126"/>
                    </a:lnTo>
                    <a:lnTo>
                      <a:pt x="2554106" y="2068065"/>
                    </a:lnTo>
                    <a:lnTo>
                      <a:pt x="2549341" y="2025179"/>
                    </a:lnTo>
                    <a:lnTo>
                      <a:pt x="2573167" y="1977528"/>
                    </a:lnTo>
                    <a:lnTo>
                      <a:pt x="2587462" y="1958467"/>
                    </a:lnTo>
                    <a:lnTo>
                      <a:pt x="2573167" y="1939407"/>
                    </a:lnTo>
                    <a:lnTo>
                      <a:pt x="2535046" y="1929876"/>
                    </a:lnTo>
                    <a:lnTo>
                      <a:pt x="2468334" y="1939407"/>
                    </a:lnTo>
                    <a:lnTo>
                      <a:pt x="2463569" y="1925111"/>
                    </a:lnTo>
                    <a:lnTo>
                      <a:pt x="2463569" y="1906051"/>
                    </a:lnTo>
                    <a:lnTo>
                      <a:pt x="2439743" y="1939407"/>
                    </a:lnTo>
                    <a:lnTo>
                      <a:pt x="2411152" y="1934641"/>
                    </a:lnTo>
                    <a:lnTo>
                      <a:pt x="2373031" y="1939407"/>
                    </a:lnTo>
                    <a:lnTo>
                      <a:pt x="2292024" y="1906051"/>
                    </a:lnTo>
                    <a:lnTo>
                      <a:pt x="2263434" y="1867930"/>
                    </a:lnTo>
                    <a:lnTo>
                      <a:pt x="2249138" y="1839339"/>
                    </a:lnTo>
                    <a:lnTo>
                      <a:pt x="2225312" y="1753567"/>
                    </a:lnTo>
                    <a:lnTo>
                      <a:pt x="2196722" y="1701150"/>
                    </a:lnTo>
                    <a:lnTo>
                      <a:pt x="2001351" y="1520075"/>
                    </a:lnTo>
                    <a:lnTo>
                      <a:pt x="1910814" y="1472424"/>
                    </a:lnTo>
                    <a:lnTo>
                      <a:pt x="1867928" y="1424773"/>
                    </a:lnTo>
                    <a:lnTo>
                      <a:pt x="1839337" y="1410478"/>
                    </a:lnTo>
                    <a:lnTo>
                      <a:pt x="1815512" y="1405713"/>
                    </a:lnTo>
                    <a:lnTo>
                      <a:pt x="1782156" y="1386652"/>
                    </a:lnTo>
                    <a:lnTo>
                      <a:pt x="1805981" y="1367591"/>
                    </a:lnTo>
                    <a:lnTo>
                      <a:pt x="1820277" y="1362826"/>
                    </a:lnTo>
                    <a:lnTo>
                      <a:pt x="1801216" y="1381887"/>
                    </a:lnTo>
                    <a:lnTo>
                      <a:pt x="1815512" y="1386652"/>
                    </a:lnTo>
                    <a:lnTo>
                      <a:pt x="1834572" y="1377122"/>
                    </a:lnTo>
                    <a:lnTo>
                      <a:pt x="1844102" y="1362826"/>
                    </a:lnTo>
                    <a:lnTo>
                      <a:pt x="1863163" y="1296115"/>
                    </a:lnTo>
                    <a:lnTo>
                      <a:pt x="1877458" y="1200812"/>
                    </a:lnTo>
                    <a:lnTo>
                      <a:pt x="1872693" y="1162691"/>
                    </a:lnTo>
                    <a:lnTo>
                      <a:pt x="1982291" y="1172221"/>
                    </a:lnTo>
                    <a:lnTo>
                      <a:pt x="2053768" y="1162691"/>
                    </a:lnTo>
                    <a:lnTo>
                      <a:pt x="2077594" y="1157926"/>
                    </a:lnTo>
                    <a:lnTo>
                      <a:pt x="2168131" y="1138865"/>
                    </a:lnTo>
                    <a:lnTo>
                      <a:pt x="2191957" y="1129335"/>
                    </a:lnTo>
                    <a:lnTo>
                      <a:pt x="2239608" y="1095979"/>
                    </a:lnTo>
                    <a:lnTo>
                      <a:pt x="2292024" y="1038798"/>
                    </a:lnTo>
                    <a:lnTo>
                      <a:pt x="2334910" y="962556"/>
                    </a:lnTo>
                    <a:lnTo>
                      <a:pt x="2339676" y="938730"/>
                    </a:lnTo>
                    <a:lnTo>
                      <a:pt x="2344441" y="948260"/>
                    </a:lnTo>
                    <a:lnTo>
                      <a:pt x="2349206" y="943495"/>
                    </a:lnTo>
                    <a:lnTo>
                      <a:pt x="2353971" y="914904"/>
                    </a:lnTo>
                    <a:lnTo>
                      <a:pt x="2358736" y="843427"/>
                    </a:lnTo>
                    <a:lnTo>
                      <a:pt x="2382562" y="776716"/>
                    </a:lnTo>
                    <a:lnTo>
                      <a:pt x="2473099" y="624232"/>
                    </a:lnTo>
                    <a:lnTo>
                      <a:pt x="2520751" y="562285"/>
                    </a:lnTo>
                    <a:lnTo>
                      <a:pt x="2535046" y="533694"/>
                    </a:lnTo>
                    <a:lnTo>
                      <a:pt x="2549341" y="514634"/>
                    </a:lnTo>
                    <a:lnTo>
                      <a:pt x="2558871" y="533694"/>
                    </a:lnTo>
                    <a:lnTo>
                      <a:pt x="2563637" y="538459"/>
                    </a:lnTo>
                    <a:lnTo>
                      <a:pt x="2568402" y="547990"/>
                    </a:lnTo>
                    <a:lnTo>
                      <a:pt x="2558871" y="552755"/>
                    </a:lnTo>
                    <a:lnTo>
                      <a:pt x="2544576" y="571815"/>
                    </a:lnTo>
                    <a:lnTo>
                      <a:pt x="2520751" y="586111"/>
                    </a:lnTo>
                    <a:lnTo>
                      <a:pt x="2515985" y="590876"/>
                    </a:lnTo>
                    <a:lnTo>
                      <a:pt x="2530281" y="590876"/>
                    </a:lnTo>
                    <a:lnTo>
                      <a:pt x="2568402" y="576580"/>
                    </a:lnTo>
                    <a:lnTo>
                      <a:pt x="2587462" y="557520"/>
                    </a:lnTo>
                    <a:lnTo>
                      <a:pt x="2687530" y="528929"/>
                    </a:lnTo>
                    <a:lnTo>
                      <a:pt x="2739946" y="471748"/>
                    </a:lnTo>
                    <a:lnTo>
                      <a:pt x="2744711" y="462217"/>
                    </a:lnTo>
                    <a:lnTo>
                      <a:pt x="2825719" y="395506"/>
                    </a:lnTo>
                    <a:lnTo>
                      <a:pt x="2835249" y="395506"/>
                    </a:lnTo>
                    <a:lnTo>
                      <a:pt x="2849544" y="405036"/>
                    </a:lnTo>
                    <a:lnTo>
                      <a:pt x="2825719" y="447922"/>
                    </a:lnTo>
                    <a:lnTo>
                      <a:pt x="2840014" y="462217"/>
                    </a:lnTo>
                    <a:lnTo>
                      <a:pt x="2825719" y="514634"/>
                    </a:lnTo>
                    <a:lnTo>
                      <a:pt x="2854309" y="514634"/>
                    </a:lnTo>
                    <a:lnTo>
                      <a:pt x="2863840" y="538459"/>
                    </a:lnTo>
                    <a:lnTo>
                      <a:pt x="2863840" y="519399"/>
                    </a:lnTo>
                    <a:lnTo>
                      <a:pt x="2863840" y="486043"/>
                    </a:lnTo>
                    <a:lnTo>
                      <a:pt x="2868605" y="457452"/>
                    </a:lnTo>
                    <a:lnTo>
                      <a:pt x="2873370" y="438392"/>
                    </a:lnTo>
                    <a:lnTo>
                      <a:pt x="2892430" y="447922"/>
                    </a:lnTo>
                    <a:lnTo>
                      <a:pt x="2940082" y="424096"/>
                    </a:lnTo>
                    <a:lnTo>
                      <a:pt x="2882900" y="419331"/>
                    </a:lnTo>
                    <a:lnTo>
                      <a:pt x="2849544" y="371680"/>
                    </a:lnTo>
                    <a:lnTo>
                      <a:pt x="2830484" y="371680"/>
                    </a:lnTo>
                    <a:lnTo>
                      <a:pt x="2892430" y="300203"/>
                    </a:lnTo>
                    <a:lnTo>
                      <a:pt x="2949612" y="257317"/>
                    </a:lnTo>
                    <a:lnTo>
                      <a:pt x="2963907" y="257317"/>
                    </a:lnTo>
                    <a:lnTo>
                      <a:pt x="2968672" y="266847"/>
                    </a:lnTo>
                    <a:lnTo>
                      <a:pt x="2968672" y="281143"/>
                    </a:lnTo>
                    <a:lnTo>
                      <a:pt x="2959142" y="285908"/>
                    </a:lnTo>
                    <a:lnTo>
                      <a:pt x="2944847" y="304968"/>
                    </a:lnTo>
                    <a:lnTo>
                      <a:pt x="2949612" y="319263"/>
                    </a:lnTo>
                    <a:lnTo>
                      <a:pt x="2959142" y="319263"/>
                    </a:lnTo>
                    <a:lnTo>
                      <a:pt x="2987733" y="309733"/>
                    </a:lnTo>
                    <a:lnTo>
                      <a:pt x="2997263" y="295438"/>
                    </a:lnTo>
                    <a:lnTo>
                      <a:pt x="3059210" y="295438"/>
                    </a:lnTo>
                    <a:lnTo>
                      <a:pt x="3073505" y="285908"/>
                    </a:lnTo>
                    <a:lnTo>
                      <a:pt x="3078270" y="276377"/>
                    </a:lnTo>
                    <a:lnTo>
                      <a:pt x="3154512" y="271612"/>
                    </a:lnTo>
                    <a:lnTo>
                      <a:pt x="3168808" y="266847"/>
                    </a:lnTo>
                    <a:lnTo>
                      <a:pt x="3216459" y="228726"/>
                    </a:lnTo>
                    <a:lnTo>
                      <a:pt x="3259345" y="181075"/>
                    </a:lnTo>
                    <a:lnTo>
                      <a:pt x="3278406" y="152484"/>
                    </a:lnTo>
                    <a:lnTo>
                      <a:pt x="3316527" y="85772"/>
                    </a:lnTo>
                    <a:lnTo>
                      <a:pt x="3345117" y="42886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22" name="Freeform 6844">
              <a:extLst>
                <a:ext uri="{FF2B5EF4-FFF2-40B4-BE49-F238E27FC236}">
                  <a16:creationId xmlns:a16="http://schemas.microsoft.com/office/drawing/2014/main" id="{DEB25552-ABA6-48CF-8932-6ADE22CA11B2}"/>
                </a:ext>
              </a:extLst>
            </p:cNvPr>
            <p:cNvSpPr/>
            <p:nvPr/>
          </p:nvSpPr>
          <p:spPr bwMode="auto">
            <a:xfrm>
              <a:off x="7109243" y="4305516"/>
              <a:ext cx="3084" cy="2313"/>
            </a:xfrm>
            <a:custGeom>
              <a:avLst/>
              <a:gdLst>
                <a:gd name="T0" fmla="*/ 8 w 8"/>
                <a:gd name="T1" fmla="*/ 4 h 6"/>
                <a:gd name="T2" fmla="*/ 8 w 8"/>
                <a:gd name="T3" fmla="*/ 0 h 6"/>
                <a:gd name="T4" fmla="*/ 6 w 8"/>
                <a:gd name="T5" fmla="*/ 0 h 6"/>
                <a:gd name="T6" fmla="*/ 6 w 8"/>
                <a:gd name="T7" fmla="*/ 0 h 6"/>
                <a:gd name="T8" fmla="*/ 2 w 8"/>
                <a:gd name="T9" fmla="*/ 2 h 6"/>
                <a:gd name="T10" fmla="*/ 0 w 8"/>
                <a:gd name="T11" fmla="*/ 4 h 6"/>
                <a:gd name="T12" fmla="*/ 2 w 8"/>
                <a:gd name="T13" fmla="*/ 6 h 6"/>
                <a:gd name="T14" fmla="*/ 6 w 8"/>
                <a:gd name="T15" fmla="*/ 6 h 6"/>
                <a:gd name="T16" fmla="*/ 8 w 8"/>
                <a:gd name="T1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6">
                  <a:moveTo>
                    <a:pt x="8" y="4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6" y="6"/>
                  </a:lnTo>
                  <a:lnTo>
                    <a:pt x="8" y="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3" name="Freeform 6845">
              <a:extLst>
                <a:ext uri="{FF2B5EF4-FFF2-40B4-BE49-F238E27FC236}">
                  <a16:creationId xmlns:a16="http://schemas.microsoft.com/office/drawing/2014/main" id="{2315D7FB-5A04-493E-9B16-D1AB4C3AA057}"/>
                </a:ext>
              </a:extLst>
            </p:cNvPr>
            <p:cNvSpPr/>
            <p:nvPr/>
          </p:nvSpPr>
          <p:spPr bwMode="auto">
            <a:xfrm>
              <a:off x="7091512" y="4300120"/>
              <a:ext cx="6938" cy="8480"/>
            </a:xfrm>
            <a:custGeom>
              <a:avLst/>
              <a:gdLst>
                <a:gd name="T0" fmla="*/ 16 w 18"/>
                <a:gd name="T1" fmla="*/ 22 h 22"/>
                <a:gd name="T2" fmla="*/ 16 w 18"/>
                <a:gd name="T3" fmla="*/ 22 h 22"/>
                <a:gd name="T4" fmla="*/ 14 w 18"/>
                <a:gd name="T5" fmla="*/ 14 h 22"/>
                <a:gd name="T6" fmla="*/ 18 w 18"/>
                <a:gd name="T7" fmla="*/ 8 h 22"/>
                <a:gd name="T8" fmla="*/ 12 w 18"/>
                <a:gd name="T9" fmla="*/ 8 h 22"/>
                <a:gd name="T10" fmla="*/ 8 w 18"/>
                <a:gd name="T11" fmla="*/ 6 h 22"/>
                <a:gd name="T12" fmla="*/ 4 w 18"/>
                <a:gd name="T13" fmla="*/ 0 h 22"/>
                <a:gd name="T14" fmla="*/ 4 w 18"/>
                <a:gd name="T15" fmla="*/ 0 h 22"/>
                <a:gd name="T16" fmla="*/ 2 w 18"/>
                <a:gd name="T17" fmla="*/ 2 h 22"/>
                <a:gd name="T18" fmla="*/ 0 w 18"/>
                <a:gd name="T19" fmla="*/ 6 h 22"/>
                <a:gd name="T20" fmla="*/ 2 w 18"/>
                <a:gd name="T21" fmla="*/ 10 h 22"/>
                <a:gd name="T22" fmla="*/ 4 w 18"/>
                <a:gd name="T23" fmla="*/ 12 h 22"/>
                <a:gd name="T24" fmla="*/ 6 w 18"/>
                <a:gd name="T25" fmla="*/ 14 h 22"/>
                <a:gd name="T26" fmla="*/ 6 w 18"/>
                <a:gd name="T27" fmla="*/ 14 h 22"/>
                <a:gd name="T28" fmla="*/ 6 w 18"/>
                <a:gd name="T29" fmla="*/ 14 h 22"/>
                <a:gd name="T30" fmla="*/ 4 w 18"/>
                <a:gd name="T31" fmla="*/ 22 h 22"/>
                <a:gd name="T32" fmla="*/ 6 w 18"/>
                <a:gd name="T33" fmla="*/ 22 h 22"/>
                <a:gd name="T34" fmla="*/ 12 w 18"/>
                <a:gd name="T35" fmla="*/ 22 h 22"/>
                <a:gd name="T36" fmla="*/ 16 w 18"/>
                <a:gd name="T3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" h="22">
                  <a:moveTo>
                    <a:pt x="16" y="22"/>
                  </a:moveTo>
                  <a:lnTo>
                    <a:pt x="16" y="22"/>
                  </a:lnTo>
                  <a:lnTo>
                    <a:pt x="14" y="14"/>
                  </a:lnTo>
                  <a:lnTo>
                    <a:pt x="18" y="8"/>
                  </a:lnTo>
                  <a:lnTo>
                    <a:pt x="12" y="8"/>
                  </a:lnTo>
                  <a:lnTo>
                    <a:pt x="8" y="6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12" y="22"/>
                  </a:lnTo>
                  <a:lnTo>
                    <a:pt x="16" y="2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4" name="Freeform 6847">
              <a:extLst>
                <a:ext uri="{FF2B5EF4-FFF2-40B4-BE49-F238E27FC236}">
                  <a16:creationId xmlns:a16="http://schemas.microsoft.com/office/drawing/2014/main" id="{455565B1-F0BA-4463-8AE7-387528483FD0}"/>
                </a:ext>
              </a:extLst>
            </p:cNvPr>
            <p:cNvSpPr/>
            <p:nvPr/>
          </p:nvSpPr>
          <p:spPr bwMode="auto">
            <a:xfrm>
              <a:off x="7081491" y="4270827"/>
              <a:ext cx="2313" cy="3084"/>
            </a:xfrm>
            <a:custGeom>
              <a:avLst/>
              <a:gdLst>
                <a:gd name="T0" fmla="*/ 0 w 6"/>
                <a:gd name="T1" fmla="*/ 4 h 8"/>
                <a:gd name="T2" fmla="*/ 0 w 6"/>
                <a:gd name="T3" fmla="*/ 2 h 8"/>
                <a:gd name="T4" fmla="*/ 0 w 6"/>
                <a:gd name="T5" fmla="*/ 0 h 8"/>
                <a:gd name="T6" fmla="*/ 4 w 6"/>
                <a:gd name="T7" fmla="*/ 2 h 8"/>
                <a:gd name="T8" fmla="*/ 6 w 6"/>
                <a:gd name="T9" fmla="*/ 6 h 8"/>
                <a:gd name="T10" fmla="*/ 6 w 6"/>
                <a:gd name="T11" fmla="*/ 8 h 8"/>
                <a:gd name="T12" fmla="*/ 4 w 6"/>
                <a:gd name="T13" fmla="*/ 8 h 8"/>
                <a:gd name="T14" fmla="*/ 0 w 6"/>
                <a:gd name="T15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0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4" y="2"/>
                  </a:lnTo>
                  <a:lnTo>
                    <a:pt x="6" y="6"/>
                  </a:lnTo>
                  <a:lnTo>
                    <a:pt x="6" y="8"/>
                  </a:lnTo>
                  <a:lnTo>
                    <a:pt x="4" y="8"/>
                  </a:lnTo>
                  <a:lnTo>
                    <a:pt x="0" y="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5" name="Line 6848">
              <a:extLst>
                <a:ext uri="{FF2B5EF4-FFF2-40B4-BE49-F238E27FC236}">
                  <a16:creationId xmlns:a16="http://schemas.microsoft.com/office/drawing/2014/main" id="{CF645072-D886-4F2F-BB62-A99BE70F20F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081491" y="4272368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6" name="Freeform 374">
              <a:extLst>
                <a:ext uri="{FF2B5EF4-FFF2-40B4-BE49-F238E27FC236}">
                  <a16:creationId xmlns:a16="http://schemas.microsoft.com/office/drawing/2014/main" id="{D3EFEC9F-0C77-4A23-83AB-3E059BEBF9D1}"/>
                </a:ext>
              </a:extLst>
            </p:cNvPr>
            <p:cNvSpPr/>
            <p:nvPr/>
          </p:nvSpPr>
          <p:spPr bwMode="auto">
            <a:xfrm>
              <a:off x="6713012" y="4113568"/>
              <a:ext cx="433232" cy="282911"/>
            </a:xfrm>
            <a:custGeom>
              <a:avLst/>
              <a:gdLst>
                <a:gd name="connsiteX0" fmla="*/ 2463572 w 2678000"/>
                <a:gd name="connsiteY0" fmla="*/ 1186516 h 1748800"/>
                <a:gd name="connsiteX1" fmla="*/ 2468336 w 2678000"/>
                <a:gd name="connsiteY1" fmla="*/ 1186516 h 1748800"/>
                <a:gd name="connsiteX2" fmla="*/ 2468336 w 2678000"/>
                <a:gd name="connsiteY2" fmla="*/ 1196046 h 1748800"/>
                <a:gd name="connsiteX3" fmla="*/ 2463572 w 2678000"/>
                <a:gd name="connsiteY3" fmla="*/ 1200812 h 1748800"/>
                <a:gd name="connsiteX4" fmla="*/ 2454040 w 2678000"/>
                <a:gd name="connsiteY4" fmla="*/ 1200812 h 1748800"/>
                <a:gd name="connsiteX5" fmla="*/ 2449276 w 2678000"/>
                <a:gd name="connsiteY5" fmla="*/ 1196046 h 1748800"/>
                <a:gd name="connsiteX6" fmla="*/ 2454040 w 2678000"/>
                <a:gd name="connsiteY6" fmla="*/ 1191280 h 1748800"/>
                <a:gd name="connsiteX7" fmla="*/ 2349208 w 2678000"/>
                <a:gd name="connsiteY7" fmla="*/ 1153160 h 1748800"/>
                <a:gd name="connsiteX8" fmla="*/ 2358736 w 2678000"/>
                <a:gd name="connsiteY8" fmla="*/ 1167456 h 1748800"/>
                <a:gd name="connsiteX9" fmla="*/ 2368268 w 2678000"/>
                <a:gd name="connsiteY9" fmla="*/ 1172220 h 1748800"/>
                <a:gd name="connsiteX10" fmla="*/ 2382564 w 2678000"/>
                <a:gd name="connsiteY10" fmla="*/ 1172220 h 1748800"/>
                <a:gd name="connsiteX11" fmla="*/ 2373032 w 2678000"/>
                <a:gd name="connsiteY11" fmla="*/ 1186516 h 1748800"/>
                <a:gd name="connsiteX12" fmla="*/ 2377796 w 2678000"/>
                <a:gd name="connsiteY12" fmla="*/ 1205576 h 1748800"/>
                <a:gd name="connsiteX13" fmla="*/ 2368268 w 2678000"/>
                <a:gd name="connsiteY13" fmla="*/ 1205576 h 1748800"/>
                <a:gd name="connsiteX14" fmla="*/ 2353972 w 2678000"/>
                <a:gd name="connsiteY14" fmla="*/ 1205576 h 1748800"/>
                <a:gd name="connsiteX15" fmla="*/ 2349208 w 2678000"/>
                <a:gd name="connsiteY15" fmla="*/ 1205576 h 1748800"/>
                <a:gd name="connsiteX16" fmla="*/ 2353972 w 2678000"/>
                <a:gd name="connsiteY16" fmla="*/ 1186516 h 1748800"/>
                <a:gd name="connsiteX17" fmla="*/ 2349208 w 2678000"/>
                <a:gd name="connsiteY17" fmla="*/ 1181750 h 1748800"/>
                <a:gd name="connsiteX18" fmla="*/ 2344444 w 2678000"/>
                <a:gd name="connsiteY18" fmla="*/ 1176986 h 1748800"/>
                <a:gd name="connsiteX19" fmla="*/ 2339676 w 2678000"/>
                <a:gd name="connsiteY19" fmla="*/ 1167456 h 1748800"/>
                <a:gd name="connsiteX20" fmla="*/ 2344444 w 2678000"/>
                <a:gd name="connsiteY20" fmla="*/ 1157926 h 1748800"/>
                <a:gd name="connsiteX21" fmla="*/ 400272 w 2678000"/>
                <a:gd name="connsiteY21" fmla="*/ 0 h 1748800"/>
                <a:gd name="connsiteX22" fmla="*/ 409800 w 2678000"/>
                <a:gd name="connsiteY22" fmla="*/ 4764 h 1748800"/>
                <a:gd name="connsiteX23" fmla="*/ 400272 w 2678000"/>
                <a:gd name="connsiteY23" fmla="*/ 23824 h 1748800"/>
                <a:gd name="connsiteX24" fmla="*/ 395504 w 2678000"/>
                <a:gd name="connsiteY24" fmla="*/ 38120 h 1748800"/>
                <a:gd name="connsiteX25" fmla="*/ 385976 w 2678000"/>
                <a:gd name="connsiteY25" fmla="*/ 52416 h 1748800"/>
                <a:gd name="connsiteX26" fmla="*/ 376444 w 2678000"/>
                <a:gd name="connsiteY26" fmla="*/ 66710 h 1748800"/>
                <a:gd name="connsiteX27" fmla="*/ 376444 w 2678000"/>
                <a:gd name="connsiteY27" fmla="*/ 85772 h 1748800"/>
                <a:gd name="connsiteX28" fmla="*/ 357384 w 2678000"/>
                <a:gd name="connsiteY28" fmla="*/ 128658 h 1748800"/>
                <a:gd name="connsiteX29" fmla="*/ 352620 w 2678000"/>
                <a:gd name="connsiteY29" fmla="*/ 147718 h 1748800"/>
                <a:gd name="connsiteX30" fmla="*/ 352620 w 2678000"/>
                <a:gd name="connsiteY30" fmla="*/ 157248 h 1748800"/>
                <a:gd name="connsiteX31" fmla="*/ 352620 w 2678000"/>
                <a:gd name="connsiteY31" fmla="*/ 171544 h 1748800"/>
                <a:gd name="connsiteX32" fmla="*/ 362148 w 2678000"/>
                <a:gd name="connsiteY32" fmla="*/ 190604 h 1748800"/>
                <a:gd name="connsiteX33" fmla="*/ 362148 w 2678000"/>
                <a:gd name="connsiteY33" fmla="*/ 204900 h 1748800"/>
                <a:gd name="connsiteX34" fmla="*/ 357384 w 2678000"/>
                <a:gd name="connsiteY34" fmla="*/ 219194 h 1748800"/>
                <a:gd name="connsiteX35" fmla="*/ 352620 w 2678000"/>
                <a:gd name="connsiteY35" fmla="*/ 228726 h 1748800"/>
                <a:gd name="connsiteX36" fmla="*/ 357384 w 2678000"/>
                <a:gd name="connsiteY36" fmla="*/ 238256 h 1748800"/>
                <a:gd name="connsiteX37" fmla="*/ 357384 w 2678000"/>
                <a:gd name="connsiteY37" fmla="*/ 243020 h 1748800"/>
                <a:gd name="connsiteX38" fmla="*/ 366916 w 2678000"/>
                <a:gd name="connsiteY38" fmla="*/ 247786 h 1748800"/>
                <a:gd name="connsiteX39" fmla="*/ 371680 w 2678000"/>
                <a:gd name="connsiteY39" fmla="*/ 247786 h 1748800"/>
                <a:gd name="connsiteX40" fmla="*/ 385976 w 2678000"/>
                <a:gd name="connsiteY40" fmla="*/ 243020 h 1748800"/>
                <a:gd name="connsiteX41" fmla="*/ 395504 w 2678000"/>
                <a:gd name="connsiteY41" fmla="*/ 233490 h 1748800"/>
                <a:gd name="connsiteX42" fmla="*/ 405036 w 2678000"/>
                <a:gd name="connsiteY42" fmla="*/ 223960 h 1748800"/>
                <a:gd name="connsiteX43" fmla="*/ 424096 w 2678000"/>
                <a:gd name="connsiteY43" fmla="*/ 195370 h 1748800"/>
                <a:gd name="connsiteX44" fmla="*/ 424096 w 2678000"/>
                <a:gd name="connsiteY44" fmla="*/ 190604 h 1748800"/>
                <a:gd name="connsiteX45" fmla="*/ 414568 w 2678000"/>
                <a:gd name="connsiteY45" fmla="*/ 190604 h 1748800"/>
                <a:gd name="connsiteX46" fmla="*/ 409800 w 2678000"/>
                <a:gd name="connsiteY46" fmla="*/ 185840 h 1748800"/>
                <a:gd name="connsiteX47" fmla="*/ 414568 w 2678000"/>
                <a:gd name="connsiteY47" fmla="*/ 176308 h 1748800"/>
                <a:gd name="connsiteX48" fmla="*/ 414568 w 2678000"/>
                <a:gd name="connsiteY48" fmla="*/ 171544 h 1748800"/>
                <a:gd name="connsiteX49" fmla="*/ 419332 w 2678000"/>
                <a:gd name="connsiteY49" fmla="*/ 171544 h 1748800"/>
                <a:gd name="connsiteX50" fmla="*/ 424096 w 2678000"/>
                <a:gd name="connsiteY50" fmla="*/ 176308 h 1748800"/>
                <a:gd name="connsiteX51" fmla="*/ 424096 w 2678000"/>
                <a:gd name="connsiteY51" fmla="*/ 181074 h 1748800"/>
                <a:gd name="connsiteX52" fmla="*/ 428860 w 2678000"/>
                <a:gd name="connsiteY52" fmla="*/ 181074 h 1748800"/>
                <a:gd name="connsiteX53" fmla="*/ 433628 w 2678000"/>
                <a:gd name="connsiteY53" fmla="*/ 181074 h 1748800"/>
                <a:gd name="connsiteX54" fmla="*/ 438392 w 2678000"/>
                <a:gd name="connsiteY54" fmla="*/ 176308 h 1748800"/>
                <a:gd name="connsiteX55" fmla="*/ 433628 w 2678000"/>
                <a:gd name="connsiteY55" fmla="*/ 171544 h 1748800"/>
                <a:gd name="connsiteX56" fmla="*/ 433628 w 2678000"/>
                <a:gd name="connsiteY56" fmla="*/ 162014 h 1748800"/>
                <a:gd name="connsiteX57" fmla="*/ 428860 w 2678000"/>
                <a:gd name="connsiteY57" fmla="*/ 142952 h 1748800"/>
                <a:gd name="connsiteX58" fmla="*/ 433628 w 2678000"/>
                <a:gd name="connsiteY58" fmla="*/ 138188 h 1748800"/>
                <a:gd name="connsiteX59" fmla="*/ 433628 w 2678000"/>
                <a:gd name="connsiteY59" fmla="*/ 133422 h 1748800"/>
                <a:gd name="connsiteX60" fmla="*/ 438392 w 2678000"/>
                <a:gd name="connsiteY60" fmla="*/ 128658 h 1748800"/>
                <a:gd name="connsiteX61" fmla="*/ 443156 w 2678000"/>
                <a:gd name="connsiteY61" fmla="*/ 114362 h 1748800"/>
                <a:gd name="connsiteX62" fmla="*/ 438392 w 2678000"/>
                <a:gd name="connsiteY62" fmla="*/ 114362 h 1748800"/>
                <a:gd name="connsiteX63" fmla="*/ 419332 w 2678000"/>
                <a:gd name="connsiteY63" fmla="*/ 128658 h 1748800"/>
                <a:gd name="connsiteX64" fmla="*/ 414568 w 2678000"/>
                <a:gd name="connsiteY64" fmla="*/ 123892 h 1748800"/>
                <a:gd name="connsiteX65" fmla="*/ 414568 w 2678000"/>
                <a:gd name="connsiteY65" fmla="*/ 119128 h 1748800"/>
                <a:gd name="connsiteX66" fmla="*/ 419332 w 2678000"/>
                <a:gd name="connsiteY66" fmla="*/ 109596 h 1748800"/>
                <a:gd name="connsiteX67" fmla="*/ 428860 w 2678000"/>
                <a:gd name="connsiteY67" fmla="*/ 95302 h 1748800"/>
                <a:gd name="connsiteX68" fmla="*/ 438392 w 2678000"/>
                <a:gd name="connsiteY68" fmla="*/ 85772 h 1748800"/>
                <a:gd name="connsiteX69" fmla="*/ 438392 w 2678000"/>
                <a:gd name="connsiteY69" fmla="*/ 81006 h 1748800"/>
                <a:gd name="connsiteX70" fmla="*/ 433628 w 2678000"/>
                <a:gd name="connsiteY70" fmla="*/ 76242 h 1748800"/>
                <a:gd name="connsiteX71" fmla="*/ 428860 w 2678000"/>
                <a:gd name="connsiteY71" fmla="*/ 61946 h 1748800"/>
                <a:gd name="connsiteX72" fmla="*/ 428860 w 2678000"/>
                <a:gd name="connsiteY72" fmla="*/ 42886 h 1748800"/>
                <a:gd name="connsiteX73" fmla="*/ 428860 w 2678000"/>
                <a:gd name="connsiteY73" fmla="*/ 28590 h 1748800"/>
                <a:gd name="connsiteX74" fmla="*/ 433628 w 2678000"/>
                <a:gd name="connsiteY74" fmla="*/ 19060 h 1748800"/>
                <a:gd name="connsiteX75" fmla="*/ 443156 w 2678000"/>
                <a:gd name="connsiteY75" fmla="*/ 23824 h 1748800"/>
                <a:gd name="connsiteX76" fmla="*/ 462216 w 2678000"/>
                <a:gd name="connsiteY76" fmla="*/ 38120 h 1748800"/>
                <a:gd name="connsiteX77" fmla="*/ 486044 w 2678000"/>
                <a:gd name="connsiteY77" fmla="*/ 57180 h 1748800"/>
                <a:gd name="connsiteX78" fmla="*/ 505104 w 2678000"/>
                <a:gd name="connsiteY78" fmla="*/ 71476 h 1748800"/>
                <a:gd name="connsiteX79" fmla="*/ 528928 w 2678000"/>
                <a:gd name="connsiteY79" fmla="*/ 85772 h 1748800"/>
                <a:gd name="connsiteX80" fmla="*/ 538460 w 2678000"/>
                <a:gd name="connsiteY80" fmla="*/ 90536 h 1748800"/>
                <a:gd name="connsiteX81" fmla="*/ 528928 w 2678000"/>
                <a:gd name="connsiteY81" fmla="*/ 114362 h 1748800"/>
                <a:gd name="connsiteX82" fmla="*/ 514632 w 2678000"/>
                <a:gd name="connsiteY82" fmla="*/ 157248 h 1748800"/>
                <a:gd name="connsiteX83" fmla="*/ 505104 w 2678000"/>
                <a:gd name="connsiteY83" fmla="*/ 181074 h 1748800"/>
                <a:gd name="connsiteX84" fmla="*/ 505104 w 2678000"/>
                <a:gd name="connsiteY84" fmla="*/ 190604 h 1748800"/>
                <a:gd name="connsiteX85" fmla="*/ 509868 w 2678000"/>
                <a:gd name="connsiteY85" fmla="*/ 200134 h 1748800"/>
                <a:gd name="connsiteX86" fmla="*/ 519400 w 2678000"/>
                <a:gd name="connsiteY86" fmla="*/ 214430 h 1748800"/>
                <a:gd name="connsiteX87" fmla="*/ 571816 w 2678000"/>
                <a:gd name="connsiteY87" fmla="*/ 266846 h 1748800"/>
                <a:gd name="connsiteX88" fmla="*/ 571816 w 2678000"/>
                <a:gd name="connsiteY88" fmla="*/ 271612 h 1748800"/>
                <a:gd name="connsiteX89" fmla="*/ 562284 w 2678000"/>
                <a:gd name="connsiteY89" fmla="*/ 290672 h 1748800"/>
                <a:gd name="connsiteX90" fmla="*/ 557520 w 2678000"/>
                <a:gd name="connsiteY90" fmla="*/ 300202 h 1748800"/>
                <a:gd name="connsiteX91" fmla="*/ 552756 w 2678000"/>
                <a:gd name="connsiteY91" fmla="*/ 304968 h 1748800"/>
                <a:gd name="connsiteX92" fmla="*/ 557520 w 2678000"/>
                <a:gd name="connsiteY92" fmla="*/ 309732 h 1748800"/>
                <a:gd name="connsiteX93" fmla="*/ 586112 w 2678000"/>
                <a:gd name="connsiteY93" fmla="*/ 309732 h 1748800"/>
                <a:gd name="connsiteX94" fmla="*/ 600408 w 2678000"/>
                <a:gd name="connsiteY94" fmla="*/ 304968 h 1748800"/>
                <a:gd name="connsiteX95" fmla="*/ 614700 w 2678000"/>
                <a:gd name="connsiteY95" fmla="*/ 290672 h 1748800"/>
                <a:gd name="connsiteX96" fmla="*/ 619468 w 2678000"/>
                <a:gd name="connsiteY96" fmla="*/ 285906 h 1748800"/>
                <a:gd name="connsiteX97" fmla="*/ 614700 w 2678000"/>
                <a:gd name="connsiteY97" fmla="*/ 285906 h 1748800"/>
                <a:gd name="connsiteX98" fmla="*/ 609936 w 2678000"/>
                <a:gd name="connsiteY98" fmla="*/ 281142 h 1748800"/>
                <a:gd name="connsiteX99" fmla="*/ 609936 w 2678000"/>
                <a:gd name="connsiteY99" fmla="*/ 276376 h 1748800"/>
                <a:gd name="connsiteX100" fmla="*/ 609936 w 2678000"/>
                <a:gd name="connsiteY100" fmla="*/ 271612 h 1748800"/>
                <a:gd name="connsiteX101" fmla="*/ 614700 w 2678000"/>
                <a:gd name="connsiteY101" fmla="*/ 271612 h 1748800"/>
                <a:gd name="connsiteX102" fmla="*/ 624232 w 2678000"/>
                <a:gd name="connsiteY102" fmla="*/ 271612 h 1748800"/>
                <a:gd name="connsiteX103" fmla="*/ 628996 w 2678000"/>
                <a:gd name="connsiteY103" fmla="*/ 262082 h 1748800"/>
                <a:gd name="connsiteX104" fmla="*/ 633764 w 2678000"/>
                <a:gd name="connsiteY104" fmla="*/ 252550 h 1748800"/>
                <a:gd name="connsiteX105" fmla="*/ 633764 w 2678000"/>
                <a:gd name="connsiteY105" fmla="*/ 238256 h 1748800"/>
                <a:gd name="connsiteX106" fmla="*/ 628996 w 2678000"/>
                <a:gd name="connsiteY106" fmla="*/ 214430 h 1748800"/>
                <a:gd name="connsiteX107" fmla="*/ 628996 w 2678000"/>
                <a:gd name="connsiteY107" fmla="*/ 195370 h 1748800"/>
                <a:gd name="connsiteX108" fmla="*/ 633764 w 2678000"/>
                <a:gd name="connsiteY108" fmla="*/ 185840 h 1748800"/>
                <a:gd name="connsiteX109" fmla="*/ 633764 w 2678000"/>
                <a:gd name="connsiteY109" fmla="*/ 157248 h 1748800"/>
                <a:gd name="connsiteX110" fmla="*/ 638528 w 2678000"/>
                <a:gd name="connsiteY110" fmla="*/ 157248 h 1748800"/>
                <a:gd name="connsiteX111" fmla="*/ 657588 w 2678000"/>
                <a:gd name="connsiteY111" fmla="*/ 171544 h 1748800"/>
                <a:gd name="connsiteX112" fmla="*/ 681412 w 2678000"/>
                <a:gd name="connsiteY112" fmla="*/ 185840 h 1748800"/>
                <a:gd name="connsiteX113" fmla="*/ 700472 w 2678000"/>
                <a:gd name="connsiteY113" fmla="*/ 200134 h 1748800"/>
                <a:gd name="connsiteX114" fmla="*/ 724300 w 2678000"/>
                <a:gd name="connsiteY114" fmla="*/ 214430 h 1748800"/>
                <a:gd name="connsiteX115" fmla="*/ 743360 w 2678000"/>
                <a:gd name="connsiteY115" fmla="*/ 228726 h 1748800"/>
                <a:gd name="connsiteX116" fmla="*/ 767184 w 2678000"/>
                <a:gd name="connsiteY116" fmla="*/ 243020 h 1748800"/>
                <a:gd name="connsiteX117" fmla="*/ 786248 w 2678000"/>
                <a:gd name="connsiteY117" fmla="*/ 257316 h 1748800"/>
                <a:gd name="connsiteX118" fmla="*/ 795776 w 2678000"/>
                <a:gd name="connsiteY118" fmla="*/ 266846 h 1748800"/>
                <a:gd name="connsiteX119" fmla="*/ 800540 w 2678000"/>
                <a:gd name="connsiteY119" fmla="*/ 290672 h 1748800"/>
                <a:gd name="connsiteX120" fmla="*/ 810072 w 2678000"/>
                <a:gd name="connsiteY120" fmla="*/ 304968 h 1748800"/>
                <a:gd name="connsiteX121" fmla="*/ 843428 w 2678000"/>
                <a:gd name="connsiteY121" fmla="*/ 343088 h 1748800"/>
                <a:gd name="connsiteX122" fmla="*/ 867252 w 2678000"/>
                <a:gd name="connsiteY122" fmla="*/ 371680 h 1748800"/>
                <a:gd name="connsiteX123" fmla="*/ 895844 w 2678000"/>
                <a:gd name="connsiteY123" fmla="*/ 405034 h 1748800"/>
                <a:gd name="connsiteX124" fmla="*/ 924436 w 2678000"/>
                <a:gd name="connsiteY124" fmla="*/ 433626 h 1748800"/>
                <a:gd name="connsiteX125" fmla="*/ 938732 w 2678000"/>
                <a:gd name="connsiteY125" fmla="*/ 452686 h 1748800"/>
                <a:gd name="connsiteX126" fmla="*/ 953024 w 2678000"/>
                <a:gd name="connsiteY126" fmla="*/ 452686 h 1748800"/>
                <a:gd name="connsiteX127" fmla="*/ 976852 w 2678000"/>
                <a:gd name="connsiteY127" fmla="*/ 447922 h 1748800"/>
                <a:gd name="connsiteX128" fmla="*/ 1010208 w 2678000"/>
                <a:gd name="connsiteY128" fmla="*/ 443156 h 1748800"/>
                <a:gd name="connsiteX129" fmla="*/ 1038796 w 2678000"/>
                <a:gd name="connsiteY129" fmla="*/ 438390 h 1748800"/>
                <a:gd name="connsiteX130" fmla="*/ 1072152 w 2678000"/>
                <a:gd name="connsiteY130" fmla="*/ 433626 h 1748800"/>
                <a:gd name="connsiteX131" fmla="*/ 1105508 w 2678000"/>
                <a:gd name="connsiteY131" fmla="*/ 428860 h 1748800"/>
                <a:gd name="connsiteX132" fmla="*/ 1129336 w 2678000"/>
                <a:gd name="connsiteY132" fmla="*/ 424096 h 1748800"/>
                <a:gd name="connsiteX133" fmla="*/ 1167456 w 2678000"/>
                <a:gd name="connsiteY133" fmla="*/ 428860 h 1748800"/>
                <a:gd name="connsiteX134" fmla="*/ 1200812 w 2678000"/>
                <a:gd name="connsiteY134" fmla="*/ 428860 h 1748800"/>
                <a:gd name="connsiteX135" fmla="*/ 1253228 w 2678000"/>
                <a:gd name="connsiteY135" fmla="*/ 433626 h 1748800"/>
                <a:gd name="connsiteX136" fmla="*/ 1286584 w 2678000"/>
                <a:gd name="connsiteY136" fmla="*/ 438390 h 1748800"/>
                <a:gd name="connsiteX137" fmla="*/ 1300880 w 2678000"/>
                <a:gd name="connsiteY137" fmla="*/ 438390 h 1748800"/>
                <a:gd name="connsiteX138" fmla="*/ 1319940 w 2678000"/>
                <a:gd name="connsiteY138" fmla="*/ 438390 h 1748800"/>
                <a:gd name="connsiteX139" fmla="*/ 1329472 w 2678000"/>
                <a:gd name="connsiteY139" fmla="*/ 433626 h 1748800"/>
                <a:gd name="connsiteX140" fmla="*/ 1348532 w 2678000"/>
                <a:gd name="connsiteY140" fmla="*/ 428860 h 1748800"/>
                <a:gd name="connsiteX141" fmla="*/ 1362828 w 2678000"/>
                <a:gd name="connsiteY141" fmla="*/ 419330 h 1748800"/>
                <a:gd name="connsiteX142" fmla="*/ 1381888 w 2678000"/>
                <a:gd name="connsiteY142" fmla="*/ 409800 h 1748800"/>
                <a:gd name="connsiteX143" fmla="*/ 1396184 w 2678000"/>
                <a:gd name="connsiteY143" fmla="*/ 405034 h 1748800"/>
                <a:gd name="connsiteX144" fmla="*/ 1410476 w 2678000"/>
                <a:gd name="connsiteY144" fmla="*/ 419330 h 1748800"/>
                <a:gd name="connsiteX145" fmla="*/ 1420008 w 2678000"/>
                <a:gd name="connsiteY145" fmla="*/ 433626 h 1748800"/>
                <a:gd name="connsiteX146" fmla="*/ 1434304 w 2678000"/>
                <a:gd name="connsiteY146" fmla="*/ 452686 h 1748800"/>
                <a:gd name="connsiteX147" fmla="*/ 1453364 w 2678000"/>
                <a:gd name="connsiteY147" fmla="*/ 466982 h 1748800"/>
                <a:gd name="connsiteX148" fmla="*/ 1467660 w 2678000"/>
                <a:gd name="connsiteY148" fmla="*/ 476512 h 1748800"/>
                <a:gd name="connsiteX149" fmla="*/ 1486720 w 2678000"/>
                <a:gd name="connsiteY149" fmla="*/ 490808 h 1748800"/>
                <a:gd name="connsiteX150" fmla="*/ 1496252 w 2678000"/>
                <a:gd name="connsiteY150" fmla="*/ 514632 h 1748800"/>
                <a:gd name="connsiteX151" fmla="*/ 1515312 w 2678000"/>
                <a:gd name="connsiteY151" fmla="*/ 543224 h 1748800"/>
                <a:gd name="connsiteX152" fmla="*/ 1524840 w 2678000"/>
                <a:gd name="connsiteY152" fmla="*/ 562284 h 1748800"/>
                <a:gd name="connsiteX153" fmla="*/ 1534372 w 2678000"/>
                <a:gd name="connsiteY153" fmla="*/ 586110 h 1748800"/>
                <a:gd name="connsiteX154" fmla="*/ 1548668 w 2678000"/>
                <a:gd name="connsiteY154" fmla="*/ 576580 h 1748800"/>
                <a:gd name="connsiteX155" fmla="*/ 1567728 w 2678000"/>
                <a:gd name="connsiteY155" fmla="*/ 567050 h 1748800"/>
                <a:gd name="connsiteX156" fmla="*/ 1582024 w 2678000"/>
                <a:gd name="connsiteY156" fmla="*/ 562284 h 1748800"/>
                <a:gd name="connsiteX157" fmla="*/ 1577256 w 2678000"/>
                <a:gd name="connsiteY157" fmla="*/ 586110 h 1748800"/>
                <a:gd name="connsiteX158" fmla="*/ 1577256 w 2678000"/>
                <a:gd name="connsiteY158" fmla="*/ 609936 h 1748800"/>
                <a:gd name="connsiteX159" fmla="*/ 1577256 w 2678000"/>
                <a:gd name="connsiteY159" fmla="*/ 643292 h 1748800"/>
                <a:gd name="connsiteX160" fmla="*/ 1572492 w 2678000"/>
                <a:gd name="connsiteY160" fmla="*/ 671882 h 1748800"/>
                <a:gd name="connsiteX161" fmla="*/ 1567728 w 2678000"/>
                <a:gd name="connsiteY161" fmla="*/ 705238 h 1748800"/>
                <a:gd name="connsiteX162" fmla="*/ 1567728 w 2678000"/>
                <a:gd name="connsiteY162" fmla="*/ 752890 h 1748800"/>
                <a:gd name="connsiteX163" fmla="*/ 1567728 w 2678000"/>
                <a:gd name="connsiteY163" fmla="*/ 767184 h 1748800"/>
                <a:gd name="connsiteX164" fmla="*/ 1596316 w 2678000"/>
                <a:gd name="connsiteY164" fmla="*/ 771950 h 1748800"/>
                <a:gd name="connsiteX165" fmla="*/ 1615380 w 2678000"/>
                <a:gd name="connsiteY165" fmla="*/ 771950 h 1748800"/>
                <a:gd name="connsiteX166" fmla="*/ 1643968 w 2678000"/>
                <a:gd name="connsiteY166" fmla="*/ 771950 h 1748800"/>
                <a:gd name="connsiteX167" fmla="*/ 1643968 w 2678000"/>
                <a:gd name="connsiteY167" fmla="*/ 795776 h 1748800"/>
                <a:gd name="connsiteX168" fmla="*/ 1648736 w 2678000"/>
                <a:gd name="connsiteY168" fmla="*/ 824366 h 1748800"/>
                <a:gd name="connsiteX169" fmla="*/ 1653500 w 2678000"/>
                <a:gd name="connsiteY169" fmla="*/ 852956 h 1748800"/>
                <a:gd name="connsiteX170" fmla="*/ 1658264 w 2678000"/>
                <a:gd name="connsiteY170" fmla="*/ 876782 h 1748800"/>
                <a:gd name="connsiteX171" fmla="*/ 1667796 w 2678000"/>
                <a:gd name="connsiteY171" fmla="*/ 905374 h 1748800"/>
                <a:gd name="connsiteX172" fmla="*/ 1667796 w 2678000"/>
                <a:gd name="connsiteY172" fmla="*/ 924434 h 1748800"/>
                <a:gd name="connsiteX173" fmla="*/ 1677324 w 2678000"/>
                <a:gd name="connsiteY173" fmla="*/ 943494 h 1748800"/>
                <a:gd name="connsiteX174" fmla="*/ 1682092 w 2678000"/>
                <a:gd name="connsiteY174" fmla="*/ 943494 h 1748800"/>
                <a:gd name="connsiteX175" fmla="*/ 1691620 w 2678000"/>
                <a:gd name="connsiteY175" fmla="*/ 948260 h 1748800"/>
                <a:gd name="connsiteX176" fmla="*/ 1724976 w 2678000"/>
                <a:gd name="connsiteY176" fmla="*/ 948260 h 1748800"/>
                <a:gd name="connsiteX177" fmla="*/ 1758332 w 2678000"/>
                <a:gd name="connsiteY177" fmla="*/ 943494 h 1748800"/>
                <a:gd name="connsiteX178" fmla="*/ 1777392 w 2678000"/>
                <a:gd name="connsiteY178" fmla="*/ 943494 h 1748800"/>
                <a:gd name="connsiteX179" fmla="*/ 1801220 w 2678000"/>
                <a:gd name="connsiteY179" fmla="*/ 943494 h 1748800"/>
                <a:gd name="connsiteX180" fmla="*/ 1834576 w 2678000"/>
                <a:gd name="connsiteY180" fmla="*/ 938730 h 1748800"/>
                <a:gd name="connsiteX181" fmla="*/ 1848868 w 2678000"/>
                <a:gd name="connsiteY181" fmla="*/ 943494 h 1748800"/>
                <a:gd name="connsiteX182" fmla="*/ 1858400 w 2678000"/>
                <a:gd name="connsiteY182" fmla="*/ 938730 h 1748800"/>
                <a:gd name="connsiteX183" fmla="*/ 1867932 w 2678000"/>
                <a:gd name="connsiteY183" fmla="*/ 938730 h 1748800"/>
                <a:gd name="connsiteX184" fmla="*/ 1877460 w 2678000"/>
                <a:gd name="connsiteY184" fmla="*/ 953024 h 1748800"/>
                <a:gd name="connsiteX185" fmla="*/ 1882224 w 2678000"/>
                <a:gd name="connsiteY185" fmla="*/ 957790 h 1748800"/>
                <a:gd name="connsiteX186" fmla="*/ 1886992 w 2678000"/>
                <a:gd name="connsiteY186" fmla="*/ 967320 h 1748800"/>
                <a:gd name="connsiteX187" fmla="*/ 1896520 w 2678000"/>
                <a:gd name="connsiteY187" fmla="*/ 972086 h 1748800"/>
                <a:gd name="connsiteX188" fmla="*/ 1891756 w 2678000"/>
                <a:gd name="connsiteY188" fmla="*/ 986380 h 1748800"/>
                <a:gd name="connsiteX189" fmla="*/ 1886992 w 2678000"/>
                <a:gd name="connsiteY189" fmla="*/ 1005440 h 1748800"/>
                <a:gd name="connsiteX190" fmla="*/ 1886992 w 2678000"/>
                <a:gd name="connsiteY190" fmla="*/ 1019736 h 1748800"/>
                <a:gd name="connsiteX191" fmla="*/ 1896520 w 2678000"/>
                <a:gd name="connsiteY191" fmla="*/ 1029266 h 1748800"/>
                <a:gd name="connsiteX192" fmla="*/ 1901288 w 2678000"/>
                <a:gd name="connsiteY192" fmla="*/ 1034032 h 1748800"/>
                <a:gd name="connsiteX193" fmla="*/ 1925112 w 2678000"/>
                <a:gd name="connsiteY193" fmla="*/ 1048328 h 1748800"/>
                <a:gd name="connsiteX194" fmla="*/ 1944172 w 2678000"/>
                <a:gd name="connsiteY194" fmla="*/ 1057858 h 1748800"/>
                <a:gd name="connsiteX195" fmla="*/ 1953704 w 2678000"/>
                <a:gd name="connsiteY195" fmla="*/ 1057858 h 1748800"/>
                <a:gd name="connsiteX196" fmla="*/ 1967996 w 2678000"/>
                <a:gd name="connsiteY196" fmla="*/ 1057858 h 1748800"/>
                <a:gd name="connsiteX197" fmla="*/ 1972764 w 2678000"/>
                <a:gd name="connsiteY197" fmla="*/ 1048328 h 1748800"/>
                <a:gd name="connsiteX198" fmla="*/ 1967996 w 2678000"/>
                <a:gd name="connsiteY198" fmla="*/ 1038796 h 1748800"/>
                <a:gd name="connsiteX199" fmla="*/ 1963232 w 2678000"/>
                <a:gd name="connsiteY199" fmla="*/ 1029266 h 1748800"/>
                <a:gd name="connsiteX200" fmla="*/ 1963232 w 2678000"/>
                <a:gd name="connsiteY200" fmla="*/ 1014972 h 1748800"/>
                <a:gd name="connsiteX201" fmla="*/ 1967996 w 2678000"/>
                <a:gd name="connsiteY201" fmla="*/ 1005440 h 1748800"/>
                <a:gd name="connsiteX202" fmla="*/ 1982292 w 2678000"/>
                <a:gd name="connsiteY202" fmla="*/ 986380 h 1748800"/>
                <a:gd name="connsiteX203" fmla="*/ 1991824 w 2678000"/>
                <a:gd name="connsiteY203" fmla="*/ 972086 h 1748800"/>
                <a:gd name="connsiteX204" fmla="*/ 2010884 w 2678000"/>
                <a:gd name="connsiteY204" fmla="*/ 953024 h 1748800"/>
                <a:gd name="connsiteX205" fmla="*/ 2029944 w 2678000"/>
                <a:gd name="connsiteY205" fmla="*/ 933964 h 1748800"/>
                <a:gd name="connsiteX206" fmla="*/ 2039476 w 2678000"/>
                <a:gd name="connsiteY206" fmla="*/ 924434 h 1748800"/>
                <a:gd name="connsiteX207" fmla="*/ 2044240 w 2678000"/>
                <a:gd name="connsiteY207" fmla="*/ 900608 h 1748800"/>
                <a:gd name="connsiteX208" fmla="*/ 2058536 w 2678000"/>
                <a:gd name="connsiteY208" fmla="*/ 891078 h 1748800"/>
                <a:gd name="connsiteX209" fmla="*/ 2072832 w 2678000"/>
                <a:gd name="connsiteY209" fmla="*/ 881548 h 1748800"/>
                <a:gd name="connsiteX210" fmla="*/ 2091892 w 2678000"/>
                <a:gd name="connsiteY210" fmla="*/ 876782 h 1748800"/>
                <a:gd name="connsiteX211" fmla="*/ 2096656 w 2678000"/>
                <a:gd name="connsiteY211" fmla="*/ 867252 h 1748800"/>
                <a:gd name="connsiteX212" fmla="*/ 2120480 w 2678000"/>
                <a:gd name="connsiteY212" fmla="*/ 848192 h 1748800"/>
                <a:gd name="connsiteX213" fmla="*/ 2134776 w 2678000"/>
                <a:gd name="connsiteY213" fmla="*/ 838662 h 1748800"/>
                <a:gd name="connsiteX214" fmla="*/ 2158604 w 2678000"/>
                <a:gd name="connsiteY214" fmla="*/ 833896 h 1748800"/>
                <a:gd name="connsiteX215" fmla="*/ 2182428 w 2678000"/>
                <a:gd name="connsiteY215" fmla="*/ 819600 h 1748800"/>
                <a:gd name="connsiteX216" fmla="*/ 2206256 w 2678000"/>
                <a:gd name="connsiteY216" fmla="*/ 805306 h 1748800"/>
                <a:gd name="connsiteX217" fmla="*/ 2225316 w 2678000"/>
                <a:gd name="connsiteY217" fmla="*/ 781480 h 1748800"/>
                <a:gd name="connsiteX218" fmla="*/ 2239612 w 2678000"/>
                <a:gd name="connsiteY218" fmla="*/ 762420 h 1748800"/>
                <a:gd name="connsiteX219" fmla="*/ 2253904 w 2678000"/>
                <a:gd name="connsiteY219" fmla="*/ 752890 h 1748800"/>
                <a:gd name="connsiteX220" fmla="*/ 2268200 w 2678000"/>
                <a:gd name="connsiteY220" fmla="*/ 752890 h 1748800"/>
                <a:gd name="connsiteX221" fmla="*/ 2272968 w 2678000"/>
                <a:gd name="connsiteY221" fmla="*/ 762420 h 1748800"/>
                <a:gd name="connsiteX222" fmla="*/ 2282496 w 2678000"/>
                <a:gd name="connsiteY222" fmla="*/ 762420 h 1748800"/>
                <a:gd name="connsiteX223" fmla="*/ 2287260 w 2678000"/>
                <a:gd name="connsiteY223" fmla="*/ 757654 h 1748800"/>
                <a:gd name="connsiteX224" fmla="*/ 2292028 w 2678000"/>
                <a:gd name="connsiteY224" fmla="*/ 748124 h 1748800"/>
                <a:gd name="connsiteX225" fmla="*/ 2301556 w 2678000"/>
                <a:gd name="connsiteY225" fmla="*/ 733828 h 1748800"/>
                <a:gd name="connsiteX226" fmla="*/ 2311088 w 2678000"/>
                <a:gd name="connsiteY226" fmla="*/ 729064 h 1748800"/>
                <a:gd name="connsiteX227" fmla="*/ 2325384 w 2678000"/>
                <a:gd name="connsiteY227" fmla="*/ 724298 h 1748800"/>
                <a:gd name="connsiteX228" fmla="*/ 2339680 w 2678000"/>
                <a:gd name="connsiteY228" fmla="*/ 719534 h 1748800"/>
                <a:gd name="connsiteX229" fmla="*/ 2344444 w 2678000"/>
                <a:gd name="connsiteY229" fmla="*/ 714768 h 1748800"/>
                <a:gd name="connsiteX230" fmla="*/ 2349208 w 2678000"/>
                <a:gd name="connsiteY230" fmla="*/ 710004 h 1748800"/>
                <a:gd name="connsiteX231" fmla="*/ 2368268 w 2678000"/>
                <a:gd name="connsiteY231" fmla="*/ 719534 h 1748800"/>
                <a:gd name="connsiteX232" fmla="*/ 2377800 w 2678000"/>
                <a:gd name="connsiteY232" fmla="*/ 724298 h 1748800"/>
                <a:gd name="connsiteX233" fmla="*/ 2382564 w 2678000"/>
                <a:gd name="connsiteY233" fmla="*/ 729064 h 1748800"/>
                <a:gd name="connsiteX234" fmla="*/ 2382564 w 2678000"/>
                <a:gd name="connsiteY234" fmla="*/ 733828 h 1748800"/>
                <a:gd name="connsiteX235" fmla="*/ 2349208 w 2678000"/>
                <a:gd name="connsiteY235" fmla="*/ 752890 h 1748800"/>
                <a:gd name="connsiteX236" fmla="*/ 2330148 w 2678000"/>
                <a:gd name="connsiteY236" fmla="*/ 762420 h 1748800"/>
                <a:gd name="connsiteX237" fmla="*/ 2325384 w 2678000"/>
                <a:gd name="connsiteY237" fmla="*/ 762420 h 1748800"/>
                <a:gd name="connsiteX238" fmla="*/ 2320616 w 2678000"/>
                <a:gd name="connsiteY238" fmla="*/ 767184 h 1748800"/>
                <a:gd name="connsiteX239" fmla="*/ 2315852 w 2678000"/>
                <a:gd name="connsiteY239" fmla="*/ 786246 h 1748800"/>
                <a:gd name="connsiteX240" fmla="*/ 2301556 w 2678000"/>
                <a:gd name="connsiteY240" fmla="*/ 791010 h 1748800"/>
                <a:gd name="connsiteX241" fmla="*/ 2287260 w 2678000"/>
                <a:gd name="connsiteY241" fmla="*/ 795776 h 1748800"/>
                <a:gd name="connsiteX242" fmla="*/ 2277732 w 2678000"/>
                <a:gd name="connsiteY242" fmla="*/ 805306 h 1748800"/>
                <a:gd name="connsiteX243" fmla="*/ 2258672 w 2678000"/>
                <a:gd name="connsiteY243" fmla="*/ 829132 h 1748800"/>
                <a:gd name="connsiteX244" fmla="*/ 2215784 w 2678000"/>
                <a:gd name="connsiteY244" fmla="*/ 857722 h 1748800"/>
                <a:gd name="connsiteX245" fmla="*/ 2215784 w 2678000"/>
                <a:gd name="connsiteY245" fmla="*/ 867252 h 1748800"/>
                <a:gd name="connsiteX246" fmla="*/ 2220548 w 2678000"/>
                <a:gd name="connsiteY246" fmla="*/ 872018 h 1748800"/>
                <a:gd name="connsiteX247" fmla="*/ 2234844 w 2678000"/>
                <a:gd name="connsiteY247" fmla="*/ 876782 h 1748800"/>
                <a:gd name="connsiteX248" fmla="*/ 2253904 w 2678000"/>
                <a:gd name="connsiteY248" fmla="*/ 886312 h 1748800"/>
                <a:gd name="connsiteX249" fmla="*/ 2263436 w 2678000"/>
                <a:gd name="connsiteY249" fmla="*/ 891078 h 1748800"/>
                <a:gd name="connsiteX250" fmla="*/ 2292028 w 2678000"/>
                <a:gd name="connsiteY250" fmla="*/ 881548 h 1748800"/>
                <a:gd name="connsiteX251" fmla="*/ 2296792 w 2678000"/>
                <a:gd name="connsiteY251" fmla="*/ 886312 h 1748800"/>
                <a:gd name="connsiteX252" fmla="*/ 2306320 w 2678000"/>
                <a:gd name="connsiteY252" fmla="*/ 895844 h 1748800"/>
                <a:gd name="connsiteX253" fmla="*/ 2311088 w 2678000"/>
                <a:gd name="connsiteY253" fmla="*/ 924434 h 1748800"/>
                <a:gd name="connsiteX254" fmla="*/ 2325384 w 2678000"/>
                <a:gd name="connsiteY254" fmla="*/ 933964 h 1748800"/>
                <a:gd name="connsiteX255" fmla="*/ 2339680 w 2678000"/>
                <a:gd name="connsiteY255" fmla="*/ 938730 h 1748800"/>
                <a:gd name="connsiteX256" fmla="*/ 2349208 w 2678000"/>
                <a:gd name="connsiteY256" fmla="*/ 938730 h 1748800"/>
                <a:gd name="connsiteX257" fmla="*/ 2363504 w 2678000"/>
                <a:gd name="connsiteY257" fmla="*/ 948260 h 1748800"/>
                <a:gd name="connsiteX258" fmla="*/ 2382564 w 2678000"/>
                <a:gd name="connsiteY258" fmla="*/ 948260 h 1748800"/>
                <a:gd name="connsiteX259" fmla="*/ 2392096 w 2678000"/>
                <a:gd name="connsiteY259" fmla="*/ 948260 h 1748800"/>
                <a:gd name="connsiteX260" fmla="*/ 2406388 w 2678000"/>
                <a:gd name="connsiteY260" fmla="*/ 953024 h 1748800"/>
                <a:gd name="connsiteX261" fmla="*/ 2411156 w 2678000"/>
                <a:gd name="connsiteY261" fmla="*/ 948260 h 1748800"/>
                <a:gd name="connsiteX262" fmla="*/ 2411156 w 2678000"/>
                <a:gd name="connsiteY262" fmla="*/ 905374 h 1748800"/>
                <a:gd name="connsiteX263" fmla="*/ 2425452 w 2678000"/>
                <a:gd name="connsiteY263" fmla="*/ 914904 h 1748800"/>
                <a:gd name="connsiteX264" fmla="*/ 2430216 w 2678000"/>
                <a:gd name="connsiteY264" fmla="*/ 914904 h 1748800"/>
                <a:gd name="connsiteX265" fmla="*/ 2439744 w 2678000"/>
                <a:gd name="connsiteY265" fmla="*/ 910138 h 1748800"/>
                <a:gd name="connsiteX266" fmla="*/ 2439744 w 2678000"/>
                <a:gd name="connsiteY266" fmla="*/ 900608 h 1748800"/>
                <a:gd name="connsiteX267" fmla="*/ 2444512 w 2678000"/>
                <a:gd name="connsiteY267" fmla="*/ 886312 h 1748800"/>
                <a:gd name="connsiteX268" fmla="*/ 2439744 w 2678000"/>
                <a:gd name="connsiteY268" fmla="*/ 872018 h 1748800"/>
                <a:gd name="connsiteX269" fmla="*/ 2444512 w 2678000"/>
                <a:gd name="connsiteY269" fmla="*/ 867252 h 1748800"/>
                <a:gd name="connsiteX270" fmla="*/ 2449276 w 2678000"/>
                <a:gd name="connsiteY270" fmla="*/ 867252 h 1748800"/>
                <a:gd name="connsiteX271" fmla="*/ 2454040 w 2678000"/>
                <a:gd name="connsiteY271" fmla="*/ 867252 h 1748800"/>
                <a:gd name="connsiteX272" fmla="*/ 2454040 w 2678000"/>
                <a:gd name="connsiteY272" fmla="*/ 872018 h 1748800"/>
                <a:gd name="connsiteX273" fmla="*/ 2454040 w 2678000"/>
                <a:gd name="connsiteY273" fmla="*/ 886312 h 1748800"/>
                <a:gd name="connsiteX274" fmla="*/ 2463572 w 2678000"/>
                <a:gd name="connsiteY274" fmla="*/ 891078 h 1748800"/>
                <a:gd name="connsiteX275" fmla="*/ 2468336 w 2678000"/>
                <a:gd name="connsiteY275" fmla="*/ 891078 h 1748800"/>
                <a:gd name="connsiteX276" fmla="*/ 2477868 w 2678000"/>
                <a:gd name="connsiteY276" fmla="*/ 914904 h 1748800"/>
                <a:gd name="connsiteX277" fmla="*/ 2482632 w 2678000"/>
                <a:gd name="connsiteY277" fmla="*/ 938730 h 1748800"/>
                <a:gd name="connsiteX278" fmla="*/ 2496928 w 2678000"/>
                <a:gd name="connsiteY278" fmla="*/ 938730 h 1748800"/>
                <a:gd name="connsiteX279" fmla="*/ 2511224 w 2678000"/>
                <a:gd name="connsiteY279" fmla="*/ 943494 h 1748800"/>
                <a:gd name="connsiteX280" fmla="*/ 2520752 w 2678000"/>
                <a:gd name="connsiteY280" fmla="*/ 938730 h 1748800"/>
                <a:gd name="connsiteX281" fmla="*/ 2525520 w 2678000"/>
                <a:gd name="connsiteY281" fmla="*/ 943494 h 1748800"/>
                <a:gd name="connsiteX282" fmla="*/ 2530284 w 2678000"/>
                <a:gd name="connsiteY282" fmla="*/ 953024 h 1748800"/>
                <a:gd name="connsiteX283" fmla="*/ 2530284 w 2678000"/>
                <a:gd name="connsiteY283" fmla="*/ 962554 h 1748800"/>
                <a:gd name="connsiteX284" fmla="*/ 2530284 w 2678000"/>
                <a:gd name="connsiteY284" fmla="*/ 972086 h 1748800"/>
                <a:gd name="connsiteX285" fmla="*/ 2535048 w 2678000"/>
                <a:gd name="connsiteY285" fmla="*/ 976850 h 1748800"/>
                <a:gd name="connsiteX286" fmla="*/ 2549344 w 2678000"/>
                <a:gd name="connsiteY286" fmla="*/ 972086 h 1748800"/>
                <a:gd name="connsiteX287" fmla="*/ 2558872 w 2678000"/>
                <a:gd name="connsiteY287" fmla="*/ 972086 h 1748800"/>
                <a:gd name="connsiteX288" fmla="*/ 2568404 w 2678000"/>
                <a:gd name="connsiteY288" fmla="*/ 976850 h 1748800"/>
                <a:gd name="connsiteX289" fmla="*/ 2582700 w 2678000"/>
                <a:gd name="connsiteY289" fmla="*/ 981616 h 1748800"/>
                <a:gd name="connsiteX290" fmla="*/ 2596996 w 2678000"/>
                <a:gd name="connsiteY290" fmla="*/ 1000676 h 1748800"/>
                <a:gd name="connsiteX291" fmla="*/ 2606524 w 2678000"/>
                <a:gd name="connsiteY291" fmla="*/ 1005440 h 1748800"/>
                <a:gd name="connsiteX292" fmla="*/ 2630352 w 2678000"/>
                <a:gd name="connsiteY292" fmla="*/ 1005440 h 1748800"/>
                <a:gd name="connsiteX293" fmla="*/ 2639880 w 2678000"/>
                <a:gd name="connsiteY293" fmla="*/ 1010206 h 1748800"/>
                <a:gd name="connsiteX294" fmla="*/ 2644648 w 2678000"/>
                <a:gd name="connsiteY294" fmla="*/ 1010206 h 1748800"/>
                <a:gd name="connsiteX295" fmla="*/ 2658940 w 2678000"/>
                <a:gd name="connsiteY295" fmla="*/ 1005440 h 1748800"/>
                <a:gd name="connsiteX296" fmla="*/ 2678000 w 2678000"/>
                <a:gd name="connsiteY296" fmla="*/ 1014972 h 1748800"/>
                <a:gd name="connsiteX297" fmla="*/ 2678000 w 2678000"/>
                <a:gd name="connsiteY297" fmla="*/ 1019736 h 1748800"/>
                <a:gd name="connsiteX298" fmla="*/ 2678000 w 2678000"/>
                <a:gd name="connsiteY298" fmla="*/ 1024502 h 1748800"/>
                <a:gd name="connsiteX299" fmla="*/ 2620820 w 2678000"/>
                <a:gd name="connsiteY299" fmla="*/ 1053092 h 1748800"/>
                <a:gd name="connsiteX300" fmla="*/ 2620820 w 2678000"/>
                <a:gd name="connsiteY300" fmla="*/ 1057858 h 1748800"/>
                <a:gd name="connsiteX301" fmla="*/ 2606524 w 2678000"/>
                <a:gd name="connsiteY301" fmla="*/ 1072152 h 1748800"/>
                <a:gd name="connsiteX302" fmla="*/ 2596996 w 2678000"/>
                <a:gd name="connsiteY302" fmla="*/ 1076918 h 1748800"/>
                <a:gd name="connsiteX303" fmla="*/ 2592228 w 2678000"/>
                <a:gd name="connsiteY303" fmla="*/ 1076918 h 1748800"/>
                <a:gd name="connsiteX304" fmla="*/ 2563640 w 2678000"/>
                <a:gd name="connsiteY304" fmla="*/ 1067388 h 1748800"/>
                <a:gd name="connsiteX305" fmla="*/ 2558872 w 2678000"/>
                <a:gd name="connsiteY305" fmla="*/ 1072152 h 1748800"/>
                <a:gd name="connsiteX306" fmla="*/ 2558872 w 2678000"/>
                <a:gd name="connsiteY306" fmla="*/ 1076918 h 1748800"/>
                <a:gd name="connsiteX307" fmla="*/ 2563640 w 2678000"/>
                <a:gd name="connsiteY307" fmla="*/ 1091214 h 1748800"/>
                <a:gd name="connsiteX308" fmla="*/ 2563640 w 2678000"/>
                <a:gd name="connsiteY308" fmla="*/ 1095978 h 1748800"/>
                <a:gd name="connsiteX309" fmla="*/ 2558872 w 2678000"/>
                <a:gd name="connsiteY309" fmla="*/ 1100744 h 1748800"/>
                <a:gd name="connsiteX310" fmla="*/ 2539812 w 2678000"/>
                <a:gd name="connsiteY310" fmla="*/ 1095978 h 1748800"/>
                <a:gd name="connsiteX311" fmla="*/ 2539812 w 2678000"/>
                <a:gd name="connsiteY311" fmla="*/ 1091214 h 1748800"/>
                <a:gd name="connsiteX312" fmla="*/ 2530284 w 2678000"/>
                <a:gd name="connsiteY312" fmla="*/ 1091214 h 1748800"/>
                <a:gd name="connsiteX313" fmla="*/ 2520752 w 2678000"/>
                <a:gd name="connsiteY313" fmla="*/ 1095978 h 1748800"/>
                <a:gd name="connsiteX314" fmla="*/ 2506456 w 2678000"/>
                <a:gd name="connsiteY314" fmla="*/ 1115040 h 1748800"/>
                <a:gd name="connsiteX315" fmla="*/ 2496928 w 2678000"/>
                <a:gd name="connsiteY315" fmla="*/ 1124570 h 1748800"/>
                <a:gd name="connsiteX316" fmla="*/ 2496928 w 2678000"/>
                <a:gd name="connsiteY316" fmla="*/ 1129334 h 1748800"/>
                <a:gd name="connsiteX317" fmla="*/ 2487396 w 2678000"/>
                <a:gd name="connsiteY317" fmla="*/ 1134100 h 1748800"/>
                <a:gd name="connsiteX318" fmla="*/ 2477868 w 2678000"/>
                <a:gd name="connsiteY318" fmla="*/ 1134100 h 1748800"/>
                <a:gd name="connsiteX319" fmla="*/ 2468336 w 2678000"/>
                <a:gd name="connsiteY319" fmla="*/ 1143630 h 1748800"/>
                <a:gd name="connsiteX320" fmla="*/ 2454040 w 2678000"/>
                <a:gd name="connsiteY320" fmla="*/ 1153160 h 1748800"/>
                <a:gd name="connsiteX321" fmla="*/ 2449276 w 2678000"/>
                <a:gd name="connsiteY321" fmla="*/ 1148394 h 1748800"/>
                <a:gd name="connsiteX322" fmla="*/ 2449276 w 2678000"/>
                <a:gd name="connsiteY322" fmla="*/ 1138864 h 1748800"/>
                <a:gd name="connsiteX323" fmla="*/ 2444512 w 2678000"/>
                <a:gd name="connsiteY323" fmla="*/ 1138864 h 1748800"/>
                <a:gd name="connsiteX324" fmla="*/ 2434980 w 2678000"/>
                <a:gd name="connsiteY324" fmla="*/ 1138864 h 1748800"/>
                <a:gd name="connsiteX325" fmla="*/ 2425452 w 2678000"/>
                <a:gd name="connsiteY325" fmla="*/ 1138864 h 1748800"/>
                <a:gd name="connsiteX326" fmla="*/ 2415920 w 2678000"/>
                <a:gd name="connsiteY326" fmla="*/ 1134100 h 1748800"/>
                <a:gd name="connsiteX327" fmla="*/ 2406388 w 2678000"/>
                <a:gd name="connsiteY327" fmla="*/ 1129334 h 1748800"/>
                <a:gd name="connsiteX328" fmla="*/ 2392096 w 2678000"/>
                <a:gd name="connsiteY328" fmla="*/ 1124570 h 1748800"/>
                <a:gd name="connsiteX329" fmla="*/ 2358740 w 2678000"/>
                <a:gd name="connsiteY329" fmla="*/ 1129334 h 1748800"/>
                <a:gd name="connsiteX330" fmla="*/ 2344444 w 2678000"/>
                <a:gd name="connsiteY330" fmla="*/ 1134100 h 1748800"/>
                <a:gd name="connsiteX331" fmla="*/ 2339680 w 2678000"/>
                <a:gd name="connsiteY331" fmla="*/ 1134100 h 1748800"/>
                <a:gd name="connsiteX332" fmla="*/ 2330148 w 2678000"/>
                <a:gd name="connsiteY332" fmla="*/ 1134100 h 1748800"/>
                <a:gd name="connsiteX333" fmla="*/ 2292028 w 2678000"/>
                <a:gd name="connsiteY333" fmla="*/ 1143630 h 1748800"/>
                <a:gd name="connsiteX334" fmla="*/ 2282496 w 2678000"/>
                <a:gd name="connsiteY334" fmla="*/ 1138864 h 1748800"/>
                <a:gd name="connsiteX335" fmla="*/ 2277732 w 2678000"/>
                <a:gd name="connsiteY335" fmla="*/ 1129334 h 1748800"/>
                <a:gd name="connsiteX336" fmla="*/ 2272968 w 2678000"/>
                <a:gd name="connsiteY336" fmla="*/ 1119804 h 1748800"/>
                <a:gd name="connsiteX337" fmla="*/ 2263436 w 2678000"/>
                <a:gd name="connsiteY337" fmla="*/ 1115040 h 1748800"/>
                <a:gd name="connsiteX338" fmla="*/ 2253904 w 2678000"/>
                <a:gd name="connsiteY338" fmla="*/ 1110274 h 1748800"/>
                <a:gd name="connsiteX339" fmla="*/ 2249140 w 2678000"/>
                <a:gd name="connsiteY339" fmla="*/ 1105508 h 1748800"/>
                <a:gd name="connsiteX340" fmla="*/ 2249140 w 2678000"/>
                <a:gd name="connsiteY340" fmla="*/ 1100744 h 1748800"/>
                <a:gd name="connsiteX341" fmla="*/ 2249140 w 2678000"/>
                <a:gd name="connsiteY341" fmla="*/ 1095978 h 1748800"/>
                <a:gd name="connsiteX342" fmla="*/ 2249140 w 2678000"/>
                <a:gd name="connsiteY342" fmla="*/ 1091214 h 1748800"/>
                <a:gd name="connsiteX343" fmla="*/ 2272968 w 2678000"/>
                <a:gd name="connsiteY343" fmla="*/ 1067388 h 1748800"/>
                <a:gd name="connsiteX344" fmla="*/ 2296792 w 2678000"/>
                <a:gd name="connsiteY344" fmla="*/ 1048328 h 1748800"/>
                <a:gd name="connsiteX345" fmla="*/ 2301556 w 2678000"/>
                <a:gd name="connsiteY345" fmla="*/ 1048328 h 1748800"/>
                <a:gd name="connsiteX346" fmla="*/ 2301556 w 2678000"/>
                <a:gd name="connsiteY346" fmla="*/ 1043562 h 1748800"/>
                <a:gd name="connsiteX347" fmla="*/ 2306320 w 2678000"/>
                <a:gd name="connsiteY347" fmla="*/ 1034032 h 1748800"/>
                <a:gd name="connsiteX348" fmla="*/ 2287260 w 2678000"/>
                <a:gd name="connsiteY348" fmla="*/ 1024502 h 1748800"/>
                <a:gd name="connsiteX349" fmla="*/ 2287260 w 2678000"/>
                <a:gd name="connsiteY349" fmla="*/ 1019736 h 1748800"/>
                <a:gd name="connsiteX350" fmla="*/ 2292028 w 2678000"/>
                <a:gd name="connsiteY350" fmla="*/ 1014972 h 1748800"/>
                <a:gd name="connsiteX351" fmla="*/ 2292028 w 2678000"/>
                <a:gd name="connsiteY351" fmla="*/ 1010206 h 1748800"/>
                <a:gd name="connsiteX352" fmla="*/ 2282496 w 2678000"/>
                <a:gd name="connsiteY352" fmla="*/ 995910 h 1748800"/>
                <a:gd name="connsiteX353" fmla="*/ 2258672 w 2678000"/>
                <a:gd name="connsiteY353" fmla="*/ 972086 h 1748800"/>
                <a:gd name="connsiteX354" fmla="*/ 2253904 w 2678000"/>
                <a:gd name="connsiteY354" fmla="*/ 972086 h 1748800"/>
                <a:gd name="connsiteX355" fmla="*/ 2249140 w 2678000"/>
                <a:gd name="connsiteY355" fmla="*/ 972086 h 1748800"/>
                <a:gd name="connsiteX356" fmla="*/ 2239612 w 2678000"/>
                <a:gd name="connsiteY356" fmla="*/ 995910 h 1748800"/>
                <a:gd name="connsiteX357" fmla="*/ 2234844 w 2678000"/>
                <a:gd name="connsiteY357" fmla="*/ 1000676 h 1748800"/>
                <a:gd name="connsiteX358" fmla="*/ 2211020 w 2678000"/>
                <a:gd name="connsiteY358" fmla="*/ 1014972 h 1748800"/>
                <a:gd name="connsiteX359" fmla="*/ 2191960 w 2678000"/>
                <a:gd name="connsiteY359" fmla="*/ 1024502 h 1748800"/>
                <a:gd name="connsiteX360" fmla="*/ 2153840 w 2678000"/>
                <a:gd name="connsiteY360" fmla="*/ 1043562 h 1748800"/>
                <a:gd name="connsiteX361" fmla="*/ 2144308 w 2678000"/>
                <a:gd name="connsiteY361" fmla="*/ 1048328 h 1748800"/>
                <a:gd name="connsiteX362" fmla="*/ 2139544 w 2678000"/>
                <a:gd name="connsiteY362" fmla="*/ 1048328 h 1748800"/>
                <a:gd name="connsiteX363" fmla="*/ 2130012 w 2678000"/>
                <a:gd name="connsiteY363" fmla="*/ 1043562 h 1748800"/>
                <a:gd name="connsiteX364" fmla="*/ 2110952 w 2678000"/>
                <a:gd name="connsiteY364" fmla="*/ 1029266 h 1748800"/>
                <a:gd name="connsiteX365" fmla="*/ 2096656 w 2678000"/>
                <a:gd name="connsiteY365" fmla="*/ 1019736 h 1748800"/>
                <a:gd name="connsiteX366" fmla="*/ 2091892 w 2678000"/>
                <a:gd name="connsiteY366" fmla="*/ 1024502 h 1748800"/>
                <a:gd name="connsiteX367" fmla="*/ 2082360 w 2678000"/>
                <a:gd name="connsiteY367" fmla="*/ 1034032 h 1748800"/>
                <a:gd name="connsiteX368" fmla="*/ 2082360 w 2678000"/>
                <a:gd name="connsiteY368" fmla="*/ 1053092 h 1748800"/>
                <a:gd name="connsiteX369" fmla="*/ 2072832 w 2678000"/>
                <a:gd name="connsiteY369" fmla="*/ 1062622 h 1748800"/>
                <a:gd name="connsiteX370" fmla="*/ 2063300 w 2678000"/>
                <a:gd name="connsiteY370" fmla="*/ 1067388 h 1748800"/>
                <a:gd name="connsiteX371" fmla="*/ 2082360 w 2678000"/>
                <a:gd name="connsiteY371" fmla="*/ 1115040 h 1748800"/>
                <a:gd name="connsiteX372" fmla="*/ 2077596 w 2678000"/>
                <a:gd name="connsiteY372" fmla="*/ 1124570 h 1748800"/>
                <a:gd name="connsiteX373" fmla="*/ 2068064 w 2678000"/>
                <a:gd name="connsiteY373" fmla="*/ 1124570 h 1748800"/>
                <a:gd name="connsiteX374" fmla="*/ 2077596 w 2678000"/>
                <a:gd name="connsiteY374" fmla="*/ 1143630 h 1748800"/>
                <a:gd name="connsiteX375" fmla="*/ 2068064 w 2678000"/>
                <a:gd name="connsiteY375" fmla="*/ 1143630 h 1748800"/>
                <a:gd name="connsiteX376" fmla="*/ 2049004 w 2678000"/>
                <a:gd name="connsiteY376" fmla="*/ 1138864 h 1748800"/>
                <a:gd name="connsiteX377" fmla="*/ 2025180 w 2678000"/>
                <a:gd name="connsiteY377" fmla="*/ 1138864 h 1748800"/>
                <a:gd name="connsiteX378" fmla="*/ 1977528 w 2678000"/>
                <a:gd name="connsiteY378" fmla="*/ 1148394 h 1748800"/>
                <a:gd name="connsiteX379" fmla="*/ 1972764 w 2678000"/>
                <a:gd name="connsiteY379" fmla="*/ 1153160 h 1748800"/>
                <a:gd name="connsiteX380" fmla="*/ 1977528 w 2678000"/>
                <a:gd name="connsiteY380" fmla="*/ 1157926 h 1748800"/>
                <a:gd name="connsiteX381" fmla="*/ 2001352 w 2678000"/>
                <a:gd name="connsiteY381" fmla="*/ 1157926 h 1748800"/>
                <a:gd name="connsiteX382" fmla="*/ 2020416 w 2678000"/>
                <a:gd name="connsiteY382" fmla="*/ 1157926 h 1748800"/>
                <a:gd name="connsiteX383" fmla="*/ 2029944 w 2678000"/>
                <a:gd name="connsiteY383" fmla="*/ 1157926 h 1748800"/>
                <a:gd name="connsiteX384" fmla="*/ 2029944 w 2678000"/>
                <a:gd name="connsiteY384" fmla="*/ 1167456 h 1748800"/>
                <a:gd name="connsiteX385" fmla="*/ 2025180 w 2678000"/>
                <a:gd name="connsiteY385" fmla="*/ 1167456 h 1748800"/>
                <a:gd name="connsiteX386" fmla="*/ 2020416 w 2678000"/>
                <a:gd name="connsiteY386" fmla="*/ 1172220 h 1748800"/>
                <a:gd name="connsiteX387" fmla="*/ 2001352 w 2678000"/>
                <a:gd name="connsiteY387" fmla="*/ 1172220 h 1748800"/>
                <a:gd name="connsiteX388" fmla="*/ 2001352 w 2678000"/>
                <a:gd name="connsiteY388" fmla="*/ 1176986 h 1748800"/>
                <a:gd name="connsiteX389" fmla="*/ 2001352 w 2678000"/>
                <a:gd name="connsiteY389" fmla="*/ 1181750 h 1748800"/>
                <a:gd name="connsiteX390" fmla="*/ 2006120 w 2678000"/>
                <a:gd name="connsiteY390" fmla="*/ 1191280 h 1748800"/>
                <a:gd name="connsiteX391" fmla="*/ 2010884 w 2678000"/>
                <a:gd name="connsiteY391" fmla="*/ 1200812 h 1748800"/>
                <a:gd name="connsiteX392" fmla="*/ 2010884 w 2678000"/>
                <a:gd name="connsiteY392" fmla="*/ 1205576 h 1748800"/>
                <a:gd name="connsiteX393" fmla="*/ 2006120 w 2678000"/>
                <a:gd name="connsiteY393" fmla="*/ 1205576 h 1748800"/>
                <a:gd name="connsiteX394" fmla="*/ 2001352 w 2678000"/>
                <a:gd name="connsiteY394" fmla="*/ 1200812 h 1748800"/>
                <a:gd name="connsiteX395" fmla="*/ 1996588 w 2678000"/>
                <a:gd name="connsiteY395" fmla="*/ 1205576 h 1748800"/>
                <a:gd name="connsiteX396" fmla="*/ 1996588 w 2678000"/>
                <a:gd name="connsiteY396" fmla="*/ 1215106 h 1748800"/>
                <a:gd name="connsiteX397" fmla="*/ 1991824 w 2678000"/>
                <a:gd name="connsiteY397" fmla="*/ 1215106 h 1748800"/>
                <a:gd name="connsiteX398" fmla="*/ 1982292 w 2678000"/>
                <a:gd name="connsiteY398" fmla="*/ 1215106 h 1748800"/>
                <a:gd name="connsiteX399" fmla="*/ 1977528 w 2678000"/>
                <a:gd name="connsiteY399" fmla="*/ 1215106 h 1748800"/>
                <a:gd name="connsiteX400" fmla="*/ 1972764 w 2678000"/>
                <a:gd name="connsiteY400" fmla="*/ 1234168 h 1748800"/>
                <a:gd name="connsiteX401" fmla="*/ 1967996 w 2678000"/>
                <a:gd name="connsiteY401" fmla="*/ 1257992 h 1748800"/>
                <a:gd name="connsiteX402" fmla="*/ 1958468 w 2678000"/>
                <a:gd name="connsiteY402" fmla="*/ 1272288 h 1748800"/>
                <a:gd name="connsiteX403" fmla="*/ 1948936 w 2678000"/>
                <a:gd name="connsiteY403" fmla="*/ 1277054 h 1748800"/>
                <a:gd name="connsiteX404" fmla="*/ 1939408 w 2678000"/>
                <a:gd name="connsiteY404" fmla="*/ 1281818 h 1748800"/>
                <a:gd name="connsiteX405" fmla="*/ 1925112 w 2678000"/>
                <a:gd name="connsiteY405" fmla="*/ 1277054 h 1748800"/>
                <a:gd name="connsiteX406" fmla="*/ 1915580 w 2678000"/>
                <a:gd name="connsiteY406" fmla="*/ 1277054 h 1748800"/>
                <a:gd name="connsiteX407" fmla="*/ 1891756 w 2678000"/>
                <a:gd name="connsiteY407" fmla="*/ 1272288 h 1748800"/>
                <a:gd name="connsiteX408" fmla="*/ 1863164 w 2678000"/>
                <a:gd name="connsiteY408" fmla="*/ 1267524 h 1748800"/>
                <a:gd name="connsiteX409" fmla="*/ 1834576 w 2678000"/>
                <a:gd name="connsiteY409" fmla="*/ 1262758 h 1748800"/>
                <a:gd name="connsiteX410" fmla="*/ 1805984 w 2678000"/>
                <a:gd name="connsiteY410" fmla="*/ 1272288 h 1748800"/>
                <a:gd name="connsiteX411" fmla="*/ 1796452 w 2678000"/>
                <a:gd name="connsiteY411" fmla="*/ 1281818 h 1748800"/>
                <a:gd name="connsiteX412" fmla="*/ 1791688 w 2678000"/>
                <a:gd name="connsiteY412" fmla="*/ 1291348 h 1748800"/>
                <a:gd name="connsiteX413" fmla="*/ 1786924 w 2678000"/>
                <a:gd name="connsiteY413" fmla="*/ 1291348 h 1748800"/>
                <a:gd name="connsiteX414" fmla="*/ 1777392 w 2678000"/>
                <a:gd name="connsiteY414" fmla="*/ 1339000 h 1748800"/>
                <a:gd name="connsiteX415" fmla="*/ 1777392 w 2678000"/>
                <a:gd name="connsiteY415" fmla="*/ 1343766 h 1748800"/>
                <a:gd name="connsiteX416" fmla="*/ 1782156 w 2678000"/>
                <a:gd name="connsiteY416" fmla="*/ 1348530 h 1748800"/>
                <a:gd name="connsiteX417" fmla="*/ 1815512 w 2678000"/>
                <a:gd name="connsiteY417" fmla="*/ 1358060 h 1748800"/>
                <a:gd name="connsiteX418" fmla="*/ 1820280 w 2678000"/>
                <a:gd name="connsiteY418" fmla="*/ 1358060 h 1748800"/>
                <a:gd name="connsiteX419" fmla="*/ 1825044 w 2678000"/>
                <a:gd name="connsiteY419" fmla="*/ 1362826 h 1748800"/>
                <a:gd name="connsiteX420" fmla="*/ 1825044 w 2678000"/>
                <a:gd name="connsiteY420" fmla="*/ 1386652 h 1748800"/>
                <a:gd name="connsiteX421" fmla="*/ 1829808 w 2678000"/>
                <a:gd name="connsiteY421" fmla="*/ 1386652 h 1748800"/>
                <a:gd name="connsiteX422" fmla="*/ 1839340 w 2678000"/>
                <a:gd name="connsiteY422" fmla="*/ 1391416 h 1748800"/>
                <a:gd name="connsiteX423" fmla="*/ 1858400 w 2678000"/>
                <a:gd name="connsiteY423" fmla="*/ 1391416 h 1748800"/>
                <a:gd name="connsiteX424" fmla="*/ 1872696 w 2678000"/>
                <a:gd name="connsiteY424" fmla="*/ 1386652 h 1748800"/>
                <a:gd name="connsiteX425" fmla="*/ 1882224 w 2678000"/>
                <a:gd name="connsiteY425" fmla="*/ 1391416 h 1748800"/>
                <a:gd name="connsiteX426" fmla="*/ 1891756 w 2678000"/>
                <a:gd name="connsiteY426" fmla="*/ 1391416 h 1748800"/>
                <a:gd name="connsiteX427" fmla="*/ 1896520 w 2678000"/>
                <a:gd name="connsiteY427" fmla="*/ 1400946 h 1748800"/>
                <a:gd name="connsiteX428" fmla="*/ 1901288 w 2678000"/>
                <a:gd name="connsiteY428" fmla="*/ 1410476 h 1748800"/>
                <a:gd name="connsiteX429" fmla="*/ 1886992 w 2678000"/>
                <a:gd name="connsiteY429" fmla="*/ 1453364 h 1748800"/>
                <a:gd name="connsiteX430" fmla="*/ 1886992 w 2678000"/>
                <a:gd name="connsiteY430" fmla="*/ 1467658 h 1748800"/>
                <a:gd name="connsiteX431" fmla="*/ 1891756 w 2678000"/>
                <a:gd name="connsiteY431" fmla="*/ 1491484 h 1748800"/>
                <a:gd name="connsiteX432" fmla="*/ 1901288 w 2678000"/>
                <a:gd name="connsiteY432" fmla="*/ 1510544 h 1748800"/>
                <a:gd name="connsiteX433" fmla="*/ 1915580 w 2678000"/>
                <a:gd name="connsiteY433" fmla="*/ 1529606 h 1748800"/>
                <a:gd name="connsiteX434" fmla="*/ 1929876 w 2678000"/>
                <a:gd name="connsiteY434" fmla="*/ 1539136 h 1748800"/>
                <a:gd name="connsiteX435" fmla="*/ 1934640 w 2678000"/>
                <a:gd name="connsiteY435" fmla="*/ 1543900 h 1748800"/>
                <a:gd name="connsiteX436" fmla="*/ 1934640 w 2678000"/>
                <a:gd name="connsiteY436" fmla="*/ 1553430 h 1748800"/>
                <a:gd name="connsiteX437" fmla="*/ 1929876 w 2678000"/>
                <a:gd name="connsiteY437" fmla="*/ 1562960 h 1748800"/>
                <a:gd name="connsiteX438" fmla="*/ 1925112 w 2678000"/>
                <a:gd name="connsiteY438" fmla="*/ 1577256 h 1748800"/>
                <a:gd name="connsiteX439" fmla="*/ 1915580 w 2678000"/>
                <a:gd name="connsiteY439" fmla="*/ 1596316 h 1748800"/>
                <a:gd name="connsiteX440" fmla="*/ 1906052 w 2678000"/>
                <a:gd name="connsiteY440" fmla="*/ 1601082 h 1748800"/>
                <a:gd name="connsiteX441" fmla="*/ 1891756 w 2678000"/>
                <a:gd name="connsiteY441" fmla="*/ 1620142 h 1748800"/>
                <a:gd name="connsiteX442" fmla="*/ 1877460 w 2678000"/>
                <a:gd name="connsiteY442" fmla="*/ 1639204 h 1748800"/>
                <a:gd name="connsiteX443" fmla="*/ 1858400 w 2678000"/>
                <a:gd name="connsiteY443" fmla="*/ 1672560 h 1748800"/>
                <a:gd name="connsiteX444" fmla="*/ 1848868 w 2678000"/>
                <a:gd name="connsiteY444" fmla="*/ 1686854 h 1748800"/>
                <a:gd name="connsiteX445" fmla="*/ 1844104 w 2678000"/>
                <a:gd name="connsiteY445" fmla="*/ 1734506 h 1748800"/>
                <a:gd name="connsiteX446" fmla="*/ 1839340 w 2678000"/>
                <a:gd name="connsiteY446" fmla="*/ 1748800 h 1748800"/>
                <a:gd name="connsiteX447" fmla="*/ 1839340 w 2678000"/>
                <a:gd name="connsiteY447" fmla="*/ 1744036 h 1748800"/>
                <a:gd name="connsiteX448" fmla="*/ 1829808 w 2678000"/>
                <a:gd name="connsiteY448" fmla="*/ 1739270 h 1748800"/>
                <a:gd name="connsiteX449" fmla="*/ 1815512 w 2678000"/>
                <a:gd name="connsiteY449" fmla="*/ 1739270 h 1748800"/>
                <a:gd name="connsiteX450" fmla="*/ 1805984 w 2678000"/>
                <a:gd name="connsiteY450" fmla="*/ 1734506 h 1748800"/>
                <a:gd name="connsiteX451" fmla="*/ 1801220 w 2678000"/>
                <a:gd name="connsiteY451" fmla="*/ 1729740 h 1748800"/>
                <a:gd name="connsiteX452" fmla="*/ 1791688 w 2678000"/>
                <a:gd name="connsiteY452" fmla="*/ 1734506 h 1748800"/>
                <a:gd name="connsiteX453" fmla="*/ 1772628 w 2678000"/>
                <a:gd name="connsiteY453" fmla="*/ 1744036 h 1748800"/>
                <a:gd name="connsiteX454" fmla="*/ 1753568 w 2678000"/>
                <a:gd name="connsiteY454" fmla="*/ 1734506 h 1748800"/>
                <a:gd name="connsiteX455" fmla="*/ 1734508 w 2678000"/>
                <a:gd name="connsiteY455" fmla="*/ 1715446 h 1748800"/>
                <a:gd name="connsiteX456" fmla="*/ 1696384 w 2678000"/>
                <a:gd name="connsiteY456" fmla="*/ 1710680 h 1748800"/>
                <a:gd name="connsiteX457" fmla="*/ 1648736 w 2678000"/>
                <a:gd name="connsiteY457" fmla="*/ 1715446 h 1748800"/>
                <a:gd name="connsiteX458" fmla="*/ 1643968 w 2678000"/>
                <a:gd name="connsiteY458" fmla="*/ 1691620 h 1748800"/>
                <a:gd name="connsiteX459" fmla="*/ 1643968 w 2678000"/>
                <a:gd name="connsiteY459" fmla="*/ 1663028 h 1748800"/>
                <a:gd name="connsiteX460" fmla="*/ 1648736 w 2678000"/>
                <a:gd name="connsiteY460" fmla="*/ 1629672 h 1748800"/>
                <a:gd name="connsiteX461" fmla="*/ 1663028 w 2678000"/>
                <a:gd name="connsiteY461" fmla="*/ 1601082 h 1748800"/>
                <a:gd name="connsiteX462" fmla="*/ 1663028 w 2678000"/>
                <a:gd name="connsiteY462" fmla="*/ 1596316 h 1748800"/>
                <a:gd name="connsiteX463" fmla="*/ 1658264 w 2678000"/>
                <a:gd name="connsiteY463" fmla="*/ 1586786 h 1748800"/>
                <a:gd name="connsiteX464" fmla="*/ 1653500 w 2678000"/>
                <a:gd name="connsiteY464" fmla="*/ 1582022 h 1748800"/>
                <a:gd name="connsiteX465" fmla="*/ 1624908 w 2678000"/>
                <a:gd name="connsiteY465" fmla="*/ 1577256 h 1748800"/>
                <a:gd name="connsiteX466" fmla="*/ 1615380 w 2678000"/>
                <a:gd name="connsiteY466" fmla="*/ 1572492 h 1748800"/>
                <a:gd name="connsiteX467" fmla="*/ 1605848 w 2678000"/>
                <a:gd name="connsiteY467" fmla="*/ 1562960 h 1748800"/>
                <a:gd name="connsiteX468" fmla="*/ 1591552 w 2678000"/>
                <a:gd name="connsiteY468" fmla="*/ 1553430 h 1748800"/>
                <a:gd name="connsiteX469" fmla="*/ 1582024 w 2678000"/>
                <a:gd name="connsiteY469" fmla="*/ 1543900 h 1748800"/>
                <a:gd name="connsiteX470" fmla="*/ 1562960 w 2678000"/>
                <a:gd name="connsiteY470" fmla="*/ 1539136 h 1748800"/>
                <a:gd name="connsiteX471" fmla="*/ 1543900 w 2678000"/>
                <a:gd name="connsiteY471" fmla="*/ 1534370 h 1748800"/>
                <a:gd name="connsiteX472" fmla="*/ 1534372 w 2678000"/>
                <a:gd name="connsiteY472" fmla="*/ 1534370 h 1748800"/>
                <a:gd name="connsiteX473" fmla="*/ 1524840 w 2678000"/>
                <a:gd name="connsiteY473" fmla="*/ 1539136 h 1748800"/>
                <a:gd name="connsiteX474" fmla="*/ 1515312 w 2678000"/>
                <a:gd name="connsiteY474" fmla="*/ 1539136 h 1748800"/>
                <a:gd name="connsiteX475" fmla="*/ 1505780 w 2678000"/>
                <a:gd name="connsiteY475" fmla="*/ 1539136 h 1748800"/>
                <a:gd name="connsiteX476" fmla="*/ 1472424 w 2678000"/>
                <a:gd name="connsiteY476" fmla="*/ 1515310 h 1748800"/>
                <a:gd name="connsiteX477" fmla="*/ 1420008 w 2678000"/>
                <a:gd name="connsiteY477" fmla="*/ 1477188 h 1748800"/>
                <a:gd name="connsiteX478" fmla="*/ 1381888 w 2678000"/>
                <a:gd name="connsiteY478" fmla="*/ 1453364 h 1748800"/>
                <a:gd name="connsiteX479" fmla="*/ 1353296 w 2678000"/>
                <a:gd name="connsiteY479" fmla="*/ 1439068 h 1748800"/>
                <a:gd name="connsiteX480" fmla="*/ 1348532 w 2678000"/>
                <a:gd name="connsiteY480" fmla="*/ 1434302 h 1748800"/>
                <a:gd name="connsiteX481" fmla="*/ 1334236 w 2678000"/>
                <a:gd name="connsiteY481" fmla="*/ 1424772 h 1748800"/>
                <a:gd name="connsiteX482" fmla="*/ 1300880 w 2678000"/>
                <a:gd name="connsiteY482" fmla="*/ 1391416 h 1748800"/>
                <a:gd name="connsiteX483" fmla="*/ 1277056 w 2678000"/>
                <a:gd name="connsiteY483" fmla="*/ 1396182 h 1748800"/>
                <a:gd name="connsiteX484" fmla="*/ 1243700 w 2678000"/>
                <a:gd name="connsiteY484" fmla="*/ 1372356 h 1748800"/>
                <a:gd name="connsiteX485" fmla="*/ 1215108 w 2678000"/>
                <a:gd name="connsiteY485" fmla="*/ 1353296 h 1748800"/>
                <a:gd name="connsiteX486" fmla="*/ 1210344 w 2678000"/>
                <a:gd name="connsiteY486" fmla="*/ 1348530 h 1748800"/>
                <a:gd name="connsiteX487" fmla="*/ 1176988 w 2678000"/>
                <a:gd name="connsiteY487" fmla="*/ 1310410 h 1748800"/>
                <a:gd name="connsiteX488" fmla="*/ 1143632 w 2678000"/>
                <a:gd name="connsiteY488" fmla="*/ 1286584 h 1748800"/>
                <a:gd name="connsiteX489" fmla="*/ 1105508 w 2678000"/>
                <a:gd name="connsiteY489" fmla="*/ 1257992 h 1748800"/>
                <a:gd name="connsiteX490" fmla="*/ 1081684 w 2678000"/>
                <a:gd name="connsiteY490" fmla="*/ 1243698 h 1748800"/>
                <a:gd name="connsiteX491" fmla="*/ 1043564 w 2678000"/>
                <a:gd name="connsiteY491" fmla="*/ 1210342 h 1748800"/>
                <a:gd name="connsiteX492" fmla="*/ 1024504 w 2678000"/>
                <a:gd name="connsiteY492" fmla="*/ 1196046 h 1748800"/>
                <a:gd name="connsiteX493" fmla="*/ 1014972 w 2678000"/>
                <a:gd name="connsiteY493" fmla="*/ 1191280 h 1748800"/>
                <a:gd name="connsiteX494" fmla="*/ 1010208 w 2678000"/>
                <a:gd name="connsiteY494" fmla="*/ 1176986 h 1748800"/>
                <a:gd name="connsiteX495" fmla="*/ 1000676 w 2678000"/>
                <a:gd name="connsiteY495" fmla="*/ 1115040 h 1748800"/>
                <a:gd name="connsiteX496" fmla="*/ 986380 w 2678000"/>
                <a:gd name="connsiteY496" fmla="*/ 1086448 h 1748800"/>
                <a:gd name="connsiteX497" fmla="*/ 972088 w 2678000"/>
                <a:gd name="connsiteY497" fmla="*/ 1072152 h 1748800"/>
                <a:gd name="connsiteX498" fmla="*/ 953024 w 2678000"/>
                <a:gd name="connsiteY498" fmla="*/ 1043562 h 1748800"/>
                <a:gd name="connsiteX499" fmla="*/ 943496 w 2678000"/>
                <a:gd name="connsiteY499" fmla="*/ 1000676 h 1748800"/>
                <a:gd name="connsiteX500" fmla="*/ 933964 w 2678000"/>
                <a:gd name="connsiteY500" fmla="*/ 972086 h 1748800"/>
                <a:gd name="connsiteX501" fmla="*/ 924436 w 2678000"/>
                <a:gd name="connsiteY501" fmla="*/ 957790 h 1748800"/>
                <a:gd name="connsiteX502" fmla="*/ 910140 w 2678000"/>
                <a:gd name="connsiteY502" fmla="*/ 943494 h 1748800"/>
                <a:gd name="connsiteX503" fmla="*/ 886312 w 2678000"/>
                <a:gd name="connsiteY503" fmla="*/ 929200 h 1748800"/>
                <a:gd name="connsiteX504" fmla="*/ 862488 w 2678000"/>
                <a:gd name="connsiteY504" fmla="*/ 919668 h 1748800"/>
                <a:gd name="connsiteX505" fmla="*/ 852956 w 2678000"/>
                <a:gd name="connsiteY505" fmla="*/ 919668 h 1748800"/>
                <a:gd name="connsiteX506" fmla="*/ 848192 w 2678000"/>
                <a:gd name="connsiteY506" fmla="*/ 924434 h 1748800"/>
                <a:gd name="connsiteX507" fmla="*/ 843428 w 2678000"/>
                <a:gd name="connsiteY507" fmla="*/ 924434 h 1748800"/>
                <a:gd name="connsiteX508" fmla="*/ 833896 w 2678000"/>
                <a:gd name="connsiteY508" fmla="*/ 938730 h 1748800"/>
                <a:gd name="connsiteX509" fmla="*/ 819604 w 2678000"/>
                <a:gd name="connsiteY509" fmla="*/ 938730 h 1748800"/>
                <a:gd name="connsiteX510" fmla="*/ 810072 w 2678000"/>
                <a:gd name="connsiteY510" fmla="*/ 938730 h 1748800"/>
                <a:gd name="connsiteX511" fmla="*/ 800540 w 2678000"/>
                <a:gd name="connsiteY511" fmla="*/ 933964 h 1748800"/>
                <a:gd name="connsiteX512" fmla="*/ 771952 w 2678000"/>
                <a:gd name="connsiteY512" fmla="*/ 929200 h 1748800"/>
                <a:gd name="connsiteX513" fmla="*/ 762420 w 2678000"/>
                <a:gd name="connsiteY513" fmla="*/ 929200 h 1748800"/>
                <a:gd name="connsiteX514" fmla="*/ 743360 w 2678000"/>
                <a:gd name="connsiteY514" fmla="*/ 929200 h 1748800"/>
                <a:gd name="connsiteX515" fmla="*/ 710004 w 2678000"/>
                <a:gd name="connsiteY515" fmla="*/ 933964 h 1748800"/>
                <a:gd name="connsiteX516" fmla="*/ 700472 w 2678000"/>
                <a:gd name="connsiteY516" fmla="*/ 933964 h 1748800"/>
                <a:gd name="connsiteX517" fmla="*/ 657588 w 2678000"/>
                <a:gd name="connsiteY517" fmla="*/ 905374 h 1748800"/>
                <a:gd name="connsiteX518" fmla="*/ 643292 w 2678000"/>
                <a:gd name="connsiteY518" fmla="*/ 895844 h 1748800"/>
                <a:gd name="connsiteX519" fmla="*/ 638528 w 2678000"/>
                <a:gd name="connsiteY519" fmla="*/ 891078 h 1748800"/>
                <a:gd name="connsiteX520" fmla="*/ 638528 w 2678000"/>
                <a:gd name="connsiteY520" fmla="*/ 881548 h 1748800"/>
                <a:gd name="connsiteX521" fmla="*/ 643292 w 2678000"/>
                <a:gd name="connsiteY521" fmla="*/ 867252 h 1748800"/>
                <a:gd name="connsiteX522" fmla="*/ 648056 w 2678000"/>
                <a:gd name="connsiteY522" fmla="*/ 852956 h 1748800"/>
                <a:gd name="connsiteX523" fmla="*/ 648056 w 2678000"/>
                <a:gd name="connsiteY523" fmla="*/ 843426 h 1748800"/>
                <a:gd name="connsiteX524" fmla="*/ 638528 w 2678000"/>
                <a:gd name="connsiteY524" fmla="*/ 833896 h 1748800"/>
                <a:gd name="connsiteX525" fmla="*/ 638528 w 2678000"/>
                <a:gd name="connsiteY525" fmla="*/ 819600 h 1748800"/>
                <a:gd name="connsiteX526" fmla="*/ 643292 w 2678000"/>
                <a:gd name="connsiteY526" fmla="*/ 814836 h 1748800"/>
                <a:gd name="connsiteX527" fmla="*/ 652824 w 2678000"/>
                <a:gd name="connsiteY527" fmla="*/ 814836 h 1748800"/>
                <a:gd name="connsiteX528" fmla="*/ 657588 w 2678000"/>
                <a:gd name="connsiteY528" fmla="*/ 810070 h 1748800"/>
                <a:gd name="connsiteX529" fmla="*/ 657588 w 2678000"/>
                <a:gd name="connsiteY529" fmla="*/ 805306 h 1748800"/>
                <a:gd name="connsiteX530" fmla="*/ 652824 w 2678000"/>
                <a:gd name="connsiteY530" fmla="*/ 800540 h 1748800"/>
                <a:gd name="connsiteX531" fmla="*/ 643292 w 2678000"/>
                <a:gd name="connsiteY531" fmla="*/ 791010 h 1748800"/>
                <a:gd name="connsiteX532" fmla="*/ 624232 w 2678000"/>
                <a:gd name="connsiteY532" fmla="*/ 781480 h 1748800"/>
                <a:gd name="connsiteX533" fmla="*/ 619468 w 2678000"/>
                <a:gd name="connsiteY533" fmla="*/ 776714 h 1748800"/>
                <a:gd name="connsiteX534" fmla="*/ 619468 w 2678000"/>
                <a:gd name="connsiteY534" fmla="*/ 771950 h 1748800"/>
                <a:gd name="connsiteX535" fmla="*/ 624232 w 2678000"/>
                <a:gd name="connsiteY535" fmla="*/ 767184 h 1748800"/>
                <a:gd name="connsiteX536" fmla="*/ 624232 w 2678000"/>
                <a:gd name="connsiteY536" fmla="*/ 757654 h 1748800"/>
                <a:gd name="connsiteX537" fmla="*/ 624232 w 2678000"/>
                <a:gd name="connsiteY537" fmla="*/ 743360 h 1748800"/>
                <a:gd name="connsiteX538" fmla="*/ 628996 w 2678000"/>
                <a:gd name="connsiteY538" fmla="*/ 733828 h 1748800"/>
                <a:gd name="connsiteX539" fmla="*/ 628996 w 2678000"/>
                <a:gd name="connsiteY539" fmla="*/ 729064 h 1748800"/>
                <a:gd name="connsiteX540" fmla="*/ 624232 w 2678000"/>
                <a:gd name="connsiteY540" fmla="*/ 724298 h 1748800"/>
                <a:gd name="connsiteX541" fmla="*/ 619468 w 2678000"/>
                <a:gd name="connsiteY541" fmla="*/ 719534 h 1748800"/>
                <a:gd name="connsiteX542" fmla="*/ 605172 w 2678000"/>
                <a:gd name="connsiteY542" fmla="*/ 705238 h 1748800"/>
                <a:gd name="connsiteX543" fmla="*/ 590876 w 2678000"/>
                <a:gd name="connsiteY543" fmla="*/ 705238 h 1748800"/>
                <a:gd name="connsiteX544" fmla="*/ 543224 w 2678000"/>
                <a:gd name="connsiteY544" fmla="*/ 705238 h 1748800"/>
                <a:gd name="connsiteX545" fmla="*/ 528928 w 2678000"/>
                <a:gd name="connsiteY545" fmla="*/ 700472 h 1748800"/>
                <a:gd name="connsiteX546" fmla="*/ 514632 w 2678000"/>
                <a:gd name="connsiteY546" fmla="*/ 695708 h 1748800"/>
                <a:gd name="connsiteX547" fmla="*/ 505104 w 2678000"/>
                <a:gd name="connsiteY547" fmla="*/ 667116 h 1748800"/>
                <a:gd name="connsiteX548" fmla="*/ 495572 w 2678000"/>
                <a:gd name="connsiteY548" fmla="*/ 662352 h 1748800"/>
                <a:gd name="connsiteX549" fmla="*/ 490808 w 2678000"/>
                <a:gd name="connsiteY549" fmla="*/ 657586 h 1748800"/>
                <a:gd name="connsiteX550" fmla="*/ 476512 w 2678000"/>
                <a:gd name="connsiteY550" fmla="*/ 657586 h 1748800"/>
                <a:gd name="connsiteX551" fmla="*/ 462216 w 2678000"/>
                <a:gd name="connsiteY551" fmla="*/ 657586 h 1748800"/>
                <a:gd name="connsiteX552" fmla="*/ 452688 w 2678000"/>
                <a:gd name="connsiteY552" fmla="*/ 652822 h 1748800"/>
                <a:gd name="connsiteX553" fmla="*/ 428860 w 2678000"/>
                <a:gd name="connsiteY553" fmla="*/ 628996 h 1748800"/>
                <a:gd name="connsiteX554" fmla="*/ 409800 w 2678000"/>
                <a:gd name="connsiteY554" fmla="*/ 605170 h 1748800"/>
                <a:gd name="connsiteX555" fmla="*/ 400272 w 2678000"/>
                <a:gd name="connsiteY555" fmla="*/ 624230 h 1748800"/>
                <a:gd name="connsiteX556" fmla="*/ 390740 w 2678000"/>
                <a:gd name="connsiteY556" fmla="*/ 628996 h 1748800"/>
                <a:gd name="connsiteX557" fmla="*/ 371680 w 2678000"/>
                <a:gd name="connsiteY557" fmla="*/ 628996 h 1748800"/>
                <a:gd name="connsiteX558" fmla="*/ 357384 w 2678000"/>
                <a:gd name="connsiteY558" fmla="*/ 624230 h 1748800"/>
                <a:gd name="connsiteX559" fmla="*/ 347856 w 2678000"/>
                <a:gd name="connsiteY559" fmla="*/ 628996 h 1748800"/>
                <a:gd name="connsiteX560" fmla="*/ 338324 w 2678000"/>
                <a:gd name="connsiteY560" fmla="*/ 638526 h 1748800"/>
                <a:gd name="connsiteX561" fmla="*/ 338324 w 2678000"/>
                <a:gd name="connsiteY561" fmla="*/ 643292 h 1748800"/>
                <a:gd name="connsiteX562" fmla="*/ 347856 w 2678000"/>
                <a:gd name="connsiteY562" fmla="*/ 648056 h 1748800"/>
                <a:gd name="connsiteX563" fmla="*/ 362148 w 2678000"/>
                <a:gd name="connsiteY563" fmla="*/ 657586 h 1748800"/>
                <a:gd name="connsiteX564" fmla="*/ 381212 w 2678000"/>
                <a:gd name="connsiteY564" fmla="*/ 686178 h 1748800"/>
                <a:gd name="connsiteX565" fmla="*/ 390740 w 2678000"/>
                <a:gd name="connsiteY565" fmla="*/ 700472 h 1748800"/>
                <a:gd name="connsiteX566" fmla="*/ 390740 w 2678000"/>
                <a:gd name="connsiteY566" fmla="*/ 705238 h 1748800"/>
                <a:gd name="connsiteX567" fmla="*/ 385976 w 2678000"/>
                <a:gd name="connsiteY567" fmla="*/ 710004 h 1748800"/>
                <a:gd name="connsiteX568" fmla="*/ 376444 w 2678000"/>
                <a:gd name="connsiteY568" fmla="*/ 710004 h 1748800"/>
                <a:gd name="connsiteX569" fmla="*/ 376444 w 2678000"/>
                <a:gd name="connsiteY569" fmla="*/ 705238 h 1748800"/>
                <a:gd name="connsiteX570" fmla="*/ 371680 w 2678000"/>
                <a:gd name="connsiteY570" fmla="*/ 695708 h 1748800"/>
                <a:gd name="connsiteX571" fmla="*/ 366916 w 2678000"/>
                <a:gd name="connsiteY571" fmla="*/ 686178 h 1748800"/>
                <a:gd name="connsiteX572" fmla="*/ 357384 w 2678000"/>
                <a:gd name="connsiteY572" fmla="*/ 681412 h 1748800"/>
                <a:gd name="connsiteX573" fmla="*/ 352620 w 2678000"/>
                <a:gd name="connsiteY573" fmla="*/ 676648 h 1748800"/>
                <a:gd name="connsiteX574" fmla="*/ 343088 w 2678000"/>
                <a:gd name="connsiteY574" fmla="*/ 671882 h 1748800"/>
                <a:gd name="connsiteX575" fmla="*/ 328792 w 2678000"/>
                <a:gd name="connsiteY575" fmla="*/ 667116 h 1748800"/>
                <a:gd name="connsiteX576" fmla="*/ 319264 w 2678000"/>
                <a:gd name="connsiteY576" fmla="*/ 667116 h 1748800"/>
                <a:gd name="connsiteX577" fmla="*/ 314500 w 2678000"/>
                <a:gd name="connsiteY577" fmla="*/ 671882 h 1748800"/>
                <a:gd name="connsiteX578" fmla="*/ 304968 w 2678000"/>
                <a:gd name="connsiteY578" fmla="*/ 681412 h 1748800"/>
                <a:gd name="connsiteX579" fmla="*/ 304968 w 2678000"/>
                <a:gd name="connsiteY579" fmla="*/ 700472 h 1748800"/>
                <a:gd name="connsiteX580" fmla="*/ 290672 w 2678000"/>
                <a:gd name="connsiteY580" fmla="*/ 719534 h 1748800"/>
                <a:gd name="connsiteX581" fmla="*/ 285908 w 2678000"/>
                <a:gd name="connsiteY581" fmla="*/ 729064 h 1748800"/>
                <a:gd name="connsiteX582" fmla="*/ 266848 w 2678000"/>
                <a:gd name="connsiteY582" fmla="*/ 733828 h 1748800"/>
                <a:gd name="connsiteX583" fmla="*/ 257316 w 2678000"/>
                <a:gd name="connsiteY583" fmla="*/ 733828 h 1748800"/>
                <a:gd name="connsiteX584" fmla="*/ 243020 w 2678000"/>
                <a:gd name="connsiteY584" fmla="*/ 714768 h 1748800"/>
                <a:gd name="connsiteX585" fmla="*/ 219196 w 2678000"/>
                <a:gd name="connsiteY585" fmla="*/ 700472 h 1748800"/>
                <a:gd name="connsiteX586" fmla="*/ 200136 w 2678000"/>
                <a:gd name="connsiteY586" fmla="*/ 705238 h 1748800"/>
                <a:gd name="connsiteX587" fmla="*/ 185840 w 2678000"/>
                <a:gd name="connsiteY587" fmla="*/ 729064 h 1748800"/>
                <a:gd name="connsiteX588" fmla="*/ 176308 w 2678000"/>
                <a:gd name="connsiteY588" fmla="*/ 776714 h 1748800"/>
                <a:gd name="connsiteX589" fmla="*/ 171544 w 2678000"/>
                <a:gd name="connsiteY589" fmla="*/ 781480 h 1748800"/>
                <a:gd name="connsiteX590" fmla="*/ 162016 w 2678000"/>
                <a:gd name="connsiteY590" fmla="*/ 786246 h 1748800"/>
                <a:gd name="connsiteX591" fmla="*/ 152484 w 2678000"/>
                <a:gd name="connsiteY591" fmla="*/ 800540 h 1748800"/>
                <a:gd name="connsiteX592" fmla="*/ 157248 w 2678000"/>
                <a:gd name="connsiteY592" fmla="*/ 838662 h 1748800"/>
                <a:gd name="connsiteX593" fmla="*/ 162016 w 2678000"/>
                <a:gd name="connsiteY593" fmla="*/ 886312 h 1748800"/>
                <a:gd name="connsiteX594" fmla="*/ 171544 w 2678000"/>
                <a:gd name="connsiteY594" fmla="*/ 895844 h 1748800"/>
                <a:gd name="connsiteX595" fmla="*/ 176308 w 2678000"/>
                <a:gd name="connsiteY595" fmla="*/ 900608 h 1748800"/>
                <a:gd name="connsiteX596" fmla="*/ 176308 w 2678000"/>
                <a:gd name="connsiteY596" fmla="*/ 905374 h 1748800"/>
                <a:gd name="connsiteX597" fmla="*/ 176308 w 2678000"/>
                <a:gd name="connsiteY597" fmla="*/ 910138 h 1748800"/>
                <a:gd name="connsiteX598" fmla="*/ 166780 w 2678000"/>
                <a:gd name="connsiteY598" fmla="*/ 914904 h 1748800"/>
                <a:gd name="connsiteX599" fmla="*/ 162016 w 2678000"/>
                <a:gd name="connsiteY599" fmla="*/ 924434 h 1748800"/>
                <a:gd name="connsiteX600" fmla="*/ 152484 w 2678000"/>
                <a:gd name="connsiteY600" fmla="*/ 924434 h 1748800"/>
                <a:gd name="connsiteX601" fmla="*/ 138188 w 2678000"/>
                <a:gd name="connsiteY601" fmla="*/ 919668 h 1748800"/>
                <a:gd name="connsiteX602" fmla="*/ 123892 w 2678000"/>
                <a:gd name="connsiteY602" fmla="*/ 919668 h 1748800"/>
                <a:gd name="connsiteX603" fmla="*/ 76244 w 2678000"/>
                <a:gd name="connsiteY603" fmla="*/ 914904 h 1748800"/>
                <a:gd name="connsiteX604" fmla="*/ 42888 w 2678000"/>
                <a:gd name="connsiteY604" fmla="*/ 914904 h 1748800"/>
                <a:gd name="connsiteX605" fmla="*/ 0 w 2678000"/>
                <a:gd name="connsiteY605" fmla="*/ 910138 h 1748800"/>
                <a:gd name="connsiteX606" fmla="*/ 0 w 2678000"/>
                <a:gd name="connsiteY606" fmla="*/ 123892 h 1748800"/>
                <a:gd name="connsiteX607" fmla="*/ 19060 w 2678000"/>
                <a:gd name="connsiteY607" fmla="*/ 119128 h 1748800"/>
                <a:gd name="connsiteX608" fmla="*/ 42888 w 2678000"/>
                <a:gd name="connsiteY608" fmla="*/ 109596 h 1748800"/>
                <a:gd name="connsiteX609" fmla="*/ 66712 w 2678000"/>
                <a:gd name="connsiteY609" fmla="*/ 104832 h 1748800"/>
                <a:gd name="connsiteX610" fmla="*/ 95304 w 2678000"/>
                <a:gd name="connsiteY610" fmla="*/ 95302 h 1748800"/>
                <a:gd name="connsiteX611" fmla="*/ 128660 w 2678000"/>
                <a:gd name="connsiteY611" fmla="*/ 85772 h 1748800"/>
                <a:gd name="connsiteX612" fmla="*/ 152484 w 2678000"/>
                <a:gd name="connsiteY612" fmla="*/ 76242 h 1748800"/>
                <a:gd name="connsiteX613" fmla="*/ 185840 w 2678000"/>
                <a:gd name="connsiteY613" fmla="*/ 66710 h 1748800"/>
                <a:gd name="connsiteX614" fmla="*/ 209664 w 2678000"/>
                <a:gd name="connsiteY614" fmla="*/ 57180 h 1748800"/>
                <a:gd name="connsiteX615" fmla="*/ 233492 w 2678000"/>
                <a:gd name="connsiteY615" fmla="*/ 47650 h 1748800"/>
                <a:gd name="connsiteX616" fmla="*/ 262084 w 2678000"/>
                <a:gd name="connsiteY616" fmla="*/ 38120 h 1748800"/>
                <a:gd name="connsiteX617" fmla="*/ 309732 w 2678000"/>
                <a:gd name="connsiteY617" fmla="*/ 28590 h 1748800"/>
                <a:gd name="connsiteX618" fmla="*/ 333560 w 2678000"/>
                <a:gd name="connsiteY618" fmla="*/ 19060 h 1748800"/>
                <a:gd name="connsiteX619" fmla="*/ 362148 w 2678000"/>
                <a:gd name="connsiteY619" fmla="*/ 9530 h 1748800"/>
                <a:gd name="connsiteX620" fmla="*/ 385976 w 2678000"/>
                <a:gd name="connsiteY620" fmla="*/ 4764 h 174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</a:cxnLst>
              <a:rect l="l" t="t" r="r" b="b"/>
              <a:pathLst>
                <a:path w="2678000" h="1748800">
                  <a:moveTo>
                    <a:pt x="2463572" y="1186516"/>
                  </a:moveTo>
                  <a:lnTo>
                    <a:pt x="2468336" y="1186516"/>
                  </a:lnTo>
                  <a:lnTo>
                    <a:pt x="2468336" y="1196046"/>
                  </a:lnTo>
                  <a:lnTo>
                    <a:pt x="2463572" y="1200812"/>
                  </a:lnTo>
                  <a:lnTo>
                    <a:pt x="2454040" y="1200812"/>
                  </a:lnTo>
                  <a:lnTo>
                    <a:pt x="2449276" y="1196046"/>
                  </a:lnTo>
                  <a:lnTo>
                    <a:pt x="2454040" y="1191280"/>
                  </a:lnTo>
                  <a:close/>
                  <a:moveTo>
                    <a:pt x="2349208" y="1153160"/>
                  </a:moveTo>
                  <a:lnTo>
                    <a:pt x="2358736" y="1167456"/>
                  </a:lnTo>
                  <a:lnTo>
                    <a:pt x="2368268" y="1172220"/>
                  </a:lnTo>
                  <a:lnTo>
                    <a:pt x="2382564" y="1172220"/>
                  </a:lnTo>
                  <a:lnTo>
                    <a:pt x="2373032" y="1186516"/>
                  </a:lnTo>
                  <a:lnTo>
                    <a:pt x="2377796" y="1205576"/>
                  </a:lnTo>
                  <a:lnTo>
                    <a:pt x="2368268" y="1205576"/>
                  </a:lnTo>
                  <a:lnTo>
                    <a:pt x="2353972" y="1205576"/>
                  </a:lnTo>
                  <a:lnTo>
                    <a:pt x="2349208" y="1205576"/>
                  </a:lnTo>
                  <a:lnTo>
                    <a:pt x="2353972" y="1186516"/>
                  </a:lnTo>
                  <a:lnTo>
                    <a:pt x="2349208" y="1181750"/>
                  </a:lnTo>
                  <a:lnTo>
                    <a:pt x="2344444" y="1176986"/>
                  </a:lnTo>
                  <a:lnTo>
                    <a:pt x="2339676" y="1167456"/>
                  </a:lnTo>
                  <a:lnTo>
                    <a:pt x="2344444" y="1157926"/>
                  </a:lnTo>
                  <a:close/>
                  <a:moveTo>
                    <a:pt x="400272" y="0"/>
                  </a:moveTo>
                  <a:lnTo>
                    <a:pt x="409800" y="4764"/>
                  </a:lnTo>
                  <a:lnTo>
                    <a:pt x="400272" y="23824"/>
                  </a:lnTo>
                  <a:lnTo>
                    <a:pt x="395504" y="38120"/>
                  </a:lnTo>
                  <a:lnTo>
                    <a:pt x="385976" y="52416"/>
                  </a:lnTo>
                  <a:lnTo>
                    <a:pt x="376444" y="66710"/>
                  </a:lnTo>
                  <a:lnTo>
                    <a:pt x="376444" y="85772"/>
                  </a:lnTo>
                  <a:lnTo>
                    <a:pt x="357384" y="128658"/>
                  </a:lnTo>
                  <a:lnTo>
                    <a:pt x="352620" y="147718"/>
                  </a:lnTo>
                  <a:lnTo>
                    <a:pt x="352620" y="157248"/>
                  </a:lnTo>
                  <a:lnTo>
                    <a:pt x="352620" y="171544"/>
                  </a:lnTo>
                  <a:lnTo>
                    <a:pt x="362148" y="190604"/>
                  </a:lnTo>
                  <a:lnTo>
                    <a:pt x="362148" y="204900"/>
                  </a:lnTo>
                  <a:lnTo>
                    <a:pt x="357384" y="219194"/>
                  </a:lnTo>
                  <a:lnTo>
                    <a:pt x="352620" y="228726"/>
                  </a:lnTo>
                  <a:lnTo>
                    <a:pt x="357384" y="238256"/>
                  </a:lnTo>
                  <a:lnTo>
                    <a:pt x="357384" y="243020"/>
                  </a:lnTo>
                  <a:lnTo>
                    <a:pt x="366916" y="247786"/>
                  </a:lnTo>
                  <a:lnTo>
                    <a:pt x="371680" y="247786"/>
                  </a:lnTo>
                  <a:lnTo>
                    <a:pt x="385976" y="243020"/>
                  </a:lnTo>
                  <a:lnTo>
                    <a:pt x="395504" y="233490"/>
                  </a:lnTo>
                  <a:lnTo>
                    <a:pt x="405036" y="223960"/>
                  </a:lnTo>
                  <a:lnTo>
                    <a:pt x="424096" y="195370"/>
                  </a:lnTo>
                  <a:lnTo>
                    <a:pt x="424096" y="190604"/>
                  </a:lnTo>
                  <a:lnTo>
                    <a:pt x="414568" y="190604"/>
                  </a:lnTo>
                  <a:lnTo>
                    <a:pt x="409800" y="185840"/>
                  </a:lnTo>
                  <a:lnTo>
                    <a:pt x="414568" y="176308"/>
                  </a:lnTo>
                  <a:lnTo>
                    <a:pt x="414568" y="171544"/>
                  </a:lnTo>
                  <a:lnTo>
                    <a:pt x="419332" y="171544"/>
                  </a:lnTo>
                  <a:lnTo>
                    <a:pt x="424096" y="176308"/>
                  </a:lnTo>
                  <a:lnTo>
                    <a:pt x="424096" y="181074"/>
                  </a:lnTo>
                  <a:lnTo>
                    <a:pt x="428860" y="181074"/>
                  </a:lnTo>
                  <a:lnTo>
                    <a:pt x="433628" y="181074"/>
                  </a:lnTo>
                  <a:lnTo>
                    <a:pt x="438392" y="176308"/>
                  </a:lnTo>
                  <a:lnTo>
                    <a:pt x="433628" y="171544"/>
                  </a:lnTo>
                  <a:lnTo>
                    <a:pt x="433628" y="162014"/>
                  </a:lnTo>
                  <a:lnTo>
                    <a:pt x="428860" y="142952"/>
                  </a:lnTo>
                  <a:lnTo>
                    <a:pt x="433628" y="138188"/>
                  </a:lnTo>
                  <a:lnTo>
                    <a:pt x="433628" y="133422"/>
                  </a:lnTo>
                  <a:lnTo>
                    <a:pt x="438392" y="128658"/>
                  </a:lnTo>
                  <a:lnTo>
                    <a:pt x="443156" y="114362"/>
                  </a:lnTo>
                  <a:lnTo>
                    <a:pt x="438392" y="114362"/>
                  </a:lnTo>
                  <a:lnTo>
                    <a:pt x="419332" y="128658"/>
                  </a:lnTo>
                  <a:lnTo>
                    <a:pt x="414568" y="123892"/>
                  </a:lnTo>
                  <a:lnTo>
                    <a:pt x="414568" y="119128"/>
                  </a:lnTo>
                  <a:lnTo>
                    <a:pt x="419332" y="109596"/>
                  </a:lnTo>
                  <a:lnTo>
                    <a:pt x="428860" y="95302"/>
                  </a:lnTo>
                  <a:lnTo>
                    <a:pt x="438392" y="85772"/>
                  </a:lnTo>
                  <a:lnTo>
                    <a:pt x="438392" y="81006"/>
                  </a:lnTo>
                  <a:lnTo>
                    <a:pt x="433628" y="76242"/>
                  </a:lnTo>
                  <a:lnTo>
                    <a:pt x="428860" y="61946"/>
                  </a:lnTo>
                  <a:lnTo>
                    <a:pt x="428860" y="42886"/>
                  </a:lnTo>
                  <a:lnTo>
                    <a:pt x="428860" y="28590"/>
                  </a:lnTo>
                  <a:lnTo>
                    <a:pt x="433628" y="19060"/>
                  </a:lnTo>
                  <a:lnTo>
                    <a:pt x="443156" y="23824"/>
                  </a:lnTo>
                  <a:lnTo>
                    <a:pt x="462216" y="38120"/>
                  </a:lnTo>
                  <a:lnTo>
                    <a:pt x="486044" y="57180"/>
                  </a:lnTo>
                  <a:lnTo>
                    <a:pt x="505104" y="71476"/>
                  </a:lnTo>
                  <a:lnTo>
                    <a:pt x="528928" y="85772"/>
                  </a:lnTo>
                  <a:lnTo>
                    <a:pt x="538460" y="90536"/>
                  </a:lnTo>
                  <a:lnTo>
                    <a:pt x="528928" y="114362"/>
                  </a:lnTo>
                  <a:lnTo>
                    <a:pt x="514632" y="157248"/>
                  </a:lnTo>
                  <a:lnTo>
                    <a:pt x="505104" y="181074"/>
                  </a:lnTo>
                  <a:lnTo>
                    <a:pt x="505104" y="190604"/>
                  </a:lnTo>
                  <a:lnTo>
                    <a:pt x="509868" y="200134"/>
                  </a:lnTo>
                  <a:lnTo>
                    <a:pt x="519400" y="214430"/>
                  </a:lnTo>
                  <a:lnTo>
                    <a:pt x="571816" y="266846"/>
                  </a:lnTo>
                  <a:lnTo>
                    <a:pt x="571816" y="271612"/>
                  </a:lnTo>
                  <a:lnTo>
                    <a:pt x="562284" y="290672"/>
                  </a:lnTo>
                  <a:lnTo>
                    <a:pt x="557520" y="300202"/>
                  </a:lnTo>
                  <a:lnTo>
                    <a:pt x="552756" y="304968"/>
                  </a:lnTo>
                  <a:lnTo>
                    <a:pt x="557520" y="309732"/>
                  </a:lnTo>
                  <a:lnTo>
                    <a:pt x="586112" y="309732"/>
                  </a:lnTo>
                  <a:lnTo>
                    <a:pt x="600408" y="304968"/>
                  </a:lnTo>
                  <a:lnTo>
                    <a:pt x="614700" y="290672"/>
                  </a:lnTo>
                  <a:lnTo>
                    <a:pt x="619468" y="285906"/>
                  </a:lnTo>
                  <a:lnTo>
                    <a:pt x="614700" y="285906"/>
                  </a:lnTo>
                  <a:lnTo>
                    <a:pt x="609936" y="281142"/>
                  </a:lnTo>
                  <a:lnTo>
                    <a:pt x="609936" y="276376"/>
                  </a:lnTo>
                  <a:lnTo>
                    <a:pt x="609936" y="271612"/>
                  </a:lnTo>
                  <a:lnTo>
                    <a:pt x="614700" y="271612"/>
                  </a:lnTo>
                  <a:lnTo>
                    <a:pt x="624232" y="271612"/>
                  </a:lnTo>
                  <a:lnTo>
                    <a:pt x="628996" y="262082"/>
                  </a:lnTo>
                  <a:lnTo>
                    <a:pt x="633764" y="252550"/>
                  </a:lnTo>
                  <a:lnTo>
                    <a:pt x="633764" y="238256"/>
                  </a:lnTo>
                  <a:lnTo>
                    <a:pt x="628996" y="214430"/>
                  </a:lnTo>
                  <a:lnTo>
                    <a:pt x="628996" y="195370"/>
                  </a:lnTo>
                  <a:lnTo>
                    <a:pt x="633764" y="185840"/>
                  </a:lnTo>
                  <a:lnTo>
                    <a:pt x="633764" y="157248"/>
                  </a:lnTo>
                  <a:lnTo>
                    <a:pt x="638528" y="157248"/>
                  </a:lnTo>
                  <a:lnTo>
                    <a:pt x="657588" y="171544"/>
                  </a:lnTo>
                  <a:lnTo>
                    <a:pt x="681412" y="185840"/>
                  </a:lnTo>
                  <a:lnTo>
                    <a:pt x="700472" y="200134"/>
                  </a:lnTo>
                  <a:lnTo>
                    <a:pt x="724300" y="214430"/>
                  </a:lnTo>
                  <a:lnTo>
                    <a:pt x="743360" y="228726"/>
                  </a:lnTo>
                  <a:lnTo>
                    <a:pt x="767184" y="243020"/>
                  </a:lnTo>
                  <a:lnTo>
                    <a:pt x="786248" y="257316"/>
                  </a:lnTo>
                  <a:lnTo>
                    <a:pt x="795776" y="266846"/>
                  </a:lnTo>
                  <a:lnTo>
                    <a:pt x="800540" y="290672"/>
                  </a:lnTo>
                  <a:lnTo>
                    <a:pt x="810072" y="304968"/>
                  </a:lnTo>
                  <a:lnTo>
                    <a:pt x="843428" y="343088"/>
                  </a:lnTo>
                  <a:lnTo>
                    <a:pt x="867252" y="371680"/>
                  </a:lnTo>
                  <a:lnTo>
                    <a:pt x="895844" y="405034"/>
                  </a:lnTo>
                  <a:lnTo>
                    <a:pt x="924436" y="433626"/>
                  </a:lnTo>
                  <a:lnTo>
                    <a:pt x="938732" y="452686"/>
                  </a:lnTo>
                  <a:lnTo>
                    <a:pt x="953024" y="452686"/>
                  </a:lnTo>
                  <a:lnTo>
                    <a:pt x="976852" y="447922"/>
                  </a:lnTo>
                  <a:lnTo>
                    <a:pt x="1010208" y="443156"/>
                  </a:lnTo>
                  <a:lnTo>
                    <a:pt x="1038796" y="438390"/>
                  </a:lnTo>
                  <a:lnTo>
                    <a:pt x="1072152" y="433626"/>
                  </a:lnTo>
                  <a:lnTo>
                    <a:pt x="1105508" y="428860"/>
                  </a:lnTo>
                  <a:lnTo>
                    <a:pt x="1129336" y="424096"/>
                  </a:lnTo>
                  <a:lnTo>
                    <a:pt x="1167456" y="428860"/>
                  </a:lnTo>
                  <a:lnTo>
                    <a:pt x="1200812" y="428860"/>
                  </a:lnTo>
                  <a:lnTo>
                    <a:pt x="1253228" y="433626"/>
                  </a:lnTo>
                  <a:lnTo>
                    <a:pt x="1286584" y="438390"/>
                  </a:lnTo>
                  <a:lnTo>
                    <a:pt x="1300880" y="438390"/>
                  </a:lnTo>
                  <a:lnTo>
                    <a:pt x="1319940" y="438390"/>
                  </a:lnTo>
                  <a:lnTo>
                    <a:pt x="1329472" y="433626"/>
                  </a:lnTo>
                  <a:lnTo>
                    <a:pt x="1348532" y="428860"/>
                  </a:lnTo>
                  <a:lnTo>
                    <a:pt x="1362828" y="419330"/>
                  </a:lnTo>
                  <a:lnTo>
                    <a:pt x="1381888" y="409800"/>
                  </a:lnTo>
                  <a:lnTo>
                    <a:pt x="1396184" y="405034"/>
                  </a:lnTo>
                  <a:lnTo>
                    <a:pt x="1410476" y="419330"/>
                  </a:lnTo>
                  <a:lnTo>
                    <a:pt x="1420008" y="433626"/>
                  </a:lnTo>
                  <a:lnTo>
                    <a:pt x="1434304" y="452686"/>
                  </a:lnTo>
                  <a:lnTo>
                    <a:pt x="1453364" y="466982"/>
                  </a:lnTo>
                  <a:lnTo>
                    <a:pt x="1467660" y="476512"/>
                  </a:lnTo>
                  <a:lnTo>
                    <a:pt x="1486720" y="490808"/>
                  </a:lnTo>
                  <a:lnTo>
                    <a:pt x="1496252" y="514632"/>
                  </a:lnTo>
                  <a:lnTo>
                    <a:pt x="1515312" y="543224"/>
                  </a:lnTo>
                  <a:lnTo>
                    <a:pt x="1524840" y="562284"/>
                  </a:lnTo>
                  <a:lnTo>
                    <a:pt x="1534372" y="586110"/>
                  </a:lnTo>
                  <a:lnTo>
                    <a:pt x="1548668" y="576580"/>
                  </a:lnTo>
                  <a:lnTo>
                    <a:pt x="1567728" y="567050"/>
                  </a:lnTo>
                  <a:lnTo>
                    <a:pt x="1582024" y="562284"/>
                  </a:lnTo>
                  <a:lnTo>
                    <a:pt x="1577256" y="586110"/>
                  </a:lnTo>
                  <a:lnTo>
                    <a:pt x="1577256" y="609936"/>
                  </a:lnTo>
                  <a:lnTo>
                    <a:pt x="1577256" y="643292"/>
                  </a:lnTo>
                  <a:lnTo>
                    <a:pt x="1572492" y="671882"/>
                  </a:lnTo>
                  <a:lnTo>
                    <a:pt x="1567728" y="705238"/>
                  </a:lnTo>
                  <a:lnTo>
                    <a:pt x="1567728" y="752890"/>
                  </a:lnTo>
                  <a:lnTo>
                    <a:pt x="1567728" y="767184"/>
                  </a:lnTo>
                  <a:lnTo>
                    <a:pt x="1596316" y="771950"/>
                  </a:lnTo>
                  <a:lnTo>
                    <a:pt x="1615380" y="771950"/>
                  </a:lnTo>
                  <a:lnTo>
                    <a:pt x="1643968" y="771950"/>
                  </a:lnTo>
                  <a:lnTo>
                    <a:pt x="1643968" y="795776"/>
                  </a:lnTo>
                  <a:lnTo>
                    <a:pt x="1648736" y="824366"/>
                  </a:lnTo>
                  <a:lnTo>
                    <a:pt x="1653500" y="852956"/>
                  </a:lnTo>
                  <a:lnTo>
                    <a:pt x="1658264" y="876782"/>
                  </a:lnTo>
                  <a:lnTo>
                    <a:pt x="1667796" y="905374"/>
                  </a:lnTo>
                  <a:lnTo>
                    <a:pt x="1667796" y="924434"/>
                  </a:lnTo>
                  <a:lnTo>
                    <a:pt x="1677324" y="943494"/>
                  </a:lnTo>
                  <a:lnTo>
                    <a:pt x="1682092" y="943494"/>
                  </a:lnTo>
                  <a:lnTo>
                    <a:pt x="1691620" y="948260"/>
                  </a:lnTo>
                  <a:lnTo>
                    <a:pt x="1724976" y="948260"/>
                  </a:lnTo>
                  <a:lnTo>
                    <a:pt x="1758332" y="943494"/>
                  </a:lnTo>
                  <a:lnTo>
                    <a:pt x="1777392" y="943494"/>
                  </a:lnTo>
                  <a:lnTo>
                    <a:pt x="1801220" y="943494"/>
                  </a:lnTo>
                  <a:lnTo>
                    <a:pt x="1834576" y="938730"/>
                  </a:lnTo>
                  <a:lnTo>
                    <a:pt x="1848868" y="943494"/>
                  </a:lnTo>
                  <a:lnTo>
                    <a:pt x="1858400" y="938730"/>
                  </a:lnTo>
                  <a:lnTo>
                    <a:pt x="1867932" y="938730"/>
                  </a:lnTo>
                  <a:lnTo>
                    <a:pt x="1877460" y="953024"/>
                  </a:lnTo>
                  <a:lnTo>
                    <a:pt x="1882224" y="957790"/>
                  </a:lnTo>
                  <a:lnTo>
                    <a:pt x="1886992" y="967320"/>
                  </a:lnTo>
                  <a:lnTo>
                    <a:pt x="1896520" y="972086"/>
                  </a:lnTo>
                  <a:lnTo>
                    <a:pt x="1891756" y="986380"/>
                  </a:lnTo>
                  <a:lnTo>
                    <a:pt x="1886992" y="1005440"/>
                  </a:lnTo>
                  <a:lnTo>
                    <a:pt x="1886992" y="1019736"/>
                  </a:lnTo>
                  <a:lnTo>
                    <a:pt x="1896520" y="1029266"/>
                  </a:lnTo>
                  <a:lnTo>
                    <a:pt x="1901288" y="1034032"/>
                  </a:lnTo>
                  <a:lnTo>
                    <a:pt x="1925112" y="1048328"/>
                  </a:lnTo>
                  <a:lnTo>
                    <a:pt x="1944172" y="1057858"/>
                  </a:lnTo>
                  <a:lnTo>
                    <a:pt x="1953704" y="1057858"/>
                  </a:lnTo>
                  <a:lnTo>
                    <a:pt x="1967996" y="1057858"/>
                  </a:lnTo>
                  <a:lnTo>
                    <a:pt x="1972764" y="1048328"/>
                  </a:lnTo>
                  <a:lnTo>
                    <a:pt x="1967996" y="1038796"/>
                  </a:lnTo>
                  <a:lnTo>
                    <a:pt x="1963232" y="1029266"/>
                  </a:lnTo>
                  <a:lnTo>
                    <a:pt x="1963232" y="1014972"/>
                  </a:lnTo>
                  <a:lnTo>
                    <a:pt x="1967996" y="1005440"/>
                  </a:lnTo>
                  <a:lnTo>
                    <a:pt x="1982292" y="986380"/>
                  </a:lnTo>
                  <a:lnTo>
                    <a:pt x="1991824" y="972086"/>
                  </a:lnTo>
                  <a:lnTo>
                    <a:pt x="2010884" y="953024"/>
                  </a:lnTo>
                  <a:lnTo>
                    <a:pt x="2029944" y="933964"/>
                  </a:lnTo>
                  <a:lnTo>
                    <a:pt x="2039476" y="924434"/>
                  </a:lnTo>
                  <a:lnTo>
                    <a:pt x="2044240" y="900608"/>
                  </a:lnTo>
                  <a:lnTo>
                    <a:pt x="2058536" y="891078"/>
                  </a:lnTo>
                  <a:lnTo>
                    <a:pt x="2072832" y="881548"/>
                  </a:lnTo>
                  <a:lnTo>
                    <a:pt x="2091892" y="876782"/>
                  </a:lnTo>
                  <a:lnTo>
                    <a:pt x="2096656" y="867252"/>
                  </a:lnTo>
                  <a:lnTo>
                    <a:pt x="2120480" y="848192"/>
                  </a:lnTo>
                  <a:lnTo>
                    <a:pt x="2134776" y="838662"/>
                  </a:lnTo>
                  <a:lnTo>
                    <a:pt x="2158604" y="833896"/>
                  </a:lnTo>
                  <a:lnTo>
                    <a:pt x="2182428" y="819600"/>
                  </a:lnTo>
                  <a:lnTo>
                    <a:pt x="2206256" y="805306"/>
                  </a:lnTo>
                  <a:lnTo>
                    <a:pt x="2225316" y="781480"/>
                  </a:lnTo>
                  <a:lnTo>
                    <a:pt x="2239612" y="762420"/>
                  </a:lnTo>
                  <a:lnTo>
                    <a:pt x="2253904" y="752890"/>
                  </a:lnTo>
                  <a:lnTo>
                    <a:pt x="2268200" y="752890"/>
                  </a:lnTo>
                  <a:lnTo>
                    <a:pt x="2272968" y="762420"/>
                  </a:lnTo>
                  <a:lnTo>
                    <a:pt x="2282496" y="762420"/>
                  </a:lnTo>
                  <a:lnTo>
                    <a:pt x="2287260" y="757654"/>
                  </a:lnTo>
                  <a:lnTo>
                    <a:pt x="2292028" y="748124"/>
                  </a:lnTo>
                  <a:lnTo>
                    <a:pt x="2301556" y="733828"/>
                  </a:lnTo>
                  <a:lnTo>
                    <a:pt x="2311088" y="729064"/>
                  </a:lnTo>
                  <a:lnTo>
                    <a:pt x="2325384" y="724298"/>
                  </a:lnTo>
                  <a:lnTo>
                    <a:pt x="2339680" y="719534"/>
                  </a:lnTo>
                  <a:lnTo>
                    <a:pt x="2344444" y="714768"/>
                  </a:lnTo>
                  <a:lnTo>
                    <a:pt x="2349208" y="710004"/>
                  </a:lnTo>
                  <a:lnTo>
                    <a:pt x="2368268" y="719534"/>
                  </a:lnTo>
                  <a:lnTo>
                    <a:pt x="2377800" y="724298"/>
                  </a:lnTo>
                  <a:lnTo>
                    <a:pt x="2382564" y="729064"/>
                  </a:lnTo>
                  <a:lnTo>
                    <a:pt x="2382564" y="733828"/>
                  </a:lnTo>
                  <a:lnTo>
                    <a:pt x="2349208" y="752890"/>
                  </a:lnTo>
                  <a:lnTo>
                    <a:pt x="2330148" y="762420"/>
                  </a:lnTo>
                  <a:lnTo>
                    <a:pt x="2325384" y="762420"/>
                  </a:lnTo>
                  <a:lnTo>
                    <a:pt x="2320616" y="767184"/>
                  </a:lnTo>
                  <a:lnTo>
                    <a:pt x="2315852" y="786246"/>
                  </a:lnTo>
                  <a:lnTo>
                    <a:pt x="2301556" y="791010"/>
                  </a:lnTo>
                  <a:lnTo>
                    <a:pt x="2287260" y="795776"/>
                  </a:lnTo>
                  <a:lnTo>
                    <a:pt x="2277732" y="805306"/>
                  </a:lnTo>
                  <a:lnTo>
                    <a:pt x="2258672" y="829132"/>
                  </a:lnTo>
                  <a:lnTo>
                    <a:pt x="2215784" y="857722"/>
                  </a:lnTo>
                  <a:lnTo>
                    <a:pt x="2215784" y="867252"/>
                  </a:lnTo>
                  <a:lnTo>
                    <a:pt x="2220548" y="872018"/>
                  </a:lnTo>
                  <a:lnTo>
                    <a:pt x="2234844" y="876782"/>
                  </a:lnTo>
                  <a:lnTo>
                    <a:pt x="2253904" y="886312"/>
                  </a:lnTo>
                  <a:lnTo>
                    <a:pt x="2263436" y="891078"/>
                  </a:lnTo>
                  <a:lnTo>
                    <a:pt x="2292028" y="881548"/>
                  </a:lnTo>
                  <a:lnTo>
                    <a:pt x="2296792" y="886312"/>
                  </a:lnTo>
                  <a:lnTo>
                    <a:pt x="2306320" y="895844"/>
                  </a:lnTo>
                  <a:lnTo>
                    <a:pt x="2311088" y="924434"/>
                  </a:lnTo>
                  <a:lnTo>
                    <a:pt x="2325384" y="933964"/>
                  </a:lnTo>
                  <a:lnTo>
                    <a:pt x="2339680" y="938730"/>
                  </a:lnTo>
                  <a:lnTo>
                    <a:pt x="2349208" y="938730"/>
                  </a:lnTo>
                  <a:lnTo>
                    <a:pt x="2363504" y="948260"/>
                  </a:lnTo>
                  <a:lnTo>
                    <a:pt x="2382564" y="948260"/>
                  </a:lnTo>
                  <a:lnTo>
                    <a:pt x="2392096" y="948260"/>
                  </a:lnTo>
                  <a:lnTo>
                    <a:pt x="2406388" y="953024"/>
                  </a:lnTo>
                  <a:lnTo>
                    <a:pt x="2411156" y="948260"/>
                  </a:lnTo>
                  <a:lnTo>
                    <a:pt x="2411156" y="905374"/>
                  </a:lnTo>
                  <a:lnTo>
                    <a:pt x="2425452" y="914904"/>
                  </a:lnTo>
                  <a:lnTo>
                    <a:pt x="2430216" y="914904"/>
                  </a:lnTo>
                  <a:lnTo>
                    <a:pt x="2439744" y="910138"/>
                  </a:lnTo>
                  <a:lnTo>
                    <a:pt x="2439744" y="900608"/>
                  </a:lnTo>
                  <a:lnTo>
                    <a:pt x="2444512" y="886312"/>
                  </a:lnTo>
                  <a:lnTo>
                    <a:pt x="2439744" y="872018"/>
                  </a:lnTo>
                  <a:lnTo>
                    <a:pt x="2444512" y="867252"/>
                  </a:lnTo>
                  <a:lnTo>
                    <a:pt x="2449276" y="867252"/>
                  </a:lnTo>
                  <a:lnTo>
                    <a:pt x="2454040" y="867252"/>
                  </a:lnTo>
                  <a:lnTo>
                    <a:pt x="2454040" y="872018"/>
                  </a:lnTo>
                  <a:lnTo>
                    <a:pt x="2454040" y="886312"/>
                  </a:lnTo>
                  <a:lnTo>
                    <a:pt x="2463572" y="891078"/>
                  </a:lnTo>
                  <a:lnTo>
                    <a:pt x="2468336" y="891078"/>
                  </a:lnTo>
                  <a:lnTo>
                    <a:pt x="2477868" y="914904"/>
                  </a:lnTo>
                  <a:lnTo>
                    <a:pt x="2482632" y="938730"/>
                  </a:lnTo>
                  <a:lnTo>
                    <a:pt x="2496928" y="938730"/>
                  </a:lnTo>
                  <a:lnTo>
                    <a:pt x="2511224" y="943494"/>
                  </a:lnTo>
                  <a:lnTo>
                    <a:pt x="2520752" y="938730"/>
                  </a:lnTo>
                  <a:lnTo>
                    <a:pt x="2525520" y="943494"/>
                  </a:lnTo>
                  <a:lnTo>
                    <a:pt x="2530284" y="953024"/>
                  </a:lnTo>
                  <a:lnTo>
                    <a:pt x="2530284" y="962554"/>
                  </a:lnTo>
                  <a:lnTo>
                    <a:pt x="2530284" y="972086"/>
                  </a:lnTo>
                  <a:lnTo>
                    <a:pt x="2535048" y="976850"/>
                  </a:lnTo>
                  <a:lnTo>
                    <a:pt x="2549344" y="972086"/>
                  </a:lnTo>
                  <a:lnTo>
                    <a:pt x="2558872" y="972086"/>
                  </a:lnTo>
                  <a:lnTo>
                    <a:pt x="2568404" y="976850"/>
                  </a:lnTo>
                  <a:lnTo>
                    <a:pt x="2582700" y="981616"/>
                  </a:lnTo>
                  <a:lnTo>
                    <a:pt x="2596996" y="1000676"/>
                  </a:lnTo>
                  <a:lnTo>
                    <a:pt x="2606524" y="1005440"/>
                  </a:lnTo>
                  <a:lnTo>
                    <a:pt x="2630352" y="1005440"/>
                  </a:lnTo>
                  <a:lnTo>
                    <a:pt x="2639880" y="1010206"/>
                  </a:lnTo>
                  <a:lnTo>
                    <a:pt x="2644648" y="1010206"/>
                  </a:lnTo>
                  <a:lnTo>
                    <a:pt x="2658940" y="1005440"/>
                  </a:lnTo>
                  <a:lnTo>
                    <a:pt x="2678000" y="1014972"/>
                  </a:lnTo>
                  <a:lnTo>
                    <a:pt x="2678000" y="1019736"/>
                  </a:lnTo>
                  <a:lnTo>
                    <a:pt x="2678000" y="1024502"/>
                  </a:lnTo>
                  <a:lnTo>
                    <a:pt x="2620820" y="1053092"/>
                  </a:lnTo>
                  <a:lnTo>
                    <a:pt x="2620820" y="1057858"/>
                  </a:lnTo>
                  <a:lnTo>
                    <a:pt x="2606524" y="1072152"/>
                  </a:lnTo>
                  <a:lnTo>
                    <a:pt x="2596996" y="1076918"/>
                  </a:lnTo>
                  <a:lnTo>
                    <a:pt x="2592228" y="1076918"/>
                  </a:lnTo>
                  <a:lnTo>
                    <a:pt x="2563640" y="1067388"/>
                  </a:lnTo>
                  <a:lnTo>
                    <a:pt x="2558872" y="1072152"/>
                  </a:lnTo>
                  <a:lnTo>
                    <a:pt x="2558872" y="1076918"/>
                  </a:lnTo>
                  <a:lnTo>
                    <a:pt x="2563640" y="1091214"/>
                  </a:lnTo>
                  <a:lnTo>
                    <a:pt x="2563640" y="1095978"/>
                  </a:lnTo>
                  <a:lnTo>
                    <a:pt x="2558872" y="1100744"/>
                  </a:lnTo>
                  <a:lnTo>
                    <a:pt x="2539812" y="1095978"/>
                  </a:lnTo>
                  <a:lnTo>
                    <a:pt x="2539812" y="1091214"/>
                  </a:lnTo>
                  <a:lnTo>
                    <a:pt x="2530284" y="1091214"/>
                  </a:lnTo>
                  <a:lnTo>
                    <a:pt x="2520752" y="1095978"/>
                  </a:lnTo>
                  <a:lnTo>
                    <a:pt x="2506456" y="1115040"/>
                  </a:lnTo>
                  <a:lnTo>
                    <a:pt x="2496928" y="1124570"/>
                  </a:lnTo>
                  <a:lnTo>
                    <a:pt x="2496928" y="1129334"/>
                  </a:lnTo>
                  <a:lnTo>
                    <a:pt x="2487396" y="1134100"/>
                  </a:lnTo>
                  <a:lnTo>
                    <a:pt x="2477868" y="1134100"/>
                  </a:lnTo>
                  <a:lnTo>
                    <a:pt x="2468336" y="1143630"/>
                  </a:lnTo>
                  <a:lnTo>
                    <a:pt x="2454040" y="1153160"/>
                  </a:lnTo>
                  <a:lnTo>
                    <a:pt x="2449276" y="1148394"/>
                  </a:lnTo>
                  <a:lnTo>
                    <a:pt x="2449276" y="1138864"/>
                  </a:lnTo>
                  <a:lnTo>
                    <a:pt x="2444512" y="1138864"/>
                  </a:lnTo>
                  <a:lnTo>
                    <a:pt x="2434980" y="1138864"/>
                  </a:lnTo>
                  <a:lnTo>
                    <a:pt x="2425452" y="1138864"/>
                  </a:lnTo>
                  <a:lnTo>
                    <a:pt x="2415920" y="1134100"/>
                  </a:lnTo>
                  <a:lnTo>
                    <a:pt x="2406388" y="1129334"/>
                  </a:lnTo>
                  <a:lnTo>
                    <a:pt x="2392096" y="1124570"/>
                  </a:lnTo>
                  <a:lnTo>
                    <a:pt x="2358740" y="1129334"/>
                  </a:lnTo>
                  <a:lnTo>
                    <a:pt x="2344444" y="1134100"/>
                  </a:lnTo>
                  <a:lnTo>
                    <a:pt x="2339680" y="1134100"/>
                  </a:lnTo>
                  <a:lnTo>
                    <a:pt x="2330148" y="1134100"/>
                  </a:lnTo>
                  <a:lnTo>
                    <a:pt x="2292028" y="1143630"/>
                  </a:lnTo>
                  <a:lnTo>
                    <a:pt x="2282496" y="1138864"/>
                  </a:lnTo>
                  <a:lnTo>
                    <a:pt x="2277732" y="1129334"/>
                  </a:lnTo>
                  <a:lnTo>
                    <a:pt x="2272968" y="1119804"/>
                  </a:lnTo>
                  <a:lnTo>
                    <a:pt x="2263436" y="1115040"/>
                  </a:lnTo>
                  <a:lnTo>
                    <a:pt x="2253904" y="1110274"/>
                  </a:lnTo>
                  <a:lnTo>
                    <a:pt x="2249140" y="1105508"/>
                  </a:lnTo>
                  <a:lnTo>
                    <a:pt x="2249140" y="1100744"/>
                  </a:lnTo>
                  <a:lnTo>
                    <a:pt x="2249140" y="1095978"/>
                  </a:lnTo>
                  <a:lnTo>
                    <a:pt x="2249140" y="1091214"/>
                  </a:lnTo>
                  <a:lnTo>
                    <a:pt x="2272968" y="1067388"/>
                  </a:lnTo>
                  <a:lnTo>
                    <a:pt x="2296792" y="1048328"/>
                  </a:lnTo>
                  <a:lnTo>
                    <a:pt x="2301556" y="1048328"/>
                  </a:lnTo>
                  <a:lnTo>
                    <a:pt x="2301556" y="1043562"/>
                  </a:lnTo>
                  <a:lnTo>
                    <a:pt x="2306320" y="1034032"/>
                  </a:lnTo>
                  <a:lnTo>
                    <a:pt x="2287260" y="1024502"/>
                  </a:lnTo>
                  <a:lnTo>
                    <a:pt x="2287260" y="1019736"/>
                  </a:lnTo>
                  <a:lnTo>
                    <a:pt x="2292028" y="1014972"/>
                  </a:lnTo>
                  <a:lnTo>
                    <a:pt x="2292028" y="1010206"/>
                  </a:lnTo>
                  <a:lnTo>
                    <a:pt x="2282496" y="995910"/>
                  </a:lnTo>
                  <a:lnTo>
                    <a:pt x="2258672" y="972086"/>
                  </a:lnTo>
                  <a:lnTo>
                    <a:pt x="2253904" y="972086"/>
                  </a:lnTo>
                  <a:lnTo>
                    <a:pt x="2249140" y="972086"/>
                  </a:lnTo>
                  <a:lnTo>
                    <a:pt x="2239612" y="995910"/>
                  </a:lnTo>
                  <a:lnTo>
                    <a:pt x="2234844" y="1000676"/>
                  </a:lnTo>
                  <a:lnTo>
                    <a:pt x="2211020" y="1014972"/>
                  </a:lnTo>
                  <a:lnTo>
                    <a:pt x="2191960" y="1024502"/>
                  </a:lnTo>
                  <a:lnTo>
                    <a:pt x="2153840" y="1043562"/>
                  </a:lnTo>
                  <a:lnTo>
                    <a:pt x="2144308" y="1048328"/>
                  </a:lnTo>
                  <a:lnTo>
                    <a:pt x="2139544" y="1048328"/>
                  </a:lnTo>
                  <a:lnTo>
                    <a:pt x="2130012" y="1043562"/>
                  </a:lnTo>
                  <a:lnTo>
                    <a:pt x="2110952" y="1029266"/>
                  </a:lnTo>
                  <a:lnTo>
                    <a:pt x="2096656" y="1019736"/>
                  </a:lnTo>
                  <a:lnTo>
                    <a:pt x="2091892" y="1024502"/>
                  </a:lnTo>
                  <a:lnTo>
                    <a:pt x="2082360" y="1034032"/>
                  </a:lnTo>
                  <a:lnTo>
                    <a:pt x="2082360" y="1053092"/>
                  </a:lnTo>
                  <a:lnTo>
                    <a:pt x="2072832" y="1062622"/>
                  </a:lnTo>
                  <a:lnTo>
                    <a:pt x="2063300" y="1067388"/>
                  </a:lnTo>
                  <a:lnTo>
                    <a:pt x="2082360" y="1115040"/>
                  </a:lnTo>
                  <a:lnTo>
                    <a:pt x="2077596" y="1124570"/>
                  </a:lnTo>
                  <a:lnTo>
                    <a:pt x="2068064" y="1124570"/>
                  </a:lnTo>
                  <a:lnTo>
                    <a:pt x="2077596" y="1143630"/>
                  </a:lnTo>
                  <a:lnTo>
                    <a:pt x="2068064" y="1143630"/>
                  </a:lnTo>
                  <a:lnTo>
                    <a:pt x="2049004" y="1138864"/>
                  </a:lnTo>
                  <a:lnTo>
                    <a:pt x="2025180" y="1138864"/>
                  </a:lnTo>
                  <a:lnTo>
                    <a:pt x="1977528" y="1148394"/>
                  </a:lnTo>
                  <a:lnTo>
                    <a:pt x="1972764" y="1153160"/>
                  </a:lnTo>
                  <a:lnTo>
                    <a:pt x="1977528" y="1157926"/>
                  </a:lnTo>
                  <a:lnTo>
                    <a:pt x="2001352" y="1157926"/>
                  </a:lnTo>
                  <a:lnTo>
                    <a:pt x="2020416" y="1157926"/>
                  </a:lnTo>
                  <a:lnTo>
                    <a:pt x="2029944" y="1157926"/>
                  </a:lnTo>
                  <a:lnTo>
                    <a:pt x="2029944" y="1167456"/>
                  </a:lnTo>
                  <a:lnTo>
                    <a:pt x="2025180" y="1167456"/>
                  </a:lnTo>
                  <a:lnTo>
                    <a:pt x="2020416" y="1172220"/>
                  </a:lnTo>
                  <a:lnTo>
                    <a:pt x="2001352" y="1172220"/>
                  </a:lnTo>
                  <a:lnTo>
                    <a:pt x="2001352" y="1176986"/>
                  </a:lnTo>
                  <a:lnTo>
                    <a:pt x="2001352" y="1181750"/>
                  </a:lnTo>
                  <a:lnTo>
                    <a:pt x="2006120" y="1191280"/>
                  </a:lnTo>
                  <a:lnTo>
                    <a:pt x="2010884" y="1200812"/>
                  </a:lnTo>
                  <a:lnTo>
                    <a:pt x="2010884" y="1205576"/>
                  </a:lnTo>
                  <a:lnTo>
                    <a:pt x="2006120" y="1205576"/>
                  </a:lnTo>
                  <a:lnTo>
                    <a:pt x="2001352" y="1200812"/>
                  </a:lnTo>
                  <a:lnTo>
                    <a:pt x="1996588" y="1205576"/>
                  </a:lnTo>
                  <a:lnTo>
                    <a:pt x="1996588" y="1215106"/>
                  </a:lnTo>
                  <a:lnTo>
                    <a:pt x="1991824" y="1215106"/>
                  </a:lnTo>
                  <a:lnTo>
                    <a:pt x="1982292" y="1215106"/>
                  </a:lnTo>
                  <a:lnTo>
                    <a:pt x="1977528" y="1215106"/>
                  </a:lnTo>
                  <a:lnTo>
                    <a:pt x="1972764" y="1234168"/>
                  </a:lnTo>
                  <a:lnTo>
                    <a:pt x="1967996" y="1257992"/>
                  </a:lnTo>
                  <a:lnTo>
                    <a:pt x="1958468" y="1272288"/>
                  </a:lnTo>
                  <a:lnTo>
                    <a:pt x="1948936" y="1277054"/>
                  </a:lnTo>
                  <a:lnTo>
                    <a:pt x="1939408" y="1281818"/>
                  </a:lnTo>
                  <a:lnTo>
                    <a:pt x="1925112" y="1277054"/>
                  </a:lnTo>
                  <a:lnTo>
                    <a:pt x="1915580" y="1277054"/>
                  </a:lnTo>
                  <a:lnTo>
                    <a:pt x="1891756" y="1272288"/>
                  </a:lnTo>
                  <a:lnTo>
                    <a:pt x="1863164" y="1267524"/>
                  </a:lnTo>
                  <a:lnTo>
                    <a:pt x="1834576" y="1262758"/>
                  </a:lnTo>
                  <a:lnTo>
                    <a:pt x="1805984" y="1272288"/>
                  </a:lnTo>
                  <a:lnTo>
                    <a:pt x="1796452" y="1281818"/>
                  </a:lnTo>
                  <a:lnTo>
                    <a:pt x="1791688" y="1291348"/>
                  </a:lnTo>
                  <a:lnTo>
                    <a:pt x="1786924" y="1291348"/>
                  </a:lnTo>
                  <a:lnTo>
                    <a:pt x="1777392" y="1339000"/>
                  </a:lnTo>
                  <a:lnTo>
                    <a:pt x="1777392" y="1343766"/>
                  </a:lnTo>
                  <a:lnTo>
                    <a:pt x="1782156" y="1348530"/>
                  </a:lnTo>
                  <a:lnTo>
                    <a:pt x="1815512" y="1358060"/>
                  </a:lnTo>
                  <a:lnTo>
                    <a:pt x="1820280" y="1358060"/>
                  </a:lnTo>
                  <a:lnTo>
                    <a:pt x="1825044" y="1362826"/>
                  </a:lnTo>
                  <a:lnTo>
                    <a:pt x="1825044" y="1386652"/>
                  </a:lnTo>
                  <a:lnTo>
                    <a:pt x="1829808" y="1386652"/>
                  </a:lnTo>
                  <a:lnTo>
                    <a:pt x="1839340" y="1391416"/>
                  </a:lnTo>
                  <a:lnTo>
                    <a:pt x="1858400" y="1391416"/>
                  </a:lnTo>
                  <a:lnTo>
                    <a:pt x="1872696" y="1386652"/>
                  </a:lnTo>
                  <a:lnTo>
                    <a:pt x="1882224" y="1391416"/>
                  </a:lnTo>
                  <a:lnTo>
                    <a:pt x="1891756" y="1391416"/>
                  </a:lnTo>
                  <a:lnTo>
                    <a:pt x="1896520" y="1400946"/>
                  </a:lnTo>
                  <a:lnTo>
                    <a:pt x="1901288" y="1410476"/>
                  </a:lnTo>
                  <a:lnTo>
                    <a:pt x="1886992" y="1453364"/>
                  </a:lnTo>
                  <a:lnTo>
                    <a:pt x="1886992" y="1467658"/>
                  </a:lnTo>
                  <a:lnTo>
                    <a:pt x="1891756" y="1491484"/>
                  </a:lnTo>
                  <a:lnTo>
                    <a:pt x="1901288" y="1510544"/>
                  </a:lnTo>
                  <a:lnTo>
                    <a:pt x="1915580" y="1529606"/>
                  </a:lnTo>
                  <a:lnTo>
                    <a:pt x="1929876" y="1539136"/>
                  </a:lnTo>
                  <a:lnTo>
                    <a:pt x="1934640" y="1543900"/>
                  </a:lnTo>
                  <a:lnTo>
                    <a:pt x="1934640" y="1553430"/>
                  </a:lnTo>
                  <a:lnTo>
                    <a:pt x="1929876" y="1562960"/>
                  </a:lnTo>
                  <a:lnTo>
                    <a:pt x="1925112" y="1577256"/>
                  </a:lnTo>
                  <a:lnTo>
                    <a:pt x="1915580" y="1596316"/>
                  </a:lnTo>
                  <a:lnTo>
                    <a:pt x="1906052" y="1601082"/>
                  </a:lnTo>
                  <a:lnTo>
                    <a:pt x="1891756" y="1620142"/>
                  </a:lnTo>
                  <a:lnTo>
                    <a:pt x="1877460" y="1639204"/>
                  </a:lnTo>
                  <a:lnTo>
                    <a:pt x="1858400" y="1672560"/>
                  </a:lnTo>
                  <a:lnTo>
                    <a:pt x="1848868" y="1686854"/>
                  </a:lnTo>
                  <a:lnTo>
                    <a:pt x="1844104" y="1734506"/>
                  </a:lnTo>
                  <a:lnTo>
                    <a:pt x="1839340" y="1748800"/>
                  </a:lnTo>
                  <a:lnTo>
                    <a:pt x="1839340" y="1744036"/>
                  </a:lnTo>
                  <a:lnTo>
                    <a:pt x="1829808" y="1739270"/>
                  </a:lnTo>
                  <a:lnTo>
                    <a:pt x="1815512" y="1739270"/>
                  </a:lnTo>
                  <a:lnTo>
                    <a:pt x="1805984" y="1734506"/>
                  </a:lnTo>
                  <a:lnTo>
                    <a:pt x="1801220" y="1729740"/>
                  </a:lnTo>
                  <a:lnTo>
                    <a:pt x="1791688" y="1734506"/>
                  </a:lnTo>
                  <a:lnTo>
                    <a:pt x="1772628" y="1744036"/>
                  </a:lnTo>
                  <a:lnTo>
                    <a:pt x="1753568" y="1734506"/>
                  </a:lnTo>
                  <a:lnTo>
                    <a:pt x="1734508" y="1715446"/>
                  </a:lnTo>
                  <a:lnTo>
                    <a:pt x="1696384" y="1710680"/>
                  </a:lnTo>
                  <a:lnTo>
                    <a:pt x="1648736" y="1715446"/>
                  </a:lnTo>
                  <a:lnTo>
                    <a:pt x="1643968" y="1691620"/>
                  </a:lnTo>
                  <a:lnTo>
                    <a:pt x="1643968" y="1663028"/>
                  </a:lnTo>
                  <a:lnTo>
                    <a:pt x="1648736" y="1629672"/>
                  </a:lnTo>
                  <a:lnTo>
                    <a:pt x="1663028" y="1601082"/>
                  </a:lnTo>
                  <a:lnTo>
                    <a:pt x="1663028" y="1596316"/>
                  </a:lnTo>
                  <a:lnTo>
                    <a:pt x="1658264" y="1586786"/>
                  </a:lnTo>
                  <a:lnTo>
                    <a:pt x="1653500" y="1582022"/>
                  </a:lnTo>
                  <a:lnTo>
                    <a:pt x="1624908" y="1577256"/>
                  </a:lnTo>
                  <a:lnTo>
                    <a:pt x="1615380" y="1572492"/>
                  </a:lnTo>
                  <a:lnTo>
                    <a:pt x="1605848" y="1562960"/>
                  </a:lnTo>
                  <a:lnTo>
                    <a:pt x="1591552" y="1553430"/>
                  </a:lnTo>
                  <a:lnTo>
                    <a:pt x="1582024" y="1543900"/>
                  </a:lnTo>
                  <a:lnTo>
                    <a:pt x="1562960" y="1539136"/>
                  </a:lnTo>
                  <a:lnTo>
                    <a:pt x="1543900" y="1534370"/>
                  </a:lnTo>
                  <a:lnTo>
                    <a:pt x="1534372" y="1534370"/>
                  </a:lnTo>
                  <a:lnTo>
                    <a:pt x="1524840" y="1539136"/>
                  </a:lnTo>
                  <a:lnTo>
                    <a:pt x="1515312" y="1539136"/>
                  </a:lnTo>
                  <a:lnTo>
                    <a:pt x="1505780" y="1539136"/>
                  </a:lnTo>
                  <a:lnTo>
                    <a:pt x="1472424" y="1515310"/>
                  </a:lnTo>
                  <a:lnTo>
                    <a:pt x="1420008" y="1477188"/>
                  </a:lnTo>
                  <a:lnTo>
                    <a:pt x="1381888" y="1453364"/>
                  </a:lnTo>
                  <a:lnTo>
                    <a:pt x="1353296" y="1439068"/>
                  </a:lnTo>
                  <a:lnTo>
                    <a:pt x="1348532" y="1434302"/>
                  </a:lnTo>
                  <a:lnTo>
                    <a:pt x="1334236" y="1424772"/>
                  </a:lnTo>
                  <a:lnTo>
                    <a:pt x="1300880" y="1391416"/>
                  </a:lnTo>
                  <a:lnTo>
                    <a:pt x="1277056" y="1396182"/>
                  </a:lnTo>
                  <a:lnTo>
                    <a:pt x="1243700" y="1372356"/>
                  </a:lnTo>
                  <a:lnTo>
                    <a:pt x="1215108" y="1353296"/>
                  </a:lnTo>
                  <a:lnTo>
                    <a:pt x="1210344" y="1348530"/>
                  </a:lnTo>
                  <a:lnTo>
                    <a:pt x="1176988" y="1310410"/>
                  </a:lnTo>
                  <a:lnTo>
                    <a:pt x="1143632" y="1286584"/>
                  </a:lnTo>
                  <a:lnTo>
                    <a:pt x="1105508" y="1257992"/>
                  </a:lnTo>
                  <a:lnTo>
                    <a:pt x="1081684" y="1243698"/>
                  </a:lnTo>
                  <a:lnTo>
                    <a:pt x="1043564" y="1210342"/>
                  </a:lnTo>
                  <a:lnTo>
                    <a:pt x="1024504" y="1196046"/>
                  </a:lnTo>
                  <a:lnTo>
                    <a:pt x="1014972" y="1191280"/>
                  </a:lnTo>
                  <a:lnTo>
                    <a:pt x="1010208" y="1176986"/>
                  </a:lnTo>
                  <a:lnTo>
                    <a:pt x="1000676" y="1115040"/>
                  </a:lnTo>
                  <a:lnTo>
                    <a:pt x="986380" y="1086448"/>
                  </a:lnTo>
                  <a:lnTo>
                    <a:pt x="972088" y="1072152"/>
                  </a:lnTo>
                  <a:lnTo>
                    <a:pt x="953024" y="1043562"/>
                  </a:lnTo>
                  <a:lnTo>
                    <a:pt x="943496" y="1000676"/>
                  </a:lnTo>
                  <a:lnTo>
                    <a:pt x="933964" y="972086"/>
                  </a:lnTo>
                  <a:lnTo>
                    <a:pt x="924436" y="957790"/>
                  </a:lnTo>
                  <a:lnTo>
                    <a:pt x="910140" y="943494"/>
                  </a:lnTo>
                  <a:lnTo>
                    <a:pt x="886312" y="929200"/>
                  </a:lnTo>
                  <a:lnTo>
                    <a:pt x="862488" y="919668"/>
                  </a:lnTo>
                  <a:lnTo>
                    <a:pt x="852956" y="919668"/>
                  </a:lnTo>
                  <a:lnTo>
                    <a:pt x="848192" y="924434"/>
                  </a:lnTo>
                  <a:lnTo>
                    <a:pt x="843428" y="924434"/>
                  </a:lnTo>
                  <a:lnTo>
                    <a:pt x="833896" y="938730"/>
                  </a:lnTo>
                  <a:lnTo>
                    <a:pt x="819604" y="938730"/>
                  </a:lnTo>
                  <a:lnTo>
                    <a:pt x="810072" y="938730"/>
                  </a:lnTo>
                  <a:lnTo>
                    <a:pt x="800540" y="933964"/>
                  </a:lnTo>
                  <a:lnTo>
                    <a:pt x="771952" y="929200"/>
                  </a:lnTo>
                  <a:lnTo>
                    <a:pt x="762420" y="929200"/>
                  </a:lnTo>
                  <a:lnTo>
                    <a:pt x="743360" y="929200"/>
                  </a:lnTo>
                  <a:lnTo>
                    <a:pt x="710004" y="933964"/>
                  </a:lnTo>
                  <a:lnTo>
                    <a:pt x="700472" y="933964"/>
                  </a:lnTo>
                  <a:lnTo>
                    <a:pt x="657588" y="905374"/>
                  </a:lnTo>
                  <a:lnTo>
                    <a:pt x="643292" y="895844"/>
                  </a:lnTo>
                  <a:lnTo>
                    <a:pt x="638528" y="891078"/>
                  </a:lnTo>
                  <a:lnTo>
                    <a:pt x="638528" y="881548"/>
                  </a:lnTo>
                  <a:lnTo>
                    <a:pt x="643292" y="867252"/>
                  </a:lnTo>
                  <a:lnTo>
                    <a:pt x="648056" y="852956"/>
                  </a:lnTo>
                  <a:lnTo>
                    <a:pt x="648056" y="843426"/>
                  </a:lnTo>
                  <a:lnTo>
                    <a:pt x="638528" y="833896"/>
                  </a:lnTo>
                  <a:lnTo>
                    <a:pt x="638528" y="819600"/>
                  </a:lnTo>
                  <a:lnTo>
                    <a:pt x="643292" y="814836"/>
                  </a:lnTo>
                  <a:lnTo>
                    <a:pt x="652824" y="814836"/>
                  </a:lnTo>
                  <a:lnTo>
                    <a:pt x="657588" y="810070"/>
                  </a:lnTo>
                  <a:lnTo>
                    <a:pt x="657588" y="805306"/>
                  </a:lnTo>
                  <a:lnTo>
                    <a:pt x="652824" y="800540"/>
                  </a:lnTo>
                  <a:lnTo>
                    <a:pt x="643292" y="791010"/>
                  </a:lnTo>
                  <a:lnTo>
                    <a:pt x="624232" y="781480"/>
                  </a:lnTo>
                  <a:lnTo>
                    <a:pt x="619468" y="776714"/>
                  </a:lnTo>
                  <a:lnTo>
                    <a:pt x="619468" y="771950"/>
                  </a:lnTo>
                  <a:lnTo>
                    <a:pt x="624232" y="767184"/>
                  </a:lnTo>
                  <a:lnTo>
                    <a:pt x="624232" y="757654"/>
                  </a:lnTo>
                  <a:lnTo>
                    <a:pt x="624232" y="743360"/>
                  </a:lnTo>
                  <a:lnTo>
                    <a:pt x="628996" y="733828"/>
                  </a:lnTo>
                  <a:lnTo>
                    <a:pt x="628996" y="729064"/>
                  </a:lnTo>
                  <a:lnTo>
                    <a:pt x="624232" y="724298"/>
                  </a:lnTo>
                  <a:lnTo>
                    <a:pt x="619468" y="719534"/>
                  </a:lnTo>
                  <a:lnTo>
                    <a:pt x="605172" y="705238"/>
                  </a:lnTo>
                  <a:lnTo>
                    <a:pt x="590876" y="705238"/>
                  </a:lnTo>
                  <a:lnTo>
                    <a:pt x="543224" y="705238"/>
                  </a:lnTo>
                  <a:lnTo>
                    <a:pt x="528928" y="700472"/>
                  </a:lnTo>
                  <a:lnTo>
                    <a:pt x="514632" y="695708"/>
                  </a:lnTo>
                  <a:lnTo>
                    <a:pt x="505104" y="667116"/>
                  </a:lnTo>
                  <a:lnTo>
                    <a:pt x="495572" y="662352"/>
                  </a:lnTo>
                  <a:lnTo>
                    <a:pt x="490808" y="657586"/>
                  </a:lnTo>
                  <a:lnTo>
                    <a:pt x="476512" y="657586"/>
                  </a:lnTo>
                  <a:lnTo>
                    <a:pt x="462216" y="657586"/>
                  </a:lnTo>
                  <a:lnTo>
                    <a:pt x="452688" y="652822"/>
                  </a:lnTo>
                  <a:lnTo>
                    <a:pt x="428860" y="628996"/>
                  </a:lnTo>
                  <a:lnTo>
                    <a:pt x="409800" y="605170"/>
                  </a:lnTo>
                  <a:lnTo>
                    <a:pt x="400272" y="624230"/>
                  </a:lnTo>
                  <a:lnTo>
                    <a:pt x="390740" y="628996"/>
                  </a:lnTo>
                  <a:lnTo>
                    <a:pt x="371680" y="628996"/>
                  </a:lnTo>
                  <a:lnTo>
                    <a:pt x="357384" y="624230"/>
                  </a:lnTo>
                  <a:lnTo>
                    <a:pt x="347856" y="628996"/>
                  </a:lnTo>
                  <a:lnTo>
                    <a:pt x="338324" y="638526"/>
                  </a:lnTo>
                  <a:lnTo>
                    <a:pt x="338324" y="643292"/>
                  </a:lnTo>
                  <a:lnTo>
                    <a:pt x="347856" y="648056"/>
                  </a:lnTo>
                  <a:lnTo>
                    <a:pt x="362148" y="657586"/>
                  </a:lnTo>
                  <a:lnTo>
                    <a:pt x="381212" y="686178"/>
                  </a:lnTo>
                  <a:lnTo>
                    <a:pt x="390740" y="700472"/>
                  </a:lnTo>
                  <a:lnTo>
                    <a:pt x="390740" y="705238"/>
                  </a:lnTo>
                  <a:lnTo>
                    <a:pt x="385976" y="710004"/>
                  </a:lnTo>
                  <a:lnTo>
                    <a:pt x="376444" y="710004"/>
                  </a:lnTo>
                  <a:lnTo>
                    <a:pt x="376444" y="705238"/>
                  </a:lnTo>
                  <a:lnTo>
                    <a:pt x="371680" y="695708"/>
                  </a:lnTo>
                  <a:lnTo>
                    <a:pt x="366916" y="686178"/>
                  </a:lnTo>
                  <a:lnTo>
                    <a:pt x="357384" y="681412"/>
                  </a:lnTo>
                  <a:lnTo>
                    <a:pt x="352620" y="676648"/>
                  </a:lnTo>
                  <a:lnTo>
                    <a:pt x="343088" y="671882"/>
                  </a:lnTo>
                  <a:lnTo>
                    <a:pt x="328792" y="667116"/>
                  </a:lnTo>
                  <a:lnTo>
                    <a:pt x="319264" y="667116"/>
                  </a:lnTo>
                  <a:lnTo>
                    <a:pt x="314500" y="671882"/>
                  </a:lnTo>
                  <a:lnTo>
                    <a:pt x="304968" y="681412"/>
                  </a:lnTo>
                  <a:lnTo>
                    <a:pt x="304968" y="700472"/>
                  </a:lnTo>
                  <a:lnTo>
                    <a:pt x="290672" y="719534"/>
                  </a:lnTo>
                  <a:lnTo>
                    <a:pt x="285908" y="729064"/>
                  </a:lnTo>
                  <a:lnTo>
                    <a:pt x="266848" y="733828"/>
                  </a:lnTo>
                  <a:lnTo>
                    <a:pt x="257316" y="733828"/>
                  </a:lnTo>
                  <a:lnTo>
                    <a:pt x="243020" y="714768"/>
                  </a:lnTo>
                  <a:lnTo>
                    <a:pt x="219196" y="700472"/>
                  </a:lnTo>
                  <a:lnTo>
                    <a:pt x="200136" y="705238"/>
                  </a:lnTo>
                  <a:lnTo>
                    <a:pt x="185840" y="729064"/>
                  </a:lnTo>
                  <a:lnTo>
                    <a:pt x="176308" y="776714"/>
                  </a:lnTo>
                  <a:lnTo>
                    <a:pt x="171544" y="781480"/>
                  </a:lnTo>
                  <a:lnTo>
                    <a:pt x="162016" y="786246"/>
                  </a:lnTo>
                  <a:lnTo>
                    <a:pt x="152484" y="800540"/>
                  </a:lnTo>
                  <a:lnTo>
                    <a:pt x="157248" y="838662"/>
                  </a:lnTo>
                  <a:lnTo>
                    <a:pt x="162016" y="886312"/>
                  </a:lnTo>
                  <a:lnTo>
                    <a:pt x="171544" y="895844"/>
                  </a:lnTo>
                  <a:lnTo>
                    <a:pt x="176308" y="900608"/>
                  </a:lnTo>
                  <a:lnTo>
                    <a:pt x="176308" y="905374"/>
                  </a:lnTo>
                  <a:lnTo>
                    <a:pt x="176308" y="910138"/>
                  </a:lnTo>
                  <a:lnTo>
                    <a:pt x="166780" y="914904"/>
                  </a:lnTo>
                  <a:lnTo>
                    <a:pt x="162016" y="924434"/>
                  </a:lnTo>
                  <a:lnTo>
                    <a:pt x="152484" y="924434"/>
                  </a:lnTo>
                  <a:lnTo>
                    <a:pt x="138188" y="919668"/>
                  </a:lnTo>
                  <a:lnTo>
                    <a:pt x="123892" y="919668"/>
                  </a:lnTo>
                  <a:lnTo>
                    <a:pt x="76244" y="914904"/>
                  </a:lnTo>
                  <a:lnTo>
                    <a:pt x="42888" y="914904"/>
                  </a:lnTo>
                  <a:lnTo>
                    <a:pt x="0" y="910138"/>
                  </a:lnTo>
                  <a:lnTo>
                    <a:pt x="0" y="123892"/>
                  </a:lnTo>
                  <a:lnTo>
                    <a:pt x="19060" y="119128"/>
                  </a:lnTo>
                  <a:lnTo>
                    <a:pt x="42888" y="109596"/>
                  </a:lnTo>
                  <a:lnTo>
                    <a:pt x="66712" y="104832"/>
                  </a:lnTo>
                  <a:lnTo>
                    <a:pt x="95304" y="95302"/>
                  </a:lnTo>
                  <a:lnTo>
                    <a:pt x="128660" y="85772"/>
                  </a:lnTo>
                  <a:lnTo>
                    <a:pt x="152484" y="76242"/>
                  </a:lnTo>
                  <a:lnTo>
                    <a:pt x="185840" y="66710"/>
                  </a:lnTo>
                  <a:lnTo>
                    <a:pt x="209664" y="57180"/>
                  </a:lnTo>
                  <a:lnTo>
                    <a:pt x="233492" y="47650"/>
                  </a:lnTo>
                  <a:lnTo>
                    <a:pt x="262084" y="38120"/>
                  </a:lnTo>
                  <a:lnTo>
                    <a:pt x="309732" y="28590"/>
                  </a:lnTo>
                  <a:lnTo>
                    <a:pt x="333560" y="19060"/>
                  </a:lnTo>
                  <a:lnTo>
                    <a:pt x="362148" y="9530"/>
                  </a:lnTo>
                  <a:lnTo>
                    <a:pt x="385976" y="4764"/>
                  </a:lnTo>
                  <a:close/>
                </a:path>
              </a:pathLst>
            </a:custGeom>
            <a:no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7" name="Freeform 6852">
              <a:extLst>
                <a:ext uri="{FF2B5EF4-FFF2-40B4-BE49-F238E27FC236}">
                  <a16:creationId xmlns:a16="http://schemas.microsoft.com/office/drawing/2014/main" id="{9332C35F-6F9F-47E4-8174-A99403C535DD}"/>
                </a:ext>
              </a:extLst>
            </p:cNvPr>
            <p:cNvSpPr/>
            <p:nvPr/>
          </p:nvSpPr>
          <p:spPr bwMode="auto">
            <a:xfrm>
              <a:off x="7081491" y="4270827"/>
              <a:ext cx="2313" cy="3084"/>
            </a:xfrm>
            <a:custGeom>
              <a:avLst/>
              <a:gdLst>
                <a:gd name="T0" fmla="*/ 0 w 6"/>
                <a:gd name="T1" fmla="*/ 4 h 8"/>
                <a:gd name="T2" fmla="*/ 0 w 6"/>
                <a:gd name="T3" fmla="*/ 2 h 8"/>
                <a:gd name="T4" fmla="*/ 0 w 6"/>
                <a:gd name="T5" fmla="*/ 0 h 8"/>
                <a:gd name="T6" fmla="*/ 4 w 6"/>
                <a:gd name="T7" fmla="*/ 2 h 8"/>
                <a:gd name="T8" fmla="*/ 6 w 6"/>
                <a:gd name="T9" fmla="*/ 6 h 8"/>
                <a:gd name="T10" fmla="*/ 6 w 6"/>
                <a:gd name="T11" fmla="*/ 8 h 8"/>
                <a:gd name="T12" fmla="*/ 4 w 6"/>
                <a:gd name="T13" fmla="*/ 8 h 8"/>
                <a:gd name="T14" fmla="*/ 0 w 6"/>
                <a:gd name="T15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8">
                  <a:moveTo>
                    <a:pt x="0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4" y="2"/>
                  </a:lnTo>
                  <a:lnTo>
                    <a:pt x="6" y="6"/>
                  </a:lnTo>
                  <a:lnTo>
                    <a:pt x="6" y="8"/>
                  </a:lnTo>
                  <a:lnTo>
                    <a:pt x="4" y="8"/>
                  </a:lnTo>
                  <a:lnTo>
                    <a:pt x="0" y="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8" name="Line 6853">
              <a:extLst>
                <a:ext uri="{FF2B5EF4-FFF2-40B4-BE49-F238E27FC236}">
                  <a16:creationId xmlns:a16="http://schemas.microsoft.com/office/drawing/2014/main" id="{C4EDFB98-6B68-4EF6-AD89-5FAE7A398C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081491" y="4272368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9" name="Freeform 6856">
              <a:extLst>
                <a:ext uri="{FF2B5EF4-FFF2-40B4-BE49-F238E27FC236}">
                  <a16:creationId xmlns:a16="http://schemas.microsoft.com/office/drawing/2014/main" id="{95D8F78B-C13D-43ED-AFA7-3A9E2063C469}"/>
                </a:ext>
              </a:extLst>
            </p:cNvPr>
            <p:cNvSpPr/>
            <p:nvPr/>
          </p:nvSpPr>
          <p:spPr bwMode="auto">
            <a:xfrm>
              <a:off x="3748220" y="5084872"/>
              <a:ext cx="771" cy="1542"/>
            </a:xfrm>
            <a:custGeom>
              <a:avLst/>
              <a:gdLst>
                <a:gd name="T0" fmla="*/ 2 w 2"/>
                <a:gd name="T1" fmla="*/ 4 h 4"/>
                <a:gd name="T2" fmla="*/ 2 w 2"/>
                <a:gd name="T3" fmla="*/ 2 h 4"/>
                <a:gd name="T4" fmla="*/ 2 w 2"/>
                <a:gd name="T5" fmla="*/ 2 h 4"/>
                <a:gd name="T6" fmla="*/ 2 w 2"/>
                <a:gd name="T7" fmla="*/ 2 h 4"/>
                <a:gd name="T8" fmla="*/ 2 w 2"/>
                <a:gd name="T9" fmla="*/ 2 h 4"/>
                <a:gd name="T10" fmla="*/ 2 w 2"/>
                <a:gd name="T11" fmla="*/ 0 h 4"/>
                <a:gd name="T12" fmla="*/ 2 w 2"/>
                <a:gd name="T13" fmla="*/ 0 h 4"/>
                <a:gd name="T14" fmla="*/ 2 w 2"/>
                <a:gd name="T15" fmla="*/ 0 h 4"/>
                <a:gd name="T16" fmla="*/ 0 w 2"/>
                <a:gd name="T17" fmla="*/ 2 h 4"/>
                <a:gd name="T18" fmla="*/ 0 w 2"/>
                <a:gd name="T19" fmla="*/ 2 h 4"/>
                <a:gd name="T20" fmla="*/ 2 w 2"/>
                <a:gd name="T21" fmla="*/ 2 h 4"/>
                <a:gd name="T22" fmla="*/ 0 w 2"/>
                <a:gd name="T23" fmla="*/ 2 h 4"/>
                <a:gd name="T24" fmla="*/ 0 w 2"/>
                <a:gd name="T25" fmla="*/ 2 h 4"/>
                <a:gd name="T26" fmla="*/ 0 w 2"/>
                <a:gd name="T27" fmla="*/ 4 h 4"/>
                <a:gd name="T28" fmla="*/ 2 w 2"/>
                <a:gd name="T2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0" name="Freeform 6857">
              <a:extLst>
                <a:ext uri="{FF2B5EF4-FFF2-40B4-BE49-F238E27FC236}">
                  <a16:creationId xmlns:a16="http://schemas.microsoft.com/office/drawing/2014/main" id="{CB91A5F5-0BEF-4CBE-B003-B4A43B091A4C}"/>
                </a:ext>
              </a:extLst>
            </p:cNvPr>
            <p:cNvSpPr/>
            <p:nvPr/>
          </p:nvSpPr>
          <p:spPr bwMode="auto">
            <a:xfrm>
              <a:off x="3750533" y="5077164"/>
              <a:ext cx="1542" cy="1542"/>
            </a:xfrm>
            <a:custGeom>
              <a:avLst/>
              <a:gdLst>
                <a:gd name="T0" fmla="*/ 2 w 4"/>
                <a:gd name="T1" fmla="*/ 4 h 4"/>
                <a:gd name="T2" fmla="*/ 4 w 4"/>
                <a:gd name="T3" fmla="*/ 2 h 4"/>
                <a:gd name="T4" fmla="*/ 4 w 4"/>
                <a:gd name="T5" fmla="*/ 0 h 4"/>
                <a:gd name="T6" fmla="*/ 4 w 4"/>
                <a:gd name="T7" fmla="*/ 0 h 4"/>
                <a:gd name="T8" fmla="*/ 4 w 4"/>
                <a:gd name="T9" fmla="*/ 0 h 4"/>
                <a:gd name="T10" fmla="*/ 4 w 4"/>
                <a:gd name="T11" fmla="*/ 0 h 4"/>
                <a:gd name="T12" fmla="*/ 4 w 4"/>
                <a:gd name="T13" fmla="*/ 0 h 4"/>
                <a:gd name="T14" fmla="*/ 2 w 4"/>
                <a:gd name="T15" fmla="*/ 2 h 4"/>
                <a:gd name="T16" fmla="*/ 0 w 4"/>
                <a:gd name="T17" fmla="*/ 2 h 4"/>
                <a:gd name="T18" fmla="*/ 0 w 4"/>
                <a:gd name="T19" fmla="*/ 2 h 4"/>
                <a:gd name="T20" fmla="*/ 2 w 4"/>
                <a:gd name="T21" fmla="*/ 2 h 4"/>
                <a:gd name="T22" fmla="*/ 2 w 4"/>
                <a:gd name="T23" fmla="*/ 4 h 4"/>
                <a:gd name="T24" fmla="*/ 0 w 4"/>
                <a:gd name="T25" fmla="*/ 4 h 4"/>
                <a:gd name="T26" fmla="*/ 0 w 4"/>
                <a:gd name="T27" fmla="*/ 4 h 4"/>
                <a:gd name="T28" fmla="*/ 0 w 4"/>
                <a:gd name="T29" fmla="*/ 4 h 4"/>
                <a:gd name="T30" fmla="*/ 0 w 4"/>
                <a:gd name="T31" fmla="*/ 4 h 4"/>
                <a:gd name="T32" fmla="*/ 0 w 4"/>
                <a:gd name="T33" fmla="*/ 4 h 4"/>
                <a:gd name="T34" fmla="*/ 2 w 4"/>
                <a:gd name="T35" fmla="*/ 4 h 4"/>
                <a:gd name="T36" fmla="*/ 2 w 4"/>
                <a:gd name="T37" fmla="*/ 4 h 4"/>
                <a:gd name="T38" fmla="*/ 2 w 4"/>
                <a:gd name="T39" fmla="*/ 4 h 4"/>
                <a:gd name="T40" fmla="*/ 2 w 4"/>
                <a:gd name="T4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1" name="Freeform 6858">
              <a:extLst>
                <a:ext uri="{FF2B5EF4-FFF2-40B4-BE49-F238E27FC236}">
                  <a16:creationId xmlns:a16="http://schemas.microsoft.com/office/drawing/2014/main" id="{A1FC0643-5A9B-456D-A7E0-2DAD74094BE9}"/>
                </a:ext>
              </a:extLst>
            </p:cNvPr>
            <p:cNvSpPr/>
            <p:nvPr/>
          </p:nvSpPr>
          <p:spPr bwMode="auto">
            <a:xfrm>
              <a:off x="3749762" y="5068684"/>
              <a:ext cx="3854" cy="6167"/>
            </a:xfrm>
            <a:custGeom>
              <a:avLst/>
              <a:gdLst>
                <a:gd name="T0" fmla="*/ 8 w 10"/>
                <a:gd name="T1" fmla="*/ 14 h 16"/>
                <a:gd name="T2" fmla="*/ 10 w 10"/>
                <a:gd name="T3" fmla="*/ 12 h 16"/>
                <a:gd name="T4" fmla="*/ 10 w 10"/>
                <a:gd name="T5" fmla="*/ 6 h 16"/>
                <a:gd name="T6" fmla="*/ 10 w 10"/>
                <a:gd name="T7" fmla="*/ 0 h 16"/>
                <a:gd name="T8" fmla="*/ 8 w 10"/>
                <a:gd name="T9" fmla="*/ 0 h 16"/>
                <a:gd name="T10" fmla="*/ 4 w 10"/>
                <a:gd name="T11" fmla="*/ 2 h 16"/>
                <a:gd name="T12" fmla="*/ 2 w 10"/>
                <a:gd name="T13" fmla="*/ 6 h 16"/>
                <a:gd name="T14" fmla="*/ 0 w 10"/>
                <a:gd name="T15" fmla="*/ 10 h 16"/>
                <a:gd name="T16" fmla="*/ 6 w 10"/>
                <a:gd name="T17" fmla="*/ 16 h 16"/>
                <a:gd name="T18" fmla="*/ 8 w 10"/>
                <a:gd name="T19" fmla="*/ 1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6">
                  <a:moveTo>
                    <a:pt x="8" y="14"/>
                  </a:moveTo>
                  <a:lnTo>
                    <a:pt x="10" y="12"/>
                  </a:lnTo>
                  <a:lnTo>
                    <a:pt x="10" y="6"/>
                  </a:lnTo>
                  <a:lnTo>
                    <a:pt x="10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10"/>
                  </a:lnTo>
                  <a:lnTo>
                    <a:pt x="6" y="16"/>
                  </a:lnTo>
                  <a:lnTo>
                    <a:pt x="8" y="1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2" name="Line 6859">
              <a:extLst>
                <a:ext uri="{FF2B5EF4-FFF2-40B4-BE49-F238E27FC236}">
                  <a16:creationId xmlns:a16="http://schemas.microsoft.com/office/drawing/2014/main" id="{DD4A27AC-EF2B-4B40-94CE-CA9211615E4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52845" y="5074080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3" name="Line 6863">
              <a:extLst>
                <a:ext uri="{FF2B5EF4-FFF2-40B4-BE49-F238E27FC236}">
                  <a16:creationId xmlns:a16="http://schemas.microsoft.com/office/drawing/2014/main" id="{FB243E0B-EFC1-45F4-8122-83CA6078EF9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52845" y="5074080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4" name="Freeform 382">
              <a:extLst>
                <a:ext uri="{FF2B5EF4-FFF2-40B4-BE49-F238E27FC236}">
                  <a16:creationId xmlns:a16="http://schemas.microsoft.com/office/drawing/2014/main" id="{AA0849BA-7898-4D1B-B4C2-6D48522B568C}"/>
                </a:ext>
              </a:extLst>
            </p:cNvPr>
            <p:cNvSpPr/>
            <p:nvPr/>
          </p:nvSpPr>
          <p:spPr bwMode="auto">
            <a:xfrm>
              <a:off x="3444495" y="5099519"/>
              <a:ext cx="342269" cy="292933"/>
            </a:xfrm>
            <a:custGeom>
              <a:avLst/>
              <a:gdLst>
                <a:gd name="connsiteX0" fmla="*/ 1939408 w 2115716"/>
                <a:gd name="connsiteY0" fmla="*/ 495572 h 1810748"/>
                <a:gd name="connsiteX1" fmla="*/ 1944172 w 2115716"/>
                <a:gd name="connsiteY1" fmla="*/ 495572 h 1810748"/>
                <a:gd name="connsiteX2" fmla="*/ 1948938 w 2115716"/>
                <a:gd name="connsiteY2" fmla="*/ 495572 h 1810748"/>
                <a:gd name="connsiteX3" fmla="*/ 1948938 w 2115716"/>
                <a:gd name="connsiteY3" fmla="*/ 500338 h 1810748"/>
                <a:gd name="connsiteX4" fmla="*/ 1953704 w 2115716"/>
                <a:gd name="connsiteY4" fmla="*/ 505104 h 1810748"/>
                <a:gd name="connsiteX5" fmla="*/ 1953704 w 2115716"/>
                <a:gd name="connsiteY5" fmla="*/ 514634 h 1810748"/>
                <a:gd name="connsiteX6" fmla="*/ 1944172 w 2115716"/>
                <a:gd name="connsiteY6" fmla="*/ 519398 h 1810748"/>
                <a:gd name="connsiteX7" fmla="*/ 1934642 w 2115716"/>
                <a:gd name="connsiteY7" fmla="*/ 528928 h 1810748"/>
                <a:gd name="connsiteX8" fmla="*/ 1925112 w 2115716"/>
                <a:gd name="connsiteY8" fmla="*/ 528928 h 1810748"/>
                <a:gd name="connsiteX9" fmla="*/ 1920348 w 2115716"/>
                <a:gd name="connsiteY9" fmla="*/ 514634 h 1810748"/>
                <a:gd name="connsiteX10" fmla="*/ 1925112 w 2115716"/>
                <a:gd name="connsiteY10" fmla="*/ 509868 h 1810748"/>
                <a:gd name="connsiteX11" fmla="*/ 1958468 w 2115716"/>
                <a:gd name="connsiteY11" fmla="*/ 471748 h 1810748"/>
                <a:gd name="connsiteX12" fmla="*/ 1967998 w 2115716"/>
                <a:gd name="connsiteY12" fmla="*/ 471748 h 1810748"/>
                <a:gd name="connsiteX13" fmla="*/ 1972764 w 2115716"/>
                <a:gd name="connsiteY13" fmla="*/ 471748 h 1810748"/>
                <a:gd name="connsiteX14" fmla="*/ 1963232 w 2115716"/>
                <a:gd name="connsiteY14" fmla="*/ 476514 h 1810748"/>
                <a:gd name="connsiteX15" fmla="*/ 1958468 w 2115716"/>
                <a:gd name="connsiteY15" fmla="*/ 481278 h 1810748"/>
                <a:gd name="connsiteX16" fmla="*/ 1944172 w 2115716"/>
                <a:gd name="connsiteY16" fmla="*/ 490808 h 1810748"/>
                <a:gd name="connsiteX17" fmla="*/ 1944172 w 2115716"/>
                <a:gd name="connsiteY17" fmla="*/ 486044 h 1810748"/>
                <a:gd name="connsiteX18" fmla="*/ 1948938 w 2115716"/>
                <a:gd name="connsiteY18" fmla="*/ 476514 h 1810748"/>
                <a:gd name="connsiteX19" fmla="*/ 1958468 w 2115716"/>
                <a:gd name="connsiteY19" fmla="*/ 476514 h 1810748"/>
                <a:gd name="connsiteX20" fmla="*/ 1248464 w 2115716"/>
                <a:gd name="connsiteY20" fmla="*/ 190604 h 1810748"/>
                <a:gd name="connsiteX21" fmla="*/ 1262760 w 2115716"/>
                <a:gd name="connsiteY21" fmla="*/ 190604 h 1810748"/>
                <a:gd name="connsiteX22" fmla="*/ 1272290 w 2115716"/>
                <a:gd name="connsiteY22" fmla="*/ 200136 h 1810748"/>
                <a:gd name="connsiteX23" fmla="*/ 1272290 w 2115716"/>
                <a:gd name="connsiteY23" fmla="*/ 204900 h 1810748"/>
                <a:gd name="connsiteX24" fmla="*/ 1267524 w 2115716"/>
                <a:gd name="connsiteY24" fmla="*/ 204900 h 1810748"/>
                <a:gd name="connsiteX25" fmla="*/ 1248464 w 2115716"/>
                <a:gd name="connsiteY25" fmla="*/ 204900 h 1810748"/>
                <a:gd name="connsiteX26" fmla="*/ 1243700 w 2115716"/>
                <a:gd name="connsiteY26" fmla="*/ 200136 h 1810748"/>
                <a:gd name="connsiteX27" fmla="*/ 1481954 w 2115716"/>
                <a:gd name="connsiteY27" fmla="*/ 162016 h 1810748"/>
                <a:gd name="connsiteX28" fmla="*/ 1486720 w 2115716"/>
                <a:gd name="connsiteY28" fmla="*/ 166780 h 1810748"/>
                <a:gd name="connsiteX29" fmla="*/ 1491484 w 2115716"/>
                <a:gd name="connsiteY29" fmla="*/ 185840 h 1810748"/>
                <a:gd name="connsiteX30" fmla="*/ 1491484 w 2115716"/>
                <a:gd name="connsiteY30" fmla="*/ 190606 h 1810748"/>
                <a:gd name="connsiteX31" fmla="*/ 1477190 w 2115716"/>
                <a:gd name="connsiteY31" fmla="*/ 204900 h 1810748"/>
                <a:gd name="connsiteX32" fmla="*/ 1462894 w 2115716"/>
                <a:gd name="connsiteY32" fmla="*/ 204900 h 1810748"/>
                <a:gd name="connsiteX33" fmla="*/ 1453364 w 2115716"/>
                <a:gd name="connsiteY33" fmla="*/ 204900 h 1810748"/>
                <a:gd name="connsiteX34" fmla="*/ 1448600 w 2115716"/>
                <a:gd name="connsiteY34" fmla="*/ 204900 h 1810748"/>
                <a:gd name="connsiteX35" fmla="*/ 1439068 w 2115716"/>
                <a:gd name="connsiteY35" fmla="*/ 195370 h 1810748"/>
                <a:gd name="connsiteX36" fmla="*/ 1429538 w 2115716"/>
                <a:gd name="connsiteY36" fmla="*/ 195370 h 1810748"/>
                <a:gd name="connsiteX37" fmla="*/ 1405714 w 2115716"/>
                <a:gd name="connsiteY37" fmla="*/ 195370 h 1810748"/>
                <a:gd name="connsiteX38" fmla="*/ 1400948 w 2115716"/>
                <a:gd name="connsiteY38" fmla="*/ 190606 h 1810748"/>
                <a:gd name="connsiteX39" fmla="*/ 1410478 w 2115716"/>
                <a:gd name="connsiteY39" fmla="*/ 181076 h 1810748"/>
                <a:gd name="connsiteX40" fmla="*/ 1424774 w 2115716"/>
                <a:gd name="connsiteY40" fmla="*/ 176310 h 1810748"/>
                <a:gd name="connsiteX41" fmla="*/ 1429538 w 2115716"/>
                <a:gd name="connsiteY41" fmla="*/ 176310 h 1810748"/>
                <a:gd name="connsiteX42" fmla="*/ 1434304 w 2115716"/>
                <a:gd name="connsiteY42" fmla="*/ 181076 h 1810748"/>
                <a:gd name="connsiteX43" fmla="*/ 1443834 w 2115716"/>
                <a:gd name="connsiteY43" fmla="*/ 185840 h 1810748"/>
                <a:gd name="connsiteX44" fmla="*/ 1458130 w 2115716"/>
                <a:gd name="connsiteY44" fmla="*/ 185840 h 1810748"/>
                <a:gd name="connsiteX45" fmla="*/ 1462894 w 2115716"/>
                <a:gd name="connsiteY45" fmla="*/ 176310 h 1810748"/>
                <a:gd name="connsiteX46" fmla="*/ 524164 w 2115716"/>
                <a:gd name="connsiteY46" fmla="*/ 0 h 1810748"/>
                <a:gd name="connsiteX47" fmla="*/ 538460 w 2115716"/>
                <a:gd name="connsiteY47" fmla="*/ 9530 h 1810748"/>
                <a:gd name="connsiteX48" fmla="*/ 547990 w 2115716"/>
                <a:gd name="connsiteY48" fmla="*/ 19060 h 1810748"/>
                <a:gd name="connsiteX49" fmla="*/ 552754 w 2115716"/>
                <a:gd name="connsiteY49" fmla="*/ 28590 h 1810748"/>
                <a:gd name="connsiteX50" fmla="*/ 557520 w 2115716"/>
                <a:gd name="connsiteY50" fmla="*/ 57182 h 1810748"/>
                <a:gd name="connsiteX51" fmla="*/ 562284 w 2115716"/>
                <a:gd name="connsiteY51" fmla="*/ 81008 h 1810748"/>
                <a:gd name="connsiteX52" fmla="*/ 571816 w 2115716"/>
                <a:gd name="connsiteY52" fmla="*/ 100068 h 1810748"/>
                <a:gd name="connsiteX53" fmla="*/ 586110 w 2115716"/>
                <a:gd name="connsiteY53" fmla="*/ 109598 h 1810748"/>
                <a:gd name="connsiteX54" fmla="*/ 595640 w 2115716"/>
                <a:gd name="connsiteY54" fmla="*/ 109598 h 1810748"/>
                <a:gd name="connsiteX55" fmla="*/ 600406 w 2115716"/>
                <a:gd name="connsiteY55" fmla="*/ 109598 h 1810748"/>
                <a:gd name="connsiteX56" fmla="*/ 648058 w 2115716"/>
                <a:gd name="connsiteY56" fmla="*/ 104832 h 1810748"/>
                <a:gd name="connsiteX57" fmla="*/ 676648 w 2115716"/>
                <a:gd name="connsiteY57" fmla="*/ 114364 h 1810748"/>
                <a:gd name="connsiteX58" fmla="*/ 710004 w 2115716"/>
                <a:gd name="connsiteY58" fmla="*/ 119128 h 1810748"/>
                <a:gd name="connsiteX59" fmla="*/ 743360 w 2115716"/>
                <a:gd name="connsiteY59" fmla="*/ 138188 h 1810748"/>
                <a:gd name="connsiteX60" fmla="*/ 776716 w 2115716"/>
                <a:gd name="connsiteY60" fmla="*/ 162014 h 1810748"/>
                <a:gd name="connsiteX61" fmla="*/ 786246 w 2115716"/>
                <a:gd name="connsiteY61" fmla="*/ 181074 h 1810748"/>
                <a:gd name="connsiteX62" fmla="*/ 791010 w 2115716"/>
                <a:gd name="connsiteY62" fmla="*/ 195370 h 1810748"/>
                <a:gd name="connsiteX63" fmla="*/ 795776 w 2115716"/>
                <a:gd name="connsiteY63" fmla="*/ 204900 h 1810748"/>
                <a:gd name="connsiteX64" fmla="*/ 791010 w 2115716"/>
                <a:gd name="connsiteY64" fmla="*/ 219196 h 1810748"/>
                <a:gd name="connsiteX65" fmla="*/ 791010 w 2115716"/>
                <a:gd name="connsiteY65" fmla="*/ 238256 h 1810748"/>
                <a:gd name="connsiteX66" fmla="*/ 800542 w 2115716"/>
                <a:gd name="connsiteY66" fmla="*/ 257316 h 1810748"/>
                <a:gd name="connsiteX67" fmla="*/ 819602 w 2115716"/>
                <a:gd name="connsiteY67" fmla="*/ 266848 h 1810748"/>
                <a:gd name="connsiteX68" fmla="*/ 857722 w 2115716"/>
                <a:gd name="connsiteY68" fmla="*/ 271612 h 1810748"/>
                <a:gd name="connsiteX69" fmla="*/ 905374 w 2115716"/>
                <a:gd name="connsiteY69" fmla="*/ 262082 h 1810748"/>
                <a:gd name="connsiteX70" fmla="*/ 976850 w 2115716"/>
                <a:gd name="connsiteY70" fmla="*/ 257316 h 1810748"/>
                <a:gd name="connsiteX71" fmla="*/ 995912 w 2115716"/>
                <a:gd name="connsiteY71" fmla="*/ 252552 h 1810748"/>
                <a:gd name="connsiteX72" fmla="*/ 1115040 w 2115716"/>
                <a:gd name="connsiteY72" fmla="*/ 247786 h 1810748"/>
                <a:gd name="connsiteX73" fmla="*/ 1134100 w 2115716"/>
                <a:gd name="connsiteY73" fmla="*/ 257316 h 1810748"/>
                <a:gd name="connsiteX74" fmla="*/ 1138866 w 2115716"/>
                <a:gd name="connsiteY74" fmla="*/ 266848 h 1810748"/>
                <a:gd name="connsiteX75" fmla="*/ 1138866 w 2115716"/>
                <a:gd name="connsiteY75" fmla="*/ 271612 h 1810748"/>
                <a:gd name="connsiteX76" fmla="*/ 1172220 w 2115716"/>
                <a:gd name="connsiteY76" fmla="*/ 304968 h 1810748"/>
                <a:gd name="connsiteX77" fmla="*/ 1205576 w 2115716"/>
                <a:gd name="connsiteY77" fmla="*/ 309734 h 1810748"/>
                <a:gd name="connsiteX78" fmla="*/ 1229402 w 2115716"/>
                <a:gd name="connsiteY78" fmla="*/ 319264 h 1810748"/>
                <a:gd name="connsiteX79" fmla="*/ 1257994 w 2115716"/>
                <a:gd name="connsiteY79" fmla="*/ 328794 h 1810748"/>
                <a:gd name="connsiteX80" fmla="*/ 1286584 w 2115716"/>
                <a:gd name="connsiteY80" fmla="*/ 333558 h 1810748"/>
                <a:gd name="connsiteX81" fmla="*/ 1305644 w 2115716"/>
                <a:gd name="connsiteY81" fmla="*/ 333558 h 1810748"/>
                <a:gd name="connsiteX82" fmla="*/ 1315174 w 2115716"/>
                <a:gd name="connsiteY82" fmla="*/ 333558 h 1810748"/>
                <a:gd name="connsiteX83" fmla="*/ 1329470 w 2115716"/>
                <a:gd name="connsiteY83" fmla="*/ 333558 h 1810748"/>
                <a:gd name="connsiteX84" fmla="*/ 1434304 w 2115716"/>
                <a:gd name="connsiteY84" fmla="*/ 276378 h 1810748"/>
                <a:gd name="connsiteX85" fmla="*/ 1491484 w 2115716"/>
                <a:gd name="connsiteY85" fmla="*/ 276378 h 1810748"/>
                <a:gd name="connsiteX86" fmla="*/ 1496250 w 2115716"/>
                <a:gd name="connsiteY86" fmla="*/ 271612 h 1810748"/>
                <a:gd name="connsiteX87" fmla="*/ 1505780 w 2115716"/>
                <a:gd name="connsiteY87" fmla="*/ 266848 h 1810748"/>
                <a:gd name="connsiteX88" fmla="*/ 1486720 w 2115716"/>
                <a:gd name="connsiteY88" fmla="*/ 257316 h 1810748"/>
                <a:gd name="connsiteX89" fmla="*/ 1439068 w 2115716"/>
                <a:gd name="connsiteY89" fmla="*/ 257316 h 1810748"/>
                <a:gd name="connsiteX90" fmla="*/ 1424772 w 2115716"/>
                <a:gd name="connsiteY90" fmla="*/ 262082 h 1810748"/>
                <a:gd name="connsiteX91" fmla="*/ 1415242 w 2115716"/>
                <a:gd name="connsiteY91" fmla="*/ 247786 h 1810748"/>
                <a:gd name="connsiteX92" fmla="*/ 1434304 w 2115716"/>
                <a:gd name="connsiteY92" fmla="*/ 247786 h 1810748"/>
                <a:gd name="connsiteX93" fmla="*/ 1481954 w 2115716"/>
                <a:gd name="connsiteY93" fmla="*/ 243022 h 1810748"/>
                <a:gd name="connsiteX94" fmla="*/ 1543900 w 2115716"/>
                <a:gd name="connsiteY94" fmla="*/ 243022 h 1810748"/>
                <a:gd name="connsiteX95" fmla="*/ 1591552 w 2115716"/>
                <a:gd name="connsiteY95" fmla="*/ 233492 h 1810748"/>
                <a:gd name="connsiteX96" fmla="*/ 1615378 w 2115716"/>
                <a:gd name="connsiteY96" fmla="*/ 233492 h 1810748"/>
                <a:gd name="connsiteX97" fmla="*/ 1629674 w 2115716"/>
                <a:gd name="connsiteY97" fmla="*/ 233492 h 1810748"/>
                <a:gd name="connsiteX98" fmla="*/ 1667794 w 2115716"/>
                <a:gd name="connsiteY98" fmla="*/ 228726 h 1810748"/>
                <a:gd name="connsiteX99" fmla="*/ 1739272 w 2115716"/>
                <a:gd name="connsiteY99" fmla="*/ 238256 h 1810748"/>
                <a:gd name="connsiteX100" fmla="*/ 1796452 w 2115716"/>
                <a:gd name="connsiteY100" fmla="*/ 228726 h 1810748"/>
                <a:gd name="connsiteX101" fmla="*/ 1786922 w 2115716"/>
                <a:gd name="connsiteY101" fmla="*/ 238256 h 1810748"/>
                <a:gd name="connsiteX102" fmla="*/ 1767862 w 2115716"/>
                <a:gd name="connsiteY102" fmla="*/ 243022 h 1810748"/>
                <a:gd name="connsiteX103" fmla="*/ 1739272 w 2115716"/>
                <a:gd name="connsiteY103" fmla="*/ 247786 h 1810748"/>
                <a:gd name="connsiteX104" fmla="*/ 1715446 w 2115716"/>
                <a:gd name="connsiteY104" fmla="*/ 262082 h 1810748"/>
                <a:gd name="connsiteX105" fmla="*/ 1667794 w 2115716"/>
                <a:gd name="connsiteY105" fmla="*/ 257316 h 1810748"/>
                <a:gd name="connsiteX106" fmla="*/ 1634438 w 2115716"/>
                <a:gd name="connsiteY106" fmla="*/ 262082 h 1810748"/>
                <a:gd name="connsiteX107" fmla="*/ 1643968 w 2115716"/>
                <a:gd name="connsiteY107" fmla="*/ 266848 h 1810748"/>
                <a:gd name="connsiteX108" fmla="*/ 1643968 w 2115716"/>
                <a:gd name="connsiteY108" fmla="*/ 281142 h 1810748"/>
                <a:gd name="connsiteX109" fmla="*/ 1648734 w 2115716"/>
                <a:gd name="connsiteY109" fmla="*/ 281142 h 1810748"/>
                <a:gd name="connsiteX110" fmla="*/ 1653498 w 2115716"/>
                <a:gd name="connsiteY110" fmla="*/ 281142 h 1810748"/>
                <a:gd name="connsiteX111" fmla="*/ 1667794 w 2115716"/>
                <a:gd name="connsiteY111" fmla="*/ 295438 h 1810748"/>
                <a:gd name="connsiteX112" fmla="*/ 1667794 w 2115716"/>
                <a:gd name="connsiteY112" fmla="*/ 300202 h 1810748"/>
                <a:gd name="connsiteX113" fmla="*/ 1672560 w 2115716"/>
                <a:gd name="connsiteY113" fmla="*/ 314498 h 1810748"/>
                <a:gd name="connsiteX114" fmla="*/ 1667794 w 2115716"/>
                <a:gd name="connsiteY114" fmla="*/ 333558 h 1810748"/>
                <a:gd name="connsiteX115" fmla="*/ 1658264 w 2115716"/>
                <a:gd name="connsiteY115" fmla="*/ 338324 h 1810748"/>
                <a:gd name="connsiteX116" fmla="*/ 1672560 w 2115716"/>
                <a:gd name="connsiteY116" fmla="*/ 333558 h 1810748"/>
                <a:gd name="connsiteX117" fmla="*/ 1682090 w 2115716"/>
                <a:gd name="connsiteY117" fmla="*/ 328794 h 1810748"/>
                <a:gd name="connsiteX118" fmla="*/ 1682090 w 2115716"/>
                <a:gd name="connsiteY118" fmla="*/ 319264 h 1810748"/>
                <a:gd name="connsiteX119" fmla="*/ 1682090 w 2115716"/>
                <a:gd name="connsiteY119" fmla="*/ 309734 h 1810748"/>
                <a:gd name="connsiteX120" fmla="*/ 1691620 w 2115716"/>
                <a:gd name="connsiteY120" fmla="*/ 314498 h 1810748"/>
                <a:gd name="connsiteX121" fmla="*/ 1696384 w 2115716"/>
                <a:gd name="connsiteY121" fmla="*/ 319264 h 1810748"/>
                <a:gd name="connsiteX122" fmla="*/ 1715446 w 2115716"/>
                <a:gd name="connsiteY122" fmla="*/ 362150 h 1810748"/>
                <a:gd name="connsiteX123" fmla="*/ 1724976 w 2115716"/>
                <a:gd name="connsiteY123" fmla="*/ 381210 h 1810748"/>
                <a:gd name="connsiteX124" fmla="*/ 1729740 w 2115716"/>
                <a:gd name="connsiteY124" fmla="*/ 381210 h 1810748"/>
                <a:gd name="connsiteX125" fmla="*/ 1734506 w 2115716"/>
                <a:gd name="connsiteY125" fmla="*/ 381210 h 1810748"/>
                <a:gd name="connsiteX126" fmla="*/ 1734506 w 2115716"/>
                <a:gd name="connsiteY126" fmla="*/ 376444 h 1810748"/>
                <a:gd name="connsiteX127" fmla="*/ 1739272 w 2115716"/>
                <a:gd name="connsiteY127" fmla="*/ 366914 h 1810748"/>
                <a:gd name="connsiteX128" fmla="*/ 1748802 w 2115716"/>
                <a:gd name="connsiteY128" fmla="*/ 371680 h 1810748"/>
                <a:gd name="connsiteX129" fmla="*/ 1748802 w 2115716"/>
                <a:gd name="connsiteY129" fmla="*/ 376444 h 1810748"/>
                <a:gd name="connsiteX130" fmla="*/ 1753566 w 2115716"/>
                <a:gd name="connsiteY130" fmla="*/ 376444 h 1810748"/>
                <a:gd name="connsiteX131" fmla="*/ 1748802 w 2115716"/>
                <a:gd name="connsiteY131" fmla="*/ 366914 h 1810748"/>
                <a:gd name="connsiteX132" fmla="*/ 1753566 w 2115716"/>
                <a:gd name="connsiteY132" fmla="*/ 352620 h 1810748"/>
                <a:gd name="connsiteX133" fmla="*/ 1753566 w 2115716"/>
                <a:gd name="connsiteY133" fmla="*/ 347854 h 1810748"/>
                <a:gd name="connsiteX134" fmla="*/ 1758332 w 2115716"/>
                <a:gd name="connsiteY134" fmla="*/ 347854 h 1810748"/>
                <a:gd name="connsiteX135" fmla="*/ 1763096 w 2115716"/>
                <a:gd name="connsiteY135" fmla="*/ 352620 h 1810748"/>
                <a:gd name="connsiteX136" fmla="*/ 1772626 w 2115716"/>
                <a:gd name="connsiteY136" fmla="*/ 352620 h 1810748"/>
                <a:gd name="connsiteX137" fmla="*/ 1791688 w 2115716"/>
                <a:gd name="connsiteY137" fmla="*/ 366914 h 1810748"/>
                <a:gd name="connsiteX138" fmla="*/ 1801218 w 2115716"/>
                <a:gd name="connsiteY138" fmla="*/ 381210 h 1810748"/>
                <a:gd name="connsiteX139" fmla="*/ 1801218 w 2115716"/>
                <a:gd name="connsiteY139" fmla="*/ 390740 h 1810748"/>
                <a:gd name="connsiteX140" fmla="*/ 1805982 w 2115716"/>
                <a:gd name="connsiteY140" fmla="*/ 395506 h 1810748"/>
                <a:gd name="connsiteX141" fmla="*/ 1815512 w 2115716"/>
                <a:gd name="connsiteY141" fmla="*/ 400270 h 1810748"/>
                <a:gd name="connsiteX142" fmla="*/ 1815512 w 2115716"/>
                <a:gd name="connsiteY142" fmla="*/ 405036 h 1810748"/>
                <a:gd name="connsiteX143" fmla="*/ 1820278 w 2115716"/>
                <a:gd name="connsiteY143" fmla="*/ 395506 h 1810748"/>
                <a:gd name="connsiteX144" fmla="*/ 1815512 w 2115716"/>
                <a:gd name="connsiteY144" fmla="*/ 385976 h 1810748"/>
                <a:gd name="connsiteX145" fmla="*/ 1810748 w 2115716"/>
                <a:gd name="connsiteY145" fmla="*/ 376444 h 1810748"/>
                <a:gd name="connsiteX146" fmla="*/ 1834574 w 2115716"/>
                <a:gd name="connsiteY146" fmla="*/ 376444 h 1810748"/>
                <a:gd name="connsiteX147" fmla="*/ 1839338 w 2115716"/>
                <a:gd name="connsiteY147" fmla="*/ 362150 h 1810748"/>
                <a:gd name="connsiteX148" fmla="*/ 1853634 w 2115716"/>
                <a:gd name="connsiteY148" fmla="*/ 371680 h 1810748"/>
                <a:gd name="connsiteX149" fmla="*/ 1882224 w 2115716"/>
                <a:gd name="connsiteY149" fmla="*/ 405036 h 1810748"/>
                <a:gd name="connsiteX150" fmla="*/ 1896520 w 2115716"/>
                <a:gd name="connsiteY150" fmla="*/ 409800 h 1810748"/>
                <a:gd name="connsiteX151" fmla="*/ 1929876 w 2115716"/>
                <a:gd name="connsiteY151" fmla="*/ 419332 h 1810748"/>
                <a:gd name="connsiteX152" fmla="*/ 1953702 w 2115716"/>
                <a:gd name="connsiteY152" fmla="*/ 433626 h 1810748"/>
                <a:gd name="connsiteX153" fmla="*/ 1963232 w 2115716"/>
                <a:gd name="connsiteY153" fmla="*/ 447922 h 1810748"/>
                <a:gd name="connsiteX154" fmla="*/ 1958466 w 2115716"/>
                <a:gd name="connsiteY154" fmla="*/ 462218 h 1810748"/>
                <a:gd name="connsiteX155" fmla="*/ 1934642 w 2115716"/>
                <a:gd name="connsiteY155" fmla="*/ 471748 h 1810748"/>
                <a:gd name="connsiteX156" fmla="*/ 1929876 w 2115716"/>
                <a:gd name="connsiteY156" fmla="*/ 481278 h 1810748"/>
                <a:gd name="connsiteX157" fmla="*/ 1925112 w 2115716"/>
                <a:gd name="connsiteY157" fmla="*/ 490808 h 1810748"/>
                <a:gd name="connsiteX158" fmla="*/ 1925112 w 2115716"/>
                <a:gd name="connsiteY158" fmla="*/ 500338 h 1810748"/>
                <a:gd name="connsiteX159" fmla="*/ 1915580 w 2115716"/>
                <a:gd name="connsiteY159" fmla="*/ 509868 h 1810748"/>
                <a:gd name="connsiteX160" fmla="*/ 1915580 w 2115716"/>
                <a:gd name="connsiteY160" fmla="*/ 514634 h 1810748"/>
                <a:gd name="connsiteX161" fmla="*/ 1915580 w 2115716"/>
                <a:gd name="connsiteY161" fmla="*/ 528928 h 1810748"/>
                <a:gd name="connsiteX162" fmla="*/ 1906050 w 2115716"/>
                <a:gd name="connsiteY162" fmla="*/ 547990 h 1810748"/>
                <a:gd name="connsiteX163" fmla="*/ 1891756 w 2115716"/>
                <a:gd name="connsiteY163" fmla="*/ 567050 h 1810748"/>
                <a:gd name="connsiteX164" fmla="*/ 1834574 w 2115716"/>
                <a:gd name="connsiteY164" fmla="*/ 567050 h 1810748"/>
                <a:gd name="connsiteX165" fmla="*/ 1848868 w 2115716"/>
                <a:gd name="connsiteY165" fmla="*/ 576580 h 1810748"/>
                <a:gd name="connsiteX166" fmla="*/ 1863164 w 2115716"/>
                <a:gd name="connsiteY166" fmla="*/ 581346 h 1810748"/>
                <a:gd name="connsiteX167" fmla="*/ 1886990 w 2115716"/>
                <a:gd name="connsiteY167" fmla="*/ 600406 h 1810748"/>
                <a:gd name="connsiteX168" fmla="*/ 1901286 w 2115716"/>
                <a:gd name="connsiteY168" fmla="*/ 586110 h 1810748"/>
                <a:gd name="connsiteX169" fmla="*/ 1925112 w 2115716"/>
                <a:gd name="connsiteY169" fmla="*/ 586110 h 1810748"/>
                <a:gd name="connsiteX170" fmla="*/ 1953702 w 2115716"/>
                <a:gd name="connsiteY170" fmla="*/ 571816 h 1810748"/>
                <a:gd name="connsiteX171" fmla="*/ 1963232 w 2115716"/>
                <a:gd name="connsiteY171" fmla="*/ 571816 h 1810748"/>
                <a:gd name="connsiteX172" fmla="*/ 2015648 w 2115716"/>
                <a:gd name="connsiteY172" fmla="*/ 576580 h 1810748"/>
                <a:gd name="connsiteX173" fmla="*/ 2025178 w 2115716"/>
                <a:gd name="connsiteY173" fmla="*/ 567050 h 1810748"/>
                <a:gd name="connsiteX174" fmla="*/ 2034708 w 2115716"/>
                <a:gd name="connsiteY174" fmla="*/ 562284 h 1810748"/>
                <a:gd name="connsiteX175" fmla="*/ 2063300 w 2115716"/>
                <a:gd name="connsiteY175" fmla="*/ 567050 h 1810748"/>
                <a:gd name="connsiteX176" fmla="*/ 2087126 w 2115716"/>
                <a:gd name="connsiteY176" fmla="*/ 576580 h 1810748"/>
                <a:gd name="connsiteX177" fmla="*/ 2115716 w 2115716"/>
                <a:gd name="connsiteY177" fmla="*/ 614702 h 1810748"/>
                <a:gd name="connsiteX178" fmla="*/ 2115716 w 2115716"/>
                <a:gd name="connsiteY178" fmla="*/ 619466 h 1810748"/>
                <a:gd name="connsiteX179" fmla="*/ 2110950 w 2115716"/>
                <a:gd name="connsiteY179" fmla="*/ 624232 h 1810748"/>
                <a:gd name="connsiteX180" fmla="*/ 2091890 w 2115716"/>
                <a:gd name="connsiteY180" fmla="*/ 633762 h 1810748"/>
                <a:gd name="connsiteX181" fmla="*/ 2091890 w 2115716"/>
                <a:gd name="connsiteY181" fmla="*/ 638526 h 1810748"/>
                <a:gd name="connsiteX182" fmla="*/ 2082360 w 2115716"/>
                <a:gd name="connsiteY182" fmla="*/ 652822 h 1810748"/>
                <a:gd name="connsiteX183" fmla="*/ 2063300 w 2115716"/>
                <a:gd name="connsiteY183" fmla="*/ 662352 h 1810748"/>
                <a:gd name="connsiteX184" fmla="*/ 2044240 w 2115716"/>
                <a:gd name="connsiteY184" fmla="*/ 676648 h 1810748"/>
                <a:gd name="connsiteX185" fmla="*/ 2034708 w 2115716"/>
                <a:gd name="connsiteY185" fmla="*/ 686178 h 1810748"/>
                <a:gd name="connsiteX186" fmla="*/ 2029944 w 2115716"/>
                <a:gd name="connsiteY186" fmla="*/ 690944 h 1810748"/>
                <a:gd name="connsiteX187" fmla="*/ 2010884 w 2115716"/>
                <a:gd name="connsiteY187" fmla="*/ 690944 h 1810748"/>
                <a:gd name="connsiteX188" fmla="*/ 2001352 w 2115716"/>
                <a:gd name="connsiteY188" fmla="*/ 700474 h 1810748"/>
                <a:gd name="connsiteX189" fmla="*/ 1991822 w 2115716"/>
                <a:gd name="connsiteY189" fmla="*/ 719534 h 1810748"/>
                <a:gd name="connsiteX190" fmla="*/ 1987058 w 2115716"/>
                <a:gd name="connsiteY190" fmla="*/ 729064 h 1810748"/>
                <a:gd name="connsiteX191" fmla="*/ 1977528 w 2115716"/>
                <a:gd name="connsiteY191" fmla="*/ 733830 h 1810748"/>
                <a:gd name="connsiteX192" fmla="*/ 1977528 w 2115716"/>
                <a:gd name="connsiteY192" fmla="*/ 743360 h 1810748"/>
                <a:gd name="connsiteX193" fmla="*/ 1991822 w 2115716"/>
                <a:gd name="connsiteY193" fmla="*/ 762420 h 1810748"/>
                <a:gd name="connsiteX194" fmla="*/ 1991822 w 2115716"/>
                <a:gd name="connsiteY194" fmla="*/ 771950 h 1810748"/>
                <a:gd name="connsiteX195" fmla="*/ 1987058 w 2115716"/>
                <a:gd name="connsiteY195" fmla="*/ 781480 h 1810748"/>
                <a:gd name="connsiteX196" fmla="*/ 1991822 w 2115716"/>
                <a:gd name="connsiteY196" fmla="*/ 786246 h 1810748"/>
                <a:gd name="connsiteX197" fmla="*/ 1996588 w 2115716"/>
                <a:gd name="connsiteY197" fmla="*/ 795776 h 1810748"/>
                <a:gd name="connsiteX198" fmla="*/ 2006118 w 2115716"/>
                <a:gd name="connsiteY198" fmla="*/ 795776 h 1810748"/>
                <a:gd name="connsiteX199" fmla="*/ 2015648 w 2115716"/>
                <a:gd name="connsiteY199" fmla="*/ 795776 h 1810748"/>
                <a:gd name="connsiteX200" fmla="*/ 2025178 w 2115716"/>
                <a:gd name="connsiteY200" fmla="*/ 795776 h 1810748"/>
                <a:gd name="connsiteX201" fmla="*/ 2034708 w 2115716"/>
                <a:gd name="connsiteY201" fmla="*/ 795776 h 1810748"/>
                <a:gd name="connsiteX202" fmla="*/ 2039474 w 2115716"/>
                <a:gd name="connsiteY202" fmla="*/ 800542 h 1810748"/>
                <a:gd name="connsiteX203" fmla="*/ 2039474 w 2115716"/>
                <a:gd name="connsiteY203" fmla="*/ 805306 h 1810748"/>
                <a:gd name="connsiteX204" fmla="*/ 2034708 w 2115716"/>
                <a:gd name="connsiteY204" fmla="*/ 819602 h 1810748"/>
                <a:gd name="connsiteX205" fmla="*/ 2025178 w 2115716"/>
                <a:gd name="connsiteY205" fmla="*/ 829132 h 1810748"/>
                <a:gd name="connsiteX206" fmla="*/ 1996588 w 2115716"/>
                <a:gd name="connsiteY206" fmla="*/ 843428 h 1810748"/>
                <a:gd name="connsiteX207" fmla="*/ 1982292 w 2115716"/>
                <a:gd name="connsiteY207" fmla="*/ 852958 h 1810748"/>
                <a:gd name="connsiteX208" fmla="*/ 1977528 w 2115716"/>
                <a:gd name="connsiteY208" fmla="*/ 857722 h 1810748"/>
                <a:gd name="connsiteX209" fmla="*/ 1958466 w 2115716"/>
                <a:gd name="connsiteY209" fmla="*/ 852958 h 1810748"/>
                <a:gd name="connsiteX210" fmla="*/ 1953702 w 2115716"/>
                <a:gd name="connsiteY210" fmla="*/ 852958 h 1810748"/>
                <a:gd name="connsiteX211" fmla="*/ 1944172 w 2115716"/>
                <a:gd name="connsiteY211" fmla="*/ 857722 h 1810748"/>
                <a:gd name="connsiteX212" fmla="*/ 1944172 w 2115716"/>
                <a:gd name="connsiteY212" fmla="*/ 862488 h 1810748"/>
                <a:gd name="connsiteX213" fmla="*/ 1929876 w 2115716"/>
                <a:gd name="connsiteY213" fmla="*/ 862488 h 1810748"/>
                <a:gd name="connsiteX214" fmla="*/ 1915580 w 2115716"/>
                <a:gd name="connsiteY214" fmla="*/ 867252 h 1810748"/>
                <a:gd name="connsiteX215" fmla="*/ 1910816 w 2115716"/>
                <a:gd name="connsiteY215" fmla="*/ 867252 h 1810748"/>
                <a:gd name="connsiteX216" fmla="*/ 1906050 w 2115716"/>
                <a:gd name="connsiteY216" fmla="*/ 876784 h 1810748"/>
                <a:gd name="connsiteX217" fmla="*/ 1901286 w 2115716"/>
                <a:gd name="connsiteY217" fmla="*/ 886314 h 1810748"/>
                <a:gd name="connsiteX218" fmla="*/ 1906050 w 2115716"/>
                <a:gd name="connsiteY218" fmla="*/ 895844 h 1810748"/>
                <a:gd name="connsiteX219" fmla="*/ 1910816 w 2115716"/>
                <a:gd name="connsiteY219" fmla="*/ 905374 h 1810748"/>
                <a:gd name="connsiteX220" fmla="*/ 1910816 w 2115716"/>
                <a:gd name="connsiteY220" fmla="*/ 919670 h 1810748"/>
                <a:gd name="connsiteX221" fmla="*/ 1910816 w 2115716"/>
                <a:gd name="connsiteY221" fmla="*/ 943496 h 1810748"/>
                <a:gd name="connsiteX222" fmla="*/ 1906050 w 2115716"/>
                <a:gd name="connsiteY222" fmla="*/ 948260 h 1810748"/>
                <a:gd name="connsiteX223" fmla="*/ 1896520 w 2115716"/>
                <a:gd name="connsiteY223" fmla="*/ 957790 h 1810748"/>
                <a:gd name="connsiteX224" fmla="*/ 1886990 w 2115716"/>
                <a:gd name="connsiteY224" fmla="*/ 972086 h 1810748"/>
                <a:gd name="connsiteX225" fmla="*/ 1872694 w 2115716"/>
                <a:gd name="connsiteY225" fmla="*/ 986382 h 1810748"/>
                <a:gd name="connsiteX226" fmla="*/ 1872694 w 2115716"/>
                <a:gd name="connsiteY226" fmla="*/ 991146 h 1810748"/>
                <a:gd name="connsiteX227" fmla="*/ 1939406 w 2115716"/>
                <a:gd name="connsiteY227" fmla="*/ 1067388 h 1810748"/>
                <a:gd name="connsiteX228" fmla="*/ 1972762 w 2115716"/>
                <a:gd name="connsiteY228" fmla="*/ 1105510 h 1810748"/>
                <a:gd name="connsiteX229" fmla="*/ 1977528 w 2115716"/>
                <a:gd name="connsiteY229" fmla="*/ 1105510 h 1810748"/>
                <a:gd name="connsiteX230" fmla="*/ 1982292 w 2115716"/>
                <a:gd name="connsiteY230" fmla="*/ 1110274 h 1810748"/>
                <a:gd name="connsiteX231" fmla="*/ 1991822 w 2115716"/>
                <a:gd name="connsiteY231" fmla="*/ 1119804 h 1810748"/>
                <a:gd name="connsiteX232" fmla="*/ 1991822 w 2115716"/>
                <a:gd name="connsiteY232" fmla="*/ 1134100 h 1810748"/>
                <a:gd name="connsiteX233" fmla="*/ 1996588 w 2115716"/>
                <a:gd name="connsiteY233" fmla="*/ 1143630 h 1810748"/>
                <a:gd name="connsiteX234" fmla="*/ 1991822 w 2115716"/>
                <a:gd name="connsiteY234" fmla="*/ 1153160 h 1810748"/>
                <a:gd name="connsiteX235" fmla="*/ 1982292 w 2115716"/>
                <a:gd name="connsiteY235" fmla="*/ 1162690 h 1810748"/>
                <a:gd name="connsiteX236" fmla="*/ 1972762 w 2115716"/>
                <a:gd name="connsiteY236" fmla="*/ 1172222 h 1810748"/>
                <a:gd name="connsiteX237" fmla="*/ 1958466 w 2115716"/>
                <a:gd name="connsiteY237" fmla="*/ 1176986 h 1810748"/>
                <a:gd name="connsiteX238" fmla="*/ 1948936 w 2115716"/>
                <a:gd name="connsiteY238" fmla="*/ 1181752 h 1810748"/>
                <a:gd name="connsiteX239" fmla="*/ 1939406 w 2115716"/>
                <a:gd name="connsiteY239" fmla="*/ 1200812 h 1810748"/>
                <a:gd name="connsiteX240" fmla="*/ 1929876 w 2115716"/>
                <a:gd name="connsiteY240" fmla="*/ 1205576 h 1810748"/>
                <a:gd name="connsiteX241" fmla="*/ 1925112 w 2115716"/>
                <a:gd name="connsiteY241" fmla="*/ 1210342 h 1810748"/>
                <a:gd name="connsiteX242" fmla="*/ 1915580 w 2115716"/>
                <a:gd name="connsiteY242" fmla="*/ 1215108 h 1810748"/>
                <a:gd name="connsiteX243" fmla="*/ 1901286 w 2115716"/>
                <a:gd name="connsiteY243" fmla="*/ 1210342 h 1810748"/>
                <a:gd name="connsiteX244" fmla="*/ 1886990 w 2115716"/>
                <a:gd name="connsiteY244" fmla="*/ 1210342 h 1810748"/>
                <a:gd name="connsiteX245" fmla="*/ 1872694 w 2115716"/>
                <a:gd name="connsiteY245" fmla="*/ 1224638 h 1810748"/>
                <a:gd name="connsiteX246" fmla="*/ 1858400 w 2115716"/>
                <a:gd name="connsiteY246" fmla="*/ 1229402 h 1810748"/>
                <a:gd name="connsiteX247" fmla="*/ 1844104 w 2115716"/>
                <a:gd name="connsiteY247" fmla="*/ 1248464 h 1810748"/>
                <a:gd name="connsiteX248" fmla="*/ 1805982 w 2115716"/>
                <a:gd name="connsiteY248" fmla="*/ 1262758 h 1810748"/>
                <a:gd name="connsiteX249" fmla="*/ 1763096 w 2115716"/>
                <a:gd name="connsiteY249" fmla="*/ 1272288 h 1810748"/>
                <a:gd name="connsiteX250" fmla="*/ 1753566 w 2115716"/>
                <a:gd name="connsiteY250" fmla="*/ 1277054 h 1810748"/>
                <a:gd name="connsiteX251" fmla="*/ 1710680 w 2115716"/>
                <a:gd name="connsiteY251" fmla="*/ 1267524 h 1810748"/>
                <a:gd name="connsiteX252" fmla="*/ 1701150 w 2115716"/>
                <a:gd name="connsiteY252" fmla="*/ 1272288 h 1810748"/>
                <a:gd name="connsiteX253" fmla="*/ 1691620 w 2115716"/>
                <a:gd name="connsiteY253" fmla="*/ 1277054 h 1810748"/>
                <a:gd name="connsiteX254" fmla="*/ 1682090 w 2115716"/>
                <a:gd name="connsiteY254" fmla="*/ 1286584 h 1810748"/>
                <a:gd name="connsiteX255" fmla="*/ 1672560 w 2115716"/>
                <a:gd name="connsiteY255" fmla="*/ 1286584 h 1810748"/>
                <a:gd name="connsiteX256" fmla="*/ 1663028 w 2115716"/>
                <a:gd name="connsiteY256" fmla="*/ 1291350 h 1810748"/>
                <a:gd name="connsiteX257" fmla="*/ 1663028 w 2115716"/>
                <a:gd name="connsiteY257" fmla="*/ 1300880 h 1810748"/>
                <a:gd name="connsiteX258" fmla="*/ 1658264 w 2115716"/>
                <a:gd name="connsiteY258" fmla="*/ 1343766 h 1810748"/>
                <a:gd name="connsiteX259" fmla="*/ 1643968 w 2115716"/>
                <a:gd name="connsiteY259" fmla="*/ 1353296 h 1810748"/>
                <a:gd name="connsiteX260" fmla="*/ 1624908 w 2115716"/>
                <a:gd name="connsiteY260" fmla="*/ 1353296 h 1810748"/>
                <a:gd name="connsiteX261" fmla="*/ 1615378 w 2115716"/>
                <a:gd name="connsiteY261" fmla="*/ 1339000 h 1810748"/>
                <a:gd name="connsiteX262" fmla="*/ 1601082 w 2115716"/>
                <a:gd name="connsiteY262" fmla="*/ 1329470 h 1810748"/>
                <a:gd name="connsiteX263" fmla="*/ 1572492 w 2115716"/>
                <a:gd name="connsiteY263" fmla="*/ 1305644 h 1810748"/>
                <a:gd name="connsiteX264" fmla="*/ 1567726 w 2115716"/>
                <a:gd name="connsiteY264" fmla="*/ 1300880 h 1810748"/>
                <a:gd name="connsiteX265" fmla="*/ 1562962 w 2115716"/>
                <a:gd name="connsiteY265" fmla="*/ 1300880 h 1810748"/>
                <a:gd name="connsiteX266" fmla="*/ 1539136 w 2115716"/>
                <a:gd name="connsiteY266" fmla="*/ 1305644 h 1810748"/>
                <a:gd name="connsiteX267" fmla="*/ 1524840 w 2115716"/>
                <a:gd name="connsiteY267" fmla="*/ 1305644 h 1810748"/>
                <a:gd name="connsiteX268" fmla="*/ 1520076 w 2115716"/>
                <a:gd name="connsiteY268" fmla="*/ 1300880 h 1810748"/>
                <a:gd name="connsiteX269" fmla="*/ 1501014 w 2115716"/>
                <a:gd name="connsiteY269" fmla="*/ 1300880 h 1810748"/>
                <a:gd name="connsiteX270" fmla="*/ 1462894 w 2115716"/>
                <a:gd name="connsiteY270" fmla="*/ 1300880 h 1810748"/>
                <a:gd name="connsiteX271" fmla="*/ 1453364 w 2115716"/>
                <a:gd name="connsiteY271" fmla="*/ 1296114 h 1810748"/>
                <a:gd name="connsiteX272" fmla="*/ 1443834 w 2115716"/>
                <a:gd name="connsiteY272" fmla="*/ 1281820 h 1810748"/>
                <a:gd name="connsiteX273" fmla="*/ 1439068 w 2115716"/>
                <a:gd name="connsiteY273" fmla="*/ 1277054 h 1810748"/>
                <a:gd name="connsiteX274" fmla="*/ 1434304 w 2115716"/>
                <a:gd name="connsiteY274" fmla="*/ 1272288 h 1810748"/>
                <a:gd name="connsiteX275" fmla="*/ 1424772 w 2115716"/>
                <a:gd name="connsiteY275" fmla="*/ 1267524 h 1810748"/>
                <a:gd name="connsiteX276" fmla="*/ 1381886 w 2115716"/>
                <a:gd name="connsiteY276" fmla="*/ 1272288 h 1810748"/>
                <a:gd name="connsiteX277" fmla="*/ 1372356 w 2115716"/>
                <a:gd name="connsiteY277" fmla="*/ 1272288 h 1810748"/>
                <a:gd name="connsiteX278" fmla="*/ 1367592 w 2115716"/>
                <a:gd name="connsiteY278" fmla="*/ 1267524 h 1810748"/>
                <a:gd name="connsiteX279" fmla="*/ 1358060 w 2115716"/>
                <a:gd name="connsiteY279" fmla="*/ 1253228 h 1810748"/>
                <a:gd name="connsiteX280" fmla="*/ 1353296 w 2115716"/>
                <a:gd name="connsiteY280" fmla="*/ 1248464 h 1810748"/>
                <a:gd name="connsiteX281" fmla="*/ 1339000 w 2115716"/>
                <a:gd name="connsiteY281" fmla="*/ 1248464 h 1810748"/>
                <a:gd name="connsiteX282" fmla="*/ 1334236 w 2115716"/>
                <a:gd name="connsiteY282" fmla="*/ 1253228 h 1810748"/>
                <a:gd name="connsiteX283" fmla="*/ 1353296 w 2115716"/>
                <a:gd name="connsiteY283" fmla="*/ 1277054 h 1810748"/>
                <a:gd name="connsiteX284" fmla="*/ 1358060 w 2115716"/>
                <a:gd name="connsiteY284" fmla="*/ 1291350 h 1810748"/>
                <a:gd name="connsiteX285" fmla="*/ 1377122 w 2115716"/>
                <a:gd name="connsiteY285" fmla="*/ 1305644 h 1810748"/>
                <a:gd name="connsiteX286" fmla="*/ 1420008 w 2115716"/>
                <a:gd name="connsiteY286" fmla="*/ 1343766 h 1810748"/>
                <a:gd name="connsiteX287" fmla="*/ 1429538 w 2115716"/>
                <a:gd name="connsiteY287" fmla="*/ 1358060 h 1810748"/>
                <a:gd name="connsiteX288" fmla="*/ 1429538 w 2115716"/>
                <a:gd name="connsiteY288" fmla="*/ 1372356 h 1810748"/>
                <a:gd name="connsiteX289" fmla="*/ 1429538 w 2115716"/>
                <a:gd name="connsiteY289" fmla="*/ 1396182 h 1810748"/>
                <a:gd name="connsiteX290" fmla="*/ 1429538 w 2115716"/>
                <a:gd name="connsiteY290" fmla="*/ 1415242 h 1810748"/>
                <a:gd name="connsiteX291" fmla="*/ 1443834 w 2115716"/>
                <a:gd name="connsiteY291" fmla="*/ 1448598 h 1810748"/>
                <a:gd name="connsiteX292" fmla="*/ 1458128 w 2115716"/>
                <a:gd name="connsiteY292" fmla="*/ 1477190 h 1810748"/>
                <a:gd name="connsiteX293" fmla="*/ 1462894 w 2115716"/>
                <a:gd name="connsiteY293" fmla="*/ 1501014 h 1810748"/>
                <a:gd name="connsiteX294" fmla="*/ 1458128 w 2115716"/>
                <a:gd name="connsiteY294" fmla="*/ 1515310 h 1810748"/>
                <a:gd name="connsiteX295" fmla="*/ 1458128 w 2115716"/>
                <a:gd name="connsiteY295" fmla="*/ 1524840 h 1810748"/>
                <a:gd name="connsiteX296" fmla="*/ 1458128 w 2115716"/>
                <a:gd name="connsiteY296" fmla="*/ 1529606 h 1810748"/>
                <a:gd name="connsiteX297" fmla="*/ 1477190 w 2115716"/>
                <a:gd name="connsiteY297" fmla="*/ 1534370 h 1810748"/>
                <a:gd name="connsiteX298" fmla="*/ 1510544 w 2115716"/>
                <a:gd name="connsiteY298" fmla="*/ 1534370 h 1810748"/>
                <a:gd name="connsiteX299" fmla="*/ 1529606 w 2115716"/>
                <a:gd name="connsiteY299" fmla="*/ 1534370 h 1810748"/>
                <a:gd name="connsiteX300" fmla="*/ 1558196 w 2115716"/>
                <a:gd name="connsiteY300" fmla="*/ 1539136 h 1810748"/>
                <a:gd name="connsiteX301" fmla="*/ 1562962 w 2115716"/>
                <a:gd name="connsiteY301" fmla="*/ 1553432 h 1810748"/>
                <a:gd name="connsiteX302" fmla="*/ 1558196 w 2115716"/>
                <a:gd name="connsiteY302" fmla="*/ 1567726 h 1810748"/>
                <a:gd name="connsiteX303" fmla="*/ 1553432 w 2115716"/>
                <a:gd name="connsiteY303" fmla="*/ 1582022 h 1810748"/>
                <a:gd name="connsiteX304" fmla="*/ 1548666 w 2115716"/>
                <a:gd name="connsiteY304" fmla="*/ 1582022 h 1810748"/>
                <a:gd name="connsiteX305" fmla="*/ 1529606 w 2115716"/>
                <a:gd name="connsiteY305" fmla="*/ 1586788 h 1810748"/>
                <a:gd name="connsiteX306" fmla="*/ 1515310 w 2115716"/>
                <a:gd name="connsiteY306" fmla="*/ 1596318 h 1810748"/>
                <a:gd name="connsiteX307" fmla="*/ 1486720 w 2115716"/>
                <a:gd name="connsiteY307" fmla="*/ 1605848 h 1810748"/>
                <a:gd name="connsiteX308" fmla="*/ 1472424 w 2115716"/>
                <a:gd name="connsiteY308" fmla="*/ 1610612 h 1810748"/>
                <a:gd name="connsiteX309" fmla="*/ 1467658 w 2115716"/>
                <a:gd name="connsiteY309" fmla="*/ 1610612 h 1810748"/>
                <a:gd name="connsiteX310" fmla="*/ 1462894 w 2115716"/>
                <a:gd name="connsiteY310" fmla="*/ 1615378 h 1810748"/>
                <a:gd name="connsiteX311" fmla="*/ 1458128 w 2115716"/>
                <a:gd name="connsiteY311" fmla="*/ 1620144 h 1810748"/>
                <a:gd name="connsiteX312" fmla="*/ 1453364 w 2115716"/>
                <a:gd name="connsiteY312" fmla="*/ 1639204 h 1810748"/>
                <a:gd name="connsiteX313" fmla="*/ 1443834 w 2115716"/>
                <a:gd name="connsiteY313" fmla="*/ 1663030 h 1810748"/>
                <a:gd name="connsiteX314" fmla="*/ 1429538 w 2115716"/>
                <a:gd name="connsiteY314" fmla="*/ 1677324 h 1810748"/>
                <a:gd name="connsiteX315" fmla="*/ 1415242 w 2115716"/>
                <a:gd name="connsiteY315" fmla="*/ 1691620 h 1810748"/>
                <a:gd name="connsiteX316" fmla="*/ 1400948 w 2115716"/>
                <a:gd name="connsiteY316" fmla="*/ 1691620 h 1810748"/>
                <a:gd name="connsiteX317" fmla="*/ 1386652 w 2115716"/>
                <a:gd name="connsiteY317" fmla="*/ 1691620 h 1810748"/>
                <a:gd name="connsiteX318" fmla="*/ 1381886 w 2115716"/>
                <a:gd name="connsiteY318" fmla="*/ 1691620 h 1810748"/>
                <a:gd name="connsiteX319" fmla="*/ 1372356 w 2115716"/>
                <a:gd name="connsiteY319" fmla="*/ 1701150 h 1810748"/>
                <a:gd name="connsiteX320" fmla="*/ 1358060 w 2115716"/>
                <a:gd name="connsiteY320" fmla="*/ 1715446 h 1810748"/>
                <a:gd name="connsiteX321" fmla="*/ 1348530 w 2115716"/>
                <a:gd name="connsiteY321" fmla="*/ 1720210 h 1810748"/>
                <a:gd name="connsiteX322" fmla="*/ 1334236 w 2115716"/>
                <a:gd name="connsiteY322" fmla="*/ 1720210 h 1810748"/>
                <a:gd name="connsiteX323" fmla="*/ 1319940 w 2115716"/>
                <a:gd name="connsiteY323" fmla="*/ 1724976 h 1810748"/>
                <a:gd name="connsiteX324" fmla="*/ 1305644 w 2115716"/>
                <a:gd name="connsiteY324" fmla="*/ 1734506 h 1810748"/>
                <a:gd name="connsiteX325" fmla="*/ 1291350 w 2115716"/>
                <a:gd name="connsiteY325" fmla="*/ 1744036 h 1810748"/>
                <a:gd name="connsiteX326" fmla="*/ 1281818 w 2115716"/>
                <a:gd name="connsiteY326" fmla="*/ 1758332 h 1810748"/>
                <a:gd name="connsiteX327" fmla="*/ 1267524 w 2115716"/>
                <a:gd name="connsiteY327" fmla="*/ 1772628 h 1810748"/>
                <a:gd name="connsiteX328" fmla="*/ 1253228 w 2115716"/>
                <a:gd name="connsiteY328" fmla="*/ 1782158 h 1810748"/>
                <a:gd name="connsiteX329" fmla="*/ 1243698 w 2115716"/>
                <a:gd name="connsiteY329" fmla="*/ 1791688 h 1810748"/>
                <a:gd name="connsiteX330" fmla="*/ 1234168 w 2115716"/>
                <a:gd name="connsiteY330" fmla="*/ 1810748 h 1810748"/>
                <a:gd name="connsiteX331" fmla="*/ 1219872 w 2115716"/>
                <a:gd name="connsiteY331" fmla="*/ 1810748 h 1810748"/>
                <a:gd name="connsiteX332" fmla="*/ 1219872 w 2115716"/>
                <a:gd name="connsiteY332" fmla="*/ 1801218 h 1810748"/>
                <a:gd name="connsiteX333" fmla="*/ 1224638 w 2115716"/>
                <a:gd name="connsiteY333" fmla="*/ 1786922 h 1810748"/>
                <a:gd name="connsiteX334" fmla="*/ 1219872 w 2115716"/>
                <a:gd name="connsiteY334" fmla="*/ 1772628 h 1810748"/>
                <a:gd name="connsiteX335" fmla="*/ 1205576 w 2115716"/>
                <a:gd name="connsiteY335" fmla="*/ 1763096 h 1810748"/>
                <a:gd name="connsiteX336" fmla="*/ 1200812 w 2115716"/>
                <a:gd name="connsiteY336" fmla="*/ 1763096 h 1810748"/>
                <a:gd name="connsiteX337" fmla="*/ 1196046 w 2115716"/>
                <a:gd name="connsiteY337" fmla="*/ 1763096 h 1810748"/>
                <a:gd name="connsiteX338" fmla="*/ 1181752 w 2115716"/>
                <a:gd name="connsiteY338" fmla="*/ 1772628 h 1810748"/>
                <a:gd name="connsiteX339" fmla="*/ 1162690 w 2115716"/>
                <a:gd name="connsiteY339" fmla="*/ 1782158 h 1810748"/>
                <a:gd name="connsiteX340" fmla="*/ 1153160 w 2115716"/>
                <a:gd name="connsiteY340" fmla="*/ 1791688 h 1810748"/>
                <a:gd name="connsiteX341" fmla="*/ 1143630 w 2115716"/>
                <a:gd name="connsiteY341" fmla="*/ 1791688 h 1810748"/>
                <a:gd name="connsiteX342" fmla="*/ 1119804 w 2115716"/>
                <a:gd name="connsiteY342" fmla="*/ 1796452 h 1810748"/>
                <a:gd name="connsiteX343" fmla="*/ 1105510 w 2115716"/>
                <a:gd name="connsiteY343" fmla="*/ 1801218 h 1810748"/>
                <a:gd name="connsiteX344" fmla="*/ 1095980 w 2115716"/>
                <a:gd name="connsiteY344" fmla="*/ 1796452 h 1810748"/>
                <a:gd name="connsiteX345" fmla="*/ 1086448 w 2115716"/>
                <a:gd name="connsiteY345" fmla="*/ 1786922 h 1810748"/>
                <a:gd name="connsiteX346" fmla="*/ 1053092 w 2115716"/>
                <a:gd name="connsiteY346" fmla="*/ 1763096 h 1810748"/>
                <a:gd name="connsiteX347" fmla="*/ 1014972 w 2115716"/>
                <a:gd name="connsiteY347" fmla="*/ 1724976 h 1810748"/>
                <a:gd name="connsiteX348" fmla="*/ 1010206 w 2115716"/>
                <a:gd name="connsiteY348" fmla="*/ 1715446 h 1810748"/>
                <a:gd name="connsiteX349" fmla="*/ 1014972 w 2115716"/>
                <a:gd name="connsiteY349" fmla="*/ 1705916 h 1810748"/>
                <a:gd name="connsiteX350" fmla="*/ 1005442 w 2115716"/>
                <a:gd name="connsiteY350" fmla="*/ 1686854 h 1810748"/>
                <a:gd name="connsiteX351" fmla="*/ 1000676 w 2115716"/>
                <a:gd name="connsiteY351" fmla="*/ 1672560 h 1810748"/>
                <a:gd name="connsiteX352" fmla="*/ 995912 w 2115716"/>
                <a:gd name="connsiteY352" fmla="*/ 1667794 h 1810748"/>
                <a:gd name="connsiteX353" fmla="*/ 995912 w 2115716"/>
                <a:gd name="connsiteY353" fmla="*/ 1653498 h 1810748"/>
                <a:gd name="connsiteX354" fmla="*/ 986382 w 2115716"/>
                <a:gd name="connsiteY354" fmla="*/ 1629674 h 1810748"/>
                <a:gd name="connsiteX355" fmla="*/ 981616 w 2115716"/>
                <a:gd name="connsiteY355" fmla="*/ 1615378 h 1810748"/>
                <a:gd name="connsiteX356" fmla="*/ 976850 w 2115716"/>
                <a:gd name="connsiteY356" fmla="*/ 1605848 h 1810748"/>
                <a:gd name="connsiteX357" fmla="*/ 976850 w 2115716"/>
                <a:gd name="connsiteY357" fmla="*/ 1596318 h 1810748"/>
                <a:gd name="connsiteX358" fmla="*/ 976850 w 2115716"/>
                <a:gd name="connsiteY358" fmla="*/ 1586788 h 1810748"/>
                <a:gd name="connsiteX359" fmla="*/ 967320 w 2115716"/>
                <a:gd name="connsiteY359" fmla="*/ 1582022 h 1810748"/>
                <a:gd name="connsiteX360" fmla="*/ 962556 w 2115716"/>
                <a:gd name="connsiteY360" fmla="*/ 1562962 h 1810748"/>
                <a:gd name="connsiteX361" fmla="*/ 962556 w 2115716"/>
                <a:gd name="connsiteY361" fmla="*/ 1553432 h 1810748"/>
                <a:gd name="connsiteX362" fmla="*/ 962556 w 2115716"/>
                <a:gd name="connsiteY362" fmla="*/ 1543900 h 1810748"/>
                <a:gd name="connsiteX363" fmla="*/ 957790 w 2115716"/>
                <a:gd name="connsiteY363" fmla="*/ 1539136 h 1810748"/>
                <a:gd name="connsiteX364" fmla="*/ 948260 w 2115716"/>
                <a:gd name="connsiteY364" fmla="*/ 1529606 h 1810748"/>
                <a:gd name="connsiteX365" fmla="*/ 933964 w 2115716"/>
                <a:gd name="connsiteY365" fmla="*/ 1515310 h 1810748"/>
                <a:gd name="connsiteX366" fmla="*/ 919670 w 2115716"/>
                <a:gd name="connsiteY366" fmla="*/ 1505780 h 1810748"/>
                <a:gd name="connsiteX367" fmla="*/ 910140 w 2115716"/>
                <a:gd name="connsiteY367" fmla="*/ 1496250 h 1810748"/>
                <a:gd name="connsiteX368" fmla="*/ 905374 w 2115716"/>
                <a:gd name="connsiteY368" fmla="*/ 1496250 h 1810748"/>
                <a:gd name="connsiteX369" fmla="*/ 900608 w 2115716"/>
                <a:gd name="connsiteY369" fmla="*/ 1486720 h 1810748"/>
                <a:gd name="connsiteX370" fmla="*/ 900608 w 2115716"/>
                <a:gd name="connsiteY370" fmla="*/ 1481954 h 1810748"/>
                <a:gd name="connsiteX371" fmla="*/ 891078 w 2115716"/>
                <a:gd name="connsiteY371" fmla="*/ 1477190 h 1810748"/>
                <a:gd name="connsiteX372" fmla="*/ 876784 w 2115716"/>
                <a:gd name="connsiteY372" fmla="*/ 1472424 h 1810748"/>
                <a:gd name="connsiteX373" fmla="*/ 862488 w 2115716"/>
                <a:gd name="connsiteY373" fmla="*/ 1481954 h 1810748"/>
                <a:gd name="connsiteX374" fmla="*/ 862488 w 2115716"/>
                <a:gd name="connsiteY374" fmla="*/ 1472424 h 1810748"/>
                <a:gd name="connsiteX375" fmla="*/ 867252 w 2115716"/>
                <a:gd name="connsiteY375" fmla="*/ 1462894 h 1810748"/>
                <a:gd name="connsiteX376" fmla="*/ 914904 w 2115716"/>
                <a:gd name="connsiteY376" fmla="*/ 1420008 h 1810748"/>
                <a:gd name="connsiteX377" fmla="*/ 938730 w 2115716"/>
                <a:gd name="connsiteY377" fmla="*/ 1396182 h 1810748"/>
                <a:gd name="connsiteX378" fmla="*/ 943496 w 2115716"/>
                <a:gd name="connsiteY378" fmla="*/ 1396182 h 1810748"/>
                <a:gd name="connsiteX379" fmla="*/ 943496 w 2115716"/>
                <a:gd name="connsiteY379" fmla="*/ 1391416 h 1810748"/>
                <a:gd name="connsiteX380" fmla="*/ 948260 w 2115716"/>
                <a:gd name="connsiteY380" fmla="*/ 1381886 h 1810748"/>
                <a:gd name="connsiteX381" fmla="*/ 938730 w 2115716"/>
                <a:gd name="connsiteY381" fmla="*/ 1377122 h 1810748"/>
                <a:gd name="connsiteX382" fmla="*/ 919670 w 2115716"/>
                <a:gd name="connsiteY382" fmla="*/ 1339000 h 1810748"/>
                <a:gd name="connsiteX383" fmla="*/ 910140 w 2115716"/>
                <a:gd name="connsiteY383" fmla="*/ 1334236 h 1810748"/>
                <a:gd name="connsiteX384" fmla="*/ 900608 w 2115716"/>
                <a:gd name="connsiteY384" fmla="*/ 1329470 h 1810748"/>
                <a:gd name="connsiteX385" fmla="*/ 891078 w 2115716"/>
                <a:gd name="connsiteY385" fmla="*/ 1315174 h 1810748"/>
                <a:gd name="connsiteX386" fmla="*/ 881548 w 2115716"/>
                <a:gd name="connsiteY386" fmla="*/ 1277054 h 1810748"/>
                <a:gd name="connsiteX387" fmla="*/ 872018 w 2115716"/>
                <a:gd name="connsiteY387" fmla="*/ 1262758 h 1810748"/>
                <a:gd name="connsiteX388" fmla="*/ 872018 w 2115716"/>
                <a:gd name="connsiteY388" fmla="*/ 1248464 h 1810748"/>
                <a:gd name="connsiteX389" fmla="*/ 872018 w 2115716"/>
                <a:gd name="connsiteY389" fmla="*/ 1234168 h 1810748"/>
                <a:gd name="connsiteX390" fmla="*/ 867252 w 2115716"/>
                <a:gd name="connsiteY390" fmla="*/ 1219872 h 1810748"/>
                <a:gd name="connsiteX391" fmla="*/ 862488 w 2115716"/>
                <a:gd name="connsiteY391" fmla="*/ 1210342 h 1810748"/>
                <a:gd name="connsiteX392" fmla="*/ 862488 w 2115716"/>
                <a:gd name="connsiteY392" fmla="*/ 1186516 h 1810748"/>
                <a:gd name="connsiteX393" fmla="*/ 867252 w 2115716"/>
                <a:gd name="connsiteY393" fmla="*/ 1143630 h 1810748"/>
                <a:gd name="connsiteX394" fmla="*/ 872018 w 2115716"/>
                <a:gd name="connsiteY394" fmla="*/ 1115040 h 1810748"/>
                <a:gd name="connsiteX395" fmla="*/ 867252 w 2115716"/>
                <a:gd name="connsiteY395" fmla="*/ 1091214 h 1810748"/>
                <a:gd name="connsiteX396" fmla="*/ 872018 w 2115716"/>
                <a:gd name="connsiteY396" fmla="*/ 1076918 h 1810748"/>
                <a:gd name="connsiteX397" fmla="*/ 886314 w 2115716"/>
                <a:gd name="connsiteY397" fmla="*/ 1062624 h 1810748"/>
                <a:gd name="connsiteX398" fmla="*/ 895844 w 2115716"/>
                <a:gd name="connsiteY398" fmla="*/ 1048328 h 1810748"/>
                <a:gd name="connsiteX399" fmla="*/ 895844 w 2115716"/>
                <a:gd name="connsiteY399" fmla="*/ 1024502 h 1810748"/>
                <a:gd name="connsiteX400" fmla="*/ 905374 w 2115716"/>
                <a:gd name="connsiteY400" fmla="*/ 1005442 h 1810748"/>
                <a:gd name="connsiteX401" fmla="*/ 919670 w 2115716"/>
                <a:gd name="connsiteY401" fmla="*/ 991146 h 1810748"/>
                <a:gd name="connsiteX402" fmla="*/ 929200 w 2115716"/>
                <a:gd name="connsiteY402" fmla="*/ 972086 h 1810748"/>
                <a:gd name="connsiteX403" fmla="*/ 919670 w 2115716"/>
                <a:gd name="connsiteY403" fmla="*/ 957790 h 1810748"/>
                <a:gd name="connsiteX404" fmla="*/ 919670 w 2115716"/>
                <a:gd name="connsiteY404" fmla="*/ 948260 h 1810748"/>
                <a:gd name="connsiteX405" fmla="*/ 905374 w 2115716"/>
                <a:gd name="connsiteY405" fmla="*/ 938730 h 1810748"/>
                <a:gd name="connsiteX406" fmla="*/ 881548 w 2115716"/>
                <a:gd name="connsiteY406" fmla="*/ 933964 h 1810748"/>
                <a:gd name="connsiteX407" fmla="*/ 862488 w 2115716"/>
                <a:gd name="connsiteY407" fmla="*/ 933964 h 1810748"/>
                <a:gd name="connsiteX408" fmla="*/ 848192 w 2115716"/>
                <a:gd name="connsiteY408" fmla="*/ 938730 h 1810748"/>
                <a:gd name="connsiteX409" fmla="*/ 814836 w 2115716"/>
                <a:gd name="connsiteY409" fmla="*/ 948260 h 1810748"/>
                <a:gd name="connsiteX410" fmla="*/ 767186 w 2115716"/>
                <a:gd name="connsiteY410" fmla="*/ 953026 h 1810748"/>
                <a:gd name="connsiteX411" fmla="*/ 724300 w 2115716"/>
                <a:gd name="connsiteY411" fmla="*/ 953026 h 1810748"/>
                <a:gd name="connsiteX412" fmla="*/ 690944 w 2115716"/>
                <a:gd name="connsiteY412" fmla="*/ 948260 h 1810748"/>
                <a:gd name="connsiteX413" fmla="*/ 667118 w 2115716"/>
                <a:gd name="connsiteY413" fmla="*/ 948260 h 1810748"/>
                <a:gd name="connsiteX414" fmla="*/ 652822 w 2115716"/>
                <a:gd name="connsiteY414" fmla="*/ 957790 h 1810748"/>
                <a:gd name="connsiteX415" fmla="*/ 643292 w 2115716"/>
                <a:gd name="connsiteY415" fmla="*/ 962556 h 1810748"/>
                <a:gd name="connsiteX416" fmla="*/ 633762 w 2115716"/>
                <a:gd name="connsiteY416" fmla="*/ 957790 h 1810748"/>
                <a:gd name="connsiteX417" fmla="*/ 628996 w 2115716"/>
                <a:gd name="connsiteY417" fmla="*/ 953026 h 1810748"/>
                <a:gd name="connsiteX418" fmla="*/ 614702 w 2115716"/>
                <a:gd name="connsiteY418" fmla="*/ 957790 h 1810748"/>
                <a:gd name="connsiteX419" fmla="*/ 590876 w 2115716"/>
                <a:gd name="connsiteY419" fmla="*/ 929200 h 1810748"/>
                <a:gd name="connsiteX420" fmla="*/ 567050 w 2115716"/>
                <a:gd name="connsiteY420" fmla="*/ 900608 h 1810748"/>
                <a:gd name="connsiteX421" fmla="*/ 543224 w 2115716"/>
                <a:gd name="connsiteY421" fmla="*/ 867252 h 1810748"/>
                <a:gd name="connsiteX422" fmla="*/ 514634 w 2115716"/>
                <a:gd name="connsiteY422" fmla="*/ 829132 h 1810748"/>
                <a:gd name="connsiteX423" fmla="*/ 505104 w 2115716"/>
                <a:gd name="connsiteY423" fmla="*/ 829132 h 1810748"/>
                <a:gd name="connsiteX424" fmla="*/ 495574 w 2115716"/>
                <a:gd name="connsiteY424" fmla="*/ 829132 h 1810748"/>
                <a:gd name="connsiteX425" fmla="*/ 486042 w 2115716"/>
                <a:gd name="connsiteY425" fmla="*/ 829132 h 1810748"/>
                <a:gd name="connsiteX426" fmla="*/ 466982 w 2115716"/>
                <a:gd name="connsiteY426" fmla="*/ 824366 h 1810748"/>
                <a:gd name="connsiteX427" fmla="*/ 452686 w 2115716"/>
                <a:gd name="connsiteY427" fmla="*/ 819602 h 1810748"/>
                <a:gd name="connsiteX428" fmla="*/ 443156 w 2115716"/>
                <a:gd name="connsiteY428" fmla="*/ 814836 h 1810748"/>
                <a:gd name="connsiteX429" fmla="*/ 424096 w 2115716"/>
                <a:gd name="connsiteY429" fmla="*/ 810072 h 1810748"/>
                <a:gd name="connsiteX430" fmla="*/ 409800 w 2115716"/>
                <a:gd name="connsiteY430" fmla="*/ 805306 h 1810748"/>
                <a:gd name="connsiteX431" fmla="*/ 400270 w 2115716"/>
                <a:gd name="connsiteY431" fmla="*/ 810072 h 1810748"/>
                <a:gd name="connsiteX432" fmla="*/ 366914 w 2115716"/>
                <a:gd name="connsiteY432" fmla="*/ 819602 h 1810748"/>
                <a:gd name="connsiteX433" fmla="*/ 352620 w 2115716"/>
                <a:gd name="connsiteY433" fmla="*/ 824366 h 1810748"/>
                <a:gd name="connsiteX434" fmla="*/ 338324 w 2115716"/>
                <a:gd name="connsiteY434" fmla="*/ 824366 h 1810748"/>
                <a:gd name="connsiteX435" fmla="*/ 300202 w 2115716"/>
                <a:gd name="connsiteY435" fmla="*/ 814836 h 1810748"/>
                <a:gd name="connsiteX436" fmla="*/ 271612 w 2115716"/>
                <a:gd name="connsiteY436" fmla="*/ 814836 h 1810748"/>
                <a:gd name="connsiteX437" fmla="*/ 243022 w 2115716"/>
                <a:gd name="connsiteY437" fmla="*/ 819602 h 1810748"/>
                <a:gd name="connsiteX438" fmla="*/ 233492 w 2115716"/>
                <a:gd name="connsiteY438" fmla="*/ 824366 h 1810748"/>
                <a:gd name="connsiteX439" fmla="*/ 214430 w 2115716"/>
                <a:gd name="connsiteY439" fmla="*/ 814836 h 1810748"/>
                <a:gd name="connsiteX440" fmla="*/ 200136 w 2115716"/>
                <a:gd name="connsiteY440" fmla="*/ 805306 h 1810748"/>
                <a:gd name="connsiteX441" fmla="*/ 190606 w 2115716"/>
                <a:gd name="connsiteY441" fmla="*/ 781480 h 1810748"/>
                <a:gd name="connsiteX442" fmla="*/ 181074 w 2115716"/>
                <a:gd name="connsiteY442" fmla="*/ 762420 h 1810748"/>
                <a:gd name="connsiteX443" fmla="*/ 166780 w 2115716"/>
                <a:gd name="connsiteY443" fmla="*/ 757656 h 1810748"/>
                <a:gd name="connsiteX444" fmla="*/ 152484 w 2115716"/>
                <a:gd name="connsiteY444" fmla="*/ 752890 h 1810748"/>
                <a:gd name="connsiteX445" fmla="*/ 147718 w 2115716"/>
                <a:gd name="connsiteY445" fmla="*/ 748124 h 1810748"/>
                <a:gd name="connsiteX446" fmla="*/ 138188 w 2115716"/>
                <a:gd name="connsiteY446" fmla="*/ 738594 h 1810748"/>
                <a:gd name="connsiteX447" fmla="*/ 138188 w 2115716"/>
                <a:gd name="connsiteY447" fmla="*/ 724300 h 1810748"/>
                <a:gd name="connsiteX448" fmla="*/ 142954 w 2115716"/>
                <a:gd name="connsiteY448" fmla="*/ 700474 h 1810748"/>
                <a:gd name="connsiteX449" fmla="*/ 142954 w 2115716"/>
                <a:gd name="connsiteY449" fmla="*/ 690944 h 1810748"/>
                <a:gd name="connsiteX450" fmla="*/ 142954 w 2115716"/>
                <a:gd name="connsiteY450" fmla="*/ 667118 h 1810748"/>
                <a:gd name="connsiteX451" fmla="*/ 152484 w 2115716"/>
                <a:gd name="connsiteY451" fmla="*/ 657588 h 1810748"/>
                <a:gd name="connsiteX452" fmla="*/ 157250 w 2115716"/>
                <a:gd name="connsiteY452" fmla="*/ 648058 h 1810748"/>
                <a:gd name="connsiteX453" fmla="*/ 157250 w 2115716"/>
                <a:gd name="connsiteY453" fmla="*/ 638526 h 1810748"/>
                <a:gd name="connsiteX454" fmla="*/ 152484 w 2115716"/>
                <a:gd name="connsiteY454" fmla="*/ 619466 h 1810748"/>
                <a:gd name="connsiteX455" fmla="*/ 147718 w 2115716"/>
                <a:gd name="connsiteY455" fmla="*/ 605172 h 1810748"/>
                <a:gd name="connsiteX456" fmla="*/ 109598 w 2115716"/>
                <a:gd name="connsiteY456" fmla="*/ 562284 h 1810748"/>
                <a:gd name="connsiteX457" fmla="*/ 100068 w 2115716"/>
                <a:gd name="connsiteY457" fmla="*/ 528928 h 1810748"/>
                <a:gd name="connsiteX458" fmla="*/ 90538 w 2115716"/>
                <a:gd name="connsiteY458" fmla="*/ 486042 h 1810748"/>
                <a:gd name="connsiteX459" fmla="*/ 81008 w 2115716"/>
                <a:gd name="connsiteY459" fmla="*/ 481278 h 1810748"/>
                <a:gd name="connsiteX460" fmla="*/ 71476 w 2115716"/>
                <a:gd name="connsiteY460" fmla="*/ 486042 h 1810748"/>
                <a:gd name="connsiteX461" fmla="*/ 66712 w 2115716"/>
                <a:gd name="connsiteY461" fmla="*/ 481278 h 1810748"/>
                <a:gd name="connsiteX462" fmla="*/ 57182 w 2115716"/>
                <a:gd name="connsiteY462" fmla="*/ 466982 h 1810748"/>
                <a:gd name="connsiteX463" fmla="*/ 47652 w 2115716"/>
                <a:gd name="connsiteY463" fmla="*/ 462218 h 1810748"/>
                <a:gd name="connsiteX464" fmla="*/ 38122 w 2115716"/>
                <a:gd name="connsiteY464" fmla="*/ 471748 h 1810748"/>
                <a:gd name="connsiteX465" fmla="*/ 28590 w 2115716"/>
                <a:gd name="connsiteY465" fmla="*/ 476512 h 1810748"/>
                <a:gd name="connsiteX466" fmla="*/ 4766 w 2115716"/>
                <a:gd name="connsiteY466" fmla="*/ 476512 h 1810748"/>
                <a:gd name="connsiteX467" fmla="*/ 0 w 2115716"/>
                <a:gd name="connsiteY467" fmla="*/ 476512 h 1810748"/>
                <a:gd name="connsiteX468" fmla="*/ 0 w 2115716"/>
                <a:gd name="connsiteY468" fmla="*/ 471748 h 1810748"/>
                <a:gd name="connsiteX469" fmla="*/ 14296 w 2115716"/>
                <a:gd name="connsiteY469" fmla="*/ 452688 h 1810748"/>
                <a:gd name="connsiteX470" fmla="*/ 23826 w 2115716"/>
                <a:gd name="connsiteY470" fmla="*/ 433626 h 1810748"/>
                <a:gd name="connsiteX471" fmla="*/ 38122 w 2115716"/>
                <a:gd name="connsiteY471" fmla="*/ 419332 h 1810748"/>
                <a:gd name="connsiteX472" fmla="*/ 47652 w 2115716"/>
                <a:gd name="connsiteY472" fmla="*/ 400270 h 1810748"/>
                <a:gd name="connsiteX473" fmla="*/ 57182 w 2115716"/>
                <a:gd name="connsiteY473" fmla="*/ 381210 h 1810748"/>
                <a:gd name="connsiteX474" fmla="*/ 61946 w 2115716"/>
                <a:gd name="connsiteY474" fmla="*/ 343090 h 1810748"/>
                <a:gd name="connsiteX475" fmla="*/ 66712 w 2115716"/>
                <a:gd name="connsiteY475" fmla="*/ 314498 h 1810748"/>
                <a:gd name="connsiteX476" fmla="*/ 76242 w 2115716"/>
                <a:gd name="connsiteY476" fmla="*/ 266848 h 1810748"/>
                <a:gd name="connsiteX477" fmla="*/ 100068 w 2115716"/>
                <a:gd name="connsiteY477" fmla="*/ 228726 h 1810748"/>
                <a:gd name="connsiteX478" fmla="*/ 104832 w 2115716"/>
                <a:gd name="connsiteY478" fmla="*/ 214430 h 1810748"/>
                <a:gd name="connsiteX479" fmla="*/ 123894 w 2115716"/>
                <a:gd name="connsiteY479" fmla="*/ 190606 h 1810748"/>
                <a:gd name="connsiteX480" fmla="*/ 133424 w 2115716"/>
                <a:gd name="connsiteY480" fmla="*/ 181074 h 1810748"/>
                <a:gd name="connsiteX481" fmla="*/ 142954 w 2115716"/>
                <a:gd name="connsiteY481" fmla="*/ 171544 h 1810748"/>
                <a:gd name="connsiteX482" fmla="*/ 176310 w 2115716"/>
                <a:gd name="connsiteY482" fmla="*/ 157250 h 1810748"/>
                <a:gd name="connsiteX483" fmla="*/ 214430 w 2115716"/>
                <a:gd name="connsiteY483" fmla="*/ 90538 h 1810748"/>
                <a:gd name="connsiteX484" fmla="*/ 219196 w 2115716"/>
                <a:gd name="connsiteY484" fmla="*/ 81008 h 1810748"/>
                <a:gd name="connsiteX485" fmla="*/ 257316 w 2115716"/>
                <a:gd name="connsiteY485" fmla="*/ 71476 h 1810748"/>
                <a:gd name="connsiteX486" fmla="*/ 285908 w 2115716"/>
                <a:gd name="connsiteY486" fmla="*/ 66712 h 1810748"/>
                <a:gd name="connsiteX487" fmla="*/ 309734 w 2115716"/>
                <a:gd name="connsiteY487" fmla="*/ 57182 h 1810748"/>
                <a:gd name="connsiteX488" fmla="*/ 314498 w 2115716"/>
                <a:gd name="connsiteY488" fmla="*/ 52416 h 1810748"/>
                <a:gd name="connsiteX489" fmla="*/ 319264 w 2115716"/>
                <a:gd name="connsiteY489" fmla="*/ 52416 h 1810748"/>
                <a:gd name="connsiteX490" fmla="*/ 314498 w 2115716"/>
                <a:gd name="connsiteY490" fmla="*/ 57182 h 1810748"/>
                <a:gd name="connsiteX491" fmla="*/ 304968 w 2115716"/>
                <a:gd name="connsiteY491" fmla="*/ 66712 h 1810748"/>
                <a:gd name="connsiteX492" fmla="*/ 295438 w 2115716"/>
                <a:gd name="connsiteY492" fmla="*/ 71476 h 1810748"/>
                <a:gd name="connsiteX493" fmla="*/ 233492 w 2115716"/>
                <a:gd name="connsiteY493" fmla="*/ 85772 h 1810748"/>
                <a:gd name="connsiteX494" fmla="*/ 228726 w 2115716"/>
                <a:gd name="connsiteY494" fmla="*/ 90538 h 1810748"/>
                <a:gd name="connsiteX495" fmla="*/ 219196 w 2115716"/>
                <a:gd name="connsiteY495" fmla="*/ 95302 h 1810748"/>
                <a:gd name="connsiteX496" fmla="*/ 219196 w 2115716"/>
                <a:gd name="connsiteY496" fmla="*/ 109598 h 1810748"/>
                <a:gd name="connsiteX497" fmla="*/ 223960 w 2115716"/>
                <a:gd name="connsiteY497" fmla="*/ 123894 h 1810748"/>
                <a:gd name="connsiteX498" fmla="*/ 238256 w 2115716"/>
                <a:gd name="connsiteY498" fmla="*/ 157250 h 1810748"/>
                <a:gd name="connsiteX499" fmla="*/ 247786 w 2115716"/>
                <a:gd name="connsiteY499" fmla="*/ 166780 h 1810748"/>
                <a:gd name="connsiteX500" fmla="*/ 271612 w 2115716"/>
                <a:gd name="connsiteY500" fmla="*/ 185840 h 1810748"/>
                <a:gd name="connsiteX501" fmla="*/ 266848 w 2115716"/>
                <a:gd name="connsiteY501" fmla="*/ 190606 h 1810748"/>
                <a:gd name="connsiteX502" fmla="*/ 257316 w 2115716"/>
                <a:gd name="connsiteY502" fmla="*/ 190606 h 1810748"/>
                <a:gd name="connsiteX503" fmla="*/ 262082 w 2115716"/>
                <a:gd name="connsiteY503" fmla="*/ 214430 h 1810748"/>
                <a:gd name="connsiteX504" fmla="*/ 276378 w 2115716"/>
                <a:gd name="connsiteY504" fmla="*/ 233492 h 1810748"/>
                <a:gd name="connsiteX505" fmla="*/ 276378 w 2115716"/>
                <a:gd name="connsiteY505" fmla="*/ 243022 h 1810748"/>
                <a:gd name="connsiteX506" fmla="*/ 266848 w 2115716"/>
                <a:gd name="connsiteY506" fmla="*/ 276378 h 1810748"/>
                <a:gd name="connsiteX507" fmla="*/ 247786 w 2115716"/>
                <a:gd name="connsiteY507" fmla="*/ 295438 h 1810748"/>
                <a:gd name="connsiteX508" fmla="*/ 233492 w 2115716"/>
                <a:gd name="connsiteY508" fmla="*/ 319264 h 1810748"/>
                <a:gd name="connsiteX509" fmla="*/ 223960 w 2115716"/>
                <a:gd name="connsiteY509" fmla="*/ 328794 h 1810748"/>
                <a:gd name="connsiteX510" fmla="*/ 195370 w 2115716"/>
                <a:gd name="connsiteY510" fmla="*/ 376444 h 1810748"/>
                <a:gd name="connsiteX511" fmla="*/ 214430 w 2115716"/>
                <a:gd name="connsiteY511" fmla="*/ 405036 h 1810748"/>
                <a:gd name="connsiteX512" fmla="*/ 219196 w 2115716"/>
                <a:gd name="connsiteY512" fmla="*/ 419332 h 1810748"/>
                <a:gd name="connsiteX513" fmla="*/ 233492 w 2115716"/>
                <a:gd name="connsiteY513" fmla="*/ 438392 h 1810748"/>
                <a:gd name="connsiteX514" fmla="*/ 243022 w 2115716"/>
                <a:gd name="connsiteY514" fmla="*/ 443156 h 1810748"/>
                <a:gd name="connsiteX515" fmla="*/ 252552 w 2115716"/>
                <a:gd name="connsiteY515" fmla="*/ 452688 h 1810748"/>
                <a:gd name="connsiteX516" fmla="*/ 247786 w 2115716"/>
                <a:gd name="connsiteY516" fmla="*/ 466982 h 1810748"/>
                <a:gd name="connsiteX517" fmla="*/ 252552 w 2115716"/>
                <a:gd name="connsiteY517" fmla="*/ 486042 h 1810748"/>
                <a:gd name="connsiteX518" fmla="*/ 262082 w 2115716"/>
                <a:gd name="connsiteY518" fmla="*/ 495574 h 1810748"/>
                <a:gd name="connsiteX519" fmla="*/ 271612 w 2115716"/>
                <a:gd name="connsiteY519" fmla="*/ 495574 h 1810748"/>
                <a:gd name="connsiteX520" fmla="*/ 285908 w 2115716"/>
                <a:gd name="connsiteY520" fmla="*/ 495574 h 1810748"/>
                <a:gd name="connsiteX521" fmla="*/ 324028 w 2115716"/>
                <a:gd name="connsiteY521" fmla="*/ 486042 h 1810748"/>
                <a:gd name="connsiteX522" fmla="*/ 333558 w 2115716"/>
                <a:gd name="connsiteY522" fmla="*/ 481278 h 1810748"/>
                <a:gd name="connsiteX523" fmla="*/ 338324 w 2115716"/>
                <a:gd name="connsiteY523" fmla="*/ 471748 h 1810748"/>
                <a:gd name="connsiteX524" fmla="*/ 357384 w 2115716"/>
                <a:gd name="connsiteY524" fmla="*/ 452688 h 1810748"/>
                <a:gd name="connsiteX525" fmla="*/ 357384 w 2115716"/>
                <a:gd name="connsiteY525" fmla="*/ 424096 h 1810748"/>
                <a:gd name="connsiteX526" fmla="*/ 362150 w 2115716"/>
                <a:gd name="connsiteY526" fmla="*/ 395506 h 1810748"/>
                <a:gd name="connsiteX527" fmla="*/ 357384 w 2115716"/>
                <a:gd name="connsiteY527" fmla="*/ 371680 h 1810748"/>
                <a:gd name="connsiteX528" fmla="*/ 338324 w 2115716"/>
                <a:gd name="connsiteY528" fmla="*/ 343090 h 1810748"/>
                <a:gd name="connsiteX529" fmla="*/ 328794 w 2115716"/>
                <a:gd name="connsiteY529" fmla="*/ 324028 h 1810748"/>
                <a:gd name="connsiteX530" fmla="*/ 309734 w 2115716"/>
                <a:gd name="connsiteY530" fmla="*/ 304968 h 1810748"/>
                <a:gd name="connsiteX531" fmla="*/ 300202 w 2115716"/>
                <a:gd name="connsiteY531" fmla="*/ 271612 h 1810748"/>
                <a:gd name="connsiteX532" fmla="*/ 295438 w 2115716"/>
                <a:gd name="connsiteY532" fmla="*/ 262082 h 1810748"/>
                <a:gd name="connsiteX533" fmla="*/ 290672 w 2115716"/>
                <a:gd name="connsiteY533" fmla="*/ 247786 h 1810748"/>
                <a:gd name="connsiteX534" fmla="*/ 285908 w 2115716"/>
                <a:gd name="connsiteY534" fmla="*/ 223960 h 1810748"/>
                <a:gd name="connsiteX535" fmla="*/ 300202 w 2115716"/>
                <a:gd name="connsiteY535" fmla="*/ 214430 h 1810748"/>
                <a:gd name="connsiteX536" fmla="*/ 295438 w 2115716"/>
                <a:gd name="connsiteY536" fmla="*/ 195370 h 1810748"/>
                <a:gd name="connsiteX537" fmla="*/ 328794 w 2115716"/>
                <a:gd name="connsiteY537" fmla="*/ 185840 h 1810748"/>
                <a:gd name="connsiteX538" fmla="*/ 400270 w 2115716"/>
                <a:gd name="connsiteY538" fmla="*/ 152484 h 1810748"/>
                <a:gd name="connsiteX539" fmla="*/ 443156 w 2115716"/>
                <a:gd name="connsiteY539" fmla="*/ 147718 h 1810748"/>
                <a:gd name="connsiteX540" fmla="*/ 490808 w 2115716"/>
                <a:gd name="connsiteY540" fmla="*/ 128658 h 1810748"/>
                <a:gd name="connsiteX541" fmla="*/ 500338 w 2115716"/>
                <a:gd name="connsiteY541" fmla="*/ 119128 h 1810748"/>
                <a:gd name="connsiteX542" fmla="*/ 509868 w 2115716"/>
                <a:gd name="connsiteY542" fmla="*/ 104832 h 1810748"/>
                <a:gd name="connsiteX543" fmla="*/ 519398 w 2115716"/>
                <a:gd name="connsiteY543" fmla="*/ 104832 h 1810748"/>
                <a:gd name="connsiteX544" fmla="*/ 543224 w 2115716"/>
                <a:gd name="connsiteY544" fmla="*/ 119128 h 1810748"/>
                <a:gd name="connsiteX545" fmla="*/ 557520 w 2115716"/>
                <a:gd name="connsiteY545" fmla="*/ 114364 h 1810748"/>
                <a:gd name="connsiteX546" fmla="*/ 562284 w 2115716"/>
                <a:gd name="connsiteY546" fmla="*/ 100068 h 1810748"/>
                <a:gd name="connsiteX547" fmla="*/ 557520 w 2115716"/>
                <a:gd name="connsiteY547" fmla="*/ 81008 h 1810748"/>
                <a:gd name="connsiteX548" fmla="*/ 538460 w 2115716"/>
                <a:gd name="connsiteY548" fmla="*/ 81008 h 1810748"/>
                <a:gd name="connsiteX549" fmla="*/ 495574 w 2115716"/>
                <a:gd name="connsiteY549" fmla="*/ 90538 h 1810748"/>
                <a:gd name="connsiteX550" fmla="*/ 490808 w 2115716"/>
                <a:gd name="connsiteY550" fmla="*/ 81008 h 1810748"/>
                <a:gd name="connsiteX551" fmla="*/ 490808 w 2115716"/>
                <a:gd name="connsiteY551" fmla="*/ 71476 h 1810748"/>
                <a:gd name="connsiteX552" fmla="*/ 481278 w 2115716"/>
                <a:gd name="connsiteY552" fmla="*/ 47652 h 1810748"/>
                <a:gd name="connsiteX553" fmla="*/ 486042 w 2115716"/>
                <a:gd name="connsiteY553" fmla="*/ 28590 h 1810748"/>
                <a:gd name="connsiteX554" fmla="*/ 495574 w 2115716"/>
                <a:gd name="connsiteY554" fmla="*/ 14296 h 1810748"/>
                <a:gd name="connsiteX555" fmla="*/ 509868 w 2115716"/>
                <a:gd name="connsiteY555" fmla="*/ 4766 h 18107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</a:cxnLst>
              <a:rect l="l" t="t" r="r" b="b"/>
              <a:pathLst>
                <a:path w="2115716" h="1810747">
                  <a:moveTo>
                    <a:pt x="1939408" y="495572"/>
                  </a:moveTo>
                  <a:lnTo>
                    <a:pt x="1944172" y="495572"/>
                  </a:lnTo>
                  <a:lnTo>
                    <a:pt x="1948938" y="495572"/>
                  </a:lnTo>
                  <a:lnTo>
                    <a:pt x="1948938" y="500338"/>
                  </a:lnTo>
                  <a:lnTo>
                    <a:pt x="1953704" y="505104"/>
                  </a:lnTo>
                  <a:lnTo>
                    <a:pt x="1953704" y="514634"/>
                  </a:lnTo>
                  <a:lnTo>
                    <a:pt x="1944172" y="519398"/>
                  </a:lnTo>
                  <a:lnTo>
                    <a:pt x="1934642" y="528928"/>
                  </a:lnTo>
                  <a:lnTo>
                    <a:pt x="1925112" y="528928"/>
                  </a:lnTo>
                  <a:lnTo>
                    <a:pt x="1920348" y="514634"/>
                  </a:lnTo>
                  <a:lnTo>
                    <a:pt x="1925112" y="509868"/>
                  </a:lnTo>
                  <a:close/>
                  <a:moveTo>
                    <a:pt x="1958468" y="471748"/>
                  </a:moveTo>
                  <a:lnTo>
                    <a:pt x="1967998" y="471748"/>
                  </a:lnTo>
                  <a:lnTo>
                    <a:pt x="1972764" y="471748"/>
                  </a:lnTo>
                  <a:lnTo>
                    <a:pt x="1963232" y="476514"/>
                  </a:lnTo>
                  <a:lnTo>
                    <a:pt x="1958468" y="481278"/>
                  </a:lnTo>
                  <a:lnTo>
                    <a:pt x="1944172" y="490808"/>
                  </a:lnTo>
                  <a:lnTo>
                    <a:pt x="1944172" y="486044"/>
                  </a:lnTo>
                  <a:lnTo>
                    <a:pt x="1948938" y="476514"/>
                  </a:lnTo>
                  <a:lnTo>
                    <a:pt x="1958468" y="476514"/>
                  </a:lnTo>
                  <a:close/>
                  <a:moveTo>
                    <a:pt x="1248464" y="190604"/>
                  </a:moveTo>
                  <a:lnTo>
                    <a:pt x="1262760" y="190604"/>
                  </a:lnTo>
                  <a:lnTo>
                    <a:pt x="1272290" y="200136"/>
                  </a:lnTo>
                  <a:lnTo>
                    <a:pt x="1272290" y="204900"/>
                  </a:lnTo>
                  <a:lnTo>
                    <a:pt x="1267524" y="204900"/>
                  </a:lnTo>
                  <a:lnTo>
                    <a:pt x="1248464" y="204900"/>
                  </a:lnTo>
                  <a:lnTo>
                    <a:pt x="1243700" y="200136"/>
                  </a:lnTo>
                  <a:close/>
                  <a:moveTo>
                    <a:pt x="1481954" y="162016"/>
                  </a:moveTo>
                  <a:lnTo>
                    <a:pt x="1486720" y="166780"/>
                  </a:lnTo>
                  <a:lnTo>
                    <a:pt x="1491484" y="185840"/>
                  </a:lnTo>
                  <a:lnTo>
                    <a:pt x="1491484" y="190606"/>
                  </a:lnTo>
                  <a:lnTo>
                    <a:pt x="1477190" y="204900"/>
                  </a:lnTo>
                  <a:lnTo>
                    <a:pt x="1462894" y="204900"/>
                  </a:lnTo>
                  <a:lnTo>
                    <a:pt x="1453364" y="204900"/>
                  </a:lnTo>
                  <a:lnTo>
                    <a:pt x="1448600" y="204900"/>
                  </a:lnTo>
                  <a:lnTo>
                    <a:pt x="1439068" y="195370"/>
                  </a:lnTo>
                  <a:lnTo>
                    <a:pt x="1429538" y="195370"/>
                  </a:lnTo>
                  <a:lnTo>
                    <a:pt x="1405714" y="195370"/>
                  </a:lnTo>
                  <a:lnTo>
                    <a:pt x="1400948" y="190606"/>
                  </a:lnTo>
                  <a:lnTo>
                    <a:pt x="1410478" y="181076"/>
                  </a:lnTo>
                  <a:lnTo>
                    <a:pt x="1424774" y="176310"/>
                  </a:lnTo>
                  <a:lnTo>
                    <a:pt x="1429538" y="176310"/>
                  </a:lnTo>
                  <a:lnTo>
                    <a:pt x="1434304" y="181076"/>
                  </a:lnTo>
                  <a:lnTo>
                    <a:pt x="1443834" y="185840"/>
                  </a:lnTo>
                  <a:lnTo>
                    <a:pt x="1458130" y="185840"/>
                  </a:lnTo>
                  <a:lnTo>
                    <a:pt x="1462894" y="176310"/>
                  </a:lnTo>
                  <a:close/>
                  <a:moveTo>
                    <a:pt x="524164" y="0"/>
                  </a:moveTo>
                  <a:lnTo>
                    <a:pt x="538460" y="9530"/>
                  </a:lnTo>
                  <a:lnTo>
                    <a:pt x="547990" y="19060"/>
                  </a:lnTo>
                  <a:lnTo>
                    <a:pt x="552754" y="28590"/>
                  </a:lnTo>
                  <a:lnTo>
                    <a:pt x="557520" y="57182"/>
                  </a:lnTo>
                  <a:lnTo>
                    <a:pt x="562284" y="81008"/>
                  </a:lnTo>
                  <a:lnTo>
                    <a:pt x="571816" y="100068"/>
                  </a:lnTo>
                  <a:lnTo>
                    <a:pt x="586110" y="109598"/>
                  </a:lnTo>
                  <a:lnTo>
                    <a:pt x="595640" y="109598"/>
                  </a:lnTo>
                  <a:lnTo>
                    <a:pt x="600406" y="109598"/>
                  </a:lnTo>
                  <a:lnTo>
                    <a:pt x="648058" y="104832"/>
                  </a:lnTo>
                  <a:lnTo>
                    <a:pt x="676648" y="114364"/>
                  </a:lnTo>
                  <a:lnTo>
                    <a:pt x="710004" y="119128"/>
                  </a:lnTo>
                  <a:lnTo>
                    <a:pt x="743360" y="138188"/>
                  </a:lnTo>
                  <a:lnTo>
                    <a:pt x="776716" y="162014"/>
                  </a:lnTo>
                  <a:lnTo>
                    <a:pt x="786246" y="181074"/>
                  </a:lnTo>
                  <a:lnTo>
                    <a:pt x="791010" y="195370"/>
                  </a:lnTo>
                  <a:lnTo>
                    <a:pt x="795776" y="204900"/>
                  </a:lnTo>
                  <a:lnTo>
                    <a:pt x="791010" y="219196"/>
                  </a:lnTo>
                  <a:lnTo>
                    <a:pt x="791010" y="238256"/>
                  </a:lnTo>
                  <a:lnTo>
                    <a:pt x="800542" y="257316"/>
                  </a:lnTo>
                  <a:lnTo>
                    <a:pt x="819602" y="266848"/>
                  </a:lnTo>
                  <a:lnTo>
                    <a:pt x="857722" y="271612"/>
                  </a:lnTo>
                  <a:lnTo>
                    <a:pt x="905374" y="262082"/>
                  </a:lnTo>
                  <a:lnTo>
                    <a:pt x="976850" y="257316"/>
                  </a:lnTo>
                  <a:lnTo>
                    <a:pt x="995912" y="252552"/>
                  </a:lnTo>
                  <a:lnTo>
                    <a:pt x="1115040" y="247786"/>
                  </a:lnTo>
                  <a:lnTo>
                    <a:pt x="1134100" y="257316"/>
                  </a:lnTo>
                  <a:lnTo>
                    <a:pt x="1138866" y="266848"/>
                  </a:lnTo>
                  <a:lnTo>
                    <a:pt x="1138866" y="271612"/>
                  </a:lnTo>
                  <a:lnTo>
                    <a:pt x="1172220" y="304968"/>
                  </a:lnTo>
                  <a:lnTo>
                    <a:pt x="1205576" y="309734"/>
                  </a:lnTo>
                  <a:lnTo>
                    <a:pt x="1229402" y="319264"/>
                  </a:lnTo>
                  <a:lnTo>
                    <a:pt x="1257994" y="328794"/>
                  </a:lnTo>
                  <a:lnTo>
                    <a:pt x="1286584" y="333558"/>
                  </a:lnTo>
                  <a:lnTo>
                    <a:pt x="1305644" y="333558"/>
                  </a:lnTo>
                  <a:lnTo>
                    <a:pt x="1315174" y="333558"/>
                  </a:lnTo>
                  <a:lnTo>
                    <a:pt x="1329470" y="333558"/>
                  </a:lnTo>
                  <a:lnTo>
                    <a:pt x="1434304" y="276378"/>
                  </a:lnTo>
                  <a:lnTo>
                    <a:pt x="1491484" y="276378"/>
                  </a:lnTo>
                  <a:lnTo>
                    <a:pt x="1496250" y="271612"/>
                  </a:lnTo>
                  <a:lnTo>
                    <a:pt x="1505780" y="266848"/>
                  </a:lnTo>
                  <a:lnTo>
                    <a:pt x="1486720" y="257316"/>
                  </a:lnTo>
                  <a:lnTo>
                    <a:pt x="1439068" y="257316"/>
                  </a:lnTo>
                  <a:lnTo>
                    <a:pt x="1424772" y="262082"/>
                  </a:lnTo>
                  <a:lnTo>
                    <a:pt x="1415242" y="247786"/>
                  </a:lnTo>
                  <a:lnTo>
                    <a:pt x="1434304" y="247786"/>
                  </a:lnTo>
                  <a:lnTo>
                    <a:pt x="1481954" y="243022"/>
                  </a:lnTo>
                  <a:lnTo>
                    <a:pt x="1543900" y="243022"/>
                  </a:lnTo>
                  <a:lnTo>
                    <a:pt x="1591552" y="233492"/>
                  </a:lnTo>
                  <a:lnTo>
                    <a:pt x="1615378" y="233492"/>
                  </a:lnTo>
                  <a:lnTo>
                    <a:pt x="1629674" y="233492"/>
                  </a:lnTo>
                  <a:lnTo>
                    <a:pt x="1667794" y="228726"/>
                  </a:lnTo>
                  <a:lnTo>
                    <a:pt x="1739272" y="238256"/>
                  </a:lnTo>
                  <a:lnTo>
                    <a:pt x="1796452" y="228726"/>
                  </a:lnTo>
                  <a:lnTo>
                    <a:pt x="1786922" y="238256"/>
                  </a:lnTo>
                  <a:lnTo>
                    <a:pt x="1767862" y="243022"/>
                  </a:lnTo>
                  <a:lnTo>
                    <a:pt x="1739272" y="247786"/>
                  </a:lnTo>
                  <a:lnTo>
                    <a:pt x="1715446" y="262082"/>
                  </a:lnTo>
                  <a:lnTo>
                    <a:pt x="1667794" y="257316"/>
                  </a:lnTo>
                  <a:lnTo>
                    <a:pt x="1634438" y="262082"/>
                  </a:lnTo>
                  <a:lnTo>
                    <a:pt x="1643968" y="266848"/>
                  </a:lnTo>
                  <a:lnTo>
                    <a:pt x="1643968" y="281142"/>
                  </a:lnTo>
                  <a:lnTo>
                    <a:pt x="1648734" y="281142"/>
                  </a:lnTo>
                  <a:lnTo>
                    <a:pt x="1653498" y="281142"/>
                  </a:lnTo>
                  <a:lnTo>
                    <a:pt x="1667794" y="295438"/>
                  </a:lnTo>
                  <a:lnTo>
                    <a:pt x="1667794" y="300202"/>
                  </a:lnTo>
                  <a:lnTo>
                    <a:pt x="1672560" y="314498"/>
                  </a:lnTo>
                  <a:lnTo>
                    <a:pt x="1667794" y="333558"/>
                  </a:lnTo>
                  <a:lnTo>
                    <a:pt x="1658264" y="338324"/>
                  </a:lnTo>
                  <a:lnTo>
                    <a:pt x="1672560" y="333558"/>
                  </a:lnTo>
                  <a:lnTo>
                    <a:pt x="1682090" y="328794"/>
                  </a:lnTo>
                  <a:lnTo>
                    <a:pt x="1682090" y="319264"/>
                  </a:lnTo>
                  <a:lnTo>
                    <a:pt x="1682090" y="309734"/>
                  </a:lnTo>
                  <a:lnTo>
                    <a:pt x="1691620" y="314498"/>
                  </a:lnTo>
                  <a:lnTo>
                    <a:pt x="1696384" y="319264"/>
                  </a:lnTo>
                  <a:lnTo>
                    <a:pt x="1715446" y="362150"/>
                  </a:lnTo>
                  <a:lnTo>
                    <a:pt x="1724976" y="381210"/>
                  </a:lnTo>
                  <a:lnTo>
                    <a:pt x="1729740" y="381210"/>
                  </a:lnTo>
                  <a:lnTo>
                    <a:pt x="1734506" y="381210"/>
                  </a:lnTo>
                  <a:lnTo>
                    <a:pt x="1734506" y="376444"/>
                  </a:lnTo>
                  <a:lnTo>
                    <a:pt x="1739272" y="366914"/>
                  </a:lnTo>
                  <a:lnTo>
                    <a:pt x="1748802" y="371680"/>
                  </a:lnTo>
                  <a:lnTo>
                    <a:pt x="1748802" y="376444"/>
                  </a:lnTo>
                  <a:lnTo>
                    <a:pt x="1753566" y="376444"/>
                  </a:lnTo>
                  <a:lnTo>
                    <a:pt x="1748802" y="366914"/>
                  </a:lnTo>
                  <a:lnTo>
                    <a:pt x="1753566" y="352620"/>
                  </a:lnTo>
                  <a:lnTo>
                    <a:pt x="1753566" y="347854"/>
                  </a:lnTo>
                  <a:lnTo>
                    <a:pt x="1758332" y="347854"/>
                  </a:lnTo>
                  <a:lnTo>
                    <a:pt x="1763096" y="352620"/>
                  </a:lnTo>
                  <a:lnTo>
                    <a:pt x="1772626" y="352620"/>
                  </a:lnTo>
                  <a:lnTo>
                    <a:pt x="1791688" y="366914"/>
                  </a:lnTo>
                  <a:lnTo>
                    <a:pt x="1801218" y="381210"/>
                  </a:lnTo>
                  <a:lnTo>
                    <a:pt x="1801218" y="390740"/>
                  </a:lnTo>
                  <a:lnTo>
                    <a:pt x="1805982" y="395506"/>
                  </a:lnTo>
                  <a:lnTo>
                    <a:pt x="1815512" y="400270"/>
                  </a:lnTo>
                  <a:lnTo>
                    <a:pt x="1815512" y="405036"/>
                  </a:lnTo>
                  <a:lnTo>
                    <a:pt x="1820278" y="395506"/>
                  </a:lnTo>
                  <a:lnTo>
                    <a:pt x="1815512" y="385976"/>
                  </a:lnTo>
                  <a:lnTo>
                    <a:pt x="1810748" y="376444"/>
                  </a:lnTo>
                  <a:lnTo>
                    <a:pt x="1834574" y="376444"/>
                  </a:lnTo>
                  <a:lnTo>
                    <a:pt x="1839338" y="362150"/>
                  </a:lnTo>
                  <a:lnTo>
                    <a:pt x="1853634" y="371680"/>
                  </a:lnTo>
                  <a:lnTo>
                    <a:pt x="1882224" y="405036"/>
                  </a:lnTo>
                  <a:lnTo>
                    <a:pt x="1896520" y="409800"/>
                  </a:lnTo>
                  <a:lnTo>
                    <a:pt x="1929876" y="419332"/>
                  </a:lnTo>
                  <a:lnTo>
                    <a:pt x="1953702" y="433626"/>
                  </a:lnTo>
                  <a:lnTo>
                    <a:pt x="1963232" y="447922"/>
                  </a:lnTo>
                  <a:lnTo>
                    <a:pt x="1958466" y="462218"/>
                  </a:lnTo>
                  <a:lnTo>
                    <a:pt x="1934642" y="471748"/>
                  </a:lnTo>
                  <a:lnTo>
                    <a:pt x="1929876" y="481278"/>
                  </a:lnTo>
                  <a:lnTo>
                    <a:pt x="1925112" y="490808"/>
                  </a:lnTo>
                  <a:lnTo>
                    <a:pt x="1925112" y="500338"/>
                  </a:lnTo>
                  <a:lnTo>
                    <a:pt x="1915580" y="509868"/>
                  </a:lnTo>
                  <a:lnTo>
                    <a:pt x="1915580" y="514634"/>
                  </a:lnTo>
                  <a:lnTo>
                    <a:pt x="1915580" y="528928"/>
                  </a:lnTo>
                  <a:lnTo>
                    <a:pt x="1906050" y="547990"/>
                  </a:lnTo>
                  <a:lnTo>
                    <a:pt x="1891756" y="567050"/>
                  </a:lnTo>
                  <a:lnTo>
                    <a:pt x="1834574" y="567050"/>
                  </a:lnTo>
                  <a:lnTo>
                    <a:pt x="1848868" y="576580"/>
                  </a:lnTo>
                  <a:lnTo>
                    <a:pt x="1863164" y="581346"/>
                  </a:lnTo>
                  <a:lnTo>
                    <a:pt x="1886990" y="600406"/>
                  </a:lnTo>
                  <a:lnTo>
                    <a:pt x="1901286" y="586110"/>
                  </a:lnTo>
                  <a:lnTo>
                    <a:pt x="1925112" y="586110"/>
                  </a:lnTo>
                  <a:lnTo>
                    <a:pt x="1953702" y="571816"/>
                  </a:lnTo>
                  <a:lnTo>
                    <a:pt x="1963232" y="571816"/>
                  </a:lnTo>
                  <a:lnTo>
                    <a:pt x="2015648" y="576580"/>
                  </a:lnTo>
                  <a:lnTo>
                    <a:pt x="2025178" y="567050"/>
                  </a:lnTo>
                  <a:lnTo>
                    <a:pt x="2034708" y="562284"/>
                  </a:lnTo>
                  <a:lnTo>
                    <a:pt x="2063300" y="567050"/>
                  </a:lnTo>
                  <a:lnTo>
                    <a:pt x="2087126" y="576580"/>
                  </a:lnTo>
                  <a:lnTo>
                    <a:pt x="2115716" y="614702"/>
                  </a:lnTo>
                  <a:lnTo>
                    <a:pt x="2115716" y="619466"/>
                  </a:lnTo>
                  <a:lnTo>
                    <a:pt x="2110950" y="624232"/>
                  </a:lnTo>
                  <a:lnTo>
                    <a:pt x="2091890" y="633762"/>
                  </a:lnTo>
                  <a:lnTo>
                    <a:pt x="2091890" y="638526"/>
                  </a:lnTo>
                  <a:lnTo>
                    <a:pt x="2082360" y="652822"/>
                  </a:lnTo>
                  <a:lnTo>
                    <a:pt x="2063300" y="662352"/>
                  </a:lnTo>
                  <a:lnTo>
                    <a:pt x="2044240" y="676648"/>
                  </a:lnTo>
                  <a:lnTo>
                    <a:pt x="2034708" y="686178"/>
                  </a:lnTo>
                  <a:lnTo>
                    <a:pt x="2029944" y="690944"/>
                  </a:lnTo>
                  <a:lnTo>
                    <a:pt x="2010884" y="690944"/>
                  </a:lnTo>
                  <a:lnTo>
                    <a:pt x="2001352" y="700474"/>
                  </a:lnTo>
                  <a:lnTo>
                    <a:pt x="1991822" y="719534"/>
                  </a:lnTo>
                  <a:lnTo>
                    <a:pt x="1987058" y="729064"/>
                  </a:lnTo>
                  <a:lnTo>
                    <a:pt x="1977528" y="733830"/>
                  </a:lnTo>
                  <a:lnTo>
                    <a:pt x="1977528" y="743360"/>
                  </a:lnTo>
                  <a:lnTo>
                    <a:pt x="1991822" y="762420"/>
                  </a:lnTo>
                  <a:lnTo>
                    <a:pt x="1991822" y="771950"/>
                  </a:lnTo>
                  <a:lnTo>
                    <a:pt x="1987058" y="781480"/>
                  </a:lnTo>
                  <a:lnTo>
                    <a:pt x="1991822" y="786246"/>
                  </a:lnTo>
                  <a:lnTo>
                    <a:pt x="1996588" y="795776"/>
                  </a:lnTo>
                  <a:lnTo>
                    <a:pt x="2006118" y="795776"/>
                  </a:lnTo>
                  <a:lnTo>
                    <a:pt x="2015648" y="795776"/>
                  </a:lnTo>
                  <a:lnTo>
                    <a:pt x="2025178" y="795776"/>
                  </a:lnTo>
                  <a:lnTo>
                    <a:pt x="2034708" y="795776"/>
                  </a:lnTo>
                  <a:lnTo>
                    <a:pt x="2039474" y="800542"/>
                  </a:lnTo>
                  <a:lnTo>
                    <a:pt x="2039474" y="805306"/>
                  </a:lnTo>
                  <a:lnTo>
                    <a:pt x="2034708" y="819602"/>
                  </a:lnTo>
                  <a:lnTo>
                    <a:pt x="2025178" y="829132"/>
                  </a:lnTo>
                  <a:lnTo>
                    <a:pt x="1996588" y="843428"/>
                  </a:lnTo>
                  <a:lnTo>
                    <a:pt x="1982292" y="852958"/>
                  </a:lnTo>
                  <a:lnTo>
                    <a:pt x="1977528" y="857722"/>
                  </a:lnTo>
                  <a:lnTo>
                    <a:pt x="1958466" y="852958"/>
                  </a:lnTo>
                  <a:lnTo>
                    <a:pt x="1953702" y="852958"/>
                  </a:lnTo>
                  <a:lnTo>
                    <a:pt x="1944172" y="857722"/>
                  </a:lnTo>
                  <a:lnTo>
                    <a:pt x="1944172" y="862488"/>
                  </a:lnTo>
                  <a:lnTo>
                    <a:pt x="1929876" y="862488"/>
                  </a:lnTo>
                  <a:lnTo>
                    <a:pt x="1915580" y="867252"/>
                  </a:lnTo>
                  <a:lnTo>
                    <a:pt x="1910816" y="867252"/>
                  </a:lnTo>
                  <a:lnTo>
                    <a:pt x="1906050" y="876784"/>
                  </a:lnTo>
                  <a:lnTo>
                    <a:pt x="1901286" y="886314"/>
                  </a:lnTo>
                  <a:lnTo>
                    <a:pt x="1906050" y="895844"/>
                  </a:lnTo>
                  <a:lnTo>
                    <a:pt x="1910816" y="905374"/>
                  </a:lnTo>
                  <a:lnTo>
                    <a:pt x="1910816" y="919670"/>
                  </a:lnTo>
                  <a:lnTo>
                    <a:pt x="1910816" y="943496"/>
                  </a:lnTo>
                  <a:lnTo>
                    <a:pt x="1906050" y="948260"/>
                  </a:lnTo>
                  <a:lnTo>
                    <a:pt x="1896520" y="957790"/>
                  </a:lnTo>
                  <a:lnTo>
                    <a:pt x="1886990" y="972086"/>
                  </a:lnTo>
                  <a:lnTo>
                    <a:pt x="1872694" y="986382"/>
                  </a:lnTo>
                  <a:lnTo>
                    <a:pt x="1872694" y="991146"/>
                  </a:lnTo>
                  <a:lnTo>
                    <a:pt x="1939406" y="1067388"/>
                  </a:lnTo>
                  <a:lnTo>
                    <a:pt x="1972762" y="1105510"/>
                  </a:lnTo>
                  <a:lnTo>
                    <a:pt x="1977528" y="1105510"/>
                  </a:lnTo>
                  <a:lnTo>
                    <a:pt x="1982292" y="1110274"/>
                  </a:lnTo>
                  <a:lnTo>
                    <a:pt x="1991822" y="1119804"/>
                  </a:lnTo>
                  <a:lnTo>
                    <a:pt x="1991822" y="1134100"/>
                  </a:lnTo>
                  <a:lnTo>
                    <a:pt x="1996588" y="1143630"/>
                  </a:lnTo>
                  <a:lnTo>
                    <a:pt x="1991822" y="1153160"/>
                  </a:lnTo>
                  <a:lnTo>
                    <a:pt x="1982292" y="1162690"/>
                  </a:lnTo>
                  <a:lnTo>
                    <a:pt x="1972762" y="1172222"/>
                  </a:lnTo>
                  <a:lnTo>
                    <a:pt x="1958466" y="1176986"/>
                  </a:lnTo>
                  <a:lnTo>
                    <a:pt x="1948936" y="1181752"/>
                  </a:lnTo>
                  <a:lnTo>
                    <a:pt x="1939406" y="1200812"/>
                  </a:lnTo>
                  <a:lnTo>
                    <a:pt x="1929876" y="1205576"/>
                  </a:lnTo>
                  <a:lnTo>
                    <a:pt x="1925112" y="1210342"/>
                  </a:lnTo>
                  <a:lnTo>
                    <a:pt x="1915580" y="1215108"/>
                  </a:lnTo>
                  <a:lnTo>
                    <a:pt x="1901286" y="1210342"/>
                  </a:lnTo>
                  <a:lnTo>
                    <a:pt x="1886990" y="1210342"/>
                  </a:lnTo>
                  <a:lnTo>
                    <a:pt x="1872694" y="1224638"/>
                  </a:lnTo>
                  <a:lnTo>
                    <a:pt x="1858400" y="1229402"/>
                  </a:lnTo>
                  <a:lnTo>
                    <a:pt x="1844104" y="1248464"/>
                  </a:lnTo>
                  <a:lnTo>
                    <a:pt x="1805982" y="1262758"/>
                  </a:lnTo>
                  <a:lnTo>
                    <a:pt x="1763096" y="1272288"/>
                  </a:lnTo>
                  <a:lnTo>
                    <a:pt x="1753566" y="1277054"/>
                  </a:lnTo>
                  <a:lnTo>
                    <a:pt x="1710680" y="1267524"/>
                  </a:lnTo>
                  <a:lnTo>
                    <a:pt x="1701150" y="1272288"/>
                  </a:lnTo>
                  <a:lnTo>
                    <a:pt x="1691620" y="1277054"/>
                  </a:lnTo>
                  <a:lnTo>
                    <a:pt x="1682090" y="1286584"/>
                  </a:lnTo>
                  <a:lnTo>
                    <a:pt x="1672560" y="1286584"/>
                  </a:lnTo>
                  <a:lnTo>
                    <a:pt x="1663028" y="1291350"/>
                  </a:lnTo>
                  <a:lnTo>
                    <a:pt x="1663028" y="1300880"/>
                  </a:lnTo>
                  <a:lnTo>
                    <a:pt x="1658264" y="1343766"/>
                  </a:lnTo>
                  <a:lnTo>
                    <a:pt x="1643968" y="1353296"/>
                  </a:lnTo>
                  <a:lnTo>
                    <a:pt x="1624908" y="1353296"/>
                  </a:lnTo>
                  <a:lnTo>
                    <a:pt x="1615378" y="1339000"/>
                  </a:lnTo>
                  <a:lnTo>
                    <a:pt x="1601082" y="1329470"/>
                  </a:lnTo>
                  <a:lnTo>
                    <a:pt x="1572492" y="1305644"/>
                  </a:lnTo>
                  <a:lnTo>
                    <a:pt x="1567726" y="1300880"/>
                  </a:lnTo>
                  <a:lnTo>
                    <a:pt x="1562962" y="1300880"/>
                  </a:lnTo>
                  <a:lnTo>
                    <a:pt x="1539136" y="1305644"/>
                  </a:lnTo>
                  <a:lnTo>
                    <a:pt x="1524840" y="1305644"/>
                  </a:lnTo>
                  <a:lnTo>
                    <a:pt x="1520076" y="1300880"/>
                  </a:lnTo>
                  <a:lnTo>
                    <a:pt x="1501014" y="1300880"/>
                  </a:lnTo>
                  <a:lnTo>
                    <a:pt x="1462894" y="1300880"/>
                  </a:lnTo>
                  <a:lnTo>
                    <a:pt x="1453364" y="1296114"/>
                  </a:lnTo>
                  <a:lnTo>
                    <a:pt x="1443834" y="1281820"/>
                  </a:lnTo>
                  <a:lnTo>
                    <a:pt x="1439068" y="1277054"/>
                  </a:lnTo>
                  <a:lnTo>
                    <a:pt x="1434304" y="1272288"/>
                  </a:lnTo>
                  <a:lnTo>
                    <a:pt x="1424772" y="1267524"/>
                  </a:lnTo>
                  <a:lnTo>
                    <a:pt x="1381886" y="1272288"/>
                  </a:lnTo>
                  <a:lnTo>
                    <a:pt x="1372356" y="1272288"/>
                  </a:lnTo>
                  <a:lnTo>
                    <a:pt x="1367592" y="1267524"/>
                  </a:lnTo>
                  <a:lnTo>
                    <a:pt x="1358060" y="1253228"/>
                  </a:lnTo>
                  <a:lnTo>
                    <a:pt x="1353296" y="1248464"/>
                  </a:lnTo>
                  <a:lnTo>
                    <a:pt x="1339000" y="1248464"/>
                  </a:lnTo>
                  <a:lnTo>
                    <a:pt x="1334236" y="1253228"/>
                  </a:lnTo>
                  <a:lnTo>
                    <a:pt x="1353296" y="1277054"/>
                  </a:lnTo>
                  <a:lnTo>
                    <a:pt x="1358060" y="1291350"/>
                  </a:lnTo>
                  <a:lnTo>
                    <a:pt x="1377122" y="1305644"/>
                  </a:lnTo>
                  <a:lnTo>
                    <a:pt x="1420008" y="1343766"/>
                  </a:lnTo>
                  <a:lnTo>
                    <a:pt x="1429538" y="1358060"/>
                  </a:lnTo>
                  <a:lnTo>
                    <a:pt x="1429538" y="1372356"/>
                  </a:lnTo>
                  <a:lnTo>
                    <a:pt x="1429538" y="1396182"/>
                  </a:lnTo>
                  <a:lnTo>
                    <a:pt x="1429538" y="1415242"/>
                  </a:lnTo>
                  <a:lnTo>
                    <a:pt x="1443834" y="1448598"/>
                  </a:lnTo>
                  <a:lnTo>
                    <a:pt x="1458128" y="1477190"/>
                  </a:lnTo>
                  <a:lnTo>
                    <a:pt x="1462894" y="1501014"/>
                  </a:lnTo>
                  <a:lnTo>
                    <a:pt x="1458128" y="1515310"/>
                  </a:lnTo>
                  <a:lnTo>
                    <a:pt x="1458128" y="1524840"/>
                  </a:lnTo>
                  <a:lnTo>
                    <a:pt x="1458128" y="1529606"/>
                  </a:lnTo>
                  <a:lnTo>
                    <a:pt x="1477190" y="1534370"/>
                  </a:lnTo>
                  <a:lnTo>
                    <a:pt x="1510544" y="1534370"/>
                  </a:lnTo>
                  <a:lnTo>
                    <a:pt x="1529606" y="1534370"/>
                  </a:lnTo>
                  <a:lnTo>
                    <a:pt x="1558196" y="1539136"/>
                  </a:lnTo>
                  <a:lnTo>
                    <a:pt x="1562962" y="1553432"/>
                  </a:lnTo>
                  <a:lnTo>
                    <a:pt x="1558196" y="1567726"/>
                  </a:lnTo>
                  <a:lnTo>
                    <a:pt x="1553432" y="1582022"/>
                  </a:lnTo>
                  <a:lnTo>
                    <a:pt x="1548666" y="1582022"/>
                  </a:lnTo>
                  <a:lnTo>
                    <a:pt x="1529606" y="1586788"/>
                  </a:lnTo>
                  <a:lnTo>
                    <a:pt x="1515310" y="1596318"/>
                  </a:lnTo>
                  <a:lnTo>
                    <a:pt x="1486720" y="1605848"/>
                  </a:lnTo>
                  <a:lnTo>
                    <a:pt x="1472424" y="1610612"/>
                  </a:lnTo>
                  <a:lnTo>
                    <a:pt x="1467658" y="1610612"/>
                  </a:lnTo>
                  <a:lnTo>
                    <a:pt x="1462894" y="1615378"/>
                  </a:lnTo>
                  <a:lnTo>
                    <a:pt x="1458128" y="1620144"/>
                  </a:lnTo>
                  <a:lnTo>
                    <a:pt x="1453364" y="1639204"/>
                  </a:lnTo>
                  <a:lnTo>
                    <a:pt x="1443834" y="1663030"/>
                  </a:lnTo>
                  <a:lnTo>
                    <a:pt x="1429538" y="1677324"/>
                  </a:lnTo>
                  <a:lnTo>
                    <a:pt x="1415242" y="1691620"/>
                  </a:lnTo>
                  <a:lnTo>
                    <a:pt x="1400948" y="1691620"/>
                  </a:lnTo>
                  <a:lnTo>
                    <a:pt x="1386652" y="1691620"/>
                  </a:lnTo>
                  <a:lnTo>
                    <a:pt x="1381886" y="1691620"/>
                  </a:lnTo>
                  <a:lnTo>
                    <a:pt x="1372356" y="1701150"/>
                  </a:lnTo>
                  <a:lnTo>
                    <a:pt x="1358060" y="1715446"/>
                  </a:lnTo>
                  <a:lnTo>
                    <a:pt x="1348530" y="1720210"/>
                  </a:lnTo>
                  <a:lnTo>
                    <a:pt x="1334236" y="1720210"/>
                  </a:lnTo>
                  <a:lnTo>
                    <a:pt x="1319940" y="1724976"/>
                  </a:lnTo>
                  <a:lnTo>
                    <a:pt x="1305644" y="1734506"/>
                  </a:lnTo>
                  <a:lnTo>
                    <a:pt x="1291350" y="1744036"/>
                  </a:lnTo>
                  <a:lnTo>
                    <a:pt x="1281818" y="1758332"/>
                  </a:lnTo>
                  <a:lnTo>
                    <a:pt x="1267524" y="1772628"/>
                  </a:lnTo>
                  <a:lnTo>
                    <a:pt x="1253228" y="1782158"/>
                  </a:lnTo>
                  <a:lnTo>
                    <a:pt x="1243698" y="1791688"/>
                  </a:lnTo>
                  <a:lnTo>
                    <a:pt x="1234168" y="1810748"/>
                  </a:lnTo>
                  <a:lnTo>
                    <a:pt x="1219872" y="1810748"/>
                  </a:lnTo>
                  <a:lnTo>
                    <a:pt x="1219872" y="1801218"/>
                  </a:lnTo>
                  <a:lnTo>
                    <a:pt x="1224638" y="1786922"/>
                  </a:lnTo>
                  <a:lnTo>
                    <a:pt x="1219872" y="1772628"/>
                  </a:lnTo>
                  <a:lnTo>
                    <a:pt x="1205576" y="1763096"/>
                  </a:lnTo>
                  <a:lnTo>
                    <a:pt x="1200812" y="1763096"/>
                  </a:lnTo>
                  <a:lnTo>
                    <a:pt x="1196046" y="1763096"/>
                  </a:lnTo>
                  <a:lnTo>
                    <a:pt x="1181752" y="1772628"/>
                  </a:lnTo>
                  <a:lnTo>
                    <a:pt x="1162690" y="1782158"/>
                  </a:lnTo>
                  <a:lnTo>
                    <a:pt x="1153160" y="1791688"/>
                  </a:lnTo>
                  <a:lnTo>
                    <a:pt x="1143630" y="1791688"/>
                  </a:lnTo>
                  <a:lnTo>
                    <a:pt x="1119804" y="1796452"/>
                  </a:lnTo>
                  <a:lnTo>
                    <a:pt x="1105510" y="1801218"/>
                  </a:lnTo>
                  <a:lnTo>
                    <a:pt x="1095980" y="1796452"/>
                  </a:lnTo>
                  <a:lnTo>
                    <a:pt x="1086448" y="1786922"/>
                  </a:lnTo>
                  <a:lnTo>
                    <a:pt x="1053092" y="1763096"/>
                  </a:lnTo>
                  <a:lnTo>
                    <a:pt x="1014972" y="1724976"/>
                  </a:lnTo>
                  <a:lnTo>
                    <a:pt x="1010206" y="1715446"/>
                  </a:lnTo>
                  <a:lnTo>
                    <a:pt x="1014972" y="1705916"/>
                  </a:lnTo>
                  <a:lnTo>
                    <a:pt x="1005442" y="1686854"/>
                  </a:lnTo>
                  <a:lnTo>
                    <a:pt x="1000676" y="1672560"/>
                  </a:lnTo>
                  <a:lnTo>
                    <a:pt x="995912" y="1667794"/>
                  </a:lnTo>
                  <a:lnTo>
                    <a:pt x="995912" y="1653498"/>
                  </a:lnTo>
                  <a:lnTo>
                    <a:pt x="986382" y="1629674"/>
                  </a:lnTo>
                  <a:lnTo>
                    <a:pt x="981616" y="1615378"/>
                  </a:lnTo>
                  <a:lnTo>
                    <a:pt x="976850" y="1605848"/>
                  </a:lnTo>
                  <a:lnTo>
                    <a:pt x="976850" y="1596318"/>
                  </a:lnTo>
                  <a:lnTo>
                    <a:pt x="976850" y="1586788"/>
                  </a:lnTo>
                  <a:lnTo>
                    <a:pt x="967320" y="1582022"/>
                  </a:lnTo>
                  <a:lnTo>
                    <a:pt x="962556" y="1562962"/>
                  </a:lnTo>
                  <a:lnTo>
                    <a:pt x="962556" y="1553432"/>
                  </a:lnTo>
                  <a:lnTo>
                    <a:pt x="962556" y="1543900"/>
                  </a:lnTo>
                  <a:lnTo>
                    <a:pt x="957790" y="1539136"/>
                  </a:lnTo>
                  <a:lnTo>
                    <a:pt x="948260" y="1529606"/>
                  </a:lnTo>
                  <a:lnTo>
                    <a:pt x="933964" y="1515310"/>
                  </a:lnTo>
                  <a:lnTo>
                    <a:pt x="919670" y="1505780"/>
                  </a:lnTo>
                  <a:lnTo>
                    <a:pt x="910140" y="1496250"/>
                  </a:lnTo>
                  <a:lnTo>
                    <a:pt x="905374" y="1496250"/>
                  </a:lnTo>
                  <a:lnTo>
                    <a:pt x="900608" y="1486720"/>
                  </a:lnTo>
                  <a:lnTo>
                    <a:pt x="900608" y="1481954"/>
                  </a:lnTo>
                  <a:lnTo>
                    <a:pt x="891078" y="1477190"/>
                  </a:lnTo>
                  <a:lnTo>
                    <a:pt x="876784" y="1472424"/>
                  </a:lnTo>
                  <a:lnTo>
                    <a:pt x="862488" y="1481954"/>
                  </a:lnTo>
                  <a:lnTo>
                    <a:pt x="862488" y="1472424"/>
                  </a:lnTo>
                  <a:lnTo>
                    <a:pt x="867252" y="1462894"/>
                  </a:lnTo>
                  <a:lnTo>
                    <a:pt x="914904" y="1420008"/>
                  </a:lnTo>
                  <a:lnTo>
                    <a:pt x="938730" y="1396182"/>
                  </a:lnTo>
                  <a:lnTo>
                    <a:pt x="943496" y="1396182"/>
                  </a:lnTo>
                  <a:lnTo>
                    <a:pt x="943496" y="1391416"/>
                  </a:lnTo>
                  <a:lnTo>
                    <a:pt x="948260" y="1381886"/>
                  </a:lnTo>
                  <a:lnTo>
                    <a:pt x="938730" y="1377122"/>
                  </a:lnTo>
                  <a:lnTo>
                    <a:pt x="919670" y="1339000"/>
                  </a:lnTo>
                  <a:lnTo>
                    <a:pt x="910140" y="1334236"/>
                  </a:lnTo>
                  <a:lnTo>
                    <a:pt x="900608" y="1329470"/>
                  </a:lnTo>
                  <a:lnTo>
                    <a:pt x="891078" y="1315174"/>
                  </a:lnTo>
                  <a:lnTo>
                    <a:pt x="881548" y="1277054"/>
                  </a:lnTo>
                  <a:lnTo>
                    <a:pt x="872018" y="1262758"/>
                  </a:lnTo>
                  <a:lnTo>
                    <a:pt x="872018" y="1248464"/>
                  </a:lnTo>
                  <a:lnTo>
                    <a:pt x="872018" y="1234168"/>
                  </a:lnTo>
                  <a:lnTo>
                    <a:pt x="867252" y="1219872"/>
                  </a:lnTo>
                  <a:lnTo>
                    <a:pt x="862488" y="1210342"/>
                  </a:lnTo>
                  <a:lnTo>
                    <a:pt x="862488" y="1186516"/>
                  </a:lnTo>
                  <a:lnTo>
                    <a:pt x="867252" y="1143630"/>
                  </a:lnTo>
                  <a:lnTo>
                    <a:pt x="872018" y="1115040"/>
                  </a:lnTo>
                  <a:lnTo>
                    <a:pt x="867252" y="1091214"/>
                  </a:lnTo>
                  <a:lnTo>
                    <a:pt x="872018" y="1076918"/>
                  </a:lnTo>
                  <a:lnTo>
                    <a:pt x="886314" y="1062624"/>
                  </a:lnTo>
                  <a:lnTo>
                    <a:pt x="895844" y="1048328"/>
                  </a:lnTo>
                  <a:lnTo>
                    <a:pt x="895844" y="1024502"/>
                  </a:lnTo>
                  <a:lnTo>
                    <a:pt x="905374" y="1005442"/>
                  </a:lnTo>
                  <a:lnTo>
                    <a:pt x="919670" y="991146"/>
                  </a:lnTo>
                  <a:lnTo>
                    <a:pt x="929200" y="972086"/>
                  </a:lnTo>
                  <a:lnTo>
                    <a:pt x="919670" y="957790"/>
                  </a:lnTo>
                  <a:lnTo>
                    <a:pt x="919670" y="948260"/>
                  </a:lnTo>
                  <a:lnTo>
                    <a:pt x="905374" y="938730"/>
                  </a:lnTo>
                  <a:lnTo>
                    <a:pt x="881548" y="933964"/>
                  </a:lnTo>
                  <a:lnTo>
                    <a:pt x="862488" y="933964"/>
                  </a:lnTo>
                  <a:lnTo>
                    <a:pt x="848192" y="938730"/>
                  </a:lnTo>
                  <a:lnTo>
                    <a:pt x="814836" y="948260"/>
                  </a:lnTo>
                  <a:lnTo>
                    <a:pt x="767186" y="953026"/>
                  </a:lnTo>
                  <a:lnTo>
                    <a:pt x="724300" y="953026"/>
                  </a:lnTo>
                  <a:lnTo>
                    <a:pt x="690944" y="948260"/>
                  </a:lnTo>
                  <a:lnTo>
                    <a:pt x="667118" y="948260"/>
                  </a:lnTo>
                  <a:lnTo>
                    <a:pt x="652822" y="957790"/>
                  </a:lnTo>
                  <a:lnTo>
                    <a:pt x="643292" y="962556"/>
                  </a:lnTo>
                  <a:lnTo>
                    <a:pt x="633762" y="957790"/>
                  </a:lnTo>
                  <a:lnTo>
                    <a:pt x="628996" y="953026"/>
                  </a:lnTo>
                  <a:lnTo>
                    <a:pt x="614702" y="957790"/>
                  </a:lnTo>
                  <a:lnTo>
                    <a:pt x="590876" y="929200"/>
                  </a:lnTo>
                  <a:lnTo>
                    <a:pt x="567050" y="900608"/>
                  </a:lnTo>
                  <a:lnTo>
                    <a:pt x="543224" y="867252"/>
                  </a:lnTo>
                  <a:lnTo>
                    <a:pt x="514634" y="829132"/>
                  </a:lnTo>
                  <a:lnTo>
                    <a:pt x="505104" y="829132"/>
                  </a:lnTo>
                  <a:lnTo>
                    <a:pt x="495574" y="829132"/>
                  </a:lnTo>
                  <a:lnTo>
                    <a:pt x="486042" y="829132"/>
                  </a:lnTo>
                  <a:lnTo>
                    <a:pt x="466982" y="824366"/>
                  </a:lnTo>
                  <a:lnTo>
                    <a:pt x="452686" y="819602"/>
                  </a:lnTo>
                  <a:lnTo>
                    <a:pt x="443156" y="814836"/>
                  </a:lnTo>
                  <a:lnTo>
                    <a:pt x="424096" y="810072"/>
                  </a:lnTo>
                  <a:lnTo>
                    <a:pt x="409800" y="805306"/>
                  </a:lnTo>
                  <a:lnTo>
                    <a:pt x="400270" y="810072"/>
                  </a:lnTo>
                  <a:lnTo>
                    <a:pt x="366914" y="819602"/>
                  </a:lnTo>
                  <a:lnTo>
                    <a:pt x="352620" y="824366"/>
                  </a:lnTo>
                  <a:lnTo>
                    <a:pt x="338324" y="824366"/>
                  </a:lnTo>
                  <a:lnTo>
                    <a:pt x="300202" y="814836"/>
                  </a:lnTo>
                  <a:lnTo>
                    <a:pt x="271612" y="814836"/>
                  </a:lnTo>
                  <a:lnTo>
                    <a:pt x="243022" y="819602"/>
                  </a:lnTo>
                  <a:lnTo>
                    <a:pt x="233492" y="824366"/>
                  </a:lnTo>
                  <a:lnTo>
                    <a:pt x="214430" y="814836"/>
                  </a:lnTo>
                  <a:lnTo>
                    <a:pt x="200136" y="805306"/>
                  </a:lnTo>
                  <a:lnTo>
                    <a:pt x="190606" y="781480"/>
                  </a:lnTo>
                  <a:lnTo>
                    <a:pt x="181074" y="762420"/>
                  </a:lnTo>
                  <a:lnTo>
                    <a:pt x="166780" y="757656"/>
                  </a:lnTo>
                  <a:lnTo>
                    <a:pt x="152484" y="752890"/>
                  </a:lnTo>
                  <a:lnTo>
                    <a:pt x="147718" y="748124"/>
                  </a:lnTo>
                  <a:lnTo>
                    <a:pt x="138188" y="738594"/>
                  </a:lnTo>
                  <a:lnTo>
                    <a:pt x="138188" y="724300"/>
                  </a:lnTo>
                  <a:lnTo>
                    <a:pt x="142954" y="700474"/>
                  </a:lnTo>
                  <a:lnTo>
                    <a:pt x="142954" y="690944"/>
                  </a:lnTo>
                  <a:lnTo>
                    <a:pt x="142954" y="667118"/>
                  </a:lnTo>
                  <a:lnTo>
                    <a:pt x="152484" y="657588"/>
                  </a:lnTo>
                  <a:lnTo>
                    <a:pt x="157250" y="648058"/>
                  </a:lnTo>
                  <a:lnTo>
                    <a:pt x="157250" y="638526"/>
                  </a:lnTo>
                  <a:lnTo>
                    <a:pt x="152484" y="619466"/>
                  </a:lnTo>
                  <a:lnTo>
                    <a:pt x="147718" y="605172"/>
                  </a:lnTo>
                  <a:lnTo>
                    <a:pt x="109598" y="562284"/>
                  </a:lnTo>
                  <a:lnTo>
                    <a:pt x="100068" y="528928"/>
                  </a:lnTo>
                  <a:lnTo>
                    <a:pt x="90538" y="486042"/>
                  </a:lnTo>
                  <a:lnTo>
                    <a:pt x="81008" y="481278"/>
                  </a:lnTo>
                  <a:lnTo>
                    <a:pt x="71476" y="486042"/>
                  </a:lnTo>
                  <a:lnTo>
                    <a:pt x="66712" y="481278"/>
                  </a:lnTo>
                  <a:lnTo>
                    <a:pt x="57182" y="466982"/>
                  </a:lnTo>
                  <a:lnTo>
                    <a:pt x="47652" y="462218"/>
                  </a:lnTo>
                  <a:lnTo>
                    <a:pt x="38122" y="471748"/>
                  </a:lnTo>
                  <a:lnTo>
                    <a:pt x="28590" y="476512"/>
                  </a:lnTo>
                  <a:lnTo>
                    <a:pt x="4766" y="476512"/>
                  </a:lnTo>
                  <a:lnTo>
                    <a:pt x="0" y="476512"/>
                  </a:lnTo>
                  <a:lnTo>
                    <a:pt x="0" y="471748"/>
                  </a:lnTo>
                  <a:lnTo>
                    <a:pt x="14296" y="452688"/>
                  </a:lnTo>
                  <a:lnTo>
                    <a:pt x="23826" y="433626"/>
                  </a:lnTo>
                  <a:lnTo>
                    <a:pt x="38122" y="419332"/>
                  </a:lnTo>
                  <a:lnTo>
                    <a:pt x="47652" y="400270"/>
                  </a:lnTo>
                  <a:lnTo>
                    <a:pt x="57182" y="381210"/>
                  </a:lnTo>
                  <a:lnTo>
                    <a:pt x="61946" y="343090"/>
                  </a:lnTo>
                  <a:lnTo>
                    <a:pt x="66712" y="314498"/>
                  </a:lnTo>
                  <a:lnTo>
                    <a:pt x="76242" y="266848"/>
                  </a:lnTo>
                  <a:lnTo>
                    <a:pt x="100068" y="228726"/>
                  </a:lnTo>
                  <a:lnTo>
                    <a:pt x="104832" y="214430"/>
                  </a:lnTo>
                  <a:lnTo>
                    <a:pt x="123894" y="190606"/>
                  </a:lnTo>
                  <a:lnTo>
                    <a:pt x="133424" y="181074"/>
                  </a:lnTo>
                  <a:lnTo>
                    <a:pt x="142954" y="171544"/>
                  </a:lnTo>
                  <a:lnTo>
                    <a:pt x="176310" y="157250"/>
                  </a:lnTo>
                  <a:lnTo>
                    <a:pt x="214430" y="90538"/>
                  </a:lnTo>
                  <a:lnTo>
                    <a:pt x="219196" y="81008"/>
                  </a:lnTo>
                  <a:lnTo>
                    <a:pt x="257316" y="71476"/>
                  </a:lnTo>
                  <a:lnTo>
                    <a:pt x="285908" y="66712"/>
                  </a:lnTo>
                  <a:lnTo>
                    <a:pt x="309734" y="57182"/>
                  </a:lnTo>
                  <a:lnTo>
                    <a:pt x="314498" y="52416"/>
                  </a:lnTo>
                  <a:lnTo>
                    <a:pt x="319264" y="52416"/>
                  </a:lnTo>
                  <a:lnTo>
                    <a:pt x="314498" y="57182"/>
                  </a:lnTo>
                  <a:lnTo>
                    <a:pt x="304968" y="66712"/>
                  </a:lnTo>
                  <a:lnTo>
                    <a:pt x="295438" y="71476"/>
                  </a:lnTo>
                  <a:lnTo>
                    <a:pt x="233492" y="85772"/>
                  </a:lnTo>
                  <a:lnTo>
                    <a:pt x="228726" y="90538"/>
                  </a:lnTo>
                  <a:lnTo>
                    <a:pt x="219196" y="95302"/>
                  </a:lnTo>
                  <a:lnTo>
                    <a:pt x="219196" y="109598"/>
                  </a:lnTo>
                  <a:lnTo>
                    <a:pt x="223960" y="123894"/>
                  </a:lnTo>
                  <a:lnTo>
                    <a:pt x="238256" y="157250"/>
                  </a:lnTo>
                  <a:lnTo>
                    <a:pt x="247786" y="166780"/>
                  </a:lnTo>
                  <a:lnTo>
                    <a:pt x="271612" y="185840"/>
                  </a:lnTo>
                  <a:lnTo>
                    <a:pt x="266848" y="190606"/>
                  </a:lnTo>
                  <a:lnTo>
                    <a:pt x="257316" y="190606"/>
                  </a:lnTo>
                  <a:lnTo>
                    <a:pt x="262082" y="214430"/>
                  </a:lnTo>
                  <a:lnTo>
                    <a:pt x="276378" y="233492"/>
                  </a:lnTo>
                  <a:lnTo>
                    <a:pt x="276378" y="243022"/>
                  </a:lnTo>
                  <a:lnTo>
                    <a:pt x="266848" y="276378"/>
                  </a:lnTo>
                  <a:lnTo>
                    <a:pt x="247786" y="295438"/>
                  </a:lnTo>
                  <a:lnTo>
                    <a:pt x="233492" y="319264"/>
                  </a:lnTo>
                  <a:lnTo>
                    <a:pt x="223960" y="328794"/>
                  </a:lnTo>
                  <a:lnTo>
                    <a:pt x="195370" y="376444"/>
                  </a:lnTo>
                  <a:lnTo>
                    <a:pt x="214430" y="405036"/>
                  </a:lnTo>
                  <a:lnTo>
                    <a:pt x="219196" y="419332"/>
                  </a:lnTo>
                  <a:lnTo>
                    <a:pt x="233492" y="438392"/>
                  </a:lnTo>
                  <a:lnTo>
                    <a:pt x="243022" y="443156"/>
                  </a:lnTo>
                  <a:lnTo>
                    <a:pt x="252552" y="452688"/>
                  </a:lnTo>
                  <a:lnTo>
                    <a:pt x="247786" y="466982"/>
                  </a:lnTo>
                  <a:lnTo>
                    <a:pt x="252552" y="486042"/>
                  </a:lnTo>
                  <a:lnTo>
                    <a:pt x="262082" y="495574"/>
                  </a:lnTo>
                  <a:lnTo>
                    <a:pt x="271612" y="495574"/>
                  </a:lnTo>
                  <a:lnTo>
                    <a:pt x="285908" y="495574"/>
                  </a:lnTo>
                  <a:lnTo>
                    <a:pt x="324028" y="486042"/>
                  </a:lnTo>
                  <a:lnTo>
                    <a:pt x="333558" y="481278"/>
                  </a:lnTo>
                  <a:lnTo>
                    <a:pt x="338324" y="471748"/>
                  </a:lnTo>
                  <a:lnTo>
                    <a:pt x="357384" y="452688"/>
                  </a:lnTo>
                  <a:lnTo>
                    <a:pt x="357384" y="424096"/>
                  </a:lnTo>
                  <a:lnTo>
                    <a:pt x="362150" y="395506"/>
                  </a:lnTo>
                  <a:lnTo>
                    <a:pt x="357384" y="371680"/>
                  </a:lnTo>
                  <a:lnTo>
                    <a:pt x="338324" y="343090"/>
                  </a:lnTo>
                  <a:lnTo>
                    <a:pt x="328794" y="324028"/>
                  </a:lnTo>
                  <a:lnTo>
                    <a:pt x="309734" y="304968"/>
                  </a:lnTo>
                  <a:lnTo>
                    <a:pt x="300202" y="271612"/>
                  </a:lnTo>
                  <a:lnTo>
                    <a:pt x="295438" y="262082"/>
                  </a:lnTo>
                  <a:lnTo>
                    <a:pt x="290672" y="247786"/>
                  </a:lnTo>
                  <a:lnTo>
                    <a:pt x="285908" y="223960"/>
                  </a:lnTo>
                  <a:lnTo>
                    <a:pt x="300202" y="214430"/>
                  </a:lnTo>
                  <a:lnTo>
                    <a:pt x="295438" y="195370"/>
                  </a:lnTo>
                  <a:lnTo>
                    <a:pt x="328794" y="185840"/>
                  </a:lnTo>
                  <a:lnTo>
                    <a:pt x="400270" y="152484"/>
                  </a:lnTo>
                  <a:lnTo>
                    <a:pt x="443156" y="147718"/>
                  </a:lnTo>
                  <a:lnTo>
                    <a:pt x="490808" y="128658"/>
                  </a:lnTo>
                  <a:lnTo>
                    <a:pt x="500338" y="119128"/>
                  </a:lnTo>
                  <a:lnTo>
                    <a:pt x="509868" y="104832"/>
                  </a:lnTo>
                  <a:lnTo>
                    <a:pt x="519398" y="104832"/>
                  </a:lnTo>
                  <a:lnTo>
                    <a:pt x="543224" y="119128"/>
                  </a:lnTo>
                  <a:lnTo>
                    <a:pt x="557520" y="114364"/>
                  </a:lnTo>
                  <a:lnTo>
                    <a:pt x="562284" y="100068"/>
                  </a:lnTo>
                  <a:lnTo>
                    <a:pt x="557520" y="81008"/>
                  </a:lnTo>
                  <a:lnTo>
                    <a:pt x="538460" y="81008"/>
                  </a:lnTo>
                  <a:lnTo>
                    <a:pt x="495574" y="90538"/>
                  </a:lnTo>
                  <a:lnTo>
                    <a:pt x="490808" y="81008"/>
                  </a:lnTo>
                  <a:lnTo>
                    <a:pt x="490808" y="71476"/>
                  </a:lnTo>
                  <a:lnTo>
                    <a:pt x="481278" y="47652"/>
                  </a:lnTo>
                  <a:lnTo>
                    <a:pt x="486042" y="28590"/>
                  </a:lnTo>
                  <a:lnTo>
                    <a:pt x="495574" y="14296"/>
                  </a:lnTo>
                  <a:lnTo>
                    <a:pt x="509868" y="476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5" name="Freeform 383">
              <a:extLst>
                <a:ext uri="{FF2B5EF4-FFF2-40B4-BE49-F238E27FC236}">
                  <a16:creationId xmlns:a16="http://schemas.microsoft.com/office/drawing/2014/main" id="{F3839E91-7205-4749-9B33-64B03359C0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63424" y="4926843"/>
              <a:ext cx="10792" cy="10021"/>
            </a:xfrm>
            <a:custGeom>
              <a:avLst/>
              <a:gdLst>
                <a:gd name="connsiteX0" fmla="*/ 9530 w 66712"/>
                <a:gd name="connsiteY0" fmla="*/ 52416 h 61946"/>
                <a:gd name="connsiteX1" fmla="*/ 23826 w 66712"/>
                <a:gd name="connsiteY1" fmla="*/ 52416 h 61946"/>
                <a:gd name="connsiteX2" fmla="*/ 19060 w 66712"/>
                <a:gd name="connsiteY2" fmla="*/ 57180 h 61946"/>
                <a:gd name="connsiteX3" fmla="*/ 4766 w 66712"/>
                <a:gd name="connsiteY3" fmla="*/ 61946 h 61946"/>
                <a:gd name="connsiteX4" fmla="*/ 0 w 66712"/>
                <a:gd name="connsiteY4" fmla="*/ 57180 h 61946"/>
                <a:gd name="connsiteX5" fmla="*/ 61948 w 66712"/>
                <a:gd name="connsiteY5" fmla="*/ 38120 h 61946"/>
                <a:gd name="connsiteX6" fmla="*/ 47652 w 66712"/>
                <a:gd name="connsiteY6" fmla="*/ 47652 h 61946"/>
                <a:gd name="connsiteX7" fmla="*/ 42888 w 66712"/>
                <a:gd name="connsiteY7" fmla="*/ 52416 h 61946"/>
                <a:gd name="connsiteX8" fmla="*/ 42888 w 66712"/>
                <a:gd name="connsiteY8" fmla="*/ 47652 h 61946"/>
                <a:gd name="connsiteX9" fmla="*/ 42888 w 66712"/>
                <a:gd name="connsiteY9" fmla="*/ 42886 h 61946"/>
                <a:gd name="connsiteX10" fmla="*/ 47652 w 66712"/>
                <a:gd name="connsiteY10" fmla="*/ 0 h 61946"/>
                <a:gd name="connsiteX11" fmla="*/ 61948 w 66712"/>
                <a:gd name="connsiteY11" fmla="*/ 0 h 61946"/>
                <a:gd name="connsiteX12" fmla="*/ 66712 w 66712"/>
                <a:gd name="connsiteY12" fmla="*/ 4764 h 61946"/>
                <a:gd name="connsiteX13" fmla="*/ 66712 w 66712"/>
                <a:gd name="connsiteY13" fmla="*/ 9530 h 61946"/>
                <a:gd name="connsiteX14" fmla="*/ 57182 w 66712"/>
                <a:gd name="connsiteY14" fmla="*/ 4764 h 61946"/>
                <a:gd name="connsiteX15" fmla="*/ 52418 w 66712"/>
                <a:gd name="connsiteY15" fmla="*/ 4764 h 61946"/>
                <a:gd name="connsiteX16" fmla="*/ 47652 w 66712"/>
                <a:gd name="connsiteY16" fmla="*/ 4764 h 61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6712" h="61946">
                  <a:moveTo>
                    <a:pt x="9530" y="52416"/>
                  </a:moveTo>
                  <a:lnTo>
                    <a:pt x="23826" y="52416"/>
                  </a:lnTo>
                  <a:lnTo>
                    <a:pt x="19060" y="57180"/>
                  </a:lnTo>
                  <a:lnTo>
                    <a:pt x="4766" y="61946"/>
                  </a:lnTo>
                  <a:lnTo>
                    <a:pt x="0" y="57180"/>
                  </a:lnTo>
                  <a:close/>
                  <a:moveTo>
                    <a:pt x="61948" y="38120"/>
                  </a:moveTo>
                  <a:lnTo>
                    <a:pt x="47652" y="47652"/>
                  </a:lnTo>
                  <a:lnTo>
                    <a:pt x="42888" y="52416"/>
                  </a:lnTo>
                  <a:lnTo>
                    <a:pt x="42888" y="47652"/>
                  </a:lnTo>
                  <a:lnTo>
                    <a:pt x="42888" y="42886"/>
                  </a:lnTo>
                  <a:close/>
                  <a:moveTo>
                    <a:pt x="47652" y="0"/>
                  </a:moveTo>
                  <a:lnTo>
                    <a:pt x="61948" y="0"/>
                  </a:lnTo>
                  <a:lnTo>
                    <a:pt x="66712" y="4764"/>
                  </a:lnTo>
                  <a:lnTo>
                    <a:pt x="66712" y="9530"/>
                  </a:lnTo>
                  <a:lnTo>
                    <a:pt x="57182" y="4764"/>
                  </a:lnTo>
                  <a:lnTo>
                    <a:pt x="52418" y="4764"/>
                  </a:lnTo>
                  <a:lnTo>
                    <a:pt x="47652" y="476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6" name="Freeform 384">
              <a:extLst>
                <a:ext uri="{FF2B5EF4-FFF2-40B4-BE49-F238E27FC236}">
                  <a16:creationId xmlns:a16="http://schemas.microsoft.com/office/drawing/2014/main" id="{1C2EC33C-02E6-4615-8D42-3D27F21C39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5715" y="4936864"/>
              <a:ext cx="10792" cy="18501"/>
            </a:xfrm>
            <a:custGeom>
              <a:avLst/>
              <a:gdLst>
                <a:gd name="connsiteX0" fmla="*/ 38122 w 66712"/>
                <a:gd name="connsiteY0" fmla="*/ 95302 h 114364"/>
                <a:gd name="connsiteX1" fmla="*/ 52418 w 66712"/>
                <a:gd name="connsiteY1" fmla="*/ 104834 h 114364"/>
                <a:gd name="connsiteX2" fmla="*/ 66712 w 66712"/>
                <a:gd name="connsiteY2" fmla="*/ 104834 h 114364"/>
                <a:gd name="connsiteX3" fmla="*/ 52418 w 66712"/>
                <a:gd name="connsiteY3" fmla="*/ 109598 h 114364"/>
                <a:gd name="connsiteX4" fmla="*/ 19062 w 66712"/>
                <a:gd name="connsiteY4" fmla="*/ 114364 h 114364"/>
                <a:gd name="connsiteX5" fmla="*/ 19062 w 66712"/>
                <a:gd name="connsiteY5" fmla="*/ 100068 h 114364"/>
                <a:gd name="connsiteX6" fmla="*/ 42888 w 66712"/>
                <a:gd name="connsiteY6" fmla="*/ 0 h 114364"/>
                <a:gd name="connsiteX7" fmla="*/ 57184 w 66712"/>
                <a:gd name="connsiteY7" fmla="*/ 4766 h 114364"/>
                <a:gd name="connsiteX8" fmla="*/ 42888 w 66712"/>
                <a:gd name="connsiteY8" fmla="*/ 9530 h 114364"/>
                <a:gd name="connsiteX9" fmla="*/ 38122 w 66712"/>
                <a:gd name="connsiteY9" fmla="*/ 9530 h 114364"/>
                <a:gd name="connsiteX10" fmla="*/ 33356 w 66712"/>
                <a:gd name="connsiteY10" fmla="*/ 9530 h 114364"/>
                <a:gd name="connsiteX11" fmla="*/ 9532 w 66712"/>
                <a:gd name="connsiteY11" fmla="*/ 0 h 114364"/>
                <a:gd name="connsiteX12" fmla="*/ 19062 w 66712"/>
                <a:gd name="connsiteY12" fmla="*/ 0 h 114364"/>
                <a:gd name="connsiteX13" fmla="*/ 23828 w 66712"/>
                <a:gd name="connsiteY13" fmla="*/ 9530 h 114364"/>
                <a:gd name="connsiteX14" fmla="*/ 14296 w 66712"/>
                <a:gd name="connsiteY14" fmla="*/ 9530 h 114364"/>
                <a:gd name="connsiteX15" fmla="*/ 0 w 66712"/>
                <a:gd name="connsiteY15" fmla="*/ 4766 h 114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6712" h="114364">
                  <a:moveTo>
                    <a:pt x="38122" y="95302"/>
                  </a:moveTo>
                  <a:lnTo>
                    <a:pt x="52418" y="104834"/>
                  </a:lnTo>
                  <a:lnTo>
                    <a:pt x="66712" y="104834"/>
                  </a:lnTo>
                  <a:lnTo>
                    <a:pt x="52418" y="109598"/>
                  </a:lnTo>
                  <a:lnTo>
                    <a:pt x="19062" y="114364"/>
                  </a:lnTo>
                  <a:lnTo>
                    <a:pt x="19062" y="100068"/>
                  </a:lnTo>
                  <a:close/>
                  <a:moveTo>
                    <a:pt x="42888" y="0"/>
                  </a:moveTo>
                  <a:lnTo>
                    <a:pt x="57184" y="4766"/>
                  </a:lnTo>
                  <a:lnTo>
                    <a:pt x="42888" y="9530"/>
                  </a:lnTo>
                  <a:lnTo>
                    <a:pt x="38122" y="9530"/>
                  </a:lnTo>
                  <a:lnTo>
                    <a:pt x="33356" y="9530"/>
                  </a:lnTo>
                  <a:close/>
                  <a:moveTo>
                    <a:pt x="9532" y="0"/>
                  </a:moveTo>
                  <a:lnTo>
                    <a:pt x="19062" y="0"/>
                  </a:lnTo>
                  <a:lnTo>
                    <a:pt x="23828" y="9530"/>
                  </a:lnTo>
                  <a:lnTo>
                    <a:pt x="14296" y="9530"/>
                  </a:lnTo>
                  <a:lnTo>
                    <a:pt x="0" y="476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7" name="Freeform 385">
              <a:extLst>
                <a:ext uri="{FF2B5EF4-FFF2-40B4-BE49-F238E27FC236}">
                  <a16:creationId xmlns:a16="http://schemas.microsoft.com/office/drawing/2014/main" id="{601BF50C-1D1F-4EEA-B011-6ACC2551B59F}"/>
                </a:ext>
              </a:extLst>
            </p:cNvPr>
            <p:cNvSpPr/>
            <p:nvPr/>
          </p:nvSpPr>
          <p:spPr bwMode="auto">
            <a:xfrm>
              <a:off x="7878963" y="4802731"/>
              <a:ext cx="185010" cy="389293"/>
            </a:xfrm>
            <a:custGeom>
              <a:avLst/>
              <a:gdLst>
                <a:gd name="connsiteX0" fmla="*/ 705236 w 1143628"/>
                <a:gd name="connsiteY0" fmla="*/ 2377800 h 2406392"/>
                <a:gd name="connsiteX1" fmla="*/ 705236 w 1143628"/>
                <a:gd name="connsiteY1" fmla="*/ 2382566 h 2406392"/>
                <a:gd name="connsiteX2" fmla="*/ 705236 w 1143628"/>
                <a:gd name="connsiteY2" fmla="*/ 2387332 h 2406392"/>
                <a:gd name="connsiteX3" fmla="*/ 700472 w 1143628"/>
                <a:gd name="connsiteY3" fmla="*/ 2392096 h 2406392"/>
                <a:gd name="connsiteX4" fmla="*/ 695704 w 1143628"/>
                <a:gd name="connsiteY4" fmla="*/ 2392096 h 2406392"/>
                <a:gd name="connsiteX5" fmla="*/ 690940 w 1143628"/>
                <a:gd name="connsiteY5" fmla="*/ 2387332 h 2406392"/>
                <a:gd name="connsiteX6" fmla="*/ 290672 w 1143628"/>
                <a:gd name="connsiteY6" fmla="*/ 2115720 h 2406392"/>
                <a:gd name="connsiteX7" fmla="*/ 295436 w 1143628"/>
                <a:gd name="connsiteY7" fmla="*/ 2115720 h 2406392"/>
                <a:gd name="connsiteX8" fmla="*/ 300200 w 1143628"/>
                <a:gd name="connsiteY8" fmla="*/ 2120484 h 2406392"/>
                <a:gd name="connsiteX9" fmla="*/ 304968 w 1143628"/>
                <a:gd name="connsiteY9" fmla="*/ 2125250 h 2406392"/>
                <a:gd name="connsiteX10" fmla="*/ 304968 w 1143628"/>
                <a:gd name="connsiteY10" fmla="*/ 2144310 h 2406392"/>
                <a:gd name="connsiteX11" fmla="*/ 295436 w 1143628"/>
                <a:gd name="connsiteY11" fmla="*/ 2163370 h 2406392"/>
                <a:gd name="connsiteX12" fmla="*/ 300200 w 1143628"/>
                <a:gd name="connsiteY12" fmla="*/ 2172900 h 2406392"/>
                <a:gd name="connsiteX13" fmla="*/ 295436 w 1143628"/>
                <a:gd name="connsiteY13" fmla="*/ 2177666 h 2406392"/>
                <a:gd name="connsiteX14" fmla="*/ 281140 w 1143628"/>
                <a:gd name="connsiteY14" fmla="*/ 2144310 h 2406392"/>
                <a:gd name="connsiteX15" fmla="*/ 271612 w 1143628"/>
                <a:gd name="connsiteY15" fmla="*/ 2130014 h 2406392"/>
                <a:gd name="connsiteX16" fmla="*/ 266844 w 1143628"/>
                <a:gd name="connsiteY16" fmla="*/ 2120484 h 2406392"/>
                <a:gd name="connsiteX17" fmla="*/ 276376 w 1143628"/>
                <a:gd name="connsiteY17" fmla="*/ 2120484 h 2406392"/>
                <a:gd name="connsiteX18" fmla="*/ 786244 w 1143628"/>
                <a:gd name="connsiteY18" fmla="*/ 2110954 h 2406392"/>
                <a:gd name="connsiteX19" fmla="*/ 791008 w 1143628"/>
                <a:gd name="connsiteY19" fmla="*/ 2110954 h 2406392"/>
                <a:gd name="connsiteX20" fmla="*/ 786244 w 1143628"/>
                <a:gd name="connsiteY20" fmla="*/ 2120484 h 2406392"/>
                <a:gd name="connsiteX21" fmla="*/ 771948 w 1143628"/>
                <a:gd name="connsiteY21" fmla="*/ 2130016 h 2406392"/>
                <a:gd name="connsiteX22" fmla="*/ 771948 w 1143628"/>
                <a:gd name="connsiteY22" fmla="*/ 2120484 h 2406392"/>
                <a:gd name="connsiteX23" fmla="*/ 781480 w 1143628"/>
                <a:gd name="connsiteY23" fmla="*/ 2115720 h 2406392"/>
                <a:gd name="connsiteX24" fmla="*/ 752888 w 1143628"/>
                <a:gd name="connsiteY24" fmla="*/ 419332 h 2406392"/>
                <a:gd name="connsiteX25" fmla="*/ 767184 w 1143628"/>
                <a:gd name="connsiteY25" fmla="*/ 424100 h 2406392"/>
                <a:gd name="connsiteX26" fmla="*/ 767184 w 1143628"/>
                <a:gd name="connsiteY26" fmla="*/ 428864 h 2406392"/>
                <a:gd name="connsiteX27" fmla="*/ 767184 w 1143628"/>
                <a:gd name="connsiteY27" fmla="*/ 433628 h 2406392"/>
                <a:gd name="connsiteX28" fmla="*/ 762420 w 1143628"/>
                <a:gd name="connsiteY28" fmla="*/ 438396 h 2406392"/>
                <a:gd name="connsiteX29" fmla="*/ 757652 w 1143628"/>
                <a:gd name="connsiteY29" fmla="*/ 438396 h 2406392"/>
                <a:gd name="connsiteX30" fmla="*/ 743360 w 1143628"/>
                <a:gd name="connsiteY30" fmla="*/ 424100 h 2406392"/>
                <a:gd name="connsiteX31" fmla="*/ 729064 w 1143628"/>
                <a:gd name="connsiteY31" fmla="*/ 409804 h 2406392"/>
                <a:gd name="connsiteX32" fmla="*/ 738592 w 1143628"/>
                <a:gd name="connsiteY32" fmla="*/ 419332 h 2406392"/>
                <a:gd name="connsiteX33" fmla="*/ 738592 w 1143628"/>
                <a:gd name="connsiteY33" fmla="*/ 424096 h 2406392"/>
                <a:gd name="connsiteX34" fmla="*/ 738592 w 1143628"/>
                <a:gd name="connsiteY34" fmla="*/ 428864 h 2406392"/>
                <a:gd name="connsiteX35" fmla="*/ 729064 w 1143628"/>
                <a:gd name="connsiteY35" fmla="*/ 419332 h 2406392"/>
                <a:gd name="connsiteX36" fmla="*/ 724296 w 1143628"/>
                <a:gd name="connsiteY36" fmla="*/ 419332 h 2406392"/>
                <a:gd name="connsiteX37" fmla="*/ 843424 w 1143628"/>
                <a:gd name="connsiteY37" fmla="*/ 390744 h 2406392"/>
                <a:gd name="connsiteX38" fmla="*/ 843424 w 1143628"/>
                <a:gd name="connsiteY38" fmla="*/ 400272 h 2406392"/>
                <a:gd name="connsiteX39" fmla="*/ 843424 w 1143628"/>
                <a:gd name="connsiteY39" fmla="*/ 409804 h 2406392"/>
                <a:gd name="connsiteX40" fmla="*/ 833896 w 1143628"/>
                <a:gd name="connsiteY40" fmla="*/ 409804 h 2406392"/>
                <a:gd name="connsiteX41" fmla="*/ 819600 w 1143628"/>
                <a:gd name="connsiteY41" fmla="*/ 409804 h 2406392"/>
                <a:gd name="connsiteX42" fmla="*/ 833896 w 1143628"/>
                <a:gd name="connsiteY42" fmla="*/ 405036 h 2406392"/>
                <a:gd name="connsiteX43" fmla="*/ 838660 w 1143628"/>
                <a:gd name="connsiteY43" fmla="*/ 395508 h 2406392"/>
                <a:gd name="connsiteX44" fmla="*/ 833896 w 1143628"/>
                <a:gd name="connsiteY44" fmla="*/ 352620 h 2406392"/>
                <a:gd name="connsiteX45" fmla="*/ 848192 w 1143628"/>
                <a:gd name="connsiteY45" fmla="*/ 357388 h 2406392"/>
                <a:gd name="connsiteX46" fmla="*/ 852956 w 1143628"/>
                <a:gd name="connsiteY46" fmla="*/ 357388 h 2406392"/>
                <a:gd name="connsiteX47" fmla="*/ 829132 w 1143628"/>
                <a:gd name="connsiteY47" fmla="*/ 381212 h 2406392"/>
                <a:gd name="connsiteX48" fmla="*/ 824364 w 1143628"/>
                <a:gd name="connsiteY48" fmla="*/ 381212 h 2406392"/>
                <a:gd name="connsiteX49" fmla="*/ 829132 w 1143628"/>
                <a:gd name="connsiteY49" fmla="*/ 357388 h 2406392"/>
                <a:gd name="connsiteX50" fmla="*/ 490808 w 1143628"/>
                <a:gd name="connsiteY50" fmla="*/ 0 h 2406392"/>
                <a:gd name="connsiteX51" fmla="*/ 500336 w 1143628"/>
                <a:gd name="connsiteY51" fmla="*/ 4768 h 2406392"/>
                <a:gd name="connsiteX52" fmla="*/ 514632 w 1143628"/>
                <a:gd name="connsiteY52" fmla="*/ 19060 h 2406392"/>
                <a:gd name="connsiteX53" fmla="*/ 524164 w 1143628"/>
                <a:gd name="connsiteY53" fmla="*/ 28592 h 2406392"/>
                <a:gd name="connsiteX54" fmla="*/ 528928 w 1143628"/>
                <a:gd name="connsiteY54" fmla="*/ 38124 h 2406392"/>
                <a:gd name="connsiteX55" fmla="*/ 533692 w 1143628"/>
                <a:gd name="connsiteY55" fmla="*/ 47652 h 2406392"/>
                <a:gd name="connsiteX56" fmla="*/ 552752 w 1143628"/>
                <a:gd name="connsiteY56" fmla="*/ 52416 h 2406392"/>
                <a:gd name="connsiteX57" fmla="*/ 567048 w 1143628"/>
                <a:gd name="connsiteY57" fmla="*/ 61948 h 2406392"/>
                <a:gd name="connsiteX58" fmla="*/ 576580 w 1143628"/>
                <a:gd name="connsiteY58" fmla="*/ 71476 h 2406392"/>
                <a:gd name="connsiteX59" fmla="*/ 586108 w 1143628"/>
                <a:gd name="connsiteY59" fmla="*/ 71476 h 2406392"/>
                <a:gd name="connsiteX60" fmla="*/ 595640 w 1143628"/>
                <a:gd name="connsiteY60" fmla="*/ 71476 h 2406392"/>
                <a:gd name="connsiteX61" fmla="*/ 605168 w 1143628"/>
                <a:gd name="connsiteY61" fmla="*/ 61948 h 2406392"/>
                <a:gd name="connsiteX62" fmla="*/ 614700 w 1143628"/>
                <a:gd name="connsiteY62" fmla="*/ 61948 h 2406392"/>
                <a:gd name="connsiteX63" fmla="*/ 624228 w 1143628"/>
                <a:gd name="connsiteY63" fmla="*/ 61948 h 2406392"/>
                <a:gd name="connsiteX64" fmla="*/ 633760 w 1143628"/>
                <a:gd name="connsiteY64" fmla="*/ 66712 h 2406392"/>
                <a:gd name="connsiteX65" fmla="*/ 643292 w 1143628"/>
                <a:gd name="connsiteY65" fmla="*/ 81008 h 2406392"/>
                <a:gd name="connsiteX66" fmla="*/ 648056 w 1143628"/>
                <a:gd name="connsiteY66" fmla="*/ 81008 h 2406392"/>
                <a:gd name="connsiteX67" fmla="*/ 657584 w 1143628"/>
                <a:gd name="connsiteY67" fmla="*/ 81008 h 2406392"/>
                <a:gd name="connsiteX68" fmla="*/ 671880 w 1143628"/>
                <a:gd name="connsiteY68" fmla="*/ 76244 h 2406392"/>
                <a:gd name="connsiteX69" fmla="*/ 686176 w 1143628"/>
                <a:gd name="connsiteY69" fmla="*/ 76244 h 2406392"/>
                <a:gd name="connsiteX70" fmla="*/ 700472 w 1143628"/>
                <a:gd name="connsiteY70" fmla="*/ 81008 h 2406392"/>
                <a:gd name="connsiteX71" fmla="*/ 724296 w 1143628"/>
                <a:gd name="connsiteY71" fmla="*/ 95304 h 2406392"/>
                <a:gd name="connsiteX72" fmla="*/ 719532 w 1143628"/>
                <a:gd name="connsiteY72" fmla="*/ 104832 h 2406392"/>
                <a:gd name="connsiteX73" fmla="*/ 714768 w 1143628"/>
                <a:gd name="connsiteY73" fmla="*/ 119128 h 2406392"/>
                <a:gd name="connsiteX74" fmla="*/ 700472 w 1143628"/>
                <a:gd name="connsiteY74" fmla="*/ 128660 h 2406392"/>
                <a:gd name="connsiteX75" fmla="*/ 695708 w 1143628"/>
                <a:gd name="connsiteY75" fmla="*/ 128660 h 2406392"/>
                <a:gd name="connsiteX76" fmla="*/ 690940 w 1143628"/>
                <a:gd name="connsiteY76" fmla="*/ 142956 h 2406392"/>
                <a:gd name="connsiteX77" fmla="*/ 686176 w 1143628"/>
                <a:gd name="connsiteY77" fmla="*/ 162016 h 2406392"/>
                <a:gd name="connsiteX78" fmla="*/ 690940 w 1143628"/>
                <a:gd name="connsiteY78" fmla="*/ 171544 h 2406392"/>
                <a:gd name="connsiteX79" fmla="*/ 695708 w 1143628"/>
                <a:gd name="connsiteY79" fmla="*/ 171544 h 2406392"/>
                <a:gd name="connsiteX80" fmla="*/ 700472 w 1143628"/>
                <a:gd name="connsiteY80" fmla="*/ 181076 h 2406392"/>
                <a:gd name="connsiteX81" fmla="*/ 705236 w 1143628"/>
                <a:gd name="connsiteY81" fmla="*/ 185840 h 2406392"/>
                <a:gd name="connsiteX82" fmla="*/ 705236 w 1143628"/>
                <a:gd name="connsiteY82" fmla="*/ 204900 h 2406392"/>
                <a:gd name="connsiteX83" fmla="*/ 705236 w 1143628"/>
                <a:gd name="connsiteY83" fmla="*/ 223960 h 2406392"/>
                <a:gd name="connsiteX84" fmla="*/ 705236 w 1143628"/>
                <a:gd name="connsiteY84" fmla="*/ 233492 h 2406392"/>
                <a:gd name="connsiteX85" fmla="*/ 710004 w 1143628"/>
                <a:gd name="connsiteY85" fmla="*/ 228728 h 2406392"/>
                <a:gd name="connsiteX86" fmla="*/ 714768 w 1143628"/>
                <a:gd name="connsiteY86" fmla="*/ 228728 h 2406392"/>
                <a:gd name="connsiteX87" fmla="*/ 729064 w 1143628"/>
                <a:gd name="connsiteY87" fmla="*/ 228728 h 2406392"/>
                <a:gd name="connsiteX88" fmla="*/ 738592 w 1143628"/>
                <a:gd name="connsiteY88" fmla="*/ 233492 h 2406392"/>
                <a:gd name="connsiteX89" fmla="*/ 748124 w 1143628"/>
                <a:gd name="connsiteY89" fmla="*/ 243024 h 2406392"/>
                <a:gd name="connsiteX90" fmla="*/ 752888 w 1143628"/>
                <a:gd name="connsiteY90" fmla="*/ 238256 h 2406392"/>
                <a:gd name="connsiteX91" fmla="*/ 762420 w 1143628"/>
                <a:gd name="connsiteY91" fmla="*/ 243024 h 2406392"/>
                <a:gd name="connsiteX92" fmla="*/ 762420 w 1143628"/>
                <a:gd name="connsiteY92" fmla="*/ 257316 h 2406392"/>
                <a:gd name="connsiteX93" fmla="*/ 767184 w 1143628"/>
                <a:gd name="connsiteY93" fmla="*/ 262084 h 2406392"/>
                <a:gd name="connsiteX94" fmla="*/ 786244 w 1143628"/>
                <a:gd name="connsiteY94" fmla="*/ 276380 h 2406392"/>
                <a:gd name="connsiteX95" fmla="*/ 800540 w 1143628"/>
                <a:gd name="connsiteY95" fmla="*/ 276380 h 2406392"/>
                <a:gd name="connsiteX96" fmla="*/ 814836 w 1143628"/>
                <a:gd name="connsiteY96" fmla="*/ 295440 h 2406392"/>
                <a:gd name="connsiteX97" fmla="*/ 829132 w 1143628"/>
                <a:gd name="connsiteY97" fmla="*/ 285908 h 2406392"/>
                <a:gd name="connsiteX98" fmla="*/ 833896 w 1143628"/>
                <a:gd name="connsiteY98" fmla="*/ 295440 h 2406392"/>
                <a:gd name="connsiteX99" fmla="*/ 857720 w 1143628"/>
                <a:gd name="connsiteY99" fmla="*/ 290672 h 2406392"/>
                <a:gd name="connsiteX100" fmla="*/ 876780 w 1143628"/>
                <a:gd name="connsiteY100" fmla="*/ 285908 h 2406392"/>
                <a:gd name="connsiteX101" fmla="*/ 886312 w 1143628"/>
                <a:gd name="connsiteY101" fmla="*/ 285908 h 2406392"/>
                <a:gd name="connsiteX102" fmla="*/ 900608 w 1143628"/>
                <a:gd name="connsiteY102" fmla="*/ 300204 h 2406392"/>
                <a:gd name="connsiteX103" fmla="*/ 910136 w 1143628"/>
                <a:gd name="connsiteY103" fmla="*/ 309736 h 2406392"/>
                <a:gd name="connsiteX104" fmla="*/ 905372 w 1143628"/>
                <a:gd name="connsiteY104" fmla="*/ 309736 h 2406392"/>
                <a:gd name="connsiteX105" fmla="*/ 886312 w 1143628"/>
                <a:gd name="connsiteY105" fmla="*/ 314500 h 2406392"/>
                <a:gd name="connsiteX106" fmla="*/ 872016 w 1143628"/>
                <a:gd name="connsiteY106" fmla="*/ 328796 h 2406392"/>
                <a:gd name="connsiteX107" fmla="*/ 857720 w 1143628"/>
                <a:gd name="connsiteY107" fmla="*/ 333560 h 2406392"/>
                <a:gd name="connsiteX108" fmla="*/ 843424 w 1143628"/>
                <a:gd name="connsiteY108" fmla="*/ 338324 h 2406392"/>
                <a:gd name="connsiteX109" fmla="*/ 824364 w 1143628"/>
                <a:gd name="connsiteY109" fmla="*/ 347856 h 2406392"/>
                <a:gd name="connsiteX110" fmla="*/ 819600 w 1143628"/>
                <a:gd name="connsiteY110" fmla="*/ 362152 h 2406392"/>
                <a:gd name="connsiteX111" fmla="*/ 819600 w 1143628"/>
                <a:gd name="connsiteY111" fmla="*/ 371680 h 2406392"/>
                <a:gd name="connsiteX112" fmla="*/ 814836 w 1143628"/>
                <a:gd name="connsiteY112" fmla="*/ 385976 h 2406392"/>
                <a:gd name="connsiteX113" fmla="*/ 786244 w 1143628"/>
                <a:gd name="connsiteY113" fmla="*/ 405036 h 2406392"/>
                <a:gd name="connsiteX114" fmla="*/ 776716 w 1143628"/>
                <a:gd name="connsiteY114" fmla="*/ 400272 h 2406392"/>
                <a:gd name="connsiteX115" fmla="*/ 771948 w 1143628"/>
                <a:gd name="connsiteY115" fmla="*/ 395508 h 2406392"/>
                <a:gd name="connsiteX116" fmla="*/ 762420 w 1143628"/>
                <a:gd name="connsiteY116" fmla="*/ 395508 h 2406392"/>
                <a:gd name="connsiteX117" fmla="*/ 757652 w 1143628"/>
                <a:gd name="connsiteY117" fmla="*/ 400272 h 2406392"/>
                <a:gd name="connsiteX118" fmla="*/ 748124 w 1143628"/>
                <a:gd name="connsiteY118" fmla="*/ 400272 h 2406392"/>
                <a:gd name="connsiteX119" fmla="*/ 743360 w 1143628"/>
                <a:gd name="connsiteY119" fmla="*/ 405036 h 2406392"/>
                <a:gd name="connsiteX120" fmla="*/ 729064 w 1143628"/>
                <a:gd name="connsiteY120" fmla="*/ 400272 h 2406392"/>
                <a:gd name="connsiteX121" fmla="*/ 719532 w 1143628"/>
                <a:gd name="connsiteY121" fmla="*/ 395508 h 2406392"/>
                <a:gd name="connsiteX122" fmla="*/ 714768 w 1143628"/>
                <a:gd name="connsiteY122" fmla="*/ 395508 h 2406392"/>
                <a:gd name="connsiteX123" fmla="*/ 710004 w 1143628"/>
                <a:gd name="connsiteY123" fmla="*/ 395508 h 2406392"/>
                <a:gd name="connsiteX124" fmla="*/ 710004 w 1143628"/>
                <a:gd name="connsiteY124" fmla="*/ 400272 h 2406392"/>
                <a:gd name="connsiteX125" fmla="*/ 719532 w 1143628"/>
                <a:gd name="connsiteY125" fmla="*/ 428864 h 2406392"/>
                <a:gd name="connsiteX126" fmla="*/ 719532 w 1143628"/>
                <a:gd name="connsiteY126" fmla="*/ 438392 h 2406392"/>
                <a:gd name="connsiteX127" fmla="*/ 690940 w 1143628"/>
                <a:gd name="connsiteY127" fmla="*/ 476512 h 2406392"/>
                <a:gd name="connsiteX128" fmla="*/ 690940 w 1143628"/>
                <a:gd name="connsiteY128" fmla="*/ 495576 h 2406392"/>
                <a:gd name="connsiteX129" fmla="*/ 681412 w 1143628"/>
                <a:gd name="connsiteY129" fmla="*/ 514636 h 2406392"/>
                <a:gd name="connsiteX130" fmla="*/ 662352 w 1143628"/>
                <a:gd name="connsiteY130" fmla="*/ 528932 h 2406392"/>
                <a:gd name="connsiteX131" fmla="*/ 628996 w 1143628"/>
                <a:gd name="connsiteY131" fmla="*/ 562284 h 2406392"/>
                <a:gd name="connsiteX132" fmla="*/ 614700 w 1143628"/>
                <a:gd name="connsiteY132" fmla="*/ 562284 h 2406392"/>
                <a:gd name="connsiteX133" fmla="*/ 600404 w 1143628"/>
                <a:gd name="connsiteY133" fmla="*/ 571816 h 2406392"/>
                <a:gd name="connsiteX134" fmla="*/ 576580 w 1143628"/>
                <a:gd name="connsiteY134" fmla="*/ 628996 h 2406392"/>
                <a:gd name="connsiteX135" fmla="*/ 571812 w 1143628"/>
                <a:gd name="connsiteY135" fmla="*/ 652824 h 2406392"/>
                <a:gd name="connsiteX136" fmla="*/ 571812 w 1143628"/>
                <a:gd name="connsiteY136" fmla="*/ 667120 h 2406392"/>
                <a:gd name="connsiteX137" fmla="*/ 571812 w 1143628"/>
                <a:gd name="connsiteY137" fmla="*/ 681416 h 2406392"/>
                <a:gd name="connsiteX138" fmla="*/ 557520 w 1143628"/>
                <a:gd name="connsiteY138" fmla="*/ 705240 h 2406392"/>
                <a:gd name="connsiteX139" fmla="*/ 547988 w 1143628"/>
                <a:gd name="connsiteY139" fmla="*/ 719536 h 2406392"/>
                <a:gd name="connsiteX140" fmla="*/ 543224 w 1143628"/>
                <a:gd name="connsiteY140" fmla="*/ 733832 h 2406392"/>
                <a:gd name="connsiteX141" fmla="*/ 562284 w 1143628"/>
                <a:gd name="connsiteY141" fmla="*/ 762420 h 2406392"/>
                <a:gd name="connsiteX142" fmla="*/ 562284 w 1143628"/>
                <a:gd name="connsiteY142" fmla="*/ 767188 h 2406392"/>
                <a:gd name="connsiteX143" fmla="*/ 571812 w 1143628"/>
                <a:gd name="connsiteY143" fmla="*/ 786248 h 2406392"/>
                <a:gd name="connsiteX144" fmla="*/ 576580 w 1143628"/>
                <a:gd name="connsiteY144" fmla="*/ 800544 h 2406392"/>
                <a:gd name="connsiteX145" fmla="*/ 586108 w 1143628"/>
                <a:gd name="connsiteY145" fmla="*/ 810072 h 2406392"/>
                <a:gd name="connsiteX146" fmla="*/ 614700 w 1143628"/>
                <a:gd name="connsiteY146" fmla="*/ 838664 h 2406392"/>
                <a:gd name="connsiteX147" fmla="*/ 624228 w 1143628"/>
                <a:gd name="connsiteY147" fmla="*/ 848192 h 2406392"/>
                <a:gd name="connsiteX148" fmla="*/ 638524 w 1143628"/>
                <a:gd name="connsiteY148" fmla="*/ 857724 h 2406392"/>
                <a:gd name="connsiteX149" fmla="*/ 667116 w 1143628"/>
                <a:gd name="connsiteY149" fmla="*/ 881548 h 2406392"/>
                <a:gd name="connsiteX150" fmla="*/ 681412 w 1143628"/>
                <a:gd name="connsiteY150" fmla="*/ 900608 h 2406392"/>
                <a:gd name="connsiteX151" fmla="*/ 676648 w 1143628"/>
                <a:gd name="connsiteY151" fmla="*/ 914904 h 2406392"/>
                <a:gd name="connsiteX152" fmla="*/ 676648 w 1143628"/>
                <a:gd name="connsiteY152" fmla="*/ 938732 h 2406392"/>
                <a:gd name="connsiteX153" fmla="*/ 657584 w 1143628"/>
                <a:gd name="connsiteY153" fmla="*/ 929200 h 2406392"/>
                <a:gd name="connsiteX154" fmla="*/ 662352 w 1143628"/>
                <a:gd name="connsiteY154" fmla="*/ 933964 h 2406392"/>
                <a:gd name="connsiteX155" fmla="*/ 681412 w 1143628"/>
                <a:gd name="connsiteY155" fmla="*/ 948260 h 2406392"/>
                <a:gd name="connsiteX156" fmla="*/ 719532 w 1143628"/>
                <a:gd name="connsiteY156" fmla="*/ 995912 h 2406392"/>
                <a:gd name="connsiteX157" fmla="*/ 748124 w 1143628"/>
                <a:gd name="connsiteY157" fmla="*/ 1019740 h 2406392"/>
                <a:gd name="connsiteX158" fmla="*/ 776716 w 1143628"/>
                <a:gd name="connsiteY158" fmla="*/ 1048328 h 2406392"/>
                <a:gd name="connsiteX159" fmla="*/ 786244 w 1143628"/>
                <a:gd name="connsiteY159" fmla="*/ 1072156 h 2406392"/>
                <a:gd name="connsiteX160" fmla="*/ 814836 w 1143628"/>
                <a:gd name="connsiteY160" fmla="*/ 1091216 h 2406392"/>
                <a:gd name="connsiteX161" fmla="*/ 843424 w 1143628"/>
                <a:gd name="connsiteY161" fmla="*/ 1115040 h 2406392"/>
                <a:gd name="connsiteX162" fmla="*/ 843424 w 1143628"/>
                <a:gd name="connsiteY162" fmla="*/ 1119804 h 2406392"/>
                <a:gd name="connsiteX163" fmla="*/ 852956 w 1143628"/>
                <a:gd name="connsiteY163" fmla="*/ 1124572 h 2406392"/>
                <a:gd name="connsiteX164" fmla="*/ 872016 w 1143628"/>
                <a:gd name="connsiteY164" fmla="*/ 1138868 h 2406392"/>
                <a:gd name="connsiteX165" fmla="*/ 886312 w 1143628"/>
                <a:gd name="connsiteY165" fmla="*/ 1153160 h 2406392"/>
                <a:gd name="connsiteX166" fmla="*/ 891076 w 1143628"/>
                <a:gd name="connsiteY166" fmla="*/ 1167456 h 2406392"/>
                <a:gd name="connsiteX167" fmla="*/ 895844 w 1143628"/>
                <a:gd name="connsiteY167" fmla="*/ 1167456 h 2406392"/>
                <a:gd name="connsiteX168" fmla="*/ 905372 w 1143628"/>
                <a:gd name="connsiteY168" fmla="*/ 1167456 h 2406392"/>
                <a:gd name="connsiteX169" fmla="*/ 914904 w 1143628"/>
                <a:gd name="connsiteY169" fmla="*/ 1162692 h 2406392"/>
                <a:gd name="connsiteX170" fmla="*/ 919668 w 1143628"/>
                <a:gd name="connsiteY170" fmla="*/ 1162692 h 2406392"/>
                <a:gd name="connsiteX171" fmla="*/ 929200 w 1143628"/>
                <a:gd name="connsiteY171" fmla="*/ 1181752 h 2406392"/>
                <a:gd name="connsiteX172" fmla="*/ 943492 w 1143628"/>
                <a:gd name="connsiteY172" fmla="*/ 1191284 h 2406392"/>
                <a:gd name="connsiteX173" fmla="*/ 948260 w 1143628"/>
                <a:gd name="connsiteY173" fmla="*/ 1205580 h 2406392"/>
                <a:gd name="connsiteX174" fmla="*/ 953024 w 1143628"/>
                <a:gd name="connsiteY174" fmla="*/ 1200812 h 2406392"/>
                <a:gd name="connsiteX175" fmla="*/ 957788 w 1143628"/>
                <a:gd name="connsiteY175" fmla="*/ 1205580 h 2406392"/>
                <a:gd name="connsiteX176" fmla="*/ 957788 w 1143628"/>
                <a:gd name="connsiteY176" fmla="*/ 1215108 h 2406392"/>
                <a:gd name="connsiteX177" fmla="*/ 962556 w 1143628"/>
                <a:gd name="connsiteY177" fmla="*/ 1219872 h 2406392"/>
                <a:gd name="connsiteX178" fmla="*/ 976848 w 1143628"/>
                <a:gd name="connsiteY178" fmla="*/ 1238936 h 2406392"/>
                <a:gd name="connsiteX179" fmla="*/ 986380 w 1143628"/>
                <a:gd name="connsiteY179" fmla="*/ 1257996 h 2406392"/>
                <a:gd name="connsiteX180" fmla="*/ 1005440 w 1143628"/>
                <a:gd name="connsiteY180" fmla="*/ 1286584 h 2406392"/>
                <a:gd name="connsiteX181" fmla="*/ 1019736 w 1143628"/>
                <a:gd name="connsiteY181" fmla="*/ 1305644 h 2406392"/>
                <a:gd name="connsiteX182" fmla="*/ 1029264 w 1143628"/>
                <a:gd name="connsiteY182" fmla="*/ 1310412 h 2406392"/>
                <a:gd name="connsiteX183" fmla="*/ 1043560 w 1143628"/>
                <a:gd name="connsiteY183" fmla="*/ 1319940 h 2406392"/>
                <a:gd name="connsiteX184" fmla="*/ 1057856 w 1143628"/>
                <a:gd name="connsiteY184" fmla="*/ 1353296 h 2406392"/>
                <a:gd name="connsiteX185" fmla="*/ 1062620 w 1143628"/>
                <a:gd name="connsiteY185" fmla="*/ 1381888 h 2406392"/>
                <a:gd name="connsiteX186" fmla="*/ 1076916 w 1143628"/>
                <a:gd name="connsiteY186" fmla="*/ 1415244 h 2406392"/>
                <a:gd name="connsiteX187" fmla="*/ 1086448 w 1143628"/>
                <a:gd name="connsiteY187" fmla="*/ 1429540 h 2406392"/>
                <a:gd name="connsiteX188" fmla="*/ 1086448 w 1143628"/>
                <a:gd name="connsiteY188" fmla="*/ 1453364 h 2406392"/>
                <a:gd name="connsiteX189" fmla="*/ 1091212 w 1143628"/>
                <a:gd name="connsiteY189" fmla="*/ 1481956 h 2406392"/>
                <a:gd name="connsiteX190" fmla="*/ 1100744 w 1143628"/>
                <a:gd name="connsiteY190" fmla="*/ 1501016 h 2406392"/>
                <a:gd name="connsiteX191" fmla="*/ 1105508 w 1143628"/>
                <a:gd name="connsiteY191" fmla="*/ 1515312 h 2406392"/>
                <a:gd name="connsiteX192" fmla="*/ 1105508 w 1143628"/>
                <a:gd name="connsiteY192" fmla="*/ 1524840 h 2406392"/>
                <a:gd name="connsiteX193" fmla="*/ 1110272 w 1143628"/>
                <a:gd name="connsiteY193" fmla="*/ 1534372 h 2406392"/>
                <a:gd name="connsiteX194" fmla="*/ 1119804 w 1143628"/>
                <a:gd name="connsiteY194" fmla="*/ 1567728 h 2406392"/>
                <a:gd name="connsiteX195" fmla="*/ 1115040 w 1143628"/>
                <a:gd name="connsiteY195" fmla="*/ 1582024 h 2406392"/>
                <a:gd name="connsiteX196" fmla="*/ 1110272 w 1143628"/>
                <a:gd name="connsiteY196" fmla="*/ 1567728 h 2406392"/>
                <a:gd name="connsiteX197" fmla="*/ 1110272 w 1143628"/>
                <a:gd name="connsiteY197" fmla="*/ 1610612 h 2406392"/>
                <a:gd name="connsiteX198" fmla="*/ 1115040 w 1143628"/>
                <a:gd name="connsiteY198" fmla="*/ 1629676 h 2406392"/>
                <a:gd name="connsiteX199" fmla="*/ 1115040 w 1143628"/>
                <a:gd name="connsiteY199" fmla="*/ 1658264 h 2406392"/>
                <a:gd name="connsiteX200" fmla="*/ 1119804 w 1143628"/>
                <a:gd name="connsiteY200" fmla="*/ 1667796 h 2406392"/>
                <a:gd name="connsiteX201" fmla="*/ 1129332 w 1143628"/>
                <a:gd name="connsiteY201" fmla="*/ 1701152 h 2406392"/>
                <a:gd name="connsiteX202" fmla="*/ 1138864 w 1143628"/>
                <a:gd name="connsiteY202" fmla="*/ 1710680 h 2406392"/>
                <a:gd name="connsiteX203" fmla="*/ 1138864 w 1143628"/>
                <a:gd name="connsiteY203" fmla="*/ 1748804 h 2406392"/>
                <a:gd name="connsiteX204" fmla="*/ 1143628 w 1143628"/>
                <a:gd name="connsiteY204" fmla="*/ 1767864 h 2406392"/>
                <a:gd name="connsiteX205" fmla="*/ 1129332 w 1143628"/>
                <a:gd name="connsiteY205" fmla="*/ 1758332 h 2406392"/>
                <a:gd name="connsiteX206" fmla="*/ 1124568 w 1143628"/>
                <a:gd name="connsiteY206" fmla="*/ 1744036 h 2406392"/>
                <a:gd name="connsiteX207" fmla="*/ 1115040 w 1143628"/>
                <a:gd name="connsiteY207" fmla="*/ 1748804 h 2406392"/>
                <a:gd name="connsiteX208" fmla="*/ 1105508 w 1143628"/>
                <a:gd name="connsiteY208" fmla="*/ 1758332 h 2406392"/>
                <a:gd name="connsiteX209" fmla="*/ 1119804 w 1143628"/>
                <a:gd name="connsiteY209" fmla="*/ 1801220 h 2406392"/>
                <a:gd name="connsiteX210" fmla="*/ 1105508 w 1143628"/>
                <a:gd name="connsiteY210" fmla="*/ 1796452 h 2406392"/>
                <a:gd name="connsiteX211" fmla="*/ 1105508 w 1143628"/>
                <a:gd name="connsiteY211" fmla="*/ 1853636 h 2406392"/>
                <a:gd name="connsiteX212" fmla="*/ 1110272 w 1143628"/>
                <a:gd name="connsiteY212" fmla="*/ 1863164 h 2406392"/>
                <a:gd name="connsiteX213" fmla="*/ 1110272 w 1143628"/>
                <a:gd name="connsiteY213" fmla="*/ 1867932 h 2406392"/>
                <a:gd name="connsiteX214" fmla="*/ 1110272 w 1143628"/>
                <a:gd name="connsiteY214" fmla="*/ 1877460 h 2406392"/>
                <a:gd name="connsiteX215" fmla="*/ 1105508 w 1143628"/>
                <a:gd name="connsiteY215" fmla="*/ 1867932 h 2406392"/>
                <a:gd name="connsiteX216" fmla="*/ 1105508 w 1143628"/>
                <a:gd name="connsiteY216" fmla="*/ 1863164 h 2406392"/>
                <a:gd name="connsiteX217" fmla="*/ 1100744 w 1143628"/>
                <a:gd name="connsiteY217" fmla="*/ 1863164 h 2406392"/>
                <a:gd name="connsiteX218" fmla="*/ 1100744 w 1143628"/>
                <a:gd name="connsiteY218" fmla="*/ 1867932 h 2406392"/>
                <a:gd name="connsiteX219" fmla="*/ 1095976 w 1143628"/>
                <a:gd name="connsiteY219" fmla="*/ 1877460 h 2406392"/>
                <a:gd name="connsiteX220" fmla="*/ 1095976 w 1143628"/>
                <a:gd name="connsiteY220" fmla="*/ 1891756 h 2406392"/>
                <a:gd name="connsiteX221" fmla="*/ 1100744 w 1143628"/>
                <a:gd name="connsiteY221" fmla="*/ 1901288 h 2406392"/>
                <a:gd name="connsiteX222" fmla="*/ 1100744 w 1143628"/>
                <a:gd name="connsiteY222" fmla="*/ 1906052 h 2406392"/>
                <a:gd name="connsiteX223" fmla="*/ 1100744 w 1143628"/>
                <a:gd name="connsiteY223" fmla="*/ 1915584 h 2406392"/>
                <a:gd name="connsiteX224" fmla="*/ 1091212 w 1143628"/>
                <a:gd name="connsiteY224" fmla="*/ 1925112 h 2406392"/>
                <a:gd name="connsiteX225" fmla="*/ 1076916 w 1143628"/>
                <a:gd name="connsiteY225" fmla="*/ 1929876 h 2406392"/>
                <a:gd name="connsiteX226" fmla="*/ 1072152 w 1143628"/>
                <a:gd name="connsiteY226" fmla="*/ 1948936 h 2406392"/>
                <a:gd name="connsiteX227" fmla="*/ 1067388 w 1143628"/>
                <a:gd name="connsiteY227" fmla="*/ 1968000 h 2406392"/>
                <a:gd name="connsiteX228" fmla="*/ 1043560 w 1143628"/>
                <a:gd name="connsiteY228" fmla="*/ 1972764 h 2406392"/>
                <a:gd name="connsiteX229" fmla="*/ 1024500 w 1143628"/>
                <a:gd name="connsiteY229" fmla="*/ 1991824 h 2406392"/>
                <a:gd name="connsiteX230" fmla="*/ 1000676 w 1143628"/>
                <a:gd name="connsiteY230" fmla="*/ 1996588 h 2406392"/>
                <a:gd name="connsiteX231" fmla="*/ 981616 w 1143628"/>
                <a:gd name="connsiteY231" fmla="*/ 2015648 h 2406392"/>
                <a:gd name="connsiteX232" fmla="*/ 957788 w 1143628"/>
                <a:gd name="connsiteY232" fmla="*/ 2034712 h 2406392"/>
                <a:gd name="connsiteX233" fmla="*/ 943492 w 1143628"/>
                <a:gd name="connsiteY233" fmla="*/ 2034712 h 2406392"/>
                <a:gd name="connsiteX234" fmla="*/ 929200 w 1143628"/>
                <a:gd name="connsiteY234" fmla="*/ 2039476 h 2406392"/>
                <a:gd name="connsiteX235" fmla="*/ 914904 w 1143628"/>
                <a:gd name="connsiteY235" fmla="*/ 2068068 h 2406392"/>
                <a:gd name="connsiteX236" fmla="*/ 891076 w 1143628"/>
                <a:gd name="connsiteY236" fmla="*/ 2072832 h 2406392"/>
                <a:gd name="connsiteX237" fmla="*/ 848192 w 1143628"/>
                <a:gd name="connsiteY237" fmla="*/ 2091892 h 2406392"/>
                <a:gd name="connsiteX238" fmla="*/ 833896 w 1143628"/>
                <a:gd name="connsiteY238" fmla="*/ 2106188 h 2406392"/>
                <a:gd name="connsiteX239" fmla="*/ 819600 w 1143628"/>
                <a:gd name="connsiteY239" fmla="*/ 2110952 h 2406392"/>
                <a:gd name="connsiteX240" fmla="*/ 800540 w 1143628"/>
                <a:gd name="connsiteY240" fmla="*/ 2120484 h 2406392"/>
                <a:gd name="connsiteX241" fmla="*/ 795776 w 1143628"/>
                <a:gd name="connsiteY241" fmla="*/ 2115716 h 2406392"/>
                <a:gd name="connsiteX242" fmla="*/ 791008 w 1143628"/>
                <a:gd name="connsiteY242" fmla="*/ 2106188 h 2406392"/>
                <a:gd name="connsiteX243" fmla="*/ 771948 w 1143628"/>
                <a:gd name="connsiteY243" fmla="*/ 2101424 h 2406392"/>
                <a:gd name="connsiteX244" fmla="*/ 767184 w 1143628"/>
                <a:gd name="connsiteY244" fmla="*/ 2091892 h 2406392"/>
                <a:gd name="connsiteX245" fmla="*/ 762420 w 1143628"/>
                <a:gd name="connsiteY245" fmla="*/ 2082360 h 2406392"/>
                <a:gd name="connsiteX246" fmla="*/ 762420 w 1143628"/>
                <a:gd name="connsiteY246" fmla="*/ 2077596 h 2406392"/>
                <a:gd name="connsiteX247" fmla="*/ 757652 w 1143628"/>
                <a:gd name="connsiteY247" fmla="*/ 2082360 h 2406392"/>
                <a:gd name="connsiteX248" fmla="*/ 752888 w 1143628"/>
                <a:gd name="connsiteY248" fmla="*/ 2110952 h 2406392"/>
                <a:gd name="connsiteX249" fmla="*/ 752888 w 1143628"/>
                <a:gd name="connsiteY249" fmla="*/ 2115716 h 2406392"/>
                <a:gd name="connsiteX250" fmla="*/ 743360 w 1143628"/>
                <a:gd name="connsiteY250" fmla="*/ 2120484 h 2406392"/>
                <a:gd name="connsiteX251" fmla="*/ 729064 w 1143628"/>
                <a:gd name="connsiteY251" fmla="*/ 2110952 h 2406392"/>
                <a:gd name="connsiteX252" fmla="*/ 714768 w 1143628"/>
                <a:gd name="connsiteY252" fmla="*/ 2096656 h 2406392"/>
                <a:gd name="connsiteX253" fmla="*/ 695708 w 1143628"/>
                <a:gd name="connsiteY253" fmla="*/ 2106188 h 2406392"/>
                <a:gd name="connsiteX254" fmla="*/ 705236 w 1143628"/>
                <a:gd name="connsiteY254" fmla="*/ 2110952 h 2406392"/>
                <a:gd name="connsiteX255" fmla="*/ 710004 w 1143628"/>
                <a:gd name="connsiteY255" fmla="*/ 2106188 h 2406392"/>
                <a:gd name="connsiteX256" fmla="*/ 719532 w 1143628"/>
                <a:gd name="connsiteY256" fmla="*/ 2110952 h 2406392"/>
                <a:gd name="connsiteX257" fmla="*/ 724296 w 1143628"/>
                <a:gd name="connsiteY257" fmla="*/ 2120484 h 2406392"/>
                <a:gd name="connsiteX258" fmla="*/ 724296 w 1143628"/>
                <a:gd name="connsiteY258" fmla="*/ 2130012 h 2406392"/>
                <a:gd name="connsiteX259" fmla="*/ 719532 w 1143628"/>
                <a:gd name="connsiteY259" fmla="*/ 2134776 h 2406392"/>
                <a:gd name="connsiteX260" fmla="*/ 705236 w 1143628"/>
                <a:gd name="connsiteY260" fmla="*/ 2134776 h 2406392"/>
                <a:gd name="connsiteX261" fmla="*/ 681412 w 1143628"/>
                <a:gd name="connsiteY261" fmla="*/ 2134776 h 2406392"/>
                <a:gd name="connsiteX262" fmla="*/ 676648 w 1143628"/>
                <a:gd name="connsiteY262" fmla="*/ 2134776 h 2406392"/>
                <a:gd name="connsiteX263" fmla="*/ 695708 w 1143628"/>
                <a:gd name="connsiteY263" fmla="*/ 2144308 h 2406392"/>
                <a:gd name="connsiteX264" fmla="*/ 714768 w 1143628"/>
                <a:gd name="connsiteY264" fmla="*/ 2149072 h 2406392"/>
                <a:gd name="connsiteX265" fmla="*/ 724296 w 1143628"/>
                <a:gd name="connsiteY265" fmla="*/ 2158604 h 2406392"/>
                <a:gd name="connsiteX266" fmla="*/ 724296 w 1143628"/>
                <a:gd name="connsiteY266" fmla="*/ 2163368 h 2406392"/>
                <a:gd name="connsiteX267" fmla="*/ 714768 w 1143628"/>
                <a:gd name="connsiteY267" fmla="*/ 2172900 h 2406392"/>
                <a:gd name="connsiteX268" fmla="*/ 705236 w 1143628"/>
                <a:gd name="connsiteY268" fmla="*/ 2182428 h 2406392"/>
                <a:gd name="connsiteX269" fmla="*/ 705236 w 1143628"/>
                <a:gd name="connsiteY269" fmla="*/ 2191960 h 2406392"/>
                <a:gd name="connsiteX270" fmla="*/ 705236 w 1143628"/>
                <a:gd name="connsiteY270" fmla="*/ 2196724 h 2406392"/>
                <a:gd name="connsiteX271" fmla="*/ 695708 w 1143628"/>
                <a:gd name="connsiteY271" fmla="*/ 2206256 h 2406392"/>
                <a:gd name="connsiteX272" fmla="*/ 690940 w 1143628"/>
                <a:gd name="connsiteY272" fmla="*/ 2201488 h 2406392"/>
                <a:gd name="connsiteX273" fmla="*/ 671880 w 1143628"/>
                <a:gd name="connsiteY273" fmla="*/ 2191960 h 2406392"/>
                <a:gd name="connsiteX274" fmla="*/ 624228 w 1143628"/>
                <a:gd name="connsiteY274" fmla="*/ 2144308 h 2406392"/>
                <a:gd name="connsiteX275" fmla="*/ 633760 w 1143628"/>
                <a:gd name="connsiteY275" fmla="*/ 2158604 h 2406392"/>
                <a:gd name="connsiteX276" fmla="*/ 681412 w 1143628"/>
                <a:gd name="connsiteY276" fmla="*/ 2211020 h 2406392"/>
                <a:gd name="connsiteX277" fmla="*/ 690940 w 1143628"/>
                <a:gd name="connsiteY277" fmla="*/ 2225316 h 2406392"/>
                <a:gd name="connsiteX278" fmla="*/ 690940 w 1143628"/>
                <a:gd name="connsiteY278" fmla="*/ 2239612 h 2406392"/>
                <a:gd name="connsiteX279" fmla="*/ 686176 w 1143628"/>
                <a:gd name="connsiteY279" fmla="*/ 2244376 h 2406392"/>
                <a:gd name="connsiteX280" fmla="*/ 676648 w 1143628"/>
                <a:gd name="connsiteY280" fmla="*/ 2249140 h 2406392"/>
                <a:gd name="connsiteX281" fmla="*/ 662352 w 1143628"/>
                <a:gd name="connsiteY281" fmla="*/ 2253908 h 2406392"/>
                <a:gd name="connsiteX282" fmla="*/ 633760 w 1143628"/>
                <a:gd name="connsiteY282" fmla="*/ 2234844 h 2406392"/>
                <a:gd name="connsiteX283" fmla="*/ 590872 w 1143628"/>
                <a:gd name="connsiteY283" fmla="*/ 2187196 h 2406392"/>
                <a:gd name="connsiteX284" fmla="*/ 576580 w 1143628"/>
                <a:gd name="connsiteY284" fmla="*/ 2182428 h 2406392"/>
                <a:gd name="connsiteX285" fmla="*/ 619464 w 1143628"/>
                <a:gd name="connsiteY285" fmla="*/ 2234844 h 2406392"/>
                <a:gd name="connsiteX286" fmla="*/ 628996 w 1143628"/>
                <a:gd name="connsiteY286" fmla="*/ 2244376 h 2406392"/>
                <a:gd name="connsiteX287" fmla="*/ 633760 w 1143628"/>
                <a:gd name="connsiteY287" fmla="*/ 2258672 h 2406392"/>
                <a:gd name="connsiteX288" fmla="*/ 633760 w 1143628"/>
                <a:gd name="connsiteY288" fmla="*/ 2268200 h 2406392"/>
                <a:gd name="connsiteX289" fmla="*/ 628996 w 1143628"/>
                <a:gd name="connsiteY289" fmla="*/ 2277732 h 2406392"/>
                <a:gd name="connsiteX290" fmla="*/ 524164 w 1143628"/>
                <a:gd name="connsiteY290" fmla="*/ 2325384 h 2406392"/>
                <a:gd name="connsiteX291" fmla="*/ 509868 w 1143628"/>
                <a:gd name="connsiteY291" fmla="*/ 2344444 h 2406392"/>
                <a:gd name="connsiteX292" fmla="*/ 495572 w 1143628"/>
                <a:gd name="connsiteY292" fmla="*/ 2373036 h 2406392"/>
                <a:gd name="connsiteX293" fmla="*/ 476512 w 1143628"/>
                <a:gd name="connsiteY293" fmla="*/ 2387328 h 2406392"/>
                <a:gd name="connsiteX294" fmla="*/ 466980 w 1143628"/>
                <a:gd name="connsiteY294" fmla="*/ 2396860 h 2406392"/>
                <a:gd name="connsiteX295" fmla="*/ 428860 w 1143628"/>
                <a:gd name="connsiteY295" fmla="*/ 2406392 h 2406392"/>
                <a:gd name="connsiteX296" fmla="*/ 409800 w 1143628"/>
                <a:gd name="connsiteY296" fmla="*/ 2401624 h 2406392"/>
                <a:gd name="connsiteX297" fmla="*/ 428860 w 1143628"/>
                <a:gd name="connsiteY297" fmla="*/ 2377800 h 2406392"/>
                <a:gd name="connsiteX298" fmla="*/ 419328 w 1143628"/>
                <a:gd name="connsiteY298" fmla="*/ 2373036 h 2406392"/>
                <a:gd name="connsiteX299" fmla="*/ 419328 w 1143628"/>
                <a:gd name="connsiteY299" fmla="*/ 2311088 h 2406392"/>
                <a:gd name="connsiteX300" fmla="*/ 424096 w 1143628"/>
                <a:gd name="connsiteY300" fmla="*/ 2244376 h 2406392"/>
                <a:gd name="connsiteX301" fmla="*/ 433624 w 1143628"/>
                <a:gd name="connsiteY301" fmla="*/ 2211020 h 2406392"/>
                <a:gd name="connsiteX302" fmla="*/ 443156 w 1143628"/>
                <a:gd name="connsiteY302" fmla="*/ 2201488 h 2406392"/>
                <a:gd name="connsiteX303" fmla="*/ 462216 w 1143628"/>
                <a:gd name="connsiteY303" fmla="*/ 2196724 h 2406392"/>
                <a:gd name="connsiteX304" fmla="*/ 462216 w 1143628"/>
                <a:gd name="connsiteY304" fmla="*/ 2191960 h 2406392"/>
                <a:gd name="connsiteX305" fmla="*/ 462216 w 1143628"/>
                <a:gd name="connsiteY305" fmla="*/ 2182428 h 2406392"/>
                <a:gd name="connsiteX306" fmla="*/ 452684 w 1143628"/>
                <a:gd name="connsiteY306" fmla="*/ 2172900 h 2406392"/>
                <a:gd name="connsiteX307" fmla="*/ 443156 w 1143628"/>
                <a:gd name="connsiteY307" fmla="*/ 2168132 h 2406392"/>
                <a:gd name="connsiteX308" fmla="*/ 428860 w 1143628"/>
                <a:gd name="connsiteY308" fmla="*/ 2163368 h 2406392"/>
                <a:gd name="connsiteX309" fmla="*/ 414564 w 1143628"/>
                <a:gd name="connsiteY309" fmla="*/ 2149072 h 2406392"/>
                <a:gd name="connsiteX310" fmla="*/ 405032 w 1143628"/>
                <a:gd name="connsiteY310" fmla="*/ 2149072 h 2406392"/>
                <a:gd name="connsiteX311" fmla="*/ 395504 w 1143628"/>
                <a:gd name="connsiteY311" fmla="*/ 2153840 h 2406392"/>
                <a:gd name="connsiteX312" fmla="*/ 385972 w 1143628"/>
                <a:gd name="connsiteY312" fmla="*/ 2149072 h 2406392"/>
                <a:gd name="connsiteX313" fmla="*/ 381208 w 1143628"/>
                <a:gd name="connsiteY313" fmla="*/ 2139544 h 2406392"/>
                <a:gd name="connsiteX314" fmla="*/ 371680 w 1143628"/>
                <a:gd name="connsiteY314" fmla="*/ 2130012 h 2406392"/>
                <a:gd name="connsiteX315" fmla="*/ 357384 w 1143628"/>
                <a:gd name="connsiteY315" fmla="*/ 2115716 h 2406392"/>
                <a:gd name="connsiteX316" fmla="*/ 362148 w 1143628"/>
                <a:gd name="connsiteY316" fmla="*/ 2115716 h 2406392"/>
                <a:gd name="connsiteX317" fmla="*/ 371680 w 1143628"/>
                <a:gd name="connsiteY317" fmla="*/ 2106188 h 2406392"/>
                <a:gd name="connsiteX318" fmla="*/ 381208 w 1143628"/>
                <a:gd name="connsiteY318" fmla="*/ 2101424 h 2406392"/>
                <a:gd name="connsiteX319" fmla="*/ 400268 w 1143628"/>
                <a:gd name="connsiteY319" fmla="*/ 2096656 h 2406392"/>
                <a:gd name="connsiteX320" fmla="*/ 419328 w 1143628"/>
                <a:gd name="connsiteY320" fmla="*/ 2096656 h 2406392"/>
                <a:gd name="connsiteX321" fmla="*/ 424096 w 1143628"/>
                <a:gd name="connsiteY321" fmla="*/ 2096656 h 2406392"/>
                <a:gd name="connsiteX322" fmla="*/ 428860 w 1143628"/>
                <a:gd name="connsiteY322" fmla="*/ 2087128 h 2406392"/>
                <a:gd name="connsiteX323" fmla="*/ 443156 w 1143628"/>
                <a:gd name="connsiteY323" fmla="*/ 2077596 h 2406392"/>
                <a:gd name="connsiteX324" fmla="*/ 452684 w 1143628"/>
                <a:gd name="connsiteY324" fmla="*/ 2068068 h 2406392"/>
                <a:gd name="connsiteX325" fmla="*/ 457452 w 1143628"/>
                <a:gd name="connsiteY325" fmla="*/ 2063300 h 2406392"/>
                <a:gd name="connsiteX326" fmla="*/ 452684 w 1143628"/>
                <a:gd name="connsiteY326" fmla="*/ 2053772 h 2406392"/>
                <a:gd name="connsiteX327" fmla="*/ 452684 w 1143628"/>
                <a:gd name="connsiteY327" fmla="*/ 2039476 h 2406392"/>
                <a:gd name="connsiteX328" fmla="*/ 452684 w 1143628"/>
                <a:gd name="connsiteY328" fmla="*/ 2034712 h 2406392"/>
                <a:gd name="connsiteX329" fmla="*/ 471744 w 1143628"/>
                <a:gd name="connsiteY329" fmla="*/ 2039476 h 2406392"/>
                <a:gd name="connsiteX330" fmla="*/ 490808 w 1143628"/>
                <a:gd name="connsiteY330" fmla="*/ 2044240 h 2406392"/>
                <a:gd name="connsiteX331" fmla="*/ 495572 w 1143628"/>
                <a:gd name="connsiteY331" fmla="*/ 2049004 h 2406392"/>
                <a:gd name="connsiteX332" fmla="*/ 505100 w 1143628"/>
                <a:gd name="connsiteY332" fmla="*/ 2029944 h 2406392"/>
                <a:gd name="connsiteX333" fmla="*/ 509868 w 1143628"/>
                <a:gd name="connsiteY333" fmla="*/ 2029944 h 2406392"/>
                <a:gd name="connsiteX334" fmla="*/ 519396 w 1143628"/>
                <a:gd name="connsiteY334" fmla="*/ 2029944 h 2406392"/>
                <a:gd name="connsiteX335" fmla="*/ 538456 w 1143628"/>
                <a:gd name="connsiteY335" fmla="*/ 2025180 h 2406392"/>
                <a:gd name="connsiteX336" fmla="*/ 557520 w 1143628"/>
                <a:gd name="connsiteY336" fmla="*/ 2025180 h 2406392"/>
                <a:gd name="connsiteX337" fmla="*/ 562284 w 1143628"/>
                <a:gd name="connsiteY337" fmla="*/ 2025180 h 2406392"/>
                <a:gd name="connsiteX338" fmla="*/ 571812 w 1143628"/>
                <a:gd name="connsiteY338" fmla="*/ 2034712 h 2406392"/>
                <a:gd name="connsiteX339" fmla="*/ 581344 w 1143628"/>
                <a:gd name="connsiteY339" fmla="*/ 2044240 h 2406392"/>
                <a:gd name="connsiteX340" fmla="*/ 595640 w 1143628"/>
                <a:gd name="connsiteY340" fmla="*/ 2039476 h 2406392"/>
                <a:gd name="connsiteX341" fmla="*/ 600404 w 1143628"/>
                <a:gd name="connsiteY341" fmla="*/ 2044240 h 2406392"/>
                <a:gd name="connsiteX342" fmla="*/ 619464 w 1143628"/>
                <a:gd name="connsiteY342" fmla="*/ 2053772 h 2406392"/>
                <a:gd name="connsiteX343" fmla="*/ 628996 w 1143628"/>
                <a:gd name="connsiteY343" fmla="*/ 2053772 h 2406392"/>
                <a:gd name="connsiteX344" fmla="*/ 624228 w 1143628"/>
                <a:gd name="connsiteY344" fmla="*/ 2034712 h 2406392"/>
                <a:gd name="connsiteX345" fmla="*/ 628996 w 1143628"/>
                <a:gd name="connsiteY345" fmla="*/ 2020416 h 2406392"/>
                <a:gd name="connsiteX346" fmla="*/ 628996 w 1143628"/>
                <a:gd name="connsiteY346" fmla="*/ 2015648 h 2406392"/>
                <a:gd name="connsiteX347" fmla="*/ 619464 w 1143628"/>
                <a:gd name="connsiteY347" fmla="*/ 2010884 h 2406392"/>
                <a:gd name="connsiteX348" fmla="*/ 586108 w 1143628"/>
                <a:gd name="connsiteY348" fmla="*/ 1982292 h 2406392"/>
                <a:gd name="connsiteX349" fmla="*/ 581344 w 1143628"/>
                <a:gd name="connsiteY349" fmla="*/ 1977528 h 2406392"/>
                <a:gd name="connsiteX350" fmla="*/ 581344 w 1143628"/>
                <a:gd name="connsiteY350" fmla="*/ 1963232 h 2406392"/>
                <a:gd name="connsiteX351" fmla="*/ 581344 w 1143628"/>
                <a:gd name="connsiteY351" fmla="*/ 1944172 h 2406392"/>
                <a:gd name="connsiteX352" fmla="*/ 576580 w 1143628"/>
                <a:gd name="connsiteY352" fmla="*/ 1934644 h 2406392"/>
                <a:gd name="connsiteX353" fmla="*/ 576580 w 1143628"/>
                <a:gd name="connsiteY353" fmla="*/ 1925112 h 2406392"/>
                <a:gd name="connsiteX354" fmla="*/ 581344 w 1143628"/>
                <a:gd name="connsiteY354" fmla="*/ 1920348 h 2406392"/>
                <a:gd name="connsiteX355" fmla="*/ 586108 w 1143628"/>
                <a:gd name="connsiteY355" fmla="*/ 1920348 h 2406392"/>
                <a:gd name="connsiteX356" fmla="*/ 590872 w 1143628"/>
                <a:gd name="connsiteY356" fmla="*/ 1920348 h 2406392"/>
                <a:gd name="connsiteX357" fmla="*/ 595640 w 1143628"/>
                <a:gd name="connsiteY357" fmla="*/ 1915584 h 2406392"/>
                <a:gd name="connsiteX358" fmla="*/ 605168 w 1143628"/>
                <a:gd name="connsiteY358" fmla="*/ 1901288 h 2406392"/>
                <a:gd name="connsiteX359" fmla="*/ 619464 w 1143628"/>
                <a:gd name="connsiteY359" fmla="*/ 1901288 h 2406392"/>
                <a:gd name="connsiteX360" fmla="*/ 638524 w 1143628"/>
                <a:gd name="connsiteY360" fmla="*/ 1910816 h 2406392"/>
                <a:gd name="connsiteX361" fmla="*/ 657584 w 1143628"/>
                <a:gd name="connsiteY361" fmla="*/ 1915584 h 2406392"/>
                <a:gd name="connsiteX362" fmla="*/ 667116 w 1143628"/>
                <a:gd name="connsiteY362" fmla="*/ 1915584 h 2406392"/>
                <a:gd name="connsiteX363" fmla="*/ 667116 w 1143628"/>
                <a:gd name="connsiteY363" fmla="*/ 1910816 h 2406392"/>
                <a:gd name="connsiteX364" fmla="*/ 667116 w 1143628"/>
                <a:gd name="connsiteY364" fmla="*/ 1906052 h 2406392"/>
                <a:gd name="connsiteX365" fmla="*/ 667116 w 1143628"/>
                <a:gd name="connsiteY365" fmla="*/ 1877460 h 2406392"/>
                <a:gd name="connsiteX366" fmla="*/ 667116 w 1143628"/>
                <a:gd name="connsiteY366" fmla="*/ 1872696 h 2406392"/>
                <a:gd name="connsiteX367" fmla="*/ 681412 w 1143628"/>
                <a:gd name="connsiteY367" fmla="*/ 1867932 h 2406392"/>
                <a:gd name="connsiteX368" fmla="*/ 700472 w 1143628"/>
                <a:gd name="connsiteY368" fmla="*/ 1867932 h 2406392"/>
                <a:gd name="connsiteX369" fmla="*/ 714768 w 1143628"/>
                <a:gd name="connsiteY369" fmla="*/ 1867932 h 2406392"/>
                <a:gd name="connsiteX370" fmla="*/ 724296 w 1143628"/>
                <a:gd name="connsiteY370" fmla="*/ 1853636 h 2406392"/>
                <a:gd name="connsiteX371" fmla="*/ 748124 w 1143628"/>
                <a:gd name="connsiteY371" fmla="*/ 1848872 h 2406392"/>
                <a:gd name="connsiteX372" fmla="*/ 767184 w 1143628"/>
                <a:gd name="connsiteY372" fmla="*/ 1834576 h 2406392"/>
                <a:gd name="connsiteX373" fmla="*/ 781480 w 1143628"/>
                <a:gd name="connsiteY373" fmla="*/ 1820280 h 2406392"/>
                <a:gd name="connsiteX374" fmla="*/ 791008 w 1143628"/>
                <a:gd name="connsiteY374" fmla="*/ 1815516 h 2406392"/>
                <a:gd name="connsiteX375" fmla="*/ 805304 w 1143628"/>
                <a:gd name="connsiteY375" fmla="*/ 1810748 h 2406392"/>
                <a:gd name="connsiteX376" fmla="*/ 810068 w 1143628"/>
                <a:gd name="connsiteY376" fmla="*/ 1810748 h 2406392"/>
                <a:gd name="connsiteX377" fmla="*/ 819600 w 1143628"/>
                <a:gd name="connsiteY377" fmla="*/ 1820280 h 2406392"/>
                <a:gd name="connsiteX378" fmla="*/ 829132 w 1143628"/>
                <a:gd name="connsiteY378" fmla="*/ 1815516 h 2406392"/>
                <a:gd name="connsiteX379" fmla="*/ 838660 w 1143628"/>
                <a:gd name="connsiteY379" fmla="*/ 1805984 h 2406392"/>
                <a:gd name="connsiteX380" fmla="*/ 843424 w 1143628"/>
                <a:gd name="connsiteY380" fmla="*/ 1791688 h 2406392"/>
                <a:gd name="connsiteX381" fmla="*/ 848192 w 1143628"/>
                <a:gd name="connsiteY381" fmla="*/ 1777392 h 2406392"/>
                <a:gd name="connsiteX382" fmla="*/ 843424 w 1143628"/>
                <a:gd name="connsiteY382" fmla="*/ 1748804 h 2406392"/>
                <a:gd name="connsiteX383" fmla="*/ 838660 w 1143628"/>
                <a:gd name="connsiteY383" fmla="*/ 1729744 h 2406392"/>
                <a:gd name="connsiteX384" fmla="*/ 833896 w 1143628"/>
                <a:gd name="connsiteY384" fmla="*/ 1715448 h 2406392"/>
                <a:gd name="connsiteX385" fmla="*/ 833896 w 1143628"/>
                <a:gd name="connsiteY385" fmla="*/ 1696388 h 2406392"/>
                <a:gd name="connsiteX386" fmla="*/ 843424 w 1143628"/>
                <a:gd name="connsiteY386" fmla="*/ 1667796 h 2406392"/>
                <a:gd name="connsiteX387" fmla="*/ 852956 w 1143628"/>
                <a:gd name="connsiteY387" fmla="*/ 1634440 h 2406392"/>
                <a:gd name="connsiteX388" fmla="*/ 852956 w 1143628"/>
                <a:gd name="connsiteY388" fmla="*/ 1620144 h 2406392"/>
                <a:gd name="connsiteX389" fmla="*/ 843424 w 1143628"/>
                <a:gd name="connsiteY389" fmla="*/ 1596320 h 2406392"/>
                <a:gd name="connsiteX390" fmla="*/ 833896 w 1143628"/>
                <a:gd name="connsiteY390" fmla="*/ 1572492 h 2406392"/>
                <a:gd name="connsiteX391" fmla="*/ 819600 w 1143628"/>
                <a:gd name="connsiteY391" fmla="*/ 1543904 h 2406392"/>
                <a:gd name="connsiteX392" fmla="*/ 814836 w 1143628"/>
                <a:gd name="connsiteY392" fmla="*/ 1539136 h 2406392"/>
                <a:gd name="connsiteX393" fmla="*/ 814836 w 1143628"/>
                <a:gd name="connsiteY393" fmla="*/ 1529608 h 2406392"/>
                <a:gd name="connsiteX394" fmla="*/ 810068 w 1143628"/>
                <a:gd name="connsiteY394" fmla="*/ 1520076 h 2406392"/>
                <a:gd name="connsiteX395" fmla="*/ 814836 w 1143628"/>
                <a:gd name="connsiteY395" fmla="*/ 1491484 h 2406392"/>
                <a:gd name="connsiteX396" fmla="*/ 814836 w 1143628"/>
                <a:gd name="connsiteY396" fmla="*/ 1481956 h 2406392"/>
                <a:gd name="connsiteX397" fmla="*/ 829132 w 1143628"/>
                <a:gd name="connsiteY397" fmla="*/ 1467660 h 2406392"/>
                <a:gd name="connsiteX398" fmla="*/ 833896 w 1143628"/>
                <a:gd name="connsiteY398" fmla="*/ 1453364 h 2406392"/>
                <a:gd name="connsiteX399" fmla="*/ 843424 w 1143628"/>
                <a:gd name="connsiteY399" fmla="*/ 1439068 h 2406392"/>
                <a:gd name="connsiteX400" fmla="*/ 838660 w 1143628"/>
                <a:gd name="connsiteY400" fmla="*/ 1429540 h 2406392"/>
                <a:gd name="connsiteX401" fmla="*/ 838660 w 1143628"/>
                <a:gd name="connsiteY401" fmla="*/ 1410480 h 2406392"/>
                <a:gd name="connsiteX402" fmla="*/ 843424 w 1143628"/>
                <a:gd name="connsiteY402" fmla="*/ 1400948 h 2406392"/>
                <a:gd name="connsiteX403" fmla="*/ 838660 w 1143628"/>
                <a:gd name="connsiteY403" fmla="*/ 1396184 h 2406392"/>
                <a:gd name="connsiteX404" fmla="*/ 833896 w 1143628"/>
                <a:gd name="connsiteY404" fmla="*/ 1386652 h 2406392"/>
                <a:gd name="connsiteX405" fmla="*/ 838660 w 1143628"/>
                <a:gd name="connsiteY405" fmla="*/ 1377124 h 2406392"/>
                <a:gd name="connsiteX406" fmla="*/ 848192 w 1143628"/>
                <a:gd name="connsiteY406" fmla="*/ 1372356 h 2406392"/>
                <a:gd name="connsiteX407" fmla="*/ 852956 w 1143628"/>
                <a:gd name="connsiteY407" fmla="*/ 1362828 h 2406392"/>
                <a:gd name="connsiteX408" fmla="*/ 857720 w 1143628"/>
                <a:gd name="connsiteY408" fmla="*/ 1348532 h 2406392"/>
                <a:gd name="connsiteX409" fmla="*/ 862488 w 1143628"/>
                <a:gd name="connsiteY409" fmla="*/ 1339000 h 2406392"/>
                <a:gd name="connsiteX410" fmla="*/ 857720 w 1143628"/>
                <a:gd name="connsiteY410" fmla="*/ 1329472 h 2406392"/>
                <a:gd name="connsiteX411" fmla="*/ 848192 w 1143628"/>
                <a:gd name="connsiteY411" fmla="*/ 1319940 h 2406392"/>
                <a:gd name="connsiteX412" fmla="*/ 829132 w 1143628"/>
                <a:gd name="connsiteY412" fmla="*/ 1305644 h 2406392"/>
                <a:gd name="connsiteX413" fmla="*/ 810068 w 1143628"/>
                <a:gd name="connsiteY413" fmla="*/ 1291352 h 2406392"/>
                <a:gd name="connsiteX414" fmla="*/ 805304 w 1143628"/>
                <a:gd name="connsiteY414" fmla="*/ 1281820 h 2406392"/>
                <a:gd name="connsiteX415" fmla="*/ 795776 w 1143628"/>
                <a:gd name="connsiteY415" fmla="*/ 1272288 h 2406392"/>
                <a:gd name="connsiteX416" fmla="*/ 791008 w 1143628"/>
                <a:gd name="connsiteY416" fmla="*/ 1257996 h 2406392"/>
                <a:gd name="connsiteX417" fmla="*/ 786244 w 1143628"/>
                <a:gd name="connsiteY417" fmla="*/ 1253228 h 2406392"/>
                <a:gd name="connsiteX418" fmla="*/ 791008 w 1143628"/>
                <a:gd name="connsiteY418" fmla="*/ 1243700 h 2406392"/>
                <a:gd name="connsiteX419" fmla="*/ 814836 w 1143628"/>
                <a:gd name="connsiteY419" fmla="*/ 1234168 h 2406392"/>
                <a:gd name="connsiteX420" fmla="*/ 819600 w 1143628"/>
                <a:gd name="connsiteY420" fmla="*/ 1229404 h 2406392"/>
                <a:gd name="connsiteX421" fmla="*/ 824364 w 1143628"/>
                <a:gd name="connsiteY421" fmla="*/ 1219872 h 2406392"/>
                <a:gd name="connsiteX422" fmla="*/ 819600 w 1143628"/>
                <a:gd name="connsiteY422" fmla="*/ 1210344 h 2406392"/>
                <a:gd name="connsiteX423" fmla="*/ 814836 w 1143628"/>
                <a:gd name="connsiteY423" fmla="*/ 1210344 h 2406392"/>
                <a:gd name="connsiteX424" fmla="*/ 805304 w 1143628"/>
                <a:gd name="connsiteY424" fmla="*/ 1205580 h 2406392"/>
                <a:gd name="connsiteX425" fmla="*/ 791008 w 1143628"/>
                <a:gd name="connsiteY425" fmla="*/ 1196048 h 2406392"/>
                <a:gd name="connsiteX426" fmla="*/ 771948 w 1143628"/>
                <a:gd name="connsiteY426" fmla="*/ 1172224 h 2406392"/>
                <a:gd name="connsiteX427" fmla="*/ 757652 w 1143628"/>
                <a:gd name="connsiteY427" fmla="*/ 1167456 h 2406392"/>
                <a:gd name="connsiteX428" fmla="*/ 748124 w 1143628"/>
                <a:gd name="connsiteY428" fmla="*/ 1162692 h 2406392"/>
                <a:gd name="connsiteX429" fmla="*/ 743360 w 1143628"/>
                <a:gd name="connsiteY429" fmla="*/ 1153160 h 2406392"/>
                <a:gd name="connsiteX430" fmla="*/ 733828 w 1143628"/>
                <a:gd name="connsiteY430" fmla="*/ 1134100 h 2406392"/>
                <a:gd name="connsiteX431" fmla="*/ 729064 w 1143628"/>
                <a:gd name="connsiteY431" fmla="*/ 1138868 h 2406392"/>
                <a:gd name="connsiteX432" fmla="*/ 719532 w 1143628"/>
                <a:gd name="connsiteY432" fmla="*/ 1143632 h 2406392"/>
                <a:gd name="connsiteX433" fmla="*/ 710004 w 1143628"/>
                <a:gd name="connsiteY433" fmla="*/ 1143632 h 2406392"/>
                <a:gd name="connsiteX434" fmla="*/ 705236 w 1143628"/>
                <a:gd name="connsiteY434" fmla="*/ 1138868 h 2406392"/>
                <a:gd name="connsiteX435" fmla="*/ 700472 w 1143628"/>
                <a:gd name="connsiteY435" fmla="*/ 1134100 h 2406392"/>
                <a:gd name="connsiteX436" fmla="*/ 695708 w 1143628"/>
                <a:gd name="connsiteY436" fmla="*/ 1119804 h 2406392"/>
                <a:gd name="connsiteX437" fmla="*/ 690940 w 1143628"/>
                <a:gd name="connsiteY437" fmla="*/ 1115040 h 2406392"/>
                <a:gd name="connsiteX438" fmla="*/ 686176 w 1143628"/>
                <a:gd name="connsiteY438" fmla="*/ 1086448 h 2406392"/>
                <a:gd name="connsiteX439" fmla="*/ 686176 w 1143628"/>
                <a:gd name="connsiteY439" fmla="*/ 1076920 h 2406392"/>
                <a:gd name="connsiteX440" fmla="*/ 681412 w 1143628"/>
                <a:gd name="connsiteY440" fmla="*/ 1062624 h 2406392"/>
                <a:gd name="connsiteX441" fmla="*/ 676648 w 1143628"/>
                <a:gd name="connsiteY441" fmla="*/ 1057860 h 2406392"/>
                <a:gd name="connsiteX442" fmla="*/ 671880 w 1143628"/>
                <a:gd name="connsiteY442" fmla="*/ 1057860 h 2406392"/>
                <a:gd name="connsiteX443" fmla="*/ 657584 w 1143628"/>
                <a:gd name="connsiteY443" fmla="*/ 1034032 h 2406392"/>
                <a:gd name="connsiteX444" fmla="*/ 643292 w 1143628"/>
                <a:gd name="connsiteY444" fmla="*/ 1019740 h 2406392"/>
                <a:gd name="connsiteX445" fmla="*/ 605168 w 1143628"/>
                <a:gd name="connsiteY445" fmla="*/ 986384 h 2406392"/>
                <a:gd name="connsiteX446" fmla="*/ 600404 w 1143628"/>
                <a:gd name="connsiteY446" fmla="*/ 981616 h 2406392"/>
                <a:gd name="connsiteX447" fmla="*/ 586108 w 1143628"/>
                <a:gd name="connsiteY447" fmla="*/ 967320 h 2406392"/>
                <a:gd name="connsiteX448" fmla="*/ 567048 w 1143628"/>
                <a:gd name="connsiteY448" fmla="*/ 948260 h 2406392"/>
                <a:gd name="connsiteX449" fmla="*/ 552752 w 1143628"/>
                <a:gd name="connsiteY449" fmla="*/ 933964 h 2406392"/>
                <a:gd name="connsiteX450" fmla="*/ 543224 w 1143628"/>
                <a:gd name="connsiteY450" fmla="*/ 919672 h 2406392"/>
                <a:gd name="connsiteX451" fmla="*/ 538456 w 1143628"/>
                <a:gd name="connsiteY451" fmla="*/ 905376 h 2406392"/>
                <a:gd name="connsiteX452" fmla="*/ 538456 w 1143628"/>
                <a:gd name="connsiteY452" fmla="*/ 895844 h 2406392"/>
                <a:gd name="connsiteX453" fmla="*/ 528928 w 1143628"/>
                <a:gd name="connsiteY453" fmla="*/ 881548 h 2406392"/>
                <a:gd name="connsiteX454" fmla="*/ 519396 w 1143628"/>
                <a:gd name="connsiteY454" fmla="*/ 867256 h 2406392"/>
                <a:gd name="connsiteX455" fmla="*/ 509868 w 1143628"/>
                <a:gd name="connsiteY455" fmla="*/ 862488 h 2406392"/>
                <a:gd name="connsiteX456" fmla="*/ 500336 w 1143628"/>
                <a:gd name="connsiteY456" fmla="*/ 862488 h 2406392"/>
                <a:gd name="connsiteX457" fmla="*/ 490808 w 1143628"/>
                <a:gd name="connsiteY457" fmla="*/ 852960 h 2406392"/>
                <a:gd name="connsiteX458" fmla="*/ 471744 w 1143628"/>
                <a:gd name="connsiteY458" fmla="*/ 838664 h 2406392"/>
                <a:gd name="connsiteX459" fmla="*/ 466980 w 1143628"/>
                <a:gd name="connsiteY459" fmla="*/ 824368 h 2406392"/>
                <a:gd name="connsiteX460" fmla="*/ 462216 w 1143628"/>
                <a:gd name="connsiteY460" fmla="*/ 819604 h 2406392"/>
                <a:gd name="connsiteX461" fmla="*/ 462216 w 1143628"/>
                <a:gd name="connsiteY461" fmla="*/ 810072 h 2406392"/>
                <a:gd name="connsiteX462" fmla="*/ 462216 w 1143628"/>
                <a:gd name="connsiteY462" fmla="*/ 800544 h 2406392"/>
                <a:gd name="connsiteX463" fmla="*/ 466980 w 1143628"/>
                <a:gd name="connsiteY463" fmla="*/ 791012 h 2406392"/>
                <a:gd name="connsiteX464" fmla="*/ 471744 w 1143628"/>
                <a:gd name="connsiteY464" fmla="*/ 786248 h 2406392"/>
                <a:gd name="connsiteX465" fmla="*/ 466980 w 1143628"/>
                <a:gd name="connsiteY465" fmla="*/ 781480 h 2406392"/>
                <a:gd name="connsiteX466" fmla="*/ 447920 w 1143628"/>
                <a:gd name="connsiteY466" fmla="*/ 771952 h 2406392"/>
                <a:gd name="connsiteX467" fmla="*/ 400268 w 1143628"/>
                <a:gd name="connsiteY467" fmla="*/ 762420 h 2406392"/>
                <a:gd name="connsiteX468" fmla="*/ 385972 w 1143628"/>
                <a:gd name="connsiteY468" fmla="*/ 752892 h 2406392"/>
                <a:gd name="connsiteX469" fmla="*/ 371680 w 1143628"/>
                <a:gd name="connsiteY469" fmla="*/ 738596 h 2406392"/>
                <a:gd name="connsiteX470" fmla="*/ 362148 w 1143628"/>
                <a:gd name="connsiteY470" fmla="*/ 729064 h 2406392"/>
                <a:gd name="connsiteX471" fmla="*/ 309732 w 1143628"/>
                <a:gd name="connsiteY471" fmla="*/ 695708 h 2406392"/>
                <a:gd name="connsiteX472" fmla="*/ 290672 w 1143628"/>
                <a:gd name="connsiteY472" fmla="*/ 690944 h 2406392"/>
                <a:gd name="connsiteX473" fmla="*/ 276376 w 1143628"/>
                <a:gd name="connsiteY473" fmla="*/ 681416 h 2406392"/>
                <a:gd name="connsiteX474" fmla="*/ 271612 w 1143628"/>
                <a:gd name="connsiteY474" fmla="*/ 676648 h 2406392"/>
                <a:gd name="connsiteX475" fmla="*/ 276376 w 1143628"/>
                <a:gd name="connsiteY475" fmla="*/ 671884 h 2406392"/>
                <a:gd name="connsiteX476" fmla="*/ 281140 w 1143628"/>
                <a:gd name="connsiteY476" fmla="*/ 667120 h 2406392"/>
                <a:gd name="connsiteX477" fmla="*/ 295436 w 1143628"/>
                <a:gd name="connsiteY477" fmla="*/ 657588 h 2406392"/>
                <a:gd name="connsiteX478" fmla="*/ 300200 w 1143628"/>
                <a:gd name="connsiteY478" fmla="*/ 648060 h 2406392"/>
                <a:gd name="connsiteX479" fmla="*/ 300200 w 1143628"/>
                <a:gd name="connsiteY479" fmla="*/ 633764 h 2406392"/>
                <a:gd name="connsiteX480" fmla="*/ 295436 w 1143628"/>
                <a:gd name="connsiteY480" fmla="*/ 619468 h 2406392"/>
                <a:gd name="connsiteX481" fmla="*/ 295436 w 1143628"/>
                <a:gd name="connsiteY481" fmla="*/ 614704 h 2406392"/>
                <a:gd name="connsiteX482" fmla="*/ 300200 w 1143628"/>
                <a:gd name="connsiteY482" fmla="*/ 614704 h 2406392"/>
                <a:gd name="connsiteX483" fmla="*/ 309732 w 1143628"/>
                <a:gd name="connsiteY483" fmla="*/ 614704 h 2406392"/>
                <a:gd name="connsiteX484" fmla="*/ 333556 w 1143628"/>
                <a:gd name="connsiteY484" fmla="*/ 614704 h 2406392"/>
                <a:gd name="connsiteX485" fmla="*/ 376444 w 1143628"/>
                <a:gd name="connsiteY485" fmla="*/ 628996 h 2406392"/>
                <a:gd name="connsiteX486" fmla="*/ 381208 w 1143628"/>
                <a:gd name="connsiteY486" fmla="*/ 624232 h 2406392"/>
                <a:gd name="connsiteX487" fmla="*/ 405032 w 1143628"/>
                <a:gd name="connsiteY487" fmla="*/ 605172 h 2406392"/>
                <a:gd name="connsiteX488" fmla="*/ 414564 w 1143628"/>
                <a:gd name="connsiteY488" fmla="*/ 590876 h 2406392"/>
                <a:gd name="connsiteX489" fmla="*/ 419328 w 1143628"/>
                <a:gd name="connsiteY489" fmla="*/ 576580 h 2406392"/>
                <a:gd name="connsiteX490" fmla="*/ 424096 w 1143628"/>
                <a:gd name="connsiteY490" fmla="*/ 571816 h 2406392"/>
                <a:gd name="connsiteX491" fmla="*/ 433624 w 1143628"/>
                <a:gd name="connsiteY491" fmla="*/ 557520 h 2406392"/>
                <a:gd name="connsiteX492" fmla="*/ 438388 w 1143628"/>
                <a:gd name="connsiteY492" fmla="*/ 547992 h 2406392"/>
                <a:gd name="connsiteX493" fmla="*/ 428860 w 1143628"/>
                <a:gd name="connsiteY493" fmla="*/ 533696 h 2406392"/>
                <a:gd name="connsiteX494" fmla="*/ 424096 w 1143628"/>
                <a:gd name="connsiteY494" fmla="*/ 528932 h 2406392"/>
                <a:gd name="connsiteX495" fmla="*/ 419328 w 1143628"/>
                <a:gd name="connsiteY495" fmla="*/ 524164 h 2406392"/>
                <a:gd name="connsiteX496" fmla="*/ 400268 w 1143628"/>
                <a:gd name="connsiteY496" fmla="*/ 528932 h 2406392"/>
                <a:gd name="connsiteX497" fmla="*/ 395504 w 1143628"/>
                <a:gd name="connsiteY497" fmla="*/ 524164 h 2406392"/>
                <a:gd name="connsiteX498" fmla="*/ 395504 w 1143628"/>
                <a:gd name="connsiteY498" fmla="*/ 514636 h 2406392"/>
                <a:gd name="connsiteX499" fmla="*/ 390740 w 1143628"/>
                <a:gd name="connsiteY499" fmla="*/ 509868 h 2406392"/>
                <a:gd name="connsiteX500" fmla="*/ 385972 w 1143628"/>
                <a:gd name="connsiteY500" fmla="*/ 500340 h 2406392"/>
                <a:gd name="connsiteX501" fmla="*/ 366912 w 1143628"/>
                <a:gd name="connsiteY501" fmla="*/ 490808 h 2406392"/>
                <a:gd name="connsiteX502" fmla="*/ 352616 w 1143628"/>
                <a:gd name="connsiteY502" fmla="*/ 490808 h 2406392"/>
                <a:gd name="connsiteX503" fmla="*/ 347852 w 1143628"/>
                <a:gd name="connsiteY503" fmla="*/ 490808 h 2406392"/>
                <a:gd name="connsiteX504" fmla="*/ 352616 w 1143628"/>
                <a:gd name="connsiteY504" fmla="*/ 481280 h 2406392"/>
                <a:gd name="connsiteX505" fmla="*/ 366912 w 1143628"/>
                <a:gd name="connsiteY505" fmla="*/ 471748 h 2406392"/>
                <a:gd name="connsiteX506" fmla="*/ 376444 w 1143628"/>
                <a:gd name="connsiteY506" fmla="*/ 471748 h 2406392"/>
                <a:gd name="connsiteX507" fmla="*/ 381208 w 1143628"/>
                <a:gd name="connsiteY507" fmla="*/ 462220 h 2406392"/>
                <a:gd name="connsiteX508" fmla="*/ 381208 w 1143628"/>
                <a:gd name="connsiteY508" fmla="*/ 452688 h 2406392"/>
                <a:gd name="connsiteX509" fmla="*/ 371680 w 1143628"/>
                <a:gd name="connsiteY509" fmla="*/ 447924 h 2406392"/>
                <a:gd name="connsiteX510" fmla="*/ 362148 w 1143628"/>
                <a:gd name="connsiteY510" fmla="*/ 438392 h 2406392"/>
                <a:gd name="connsiteX511" fmla="*/ 343088 w 1143628"/>
                <a:gd name="connsiteY511" fmla="*/ 424096 h 2406392"/>
                <a:gd name="connsiteX512" fmla="*/ 319260 w 1143628"/>
                <a:gd name="connsiteY512" fmla="*/ 409800 h 2406392"/>
                <a:gd name="connsiteX513" fmla="*/ 304968 w 1143628"/>
                <a:gd name="connsiteY513" fmla="*/ 405036 h 2406392"/>
                <a:gd name="connsiteX514" fmla="*/ 300200 w 1143628"/>
                <a:gd name="connsiteY514" fmla="*/ 405036 h 2406392"/>
                <a:gd name="connsiteX515" fmla="*/ 271612 w 1143628"/>
                <a:gd name="connsiteY515" fmla="*/ 419332 h 2406392"/>
                <a:gd name="connsiteX516" fmla="*/ 257316 w 1143628"/>
                <a:gd name="connsiteY516" fmla="*/ 428864 h 2406392"/>
                <a:gd name="connsiteX517" fmla="*/ 247784 w 1143628"/>
                <a:gd name="connsiteY517" fmla="*/ 443156 h 2406392"/>
                <a:gd name="connsiteX518" fmla="*/ 233488 w 1143628"/>
                <a:gd name="connsiteY518" fmla="*/ 447924 h 2406392"/>
                <a:gd name="connsiteX519" fmla="*/ 204900 w 1143628"/>
                <a:gd name="connsiteY519" fmla="*/ 433628 h 2406392"/>
                <a:gd name="connsiteX520" fmla="*/ 166776 w 1143628"/>
                <a:gd name="connsiteY520" fmla="*/ 419332 h 2406392"/>
                <a:gd name="connsiteX521" fmla="*/ 152484 w 1143628"/>
                <a:gd name="connsiteY521" fmla="*/ 414568 h 2406392"/>
                <a:gd name="connsiteX522" fmla="*/ 114360 w 1143628"/>
                <a:gd name="connsiteY522" fmla="*/ 362152 h 2406392"/>
                <a:gd name="connsiteX523" fmla="*/ 109596 w 1143628"/>
                <a:gd name="connsiteY523" fmla="*/ 352620 h 2406392"/>
                <a:gd name="connsiteX524" fmla="*/ 114360 w 1143628"/>
                <a:gd name="connsiteY524" fmla="*/ 338324 h 2406392"/>
                <a:gd name="connsiteX525" fmla="*/ 114360 w 1143628"/>
                <a:gd name="connsiteY525" fmla="*/ 319264 h 2406392"/>
                <a:gd name="connsiteX526" fmla="*/ 119128 w 1143628"/>
                <a:gd name="connsiteY526" fmla="*/ 309736 h 2406392"/>
                <a:gd name="connsiteX527" fmla="*/ 128656 w 1143628"/>
                <a:gd name="connsiteY527" fmla="*/ 300204 h 2406392"/>
                <a:gd name="connsiteX528" fmla="*/ 128656 w 1143628"/>
                <a:gd name="connsiteY528" fmla="*/ 290672 h 2406392"/>
                <a:gd name="connsiteX529" fmla="*/ 128656 w 1143628"/>
                <a:gd name="connsiteY529" fmla="*/ 281144 h 2406392"/>
                <a:gd name="connsiteX530" fmla="*/ 123892 w 1143628"/>
                <a:gd name="connsiteY530" fmla="*/ 276380 h 2406392"/>
                <a:gd name="connsiteX531" fmla="*/ 114360 w 1143628"/>
                <a:gd name="connsiteY531" fmla="*/ 276380 h 2406392"/>
                <a:gd name="connsiteX532" fmla="*/ 109596 w 1143628"/>
                <a:gd name="connsiteY532" fmla="*/ 271612 h 2406392"/>
                <a:gd name="connsiteX533" fmla="*/ 104832 w 1143628"/>
                <a:gd name="connsiteY533" fmla="*/ 262084 h 2406392"/>
                <a:gd name="connsiteX534" fmla="*/ 100064 w 1143628"/>
                <a:gd name="connsiteY534" fmla="*/ 276380 h 2406392"/>
                <a:gd name="connsiteX535" fmla="*/ 95300 w 1143628"/>
                <a:gd name="connsiteY535" fmla="*/ 281144 h 2406392"/>
                <a:gd name="connsiteX536" fmla="*/ 85772 w 1143628"/>
                <a:gd name="connsiteY536" fmla="*/ 285908 h 2406392"/>
                <a:gd name="connsiteX537" fmla="*/ 81004 w 1143628"/>
                <a:gd name="connsiteY537" fmla="*/ 281144 h 2406392"/>
                <a:gd name="connsiteX538" fmla="*/ 76240 w 1143628"/>
                <a:gd name="connsiteY538" fmla="*/ 276380 h 2406392"/>
                <a:gd name="connsiteX539" fmla="*/ 76240 w 1143628"/>
                <a:gd name="connsiteY539" fmla="*/ 266848 h 2406392"/>
                <a:gd name="connsiteX540" fmla="*/ 71476 w 1143628"/>
                <a:gd name="connsiteY540" fmla="*/ 252552 h 2406392"/>
                <a:gd name="connsiteX541" fmla="*/ 71476 w 1143628"/>
                <a:gd name="connsiteY541" fmla="*/ 243024 h 2406392"/>
                <a:gd name="connsiteX542" fmla="*/ 52416 w 1143628"/>
                <a:gd name="connsiteY542" fmla="*/ 233492 h 2406392"/>
                <a:gd name="connsiteX543" fmla="*/ 47648 w 1143628"/>
                <a:gd name="connsiteY543" fmla="*/ 223960 h 2406392"/>
                <a:gd name="connsiteX544" fmla="*/ 23824 w 1143628"/>
                <a:gd name="connsiteY544" fmla="*/ 195372 h 2406392"/>
                <a:gd name="connsiteX545" fmla="*/ 4764 w 1143628"/>
                <a:gd name="connsiteY545" fmla="*/ 181076 h 2406392"/>
                <a:gd name="connsiteX546" fmla="*/ 0 w 1143628"/>
                <a:gd name="connsiteY546" fmla="*/ 162016 h 2406392"/>
                <a:gd name="connsiteX547" fmla="*/ 4764 w 1143628"/>
                <a:gd name="connsiteY547" fmla="*/ 157252 h 2406392"/>
                <a:gd name="connsiteX548" fmla="*/ 14292 w 1143628"/>
                <a:gd name="connsiteY548" fmla="*/ 147720 h 2406392"/>
                <a:gd name="connsiteX549" fmla="*/ 23824 w 1143628"/>
                <a:gd name="connsiteY549" fmla="*/ 133424 h 2406392"/>
                <a:gd name="connsiteX550" fmla="*/ 38120 w 1143628"/>
                <a:gd name="connsiteY550" fmla="*/ 119128 h 2406392"/>
                <a:gd name="connsiteX551" fmla="*/ 42884 w 1143628"/>
                <a:gd name="connsiteY551" fmla="*/ 109600 h 2406392"/>
                <a:gd name="connsiteX552" fmla="*/ 47648 w 1143628"/>
                <a:gd name="connsiteY552" fmla="*/ 104832 h 2406392"/>
                <a:gd name="connsiteX553" fmla="*/ 52416 w 1143628"/>
                <a:gd name="connsiteY553" fmla="*/ 100068 h 2406392"/>
                <a:gd name="connsiteX554" fmla="*/ 57180 w 1143628"/>
                <a:gd name="connsiteY554" fmla="*/ 100068 h 2406392"/>
                <a:gd name="connsiteX555" fmla="*/ 71476 w 1143628"/>
                <a:gd name="connsiteY555" fmla="*/ 109600 h 2406392"/>
                <a:gd name="connsiteX556" fmla="*/ 90536 w 1143628"/>
                <a:gd name="connsiteY556" fmla="*/ 119128 h 2406392"/>
                <a:gd name="connsiteX557" fmla="*/ 109596 w 1143628"/>
                <a:gd name="connsiteY557" fmla="*/ 128660 h 2406392"/>
                <a:gd name="connsiteX558" fmla="*/ 114360 w 1143628"/>
                <a:gd name="connsiteY558" fmla="*/ 138188 h 2406392"/>
                <a:gd name="connsiteX559" fmla="*/ 123892 w 1143628"/>
                <a:gd name="connsiteY559" fmla="*/ 147720 h 2406392"/>
                <a:gd name="connsiteX560" fmla="*/ 133420 w 1143628"/>
                <a:gd name="connsiteY560" fmla="*/ 152484 h 2406392"/>
                <a:gd name="connsiteX561" fmla="*/ 147716 w 1143628"/>
                <a:gd name="connsiteY561" fmla="*/ 142956 h 2406392"/>
                <a:gd name="connsiteX562" fmla="*/ 157248 w 1143628"/>
                <a:gd name="connsiteY562" fmla="*/ 138188 h 2406392"/>
                <a:gd name="connsiteX563" fmla="*/ 157248 w 1143628"/>
                <a:gd name="connsiteY563" fmla="*/ 128660 h 2406392"/>
                <a:gd name="connsiteX564" fmla="*/ 166776 w 1143628"/>
                <a:gd name="connsiteY564" fmla="*/ 119128 h 2406392"/>
                <a:gd name="connsiteX565" fmla="*/ 176308 w 1143628"/>
                <a:gd name="connsiteY565" fmla="*/ 104832 h 2406392"/>
                <a:gd name="connsiteX566" fmla="*/ 181072 w 1143628"/>
                <a:gd name="connsiteY566" fmla="*/ 100068 h 2406392"/>
                <a:gd name="connsiteX567" fmla="*/ 185840 w 1143628"/>
                <a:gd name="connsiteY567" fmla="*/ 95304 h 2406392"/>
                <a:gd name="connsiteX568" fmla="*/ 190604 w 1143628"/>
                <a:gd name="connsiteY568" fmla="*/ 100068 h 2406392"/>
                <a:gd name="connsiteX569" fmla="*/ 209664 w 1143628"/>
                <a:gd name="connsiteY569" fmla="*/ 128660 h 2406392"/>
                <a:gd name="connsiteX570" fmla="*/ 219192 w 1143628"/>
                <a:gd name="connsiteY570" fmla="*/ 123896 h 2406392"/>
                <a:gd name="connsiteX571" fmla="*/ 223960 w 1143628"/>
                <a:gd name="connsiteY571" fmla="*/ 104832 h 2406392"/>
                <a:gd name="connsiteX572" fmla="*/ 233488 w 1143628"/>
                <a:gd name="connsiteY572" fmla="*/ 95304 h 2406392"/>
                <a:gd name="connsiteX573" fmla="*/ 276376 w 1143628"/>
                <a:gd name="connsiteY573" fmla="*/ 138188 h 2406392"/>
                <a:gd name="connsiteX574" fmla="*/ 281140 w 1143628"/>
                <a:gd name="connsiteY574" fmla="*/ 138188 h 2406392"/>
                <a:gd name="connsiteX575" fmla="*/ 285904 w 1143628"/>
                <a:gd name="connsiteY575" fmla="*/ 133424 h 2406392"/>
                <a:gd name="connsiteX576" fmla="*/ 290672 w 1143628"/>
                <a:gd name="connsiteY576" fmla="*/ 128660 h 2406392"/>
                <a:gd name="connsiteX577" fmla="*/ 295436 w 1143628"/>
                <a:gd name="connsiteY577" fmla="*/ 114364 h 2406392"/>
                <a:gd name="connsiteX578" fmla="*/ 300200 w 1143628"/>
                <a:gd name="connsiteY578" fmla="*/ 100068 h 2406392"/>
                <a:gd name="connsiteX579" fmla="*/ 314496 w 1143628"/>
                <a:gd name="connsiteY579" fmla="*/ 90540 h 2406392"/>
                <a:gd name="connsiteX580" fmla="*/ 324028 w 1143628"/>
                <a:gd name="connsiteY580" fmla="*/ 90540 h 2406392"/>
                <a:gd name="connsiteX581" fmla="*/ 328792 w 1143628"/>
                <a:gd name="connsiteY581" fmla="*/ 100068 h 2406392"/>
                <a:gd name="connsiteX582" fmla="*/ 338324 w 1143628"/>
                <a:gd name="connsiteY582" fmla="*/ 104832 h 2406392"/>
                <a:gd name="connsiteX583" fmla="*/ 347852 w 1143628"/>
                <a:gd name="connsiteY583" fmla="*/ 109600 h 2406392"/>
                <a:gd name="connsiteX584" fmla="*/ 371680 w 1143628"/>
                <a:gd name="connsiteY584" fmla="*/ 90540 h 2406392"/>
                <a:gd name="connsiteX585" fmla="*/ 381208 w 1143628"/>
                <a:gd name="connsiteY585" fmla="*/ 90540 h 2406392"/>
                <a:gd name="connsiteX586" fmla="*/ 390740 w 1143628"/>
                <a:gd name="connsiteY586" fmla="*/ 90540 h 2406392"/>
                <a:gd name="connsiteX587" fmla="*/ 400268 w 1143628"/>
                <a:gd name="connsiteY587" fmla="*/ 90540 h 2406392"/>
                <a:gd name="connsiteX588" fmla="*/ 405032 w 1143628"/>
                <a:gd name="connsiteY588" fmla="*/ 81008 h 2406392"/>
                <a:gd name="connsiteX589" fmla="*/ 414564 w 1143628"/>
                <a:gd name="connsiteY589" fmla="*/ 71476 h 2406392"/>
                <a:gd name="connsiteX590" fmla="*/ 419328 w 1143628"/>
                <a:gd name="connsiteY590" fmla="*/ 57184 h 2406392"/>
                <a:gd name="connsiteX591" fmla="*/ 419328 w 1143628"/>
                <a:gd name="connsiteY591" fmla="*/ 42888 h 2406392"/>
                <a:gd name="connsiteX592" fmla="*/ 424096 w 1143628"/>
                <a:gd name="connsiteY592" fmla="*/ 33356 h 2406392"/>
                <a:gd name="connsiteX593" fmla="*/ 433624 w 1143628"/>
                <a:gd name="connsiteY593" fmla="*/ 33356 h 2406392"/>
                <a:gd name="connsiteX594" fmla="*/ 447920 w 1143628"/>
                <a:gd name="connsiteY594" fmla="*/ 23828 h 2406392"/>
                <a:gd name="connsiteX595" fmla="*/ 476512 w 1143628"/>
                <a:gd name="connsiteY595" fmla="*/ 9532 h 2406392"/>
                <a:gd name="connsiteX596" fmla="*/ 486040 w 1143628"/>
                <a:gd name="connsiteY596" fmla="*/ 4768 h 2406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</a:cxnLst>
              <a:rect l="l" t="t" r="r" b="b"/>
              <a:pathLst>
                <a:path w="1143628" h="2406392">
                  <a:moveTo>
                    <a:pt x="705236" y="2377800"/>
                  </a:moveTo>
                  <a:lnTo>
                    <a:pt x="705236" y="2382566"/>
                  </a:lnTo>
                  <a:lnTo>
                    <a:pt x="705236" y="2387332"/>
                  </a:lnTo>
                  <a:lnTo>
                    <a:pt x="700472" y="2392096"/>
                  </a:lnTo>
                  <a:lnTo>
                    <a:pt x="695704" y="2392096"/>
                  </a:lnTo>
                  <a:lnTo>
                    <a:pt x="690940" y="2387332"/>
                  </a:lnTo>
                  <a:close/>
                  <a:moveTo>
                    <a:pt x="290672" y="2115720"/>
                  </a:moveTo>
                  <a:lnTo>
                    <a:pt x="295436" y="2115720"/>
                  </a:lnTo>
                  <a:lnTo>
                    <a:pt x="300200" y="2120484"/>
                  </a:lnTo>
                  <a:lnTo>
                    <a:pt x="304968" y="2125250"/>
                  </a:lnTo>
                  <a:lnTo>
                    <a:pt x="304968" y="2144310"/>
                  </a:lnTo>
                  <a:lnTo>
                    <a:pt x="295436" y="2163370"/>
                  </a:lnTo>
                  <a:lnTo>
                    <a:pt x="300200" y="2172900"/>
                  </a:lnTo>
                  <a:lnTo>
                    <a:pt x="295436" y="2177666"/>
                  </a:lnTo>
                  <a:lnTo>
                    <a:pt x="281140" y="2144310"/>
                  </a:lnTo>
                  <a:lnTo>
                    <a:pt x="271612" y="2130014"/>
                  </a:lnTo>
                  <a:lnTo>
                    <a:pt x="266844" y="2120484"/>
                  </a:lnTo>
                  <a:lnTo>
                    <a:pt x="276376" y="2120484"/>
                  </a:lnTo>
                  <a:close/>
                  <a:moveTo>
                    <a:pt x="786244" y="2110954"/>
                  </a:moveTo>
                  <a:lnTo>
                    <a:pt x="791008" y="2110954"/>
                  </a:lnTo>
                  <a:lnTo>
                    <a:pt x="786244" y="2120484"/>
                  </a:lnTo>
                  <a:lnTo>
                    <a:pt x="771948" y="2130016"/>
                  </a:lnTo>
                  <a:lnTo>
                    <a:pt x="771948" y="2120484"/>
                  </a:lnTo>
                  <a:lnTo>
                    <a:pt x="781480" y="2115720"/>
                  </a:lnTo>
                  <a:close/>
                  <a:moveTo>
                    <a:pt x="752888" y="419332"/>
                  </a:moveTo>
                  <a:lnTo>
                    <a:pt x="767184" y="424100"/>
                  </a:lnTo>
                  <a:lnTo>
                    <a:pt x="767184" y="428864"/>
                  </a:lnTo>
                  <a:lnTo>
                    <a:pt x="767184" y="433628"/>
                  </a:lnTo>
                  <a:lnTo>
                    <a:pt x="762420" y="438396"/>
                  </a:lnTo>
                  <a:lnTo>
                    <a:pt x="757652" y="438396"/>
                  </a:lnTo>
                  <a:lnTo>
                    <a:pt x="743360" y="424100"/>
                  </a:lnTo>
                  <a:close/>
                  <a:moveTo>
                    <a:pt x="729064" y="409804"/>
                  </a:moveTo>
                  <a:lnTo>
                    <a:pt x="738592" y="419332"/>
                  </a:lnTo>
                  <a:lnTo>
                    <a:pt x="738592" y="424096"/>
                  </a:lnTo>
                  <a:lnTo>
                    <a:pt x="738592" y="428864"/>
                  </a:lnTo>
                  <a:lnTo>
                    <a:pt x="729064" y="419332"/>
                  </a:lnTo>
                  <a:lnTo>
                    <a:pt x="724296" y="419332"/>
                  </a:lnTo>
                  <a:close/>
                  <a:moveTo>
                    <a:pt x="843424" y="390744"/>
                  </a:moveTo>
                  <a:lnTo>
                    <a:pt x="843424" y="400272"/>
                  </a:lnTo>
                  <a:lnTo>
                    <a:pt x="843424" y="409804"/>
                  </a:lnTo>
                  <a:lnTo>
                    <a:pt x="833896" y="409804"/>
                  </a:lnTo>
                  <a:lnTo>
                    <a:pt x="819600" y="409804"/>
                  </a:lnTo>
                  <a:lnTo>
                    <a:pt x="833896" y="405036"/>
                  </a:lnTo>
                  <a:lnTo>
                    <a:pt x="838660" y="395508"/>
                  </a:lnTo>
                  <a:close/>
                  <a:moveTo>
                    <a:pt x="833896" y="352620"/>
                  </a:moveTo>
                  <a:lnTo>
                    <a:pt x="848192" y="357388"/>
                  </a:lnTo>
                  <a:lnTo>
                    <a:pt x="852956" y="357388"/>
                  </a:lnTo>
                  <a:lnTo>
                    <a:pt x="829132" y="381212"/>
                  </a:lnTo>
                  <a:lnTo>
                    <a:pt x="824364" y="381212"/>
                  </a:lnTo>
                  <a:lnTo>
                    <a:pt x="829132" y="357388"/>
                  </a:lnTo>
                  <a:close/>
                  <a:moveTo>
                    <a:pt x="490808" y="0"/>
                  </a:moveTo>
                  <a:lnTo>
                    <a:pt x="500336" y="4768"/>
                  </a:lnTo>
                  <a:lnTo>
                    <a:pt x="514632" y="19060"/>
                  </a:lnTo>
                  <a:lnTo>
                    <a:pt x="524164" y="28592"/>
                  </a:lnTo>
                  <a:lnTo>
                    <a:pt x="528928" y="38124"/>
                  </a:lnTo>
                  <a:lnTo>
                    <a:pt x="533692" y="47652"/>
                  </a:lnTo>
                  <a:lnTo>
                    <a:pt x="552752" y="52416"/>
                  </a:lnTo>
                  <a:lnTo>
                    <a:pt x="567048" y="61948"/>
                  </a:lnTo>
                  <a:lnTo>
                    <a:pt x="576580" y="71476"/>
                  </a:lnTo>
                  <a:lnTo>
                    <a:pt x="586108" y="71476"/>
                  </a:lnTo>
                  <a:lnTo>
                    <a:pt x="595640" y="71476"/>
                  </a:lnTo>
                  <a:lnTo>
                    <a:pt x="605168" y="61948"/>
                  </a:lnTo>
                  <a:lnTo>
                    <a:pt x="614700" y="61948"/>
                  </a:lnTo>
                  <a:lnTo>
                    <a:pt x="624228" y="61948"/>
                  </a:lnTo>
                  <a:lnTo>
                    <a:pt x="633760" y="66712"/>
                  </a:lnTo>
                  <a:lnTo>
                    <a:pt x="643292" y="81008"/>
                  </a:lnTo>
                  <a:lnTo>
                    <a:pt x="648056" y="81008"/>
                  </a:lnTo>
                  <a:lnTo>
                    <a:pt x="657584" y="81008"/>
                  </a:lnTo>
                  <a:lnTo>
                    <a:pt x="671880" y="76244"/>
                  </a:lnTo>
                  <a:lnTo>
                    <a:pt x="686176" y="76244"/>
                  </a:lnTo>
                  <a:lnTo>
                    <a:pt x="700472" y="81008"/>
                  </a:lnTo>
                  <a:lnTo>
                    <a:pt x="724296" y="95304"/>
                  </a:lnTo>
                  <a:lnTo>
                    <a:pt x="719532" y="104832"/>
                  </a:lnTo>
                  <a:lnTo>
                    <a:pt x="714768" y="119128"/>
                  </a:lnTo>
                  <a:lnTo>
                    <a:pt x="700472" y="128660"/>
                  </a:lnTo>
                  <a:lnTo>
                    <a:pt x="695708" y="128660"/>
                  </a:lnTo>
                  <a:lnTo>
                    <a:pt x="690940" y="142956"/>
                  </a:lnTo>
                  <a:lnTo>
                    <a:pt x="686176" y="162016"/>
                  </a:lnTo>
                  <a:lnTo>
                    <a:pt x="690940" y="171544"/>
                  </a:lnTo>
                  <a:lnTo>
                    <a:pt x="695708" y="171544"/>
                  </a:lnTo>
                  <a:lnTo>
                    <a:pt x="700472" y="181076"/>
                  </a:lnTo>
                  <a:lnTo>
                    <a:pt x="705236" y="185840"/>
                  </a:lnTo>
                  <a:lnTo>
                    <a:pt x="705236" y="204900"/>
                  </a:lnTo>
                  <a:lnTo>
                    <a:pt x="705236" y="223960"/>
                  </a:lnTo>
                  <a:lnTo>
                    <a:pt x="705236" y="233492"/>
                  </a:lnTo>
                  <a:lnTo>
                    <a:pt x="710004" y="228728"/>
                  </a:lnTo>
                  <a:lnTo>
                    <a:pt x="714768" y="228728"/>
                  </a:lnTo>
                  <a:lnTo>
                    <a:pt x="729064" y="228728"/>
                  </a:lnTo>
                  <a:lnTo>
                    <a:pt x="738592" y="233492"/>
                  </a:lnTo>
                  <a:lnTo>
                    <a:pt x="748124" y="243024"/>
                  </a:lnTo>
                  <a:lnTo>
                    <a:pt x="752888" y="238256"/>
                  </a:lnTo>
                  <a:lnTo>
                    <a:pt x="762420" y="243024"/>
                  </a:lnTo>
                  <a:lnTo>
                    <a:pt x="762420" y="257316"/>
                  </a:lnTo>
                  <a:lnTo>
                    <a:pt x="767184" y="262084"/>
                  </a:lnTo>
                  <a:lnTo>
                    <a:pt x="786244" y="276380"/>
                  </a:lnTo>
                  <a:lnTo>
                    <a:pt x="800540" y="276380"/>
                  </a:lnTo>
                  <a:lnTo>
                    <a:pt x="814836" y="295440"/>
                  </a:lnTo>
                  <a:lnTo>
                    <a:pt x="829132" y="285908"/>
                  </a:lnTo>
                  <a:lnTo>
                    <a:pt x="833896" y="295440"/>
                  </a:lnTo>
                  <a:lnTo>
                    <a:pt x="857720" y="290672"/>
                  </a:lnTo>
                  <a:lnTo>
                    <a:pt x="876780" y="285908"/>
                  </a:lnTo>
                  <a:lnTo>
                    <a:pt x="886312" y="285908"/>
                  </a:lnTo>
                  <a:lnTo>
                    <a:pt x="900608" y="300204"/>
                  </a:lnTo>
                  <a:lnTo>
                    <a:pt x="910136" y="309736"/>
                  </a:lnTo>
                  <a:lnTo>
                    <a:pt x="905372" y="309736"/>
                  </a:lnTo>
                  <a:lnTo>
                    <a:pt x="886312" y="314500"/>
                  </a:lnTo>
                  <a:lnTo>
                    <a:pt x="872016" y="328796"/>
                  </a:lnTo>
                  <a:lnTo>
                    <a:pt x="857720" y="333560"/>
                  </a:lnTo>
                  <a:lnTo>
                    <a:pt x="843424" y="338324"/>
                  </a:lnTo>
                  <a:lnTo>
                    <a:pt x="824364" y="347856"/>
                  </a:lnTo>
                  <a:lnTo>
                    <a:pt x="819600" y="362152"/>
                  </a:lnTo>
                  <a:lnTo>
                    <a:pt x="819600" y="371680"/>
                  </a:lnTo>
                  <a:lnTo>
                    <a:pt x="814836" y="385976"/>
                  </a:lnTo>
                  <a:lnTo>
                    <a:pt x="786244" y="405036"/>
                  </a:lnTo>
                  <a:lnTo>
                    <a:pt x="776716" y="400272"/>
                  </a:lnTo>
                  <a:lnTo>
                    <a:pt x="771948" y="395508"/>
                  </a:lnTo>
                  <a:lnTo>
                    <a:pt x="762420" y="395508"/>
                  </a:lnTo>
                  <a:lnTo>
                    <a:pt x="757652" y="400272"/>
                  </a:lnTo>
                  <a:lnTo>
                    <a:pt x="748124" y="400272"/>
                  </a:lnTo>
                  <a:lnTo>
                    <a:pt x="743360" y="405036"/>
                  </a:lnTo>
                  <a:lnTo>
                    <a:pt x="729064" y="400272"/>
                  </a:lnTo>
                  <a:lnTo>
                    <a:pt x="719532" y="395508"/>
                  </a:lnTo>
                  <a:lnTo>
                    <a:pt x="714768" y="395508"/>
                  </a:lnTo>
                  <a:lnTo>
                    <a:pt x="710004" y="395508"/>
                  </a:lnTo>
                  <a:lnTo>
                    <a:pt x="710004" y="400272"/>
                  </a:lnTo>
                  <a:lnTo>
                    <a:pt x="719532" y="428864"/>
                  </a:lnTo>
                  <a:lnTo>
                    <a:pt x="719532" y="438392"/>
                  </a:lnTo>
                  <a:lnTo>
                    <a:pt x="690940" y="476512"/>
                  </a:lnTo>
                  <a:lnTo>
                    <a:pt x="690940" y="495576"/>
                  </a:lnTo>
                  <a:lnTo>
                    <a:pt x="681412" y="514636"/>
                  </a:lnTo>
                  <a:lnTo>
                    <a:pt x="662352" y="528932"/>
                  </a:lnTo>
                  <a:lnTo>
                    <a:pt x="628996" y="562284"/>
                  </a:lnTo>
                  <a:lnTo>
                    <a:pt x="614700" y="562284"/>
                  </a:lnTo>
                  <a:lnTo>
                    <a:pt x="600404" y="571816"/>
                  </a:lnTo>
                  <a:lnTo>
                    <a:pt x="576580" y="628996"/>
                  </a:lnTo>
                  <a:lnTo>
                    <a:pt x="571812" y="652824"/>
                  </a:lnTo>
                  <a:lnTo>
                    <a:pt x="571812" y="667120"/>
                  </a:lnTo>
                  <a:lnTo>
                    <a:pt x="571812" y="681416"/>
                  </a:lnTo>
                  <a:lnTo>
                    <a:pt x="557520" y="705240"/>
                  </a:lnTo>
                  <a:lnTo>
                    <a:pt x="547988" y="719536"/>
                  </a:lnTo>
                  <a:lnTo>
                    <a:pt x="543224" y="733832"/>
                  </a:lnTo>
                  <a:lnTo>
                    <a:pt x="562284" y="762420"/>
                  </a:lnTo>
                  <a:lnTo>
                    <a:pt x="562284" y="767188"/>
                  </a:lnTo>
                  <a:lnTo>
                    <a:pt x="571812" y="786248"/>
                  </a:lnTo>
                  <a:lnTo>
                    <a:pt x="576580" y="800544"/>
                  </a:lnTo>
                  <a:lnTo>
                    <a:pt x="586108" y="810072"/>
                  </a:lnTo>
                  <a:lnTo>
                    <a:pt x="614700" y="838664"/>
                  </a:lnTo>
                  <a:lnTo>
                    <a:pt x="624228" y="848192"/>
                  </a:lnTo>
                  <a:lnTo>
                    <a:pt x="638524" y="857724"/>
                  </a:lnTo>
                  <a:lnTo>
                    <a:pt x="667116" y="881548"/>
                  </a:lnTo>
                  <a:lnTo>
                    <a:pt x="681412" y="900608"/>
                  </a:lnTo>
                  <a:lnTo>
                    <a:pt x="676648" y="914904"/>
                  </a:lnTo>
                  <a:lnTo>
                    <a:pt x="676648" y="938732"/>
                  </a:lnTo>
                  <a:lnTo>
                    <a:pt x="657584" y="929200"/>
                  </a:lnTo>
                  <a:lnTo>
                    <a:pt x="662352" y="933964"/>
                  </a:lnTo>
                  <a:lnTo>
                    <a:pt x="681412" y="948260"/>
                  </a:lnTo>
                  <a:lnTo>
                    <a:pt x="719532" y="995912"/>
                  </a:lnTo>
                  <a:lnTo>
                    <a:pt x="748124" y="1019740"/>
                  </a:lnTo>
                  <a:lnTo>
                    <a:pt x="776716" y="1048328"/>
                  </a:lnTo>
                  <a:lnTo>
                    <a:pt x="786244" y="1072156"/>
                  </a:lnTo>
                  <a:lnTo>
                    <a:pt x="814836" y="1091216"/>
                  </a:lnTo>
                  <a:lnTo>
                    <a:pt x="843424" y="1115040"/>
                  </a:lnTo>
                  <a:lnTo>
                    <a:pt x="843424" y="1119804"/>
                  </a:lnTo>
                  <a:lnTo>
                    <a:pt x="852956" y="1124572"/>
                  </a:lnTo>
                  <a:lnTo>
                    <a:pt x="872016" y="1138868"/>
                  </a:lnTo>
                  <a:lnTo>
                    <a:pt x="886312" y="1153160"/>
                  </a:lnTo>
                  <a:lnTo>
                    <a:pt x="891076" y="1167456"/>
                  </a:lnTo>
                  <a:lnTo>
                    <a:pt x="895844" y="1167456"/>
                  </a:lnTo>
                  <a:lnTo>
                    <a:pt x="905372" y="1167456"/>
                  </a:lnTo>
                  <a:lnTo>
                    <a:pt x="914904" y="1162692"/>
                  </a:lnTo>
                  <a:lnTo>
                    <a:pt x="919668" y="1162692"/>
                  </a:lnTo>
                  <a:lnTo>
                    <a:pt x="929200" y="1181752"/>
                  </a:lnTo>
                  <a:lnTo>
                    <a:pt x="943492" y="1191284"/>
                  </a:lnTo>
                  <a:lnTo>
                    <a:pt x="948260" y="1205580"/>
                  </a:lnTo>
                  <a:lnTo>
                    <a:pt x="953024" y="1200812"/>
                  </a:lnTo>
                  <a:lnTo>
                    <a:pt x="957788" y="1205580"/>
                  </a:lnTo>
                  <a:lnTo>
                    <a:pt x="957788" y="1215108"/>
                  </a:lnTo>
                  <a:lnTo>
                    <a:pt x="962556" y="1219872"/>
                  </a:lnTo>
                  <a:lnTo>
                    <a:pt x="976848" y="1238936"/>
                  </a:lnTo>
                  <a:lnTo>
                    <a:pt x="986380" y="1257996"/>
                  </a:lnTo>
                  <a:lnTo>
                    <a:pt x="1005440" y="1286584"/>
                  </a:lnTo>
                  <a:lnTo>
                    <a:pt x="1019736" y="1305644"/>
                  </a:lnTo>
                  <a:lnTo>
                    <a:pt x="1029264" y="1310412"/>
                  </a:lnTo>
                  <a:lnTo>
                    <a:pt x="1043560" y="1319940"/>
                  </a:lnTo>
                  <a:lnTo>
                    <a:pt x="1057856" y="1353296"/>
                  </a:lnTo>
                  <a:lnTo>
                    <a:pt x="1062620" y="1381888"/>
                  </a:lnTo>
                  <a:lnTo>
                    <a:pt x="1076916" y="1415244"/>
                  </a:lnTo>
                  <a:lnTo>
                    <a:pt x="1086448" y="1429540"/>
                  </a:lnTo>
                  <a:lnTo>
                    <a:pt x="1086448" y="1453364"/>
                  </a:lnTo>
                  <a:lnTo>
                    <a:pt x="1091212" y="1481956"/>
                  </a:lnTo>
                  <a:lnTo>
                    <a:pt x="1100744" y="1501016"/>
                  </a:lnTo>
                  <a:lnTo>
                    <a:pt x="1105508" y="1515312"/>
                  </a:lnTo>
                  <a:lnTo>
                    <a:pt x="1105508" y="1524840"/>
                  </a:lnTo>
                  <a:lnTo>
                    <a:pt x="1110272" y="1534372"/>
                  </a:lnTo>
                  <a:lnTo>
                    <a:pt x="1119804" y="1567728"/>
                  </a:lnTo>
                  <a:lnTo>
                    <a:pt x="1115040" y="1582024"/>
                  </a:lnTo>
                  <a:lnTo>
                    <a:pt x="1110272" y="1567728"/>
                  </a:lnTo>
                  <a:lnTo>
                    <a:pt x="1110272" y="1610612"/>
                  </a:lnTo>
                  <a:lnTo>
                    <a:pt x="1115040" y="1629676"/>
                  </a:lnTo>
                  <a:lnTo>
                    <a:pt x="1115040" y="1658264"/>
                  </a:lnTo>
                  <a:lnTo>
                    <a:pt x="1119804" y="1667796"/>
                  </a:lnTo>
                  <a:lnTo>
                    <a:pt x="1129332" y="1701152"/>
                  </a:lnTo>
                  <a:lnTo>
                    <a:pt x="1138864" y="1710680"/>
                  </a:lnTo>
                  <a:lnTo>
                    <a:pt x="1138864" y="1748804"/>
                  </a:lnTo>
                  <a:lnTo>
                    <a:pt x="1143628" y="1767864"/>
                  </a:lnTo>
                  <a:lnTo>
                    <a:pt x="1129332" y="1758332"/>
                  </a:lnTo>
                  <a:lnTo>
                    <a:pt x="1124568" y="1744036"/>
                  </a:lnTo>
                  <a:lnTo>
                    <a:pt x="1115040" y="1748804"/>
                  </a:lnTo>
                  <a:lnTo>
                    <a:pt x="1105508" y="1758332"/>
                  </a:lnTo>
                  <a:lnTo>
                    <a:pt x="1119804" y="1801220"/>
                  </a:lnTo>
                  <a:lnTo>
                    <a:pt x="1105508" y="1796452"/>
                  </a:lnTo>
                  <a:lnTo>
                    <a:pt x="1105508" y="1853636"/>
                  </a:lnTo>
                  <a:lnTo>
                    <a:pt x="1110272" y="1863164"/>
                  </a:lnTo>
                  <a:lnTo>
                    <a:pt x="1110272" y="1867932"/>
                  </a:lnTo>
                  <a:lnTo>
                    <a:pt x="1110272" y="1877460"/>
                  </a:lnTo>
                  <a:lnTo>
                    <a:pt x="1105508" y="1867932"/>
                  </a:lnTo>
                  <a:lnTo>
                    <a:pt x="1105508" y="1863164"/>
                  </a:lnTo>
                  <a:lnTo>
                    <a:pt x="1100744" y="1863164"/>
                  </a:lnTo>
                  <a:lnTo>
                    <a:pt x="1100744" y="1867932"/>
                  </a:lnTo>
                  <a:lnTo>
                    <a:pt x="1095976" y="1877460"/>
                  </a:lnTo>
                  <a:lnTo>
                    <a:pt x="1095976" y="1891756"/>
                  </a:lnTo>
                  <a:lnTo>
                    <a:pt x="1100744" y="1901288"/>
                  </a:lnTo>
                  <a:lnTo>
                    <a:pt x="1100744" y="1906052"/>
                  </a:lnTo>
                  <a:lnTo>
                    <a:pt x="1100744" y="1915584"/>
                  </a:lnTo>
                  <a:lnTo>
                    <a:pt x="1091212" y="1925112"/>
                  </a:lnTo>
                  <a:lnTo>
                    <a:pt x="1076916" y="1929876"/>
                  </a:lnTo>
                  <a:lnTo>
                    <a:pt x="1072152" y="1948936"/>
                  </a:lnTo>
                  <a:lnTo>
                    <a:pt x="1067388" y="1968000"/>
                  </a:lnTo>
                  <a:lnTo>
                    <a:pt x="1043560" y="1972764"/>
                  </a:lnTo>
                  <a:lnTo>
                    <a:pt x="1024500" y="1991824"/>
                  </a:lnTo>
                  <a:lnTo>
                    <a:pt x="1000676" y="1996588"/>
                  </a:lnTo>
                  <a:lnTo>
                    <a:pt x="981616" y="2015648"/>
                  </a:lnTo>
                  <a:lnTo>
                    <a:pt x="957788" y="2034712"/>
                  </a:lnTo>
                  <a:lnTo>
                    <a:pt x="943492" y="2034712"/>
                  </a:lnTo>
                  <a:lnTo>
                    <a:pt x="929200" y="2039476"/>
                  </a:lnTo>
                  <a:lnTo>
                    <a:pt x="914904" y="2068068"/>
                  </a:lnTo>
                  <a:lnTo>
                    <a:pt x="891076" y="2072832"/>
                  </a:lnTo>
                  <a:lnTo>
                    <a:pt x="848192" y="2091892"/>
                  </a:lnTo>
                  <a:lnTo>
                    <a:pt x="833896" y="2106188"/>
                  </a:lnTo>
                  <a:lnTo>
                    <a:pt x="819600" y="2110952"/>
                  </a:lnTo>
                  <a:lnTo>
                    <a:pt x="800540" y="2120484"/>
                  </a:lnTo>
                  <a:lnTo>
                    <a:pt x="795776" y="2115716"/>
                  </a:lnTo>
                  <a:lnTo>
                    <a:pt x="791008" y="2106188"/>
                  </a:lnTo>
                  <a:lnTo>
                    <a:pt x="771948" y="2101424"/>
                  </a:lnTo>
                  <a:lnTo>
                    <a:pt x="767184" y="2091892"/>
                  </a:lnTo>
                  <a:lnTo>
                    <a:pt x="762420" y="2082360"/>
                  </a:lnTo>
                  <a:lnTo>
                    <a:pt x="762420" y="2077596"/>
                  </a:lnTo>
                  <a:lnTo>
                    <a:pt x="757652" y="2082360"/>
                  </a:lnTo>
                  <a:lnTo>
                    <a:pt x="752888" y="2110952"/>
                  </a:lnTo>
                  <a:lnTo>
                    <a:pt x="752888" y="2115716"/>
                  </a:lnTo>
                  <a:lnTo>
                    <a:pt x="743360" y="2120484"/>
                  </a:lnTo>
                  <a:lnTo>
                    <a:pt x="729064" y="2110952"/>
                  </a:lnTo>
                  <a:lnTo>
                    <a:pt x="714768" y="2096656"/>
                  </a:lnTo>
                  <a:lnTo>
                    <a:pt x="695708" y="2106188"/>
                  </a:lnTo>
                  <a:lnTo>
                    <a:pt x="705236" y="2110952"/>
                  </a:lnTo>
                  <a:lnTo>
                    <a:pt x="710004" y="2106188"/>
                  </a:lnTo>
                  <a:lnTo>
                    <a:pt x="719532" y="2110952"/>
                  </a:lnTo>
                  <a:lnTo>
                    <a:pt x="724296" y="2120484"/>
                  </a:lnTo>
                  <a:lnTo>
                    <a:pt x="724296" y="2130012"/>
                  </a:lnTo>
                  <a:lnTo>
                    <a:pt x="719532" y="2134776"/>
                  </a:lnTo>
                  <a:lnTo>
                    <a:pt x="705236" y="2134776"/>
                  </a:lnTo>
                  <a:lnTo>
                    <a:pt x="681412" y="2134776"/>
                  </a:lnTo>
                  <a:lnTo>
                    <a:pt x="676648" y="2134776"/>
                  </a:lnTo>
                  <a:lnTo>
                    <a:pt x="695708" y="2144308"/>
                  </a:lnTo>
                  <a:lnTo>
                    <a:pt x="714768" y="2149072"/>
                  </a:lnTo>
                  <a:lnTo>
                    <a:pt x="724296" y="2158604"/>
                  </a:lnTo>
                  <a:lnTo>
                    <a:pt x="724296" y="2163368"/>
                  </a:lnTo>
                  <a:lnTo>
                    <a:pt x="714768" y="2172900"/>
                  </a:lnTo>
                  <a:lnTo>
                    <a:pt x="705236" y="2182428"/>
                  </a:lnTo>
                  <a:lnTo>
                    <a:pt x="705236" y="2191960"/>
                  </a:lnTo>
                  <a:lnTo>
                    <a:pt x="705236" y="2196724"/>
                  </a:lnTo>
                  <a:lnTo>
                    <a:pt x="695708" y="2206256"/>
                  </a:lnTo>
                  <a:lnTo>
                    <a:pt x="690940" y="2201488"/>
                  </a:lnTo>
                  <a:lnTo>
                    <a:pt x="671880" y="2191960"/>
                  </a:lnTo>
                  <a:lnTo>
                    <a:pt x="624228" y="2144308"/>
                  </a:lnTo>
                  <a:lnTo>
                    <a:pt x="633760" y="2158604"/>
                  </a:lnTo>
                  <a:lnTo>
                    <a:pt x="681412" y="2211020"/>
                  </a:lnTo>
                  <a:lnTo>
                    <a:pt x="690940" y="2225316"/>
                  </a:lnTo>
                  <a:lnTo>
                    <a:pt x="690940" y="2239612"/>
                  </a:lnTo>
                  <a:lnTo>
                    <a:pt x="686176" y="2244376"/>
                  </a:lnTo>
                  <a:lnTo>
                    <a:pt x="676648" y="2249140"/>
                  </a:lnTo>
                  <a:lnTo>
                    <a:pt x="662352" y="2253908"/>
                  </a:lnTo>
                  <a:lnTo>
                    <a:pt x="633760" y="2234844"/>
                  </a:lnTo>
                  <a:lnTo>
                    <a:pt x="590872" y="2187196"/>
                  </a:lnTo>
                  <a:lnTo>
                    <a:pt x="576580" y="2182428"/>
                  </a:lnTo>
                  <a:lnTo>
                    <a:pt x="619464" y="2234844"/>
                  </a:lnTo>
                  <a:lnTo>
                    <a:pt x="628996" y="2244376"/>
                  </a:lnTo>
                  <a:lnTo>
                    <a:pt x="633760" y="2258672"/>
                  </a:lnTo>
                  <a:lnTo>
                    <a:pt x="633760" y="2268200"/>
                  </a:lnTo>
                  <a:lnTo>
                    <a:pt x="628996" y="2277732"/>
                  </a:lnTo>
                  <a:lnTo>
                    <a:pt x="524164" y="2325384"/>
                  </a:lnTo>
                  <a:lnTo>
                    <a:pt x="509868" y="2344444"/>
                  </a:lnTo>
                  <a:lnTo>
                    <a:pt x="495572" y="2373036"/>
                  </a:lnTo>
                  <a:lnTo>
                    <a:pt x="476512" y="2387328"/>
                  </a:lnTo>
                  <a:lnTo>
                    <a:pt x="466980" y="2396860"/>
                  </a:lnTo>
                  <a:lnTo>
                    <a:pt x="428860" y="2406392"/>
                  </a:lnTo>
                  <a:lnTo>
                    <a:pt x="409800" y="2401624"/>
                  </a:lnTo>
                  <a:lnTo>
                    <a:pt x="428860" y="2377800"/>
                  </a:lnTo>
                  <a:lnTo>
                    <a:pt x="419328" y="2373036"/>
                  </a:lnTo>
                  <a:lnTo>
                    <a:pt x="419328" y="2311088"/>
                  </a:lnTo>
                  <a:lnTo>
                    <a:pt x="424096" y="2244376"/>
                  </a:lnTo>
                  <a:lnTo>
                    <a:pt x="433624" y="2211020"/>
                  </a:lnTo>
                  <a:lnTo>
                    <a:pt x="443156" y="2201488"/>
                  </a:lnTo>
                  <a:lnTo>
                    <a:pt x="462216" y="2196724"/>
                  </a:lnTo>
                  <a:lnTo>
                    <a:pt x="462216" y="2191960"/>
                  </a:lnTo>
                  <a:lnTo>
                    <a:pt x="462216" y="2182428"/>
                  </a:lnTo>
                  <a:lnTo>
                    <a:pt x="452684" y="2172900"/>
                  </a:lnTo>
                  <a:lnTo>
                    <a:pt x="443156" y="2168132"/>
                  </a:lnTo>
                  <a:lnTo>
                    <a:pt x="428860" y="2163368"/>
                  </a:lnTo>
                  <a:lnTo>
                    <a:pt x="414564" y="2149072"/>
                  </a:lnTo>
                  <a:lnTo>
                    <a:pt x="405032" y="2149072"/>
                  </a:lnTo>
                  <a:lnTo>
                    <a:pt x="395504" y="2153840"/>
                  </a:lnTo>
                  <a:lnTo>
                    <a:pt x="385972" y="2149072"/>
                  </a:lnTo>
                  <a:lnTo>
                    <a:pt x="381208" y="2139544"/>
                  </a:lnTo>
                  <a:lnTo>
                    <a:pt x="371680" y="2130012"/>
                  </a:lnTo>
                  <a:lnTo>
                    <a:pt x="357384" y="2115716"/>
                  </a:lnTo>
                  <a:lnTo>
                    <a:pt x="362148" y="2115716"/>
                  </a:lnTo>
                  <a:lnTo>
                    <a:pt x="371680" y="2106188"/>
                  </a:lnTo>
                  <a:lnTo>
                    <a:pt x="381208" y="2101424"/>
                  </a:lnTo>
                  <a:lnTo>
                    <a:pt x="400268" y="2096656"/>
                  </a:lnTo>
                  <a:lnTo>
                    <a:pt x="419328" y="2096656"/>
                  </a:lnTo>
                  <a:lnTo>
                    <a:pt x="424096" y="2096656"/>
                  </a:lnTo>
                  <a:lnTo>
                    <a:pt x="428860" y="2087128"/>
                  </a:lnTo>
                  <a:lnTo>
                    <a:pt x="443156" y="2077596"/>
                  </a:lnTo>
                  <a:lnTo>
                    <a:pt x="452684" y="2068068"/>
                  </a:lnTo>
                  <a:lnTo>
                    <a:pt x="457452" y="2063300"/>
                  </a:lnTo>
                  <a:lnTo>
                    <a:pt x="452684" y="2053772"/>
                  </a:lnTo>
                  <a:lnTo>
                    <a:pt x="452684" y="2039476"/>
                  </a:lnTo>
                  <a:lnTo>
                    <a:pt x="452684" y="2034712"/>
                  </a:lnTo>
                  <a:lnTo>
                    <a:pt x="471744" y="2039476"/>
                  </a:lnTo>
                  <a:lnTo>
                    <a:pt x="490808" y="2044240"/>
                  </a:lnTo>
                  <a:lnTo>
                    <a:pt x="495572" y="2049004"/>
                  </a:lnTo>
                  <a:lnTo>
                    <a:pt x="505100" y="2029944"/>
                  </a:lnTo>
                  <a:lnTo>
                    <a:pt x="509868" y="2029944"/>
                  </a:lnTo>
                  <a:lnTo>
                    <a:pt x="519396" y="2029944"/>
                  </a:lnTo>
                  <a:lnTo>
                    <a:pt x="538456" y="2025180"/>
                  </a:lnTo>
                  <a:lnTo>
                    <a:pt x="557520" y="2025180"/>
                  </a:lnTo>
                  <a:lnTo>
                    <a:pt x="562284" y="2025180"/>
                  </a:lnTo>
                  <a:lnTo>
                    <a:pt x="571812" y="2034712"/>
                  </a:lnTo>
                  <a:lnTo>
                    <a:pt x="581344" y="2044240"/>
                  </a:lnTo>
                  <a:lnTo>
                    <a:pt x="595640" y="2039476"/>
                  </a:lnTo>
                  <a:lnTo>
                    <a:pt x="600404" y="2044240"/>
                  </a:lnTo>
                  <a:lnTo>
                    <a:pt x="619464" y="2053772"/>
                  </a:lnTo>
                  <a:lnTo>
                    <a:pt x="628996" y="2053772"/>
                  </a:lnTo>
                  <a:lnTo>
                    <a:pt x="624228" y="2034712"/>
                  </a:lnTo>
                  <a:lnTo>
                    <a:pt x="628996" y="2020416"/>
                  </a:lnTo>
                  <a:lnTo>
                    <a:pt x="628996" y="2015648"/>
                  </a:lnTo>
                  <a:lnTo>
                    <a:pt x="619464" y="2010884"/>
                  </a:lnTo>
                  <a:lnTo>
                    <a:pt x="586108" y="1982292"/>
                  </a:lnTo>
                  <a:lnTo>
                    <a:pt x="581344" y="1977528"/>
                  </a:lnTo>
                  <a:lnTo>
                    <a:pt x="581344" y="1963232"/>
                  </a:lnTo>
                  <a:lnTo>
                    <a:pt x="581344" y="1944172"/>
                  </a:lnTo>
                  <a:lnTo>
                    <a:pt x="576580" y="1934644"/>
                  </a:lnTo>
                  <a:lnTo>
                    <a:pt x="576580" y="1925112"/>
                  </a:lnTo>
                  <a:lnTo>
                    <a:pt x="581344" y="1920348"/>
                  </a:lnTo>
                  <a:lnTo>
                    <a:pt x="586108" y="1920348"/>
                  </a:lnTo>
                  <a:lnTo>
                    <a:pt x="590872" y="1920348"/>
                  </a:lnTo>
                  <a:lnTo>
                    <a:pt x="595640" y="1915584"/>
                  </a:lnTo>
                  <a:lnTo>
                    <a:pt x="605168" y="1901288"/>
                  </a:lnTo>
                  <a:lnTo>
                    <a:pt x="619464" y="1901288"/>
                  </a:lnTo>
                  <a:lnTo>
                    <a:pt x="638524" y="1910816"/>
                  </a:lnTo>
                  <a:lnTo>
                    <a:pt x="657584" y="1915584"/>
                  </a:lnTo>
                  <a:lnTo>
                    <a:pt x="667116" y="1915584"/>
                  </a:lnTo>
                  <a:lnTo>
                    <a:pt x="667116" y="1910816"/>
                  </a:lnTo>
                  <a:lnTo>
                    <a:pt x="667116" y="1906052"/>
                  </a:lnTo>
                  <a:lnTo>
                    <a:pt x="667116" y="1877460"/>
                  </a:lnTo>
                  <a:lnTo>
                    <a:pt x="667116" y="1872696"/>
                  </a:lnTo>
                  <a:lnTo>
                    <a:pt x="681412" y="1867932"/>
                  </a:lnTo>
                  <a:lnTo>
                    <a:pt x="700472" y="1867932"/>
                  </a:lnTo>
                  <a:lnTo>
                    <a:pt x="714768" y="1867932"/>
                  </a:lnTo>
                  <a:lnTo>
                    <a:pt x="724296" y="1853636"/>
                  </a:lnTo>
                  <a:lnTo>
                    <a:pt x="748124" y="1848872"/>
                  </a:lnTo>
                  <a:lnTo>
                    <a:pt x="767184" y="1834576"/>
                  </a:lnTo>
                  <a:lnTo>
                    <a:pt x="781480" y="1820280"/>
                  </a:lnTo>
                  <a:lnTo>
                    <a:pt x="791008" y="1815516"/>
                  </a:lnTo>
                  <a:lnTo>
                    <a:pt x="805304" y="1810748"/>
                  </a:lnTo>
                  <a:lnTo>
                    <a:pt x="810068" y="1810748"/>
                  </a:lnTo>
                  <a:lnTo>
                    <a:pt x="819600" y="1820280"/>
                  </a:lnTo>
                  <a:lnTo>
                    <a:pt x="829132" y="1815516"/>
                  </a:lnTo>
                  <a:lnTo>
                    <a:pt x="838660" y="1805984"/>
                  </a:lnTo>
                  <a:lnTo>
                    <a:pt x="843424" y="1791688"/>
                  </a:lnTo>
                  <a:lnTo>
                    <a:pt x="848192" y="1777392"/>
                  </a:lnTo>
                  <a:lnTo>
                    <a:pt x="843424" y="1748804"/>
                  </a:lnTo>
                  <a:lnTo>
                    <a:pt x="838660" y="1729744"/>
                  </a:lnTo>
                  <a:lnTo>
                    <a:pt x="833896" y="1715448"/>
                  </a:lnTo>
                  <a:lnTo>
                    <a:pt x="833896" y="1696388"/>
                  </a:lnTo>
                  <a:lnTo>
                    <a:pt x="843424" y="1667796"/>
                  </a:lnTo>
                  <a:lnTo>
                    <a:pt x="852956" y="1634440"/>
                  </a:lnTo>
                  <a:lnTo>
                    <a:pt x="852956" y="1620144"/>
                  </a:lnTo>
                  <a:lnTo>
                    <a:pt x="843424" y="1596320"/>
                  </a:lnTo>
                  <a:lnTo>
                    <a:pt x="833896" y="1572492"/>
                  </a:lnTo>
                  <a:lnTo>
                    <a:pt x="819600" y="1543904"/>
                  </a:lnTo>
                  <a:lnTo>
                    <a:pt x="814836" y="1539136"/>
                  </a:lnTo>
                  <a:lnTo>
                    <a:pt x="814836" y="1529608"/>
                  </a:lnTo>
                  <a:lnTo>
                    <a:pt x="810068" y="1520076"/>
                  </a:lnTo>
                  <a:lnTo>
                    <a:pt x="814836" y="1491484"/>
                  </a:lnTo>
                  <a:lnTo>
                    <a:pt x="814836" y="1481956"/>
                  </a:lnTo>
                  <a:lnTo>
                    <a:pt x="829132" y="1467660"/>
                  </a:lnTo>
                  <a:lnTo>
                    <a:pt x="833896" y="1453364"/>
                  </a:lnTo>
                  <a:lnTo>
                    <a:pt x="843424" y="1439068"/>
                  </a:lnTo>
                  <a:lnTo>
                    <a:pt x="838660" y="1429540"/>
                  </a:lnTo>
                  <a:lnTo>
                    <a:pt x="838660" y="1410480"/>
                  </a:lnTo>
                  <a:lnTo>
                    <a:pt x="843424" y="1400948"/>
                  </a:lnTo>
                  <a:lnTo>
                    <a:pt x="838660" y="1396184"/>
                  </a:lnTo>
                  <a:lnTo>
                    <a:pt x="833896" y="1386652"/>
                  </a:lnTo>
                  <a:lnTo>
                    <a:pt x="838660" y="1377124"/>
                  </a:lnTo>
                  <a:lnTo>
                    <a:pt x="848192" y="1372356"/>
                  </a:lnTo>
                  <a:lnTo>
                    <a:pt x="852956" y="1362828"/>
                  </a:lnTo>
                  <a:lnTo>
                    <a:pt x="857720" y="1348532"/>
                  </a:lnTo>
                  <a:lnTo>
                    <a:pt x="862488" y="1339000"/>
                  </a:lnTo>
                  <a:lnTo>
                    <a:pt x="857720" y="1329472"/>
                  </a:lnTo>
                  <a:lnTo>
                    <a:pt x="848192" y="1319940"/>
                  </a:lnTo>
                  <a:lnTo>
                    <a:pt x="829132" y="1305644"/>
                  </a:lnTo>
                  <a:lnTo>
                    <a:pt x="810068" y="1291352"/>
                  </a:lnTo>
                  <a:lnTo>
                    <a:pt x="805304" y="1281820"/>
                  </a:lnTo>
                  <a:lnTo>
                    <a:pt x="795776" y="1272288"/>
                  </a:lnTo>
                  <a:lnTo>
                    <a:pt x="791008" y="1257996"/>
                  </a:lnTo>
                  <a:lnTo>
                    <a:pt x="786244" y="1253228"/>
                  </a:lnTo>
                  <a:lnTo>
                    <a:pt x="791008" y="1243700"/>
                  </a:lnTo>
                  <a:lnTo>
                    <a:pt x="814836" y="1234168"/>
                  </a:lnTo>
                  <a:lnTo>
                    <a:pt x="819600" y="1229404"/>
                  </a:lnTo>
                  <a:lnTo>
                    <a:pt x="824364" y="1219872"/>
                  </a:lnTo>
                  <a:lnTo>
                    <a:pt x="819600" y="1210344"/>
                  </a:lnTo>
                  <a:lnTo>
                    <a:pt x="814836" y="1210344"/>
                  </a:lnTo>
                  <a:lnTo>
                    <a:pt x="805304" y="1205580"/>
                  </a:lnTo>
                  <a:lnTo>
                    <a:pt x="791008" y="1196048"/>
                  </a:lnTo>
                  <a:lnTo>
                    <a:pt x="771948" y="1172224"/>
                  </a:lnTo>
                  <a:lnTo>
                    <a:pt x="757652" y="1167456"/>
                  </a:lnTo>
                  <a:lnTo>
                    <a:pt x="748124" y="1162692"/>
                  </a:lnTo>
                  <a:lnTo>
                    <a:pt x="743360" y="1153160"/>
                  </a:lnTo>
                  <a:lnTo>
                    <a:pt x="733828" y="1134100"/>
                  </a:lnTo>
                  <a:lnTo>
                    <a:pt x="729064" y="1138868"/>
                  </a:lnTo>
                  <a:lnTo>
                    <a:pt x="719532" y="1143632"/>
                  </a:lnTo>
                  <a:lnTo>
                    <a:pt x="710004" y="1143632"/>
                  </a:lnTo>
                  <a:lnTo>
                    <a:pt x="705236" y="1138868"/>
                  </a:lnTo>
                  <a:lnTo>
                    <a:pt x="700472" y="1134100"/>
                  </a:lnTo>
                  <a:lnTo>
                    <a:pt x="695708" y="1119804"/>
                  </a:lnTo>
                  <a:lnTo>
                    <a:pt x="690940" y="1115040"/>
                  </a:lnTo>
                  <a:lnTo>
                    <a:pt x="686176" y="1086448"/>
                  </a:lnTo>
                  <a:lnTo>
                    <a:pt x="686176" y="1076920"/>
                  </a:lnTo>
                  <a:lnTo>
                    <a:pt x="681412" y="1062624"/>
                  </a:lnTo>
                  <a:lnTo>
                    <a:pt x="676648" y="1057860"/>
                  </a:lnTo>
                  <a:lnTo>
                    <a:pt x="671880" y="1057860"/>
                  </a:lnTo>
                  <a:lnTo>
                    <a:pt x="657584" y="1034032"/>
                  </a:lnTo>
                  <a:lnTo>
                    <a:pt x="643292" y="1019740"/>
                  </a:lnTo>
                  <a:lnTo>
                    <a:pt x="605168" y="986384"/>
                  </a:lnTo>
                  <a:lnTo>
                    <a:pt x="600404" y="981616"/>
                  </a:lnTo>
                  <a:lnTo>
                    <a:pt x="586108" y="967320"/>
                  </a:lnTo>
                  <a:lnTo>
                    <a:pt x="567048" y="948260"/>
                  </a:lnTo>
                  <a:lnTo>
                    <a:pt x="552752" y="933964"/>
                  </a:lnTo>
                  <a:lnTo>
                    <a:pt x="543224" y="919672"/>
                  </a:lnTo>
                  <a:lnTo>
                    <a:pt x="538456" y="905376"/>
                  </a:lnTo>
                  <a:lnTo>
                    <a:pt x="538456" y="895844"/>
                  </a:lnTo>
                  <a:lnTo>
                    <a:pt x="528928" y="881548"/>
                  </a:lnTo>
                  <a:lnTo>
                    <a:pt x="519396" y="867256"/>
                  </a:lnTo>
                  <a:lnTo>
                    <a:pt x="509868" y="862488"/>
                  </a:lnTo>
                  <a:lnTo>
                    <a:pt x="500336" y="862488"/>
                  </a:lnTo>
                  <a:lnTo>
                    <a:pt x="490808" y="852960"/>
                  </a:lnTo>
                  <a:lnTo>
                    <a:pt x="471744" y="838664"/>
                  </a:lnTo>
                  <a:lnTo>
                    <a:pt x="466980" y="824368"/>
                  </a:lnTo>
                  <a:lnTo>
                    <a:pt x="462216" y="819604"/>
                  </a:lnTo>
                  <a:lnTo>
                    <a:pt x="462216" y="810072"/>
                  </a:lnTo>
                  <a:lnTo>
                    <a:pt x="462216" y="800544"/>
                  </a:lnTo>
                  <a:lnTo>
                    <a:pt x="466980" y="791012"/>
                  </a:lnTo>
                  <a:lnTo>
                    <a:pt x="471744" y="786248"/>
                  </a:lnTo>
                  <a:lnTo>
                    <a:pt x="466980" y="781480"/>
                  </a:lnTo>
                  <a:lnTo>
                    <a:pt x="447920" y="771952"/>
                  </a:lnTo>
                  <a:lnTo>
                    <a:pt x="400268" y="762420"/>
                  </a:lnTo>
                  <a:lnTo>
                    <a:pt x="385972" y="752892"/>
                  </a:lnTo>
                  <a:lnTo>
                    <a:pt x="371680" y="738596"/>
                  </a:lnTo>
                  <a:lnTo>
                    <a:pt x="362148" y="729064"/>
                  </a:lnTo>
                  <a:lnTo>
                    <a:pt x="309732" y="695708"/>
                  </a:lnTo>
                  <a:lnTo>
                    <a:pt x="290672" y="690944"/>
                  </a:lnTo>
                  <a:lnTo>
                    <a:pt x="276376" y="681416"/>
                  </a:lnTo>
                  <a:lnTo>
                    <a:pt x="271612" y="676648"/>
                  </a:lnTo>
                  <a:lnTo>
                    <a:pt x="276376" y="671884"/>
                  </a:lnTo>
                  <a:lnTo>
                    <a:pt x="281140" y="667120"/>
                  </a:lnTo>
                  <a:lnTo>
                    <a:pt x="295436" y="657588"/>
                  </a:lnTo>
                  <a:lnTo>
                    <a:pt x="300200" y="648060"/>
                  </a:lnTo>
                  <a:lnTo>
                    <a:pt x="300200" y="633764"/>
                  </a:lnTo>
                  <a:lnTo>
                    <a:pt x="295436" y="619468"/>
                  </a:lnTo>
                  <a:lnTo>
                    <a:pt x="295436" y="614704"/>
                  </a:lnTo>
                  <a:lnTo>
                    <a:pt x="300200" y="614704"/>
                  </a:lnTo>
                  <a:lnTo>
                    <a:pt x="309732" y="614704"/>
                  </a:lnTo>
                  <a:lnTo>
                    <a:pt x="333556" y="614704"/>
                  </a:lnTo>
                  <a:lnTo>
                    <a:pt x="376444" y="628996"/>
                  </a:lnTo>
                  <a:lnTo>
                    <a:pt x="381208" y="624232"/>
                  </a:lnTo>
                  <a:lnTo>
                    <a:pt x="405032" y="605172"/>
                  </a:lnTo>
                  <a:lnTo>
                    <a:pt x="414564" y="590876"/>
                  </a:lnTo>
                  <a:lnTo>
                    <a:pt x="419328" y="576580"/>
                  </a:lnTo>
                  <a:lnTo>
                    <a:pt x="424096" y="571816"/>
                  </a:lnTo>
                  <a:lnTo>
                    <a:pt x="433624" y="557520"/>
                  </a:lnTo>
                  <a:lnTo>
                    <a:pt x="438388" y="547992"/>
                  </a:lnTo>
                  <a:lnTo>
                    <a:pt x="428860" y="533696"/>
                  </a:lnTo>
                  <a:lnTo>
                    <a:pt x="424096" y="528932"/>
                  </a:lnTo>
                  <a:lnTo>
                    <a:pt x="419328" y="524164"/>
                  </a:lnTo>
                  <a:lnTo>
                    <a:pt x="400268" y="528932"/>
                  </a:lnTo>
                  <a:lnTo>
                    <a:pt x="395504" y="524164"/>
                  </a:lnTo>
                  <a:lnTo>
                    <a:pt x="395504" y="514636"/>
                  </a:lnTo>
                  <a:lnTo>
                    <a:pt x="390740" y="509868"/>
                  </a:lnTo>
                  <a:lnTo>
                    <a:pt x="385972" y="500340"/>
                  </a:lnTo>
                  <a:lnTo>
                    <a:pt x="366912" y="490808"/>
                  </a:lnTo>
                  <a:lnTo>
                    <a:pt x="352616" y="490808"/>
                  </a:lnTo>
                  <a:lnTo>
                    <a:pt x="347852" y="490808"/>
                  </a:lnTo>
                  <a:lnTo>
                    <a:pt x="352616" y="481280"/>
                  </a:lnTo>
                  <a:lnTo>
                    <a:pt x="366912" y="471748"/>
                  </a:lnTo>
                  <a:lnTo>
                    <a:pt x="376444" y="471748"/>
                  </a:lnTo>
                  <a:lnTo>
                    <a:pt x="381208" y="462220"/>
                  </a:lnTo>
                  <a:lnTo>
                    <a:pt x="381208" y="452688"/>
                  </a:lnTo>
                  <a:lnTo>
                    <a:pt x="371680" y="447924"/>
                  </a:lnTo>
                  <a:lnTo>
                    <a:pt x="362148" y="438392"/>
                  </a:lnTo>
                  <a:lnTo>
                    <a:pt x="343088" y="424096"/>
                  </a:lnTo>
                  <a:lnTo>
                    <a:pt x="319260" y="409800"/>
                  </a:lnTo>
                  <a:lnTo>
                    <a:pt x="304968" y="405036"/>
                  </a:lnTo>
                  <a:lnTo>
                    <a:pt x="300200" y="405036"/>
                  </a:lnTo>
                  <a:lnTo>
                    <a:pt x="271612" y="419332"/>
                  </a:lnTo>
                  <a:lnTo>
                    <a:pt x="257316" y="428864"/>
                  </a:lnTo>
                  <a:lnTo>
                    <a:pt x="247784" y="443156"/>
                  </a:lnTo>
                  <a:lnTo>
                    <a:pt x="233488" y="447924"/>
                  </a:lnTo>
                  <a:lnTo>
                    <a:pt x="204900" y="433628"/>
                  </a:lnTo>
                  <a:lnTo>
                    <a:pt x="166776" y="419332"/>
                  </a:lnTo>
                  <a:lnTo>
                    <a:pt x="152484" y="414568"/>
                  </a:lnTo>
                  <a:lnTo>
                    <a:pt x="114360" y="362152"/>
                  </a:lnTo>
                  <a:lnTo>
                    <a:pt x="109596" y="352620"/>
                  </a:lnTo>
                  <a:lnTo>
                    <a:pt x="114360" y="338324"/>
                  </a:lnTo>
                  <a:lnTo>
                    <a:pt x="114360" y="319264"/>
                  </a:lnTo>
                  <a:lnTo>
                    <a:pt x="119128" y="309736"/>
                  </a:lnTo>
                  <a:lnTo>
                    <a:pt x="128656" y="300204"/>
                  </a:lnTo>
                  <a:lnTo>
                    <a:pt x="128656" y="290672"/>
                  </a:lnTo>
                  <a:lnTo>
                    <a:pt x="128656" y="281144"/>
                  </a:lnTo>
                  <a:lnTo>
                    <a:pt x="123892" y="276380"/>
                  </a:lnTo>
                  <a:lnTo>
                    <a:pt x="114360" y="276380"/>
                  </a:lnTo>
                  <a:lnTo>
                    <a:pt x="109596" y="271612"/>
                  </a:lnTo>
                  <a:lnTo>
                    <a:pt x="104832" y="262084"/>
                  </a:lnTo>
                  <a:lnTo>
                    <a:pt x="100064" y="276380"/>
                  </a:lnTo>
                  <a:lnTo>
                    <a:pt x="95300" y="281144"/>
                  </a:lnTo>
                  <a:lnTo>
                    <a:pt x="85772" y="285908"/>
                  </a:lnTo>
                  <a:lnTo>
                    <a:pt x="81004" y="281144"/>
                  </a:lnTo>
                  <a:lnTo>
                    <a:pt x="76240" y="276380"/>
                  </a:lnTo>
                  <a:lnTo>
                    <a:pt x="76240" y="266848"/>
                  </a:lnTo>
                  <a:lnTo>
                    <a:pt x="71476" y="252552"/>
                  </a:lnTo>
                  <a:lnTo>
                    <a:pt x="71476" y="243024"/>
                  </a:lnTo>
                  <a:lnTo>
                    <a:pt x="52416" y="233492"/>
                  </a:lnTo>
                  <a:lnTo>
                    <a:pt x="47648" y="223960"/>
                  </a:lnTo>
                  <a:lnTo>
                    <a:pt x="23824" y="195372"/>
                  </a:lnTo>
                  <a:lnTo>
                    <a:pt x="4764" y="181076"/>
                  </a:lnTo>
                  <a:lnTo>
                    <a:pt x="0" y="162016"/>
                  </a:lnTo>
                  <a:lnTo>
                    <a:pt x="4764" y="157252"/>
                  </a:lnTo>
                  <a:lnTo>
                    <a:pt x="14292" y="147720"/>
                  </a:lnTo>
                  <a:lnTo>
                    <a:pt x="23824" y="133424"/>
                  </a:lnTo>
                  <a:lnTo>
                    <a:pt x="38120" y="119128"/>
                  </a:lnTo>
                  <a:lnTo>
                    <a:pt x="42884" y="109600"/>
                  </a:lnTo>
                  <a:lnTo>
                    <a:pt x="47648" y="104832"/>
                  </a:lnTo>
                  <a:lnTo>
                    <a:pt x="52416" y="100068"/>
                  </a:lnTo>
                  <a:lnTo>
                    <a:pt x="57180" y="100068"/>
                  </a:lnTo>
                  <a:lnTo>
                    <a:pt x="71476" y="109600"/>
                  </a:lnTo>
                  <a:lnTo>
                    <a:pt x="90536" y="119128"/>
                  </a:lnTo>
                  <a:lnTo>
                    <a:pt x="109596" y="128660"/>
                  </a:lnTo>
                  <a:lnTo>
                    <a:pt x="114360" y="138188"/>
                  </a:lnTo>
                  <a:lnTo>
                    <a:pt x="123892" y="147720"/>
                  </a:lnTo>
                  <a:lnTo>
                    <a:pt x="133420" y="152484"/>
                  </a:lnTo>
                  <a:lnTo>
                    <a:pt x="147716" y="142956"/>
                  </a:lnTo>
                  <a:lnTo>
                    <a:pt x="157248" y="138188"/>
                  </a:lnTo>
                  <a:lnTo>
                    <a:pt x="157248" y="128660"/>
                  </a:lnTo>
                  <a:lnTo>
                    <a:pt x="166776" y="119128"/>
                  </a:lnTo>
                  <a:lnTo>
                    <a:pt x="176308" y="104832"/>
                  </a:lnTo>
                  <a:lnTo>
                    <a:pt x="181072" y="100068"/>
                  </a:lnTo>
                  <a:lnTo>
                    <a:pt x="185840" y="95304"/>
                  </a:lnTo>
                  <a:lnTo>
                    <a:pt x="190604" y="100068"/>
                  </a:lnTo>
                  <a:lnTo>
                    <a:pt x="209664" y="128660"/>
                  </a:lnTo>
                  <a:lnTo>
                    <a:pt x="219192" y="123896"/>
                  </a:lnTo>
                  <a:lnTo>
                    <a:pt x="223960" y="104832"/>
                  </a:lnTo>
                  <a:lnTo>
                    <a:pt x="233488" y="95304"/>
                  </a:lnTo>
                  <a:lnTo>
                    <a:pt x="276376" y="138188"/>
                  </a:lnTo>
                  <a:lnTo>
                    <a:pt x="281140" y="138188"/>
                  </a:lnTo>
                  <a:lnTo>
                    <a:pt x="285904" y="133424"/>
                  </a:lnTo>
                  <a:lnTo>
                    <a:pt x="290672" y="128660"/>
                  </a:lnTo>
                  <a:lnTo>
                    <a:pt x="295436" y="114364"/>
                  </a:lnTo>
                  <a:lnTo>
                    <a:pt x="300200" y="100068"/>
                  </a:lnTo>
                  <a:lnTo>
                    <a:pt x="314496" y="90540"/>
                  </a:lnTo>
                  <a:lnTo>
                    <a:pt x="324028" y="90540"/>
                  </a:lnTo>
                  <a:lnTo>
                    <a:pt x="328792" y="100068"/>
                  </a:lnTo>
                  <a:lnTo>
                    <a:pt x="338324" y="104832"/>
                  </a:lnTo>
                  <a:lnTo>
                    <a:pt x="347852" y="109600"/>
                  </a:lnTo>
                  <a:lnTo>
                    <a:pt x="371680" y="90540"/>
                  </a:lnTo>
                  <a:lnTo>
                    <a:pt x="381208" y="90540"/>
                  </a:lnTo>
                  <a:lnTo>
                    <a:pt x="390740" y="90540"/>
                  </a:lnTo>
                  <a:lnTo>
                    <a:pt x="400268" y="90540"/>
                  </a:lnTo>
                  <a:lnTo>
                    <a:pt x="405032" y="81008"/>
                  </a:lnTo>
                  <a:lnTo>
                    <a:pt x="414564" y="71476"/>
                  </a:lnTo>
                  <a:lnTo>
                    <a:pt x="419328" y="57184"/>
                  </a:lnTo>
                  <a:lnTo>
                    <a:pt x="419328" y="42888"/>
                  </a:lnTo>
                  <a:lnTo>
                    <a:pt x="424096" y="33356"/>
                  </a:lnTo>
                  <a:lnTo>
                    <a:pt x="433624" y="33356"/>
                  </a:lnTo>
                  <a:lnTo>
                    <a:pt x="447920" y="23828"/>
                  </a:lnTo>
                  <a:lnTo>
                    <a:pt x="476512" y="9532"/>
                  </a:lnTo>
                  <a:lnTo>
                    <a:pt x="486040" y="4768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8" name="Freeform 386">
              <a:extLst>
                <a:ext uri="{FF2B5EF4-FFF2-40B4-BE49-F238E27FC236}">
                  <a16:creationId xmlns:a16="http://schemas.microsoft.com/office/drawing/2014/main" id="{E9E8A330-BFB7-4D44-9491-34FC315DC0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506284" y="5759004"/>
              <a:ext cx="84796" cy="172676"/>
            </a:xfrm>
            <a:custGeom>
              <a:avLst/>
              <a:gdLst>
                <a:gd name="connsiteX0" fmla="*/ 500336 w 524160"/>
                <a:gd name="connsiteY0" fmla="*/ 1053092 h 1067388"/>
                <a:gd name="connsiteX1" fmla="*/ 514632 w 524160"/>
                <a:gd name="connsiteY1" fmla="*/ 1053092 h 1067388"/>
                <a:gd name="connsiteX2" fmla="*/ 519396 w 524160"/>
                <a:gd name="connsiteY2" fmla="*/ 1053092 h 1067388"/>
                <a:gd name="connsiteX3" fmla="*/ 524160 w 524160"/>
                <a:gd name="connsiteY3" fmla="*/ 1057856 h 1067388"/>
                <a:gd name="connsiteX4" fmla="*/ 519396 w 524160"/>
                <a:gd name="connsiteY4" fmla="*/ 1067388 h 1067388"/>
                <a:gd name="connsiteX5" fmla="*/ 509868 w 524160"/>
                <a:gd name="connsiteY5" fmla="*/ 1067388 h 1067388"/>
                <a:gd name="connsiteX6" fmla="*/ 500336 w 524160"/>
                <a:gd name="connsiteY6" fmla="*/ 1062622 h 1067388"/>
                <a:gd name="connsiteX7" fmla="*/ 428860 w 524160"/>
                <a:gd name="connsiteY7" fmla="*/ 914904 h 1067388"/>
                <a:gd name="connsiteX8" fmla="*/ 438388 w 524160"/>
                <a:gd name="connsiteY8" fmla="*/ 914904 h 1067388"/>
                <a:gd name="connsiteX9" fmla="*/ 438388 w 524160"/>
                <a:gd name="connsiteY9" fmla="*/ 938728 h 1067388"/>
                <a:gd name="connsiteX10" fmla="*/ 462216 w 524160"/>
                <a:gd name="connsiteY10" fmla="*/ 953024 h 1067388"/>
                <a:gd name="connsiteX11" fmla="*/ 452684 w 524160"/>
                <a:gd name="connsiteY11" fmla="*/ 967320 h 1067388"/>
                <a:gd name="connsiteX12" fmla="*/ 438388 w 524160"/>
                <a:gd name="connsiteY12" fmla="*/ 962554 h 1067388"/>
                <a:gd name="connsiteX13" fmla="*/ 424096 w 524160"/>
                <a:gd name="connsiteY13" fmla="*/ 953024 h 1067388"/>
                <a:gd name="connsiteX14" fmla="*/ 419328 w 524160"/>
                <a:gd name="connsiteY14" fmla="*/ 938728 h 1067388"/>
                <a:gd name="connsiteX15" fmla="*/ 424096 w 524160"/>
                <a:gd name="connsiteY15" fmla="*/ 919668 h 1067388"/>
                <a:gd name="connsiteX16" fmla="*/ 385972 w 524160"/>
                <a:gd name="connsiteY16" fmla="*/ 800540 h 1067388"/>
                <a:gd name="connsiteX17" fmla="*/ 400268 w 524160"/>
                <a:gd name="connsiteY17" fmla="*/ 800540 h 1067388"/>
                <a:gd name="connsiteX18" fmla="*/ 405032 w 524160"/>
                <a:gd name="connsiteY18" fmla="*/ 800540 h 1067388"/>
                <a:gd name="connsiteX19" fmla="*/ 414564 w 524160"/>
                <a:gd name="connsiteY19" fmla="*/ 814836 h 1067388"/>
                <a:gd name="connsiteX20" fmla="*/ 424096 w 524160"/>
                <a:gd name="connsiteY20" fmla="*/ 824366 h 1067388"/>
                <a:gd name="connsiteX21" fmla="*/ 414564 w 524160"/>
                <a:gd name="connsiteY21" fmla="*/ 829132 h 1067388"/>
                <a:gd name="connsiteX22" fmla="*/ 428860 w 524160"/>
                <a:gd name="connsiteY22" fmla="*/ 838662 h 1067388"/>
                <a:gd name="connsiteX23" fmla="*/ 438392 w 524160"/>
                <a:gd name="connsiteY23" fmla="*/ 852956 h 1067388"/>
                <a:gd name="connsiteX24" fmla="*/ 428860 w 524160"/>
                <a:gd name="connsiteY24" fmla="*/ 857722 h 1067388"/>
                <a:gd name="connsiteX25" fmla="*/ 424096 w 524160"/>
                <a:gd name="connsiteY25" fmla="*/ 857722 h 1067388"/>
                <a:gd name="connsiteX26" fmla="*/ 381208 w 524160"/>
                <a:gd name="connsiteY26" fmla="*/ 838662 h 1067388"/>
                <a:gd name="connsiteX27" fmla="*/ 385972 w 524160"/>
                <a:gd name="connsiteY27" fmla="*/ 833896 h 1067388"/>
                <a:gd name="connsiteX28" fmla="*/ 381208 w 524160"/>
                <a:gd name="connsiteY28" fmla="*/ 814836 h 1067388"/>
                <a:gd name="connsiteX29" fmla="*/ 295436 w 524160"/>
                <a:gd name="connsiteY29" fmla="*/ 619466 h 1067388"/>
                <a:gd name="connsiteX30" fmla="*/ 314496 w 524160"/>
                <a:gd name="connsiteY30" fmla="*/ 643292 h 1067388"/>
                <a:gd name="connsiteX31" fmla="*/ 319260 w 524160"/>
                <a:gd name="connsiteY31" fmla="*/ 648056 h 1067388"/>
                <a:gd name="connsiteX32" fmla="*/ 309732 w 524160"/>
                <a:gd name="connsiteY32" fmla="*/ 662352 h 1067388"/>
                <a:gd name="connsiteX33" fmla="*/ 290672 w 524160"/>
                <a:gd name="connsiteY33" fmla="*/ 667116 h 1067388"/>
                <a:gd name="connsiteX34" fmla="*/ 266844 w 524160"/>
                <a:gd name="connsiteY34" fmla="*/ 662352 h 1067388"/>
                <a:gd name="connsiteX35" fmla="*/ 276376 w 524160"/>
                <a:gd name="connsiteY35" fmla="*/ 657586 h 1067388"/>
                <a:gd name="connsiteX36" fmla="*/ 271608 w 524160"/>
                <a:gd name="connsiteY36" fmla="*/ 648056 h 1067388"/>
                <a:gd name="connsiteX37" fmla="*/ 262080 w 524160"/>
                <a:gd name="connsiteY37" fmla="*/ 648056 h 1067388"/>
                <a:gd name="connsiteX38" fmla="*/ 257316 w 524160"/>
                <a:gd name="connsiteY38" fmla="*/ 648056 h 1067388"/>
                <a:gd name="connsiteX39" fmla="*/ 252548 w 524160"/>
                <a:gd name="connsiteY39" fmla="*/ 648056 h 1067388"/>
                <a:gd name="connsiteX40" fmla="*/ 257316 w 524160"/>
                <a:gd name="connsiteY40" fmla="*/ 638526 h 1067388"/>
                <a:gd name="connsiteX41" fmla="*/ 271608 w 524160"/>
                <a:gd name="connsiteY41" fmla="*/ 624232 h 1067388"/>
                <a:gd name="connsiteX42" fmla="*/ 276376 w 524160"/>
                <a:gd name="connsiteY42" fmla="*/ 624232 h 1067388"/>
                <a:gd name="connsiteX43" fmla="*/ 281140 w 524160"/>
                <a:gd name="connsiteY43" fmla="*/ 624232 h 1067388"/>
                <a:gd name="connsiteX44" fmla="*/ 257316 w 524160"/>
                <a:gd name="connsiteY44" fmla="*/ 466980 h 1067388"/>
                <a:gd name="connsiteX45" fmla="*/ 262080 w 524160"/>
                <a:gd name="connsiteY45" fmla="*/ 471746 h 1067388"/>
                <a:gd name="connsiteX46" fmla="*/ 266844 w 524160"/>
                <a:gd name="connsiteY46" fmla="*/ 481276 h 1067388"/>
                <a:gd name="connsiteX47" fmla="*/ 276376 w 524160"/>
                <a:gd name="connsiteY47" fmla="*/ 481276 h 1067388"/>
                <a:gd name="connsiteX48" fmla="*/ 285904 w 524160"/>
                <a:gd name="connsiteY48" fmla="*/ 495572 h 1067388"/>
                <a:gd name="connsiteX49" fmla="*/ 300200 w 524160"/>
                <a:gd name="connsiteY49" fmla="*/ 495572 h 1067388"/>
                <a:gd name="connsiteX50" fmla="*/ 300200 w 524160"/>
                <a:gd name="connsiteY50" fmla="*/ 500336 h 1067388"/>
                <a:gd name="connsiteX51" fmla="*/ 300200 w 524160"/>
                <a:gd name="connsiteY51" fmla="*/ 505102 h 1067388"/>
                <a:gd name="connsiteX52" fmla="*/ 276376 w 524160"/>
                <a:gd name="connsiteY52" fmla="*/ 500336 h 1067388"/>
                <a:gd name="connsiteX53" fmla="*/ 262080 w 524160"/>
                <a:gd name="connsiteY53" fmla="*/ 500336 h 1067388"/>
                <a:gd name="connsiteX54" fmla="*/ 257316 w 524160"/>
                <a:gd name="connsiteY54" fmla="*/ 500336 h 1067388"/>
                <a:gd name="connsiteX55" fmla="*/ 252548 w 524160"/>
                <a:gd name="connsiteY55" fmla="*/ 495572 h 1067388"/>
                <a:gd name="connsiteX56" fmla="*/ 247784 w 524160"/>
                <a:gd name="connsiteY56" fmla="*/ 481276 h 1067388"/>
                <a:gd name="connsiteX57" fmla="*/ 247784 w 524160"/>
                <a:gd name="connsiteY57" fmla="*/ 471746 h 1067388"/>
                <a:gd name="connsiteX58" fmla="*/ 252548 w 524160"/>
                <a:gd name="connsiteY58" fmla="*/ 381208 h 1067388"/>
                <a:gd name="connsiteX59" fmla="*/ 257316 w 524160"/>
                <a:gd name="connsiteY59" fmla="*/ 390740 h 1067388"/>
                <a:gd name="connsiteX60" fmla="*/ 266844 w 524160"/>
                <a:gd name="connsiteY60" fmla="*/ 409800 h 1067388"/>
                <a:gd name="connsiteX61" fmla="*/ 271608 w 524160"/>
                <a:gd name="connsiteY61" fmla="*/ 414564 h 1067388"/>
                <a:gd name="connsiteX62" fmla="*/ 276376 w 524160"/>
                <a:gd name="connsiteY62" fmla="*/ 419330 h 1067388"/>
                <a:gd name="connsiteX63" fmla="*/ 276376 w 524160"/>
                <a:gd name="connsiteY63" fmla="*/ 424094 h 1067388"/>
                <a:gd name="connsiteX64" fmla="*/ 257316 w 524160"/>
                <a:gd name="connsiteY64" fmla="*/ 428860 h 1067388"/>
                <a:gd name="connsiteX65" fmla="*/ 233488 w 524160"/>
                <a:gd name="connsiteY65" fmla="*/ 419330 h 1067388"/>
                <a:gd name="connsiteX66" fmla="*/ 219192 w 524160"/>
                <a:gd name="connsiteY66" fmla="*/ 414564 h 1067388"/>
                <a:gd name="connsiteX67" fmla="*/ 219192 w 524160"/>
                <a:gd name="connsiteY67" fmla="*/ 405034 h 1067388"/>
                <a:gd name="connsiteX68" fmla="*/ 223960 w 524160"/>
                <a:gd name="connsiteY68" fmla="*/ 400270 h 1067388"/>
                <a:gd name="connsiteX69" fmla="*/ 238252 w 524160"/>
                <a:gd name="connsiteY69" fmla="*/ 400270 h 1067388"/>
                <a:gd name="connsiteX70" fmla="*/ 109596 w 524160"/>
                <a:gd name="connsiteY70" fmla="*/ 347852 h 1067388"/>
                <a:gd name="connsiteX71" fmla="*/ 123892 w 524160"/>
                <a:gd name="connsiteY71" fmla="*/ 357384 h 1067388"/>
                <a:gd name="connsiteX72" fmla="*/ 133420 w 524160"/>
                <a:gd name="connsiteY72" fmla="*/ 385974 h 1067388"/>
                <a:gd name="connsiteX73" fmla="*/ 142952 w 524160"/>
                <a:gd name="connsiteY73" fmla="*/ 390740 h 1067388"/>
                <a:gd name="connsiteX74" fmla="*/ 147716 w 524160"/>
                <a:gd name="connsiteY74" fmla="*/ 390740 h 1067388"/>
                <a:gd name="connsiteX75" fmla="*/ 147716 w 524160"/>
                <a:gd name="connsiteY75" fmla="*/ 395504 h 1067388"/>
                <a:gd name="connsiteX76" fmla="*/ 171544 w 524160"/>
                <a:gd name="connsiteY76" fmla="*/ 414564 h 1067388"/>
                <a:gd name="connsiteX77" fmla="*/ 176308 w 524160"/>
                <a:gd name="connsiteY77" fmla="*/ 414564 h 1067388"/>
                <a:gd name="connsiteX78" fmla="*/ 181072 w 524160"/>
                <a:gd name="connsiteY78" fmla="*/ 419330 h 1067388"/>
                <a:gd name="connsiteX79" fmla="*/ 195368 w 524160"/>
                <a:gd name="connsiteY79" fmla="*/ 424096 h 1067388"/>
                <a:gd name="connsiteX80" fmla="*/ 195368 w 524160"/>
                <a:gd name="connsiteY80" fmla="*/ 433626 h 1067388"/>
                <a:gd name="connsiteX81" fmla="*/ 200132 w 524160"/>
                <a:gd name="connsiteY81" fmla="*/ 443156 h 1067388"/>
                <a:gd name="connsiteX82" fmla="*/ 190604 w 524160"/>
                <a:gd name="connsiteY82" fmla="*/ 452686 h 1067388"/>
                <a:gd name="connsiteX83" fmla="*/ 166776 w 524160"/>
                <a:gd name="connsiteY83" fmla="*/ 452686 h 1067388"/>
                <a:gd name="connsiteX84" fmla="*/ 152480 w 524160"/>
                <a:gd name="connsiteY84" fmla="*/ 462216 h 1067388"/>
                <a:gd name="connsiteX85" fmla="*/ 142952 w 524160"/>
                <a:gd name="connsiteY85" fmla="*/ 462216 h 1067388"/>
                <a:gd name="connsiteX86" fmla="*/ 138188 w 524160"/>
                <a:gd name="connsiteY86" fmla="*/ 452686 h 1067388"/>
                <a:gd name="connsiteX87" fmla="*/ 142952 w 524160"/>
                <a:gd name="connsiteY87" fmla="*/ 452686 h 1067388"/>
                <a:gd name="connsiteX88" fmla="*/ 133420 w 524160"/>
                <a:gd name="connsiteY88" fmla="*/ 433626 h 1067388"/>
                <a:gd name="connsiteX89" fmla="*/ 128656 w 524160"/>
                <a:gd name="connsiteY89" fmla="*/ 409800 h 1067388"/>
                <a:gd name="connsiteX90" fmla="*/ 123892 w 524160"/>
                <a:gd name="connsiteY90" fmla="*/ 395504 h 1067388"/>
                <a:gd name="connsiteX91" fmla="*/ 119124 w 524160"/>
                <a:gd name="connsiteY91" fmla="*/ 390740 h 1067388"/>
                <a:gd name="connsiteX92" fmla="*/ 109596 w 524160"/>
                <a:gd name="connsiteY92" fmla="*/ 395504 h 1067388"/>
                <a:gd name="connsiteX93" fmla="*/ 104832 w 524160"/>
                <a:gd name="connsiteY93" fmla="*/ 395504 h 1067388"/>
                <a:gd name="connsiteX94" fmla="*/ 95300 w 524160"/>
                <a:gd name="connsiteY94" fmla="*/ 381208 h 1067388"/>
                <a:gd name="connsiteX95" fmla="*/ 100064 w 524160"/>
                <a:gd name="connsiteY95" fmla="*/ 357384 h 1067388"/>
                <a:gd name="connsiteX96" fmla="*/ 104832 w 524160"/>
                <a:gd name="connsiteY96" fmla="*/ 352618 h 1067388"/>
                <a:gd name="connsiteX97" fmla="*/ 90536 w 524160"/>
                <a:gd name="connsiteY97" fmla="*/ 309732 h 1067388"/>
                <a:gd name="connsiteX98" fmla="*/ 109596 w 524160"/>
                <a:gd name="connsiteY98" fmla="*/ 314498 h 1067388"/>
                <a:gd name="connsiteX99" fmla="*/ 104832 w 524160"/>
                <a:gd name="connsiteY99" fmla="*/ 324028 h 1067388"/>
                <a:gd name="connsiteX100" fmla="*/ 104832 w 524160"/>
                <a:gd name="connsiteY100" fmla="*/ 328792 h 1067388"/>
                <a:gd name="connsiteX101" fmla="*/ 85768 w 524160"/>
                <a:gd name="connsiteY101" fmla="*/ 319262 h 1067388"/>
                <a:gd name="connsiteX102" fmla="*/ 252548 w 524160"/>
                <a:gd name="connsiteY102" fmla="*/ 281142 h 1067388"/>
                <a:gd name="connsiteX103" fmla="*/ 257316 w 524160"/>
                <a:gd name="connsiteY103" fmla="*/ 290672 h 1067388"/>
                <a:gd name="connsiteX104" fmla="*/ 271608 w 524160"/>
                <a:gd name="connsiteY104" fmla="*/ 352618 h 1067388"/>
                <a:gd name="connsiteX105" fmla="*/ 266844 w 524160"/>
                <a:gd name="connsiteY105" fmla="*/ 362148 h 1067388"/>
                <a:gd name="connsiteX106" fmla="*/ 262080 w 524160"/>
                <a:gd name="connsiteY106" fmla="*/ 366914 h 1067388"/>
                <a:gd name="connsiteX107" fmla="*/ 257316 w 524160"/>
                <a:gd name="connsiteY107" fmla="*/ 366914 h 1067388"/>
                <a:gd name="connsiteX108" fmla="*/ 257316 w 524160"/>
                <a:gd name="connsiteY108" fmla="*/ 357384 h 1067388"/>
                <a:gd name="connsiteX109" fmla="*/ 247784 w 524160"/>
                <a:gd name="connsiteY109" fmla="*/ 319262 h 1067388"/>
                <a:gd name="connsiteX110" fmla="*/ 228724 w 524160"/>
                <a:gd name="connsiteY110" fmla="*/ 252552 h 1067388"/>
                <a:gd name="connsiteX111" fmla="*/ 214428 w 524160"/>
                <a:gd name="connsiteY111" fmla="*/ 276376 h 1067388"/>
                <a:gd name="connsiteX112" fmla="*/ 204896 w 524160"/>
                <a:gd name="connsiteY112" fmla="*/ 285908 h 1067388"/>
                <a:gd name="connsiteX113" fmla="*/ 185836 w 524160"/>
                <a:gd name="connsiteY113" fmla="*/ 285908 h 1067388"/>
                <a:gd name="connsiteX114" fmla="*/ 176308 w 524160"/>
                <a:gd name="connsiteY114" fmla="*/ 281142 h 1067388"/>
                <a:gd name="connsiteX115" fmla="*/ 200132 w 524160"/>
                <a:gd name="connsiteY115" fmla="*/ 257316 h 1067388"/>
                <a:gd name="connsiteX116" fmla="*/ 247784 w 524160"/>
                <a:gd name="connsiteY116" fmla="*/ 204900 h 1067388"/>
                <a:gd name="connsiteX117" fmla="*/ 257312 w 524160"/>
                <a:gd name="connsiteY117" fmla="*/ 238256 h 1067388"/>
                <a:gd name="connsiteX118" fmla="*/ 257312 w 524160"/>
                <a:gd name="connsiteY118" fmla="*/ 262082 h 1067388"/>
                <a:gd name="connsiteX119" fmla="*/ 257312 w 524160"/>
                <a:gd name="connsiteY119" fmla="*/ 271612 h 1067388"/>
                <a:gd name="connsiteX120" fmla="*/ 247784 w 524160"/>
                <a:gd name="connsiteY120" fmla="*/ 257316 h 1067388"/>
                <a:gd name="connsiteX121" fmla="*/ 243020 w 524160"/>
                <a:gd name="connsiteY121" fmla="*/ 209666 h 1067388"/>
                <a:gd name="connsiteX122" fmla="*/ 9528 w 524160"/>
                <a:gd name="connsiteY122" fmla="*/ 147718 h 1067388"/>
                <a:gd name="connsiteX123" fmla="*/ 19060 w 524160"/>
                <a:gd name="connsiteY123" fmla="*/ 166778 h 1067388"/>
                <a:gd name="connsiteX124" fmla="*/ 33352 w 524160"/>
                <a:gd name="connsiteY124" fmla="*/ 181074 h 1067388"/>
                <a:gd name="connsiteX125" fmla="*/ 42884 w 524160"/>
                <a:gd name="connsiteY125" fmla="*/ 233490 h 1067388"/>
                <a:gd name="connsiteX126" fmla="*/ 52416 w 524160"/>
                <a:gd name="connsiteY126" fmla="*/ 233490 h 1067388"/>
                <a:gd name="connsiteX127" fmla="*/ 61944 w 524160"/>
                <a:gd name="connsiteY127" fmla="*/ 228724 h 1067388"/>
                <a:gd name="connsiteX128" fmla="*/ 66708 w 524160"/>
                <a:gd name="connsiteY128" fmla="*/ 219194 h 1067388"/>
                <a:gd name="connsiteX129" fmla="*/ 71476 w 524160"/>
                <a:gd name="connsiteY129" fmla="*/ 200134 h 1067388"/>
                <a:gd name="connsiteX130" fmla="*/ 76240 w 524160"/>
                <a:gd name="connsiteY130" fmla="*/ 195370 h 1067388"/>
                <a:gd name="connsiteX131" fmla="*/ 85772 w 524160"/>
                <a:gd name="connsiteY131" fmla="*/ 195370 h 1067388"/>
                <a:gd name="connsiteX132" fmla="*/ 81004 w 524160"/>
                <a:gd name="connsiteY132" fmla="*/ 204900 h 1067388"/>
                <a:gd name="connsiteX133" fmla="*/ 81004 w 524160"/>
                <a:gd name="connsiteY133" fmla="*/ 219194 h 1067388"/>
                <a:gd name="connsiteX134" fmla="*/ 90536 w 524160"/>
                <a:gd name="connsiteY134" fmla="*/ 228724 h 1067388"/>
                <a:gd name="connsiteX135" fmla="*/ 100064 w 524160"/>
                <a:gd name="connsiteY135" fmla="*/ 271612 h 1067388"/>
                <a:gd name="connsiteX136" fmla="*/ 104832 w 524160"/>
                <a:gd name="connsiteY136" fmla="*/ 281142 h 1067388"/>
                <a:gd name="connsiteX137" fmla="*/ 104832 w 524160"/>
                <a:gd name="connsiteY137" fmla="*/ 285906 h 1067388"/>
                <a:gd name="connsiteX138" fmla="*/ 85772 w 524160"/>
                <a:gd name="connsiteY138" fmla="*/ 300202 h 1067388"/>
                <a:gd name="connsiteX139" fmla="*/ 61944 w 524160"/>
                <a:gd name="connsiteY139" fmla="*/ 300202 h 1067388"/>
                <a:gd name="connsiteX140" fmla="*/ 42884 w 524160"/>
                <a:gd name="connsiteY140" fmla="*/ 309732 h 1067388"/>
                <a:gd name="connsiteX141" fmla="*/ 33352 w 524160"/>
                <a:gd name="connsiteY141" fmla="*/ 309732 h 1067388"/>
                <a:gd name="connsiteX142" fmla="*/ 33352 w 524160"/>
                <a:gd name="connsiteY142" fmla="*/ 300202 h 1067388"/>
                <a:gd name="connsiteX143" fmla="*/ 23824 w 524160"/>
                <a:gd name="connsiteY143" fmla="*/ 290672 h 1067388"/>
                <a:gd name="connsiteX144" fmla="*/ 14292 w 524160"/>
                <a:gd name="connsiteY144" fmla="*/ 271612 h 1067388"/>
                <a:gd name="connsiteX145" fmla="*/ 14292 w 524160"/>
                <a:gd name="connsiteY145" fmla="*/ 243020 h 1067388"/>
                <a:gd name="connsiteX146" fmla="*/ 0 w 524160"/>
                <a:gd name="connsiteY146" fmla="*/ 181074 h 1067388"/>
                <a:gd name="connsiteX147" fmla="*/ 0 w 524160"/>
                <a:gd name="connsiteY147" fmla="*/ 171544 h 1067388"/>
                <a:gd name="connsiteX148" fmla="*/ 4764 w 524160"/>
                <a:gd name="connsiteY148" fmla="*/ 152484 h 1067388"/>
                <a:gd name="connsiteX149" fmla="*/ 152480 w 524160"/>
                <a:gd name="connsiteY149" fmla="*/ 71476 h 1067388"/>
                <a:gd name="connsiteX150" fmla="*/ 166776 w 524160"/>
                <a:gd name="connsiteY150" fmla="*/ 76242 h 1067388"/>
                <a:gd name="connsiteX151" fmla="*/ 162012 w 524160"/>
                <a:gd name="connsiteY151" fmla="*/ 90536 h 1067388"/>
                <a:gd name="connsiteX152" fmla="*/ 157248 w 524160"/>
                <a:gd name="connsiteY152" fmla="*/ 95302 h 1067388"/>
                <a:gd name="connsiteX153" fmla="*/ 138188 w 524160"/>
                <a:gd name="connsiteY153" fmla="*/ 95302 h 1067388"/>
                <a:gd name="connsiteX154" fmla="*/ 133420 w 524160"/>
                <a:gd name="connsiteY154" fmla="*/ 90536 h 1067388"/>
                <a:gd name="connsiteX155" fmla="*/ 133420 w 524160"/>
                <a:gd name="connsiteY155" fmla="*/ 76242 h 1067388"/>
                <a:gd name="connsiteX156" fmla="*/ 138188 w 524160"/>
                <a:gd name="connsiteY156" fmla="*/ 76242 h 1067388"/>
                <a:gd name="connsiteX157" fmla="*/ 147716 w 524160"/>
                <a:gd name="connsiteY157" fmla="*/ 0 h 1067388"/>
                <a:gd name="connsiteX158" fmla="*/ 157248 w 524160"/>
                <a:gd name="connsiteY158" fmla="*/ 9530 h 1067388"/>
                <a:gd name="connsiteX159" fmla="*/ 157248 w 524160"/>
                <a:gd name="connsiteY159" fmla="*/ 19060 h 1067388"/>
                <a:gd name="connsiteX160" fmla="*/ 157248 w 524160"/>
                <a:gd name="connsiteY160" fmla="*/ 23824 h 1067388"/>
                <a:gd name="connsiteX161" fmla="*/ 147716 w 524160"/>
                <a:gd name="connsiteY161" fmla="*/ 28590 h 1067388"/>
                <a:gd name="connsiteX162" fmla="*/ 147716 w 524160"/>
                <a:gd name="connsiteY162" fmla="*/ 33356 h 1067388"/>
                <a:gd name="connsiteX163" fmla="*/ 142952 w 524160"/>
                <a:gd name="connsiteY163" fmla="*/ 33356 h 1067388"/>
                <a:gd name="connsiteX164" fmla="*/ 133420 w 524160"/>
                <a:gd name="connsiteY164" fmla="*/ 14294 h 1067388"/>
                <a:gd name="connsiteX165" fmla="*/ 133420 w 524160"/>
                <a:gd name="connsiteY165" fmla="*/ 4764 h 1067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</a:cxnLst>
              <a:rect l="l" t="t" r="r" b="b"/>
              <a:pathLst>
                <a:path w="524160" h="1067388">
                  <a:moveTo>
                    <a:pt x="500336" y="1053092"/>
                  </a:moveTo>
                  <a:lnTo>
                    <a:pt x="514632" y="1053092"/>
                  </a:lnTo>
                  <a:lnTo>
                    <a:pt x="519396" y="1053092"/>
                  </a:lnTo>
                  <a:lnTo>
                    <a:pt x="524160" y="1057856"/>
                  </a:lnTo>
                  <a:lnTo>
                    <a:pt x="519396" y="1067388"/>
                  </a:lnTo>
                  <a:lnTo>
                    <a:pt x="509868" y="1067388"/>
                  </a:lnTo>
                  <a:lnTo>
                    <a:pt x="500336" y="1062622"/>
                  </a:lnTo>
                  <a:close/>
                  <a:moveTo>
                    <a:pt x="428860" y="914904"/>
                  </a:moveTo>
                  <a:lnTo>
                    <a:pt x="438388" y="914904"/>
                  </a:lnTo>
                  <a:lnTo>
                    <a:pt x="438388" y="938728"/>
                  </a:lnTo>
                  <a:lnTo>
                    <a:pt x="462216" y="953024"/>
                  </a:lnTo>
                  <a:lnTo>
                    <a:pt x="452684" y="967320"/>
                  </a:lnTo>
                  <a:lnTo>
                    <a:pt x="438388" y="962554"/>
                  </a:lnTo>
                  <a:lnTo>
                    <a:pt x="424096" y="953024"/>
                  </a:lnTo>
                  <a:lnTo>
                    <a:pt x="419328" y="938728"/>
                  </a:lnTo>
                  <a:lnTo>
                    <a:pt x="424096" y="919668"/>
                  </a:lnTo>
                  <a:close/>
                  <a:moveTo>
                    <a:pt x="385972" y="800540"/>
                  </a:moveTo>
                  <a:lnTo>
                    <a:pt x="400268" y="800540"/>
                  </a:lnTo>
                  <a:lnTo>
                    <a:pt x="405032" y="800540"/>
                  </a:lnTo>
                  <a:lnTo>
                    <a:pt x="414564" y="814836"/>
                  </a:lnTo>
                  <a:lnTo>
                    <a:pt x="424096" y="824366"/>
                  </a:lnTo>
                  <a:lnTo>
                    <a:pt x="414564" y="829132"/>
                  </a:lnTo>
                  <a:lnTo>
                    <a:pt x="428860" y="838662"/>
                  </a:lnTo>
                  <a:lnTo>
                    <a:pt x="438392" y="852956"/>
                  </a:lnTo>
                  <a:lnTo>
                    <a:pt x="428860" y="857722"/>
                  </a:lnTo>
                  <a:lnTo>
                    <a:pt x="424096" y="857722"/>
                  </a:lnTo>
                  <a:lnTo>
                    <a:pt x="381208" y="838662"/>
                  </a:lnTo>
                  <a:lnTo>
                    <a:pt x="385972" y="833896"/>
                  </a:lnTo>
                  <a:lnTo>
                    <a:pt x="381208" y="814836"/>
                  </a:lnTo>
                  <a:close/>
                  <a:moveTo>
                    <a:pt x="295436" y="619466"/>
                  </a:moveTo>
                  <a:lnTo>
                    <a:pt x="314496" y="643292"/>
                  </a:lnTo>
                  <a:lnTo>
                    <a:pt x="319260" y="648056"/>
                  </a:lnTo>
                  <a:lnTo>
                    <a:pt x="309732" y="662352"/>
                  </a:lnTo>
                  <a:lnTo>
                    <a:pt x="290672" y="667116"/>
                  </a:lnTo>
                  <a:lnTo>
                    <a:pt x="266844" y="662352"/>
                  </a:lnTo>
                  <a:lnTo>
                    <a:pt x="276376" y="657586"/>
                  </a:lnTo>
                  <a:lnTo>
                    <a:pt x="271608" y="648056"/>
                  </a:lnTo>
                  <a:lnTo>
                    <a:pt x="262080" y="648056"/>
                  </a:lnTo>
                  <a:lnTo>
                    <a:pt x="257316" y="648056"/>
                  </a:lnTo>
                  <a:lnTo>
                    <a:pt x="252548" y="648056"/>
                  </a:lnTo>
                  <a:lnTo>
                    <a:pt x="257316" y="638526"/>
                  </a:lnTo>
                  <a:lnTo>
                    <a:pt x="271608" y="624232"/>
                  </a:lnTo>
                  <a:lnTo>
                    <a:pt x="276376" y="624232"/>
                  </a:lnTo>
                  <a:lnTo>
                    <a:pt x="281140" y="624232"/>
                  </a:lnTo>
                  <a:close/>
                  <a:moveTo>
                    <a:pt x="257316" y="466980"/>
                  </a:moveTo>
                  <a:lnTo>
                    <a:pt x="262080" y="471746"/>
                  </a:lnTo>
                  <a:lnTo>
                    <a:pt x="266844" y="481276"/>
                  </a:lnTo>
                  <a:lnTo>
                    <a:pt x="276376" y="481276"/>
                  </a:lnTo>
                  <a:lnTo>
                    <a:pt x="285904" y="495572"/>
                  </a:lnTo>
                  <a:lnTo>
                    <a:pt x="300200" y="495572"/>
                  </a:lnTo>
                  <a:lnTo>
                    <a:pt x="300200" y="500336"/>
                  </a:lnTo>
                  <a:lnTo>
                    <a:pt x="300200" y="505102"/>
                  </a:lnTo>
                  <a:lnTo>
                    <a:pt x="276376" y="500336"/>
                  </a:lnTo>
                  <a:lnTo>
                    <a:pt x="262080" y="500336"/>
                  </a:lnTo>
                  <a:lnTo>
                    <a:pt x="257316" y="500336"/>
                  </a:lnTo>
                  <a:lnTo>
                    <a:pt x="252548" y="495572"/>
                  </a:lnTo>
                  <a:lnTo>
                    <a:pt x="247784" y="481276"/>
                  </a:lnTo>
                  <a:lnTo>
                    <a:pt x="247784" y="471746"/>
                  </a:lnTo>
                  <a:close/>
                  <a:moveTo>
                    <a:pt x="252548" y="381208"/>
                  </a:moveTo>
                  <a:lnTo>
                    <a:pt x="257316" y="390740"/>
                  </a:lnTo>
                  <a:lnTo>
                    <a:pt x="266844" y="409800"/>
                  </a:lnTo>
                  <a:lnTo>
                    <a:pt x="271608" y="414564"/>
                  </a:lnTo>
                  <a:lnTo>
                    <a:pt x="276376" y="419330"/>
                  </a:lnTo>
                  <a:lnTo>
                    <a:pt x="276376" y="424094"/>
                  </a:lnTo>
                  <a:lnTo>
                    <a:pt x="257316" y="428860"/>
                  </a:lnTo>
                  <a:lnTo>
                    <a:pt x="233488" y="419330"/>
                  </a:lnTo>
                  <a:lnTo>
                    <a:pt x="219192" y="414564"/>
                  </a:lnTo>
                  <a:lnTo>
                    <a:pt x="219192" y="405034"/>
                  </a:lnTo>
                  <a:lnTo>
                    <a:pt x="223960" y="400270"/>
                  </a:lnTo>
                  <a:lnTo>
                    <a:pt x="238252" y="400270"/>
                  </a:lnTo>
                  <a:close/>
                  <a:moveTo>
                    <a:pt x="109596" y="347852"/>
                  </a:moveTo>
                  <a:lnTo>
                    <a:pt x="123892" y="357384"/>
                  </a:lnTo>
                  <a:lnTo>
                    <a:pt x="133420" y="385974"/>
                  </a:lnTo>
                  <a:lnTo>
                    <a:pt x="142952" y="390740"/>
                  </a:lnTo>
                  <a:lnTo>
                    <a:pt x="147716" y="390740"/>
                  </a:lnTo>
                  <a:lnTo>
                    <a:pt x="147716" y="395504"/>
                  </a:lnTo>
                  <a:lnTo>
                    <a:pt x="171544" y="414564"/>
                  </a:lnTo>
                  <a:lnTo>
                    <a:pt x="176308" y="414564"/>
                  </a:lnTo>
                  <a:lnTo>
                    <a:pt x="181072" y="419330"/>
                  </a:lnTo>
                  <a:lnTo>
                    <a:pt x="195368" y="424096"/>
                  </a:lnTo>
                  <a:lnTo>
                    <a:pt x="195368" y="433626"/>
                  </a:lnTo>
                  <a:lnTo>
                    <a:pt x="200132" y="443156"/>
                  </a:lnTo>
                  <a:lnTo>
                    <a:pt x="190604" y="452686"/>
                  </a:lnTo>
                  <a:lnTo>
                    <a:pt x="166776" y="452686"/>
                  </a:lnTo>
                  <a:lnTo>
                    <a:pt x="152480" y="462216"/>
                  </a:lnTo>
                  <a:lnTo>
                    <a:pt x="142952" y="462216"/>
                  </a:lnTo>
                  <a:lnTo>
                    <a:pt x="138188" y="452686"/>
                  </a:lnTo>
                  <a:lnTo>
                    <a:pt x="142952" y="452686"/>
                  </a:lnTo>
                  <a:lnTo>
                    <a:pt x="133420" y="433626"/>
                  </a:lnTo>
                  <a:lnTo>
                    <a:pt x="128656" y="409800"/>
                  </a:lnTo>
                  <a:lnTo>
                    <a:pt x="123892" y="395504"/>
                  </a:lnTo>
                  <a:lnTo>
                    <a:pt x="119124" y="390740"/>
                  </a:lnTo>
                  <a:lnTo>
                    <a:pt x="109596" y="395504"/>
                  </a:lnTo>
                  <a:lnTo>
                    <a:pt x="104832" y="395504"/>
                  </a:lnTo>
                  <a:lnTo>
                    <a:pt x="95300" y="381208"/>
                  </a:lnTo>
                  <a:lnTo>
                    <a:pt x="100064" y="357384"/>
                  </a:lnTo>
                  <a:lnTo>
                    <a:pt x="104832" y="352618"/>
                  </a:lnTo>
                  <a:close/>
                  <a:moveTo>
                    <a:pt x="90536" y="309732"/>
                  </a:moveTo>
                  <a:lnTo>
                    <a:pt x="109596" y="314498"/>
                  </a:lnTo>
                  <a:lnTo>
                    <a:pt x="104832" y="324028"/>
                  </a:lnTo>
                  <a:lnTo>
                    <a:pt x="104832" y="328792"/>
                  </a:lnTo>
                  <a:lnTo>
                    <a:pt x="85768" y="319262"/>
                  </a:lnTo>
                  <a:close/>
                  <a:moveTo>
                    <a:pt x="252548" y="281142"/>
                  </a:moveTo>
                  <a:lnTo>
                    <a:pt x="257316" y="290672"/>
                  </a:lnTo>
                  <a:lnTo>
                    <a:pt x="271608" y="352618"/>
                  </a:lnTo>
                  <a:lnTo>
                    <a:pt x="266844" y="362148"/>
                  </a:lnTo>
                  <a:lnTo>
                    <a:pt x="262080" y="366914"/>
                  </a:lnTo>
                  <a:lnTo>
                    <a:pt x="257316" y="366914"/>
                  </a:lnTo>
                  <a:lnTo>
                    <a:pt x="257316" y="357384"/>
                  </a:lnTo>
                  <a:lnTo>
                    <a:pt x="247784" y="319262"/>
                  </a:lnTo>
                  <a:close/>
                  <a:moveTo>
                    <a:pt x="228724" y="252552"/>
                  </a:moveTo>
                  <a:lnTo>
                    <a:pt x="214428" y="276376"/>
                  </a:lnTo>
                  <a:lnTo>
                    <a:pt x="204896" y="285908"/>
                  </a:lnTo>
                  <a:lnTo>
                    <a:pt x="185836" y="285908"/>
                  </a:lnTo>
                  <a:lnTo>
                    <a:pt x="176308" y="281142"/>
                  </a:lnTo>
                  <a:lnTo>
                    <a:pt x="200132" y="257316"/>
                  </a:lnTo>
                  <a:close/>
                  <a:moveTo>
                    <a:pt x="247784" y="204900"/>
                  </a:moveTo>
                  <a:lnTo>
                    <a:pt x="257312" y="238256"/>
                  </a:lnTo>
                  <a:lnTo>
                    <a:pt x="257312" y="262082"/>
                  </a:lnTo>
                  <a:lnTo>
                    <a:pt x="257312" y="271612"/>
                  </a:lnTo>
                  <a:lnTo>
                    <a:pt x="247784" y="257316"/>
                  </a:lnTo>
                  <a:lnTo>
                    <a:pt x="243020" y="209666"/>
                  </a:lnTo>
                  <a:close/>
                  <a:moveTo>
                    <a:pt x="9528" y="147718"/>
                  </a:moveTo>
                  <a:lnTo>
                    <a:pt x="19060" y="166778"/>
                  </a:lnTo>
                  <a:lnTo>
                    <a:pt x="33352" y="181074"/>
                  </a:lnTo>
                  <a:lnTo>
                    <a:pt x="42884" y="233490"/>
                  </a:lnTo>
                  <a:lnTo>
                    <a:pt x="52416" y="233490"/>
                  </a:lnTo>
                  <a:lnTo>
                    <a:pt x="61944" y="228724"/>
                  </a:lnTo>
                  <a:lnTo>
                    <a:pt x="66708" y="219194"/>
                  </a:lnTo>
                  <a:lnTo>
                    <a:pt x="71476" y="200134"/>
                  </a:lnTo>
                  <a:lnTo>
                    <a:pt x="76240" y="195370"/>
                  </a:lnTo>
                  <a:lnTo>
                    <a:pt x="85772" y="195370"/>
                  </a:lnTo>
                  <a:lnTo>
                    <a:pt x="81004" y="204900"/>
                  </a:lnTo>
                  <a:lnTo>
                    <a:pt x="81004" y="219194"/>
                  </a:lnTo>
                  <a:lnTo>
                    <a:pt x="90536" y="228724"/>
                  </a:lnTo>
                  <a:lnTo>
                    <a:pt x="100064" y="271612"/>
                  </a:lnTo>
                  <a:lnTo>
                    <a:pt x="104832" y="281142"/>
                  </a:lnTo>
                  <a:lnTo>
                    <a:pt x="104832" y="285906"/>
                  </a:lnTo>
                  <a:lnTo>
                    <a:pt x="85772" y="300202"/>
                  </a:lnTo>
                  <a:lnTo>
                    <a:pt x="61944" y="300202"/>
                  </a:lnTo>
                  <a:lnTo>
                    <a:pt x="42884" y="309732"/>
                  </a:lnTo>
                  <a:lnTo>
                    <a:pt x="33352" y="309732"/>
                  </a:lnTo>
                  <a:lnTo>
                    <a:pt x="33352" y="300202"/>
                  </a:lnTo>
                  <a:lnTo>
                    <a:pt x="23824" y="290672"/>
                  </a:lnTo>
                  <a:lnTo>
                    <a:pt x="14292" y="271612"/>
                  </a:lnTo>
                  <a:lnTo>
                    <a:pt x="14292" y="243020"/>
                  </a:lnTo>
                  <a:lnTo>
                    <a:pt x="0" y="181074"/>
                  </a:lnTo>
                  <a:lnTo>
                    <a:pt x="0" y="171544"/>
                  </a:lnTo>
                  <a:lnTo>
                    <a:pt x="4764" y="152484"/>
                  </a:lnTo>
                  <a:close/>
                  <a:moveTo>
                    <a:pt x="152480" y="71476"/>
                  </a:moveTo>
                  <a:lnTo>
                    <a:pt x="166776" y="76242"/>
                  </a:lnTo>
                  <a:lnTo>
                    <a:pt x="162012" y="90536"/>
                  </a:lnTo>
                  <a:lnTo>
                    <a:pt x="157248" y="95302"/>
                  </a:lnTo>
                  <a:lnTo>
                    <a:pt x="138188" y="95302"/>
                  </a:lnTo>
                  <a:lnTo>
                    <a:pt x="133420" y="90536"/>
                  </a:lnTo>
                  <a:lnTo>
                    <a:pt x="133420" y="76242"/>
                  </a:lnTo>
                  <a:lnTo>
                    <a:pt x="138188" y="76242"/>
                  </a:lnTo>
                  <a:close/>
                  <a:moveTo>
                    <a:pt x="147716" y="0"/>
                  </a:moveTo>
                  <a:lnTo>
                    <a:pt x="157248" y="9530"/>
                  </a:lnTo>
                  <a:lnTo>
                    <a:pt x="157248" y="19060"/>
                  </a:lnTo>
                  <a:lnTo>
                    <a:pt x="157248" y="23824"/>
                  </a:lnTo>
                  <a:lnTo>
                    <a:pt x="147716" y="28590"/>
                  </a:lnTo>
                  <a:lnTo>
                    <a:pt x="147716" y="33356"/>
                  </a:lnTo>
                  <a:lnTo>
                    <a:pt x="142952" y="33356"/>
                  </a:lnTo>
                  <a:lnTo>
                    <a:pt x="133420" y="14294"/>
                  </a:lnTo>
                  <a:lnTo>
                    <a:pt x="133420" y="476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9" name="Freeform 387">
              <a:extLst>
                <a:ext uri="{FF2B5EF4-FFF2-40B4-BE49-F238E27FC236}">
                  <a16:creationId xmlns:a16="http://schemas.microsoft.com/office/drawing/2014/main" id="{41334B55-2CF0-4CDD-AFA7-A39E531BA005}"/>
                </a:ext>
              </a:extLst>
            </p:cNvPr>
            <p:cNvSpPr/>
            <p:nvPr/>
          </p:nvSpPr>
          <p:spPr bwMode="auto">
            <a:xfrm>
              <a:off x="6376139" y="4920676"/>
              <a:ext cx="299871" cy="174989"/>
            </a:xfrm>
            <a:custGeom>
              <a:avLst/>
              <a:gdLst>
                <a:gd name="connsiteX0" fmla="*/ 1701148 w 1853632"/>
                <a:gd name="connsiteY0" fmla="*/ 1019736 h 1081684"/>
                <a:gd name="connsiteX1" fmla="*/ 1715444 w 1853632"/>
                <a:gd name="connsiteY1" fmla="*/ 1019736 h 1081684"/>
                <a:gd name="connsiteX2" fmla="*/ 1734504 w 1853632"/>
                <a:gd name="connsiteY2" fmla="*/ 1034032 h 1081684"/>
                <a:gd name="connsiteX3" fmla="*/ 1744036 w 1853632"/>
                <a:gd name="connsiteY3" fmla="*/ 1034032 h 1081684"/>
                <a:gd name="connsiteX4" fmla="*/ 1758332 w 1853632"/>
                <a:gd name="connsiteY4" fmla="*/ 1029266 h 1081684"/>
                <a:gd name="connsiteX5" fmla="*/ 1801216 w 1853632"/>
                <a:gd name="connsiteY5" fmla="*/ 1029266 h 1081684"/>
                <a:gd name="connsiteX6" fmla="*/ 1853632 w 1853632"/>
                <a:gd name="connsiteY6" fmla="*/ 1048326 h 1081684"/>
                <a:gd name="connsiteX7" fmla="*/ 1844104 w 1853632"/>
                <a:gd name="connsiteY7" fmla="*/ 1048326 h 1081684"/>
                <a:gd name="connsiteX8" fmla="*/ 1839340 w 1853632"/>
                <a:gd name="connsiteY8" fmla="*/ 1057858 h 1081684"/>
                <a:gd name="connsiteX9" fmla="*/ 1815512 w 1853632"/>
                <a:gd name="connsiteY9" fmla="*/ 1062622 h 1081684"/>
                <a:gd name="connsiteX10" fmla="*/ 1791688 w 1853632"/>
                <a:gd name="connsiteY10" fmla="*/ 1076918 h 1081684"/>
                <a:gd name="connsiteX11" fmla="*/ 1729740 w 1853632"/>
                <a:gd name="connsiteY11" fmla="*/ 1081684 h 1081684"/>
                <a:gd name="connsiteX12" fmla="*/ 1710680 w 1853632"/>
                <a:gd name="connsiteY12" fmla="*/ 1076918 h 1081684"/>
                <a:gd name="connsiteX13" fmla="*/ 1696384 w 1853632"/>
                <a:gd name="connsiteY13" fmla="*/ 1067388 h 1081684"/>
                <a:gd name="connsiteX14" fmla="*/ 1667792 w 1853632"/>
                <a:gd name="connsiteY14" fmla="*/ 1048326 h 1081684"/>
                <a:gd name="connsiteX15" fmla="*/ 1677324 w 1853632"/>
                <a:gd name="connsiteY15" fmla="*/ 1038796 h 1081684"/>
                <a:gd name="connsiteX16" fmla="*/ 1682088 w 1853632"/>
                <a:gd name="connsiteY16" fmla="*/ 1034032 h 1081684"/>
                <a:gd name="connsiteX17" fmla="*/ 1682088 w 1853632"/>
                <a:gd name="connsiteY17" fmla="*/ 1029266 h 1081684"/>
                <a:gd name="connsiteX18" fmla="*/ 1458128 w 1853632"/>
                <a:gd name="connsiteY18" fmla="*/ 0 h 1081684"/>
                <a:gd name="connsiteX19" fmla="*/ 1462892 w 1853632"/>
                <a:gd name="connsiteY19" fmla="*/ 14294 h 1081684"/>
                <a:gd name="connsiteX20" fmla="*/ 1472424 w 1853632"/>
                <a:gd name="connsiteY20" fmla="*/ 33354 h 1081684"/>
                <a:gd name="connsiteX21" fmla="*/ 1486720 w 1853632"/>
                <a:gd name="connsiteY21" fmla="*/ 66710 h 1081684"/>
                <a:gd name="connsiteX22" fmla="*/ 1491484 w 1853632"/>
                <a:gd name="connsiteY22" fmla="*/ 81006 h 1081684"/>
                <a:gd name="connsiteX23" fmla="*/ 1496248 w 1853632"/>
                <a:gd name="connsiteY23" fmla="*/ 100066 h 1081684"/>
                <a:gd name="connsiteX24" fmla="*/ 1505780 w 1853632"/>
                <a:gd name="connsiteY24" fmla="*/ 114362 h 1081684"/>
                <a:gd name="connsiteX25" fmla="*/ 1510544 w 1853632"/>
                <a:gd name="connsiteY25" fmla="*/ 133422 h 1081684"/>
                <a:gd name="connsiteX26" fmla="*/ 1524840 w 1853632"/>
                <a:gd name="connsiteY26" fmla="*/ 162014 h 1081684"/>
                <a:gd name="connsiteX27" fmla="*/ 1534372 w 1853632"/>
                <a:gd name="connsiteY27" fmla="*/ 181074 h 1081684"/>
                <a:gd name="connsiteX28" fmla="*/ 1539136 w 1853632"/>
                <a:gd name="connsiteY28" fmla="*/ 195370 h 1081684"/>
                <a:gd name="connsiteX29" fmla="*/ 1562960 w 1853632"/>
                <a:gd name="connsiteY29" fmla="*/ 247786 h 1081684"/>
                <a:gd name="connsiteX30" fmla="*/ 1567728 w 1853632"/>
                <a:gd name="connsiteY30" fmla="*/ 262082 h 1081684"/>
                <a:gd name="connsiteX31" fmla="*/ 1572492 w 1853632"/>
                <a:gd name="connsiteY31" fmla="*/ 276376 h 1081684"/>
                <a:gd name="connsiteX32" fmla="*/ 1586788 w 1853632"/>
                <a:gd name="connsiteY32" fmla="*/ 285906 h 1081684"/>
                <a:gd name="connsiteX33" fmla="*/ 1591552 w 1853632"/>
                <a:gd name="connsiteY33" fmla="*/ 300202 h 1081684"/>
                <a:gd name="connsiteX34" fmla="*/ 1601084 w 1853632"/>
                <a:gd name="connsiteY34" fmla="*/ 319262 h 1081684"/>
                <a:gd name="connsiteX35" fmla="*/ 1610612 w 1853632"/>
                <a:gd name="connsiteY35" fmla="*/ 343088 h 1081684"/>
                <a:gd name="connsiteX36" fmla="*/ 1620144 w 1853632"/>
                <a:gd name="connsiteY36" fmla="*/ 362148 h 1081684"/>
                <a:gd name="connsiteX37" fmla="*/ 1629672 w 1853632"/>
                <a:gd name="connsiteY37" fmla="*/ 385974 h 1081684"/>
                <a:gd name="connsiteX38" fmla="*/ 1553432 w 1853632"/>
                <a:gd name="connsiteY38" fmla="*/ 414566 h 1081684"/>
                <a:gd name="connsiteX39" fmla="*/ 1529604 w 1853632"/>
                <a:gd name="connsiteY39" fmla="*/ 428860 h 1081684"/>
                <a:gd name="connsiteX40" fmla="*/ 1510544 w 1853632"/>
                <a:gd name="connsiteY40" fmla="*/ 443156 h 1081684"/>
                <a:gd name="connsiteX41" fmla="*/ 1496248 w 1853632"/>
                <a:gd name="connsiteY41" fmla="*/ 462216 h 1081684"/>
                <a:gd name="connsiteX42" fmla="*/ 1486720 w 1853632"/>
                <a:gd name="connsiteY42" fmla="*/ 495572 h 1081684"/>
                <a:gd name="connsiteX43" fmla="*/ 1496248 w 1853632"/>
                <a:gd name="connsiteY43" fmla="*/ 528928 h 1081684"/>
                <a:gd name="connsiteX44" fmla="*/ 1496248 w 1853632"/>
                <a:gd name="connsiteY44" fmla="*/ 547988 h 1081684"/>
                <a:gd name="connsiteX45" fmla="*/ 1472424 w 1853632"/>
                <a:gd name="connsiteY45" fmla="*/ 557520 h 1081684"/>
                <a:gd name="connsiteX46" fmla="*/ 1453364 w 1853632"/>
                <a:gd name="connsiteY46" fmla="*/ 567050 h 1081684"/>
                <a:gd name="connsiteX47" fmla="*/ 1434304 w 1853632"/>
                <a:gd name="connsiteY47" fmla="*/ 576580 h 1081684"/>
                <a:gd name="connsiteX48" fmla="*/ 1420008 w 1853632"/>
                <a:gd name="connsiteY48" fmla="*/ 581344 h 1081684"/>
                <a:gd name="connsiteX49" fmla="*/ 1410476 w 1853632"/>
                <a:gd name="connsiteY49" fmla="*/ 590874 h 1081684"/>
                <a:gd name="connsiteX50" fmla="*/ 1400948 w 1853632"/>
                <a:gd name="connsiteY50" fmla="*/ 595640 h 1081684"/>
                <a:gd name="connsiteX51" fmla="*/ 1353296 w 1853632"/>
                <a:gd name="connsiteY51" fmla="*/ 614700 h 1081684"/>
                <a:gd name="connsiteX52" fmla="*/ 1305644 w 1853632"/>
                <a:gd name="connsiteY52" fmla="*/ 628996 h 1081684"/>
                <a:gd name="connsiteX53" fmla="*/ 1229404 w 1853632"/>
                <a:gd name="connsiteY53" fmla="*/ 648056 h 1081684"/>
                <a:gd name="connsiteX54" fmla="*/ 1200812 w 1853632"/>
                <a:gd name="connsiteY54" fmla="*/ 662352 h 1081684"/>
                <a:gd name="connsiteX55" fmla="*/ 1176984 w 1853632"/>
                <a:gd name="connsiteY55" fmla="*/ 676648 h 1081684"/>
                <a:gd name="connsiteX56" fmla="*/ 1134100 w 1853632"/>
                <a:gd name="connsiteY56" fmla="*/ 681412 h 1081684"/>
                <a:gd name="connsiteX57" fmla="*/ 1076920 w 1853632"/>
                <a:gd name="connsiteY57" fmla="*/ 695708 h 1081684"/>
                <a:gd name="connsiteX58" fmla="*/ 1048328 w 1853632"/>
                <a:gd name="connsiteY58" fmla="*/ 710004 h 1081684"/>
                <a:gd name="connsiteX59" fmla="*/ 1010208 w 1853632"/>
                <a:gd name="connsiteY59" fmla="*/ 733828 h 1081684"/>
                <a:gd name="connsiteX60" fmla="*/ 1000676 w 1853632"/>
                <a:gd name="connsiteY60" fmla="*/ 738594 h 1081684"/>
                <a:gd name="connsiteX61" fmla="*/ 991144 w 1853632"/>
                <a:gd name="connsiteY61" fmla="*/ 757654 h 1081684"/>
                <a:gd name="connsiteX62" fmla="*/ 981616 w 1853632"/>
                <a:gd name="connsiteY62" fmla="*/ 771950 h 1081684"/>
                <a:gd name="connsiteX63" fmla="*/ 957788 w 1853632"/>
                <a:gd name="connsiteY63" fmla="*/ 795776 h 1081684"/>
                <a:gd name="connsiteX64" fmla="*/ 938728 w 1853632"/>
                <a:gd name="connsiteY64" fmla="*/ 805306 h 1081684"/>
                <a:gd name="connsiteX65" fmla="*/ 929200 w 1853632"/>
                <a:gd name="connsiteY65" fmla="*/ 805306 h 1081684"/>
                <a:gd name="connsiteX66" fmla="*/ 905372 w 1853632"/>
                <a:gd name="connsiteY66" fmla="*/ 814836 h 1081684"/>
                <a:gd name="connsiteX67" fmla="*/ 876784 w 1853632"/>
                <a:gd name="connsiteY67" fmla="*/ 814836 h 1081684"/>
                <a:gd name="connsiteX68" fmla="*/ 833896 w 1853632"/>
                <a:gd name="connsiteY68" fmla="*/ 805306 h 1081684"/>
                <a:gd name="connsiteX69" fmla="*/ 824368 w 1853632"/>
                <a:gd name="connsiteY69" fmla="*/ 810070 h 1081684"/>
                <a:gd name="connsiteX70" fmla="*/ 814836 w 1853632"/>
                <a:gd name="connsiteY70" fmla="*/ 819602 h 1081684"/>
                <a:gd name="connsiteX71" fmla="*/ 776716 w 1853632"/>
                <a:gd name="connsiteY71" fmla="*/ 838662 h 1081684"/>
                <a:gd name="connsiteX72" fmla="*/ 743360 w 1853632"/>
                <a:gd name="connsiteY72" fmla="*/ 867252 h 1081684"/>
                <a:gd name="connsiteX73" fmla="*/ 719532 w 1853632"/>
                <a:gd name="connsiteY73" fmla="*/ 876782 h 1081684"/>
                <a:gd name="connsiteX74" fmla="*/ 676648 w 1853632"/>
                <a:gd name="connsiteY74" fmla="*/ 886312 h 1081684"/>
                <a:gd name="connsiteX75" fmla="*/ 648056 w 1853632"/>
                <a:gd name="connsiteY75" fmla="*/ 900608 h 1081684"/>
                <a:gd name="connsiteX76" fmla="*/ 628996 w 1853632"/>
                <a:gd name="connsiteY76" fmla="*/ 905374 h 1081684"/>
                <a:gd name="connsiteX77" fmla="*/ 600404 w 1853632"/>
                <a:gd name="connsiteY77" fmla="*/ 905374 h 1081684"/>
                <a:gd name="connsiteX78" fmla="*/ 557520 w 1853632"/>
                <a:gd name="connsiteY78" fmla="*/ 905374 h 1081684"/>
                <a:gd name="connsiteX79" fmla="*/ 509868 w 1853632"/>
                <a:gd name="connsiteY79" fmla="*/ 910138 h 1081684"/>
                <a:gd name="connsiteX80" fmla="*/ 471748 w 1853632"/>
                <a:gd name="connsiteY80" fmla="*/ 919668 h 1081684"/>
                <a:gd name="connsiteX81" fmla="*/ 452688 w 1853632"/>
                <a:gd name="connsiteY81" fmla="*/ 938730 h 1081684"/>
                <a:gd name="connsiteX82" fmla="*/ 428860 w 1853632"/>
                <a:gd name="connsiteY82" fmla="*/ 962554 h 1081684"/>
                <a:gd name="connsiteX83" fmla="*/ 395504 w 1853632"/>
                <a:gd name="connsiteY83" fmla="*/ 976850 h 1081684"/>
                <a:gd name="connsiteX84" fmla="*/ 385976 w 1853632"/>
                <a:gd name="connsiteY84" fmla="*/ 981616 h 1081684"/>
                <a:gd name="connsiteX85" fmla="*/ 371680 w 1853632"/>
                <a:gd name="connsiteY85" fmla="*/ 1005442 h 1081684"/>
                <a:gd name="connsiteX86" fmla="*/ 347852 w 1853632"/>
                <a:gd name="connsiteY86" fmla="*/ 1010206 h 1081684"/>
                <a:gd name="connsiteX87" fmla="*/ 328792 w 1853632"/>
                <a:gd name="connsiteY87" fmla="*/ 1010206 h 1081684"/>
                <a:gd name="connsiteX88" fmla="*/ 309732 w 1853632"/>
                <a:gd name="connsiteY88" fmla="*/ 1005442 h 1081684"/>
                <a:gd name="connsiteX89" fmla="*/ 266848 w 1853632"/>
                <a:gd name="connsiteY89" fmla="*/ 1029266 h 1081684"/>
                <a:gd name="connsiteX90" fmla="*/ 252552 w 1853632"/>
                <a:gd name="connsiteY90" fmla="*/ 1029266 h 1081684"/>
                <a:gd name="connsiteX91" fmla="*/ 228724 w 1853632"/>
                <a:gd name="connsiteY91" fmla="*/ 1034032 h 1081684"/>
                <a:gd name="connsiteX92" fmla="*/ 209664 w 1853632"/>
                <a:gd name="connsiteY92" fmla="*/ 1038796 h 1081684"/>
                <a:gd name="connsiteX93" fmla="*/ 200136 w 1853632"/>
                <a:gd name="connsiteY93" fmla="*/ 1034032 h 1081684"/>
                <a:gd name="connsiteX94" fmla="*/ 185840 w 1853632"/>
                <a:gd name="connsiteY94" fmla="*/ 1024502 h 1081684"/>
                <a:gd name="connsiteX95" fmla="*/ 152484 w 1853632"/>
                <a:gd name="connsiteY95" fmla="*/ 1014972 h 1081684"/>
                <a:gd name="connsiteX96" fmla="*/ 128656 w 1853632"/>
                <a:gd name="connsiteY96" fmla="*/ 1024502 h 1081684"/>
                <a:gd name="connsiteX97" fmla="*/ 128656 w 1853632"/>
                <a:gd name="connsiteY97" fmla="*/ 1000676 h 1081684"/>
                <a:gd name="connsiteX98" fmla="*/ 90536 w 1853632"/>
                <a:gd name="connsiteY98" fmla="*/ 929200 h 1081684"/>
                <a:gd name="connsiteX99" fmla="*/ 100068 w 1853632"/>
                <a:gd name="connsiteY99" fmla="*/ 872018 h 1081684"/>
                <a:gd name="connsiteX100" fmla="*/ 100068 w 1853632"/>
                <a:gd name="connsiteY100" fmla="*/ 862488 h 1081684"/>
                <a:gd name="connsiteX101" fmla="*/ 90536 w 1853632"/>
                <a:gd name="connsiteY101" fmla="*/ 838662 h 1081684"/>
                <a:gd name="connsiteX102" fmla="*/ 66712 w 1853632"/>
                <a:gd name="connsiteY102" fmla="*/ 810070 h 1081684"/>
                <a:gd name="connsiteX103" fmla="*/ 71476 w 1853632"/>
                <a:gd name="connsiteY103" fmla="*/ 781480 h 1081684"/>
                <a:gd name="connsiteX104" fmla="*/ 61944 w 1853632"/>
                <a:gd name="connsiteY104" fmla="*/ 757654 h 1081684"/>
                <a:gd name="connsiteX105" fmla="*/ 57180 w 1853632"/>
                <a:gd name="connsiteY105" fmla="*/ 733828 h 1081684"/>
                <a:gd name="connsiteX106" fmla="*/ 57180 w 1853632"/>
                <a:gd name="connsiteY106" fmla="*/ 729064 h 1081684"/>
                <a:gd name="connsiteX107" fmla="*/ 57180 w 1853632"/>
                <a:gd name="connsiteY107" fmla="*/ 724298 h 1081684"/>
                <a:gd name="connsiteX108" fmla="*/ 47652 w 1853632"/>
                <a:gd name="connsiteY108" fmla="*/ 690942 h 1081684"/>
                <a:gd name="connsiteX109" fmla="*/ 42884 w 1853632"/>
                <a:gd name="connsiteY109" fmla="*/ 681412 h 1081684"/>
                <a:gd name="connsiteX110" fmla="*/ 42884 w 1853632"/>
                <a:gd name="connsiteY110" fmla="*/ 676648 h 1081684"/>
                <a:gd name="connsiteX111" fmla="*/ 42884 w 1853632"/>
                <a:gd name="connsiteY111" fmla="*/ 667116 h 1081684"/>
                <a:gd name="connsiteX112" fmla="*/ 42884 w 1853632"/>
                <a:gd name="connsiteY112" fmla="*/ 662352 h 1081684"/>
                <a:gd name="connsiteX113" fmla="*/ 38120 w 1853632"/>
                <a:gd name="connsiteY113" fmla="*/ 652822 h 1081684"/>
                <a:gd name="connsiteX114" fmla="*/ 33356 w 1853632"/>
                <a:gd name="connsiteY114" fmla="*/ 628996 h 1081684"/>
                <a:gd name="connsiteX115" fmla="*/ 0 w 1853632"/>
                <a:gd name="connsiteY115" fmla="*/ 614700 h 1081684"/>
                <a:gd name="connsiteX116" fmla="*/ 9528 w 1853632"/>
                <a:gd name="connsiteY116" fmla="*/ 600406 h 1081684"/>
                <a:gd name="connsiteX117" fmla="*/ 14296 w 1853632"/>
                <a:gd name="connsiteY117" fmla="*/ 605170 h 1081684"/>
                <a:gd name="connsiteX118" fmla="*/ 23824 w 1853632"/>
                <a:gd name="connsiteY118" fmla="*/ 609936 h 1081684"/>
                <a:gd name="connsiteX119" fmla="*/ 23824 w 1853632"/>
                <a:gd name="connsiteY119" fmla="*/ 600406 h 1081684"/>
                <a:gd name="connsiteX120" fmla="*/ 23824 w 1853632"/>
                <a:gd name="connsiteY120" fmla="*/ 590874 h 1081684"/>
                <a:gd name="connsiteX121" fmla="*/ 9528 w 1853632"/>
                <a:gd name="connsiteY121" fmla="*/ 547988 h 1081684"/>
                <a:gd name="connsiteX122" fmla="*/ 28588 w 1853632"/>
                <a:gd name="connsiteY122" fmla="*/ 486042 h 1081684"/>
                <a:gd name="connsiteX123" fmla="*/ 23824 w 1853632"/>
                <a:gd name="connsiteY123" fmla="*/ 428860 h 1081684"/>
                <a:gd name="connsiteX124" fmla="*/ 52416 w 1853632"/>
                <a:gd name="connsiteY124" fmla="*/ 405034 h 1081684"/>
                <a:gd name="connsiteX125" fmla="*/ 61944 w 1853632"/>
                <a:gd name="connsiteY125" fmla="*/ 400270 h 1081684"/>
                <a:gd name="connsiteX126" fmla="*/ 66712 w 1853632"/>
                <a:gd name="connsiteY126" fmla="*/ 395504 h 1081684"/>
                <a:gd name="connsiteX127" fmla="*/ 71476 w 1853632"/>
                <a:gd name="connsiteY127" fmla="*/ 381210 h 1081684"/>
                <a:gd name="connsiteX128" fmla="*/ 81008 w 1853632"/>
                <a:gd name="connsiteY128" fmla="*/ 376444 h 1081684"/>
                <a:gd name="connsiteX129" fmla="*/ 85772 w 1853632"/>
                <a:gd name="connsiteY129" fmla="*/ 366914 h 1081684"/>
                <a:gd name="connsiteX130" fmla="*/ 85772 w 1853632"/>
                <a:gd name="connsiteY130" fmla="*/ 357384 h 1081684"/>
                <a:gd name="connsiteX131" fmla="*/ 76240 w 1853632"/>
                <a:gd name="connsiteY131" fmla="*/ 352618 h 1081684"/>
                <a:gd name="connsiteX132" fmla="*/ 71476 w 1853632"/>
                <a:gd name="connsiteY132" fmla="*/ 338324 h 1081684"/>
                <a:gd name="connsiteX133" fmla="*/ 76240 w 1853632"/>
                <a:gd name="connsiteY133" fmla="*/ 314498 h 1081684"/>
                <a:gd name="connsiteX134" fmla="*/ 76240 w 1853632"/>
                <a:gd name="connsiteY134" fmla="*/ 309732 h 1081684"/>
                <a:gd name="connsiteX135" fmla="*/ 81008 w 1853632"/>
                <a:gd name="connsiteY135" fmla="*/ 295436 h 1081684"/>
                <a:gd name="connsiteX136" fmla="*/ 90536 w 1853632"/>
                <a:gd name="connsiteY136" fmla="*/ 285906 h 1081684"/>
                <a:gd name="connsiteX137" fmla="*/ 85772 w 1853632"/>
                <a:gd name="connsiteY137" fmla="*/ 276376 h 1081684"/>
                <a:gd name="connsiteX138" fmla="*/ 85772 w 1853632"/>
                <a:gd name="connsiteY138" fmla="*/ 266846 h 1081684"/>
                <a:gd name="connsiteX139" fmla="*/ 100068 w 1853632"/>
                <a:gd name="connsiteY139" fmla="*/ 252550 h 1081684"/>
                <a:gd name="connsiteX140" fmla="*/ 109596 w 1853632"/>
                <a:gd name="connsiteY140" fmla="*/ 247786 h 1081684"/>
                <a:gd name="connsiteX141" fmla="*/ 119128 w 1853632"/>
                <a:gd name="connsiteY141" fmla="*/ 243020 h 1081684"/>
                <a:gd name="connsiteX142" fmla="*/ 128656 w 1853632"/>
                <a:gd name="connsiteY142" fmla="*/ 243020 h 1081684"/>
                <a:gd name="connsiteX143" fmla="*/ 138188 w 1853632"/>
                <a:gd name="connsiteY143" fmla="*/ 247786 h 1081684"/>
                <a:gd name="connsiteX144" fmla="*/ 147716 w 1853632"/>
                <a:gd name="connsiteY144" fmla="*/ 247786 h 1081684"/>
                <a:gd name="connsiteX145" fmla="*/ 166780 w 1853632"/>
                <a:gd name="connsiteY145" fmla="*/ 266846 h 1081684"/>
                <a:gd name="connsiteX146" fmla="*/ 181072 w 1853632"/>
                <a:gd name="connsiteY146" fmla="*/ 271612 h 1081684"/>
                <a:gd name="connsiteX147" fmla="*/ 190604 w 1853632"/>
                <a:gd name="connsiteY147" fmla="*/ 271612 h 1081684"/>
                <a:gd name="connsiteX148" fmla="*/ 200136 w 1853632"/>
                <a:gd name="connsiteY148" fmla="*/ 276376 h 1081684"/>
                <a:gd name="connsiteX149" fmla="*/ 204900 w 1853632"/>
                <a:gd name="connsiteY149" fmla="*/ 271612 h 1081684"/>
                <a:gd name="connsiteX150" fmla="*/ 214428 w 1853632"/>
                <a:gd name="connsiteY150" fmla="*/ 266846 h 1081684"/>
                <a:gd name="connsiteX151" fmla="*/ 223960 w 1853632"/>
                <a:gd name="connsiteY151" fmla="*/ 266846 h 1081684"/>
                <a:gd name="connsiteX152" fmla="*/ 233492 w 1853632"/>
                <a:gd name="connsiteY152" fmla="*/ 262082 h 1081684"/>
                <a:gd name="connsiteX153" fmla="*/ 266848 w 1853632"/>
                <a:gd name="connsiteY153" fmla="*/ 257316 h 1081684"/>
                <a:gd name="connsiteX154" fmla="*/ 295436 w 1853632"/>
                <a:gd name="connsiteY154" fmla="*/ 262082 h 1081684"/>
                <a:gd name="connsiteX155" fmla="*/ 328792 w 1853632"/>
                <a:gd name="connsiteY155" fmla="*/ 257316 h 1081684"/>
                <a:gd name="connsiteX156" fmla="*/ 357384 w 1853632"/>
                <a:gd name="connsiteY156" fmla="*/ 257316 h 1081684"/>
                <a:gd name="connsiteX157" fmla="*/ 390740 w 1853632"/>
                <a:gd name="connsiteY157" fmla="*/ 257316 h 1081684"/>
                <a:gd name="connsiteX158" fmla="*/ 395504 w 1853632"/>
                <a:gd name="connsiteY158" fmla="*/ 257316 h 1081684"/>
                <a:gd name="connsiteX159" fmla="*/ 405036 w 1853632"/>
                <a:gd name="connsiteY159" fmla="*/ 262082 h 1081684"/>
                <a:gd name="connsiteX160" fmla="*/ 428860 w 1853632"/>
                <a:gd name="connsiteY160" fmla="*/ 276376 h 1081684"/>
                <a:gd name="connsiteX161" fmla="*/ 452688 w 1853632"/>
                <a:gd name="connsiteY161" fmla="*/ 276376 h 1081684"/>
                <a:gd name="connsiteX162" fmla="*/ 490808 w 1853632"/>
                <a:gd name="connsiteY162" fmla="*/ 281142 h 1081684"/>
                <a:gd name="connsiteX163" fmla="*/ 533692 w 1853632"/>
                <a:gd name="connsiteY163" fmla="*/ 285906 h 1081684"/>
                <a:gd name="connsiteX164" fmla="*/ 571816 w 1853632"/>
                <a:gd name="connsiteY164" fmla="*/ 290672 h 1081684"/>
                <a:gd name="connsiteX165" fmla="*/ 605172 w 1853632"/>
                <a:gd name="connsiteY165" fmla="*/ 285906 h 1081684"/>
                <a:gd name="connsiteX166" fmla="*/ 628996 w 1853632"/>
                <a:gd name="connsiteY166" fmla="*/ 285906 h 1081684"/>
                <a:gd name="connsiteX167" fmla="*/ 638528 w 1853632"/>
                <a:gd name="connsiteY167" fmla="*/ 285906 h 1081684"/>
                <a:gd name="connsiteX168" fmla="*/ 643292 w 1853632"/>
                <a:gd name="connsiteY168" fmla="*/ 290672 h 1081684"/>
                <a:gd name="connsiteX169" fmla="*/ 662352 w 1853632"/>
                <a:gd name="connsiteY169" fmla="*/ 314498 h 1081684"/>
                <a:gd name="connsiteX170" fmla="*/ 676648 w 1853632"/>
                <a:gd name="connsiteY170" fmla="*/ 333558 h 1081684"/>
                <a:gd name="connsiteX171" fmla="*/ 700472 w 1853632"/>
                <a:gd name="connsiteY171" fmla="*/ 333558 h 1081684"/>
                <a:gd name="connsiteX172" fmla="*/ 719532 w 1853632"/>
                <a:gd name="connsiteY172" fmla="*/ 328792 h 1081684"/>
                <a:gd name="connsiteX173" fmla="*/ 738592 w 1853632"/>
                <a:gd name="connsiteY173" fmla="*/ 319262 h 1081684"/>
                <a:gd name="connsiteX174" fmla="*/ 748124 w 1853632"/>
                <a:gd name="connsiteY174" fmla="*/ 309732 h 1081684"/>
                <a:gd name="connsiteX175" fmla="*/ 762420 w 1853632"/>
                <a:gd name="connsiteY175" fmla="*/ 276376 h 1081684"/>
                <a:gd name="connsiteX176" fmla="*/ 771948 w 1853632"/>
                <a:gd name="connsiteY176" fmla="*/ 252550 h 1081684"/>
                <a:gd name="connsiteX177" fmla="*/ 791012 w 1853632"/>
                <a:gd name="connsiteY177" fmla="*/ 228726 h 1081684"/>
                <a:gd name="connsiteX178" fmla="*/ 805304 w 1853632"/>
                <a:gd name="connsiteY178" fmla="*/ 209664 h 1081684"/>
                <a:gd name="connsiteX179" fmla="*/ 829132 w 1853632"/>
                <a:gd name="connsiteY179" fmla="*/ 181074 h 1081684"/>
                <a:gd name="connsiteX180" fmla="*/ 838660 w 1853632"/>
                <a:gd name="connsiteY180" fmla="*/ 166778 h 1081684"/>
                <a:gd name="connsiteX181" fmla="*/ 862488 w 1853632"/>
                <a:gd name="connsiteY181" fmla="*/ 138188 h 1081684"/>
                <a:gd name="connsiteX182" fmla="*/ 886312 w 1853632"/>
                <a:gd name="connsiteY182" fmla="*/ 128658 h 1081684"/>
                <a:gd name="connsiteX183" fmla="*/ 929200 w 1853632"/>
                <a:gd name="connsiteY183" fmla="*/ 104832 h 1081684"/>
                <a:gd name="connsiteX184" fmla="*/ 972084 w 1853632"/>
                <a:gd name="connsiteY184" fmla="*/ 81006 h 1081684"/>
                <a:gd name="connsiteX185" fmla="*/ 1000676 w 1853632"/>
                <a:gd name="connsiteY185" fmla="*/ 66710 h 1081684"/>
                <a:gd name="connsiteX186" fmla="*/ 1024500 w 1853632"/>
                <a:gd name="connsiteY186" fmla="*/ 61946 h 1081684"/>
                <a:gd name="connsiteX187" fmla="*/ 1062624 w 1853632"/>
                <a:gd name="connsiteY187" fmla="*/ 57180 h 1081684"/>
                <a:gd name="connsiteX188" fmla="*/ 1105508 w 1853632"/>
                <a:gd name="connsiteY188" fmla="*/ 47650 h 1081684"/>
                <a:gd name="connsiteX189" fmla="*/ 1153160 w 1853632"/>
                <a:gd name="connsiteY189" fmla="*/ 42886 h 1081684"/>
                <a:gd name="connsiteX190" fmla="*/ 1205576 w 1853632"/>
                <a:gd name="connsiteY190" fmla="*/ 33354 h 1081684"/>
                <a:gd name="connsiteX191" fmla="*/ 1257992 w 1853632"/>
                <a:gd name="connsiteY191" fmla="*/ 28590 h 1081684"/>
                <a:gd name="connsiteX192" fmla="*/ 1296112 w 1853632"/>
                <a:gd name="connsiteY192" fmla="*/ 23824 h 1081684"/>
                <a:gd name="connsiteX193" fmla="*/ 1343764 w 1853632"/>
                <a:gd name="connsiteY193" fmla="*/ 14294 h 1081684"/>
                <a:gd name="connsiteX194" fmla="*/ 1386652 w 1853632"/>
                <a:gd name="connsiteY194" fmla="*/ 9530 h 1081684"/>
                <a:gd name="connsiteX195" fmla="*/ 1420008 w 1853632"/>
                <a:gd name="connsiteY195" fmla="*/ 4764 h 1081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</a:cxnLst>
              <a:rect l="l" t="t" r="r" b="b"/>
              <a:pathLst>
                <a:path w="1853631" h="1081684">
                  <a:moveTo>
                    <a:pt x="1701148" y="1019736"/>
                  </a:moveTo>
                  <a:lnTo>
                    <a:pt x="1715444" y="1019736"/>
                  </a:lnTo>
                  <a:lnTo>
                    <a:pt x="1734504" y="1034032"/>
                  </a:lnTo>
                  <a:lnTo>
                    <a:pt x="1744036" y="1034032"/>
                  </a:lnTo>
                  <a:lnTo>
                    <a:pt x="1758332" y="1029266"/>
                  </a:lnTo>
                  <a:lnTo>
                    <a:pt x="1801216" y="1029266"/>
                  </a:lnTo>
                  <a:lnTo>
                    <a:pt x="1853632" y="1048326"/>
                  </a:lnTo>
                  <a:lnTo>
                    <a:pt x="1844104" y="1048326"/>
                  </a:lnTo>
                  <a:lnTo>
                    <a:pt x="1839340" y="1057858"/>
                  </a:lnTo>
                  <a:lnTo>
                    <a:pt x="1815512" y="1062622"/>
                  </a:lnTo>
                  <a:lnTo>
                    <a:pt x="1791688" y="1076918"/>
                  </a:lnTo>
                  <a:lnTo>
                    <a:pt x="1729740" y="1081684"/>
                  </a:lnTo>
                  <a:lnTo>
                    <a:pt x="1710680" y="1076918"/>
                  </a:lnTo>
                  <a:lnTo>
                    <a:pt x="1696384" y="1067388"/>
                  </a:lnTo>
                  <a:lnTo>
                    <a:pt x="1667792" y="1048326"/>
                  </a:lnTo>
                  <a:lnTo>
                    <a:pt x="1677324" y="1038796"/>
                  </a:lnTo>
                  <a:lnTo>
                    <a:pt x="1682088" y="1034032"/>
                  </a:lnTo>
                  <a:lnTo>
                    <a:pt x="1682088" y="1029266"/>
                  </a:lnTo>
                  <a:close/>
                  <a:moveTo>
                    <a:pt x="1458128" y="0"/>
                  </a:moveTo>
                  <a:lnTo>
                    <a:pt x="1462892" y="14294"/>
                  </a:lnTo>
                  <a:lnTo>
                    <a:pt x="1472424" y="33354"/>
                  </a:lnTo>
                  <a:lnTo>
                    <a:pt x="1486720" y="66710"/>
                  </a:lnTo>
                  <a:lnTo>
                    <a:pt x="1491484" y="81006"/>
                  </a:lnTo>
                  <a:lnTo>
                    <a:pt x="1496248" y="100066"/>
                  </a:lnTo>
                  <a:lnTo>
                    <a:pt x="1505780" y="114362"/>
                  </a:lnTo>
                  <a:lnTo>
                    <a:pt x="1510544" y="133422"/>
                  </a:lnTo>
                  <a:lnTo>
                    <a:pt x="1524840" y="162014"/>
                  </a:lnTo>
                  <a:lnTo>
                    <a:pt x="1534372" y="181074"/>
                  </a:lnTo>
                  <a:lnTo>
                    <a:pt x="1539136" y="195370"/>
                  </a:lnTo>
                  <a:lnTo>
                    <a:pt x="1562960" y="247786"/>
                  </a:lnTo>
                  <a:lnTo>
                    <a:pt x="1567728" y="262082"/>
                  </a:lnTo>
                  <a:lnTo>
                    <a:pt x="1572492" y="276376"/>
                  </a:lnTo>
                  <a:lnTo>
                    <a:pt x="1586788" y="285906"/>
                  </a:lnTo>
                  <a:lnTo>
                    <a:pt x="1591552" y="300202"/>
                  </a:lnTo>
                  <a:lnTo>
                    <a:pt x="1601084" y="319262"/>
                  </a:lnTo>
                  <a:lnTo>
                    <a:pt x="1610612" y="343088"/>
                  </a:lnTo>
                  <a:lnTo>
                    <a:pt x="1620144" y="362148"/>
                  </a:lnTo>
                  <a:lnTo>
                    <a:pt x="1629672" y="385974"/>
                  </a:lnTo>
                  <a:lnTo>
                    <a:pt x="1553432" y="414566"/>
                  </a:lnTo>
                  <a:lnTo>
                    <a:pt x="1529604" y="428860"/>
                  </a:lnTo>
                  <a:lnTo>
                    <a:pt x="1510544" y="443156"/>
                  </a:lnTo>
                  <a:lnTo>
                    <a:pt x="1496248" y="462216"/>
                  </a:lnTo>
                  <a:lnTo>
                    <a:pt x="1486720" y="495572"/>
                  </a:lnTo>
                  <a:lnTo>
                    <a:pt x="1496248" y="528928"/>
                  </a:lnTo>
                  <a:lnTo>
                    <a:pt x="1496248" y="547988"/>
                  </a:lnTo>
                  <a:lnTo>
                    <a:pt x="1472424" y="557520"/>
                  </a:lnTo>
                  <a:lnTo>
                    <a:pt x="1453364" y="567050"/>
                  </a:lnTo>
                  <a:lnTo>
                    <a:pt x="1434304" y="576580"/>
                  </a:lnTo>
                  <a:lnTo>
                    <a:pt x="1420008" y="581344"/>
                  </a:lnTo>
                  <a:lnTo>
                    <a:pt x="1410476" y="590874"/>
                  </a:lnTo>
                  <a:lnTo>
                    <a:pt x="1400948" y="595640"/>
                  </a:lnTo>
                  <a:lnTo>
                    <a:pt x="1353296" y="614700"/>
                  </a:lnTo>
                  <a:lnTo>
                    <a:pt x="1305644" y="628996"/>
                  </a:lnTo>
                  <a:lnTo>
                    <a:pt x="1229404" y="648056"/>
                  </a:lnTo>
                  <a:lnTo>
                    <a:pt x="1200812" y="662352"/>
                  </a:lnTo>
                  <a:lnTo>
                    <a:pt x="1176984" y="676648"/>
                  </a:lnTo>
                  <a:lnTo>
                    <a:pt x="1134100" y="681412"/>
                  </a:lnTo>
                  <a:lnTo>
                    <a:pt x="1076920" y="695708"/>
                  </a:lnTo>
                  <a:lnTo>
                    <a:pt x="1048328" y="710004"/>
                  </a:lnTo>
                  <a:lnTo>
                    <a:pt x="1010208" y="733828"/>
                  </a:lnTo>
                  <a:lnTo>
                    <a:pt x="1000676" y="738594"/>
                  </a:lnTo>
                  <a:lnTo>
                    <a:pt x="991144" y="757654"/>
                  </a:lnTo>
                  <a:lnTo>
                    <a:pt x="981616" y="771950"/>
                  </a:lnTo>
                  <a:lnTo>
                    <a:pt x="957788" y="795776"/>
                  </a:lnTo>
                  <a:lnTo>
                    <a:pt x="938728" y="805306"/>
                  </a:lnTo>
                  <a:lnTo>
                    <a:pt x="929200" y="805306"/>
                  </a:lnTo>
                  <a:lnTo>
                    <a:pt x="905372" y="814836"/>
                  </a:lnTo>
                  <a:lnTo>
                    <a:pt x="876784" y="814836"/>
                  </a:lnTo>
                  <a:lnTo>
                    <a:pt x="833896" y="805306"/>
                  </a:lnTo>
                  <a:lnTo>
                    <a:pt x="824368" y="810070"/>
                  </a:lnTo>
                  <a:lnTo>
                    <a:pt x="814836" y="819602"/>
                  </a:lnTo>
                  <a:lnTo>
                    <a:pt x="776716" y="838662"/>
                  </a:lnTo>
                  <a:lnTo>
                    <a:pt x="743360" y="867252"/>
                  </a:lnTo>
                  <a:lnTo>
                    <a:pt x="719532" y="876782"/>
                  </a:lnTo>
                  <a:lnTo>
                    <a:pt x="676648" y="886312"/>
                  </a:lnTo>
                  <a:lnTo>
                    <a:pt x="648056" y="900608"/>
                  </a:lnTo>
                  <a:lnTo>
                    <a:pt x="628996" y="905374"/>
                  </a:lnTo>
                  <a:lnTo>
                    <a:pt x="600404" y="905374"/>
                  </a:lnTo>
                  <a:lnTo>
                    <a:pt x="557520" y="905374"/>
                  </a:lnTo>
                  <a:lnTo>
                    <a:pt x="509868" y="910138"/>
                  </a:lnTo>
                  <a:lnTo>
                    <a:pt x="471748" y="919668"/>
                  </a:lnTo>
                  <a:lnTo>
                    <a:pt x="452688" y="938730"/>
                  </a:lnTo>
                  <a:lnTo>
                    <a:pt x="428860" y="962554"/>
                  </a:lnTo>
                  <a:lnTo>
                    <a:pt x="395504" y="976850"/>
                  </a:lnTo>
                  <a:lnTo>
                    <a:pt x="385976" y="981616"/>
                  </a:lnTo>
                  <a:lnTo>
                    <a:pt x="371680" y="1005442"/>
                  </a:lnTo>
                  <a:lnTo>
                    <a:pt x="347852" y="1010206"/>
                  </a:lnTo>
                  <a:lnTo>
                    <a:pt x="328792" y="1010206"/>
                  </a:lnTo>
                  <a:lnTo>
                    <a:pt x="309732" y="1005442"/>
                  </a:lnTo>
                  <a:lnTo>
                    <a:pt x="266848" y="1029266"/>
                  </a:lnTo>
                  <a:lnTo>
                    <a:pt x="252552" y="1029266"/>
                  </a:lnTo>
                  <a:lnTo>
                    <a:pt x="228724" y="1034032"/>
                  </a:lnTo>
                  <a:lnTo>
                    <a:pt x="209664" y="1038796"/>
                  </a:lnTo>
                  <a:lnTo>
                    <a:pt x="200136" y="1034032"/>
                  </a:lnTo>
                  <a:lnTo>
                    <a:pt x="185840" y="1024502"/>
                  </a:lnTo>
                  <a:lnTo>
                    <a:pt x="152484" y="1014972"/>
                  </a:lnTo>
                  <a:lnTo>
                    <a:pt x="128656" y="1024502"/>
                  </a:lnTo>
                  <a:lnTo>
                    <a:pt x="128656" y="1000676"/>
                  </a:lnTo>
                  <a:lnTo>
                    <a:pt x="90536" y="929200"/>
                  </a:lnTo>
                  <a:lnTo>
                    <a:pt x="100068" y="872018"/>
                  </a:lnTo>
                  <a:lnTo>
                    <a:pt x="100068" y="862488"/>
                  </a:lnTo>
                  <a:lnTo>
                    <a:pt x="90536" y="838662"/>
                  </a:lnTo>
                  <a:lnTo>
                    <a:pt x="66712" y="810070"/>
                  </a:lnTo>
                  <a:lnTo>
                    <a:pt x="71476" y="781480"/>
                  </a:lnTo>
                  <a:lnTo>
                    <a:pt x="61944" y="757654"/>
                  </a:lnTo>
                  <a:lnTo>
                    <a:pt x="57180" y="733828"/>
                  </a:lnTo>
                  <a:lnTo>
                    <a:pt x="57180" y="729064"/>
                  </a:lnTo>
                  <a:lnTo>
                    <a:pt x="57180" y="724298"/>
                  </a:lnTo>
                  <a:lnTo>
                    <a:pt x="47652" y="690942"/>
                  </a:lnTo>
                  <a:lnTo>
                    <a:pt x="42884" y="681412"/>
                  </a:lnTo>
                  <a:lnTo>
                    <a:pt x="42884" y="676648"/>
                  </a:lnTo>
                  <a:lnTo>
                    <a:pt x="42884" y="667116"/>
                  </a:lnTo>
                  <a:lnTo>
                    <a:pt x="42884" y="662352"/>
                  </a:lnTo>
                  <a:lnTo>
                    <a:pt x="38120" y="652822"/>
                  </a:lnTo>
                  <a:lnTo>
                    <a:pt x="33356" y="628996"/>
                  </a:lnTo>
                  <a:lnTo>
                    <a:pt x="0" y="614700"/>
                  </a:lnTo>
                  <a:lnTo>
                    <a:pt x="9528" y="600406"/>
                  </a:lnTo>
                  <a:lnTo>
                    <a:pt x="14296" y="605170"/>
                  </a:lnTo>
                  <a:lnTo>
                    <a:pt x="23824" y="609936"/>
                  </a:lnTo>
                  <a:lnTo>
                    <a:pt x="23824" y="600406"/>
                  </a:lnTo>
                  <a:lnTo>
                    <a:pt x="23824" y="590874"/>
                  </a:lnTo>
                  <a:lnTo>
                    <a:pt x="9528" y="547988"/>
                  </a:lnTo>
                  <a:lnTo>
                    <a:pt x="28588" y="486042"/>
                  </a:lnTo>
                  <a:lnTo>
                    <a:pt x="23824" y="428860"/>
                  </a:lnTo>
                  <a:lnTo>
                    <a:pt x="52416" y="405034"/>
                  </a:lnTo>
                  <a:lnTo>
                    <a:pt x="61944" y="400270"/>
                  </a:lnTo>
                  <a:lnTo>
                    <a:pt x="66712" y="395504"/>
                  </a:lnTo>
                  <a:lnTo>
                    <a:pt x="71476" y="381210"/>
                  </a:lnTo>
                  <a:lnTo>
                    <a:pt x="81008" y="376444"/>
                  </a:lnTo>
                  <a:lnTo>
                    <a:pt x="85772" y="366914"/>
                  </a:lnTo>
                  <a:lnTo>
                    <a:pt x="85772" y="357384"/>
                  </a:lnTo>
                  <a:lnTo>
                    <a:pt x="76240" y="352618"/>
                  </a:lnTo>
                  <a:lnTo>
                    <a:pt x="71476" y="338324"/>
                  </a:lnTo>
                  <a:lnTo>
                    <a:pt x="76240" y="314498"/>
                  </a:lnTo>
                  <a:lnTo>
                    <a:pt x="76240" y="309732"/>
                  </a:lnTo>
                  <a:lnTo>
                    <a:pt x="81008" y="295436"/>
                  </a:lnTo>
                  <a:lnTo>
                    <a:pt x="90536" y="285906"/>
                  </a:lnTo>
                  <a:lnTo>
                    <a:pt x="85772" y="276376"/>
                  </a:lnTo>
                  <a:lnTo>
                    <a:pt x="85772" y="266846"/>
                  </a:lnTo>
                  <a:lnTo>
                    <a:pt x="100068" y="252550"/>
                  </a:lnTo>
                  <a:lnTo>
                    <a:pt x="109596" y="247786"/>
                  </a:lnTo>
                  <a:lnTo>
                    <a:pt x="119128" y="243020"/>
                  </a:lnTo>
                  <a:lnTo>
                    <a:pt x="128656" y="243020"/>
                  </a:lnTo>
                  <a:lnTo>
                    <a:pt x="138188" y="247786"/>
                  </a:lnTo>
                  <a:lnTo>
                    <a:pt x="147716" y="247786"/>
                  </a:lnTo>
                  <a:lnTo>
                    <a:pt x="166780" y="266846"/>
                  </a:lnTo>
                  <a:lnTo>
                    <a:pt x="181072" y="271612"/>
                  </a:lnTo>
                  <a:lnTo>
                    <a:pt x="190604" y="271612"/>
                  </a:lnTo>
                  <a:lnTo>
                    <a:pt x="200136" y="276376"/>
                  </a:lnTo>
                  <a:lnTo>
                    <a:pt x="204900" y="271612"/>
                  </a:lnTo>
                  <a:lnTo>
                    <a:pt x="214428" y="266846"/>
                  </a:lnTo>
                  <a:lnTo>
                    <a:pt x="223960" y="266846"/>
                  </a:lnTo>
                  <a:lnTo>
                    <a:pt x="233492" y="262082"/>
                  </a:lnTo>
                  <a:lnTo>
                    <a:pt x="266848" y="257316"/>
                  </a:lnTo>
                  <a:lnTo>
                    <a:pt x="295436" y="262082"/>
                  </a:lnTo>
                  <a:lnTo>
                    <a:pt x="328792" y="257316"/>
                  </a:lnTo>
                  <a:lnTo>
                    <a:pt x="357384" y="257316"/>
                  </a:lnTo>
                  <a:lnTo>
                    <a:pt x="390740" y="257316"/>
                  </a:lnTo>
                  <a:lnTo>
                    <a:pt x="395504" y="257316"/>
                  </a:lnTo>
                  <a:lnTo>
                    <a:pt x="405036" y="262082"/>
                  </a:lnTo>
                  <a:lnTo>
                    <a:pt x="428860" y="276376"/>
                  </a:lnTo>
                  <a:lnTo>
                    <a:pt x="452688" y="276376"/>
                  </a:lnTo>
                  <a:lnTo>
                    <a:pt x="490808" y="281142"/>
                  </a:lnTo>
                  <a:lnTo>
                    <a:pt x="533692" y="285906"/>
                  </a:lnTo>
                  <a:lnTo>
                    <a:pt x="571816" y="290672"/>
                  </a:lnTo>
                  <a:lnTo>
                    <a:pt x="605172" y="285906"/>
                  </a:lnTo>
                  <a:lnTo>
                    <a:pt x="628996" y="285906"/>
                  </a:lnTo>
                  <a:lnTo>
                    <a:pt x="638528" y="285906"/>
                  </a:lnTo>
                  <a:lnTo>
                    <a:pt x="643292" y="290672"/>
                  </a:lnTo>
                  <a:lnTo>
                    <a:pt x="662352" y="314498"/>
                  </a:lnTo>
                  <a:lnTo>
                    <a:pt x="676648" y="333558"/>
                  </a:lnTo>
                  <a:lnTo>
                    <a:pt x="700472" y="333558"/>
                  </a:lnTo>
                  <a:lnTo>
                    <a:pt x="719532" y="328792"/>
                  </a:lnTo>
                  <a:lnTo>
                    <a:pt x="738592" y="319262"/>
                  </a:lnTo>
                  <a:lnTo>
                    <a:pt x="748124" y="309732"/>
                  </a:lnTo>
                  <a:lnTo>
                    <a:pt x="762420" y="276376"/>
                  </a:lnTo>
                  <a:lnTo>
                    <a:pt x="771948" y="252550"/>
                  </a:lnTo>
                  <a:lnTo>
                    <a:pt x="791012" y="228726"/>
                  </a:lnTo>
                  <a:lnTo>
                    <a:pt x="805304" y="209664"/>
                  </a:lnTo>
                  <a:lnTo>
                    <a:pt x="829132" y="181074"/>
                  </a:lnTo>
                  <a:lnTo>
                    <a:pt x="838660" y="166778"/>
                  </a:lnTo>
                  <a:lnTo>
                    <a:pt x="862488" y="138188"/>
                  </a:lnTo>
                  <a:lnTo>
                    <a:pt x="886312" y="128658"/>
                  </a:lnTo>
                  <a:lnTo>
                    <a:pt x="929200" y="104832"/>
                  </a:lnTo>
                  <a:lnTo>
                    <a:pt x="972084" y="81006"/>
                  </a:lnTo>
                  <a:lnTo>
                    <a:pt x="1000676" y="66710"/>
                  </a:lnTo>
                  <a:lnTo>
                    <a:pt x="1024500" y="61946"/>
                  </a:lnTo>
                  <a:lnTo>
                    <a:pt x="1062624" y="57180"/>
                  </a:lnTo>
                  <a:lnTo>
                    <a:pt x="1105508" y="47650"/>
                  </a:lnTo>
                  <a:lnTo>
                    <a:pt x="1153160" y="42886"/>
                  </a:lnTo>
                  <a:lnTo>
                    <a:pt x="1205576" y="33354"/>
                  </a:lnTo>
                  <a:lnTo>
                    <a:pt x="1257992" y="28590"/>
                  </a:lnTo>
                  <a:lnTo>
                    <a:pt x="1296112" y="23824"/>
                  </a:lnTo>
                  <a:lnTo>
                    <a:pt x="1343764" y="14294"/>
                  </a:lnTo>
                  <a:lnTo>
                    <a:pt x="1386652" y="9530"/>
                  </a:lnTo>
                  <a:lnTo>
                    <a:pt x="1420008" y="476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0" name="Freeform 6941">
              <a:extLst>
                <a:ext uri="{FF2B5EF4-FFF2-40B4-BE49-F238E27FC236}">
                  <a16:creationId xmlns:a16="http://schemas.microsoft.com/office/drawing/2014/main" id="{937AFCDB-AA35-4B2C-BA34-F0D09F7E4B7F}"/>
                </a:ext>
              </a:extLst>
            </p:cNvPr>
            <p:cNvSpPr/>
            <p:nvPr/>
          </p:nvSpPr>
          <p:spPr bwMode="auto">
            <a:xfrm>
              <a:off x="6376910" y="5058663"/>
              <a:ext cx="3084" cy="2313"/>
            </a:xfrm>
            <a:custGeom>
              <a:avLst/>
              <a:gdLst>
                <a:gd name="T0" fmla="*/ 4 w 8"/>
                <a:gd name="T1" fmla="*/ 4 h 6"/>
                <a:gd name="T2" fmla="*/ 8 w 8"/>
                <a:gd name="T3" fmla="*/ 0 h 6"/>
                <a:gd name="T4" fmla="*/ 6 w 8"/>
                <a:gd name="T5" fmla="*/ 0 h 6"/>
                <a:gd name="T6" fmla="*/ 4 w 8"/>
                <a:gd name="T7" fmla="*/ 0 h 6"/>
                <a:gd name="T8" fmla="*/ 0 w 8"/>
                <a:gd name="T9" fmla="*/ 6 h 6"/>
                <a:gd name="T10" fmla="*/ 4 w 8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4" y="4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6"/>
                  </a:lnTo>
                  <a:lnTo>
                    <a:pt x="4" y="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1" name="Freeform 6943">
              <a:extLst>
                <a:ext uri="{FF2B5EF4-FFF2-40B4-BE49-F238E27FC236}">
                  <a16:creationId xmlns:a16="http://schemas.microsoft.com/office/drawing/2014/main" id="{4CB975F1-0997-4997-9FBD-7EB9CC1AD1E3}"/>
                </a:ext>
              </a:extLst>
            </p:cNvPr>
            <p:cNvSpPr/>
            <p:nvPr/>
          </p:nvSpPr>
          <p:spPr bwMode="auto">
            <a:xfrm>
              <a:off x="6377681" y="5050183"/>
              <a:ext cx="2313" cy="3084"/>
            </a:xfrm>
            <a:custGeom>
              <a:avLst/>
              <a:gdLst>
                <a:gd name="T0" fmla="*/ 6 w 6"/>
                <a:gd name="T1" fmla="*/ 8 h 8"/>
                <a:gd name="T2" fmla="*/ 6 w 6"/>
                <a:gd name="T3" fmla="*/ 4 h 8"/>
                <a:gd name="T4" fmla="*/ 4 w 6"/>
                <a:gd name="T5" fmla="*/ 0 h 8"/>
                <a:gd name="T6" fmla="*/ 0 w 6"/>
                <a:gd name="T7" fmla="*/ 6 h 8"/>
                <a:gd name="T8" fmla="*/ 2 w 6"/>
                <a:gd name="T9" fmla="*/ 8 h 8"/>
                <a:gd name="T10" fmla="*/ 4 w 6"/>
                <a:gd name="T11" fmla="*/ 8 h 8"/>
                <a:gd name="T12" fmla="*/ 6 w 6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8">
                  <a:moveTo>
                    <a:pt x="6" y="8"/>
                  </a:moveTo>
                  <a:lnTo>
                    <a:pt x="6" y="4"/>
                  </a:lnTo>
                  <a:lnTo>
                    <a:pt x="4" y="0"/>
                  </a:lnTo>
                  <a:lnTo>
                    <a:pt x="0" y="6"/>
                  </a:lnTo>
                  <a:lnTo>
                    <a:pt x="2" y="8"/>
                  </a:lnTo>
                  <a:lnTo>
                    <a:pt x="4" y="8"/>
                  </a:lnTo>
                  <a:lnTo>
                    <a:pt x="6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2" name="Freeform 6944">
              <a:extLst>
                <a:ext uri="{FF2B5EF4-FFF2-40B4-BE49-F238E27FC236}">
                  <a16:creationId xmlns:a16="http://schemas.microsoft.com/office/drawing/2014/main" id="{C04574F4-D0DE-4F96-BBB0-057C5959D81C}"/>
                </a:ext>
              </a:extLst>
            </p:cNvPr>
            <p:cNvSpPr/>
            <p:nvPr/>
          </p:nvSpPr>
          <p:spPr bwMode="auto">
            <a:xfrm>
              <a:off x="6373826" y="5014723"/>
              <a:ext cx="1542" cy="3854"/>
            </a:xfrm>
            <a:custGeom>
              <a:avLst/>
              <a:gdLst>
                <a:gd name="T0" fmla="*/ 2 w 4"/>
                <a:gd name="T1" fmla="*/ 10 h 10"/>
                <a:gd name="T2" fmla="*/ 4 w 4"/>
                <a:gd name="T3" fmla="*/ 8 h 10"/>
                <a:gd name="T4" fmla="*/ 4 w 4"/>
                <a:gd name="T5" fmla="*/ 4 h 10"/>
                <a:gd name="T6" fmla="*/ 2 w 4"/>
                <a:gd name="T7" fmla="*/ 0 h 10"/>
                <a:gd name="T8" fmla="*/ 0 w 4"/>
                <a:gd name="T9" fmla="*/ 2 h 10"/>
                <a:gd name="T10" fmla="*/ 0 w 4"/>
                <a:gd name="T11" fmla="*/ 8 h 10"/>
                <a:gd name="T12" fmla="*/ 0 w 4"/>
                <a:gd name="T13" fmla="*/ 10 h 10"/>
                <a:gd name="T14" fmla="*/ 2 w 4"/>
                <a:gd name="T1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10">
                  <a:moveTo>
                    <a:pt x="2" y="10"/>
                  </a:moveTo>
                  <a:lnTo>
                    <a:pt x="4" y="8"/>
                  </a:lnTo>
                  <a:lnTo>
                    <a:pt x="4" y="4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3" name="Line 6946">
              <a:extLst>
                <a:ext uri="{FF2B5EF4-FFF2-40B4-BE49-F238E27FC236}">
                  <a16:creationId xmlns:a16="http://schemas.microsoft.com/office/drawing/2014/main" id="{1DFF4E05-8E55-4F11-A483-10BFADCCBF0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635153" y="4972324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4" name="Line 6952">
              <a:extLst>
                <a:ext uri="{FF2B5EF4-FFF2-40B4-BE49-F238E27FC236}">
                  <a16:creationId xmlns:a16="http://schemas.microsoft.com/office/drawing/2014/main" id="{96F02D04-EF53-4CA5-B96C-17C500669DC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635153" y="4972324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5" name="Freeform 6953">
              <a:extLst>
                <a:ext uri="{FF2B5EF4-FFF2-40B4-BE49-F238E27FC236}">
                  <a16:creationId xmlns:a16="http://schemas.microsoft.com/office/drawing/2014/main" id="{AA8C665A-6E5B-4970-8CAF-DDD4ECD4E1D4}"/>
                </a:ext>
              </a:extLst>
            </p:cNvPr>
            <p:cNvSpPr/>
            <p:nvPr/>
          </p:nvSpPr>
          <p:spPr bwMode="auto">
            <a:xfrm>
              <a:off x="6248173" y="6751893"/>
              <a:ext cx="7709" cy="4625"/>
            </a:xfrm>
            <a:custGeom>
              <a:avLst/>
              <a:gdLst>
                <a:gd name="T0" fmla="*/ 18 w 20"/>
                <a:gd name="T1" fmla="*/ 10 h 12"/>
                <a:gd name="T2" fmla="*/ 20 w 20"/>
                <a:gd name="T3" fmla="*/ 6 h 12"/>
                <a:gd name="T4" fmla="*/ 18 w 20"/>
                <a:gd name="T5" fmla="*/ 4 h 12"/>
                <a:gd name="T6" fmla="*/ 14 w 20"/>
                <a:gd name="T7" fmla="*/ 0 h 12"/>
                <a:gd name="T8" fmla="*/ 6 w 20"/>
                <a:gd name="T9" fmla="*/ 0 h 12"/>
                <a:gd name="T10" fmla="*/ 4 w 20"/>
                <a:gd name="T11" fmla="*/ 2 h 12"/>
                <a:gd name="T12" fmla="*/ 0 w 20"/>
                <a:gd name="T13" fmla="*/ 8 h 12"/>
                <a:gd name="T14" fmla="*/ 2 w 20"/>
                <a:gd name="T15" fmla="*/ 10 h 12"/>
                <a:gd name="T16" fmla="*/ 16 w 20"/>
                <a:gd name="T17" fmla="*/ 12 h 12"/>
                <a:gd name="T18" fmla="*/ 18 w 20"/>
                <a:gd name="T19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2">
                  <a:moveTo>
                    <a:pt x="18" y="10"/>
                  </a:moveTo>
                  <a:lnTo>
                    <a:pt x="20" y="6"/>
                  </a:lnTo>
                  <a:lnTo>
                    <a:pt x="18" y="4"/>
                  </a:lnTo>
                  <a:lnTo>
                    <a:pt x="14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0" y="8"/>
                  </a:lnTo>
                  <a:lnTo>
                    <a:pt x="2" y="10"/>
                  </a:lnTo>
                  <a:lnTo>
                    <a:pt x="16" y="12"/>
                  </a:lnTo>
                  <a:lnTo>
                    <a:pt x="18" y="1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6" name="Freeform 6954">
              <a:extLst>
                <a:ext uri="{FF2B5EF4-FFF2-40B4-BE49-F238E27FC236}">
                  <a16:creationId xmlns:a16="http://schemas.microsoft.com/office/drawing/2014/main" id="{77934A56-86CF-4492-8A9F-7259F0E363C3}"/>
                </a:ext>
              </a:extLst>
            </p:cNvPr>
            <p:cNvSpPr/>
            <p:nvPr/>
          </p:nvSpPr>
          <p:spPr bwMode="auto">
            <a:xfrm>
              <a:off x="5713956" y="5983329"/>
              <a:ext cx="415503" cy="364625"/>
            </a:xfrm>
            <a:custGeom>
              <a:avLst/>
              <a:gdLst>
                <a:gd name="T0" fmla="*/ 832 w 1078"/>
                <a:gd name="T1" fmla="*/ 4 h 946"/>
                <a:gd name="T2" fmla="*/ 782 w 1078"/>
                <a:gd name="T3" fmla="*/ 32 h 946"/>
                <a:gd name="T4" fmla="*/ 746 w 1078"/>
                <a:gd name="T5" fmla="*/ 68 h 946"/>
                <a:gd name="T6" fmla="*/ 730 w 1078"/>
                <a:gd name="T7" fmla="*/ 84 h 946"/>
                <a:gd name="T8" fmla="*/ 702 w 1078"/>
                <a:gd name="T9" fmla="*/ 98 h 946"/>
                <a:gd name="T10" fmla="*/ 668 w 1078"/>
                <a:gd name="T11" fmla="*/ 160 h 946"/>
                <a:gd name="T12" fmla="*/ 620 w 1078"/>
                <a:gd name="T13" fmla="*/ 186 h 946"/>
                <a:gd name="T14" fmla="*/ 600 w 1078"/>
                <a:gd name="T15" fmla="*/ 248 h 946"/>
                <a:gd name="T16" fmla="*/ 562 w 1078"/>
                <a:gd name="T17" fmla="*/ 258 h 946"/>
                <a:gd name="T18" fmla="*/ 508 w 1078"/>
                <a:gd name="T19" fmla="*/ 250 h 946"/>
                <a:gd name="T20" fmla="*/ 464 w 1078"/>
                <a:gd name="T21" fmla="*/ 230 h 946"/>
                <a:gd name="T22" fmla="*/ 426 w 1078"/>
                <a:gd name="T23" fmla="*/ 230 h 946"/>
                <a:gd name="T24" fmla="*/ 404 w 1078"/>
                <a:gd name="T25" fmla="*/ 286 h 946"/>
                <a:gd name="T26" fmla="*/ 358 w 1078"/>
                <a:gd name="T27" fmla="*/ 324 h 946"/>
                <a:gd name="T28" fmla="*/ 332 w 1078"/>
                <a:gd name="T29" fmla="*/ 338 h 946"/>
                <a:gd name="T30" fmla="*/ 278 w 1078"/>
                <a:gd name="T31" fmla="*/ 336 h 946"/>
                <a:gd name="T32" fmla="*/ 286 w 1078"/>
                <a:gd name="T33" fmla="*/ 288 h 946"/>
                <a:gd name="T34" fmla="*/ 274 w 1078"/>
                <a:gd name="T35" fmla="*/ 240 h 946"/>
                <a:gd name="T36" fmla="*/ 232 w 1078"/>
                <a:gd name="T37" fmla="*/ 458 h 946"/>
                <a:gd name="T38" fmla="*/ 188 w 1078"/>
                <a:gd name="T39" fmla="*/ 478 h 946"/>
                <a:gd name="T40" fmla="*/ 156 w 1078"/>
                <a:gd name="T41" fmla="*/ 488 h 946"/>
                <a:gd name="T42" fmla="*/ 82 w 1078"/>
                <a:gd name="T43" fmla="*/ 482 h 946"/>
                <a:gd name="T44" fmla="*/ 58 w 1078"/>
                <a:gd name="T45" fmla="*/ 458 h 946"/>
                <a:gd name="T46" fmla="*/ 50 w 1078"/>
                <a:gd name="T47" fmla="*/ 438 h 946"/>
                <a:gd name="T48" fmla="*/ 26 w 1078"/>
                <a:gd name="T49" fmla="*/ 440 h 946"/>
                <a:gd name="T50" fmla="*/ 16 w 1078"/>
                <a:gd name="T51" fmla="*/ 458 h 946"/>
                <a:gd name="T52" fmla="*/ 34 w 1078"/>
                <a:gd name="T53" fmla="*/ 528 h 946"/>
                <a:gd name="T54" fmla="*/ 116 w 1078"/>
                <a:gd name="T55" fmla="*/ 706 h 946"/>
                <a:gd name="T56" fmla="*/ 104 w 1078"/>
                <a:gd name="T57" fmla="*/ 786 h 946"/>
                <a:gd name="T58" fmla="*/ 102 w 1078"/>
                <a:gd name="T59" fmla="*/ 816 h 946"/>
                <a:gd name="T60" fmla="*/ 132 w 1078"/>
                <a:gd name="T61" fmla="*/ 868 h 946"/>
                <a:gd name="T62" fmla="*/ 132 w 1078"/>
                <a:gd name="T63" fmla="*/ 910 h 946"/>
                <a:gd name="T64" fmla="*/ 152 w 1078"/>
                <a:gd name="T65" fmla="*/ 890 h 946"/>
                <a:gd name="T66" fmla="*/ 162 w 1078"/>
                <a:gd name="T67" fmla="*/ 912 h 946"/>
                <a:gd name="T68" fmla="*/ 190 w 1078"/>
                <a:gd name="T69" fmla="*/ 922 h 946"/>
                <a:gd name="T70" fmla="*/ 228 w 1078"/>
                <a:gd name="T71" fmla="*/ 944 h 946"/>
                <a:gd name="T72" fmla="*/ 298 w 1078"/>
                <a:gd name="T73" fmla="*/ 912 h 946"/>
                <a:gd name="T74" fmla="*/ 380 w 1078"/>
                <a:gd name="T75" fmla="*/ 888 h 946"/>
                <a:gd name="T76" fmla="*/ 452 w 1078"/>
                <a:gd name="T77" fmla="*/ 888 h 946"/>
                <a:gd name="T78" fmla="*/ 554 w 1078"/>
                <a:gd name="T79" fmla="*/ 888 h 946"/>
                <a:gd name="T80" fmla="*/ 604 w 1078"/>
                <a:gd name="T81" fmla="*/ 872 h 946"/>
                <a:gd name="T82" fmla="*/ 716 w 1078"/>
                <a:gd name="T83" fmla="*/ 832 h 946"/>
                <a:gd name="T84" fmla="*/ 832 w 1078"/>
                <a:gd name="T85" fmla="*/ 728 h 946"/>
                <a:gd name="T86" fmla="*/ 920 w 1078"/>
                <a:gd name="T87" fmla="*/ 628 h 946"/>
                <a:gd name="T88" fmla="*/ 1006 w 1078"/>
                <a:gd name="T89" fmla="*/ 494 h 946"/>
                <a:gd name="T90" fmla="*/ 1056 w 1078"/>
                <a:gd name="T91" fmla="*/ 438 h 946"/>
                <a:gd name="T92" fmla="*/ 1058 w 1078"/>
                <a:gd name="T93" fmla="*/ 340 h 946"/>
                <a:gd name="T94" fmla="*/ 1022 w 1078"/>
                <a:gd name="T95" fmla="*/ 336 h 946"/>
                <a:gd name="T96" fmla="*/ 986 w 1078"/>
                <a:gd name="T97" fmla="*/ 372 h 946"/>
                <a:gd name="T98" fmla="*/ 940 w 1078"/>
                <a:gd name="T99" fmla="*/ 332 h 946"/>
                <a:gd name="T100" fmla="*/ 960 w 1078"/>
                <a:gd name="T101" fmla="*/ 276 h 946"/>
                <a:gd name="T102" fmla="*/ 1012 w 1078"/>
                <a:gd name="T103" fmla="*/ 276 h 946"/>
                <a:gd name="T104" fmla="*/ 1018 w 1078"/>
                <a:gd name="T105" fmla="*/ 230 h 946"/>
                <a:gd name="T106" fmla="*/ 1016 w 1078"/>
                <a:gd name="T107" fmla="*/ 156 h 946"/>
                <a:gd name="T108" fmla="*/ 998 w 1078"/>
                <a:gd name="T109" fmla="*/ 108 h 946"/>
                <a:gd name="T110" fmla="*/ 982 w 1078"/>
                <a:gd name="T111" fmla="*/ 48 h 946"/>
                <a:gd name="T112" fmla="*/ 960 w 1078"/>
                <a:gd name="T113" fmla="*/ 12 h 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78" h="945">
                  <a:moveTo>
                    <a:pt x="902" y="10"/>
                  </a:moveTo>
                  <a:lnTo>
                    <a:pt x="882" y="2"/>
                  </a:lnTo>
                  <a:lnTo>
                    <a:pt x="866" y="0"/>
                  </a:lnTo>
                  <a:lnTo>
                    <a:pt x="848" y="4"/>
                  </a:lnTo>
                  <a:lnTo>
                    <a:pt x="848" y="4"/>
                  </a:lnTo>
                  <a:lnTo>
                    <a:pt x="832" y="4"/>
                  </a:lnTo>
                  <a:lnTo>
                    <a:pt x="824" y="10"/>
                  </a:lnTo>
                  <a:lnTo>
                    <a:pt x="820" y="18"/>
                  </a:lnTo>
                  <a:lnTo>
                    <a:pt x="812" y="24"/>
                  </a:lnTo>
                  <a:lnTo>
                    <a:pt x="804" y="28"/>
                  </a:lnTo>
                  <a:lnTo>
                    <a:pt x="794" y="30"/>
                  </a:lnTo>
                  <a:lnTo>
                    <a:pt x="782" y="32"/>
                  </a:lnTo>
                  <a:lnTo>
                    <a:pt x="772" y="38"/>
                  </a:lnTo>
                  <a:lnTo>
                    <a:pt x="760" y="52"/>
                  </a:lnTo>
                  <a:lnTo>
                    <a:pt x="754" y="60"/>
                  </a:lnTo>
                  <a:lnTo>
                    <a:pt x="754" y="64"/>
                  </a:lnTo>
                  <a:lnTo>
                    <a:pt x="750" y="66"/>
                  </a:lnTo>
                  <a:lnTo>
                    <a:pt x="746" y="68"/>
                  </a:lnTo>
                  <a:lnTo>
                    <a:pt x="742" y="72"/>
                  </a:lnTo>
                  <a:lnTo>
                    <a:pt x="742" y="74"/>
                  </a:lnTo>
                  <a:lnTo>
                    <a:pt x="740" y="76"/>
                  </a:lnTo>
                  <a:lnTo>
                    <a:pt x="734" y="76"/>
                  </a:lnTo>
                  <a:lnTo>
                    <a:pt x="730" y="78"/>
                  </a:lnTo>
                  <a:lnTo>
                    <a:pt x="730" y="84"/>
                  </a:lnTo>
                  <a:lnTo>
                    <a:pt x="724" y="86"/>
                  </a:lnTo>
                  <a:lnTo>
                    <a:pt x="718" y="88"/>
                  </a:lnTo>
                  <a:lnTo>
                    <a:pt x="712" y="90"/>
                  </a:lnTo>
                  <a:lnTo>
                    <a:pt x="708" y="96"/>
                  </a:lnTo>
                  <a:lnTo>
                    <a:pt x="704" y="98"/>
                  </a:lnTo>
                  <a:lnTo>
                    <a:pt x="702" y="98"/>
                  </a:lnTo>
                  <a:lnTo>
                    <a:pt x="698" y="102"/>
                  </a:lnTo>
                  <a:lnTo>
                    <a:pt x="692" y="110"/>
                  </a:lnTo>
                  <a:lnTo>
                    <a:pt x="690" y="116"/>
                  </a:lnTo>
                  <a:lnTo>
                    <a:pt x="682" y="150"/>
                  </a:lnTo>
                  <a:lnTo>
                    <a:pt x="676" y="154"/>
                  </a:lnTo>
                  <a:lnTo>
                    <a:pt x="668" y="160"/>
                  </a:lnTo>
                  <a:lnTo>
                    <a:pt x="660" y="170"/>
                  </a:lnTo>
                  <a:lnTo>
                    <a:pt x="656" y="174"/>
                  </a:lnTo>
                  <a:lnTo>
                    <a:pt x="652" y="176"/>
                  </a:lnTo>
                  <a:lnTo>
                    <a:pt x="636" y="180"/>
                  </a:lnTo>
                  <a:lnTo>
                    <a:pt x="628" y="182"/>
                  </a:lnTo>
                  <a:lnTo>
                    <a:pt x="620" y="186"/>
                  </a:lnTo>
                  <a:lnTo>
                    <a:pt x="618" y="188"/>
                  </a:lnTo>
                  <a:lnTo>
                    <a:pt x="616" y="200"/>
                  </a:lnTo>
                  <a:lnTo>
                    <a:pt x="612" y="214"/>
                  </a:lnTo>
                  <a:lnTo>
                    <a:pt x="608" y="226"/>
                  </a:lnTo>
                  <a:lnTo>
                    <a:pt x="604" y="236"/>
                  </a:lnTo>
                  <a:lnTo>
                    <a:pt x="600" y="248"/>
                  </a:lnTo>
                  <a:lnTo>
                    <a:pt x="596" y="252"/>
                  </a:lnTo>
                  <a:lnTo>
                    <a:pt x="590" y="256"/>
                  </a:lnTo>
                  <a:lnTo>
                    <a:pt x="584" y="258"/>
                  </a:lnTo>
                  <a:lnTo>
                    <a:pt x="574" y="258"/>
                  </a:lnTo>
                  <a:lnTo>
                    <a:pt x="566" y="258"/>
                  </a:lnTo>
                  <a:lnTo>
                    <a:pt x="562" y="258"/>
                  </a:lnTo>
                  <a:lnTo>
                    <a:pt x="552" y="264"/>
                  </a:lnTo>
                  <a:lnTo>
                    <a:pt x="544" y="264"/>
                  </a:lnTo>
                  <a:lnTo>
                    <a:pt x="532" y="260"/>
                  </a:lnTo>
                  <a:lnTo>
                    <a:pt x="522" y="258"/>
                  </a:lnTo>
                  <a:lnTo>
                    <a:pt x="518" y="258"/>
                  </a:lnTo>
                  <a:lnTo>
                    <a:pt x="508" y="250"/>
                  </a:lnTo>
                  <a:lnTo>
                    <a:pt x="502" y="250"/>
                  </a:lnTo>
                  <a:lnTo>
                    <a:pt x="494" y="250"/>
                  </a:lnTo>
                  <a:lnTo>
                    <a:pt x="488" y="248"/>
                  </a:lnTo>
                  <a:lnTo>
                    <a:pt x="484" y="244"/>
                  </a:lnTo>
                  <a:lnTo>
                    <a:pt x="474" y="236"/>
                  </a:lnTo>
                  <a:lnTo>
                    <a:pt x="464" y="230"/>
                  </a:lnTo>
                  <a:lnTo>
                    <a:pt x="456" y="226"/>
                  </a:lnTo>
                  <a:lnTo>
                    <a:pt x="448" y="224"/>
                  </a:lnTo>
                  <a:lnTo>
                    <a:pt x="440" y="224"/>
                  </a:lnTo>
                  <a:lnTo>
                    <a:pt x="434" y="226"/>
                  </a:lnTo>
                  <a:lnTo>
                    <a:pt x="432" y="228"/>
                  </a:lnTo>
                  <a:lnTo>
                    <a:pt x="426" y="230"/>
                  </a:lnTo>
                  <a:lnTo>
                    <a:pt x="422" y="238"/>
                  </a:lnTo>
                  <a:lnTo>
                    <a:pt x="418" y="248"/>
                  </a:lnTo>
                  <a:lnTo>
                    <a:pt x="416" y="254"/>
                  </a:lnTo>
                  <a:lnTo>
                    <a:pt x="412" y="266"/>
                  </a:lnTo>
                  <a:lnTo>
                    <a:pt x="406" y="282"/>
                  </a:lnTo>
                  <a:lnTo>
                    <a:pt x="404" y="286"/>
                  </a:lnTo>
                  <a:lnTo>
                    <a:pt x="400" y="290"/>
                  </a:lnTo>
                  <a:lnTo>
                    <a:pt x="396" y="292"/>
                  </a:lnTo>
                  <a:lnTo>
                    <a:pt x="378" y="306"/>
                  </a:lnTo>
                  <a:lnTo>
                    <a:pt x="370" y="320"/>
                  </a:lnTo>
                  <a:lnTo>
                    <a:pt x="366" y="324"/>
                  </a:lnTo>
                  <a:lnTo>
                    <a:pt x="358" y="324"/>
                  </a:lnTo>
                  <a:lnTo>
                    <a:pt x="354" y="326"/>
                  </a:lnTo>
                  <a:lnTo>
                    <a:pt x="350" y="328"/>
                  </a:lnTo>
                  <a:lnTo>
                    <a:pt x="348" y="336"/>
                  </a:lnTo>
                  <a:lnTo>
                    <a:pt x="344" y="338"/>
                  </a:lnTo>
                  <a:lnTo>
                    <a:pt x="342" y="340"/>
                  </a:lnTo>
                  <a:lnTo>
                    <a:pt x="332" y="338"/>
                  </a:lnTo>
                  <a:lnTo>
                    <a:pt x="328" y="338"/>
                  </a:lnTo>
                  <a:lnTo>
                    <a:pt x="304" y="338"/>
                  </a:lnTo>
                  <a:lnTo>
                    <a:pt x="296" y="336"/>
                  </a:lnTo>
                  <a:lnTo>
                    <a:pt x="290" y="336"/>
                  </a:lnTo>
                  <a:lnTo>
                    <a:pt x="282" y="338"/>
                  </a:lnTo>
                  <a:lnTo>
                    <a:pt x="278" y="336"/>
                  </a:lnTo>
                  <a:lnTo>
                    <a:pt x="276" y="330"/>
                  </a:lnTo>
                  <a:lnTo>
                    <a:pt x="274" y="320"/>
                  </a:lnTo>
                  <a:lnTo>
                    <a:pt x="274" y="310"/>
                  </a:lnTo>
                  <a:lnTo>
                    <a:pt x="278" y="302"/>
                  </a:lnTo>
                  <a:lnTo>
                    <a:pt x="282" y="296"/>
                  </a:lnTo>
                  <a:lnTo>
                    <a:pt x="286" y="288"/>
                  </a:lnTo>
                  <a:lnTo>
                    <a:pt x="288" y="286"/>
                  </a:lnTo>
                  <a:lnTo>
                    <a:pt x="286" y="282"/>
                  </a:lnTo>
                  <a:lnTo>
                    <a:pt x="286" y="276"/>
                  </a:lnTo>
                  <a:lnTo>
                    <a:pt x="286" y="270"/>
                  </a:lnTo>
                  <a:lnTo>
                    <a:pt x="280" y="258"/>
                  </a:lnTo>
                  <a:lnTo>
                    <a:pt x="274" y="240"/>
                  </a:lnTo>
                  <a:lnTo>
                    <a:pt x="264" y="220"/>
                  </a:lnTo>
                  <a:lnTo>
                    <a:pt x="262" y="214"/>
                  </a:lnTo>
                  <a:lnTo>
                    <a:pt x="256" y="206"/>
                  </a:lnTo>
                  <a:lnTo>
                    <a:pt x="236" y="190"/>
                  </a:lnTo>
                  <a:lnTo>
                    <a:pt x="232" y="188"/>
                  </a:lnTo>
                  <a:lnTo>
                    <a:pt x="232" y="458"/>
                  </a:lnTo>
                  <a:lnTo>
                    <a:pt x="226" y="458"/>
                  </a:lnTo>
                  <a:lnTo>
                    <a:pt x="212" y="462"/>
                  </a:lnTo>
                  <a:lnTo>
                    <a:pt x="204" y="466"/>
                  </a:lnTo>
                  <a:lnTo>
                    <a:pt x="200" y="474"/>
                  </a:lnTo>
                  <a:lnTo>
                    <a:pt x="194" y="478"/>
                  </a:lnTo>
                  <a:lnTo>
                    <a:pt x="188" y="478"/>
                  </a:lnTo>
                  <a:lnTo>
                    <a:pt x="186" y="482"/>
                  </a:lnTo>
                  <a:lnTo>
                    <a:pt x="186" y="486"/>
                  </a:lnTo>
                  <a:lnTo>
                    <a:pt x="184" y="492"/>
                  </a:lnTo>
                  <a:lnTo>
                    <a:pt x="178" y="494"/>
                  </a:lnTo>
                  <a:lnTo>
                    <a:pt x="170" y="494"/>
                  </a:lnTo>
                  <a:lnTo>
                    <a:pt x="156" y="488"/>
                  </a:lnTo>
                  <a:lnTo>
                    <a:pt x="142" y="488"/>
                  </a:lnTo>
                  <a:lnTo>
                    <a:pt x="122" y="490"/>
                  </a:lnTo>
                  <a:lnTo>
                    <a:pt x="108" y="488"/>
                  </a:lnTo>
                  <a:lnTo>
                    <a:pt x="100" y="484"/>
                  </a:lnTo>
                  <a:lnTo>
                    <a:pt x="92" y="482"/>
                  </a:lnTo>
                  <a:lnTo>
                    <a:pt x="82" y="482"/>
                  </a:lnTo>
                  <a:lnTo>
                    <a:pt x="78" y="480"/>
                  </a:lnTo>
                  <a:lnTo>
                    <a:pt x="66" y="476"/>
                  </a:lnTo>
                  <a:lnTo>
                    <a:pt x="64" y="470"/>
                  </a:lnTo>
                  <a:lnTo>
                    <a:pt x="62" y="466"/>
                  </a:lnTo>
                  <a:lnTo>
                    <a:pt x="60" y="462"/>
                  </a:lnTo>
                  <a:lnTo>
                    <a:pt x="58" y="458"/>
                  </a:lnTo>
                  <a:lnTo>
                    <a:pt x="62" y="454"/>
                  </a:lnTo>
                  <a:lnTo>
                    <a:pt x="62" y="450"/>
                  </a:lnTo>
                  <a:lnTo>
                    <a:pt x="60" y="444"/>
                  </a:lnTo>
                  <a:lnTo>
                    <a:pt x="56" y="440"/>
                  </a:lnTo>
                  <a:lnTo>
                    <a:pt x="52" y="442"/>
                  </a:lnTo>
                  <a:lnTo>
                    <a:pt x="50" y="438"/>
                  </a:lnTo>
                  <a:lnTo>
                    <a:pt x="48" y="434"/>
                  </a:lnTo>
                  <a:lnTo>
                    <a:pt x="46" y="430"/>
                  </a:lnTo>
                  <a:lnTo>
                    <a:pt x="40" y="426"/>
                  </a:lnTo>
                  <a:lnTo>
                    <a:pt x="32" y="428"/>
                  </a:lnTo>
                  <a:lnTo>
                    <a:pt x="28" y="434"/>
                  </a:lnTo>
                  <a:lnTo>
                    <a:pt x="26" y="440"/>
                  </a:lnTo>
                  <a:lnTo>
                    <a:pt x="24" y="444"/>
                  </a:lnTo>
                  <a:lnTo>
                    <a:pt x="24" y="450"/>
                  </a:lnTo>
                  <a:lnTo>
                    <a:pt x="22" y="454"/>
                  </a:lnTo>
                  <a:lnTo>
                    <a:pt x="20" y="458"/>
                  </a:lnTo>
                  <a:lnTo>
                    <a:pt x="18" y="460"/>
                  </a:lnTo>
                  <a:lnTo>
                    <a:pt x="16" y="458"/>
                  </a:lnTo>
                  <a:lnTo>
                    <a:pt x="12" y="460"/>
                  </a:lnTo>
                  <a:lnTo>
                    <a:pt x="4" y="466"/>
                  </a:lnTo>
                  <a:lnTo>
                    <a:pt x="0" y="470"/>
                  </a:lnTo>
                  <a:lnTo>
                    <a:pt x="2" y="472"/>
                  </a:lnTo>
                  <a:lnTo>
                    <a:pt x="20" y="500"/>
                  </a:lnTo>
                  <a:lnTo>
                    <a:pt x="34" y="528"/>
                  </a:lnTo>
                  <a:lnTo>
                    <a:pt x="48" y="582"/>
                  </a:lnTo>
                  <a:lnTo>
                    <a:pt x="60" y="608"/>
                  </a:lnTo>
                  <a:lnTo>
                    <a:pt x="80" y="652"/>
                  </a:lnTo>
                  <a:lnTo>
                    <a:pt x="98" y="680"/>
                  </a:lnTo>
                  <a:lnTo>
                    <a:pt x="112" y="700"/>
                  </a:lnTo>
                  <a:lnTo>
                    <a:pt x="116" y="706"/>
                  </a:lnTo>
                  <a:lnTo>
                    <a:pt x="122" y="736"/>
                  </a:lnTo>
                  <a:lnTo>
                    <a:pt x="124" y="748"/>
                  </a:lnTo>
                  <a:lnTo>
                    <a:pt x="124" y="766"/>
                  </a:lnTo>
                  <a:lnTo>
                    <a:pt x="118" y="778"/>
                  </a:lnTo>
                  <a:lnTo>
                    <a:pt x="110" y="786"/>
                  </a:lnTo>
                  <a:lnTo>
                    <a:pt x="104" y="786"/>
                  </a:lnTo>
                  <a:lnTo>
                    <a:pt x="100" y="782"/>
                  </a:lnTo>
                  <a:lnTo>
                    <a:pt x="96" y="786"/>
                  </a:lnTo>
                  <a:lnTo>
                    <a:pt x="92" y="790"/>
                  </a:lnTo>
                  <a:lnTo>
                    <a:pt x="94" y="802"/>
                  </a:lnTo>
                  <a:lnTo>
                    <a:pt x="100" y="808"/>
                  </a:lnTo>
                  <a:lnTo>
                    <a:pt x="102" y="816"/>
                  </a:lnTo>
                  <a:lnTo>
                    <a:pt x="106" y="820"/>
                  </a:lnTo>
                  <a:lnTo>
                    <a:pt x="112" y="832"/>
                  </a:lnTo>
                  <a:lnTo>
                    <a:pt x="120" y="838"/>
                  </a:lnTo>
                  <a:lnTo>
                    <a:pt x="122" y="844"/>
                  </a:lnTo>
                  <a:lnTo>
                    <a:pt x="130" y="860"/>
                  </a:lnTo>
                  <a:lnTo>
                    <a:pt x="132" y="868"/>
                  </a:lnTo>
                  <a:lnTo>
                    <a:pt x="132" y="874"/>
                  </a:lnTo>
                  <a:lnTo>
                    <a:pt x="126" y="878"/>
                  </a:lnTo>
                  <a:lnTo>
                    <a:pt x="124" y="888"/>
                  </a:lnTo>
                  <a:lnTo>
                    <a:pt x="126" y="898"/>
                  </a:lnTo>
                  <a:lnTo>
                    <a:pt x="130" y="906"/>
                  </a:lnTo>
                  <a:lnTo>
                    <a:pt x="132" y="910"/>
                  </a:lnTo>
                  <a:lnTo>
                    <a:pt x="132" y="896"/>
                  </a:lnTo>
                  <a:lnTo>
                    <a:pt x="136" y="892"/>
                  </a:lnTo>
                  <a:lnTo>
                    <a:pt x="138" y="890"/>
                  </a:lnTo>
                  <a:lnTo>
                    <a:pt x="142" y="890"/>
                  </a:lnTo>
                  <a:lnTo>
                    <a:pt x="148" y="888"/>
                  </a:lnTo>
                  <a:lnTo>
                    <a:pt x="152" y="890"/>
                  </a:lnTo>
                  <a:lnTo>
                    <a:pt x="156" y="892"/>
                  </a:lnTo>
                  <a:lnTo>
                    <a:pt x="156" y="898"/>
                  </a:lnTo>
                  <a:lnTo>
                    <a:pt x="156" y="904"/>
                  </a:lnTo>
                  <a:lnTo>
                    <a:pt x="156" y="906"/>
                  </a:lnTo>
                  <a:lnTo>
                    <a:pt x="156" y="912"/>
                  </a:lnTo>
                  <a:lnTo>
                    <a:pt x="162" y="912"/>
                  </a:lnTo>
                  <a:lnTo>
                    <a:pt x="164" y="910"/>
                  </a:lnTo>
                  <a:lnTo>
                    <a:pt x="174" y="910"/>
                  </a:lnTo>
                  <a:lnTo>
                    <a:pt x="178" y="916"/>
                  </a:lnTo>
                  <a:lnTo>
                    <a:pt x="184" y="916"/>
                  </a:lnTo>
                  <a:lnTo>
                    <a:pt x="186" y="918"/>
                  </a:lnTo>
                  <a:lnTo>
                    <a:pt x="190" y="922"/>
                  </a:lnTo>
                  <a:lnTo>
                    <a:pt x="188" y="928"/>
                  </a:lnTo>
                  <a:lnTo>
                    <a:pt x="188" y="932"/>
                  </a:lnTo>
                  <a:lnTo>
                    <a:pt x="194" y="932"/>
                  </a:lnTo>
                  <a:lnTo>
                    <a:pt x="210" y="944"/>
                  </a:lnTo>
                  <a:lnTo>
                    <a:pt x="224" y="944"/>
                  </a:lnTo>
                  <a:lnTo>
                    <a:pt x="228" y="944"/>
                  </a:lnTo>
                  <a:lnTo>
                    <a:pt x="234" y="946"/>
                  </a:lnTo>
                  <a:lnTo>
                    <a:pt x="262" y="924"/>
                  </a:lnTo>
                  <a:lnTo>
                    <a:pt x="268" y="920"/>
                  </a:lnTo>
                  <a:lnTo>
                    <a:pt x="284" y="918"/>
                  </a:lnTo>
                  <a:lnTo>
                    <a:pt x="292" y="914"/>
                  </a:lnTo>
                  <a:lnTo>
                    <a:pt x="298" y="912"/>
                  </a:lnTo>
                  <a:lnTo>
                    <a:pt x="302" y="912"/>
                  </a:lnTo>
                  <a:lnTo>
                    <a:pt x="316" y="916"/>
                  </a:lnTo>
                  <a:lnTo>
                    <a:pt x="322" y="916"/>
                  </a:lnTo>
                  <a:lnTo>
                    <a:pt x="336" y="912"/>
                  </a:lnTo>
                  <a:lnTo>
                    <a:pt x="350" y="912"/>
                  </a:lnTo>
                  <a:lnTo>
                    <a:pt x="380" y="888"/>
                  </a:lnTo>
                  <a:lnTo>
                    <a:pt x="392" y="888"/>
                  </a:lnTo>
                  <a:lnTo>
                    <a:pt x="400" y="884"/>
                  </a:lnTo>
                  <a:lnTo>
                    <a:pt x="412" y="884"/>
                  </a:lnTo>
                  <a:lnTo>
                    <a:pt x="426" y="888"/>
                  </a:lnTo>
                  <a:lnTo>
                    <a:pt x="448" y="890"/>
                  </a:lnTo>
                  <a:lnTo>
                    <a:pt x="452" y="888"/>
                  </a:lnTo>
                  <a:lnTo>
                    <a:pt x="468" y="882"/>
                  </a:lnTo>
                  <a:lnTo>
                    <a:pt x="476" y="882"/>
                  </a:lnTo>
                  <a:lnTo>
                    <a:pt x="508" y="888"/>
                  </a:lnTo>
                  <a:lnTo>
                    <a:pt x="534" y="896"/>
                  </a:lnTo>
                  <a:lnTo>
                    <a:pt x="550" y="896"/>
                  </a:lnTo>
                  <a:lnTo>
                    <a:pt x="554" y="888"/>
                  </a:lnTo>
                  <a:lnTo>
                    <a:pt x="562" y="880"/>
                  </a:lnTo>
                  <a:lnTo>
                    <a:pt x="572" y="880"/>
                  </a:lnTo>
                  <a:lnTo>
                    <a:pt x="592" y="886"/>
                  </a:lnTo>
                  <a:lnTo>
                    <a:pt x="598" y="886"/>
                  </a:lnTo>
                  <a:lnTo>
                    <a:pt x="602" y="884"/>
                  </a:lnTo>
                  <a:lnTo>
                    <a:pt x="604" y="872"/>
                  </a:lnTo>
                  <a:lnTo>
                    <a:pt x="614" y="862"/>
                  </a:lnTo>
                  <a:lnTo>
                    <a:pt x="626" y="860"/>
                  </a:lnTo>
                  <a:lnTo>
                    <a:pt x="654" y="864"/>
                  </a:lnTo>
                  <a:lnTo>
                    <a:pt x="666" y="860"/>
                  </a:lnTo>
                  <a:lnTo>
                    <a:pt x="698" y="846"/>
                  </a:lnTo>
                  <a:lnTo>
                    <a:pt x="716" y="832"/>
                  </a:lnTo>
                  <a:lnTo>
                    <a:pt x="742" y="812"/>
                  </a:lnTo>
                  <a:lnTo>
                    <a:pt x="748" y="808"/>
                  </a:lnTo>
                  <a:lnTo>
                    <a:pt x="772" y="786"/>
                  </a:lnTo>
                  <a:lnTo>
                    <a:pt x="788" y="776"/>
                  </a:lnTo>
                  <a:lnTo>
                    <a:pt x="814" y="750"/>
                  </a:lnTo>
                  <a:lnTo>
                    <a:pt x="832" y="728"/>
                  </a:lnTo>
                  <a:lnTo>
                    <a:pt x="854" y="702"/>
                  </a:lnTo>
                  <a:lnTo>
                    <a:pt x="872" y="686"/>
                  </a:lnTo>
                  <a:lnTo>
                    <a:pt x="878" y="682"/>
                  </a:lnTo>
                  <a:lnTo>
                    <a:pt x="886" y="674"/>
                  </a:lnTo>
                  <a:lnTo>
                    <a:pt x="908" y="648"/>
                  </a:lnTo>
                  <a:lnTo>
                    <a:pt x="920" y="628"/>
                  </a:lnTo>
                  <a:lnTo>
                    <a:pt x="932" y="606"/>
                  </a:lnTo>
                  <a:lnTo>
                    <a:pt x="946" y="580"/>
                  </a:lnTo>
                  <a:lnTo>
                    <a:pt x="956" y="566"/>
                  </a:lnTo>
                  <a:lnTo>
                    <a:pt x="966" y="542"/>
                  </a:lnTo>
                  <a:lnTo>
                    <a:pt x="976" y="526"/>
                  </a:lnTo>
                  <a:lnTo>
                    <a:pt x="1006" y="494"/>
                  </a:lnTo>
                  <a:lnTo>
                    <a:pt x="1012" y="492"/>
                  </a:lnTo>
                  <a:lnTo>
                    <a:pt x="1016" y="490"/>
                  </a:lnTo>
                  <a:lnTo>
                    <a:pt x="1022" y="486"/>
                  </a:lnTo>
                  <a:lnTo>
                    <a:pt x="1038" y="470"/>
                  </a:lnTo>
                  <a:lnTo>
                    <a:pt x="1044" y="460"/>
                  </a:lnTo>
                  <a:lnTo>
                    <a:pt x="1056" y="438"/>
                  </a:lnTo>
                  <a:lnTo>
                    <a:pt x="1064" y="394"/>
                  </a:lnTo>
                  <a:lnTo>
                    <a:pt x="1066" y="382"/>
                  </a:lnTo>
                  <a:lnTo>
                    <a:pt x="1076" y="356"/>
                  </a:lnTo>
                  <a:lnTo>
                    <a:pt x="1078" y="338"/>
                  </a:lnTo>
                  <a:lnTo>
                    <a:pt x="1070" y="338"/>
                  </a:lnTo>
                  <a:lnTo>
                    <a:pt x="1058" y="340"/>
                  </a:lnTo>
                  <a:lnTo>
                    <a:pt x="1052" y="340"/>
                  </a:lnTo>
                  <a:lnTo>
                    <a:pt x="1044" y="340"/>
                  </a:lnTo>
                  <a:lnTo>
                    <a:pt x="1032" y="338"/>
                  </a:lnTo>
                  <a:lnTo>
                    <a:pt x="1028" y="338"/>
                  </a:lnTo>
                  <a:lnTo>
                    <a:pt x="1026" y="338"/>
                  </a:lnTo>
                  <a:lnTo>
                    <a:pt x="1022" y="336"/>
                  </a:lnTo>
                  <a:lnTo>
                    <a:pt x="1020" y="336"/>
                  </a:lnTo>
                  <a:lnTo>
                    <a:pt x="1018" y="346"/>
                  </a:lnTo>
                  <a:lnTo>
                    <a:pt x="1016" y="362"/>
                  </a:lnTo>
                  <a:lnTo>
                    <a:pt x="1018" y="372"/>
                  </a:lnTo>
                  <a:lnTo>
                    <a:pt x="1002" y="372"/>
                  </a:lnTo>
                  <a:lnTo>
                    <a:pt x="986" y="372"/>
                  </a:lnTo>
                  <a:lnTo>
                    <a:pt x="972" y="368"/>
                  </a:lnTo>
                  <a:lnTo>
                    <a:pt x="958" y="358"/>
                  </a:lnTo>
                  <a:lnTo>
                    <a:pt x="950" y="344"/>
                  </a:lnTo>
                  <a:lnTo>
                    <a:pt x="946" y="334"/>
                  </a:lnTo>
                  <a:lnTo>
                    <a:pt x="942" y="334"/>
                  </a:lnTo>
                  <a:lnTo>
                    <a:pt x="940" y="332"/>
                  </a:lnTo>
                  <a:lnTo>
                    <a:pt x="940" y="322"/>
                  </a:lnTo>
                  <a:lnTo>
                    <a:pt x="940" y="310"/>
                  </a:lnTo>
                  <a:lnTo>
                    <a:pt x="942" y="306"/>
                  </a:lnTo>
                  <a:lnTo>
                    <a:pt x="950" y="292"/>
                  </a:lnTo>
                  <a:lnTo>
                    <a:pt x="956" y="284"/>
                  </a:lnTo>
                  <a:lnTo>
                    <a:pt x="960" y="276"/>
                  </a:lnTo>
                  <a:lnTo>
                    <a:pt x="968" y="266"/>
                  </a:lnTo>
                  <a:lnTo>
                    <a:pt x="976" y="258"/>
                  </a:lnTo>
                  <a:lnTo>
                    <a:pt x="980" y="258"/>
                  </a:lnTo>
                  <a:lnTo>
                    <a:pt x="982" y="258"/>
                  </a:lnTo>
                  <a:lnTo>
                    <a:pt x="996" y="268"/>
                  </a:lnTo>
                  <a:lnTo>
                    <a:pt x="1012" y="276"/>
                  </a:lnTo>
                  <a:lnTo>
                    <a:pt x="1014" y="274"/>
                  </a:lnTo>
                  <a:lnTo>
                    <a:pt x="1016" y="274"/>
                  </a:lnTo>
                  <a:lnTo>
                    <a:pt x="1016" y="268"/>
                  </a:lnTo>
                  <a:lnTo>
                    <a:pt x="1014" y="260"/>
                  </a:lnTo>
                  <a:lnTo>
                    <a:pt x="1018" y="250"/>
                  </a:lnTo>
                  <a:lnTo>
                    <a:pt x="1018" y="230"/>
                  </a:lnTo>
                  <a:lnTo>
                    <a:pt x="1018" y="224"/>
                  </a:lnTo>
                  <a:lnTo>
                    <a:pt x="1018" y="192"/>
                  </a:lnTo>
                  <a:lnTo>
                    <a:pt x="1018" y="178"/>
                  </a:lnTo>
                  <a:lnTo>
                    <a:pt x="1018" y="166"/>
                  </a:lnTo>
                  <a:lnTo>
                    <a:pt x="1018" y="158"/>
                  </a:lnTo>
                  <a:lnTo>
                    <a:pt x="1016" y="156"/>
                  </a:lnTo>
                  <a:lnTo>
                    <a:pt x="1014" y="148"/>
                  </a:lnTo>
                  <a:lnTo>
                    <a:pt x="1010" y="136"/>
                  </a:lnTo>
                  <a:lnTo>
                    <a:pt x="1006" y="124"/>
                  </a:lnTo>
                  <a:lnTo>
                    <a:pt x="1002" y="118"/>
                  </a:lnTo>
                  <a:lnTo>
                    <a:pt x="1000" y="114"/>
                  </a:lnTo>
                  <a:lnTo>
                    <a:pt x="998" y="108"/>
                  </a:lnTo>
                  <a:lnTo>
                    <a:pt x="994" y="100"/>
                  </a:lnTo>
                  <a:lnTo>
                    <a:pt x="990" y="96"/>
                  </a:lnTo>
                  <a:lnTo>
                    <a:pt x="990" y="90"/>
                  </a:lnTo>
                  <a:lnTo>
                    <a:pt x="990" y="80"/>
                  </a:lnTo>
                  <a:lnTo>
                    <a:pt x="984" y="62"/>
                  </a:lnTo>
                  <a:lnTo>
                    <a:pt x="982" y="48"/>
                  </a:lnTo>
                  <a:lnTo>
                    <a:pt x="978" y="34"/>
                  </a:lnTo>
                  <a:lnTo>
                    <a:pt x="974" y="24"/>
                  </a:lnTo>
                  <a:lnTo>
                    <a:pt x="974" y="22"/>
                  </a:lnTo>
                  <a:lnTo>
                    <a:pt x="974" y="18"/>
                  </a:lnTo>
                  <a:lnTo>
                    <a:pt x="968" y="14"/>
                  </a:lnTo>
                  <a:lnTo>
                    <a:pt x="960" y="12"/>
                  </a:lnTo>
                  <a:lnTo>
                    <a:pt x="948" y="10"/>
                  </a:lnTo>
                  <a:lnTo>
                    <a:pt x="936" y="10"/>
                  </a:lnTo>
                  <a:lnTo>
                    <a:pt x="918" y="12"/>
                  </a:lnTo>
                  <a:lnTo>
                    <a:pt x="902" y="1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7" name="Freeform 6962">
              <a:extLst>
                <a:ext uri="{FF2B5EF4-FFF2-40B4-BE49-F238E27FC236}">
                  <a16:creationId xmlns:a16="http://schemas.microsoft.com/office/drawing/2014/main" id="{EE15F13C-D73F-4CFF-8F20-C0BD54C72DAA}"/>
                </a:ext>
              </a:extLst>
            </p:cNvPr>
            <p:cNvSpPr/>
            <p:nvPr/>
          </p:nvSpPr>
          <p:spPr bwMode="auto">
            <a:xfrm>
              <a:off x="5854255" y="5618319"/>
              <a:ext cx="294475" cy="254775"/>
            </a:xfrm>
            <a:custGeom>
              <a:avLst/>
              <a:gdLst>
                <a:gd name="T0" fmla="*/ 562 w 764"/>
                <a:gd name="T1" fmla="*/ 2 h 661"/>
                <a:gd name="T2" fmla="*/ 458 w 764"/>
                <a:gd name="T3" fmla="*/ 16 h 661"/>
                <a:gd name="T4" fmla="*/ 438 w 764"/>
                <a:gd name="T5" fmla="*/ 52 h 661"/>
                <a:gd name="T6" fmla="*/ 436 w 764"/>
                <a:gd name="T7" fmla="*/ 106 h 661"/>
                <a:gd name="T8" fmla="*/ 430 w 764"/>
                <a:gd name="T9" fmla="*/ 172 h 661"/>
                <a:gd name="T10" fmla="*/ 422 w 764"/>
                <a:gd name="T11" fmla="*/ 230 h 661"/>
                <a:gd name="T12" fmla="*/ 464 w 764"/>
                <a:gd name="T13" fmla="*/ 274 h 661"/>
                <a:gd name="T14" fmla="*/ 492 w 764"/>
                <a:gd name="T15" fmla="*/ 268 h 661"/>
                <a:gd name="T16" fmla="*/ 510 w 764"/>
                <a:gd name="T17" fmla="*/ 347 h 661"/>
                <a:gd name="T18" fmla="*/ 490 w 764"/>
                <a:gd name="T19" fmla="*/ 335 h 661"/>
                <a:gd name="T20" fmla="*/ 454 w 764"/>
                <a:gd name="T21" fmla="*/ 331 h 661"/>
                <a:gd name="T22" fmla="*/ 428 w 764"/>
                <a:gd name="T23" fmla="*/ 300 h 661"/>
                <a:gd name="T24" fmla="*/ 384 w 764"/>
                <a:gd name="T25" fmla="*/ 270 h 661"/>
                <a:gd name="T26" fmla="*/ 344 w 764"/>
                <a:gd name="T27" fmla="*/ 236 h 661"/>
                <a:gd name="T28" fmla="*/ 324 w 764"/>
                <a:gd name="T29" fmla="*/ 244 h 661"/>
                <a:gd name="T30" fmla="*/ 284 w 764"/>
                <a:gd name="T31" fmla="*/ 246 h 661"/>
                <a:gd name="T32" fmla="*/ 228 w 764"/>
                <a:gd name="T33" fmla="*/ 232 h 661"/>
                <a:gd name="T34" fmla="*/ 216 w 764"/>
                <a:gd name="T35" fmla="*/ 198 h 661"/>
                <a:gd name="T36" fmla="*/ 176 w 764"/>
                <a:gd name="T37" fmla="*/ 208 h 661"/>
                <a:gd name="T38" fmla="*/ 156 w 764"/>
                <a:gd name="T39" fmla="*/ 192 h 661"/>
                <a:gd name="T40" fmla="*/ 130 w 764"/>
                <a:gd name="T41" fmla="*/ 176 h 661"/>
                <a:gd name="T42" fmla="*/ 132 w 764"/>
                <a:gd name="T43" fmla="*/ 218 h 661"/>
                <a:gd name="T44" fmla="*/ 132 w 764"/>
                <a:gd name="T45" fmla="*/ 274 h 661"/>
                <a:gd name="T46" fmla="*/ 128 w 764"/>
                <a:gd name="T47" fmla="*/ 317 h 661"/>
                <a:gd name="T48" fmla="*/ 14 w 764"/>
                <a:gd name="T49" fmla="*/ 563 h 661"/>
                <a:gd name="T50" fmla="*/ 90 w 764"/>
                <a:gd name="T51" fmla="*/ 633 h 661"/>
                <a:gd name="T52" fmla="*/ 192 w 764"/>
                <a:gd name="T53" fmla="*/ 627 h 661"/>
                <a:gd name="T54" fmla="*/ 246 w 764"/>
                <a:gd name="T55" fmla="*/ 647 h 661"/>
                <a:gd name="T56" fmla="*/ 330 w 764"/>
                <a:gd name="T57" fmla="*/ 655 h 661"/>
                <a:gd name="T58" fmla="*/ 344 w 764"/>
                <a:gd name="T59" fmla="*/ 631 h 661"/>
                <a:gd name="T60" fmla="*/ 350 w 764"/>
                <a:gd name="T61" fmla="*/ 621 h 661"/>
                <a:gd name="T62" fmla="*/ 372 w 764"/>
                <a:gd name="T63" fmla="*/ 593 h 661"/>
                <a:gd name="T64" fmla="*/ 378 w 764"/>
                <a:gd name="T65" fmla="*/ 583 h 661"/>
                <a:gd name="T66" fmla="*/ 384 w 764"/>
                <a:gd name="T67" fmla="*/ 575 h 661"/>
                <a:gd name="T68" fmla="*/ 396 w 764"/>
                <a:gd name="T69" fmla="*/ 577 h 661"/>
                <a:gd name="T70" fmla="*/ 408 w 764"/>
                <a:gd name="T71" fmla="*/ 565 h 661"/>
                <a:gd name="T72" fmla="*/ 418 w 764"/>
                <a:gd name="T73" fmla="*/ 559 h 661"/>
                <a:gd name="T74" fmla="*/ 432 w 764"/>
                <a:gd name="T75" fmla="*/ 555 h 661"/>
                <a:gd name="T76" fmla="*/ 452 w 764"/>
                <a:gd name="T77" fmla="*/ 523 h 661"/>
                <a:gd name="T78" fmla="*/ 542 w 764"/>
                <a:gd name="T79" fmla="*/ 497 h 661"/>
                <a:gd name="T80" fmla="*/ 540 w 764"/>
                <a:gd name="T81" fmla="*/ 453 h 661"/>
                <a:gd name="T82" fmla="*/ 612 w 764"/>
                <a:gd name="T83" fmla="*/ 427 h 661"/>
                <a:gd name="T84" fmla="*/ 674 w 764"/>
                <a:gd name="T85" fmla="*/ 407 h 661"/>
                <a:gd name="T86" fmla="*/ 724 w 764"/>
                <a:gd name="T87" fmla="*/ 385 h 661"/>
                <a:gd name="T88" fmla="*/ 710 w 764"/>
                <a:gd name="T89" fmla="*/ 371 h 661"/>
                <a:gd name="T90" fmla="*/ 700 w 764"/>
                <a:gd name="T91" fmla="*/ 357 h 661"/>
                <a:gd name="T92" fmla="*/ 720 w 764"/>
                <a:gd name="T93" fmla="*/ 327 h 661"/>
                <a:gd name="T94" fmla="*/ 722 w 764"/>
                <a:gd name="T95" fmla="*/ 294 h 661"/>
                <a:gd name="T96" fmla="*/ 746 w 764"/>
                <a:gd name="T97" fmla="*/ 274 h 661"/>
                <a:gd name="T98" fmla="*/ 738 w 764"/>
                <a:gd name="T99" fmla="*/ 222 h 661"/>
                <a:gd name="T100" fmla="*/ 740 w 764"/>
                <a:gd name="T101" fmla="*/ 182 h 661"/>
                <a:gd name="T102" fmla="*/ 764 w 764"/>
                <a:gd name="T103" fmla="*/ 156 h 661"/>
                <a:gd name="T104" fmla="*/ 748 w 764"/>
                <a:gd name="T105" fmla="*/ 126 h 661"/>
                <a:gd name="T106" fmla="*/ 734 w 764"/>
                <a:gd name="T107" fmla="*/ 92 h 661"/>
                <a:gd name="T108" fmla="*/ 720 w 764"/>
                <a:gd name="T109" fmla="*/ 86 h 661"/>
                <a:gd name="T110" fmla="*/ 688 w 764"/>
                <a:gd name="T111" fmla="*/ 64 h 661"/>
                <a:gd name="T112" fmla="*/ 650 w 764"/>
                <a:gd name="T113" fmla="*/ 52 h 661"/>
                <a:gd name="T114" fmla="*/ 630 w 764"/>
                <a:gd name="T115" fmla="*/ 42 h 661"/>
                <a:gd name="T116" fmla="*/ 602 w 764"/>
                <a:gd name="T117" fmla="*/ 34 h 661"/>
                <a:gd name="T118" fmla="*/ 594 w 764"/>
                <a:gd name="T119" fmla="*/ 38 h 661"/>
                <a:gd name="T120" fmla="*/ 568 w 764"/>
                <a:gd name="T121" fmla="*/ 18 h 661"/>
                <a:gd name="T122" fmla="*/ 562 w 764"/>
                <a:gd name="T123" fmla="*/ 18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64" h="661">
                  <a:moveTo>
                    <a:pt x="556" y="18"/>
                  </a:moveTo>
                  <a:lnTo>
                    <a:pt x="554" y="14"/>
                  </a:lnTo>
                  <a:lnTo>
                    <a:pt x="554" y="10"/>
                  </a:lnTo>
                  <a:lnTo>
                    <a:pt x="556" y="8"/>
                  </a:lnTo>
                  <a:lnTo>
                    <a:pt x="558" y="6"/>
                  </a:lnTo>
                  <a:lnTo>
                    <a:pt x="560" y="6"/>
                  </a:lnTo>
                  <a:lnTo>
                    <a:pt x="562" y="2"/>
                  </a:lnTo>
                  <a:lnTo>
                    <a:pt x="562" y="0"/>
                  </a:lnTo>
                  <a:lnTo>
                    <a:pt x="546" y="2"/>
                  </a:lnTo>
                  <a:lnTo>
                    <a:pt x="528" y="4"/>
                  </a:lnTo>
                  <a:lnTo>
                    <a:pt x="510" y="8"/>
                  </a:lnTo>
                  <a:lnTo>
                    <a:pt x="490" y="10"/>
                  </a:lnTo>
                  <a:lnTo>
                    <a:pt x="474" y="12"/>
                  </a:lnTo>
                  <a:lnTo>
                    <a:pt x="458" y="16"/>
                  </a:lnTo>
                  <a:lnTo>
                    <a:pt x="452" y="16"/>
                  </a:lnTo>
                  <a:lnTo>
                    <a:pt x="454" y="24"/>
                  </a:lnTo>
                  <a:lnTo>
                    <a:pt x="454" y="32"/>
                  </a:lnTo>
                  <a:lnTo>
                    <a:pt x="450" y="36"/>
                  </a:lnTo>
                  <a:lnTo>
                    <a:pt x="446" y="44"/>
                  </a:lnTo>
                  <a:lnTo>
                    <a:pt x="444" y="46"/>
                  </a:lnTo>
                  <a:lnTo>
                    <a:pt x="438" y="52"/>
                  </a:lnTo>
                  <a:lnTo>
                    <a:pt x="434" y="56"/>
                  </a:lnTo>
                  <a:lnTo>
                    <a:pt x="426" y="62"/>
                  </a:lnTo>
                  <a:lnTo>
                    <a:pt x="420" y="66"/>
                  </a:lnTo>
                  <a:lnTo>
                    <a:pt x="420" y="70"/>
                  </a:lnTo>
                  <a:lnTo>
                    <a:pt x="430" y="84"/>
                  </a:lnTo>
                  <a:lnTo>
                    <a:pt x="434" y="96"/>
                  </a:lnTo>
                  <a:lnTo>
                    <a:pt x="436" y="106"/>
                  </a:lnTo>
                  <a:lnTo>
                    <a:pt x="436" y="112"/>
                  </a:lnTo>
                  <a:lnTo>
                    <a:pt x="434" y="124"/>
                  </a:lnTo>
                  <a:lnTo>
                    <a:pt x="434" y="138"/>
                  </a:lnTo>
                  <a:lnTo>
                    <a:pt x="434" y="144"/>
                  </a:lnTo>
                  <a:lnTo>
                    <a:pt x="436" y="154"/>
                  </a:lnTo>
                  <a:lnTo>
                    <a:pt x="436" y="162"/>
                  </a:lnTo>
                  <a:lnTo>
                    <a:pt x="430" y="172"/>
                  </a:lnTo>
                  <a:lnTo>
                    <a:pt x="428" y="180"/>
                  </a:lnTo>
                  <a:lnTo>
                    <a:pt x="424" y="192"/>
                  </a:lnTo>
                  <a:lnTo>
                    <a:pt x="420" y="208"/>
                  </a:lnTo>
                  <a:lnTo>
                    <a:pt x="418" y="216"/>
                  </a:lnTo>
                  <a:lnTo>
                    <a:pt x="418" y="222"/>
                  </a:lnTo>
                  <a:lnTo>
                    <a:pt x="420" y="226"/>
                  </a:lnTo>
                  <a:lnTo>
                    <a:pt x="422" y="230"/>
                  </a:lnTo>
                  <a:lnTo>
                    <a:pt x="426" y="238"/>
                  </a:lnTo>
                  <a:lnTo>
                    <a:pt x="430" y="242"/>
                  </a:lnTo>
                  <a:lnTo>
                    <a:pt x="432" y="244"/>
                  </a:lnTo>
                  <a:lnTo>
                    <a:pt x="444" y="254"/>
                  </a:lnTo>
                  <a:lnTo>
                    <a:pt x="450" y="260"/>
                  </a:lnTo>
                  <a:lnTo>
                    <a:pt x="458" y="268"/>
                  </a:lnTo>
                  <a:lnTo>
                    <a:pt x="464" y="274"/>
                  </a:lnTo>
                  <a:lnTo>
                    <a:pt x="472" y="276"/>
                  </a:lnTo>
                  <a:lnTo>
                    <a:pt x="482" y="278"/>
                  </a:lnTo>
                  <a:lnTo>
                    <a:pt x="488" y="280"/>
                  </a:lnTo>
                  <a:lnTo>
                    <a:pt x="490" y="278"/>
                  </a:lnTo>
                  <a:lnTo>
                    <a:pt x="492" y="276"/>
                  </a:lnTo>
                  <a:lnTo>
                    <a:pt x="492" y="272"/>
                  </a:lnTo>
                  <a:lnTo>
                    <a:pt x="492" y="268"/>
                  </a:lnTo>
                  <a:lnTo>
                    <a:pt x="492" y="266"/>
                  </a:lnTo>
                  <a:lnTo>
                    <a:pt x="496" y="264"/>
                  </a:lnTo>
                  <a:lnTo>
                    <a:pt x="504" y="264"/>
                  </a:lnTo>
                  <a:lnTo>
                    <a:pt x="508" y="262"/>
                  </a:lnTo>
                  <a:lnTo>
                    <a:pt x="512" y="262"/>
                  </a:lnTo>
                  <a:lnTo>
                    <a:pt x="512" y="343"/>
                  </a:lnTo>
                  <a:lnTo>
                    <a:pt x="510" y="347"/>
                  </a:lnTo>
                  <a:lnTo>
                    <a:pt x="506" y="347"/>
                  </a:lnTo>
                  <a:lnTo>
                    <a:pt x="502" y="345"/>
                  </a:lnTo>
                  <a:lnTo>
                    <a:pt x="502" y="343"/>
                  </a:lnTo>
                  <a:lnTo>
                    <a:pt x="500" y="337"/>
                  </a:lnTo>
                  <a:lnTo>
                    <a:pt x="498" y="335"/>
                  </a:lnTo>
                  <a:lnTo>
                    <a:pt x="496" y="333"/>
                  </a:lnTo>
                  <a:lnTo>
                    <a:pt x="490" y="335"/>
                  </a:lnTo>
                  <a:lnTo>
                    <a:pt x="484" y="339"/>
                  </a:lnTo>
                  <a:lnTo>
                    <a:pt x="476" y="343"/>
                  </a:lnTo>
                  <a:lnTo>
                    <a:pt x="472" y="343"/>
                  </a:lnTo>
                  <a:lnTo>
                    <a:pt x="466" y="343"/>
                  </a:lnTo>
                  <a:lnTo>
                    <a:pt x="460" y="341"/>
                  </a:lnTo>
                  <a:lnTo>
                    <a:pt x="456" y="337"/>
                  </a:lnTo>
                  <a:lnTo>
                    <a:pt x="454" y="331"/>
                  </a:lnTo>
                  <a:lnTo>
                    <a:pt x="450" y="325"/>
                  </a:lnTo>
                  <a:lnTo>
                    <a:pt x="444" y="316"/>
                  </a:lnTo>
                  <a:lnTo>
                    <a:pt x="442" y="314"/>
                  </a:lnTo>
                  <a:lnTo>
                    <a:pt x="438" y="308"/>
                  </a:lnTo>
                  <a:lnTo>
                    <a:pt x="434" y="308"/>
                  </a:lnTo>
                  <a:lnTo>
                    <a:pt x="430" y="308"/>
                  </a:lnTo>
                  <a:lnTo>
                    <a:pt x="428" y="300"/>
                  </a:lnTo>
                  <a:lnTo>
                    <a:pt x="424" y="292"/>
                  </a:lnTo>
                  <a:lnTo>
                    <a:pt x="424" y="290"/>
                  </a:lnTo>
                  <a:lnTo>
                    <a:pt x="420" y="286"/>
                  </a:lnTo>
                  <a:lnTo>
                    <a:pt x="418" y="284"/>
                  </a:lnTo>
                  <a:lnTo>
                    <a:pt x="410" y="280"/>
                  </a:lnTo>
                  <a:lnTo>
                    <a:pt x="398" y="276"/>
                  </a:lnTo>
                  <a:lnTo>
                    <a:pt x="384" y="270"/>
                  </a:lnTo>
                  <a:lnTo>
                    <a:pt x="378" y="270"/>
                  </a:lnTo>
                  <a:lnTo>
                    <a:pt x="370" y="268"/>
                  </a:lnTo>
                  <a:lnTo>
                    <a:pt x="366" y="266"/>
                  </a:lnTo>
                  <a:lnTo>
                    <a:pt x="364" y="264"/>
                  </a:lnTo>
                  <a:lnTo>
                    <a:pt x="360" y="256"/>
                  </a:lnTo>
                  <a:lnTo>
                    <a:pt x="356" y="248"/>
                  </a:lnTo>
                  <a:lnTo>
                    <a:pt x="344" y="236"/>
                  </a:lnTo>
                  <a:lnTo>
                    <a:pt x="340" y="224"/>
                  </a:lnTo>
                  <a:lnTo>
                    <a:pt x="338" y="222"/>
                  </a:lnTo>
                  <a:lnTo>
                    <a:pt x="334" y="224"/>
                  </a:lnTo>
                  <a:lnTo>
                    <a:pt x="332" y="226"/>
                  </a:lnTo>
                  <a:lnTo>
                    <a:pt x="330" y="228"/>
                  </a:lnTo>
                  <a:lnTo>
                    <a:pt x="326" y="240"/>
                  </a:lnTo>
                  <a:lnTo>
                    <a:pt x="324" y="244"/>
                  </a:lnTo>
                  <a:lnTo>
                    <a:pt x="324" y="246"/>
                  </a:lnTo>
                  <a:lnTo>
                    <a:pt x="322" y="248"/>
                  </a:lnTo>
                  <a:lnTo>
                    <a:pt x="316" y="248"/>
                  </a:lnTo>
                  <a:lnTo>
                    <a:pt x="310" y="250"/>
                  </a:lnTo>
                  <a:lnTo>
                    <a:pt x="302" y="250"/>
                  </a:lnTo>
                  <a:lnTo>
                    <a:pt x="290" y="248"/>
                  </a:lnTo>
                  <a:lnTo>
                    <a:pt x="284" y="246"/>
                  </a:lnTo>
                  <a:lnTo>
                    <a:pt x="268" y="244"/>
                  </a:lnTo>
                  <a:lnTo>
                    <a:pt x="264" y="244"/>
                  </a:lnTo>
                  <a:lnTo>
                    <a:pt x="258" y="242"/>
                  </a:lnTo>
                  <a:lnTo>
                    <a:pt x="252" y="240"/>
                  </a:lnTo>
                  <a:lnTo>
                    <a:pt x="238" y="234"/>
                  </a:lnTo>
                  <a:lnTo>
                    <a:pt x="230" y="234"/>
                  </a:lnTo>
                  <a:lnTo>
                    <a:pt x="228" y="232"/>
                  </a:lnTo>
                  <a:lnTo>
                    <a:pt x="224" y="230"/>
                  </a:lnTo>
                  <a:lnTo>
                    <a:pt x="220" y="226"/>
                  </a:lnTo>
                  <a:lnTo>
                    <a:pt x="218" y="222"/>
                  </a:lnTo>
                  <a:lnTo>
                    <a:pt x="216" y="212"/>
                  </a:lnTo>
                  <a:lnTo>
                    <a:pt x="216" y="206"/>
                  </a:lnTo>
                  <a:lnTo>
                    <a:pt x="218" y="200"/>
                  </a:lnTo>
                  <a:lnTo>
                    <a:pt x="216" y="198"/>
                  </a:lnTo>
                  <a:lnTo>
                    <a:pt x="214" y="198"/>
                  </a:lnTo>
                  <a:lnTo>
                    <a:pt x="210" y="200"/>
                  </a:lnTo>
                  <a:lnTo>
                    <a:pt x="202" y="202"/>
                  </a:lnTo>
                  <a:lnTo>
                    <a:pt x="190" y="204"/>
                  </a:lnTo>
                  <a:lnTo>
                    <a:pt x="184" y="206"/>
                  </a:lnTo>
                  <a:lnTo>
                    <a:pt x="180" y="206"/>
                  </a:lnTo>
                  <a:lnTo>
                    <a:pt x="176" y="208"/>
                  </a:lnTo>
                  <a:lnTo>
                    <a:pt x="166" y="214"/>
                  </a:lnTo>
                  <a:lnTo>
                    <a:pt x="162" y="214"/>
                  </a:lnTo>
                  <a:lnTo>
                    <a:pt x="156" y="212"/>
                  </a:lnTo>
                  <a:lnTo>
                    <a:pt x="154" y="208"/>
                  </a:lnTo>
                  <a:lnTo>
                    <a:pt x="156" y="206"/>
                  </a:lnTo>
                  <a:lnTo>
                    <a:pt x="158" y="202"/>
                  </a:lnTo>
                  <a:lnTo>
                    <a:pt x="156" y="192"/>
                  </a:lnTo>
                  <a:lnTo>
                    <a:pt x="152" y="190"/>
                  </a:lnTo>
                  <a:lnTo>
                    <a:pt x="144" y="186"/>
                  </a:lnTo>
                  <a:lnTo>
                    <a:pt x="140" y="186"/>
                  </a:lnTo>
                  <a:lnTo>
                    <a:pt x="140" y="182"/>
                  </a:lnTo>
                  <a:lnTo>
                    <a:pt x="136" y="176"/>
                  </a:lnTo>
                  <a:lnTo>
                    <a:pt x="132" y="176"/>
                  </a:lnTo>
                  <a:lnTo>
                    <a:pt x="130" y="176"/>
                  </a:lnTo>
                  <a:lnTo>
                    <a:pt x="130" y="184"/>
                  </a:lnTo>
                  <a:lnTo>
                    <a:pt x="132" y="196"/>
                  </a:lnTo>
                  <a:lnTo>
                    <a:pt x="134" y="206"/>
                  </a:lnTo>
                  <a:lnTo>
                    <a:pt x="134" y="210"/>
                  </a:lnTo>
                  <a:lnTo>
                    <a:pt x="134" y="212"/>
                  </a:lnTo>
                  <a:lnTo>
                    <a:pt x="134" y="214"/>
                  </a:lnTo>
                  <a:lnTo>
                    <a:pt x="132" y="218"/>
                  </a:lnTo>
                  <a:lnTo>
                    <a:pt x="130" y="224"/>
                  </a:lnTo>
                  <a:lnTo>
                    <a:pt x="130" y="226"/>
                  </a:lnTo>
                  <a:lnTo>
                    <a:pt x="130" y="232"/>
                  </a:lnTo>
                  <a:lnTo>
                    <a:pt x="130" y="242"/>
                  </a:lnTo>
                  <a:lnTo>
                    <a:pt x="128" y="250"/>
                  </a:lnTo>
                  <a:lnTo>
                    <a:pt x="128" y="258"/>
                  </a:lnTo>
                  <a:lnTo>
                    <a:pt x="132" y="274"/>
                  </a:lnTo>
                  <a:lnTo>
                    <a:pt x="132" y="280"/>
                  </a:lnTo>
                  <a:lnTo>
                    <a:pt x="128" y="288"/>
                  </a:lnTo>
                  <a:lnTo>
                    <a:pt x="126" y="294"/>
                  </a:lnTo>
                  <a:lnTo>
                    <a:pt x="124" y="300"/>
                  </a:lnTo>
                  <a:lnTo>
                    <a:pt x="124" y="304"/>
                  </a:lnTo>
                  <a:lnTo>
                    <a:pt x="130" y="316"/>
                  </a:lnTo>
                  <a:lnTo>
                    <a:pt x="128" y="317"/>
                  </a:lnTo>
                  <a:lnTo>
                    <a:pt x="124" y="317"/>
                  </a:lnTo>
                  <a:lnTo>
                    <a:pt x="122" y="317"/>
                  </a:lnTo>
                  <a:lnTo>
                    <a:pt x="0" y="317"/>
                  </a:lnTo>
                  <a:lnTo>
                    <a:pt x="0" y="517"/>
                  </a:lnTo>
                  <a:lnTo>
                    <a:pt x="2" y="539"/>
                  </a:lnTo>
                  <a:lnTo>
                    <a:pt x="10" y="561"/>
                  </a:lnTo>
                  <a:lnTo>
                    <a:pt x="14" y="563"/>
                  </a:lnTo>
                  <a:lnTo>
                    <a:pt x="20" y="567"/>
                  </a:lnTo>
                  <a:lnTo>
                    <a:pt x="30" y="577"/>
                  </a:lnTo>
                  <a:lnTo>
                    <a:pt x="36" y="583"/>
                  </a:lnTo>
                  <a:lnTo>
                    <a:pt x="48" y="593"/>
                  </a:lnTo>
                  <a:lnTo>
                    <a:pt x="62" y="609"/>
                  </a:lnTo>
                  <a:lnTo>
                    <a:pt x="78" y="621"/>
                  </a:lnTo>
                  <a:lnTo>
                    <a:pt x="90" y="633"/>
                  </a:lnTo>
                  <a:lnTo>
                    <a:pt x="104" y="629"/>
                  </a:lnTo>
                  <a:lnTo>
                    <a:pt x="118" y="627"/>
                  </a:lnTo>
                  <a:lnTo>
                    <a:pt x="134" y="625"/>
                  </a:lnTo>
                  <a:lnTo>
                    <a:pt x="146" y="623"/>
                  </a:lnTo>
                  <a:lnTo>
                    <a:pt x="150" y="621"/>
                  </a:lnTo>
                  <a:lnTo>
                    <a:pt x="180" y="625"/>
                  </a:lnTo>
                  <a:lnTo>
                    <a:pt x="192" y="627"/>
                  </a:lnTo>
                  <a:lnTo>
                    <a:pt x="198" y="627"/>
                  </a:lnTo>
                  <a:lnTo>
                    <a:pt x="202" y="633"/>
                  </a:lnTo>
                  <a:lnTo>
                    <a:pt x="214" y="643"/>
                  </a:lnTo>
                  <a:lnTo>
                    <a:pt x="226" y="647"/>
                  </a:lnTo>
                  <a:lnTo>
                    <a:pt x="234" y="647"/>
                  </a:lnTo>
                  <a:lnTo>
                    <a:pt x="240" y="645"/>
                  </a:lnTo>
                  <a:lnTo>
                    <a:pt x="246" y="647"/>
                  </a:lnTo>
                  <a:lnTo>
                    <a:pt x="254" y="655"/>
                  </a:lnTo>
                  <a:lnTo>
                    <a:pt x="262" y="655"/>
                  </a:lnTo>
                  <a:lnTo>
                    <a:pt x="272" y="651"/>
                  </a:lnTo>
                  <a:lnTo>
                    <a:pt x="284" y="653"/>
                  </a:lnTo>
                  <a:lnTo>
                    <a:pt x="300" y="659"/>
                  </a:lnTo>
                  <a:lnTo>
                    <a:pt x="314" y="661"/>
                  </a:lnTo>
                  <a:lnTo>
                    <a:pt x="330" y="655"/>
                  </a:lnTo>
                  <a:lnTo>
                    <a:pt x="330" y="653"/>
                  </a:lnTo>
                  <a:lnTo>
                    <a:pt x="332" y="649"/>
                  </a:lnTo>
                  <a:lnTo>
                    <a:pt x="334" y="647"/>
                  </a:lnTo>
                  <a:lnTo>
                    <a:pt x="334" y="645"/>
                  </a:lnTo>
                  <a:lnTo>
                    <a:pt x="336" y="641"/>
                  </a:lnTo>
                  <a:lnTo>
                    <a:pt x="340" y="637"/>
                  </a:lnTo>
                  <a:lnTo>
                    <a:pt x="344" y="631"/>
                  </a:lnTo>
                  <a:lnTo>
                    <a:pt x="348" y="629"/>
                  </a:lnTo>
                  <a:lnTo>
                    <a:pt x="348" y="627"/>
                  </a:lnTo>
                  <a:lnTo>
                    <a:pt x="350" y="627"/>
                  </a:lnTo>
                  <a:lnTo>
                    <a:pt x="352" y="625"/>
                  </a:lnTo>
                  <a:lnTo>
                    <a:pt x="352" y="623"/>
                  </a:lnTo>
                  <a:lnTo>
                    <a:pt x="352" y="621"/>
                  </a:lnTo>
                  <a:lnTo>
                    <a:pt x="350" y="621"/>
                  </a:lnTo>
                  <a:lnTo>
                    <a:pt x="352" y="615"/>
                  </a:lnTo>
                  <a:lnTo>
                    <a:pt x="356" y="609"/>
                  </a:lnTo>
                  <a:lnTo>
                    <a:pt x="358" y="605"/>
                  </a:lnTo>
                  <a:lnTo>
                    <a:pt x="364" y="599"/>
                  </a:lnTo>
                  <a:lnTo>
                    <a:pt x="368" y="593"/>
                  </a:lnTo>
                  <a:lnTo>
                    <a:pt x="370" y="593"/>
                  </a:lnTo>
                  <a:lnTo>
                    <a:pt x="372" y="593"/>
                  </a:lnTo>
                  <a:lnTo>
                    <a:pt x="374" y="593"/>
                  </a:lnTo>
                  <a:lnTo>
                    <a:pt x="374" y="591"/>
                  </a:lnTo>
                  <a:lnTo>
                    <a:pt x="374" y="589"/>
                  </a:lnTo>
                  <a:lnTo>
                    <a:pt x="376" y="585"/>
                  </a:lnTo>
                  <a:lnTo>
                    <a:pt x="374" y="585"/>
                  </a:lnTo>
                  <a:lnTo>
                    <a:pt x="376" y="583"/>
                  </a:lnTo>
                  <a:lnTo>
                    <a:pt x="378" y="583"/>
                  </a:lnTo>
                  <a:lnTo>
                    <a:pt x="380" y="583"/>
                  </a:lnTo>
                  <a:lnTo>
                    <a:pt x="382" y="583"/>
                  </a:lnTo>
                  <a:lnTo>
                    <a:pt x="382" y="579"/>
                  </a:lnTo>
                  <a:lnTo>
                    <a:pt x="380" y="577"/>
                  </a:lnTo>
                  <a:lnTo>
                    <a:pt x="380" y="577"/>
                  </a:lnTo>
                  <a:lnTo>
                    <a:pt x="382" y="575"/>
                  </a:lnTo>
                  <a:lnTo>
                    <a:pt x="384" y="575"/>
                  </a:lnTo>
                  <a:lnTo>
                    <a:pt x="386" y="573"/>
                  </a:lnTo>
                  <a:lnTo>
                    <a:pt x="388" y="573"/>
                  </a:lnTo>
                  <a:lnTo>
                    <a:pt x="388" y="573"/>
                  </a:lnTo>
                  <a:lnTo>
                    <a:pt x="390" y="575"/>
                  </a:lnTo>
                  <a:lnTo>
                    <a:pt x="392" y="577"/>
                  </a:lnTo>
                  <a:lnTo>
                    <a:pt x="394" y="577"/>
                  </a:lnTo>
                  <a:lnTo>
                    <a:pt x="396" y="577"/>
                  </a:lnTo>
                  <a:lnTo>
                    <a:pt x="398" y="575"/>
                  </a:lnTo>
                  <a:lnTo>
                    <a:pt x="400" y="571"/>
                  </a:lnTo>
                  <a:lnTo>
                    <a:pt x="402" y="571"/>
                  </a:lnTo>
                  <a:lnTo>
                    <a:pt x="404" y="569"/>
                  </a:lnTo>
                  <a:lnTo>
                    <a:pt x="406" y="567"/>
                  </a:lnTo>
                  <a:lnTo>
                    <a:pt x="406" y="565"/>
                  </a:lnTo>
                  <a:lnTo>
                    <a:pt x="408" y="565"/>
                  </a:lnTo>
                  <a:lnTo>
                    <a:pt x="410" y="563"/>
                  </a:lnTo>
                  <a:lnTo>
                    <a:pt x="412" y="561"/>
                  </a:lnTo>
                  <a:lnTo>
                    <a:pt x="414" y="559"/>
                  </a:lnTo>
                  <a:lnTo>
                    <a:pt x="412" y="557"/>
                  </a:lnTo>
                  <a:lnTo>
                    <a:pt x="414" y="557"/>
                  </a:lnTo>
                  <a:lnTo>
                    <a:pt x="416" y="559"/>
                  </a:lnTo>
                  <a:lnTo>
                    <a:pt x="418" y="559"/>
                  </a:lnTo>
                  <a:lnTo>
                    <a:pt x="420" y="561"/>
                  </a:lnTo>
                  <a:lnTo>
                    <a:pt x="422" y="559"/>
                  </a:lnTo>
                  <a:lnTo>
                    <a:pt x="426" y="557"/>
                  </a:lnTo>
                  <a:lnTo>
                    <a:pt x="428" y="557"/>
                  </a:lnTo>
                  <a:lnTo>
                    <a:pt x="430" y="557"/>
                  </a:lnTo>
                  <a:lnTo>
                    <a:pt x="430" y="555"/>
                  </a:lnTo>
                  <a:lnTo>
                    <a:pt x="432" y="555"/>
                  </a:lnTo>
                  <a:lnTo>
                    <a:pt x="434" y="555"/>
                  </a:lnTo>
                  <a:lnTo>
                    <a:pt x="438" y="555"/>
                  </a:lnTo>
                  <a:lnTo>
                    <a:pt x="444" y="557"/>
                  </a:lnTo>
                  <a:lnTo>
                    <a:pt x="448" y="549"/>
                  </a:lnTo>
                  <a:lnTo>
                    <a:pt x="450" y="541"/>
                  </a:lnTo>
                  <a:lnTo>
                    <a:pt x="450" y="529"/>
                  </a:lnTo>
                  <a:lnTo>
                    <a:pt x="452" y="523"/>
                  </a:lnTo>
                  <a:lnTo>
                    <a:pt x="454" y="519"/>
                  </a:lnTo>
                  <a:lnTo>
                    <a:pt x="458" y="517"/>
                  </a:lnTo>
                  <a:lnTo>
                    <a:pt x="462" y="513"/>
                  </a:lnTo>
                  <a:lnTo>
                    <a:pt x="478" y="505"/>
                  </a:lnTo>
                  <a:lnTo>
                    <a:pt x="492" y="499"/>
                  </a:lnTo>
                  <a:lnTo>
                    <a:pt x="506" y="497"/>
                  </a:lnTo>
                  <a:lnTo>
                    <a:pt x="542" y="497"/>
                  </a:lnTo>
                  <a:lnTo>
                    <a:pt x="550" y="495"/>
                  </a:lnTo>
                  <a:lnTo>
                    <a:pt x="550" y="487"/>
                  </a:lnTo>
                  <a:lnTo>
                    <a:pt x="548" y="477"/>
                  </a:lnTo>
                  <a:lnTo>
                    <a:pt x="544" y="471"/>
                  </a:lnTo>
                  <a:lnTo>
                    <a:pt x="542" y="465"/>
                  </a:lnTo>
                  <a:lnTo>
                    <a:pt x="540" y="457"/>
                  </a:lnTo>
                  <a:lnTo>
                    <a:pt x="540" y="453"/>
                  </a:lnTo>
                  <a:lnTo>
                    <a:pt x="540" y="451"/>
                  </a:lnTo>
                  <a:lnTo>
                    <a:pt x="554" y="447"/>
                  </a:lnTo>
                  <a:lnTo>
                    <a:pt x="560" y="443"/>
                  </a:lnTo>
                  <a:lnTo>
                    <a:pt x="568" y="439"/>
                  </a:lnTo>
                  <a:lnTo>
                    <a:pt x="584" y="435"/>
                  </a:lnTo>
                  <a:lnTo>
                    <a:pt x="600" y="431"/>
                  </a:lnTo>
                  <a:lnTo>
                    <a:pt x="612" y="427"/>
                  </a:lnTo>
                  <a:lnTo>
                    <a:pt x="626" y="423"/>
                  </a:lnTo>
                  <a:lnTo>
                    <a:pt x="632" y="421"/>
                  </a:lnTo>
                  <a:lnTo>
                    <a:pt x="638" y="419"/>
                  </a:lnTo>
                  <a:lnTo>
                    <a:pt x="654" y="413"/>
                  </a:lnTo>
                  <a:lnTo>
                    <a:pt x="660" y="411"/>
                  </a:lnTo>
                  <a:lnTo>
                    <a:pt x="668" y="407"/>
                  </a:lnTo>
                  <a:lnTo>
                    <a:pt x="674" y="407"/>
                  </a:lnTo>
                  <a:lnTo>
                    <a:pt x="692" y="399"/>
                  </a:lnTo>
                  <a:lnTo>
                    <a:pt x="714" y="393"/>
                  </a:lnTo>
                  <a:lnTo>
                    <a:pt x="720" y="391"/>
                  </a:lnTo>
                  <a:lnTo>
                    <a:pt x="734" y="385"/>
                  </a:lnTo>
                  <a:lnTo>
                    <a:pt x="732" y="381"/>
                  </a:lnTo>
                  <a:lnTo>
                    <a:pt x="728" y="381"/>
                  </a:lnTo>
                  <a:lnTo>
                    <a:pt x="724" y="385"/>
                  </a:lnTo>
                  <a:lnTo>
                    <a:pt x="722" y="387"/>
                  </a:lnTo>
                  <a:lnTo>
                    <a:pt x="720" y="387"/>
                  </a:lnTo>
                  <a:lnTo>
                    <a:pt x="720" y="385"/>
                  </a:lnTo>
                  <a:lnTo>
                    <a:pt x="720" y="383"/>
                  </a:lnTo>
                  <a:lnTo>
                    <a:pt x="716" y="377"/>
                  </a:lnTo>
                  <a:lnTo>
                    <a:pt x="712" y="373"/>
                  </a:lnTo>
                  <a:lnTo>
                    <a:pt x="710" y="371"/>
                  </a:lnTo>
                  <a:lnTo>
                    <a:pt x="706" y="369"/>
                  </a:lnTo>
                  <a:lnTo>
                    <a:pt x="708" y="367"/>
                  </a:lnTo>
                  <a:lnTo>
                    <a:pt x="708" y="365"/>
                  </a:lnTo>
                  <a:lnTo>
                    <a:pt x="708" y="363"/>
                  </a:lnTo>
                  <a:lnTo>
                    <a:pt x="706" y="361"/>
                  </a:lnTo>
                  <a:lnTo>
                    <a:pt x="700" y="359"/>
                  </a:lnTo>
                  <a:lnTo>
                    <a:pt x="700" y="357"/>
                  </a:lnTo>
                  <a:lnTo>
                    <a:pt x="706" y="355"/>
                  </a:lnTo>
                  <a:lnTo>
                    <a:pt x="710" y="351"/>
                  </a:lnTo>
                  <a:lnTo>
                    <a:pt x="712" y="347"/>
                  </a:lnTo>
                  <a:lnTo>
                    <a:pt x="714" y="341"/>
                  </a:lnTo>
                  <a:lnTo>
                    <a:pt x="718" y="335"/>
                  </a:lnTo>
                  <a:lnTo>
                    <a:pt x="720" y="333"/>
                  </a:lnTo>
                  <a:lnTo>
                    <a:pt x="720" y="327"/>
                  </a:lnTo>
                  <a:lnTo>
                    <a:pt x="720" y="323"/>
                  </a:lnTo>
                  <a:lnTo>
                    <a:pt x="720" y="317"/>
                  </a:lnTo>
                  <a:lnTo>
                    <a:pt x="722" y="312"/>
                  </a:lnTo>
                  <a:lnTo>
                    <a:pt x="720" y="310"/>
                  </a:lnTo>
                  <a:lnTo>
                    <a:pt x="718" y="306"/>
                  </a:lnTo>
                  <a:lnTo>
                    <a:pt x="720" y="298"/>
                  </a:lnTo>
                  <a:lnTo>
                    <a:pt x="722" y="294"/>
                  </a:lnTo>
                  <a:lnTo>
                    <a:pt x="738" y="288"/>
                  </a:lnTo>
                  <a:lnTo>
                    <a:pt x="748" y="284"/>
                  </a:lnTo>
                  <a:lnTo>
                    <a:pt x="750" y="282"/>
                  </a:lnTo>
                  <a:lnTo>
                    <a:pt x="754" y="278"/>
                  </a:lnTo>
                  <a:lnTo>
                    <a:pt x="756" y="274"/>
                  </a:lnTo>
                  <a:lnTo>
                    <a:pt x="754" y="274"/>
                  </a:lnTo>
                  <a:lnTo>
                    <a:pt x="746" y="274"/>
                  </a:lnTo>
                  <a:lnTo>
                    <a:pt x="744" y="272"/>
                  </a:lnTo>
                  <a:lnTo>
                    <a:pt x="738" y="258"/>
                  </a:lnTo>
                  <a:lnTo>
                    <a:pt x="742" y="244"/>
                  </a:lnTo>
                  <a:lnTo>
                    <a:pt x="742" y="238"/>
                  </a:lnTo>
                  <a:lnTo>
                    <a:pt x="742" y="230"/>
                  </a:lnTo>
                  <a:lnTo>
                    <a:pt x="740" y="224"/>
                  </a:lnTo>
                  <a:lnTo>
                    <a:pt x="738" y="222"/>
                  </a:lnTo>
                  <a:lnTo>
                    <a:pt x="736" y="220"/>
                  </a:lnTo>
                  <a:lnTo>
                    <a:pt x="736" y="212"/>
                  </a:lnTo>
                  <a:lnTo>
                    <a:pt x="740" y="212"/>
                  </a:lnTo>
                  <a:lnTo>
                    <a:pt x="744" y="200"/>
                  </a:lnTo>
                  <a:lnTo>
                    <a:pt x="746" y="194"/>
                  </a:lnTo>
                  <a:lnTo>
                    <a:pt x="744" y="190"/>
                  </a:lnTo>
                  <a:lnTo>
                    <a:pt x="740" y="182"/>
                  </a:lnTo>
                  <a:lnTo>
                    <a:pt x="740" y="178"/>
                  </a:lnTo>
                  <a:lnTo>
                    <a:pt x="738" y="176"/>
                  </a:lnTo>
                  <a:lnTo>
                    <a:pt x="740" y="174"/>
                  </a:lnTo>
                  <a:lnTo>
                    <a:pt x="744" y="172"/>
                  </a:lnTo>
                  <a:lnTo>
                    <a:pt x="748" y="172"/>
                  </a:lnTo>
                  <a:lnTo>
                    <a:pt x="752" y="170"/>
                  </a:lnTo>
                  <a:lnTo>
                    <a:pt x="764" y="156"/>
                  </a:lnTo>
                  <a:lnTo>
                    <a:pt x="764" y="154"/>
                  </a:lnTo>
                  <a:lnTo>
                    <a:pt x="762" y="150"/>
                  </a:lnTo>
                  <a:lnTo>
                    <a:pt x="758" y="144"/>
                  </a:lnTo>
                  <a:lnTo>
                    <a:pt x="756" y="140"/>
                  </a:lnTo>
                  <a:lnTo>
                    <a:pt x="756" y="134"/>
                  </a:lnTo>
                  <a:lnTo>
                    <a:pt x="754" y="130"/>
                  </a:lnTo>
                  <a:lnTo>
                    <a:pt x="748" y="126"/>
                  </a:lnTo>
                  <a:lnTo>
                    <a:pt x="742" y="120"/>
                  </a:lnTo>
                  <a:lnTo>
                    <a:pt x="744" y="114"/>
                  </a:lnTo>
                  <a:lnTo>
                    <a:pt x="744" y="108"/>
                  </a:lnTo>
                  <a:lnTo>
                    <a:pt x="742" y="104"/>
                  </a:lnTo>
                  <a:lnTo>
                    <a:pt x="738" y="102"/>
                  </a:lnTo>
                  <a:lnTo>
                    <a:pt x="736" y="96"/>
                  </a:lnTo>
                  <a:lnTo>
                    <a:pt x="734" y="92"/>
                  </a:lnTo>
                  <a:lnTo>
                    <a:pt x="732" y="92"/>
                  </a:lnTo>
                  <a:lnTo>
                    <a:pt x="728" y="92"/>
                  </a:lnTo>
                  <a:lnTo>
                    <a:pt x="726" y="94"/>
                  </a:lnTo>
                  <a:lnTo>
                    <a:pt x="724" y="94"/>
                  </a:lnTo>
                  <a:lnTo>
                    <a:pt x="722" y="92"/>
                  </a:lnTo>
                  <a:lnTo>
                    <a:pt x="720" y="88"/>
                  </a:lnTo>
                  <a:lnTo>
                    <a:pt x="720" y="86"/>
                  </a:lnTo>
                  <a:lnTo>
                    <a:pt x="718" y="84"/>
                  </a:lnTo>
                  <a:lnTo>
                    <a:pt x="716" y="80"/>
                  </a:lnTo>
                  <a:lnTo>
                    <a:pt x="716" y="78"/>
                  </a:lnTo>
                  <a:lnTo>
                    <a:pt x="712" y="76"/>
                  </a:lnTo>
                  <a:lnTo>
                    <a:pt x="706" y="72"/>
                  </a:lnTo>
                  <a:lnTo>
                    <a:pt x="696" y="68"/>
                  </a:lnTo>
                  <a:lnTo>
                    <a:pt x="688" y="64"/>
                  </a:lnTo>
                  <a:lnTo>
                    <a:pt x="684" y="62"/>
                  </a:lnTo>
                  <a:lnTo>
                    <a:pt x="676" y="60"/>
                  </a:lnTo>
                  <a:lnTo>
                    <a:pt x="670" y="60"/>
                  </a:lnTo>
                  <a:lnTo>
                    <a:pt x="664" y="56"/>
                  </a:lnTo>
                  <a:lnTo>
                    <a:pt x="658" y="56"/>
                  </a:lnTo>
                  <a:lnTo>
                    <a:pt x="652" y="54"/>
                  </a:lnTo>
                  <a:lnTo>
                    <a:pt x="650" y="52"/>
                  </a:lnTo>
                  <a:lnTo>
                    <a:pt x="650" y="48"/>
                  </a:lnTo>
                  <a:lnTo>
                    <a:pt x="648" y="46"/>
                  </a:lnTo>
                  <a:lnTo>
                    <a:pt x="644" y="44"/>
                  </a:lnTo>
                  <a:lnTo>
                    <a:pt x="640" y="44"/>
                  </a:lnTo>
                  <a:lnTo>
                    <a:pt x="636" y="46"/>
                  </a:lnTo>
                  <a:lnTo>
                    <a:pt x="634" y="44"/>
                  </a:lnTo>
                  <a:lnTo>
                    <a:pt x="630" y="42"/>
                  </a:lnTo>
                  <a:lnTo>
                    <a:pt x="626" y="38"/>
                  </a:lnTo>
                  <a:lnTo>
                    <a:pt x="626" y="32"/>
                  </a:lnTo>
                  <a:lnTo>
                    <a:pt x="620" y="28"/>
                  </a:lnTo>
                  <a:lnTo>
                    <a:pt x="614" y="26"/>
                  </a:lnTo>
                  <a:lnTo>
                    <a:pt x="602" y="26"/>
                  </a:lnTo>
                  <a:lnTo>
                    <a:pt x="604" y="28"/>
                  </a:lnTo>
                  <a:lnTo>
                    <a:pt x="602" y="34"/>
                  </a:lnTo>
                  <a:lnTo>
                    <a:pt x="602" y="34"/>
                  </a:lnTo>
                  <a:lnTo>
                    <a:pt x="602" y="34"/>
                  </a:lnTo>
                  <a:lnTo>
                    <a:pt x="600" y="32"/>
                  </a:lnTo>
                  <a:lnTo>
                    <a:pt x="600" y="32"/>
                  </a:lnTo>
                  <a:lnTo>
                    <a:pt x="598" y="34"/>
                  </a:lnTo>
                  <a:lnTo>
                    <a:pt x="596" y="36"/>
                  </a:lnTo>
                  <a:lnTo>
                    <a:pt x="594" y="38"/>
                  </a:lnTo>
                  <a:lnTo>
                    <a:pt x="592" y="36"/>
                  </a:lnTo>
                  <a:lnTo>
                    <a:pt x="588" y="34"/>
                  </a:lnTo>
                  <a:lnTo>
                    <a:pt x="578" y="22"/>
                  </a:lnTo>
                  <a:lnTo>
                    <a:pt x="578" y="22"/>
                  </a:lnTo>
                  <a:lnTo>
                    <a:pt x="572" y="20"/>
                  </a:lnTo>
                  <a:lnTo>
                    <a:pt x="570" y="18"/>
                  </a:lnTo>
                  <a:lnTo>
                    <a:pt x="568" y="18"/>
                  </a:lnTo>
                  <a:lnTo>
                    <a:pt x="568" y="18"/>
                  </a:lnTo>
                  <a:lnTo>
                    <a:pt x="566" y="20"/>
                  </a:lnTo>
                  <a:lnTo>
                    <a:pt x="562" y="22"/>
                  </a:lnTo>
                  <a:lnTo>
                    <a:pt x="560" y="22"/>
                  </a:lnTo>
                  <a:lnTo>
                    <a:pt x="562" y="22"/>
                  </a:lnTo>
                  <a:lnTo>
                    <a:pt x="562" y="20"/>
                  </a:lnTo>
                  <a:lnTo>
                    <a:pt x="562" y="18"/>
                  </a:lnTo>
                  <a:lnTo>
                    <a:pt x="560" y="18"/>
                  </a:lnTo>
                  <a:lnTo>
                    <a:pt x="558" y="18"/>
                  </a:lnTo>
                  <a:lnTo>
                    <a:pt x="556" y="1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8" name="Freeform 6968">
              <a:extLst>
                <a:ext uri="{FF2B5EF4-FFF2-40B4-BE49-F238E27FC236}">
                  <a16:creationId xmlns:a16="http://schemas.microsoft.com/office/drawing/2014/main" id="{76063718-F339-43B7-B44B-E938A932B825}"/>
                </a:ext>
              </a:extLst>
            </p:cNvPr>
            <p:cNvSpPr/>
            <p:nvPr/>
          </p:nvSpPr>
          <p:spPr bwMode="auto">
            <a:xfrm>
              <a:off x="5935968" y="5809111"/>
              <a:ext cx="196573" cy="181156"/>
            </a:xfrm>
            <a:custGeom>
              <a:avLst/>
              <a:gdLst>
                <a:gd name="T0" fmla="*/ 244 w 510"/>
                <a:gd name="T1" fmla="*/ 64 h 470"/>
                <a:gd name="T2" fmla="*/ 242 w 510"/>
                <a:gd name="T3" fmla="*/ 72 h 470"/>
                <a:gd name="T4" fmla="*/ 236 w 510"/>
                <a:gd name="T5" fmla="*/ 78 h 470"/>
                <a:gd name="T6" fmla="*/ 228 w 510"/>
                <a:gd name="T7" fmla="*/ 78 h 470"/>
                <a:gd name="T8" fmla="*/ 222 w 510"/>
                <a:gd name="T9" fmla="*/ 74 h 470"/>
                <a:gd name="T10" fmla="*/ 212 w 510"/>
                <a:gd name="T11" fmla="*/ 80 h 470"/>
                <a:gd name="T12" fmla="*/ 210 w 510"/>
                <a:gd name="T13" fmla="*/ 82 h 470"/>
                <a:gd name="T14" fmla="*/ 192 w 510"/>
                <a:gd name="T15" fmla="*/ 82 h 470"/>
                <a:gd name="T16" fmla="*/ 188 w 510"/>
                <a:gd name="T17" fmla="*/ 92 h 470"/>
                <a:gd name="T18" fmla="*/ 184 w 510"/>
                <a:gd name="T19" fmla="*/ 98 h 470"/>
                <a:gd name="T20" fmla="*/ 174 w 510"/>
                <a:gd name="T21" fmla="*/ 102 h 470"/>
                <a:gd name="T22" fmla="*/ 162 w 510"/>
                <a:gd name="T23" fmla="*/ 108 h 470"/>
                <a:gd name="T24" fmla="*/ 154 w 510"/>
                <a:gd name="T25" fmla="*/ 124 h 470"/>
                <a:gd name="T26" fmla="*/ 146 w 510"/>
                <a:gd name="T27" fmla="*/ 130 h 470"/>
                <a:gd name="T28" fmla="*/ 146 w 510"/>
                <a:gd name="T29" fmla="*/ 132 h 470"/>
                <a:gd name="T30" fmla="*/ 130 w 510"/>
                <a:gd name="T31" fmla="*/ 146 h 470"/>
                <a:gd name="T32" fmla="*/ 122 w 510"/>
                <a:gd name="T33" fmla="*/ 160 h 470"/>
                <a:gd name="T34" fmla="*/ 88 w 510"/>
                <a:gd name="T35" fmla="*/ 164 h 470"/>
                <a:gd name="T36" fmla="*/ 42 w 510"/>
                <a:gd name="T37" fmla="*/ 160 h 470"/>
                <a:gd name="T38" fmla="*/ 14 w 510"/>
                <a:gd name="T39" fmla="*/ 152 h 470"/>
                <a:gd name="T40" fmla="*/ 2 w 510"/>
                <a:gd name="T41" fmla="*/ 160 h 470"/>
                <a:gd name="T42" fmla="*/ 14 w 510"/>
                <a:gd name="T43" fmla="*/ 178 h 470"/>
                <a:gd name="T44" fmla="*/ 36 w 510"/>
                <a:gd name="T45" fmla="*/ 212 h 470"/>
                <a:gd name="T46" fmla="*/ 48 w 510"/>
                <a:gd name="T47" fmla="*/ 238 h 470"/>
                <a:gd name="T48" fmla="*/ 82 w 510"/>
                <a:gd name="T49" fmla="*/ 284 h 470"/>
                <a:gd name="T50" fmla="*/ 128 w 510"/>
                <a:gd name="T51" fmla="*/ 308 h 470"/>
                <a:gd name="T52" fmla="*/ 134 w 510"/>
                <a:gd name="T53" fmla="*/ 334 h 470"/>
                <a:gd name="T54" fmla="*/ 162 w 510"/>
                <a:gd name="T55" fmla="*/ 338 h 470"/>
                <a:gd name="T56" fmla="*/ 162 w 510"/>
                <a:gd name="T57" fmla="*/ 360 h 470"/>
                <a:gd name="T58" fmla="*/ 172 w 510"/>
                <a:gd name="T59" fmla="*/ 390 h 470"/>
                <a:gd name="T60" fmla="*/ 184 w 510"/>
                <a:gd name="T61" fmla="*/ 412 h 470"/>
                <a:gd name="T62" fmla="*/ 242 w 510"/>
                <a:gd name="T63" fmla="*/ 426 h 470"/>
                <a:gd name="T64" fmla="*/ 248 w 510"/>
                <a:gd name="T65" fmla="*/ 438 h 470"/>
                <a:gd name="T66" fmla="*/ 254 w 510"/>
                <a:gd name="T67" fmla="*/ 446 h 470"/>
                <a:gd name="T68" fmla="*/ 272 w 510"/>
                <a:gd name="T69" fmla="*/ 456 h 470"/>
                <a:gd name="T70" fmla="*/ 342 w 510"/>
                <a:gd name="T71" fmla="*/ 464 h 470"/>
                <a:gd name="T72" fmla="*/ 392 w 510"/>
                <a:gd name="T73" fmla="*/ 466 h 470"/>
                <a:gd name="T74" fmla="*/ 426 w 510"/>
                <a:gd name="T75" fmla="*/ 440 h 470"/>
                <a:gd name="T76" fmla="*/ 468 w 510"/>
                <a:gd name="T77" fmla="*/ 394 h 470"/>
                <a:gd name="T78" fmla="*/ 476 w 510"/>
                <a:gd name="T79" fmla="*/ 368 h 470"/>
                <a:gd name="T80" fmla="*/ 478 w 510"/>
                <a:gd name="T81" fmla="*/ 344 h 470"/>
                <a:gd name="T82" fmla="*/ 508 w 510"/>
                <a:gd name="T83" fmla="*/ 300 h 470"/>
                <a:gd name="T84" fmla="*/ 502 w 510"/>
                <a:gd name="T85" fmla="*/ 278 h 470"/>
                <a:gd name="T86" fmla="*/ 500 w 510"/>
                <a:gd name="T87" fmla="*/ 242 h 470"/>
                <a:gd name="T88" fmla="*/ 490 w 510"/>
                <a:gd name="T89" fmla="*/ 232 h 470"/>
                <a:gd name="T90" fmla="*/ 500 w 510"/>
                <a:gd name="T91" fmla="*/ 216 h 470"/>
                <a:gd name="T92" fmla="*/ 506 w 510"/>
                <a:gd name="T93" fmla="*/ 196 h 470"/>
                <a:gd name="T94" fmla="*/ 508 w 510"/>
                <a:gd name="T95" fmla="*/ 176 h 470"/>
                <a:gd name="T96" fmla="*/ 508 w 510"/>
                <a:gd name="T97" fmla="*/ 110 h 470"/>
                <a:gd name="T98" fmla="*/ 506 w 510"/>
                <a:gd name="T99" fmla="*/ 74 h 470"/>
                <a:gd name="T100" fmla="*/ 486 w 510"/>
                <a:gd name="T101" fmla="*/ 66 h 470"/>
                <a:gd name="T102" fmla="*/ 424 w 510"/>
                <a:gd name="T103" fmla="*/ 40 h 470"/>
                <a:gd name="T104" fmla="*/ 374 w 510"/>
                <a:gd name="T105" fmla="*/ 26 h 470"/>
                <a:gd name="T106" fmla="*/ 338 w 510"/>
                <a:gd name="T107" fmla="*/ 12 h 470"/>
                <a:gd name="T108" fmla="*/ 280 w 510"/>
                <a:gd name="T109" fmla="*/ 4 h 470"/>
                <a:gd name="T110" fmla="*/ 242 w 510"/>
                <a:gd name="T111" fmla="*/ 24 h 470"/>
                <a:gd name="T112" fmla="*/ 236 w 510"/>
                <a:gd name="T113" fmla="*/ 54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10" h="470">
                  <a:moveTo>
                    <a:pt x="232" y="62"/>
                  </a:moveTo>
                  <a:lnTo>
                    <a:pt x="238" y="64"/>
                  </a:lnTo>
                  <a:lnTo>
                    <a:pt x="240" y="64"/>
                  </a:lnTo>
                  <a:lnTo>
                    <a:pt x="244" y="64"/>
                  </a:lnTo>
                  <a:lnTo>
                    <a:pt x="246" y="68"/>
                  </a:lnTo>
                  <a:lnTo>
                    <a:pt x="246" y="68"/>
                  </a:lnTo>
                  <a:lnTo>
                    <a:pt x="244" y="70"/>
                  </a:lnTo>
                  <a:lnTo>
                    <a:pt x="242" y="72"/>
                  </a:lnTo>
                  <a:lnTo>
                    <a:pt x="240" y="72"/>
                  </a:lnTo>
                  <a:lnTo>
                    <a:pt x="238" y="72"/>
                  </a:lnTo>
                  <a:lnTo>
                    <a:pt x="238" y="74"/>
                  </a:lnTo>
                  <a:lnTo>
                    <a:pt x="236" y="78"/>
                  </a:lnTo>
                  <a:lnTo>
                    <a:pt x="234" y="80"/>
                  </a:lnTo>
                  <a:lnTo>
                    <a:pt x="232" y="80"/>
                  </a:lnTo>
                  <a:lnTo>
                    <a:pt x="230" y="80"/>
                  </a:lnTo>
                  <a:lnTo>
                    <a:pt x="228" y="78"/>
                  </a:lnTo>
                  <a:lnTo>
                    <a:pt x="228" y="76"/>
                  </a:lnTo>
                  <a:lnTo>
                    <a:pt x="226" y="74"/>
                  </a:lnTo>
                  <a:lnTo>
                    <a:pt x="224" y="74"/>
                  </a:lnTo>
                  <a:lnTo>
                    <a:pt x="222" y="74"/>
                  </a:lnTo>
                  <a:lnTo>
                    <a:pt x="220" y="76"/>
                  </a:lnTo>
                  <a:lnTo>
                    <a:pt x="218" y="76"/>
                  </a:lnTo>
                  <a:lnTo>
                    <a:pt x="216" y="78"/>
                  </a:lnTo>
                  <a:lnTo>
                    <a:pt x="212" y="80"/>
                  </a:lnTo>
                  <a:lnTo>
                    <a:pt x="212" y="82"/>
                  </a:lnTo>
                  <a:lnTo>
                    <a:pt x="212" y="84"/>
                  </a:lnTo>
                  <a:lnTo>
                    <a:pt x="212" y="84"/>
                  </a:lnTo>
                  <a:lnTo>
                    <a:pt x="210" y="82"/>
                  </a:lnTo>
                  <a:lnTo>
                    <a:pt x="206" y="80"/>
                  </a:lnTo>
                  <a:lnTo>
                    <a:pt x="204" y="80"/>
                  </a:lnTo>
                  <a:lnTo>
                    <a:pt x="198" y="82"/>
                  </a:lnTo>
                  <a:lnTo>
                    <a:pt x="192" y="82"/>
                  </a:lnTo>
                  <a:lnTo>
                    <a:pt x="190" y="84"/>
                  </a:lnTo>
                  <a:lnTo>
                    <a:pt x="188" y="86"/>
                  </a:lnTo>
                  <a:lnTo>
                    <a:pt x="188" y="90"/>
                  </a:lnTo>
                  <a:lnTo>
                    <a:pt x="188" y="92"/>
                  </a:lnTo>
                  <a:lnTo>
                    <a:pt x="188" y="94"/>
                  </a:lnTo>
                  <a:lnTo>
                    <a:pt x="188" y="94"/>
                  </a:lnTo>
                  <a:lnTo>
                    <a:pt x="186" y="96"/>
                  </a:lnTo>
                  <a:lnTo>
                    <a:pt x="184" y="98"/>
                  </a:lnTo>
                  <a:lnTo>
                    <a:pt x="182" y="98"/>
                  </a:lnTo>
                  <a:lnTo>
                    <a:pt x="178" y="96"/>
                  </a:lnTo>
                  <a:lnTo>
                    <a:pt x="178" y="98"/>
                  </a:lnTo>
                  <a:lnTo>
                    <a:pt x="174" y="102"/>
                  </a:lnTo>
                  <a:lnTo>
                    <a:pt x="172" y="104"/>
                  </a:lnTo>
                  <a:lnTo>
                    <a:pt x="170" y="104"/>
                  </a:lnTo>
                  <a:lnTo>
                    <a:pt x="166" y="106"/>
                  </a:lnTo>
                  <a:lnTo>
                    <a:pt x="162" y="108"/>
                  </a:lnTo>
                  <a:lnTo>
                    <a:pt x="160" y="110"/>
                  </a:lnTo>
                  <a:lnTo>
                    <a:pt x="160" y="110"/>
                  </a:lnTo>
                  <a:lnTo>
                    <a:pt x="160" y="114"/>
                  </a:lnTo>
                  <a:lnTo>
                    <a:pt x="154" y="124"/>
                  </a:lnTo>
                  <a:lnTo>
                    <a:pt x="154" y="124"/>
                  </a:lnTo>
                  <a:lnTo>
                    <a:pt x="152" y="126"/>
                  </a:lnTo>
                  <a:lnTo>
                    <a:pt x="150" y="128"/>
                  </a:lnTo>
                  <a:lnTo>
                    <a:pt x="146" y="130"/>
                  </a:lnTo>
                  <a:lnTo>
                    <a:pt x="144" y="132"/>
                  </a:lnTo>
                  <a:lnTo>
                    <a:pt x="146" y="132"/>
                  </a:lnTo>
                  <a:lnTo>
                    <a:pt x="146" y="132"/>
                  </a:lnTo>
                  <a:lnTo>
                    <a:pt x="146" y="132"/>
                  </a:lnTo>
                  <a:lnTo>
                    <a:pt x="142" y="134"/>
                  </a:lnTo>
                  <a:lnTo>
                    <a:pt x="140" y="134"/>
                  </a:lnTo>
                  <a:lnTo>
                    <a:pt x="134" y="140"/>
                  </a:lnTo>
                  <a:lnTo>
                    <a:pt x="130" y="146"/>
                  </a:lnTo>
                  <a:lnTo>
                    <a:pt x="128" y="148"/>
                  </a:lnTo>
                  <a:lnTo>
                    <a:pt x="126" y="152"/>
                  </a:lnTo>
                  <a:lnTo>
                    <a:pt x="124" y="156"/>
                  </a:lnTo>
                  <a:lnTo>
                    <a:pt x="122" y="160"/>
                  </a:lnTo>
                  <a:lnTo>
                    <a:pt x="120" y="160"/>
                  </a:lnTo>
                  <a:lnTo>
                    <a:pt x="118" y="160"/>
                  </a:lnTo>
                  <a:lnTo>
                    <a:pt x="102" y="166"/>
                  </a:lnTo>
                  <a:lnTo>
                    <a:pt x="88" y="164"/>
                  </a:lnTo>
                  <a:lnTo>
                    <a:pt x="72" y="158"/>
                  </a:lnTo>
                  <a:lnTo>
                    <a:pt x="60" y="156"/>
                  </a:lnTo>
                  <a:lnTo>
                    <a:pt x="50" y="160"/>
                  </a:lnTo>
                  <a:lnTo>
                    <a:pt x="42" y="160"/>
                  </a:lnTo>
                  <a:lnTo>
                    <a:pt x="34" y="152"/>
                  </a:lnTo>
                  <a:lnTo>
                    <a:pt x="28" y="150"/>
                  </a:lnTo>
                  <a:lnTo>
                    <a:pt x="22" y="152"/>
                  </a:lnTo>
                  <a:lnTo>
                    <a:pt x="14" y="152"/>
                  </a:lnTo>
                  <a:lnTo>
                    <a:pt x="2" y="148"/>
                  </a:lnTo>
                  <a:lnTo>
                    <a:pt x="0" y="152"/>
                  </a:lnTo>
                  <a:lnTo>
                    <a:pt x="0" y="156"/>
                  </a:lnTo>
                  <a:lnTo>
                    <a:pt x="2" y="160"/>
                  </a:lnTo>
                  <a:lnTo>
                    <a:pt x="4" y="166"/>
                  </a:lnTo>
                  <a:lnTo>
                    <a:pt x="8" y="170"/>
                  </a:lnTo>
                  <a:lnTo>
                    <a:pt x="10" y="172"/>
                  </a:lnTo>
                  <a:lnTo>
                    <a:pt x="14" y="178"/>
                  </a:lnTo>
                  <a:lnTo>
                    <a:pt x="16" y="186"/>
                  </a:lnTo>
                  <a:lnTo>
                    <a:pt x="22" y="192"/>
                  </a:lnTo>
                  <a:lnTo>
                    <a:pt x="36" y="208"/>
                  </a:lnTo>
                  <a:lnTo>
                    <a:pt x="36" y="212"/>
                  </a:lnTo>
                  <a:lnTo>
                    <a:pt x="38" y="218"/>
                  </a:lnTo>
                  <a:lnTo>
                    <a:pt x="46" y="228"/>
                  </a:lnTo>
                  <a:lnTo>
                    <a:pt x="48" y="230"/>
                  </a:lnTo>
                  <a:lnTo>
                    <a:pt x="48" y="238"/>
                  </a:lnTo>
                  <a:lnTo>
                    <a:pt x="56" y="258"/>
                  </a:lnTo>
                  <a:lnTo>
                    <a:pt x="62" y="270"/>
                  </a:lnTo>
                  <a:lnTo>
                    <a:pt x="66" y="272"/>
                  </a:lnTo>
                  <a:lnTo>
                    <a:pt x="82" y="284"/>
                  </a:lnTo>
                  <a:lnTo>
                    <a:pt x="96" y="294"/>
                  </a:lnTo>
                  <a:lnTo>
                    <a:pt x="110" y="300"/>
                  </a:lnTo>
                  <a:lnTo>
                    <a:pt x="122" y="304"/>
                  </a:lnTo>
                  <a:lnTo>
                    <a:pt x="128" y="308"/>
                  </a:lnTo>
                  <a:lnTo>
                    <a:pt x="130" y="312"/>
                  </a:lnTo>
                  <a:lnTo>
                    <a:pt x="134" y="318"/>
                  </a:lnTo>
                  <a:lnTo>
                    <a:pt x="134" y="328"/>
                  </a:lnTo>
                  <a:lnTo>
                    <a:pt x="134" y="334"/>
                  </a:lnTo>
                  <a:lnTo>
                    <a:pt x="146" y="334"/>
                  </a:lnTo>
                  <a:lnTo>
                    <a:pt x="158" y="334"/>
                  </a:lnTo>
                  <a:lnTo>
                    <a:pt x="160" y="336"/>
                  </a:lnTo>
                  <a:lnTo>
                    <a:pt x="162" y="338"/>
                  </a:lnTo>
                  <a:lnTo>
                    <a:pt x="162" y="342"/>
                  </a:lnTo>
                  <a:lnTo>
                    <a:pt x="162" y="350"/>
                  </a:lnTo>
                  <a:lnTo>
                    <a:pt x="162" y="354"/>
                  </a:lnTo>
                  <a:lnTo>
                    <a:pt x="162" y="360"/>
                  </a:lnTo>
                  <a:lnTo>
                    <a:pt x="160" y="368"/>
                  </a:lnTo>
                  <a:lnTo>
                    <a:pt x="160" y="376"/>
                  </a:lnTo>
                  <a:lnTo>
                    <a:pt x="162" y="378"/>
                  </a:lnTo>
                  <a:lnTo>
                    <a:pt x="172" y="390"/>
                  </a:lnTo>
                  <a:lnTo>
                    <a:pt x="176" y="396"/>
                  </a:lnTo>
                  <a:lnTo>
                    <a:pt x="180" y="406"/>
                  </a:lnTo>
                  <a:lnTo>
                    <a:pt x="182" y="410"/>
                  </a:lnTo>
                  <a:lnTo>
                    <a:pt x="184" y="412"/>
                  </a:lnTo>
                  <a:lnTo>
                    <a:pt x="194" y="412"/>
                  </a:lnTo>
                  <a:lnTo>
                    <a:pt x="216" y="418"/>
                  </a:lnTo>
                  <a:lnTo>
                    <a:pt x="230" y="420"/>
                  </a:lnTo>
                  <a:lnTo>
                    <a:pt x="242" y="426"/>
                  </a:lnTo>
                  <a:lnTo>
                    <a:pt x="246" y="426"/>
                  </a:lnTo>
                  <a:lnTo>
                    <a:pt x="248" y="428"/>
                  </a:lnTo>
                  <a:lnTo>
                    <a:pt x="250" y="428"/>
                  </a:lnTo>
                  <a:lnTo>
                    <a:pt x="248" y="438"/>
                  </a:lnTo>
                  <a:lnTo>
                    <a:pt x="248" y="440"/>
                  </a:lnTo>
                  <a:lnTo>
                    <a:pt x="250" y="442"/>
                  </a:lnTo>
                  <a:lnTo>
                    <a:pt x="252" y="444"/>
                  </a:lnTo>
                  <a:lnTo>
                    <a:pt x="254" y="446"/>
                  </a:lnTo>
                  <a:lnTo>
                    <a:pt x="262" y="448"/>
                  </a:lnTo>
                  <a:lnTo>
                    <a:pt x="268" y="452"/>
                  </a:lnTo>
                  <a:lnTo>
                    <a:pt x="272" y="456"/>
                  </a:lnTo>
                  <a:lnTo>
                    <a:pt x="272" y="456"/>
                  </a:lnTo>
                  <a:lnTo>
                    <a:pt x="290" y="452"/>
                  </a:lnTo>
                  <a:lnTo>
                    <a:pt x="306" y="454"/>
                  </a:lnTo>
                  <a:lnTo>
                    <a:pt x="326" y="462"/>
                  </a:lnTo>
                  <a:lnTo>
                    <a:pt x="342" y="464"/>
                  </a:lnTo>
                  <a:lnTo>
                    <a:pt x="360" y="462"/>
                  </a:lnTo>
                  <a:lnTo>
                    <a:pt x="372" y="462"/>
                  </a:lnTo>
                  <a:lnTo>
                    <a:pt x="384" y="464"/>
                  </a:lnTo>
                  <a:lnTo>
                    <a:pt x="392" y="466"/>
                  </a:lnTo>
                  <a:lnTo>
                    <a:pt x="398" y="470"/>
                  </a:lnTo>
                  <a:lnTo>
                    <a:pt x="406" y="462"/>
                  </a:lnTo>
                  <a:lnTo>
                    <a:pt x="416" y="452"/>
                  </a:lnTo>
                  <a:lnTo>
                    <a:pt x="426" y="440"/>
                  </a:lnTo>
                  <a:lnTo>
                    <a:pt x="436" y="430"/>
                  </a:lnTo>
                  <a:lnTo>
                    <a:pt x="446" y="420"/>
                  </a:lnTo>
                  <a:lnTo>
                    <a:pt x="456" y="408"/>
                  </a:lnTo>
                  <a:lnTo>
                    <a:pt x="468" y="394"/>
                  </a:lnTo>
                  <a:lnTo>
                    <a:pt x="472" y="394"/>
                  </a:lnTo>
                  <a:lnTo>
                    <a:pt x="472" y="392"/>
                  </a:lnTo>
                  <a:lnTo>
                    <a:pt x="468" y="380"/>
                  </a:lnTo>
                  <a:lnTo>
                    <a:pt x="476" y="368"/>
                  </a:lnTo>
                  <a:lnTo>
                    <a:pt x="476" y="360"/>
                  </a:lnTo>
                  <a:lnTo>
                    <a:pt x="476" y="352"/>
                  </a:lnTo>
                  <a:lnTo>
                    <a:pt x="476" y="348"/>
                  </a:lnTo>
                  <a:lnTo>
                    <a:pt x="478" y="344"/>
                  </a:lnTo>
                  <a:lnTo>
                    <a:pt x="488" y="338"/>
                  </a:lnTo>
                  <a:lnTo>
                    <a:pt x="496" y="326"/>
                  </a:lnTo>
                  <a:lnTo>
                    <a:pt x="502" y="316"/>
                  </a:lnTo>
                  <a:lnTo>
                    <a:pt x="508" y="300"/>
                  </a:lnTo>
                  <a:lnTo>
                    <a:pt x="510" y="296"/>
                  </a:lnTo>
                  <a:lnTo>
                    <a:pt x="510" y="292"/>
                  </a:lnTo>
                  <a:lnTo>
                    <a:pt x="508" y="286"/>
                  </a:lnTo>
                  <a:lnTo>
                    <a:pt x="502" y="278"/>
                  </a:lnTo>
                  <a:lnTo>
                    <a:pt x="498" y="270"/>
                  </a:lnTo>
                  <a:lnTo>
                    <a:pt x="494" y="258"/>
                  </a:lnTo>
                  <a:lnTo>
                    <a:pt x="498" y="248"/>
                  </a:lnTo>
                  <a:lnTo>
                    <a:pt x="500" y="242"/>
                  </a:lnTo>
                  <a:lnTo>
                    <a:pt x="500" y="238"/>
                  </a:lnTo>
                  <a:lnTo>
                    <a:pt x="498" y="236"/>
                  </a:lnTo>
                  <a:lnTo>
                    <a:pt x="494" y="234"/>
                  </a:lnTo>
                  <a:lnTo>
                    <a:pt x="490" y="232"/>
                  </a:lnTo>
                  <a:lnTo>
                    <a:pt x="490" y="228"/>
                  </a:lnTo>
                  <a:lnTo>
                    <a:pt x="490" y="222"/>
                  </a:lnTo>
                  <a:lnTo>
                    <a:pt x="492" y="220"/>
                  </a:lnTo>
                  <a:lnTo>
                    <a:pt x="500" y="216"/>
                  </a:lnTo>
                  <a:lnTo>
                    <a:pt x="502" y="212"/>
                  </a:lnTo>
                  <a:lnTo>
                    <a:pt x="504" y="210"/>
                  </a:lnTo>
                  <a:lnTo>
                    <a:pt x="504" y="206"/>
                  </a:lnTo>
                  <a:lnTo>
                    <a:pt x="506" y="196"/>
                  </a:lnTo>
                  <a:lnTo>
                    <a:pt x="508" y="188"/>
                  </a:lnTo>
                  <a:lnTo>
                    <a:pt x="510" y="184"/>
                  </a:lnTo>
                  <a:lnTo>
                    <a:pt x="508" y="182"/>
                  </a:lnTo>
                  <a:lnTo>
                    <a:pt x="508" y="176"/>
                  </a:lnTo>
                  <a:lnTo>
                    <a:pt x="506" y="168"/>
                  </a:lnTo>
                  <a:lnTo>
                    <a:pt x="506" y="146"/>
                  </a:lnTo>
                  <a:lnTo>
                    <a:pt x="508" y="124"/>
                  </a:lnTo>
                  <a:lnTo>
                    <a:pt x="508" y="110"/>
                  </a:lnTo>
                  <a:lnTo>
                    <a:pt x="502" y="96"/>
                  </a:lnTo>
                  <a:lnTo>
                    <a:pt x="502" y="86"/>
                  </a:lnTo>
                  <a:lnTo>
                    <a:pt x="506" y="78"/>
                  </a:lnTo>
                  <a:lnTo>
                    <a:pt x="506" y="74"/>
                  </a:lnTo>
                  <a:lnTo>
                    <a:pt x="504" y="74"/>
                  </a:lnTo>
                  <a:lnTo>
                    <a:pt x="498" y="74"/>
                  </a:lnTo>
                  <a:lnTo>
                    <a:pt x="492" y="72"/>
                  </a:lnTo>
                  <a:lnTo>
                    <a:pt x="486" y="66"/>
                  </a:lnTo>
                  <a:lnTo>
                    <a:pt x="474" y="60"/>
                  </a:lnTo>
                  <a:lnTo>
                    <a:pt x="460" y="56"/>
                  </a:lnTo>
                  <a:lnTo>
                    <a:pt x="440" y="54"/>
                  </a:lnTo>
                  <a:lnTo>
                    <a:pt x="424" y="40"/>
                  </a:lnTo>
                  <a:lnTo>
                    <a:pt x="410" y="38"/>
                  </a:lnTo>
                  <a:lnTo>
                    <a:pt x="406" y="36"/>
                  </a:lnTo>
                  <a:lnTo>
                    <a:pt x="394" y="26"/>
                  </a:lnTo>
                  <a:lnTo>
                    <a:pt x="374" y="26"/>
                  </a:lnTo>
                  <a:lnTo>
                    <a:pt x="354" y="26"/>
                  </a:lnTo>
                  <a:lnTo>
                    <a:pt x="342" y="26"/>
                  </a:lnTo>
                  <a:lnTo>
                    <a:pt x="340" y="24"/>
                  </a:lnTo>
                  <a:lnTo>
                    <a:pt x="338" y="12"/>
                  </a:lnTo>
                  <a:lnTo>
                    <a:pt x="338" y="0"/>
                  </a:lnTo>
                  <a:lnTo>
                    <a:pt x="330" y="2"/>
                  </a:lnTo>
                  <a:lnTo>
                    <a:pt x="294" y="2"/>
                  </a:lnTo>
                  <a:lnTo>
                    <a:pt x="280" y="4"/>
                  </a:lnTo>
                  <a:lnTo>
                    <a:pt x="266" y="10"/>
                  </a:lnTo>
                  <a:lnTo>
                    <a:pt x="250" y="18"/>
                  </a:lnTo>
                  <a:lnTo>
                    <a:pt x="246" y="22"/>
                  </a:lnTo>
                  <a:lnTo>
                    <a:pt x="242" y="24"/>
                  </a:lnTo>
                  <a:lnTo>
                    <a:pt x="240" y="28"/>
                  </a:lnTo>
                  <a:lnTo>
                    <a:pt x="238" y="34"/>
                  </a:lnTo>
                  <a:lnTo>
                    <a:pt x="238" y="46"/>
                  </a:lnTo>
                  <a:lnTo>
                    <a:pt x="236" y="54"/>
                  </a:lnTo>
                  <a:lnTo>
                    <a:pt x="232" y="6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9" name="Freeform 397">
              <a:extLst>
                <a:ext uri="{FF2B5EF4-FFF2-40B4-BE49-F238E27FC236}">
                  <a16:creationId xmlns:a16="http://schemas.microsoft.com/office/drawing/2014/main" id="{AA5FDC8B-752F-4B1C-A6EE-86C98F4A701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37038" y="5731638"/>
              <a:ext cx="3855" cy="8865"/>
            </a:xfrm>
            <a:custGeom>
              <a:avLst/>
              <a:gdLst>
                <a:gd name="connsiteX0" fmla="*/ 4764 w 23828"/>
                <a:gd name="connsiteY0" fmla="*/ 0 h 54800"/>
                <a:gd name="connsiteX1" fmla="*/ 9532 w 23828"/>
                <a:gd name="connsiteY1" fmla="*/ 9530 h 54800"/>
                <a:gd name="connsiteX2" fmla="*/ 14296 w 23828"/>
                <a:gd name="connsiteY2" fmla="*/ 9530 h 54800"/>
                <a:gd name="connsiteX3" fmla="*/ 23828 w 23828"/>
                <a:gd name="connsiteY3" fmla="*/ 19060 h 54800"/>
                <a:gd name="connsiteX4" fmla="*/ 23828 w 23828"/>
                <a:gd name="connsiteY4" fmla="*/ 28592 h 54800"/>
                <a:gd name="connsiteX5" fmla="*/ 23828 w 23828"/>
                <a:gd name="connsiteY5" fmla="*/ 33356 h 54800"/>
                <a:gd name="connsiteX6" fmla="*/ 19060 w 23828"/>
                <a:gd name="connsiteY6" fmla="*/ 42886 h 54800"/>
                <a:gd name="connsiteX7" fmla="*/ 19060 w 23828"/>
                <a:gd name="connsiteY7" fmla="*/ 52416 h 54800"/>
                <a:gd name="connsiteX8" fmla="*/ 19060 w 23828"/>
                <a:gd name="connsiteY8" fmla="*/ 52418 h 54800"/>
                <a:gd name="connsiteX9" fmla="*/ 9532 w 23828"/>
                <a:gd name="connsiteY9" fmla="*/ 54800 h 54800"/>
                <a:gd name="connsiteX10" fmla="*/ 4764 w 23828"/>
                <a:gd name="connsiteY10" fmla="*/ 52418 h 54800"/>
                <a:gd name="connsiteX11" fmla="*/ 0 w 23828"/>
                <a:gd name="connsiteY11" fmla="*/ 42886 h 54800"/>
                <a:gd name="connsiteX12" fmla="*/ 4764 w 23828"/>
                <a:gd name="connsiteY12" fmla="*/ 33356 h 54800"/>
                <a:gd name="connsiteX13" fmla="*/ 4764 w 23828"/>
                <a:gd name="connsiteY13" fmla="*/ 23826 h 54800"/>
                <a:gd name="connsiteX14" fmla="*/ 0 w 23828"/>
                <a:gd name="connsiteY14" fmla="*/ 9530 h 5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828" h="54800">
                  <a:moveTo>
                    <a:pt x="4764" y="0"/>
                  </a:moveTo>
                  <a:lnTo>
                    <a:pt x="9532" y="9530"/>
                  </a:lnTo>
                  <a:lnTo>
                    <a:pt x="14296" y="9530"/>
                  </a:lnTo>
                  <a:lnTo>
                    <a:pt x="23828" y="19060"/>
                  </a:lnTo>
                  <a:lnTo>
                    <a:pt x="23828" y="28592"/>
                  </a:lnTo>
                  <a:lnTo>
                    <a:pt x="23828" y="33356"/>
                  </a:lnTo>
                  <a:lnTo>
                    <a:pt x="19060" y="42886"/>
                  </a:lnTo>
                  <a:lnTo>
                    <a:pt x="19060" y="52416"/>
                  </a:lnTo>
                  <a:lnTo>
                    <a:pt x="19060" y="52418"/>
                  </a:lnTo>
                  <a:lnTo>
                    <a:pt x="9532" y="54800"/>
                  </a:lnTo>
                  <a:lnTo>
                    <a:pt x="4764" y="52418"/>
                  </a:lnTo>
                  <a:lnTo>
                    <a:pt x="0" y="42886"/>
                  </a:lnTo>
                  <a:lnTo>
                    <a:pt x="4764" y="33356"/>
                  </a:lnTo>
                  <a:lnTo>
                    <a:pt x="4764" y="23826"/>
                  </a:lnTo>
                  <a:lnTo>
                    <a:pt x="0" y="953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0" name="Freeform 6976">
              <a:extLst>
                <a:ext uri="{FF2B5EF4-FFF2-40B4-BE49-F238E27FC236}">
                  <a16:creationId xmlns:a16="http://schemas.microsoft.com/office/drawing/2014/main" id="{5C7FAC30-DB48-442E-8BF7-8E875D8B86C3}"/>
                </a:ext>
              </a:extLst>
            </p:cNvPr>
            <p:cNvSpPr/>
            <p:nvPr/>
          </p:nvSpPr>
          <p:spPr bwMode="auto">
            <a:xfrm>
              <a:off x="3918584" y="5262945"/>
              <a:ext cx="74775" cy="93276"/>
            </a:xfrm>
            <a:custGeom>
              <a:avLst/>
              <a:gdLst>
                <a:gd name="T0" fmla="*/ 152 w 194"/>
                <a:gd name="T1" fmla="*/ 56 h 242"/>
                <a:gd name="T2" fmla="*/ 122 w 194"/>
                <a:gd name="T3" fmla="*/ 34 h 242"/>
                <a:gd name="T4" fmla="*/ 88 w 194"/>
                <a:gd name="T5" fmla="*/ 16 h 242"/>
                <a:gd name="T6" fmla="*/ 50 w 194"/>
                <a:gd name="T7" fmla="*/ 0 h 242"/>
                <a:gd name="T8" fmla="*/ 40 w 194"/>
                <a:gd name="T9" fmla="*/ 8 h 242"/>
                <a:gd name="T10" fmla="*/ 30 w 194"/>
                <a:gd name="T11" fmla="*/ 28 h 242"/>
                <a:gd name="T12" fmla="*/ 18 w 194"/>
                <a:gd name="T13" fmla="*/ 40 h 242"/>
                <a:gd name="T14" fmla="*/ 10 w 194"/>
                <a:gd name="T15" fmla="*/ 56 h 242"/>
                <a:gd name="T16" fmla="*/ 8 w 194"/>
                <a:gd name="T17" fmla="*/ 64 h 242"/>
                <a:gd name="T18" fmla="*/ 12 w 194"/>
                <a:gd name="T19" fmla="*/ 72 h 242"/>
                <a:gd name="T20" fmla="*/ 10 w 194"/>
                <a:gd name="T21" fmla="*/ 86 h 242"/>
                <a:gd name="T22" fmla="*/ 12 w 194"/>
                <a:gd name="T23" fmla="*/ 96 h 242"/>
                <a:gd name="T24" fmla="*/ 14 w 194"/>
                <a:gd name="T25" fmla="*/ 104 h 242"/>
                <a:gd name="T26" fmla="*/ 16 w 194"/>
                <a:gd name="T27" fmla="*/ 114 h 242"/>
                <a:gd name="T28" fmla="*/ 26 w 194"/>
                <a:gd name="T29" fmla="*/ 128 h 242"/>
                <a:gd name="T30" fmla="*/ 34 w 194"/>
                <a:gd name="T31" fmla="*/ 138 h 242"/>
                <a:gd name="T32" fmla="*/ 40 w 194"/>
                <a:gd name="T33" fmla="*/ 144 h 242"/>
                <a:gd name="T34" fmla="*/ 40 w 194"/>
                <a:gd name="T35" fmla="*/ 148 h 242"/>
                <a:gd name="T36" fmla="*/ 36 w 194"/>
                <a:gd name="T37" fmla="*/ 160 h 242"/>
                <a:gd name="T38" fmla="*/ 26 w 194"/>
                <a:gd name="T39" fmla="*/ 174 h 242"/>
                <a:gd name="T40" fmla="*/ 28 w 194"/>
                <a:gd name="T41" fmla="*/ 192 h 242"/>
                <a:gd name="T42" fmla="*/ 24 w 194"/>
                <a:gd name="T43" fmla="*/ 202 h 242"/>
                <a:gd name="T44" fmla="*/ 8 w 194"/>
                <a:gd name="T45" fmla="*/ 222 h 242"/>
                <a:gd name="T46" fmla="*/ 2 w 194"/>
                <a:gd name="T47" fmla="*/ 226 h 242"/>
                <a:gd name="T48" fmla="*/ 0 w 194"/>
                <a:gd name="T49" fmla="*/ 228 h 242"/>
                <a:gd name="T50" fmla="*/ 4 w 194"/>
                <a:gd name="T51" fmla="*/ 230 h 242"/>
                <a:gd name="T52" fmla="*/ 12 w 194"/>
                <a:gd name="T53" fmla="*/ 236 h 242"/>
                <a:gd name="T54" fmla="*/ 26 w 194"/>
                <a:gd name="T55" fmla="*/ 240 h 242"/>
                <a:gd name="T56" fmla="*/ 32 w 194"/>
                <a:gd name="T57" fmla="*/ 242 h 242"/>
                <a:gd name="T58" fmla="*/ 44 w 194"/>
                <a:gd name="T59" fmla="*/ 234 h 242"/>
                <a:gd name="T60" fmla="*/ 52 w 194"/>
                <a:gd name="T61" fmla="*/ 228 h 242"/>
                <a:gd name="T62" fmla="*/ 56 w 194"/>
                <a:gd name="T63" fmla="*/ 226 h 242"/>
                <a:gd name="T64" fmla="*/ 58 w 194"/>
                <a:gd name="T65" fmla="*/ 230 h 242"/>
                <a:gd name="T66" fmla="*/ 68 w 194"/>
                <a:gd name="T67" fmla="*/ 232 h 242"/>
                <a:gd name="T68" fmla="*/ 78 w 194"/>
                <a:gd name="T69" fmla="*/ 232 h 242"/>
                <a:gd name="T70" fmla="*/ 84 w 194"/>
                <a:gd name="T71" fmla="*/ 228 h 242"/>
                <a:gd name="T72" fmla="*/ 90 w 194"/>
                <a:gd name="T73" fmla="*/ 234 h 242"/>
                <a:gd name="T74" fmla="*/ 94 w 194"/>
                <a:gd name="T75" fmla="*/ 236 h 242"/>
                <a:gd name="T76" fmla="*/ 104 w 194"/>
                <a:gd name="T77" fmla="*/ 238 h 242"/>
                <a:gd name="T78" fmla="*/ 112 w 194"/>
                <a:gd name="T79" fmla="*/ 236 h 242"/>
                <a:gd name="T80" fmla="*/ 120 w 194"/>
                <a:gd name="T81" fmla="*/ 228 h 242"/>
                <a:gd name="T82" fmla="*/ 128 w 194"/>
                <a:gd name="T83" fmla="*/ 222 h 242"/>
                <a:gd name="T84" fmla="*/ 134 w 194"/>
                <a:gd name="T85" fmla="*/ 212 h 242"/>
                <a:gd name="T86" fmla="*/ 142 w 194"/>
                <a:gd name="T87" fmla="*/ 192 h 242"/>
                <a:gd name="T88" fmla="*/ 146 w 194"/>
                <a:gd name="T89" fmla="*/ 186 h 242"/>
                <a:gd name="T90" fmla="*/ 148 w 194"/>
                <a:gd name="T91" fmla="*/ 176 h 242"/>
                <a:gd name="T92" fmla="*/ 154 w 194"/>
                <a:gd name="T93" fmla="*/ 168 h 242"/>
                <a:gd name="T94" fmla="*/ 160 w 194"/>
                <a:gd name="T95" fmla="*/ 160 h 242"/>
                <a:gd name="T96" fmla="*/ 172 w 194"/>
                <a:gd name="T97" fmla="*/ 142 h 242"/>
                <a:gd name="T98" fmla="*/ 174 w 194"/>
                <a:gd name="T99" fmla="*/ 136 h 242"/>
                <a:gd name="T100" fmla="*/ 180 w 194"/>
                <a:gd name="T101" fmla="*/ 130 h 242"/>
                <a:gd name="T102" fmla="*/ 184 w 194"/>
                <a:gd name="T103" fmla="*/ 122 h 242"/>
                <a:gd name="T104" fmla="*/ 192 w 194"/>
                <a:gd name="T105" fmla="*/ 116 h 242"/>
                <a:gd name="T106" fmla="*/ 194 w 194"/>
                <a:gd name="T107" fmla="*/ 112 h 242"/>
                <a:gd name="T108" fmla="*/ 194 w 194"/>
                <a:gd name="T109" fmla="*/ 104 h 242"/>
                <a:gd name="T110" fmla="*/ 186 w 194"/>
                <a:gd name="T111" fmla="*/ 80 h 242"/>
                <a:gd name="T112" fmla="*/ 180 w 194"/>
                <a:gd name="T113" fmla="*/ 76 h 242"/>
                <a:gd name="T114" fmla="*/ 176 w 194"/>
                <a:gd name="T115" fmla="*/ 90 h 242"/>
                <a:gd name="T116" fmla="*/ 170 w 194"/>
                <a:gd name="T117" fmla="*/ 94 h 242"/>
                <a:gd name="T118" fmla="*/ 172 w 194"/>
                <a:gd name="T119" fmla="*/ 90 h 242"/>
                <a:gd name="T120" fmla="*/ 170 w 194"/>
                <a:gd name="T121" fmla="*/ 76 h 242"/>
                <a:gd name="T122" fmla="*/ 156 w 194"/>
                <a:gd name="T123" fmla="*/ 62 h 242"/>
                <a:gd name="T124" fmla="*/ 152 w 194"/>
                <a:gd name="T125" fmla="*/ 6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4" h="241">
                  <a:moveTo>
                    <a:pt x="152" y="60"/>
                  </a:moveTo>
                  <a:lnTo>
                    <a:pt x="152" y="56"/>
                  </a:lnTo>
                  <a:lnTo>
                    <a:pt x="142" y="52"/>
                  </a:lnTo>
                  <a:lnTo>
                    <a:pt x="122" y="34"/>
                  </a:lnTo>
                  <a:lnTo>
                    <a:pt x="112" y="24"/>
                  </a:lnTo>
                  <a:lnTo>
                    <a:pt x="88" y="16"/>
                  </a:lnTo>
                  <a:lnTo>
                    <a:pt x="76" y="16"/>
                  </a:lnTo>
                  <a:lnTo>
                    <a:pt x="50" y="0"/>
                  </a:lnTo>
                  <a:lnTo>
                    <a:pt x="46" y="2"/>
                  </a:lnTo>
                  <a:lnTo>
                    <a:pt x="40" y="8"/>
                  </a:lnTo>
                  <a:lnTo>
                    <a:pt x="34" y="26"/>
                  </a:lnTo>
                  <a:lnTo>
                    <a:pt x="30" y="28"/>
                  </a:lnTo>
                  <a:lnTo>
                    <a:pt x="24" y="34"/>
                  </a:lnTo>
                  <a:lnTo>
                    <a:pt x="18" y="40"/>
                  </a:lnTo>
                  <a:lnTo>
                    <a:pt x="10" y="52"/>
                  </a:lnTo>
                  <a:lnTo>
                    <a:pt x="10" y="56"/>
                  </a:lnTo>
                  <a:lnTo>
                    <a:pt x="8" y="58"/>
                  </a:lnTo>
                  <a:lnTo>
                    <a:pt x="8" y="64"/>
                  </a:lnTo>
                  <a:lnTo>
                    <a:pt x="10" y="68"/>
                  </a:lnTo>
                  <a:lnTo>
                    <a:pt x="12" y="72"/>
                  </a:lnTo>
                  <a:lnTo>
                    <a:pt x="12" y="80"/>
                  </a:lnTo>
                  <a:lnTo>
                    <a:pt x="10" y="86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14" y="102"/>
                  </a:lnTo>
                  <a:lnTo>
                    <a:pt x="14" y="104"/>
                  </a:lnTo>
                  <a:lnTo>
                    <a:pt x="18" y="110"/>
                  </a:lnTo>
                  <a:lnTo>
                    <a:pt x="16" y="114"/>
                  </a:lnTo>
                  <a:lnTo>
                    <a:pt x="24" y="124"/>
                  </a:lnTo>
                  <a:lnTo>
                    <a:pt x="26" y="128"/>
                  </a:lnTo>
                  <a:lnTo>
                    <a:pt x="32" y="134"/>
                  </a:lnTo>
                  <a:lnTo>
                    <a:pt x="34" y="138"/>
                  </a:lnTo>
                  <a:lnTo>
                    <a:pt x="38" y="142"/>
                  </a:lnTo>
                  <a:lnTo>
                    <a:pt x="40" y="144"/>
                  </a:lnTo>
                  <a:lnTo>
                    <a:pt x="40" y="146"/>
                  </a:lnTo>
                  <a:lnTo>
                    <a:pt x="40" y="148"/>
                  </a:lnTo>
                  <a:lnTo>
                    <a:pt x="40" y="154"/>
                  </a:lnTo>
                  <a:lnTo>
                    <a:pt x="36" y="160"/>
                  </a:lnTo>
                  <a:lnTo>
                    <a:pt x="28" y="172"/>
                  </a:lnTo>
                  <a:lnTo>
                    <a:pt x="26" y="174"/>
                  </a:lnTo>
                  <a:lnTo>
                    <a:pt x="28" y="184"/>
                  </a:lnTo>
                  <a:lnTo>
                    <a:pt x="28" y="192"/>
                  </a:lnTo>
                  <a:lnTo>
                    <a:pt x="28" y="196"/>
                  </a:lnTo>
                  <a:lnTo>
                    <a:pt x="24" y="202"/>
                  </a:lnTo>
                  <a:lnTo>
                    <a:pt x="14" y="220"/>
                  </a:lnTo>
                  <a:lnTo>
                    <a:pt x="8" y="222"/>
                  </a:lnTo>
                  <a:lnTo>
                    <a:pt x="4" y="226"/>
                  </a:lnTo>
                  <a:lnTo>
                    <a:pt x="2" y="226"/>
                  </a:lnTo>
                  <a:lnTo>
                    <a:pt x="0" y="228"/>
                  </a:lnTo>
                  <a:lnTo>
                    <a:pt x="0" y="228"/>
                  </a:lnTo>
                  <a:lnTo>
                    <a:pt x="2" y="228"/>
                  </a:lnTo>
                  <a:lnTo>
                    <a:pt x="4" y="230"/>
                  </a:lnTo>
                  <a:lnTo>
                    <a:pt x="6" y="234"/>
                  </a:lnTo>
                  <a:lnTo>
                    <a:pt x="12" y="236"/>
                  </a:lnTo>
                  <a:lnTo>
                    <a:pt x="20" y="240"/>
                  </a:lnTo>
                  <a:lnTo>
                    <a:pt x="26" y="240"/>
                  </a:lnTo>
                  <a:lnTo>
                    <a:pt x="30" y="240"/>
                  </a:lnTo>
                  <a:lnTo>
                    <a:pt x="32" y="242"/>
                  </a:lnTo>
                  <a:lnTo>
                    <a:pt x="34" y="240"/>
                  </a:lnTo>
                  <a:lnTo>
                    <a:pt x="44" y="234"/>
                  </a:lnTo>
                  <a:lnTo>
                    <a:pt x="48" y="232"/>
                  </a:lnTo>
                  <a:lnTo>
                    <a:pt x="52" y="228"/>
                  </a:lnTo>
                  <a:lnTo>
                    <a:pt x="54" y="226"/>
                  </a:lnTo>
                  <a:lnTo>
                    <a:pt x="56" y="226"/>
                  </a:lnTo>
                  <a:lnTo>
                    <a:pt x="56" y="228"/>
                  </a:lnTo>
                  <a:lnTo>
                    <a:pt x="58" y="230"/>
                  </a:lnTo>
                  <a:lnTo>
                    <a:pt x="60" y="230"/>
                  </a:lnTo>
                  <a:lnTo>
                    <a:pt x="68" y="232"/>
                  </a:lnTo>
                  <a:lnTo>
                    <a:pt x="72" y="232"/>
                  </a:lnTo>
                  <a:lnTo>
                    <a:pt x="78" y="232"/>
                  </a:lnTo>
                  <a:lnTo>
                    <a:pt x="82" y="228"/>
                  </a:lnTo>
                  <a:lnTo>
                    <a:pt x="84" y="228"/>
                  </a:lnTo>
                  <a:lnTo>
                    <a:pt x="86" y="230"/>
                  </a:lnTo>
                  <a:lnTo>
                    <a:pt x="90" y="234"/>
                  </a:lnTo>
                  <a:lnTo>
                    <a:pt x="90" y="236"/>
                  </a:lnTo>
                  <a:lnTo>
                    <a:pt x="94" y="236"/>
                  </a:lnTo>
                  <a:lnTo>
                    <a:pt x="100" y="236"/>
                  </a:lnTo>
                  <a:lnTo>
                    <a:pt x="104" y="238"/>
                  </a:lnTo>
                  <a:lnTo>
                    <a:pt x="108" y="238"/>
                  </a:lnTo>
                  <a:lnTo>
                    <a:pt x="112" y="236"/>
                  </a:lnTo>
                  <a:lnTo>
                    <a:pt x="114" y="232"/>
                  </a:lnTo>
                  <a:lnTo>
                    <a:pt x="120" y="228"/>
                  </a:lnTo>
                  <a:lnTo>
                    <a:pt x="126" y="226"/>
                  </a:lnTo>
                  <a:lnTo>
                    <a:pt x="128" y="222"/>
                  </a:lnTo>
                  <a:lnTo>
                    <a:pt x="132" y="214"/>
                  </a:lnTo>
                  <a:lnTo>
                    <a:pt x="134" y="212"/>
                  </a:lnTo>
                  <a:lnTo>
                    <a:pt x="134" y="206"/>
                  </a:lnTo>
                  <a:lnTo>
                    <a:pt x="142" y="192"/>
                  </a:lnTo>
                  <a:lnTo>
                    <a:pt x="144" y="190"/>
                  </a:lnTo>
                  <a:lnTo>
                    <a:pt x="146" y="186"/>
                  </a:lnTo>
                  <a:lnTo>
                    <a:pt x="148" y="180"/>
                  </a:lnTo>
                  <a:lnTo>
                    <a:pt x="148" y="176"/>
                  </a:lnTo>
                  <a:lnTo>
                    <a:pt x="150" y="172"/>
                  </a:lnTo>
                  <a:lnTo>
                    <a:pt x="154" y="168"/>
                  </a:lnTo>
                  <a:lnTo>
                    <a:pt x="156" y="166"/>
                  </a:lnTo>
                  <a:lnTo>
                    <a:pt x="160" y="160"/>
                  </a:lnTo>
                  <a:lnTo>
                    <a:pt x="164" y="154"/>
                  </a:lnTo>
                  <a:lnTo>
                    <a:pt x="172" y="142"/>
                  </a:lnTo>
                  <a:lnTo>
                    <a:pt x="172" y="138"/>
                  </a:lnTo>
                  <a:lnTo>
                    <a:pt x="174" y="136"/>
                  </a:lnTo>
                  <a:lnTo>
                    <a:pt x="176" y="132"/>
                  </a:lnTo>
                  <a:lnTo>
                    <a:pt x="180" y="130"/>
                  </a:lnTo>
                  <a:lnTo>
                    <a:pt x="182" y="126"/>
                  </a:lnTo>
                  <a:lnTo>
                    <a:pt x="184" y="122"/>
                  </a:lnTo>
                  <a:lnTo>
                    <a:pt x="186" y="118"/>
                  </a:lnTo>
                  <a:lnTo>
                    <a:pt x="192" y="116"/>
                  </a:lnTo>
                  <a:lnTo>
                    <a:pt x="194" y="114"/>
                  </a:lnTo>
                  <a:lnTo>
                    <a:pt x="194" y="112"/>
                  </a:lnTo>
                  <a:lnTo>
                    <a:pt x="194" y="110"/>
                  </a:lnTo>
                  <a:lnTo>
                    <a:pt x="194" y="104"/>
                  </a:lnTo>
                  <a:lnTo>
                    <a:pt x="190" y="100"/>
                  </a:lnTo>
                  <a:lnTo>
                    <a:pt x="186" y="80"/>
                  </a:lnTo>
                  <a:lnTo>
                    <a:pt x="182" y="76"/>
                  </a:lnTo>
                  <a:lnTo>
                    <a:pt x="180" y="76"/>
                  </a:lnTo>
                  <a:lnTo>
                    <a:pt x="176" y="84"/>
                  </a:lnTo>
                  <a:lnTo>
                    <a:pt x="176" y="90"/>
                  </a:lnTo>
                  <a:lnTo>
                    <a:pt x="174" y="92"/>
                  </a:lnTo>
                  <a:lnTo>
                    <a:pt x="170" y="94"/>
                  </a:lnTo>
                  <a:lnTo>
                    <a:pt x="172" y="92"/>
                  </a:lnTo>
                  <a:lnTo>
                    <a:pt x="172" y="90"/>
                  </a:lnTo>
                  <a:lnTo>
                    <a:pt x="174" y="84"/>
                  </a:lnTo>
                  <a:lnTo>
                    <a:pt x="170" y="76"/>
                  </a:lnTo>
                  <a:lnTo>
                    <a:pt x="168" y="70"/>
                  </a:lnTo>
                  <a:lnTo>
                    <a:pt x="156" y="62"/>
                  </a:lnTo>
                  <a:lnTo>
                    <a:pt x="150" y="68"/>
                  </a:lnTo>
                  <a:lnTo>
                    <a:pt x="152" y="60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1" name="Freeform 6980">
              <a:extLst>
                <a:ext uri="{FF2B5EF4-FFF2-40B4-BE49-F238E27FC236}">
                  <a16:creationId xmlns:a16="http://schemas.microsoft.com/office/drawing/2014/main" id="{1EB7BFBC-F56C-445B-915C-ABA81EC75C4D}"/>
                </a:ext>
              </a:extLst>
            </p:cNvPr>
            <p:cNvSpPr/>
            <p:nvPr/>
          </p:nvSpPr>
          <p:spPr bwMode="auto">
            <a:xfrm>
              <a:off x="3751304" y="5029369"/>
              <a:ext cx="10021" cy="11563"/>
            </a:xfrm>
            <a:custGeom>
              <a:avLst/>
              <a:gdLst>
                <a:gd name="T0" fmla="*/ 26 w 26"/>
                <a:gd name="T1" fmla="*/ 26 h 30"/>
                <a:gd name="T2" fmla="*/ 24 w 26"/>
                <a:gd name="T3" fmla="*/ 18 h 30"/>
                <a:gd name="T4" fmla="*/ 22 w 26"/>
                <a:gd name="T5" fmla="*/ 16 h 30"/>
                <a:gd name="T6" fmla="*/ 20 w 26"/>
                <a:gd name="T7" fmla="*/ 14 h 30"/>
                <a:gd name="T8" fmla="*/ 20 w 26"/>
                <a:gd name="T9" fmla="*/ 10 h 30"/>
                <a:gd name="T10" fmla="*/ 20 w 26"/>
                <a:gd name="T11" fmla="*/ 8 h 30"/>
                <a:gd name="T12" fmla="*/ 18 w 26"/>
                <a:gd name="T13" fmla="*/ 8 h 30"/>
                <a:gd name="T14" fmla="*/ 14 w 26"/>
                <a:gd name="T15" fmla="*/ 4 h 30"/>
                <a:gd name="T16" fmla="*/ 6 w 26"/>
                <a:gd name="T17" fmla="*/ 0 h 30"/>
                <a:gd name="T18" fmla="*/ 4 w 26"/>
                <a:gd name="T19" fmla="*/ 0 h 30"/>
                <a:gd name="T20" fmla="*/ 2 w 26"/>
                <a:gd name="T21" fmla="*/ 2 h 30"/>
                <a:gd name="T22" fmla="*/ 0 w 26"/>
                <a:gd name="T23" fmla="*/ 4 h 30"/>
                <a:gd name="T24" fmla="*/ 6 w 26"/>
                <a:gd name="T25" fmla="*/ 16 h 30"/>
                <a:gd name="T26" fmla="*/ 8 w 26"/>
                <a:gd name="T27" fmla="*/ 18 h 30"/>
                <a:gd name="T28" fmla="*/ 14 w 26"/>
                <a:gd name="T29" fmla="*/ 18 h 30"/>
                <a:gd name="T30" fmla="*/ 10 w 26"/>
                <a:gd name="T31" fmla="*/ 24 h 30"/>
                <a:gd name="T32" fmla="*/ 10 w 26"/>
                <a:gd name="T33" fmla="*/ 26 h 30"/>
                <a:gd name="T34" fmla="*/ 10 w 26"/>
                <a:gd name="T35" fmla="*/ 28 h 30"/>
                <a:gd name="T36" fmla="*/ 22 w 26"/>
                <a:gd name="T37" fmla="*/ 28 h 30"/>
                <a:gd name="T38" fmla="*/ 24 w 26"/>
                <a:gd name="T39" fmla="*/ 30 h 30"/>
                <a:gd name="T40" fmla="*/ 26 w 26"/>
                <a:gd name="T41" fmla="*/ 30 h 30"/>
                <a:gd name="T42" fmla="*/ 26 w 26"/>
                <a:gd name="T43" fmla="*/ 2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6" h="30">
                  <a:moveTo>
                    <a:pt x="26" y="26"/>
                  </a:moveTo>
                  <a:lnTo>
                    <a:pt x="24" y="18"/>
                  </a:lnTo>
                  <a:lnTo>
                    <a:pt x="22" y="16"/>
                  </a:lnTo>
                  <a:lnTo>
                    <a:pt x="20" y="14"/>
                  </a:lnTo>
                  <a:lnTo>
                    <a:pt x="20" y="10"/>
                  </a:lnTo>
                  <a:lnTo>
                    <a:pt x="20" y="8"/>
                  </a:lnTo>
                  <a:lnTo>
                    <a:pt x="18" y="8"/>
                  </a:lnTo>
                  <a:lnTo>
                    <a:pt x="14" y="4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6" y="16"/>
                  </a:lnTo>
                  <a:lnTo>
                    <a:pt x="8" y="18"/>
                  </a:lnTo>
                  <a:lnTo>
                    <a:pt x="14" y="18"/>
                  </a:lnTo>
                  <a:lnTo>
                    <a:pt x="10" y="24"/>
                  </a:lnTo>
                  <a:lnTo>
                    <a:pt x="10" y="26"/>
                  </a:lnTo>
                  <a:lnTo>
                    <a:pt x="10" y="28"/>
                  </a:lnTo>
                  <a:lnTo>
                    <a:pt x="22" y="28"/>
                  </a:lnTo>
                  <a:lnTo>
                    <a:pt x="24" y="30"/>
                  </a:lnTo>
                  <a:lnTo>
                    <a:pt x="26" y="30"/>
                  </a:lnTo>
                  <a:lnTo>
                    <a:pt x="26" y="2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2" name="Line 6981">
              <a:extLst>
                <a:ext uri="{FF2B5EF4-FFF2-40B4-BE49-F238E27FC236}">
                  <a16:creationId xmlns:a16="http://schemas.microsoft.com/office/drawing/2014/main" id="{E0DA83E0-9E23-498B-B31E-4A6C06E8B37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61325" y="5039391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3" name="Line 6983">
              <a:extLst>
                <a:ext uri="{FF2B5EF4-FFF2-40B4-BE49-F238E27FC236}">
                  <a16:creationId xmlns:a16="http://schemas.microsoft.com/office/drawing/2014/main" id="{96F164C7-7719-4161-8077-D7AAA603F1F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61325" y="5039391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4" name="Freeform 6984">
              <a:extLst>
                <a:ext uri="{FF2B5EF4-FFF2-40B4-BE49-F238E27FC236}">
                  <a16:creationId xmlns:a16="http://schemas.microsoft.com/office/drawing/2014/main" id="{17A8ED5A-4F54-43DF-B722-AAD786E12758}"/>
                </a:ext>
              </a:extLst>
            </p:cNvPr>
            <p:cNvSpPr/>
            <p:nvPr/>
          </p:nvSpPr>
          <p:spPr bwMode="auto">
            <a:xfrm>
              <a:off x="3748991" y="5000076"/>
              <a:ext cx="3084" cy="3084"/>
            </a:xfrm>
            <a:custGeom>
              <a:avLst/>
              <a:gdLst>
                <a:gd name="T0" fmla="*/ 6 w 8"/>
                <a:gd name="T1" fmla="*/ 8 h 8"/>
                <a:gd name="T2" fmla="*/ 8 w 8"/>
                <a:gd name="T3" fmla="*/ 6 h 8"/>
                <a:gd name="T4" fmla="*/ 8 w 8"/>
                <a:gd name="T5" fmla="*/ 2 h 8"/>
                <a:gd name="T6" fmla="*/ 4 w 8"/>
                <a:gd name="T7" fmla="*/ 0 h 8"/>
                <a:gd name="T8" fmla="*/ 4 w 8"/>
                <a:gd name="T9" fmla="*/ 0 h 8"/>
                <a:gd name="T10" fmla="*/ 0 w 8"/>
                <a:gd name="T11" fmla="*/ 2 h 8"/>
                <a:gd name="T12" fmla="*/ 0 w 8"/>
                <a:gd name="T13" fmla="*/ 6 h 8"/>
                <a:gd name="T14" fmla="*/ 2 w 8"/>
                <a:gd name="T15" fmla="*/ 8 h 8"/>
                <a:gd name="T16" fmla="*/ 6 w 8"/>
                <a:gd name="T1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8">
                  <a:moveTo>
                    <a:pt x="6" y="8"/>
                  </a:moveTo>
                  <a:lnTo>
                    <a:pt x="8" y="6"/>
                  </a:lnTo>
                  <a:lnTo>
                    <a:pt x="8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8"/>
                  </a:lnTo>
                  <a:lnTo>
                    <a:pt x="6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5" name="Line 6985">
              <a:extLst>
                <a:ext uri="{FF2B5EF4-FFF2-40B4-BE49-F238E27FC236}">
                  <a16:creationId xmlns:a16="http://schemas.microsoft.com/office/drawing/2014/main" id="{C9BBF983-4990-42E5-9141-4869323ADE3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51304" y="5003159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6" name="Freeform 6986">
              <a:extLst>
                <a:ext uri="{FF2B5EF4-FFF2-40B4-BE49-F238E27FC236}">
                  <a16:creationId xmlns:a16="http://schemas.microsoft.com/office/drawing/2014/main" id="{3CC83ADF-7E57-4E5C-8C18-3EFCC7EC8F67}"/>
                </a:ext>
              </a:extLst>
            </p:cNvPr>
            <p:cNvSpPr/>
            <p:nvPr/>
          </p:nvSpPr>
          <p:spPr bwMode="auto">
            <a:xfrm>
              <a:off x="3748991" y="5000076"/>
              <a:ext cx="3084" cy="3084"/>
            </a:xfrm>
            <a:custGeom>
              <a:avLst/>
              <a:gdLst>
                <a:gd name="T0" fmla="*/ 6 w 8"/>
                <a:gd name="T1" fmla="*/ 8 h 8"/>
                <a:gd name="T2" fmla="*/ 8 w 8"/>
                <a:gd name="T3" fmla="*/ 6 h 8"/>
                <a:gd name="T4" fmla="*/ 8 w 8"/>
                <a:gd name="T5" fmla="*/ 2 h 8"/>
                <a:gd name="T6" fmla="*/ 4 w 8"/>
                <a:gd name="T7" fmla="*/ 0 h 8"/>
                <a:gd name="T8" fmla="*/ 4 w 8"/>
                <a:gd name="T9" fmla="*/ 0 h 8"/>
                <a:gd name="T10" fmla="*/ 0 w 8"/>
                <a:gd name="T11" fmla="*/ 2 h 8"/>
                <a:gd name="T12" fmla="*/ 0 w 8"/>
                <a:gd name="T13" fmla="*/ 6 h 8"/>
                <a:gd name="T14" fmla="*/ 2 w 8"/>
                <a:gd name="T15" fmla="*/ 8 h 8"/>
                <a:gd name="T16" fmla="*/ 6 w 8"/>
                <a:gd name="T1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8">
                  <a:moveTo>
                    <a:pt x="6" y="8"/>
                  </a:moveTo>
                  <a:lnTo>
                    <a:pt x="8" y="6"/>
                  </a:lnTo>
                  <a:lnTo>
                    <a:pt x="8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8"/>
                  </a:lnTo>
                  <a:lnTo>
                    <a:pt x="6" y="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7" name="Freeform 6988">
              <a:extLst>
                <a:ext uri="{FF2B5EF4-FFF2-40B4-BE49-F238E27FC236}">
                  <a16:creationId xmlns:a16="http://schemas.microsoft.com/office/drawing/2014/main" id="{B491B1EE-B4A6-49CB-8C01-DFD11267E1A3}"/>
                </a:ext>
              </a:extLst>
            </p:cNvPr>
            <p:cNvSpPr/>
            <p:nvPr/>
          </p:nvSpPr>
          <p:spPr bwMode="auto">
            <a:xfrm>
              <a:off x="3737428" y="4990825"/>
              <a:ext cx="6167" cy="10021"/>
            </a:xfrm>
            <a:custGeom>
              <a:avLst/>
              <a:gdLst>
                <a:gd name="T0" fmla="*/ 12 w 16"/>
                <a:gd name="T1" fmla="*/ 24 h 26"/>
                <a:gd name="T2" fmla="*/ 14 w 16"/>
                <a:gd name="T3" fmla="*/ 20 h 26"/>
                <a:gd name="T4" fmla="*/ 14 w 16"/>
                <a:gd name="T5" fmla="*/ 8 h 26"/>
                <a:gd name="T6" fmla="*/ 16 w 16"/>
                <a:gd name="T7" fmla="*/ 6 h 26"/>
                <a:gd name="T8" fmla="*/ 12 w 16"/>
                <a:gd name="T9" fmla="*/ 4 h 26"/>
                <a:gd name="T10" fmla="*/ 10 w 16"/>
                <a:gd name="T11" fmla="*/ 2 h 26"/>
                <a:gd name="T12" fmla="*/ 2 w 16"/>
                <a:gd name="T13" fmla="*/ 0 h 26"/>
                <a:gd name="T14" fmla="*/ 0 w 16"/>
                <a:gd name="T15" fmla="*/ 0 h 26"/>
                <a:gd name="T16" fmla="*/ 0 w 16"/>
                <a:gd name="T17" fmla="*/ 4 h 26"/>
                <a:gd name="T18" fmla="*/ 2 w 16"/>
                <a:gd name="T19" fmla="*/ 20 h 26"/>
                <a:gd name="T20" fmla="*/ 4 w 16"/>
                <a:gd name="T21" fmla="*/ 26 h 26"/>
                <a:gd name="T22" fmla="*/ 8 w 16"/>
                <a:gd name="T23" fmla="*/ 26 h 26"/>
                <a:gd name="T24" fmla="*/ 12 w 16"/>
                <a:gd name="T25" fmla="*/ 2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26">
                  <a:moveTo>
                    <a:pt x="12" y="24"/>
                  </a:moveTo>
                  <a:lnTo>
                    <a:pt x="14" y="20"/>
                  </a:lnTo>
                  <a:lnTo>
                    <a:pt x="14" y="8"/>
                  </a:lnTo>
                  <a:lnTo>
                    <a:pt x="16" y="6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20"/>
                  </a:lnTo>
                  <a:lnTo>
                    <a:pt x="4" y="26"/>
                  </a:lnTo>
                  <a:lnTo>
                    <a:pt x="8" y="26"/>
                  </a:lnTo>
                  <a:lnTo>
                    <a:pt x="12" y="24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8" name="Line 6989">
              <a:extLst>
                <a:ext uri="{FF2B5EF4-FFF2-40B4-BE49-F238E27FC236}">
                  <a16:creationId xmlns:a16="http://schemas.microsoft.com/office/drawing/2014/main" id="{682E5132-9BBE-4649-813D-5EB42C3E3C2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42053" y="5000076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9" name="Line 6991">
              <a:extLst>
                <a:ext uri="{FF2B5EF4-FFF2-40B4-BE49-F238E27FC236}">
                  <a16:creationId xmlns:a16="http://schemas.microsoft.com/office/drawing/2014/main" id="{B5ACD76F-815B-4A2D-9728-327C489AB95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42053" y="5000076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0" name="Freeform 6992">
              <a:extLst>
                <a:ext uri="{FF2B5EF4-FFF2-40B4-BE49-F238E27FC236}">
                  <a16:creationId xmlns:a16="http://schemas.microsoft.com/office/drawing/2014/main" id="{070F5C58-EFDF-4296-9E3A-60638A633EDB}"/>
                </a:ext>
              </a:extLst>
            </p:cNvPr>
            <p:cNvSpPr/>
            <p:nvPr/>
          </p:nvSpPr>
          <p:spPr bwMode="auto">
            <a:xfrm>
              <a:off x="3743595" y="4986971"/>
              <a:ext cx="9251" cy="6938"/>
            </a:xfrm>
            <a:custGeom>
              <a:avLst/>
              <a:gdLst>
                <a:gd name="T0" fmla="*/ 14 w 24"/>
                <a:gd name="T1" fmla="*/ 18 h 18"/>
                <a:gd name="T2" fmla="*/ 24 w 24"/>
                <a:gd name="T3" fmla="*/ 16 h 18"/>
                <a:gd name="T4" fmla="*/ 12 w 24"/>
                <a:gd name="T5" fmla="*/ 8 h 18"/>
                <a:gd name="T6" fmla="*/ 10 w 24"/>
                <a:gd name="T7" fmla="*/ 6 h 18"/>
                <a:gd name="T8" fmla="*/ 8 w 24"/>
                <a:gd name="T9" fmla="*/ 2 h 18"/>
                <a:gd name="T10" fmla="*/ 4 w 24"/>
                <a:gd name="T11" fmla="*/ 0 h 18"/>
                <a:gd name="T12" fmla="*/ 2 w 24"/>
                <a:gd name="T13" fmla="*/ 2 h 18"/>
                <a:gd name="T14" fmla="*/ 0 w 24"/>
                <a:gd name="T15" fmla="*/ 4 h 18"/>
                <a:gd name="T16" fmla="*/ 2 w 24"/>
                <a:gd name="T17" fmla="*/ 10 h 18"/>
                <a:gd name="T18" fmla="*/ 0 w 24"/>
                <a:gd name="T19" fmla="*/ 14 h 18"/>
                <a:gd name="T20" fmla="*/ 0 w 24"/>
                <a:gd name="T21" fmla="*/ 18 h 18"/>
                <a:gd name="T22" fmla="*/ 6 w 24"/>
                <a:gd name="T23" fmla="*/ 18 h 18"/>
                <a:gd name="T24" fmla="*/ 14 w 24"/>
                <a:gd name="T2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18">
                  <a:moveTo>
                    <a:pt x="14" y="18"/>
                  </a:moveTo>
                  <a:lnTo>
                    <a:pt x="24" y="16"/>
                  </a:lnTo>
                  <a:lnTo>
                    <a:pt x="12" y="8"/>
                  </a:lnTo>
                  <a:lnTo>
                    <a:pt x="10" y="6"/>
                  </a:lnTo>
                  <a:lnTo>
                    <a:pt x="8" y="2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2" y="10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14" y="18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1" name="Line 6993">
              <a:extLst>
                <a:ext uri="{FF2B5EF4-FFF2-40B4-BE49-F238E27FC236}">
                  <a16:creationId xmlns:a16="http://schemas.microsoft.com/office/drawing/2014/main" id="{7821B0DD-42CF-41EB-871A-73DFE0BD776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748991" y="4993909"/>
              <a:ext cx="0" cy="0"/>
            </a:xfrm>
            <a:prstGeom prst="line">
              <a:avLst/>
            </a:pr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462" name="Group 427">
              <a:extLst>
                <a:ext uri="{FF2B5EF4-FFF2-40B4-BE49-F238E27FC236}">
                  <a16:creationId xmlns:a16="http://schemas.microsoft.com/office/drawing/2014/main" id="{71D46096-5060-4F56-BE2E-5E2A147555E9}"/>
                </a:ext>
              </a:extLst>
            </p:cNvPr>
            <p:cNvGrpSpPr/>
            <p:nvPr/>
          </p:nvGrpSpPr>
          <p:grpSpPr>
            <a:xfrm>
              <a:off x="5178197" y="3902348"/>
              <a:ext cx="361541" cy="356916"/>
              <a:chOff x="27883514" y="17724450"/>
              <a:chExt cx="2234844" cy="2206254"/>
            </a:xfrm>
            <a:grpFill/>
          </p:grpSpPr>
          <p:sp>
            <p:nvSpPr>
              <p:cNvPr id="508" name="Freeform 457">
                <a:extLst>
                  <a:ext uri="{FF2B5EF4-FFF2-40B4-BE49-F238E27FC236}">
                    <a16:creationId xmlns:a16="http://schemas.microsoft.com/office/drawing/2014/main" id="{4CC22C02-6245-4AED-83C9-4787983553D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883514" y="17724450"/>
                <a:ext cx="2015648" cy="2006118"/>
              </a:xfrm>
              <a:custGeom>
                <a:avLst/>
                <a:gdLst>
                  <a:gd name="connsiteX0" fmla="*/ 528928 w 2015648"/>
                  <a:gd name="connsiteY0" fmla="*/ 1196046 h 2006118"/>
                  <a:gd name="connsiteX1" fmla="*/ 543222 w 2015648"/>
                  <a:gd name="connsiteY1" fmla="*/ 1205576 h 2006118"/>
                  <a:gd name="connsiteX2" fmla="*/ 557520 w 2015648"/>
                  <a:gd name="connsiteY2" fmla="*/ 1229402 h 2006118"/>
                  <a:gd name="connsiteX3" fmla="*/ 552756 w 2015648"/>
                  <a:gd name="connsiteY3" fmla="*/ 1248462 h 2006118"/>
                  <a:gd name="connsiteX4" fmla="*/ 543222 w 2015648"/>
                  <a:gd name="connsiteY4" fmla="*/ 1229402 h 2006118"/>
                  <a:gd name="connsiteX5" fmla="*/ 528928 w 2015648"/>
                  <a:gd name="connsiteY5" fmla="*/ 1215108 h 2006118"/>
                  <a:gd name="connsiteX6" fmla="*/ 528928 w 2015648"/>
                  <a:gd name="connsiteY6" fmla="*/ 1200812 h 2006118"/>
                  <a:gd name="connsiteX7" fmla="*/ 1138864 w 2015648"/>
                  <a:gd name="connsiteY7" fmla="*/ 0 h 2006118"/>
                  <a:gd name="connsiteX8" fmla="*/ 1138864 w 2015648"/>
                  <a:gd name="connsiteY8" fmla="*/ 14296 h 2006118"/>
                  <a:gd name="connsiteX9" fmla="*/ 1148396 w 2015648"/>
                  <a:gd name="connsiteY9" fmla="*/ 28590 h 2006118"/>
                  <a:gd name="connsiteX10" fmla="*/ 1148396 w 2015648"/>
                  <a:gd name="connsiteY10" fmla="*/ 38122 h 2006118"/>
                  <a:gd name="connsiteX11" fmla="*/ 1148396 w 2015648"/>
                  <a:gd name="connsiteY11" fmla="*/ 47652 h 2006118"/>
                  <a:gd name="connsiteX12" fmla="*/ 1148396 w 2015648"/>
                  <a:gd name="connsiteY12" fmla="*/ 57182 h 2006118"/>
                  <a:gd name="connsiteX13" fmla="*/ 1157926 w 2015648"/>
                  <a:gd name="connsiteY13" fmla="*/ 71476 h 2006118"/>
                  <a:gd name="connsiteX14" fmla="*/ 1172220 w 2015648"/>
                  <a:gd name="connsiteY14" fmla="*/ 90538 h 2006118"/>
                  <a:gd name="connsiteX15" fmla="*/ 1186516 w 2015648"/>
                  <a:gd name="connsiteY15" fmla="*/ 100068 h 2006118"/>
                  <a:gd name="connsiteX16" fmla="*/ 1191280 w 2015648"/>
                  <a:gd name="connsiteY16" fmla="*/ 95302 h 2006118"/>
                  <a:gd name="connsiteX17" fmla="*/ 1200812 w 2015648"/>
                  <a:gd name="connsiteY17" fmla="*/ 95302 h 2006118"/>
                  <a:gd name="connsiteX18" fmla="*/ 1215106 w 2015648"/>
                  <a:gd name="connsiteY18" fmla="*/ 85772 h 2006118"/>
                  <a:gd name="connsiteX19" fmla="*/ 1229400 w 2015648"/>
                  <a:gd name="connsiteY19" fmla="*/ 81008 h 2006118"/>
                  <a:gd name="connsiteX20" fmla="*/ 1238934 w 2015648"/>
                  <a:gd name="connsiteY20" fmla="*/ 95302 h 2006118"/>
                  <a:gd name="connsiteX21" fmla="*/ 1248462 w 2015648"/>
                  <a:gd name="connsiteY21" fmla="*/ 109598 h 2006118"/>
                  <a:gd name="connsiteX22" fmla="*/ 1253228 w 2015648"/>
                  <a:gd name="connsiteY22" fmla="*/ 128658 h 2006118"/>
                  <a:gd name="connsiteX23" fmla="*/ 1253228 w 2015648"/>
                  <a:gd name="connsiteY23" fmla="*/ 142954 h 2006118"/>
                  <a:gd name="connsiteX24" fmla="*/ 1262758 w 2015648"/>
                  <a:gd name="connsiteY24" fmla="*/ 147718 h 2006118"/>
                  <a:gd name="connsiteX25" fmla="*/ 1286582 w 2015648"/>
                  <a:gd name="connsiteY25" fmla="*/ 152484 h 2006118"/>
                  <a:gd name="connsiteX26" fmla="*/ 1305642 w 2015648"/>
                  <a:gd name="connsiteY26" fmla="*/ 157250 h 2006118"/>
                  <a:gd name="connsiteX27" fmla="*/ 1310410 w 2015648"/>
                  <a:gd name="connsiteY27" fmla="*/ 162014 h 2006118"/>
                  <a:gd name="connsiteX28" fmla="*/ 1315176 w 2015648"/>
                  <a:gd name="connsiteY28" fmla="*/ 190606 h 2006118"/>
                  <a:gd name="connsiteX29" fmla="*/ 1319940 w 2015648"/>
                  <a:gd name="connsiteY29" fmla="*/ 195370 h 2006118"/>
                  <a:gd name="connsiteX30" fmla="*/ 1324704 w 2015648"/>
                  <a:gd name="connsiteY30" fmla="*/ 195370 h 2006118"/>
                  <a:gd name="connsiteX31" fmla="*/ 1329470 w 2015648"/>
                  <a:gd name="connsiteY31" fmla="*/ 190606 h 2006118"/>
                  <a:gd name="connsiteX32" fmla="*/ 1334236 w 2015648"/>
                  <a:gd name="connsiteY32" fmla="*/ 185840 h 2006118"/>
                  <a:gd name="connsiteX33" fmla="*/ 1348530 w 2015648"/>
                  <a:gd name="connsiteY33" fmla="*/ 190606 h 2006118"/>
                  <a:gd name="connsiteX34" fmla="*/ 1358060 w 2015648"/>
                  <a:gd name="connsiteY34" fmla="*/ 190606 h 2006118"/>
                  <a:gd name="connsiteX35" fmla="*/ 1377120 w 2015648"/>
                  <a:gd name="connsiteY35" fmla="*/ 195370 h 2006118"/>
                  <a:gd name="connsiteX36" fmla="*/ 1396182 w 2015648"/>
                  <a:gd name="connsiteY36" fmla="*/ 209666 h 2006118"/>
                  <a:gd name="connsiteX37" fmla="*/ 1396182 w 2015648"/>
                  <a:gd name="connsiteY37" fmla="*/ 219196 h 2006118"/>
                  <a:gd name="connsiteX38" fmla="*/ 1391418 w 2015648"/>
                  <a:gd name="connsiteY38" fmla="*/ 228726 h 2006118"/>
                  <a:gd name="connsiteX39" fmla="*/ 1391418 w 2015648"/>
                  <a:gd name="connsiteY39" fmla="*/ 238256 h 2006118"/>
                  <a:gd name="connsiteX40" fmla="*/ 1391418 w 2015648"/>
                  <a:gd name="connsiteY40" fmla="*/ 243022 h 2006118"/>
                  <a:gd name="connsiteX41" fmla="*/ 1396182 w 2015648"/>
                  <a:gd name="connsiteY41" fmla="*/ 247786 h 2006118"/>
                  <a:gd name="connsiteX42" fmla="*/ 1396182 w 2015648"/>
                  <a:gd name="connsiteY42" fmla="*/ 257316 h 2006118"/>
                  <a:gd name="connsiteX43" fmla="*/ 1391418 w 2015648"/>
                  <a:gd name="connsiteY43" fmla="*/ 266848 h 2006118"/>
                  <a:gd name="connsiteX44" fmla="*/ 1391418 w 2015648"/>
                  <a:gd name="connsiteY44" fmla="*/ 271612 h 2006118"/>
                  <a:gd name="connsiteX45" fmla="*/ 1391418 w 2015648"/>
                  <a:gd name="connsiteY45" fmla="*/ 276378 h 2006118"/>
                  <a:gd name="connsiteX46" fmla="*/ 1391418 w 2015648"/>
                  <a:gd name="connsiteY46" fmla="*/ 281142 h 2006118"/>
                  <a:gd name="connsiteX47" fmla="*/ 1396182 w 2015648"/>
                  <a:gd name="connsiteY47" fmla="*/ 281142 h 2006118"/>
                  <a:gd name="connsiteX48" fmla="*/ 1424772 w 2015648"/>
                  <a:gd name="connsiteY48" fmla="*/ 285908 h 2006118"/>
                  <a:gd name="connsiteX49" fmla="*/ 1453364 w 2015648"/>
                  <a:gd name="connsiteY49" fmla="*/ 281142 h 2006118"/>
                  <a:gd name="connsiteX50" fmla="*/ 1472424 w 2015648"/>
                  <a:gd name="connsiteY50" fmla="*/ 271612 h 2006118"/>
                  <a:gd name="connsiteX51" fmla="*/ 1472424 w 2015648"/>
                  <a:gd name="connsiteY51" fmla="*/ 262082 h 2006118"/>
                  <a:gd name="connsiteX52" fmla="*/ 1477188 w 2015648"/>
                  <a:gd name="connsiteY52" fmla="*/ 247786 h 2006118"/>
                  <a:gd name="connsiteX53" fmla="*/ 1486720 w 2015648"/>
                  <a:gd name="connsiteY53" fmla="*/ 238256 h 2006118"/>
                  <a:gd name="connsiteX54" fmla="*/ 1496248 w 2015648"/>
                  <a:gd name="connsiteY54" fmla="*/ 233492 h 2006118"/>
                  <a:gd name="connsiteX55" fmla="*/ 1501014 w 2015648"/>
                  <a:gd name="connsiteY55" fmla="*/ 238256 h 2006118"/>
                  <a:gd name="connsiteX56" fmla="*/ 1491484 w 2015648"/>
                  <a:gd name="connsiteY56" fmla="*/ 281142 h 2006118"/>
                  <a:gd name="connsiteX57" fmla="*/ 1501014 w 2015648"/>
                  <a:gd name="connsiteY57" fmla="*/ 290672 h 2006118"/>
                  <a:gd name="connsiteX58" fmla="*/ 1501014 w 2015648"/>
                  <a:gd name="connsiteY58" fmla="*/ 309734 h 2006118"/>
                  <a:gd name="connsiteX59" fmla="*/ 1505780 w 2015648"/>
                  <a:gd name="connsiteY59" fmla="*/ 324028 h 2006118"/>
                  <a:gd name="connsiteX60" fmla="*/ 1515308 w 2015648"/>
                  <a:gd name="connsiteY60" fmla="*/ 324028 h 2006118"/>
                  <a:gd name="connsiteX61" fmla="*/ 1524842 w 2015648"/>
                  <a:gd name="connsiteY61" fmla="*/ 324028 h 2006118"/>
                  <a:gd name="connsiteX62" fmla="*/ 1534368 w 2015648"/>
                  <a:gd name="connsiteY62" fmla="*/ 328794 h 2006118"/>
                  <a:gd name="connsiteX63" fmla="*/ 1543902 w 2015648"/>
                  <a:gd name="connsiteY63" fmla="*/ 338324 h 2006118"/>
                  <a:gd name="connsiteX64" fmla="*/ 1558196 w 2015648"/>
                  <a:gd name="connsiteY64" fmla="*/ 347854 h 2006118"/>
                  <a:gd name="connsiteX65" fmla="*/ 1567726 w 2015648"/>
                  <a:gd name="connsiteY65" fmla="*/ 347854 h 2006118"/>
                  <a:gd name="connsiteX66" fmla="*/ 1572490 w 2015648"/>
                  <a:gd name="connsiteY66" fmla="*/ 357384 h 2006118"/>
                  <a:gd name="connsiteX67" fmla="*/ 1582024 w 2015648"/>
                  <a:gd name="connsiteY67" fmla="*/ 362150 h 2006118"/>
                  <a:gd name="connsiteX68" fmla="*/ 1591550 w 2015648"/>
                  <a:gd name="connsiteY68" fmla="*/ 381210 h 2006118"/>
                  <a:gd name="connsiteX69" fmla="*/ 1605848 w 2015648"/>
                  <a:gd name="connsiteY69" fmla="*/ 390740 h 2006118"/>
                  <a:gd name="connsiteX70" fmla="*/ 1610610 w 2015648"/>
                  <a:gd name="connsiteY70" fmla="*/ 390740 h 2006118"/>
                  <a:gd name="connsiteX71" fmla="*/ 1620144 w 2015648"/>
                  <a:gd name="connsiteY71" fmla="*/ 385976 h 2006118"/>
                  <a:gd name="connsiteX72" fmla="*/ 1634438 w 2015648"/>
                  <a:gd name="connsiteY72" fmla="*/ 385976 h 2006118"/>
                  <a:gd name="connsiteX73" fmla="*/ 1648732 w 2015648"/>
                  <a:gd name="connsiteY73" fmla="*/ 385976 h 2006118"/>
                  <a:gd name="connsiteX74" fmla="*/ 1653498 w 2015648"/>
                  <a:gd name="connsiteY74" fmla="*/ 390740 h 2006118"/>
                  <a:gd name="connsiteX75" fmla="*/ 1663028 w 2015648"/>
                  <a:gd name="connsiteY75" fmla="*/ 395506 h 2006118"/>
                  <a:gd name="connsiteX76" fmla="*/ 1667792 w 2015648"/>
                  <a:gd name="connsiteY76" fmla="*/ 400270 h 2006118"/>
                  <a:gd name="connsiteX77" fmla="*/ 1672558 w 2015648"/>
                  <a:gd name="connsiteY77" fmla="*/ 405036 h 2006118"/>
                  <a:gd name="connsiteX78" fmla="*/ 1682090 w 2015648"/>
                  <a:gd name="connsiteY78" fmla="*/ 405036 h 2006118"/>
                  <a:gd name="connsiteX79" fmla="*/ 1691620 w 2015648"/>
                  <a:gd name="connsiteY79" fmla="*/ 405036 h 2006118"/>
                  <a:gd name="connsiteX80" fmla="*/ 1701150 w 2015648"/>
                  <a:gd name="connsiteY80" fmla="*/ 395506 h 2006118"/>
                  <a:gd name="connsiteX81" fmla="*/ 1710680 w 2015648"/>
                  <a:gd name="connsiteY81" fmla="*/ 390740 h 2006118"/>
                  <a:gd name="connsiteX82" fmla="*/ 1720210 w 2015648"/>
                  <a:gd name="connsiteY82" fmla="*/ 395506 h 2006118"/>
                  <a:gd name="connsiteX83" fmla="*/ 1724974 w 2015648"/>
                  <a:gd name="connsiteY83" fmla="*/ 400270 h 2006118"/>
                  <a:gd name="connsiteX84" fmla="*/ 1734508 w 2015648"/>
                  <a:gd name="connsiteY84" fmla="*/ 405036 h 2006118"/>
                  <a:gd name="connsiteX85" fmla="*/ 1739270 w 2015648"/>
                  <a:gd name="connsiteY85" fmla="*/ 405036 h 2006118"/>
                  <a:gd name="connsiteX86" fmla="*/ 1753568 w 2015648"/>
                  <a:gd name="connsiteY86" fmla="*/ 405036 h 2006118"/>
                  <a:gd name="connsiteX87" fmla="*/ 1763094 w 2015648"/>
                  <a:gd name="connsiteY87" fmla="*/ 419332 h 2006118"/>
                  <a:gd name="connsiteX88" fmla="*/ 1767862 w 2015648"/>
                  <a:gd name="connsiteY88" fmla="*/ 428862 h 2006118"/>
                  <a:gd name="connsiteX89" fmla="*/ 1772628 w 2015648"/>
                  <a:gd name="connsiteY89" fmla="*/ 438392 h 2006118"/>
                  <a:gd name="connsiteX90" fmla="*/ 1777392 w 2015648"/>
                  <a:gd name="connsiteY90" fmla="*/ 443156 h 2006118"/>
                  <a:gd name="connsiteX91" fmla="*/ 1796452 w 2015648"/>
                  <a:gd name="connsiteY91" fmla="*/ 476512 h 2006118"/>
                  <a:gd name="connsiteX92" fmla="*/ 1801216 w 2015648"/>
                  <a:gd name="connsiteY92" fmla="*/ 476512 h 2006118"/>
                  <a:gd name="connsiteX93" fmla="*/ 1810748 w 2015648"/>
                  <a:gd name="connsiteY93" fmla="*/ 471748 h 2006118"/>
                  <a:gd name="connsiteX94" fmla="*/ 1815512 w 2015648"/>
                  <a:gd name="connsiteY94" fmla="*/ 462218 h 2006118"/>
                  <a:gd name="connsiteX95" fmla="*/ 1820276 w 2015648"/>
                  <a:gd name="connsiteY95" fmla="*/ 462218 h 2006118"/>
                  <a:gd name="connsiteX96" fmla="*/ 1829810 w 2015648"/>
                  <a:gd name="connsiteY96" fmla="*/ 466982 h 2006118"/>
                  <a:gd name="connsiteX97" fmla="*/ 1839336 w 2015648"/>
                  <a:gd name="connsiteY97" fmla="*/ 471748 h 2006118"/>
                  <a:gd name="connsiteX98" fmla="*/ 1839336 w 2015648"/>
                  <a:gd name="connsiteY98" fmla="*/ 481278 h 2006118"/>
                  <a:gd name="connsiteX99" fmla="*/ 1844104 w 2015648"/>
                  <a:gd name="connsiteY99" fmla="*/ 486042 h 2006118"/>
                  <a:gd name="connsiteX100" fmla="*/ 1848870 w 2015648"/>
                  <a:gd name="connsiteY100" fmla="*/ 481278 h 2006118"/>
                  <a:gd name="connsiteX101" fmla="*/ 1853634 w 2015648"/>
                  <a:gd name="connsiteY101" fmla="*/ 481278 h 2006118"/>
                  <a:gd name="connsiteX102" fmla="*/ 1867930 w 2015648"/>
                  <a:gd name="connsiteY102" fmla="*/ 486042 h 2006118"/>
                  <a:gd name="connsiteX103" fmla="*/ 1886992 w 2015648"/>
                  <a:gd name="connsiteY103" fmla="*/ 481278 h 2006118"/>
                  <a:gd name="connsiteX104" fmla="*/ 1901284 w 2015648"/>
                  <a:gd name="connsiteY104" fmla="*/ 476512 h 2006118"/>
                  <a:gd name="connsiteX105" fmla="*/ 1906052 w 2015648"/>
                  <a:gd name="connsiteY105" fmla="*/ 476512 h 2006118"/>
                  <a:gd name="connsiteX106" fmla="*/ 1920346 w 2015648"/>
                  <a:gd name="connsiteY106" fmla="*/ 490808 h 2006118"/>
                  <a:gd name="connsiteX107" fmla="*/ 1934640 w 2015648"/>
                  <a:gd name="connsiteY107" fmla="*/ 500338 h 2006118"/>
                  <a:gd name="connsiteX108" fmla="*/ 1963234 w 2015648"/>
                  <a:gd name="connsiteY108" fmla="*/ 500338 h 2006118"/>
                  <a:gd name="connsiteX109" fmla="*/ 1991820 w 2015648"/>
                  <a:gd name="connsiteY109" fmla="*/ 509868 h 2006118"/>
                  <a:gd name="connsiteX110" fmla="*/ 2006118 w 2015648"/>
                  <a:gd name="connsiteY110" fmla="*/ 514634 h 2006118"/>
                  <a:gd name="connsiteX111" fmla="*/ 2015648 w 2015648"/>
                  <a:gd name="connsiteY111" fmla="*/ 519398 h 2006118"/>
                  <a:gd name="connsiteX112" fmla="*/ 2015648 w 2015648"/>
                  <a:gd name="connsiteY112" fmla="*/ 538460 h 2006118"/>
                  <a:gd name="connsiteX113" fmla="*/ 2010882 w 2015648"/>
                  <a:gd name="connsiteY113" fmla="*/ 543224 h 2006118"/>
                  <a:gd name="connsiteX114" fmla="*/ 1982294 w 2015648"/>
                  <a:gd name="connsiteY114" fmla="*/ 586110 h 2006118"/>
                  <a:gd name="connsiteX115" fmla="*/ 1967996 w 2015648"/>
                  <a:gd name="connsiteY115" fmla="*/ 600406 h 2006118"/>
                  <a:gd name="connsiteX116" fmla="*/ 1963234 w 2015648"/>
                  <a:gd name="connsiteY116" fmla="*/ 619466 h 2006118"/>
                  <a:gd name="connsiteX117" fmla="*/ 1958466 w 2015648"/>
                  <a:gd name="connsiteY117" fmla="*/ 652822 h 2006118"/>
                  <a:gd name="connsiteX118" fmla="*/ 1948936 w 2015648"/>
                  <a:gd name="connsiteY118" fmla="*/ 681414 h 2006118"/>
                  <a:gd name="connsiteX119" fmla="*/ 1934640 w 2015648"/>
                  <a:gd name="connsiteY119" fmla="*/ 710004 h 2006118"/>
                  <a:gd name="connsiteX120" fmla="*/ 1929876 w 2015648"/>
                  <a:gd name="connsiteY120" fmla="*/ 733830 h 2006118"/>
                  <a:gd name="connsiteX121" fmla="*/ 1929876 w 2015648"/>
                  <a:gd name="connsiteY121" fmla="*/ 748124 h 2006118"/>
                  <a:gd name="connsiteX122" fmla="*/ 1929876 w 2015648"/>
                  <a:gd name="connsiteY122" fmla="*/ 771950 h 2006118"/>
                  <a:gd name="connsiteX123" fmla="*/ 1920346 w 2015648"/>
                  <a:gd name="connsiteY123" fmla="*/ 800542 h 2006118"/>
                  <a:gd name="connsiteX124" fmla="*/ 1920346 w 2015648"/>
                  <a:gd name="connsiteY124" fmla="*/ 824366 h 2006118"/>
                  <a:gd name="connsiteX125" fmla="*/ 1925112 w 2015648"/>
                  <a:gd name="connsiteY125" fmla="*/ 838662 h 2006118"/>
                  <a:gd name="connsiteX126" fmla="*/ 1934640 w 2015648"/>
                  <a:gd name="connsiteY126" fmla="*/ 843428 h 2006118"/>
                  <a:gd name="connsiteX127" fmla="*/ 1915578 w 2015648"/>
                  <a:gd name="connsiteY127" fmla="*/ 852958 h 2006118"/>
                  <a:gd name="connsiteX128" fmla="*/ 1910816 w 2015648"/>
                  <a:gd name="connsiteY128" fmla="*/ 862488 h 2006118"/>
                  <a:gd name="connsiteX129" fmla="*/ 1901284 w 2015648"/>
                  <a:gd name="connsiteY129" fmla="*/ 876784 h 2006118"/>
                  <a:gd name="connsiteX130" fmla="*/ 1891754 w 2015648"/>
                  <a:gd name="connsiteY130" fmla="*/ 881548 h 2006118"/>
                  <a:gd name="connsiteX131" fmla="*/ 1877458 w 2015648"/>
                  <a:gd name="connsiteY131" fmla="*/ 881548 h 2006118"/>
                  <a:gd name="connsiteX132" fmla="*/ 1867930 w 2015648"/>
                  <a:gd name="connsiteY132" fmla="*/ 881548 h 2006118"/>
                  <a:gd name="connsiteX133" fmla="*/ 1863164 w 2015648"/>
                  <a:gd name="connsiteY133" fmla="*/ 876784 h 2006118"/>
                  <a:gd name="connsiteX134" fmla="*/ 1863164 w 2015648"/>
                  <a:gd name="connsiteY134" fmla="*/ 872018 h 2006118"/>
                  <a:gd name="connsiteX135" fmla="*/ 1858398 w 2015648"/>
                  <a:gd name="connsiteY135" fmla="*/ 867252 h 2006118"/>
                  <a:gd name="connsiteX136" fmla="*/ 1844104 w 2015648"/>
                  <a:gd name="connsiteY136" fmla="*/ 867252 h 2006118"/>
                  <a:gd name="connsiteX137" fmla="*/ 1834574 w 2015648"/>
                  <a:gd name="connsiteY137" fmla="*/ 876784 h 2006118"/>
                  <a:gd name="connsiteX138" fmla="*/ 1820276 w 2015648"/>
                  <a:gd name="connsiteY138" fmla="*/ 891078 h 2006118"/>
                  <a:gd name="connsiteX139" fmla="*/ 1825044 w 2015648"/>
                  <a:gd name="connsiteY139" fmla="*/ 895844 h 2006118"/>
                  <a:gd name="connsiteX140" fmla="*/ 1834574 w 2015648"/>
                  <a:gd name="connsiteY140" fmla="*/ 900608 h 2006118"/>
                  <a:gd name="connsiteX141" fmla="*/ 1839336 w 2015648"/>
                  <a:gd name="connsiteY141" fmla="*/ 900608 h 2006118"/>
                  <a:gd name="connsiteX142" fmla="*/ 1839336 w 2015648"/>
                  <a:gd name="connsiteY142" fmla="*/ 905374 h 2006118"/>
                  <a:gd name="connsiteX143" fmla="*/ 1834574 w 2015648"/>
                  <a:gd name="connsiteY143" fmla="*/ 910140 h 2006118"/>
                  <a:gd name="connsiteX144" fmla="*/ 1829810 w 2015648"/>
                  <a:gd name="connsiteY144" fmla="*/ 919670 h 2006118"/>
                  <a:gd name="connsiteX145" fmla="*/ 1810748 w 2015648"/>
                  <a:gd name="connsiteY145" fmla="*/ 943494 h 2006118"/>
                  <a:gd name="connsiteX146" fmla="*/ 1786922 w 2015648"/>
                  <a:gd name="connsiteY146" fmla="*/ 967320 h 2006118"/>
                  <a:gd name="connsiteX147" fmla="*/ 1786922 w 2015648"/>
                  <a:gd name="connsiteY147" fmla="*/ 972086 h 2006118"/>
                  <a:gd name="connsiteX148" fmla="*/ 1777392 w 2015648"/>
                  <a:gd name="connsiteY148" fmla="*/ 976850 h 2006118"/>
                  <a:gd name="connsiteX149" fmla="*/ 1753568 w 2015648"/>
                  <a:gd name="connsiteY149" fmla="*/ 991146 h 2006118"/>
                  <a:gd name="connsiteX150" fmla="*/ 1748800 w 2015648"/>
                  <a:gd name="connsiteY150" fmla="*/ 995912 h 2006118"/>
                  <a:gd name="connsiteX151" fmla="*/ 1748800 w 2015648"/>
                  <a:gd name="connsiteY151" fmla="*/ 1019736 h 2006118"/>
                  <a:gd name="connsiteX152" fmla="*/ 1744034 w 2015648"/>
                  <a:gd name="connsiteY152" fmla="*/ 1034032 h 2006118"/>
                  <a:gd name="connsiteX153" fmla="*/ 1724974 w 2015648"/>
                  <a:gd name="connsiteY153" fmla="*/ 1053092 h 2006118"/>
                  <a:gd name="connsiteX154" fmla="*/ 1705914 w 2015648"/>
                  <a:gd name="connsiteY154" fmla="*/ 1067388 h 2006118"/>
                  <a:gd name="connsiteX155" fmla="*/ 1701150 w 2015648"/>
                  <a:gd name="connsiteY155" fmla="*/ 1076918 h 2006118"/>
                  <a:gd name="connsiteX156" fmla="*/ 1696386 w 2015648"/>
                  <a:gd name="connsiteY156" fmla="*/ 1091214 h 2006118"/>
                  <a:gd name="connsiteX157" fmla="*/ 1691620 w 2015648"/>
                  <a:gd name="connsiteY157" fmla="*/ 1105510 h 2006118"/>
                  <a:gd name="connsiteX158" fmla="*/ 1691620 w 2015648"/>
                  <a:gd name="connsiteY158" fmla="*/ 1110274 h 2006118"/>
                  <a:gd name="connsiteX159" fmla="*/ 1701150 w 2015648"/>
                  <a:gd name="connsiteY159" fmla="*/ 1119804 h 2006118"/>
                  <a:gd name="connsiteX160" fmla="*/ 1701150 w 2015648"/>
                  <a:gd name="connsiteY160" fmla="*/ 1129334 h 2006118"/>
                  <a:gd name="connsiteX161" fmla="*/ 1696386 w 2015648"/>
                  <a:gd name="connsiteY161" fmla="*/ 1143630 h 2006118"/>
                  <a:gd name="connsiteX162" fmla="*/ 1686852 w 2015648"/>
                  <a:gd name="connsiteY162" fmla="*/ 1153160 h 2006118"/>
                  <a:gd name="connsiteX163" fmla="*/ 1677326 w 2015648"/>
                  <a:gd name="connsiteY163" fmla="*/ 1157926 h 2006118"/>
                  <a:gd name="connsiteX164" fmla="*/ 1677326 w 2015648"/>
                  <a:gd name="connsiteY164" fmla="*/ 1172222 h 2006118"/>
                  <a:gd name="connsiteX165" fmla="*/ 1682090 w 2015648"/>
                  <a:gd name="connsiteY165" fmla="*/ 1176986 h 2006118"/>
                  <a:gd name="connsiteX166" fmla="*/ 1696386 w 2015648"/>
                  <a:gd name="connsiteY166" fmla="*/ 1172222 h 2006118"/>
                  <a:gd name="connsiteX167" fmla="*/ 1710680 w 2015648"/>
                  <a:gd name="connsiteY167" fmla="*/ 1162690 h 2006118"/>
                  <a:gd name="connsiteX168" fmla="*/ 1724974 w 2015648"/>
                  <a:gd name="connsiteY168" fmla="*/ 1148396 h 2006118"/>
                  <a:gd name="connsiteX169" fmla="*/ 1715446 w 2015648"/>
                  <a:gd name="connsiteY169" fmla="*/ 1138866 h 2006118"/>
                  <a:gd name="connsiteX170" fmla="*/ 1715446 w 2015648"/>
                  <a:gd name="connsiteY170" fmla="*/ 1134100 h 2006118"/>
                  <a:gd name="connsiteX171" fmla="*/ 1715446 w 2015648"/>
                  <a:gd name="connsiteY171" fmla="*/ 1129334 h 2006118"/>
                  <a:gd name="connsiteX172" fmla="*/ 1729740 w 2015648"/>
                  <a:gd name="connsiteY172" fmla="*/ 1115040 h 2006118"/>
                  <a:gd name="connsiteX173" fmla="*/ 1748800 w 2015648"/>
                  <a:gd name="connsiteY173" fmla="*/ 1110274 h 2006118"/>
                  <a:gd name="connsiteX174" fmla="*/ 1772628 w 2015648"/>
                  <a:gd name="connsiteY174" fmla="*/ 1105510 h 2006118"/>
                  <a:gd name="connsiteX175" fmla="*/ 1801216 w 2015648"/>
                  <a:gd name="connsiteY175" fmla="*/ 1110274 h 2006118"/>
                  <a:gd name="connsiteX176" fmla="*/ 1801216 w 2015648"/>
                  <a:gd name="connsiteY176" fmla="*/ 1115040 h 2006118"/>
                  <a:gd name="connsiteX177" fmla="*/ 1801216 w 2015648"/>
                  <a:gd name="connsiteY177" fmla="*/ 1124570 h 2006118"/>
                  <a:gd name="connsiteX178" fmla="*/ 1801216 w 2015648"/>
                  <a:gd name="connsiteY178" fmla="*/ 1134100 h 2006118"/>
                  <a:gd name="connsiteX179" fmla="*/ 1810748 w 2015648"/>
                  <a:gd name="connsiteY179" fmla="*/ 1143630 h 2006118"/>
                  <a:gd name="connsiteX180" fmla="*/ 1801216 w 2015648"/>
                  <a:gd name="connsiteY180" fmla="*/ 1167456 h 2006118"/>
                  <a:gd name="connsiteX181" fmla="*/ 1805982 w 2015648"/>
                  <a:gd name="connsiteY181" fmla="*/ 1176986 h 2006118"/>
                  <a:gd name="connsiteX182" fmla="*/ 1815512 w 2015648"/>
                  <a:gd name="connsiteY182" fmla="*/ 1186516 h 2006118"/>
                  <a:gd name="connsiteX183" fmla="*/ 1820276 w 2015648"/>
                  <a:gd name="connsiteY183" fmla="*/ 1196046 h 2006118"/>
                  <a:gd name="connsiteX184" fmla="*/ 1829810 w 2015648"/>
                  <a:gd name="connsiteY184" fmla="*/ 1200812 h 2006118"/>
                  <a:gd name="connsiteX185" fmla="*/ 1839336 w 2015648"/>
                  <a:gd name="connsiteY185" fmla="*/ 1215108 h 2006118"/>
                  <a:gd name="connsiteX186" fmla="*/ 1839336 w 2015648"/>
                  <a:gd name="connsiteY186" fmla="*/ 1224638 h 2006118"/>
                  <a:gd name="connsiteX187" fmla="*/ 1825044 w 2015648"/>
                  <a:gd name="connsiteY187" fmla="*/ 1234168 h 2006118"/>
                  <a:gd name="connsiteX188" fmla="*/ 1805982 w 2015648"/>
                  <a:gd name="connsiteY188" fmla="*/ 1248462 h 2006118"/>
                  <a:gd name="connsiteX189" fmla="*/ 1805982 w 2015648"/>
                  <a:gd name="connsiteY189" fmla="*/ 1257994 h 2006118"/>
                  <a:gd name="connsiteX190" fmla="*/ 1805982 w 2015648"/>
                  <a:gd name="connsiteY190" fmla="*/ 1262758 h 2006118"/>
                  <a:gd name="connsiteX191" fmla="*/ 1805982 w 2015648"/>
                  <a:gd name="connsiteY191" fmla="*/ 1272288 h 2006118"/>
                  <a:gd name="connsiteX192" fmla="*/ 1820276 w 2015648"/>
                  <a:gd name="connsiteY192" fmla="*/ 1281818 h 2006118"/>
                  <a:gd name="connsiteX193" fmla="*/ 1829810 w 2015648"/>
                  <a:gd name="connsiteY193" fmla="*/ 1300880 h 2006118"/>
                  <a:gd name="connsiteX194" fmla="*/ 1839336 w 2015648"/>
                  <a:gd name="connsiteY194" fmla="*/ 1319940 h 2006118"/>
                  <a:gd name="connsiteX195" fmla="*/ 1863164 w 2015648"/>
                  <a:gd name="connsiteY195" fmla="*/ 1339000 h 2006118"/>
                  <a:gd name="connsiteX196" fmla="*/ 1858398 w 2015648"/>
                  <a:gd name="connsiteY196" fmla="*/ 1343766 h 2006118"/>
                  <a:gd name="connsiteX197" fmla="*/ 1853634 w 2015648"/>
                  <a:gd name="connsiteY197" fmla="*/ 1353296 h 2006118"/>
                  <a:gd name="connsiteX198" fmla="*/ 1848870 w 2015648"/>
                  <a:gd name="connsiteY198" fmla="*/ 1377122 h 2006118"/>
                  <a:gd name="connsiteX199" fmla="*/ 1844104 w 2015648"/>
                  <a:gd name="connsiteY199" fmla="*/ 1381886 h 2006118"/>
                  <a:gd name="connsiteX200" fmla="*/ 1834574 w 2015648"/>
                  <a:gd name="connsiteY200" fmla="*/ 1381886 h 2006118"/>
                  <a:gd name="connsiteX201" fmla="*/ 1810748 w 2015648"/>
                  <a:gd name="connsiteY201" fmla="*/ 1400946 h 2006118"/>
                  <a:gd name="connsiteX202" fmla="*/ 1801216 w 2015648"/>
                  <a:gd name="connsiteY202" fmla="*/ 1396182 h 2006118"/>
                  <a:gd name="connsiteX203" fmla="*/ 1786922 w 2015648"/>
                  <a:gd name="connsiteY203" fmla="*/ 1396182 h 2006118"/>
                  <a:gd name="connsiteX204" fmla="*/ 1777392 w 2015648"/>
                  <a:gd name="connsiteY204" fmla="*/ 1400946 h 2006118"/>
                  <a:gd name="connsiteX205" fmla="*/ 1782156 w 2015648"/>
                  <a:gd name="connsiteY205" fmla="*/ 1415242 h 2006118"/>
                  <a:gd name="connsiteX206" fmla="*/ 1786922 w 2015648"/>
                  <a:gd name="connsiteY206" fmla="*/ 1424772 h 2006118"/>
                  <a:gd name="connsiteX207" fmla="*/ 1796452 w 2015648"/>
                  <a:gd name="connsiteY207" fmla="*/ 1434302 h 2006118"/>
                  <a:gd name="connsiteX208" fmla="*/ 1796452 w 2015648"/>
                  <a:gd name="connsiteY208" fmla="*/ 1448598 h 2006118"/>
                  <a:gd name="connsiteX209" fmla="*/ 1805982 w 2015648"/>
                  <a:gd name="connsiteY209" fmla="*/ 1453364 h 2006118"/>
                  <a:gd name="connsiteX210" fmla="*/ 1820276 w 2015648"/>
                  <a:gd name="connsiteY210" fmla="*/ 1458128 h 2006118"/>
                  <a:gd name="connsiteX211" fmla="*/ 1825044 w 2015648"/>
                  <a:gd name="connsiteY211" fmla="*/ 1462894 h 2006118"/>
                  <a:gd name="connsiteX212" fmla="*/ 1834574 w 2015648"/>
                  <a:gd name="connsiteY212" fmla="*/ 1462894 h 2006118"/>
                  <a:gd name="connsiteX213" fmla="*/ 1834574 w 2015648"/>
                  <a:gd name="connsiteY213" fmla="*/ 1467658 h 2006118"/>
                  <a:gd name="connsiteX214" fmla="*/ 1839336 w 2015648"/>
                  <a:gd name="connsiteY214" fmla="*/ 1491484 h 2006118"/>
                  <a:gd name="connsiteX215" fmla="*/ 1839336 w 2015648"/>
                  <a:gd name="connsiteY215" fmla="*/ 1496250 h 2006118"/>
                  <a:gd name="connsiteX216" fmla="*/ 1829810 w 2015648"/>
                  <a:gd name="connsiteY216" fmla="*/ 1501014 h 2006118"/>
                  <a:gd name="connsiteX217" fmla="*/ 1825044 w 2015648"/>
                  <a:gd name="connsiteY217" fmla="*/ 1510544 h 2006118"/>
                  <a:gd name="connsiteX218" fmla="*/ 1815512 w 2015648"/>
                  <a:gd name="connsiteY218" fmla="*/ 1524840 h 2006118"/>
                  <a:gd name="connsiteX219" fmla="*/ 1810748 w 2015648"/>
                  <a:gd name="connsiteY219" fmla="*/ 1539136 h 2006118"/>
                  <a:gd name="connsiteX220" fmla="*/ 1820276 w 2015648"/>
                  <a:gd name="connsiteY220" fmla="*/ 1548666 h 2006118"/>
                  <a:gd name="connsiteX221" fmla="*/ 1820276 w 2015648"/>
                  <a:gd name="connsiteY221" fmla="*/ 1553430 h 2006118"/>
                  <a:gd name="connsiteX222" fmla="*/ 1815512 w 2015648"/>
                  <a:gd name="connsiteY222" fmla="*/ 1562962 h 2006118"/>
                  <a:gd name="connsiteX223" fmla="*/ 1820276 w 2015648"/>
                  <a:gd name="connsiteY223" fmla="*/ 1577256 h 2006118"/>
                  <a:gd name="connsiteX224" fmla="*/ 1829810 w 2015648"/>
                  <a:gd name="connsiteY224" fmla="*/ 1586786 h 2006118"/>
                  <a:gd name="connsiteX225" fmla="*/ 1858398 w 2015648"/>
                  <a:gd name="connsiteY225" fmla="*/ 1605848 h 2006118"/>
                  <a:gd name="connsiteX226" fmla="*/ 1886992 w 2015648"/>
                  <a:gd name="connsiteY226" fmla="*/ 1620142 h 2006118"/>
                  <a:gd name="connsiteX227" fmla="*/ 1896518 w 2015648"/>
                  <a:gd name="connsiteY227" fmla="*/ 1620142 h 2006118"/>
                  <a:gd name="connsiteX228" fmla="*/ 1929876 w 2015648"/>
                  <a:gd name="connsiteY228" fmla="*/ 1610612 h 2006118"/>
                  <a:gd name="connsiteX229" fmla="*/ 1934640 w 2015648"/>
                  <a:gd name="connsiteY229" fmla="*/ 1610612 h 2006118"/>
                  <a:gd name="connsiteX230" fmla="*/ 1939406 w 2015648"/>
                  <a:gd name="connsiteY230" fmla="*/ 1624908 h 2006118"/>
                  <a:gd name="connsiteX231" fmla="*/ 1944172 w 2015648"/>
                  <a:gd name="connsiteY231" fmla="*/ 1629674 h 2006118"/>
                  <a:gd name="connsiteX232" fmla="*/ 1939406 w 2015648"/>
                  <a:gd name="connsiteY232" fmla="*/ 1639204 h 2006118"/>
                  <a:gd name="connsiteX233" fmla="*/ 1929876 w 2015648"/>
                  <a:gd name="connsiteY233" fmla="*/ 1658264 h 2006118"/>
                  <a:gd name="connsiteX234" fmla="*/ 1920346 w 2015648"/>
                  <a:gd name="connsiteY234" fmla="*/ 1667794 h 2006118"/>
                  <a:gd name="connsiteX235" fmla="*/ 1910816 w 2015648"/>
                  <a:gd name="connsiteY235" fmla="*/ 1677324 h 2006118"/>
                  <a:gd name="connsiteX236" fmla="*/ 1915578 w 2015648"/>
                  <a:gd name="connsiteY236" fmla="*/ 1686854 h 2006118"/>
                  <a:gd name="connsiteX237" fmla="*/ 1915578 w 2015648"/>
                  <a:gd name="connsiteY237" fmla="*/ 1696384 h 2006118"/>
                  <a:gd name="connsiteX238" fmla="*/ 1906052 w 2015648"/>
                  <a:gd name="connsiteY238" fmla="*/ 1701150 h 2006118"/>
                  <a:gd name="connsiteX239" fmla="*/ 1901284 w 2015648"/>
                  <a:gd name="connsiteY239" fmla="*/ 1696384 h 2006118"/>
                  <a:gd name="connsiteX240" fmla="*/ 1896518 w 2015648"/>
                  <a:gd name="connsiteY240" fmla="*/ 1701150 h 2006118"/>
                  <a:gd name="connsiteX241" fmla="*/ 1896518 w 2015648"/>
                  <a:gd name="connsiteY241" fmla="*/ 1705916 h 2006118"/>
                  <a:gd name="connsiteX242" fmla="*/ 1877458 w 2015648"/>
                  <a:gd name="connsiteY242" fmla="*/ 1715446 h 2006118"/>
                  <a:gd name="connsiteX243" fmla="*/ 1863164 w 2015648"/>
                  <a:gd name="connsiteY243" fmla="*/ 1724976 h 2006118"/>
                  <a:gd name="connsiteX244" fmla="*/ 1815512 w 2015648"/>
                  <a:gd name="connsiteY244" fmla="*/ 1767862 h 2006118"/>
                  <a:gd name="connsiteX245" fmla="*/ 1791688 w 2015648"/>
                  <a:gd name="connsiteY245" fmla="*/ 1782158 h 2006118"/>
                  <a:gd name="connsiteX246" fmla="*/ 1786922 w 2015648"/>
                  <a:gd name="connsiteY246" fmla="*/ 1791688 h 2006118"/>
                  <a:gd name="connsiteX247" fmla="*/ 1782156 w 2015648"/>
                  <a:gd name="connsiteY247" fmla="*/ 1805982 h 2006118"/>
                  <a:gd name="connsiteX248" fmla="*/ 1767862 w 2015648"/>
                  <a:gd name="connsiteY248" fmla="*/ 1820278 h 2006118"/>
                  <a:gd name="connsiteX249" fmla="*/ 1758332 w 2015648"/>
                  <a:gd name="connsiteY249" fmla="*/ 1829808 h 2006118"/>
                  <a:gd name="connsiteX250" fmla="*/ 1729740 w 2015648"/>
                  <a:gd name="connsiteY250" fmla="*/ 1834574 h 2006118"/>
                  <a:gd name="connsiteX251" fmla="*/ 1701150 w 2015648"/>
                  <a:gd name="connsiteY251" fmla="*/ 1848868 h 2006118"/>
                  <a:gd name="connsiteX252" fmla="*/ 1686852 w 2015648"/>
                  <a:gd name="connsiteY252" fmla="*/ 1844104 h 2006118"/>
                  <a:gd name="connsiteX253" fmla="*/ 1653498 w 2015648"/>
                  <a:gd name="connsiteY253" fmla="*/ 1844104 h 2006118"/>
                  <a:gd name="connsiteX254" fmla="*/ 1629672 w 2015648"/>
                  <a:gd name="connsiteY254" fmla="*/ 1825044 h 2006118"/>
                  <a:gd name="connsiteX255" fmla="*/ 1586786 w 2015648"/>
                  <a:gd name="connsiteY255" fmla="*/ 1815514 h 2006118"/>
                  <a:gd name="connsiteX256" fmla="*/ 1577256 w 2015648"/>
                  <a:gd name="connsiteY256" fmla="*/ 1791688 h 2006118"/>
                  <a:gd name="connsiteX257" fmla="*/ 1553430 w 2015648"/>
                  <a:gd name="connsiteY257" fmla="*/ 1786922 h 2006118"/>
                  <a:gd name="connsiteX258" fmla="*/ 1543902 w 2015648"/>
                  <a:gd name="connsiteY258" fmla="*/ 1786922 h 2006118"/>
                  <a:gd name="connsiteX259" fmla="*/ 1534368 w 2015648"/>
                  <a:gd name="connsiteY259" fmla="*/ 1786922 h 2006118"/>
                  <a:gd name="connsiteX260" fmla="*/ 1534368 w 2015648"/>
                  <a:gd name="connsiteY260" fmla="*/ 1777392 h 2006118"/>
                  <a:gd name="connsiteX261" fmla="*/ 1534368 w 2015648"/>
                  <a:gd name="connsiteY261" fmla="*/ 1767862 h 2006118"/>
                  <a:gd name="connsiteX262" fmla="*/ 1520074 w 2015648"/>
                  <a:gd name="connsiteY262" fmla="*/ 1772626 h 2006118"/>
                  <a:gd name="connsiteX263" fmla="*/ 1510544 w 2015648"/>
                  <a:gd name="connsiteY263" fmla="*/ 1772626 h 2006118"/>
                  <a:gd name="connsiteX264" fmla="*/ 1505780 w 2015648"/>
                  <a:gd name="connsiteY264" fmla="*/ 1777392 h 2006118"/>
                  <a:gd name="connsiteX265" fmla="*/ 1501014 w 2015648"/>
                  <a:gd name="connsiteY265" fmla="*/ 1777392 h 2006118"/>
                  <a:gd name="connsiteX266" fmla="*/ 1496248 w 2015648"/>
                  <a:gd name="connsiteY266" fmla="*/ 1777392 h 2006118"/>
                  <a:gd name="connsiteX267" fmla="*/ 1491484 w 2015648"/>
                  <a:gd name="connsiteY267" fmla="*/ 1777392 h 2006118"/>
                  <a:gd name="connsiteX268" fmla="*/ 1491484 w 2015648"/>
                  <a:gd name="connsiteY268" fmla="*/ 1782158 h 2006118"/>
                  <a:gd name="connsiteX269" fmla="*/ 1481954 w 2015648"/>
                  <a:gd name="connsiteY269" fmla="*/ 1782158 h 2006118"/>
                  <a:gd name="connsiteX270" fmla="*/ 1467660 w 2015648"/>
                  <a:gd name="connsiteY270" fmla="*/ 1782158 h 2006118"/>
                  <a:gd name="connsiteX271" fmla="*/ 1434302 w 2015648"/>
                  <a:gd name="connsiteY271" fmla="*/ 1767862 h 2006118"/>
                  <a:gd name="connsiteX272" fmla="*/ 1424772 w 2015648"/>
                  <a:gd name="connsiteY272" fmla="*/ 1767862 h 2006118"/>
                  <a:gd name="connsiteX273" fmla="*/ 1405712 w 2015648"/>
                  <a:gd name="connsiteY273" fmla="*/ 1758332 h 2006118"/>
                  <a:gd name="connsiteX274" fmla="*/ 1391418 w 2015648"/>
                  <a:gd name="connsiteY274" fmla="*/ 1753566 h 2006118"/>
                  <a:gd name="connsiteX275" fmla="*/ 1386652 w 2015648"/>
                  <a:gd name="connsiteY275" fmla="*/ 1744036 h 2006118"/>
                  <a:gd name="connsiteX276" fmla="*/ 1381884 w 2015648"/>
                  <a:gd name="connsiteY276" fmla="*/ 1739270 h 2006118"/>
                  <a:gd name="connsiteX277" fmla="*/ 1377120 w 2015648"/>
                  <a:gd name="connsiteY277" fmla="*/ 1734506 h 2006118"/>
                  <a:gd name="connsiteX278" fmla="*/ 1353296 w 2015648"/>
                  <a:gd name="connsiteY278" fmla="*/ 1744036 h 2006118"/>
                  <a:gd name="connsiteX279" fmla="*/ 1348530 w 2015648"/>
                  <a:gd name="connsiteY279" fmla="*/ 1753566 h 2006118"/>
                  <a:gd name="connsiteX280" fmla="*/ 1334236 w 2015648"/>
                  <a:gd name="connsiteY280" fmla="*/ 1763096 h 2006118"/>
                  <a:gd name="connsiteX281" fmla="*/ 1253228 w 2015648"/>
                  <a:gd name="connsiteY281" fmla="*/ 1820278 h 2006118"/>
                  <a:gd name="connsiteX282" fmla="*/ 1238934 w 2015648"/>
                  <a:gd name="connsiteY282" fmla="*/ 1848868 h 2006118"/>
                  <a:gd name="connsiteX283" fmla="*/ 1219874 w 2015648"/>
                  <a:gd name="connsiteY283" fmla="*/ 1882224 h 2006118"/>
                  <a:gd name="connsiteX284" fmla="*/ 1219874 w 2015648"/>
                  <a:gd name="connsiteY284" fmla="*/ 1896520 h 2006118"/>
                  <a:gd name="connsiteX285" fmla="*/ 1224636 w 2015648"/>
                  <a:gd name="connsiteY285" fmla="*/ 1948936 h 2006118"/>
                  <a:gd name="connsiteX286" fmla="*/ 1243698 w 2015648"/>
                  <a:gd name="connsiteY286" fmla="*/ 1977528 h 2006118"/>
                  <a:gd name="connsiteX287" fmla="*/ 1243698 w 2015648"/>
                  <a:gd name="connsiteY287" fmla="*/ 1987058 h 2006118"/>
                  <a:gd name="connsiteX288" fmla="*/ 1234168 w 2015648"/>
                  <a:gd name="connsiteY288" fmla="*/ 1987058 h 2006118"/>
                  <a:gd name="connsiteX289" fmla="*/ 1219874 w 2015648"/>
                  <a:gd name="connsiteY289" fmla="*/ 1982292 h 2006118"/>
                  <a:gd name="connsiteX290" fmla="*/ 1205576 w 2015648"/>
                  <a:gd name="connsiteY290" fmla="*/ 1977528 h 2006118"/>
                  <a:gd name="connsiteX291" fmla="*/ 1196046 w 2015648"/>
                  <a:gd name="connsiteY291" fmla="*/ 1977528 h 2006118"/>
                  <a:gd name="connsiteX292" fmla="*/ 1181752 w 2015648"/>
                  <a:gd name="connsiteY292" fmla="*/ 1987058 h 2006118"/>
                  <a:gd name="connsiteX293" fmla="*/ 1172220 w 2015648"/>
                  <a:gd name="connsiteY293" fmla="*/ 1987058 h 2006118"/>
                  <a:gd name="connsiteX294" fmla="*/ 1167456 w 2015648"/>
                  <a:gd name="connsiteY294" fmla="*/ 1987058 h 2006118"/>
                  <a:gd name="connsiteX295" fmla="*/ 1162692 w 2015648"/>
                  <a:gd name="connsiteY295" fmla="*/ 1991822 h 2006118"/>
                  <a:gd name="connsiteX296" fmla="*/ 1157926 w 2015648"/>
                  <a:gd name="connsiteY296" fmla="*/ 2001352 h 2006118"/>
                  <a:gd name="connsiteX297" fmla="*/ 1157926 w 2015648"/>
                  <a:gd name="connsiteY297" fmla="*/ 2006118 h 2006118"/>
                  <a:gd name="connsiteX298" fmla="*/ 1143632 w 2015648"/>
                  <a:gd name="connsiteY298" fmla="*/ 2001352 h 2006118"/>
                  <a:gd name="connsiteX299" fmla="*/ 1115038 w 2015648"/>
                  <a:gd name="connsiteY299" fmla="*/ 1991822 h 2006118"/>
                  <a:gd name="connsiteX300" fmla="*/ 1086450 w 2015648"/>
                  <a:gd name="connsiteY300" fmla="*/ 1987058 h 2006118"/>
                  <a:gd name="connsiteX301" fmla="*/ 1072152 w 2015648"/>
                  <a:gd name="connsiteY301" fmla="*/ 1991822 h 2006118"/>
                  <a:gd name="connsiteX302" fmla="*/ 1062622 w 2015648"/>
                  <a:gd name="connsiteY302" fmla="*/ 2001352 h 2006118"/>
                  <a:gd name="connsiteX303" fmla="*/ 1053092 w 2015648"/>
                  <a:gd name="connsiteY303" fmla="*/ 2001352 h 2006118"/>
                  <a:gd name="connsiteX304" fmla="*/ 1048328 w 2015648"/>
                  <a:gd name="connsiteY304" fmla="*/ 1991822 h 2006118"/>
                  <a:gd name="connsiteX305" fmla="*/ 1043562 w 2015648"/>
                  <a:gd name="connsiteY305" fmla="*/ 1987058 h 2006118"/>
                  <a:gd name="connsiteX306" fmla="*/ 1034032 w 2015648"/>
                  <a:gd name="connsiteY306" fmla="*/ 1977528 h 2006118"/>
                  <a:gd name="connsiteX307" fmla="*/ 1010208 w 2015648"/>
                  <a:gd name="connsiteY307" fmla="*/ 1967998 h 2006118"/>
                  <a:gd name="connsiteX308" fmla="*/ 1010208 w 2015648"/>
                  <a:gd name="connsiteY308" fmla="*/ 1963232 h 2006118"/>
                  <a:gd name="connsiteX309" fmla="*/ 1014972 w 2015648"/>
                  <a:gd name="connsiteY309" fmla="*/ 1958466 h 2006118"/>
                  <a:gd name="connsiteX310" fmla="*/ 1014972 w 2015648"/>
                  <a:gd name="connsiteY310" fmla="*/ 1953702 h 2006118"/>
                  <a:gd name="connsiteX311" fmla="*/ 1010208 w 2015648"/>
                  <a:gd name="connsiteY311" fmla="*/ 1948936 h 2006118"/>
                  <a:gd name="connsiteX312" fmla="*/ 991148 w 2015648"/>
                  <a:gd name="connsiteY312" fmla="*/ 1939406 h 2006118"/>
                  <a:gd name="connsiteX313" fmla="*/ 976850 w 2015648"/>
                  <a:gd name="connsiteY313" fmla="*/ 1939406 h 2006118"/>
                  <a:gd name="connsiteX314" fmla="*/ 972086 w 2015648"/>
                  <a:gd name="connsiteY314" fmla="*/ 1944172 h 2006118"/>
                  <a:gd name="connsiteX315" fmla="*/ 967320 w 2015648"/>
                  <a:gd name="connsiteY315" fmla="*/ 1948936 h 2006118"/>
                  <a:gd name="connsiteX316" fmla="*/ 953026 w 2015648"/>
                  <a:gd name="connsiteY316" fmla="*/ 1929876 h 2006118"/>
                  <a:gd name="connsiteX317" fmla="*/ 943494 w 2015648"/>
                  <a:gd name="connsiteY317" fmla="*/ 1925110 h 2006118"/>
                  <a:gd name="connsiteX318" fmla="*/ 933966 w 2015648"/>
                  <a:gd name="connsiteY318" fmla="*/ 1925110 h 2006118"/>
                  <a:gd name="connsiteX319" fmla="*/ 914906 w 2015648"/>
                  <a:gd name="connsiteY319" fmla="*/ 1920346 h 2006118"/>
                  <a:gd name="connsiteX320" fmla="*/ 900608 w 2015648"/>
                  <a:gd name="connsiteY320" fmla="*/ 1910816 h 2006118"/>
                  <a:gd name="connsiteX321" fmla="*/ 862488 w 2015648"/>
                  <a:gd name="connsiteY321" fmla="*/ 1896520 h 2006118"/>
                  <a:gd name="connsiteX322" fmla="*/ 852958 w 2015648"/>
                  <a:gd name="connsiteY322" fmla="*/ 1896520 h 2006118"/>
                  <a:gd name="connsiteX323" fmla="*/ 848190 w 2015648"/>
                  <a:gd name="connsiteY323" fmla="*/ 1896520 h 2006118"/>
                  <a:gd name="connsiteX324" fmla="*/ 843426 w 2015648"/>
                  <a:gd name="connsiteY324" fmla="*/ 1906050 h 2006118"/>
                  <a:gd name="connsiteX325" fmla="*/ 843426 w 2015648"/>
                  <a:gd name="connsiteY325" fmla="*/ 1929876 h 2006118"/>
                  <a:gd name="connsiteX326" fmla="*/ 824366 w 2015648"/>
                  <a:gd name="connsiteY326" fmla="*/ 1929876 h 2006118"/>
                  <a:gd name="connsiteX327" fmla="*/ 800542 w 2015648"/>
                  <a:gd name="connsiteY327" fmla="*/ 1929876 h 2006118"/>
                  <a:gd name="connsiteX328" fmla="*/ 791008 w 2015648"/>
                  <a:gd name="connsiteY328" fmla="*/ 1929876 h 2006118"/>
                  <a:gd name="connsiteX329" fmla="*/ 781482 w 2015648"/>
                  <a:gd name="connsiteY329" fmla="*/ 1929876 h 2006118"/>
                  <a:gd name="connsiteX330" fmla="*/ 776716 w 2015648"/>
                  <a:gd name="connsiteY330" fmla="*/ 1925110 h 2006118"/>
                  <a:gd name="connsiteX331" fmla="*/ 738594 w 2015648"/>
                  <a:gd name="connsiteY331" fmla="*/ 1929876 h 2006118"/>
                  <a:gd name="connsiteX332" fmla="*/ 729064 w 2015648"/>
                  <a:gd name="connsiteY332" fmla="*/ 1925110 h 2006118"/>
                  <a:gd name="connsiteX333" fmla="*/ 719534 w 2015648"/>
                  <a:gd name="connsiteY333" fmla="*/ 1915580 h 2006118"/>
                  <a:gd name="connsiteX334" fmla="*/ 710004 w 2015648"/>
                  <a:gd name="connsiteY334" fmla="*/ 1910816 h 2006118"/>
                  <a:gd name="connsiteX335" fmla="*/ 705240 w 2015648"/>
                  <a:gd name="connsiteY335" fmla="*/ 1906050 h 2006118"/>
                  <a:gd name="connsiteX336" fmla="*/ 695706 w 2015648"/>
                  <a:gd name="connsiteY336" fmla="*/ 1901286 h 2006118"/>
                  <a:gd name="connsiteX337" fmla="*/ 690942 w 2015648"/>
                  <a:gd name="connsiteY337" fmla="*/ 1901286 h 2006118"/>
                  <a:gd name="connsiteX338" fmla="*/ 681412 w 2015648"/>
                  <a:gd name="connsiteY338" fmla="*/ 1906050 h 2006118"/>
                  <a:gd name="connsiteX339" fmla="*/ 667118 w 2015648"/>
                  <a:gd name="connsiteY339" fmla="*/ 1906050 h 2006118"/>
                  <a:gd name="connsiteX340" fmla="*/ 657586 w 2015648"/>
                  <a:gd name="connsiteY340" fmla="*/ 1906050 h 2006118"/>
                  <a:gd name="connsiteX341" fmla="*/ 652822 w 2015648"/>
                  <a:gd name="connsiteY341" fmla="*/ 1906050 h 2006118"/>
                  <a:gd name="connsiteX342" fmla="*/ 628998 w 2015648"/>
                  <a:gd name="connsiteY342" fmla="*/ 1882224 h 2006118"/>
                  <a:gd name="connsiteX343" fmla="*/ 624232 w 2015648"/>
                  <a:gd name="connsiteY343" fmla="*/ 1877460 h 2006118"/>
                  <a:gd name="connsiteX344" fmla="*/ 609938 w 2015648"/>
                  <a:gd name="connsiteY344" fmla="*/ 1872694 h 2006118"/>
                  <a:gd name="connsiteX345" fmla="*/ 595640 w 2015648"/>
                  <a:gd name="connsiteY345" fmla="*/ 1872694 h 2006118"/>
                  <a:gd name="connsiteX346" fmla="*/ 562282 w 2015648"/>
                  <a:gd name="connsiteY346" fmla="*/ 1858400 h 2006118"/>
                  <a:gd name="connsiteX347" fmla="*/ 543222 w 2015648"/>
                  <a:gd name="connsiteY347" fmla="*/ 1848868 h 2006118"/>
                  <a:gd name="connsiteX348" fmla="*/ 538458 w 2015648"/>
                  <a:gd name="connsiteY348" fmla="*/ 1844104 h 2006118"/>
                  <a:gd name="connsiteX349" fmla="*/ 533696 w 2015648"/>
                  <a:gd name="connsiteY349" fmla="*/ 1848868 h 2006118"/>
                  <a:gd name="connsiteX350" fmla="*/ 528928 w 2015648"/>
                  <a:gd name="connsiteY350" fmla="*/ 1853634 h 2006118"/>
                  <a:gd name="connsiteX351" fmla="*/ 524162 w 2015648"/>
                  <a:gd name="connsiteY351" fmla="*/ 1858400 h 2006118"/>
                  <a:gd name="connsiteX352" fmla="*/ 519398 w 2015648"/>
                  <a:gd name="connsiteY352" fmla="*/ 1853634 h 2006118"/>
                  <a:gd name="connsiteX353" fmla="*/ 514634 w 2015648"/>
                  <a:gd name="connsiteY353" fmla="*/ 1853634 h 2006118"/>
                  <a:gd name="connsiteX354" fmla="*/ 509868 w 2015648"/>
                  <a:gd name="connsiteY354" fmla="*/ 1848868 h 2006118"/>
                  <a:gd name="connsiteX355" fmla="*/ 514634 w 2015648"/>
                  <a:gd name="connsiteY355" fmla="*/ 1839338 h 2006118"/>
                  <a:gd name="connsiteX356" fmla="*/ 519398 w 2015648"/>
                  <a:gd name="connsiteY356" fmla="*/ 1829808 h 2006118"/>
                  <a:gd name="connsiteX357" fmla="*/ 524162 w 2015648"/>
                  <a:gd name="connsiteY357" fmla="*/ 1820278 h 2006118"/>
                  <a:gd name="connsiteX358" fmla="*/ 524162 w 2015648"/>
                  <a:gd name="connsiteY358" fmla="*/ 1810748 h 2006118"/>
                  <a:gd name="connsiteX359" fmla="*/ 514634 w 2015648"/>
                  <a:gd name="connsiteY359" fmla="*/ 1805982 h 2006118"/>
                  <a:gd name="connsiteX360" fmla="*/ 500338 w 2015648"/>
                  <a:gd name="connsiteY360" fmla="*/ 1805982 h 2006118"/>
                  <a:gd name="connsiteX361" fmla="*/ 490808 w 2015648"/>
                  <a:gd name="connsiteY361" fmla="*/ 1801218 h 2006118"/>
                  <a:gd name="connsiteX362" fmla="*/ 476514 w 2015648"/>
                  <a:gd name="connsiteY362" fmla="*/ 1796452 h 2006118"/>
                  <a:gd name="connsiteX363" fmla="*/ 471748 w 2015648"/>
                  <a:gd name="connsiteY363" fmla="*/ 1796452 h 2006118"/>
                  <a:gd name="connsiteX364" fmla="*/ 462216 w 2015648"/>
                  <a:gd name="connsiteY364" fmla="*/ 1782158 h 2006118"/>
                  <a:gd name="connsiteX365" fmla="*/ 462216 w 2015648"/>
                  <a:gd name="connsiteY365" fmla="*/ 1777392 h 2006118"/>
                  <a:gd name="connsiteX366" fmla="*/ 490808 w 2015648"/>
                  <a:gd name="connsiteY366" fmla="*/ 1767862 h 2006118"/>
                  <a:gd name="connsiteX367" fmla="*/ 509868 w 2015648"/>
                  <a:gd name="connsiteY367" fmla="*/ 1744036 h 2006118"/>
                  <a:gd name="connsiteX368" fmla="*/ 533696 w 2015648"/>
                  <a:gd name="connsiteY368" fmla="*/ 1643968 h 2006118"/>
                  <a:gd name="connsiteX369" fmla="*/ 547990 w 2015648"/>
                  <a:gd name="connsiteY369" fmla="*/ 1524840 h 2006118"/>
                  <a:gd name="connsiteX370" fmla="*/ 562282 w 2015648"/>
                  <a:gd name="connsiteY370" fmla="*/ 1505780 h 2006118"/>
                  <a:gd name="connsiteX371" fmla="*/ 576580 w 2015648"/>
                  <a:gd name="connsiteY371" fmla="*/ 1496250 h 2006118"/>
                  <a:gd name="connsiteX372" fmla="*/ 562282 w 2015648"/>
                  <a:gd name="connsiteY372" fmla="*/ 1481954 h 2006118"/>
                  <a:gd name="connsiteX373" fmla="*/ 557520 w 2015648"/>
                  <a:gd name="connsiteY373" fmla="*/ 1491484 h 2006118"/>
                  <a:gd name="connsiteX374" fmla="*/ 552756 w 2015648"/>
                  <a:gd name="connsiteY374" fmla="*/ 1496250 h 2006118"/>
                  <a:gd name="connsiteX375" fmla="*/ 547990 w 2015648"/>
                  <a:gd name="connsiteY375" fmla="*/ 1501014 h 2006118"/>
                  <a:gd name="connsiteX376" fmla="*/ 557520 w 2015648"/>
                  <a:gd name="connsiteY376" fmla="*/ 1396182 h 2006118"/>
                  <a:gd name="connsiteX377" fmla="*/ 562282 w 2015648"/>
                  <a:gd name="connsiteY377" fmla="*/ 1353296 h 2006118"/>
                  <a:gd name="connsiteX378" fmla="*/ 576580 w 2015648"/>
                  <a:gd name="connsiteY378" fmla="*/ 1310410 h 2006118"/>
                  <a:gd name="connsiteX379" fmla="*/ 595640 w 2015648"/>
                  <a:gd name="connsiteY379" fmla="*/ 1329470 h 2006118"/>
                  <a:gd name="connsiteX380" fmla="*/ 614700 w 2015648"/>
                  <a:gd name="connsiteY380" fmla="*/ 1343766 h 2006118"/>
                  <a:gd name="connsiteX381" fmla="*/ 624232 w 2015648"/>
                  <a:gd name="connsiteY381" fmla="*/ 1358060 h 2006118"/>
                  <a:gd name="connsiteX382" fmla="*/ 633762 w 2015648"/>
                  <a:gd name="connsiteY382" fmla="*/ 1410478 h 2006118"/>
                  <a:gd name="connsiteX383" fmla="*/ 643292 w 2015648"/>
                  <a:gd name="connsiteY383" fmla="*/ 1420008 h 2006118"/>
                  <a:gd name="connsiteX384" fmla="*/ 657586 w 2015648"/>
                  <a:gd name="connsiteY384" fmla="*/ 1429538 h 2006118"/>
                  <a:gd name="connsiteX385" fmla="*/ 652822 w 2015648"/>
                  <a:gd name="connsiteY385" fmla="*/ 1420008 h 2006118"/>
                  <a:gd name="connsiteX386" fmla="*/ 643292 w 2015648"/>
                  <a:gd name="connsiteY386" fmla="*/ 1410478 h 2006118"/>
                  <a:gd name="connsiteX387" fmla="*/ 628998 w 2015648"/>
                  <a:gd name="connsiteY387" fmla="*/ 1343766 h 2006118"/>
                  <a:gd name="connsiteX388" fmla="*/ 619464 w 2015648"/>
                  <a:gd name="connsiteY388" fmla="*/ 1324706 h 2006118"/>
                  <a:gd name="connsiteX389" fmla="*/ 605170 w 2015648"/>
                  <a:gd name="connsiteY389" fmla="*/ 1310410 h 2006118"/>
                  <a:gd name="connsiteX390" fmla="*/ 562282 w 2015648"/>
                  <a:gd name="connsiteY390" fmla="*/ 1277054 h 2006118"/>
                  <a:gd name="connsiteX391" fmla="*/ 557520 w 2015648"/>
                  <a:gd name="connsiteY391" fmla="*/ 1272288 h 2006118"/>
                  <a:gd name="connsiteX392" fmla="*/ 552756 w 2015648"/>
                  <a:gd name="connsiteY392" fmla="*/ 1257994 h 2006118"/>
                  <a:gd name="connsiteX393" fmla="*/ 571816 w 2015648"/>
                  <a:gd name="connsiteY393" fmla="*/ 1257994 h 2006118"/>
                  <a:gd name="connsiteX394" fmla="*/ 581344 w 2015648"/>
                  <a:gd name="connsiteY394" fmla="*/ 1262758 h 2006118"/>
                  <a:gd name="connsiteX395" fmla="*/ 581344 w 2015648"/>
                  <a:gd name="connsiteY395" fmla="*/ 1257994 h 2006118"/>
                  <a:gd name="connsiteX396" fmla="*/ 576580 w 2015648"/>
                  <a:gd name="connsiteY396" fmla="*/ 1248462 h 2006118"/>
                  <a:gd name="connsiteX397" fmla="*/ 571816 w 2015648"/>
                  <a:gd name="connsiteY397" fmla="*/ 1224638 h 2006118"/>
                  <a:gd name="connsiteX398" fmla="*/ 567050 w 2015648"/>
                  <a:gd name="connsiteY398" fmla="*/ 1162690 h 2006118"/>
                  <a:gd name="connsiteX399" fmla="*/ 567050 w 2015648"/>
                  <a:gd name="connsiteY399" fmla="*/ 1148396 h 2006118"/>
                  <a:gd name="connsiteX400" fmla="*/ 562282 w 2015648"/>
                  <a:gd name="connsiteY400" fmla="*/ 1138866 h 2006118"/>
                  <a:gd name="connsiteX401" fmla="*/ 547990 w 2015648"/>
                  <a:gd name="connsiteY401" fmla="*/ 1134100 h 2006118"/>
                  <a:gd name="connsiteX402" fmla="*/ 538458 w 2015648"/>
                  <a:gd name="connsiteY402" fmla="*/ 1134100 h 2006118"/>
                  <a:gd name="connsiteX403" fmla="*/ 524162 w 2015648"/>
                  <a:gd name="connsiteY403" fmla="*/ 1129334 h 2006118"/>
                  <a:gd name="connsiteX404" fmla="*/ 466980 w 2015648"/>
                  <a:gd name="connsiteY404" fmla="*/ 1091214 h 2006118"/>
                  <a:gd name="connsiteX405" fmla="*/ 443156 w 2015648"/>
                  <a:gd name="connsiteY405" fmla="*/ 1053092 h 2006118"/>
                  <a:gd name="connsiteX406" fmla="*/ 424096 w 2015648"/>
                  <a:gd name="connsiteY406" fmla="*/ 1024502 h 2006118"/>
                  <a:gd name="connsiteX407" fmla="*/ 414566 w 2015648"/>
                  <a:gd name="connsiteY407" fmla="*/ 1010206 h 2006118"/>
                  <a:gd name="connsiteX408" fmla="*/ 414566 w 2015648"/>
                  <a:gd name="connsiteY408" fmla="*/ 995912 h 2006118"/>
                  <a:gd name="connsiteX409" fmla="*/ 428860 w 2015648"/>
                  <a:gd name="connsiteY409" fmla="*/ 972086 h 2006118"/>
                  <a:gd name="connsiteX410" fmla="*/ 419332 w 2015648"/>
                  <a:gd name="connsiteY410" fmla="*/ 953026 h 2006118"/>
                  <a:gd name="connsiteX411" fmla="*/ 409798 w 2015648"/>
                  <a:gd name="connsiteY411" fmla="*/ 953026 h 2006118"/>
                  <a:gd name="connsiteX412" fmla="*/ 400272 w 2015648"/>
                  <a:gd name="connsiteY412" fmla="*/ 943494 h 2006118"/>
                  <a:gd name="connsiteX413" fmla="*/ 409798 w 2015648"/>
                  <a:gd name="connsiteY413" fmla="*/ 929200 h 2006118"/>
                  <a:gd name="connsiteX414" fmla="*/ 414566 w 2015648"/>
                  <a:gd name="connsiteY414" fmla="*/ 919670 h 2006118"/>
                  <a:gd name="connsiteX415" fmla="*/ 428860 w 2015648"/>
                  <a:gd name="connsiteY415" fmla="*/ 914904 h 2006118"/>
                  <a:gd name="connsiteX416" fmla="*/ 443156 w 2015648"/>
                  <a:gd name="connsiteY416" fmla="*/ 919670 h 2006118"/>
                  <a:gd name="connsiteX417" fmla="*/ 457454 w 2015648"/>
                  <a:gd name="connsiteY417" fmla="*/ 929200 h 2006118"/>
                  <a:gd name="connsiteX418" fmla="*/ 471748 w 2015648"/>
                  <a:gd name="connsiteY418" fmla="*/ 929200 h 2006118"/>
                  <a:gd name="connsiteX419" fmla="*/ 433626 w 2015648"/>
                  <a:gd name="connsiteY419" fmla="*/ 910140 h 2006118"/>
                  <a:gd name="connsiteX420" fmla="*/ 376444 w 2015648"/>
                  <a:gd name="connsiteY420" fmla="*/ 914904 h 2006118"/>
                  <a:gd name="connsiteX421" fmla="*/ 362150 w 2015648"/>
                  <a:gd name="connsiteY421" fmla="*/ 914904 h 2006118"/>
                  <a:gd name="connsiteX422" fmla="*/ 352618 w 2015648"/>
                  <a:gd name="connsiteY422" fmla="*/ 910140 h 2006118"/>
                  <a:gd name="connsiteX423" fmla="*/ 347854 w 2015648"/>
                  <a:gd name="connsiteY423" fmla="*/ 891078 h 2006118"/>
                  <a:gd name="connsiteX424" fmla="*/ 357384 w 2015648"/>
                  <a:gd name="connsiteY424" fmla="*/ 886314 h 2006118"/>
                  <a:gd name="connsiteX425" fmla="*/ 366914 w 2015648"/>
                  <a:gd name="connsiteY425" fmla="*/ 872018 h 2006118"/>
                  <a:gd name="connsiteX426" fmla="*/ 357384 w 2015648"/>
                  <a:gd name="connsiteY426" fmla="*/ 862488 h 2006118"/>
                  <a:gd name="connsiteX427" fmla="*/ 343090 w 2015648"/>
                  <a:gd name="connsiteY427" fmla="*/ 857722 h 2006118"/>
                  <a:gd name="connsiteX428" fmla="*/ 328794 w 2015648"/>
                  <a:gd name="connsiteY428" fmla="*/ 857722 h 2006118"/>
                  <a:gd name="connsiteX429" fmla="*/ 309732 w 2015648"/>
                  <a:gd name="connsiteY429" fmla="*/ 862488 h 2006118"/>
                  <a:gd name="connsiteX430" fmla="*/ 304970 w 2015648"/>
                  <a:gd name="connsiteY430" fmla="*/ 857722 h 2006118"/>
                  <a:gd name="connsiteX431" fmla="*/ 314496 w 2015648"/>
                  <a:gd name="connsiteY431" fmla="*/ 838662 h 2006118"/>
                  <a:gd name="connsiteX432" fmla="*/ 309732 w 2015648"/>
                  <a:gd name="connsiteY432" fmla="*/ 833898 h 2006118"/>
                  <a:gd name="connsiteX433" fmla="*/ 295436 w 2015648"/>
                  <a:gd name="connsiteY433" fmla="*/ 838662 h 2006118"/>
                  <a:gd name="connsiteX434" fmla="*/ 281142 w 2015648"/>
                  <a:gd name="connsiteY434" fmla="*/ 838662 h 2006118"/>
                  <a:gd name="connsiteX435" fmla="*/ 266848 w 2015648"/>
                  <a:gd name="connsiteY435" fmla="*/ 838662 h 2006118"/>
                  <a:gd name="connsiteX436" fmla="*/ 252552 w 2015648"/>
                  <a:gd name="connsiteY436" fmla="*/ 819602 h 2006118"/>
                  <a:gd name="connsiteX437" fmla="*/ 238254 w 2015648"/>
                  <a:gd name="connsiteY437" fmla="*/ 819602 h 2006118"/>
                  <a:gd name="connsiteX438" fmla="*/ 233490 w 2015648"/>
                  <a:gd name="connsiteY438" fmla="*/ 819602 h 2006118"/>
                  <a:gd name="connsiteX439" fmla="*/ 223960 w 2015648"/>
                  <a:gd name="connsiteY439" fmla="*/ 814836 h 2006118"/>
                  <a:gd name="connsiteX440" fmla="*/ 214430 w 2015648"/>
                  <a:gd name="connsiteY440" fmla="*/ 814836 h 2006118"/>
                  <a:gd name="connsiteX441" fmla="*/ 204900 w 2015648"/>
                  <a:gd name="connsiteY441" fmla="*/ 814836 h 2006118"/>
                  <a:gd name="connsiteX442" fmla="*/ 195370 w 2015648"/>
                  <a:gd name="connsiteY442" fmla="*/ 805306 h 2006118"/>
                  <a:gd name="connsiteX443" fmla="*/ 133424 w 2015648"/>
                  <a:gd name="connsiteY443" fmla="*/ 786246 h 2006118"/>
                  <a:gd name="connsiteX444" fmla="*/ 109598 w 2015648"/>
                  <a:gd name="connsiteY444" fmla="*/ 781480 h 2006118"/>
                  <a:gd name="connsiteX445" fmla="*/ 81006 w 2015648"/>
                  <a:gd name="connsiteY445" fmla="*/ 791010 h 2006118"/>
                  <a:gd name="connsiteX446" fmla="*/ 71476 w 2015648"/>
                  <a:gd name="connsiteY446" fmla="*/ 791010 h 2006118"/>
                  <a:gd name="connsiteX447" fmla="*/ 61946 w 2015648"/>
                  <a:gd name="connsiteY447" fmla="*/ 776716 h 2006118"/>
                  <a:gd name="connsiteX448" fmla="*/ 52416 w 2015648"/>
                  <a:gd name="connsiteY448" fmla="*/ 757654 h 2006118"/>
                  <a:gd name="connsiteX449" fmla="*/ 14294 w 2015648"/>
                  <a:gd name="connsiteY449" fmla="*/ 738594 h 2006118"/>
                  <a:gd name="connsiteX450" fmla="*/ 19062 w 2015648"/>
                  <a:gd name="connsiteY450" fmla="*/ 729064 h 2006118"/>
                  <a:gd name="connsiteX451" fmla="*/ 38122 w 2015648"/>
                  <a:gd name="connsiteY451" fmla="*/ 724300 h 2006118"/>
                  <a:gd name="connsiteX452" fmla="*/ 61946 w 2015648"/>
                  <a:gd name="connsiteY452" fmla="*/ 719534 h 2006118"/>
                  <a:gd name="connsiteX453" fmla="*/ 66710 w 2015648"/>
                  <a:gd name="connsiteY453" fmla="*/ 710004 h 2006118"/>
                  <a:gd name="connsiteX454" fmla="*/ 52416 w 2015648"/>
                  <a:gd name="connsiteY454" fmla="*/ 695708 h 2006118"/>
                  <a:gd name="connsiteX455" fmla="*/ 38122 w 2015648"/>
                  <a:gd name="connsiteY455" fmla="*/ 695708 h 2006118"/>
                  <a:gd name="connsiteX456" fmla="*/ 33356 w 2015648"/>
                  <a:gd name="connsiteY456" fmla="*/ 690944 h 2006118"/>
                  <a:gd name="connsiteX457" fmla="*/ 28588 w 2015648"/>
                  <a:gd name="connsiteY457" fmla="*/ 681414 h 2006118"/>
                  <a:gd name="connsiteX458" fmla="*/ 38122 w 2015648"/>
                  <a:gd name="connsiteY458" fmla="*/ 676648 h 2006118"/>
                  <a:gd name="connsiteX459" fmla="*/ 42886 w 2015648"/>
                  <a:gd name="connsiteY459" fmla="*/ 676648 h 2006118"/>
                  <a:gd name="connsiteX460" fmla="*/ 57182 w 2015648"/>
                  <a:gd name="connsiteY460" fmla="*/ 681414 h 2006118"/>
                  <a:gd name="connsiteX461" fmla="*/ 81006 w 2015648"/>
                  <a:gd name="connsiteY461" fmla="*/ 676648 h 2006118"/>
                  <a:gd name="connsiteX462" fmla="*/ 71476 w 2015648"/>
                  <a:gd name="connsiteY462" fmla="*/ 667118 h 2006118"/>
                  <a:gd name="connsiteX463" fmla="*/ 61946 w 2015648"/>
                  <a:gd name="connsiteY463" fmla="*/ 662352 h 2006118"/>
                  <a:gd name="connsiteX464" fmla="*/ 57182 w 2015648"/>
                  <a:gd name="connsiteY464" fmla="*/ 662352 h 2006118"/>
                  <a:gd name="connsiteX465" fmla="*/ 38122 w 2015648"/>
                  <a:gd name="connsiteY465" fmla="*/ 662352 h 2006118"/>
                  <a:gd name="connsiteX466" fmla="*/ 28588 w 2015648"/>
                  <a:gd name="connsiteY466" fmla="*/ 662352 h 2006118"/>
                  <a:gd name="connsiteX467" fmla="*/ 4764 w 2015648"/>
                  <a:gd name="connsiteY467" fmla="*/ 662352 h 2006118"/>
                  <a:gd name="connsiteX468" fmla="*/ 0 w 2015648"/>
                  <a:gd name="connsiteY468" fmla="*/ 652822 h 2006118"/>
                  <a:gd name="connsiteX469" fmla="*/ 0 w 2015648"/>
                  <a:gd name="connsiteY469" fmla="*/ 643292 h 2006118"/>
                  <a:gd name="connsiteX470" fmla="*/ 4764 w 2015648"/>
                  <a:gd name="connsiteY470" fmla="*/ 619466 h 2006118"/>
                  <a:gd name="connsiteX471" fmla="*/ 38122 w 2015648"/>
                  <a:gd name="connsiteY471" fmla="*/ 600406 h 2006118"/>
                  <a:gd name="connsiteX472" fmla="*/ 109598 w 2015648"/>
                  <a:gd name="connsiteY472" fmla="*/ 581346 h 2006118"/>
                  <a:gd name="connsiteX473" fmla="*/ 142952 w 2015648"/>
                  <a:gd name="connsiteY473" fmla="*/ 586110 h 2006118"/>
                  <a:gd name="connsiteX474" fmla="*/ 162012 w 2015648"/>
                  <a:gd name="connsiteY474" fmla="*/ 581346 h 2006118"/>
                  <a:gd name="connsiteX475" fmla="*/ 190606 w 2015648"/>
                  <a:gd name="connsiteY475" fmla="*/ 567050 h 2006118"/>
                  <a:gd name="connsiteX476" fmla="*/ 200134 w 2015648"/>
                  <a:gd name="connsiteY476" fmla="*/ 557520 h 2006118"/>
                  <a:gd name="connsiteX477" fmla="*/ 238254 w 2015648"/>
                  <a:gd name="connsiteY477" fmla="*/ 547990 h 2006118"/>
                  <a:gd name="connsiteX478" fmla="*/ 276376 w 2015648"/>
                  <a:gd name="connsiteY478" fmla="*/ 562284 h 2006118"/>
                  <a:gd name="connsiteX479" fmla="*/ 309732 w 2015648"/>
                  <a:gd name="connsiteY479" fmla="*/ 605170 h 2006118"/>
                  <a:gd name="connsiteX480" fmla="*/ 324030 w 2015648"/>
                  <a:gd name="connsiteY480" fmla="*/ 624232 h 2006118"/>
                  <a:gd name="connsiteX481" fmla="*/ 362150 w 2015648"/>
                  <a:gd name="connsiteY481" fmla="*/ 595640 h 2006118"/>
                  <a:gd name="connsiteX482" fmla="*/ 419332 w 2015648"/>
                  <a:gd name="connsiteY482" fmla="*/ 595640 h 2006118"/>
                  <a:gd name="connsiteX483" fmla="*/ 428860 w 2015648"/>
                  <a:gd name="connsiteY483" fmla="*/ 609936 h 2006118"/>
                  <a:gd name="connsiteX484" fmla="*/ 433626 w 2015648"/>
                  <a:gd name="connsiteY484" fmla="*/ 600406 h 2006118"/>
                  <a:gd name="connsiteX485" fmla="*/ 447920 w 2015648"/>
                  <a:gd name="connsiteY485" fmla="*/ 586110 h 2006118"/>
                  <a:gd name="connsiteX486" fmla="*/ 452686 w 2015648"/>
                  <a:gd name="connsiteY486" fmla="*/ 590876 h 2006118"/>
                  <a:gd name="connsiteX487" fmla="*/ 457454 w 2015648"/>
                  <a:gd name="connsiteY487" fmla="*/ 600406 h 2006118"/>
                  <a:gd name="connsiteX488" fmla="*/ 519398 w 2015648"/>
                  <a:gd name="connsiteY488" fmla="*/ 595640 h 2006118"/>
                  <a:gd name="connsiteX489" fmla="*/ 528928 w 2015648"/>
                  <a:gd name="connsiteY489" fmla="*/ 595640 h 2006118"/>
                  <a:gd name="connsiteX490" fmla="*/ 509868 w 2015648"/>
                  <a:gd name="connsiteY490" fmla="*/ 586110 h 2006118"/>
                  <a:gd name="connsiteX491" fmla="*/ 500338 w 2015648"/>
                  <a:gd name="connsiteY491" fmla="*/ 557520 h 2006118"/>
                  <a:gd name="connsiteX492" fmla="*/ 495574 w 2015648"/>
                  <a:gd name="connsiteY492" fmla="*/ 462218 h 2006118"/>
                  <a:gd name="connsiteX493" fmla="*/ 481278 w 2015648"/>
                  <a:gd name="connsiteY493" fmla="*/ 438392 h 2006118"/>
                  <a:gd name="connsiteX494" fmla="*/ 462216 w 2015648"/>
                  <a:gd name="connsiteY494" fmla="*/ 395506 h 2006118"/>
                  <a:gd name="connsiteX495" fmla="*/ 452686 w 2015648"/>
                  <a:gd name="connsiteY495" fmla="*/ 371680 h 2006118"/>
                  <a:gd name="connsiteX496" fmla="*/ 452686 w 2015648"/>
                  <a:gd name="connsiteY496" fmla="*/ 362150 h 2006118"/>
                  <a:gd name="connsiteX497" fmla="*/ 452686 w 2015648"/>
                  <a:gd name="connsiteY497" fmla="*/ 347854 h 2006118"/>
                  <a:gd name="connsiteX498" fmla="*/ 476514 w 2015648"/>
                  <a:gd name="connsiteY498" fmla="*/ 347854 h 2006118"/>
                  <a:gd name="connsiteX499" fmla="*/ 495574 w 2015648"/>
                  <a:gd name="connsiteY499" fmla="*/ 352620 h 2006118"/>
                  <a:gd name="connsiteX500" fmla="*/ 528928 w 2015648"/>
                  <a:gd name="connsiteY500" fmla="*/ 343090 h 2006118"/>
                  <a:gd name="connsiteX501" fmla="*/ 547990 w 2015648"/>
                  <a:gd name="connsiteY501" fmla="*/ 347854 h 2006118"/>
                  <a:gd name="connsiteX502" fmla="*/ 547990 w 2015648"/>
                  <a:gd name="connsiteY502" fmla="*/ 366914 h 2006118"/>
                  <a:gd name="connsiteX503" fmla="*/ 552756 w 2015648"/>
                  <a:gd name="connsiteY503" fmla="*/ 395506 h 2006118"/>
                  <a:gd name="connsiteX504" fmla="*/ 557520 w 2015648"/>
                  <a:gd name="connsiteY504" fmla="*/ 405036 h 2006118"/>
                  <a:gd name="connsiteX505" fmla="*/ 567050 w 2015648"/>
                  <a:gd name="connsiteY505" fmla="*/ 419332 h 2006118"/>
                  <a:gd name="connsiteX506" fmla="*/ 595640 w 2015648"/>
                  <a:gd name="connsiteY506" fmla="*/ 419332 h 2006118"/>
                  <a:gd name="connsiteX507" fmla="*/ 624232 w 2015648"/>
                  <a:gd name="connsiteY507" fmla="*/ 428862 h 2006118"/>
                  <a:gd name="connsiteX508" fmla="*/ 662352 w 2015648"/>
                  <a:gd name="connsiteY508" fmla="*/ 428862 h 2006118"/>
                  <a:gd name="connsiteX509" fmla="*/ 719534 w 2015648"/>
                  <a:gd name="connsiteY509" fmla="*/ 443156 h 2006118"/>
                  <a:gd name="connsiteX510" fmla="*/ 743360 w 2015648"/>
                  <a:gd name="connsiteY510" fmla="*/ 433626 h 2006118"/>
                  <a:gd name="connsiteX511" fmla="*/ 762422 w 2015648"/>
                  <a:gd name="connsiteY511" fmla="*/ 419332 h 2006118"/>
                  <a:gd name="connsiteX512" fmla="*/ 810070 w 2015648"/>
                  <a:gd name="connsiteY512" fmla="*/ 405036 h 2006118"/>
                  <a:gd name="connsiteX513" fmla="*/ 814836 w 2015648"/>
                  <a:gd name="connsiteY513" fmla="*/ 400270 h 2006118"/>
                  <a:gd name="connsiteX514" fmla="*/ 786246 w 2015648"/>
                  <a:gd name="connsiteY514" fmla="*/ 400270 h 2006118"/>
                  <a:gd name="connsiteX515" fmla="*/ 762422 w 2015648"/>
                  <a:gd name="connsiteY515" fmla="*/ 390740 h 2006118"/>
                  <a:gd name="connsiteX516" fmla="*/ 762422 w 2015648"/>
                  <a:gd name="connsiteY516" fmla="*/ 381210 h 2006118"/>
                  <a:gd name="connsiteX517" fmla="*/ 762422 w 2015648"/>
                  <a:gd name="connsiteY517" fmla="*/ 366914 h 2006118"/>
                  <a:gd name="connsiteX518" fmla="*/ 771948 w 2015648"/>
                  <a:gd name="connsiteY518" fmla="*/ 343090 h 2006118"/>
                  <a:gd name="connsiteX519" fmla="*/ 838664 w 2015648"/>
                  <a:gd name="connsiteY519" fmla="*/ 304968 h 2006118"/>
                  <a:gd name="connsiteX520" fmla="*/ 886312 w 2015648"/>
                  <a:gd name="connsiteY520" fmla="*/ 295438 h 2006118"/>
                  <a:gd name="connsiteX521" fmla="*/ 938730 w 2015648"/>
                  <a:gd name="connsiteY521" fmla="*/ 271612 h 2006118"/>
                  <a:gd name="connsiteX522" fmla="*/ 962554 w 2015648"/>
                  <a:gd name="connsiteY522" fmla="*/ 252552 h 2006118"/>
                  <a:gd name="connsiteX523" fmla="*/ 981614 w 2015648"/>
                  <a:gd name="connsiteY523" fmla="*/ 223960 h 2006118"/>
                  <a:gd name="connsiteX524" fmla="*/ 986380 w 2015648"/>
                  <a:gd name="connsiteY524" fmla="*/ 214430 h 2006118"/>
                  <a:gd name="connsiteX525" fmla="*/ 991148 w 2015648"/>
                  <a:gd name="connsiteY525" fmla="*/ 209666 h 2006118"/>
                  <a:gd name="connsiteX526" fmla="*/ 986380 w 2015648"/>
                  <a:gd name="connsiteY526" fmla="*/ 200136 h 2006118"/>
                  <a:gd name="connsiteX527" fmla="*/ 991148 w 2015648"/>
                  <a:gd name="connsiteY527" fmla="*/ 90538 h 2006118"/>
                  <a:gd name="connsiteX528" fmla="*/ 995910 w 2015648"/>
                  <a:gd name="connsiteY528" fmla="*/ 71476 h 2006118"/>
                  <a:gd name="connsiteX529" fmla="*/ 1005442 w 2015648"/>
                  <a:gd name="connsiteY529" fmla="*/ 57182 h 2006118"/>
                  <a:gd name="connsiteX530" fmla="*/ 1019736 w 2015648"/>
                  <a:gd name="connsiteY530" fmla="*/ 42886 h 2006118"/>
                  <a:gd name="connsiteX531" fmla="*/ 1043562 w 2015648"/>
                  <a:gd name="connsiteY531" fmla="*/ 28590 h 2006118"/>
                  <a:gd name="connsiteX532" fmla="*/ 1124570 w 2015648"/>
                  <a:gd name="connsiteY532" fmla="*/ 9530 h 2006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</a:cxnLst>
                <a:rect l="l" t="t" r="r" b="b"/>
                <a:pathLst>
                  <a:path w="2015647" h="2006118">
                    <a:moveTo>
                      <a:pt x="528928" y="1196046"/>
                    </a:moveTo>
                    <a:lnTo>
                      <a:pt x="543222" y="1205576"/>
                    </a:lnTo>
                    <a:lnTo>
                      <a:pt x="557520" y="1229402"/>
                    </a:lnTo>
                    <a:lnTo>
                      <a:pt x="552756" y="1248462"/>
                    </a:lnTo>
                    <a:lnTo>
                      <a:pt x="543222" y="1229402"/>
                    </a:lnTo>
                    <a:lnTo>
                      <a:pt x="528928" y="1215108"/>
                    </a:lnTo>
                    <a:lnTo>
                      <a:pt x="528928" y="1200812"/>
                    </a:lnTo>
                    <a:close/>
                    <a:moveTo>
                      <a:pt x="1138864" y="0"/>
                    </a:moveTo>
                    <a:lnTo>
                      <a:pt x="1138864" y="14296"/>
                    </a:lnTo>
                    <a:lnTo>
                      <a:pt x="1148396" y="28590"/>
                    </a:lnTo>
                    <a:lnTo>
                      <a:pt x="1148396" y="38122"/>
                    </a:lnTo>
                    <a:lnTo>
                      <a:pt x="1148396" y="47652"/>
                    </a:lnTo>
                    <a:lnTo>
                      <a:pt x="1148396" y="57182"/>
                    </a:lnTo>
                    <a:lnTo>
                      <a:pt x="1157926" y="71476"/>
                    </a:lnTo>
                    <a:lnTo>
                      <a:pt x="1172220" y="90538"/>
                    </a:lnTo>
                    <a:lnTo>
                      <a:pt x="1186516" y="100068"/>
                    </a:lnTo>
                    <a:lnTo>
                      <a:pt x="1191280" y="95302"/>
                    </a:lnTo>
                    <a:lnTo>
                      <a:pt x="1200812" y="95302"/>
                    </a:lnTo>
                    <a:lnTo>
                      <a:pt x="1215106" y="85772"/>
                    </a:lnTo>
                    <a:lnTo>
                      <a:pt x="1229400" y="81008"/>
                    </a:lnTo>
                    <a:lnTo>
                      <a:pt x="1238934" y="95302"/>
                    </a:lnTo>
                    <a:lnTo>
                      <a:pt x="1248462" y="109598"/>
                    </a:lnTo>
                    <a:lnTo>
                      <a:pt x="1253228" y="128658"/>
                    </a:lnTo>
                    <a:lnTo>
                      <a:pt x="1253228" y="142954"/>
                    </a:lnTo>
                    <a:lnTo>
                      <a:pt x="1262758" y="147718"/>
                    </a:lnTo>
                    <a:lnTo>
                      <a:pt x="1286582" y="152484"/>
                    </a:lnTo>
                    <a:lnTo>
                      <a:pt x="1305642" y="157250"/>
                    </a:lnTo>
                    <a:lnTo>
                      <a:pt x="1310410" y="162014"/>
                    </a:lnTo>
                    <a:lnTo>
                      <a:pt x="1315176" y="190606"/>
                    </a:lnTo>
                    <a:lnTo>
                      <a:pt x="1319940" y="195370"/>
                    </a:lnTo>
                    <a:lnTo>
                      <a:pt x="1324704" y="195370"/>
                    </a:lnTo>
                    <a:lnTo>
                      <a:pt x="1329470" y="190606"/>
                    </a:lnTo>
                    <a:lnTo>
                      <a:pt x="1334236" y="185840"/>
                    </a:lnTo>
                    <a:lnTo>
                      <a:pt x="1348530" y="190606"/>
                    </a:lnTo>
                    <a:lnTo>
                      <a:pt x="1358060" y="190606"/>
                    </a:lnTo>
                    <a:lnTo>
                      <a:pt x="1377120" y="195370"/>
                    </a:lnTo>
                    <a:lnTo>
                      <a:pt x="1396182" y="209666"/>
                    </a:lnTo>
                    <a:lnTo>
                      <a:pt x="1396182" y="219196"/>
                    </a:lnTo>
                    <a:lnTo>
                      <a:pt x="1391418" y="228726"/>
                    </a:lnTo>
                    <a:lnTo>
                      <a:pt x="1391418" y="238256"/>
                    </a:lnTo>
                    <a:lnTo>
                      <a:pt x="1391418" y="243022"/>
                    </a:lnTo>
                    <a:lnTo>
                      <a:pt x="1396182" y="247786"/>
                    </a:lnTo>
                    <a:lnTo>
                      <a:pt x="1396182" y="257316"/>
                    </a:lnTo>
                    <a:lnTo>
                      <a:pt x="1391418" y="266848"/>
                    </a:lnTo>
                    <a:lnTo>
                      <a:pt x="1391418" y="271612"/>
                    </a:lnTo>
                    <a:lnTo>
                      <a:pt x="1391418" y="276378"/>
                    </a:lnTo>
                    <a:lnTo>
                      <a:pt x="1391418" y="281142"/>
                    </a:lnTo>
                    <a:lnTo>
                      <a:pt x="1396182" y="281142"/>
                    </a:lnTo>
                    <a:lnTo>
                      <a:pt x="1424772" y="285908"/>
                    </a:lnTo>
                    <a:lnTo>
                      <a:pt x="1453364" y="281142"/>
                    </a:lnTo>
                    <a:lnTo>
                      <a:pt x="1472424" y="271612"/>
                    </a:lnTo>
                    <a:lnTo>
                      <a:pt x="1472424" y="262082"/>
                    </a:lnTo>
                    <a:lnTo>
                      <a:pt x="1477188" y="247786"/>
                    </a:lnTo>
                    <a:lnTo>
                      <a:pt x="1486720" y="238256"/>
                    </a:lnTo>
                    <a:lnTo>
                      <a:pt x="1496248" y="233492"/>
                    </a:lnTo>
                    <a:lnTo>
                      <a:pt x="1501014" y="238256"/>
                    </a:lnTo>
                    <a:lnTo>
                      <a:pt x="1491484" y="281142"/>
                    </a:lnTo>
                    <a:lnTo>
                      <a:pt x="1501014" y="290672"/>
                    </a:lnTo>
                    <a:lnTo>
                      <a:pt x="1501014" y="309734"/>
                    </a:lnTo>
                    <a:lnTo>
                      <a:pt x="1505780" y="324028"/>
                    </a:lnTo>
                    <a:lnTo>
                      <a:pt x="1515308" y="324028"/>
                    </a:lnTo>
                    <a:lnTo>
                      <a:pt x="1524842" y="324028"/>
                    </a:lnTo>
                    <a:lnTo>
                      <a:pt x="1534368" y="328794"/>
                    </a:lnTo>
                    <a:lnTo>
                      <a:pt x="1543902" y="338324"/>
                    </a:lnTo>
                    <a:lnTo>
                      <a:pt x="1558196" y="347854"/>
                    </a:lnTo>
                    <a:lnTo>
                      <a:pt x="1567726" y="347854"/>
                    </a:lnTo>
                    <a:lnTo>
                      <a:pt x="1572490" y="357384"/>
                    </a:lnTo>
                    <a:lnTo>
                      <a:pt x="1582024" y="362150"/>
                    </a:lnTo>
                    <a:lnTo>
                      <a:pt x="1591550" y="381210"/>
                    </a:lnTo>
                    <a:lnTo>
                      <a:pt x="1605848" y="390740"/>
                    </a:lnTo>
                    <a:lnTo>
                      <a:pt x="1610610" y="390740"/>
                    </a:lnTo>
                    <a:lnTo>
                      <a:pt x="1620144" y="385976"/>
                    </a:lnTo>
                    <a:lnTo>
                      <a:pt x="1634438" y="385976"/>
                    </a:lnTo>
                    <a:lnTo>
                      <a:pt x="1648732" y="385976"/>
                    </a:lnTo>
                    <a:lnTo>
                      <a:pt x="1653498" y="390740"/>
                    </a:lnTo>
                    <a:lnTo>
                      <a:pt x="1663028" y="395506"/>
                    </a:lnTo>
                    <a:lnTo>
                      <a:pt x="1667792" y="400270"/>
                    </a:lnTo>
                    <a:lnTo>
                      <a:pt x="1672558" y="405036"/>
                    </a:lnTo>
                    <a:lnTo>
                      <a:pt x="1682090" y="405036"/>
                    </a:lnTo>
                    <a:lnTo>
                      <a:pt x="1691620" y="405036"/>
                    </a:lnTo>
                    <a:lnTo>
                      <a:pt x="1701150" y="395506"/>
                    </a:lnTo>
                    <a:lnTo>
                      <a:pt x="1710680" y="390740"/>
                    </a:lnTo>
                    <a:lnTo>
                      <a:pt x="1720210" y="395506"/>
                    </a:lnTo>
                    <a:lnTo>
                      <a:pt x="1724974" y="400270"/>
                    </a:lnTo>
                    <a:lnTo>
                      <a:pt x="1734508" y="405036"/>
                    </a:lnTo>
                    <a:lnTo>
                      <a:pt x="1739270" y="405036"/>
                    </a:lnTo>
                    <a:lnTo>
                      <a:pt x="1753568" y="405036"/>
                    </a:lnTo>
                    <a:lnTo>
                      <a:pt x="1763094" y="419332"/>
                    </a:lnTo>
                    <a:lnTo>
                      <a:pt x="1767862" y="428862"/>
                    </a:lnTo>
                    <a:lnTo>
                      <a:pt x="1772628" y="438392"/>
                    </a:lnTo>
                    <a:lnTo>
                      <a:pt x="1777392" y="443156"/>
                    </a:lnTo>
                    <a:lnTo>
                      <a:pt x="1796452" y="476512"/>
                    </a:lnTo>
                    <a:lnTo>
                      <a:pt x="1801216" y="476512"/>
                    </a:lnTo>
                    <a:lnTo>
                      <a:pt x="1810748" y="471748"/>
                    </a:lnTo>
                    <a:lnTo>
                      <a:pt x="1815512" y="462218"/>
                    </a:lnTo>
                    <a:lnTo>
                      <a:pt x="1820276" y="462218"/>
                    </a:lnTo>
                    <a:lnTo>
                      <a:pt x="1829810" y="466982"/>
                    </a:lnTo>
                    <a:lnTo>
                      <a:pt x="1839336" y="471748"/>
                    </a:lnTo>
                    <a:lnTo>
                      <a:pt x="1839336" y="481278"/>
                    </a:lnTo>
                    <a:lnTo>
                      <a:pt x="1844104" y="486042"/>
                    </a:lnTo>
                    <a:lnTo>
                      <a:pt x="1848870" y="481278"/>
                    </a:lnTo>
                    <a:lnTo>
                      <a:pt x="1853634" y="481278"/>
                    </a:lnTo>
                    <a:lnTo>
                      <a:pt x="1867930" y="486042"/>
                    </a:lnTo>
                    <a:lnTo>
                      <a:pt x="1886992" y="481278"/>
                    </a:lnTo>
                    <a:lnTo>
                      <a:pt x="1901284" y="476512"/>
                    </a:lnTo>
                    <a:lnTo>
                      <a:pt x="1906052" y="476512"/>
                    </a:lnTo>
                    <a:lnTo>
                      <a:pt x="1920346" y="490808"/>
                    </a:lnTo>
                    <a:lnTo>
                      <a:pt x="1934640" y="500338"/>
                    </a:lnTo>
                    <a:lnTo>
                      <a:pt x="1963234" y="500338"/>
                    </a:lnTo>
                    <a:lnTo>
                      <a:pt x="1991820" y="509868"/>
                    </a:lnTo>
                    <a:lnTo>
                      <a:pt x="2006118" y="514634"/>
                    </a:lnTo>
                    <a:lnTo>
                      <a:pt x="2015648" y="519398"/>
                    </a:lnTo>
                    <a:lnTo>
                      <a:pt x="2015648" y="538460"/>
                    </a:lnTo>
                    <a:lnTo>
                      <a:pt x="2010882" y="543224"/>
                    </a:lnTo>
                    <a:lnTo>
                      <a:pt x="1982294" y="586110"/>
                    </a:lnTo>
                    <a:lnTo>
                      <a:pt x="1967996" y="600406"/>
                    </a:lnTo>
                    <a:lnTo>
                      <a:pt x="1963234" y="619466"/>
                    </a:lnTo>
                    <a:lnTo>
                      <a:pt x="1958466" y="652822"/>
                    </a:lnTo>
                    <a:lnTo>
                      <a:pt x="1948936" y="681414"/>
                    </a:lnTo>
                    <a:lnTo>
                      <a:pt x="1934640" y="710004"/>
                    </a:lnTo>
                    <a:lnTo>
                      <a:pt x="1929876" y="733830"/>
                    </a:lnTo>
                    <a:lnTo>
                      <a:pt x="1929876" y="748124"/>
                    </a:lnTo>
                    <a:lnTo>
                      <a:pt x="1929876" y="771950"/>
                    </a:lnTo>
                    <a:lnTo>
                      <a:pt x="1920346" y="800542"/>
                    </a:lnTo>
                    <a:lnTo>
                      <a:pt x="1920346" y="824366"/>
                    </a:lnTo>
                    <a:lnTo>
                      <a:pt x="1925112" y="838662"/>
                    </a:lnTo>
                    <a:lnTo>
                      <a:pt x="1934640" y="843428"/>
                    </a:lnTo>
                    <a:lnTo>
                      <a:pt x="1915578" y="852958"/>
                    </a:lnTo>
                    <a:lnTo>
                      <a:pt x="1910816" y="862488"/>
                    </a:lnTo>
                    <a:lnTo>
                      <a:pt x="1901284" y="876784"/>
                    </a:lnTo>
                    <a:lnTo>
                      <a:pt x="1891754" y="881548"/>
                    </a:lnTo>
                    <a:lnTo>
                      <a:pt x="1877458" y="881548"/>
                    </a:lnTo>
                    <a:lnTo>
                      <a:pt x="1867930" y="881548"/>
                    </a:lnTo>
                    <a:lnTo>
                      <a:pt x="1863164" y="876784"/>
                    </a:lnTo>
                    <a:lnTo>
                      <a:pt x="1863164" y="872018"/>
                    </a:lnTo>
                    <a:lnTo>
                      <a:pt x="1858398" y="867252"/>
                    </a:lnTo>
                    <a:lnTo>
                      <a:pt x="1844104" y="867252"/>
                    </a:lnTo>
                    <a:lnTo>
                      <a:pt x="1834574" y="876784"/>
                    </a:lnTo>
                    <a:lnTo>
                      <a:pt x="1820276" y="891078"/>
                    </a:lnTo>
                    <a:lnTo>
                      <a:pt x="1825044" y="895844"/>
                    </a:lnTo>
                    <a:lnTo>
                      <a:pt x="1834574" y="900608"/>
                    </a:lnTo>
                    <a:lnTo>
                      <a:pt x="1839336" y="900608"/>
                    </a:lnTo>
                    <a:lnTo>
                      <a:pt x="1839336" y="905374"/>
                    </a:lnTo>
                    <a:lnTo>
                      <a:pt x="1834574" y="910140"/>
                    </a:lnTo>
                    <a:lnTo>
                      <a:pt x="1829810" y="919670"/>
                    </a:lnTo>
                    <a:lnTo>
                      <a:pt x="1810748" y="943494"/>
                    </a:lnTo>
                    <a:lnTo>
                      <a:pt x="1786922" y="967320"/>
                    </a:lnTo>
                    <a:lnTo>
                      <a:pt x="1786922" y="972086"/>
                    </a:lnTo>
                    <a:lnTo>
                      <a:pt x="1777392" y="976850"/>
                    </a:lnTo>
                    <a:lnTo>
                      <a:pt x="1753568" y="991146"/>
                    </a:lnTo>
                    <a:lnTo>
                      <a:pt x="1748800" y="995912"/>
                    </a:lnTo>
                    <a:lnTo>
                      <a:pt x="1748800" y="1019736"/>
                    </a:lnTo>
                    <a:lnTo>
                      <a:pt x="1744034" y="1034032"/>
                    </a:lnTo>
                    <a:lnTo>
                      <a:pt x="1724974" y="1053092"/>
                    </a:lnTo>
                    <a:lnTo>
                      <a:pt x="1705914" y="1067388"/>
                    </a:lnTo>
                    <a:lnTo>
                      <a:pt x="1701150" y="1076918"/>
                    </a:lnTo>
                    <a:lnTo>
                      <a:pt x="1696386" y="1091214"/>
                    </a:lnTo>
                    <a:lnTo>
                      <a:pt x="1691620" y="1105510"/>
                    </a:lnTo>
                    <a:lnTo>
                      <a:pt x="1691620" y="1110274"/>
                    </a:lnTo>
                    <a:lnTo>
                      <a:pt x="1701150" y="1119804"/>
                    </a:lnTo>
                    <a:lnTo>
                      <a:pt x="1701150" y="1129334"/>
                    </a:lnTo>
                    <a:lnTo>
                      <a:pt x="1696386" y="1143630"/>
                    </a:lnTo>
                    <a:lnTo>
                      <a:pt x="1686852" y="1153160"/>
                    </a:lnTo>
                    <a:lnTo>
                      <a:pt x="1677326" y="1157926"/>
                    </a:lnTo>
                    <a:lnTo>
                      <a:pt x="1677326" y="1172222"/>
                    </a:lnTo>
                    <a:lnTo>
                      <a:pt x="1682090" y="1176986"/>
                    </a:lnTo>
                    <a:lnTo>
                      <a:pt x="1696386" y="1172222"/>
                    </a:lnTo>
                    <a:lnTo>
                      <a:pt x="1710680" y="1162690"/>
                    </a:lnTo>
                    <a:lnTo>
                      <a:pt x="1724974" y="1148396"/>
                    </a:lnTo>
                    <a:lnTo>
                      <a:pt x="1715446" y="1138866"/>
                    </a:lnTo>
                    <a:lnTo>
                      <a:pt x="1715446" y="1134100"/>
                    </a:lnTo>
                    <a:lnTo>
                      <a:pt x="1715446" y="1129334"/>
                    </a:lnTo>
                    <a:lnTo>
                      <a:pt x="1729740" y="1115040"/>
                    </a:lnTo>
                    <a:lnTo>
                      <a:pt x="1748800" y="1110274"/>
                    </a:lnTo>
                    <a:lnTo>
                      <a:pt x="1772628" y="1105510"/>
                    </a:lnTo>
                    <a:lnTo>
                      <a:pt x="1801216" y="1110274"/>
                    </a:lnTo>
                    <a:lnTo>
                      <a:pt x="1801216" y="1115040"/>
                    </a:lnTo>
                    <a:lnTo>
                      <a:pt x="1801216" y="1124570"/>
                    </a:lnTo>
                    <a:lnTo>
                      <a:pt x="1801216" y="1134100"/>
                    </a:lnTo>
                    <a:lnTo>
                      <a:pt x="1810748" y="1143630"/>
                    </a:lnTo>
                    <a:lnTo>
                      <a:pt x="1801216" y="1167456"/>
                    </a:lnTo>
                    <a:lnTo>
                      <a:pt x="1805982" y="1176986"/>
                    </a:lnTo>
                    <a:lnTo>
                      <a:pt x="1815512" y="1186516"/>
                    </a:lnTo>
                    <a:lnTo>
                      <a:pt x="1820276" y="1196046"/>
                    </a:lnTo>
                    <a:lnTo>
                      <a:pt x="1829810" y="1200812"/>
                    </a:lnTo>
                    <a:lnTo>
                      <a:pt x="1839336" y="1215108"/>
                    </a:lnTo>
                    <a:lnTo>
                      <a:pt x="1839336" y="1224638"/>
                    </a:lnTo>
                    <a:lnTo>
                      <a:pt x="1825044" y="1234168"/>
                    </a:lnTo>
                    <a:lnTo>
                      <a:pt x="1805982" y="1248462"/>
                    </a:lnTo>
                    <a:lnTo>
                      <a:pt x="1805982" y="1257994"/>
                    </a:lnTo>
                    <a:lnTo>
                      <a:pt x="1805982" y="1262758"/>
                    </a:lnTo>
                    <a:lnTo>
                      <a:pt x="1805982" y="1272288"/>
                    </a:lnTo>
                    <a:lnTo>
                      <a:pt x="1820276" y="1281818"/>
                    </a:lnTo>
                    <a:lnTo>
                      <a:pt x="1829810" y="1300880"/>
                    </a:lnTo>
                    <a:lnTo>
                      <a:pt x="1839336" y="1319940"/>
                    </a:lnTo>
                    <a:lnTo>
                      <a:pt x="1863164" y="1339000"/>
                    </a:lnTo>
                    <a:lnTo>
                      <a:pt x="1858398" y="1343766"/>
                    </a:lnTo>
                    <a:lnTo>
                      <a:pt x="1853634" y="1353296"/>
                    </a:lnTo>
                    <a:lnTo>
                      <a:pt x="1848870" y="1377122"/>
                    </a:lnTo>
                    <a:lnTo>
                      <a:pt x="1844104" y="1381886"/>
                    </a:lnTo>
                    <a:lnTo>
                      <a:pt x="1834574" y="1381886"/>
                    </a:lnTo>
                    <a:lnTo>
                      <a:pt x="1810748" y="1400946"/>
                    </a:lnTo>
                    <a:lnTo>
                      <a:pt x="1801216" y="1396182"/>
                    </a:lnTo>
                    <a:lnTo>
                      <a:pt x="1786922" y="1396182"/>
                    </a:lnTo>
                    <a:lnTo>
                      <a:pt x="1777392" y="1400946"/>
                    </a:lnTo>
                    <a:lnTo>
                      <a:pt x="1782156" y="1415242"/>
                    </a:lnTo>
                    <a:lnTo>
                      <a:pt x="1786922" y="1424772"/>
                    </a:lnTo>
                    <a:lnTo>
                      <a:pt x="1796452" y="1434302"/>
                    </a:lnTo>
                    <a:lnTo>
                      <a:pt x="1796452" y="1448598"/>
                    </a:lnTo>
                    <a:lnTo>
                      <a:pt x="1805982" y="1453364"/>
                    </a:lnTo>
                    <a:lnTo>
                      <a:pt x="1820276" y="1458128"/>
                    </a:lnTo>
                    <a:lnTo>
                      <a:pt x="1825044" y="1462894"/>
                    </a:lnTo>
                    <a:lnTo>
                      <a:pt x="1834574" y="1462894"/>
                    </a:lnTo>
                    <a:lnTo>
                      <a:pt x="1834574" y="1467658"/>
                    </a:lnTo>
                    <a:lnTo>
                      <a:pt x="1839336" y="1491484"/>
                    </a:lnTo>
                    <a:lnTo>
                      <a:pt x="1839336" y="1496250"/>
                    </a:lnTo>
                    <a:lnTo>
                      <a:pt x="1829810" y="1501014"/>
                    </a:lnTo>
                    <a:lnTo>
                      <a:pt x="1825044" y="1510544"/>
                    </a:lnTo>
                    <a:lnTo>
                      <a:pt x="1815512" y="1524840"/>
                    </a:lnTo>
                    <a:lnTo>
                      <a:pt x="1810748" y="1539136"/>
                    </a:lnTo>
                    <a:lnTo>
                      <a:pt x="1820276" y="1548666"/>
                    </a:lnTo>
                    <a:lnTo>
                      <a:pt x="1820276" y="1553430"/>
                    </a:lnTo>
                    <a:lnTo>
                      <a:pt x="1815512" y="1562962"/>
                    </a:lnTo>
                    <a:lnTo>
                      <a:pt x="1820276" y="1577256"/>
                    </a:lnTo>
                    <a:lnTo>
                      <a:pt x="1829810" y="1586786"/>
                    </a:lnTo>
                    <a:lnTo>
                      <a:pt x="1858398" y="1605848"/>
                    </a:lnTo>
                    <a:lnTo>
                      <a:pt x="1886992" y="1620142"/>
                    </a:lnTo>
                    <a:lnTo>
                      <a:pt x="1896518" y="1620142"/>
                    </a:lnTo>
                    <a:lnTo>
                      <a:pt x="1929876" y="1610612"/>
                    </a:lnTo>
                    <a:lnTo>
                      <a:pt x="1934640" y="1610612"/>
                    </a:lnTo>
                    <a:lnTo>
                      <a:pt x="1939406" y="1624908"/>
                    </a:lnTo>
                    <a:lnTo>
                      <a:pt x="1944172" y="1629674"/>
                    </a:lnTo>
                    <a:lnTo>
                      <a:pt x="1939406" y="1639204"/>
                    </a:lnTo>
                    <a:lnTo>
                      <a:pt x="1929876" y="1658264"/>
                    </a:lnTo>
                    <a:lnTo>
                      <a:pt x="1920346" y="1667794"/>
                    </a:lnTo>
                    <a:lnTo>
                      <a:pt x="1910816" y="1677324"/>
                    </a:lnTo>
                    <a:lnTo>
                      <a:pt x="1915578" y="1686854"/>
                    </a:lnTo>
                    <a:lnTo>
                      <a:pt x="1915578" y="1696384"/>
                    </a:lnTo>
                    <a:lnTo>
                      <a:pt x="1906052" y="1701150"/>
                    </a:lnTo>
                    <a:lnTo>
                      <a:pt x="1901284" y="1696384"/>
                    </a:lnTo>
                    <a:lnTo>
                      <a:pt x="1896518" y="1701150"/>
                    </a:lnTo>
                    <a:lnTo>
                      <a:pt x="1896518" y="1705916"/>
                    </a:lnTo>
                    <a:lnTo>
                      <a:pt x="1877458" y="1715446"/>
                    </a:lnTo>
                    <a:lnTo>
                      <a:pt x="1863164" y="1724976"/>
                    </a:lnTo>
                    <a:lnTo>
                      <a:pt x="1815512" y="1767862"/>
                    </a:lnTo>
                    <a:lnTo>
                      <a:pt x="1791688" y="1782158"/>
                    </a:lnTo>
                    <a:lnTo>
                      <a:pt x="1786922" y="1791688"/>
                    </a:lnTo>
                    <a:lnTo>
                      <a:pt x="1782156" y="1805982"/>
                    </a:lnTo>
                    <a:lnTo>
                      <a:pt x="1767862" y="1820278"/>
                    </a:lnTo>
                    <a:lnTo>
                      <a:pt x="1758332" y="1829808"/>
                    </a:lnTo>
                    <a:lnTo>
                      <a:pt x="1729740" y="1834574"/>
                    </a:lnTo>
                    <a:lnTo>
                      <a:pt x="1701150" y="1848868"/>
                    </a:lnTo>
                    <a:lnTo>
                      <a:pt x="1686852" y="1844104"/>
                    </a:lnTo>
                    <a:lnTo>
                      <a:pt x="1653498" y="1844104"/>
                    </a:lnTo>
                    <a:lnTo>
                      <a:pt x="1629672" y="1825044"/>
                    </a:lnTo>
                    <a:lnTo>
                      <a:pt x="1586786" y="1815514"/>
                    </a:lnTo>
                    <a:lnTo>
                      <a:pt x="1577256" y="1791688"/>
                    </a:lnTo>
                    <a:lnTo>
                      <a:pt x="1553430" y="1786922"/>
                    </a:lnTo>
                    <a:lnTo>
                      <a:pt x="1543902" y="1786922"/>
                    </a:lnTo>
                    <a:lnTo>
                      <a:pt x="1534368" y="1786922"/>
                    </a:lnTo>
                    <a:lnTo>
                      <a:pt x="1534368" y="1777392"/>
                    </a:lnTo>
                    <a:lnTo>
                      <a:pt x="1534368" y="1767862"/>
                    </a:lnTo>
                    <a:lnTo>
                      <a:pt x="1520074" y="1772626"/>
                    </a:lnTo>
                    <a:lnTo>
                      <a:pt x="1510544" y="1772626"/>
                    </a:lnTo>
                    <a:lnTo>
                      <a:pt x="1505780" y="1777392"/>
                    </a:lnTo>
                    <a:lnTo>
                      <a:pt x="1501014" y="1777392"/>
                    </a:lnTo>
                    <a:lnTo>
                      <a:pt x="1496248" y="1777392"/>
                    </a:lnTo>
                    <a:lnTo>
                      <a:pt x="1491484" y="1777392"/>
                    </a:lnTo>
                    <a:lnTo>
                      <a:pt x="1491484" y="1782158"/>
                    </a:lnTo>
                    <a:lnTo>
                      <a:pt x="1481954" y="1782158"/>
                    </a:lnTo>
                    <a:lnTo>
                      <a:pt x="1467660" y="1782158"/>
                    </a:lnTo>
                    <a:lnTo>
                      <a:pt x="1434302" y="1767862"/>
                    </a:lnTo>
                    <a:lnTo>
                      <a:pt x="1424772" y="1767862"/>
                    </a:lnTo>
                    <a:lnTo>
                      <a:pt x="1405712" y="1758332"/>
                    </a:lnTo>
                    <a:lnTo>
                      <a:pt x="1391418" y="1753566"/>
                    </a:lnTo>
                    <a:lnTo>
                      <a:pt x="1386652" y="1744036"/>
                    </a:lnTo>
                    <a:lnTo>
                      <a:pt x="1381884" y="1739270"/>
                    </a:lnTo>
                    <a:lnTo>
                      <a:pt x="1377120" y="1734506"/>
                    </a:lnTo>
                    <a:lnTo>
                      <a:pt x="1353296" y="1744036"/>
                    </a:lnTo>
                    <a:lnTo>
                      <a:pt x="1348530" y="1753566"/>
                    </a:lnTo>
                    <a:lnTo>
                      <a:pt x="1334236" y="1763096"/>
                    </a:lnTo>
                    <a:lnTo>
                      <a:pt x="1253228" y="1820278"/>
                    </a:lnTo>
                    <a:lnTo>
                      <a:pt x="1238934" y="1848868"/>
                    </a:lnTo>
                    <a:lnTo>
                      <a:pt x="1219874" y="1882224"/>
                    </a:lnTo>
                    <a:lnTo>
                      <a:pt x="1219874" y="1896520"/>
                    </a:lnTo>
                    <a:lnTo>
                      <a:pt x="1224636" y="1948936"/>
                    </a:lnTo>
                    <a:lnTo>
                      <a:pt x="1243698" y="1977528"/>
                    </a:lnTo>
                    <a:lnTo>
                      <a:pt x="1243698" y="1987058"/>
                    </a:lnTo>
                    <a:lnTo>
                      <a:pt x="1234168" y="1987058"/>
                    </a:lnTo>
                    <a:lnTo>
                      <a:pt x="1219874" y="1982292"/>
                    </a:lnTo>
                    <a:lnTo>
                      <a:pt x="1205576" y="1977528"/>
                    </a:lnTo>
                    <a:lnTo>
                      <a:pt x="1196046" y="1977528"/>
                    </a:lnTo>
                    <a:lnTo>
                      <a:pt x="1181752" y="1987058"/>
                    </a:lnTo>
                    <a:lnTo>
                      <a:pt x="1172220" y="1987058"/>
                    </a:lnTo>
                    <a:lnTo>
                      <a:pt x="1167456" y="1987058"/>
                    </a:lnTo>
                    <a:lnTo>
                      <a:pt x="1162692" y="1991822"/>
                    </a:lnTo>
                    <a:lnTo>
                      <a:pt x="1157926" y="2001352"/>
                    </a:lnTo>
                    <a:lnTo>
                      <a:pt x="1157926" y="2006118"/>
                    </a:lnTo>
                    <a:lnTo>
                      <a:pt x="1143632" y="2001352"/>
                    </a:lnTo>
                    <a:lnTo>
                      <a:pt x="1115038" y="1991822"/>
                    </a:lnTo>
                    <a:lnTo>
                      <a:pt x="1086450" y="1987058"/>
                    </a:lnTo>
                    <a:lnTo>
                      <a:pt x="1072152" y="1991822"/>
                    </a:lnTo>
                    <a:lnTo>
                      <a:pt x="1062622" y="2001352"/>
                    </a:lnTo>
                    <a:lnTo>
                      <a:pt x="1053092" y="2001352"/>
                    </a:lnTo>
                    <a:lnTo>
                      <a:pt x="1048328" y="1991822"/>
                    </a:lnTo>
                    <a:lnTo>
                      <a:pt x="1043562" y="1987058"/>
                    </a:lnTo>
                    <a:lnTo>
                      <a:pt x="1034032" y="1977528"/>
                    </a:lnTo>
                    <a:lnTo>
                      <a:pt x="1010208" y="1967998"/>
                    </a:lnTo>
                    <a:lnTo>
                      <a:pt x="1010208" y="1963232"/>
                    </a:lnTo>
                    <a:lnTo>
                      <a:pt x="1014972" y="1958466"/>
                    </a:lnTo>
                    <a:lnTo>
                      <a:pt x="1014972" y="1953702"/>
                    </a:lnTo>
                    <a:lnTo>
                      <a:pt x="1010208" y="1948936"/>
                    </a:lnTo>
                    <a:lnTo>
                      <a:pt x="991148" y="1939406"/>
                    </a:lnTo>
                    <a:lnTo>
                      <a:pt x="976850" y="1939406"/>
                    </a:lnTo>
                    <a:lnTo>
                      <a:pt x="972086" y="1944172"/>
                    </a:lnTo>
                    <a:lnTo>
                      <a:pt x="967320" y="1948936"/>
                    </a:lnTo>
                    <a:lnTo>
                      <a:pt x="953026" y="1929876"/>
                    </a:lnTo>
                    <a:lnTo>
                      <a:pt x="943494" y="1925110"/>
                    </a:lnTo>
                    <a:lnTo>
                      <a:pt x="933966" y="1925110"/>
                    </a:lnTo>
                    <a:lnTo>
                      <a:pt x="914906" y="1920346"/>
                    </a:lnTo>
                    <a:lnTo>
                      <a:pt x="900608" y="1910816"/>
                    </a:lnTo>
                    <a:lnTo>
                      <a:pt x="862488" y="1896520"/>
                    </a:lnTo>
                    <a:lnTo>
                      <a:pt x="852958" y="1896520"/>
                    </a:lnTo>
                    <a:lnTo>
                      <a:pt x="848190" y="1896520"/>
                    </a:lnTo>
                    <a:lnTo>
                      <a:pt x="843426" y="1906050"/>
                    </a:lnTo>
                    <a:lnTo>
                      <a:pt x="843426" y="1929876"/>
                    </a:lnTo>
                    <a:lnTo>
                      <a:pt x="824366" y="1929876"/>
                    </a:lnTo>
                    <a:lnTo>
                      <a:pt x="800542" y="1929876"/>
                    </a:lnTo>
                    <a:lnTo>
                      <a:pt x="791008" y="1929876"/>
                    </a:lnTo>
                    <a:lnTo>
                      <a:pt x="781482" y="1929876"/>
                    </a:lnTo>
                    <a:lnTo>
                      <a:pt x="776716" y="1925110"/>
                    </a:lnTo>
                    <a:lnTo>
                      <a:pt x="738594" y="1929876"/>
                    </a:lnTo>
                    <a:lnTo>
                      <a:pt x="729064" y="1925110"/>
                    </a:lnTo>
                    <a:lnTo>
                      <a:pt x="719534" y="1915580"/>
                    </a:lnTo>
                    <a:lnTo>
                      <a:pt x="710004" y="1910816"/>
                    </a:lnTo>
                    <a:lnTo>
                      <a:pt x="705240" y="1906050"/>
                    </a:lnTo>
                    <a:lnTo>
                      <a:pt x="695706" y="1901286"/>
                    </a:lnTo>
                    <a:lnTo>
                      <a:pt x="690942" y="1901286"/>
                    </a:lnTo>
                    <a:lnTo>
                      <a:pt x="681412" y="1906050"/>
                    </a:lnTo>
                    <a:lnTo>
                      <a:pt x="667118" y="1906050"/>
                    </a:lnTo>
                    <a:lnTo>
                      <a:pt x="657586" y="1906050"/>
                    </a:lnTo>
                    <a:lnTo>
                      <a:pt x="652822" y="1906050"/>
                    </a:lnTo>
                    <a:lnTo>
                      <a:pt x="628998" y="1882224"/>
                    </a:lnTo>
                    <a:lnTo>
                      <a:pt x="624232" y="1877460"/>
                    </a:lnTo>
                    <a:lnTo>
                      <a:pt x="609938" y="1872694"/>
                    </a:lnTo>
                    <a:lnTo>
                      <a:pt x="595640" y="1872694"/>
                    </a:lnTo>
                    <a:lnTo>
                      <a:pt x="562282" y="1858400"/>
                    </a:lnTo>
                    <a:lnTo>
                      <a:pt x="543222" y="1848868"/>
                    </a:lnTo>
                    <a:lnTo>
                      <a:pt x="538458" y="1844104"/>
                    </a:lnTo>
                    <a:lnTo>
                      <a:pt x="533696" y="1848868"/>
                    </a:lnTo>
                    <a:lnTo>
                      <a:pt x="528928" y="1853634"/>
                    </a:lnTo>
                    <a:lnTo>
                      <a:pt x="524162" y="1858400"/>
                    </a:lnTo>
                    <a:lnTo>
                      <a:pt x="519398" y="1853634"/>
                    </a:lnTo>
                    <a:lnTo>
                      <a:pt x="514634" y="1853634"/>
                    </a:lnTo>
                    <a:lnTo>
                      <a:pt x="509868" y="1848868"/>
                    </a:lnTo>
                    <a:lnTo>
                      <a:pt x="514634" y="1839338"/>
                    </a:lnTo>
                    <a:lnTo>
                      <a:pt x="519398" y="1829808"/>
                    </a:lnTo>
                    <a:lnTo>
                      <a:pt x="524162" y="1820278"/>
                    </a:lnTo>
                    <a:lnTo>
                      <a:pt x="524162" y="1810748"/>
                    </a:lnTo>
                    <a:lnTo>
                      <a:pt x="514634" y="1805982"/>
                    </a:lnTo>
                    <a:lnTo>
                      <a:pt x="500338" y="1805982"/>
                    </a:lnTo>
                    <a:lnTo>
                      <a:pt x="490808" y="1801218"/>
                    </a:lnTo>
                    <a:lnTo>
                      <a:pt x="476514" y="1796452"/>
                    </a:lnTo>
                    <a:lnTo>
                      <a:pt x="471748" y="1796452"/>
                    </a:lnTo>
                    <a:lnTo>
                      <a:pt x="462216" y="1782158"/>
                    </a:lnTo>
                    <a:lnTo>
                      <a:pt x="462216" y="1777392"/>
                    </a:lnTo>
                    <a:lnTo>
                      <a:pt x="490808" y="1767862"/>
                    </a:lnTo>
                    <a:lnTo>
                      <a:pt x="509868" y="1744036"/>
                    </a:lnTo>
                    <a:lnTo>
                      <a:pt x="533696" y="1643968"/>
                    </a:lnTo>
                    <a:lnTo>
                      <a:pt x="547990" y="1524840"/>
                    </a:lnTo>
                    <a:lnTo>
                      <a:pt x="562282" y="1505780"/>
                    </a:lnTo>
                    <a:lnTo>
                      <a:pt x="576580" y="1496250"/>
                    </a:lnTo>
                    <a:lnTo>
                      <a:pt x="562282" y="1481954"/>
                    </a:lnTo>
                    <a:lnTo>
                      <a:pt x="557520" y="1491484"/>
                    </a:lnTo>
                    <a:lnTo>
                      <a:pt x="552756" y="1496250"/>
                    </a:lnTo>
                    <a:lnTo>
                      <a:pt x="547990" y="1501014"/>
                    </a:lnTo>
                    <a:lnTo>
                      <a:pt x="557520" y="1396182"/>
                    </a:lnTo>
                    <a:lnTo>
                      <a:pt x="562282" y="1353296"/>
                    </a:lnTo>
                    <a:lnTo>
                      <a:pt x="576580" y="1310410"/>
                    </a:lnTo>
                    <a:lnTo>
                      <a:pt x="595640" y="1329470"/>
                    </a:lnTo>
                    <a:lnTo>
                      <a:pt x="614700" y="1343766"/>
                    </a:lnTo>
                    <a:lnTo>
                      <a:pt x="624232" y="1358060"/>
                    </a:lnTo>
                    <a:lnTo>
                      <a:pt x="633762" y="1410478"/>
                    </a:lnTo>
                    <a:lnTo>
                      <a:pt x="643292" y="1420008"/>
                    </a:lnTo>
                    <a:lnTo>
                      <a:pt x="657586" y="1429538"/>
                    </a:lnTo>
                    <a:lnTo>
                      <a:pt x="652822" y="1420008"/>
                    </a:lnTo>
                    <a:lnTo>
                      <a:pt x="643292" y="1410478"/>
                    </a:lnTo>
                    <a:lnTo>
                      <a:pt x="628998" y="1343766"/>
                    </a:lnTo>
                    <a:lnTo>
                      <a:pt x="619464" y="1324706"/>
                    </a:lnTo>
                    <a:lnTo>
                      <a:pt x="605170" y="1310410"/>
                    </a:lnTo>
                    <a:lnTo>
                      <a:pt x="562282" y="1277054"/>
                    </a:lnTo>
                    <a:lnTo>
                      <a:pt x="557520" y="1272288"/>
                    </a:lnTo>
                    <a:lnTo>
                      <a:pt x="552756" y="1257994"/>
                    </a:lnTo>
                    <a:lnTo>
                      <a:pt x="571816" y="1257994"/>
                    </a:lnTo>
                    <a:lnTo>
                      <a:pt x="581344" y="1262758"/>
                    </a:lnTo>
                    <a:lnTo>
                      <a:pt x="581344" y="1257994"/>
                    </a:lnTo>
                    <a:lnTo>
                      <a:pt x="576580" y="1248462"/>
                    </a:lnTo>
                    <a:lnTo>
                      <a:pt x="571816" y="1224638"/>
                    </a:lnTo>
                    <a:lnTo>
                      <a:pt x="567050" y="1162690"/>
                    </a:lnTo>
                    <a:lnTo>
                      <a:pt x="567050" y="1148396"/>
                    </a:lnTo>
                    <a:lnTo>
                      <a:pt x="562282" y="1138866"/>
                    </a:lnTo>
                    <a:lnTo>
                      <a:pt x="547990" y="1134100"/>
                    </a:lnTo>
                    <a:lnTo>
                      <a:pt x="538458" y="1134100"/>
                    </a:lnTo>
                    <a:lnTo>
                      <a:pt x="524162" y="1129334"/>
                    </a:lnTo>
                    <a:lnTo>
                      <a:pt x="466980" y="1091214"/>
                    </a:lnTo>
                    <a:lnTo>
                      <a:pt x="443156" y="1053092"/>
                    </a:lnTo>
                    <a:lnTo>
                      <a:pt x="424096" y="1024502"/>
                    </a:lnTo>
                    <a:lnTo>
                      <a:pt x="414566" y="1010206"/>
                    </a:lnTo>
                    <a:lnTo>
                      <a:pt x="414566" y="995912"/>
                    </a:lnTo>
                    <a:lnTo>
                      <a:pt x="428860" y="972086"/>
                    </a:lnTo>
                    <a:lnTo>
                      <a:pt x="419332" y="953026"/>
                    </a:lnTo>
                    <a:lnTo>
                      <a:pt x="409798" y="953026"/>
                    </a:lnTo>
                    <a:lnTo>
                      <a:pt x="400272" y="943494"/>
                    </a:lnTo>
                    <a:lnTo>
                      <a:pt x="409798" y="929200"/>
                    </a:lnTo>
                    <a:lnTo>
                      <a:pt x="414566" y="919670"/>
                    </a:lnTo>
                    <a:lnTo>
                      <a:pt x="428860" y="914904"/>
                    </a:lnTo>
                    <a:lnTo>
                      <a:pt x="443156" y="919670"/>
                    </a:lnTo>
                    <a:lnTo>
                      <a:pt x="457454" y="929200"/>
                    </a:lnTo>
                    <a:lnTo>
                      <a:pt x="471748" y="929200"/>
                    </a:lnTo>
                    <a:lnTo>
                      <a:pt x="433626" y="910140"/>
                    </a:lnTo>
                    <a:lnTo>
                      <a:pt x="376444" y="914904"/>
                    </a:lnTo>
                    <a:lnTo>
                      <a:pt x="362150" y="914904"/>
                    </a:lnTo>
                    <a:lnTo>
                      <a:pt x="352618" y="910140"/>
                    </a:lnTo>
                    <a:lnTo>
                      <a:pt x="347854" y="891078"/>
                    </a:lnTo>
                    <a:lnTo>
                      <a:pt x="357384" y="886314"/>
                    </a:lnTo>
                    <a:lnTo>
                      <a:pt x="366914" y="872018"/>
                    </a:lnTo>
                    <a:lnTo>
                      <a:pt x="357384" y="862488"/>
                    </a:lnTo>
                    <a:lnTo>
                      <a:pt x="343090" y="857722"/>
                    </a:lnTo>
                    <a:lnTo>
                      <a:pt x="328794" y="857722"/>
                    </a:lnTo>
                    <a:lnTo>
                      <a:pt x="309732" y="862488"/>
                    </a:lnTo>
                    <a:lnTo>
                      <a:pt x="304970" y="857722"/>
                    </a:lnTo>
                    <a:lnTo>
                      <a:pt x="314496" y="838662"/>
                    </a:lnTo>
                    <a:lnTo>
                      <a:pt x="309732" y="833898"/>
                    </a:lnTo>
                    <a:lnTo>
                      <a:pt x="295436" y="838662"/>
                    </a:lnTo>
                    <a:lnTo>
                      <a:pt x="281142" y="838662"/>
                    </a:lnTo>
                    <a:lnTo>
                      <a:pt x="266848" y="838662"/>
                    </a:lnTo>
                    <a:lnTo>
                      <a:pt x="252552" y="819602"/>
                    </a:lnTo>
                    <a:lnTo>
                      <a:pt x="238254" y="819602"/>
                    </a:lnTo>
                    <a:lnTo>
                      <a:pt x="233490" y="819602"/>
                    </a:lnTo>
                    <a:lnTo>
                      <a:pt x="223960" y="814836"/>
                    </a:lnTo>
                    <a:lnTo>
                      <a:pt x="214430" y="814836"/>
                    </a:lnTo>
                    <a:lnTo>
                      <a:pt x="204900" y="814836"/>
                    </a:lnTo>
                    <a:lnTo>
                      <a:pt x="195370" y="805306"/>
                    </a:lnTo>
                    <a:lnTo>
                      <a:pt x="133424" y="786246"/>
                    </a:lnTo>
                    <a:lnTo>
                      <a:pt x="109598" y="781480"/>
                    </a:lnTo>
                    <a:lnTo>
                      <a:pt x="81006" y="791010"/>
                    </a:lnTo>
                    <a:lnTo>
                      <a:pt x="71476" y="791010"/>
                    </a:lnTo>
                    <a:lnTo>
                      <a:pt x="61946" y="776716"/>
                    </a:lnTo>
                    <a:lnTo>
                      <a:pt x="52416" y="757654"/>
                    </a:lnTo>
                    <a:lnTo>
                      <a:pt x="14294" y="738594"/>
                    </a:lnTo>
                    <a:lnTo>
                      <a:pt x="19062" y="729064"/>
                    </a:lnTo>
                    <a:lnTo>
                      <a:pt x="38122" y="724300"/>
                    </a:lnTo>
                    <a:lnTo>
                      <a:pt x="61946" y="719534"/>
                    </a:lnTo>
                    <a:lnTo>
                      <a:pt x="66710" y="710004"/>
                    </a:lnTo>
                    <a:lnTo>
                      <a:pt x="52416" y="695708"/>
                    </a:lnTo>
                    <a:lnTo>
                      <a:pt x="38122" y="695708"/>
                    </a:lnTo>
                    <a:lnTo>
                      <a:pt x="33356" y="690944"/>
                    </a:lnTo>
                    <a:lnTo>
                      <a:pt x="28588" y="681414"/>
                    </a:lnTo>
                    <a:lnTo>
                      <a:pt x="38122" y="676648"/>
                    </a:lnTo>
                    <a:lnTo>
                      <a:pt x="42886" y="676648"/>
                    </a:lnTo>
                    <a:lnTo>
                      <a:pt x="57182" y="681414"/>
                    </a:lnTo>
                    <a:lnTo>
                      <a:pt x="81006" y="676648"/>
                    </a:lnTo>
                    <a:lnTo>
                      <a:pt x="71476" y="667118"/>
                    </a:lnTo>
                    <a:lnTo>
                      <a:pt x="61946" y="662352"/>
                    </a:lnTo>
                    <a:lnTo>
                      <a:pt x="57182" y="662352"/>
                    </a:lnTo>
                    <a:lnTo>
                      <a:pt x="38122" y="662352"/>
                    </a:lnTo>
                    <a:lnTo>
                      <a:pt x="28588" y="662352"/>
                    </a:lnTo>
                    <a:lnTo>
                      <a:pt x="4764" y="662352"/>
                    </a:lnTo>
                    <a:lnTo>
                      <a:pt x="0" y="652822"/>
                    </a:lnTo>
                    <a:lnTo>
                      <a:pt x="0" y="643292"/>
                    </a:lnTo>
                    <a:lnTo>
                      <a:pt x="4764" y="619466"/>
                    </a:lnTo>
                    <a:lnTo>
                      <a:pt x="38122" y="600406"/>
                    </a:lnTo>
                    <a:lnTo>
                      <a:pt x="109598" y="581346"/>
                    </a:lnTo>
                    <a:lnTo>
                      <a:pt x="142952" y="586110"/>
                    </a:lnTo>
                    <a:lnTo>
                      <a:pt x="162012" y="581346"/>
                    </a:lnTo>
                    <a:lnTo>
                      <a:pt x="190606" y="567050"/>
                    </a:lnTo>
                    <a:lnTo>
                      <a:pt x="200134" y="557520"/>
                    </a:lnTo>
                    <a:lnTo>
                      <a:pt x="238254" y="547990"/>
                    </a:lnTo>
                    <a:lnTo>
                      <a:pt x="276376" y="562284"/>
                    </a:lnTo>
                    <a:lnTo>
                      <a:pt x="309732" y="605170"/>
                    </a:lnTo>
                    <a:lnTo>
                      <a:pt x="324030" y="624232"/>
                    </a:lnTo>
                    <a:lnTo>
                      <a:pt x="362150" y="595640"/>
                    </a:lnTo>
                    <a:lnTo>
                      <a:pt x="419332" y="595640"/>
                    </a:lnTo>
                    <a:lnTo>
                      <a:pt x="428860" y="609936"/>
                    </a:lnTo>
                    <a:lnTo>
                      <a:pt x="433626" y="600406"/>
                    </a:lnTo>
                    <a:lnTo>
                      <a:pt x="447920" y="586110"/>
                    </a:lnTo>
                    <a:lnTo>
                      <a:pt x="452686" y="590876"/>
                    </a:lnTo>
                    <a:lnTo>
                      <a:pt x="457454" y="600406"/>
                    </a:lnTo>
                    <a:lnTo>
                      <a:pt x="519398" y="595640"/>
                    </a:lnTo>
                    <a:lnTo>
                      <a:pt x="528928" y="595640"/>
                    </a:lnTo>
                    <a:lnTo>
                      <a:pt x="509868" y="586110"/>
                    </a:lnTo>
                    <a:lnTo>
                      <a:pt x="500338" y="557520"/>
                    </a:lnTo>
                    <a:lnTo>
                      <a:pt x="495574" y="462218"/>
                    </a:lnTo>
                    <a:lnTo>
                      <a:pt x="481278" y="438392"/>
                    </a:lnTo>
                    <a:lnTo>
                      <a:pt x="462216" y="395506"/>
                    </a:lnTo>
                    <a:lnTo>
                      <a:pt x="452686" y="371680"/>
                    </a:lnTo>
                    <a:lnTo>
                      <a:pt x="452686" y="362150"/>
                    </a:lnTo>
                    <a:lnTo>
                      <a:pt x="452686" y="347854"/>
                    </a:lnTo>
                    <a:lnTo>
                      <a:pt x="476514" y="347854"/>
                    </a:lnTo>
                    <a:lnTo>
                      <a:pt x="495574" y="352620"/>
                    </a:lnTo>
                    <a:lnTo>
                      <a:pt x="528928" y="343090"/>
                    </a:lnTo>
                    <a:lnTo>
                      <a:pt x="547990" y="347854"/>
                    </a:lnTo>
                    <a:lnTo>
                      <a:pt x="547990" y="366914"/>
                    </a:lnTo>
                    <a:lnTo>
                      <a:pt x="552756" y="395506"/>
                    </a:lnTo>
                    <a:lnTo>
                      <a:pt x="557520" y="405036"/>
                    </a:lnTo>
                    <a:lnTo>
                      <a:pt x="567050" y="419332"/>
                    </a:lnTo>
                    <a:lnTo>
                      <a:pt x="595640" y="419332"/>
                    </a:lnTo>
                    <a:lnTo>
                      <a:pt x="624232" y="428862"/>
                    </a:lnTo>
                    <a:lnTo>
                      <a:pt x="662352" y="428862"/>
                    </a:lnTo>
                    <a:lnTo>
                      <a:pt x="719534" y="443156"/>
                    </a:lnTo>
                    <a:lnTo>
                      <a:pt x="743360" y="433626"/>
                    </a:lnTo>
                    <a:lnTo>
                      <a:pt x="762422" y="419332"/>
                    </a:lnTo>
                    <a:lnTo>
                      <a:pt x="810070" y="405036"/>
                    </a:lnTo>
                    <a:lnTo>
                      <a:pt x="814836" y="400270"/>
                    </a:lnTo>
                    <a:lnTo>
                      <a:pt x="786246" y="400270"/>
                    </a:lnTo>
                    <a:lnTo>
                      <a:pt x="762422" y="390740"/>
                    </a:lnTo>
                    <a:lnTo>
                      <a:pt x="762422" y="381210"/>
                    </a:lnTo>
                    <a:lnTo>
                      <a:pt x="762422" y="366914"/>
                    </a:lnTo>
                    <a:lnTo>
                      <a:pt x="771948" y="343090"/>
                    </a:lnTo>
                    <a:lnTo>
                      <a:pt x="838664" y="304968"/>
                    </a:lnTo>
                    <a:lnTo>
                      <a:pt x="886312" y="295438"/>
                    </a:lnTo>
                    <a:lnTo>
                      <a:pt x="938730" y="271612"/>
                    </a:lnTo>
                    <a:lnTo>
                      <a:pt x="962554" y="252552"/>
                    </a:lnTo>
                    <a:lnTo>
                      <a:pt x="981614" y="223960"/>
                    </a:lnTo>
                    <a:lnTo>
                      <a:pt x="986380" y="214430"/>
                    </a:lnTo>
                    <a:lnTo>
                      <a:pt x="991148" y="209666"/>
                    </a:lnTo>
                    <a:lnTo>
                      <a:pt x="986380" y="200136"/>
                    </a:lnTo>
                    <a:lnTo>
                      <a:pt x="991148" y="90538"/>
                    </a:lnTo>
                    <a:lnTo>
                      <a:pt x="995910" y="71476"/>
                    </a:lnTo>
                    <a:lnTo>
                      <a:pt x="1005442" y="57182"/>
                    </a:lnTo>
                    <a:lnTo>
                      <a:pt x="1019736" y="42886"/>
                    </a:lnTo>
                    <a:lnTo>
                      <a:pt x="1043562" y="28590"/>
                    </a:lnTo>
                    <a:lnTo>
                      <a:pt x="1124570" y="9530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9" name="Freeform 7000">
                <a:extLst>
                  <a:ext uri="{FF2B5EF4-FFF2-40B4-BE49-F238E27FC236}">
                    <a16:creationId xmlns:a16="http://schemas.microsoft.com/office/drawing/2014/main" id="{5AFB25D8-A107-40EE-84F8-19C3D580B1FF}"/>
                  </a:ext>
                </a:extLst>
              </p:cNvPr>
              <p:cNvSpPr/>
              <p:nvPr/>
            </p:nvSpPr>
            <p:spPr bwMode="auto">
              <a:xfrm>
                <a:off x="29965873" y="19582850"/>
                <a:ext cx="152484" cy="347854"/>
              </a:xfrm>
              <a:custGeom>
                <a:avLst/>
                <a:gdLst>
                  <a:gd name="T0" fmla="*/ 60 w 64"/>
                  <a:gd name="T1" fmla="*/ 20 h 146"/>
                  <a:gd name="T2" fmla="*/ 60 w 64"/>
                  <a:gd name="T3" fmla="*/ 14 h 146"/>
                  <a:gd name="T4" fmla="*/ 58 w 64"/>
                  <a:gd name="T5" fmla="*/ 8 h 146"/>
                  <a:gd name="T6" fmla="*/ 58 w 64"/>
                  <a:gd name="T7" fmla="*/ 4 h 146"/>
                  <a:gd name="T8" fmla="*/ 56 w 64"/>
                  <a:gd name="T9" fmla="*/ 0 h 146"/>
                  <a:gd name="T10" fmla="*/ 52 w 64"/>
                  <a:gd name="T11" fmla="*/ 0 h 146"/>
                  <a:gd name="T12" fmla="*/ 50 w 64"/>
                  <a:gd name="T13" fmla="*/ 8 h 146"/>
                  <a:gd name="T14" fmla="*/ 50 w 64"/>
                  <a:gd name="T15" fmla="*/ 18 h 146"/>
                  <a:gd name="T16" fmla="*/ 50 w 64"/>
                  <a:gd name="T17" fmla="*/ 24 h 146"/>
                  <a:gd name="T18" fmla="*/ 48 w 64"/>
                  <a:gd name="T19" fmla="*/ 28 h 146"/>
                  <a:gd name="T20" fmla="*/ 46 w 64"/>
                  <a:gd name="T21" fmla="*/ 30 h 146"/>
                  <a:gd name="T22" fmla="*/ 44 w 64"/>
                  <a:gd name="T23" fmla="*/ 28 h 146"/>
                  <a:gd name="T24" fmla="*/ 40 w 64"/>
                  <a:gd name="T25" fmla="*/ 26 h 146"/>
                  <a:gd name="T26" fmla="*/ 38 w 64"/>
                  <a:gd name="T27" fmla="*/ 26 h 146"/>
                  <a:gd name="T28" fmla="*/ 34 w 64"/>
                  <a:gd name="T29" fmla="*/ 28 h 146"/>
                  <a:gd name="T30" fmla="*/ 30 w 64"/>
                  <a:gd name="T31" fmla="*/ 32 h 146"/>
                  <a:gd name="T32" fmla="*/ 28 w 64"/>
                  <a:gd name="T33" fmla="*/ 34 h 146"/>
                  <a:gd name="T34" fmla="*/ 16 w 64"/>
                  <a:gd name="T35" fmla="*/ 38 h 146"/>
                  <a:gd name="T36" fmla="*/ 10 w 64"/>
                  <a:gd name="T37" fmla="*/ 42 h 146"/>
                  <a:gd name="T38" fmla="*/ 4 w 64"/>
                  <a:gd name="T39" fmla="*/ 54 h 146"/>
                  <a:gd name="T40" fmla="*/ 2 w 64"/>
                  <a:gd name="T41" fmla="*/ 56 h 146"/>
                  <a:gd name="T42" fmla="*/ 0 w 64"/>
                  <a:gd name="T43" fmla="*/ 60 h 146"/>
                  <a:gd name="T44" fmla="*/ 2 w 64"/>
                  <a:gd name="T45" fmla="*/ 60 h 146"/>
                  <a:gd name="T46" fmla="*/ 4 w 64"/>
                  <a:gd name="T47" fmla="*/ 60 h 146"/>
                  <a:gd name="T48" fmla="*/ 6 w 64"/>
                  <a:gd name="T49" fmla="*/ 66 h 146"/>
                  <a:gd name="T50" fmla="*/ 2 w 64"/>
                  <a:gd name="T51" fmla="*/ 68 h 146"/>
                  <a:gd name="T52" fmla="*/ 0 w 64"/>
                  <a:gd name="T53" fmla="*/ 72 h 146"/>
                  <a:gd name="T54" fmla="*/ 2 w 64"/>
                  <a:gd name="T55" fmla="*/ 78 h 146"/>
                  <a:gd name="T56" fmla="*/ 4 w 64"/>
                  <a:gd name="T57" fmla="*/ 80 h 146"/>
                  <a:gd name="T58" fmla="*/ 8 w 64"/>
                  <a:gd name="T59" fmla="*/ 82 h 146"/>
                  <a:gd name="T60" fmla="*/ 8 w 64"/>
                  <a:gd name="T61" fmla="*/ 88 h 146"/>
                  <a:gd name="T62" fmla="*/ 6 w 64"/>
                  <a:gd name="T63" fmla="*/ 92 h 146"/>
                  <a:gd name="T64" fmla="*/ 2 w 64"/>
                  <a:gd name="T65" fmla="*/ 94 h 146"/>
                  <a:gd name="T66" fmla="*/ 4 w 64"/>
                  <a:gd name="T67" fmla="*/ 98 h 146"/>
                  <a:gd name="T68" fmla="*/ 6 w 64"/>
                  <a:gd name="T69" fmla="*/ 98 h 146"/>
                  <a:gd name="T70" fmla="*/ 12 w 64"/>
                  <a:gd name="T71" fmla="*/ 98 h 146"/>
                  <a:gd name="T72" fmla="*/ 12 w 64"/>
                  <a:gd name="T73" fmla="*/ 102 h 146"/>
                  <a:gd name="T74" fmla="*/ 10 w 64"/>
                  <a:gd name="T75" fmla="*/ 108 h 146"/>
                  <a:gd name="T76" fmla="*/ 10 w 64"/>
                  <a:gd name="T77" fmla="*/ 112 h 146"/>
                  <a:gd name="T78" fmla="*/ 14 w 64"/>
                  <a:gd name="T79" fmla="*/ 114 h 146"/>
                  <a:gd name="T80" fmla="*/ 20 w 64"/>
                  <a:gd name="T81" fmla="*/ 118 h 146"/>
                  <a:gd name="T82" fmla="*/ 20 w 64"/>
                  <a:gd name="T83" fmla="*/ 120 h 146"/>
                  <a:gd name="T84" fmla="*/ 18 w 64"/>
                  <a:gd name="T85" fmla="*/ 124 h 146"/>
                  <a:gd name="T86" fmla="*/ 16 w 64"/>
                  <a:gd name="T87" fmla="*/ 128 h 146"/>
                  <a:gd name="T88" fmla="*/ 18 w 64"/>
                  <a:gd name="T89" fmla="*/ 130 h 146"/>
                  <a:gd name="T90" fmla="*/ 22 w 64"/>
                  <a:gd name="T91" fmla="*/ 134 h 146"/>
                  <a:gd name="T92" fmla="*/ 28 w 64"/>
                  <a:gd name="T93" fmla="*/ 138 h 146"/>
                  <a:gd name="T94" fmla="*/ 40 w 64"/>
                  <a:gd name="T95" fmla="*/ 146 h 146"/>
                  <a:gd name="T96" fmla="*/ 44 w 64"/>
                  <a:gd name="T97" fmla="*/ 138 h 146"/>
                  <a:gd name="T98" fmla="*/ 50 w 64"/>
                  <a:gd name="T99" fmla="*/ 124 h 146"/>
                  <a:gd name="T100" fmla="*/ 52 w 64"/>
                  <a:gd name="T101" fmla="*/ 120 h 146"/>
                  <a:gd name="T102" fmla="*/ 54 w 64"/>
                  <a:gd name="T103" fmla="*/ 114 h 146"/>
                  <a:gd name="T104" fmla="*/ 54 w 64"/>
                  <a:gd name="T105" fmla="*/ 98 h 146"/>
                  <a:gd name="T106" fmla="*/ 56 w 64"/>
                  <a:gd name="T107" fmla="*/ 94 h 146"/>
                  <a:gd name="T108" fmla="*/ 64 w 64"/>
                  <a:gd name="T109" fmla="*/ 80 h 146"/>
                  <a:gd name="T110" fmla="*/ 64 w 64"/>
                  <a:gd name="T111" fmla="*/ 78 h 146"/>
                  <a:gd name="T112" fmla="*/ 62 w 64"/>
                  <a:gd name="T113" fmla="*/ 42 h 146"/>
                  <a:gd name="T114" fmla="*/ 62 w 64"/>
                  <a:gd name="T115" fmla="*/ 40 h 146"/>
                  <a:gd name="T116" fmla="*/ 60 w 64"/>
                  <a:gd name="T117" fmla="*/ 36 h 146"/>
                  <a:gd name="T118" fmla="*/ 58 w 64"/>
                  <a:gd name="T119" fmla="*/ 32 h 146"/>
                  <a:gd name="T120" fmla="*/ 60 w 64"/>
                  <a:gd name="T121" fmla="*/ 20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4" h="146">
                    <a:moveTo>
                      <a:pt x="60" y="20"/>
                    </a:moveTo>
                    <a:lnTo>
                      <a:pt x="60" y="14"/>
                    </a:lnTo>
                    <a:lnTo>
                      <a:pt x="58" y="8"/>
                    </a:lnTo>
                    <a:lnTo>
                      <a:pt x="58" y="4"/>
                    </a:lnTo>
                    <a:lnTo>
                      <a:pt x="56" y="0"/>
                    </a:lnTo>
                    <a:lnTo>
                      <a:pt x="52" y="0"/>
                    </a:lnTo>
                    <a:lnTo>
                      <a:pt x="50" y="8"/>
                    </a:lnTo>
                    <a:lnTo>
                      <a:pt x="50" y="18"/>
                    </a:lnTo>
                    <a:lnTo>
                      <a:pt x="50" y="24"/>
                    </a:lnTo>
                    <a:lnTo>
                      <a:pt x="48" y="28"/>
                    </a:lnTo>
                    <a:lnTo>
                      <a:pt x="46" y="30"/>
                    </a:lnTo>
                    <a:lnTo>
                      <a:pt x="44" y="28"/>
                    </a:lnTo>
                    <a:lnTo>
                      <a:pt x="40" y="26"/>
                    </a:lnTo>
                    <a:lnTo>
                      <a:pt x="38" y="26"/>
                    </a:lnTo>
                    <a:lnTo>
                      <a:pt x="34" y="28"/>
                    </a:lnTo>
                    <a:lnTo>
                      <a:pt x="30" y="32"/>
                    </a:lnTo>
                    <a:lnTo>
                      <a:pt x="28" y="34"/>
                    </a:lnTo>
                    <a:lnTo>
                      <a:pt x="16" y="38"/>
                    </a:lnTo>
                    <a:lnTo>
                      <a:pt x="10" y="42"/>
                    </a:lnTo>
                    <a:lnTo>
                      <a:pt x="4" y="54"/>
                    </a:lnTo>
                    <a:lnTo>
                      <a:pt x="2" y="56"/>
                    </a:lnTo>
                    <a:lnTo>
                      <a:pt x="0" y="60"/>
                    </a:lnTo>
                    <a:lnTo>
                      <a:pt x="2" y="60"/>
                    </a:lnTo>
                    <a:lnTo>
                      <a:pt x="4" y="60"/>
                    </a:lnTo>
                    <a:lnTo>
                      <a:pt x="6" y="66"/>
                    </a:lnTo>
                    <a:lnTo>
                      <a:pt x="2" y="68"/>
                    </a:lnTo>
                    <a:lnTo>
                      <a:pt x="0" y="72"/>
                    </a:lnTo>
                    <a:lnTo>
                      <a:pt x="2" y="78"/>
                    </a:lnTo>
                    <a:lnTo>
                      <a:pt x="4" y="80"/>
                    </a:lnTo>
                    <a:lnTo>
                      <a:pt x="8" y="82"/>
                    </a:lnTo>
                    <a:lnTo>
                      <a:pt x="8" y="88"/>
                    </a:lnTo>
                    <a:lnTo>
                      <a:pt x="6" y="92"/>
                    </a:lnTo>
                    <a:lnTo>
                      <a:pt x="2" y="94"/>
                    </a:lnTo>
                    <a:lnTo>
                      <a:pt x="4" y="98"/>
                    </a:lnTo>
                    <a:lnTo>
                      <a:pt x="6" y="98"/>
                    </a:lnTo>
                    <a:lnTo>
                      <a:pt x="12" y="98"/>
                    </a:lnTo>
                    <a:lnTo>
                      <a:pt x="12" y="102"/>
                    </a:lnTo>
                    <a:lnTo>
                      <a:pt x="10" y="108"/>
                    </a:lnTo>
                    <a:lnTo>
                      <a:pt x="10" y="112"/>
                    </a:lnTo>
                    <a:lnTo>
                      <a:pt x="14" y="114"/>
                    </a:lnTo>
                    <a:lnTo>
                      <a:pt x="20" y="118"/>
                    </a:lnTo>
                    <a:lnTo>
                      <a:pt x="20" y="120"/>
                    </a:lnTo>
                    <a:lnTo>
                      <a:pt x="18" y="124"/>
                    </a:lnTo>
                    <a:lnTo>
                      <a:pt x="16" y="128"/>
                    </a:lnTo>
                    <a:lnTo>
                      <a:pt x="18" y="130"/>
                    </a:lnTo>
                    <a:lnTo>
                      <a:pt x="22" y="134"/>
                    </a:lnTo>
                    <a:lnTo>
                      <a:pt x="28" y="138"/>
                    </a:lnTo>
                    <a:lnTo>
                      <a:pt x="40" y="146"/>
                    </a:lnTo>
                    <a:lnTo>
                      <a:pt x="44" y="138"/>
                    </a:lnTo>
                    <a:lnTo>
                      <a:pt x="50" y="124"/>
                    </a:lnTo>
                    <a:lnTo>
                      <a:pt x="52" y="120"/>
                    </a:lnTo>
                    <a:lnTo>
                      <a:pt x="54" y="114"/>
                    </a:lnTo>
                    <a:lnTo>
                      <a:pt x="54" y="98"/>
                    </a:lnTo>
                    <a:lnTo>
                      <a:pt x="56" y="94"/>
                    </a:lnTo>
                    <a:lnTo>
                      <a:pt x="64" y="80"/>
                    </a:lnTo>
                    <a:lnTo>
                      <a:pt x="64" y="78"/>
                    </a:lnTo>
                    <a:lnTo>
                      <a:pt x="62" y="42"/>
                    </a:lnTo>
                    <a:lnTo>
                      <a:pt x="62" y="40"/>
                    </a:lnTo>
                    <a:lnTo>
                      <a:pt x="60" y="36"/>
                    </a:lnTo>
                    <a:lnTo>
                      <a:pt x="58" y="32"/>
                    </a:lnTo>
                    <a:lnTo>
                      <a:pt x="60" y="20"/>
                    </a:lnTo>
                  </a:path>
                </a:pathLst>
              </a:custGeom>
              <a:grpFill/>
              <a:ln w="3175">
                <a:solidFill>
                  <a:schemeClr val="bg2"/>
                </a:solidFill>
                <a:prstDash val="solid"/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026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63" name="Freeform 411">
              <a:extLst>
                <a:ext uri="{FF2B5EF4-FFF2-40B4-BE49-F238E27FC236}">
                  <a16:creationId xmlns:a16="http://schemas.microsoft.com/office/drawing/2014/main" id="{2FFBD38B-AC09-407D-92B2-B7B2652A736C}"/>
                </a:ext>
              </a:extLst>
            </p:cNvPr>
            <p:cNvSpPr/>
            <p:nvPr/>
          </p:nvSpPr>
          <p:spPr bwMode="auto">
            <a:xfrm>
              <a:off x="8423202" y="4114339"/>
              <a:ext cx="635973" cy="662954"/>
            </a:xfrm>
            <a:custGeom>
              <a:avLst/>
              <a:gdLst>
                <a:gd name="connsiteX0" fmla="*/ 14296 w 3931228"/>
                <a:gd name="connsiteY0" fmla="*/ 4074184 h 4098010"/>
                <a:gd name="connsiteX1" fmla="*/ 38120 w 3931228"/>
                <a:gd name="connsiteY1" fmla="*/ 4083714 h 4098010"/>
                <a:gd name="connsiteX2" fmla="*/ 38120 w 3931228"/>
                <a:gd name="connsiteY2" fmla="*/ 4088480 h 4098010"/>
                <a:gd name="connsiteX3" fmla="*/ 33356 w 3931228"/>
                <a:gd name="connsiteY3" fmla="*/ 4093244 h 4098010"/>
                <a:gd name="connsiteX4" fmla="*/ 23824 w 3931228"/>
                <a:gd name="connsiteY4" fmla="*/ 4098010 h 4098010"/>
                <a:gd name="connsiteX5" fmla="*/ 9528 w 3931228"/>
                <a:gd name="connsiteY5" fmla="*/ 4093244 h 4098010"/>
                <a:gd name="connsiteX6" fmla="*/ 0 w 3931228"/>
                <a:gd name="connsiteY6" fmla="*/ 4093244 h 4098010"/>
                <a:gd name="connsiteX7" fmla="*/ 0 w 3931228"/>
                <a:gd name="connsiteY7" fmla="*/ 4088480 h 4098010"/>
                <a:gd name="connsiteX8" fmla="*/ 9528 w 3931228"/>
                <a:gd name="connsiteY8" fmla="*/ 4083714 h 4098010"/>
                <a:gd name="connsiteX9" fmla="*/ 95300 w 3931228"/>
                <a:gd name="connsiteY9" fmla="*/ 4040828 h 4098010"/>
                <a:gd name="connsiteX10" fmla="*/ 100068 w 3931228"/>
                <a:gd name="connsiteY10" fmla="*/ 4045594 h 4098010"/>
                <a:gd name="connsiteX11" fmla="*/ 95300 w 3931228"/>
                <a:gd name="connsiteY11" fmla="*/ 4055124 h 4098010"/>
                <a:gd name="connsiteX12" fmla="*/ 85772 w 3931228"/>
                <a:gd name="connsiteY12" fmla="*/ 4083714 h 4098010"/>
                <a:gd name="connsiteX13" fmla="*/ 81008 w 3931228"/>
                <a:gd name="connsiteY13" fmla="*/ 4083714 h 4098010"/>
                <a:gd name="connsiteX14" fmla="*/ 71476 w 3931228"/>
                <a:gd name="connsiteY14" fmla="*/ 4083714 h 4098010"/>
                <a:gd name="connsiteX15" fmla="*/ 61948 w 3931228"/>
                <a:gd name="connsiteY15" fmla="*/ 4069418 h 4098010"/>
                <a:gd name="connsiteX16" fmla="*/ 71476 w 3931228"/>
                <a:gd name="connsiteY16" fmla="*/ 4064654 h 4098010"/>
                <a:gd name="connsiteX17" fmla="*/ 76240 w 3931228"/>
                <a:gd name="connsiteY17" fmla="*/ 4064654 h 4098010"/>
                <a:gd name="connsiteX18" fmla="*/ 85772 w 3931228"/>
                <a:gd name="connsiteY18" fmla="*/ 4064654 h 4098010"/>
                <a:gd name="connsiteX19" fmla="*/ 252552 w 3931228"/>
                <a:gd name="connsiteY19" fmla="*/ 3993176 h 4098010"/>
                <a:gd name="connsiteX20" fmla="*/ 257316 w 3931228"/>
                <a:gd name="connsiteY20" fmla="*/ 3997942 h 4098010"/>
                <a:gd name="connsiteX21" fmla="*/ 257316 w 3931228"/>
                <a:gd name="connsiteY21" fmla="*/ 4007472 h 4098010"/>
                <a:gd name="connsiteX22" fmla="*/ 271612 w 3931228"/>
                <a:gd name="connsiteY22" fmla="*/ 4007472 h 4098010"/>
                <a:gd name="connsiteX23" fmla="*/ 276376 w 3931228"/>
                <a:gd name="connsiteY23" fmla="*/ 4017002 h 4098010"/>
                <a:gd name="connsiteX24" fmla="*/ 262080 w 3931228"/>
                <a:gd name="connsiteY24" fmla="*/ 4021768 h 4098010"/>
                <a:gd name="connsiteX25" fmla="*/ 247788 w 3931228"/>
                <a:gd name="connsiteY25" fmla="*/ 4017002 h 4098010"/>
                <a:gd name="connsiteX26" fmla="*/ 714768 w 3931228"/>
                <a:gd name="connsiteY26" fmla="*/ 3645322 h 4098010"/>
                <a:gd name="connsiteX27" fmla="*/ 729064 w 3931228"/>
                <a:gd name="connsiteY27" fmla="*/ 3654852 h 4098010"/>
                <a:gd name="connsiteX28" fmla="*/ 724300 w 3931228"/>
                <a:gd name="connsiteY28" fmla="*/ 3673912 h 4098010"/>
                <a:gd name="connsiteX29" fmla="*/ 714768 w 3931228"/>
                <a:gd name="connsiteY29" fmla="*/ 3683444 h 4098010"/>
                <a:gd name="connsiteX30" fmla="*/ 700472 w 3931228"/>
                <a:gd name="connsiteY30" fmla="*/ 3692974 h 4098010"/>
                <a:gd name="connsiteX31" fmla="*/ 695708 w 3931228"/>
                <a:gd name="connsiteY31" fmla="*/ 3702504 h 4098010"/>
                <a:gd name="connsiteX32" fmla="*/ 681412 w 3931228"/>
                <a:gd name="connsiteY32" fmla="*/ 3707268 h 4098010"/>
                <a:gd name="connsiteX33" fmla="*/ 667116 w 3931228"/>
                <a:gd name="connsiteY33" fmla="*/ 3716800 h 4098010"/>
                <a:gd name="connsiteX34" fmla="*/ 652820 w 3931228"/>
                <a:gd name="connsiteY34" fmla="*/ 3721564 h 4098010"/>
                <a:gd name="connsiteX35" fmla="*/ 652820 w 3931228"/>
                <a:gd name="connsiteY35" fmla="*/ 3731094 h 4098010"/>
                <a:gd name="connsiteX36" fmla="*/ 662352 w 3931228"/>
                <a:gd name="connsiteY36" fmla="*/ 3740624 h 4098010"/>
                <a:gd name="connsiteX37" fmla="*/ 652820 w 3931228"/>
                <a:gd name="connsiteY37" fmla="*/ 3745390 h 4098010"/>
                <a:gd name="connsiteX38" fmla="*/ 643292 w 3931228"/>
                <a:gd name="connsiteY38" fmla="*/ 3754920 h 4098010"/>
                <a:gd name="connsiteX39" fmla="*/ 643292 w 3931228"/>
                <a:gd name="connsiteY39" fmla="*/ 3764450 h 4098010"/>
                <a:gd name="connsiteX40" fmla="*/ 643292 w 3931228"/>
                <a:gd name="connsiteY40" fmla="*/ 3769216 h 4098010"/>
                <a:gd name="connsiteX41" fmla="*/ 643292 w 3931228"/>
                <a:gd name="connsiteY41" fmla="*/ 3773980 h 4098010"/>
                <a:gd name="connsiteX42" fmla="*/ 633760 w 3931228"/>
                <a:gd name="connsiteY42" fmla="*/ 3783512 h 4098010"/>
                <a:gd name="connsiteX43" fmla="*/ 619468 w 3931228"/>
                <a:gd name="connsiteY43" fmla="*/ 3783512 h 4098010"/>
                <a:gd name="connsiteX44" fmla="*/ 619468 w 3931228"/>
                <a:gd name="connsiteY44" fmla="*/ 3773980 h 4098010"/>
                <a:gd name="connsiteX45" fmla="*/ 619468 w 3931228"/>
                <a:gd name="connsiteY45" fmla="*/ 3764450 h 4098010"/>
                <a:gd name="connsiteX46" fmla="*/ 633760 w 3931228"/>
                <a:gd name="connsiteY46" fmla="*/ 3745390 h 4098010"/>
                <a:gd name="connsiteX47" fmla="*/ 633760 w 3931228"/>
                <a:gd name="connsiteY47" fmla="*/ 3721564 h 4098010"/>
                <a:gd name="connsiteX48" fmla="*/ 643292 w 3931228"/>
                <a:gd name="connsiteY48" fmla="*/ 3721564 h 4098010"/>
                <a:gd name="connsiteX49" fmla="*/ 648056 w 3931228"/>
                <a:gd name="connsiteY49" fmla="*/ 3716800 h 4098010"/>
                <a:gd name="connsiteX50" fmla="*/ 662352 w 3931228"/>
                <a:gd name="connsiteY50" fmla="*/ 3702504 h 4098010"/>
                <a:gd name="connsiteX51" fmla="*/ 667116 w 3931228"/>
                <a:gd name="connsiteY51" fmla="*/ 3692974 h 4098010"/>
                <a:gd name="connsiteX52" fmla="*/ 657588 w 3931228"/>
                <a:gd name="connsiteY52" fmla="*/ 3688208 h 4098010"/>
                <a:gd name="connsiteX53" fmla="*/ 657588 w 3931228"/>
                <a:gd name="connsiteY53" fmla="*/ 3678678 h 4098010"/>
                <a:gd name="connsiteX54" fmla="*/ 662352 w 3931228"/>
                <a:gd name="connsiteY54" fmla="*/ 3678678 h 4098010"/>
                <a:gd name="connsiteX55" fmla="*/ 676648 w 3931228"/>
                <a:gd name="connsiteY55" fmla="*/ 3678678 h 4098010"/>
                <a:gd name="connsiteX56" fmla="*/ 681412 w 3931228"/>
                <a:gd name="connsiteY56" fmla="*/ 3688208 h 4098010"/>
                <a:gd name="connsiteX57" fmla="*/ 690944 w 3931228"/>
                <a:gd name="connsiteY57" fmla="*/ 3683444 h 4098010"/>
                <a:gd name="connsiteX58" fmla="*/ 695708 w 3931228"/>
                <a:gd name="connsiteY58" fmla="*/ 3673912 h 4098010"/>
                <a:gd name="connsiteX59" fmla="*/ 710004 w 3931228"/>
                <a:gd name="connsiteY59" fmla="*/ 3659618 h 4098010"/>
                <a:gd name="connsiteX60" fmla="*/ 814836 w 3931228"/>
                <a:gd name="connsiteY60" fmla="*/ 3464248 h 4098010"/>
                <a:gd name="connsiteX61" fmla="*/ 824368 w 3931228"/>
                <a:gd name="connsiteY61" fmla="*/ 3464248 h 4098010"/>
                <a:gd name="connsiteX62" fmla="*/ 829132 w 3931228"/>
                <a:gd name="connsiteY62" fmla="*/ 3483308 h 4098010"/>
                <a:gd name="connsiteX63" fmla="*/ 833896 w 3931228"/>
                <a:gd name="connsiteY63" fmla="*/ 3488072 h 4098010"/>
                <a:gd name="connsiteX64" fmla="*/ 829132 w 3931228"/>
                <a:gd name="connsiteY64" fmla="*/ 3497602 h 4098010"/>
                <a:gd name="connsiteX65" fmla="*/ 824368 w 3931228"/>
                <a:gd name="connsiteY65" fmla="*/ 3502368 h 4098010"/>
                <a:gd name="connsiteX66" fmla="*/ 814836 w 3931228"/>
                <a:gd name="connsiteY66" fmla="*/ 3497602 h 4098010"/>
                <a:gd name="connsiteX67" fmla="*/ 814836 w 3931228"/>
                <a:gd name="connsiteY67" fmla="*/ 3473778 h 4098010"/>
                <a:gd name="connsiteX68" fmla="*/ 862488 w 3931228"/>
                <a:gd name="connsiteY68" fmla="*/ 3411832 h 4098010"/>
                <a:gd name="connsiteX69" fmla="*/ 872016 w 3931228"/>
                <a:gd name="connsiteY69" fmla="*/ 3416596 h 4098010"/>
                <a:gd name="connsiteX70" fmla="*/ 876784 w 3931228"/>
                <a:gd name="connsiteY70" fmla="*/ 3421362 h 4098010"/>
                <a:gd name="connsiteX71" fmla="*/ 881548 w 3931228"/>
                <a:gd name="connsiteY71" fmla="*/ 3430892 h 4098010"/>
                <a:gd name="connsiteX72" fmla="*/ 881548 w 3931228"/>
                <a:gd name="connsiteY72" fmla="*/ 3435656 h 4098010"/>
                <a:gd name="connsiteX73" fmla="*/ 867252 w 3931228"/>
                <a:gd name="connsiteY73" fmla="*/ 3430892 h 4098010"/>
                <a:gd name="connsiteX74" fmla="*/ 938728 w 3931228"/>
                <a:gd name="connsiteY74" fmla="*/ 3354648 h 4098010"/>
                <a:gd name="connsiteX75" fmla="*/ 943492 w 3931228"/>
                <a:gd name="connsiteY75" fmla="*/ 3364180 h 4098010"/>
                <a:gd name="connsiteX76" fmla="*/ 943492 w 3931228"/>
                <a:gd name="connsiteY76" fmla="*/ 3373710 h 4098010"/>
                <a:gd name="connsiteX77" fmla="*/ 933964 w 3931228"/>
                <a:gd name="connsiteY77" fmla="*/ 3373710 h 4098010"/>
                <a:gd name="connsiteX78" fmla="*/ 919668 w 3931228"/>
                <a:gd name="connsiteY78" fmla="*/ 3383240 h 4098010"/>
                <a:gd name="connsiteX79" fmla="*/ 910140 w 3931228"/>
                <a:gd name="connsiteY79" fmla="*/ 3392770 h 4098010"/>
                <a:gd name="connsiteX80" fmla="*/ 900608 w 3931228"/>
                <a:gd name="connsiteY80" fmla="*/ 3397536 h 4098010"/>
                <a:gd name="connsiteX81" fmla="*/ 900608 w 3931228"/>
                <a:gd name="connsiteY81" fmla="*/ 3402300 h 4098010"/>
                <a:gd name="connsiteX82" fmla="*/ 900608 w 3931228"/>
                <a:gd name="connsiteY82" fmla="*/ 3411830 h 4098010"/>
                <a:gd name="connsiteX83" fmla="*/ 891076 w 3931228"/>
                <a:gd name="connsiteY83" fmla="*/ 3426126 h 4098010"/>
                <a:gd name="connsiteX84" fmla="*/ 872016 w 3931228"/>
                <a:gd name="connsiteY84" fmla="*/ 3411830 h 4098010"/>
                <a:gd name="connsiteX85" fmla="*/ 857724 w 3931228"/>
                <a:gd name="connsiteY85" fmla="*/ 3402300 h 4098010"/>
                <a:gd name="connsiteX86" fmla="*/ 867252 w 3931228"/>
                <a:gd name="connsiteY86" fmla="*/ 3402300 h 4098010"/>
                <a:gd name="connsiteX87" fmla="*/ 872016 w 3931228"/>
                <a:gd name="connsiteY87" fmla="*/ 3397536 h 4098010"/>
                <a:gd name="connsiteX88" fmla="*/ 872016 w 3931228"/>
                <a:gd name="connsiteY88" fmla="*/ 3392770 h 4098010"/>
                <a:gd name="connsiteX89" fmla="*/ 881548 w 3931228"/>
                <a:gd name="connsiteY89" fmla="*/ 3383240 h 4098010"/>
                <a:gd name="connsiteX90" fmla="*/ 905372 w 3931228"/>
                <a:gd name="connsiteY90" fmla="*/ 3378474 h 4098010"/>
                <a:gd name="connsiteX91" fmla="*/ 910140 w 3931228"/>
                <a:gd name="connsiteY91" fmla="*/ 3378474 h 4098010"/>
                <a:gd name="connsiteX92" fmla="*/ 919668 w 3931228"/>
                <a:gd name="connsiteY92" fmla="*/ 3373710 h 4098010"/>
                <a:gd name="connsiteX93" fmla="*/ 919668 w 3931228"/>
                <a:gd name="connsiteY93" fmla="*/ 3364180 h 4098010"/>
                <a:gd name="connsiteX94" fmla="*/ 924432 w 3931228"/>
                <a:gd name="connsiteY94" fmla="*/ 3364180 h 4098010"/>
                <a:gd name="connsiteX95" fmla="*/ 1067388 w 3931228"/>
                <a:gd name="connsiteY95" fmla="*/ 3006796 h 4098010"/>
                <a:gd name="connsiteX96" fmla="*/ 1086448 w 3931228"/>
                <a:gd name="connsiteY96" fmla="*/ 3021090 h 4098010"/>
                <a:gd name="connsiteX97" fmla="*/ 1091212 w 3931228"/>
                <a:gd name="connsiteY97" fmla="*/ 3025856 h 4098010"/>
                <a:gd name="connsiteX98" fmla="*/ 1086448 w 3931228"/>
                <a:gd name="connsiteY98" fmla="*/ 3044916 h 4098010"/>
                <a:gd name="connsiteX99" fmla="*/ 1067388 w 3931228"/>
                <a:gd name="connsiteY99" fmla="*/ 3044916 h 4098010"/>
                <a:gd name="connsiteX100" fmla="*/ 1057856 w 3931228"/>
                <a:gd name="connsiteY100" fmla="*/ 3044916 h 4098010"/>
                <a:gd name="connsiteX101" fmla="*/ 1048328 w 3931228"/>
                <a:gd name="connsiteY101" fmla="*/ 3021090 h 4098010"/>
                <a:gd name="connsiteX102" fmla="*/ 1153160 w 3931228"/>
                <a:gd name="connsiteY102" fmla="*/ 2940084 h 4098010"/>
                <a:gd name="connsiteX103" fmla="*/ 1157924 w 3931228"/>
                <a:gd name="connsiteY103" fmla="*/ 2949614 h 4098010"/>
                <a:gd name="connsiteX104" fmla="*/ 1153160 w 3931228"/>
                <a:gd name="connsiteY104" fmla="*/ 2973438 h 4098010"/>
                <a:gd name="connsiteX105" fmla="*/ 1143628 w 3931228"/>
                <a:gd name="connsiteY105" fmla="*/ 2992500 h 4098010"/>
                <a:gd name="connsiteX106" fmla="*/ 1138864 w 3931228"/>
                <a:gd name="connsiteY106" fmla="*/ 3021090 h 4098010"/>
                <a:gd name="connsiteX107" fmla="*/ 1124568 w 3931228"/>
                <a:gd name="connsiteY107" fmla="*/ 3021090 h 4098010"/>
                <a:gd name="connsiteX108" fmla="*/ 1124568 w 3931228"/>
                <a:gd name="connsiteY108" fmla="*/ 3011560 h 4098010"/>
                <a:gd name="connsiteX109" fmla="*/ 1134100 w 3931228"/>
                <a:gd name="connsiteY109" fmla="*/ 2987734 h 4098010"/>
                <a:gd name="connsiteX110" fmla="*/ 1134100 w 3931228"/>
                <a:gd name="connsiteY110" fmla="*/ 2968674 h 4098010"/>
                <a:gd name="connsiteX111" fmla="*/ 1143628 w 3931228"/>
                <a:gd name="connsiteY111" fmla="*/ 2949614 h 4098010"/>
                <a:gd name="connsiteX112" fmla="*/ 1148396 w 3931228"/>
                <a:gd name="connsiteY112" fmla="*/ 2944848 h 4098010"/>
                <a:gd name="connsiteX113" fmla="*/ 953024 w 3931228"/>
                <a:gd name="connsiteY113" fmla="*/ 2763774 h 4098010"/>
                <a:gd name="connsiteX114" fmla="*/ 953024 w 3931228"/>
                <a:gd name="connsiteY114" fmla="*/ 2773304 h 4098010"/>
                <a:gd name="connsiteX115" fmla="*/ 943492 w 3931228"/>
                <a:gd name="connsiteY115" fmla="*/ 2787600 h 4098010"/>
                <a:gd name="connsiteX116" fmla="*/ 938728 w 3931228"/>
                <a:gd name="connsiteY116" fmla="*/ 2792364 h 4098010"/>
                <a:gd name="connsiteX117" fmla="*/ 943492 w 3931228"/>
                <a:gd name="connsiteY117" fmla="*/ 2778070 h 4098010"/>
                <a:gd name="connsiteX118" fmla="*/ 1043564 w 3931228"/>
                <a:gd name="connsiteY118" fmla="*/ 2630350 h 4098010"/>
                <a:gd name="connsiteX119" fmla="*/ 1057860 w 3931228"/>
                <a:gd name="connsiteY119" fmla="*/ 2630350 h 4098010"/>
                <a:gd name="connsiteX120" fmla="*/ 1053092 w 3931228"/>
                <a:gd name="connsiteY120" fmla="*/ 2639880 h 4098010"/>
                <a:gd name="connsiteX121" fmla="*/ 1048328 w 3931228"/>
                <a:gd name="connsiteY121" fmla="*/ 2649412 h 4098010"/>
                <a:gd name="connsiteX122" fmla="*/ 1034032 w 3931228"/>
                <a:gd name="connsiteY122" fmla="*/ 2649412 h 4098010"/>
                <a:gd name="connsiteX123" fmla="*/ 1029268 w 3931228"/>
                <a:gd name="connsiteY123" fmla="*/ 2644646 h 4098010"/>
                <a:gd name="connsiteX124" fmla="*/ 1024500 w 3931228"/>
                <a:gd name="connsiteY124" fmla="*/ 2639880 h 4098010"/>
                <a:gd name="connsiteX125" fmla="*/ 1014972 w 3931228"/>
                <a:gd name="connsiteY125" fmla="*/ 2625584 h 4098010"/>
                <a:gd name="connsiteX126" fmla="*/ 1019736 w 3931228"/>
                <a:gd name="connsiteY126" fmla="*/ 2635116 h 4098010"/>
                <a:gd name="connsiteX127" fmla="*/ 1019736 w 3931228"/>
                <a:gd name="connsiteY127" fmla="*/ 2663706 h 4098010"/>
                <a:gd name="connsiteX128" fmla="*/ 1000676 w 3931228"/>
                <a:gd name="connsiteY128" fmla="*/ 2682766 h 4098010"/>
                <a:gd name="connsiteX129" fmla="*/ 986380 w 3931228"/>
                <a:gd name="connsiteY129" fmla="*/ 2692296 h 4098010"/>
                <a:gd name="connsiteX130" fmla="*/ 986380 w 3931228"/>
                <a:gd name="connsiteY130" fmla="*/ 2682766 h 4098010"/>
                <a:gd name="connsiteX131" fmla="*/ 981616 w 3931228"/>
                <a:gd name="connsiteY131" fmla="*/ 2682766 h 4098010"/>
                <a:gd name="connsiteX132" fmla="*/ 991144 w 3931228"/>
                <a:gd name="connsiteY132" fmla="*/ 2673236 h 4098010"/>
                <a:gd name="connsiteX133" fmla="*/ 991144 w 3931228"/>
                <a:gd name="connsiteY133" fmla="*/ 2668472 h 4098010"/>
                <a:gd name="connsiteX134" fmla="*/ 986380 w 3931228"/>
                <a:gd name="connsiteY134" fmla="*/ 2663706 h 4098010"/>
                <a:gd name="connsiteX135" fmla="*/ 991144 w 3931228"/>
                <a:gd name="connsiteY135" fmla="*/ 2639880 h 4098010"/>
                <a:gd name="connsiteX136" fmla="*/ 991144 w 3931228"/>
                <a:gd name="connsiteY136" fmla="*/ 2630350 h 4098010"/>
                <a:gd name="connsiteX137" fmla="*/ 776716 w 3931228"/>
                <a:gd name="connsiteY137" fmla="*/ 2582700 h 4098010"/>
                <a:gd name="connsiteX138" fmla="*/ 786244 w 3931228"/>
                <a:gd name="connsiteY138" fmla="*/ 2587464 h 4098010"/>
                <a:gd name="connsiteX139" fmla="*/ 795776 w 3931228"/>
                <a:gd name="connsiteY139" fmla="*/ 2582700 h 4098010"/>
                <a:gd name="connsiteX140" fmla="*/ 800540 w 3931228"/>
                <a:gd name="connsiteY140" fmla="*/ 2582700 h 4098010"/>
                <a:gd name="connsiteX141" fmla="*/ 805304 w 3931228"/>
                <a:gd name="connsiteY141" fmla="*/ 2587464 h 4098010"/>
                <a:gd name="connsiteX142" fmla="*/ 814836 w 3931228"/>
                <a:gd name="connsiteY142" fmla="*/ 2596994 h 4098010"/>
                <a:gd name="connsiteX143" fmla="*/ 814836 w 3931228"/>
                <a:gd name="connsiteY143" fmla="*/ 2606524 h 4098010"/>
                <a:gd name="connsiteX144" fmla="*/ 805304 w 3931228"/>
                <a:gd name="connsiteY144" fmla="*/ 2606524 h 4098010"/>
                <a:gd name="connsiteX145" fmla="*/ 800540 w 3931228"/>
                <a:gd name="connsiteY145" fmla="*/ 2606524 h 4098010"/>
                <a:gd name="connsiteX146" fmla="*/ 791012 w 3931228"/>
                <a:gd name="connsiteY146" fmla="*/ 2616056 h 4098010"/>
                <a:gd name="connsiteX147" fmla="*/ 781480 w 3931228"/>
                <a:gd name="connsiteY147" fmla="*/ 2616056 h 4098010"/>
                <a:gd name="connsiteX148" fmla="*/ 776716 w 3931228"/>
                <a:gd name="connsiteY148" fmla="*/ 2611290 h 4098010"/>
                <a:gd name="connsiteX149" fmla="*/ 776716 w 3931228"/>
                <a:gd name="connsiteY149" fmla="*/ 2601760 h 4098010"/>
                <a:gd name="connsiteX150" fmla="*/ 2515988 w 3931228"/>
                <a:gd name="connsiteY150" fmla="*/ 2515988 h 4098010"/>
                <a:gd name="connsiteX151" fmla="*/ 2520752 w 3931228"/>
                <a:gd name="connsiteY151" fmla="*/ 2515988 h 4098010"/>
                <a:gd name="connsiteX152" fmla="*/ 2530284 w 3931228"/>
                <a:gd name="connsiteY152" fmla="*/ 2525518 h 4098010"/>
                <a:gd name="connsiteX153" fmla="*/ 2525516 w 3931228"/>
                <a:gd name="connsiteY153" fmla="*/ 2530282 h 4098010"/>
                <a:gd name="connsiteX154" fmla="*/ 2520752 w 3931228"/>
                <a:gd name="connsiteY154" fmla="*/ 2535048 h 4098010"/>
                <a:gd name="connsiteX155" fmla="*/ 2515988 w 3931228"/>
                <a:gd name="connsiteY155" fmla="*/ 2525518 h 4098010"/>
                <a:gd name="connsiteX156" fmla="*/ 2511220 w 3931228"/>
                <a:gd name="connsiteY156" fmla="*/ 2520752 h 4098010"/>
                <a:gd name="connsiteX157" fmla="*/ 848192 w 3931228"/>
                <a:gd name="connsiteY157" fmla="*/ 2515988 h 4098010"/>
                <a:gd name="connsiteX158" fmla="*/ 852956 w 3931228"/>
                <a:gd name="connsiteY158" fmla="*/ 2530282 h 4098010"/>
                <a:gd name="connsiteX159" fmla="*/ 852956 w 3931228"/>
                <a:gd name="connsiteY159" fmla="*/ 2539812 h 4098010"/>
                <a:gd name="connsiteX160" fmla="*/ 857724 w 3931228"/>
                <a:gd name="connsiteY160" fmla="*/ 2539812 h 4098010"/>
                <a:gd name="connsiteX161" fmla="*/ 852956 w 3931228"/>
                <a:gd name="connsiteY161" fmla="*/ 2549344 h 4098010"/>
                <a:gd name="connsiteX162" fmla="*/ 848192 w 3931228"/>
                <a:gd name="connsiteY162" fmla="*/ 2554108 h 4098010"/>
                <a:gd name="connsiteX163" fmla="*/ 843428 w 3931228"/>
                <a:gd name="connsiteY163" fmla="*/ 2573168 h 4098010"/>
                <a:gd name="connsiteX164" fmla="*/ 838660 w 3931228"/>
                <a:gd name="connsiteY164" fmla="*/ 2573168 h 4098010"/>
                <a:gd name="connsiteX165" fmla="*/ 833896 w 3931228"/>
                <a:gd name="connsiteY165" fmla="*/ 2554108 h 4098010"/>
                <a:gd name="connsiteX166" fmla="*/ 829132 w 3931228"/>
                <a:gd name="connsiteY166" fmla="*/ 2549344 h 4098010"/>
                <a:gd name="connsiteX167" fmla="*/ 838660 w 3931228"/>
                <a:gd name="connsiteY167" fmla="*/ 2549344 h 4098010"/>
                <a:gd name="connsiteX168" fmla="*/ 914904 w 3931228"/>
                <a:gd name="connsiteY168" fmla="*/ 2473100 h 4098010"/>
                <a:gd name="connsiteX169" fmla="*/ 919668 w 3931228"/>
                <a:gd name="connsiteY169" fmla="*/ 2473100 h 4098010"/>
                <a:gd name="connsiteX170" fmla="*/ 910140 w 3931228"/>
                <a:gd name="connsiteY170" fmla="*/ 2487396 h 4098010"/>
                <a:gd name="connsiteX171" fmla="*/ 910140 w 3931228"/>
                <a:gd name="connsiteY171" fmla="*/ 2501692 h 4098010"/>
                <a:gd name="connsiteX172" fmla="*/ 895844 w 3931228"/>
                <a:gd name="connsiteY172" fmla="*/ 2506456 h 4098010"/>
                <a:gd name="connsiteX173" fmla="*/ 891076 w 3931228"/>
                <a:gd name="connsiteY173" fmla="*/ 2506456 h 4098010"/>
                <a:gd name="connsiteX174" fmla="*/ 895844 w 3931228"/>
                <a:gd name="connsiteY174" fmla="*/ 2496926 h 4098010"/>
                <a:gd name="connsiteX175" fmla="*/ 895844 w 3931228"/>
                <a:gd name="connsiteY175" fmla="*/ 2492162 h 4098010"/>
                <a:gd name="connsiteX176" fmla="*/ 905372 w 3931228"/>
                <a:gd name="connsiteY176" fmla="*/ 2477866 h 4098010"/>
                <a:gd name="connsiteX177" fmla="*/ 943496 w 3931228"/>
                <a:gd name="connsiteY177" fmla="*/ 2382564 h 4098010"/>
                <a:gd name="connsiteX178" fmla="*/ 953024 w 3931228"/>
                <a:gd name="connsiteY178" fmla="*/ 2387330 h 4098010"/>
                <a:gd name="connsiteX179" fmla="*/ 957788 w 3931228"/>
                <a:gd name="connsiteY179" fmla="*/ 2401624 h 4098010"/>
                <a:gd name="connsiteX180" fmla="*/ 943496 w 3931228"/>
                <a:gd name="connsiteY180" fmla="*/ 2406390 h 4098010"/>
                <a:gd name="connsiteX181" fmla="*/ 938728 w 3931228"/>
                <a:gd name="connsiteY181" fmla="*/ 2401624 h 4098010"/>
                <a:gd name="connsiteX182" fmla="*/ 938728 w 3931228"/>
                <a:gd name="connsiteY182" fmla="*/ 2387330 h 4098010"/>
                <a:gd name="connsiteX183" fmla="*/ 1091212 w 3931228"/>
                <a:gd name="connsiteY183" fmla="*/ 2368268 h 4098010"/>
                <a:gd name="connsiteX184" fmla="*/ 1100744 w 3931228"/>
                <a:gd name="connsiteY184" fmla="*/ 2368268 h 4098010"/>
                <a:gd name="connsiteX185" fmla="*/ 1119804 w 3931228"/>
                <a:gd name="connsiteY185" fmla="*/ 2368268 h 4098010"/>
                <a:gd name="connsiteX186" fmla="*/ 1134100 w 3931228"/>
                <a:gd name="connsiteY186" fmla="*/ 2377798 h 4098010"/>
                <a:gd name="connsiteX187" fmla="*/ 1143628 w 3931228"/>
                <a:gd name="connsiteY187" fmla="*/ 2396858 h 4098010"/>
                <a:gd name="connsiteX188" fmla="*/ 1153160 w 3931228"/>
                <a:gd name="connsiteY188" fmla="*/ 2415920 h 4098010"/>
                <a:gd name="connsiteX189" fmla="*/ 1172220 w 3931228"/>
                <a:gd name="connsiteY189" fmla="*/ 2430214 h 4098010"/>
                <a:gd name="connsiteX190" fmla="*/ 1191280 w 3931228"/>
                <a:gd name="connsiteY190" fmla="*/ 2434980 h 4098010"/>
                <a:gd name="connsiteX191" fmla="*/ 1200812 w 3931228"/>
                <a:gd name="connsiteY191" fmla="*/ 2434980 h 4098010"/>
                <a:gd name="connsiteX192" fmla="*/ 1210340 w 3931228"/>
                <a:gd name="connsiteY192" fmla="*/ 2430214 h 4098010"/>
                <a:gd name="connsiteX193" fmla="*/ 1219872 w 3931228"/>
                <a:gd name="connsiteY193" fmla="*/ 2425450 h 4098010"/>
                <a:gd name="connsiteX194" fmla="*/ 1234168 w 3931228"/>
                <a:gd name="connsiteY194" fmla="*/ 2420684 h 4098010"/>
                <a:gd name="connsiteX195" fmla="*/ 1243696 w 3931228"/>
                <a:gd name="connsiteY195" fmla="*/ 2420684 h 4098010"/>
                <a:gd name="connsiteX196" fmla="*/ 1253228 w 3931228"/>
                <a:gd name="connsiteY196" fmla="*/ 2430214 h 4098010"/>
                <a:gd name="connsiteX197" fmla="*/ 1257992 w 3931228"/>
                <a:gd name="connsiteY197" fmla="*/ 2439744 h 4098010"/>
                <a:gd name="connsiteX198" fmla="*/ 1253228 w 3931228"/>
                <a:gd name="connsiteY198" fmla="*/ 2449276 h 4098010"/>
                <a:gd name="connsiteX199" fmla="*/ 1238932 w 3931228"/>
                <a:gd name="connsiteY199" fmla="*/ 2468336 h 4098010"/>
                <a:gd name="connsiteX200" fmla="*/ 1229404 w 3931228"/>
                <a:gd name="connsiteY200" fmla="*/ 2492162 h 4098010"/>
                <a:gd name="connsiteX201" fmla="*/ 1257992 w 3931228"/>
                <a:gd name="connsiteY201" fmla="*/ 2492162 h 4098010"/>
                <a:gd name="connsiteX202" fmla="*/ 1281820 w 3931228"/>
                <a:gd name="connsiteY202" fmla="*/ 2492162 h 4098010"/>
                <a:gd name="connsiteX203" fmla="*/ 1277052 w 3931228"/>
                <a:gd name="connsiteY203" fmla="*/ 2506456 h 4098010"/>
                <a:gd name="connsiteX204" fmla="*/ 1277052 w 3931228"/>
                <a:gd name="connsiteY204" fmla="*/ 2520752 h 4098010"/>
                <a:gd name="connsiteX205" fmla="*/ 1286584 w 3931228"/>
                <a:gd name="connsiteY205" fmla="*/ 2525518 h 4098010"/>
                <a:gd name="connsiteX206" fmla="*/ 1291348 w 3931228"/>
                <a:gd name="connsiteY206" fmla="*/ 2530282 h 4098010"/>
                <a:gd name="connsiteX207" fmla="*/ 1291348 w 3931228"/>
                <a:gd name="connsiteY207" fmla="*/ 2539812 h 4098010"/>
                <a:gd name="connsiteX208" fmla="*/ 1286584 w 3931228"/>
                <a:gd name="connsiteY208" fmla="*/ 2544578 h 4098010"/>
                <a:gd name="connsiteX209" fmla="*/ 1300880 w 3931228"/>
                <a:gd name="connsiteY209" fmla="*/ 2554108 h 4098010"/>
                <a:gd name="connsiteX210" fmla="*/ 1300880 w 3931228"/>
                <a:gd name="connsiteY210" fmla="*/ 2563638 h 4098010"/>
                <a:gd name="connsiteX211" fmla="*/ 1296112 w 3931228"/>
                <a:gd name="connsiteY211" fmla="*/ 2568404 h 4098010"/>
                <a:gd name="connsiteX212" fmla="*/ 1257992 w 3931228"/>
                <a:gd name="connsiteY212" fmla="*/ 2616054 h 4098010"/>
                <a:gd name="connsiteX213" fmla="*/ 1248464 w 3931228"/>
                <a:gd name="connsiteY213" fmla="*/ 2639880 h 4098010"/>
                <a:gd name="connsiteX214" fmla="*/ 1238932 w 3931228"/>
                <a:gd name="connsiteY214" fmla="*/ 2668470 h 4098010"/>
                <a:gd name="connsiteX215" fmla="*/ 1229404 w 3931228"/>
                <a:gd name="connsiteY215" fmla="*/ 2687532 h 4098010"/>
                <a:gd name="connsiteX216" fmla="*/ 1224636 w 3931228"/>
                <a:gd name="connsiteY216" fmla="*/ 2706592 h 4098010"/>
                <a:gd name="connsiteX217" fmla="*/ 1224636 w 3931228"/>
                <a:gd name="connsiteY217" fmla="*/ 2725652 h 4098010"/>
                <a:gd name="connsiteX218" fmla="*/ 1215108 w 3931228"/>
                <a:gd name="connsiteY218" fmla="*/ 2749478 h 4098010"/>
                <a:gd name="connsiteX219" fmla="*/ 1219872 w 3931228"/>
                <a:gd name="connsiteY219" fmla="*/ 2768538 h 4098010"/>
                <a:gd name="connsiteX220" fmla="*/ 1215108 w 3931228"/>
                <a:gd name="connsiteY220" fmla="*/ 2787598 h 4098010"/>
                <a:gd name="connsiteX221" fmla="*/ 1196048 w 3931228"/>
                <a:gd name="connsiteY221" fmla="*/ 2835250 h 4098010"/>
                <a:gd name="connsiteX222" fmla="*/ 1181752 w 3931228"/>
                <a:gd name="connsiteY222" fmla="*/ 2835250 h 4098010"/>
                <a:gd name="connsiteX223" fmla="*/ 1167456 w 3931228"/>
                <a:gd name="connsiteY223" fmla="*/ 2830486 h 4098010"/>
                <a:gd name="connsiteX224" fmla="*/ 1153160 w 3931228"/>
                <a:gd name="connsiteY224" fmla="*/ 2830486 h 4098010"/>
                <a:gd name="connsiteX225" fmla="*/ 1148396 w 3931228"/>
                <a:gd name="connsiteY225" fmla="*/ 2840016 h 4098010"/>
                <a:gd name="connsiteX226" fmla="*/ 1157924 w 3931228"/>
                <a:gd name="connsiteY226" fmla="*/ 2863840 h 4098010"/>
                <a:gd name="connsiteX227" fmla="*/ 1129336 w 3931228"/>
                <a:gd name="connsiteY227" fmla="*/ 2887666 h 4098010"/>
                <a:gd name="connsiteX228" fmla="*/ 1095980 w 3931228"/>
                <a:gd name="connsiteY228" fmla="*/ 2906728 h 4098010"/>
                <a:gd name="connsiteX229" fmla="*/ 1095980 w 3931228"/>
                <a:gd name="connsiteY229" fmla="*/ 2897196 h 4098010"/>
                <a:gd name="connsiteX230" fmla="*/ 1095980 w 3931228"/>
                <a:gd name="connsiteY230" fmla="*/ 2892432 h 4098010"/>
                <a:gd name="connsiteX231" fmla="*/ 1100744 w 3931228"/>
                <a:gd name="connsiteY231" fmla="*/ 2887666 h 4098010"/>
                <a:gd name="connsiteX232" fmla="*/ 1105508 w 3931228"/>
                <a:gd name="connsiteY232" fmla="*/ 2882902 h 4098010"/>
                <a:gd name="connsiteX233" fmla="*/ 1110272 w 3931228"/>
                <a:gd name="connsiteY233" fmla="*/ 2859076 h 4098010"/>
                <a:gd name="connsiteX234" fmla="*/ 1110272 w 3931228"/>
                <a:gd name="connsiteY234" fmla="*/ 2840016 h 4098010"/>
                <a:gd name="connsiteX235" fmla="*/ 1095980 w 3931228"/>
                <a:gd name="connsiteY235" fmla="*/ 2811424 h 4098010"/>
                <a:gd name="connsiteX236" fmla="*/ 1095980 w 3931228"/>
                <a:gd name="connsiteY236" fmla="*/ 2801894 h 4098010"/>
                <a:gd name="connsiteX237" fmla="*/ 1105508 w 3931228"/>
                <a:gd name="connsiteY237" fmla="*/ 2801894 h 4098010"/>
                <a:gd name="connsiteX238" fmla="*/ 1110272 w 3931228"/>
                <a:gd name="connsiteY238" fmla="*/ 2797130 h 4098010"/>
                <a:gd name="connsiteX239" fmla="*/ 1110272 w 3931228"/>
                <a:gd name="connsiteY239" fmla="*/ 2787598 h 4098010"/>
                <a:gd name="connsiteX240" fmla="*/ 1110272 w 3931228"/>
                <a:gd name="connsiteY240" fmla="*/ 2782834 h 4098010"/>
                <a:gd name="connsiteX241" fmla="*/ 1100744 w 3931228"/>
                <a:gd name="connsiteY241" fmla="*/ 2778068 h 4098010"/>
                <a:gd name="connsiteX242" fmla="*/ 1091212 w 3931228"/>
                <a:gd name="connsiteY242" fmla="*/ 2778068 h 4098010"/>
                <a:gd name="connsiteX243" fmla="*/ 1081684 w 3931228"/>
                <a:gd name="connsiteY243" fmla="*/ 2787598 h 4098010"/>
                <a:gd name="connsiteX244" fmla="*/ 1072152 w 3931228"/>
                <a:gd name="connsiteY244" fmla="*/ 2806660 h 4098010"/>
                <a:gd name="connsiteX245" fmla="*/ 1072152 w 3931228"/>
                <a:gd name="connsiteY245" fmla="*/ 2825720 h 4098010"/>
                <a:gd name="connsiteX246" fmla="*/ 1072152 w 3931228"/>
                <a:gd name="connsiteY246" fmla="*/ 2835250 h 4098010"/>
                <a:gd name="connsiteX247" fmla="*/ 1076920 w 3931228"/>
                <a:gd name="connsiteY247" fmla="*/ 2844780 h 4098010"/>
                <a:gd name="connsiteX248" fmla="*/ 1086448 w 3931228"/>
                <a:gd name="connsiteY248" fmla="*/ 2859076 h 4098010"/>
                <a:gd name="connsiteX249" fmla="*/ 1086448 w 3931228"/>
                <a:gd name="connsiteY249" fmla="*/ 2868606 h 4098010"/>
                <a:gd name="connsiteX250" fmla="*/ 1081684 w 3931228"/>
                <a:gd name="connsiteY250" fmla="*/ 2878136 h 4098010"/>
                <a:gd name="connsiteX251" fmla="*/ 1034032 w 3931228"/>
                <a:gd name="connsiteY251" fmla="*/ 2859076 h 4098010"/>
                <a:gd name="connsiteX252" fmla="*/ 1024500 w 3931228"/>
                <a:gd name="connsiteY252" fmla="*/ 2859076 h 4098010"/>
                <a:gd name="connsiteX253" fmla="*/ 1019736 w 3931228"/>
                <a:gd name="connsiteY253" fmla="*/ 2854310 h 4098010"/>
                <a:gd name="connsiteX254" fmla="*/ 1010208 w 3931228"/>
                <a:gd name="connsiteY254" fmla="*/ 2835250 h 4098010"/>
                <a:gd name="connsiteX255" fmla="*/ 1029268 w 3931228"/>
                <a:gd name="connsiteY255" fmla="*/ 2830486 h 4098010"/>
                <a:gd name="connsiteX256" fmla="*/ 1034032 w 3931228"/>
                <a:gd name="connsiteY256" fmla="*/ 2825720 h 4098010"/>
                <a:gd name="connsiteX257" fmla="*/ 1034032 w 3931228"/>
                <a:gd name="connsiteY257" fmla="*/ 2820954 h 4098010"/>
                <a:gd name="connsiteX258" fmla="*/ 1038796 w 3931228"/>
                <a:gd name="connsiteY258" fmla="*/ 2797130 h 4098010"/>
                <a:gd name="connsiteX259" fmla="*/ 1029268 w 3931228"/>
                <a:gd name="connsiteY259" fmla="*/ 2782834 h 4098010"/>
                <a:gd name="connsiteX260" fmla="*/ 1024500 w 3931228"/>
                <a:gd name="connsiteY260" fmla="*/ 2778068 h 4098010"/>
                <a:gd name="connsiteX261" fmla="*/ 1014972 w 3931228"/>
                <a:gd name="connsiteY261" fmla="*/ 2768538 h 4098010"/>
                <a:gd name="connsiteX262" fmla="*/ 1019736 w 3931228"/>
                <a:gd name="connsiteY262" fmla="*/ 2754244 h 4098010"/>
                <a:gd name="connsiteX263" fmla="*/ 1019736 w 3931228"/>
                <a:gd name="connsiteY263" fmla="*/ 2735182 h 4098010"/>
                <a:gd name="connsiteX264" fmla="*/ 1019736 w 3931228"/>
                <a:gd name="connsiteY264" fmla="*/ 2711356 h 4098010"/>
                <a:gd name="connsiteX265" fmla="*/ 1019736 w 3931228"/>
                <a:gd name="connsiteY265" fmla="*/ 2706592 h 4098010"/>
                <a:gd name="connsiteX266" fmla="*/ 1038796 w 3931228"/>
                <a:gd name="connsiteY266" fmla="*/ 2701826 h 4098010"/>
                <a:gd name="connsiteX267" fmla="*/ 1048328 w 3931228"/>
                <a:gd name="connsiteY267" fmla="*/ 2687532 h 4098010"/>
                <a:gd name="connsiteX268" fmla="*/ 1057856 w 3931228"/>
                <a:gd name="connsiteY268" fmla="*/ 2668470 h 4098010"/>
                <a:gd name="connsiteX269" fmla="*/ 1076920 w 3931228"/>
                <a:gd name="connsiteY269" fmla="*/ 2639880 h 4098010"/>
                <a:gd name="connsiteX270" fmla="*/ 1086448 w 3931228"/>
                <a:gd name="connsiteY270" fmla="*/ 2611290 h 4098010"/>
                <a:gd name="connsiteX271" fmla="*/ 1076920 w 3931228"/>
                <a:gd name="connsiteY271" fmla="*/ 2611290 h 4098010"/>
                <a:gd name="connsiteX272" fmla="*/ 1067388 w 3931228"/>
                <a:gd name="connsiteY272" fmla="*/ 2606524 h 4098010"/>
                <a:gd name="connsiteX273" fmla="*/ 1076920 w 3931228"/>
                <a:gd name="connsiteY273" fmla="*/ 2592228 h 4098010"/>
                <a:gd name="connsiteX274" fmla="*/ 1072152 w 3931228"/>
                <a:gd name="connsiteY274" fmla="*/ 2573168 h 4098010"/>
                <a:gd name="connsiteX275" fmla="*/ 1057856 w 3931228"/>
                <a:gd name="connsiteY275" fmla="*/ 2549342 h 4098010"/>
                <a:gd name="connsiteX276" fmla="*/ 1048328 w 3931228"/>
                <a:gd name="connsiteY276" fmla="*/ 2525518 h 4098010"/>
                <a:gd name="connsiteX277" fmla="*/ 1034032 w 3931228"/>
                <a:gd name="connsiteY277" fmla="*/ 2511222 h 4098010"/>
                <a:gd name="connsiteX278" fmla="*/ 1024500 w 3931228"/>
                <a:gd name="connsiteY278" fmla="*/ 2506456 h 4098010"/>
                <a:gd name="connsiteX279" fmla="*/ 1014972 w 3931228"/>
                <a:gd name="connsiteY279" fmla="*/ 2515986 h 4098010"/>
                <a:gd name="connsiteX280" fmla="*/ 1005440 w 3931228"/>
                <a:gd name="connsiteY280" fmla="*/ 2520752 h 4098010"/>
                <a:gd name="connsiteX281" fmla="*/ 1014972 w 3931228"/>
                <a:gd name="connsiteY281" fmla="*/ 2539812 h 4098010"/>
                <a:gd name="connsiteX282" fmla="*/ 1014972 w 3931228"/>
                <a:gd name="connsiteY282" fmla="*/ 2554108 h 4098010"/>
                <a:gd name="connsiteX283" fmla="*/ 1014972 w 3931228"/>
                <a:gd name="connsiteY283" fmla="*/ 2568404 h 4098010"/>
                <a:gd name="connsiteX284" fmla="*/ 1024500 w 3931228"/>
                <a:gd name="connsiteY284" fmla="*/ 2568404 h 4098010"/>
                <a:gd name="connsiteX285" fmla="*/ 1029268 w 3931228"/>
                <a:gd name="connsiteY285" fmla="*/ 2563638 h 4098010"/>
                <a:gd name="connsiteX286" fmla="*/ 1038796 w 3931228"/>
                <a:gd name="connsiteY286" fmla="*/ 2568404 h 4098010"/>
                <a:gd name="connsiteX287" fmla="*/ 1043564 w 3931228"/>
                <a:gd name="connsiteY287" fmla="*/ 2577934 h 4098010"/>
                <a:gd name="connsiteX288" fmla="*/ 1043564 w 3931228"/>
                <a:gd name="connsiteY288" fmla="*/ 2587464 h 4098010"/>
                <a:gd name="connsiteX289" fmla="*/ 1038796 w 3931228"/>
                <a:gd name="connsiteY289" fmla="*/ 2596994 h 4098010"/>
                <a:gd name="connsiteX290" fmla="*/ 1034032 w 3931228"/>
                <a:gd name="connsiteY290" fmla="*/ 2601760 h 4098010"/>
                <a:gd name="connsiteX291" fmla="*/ 1024500 w 3931228"/>
                <a:gd name="connsiteY291" fmla="*/ 2601760 h 4098010"/>
                <a:gd name="connsiteX292" fmla="*/ 1019736 w 3931228"/>
                <a:gd name="connsiteY292" fmla="*/ 2596994 h 4098010"/>
                <a:gd name="connsiteX293" fmla="*/ 1010208 w 3931228"/>
                <a:gd name="connsiteY293" fmla="*/ 2587464 h 4098010"/>
                <a:gd name="connsiteX294" fmla="*/ 995912 w 3931228"/>
                <a:gd name="connsiteY294" fmla="*/ 2582698 h 4098010"/>
                <a:gd name="connsiteX295" fmla="*/ 981616 w 3931228"/>
                <a:gd name="connsiteY295" fmla="*/ 2592228 h 4098010"/>
                <a:gd name="connsiteX296" fmla="*/ 962556 w 3931228"/>
                <a:gd name="connsiteY296" fmla="*/ 2611290 h 4098010"/>
                <a:gd name="connsiteX297" fmla="*/ 953024 w 3931228"/>
                <a:gd name="connsiteY297" fmla="*/ 2620820 h 4098010"/>
                <a:gd name="connsiteX298" fmla="*/ 957788 w 3931228"/>
                <a:gd name="connsiteY298" fmla="*/ 2606524 h 4098010"/>
                <a:gd name="connsiteX299" fmla="*/ 962556 w 3931228"/>
                <a:gd name="connsiteY299" fmla="*/ 2592228 h 4098010"/>
                <a:gd name="connsiteX300" fmla="*/ 953024 w 3931228"/>
                <a:gd name="connsiteY300" fmla="*/ 2582698 h 4098010"/>
                <a:gd name="connsiteX301" fmla="*/ 938728 w 3931228"/>
                <a:gd name="connsiteY301" fmla="*/ 2563638 h 4098010"/>
                <a:gd name="connsiteX302" fmla="*/ 933964 w 3931228"/>
                <a:gd name="connsiteY302" fmla="*/ 2554108 h 4098010"/>
                <a:gd name="connsiteX303" fmla="*/ 933964 w 3931228"/>
                <a:gd name="connsiteY303" fmla="*/ 2539812 h 4098010"/>
                <a:gd name="connsiteX304" fmla="*/ 938728 w 3931228"/>
                <a:gd name="connsiteY304" fmla="*/ 2530282 h 4098010"/>
                <a:gd name="connsiteX305" fmla="*/ 953024 w 3931228"/>
                <a:gd name="connsiteY305" fmla="*/ 2544578 h 4098010"/>
                <a:gd name="connsiteX306" fmla="*/ 962556 w 3931228"/>
                <a:gd name="connsiteY306" fmla="*/ 2558872 h 4098010"/>
                <a:gd name="connsiteX307" fmla="*/ 972084 w 3931228"/>
                <a:gd name="connsiteY307" fmla="*/ 2568404 h 4098010"/>
                <a:gd name="connsiteX308" fmla="*/ 986380 w 3931228"/>
                <a:gd name="connsiteY308" fmla="*/ 2568404 h 4098010"/>
                <a:gd name="connsiteX309" fmla="*/ 976852 w 3931228"/>
                <a:gd name="connsiteY309" fmla="*/ 2544578 h 4098010"/>
                <a:gd name="connsiteX310" fmla="*/ 972084 w 3931228"/>
                <a:gd name="connsiteY310" fmla="*/ 2535048 h 4098010"/>
                <a:gd name="connsiteX311" fmla="*/ 957788 w 3931228"/>
                <a:gd name="connsiteY311" fmla="*/ 2525518 h 4098010"/>
                <a:gd name="connsiteX312" fmla="*/ 933964 w 3931228"/>
                <a:gd name="connsiteY312" fmla="*/ 2506456 h 4098010"/>
                <a:gd name="connsiteX313" fmla="*/ 924436 w 3931228"/>
                <a:gd name="connsiteY313" fmla="*/ 2496926 h 4098010"/>
                <a:gd name="connsiteX314" fmla="*/ 929200 w 3931228"/>
                <a:gd name="connsiteY314" fmla="*/ 2477866 h 4098010"/>
                <a:gd name="connsiteX315" fmla="*/ 933964 w 3931228"/>
                <a:gd name="connsiteY315" fmla="*/ 2473100 h 4098010"/>
                <a:gd name="connsiteX316" fmla="*/ 938728 w 3931228"/>
                <a:gd name="connsiteY316" fmla="*/ 2473100 h 4098010"/>
                <a:gd name="connsiteX317" fmla="*/ 962556 w 3931228"/>
                <a:gd name="connsiteY317" fmla="*/ 2482630 h 4098010"/>
                <a:gd name="connsiteX318" fmla="*/ 967320 w 3931228"/>
                <a:gd name="connsiteY318" fmla="*/ 2473100 h 4098010"/>
                <a:gd name="connsiteX319" fmla="*/ 962556 w 3931228"/>
                <a:gd name="connsiteY319" fmla="*/ 2468336 h 4098010"/>
                <a:gd name="connsiteX320" fmla="*/ 962556 w 3931228"/>
                <a:gd name="connsiteY320" fmla="*/ 2458806 h 4098010"/>
                <a:gd name="connsiteX321" fmla="*/ 976852 w 3931228"/>
                <a:gd name="connsiteY321" fmla="*/ 2449276 h 4098010"/>
                <a:gd name="connsiteX322" fmla="*/ 1000676 w 3931228"/>
                <a:gd name="connsiteY322" fmla="*/ 2444510 h 4098010"/>
                <a:gd name="connsiteX323" fmla="*/ 1005440 w 3931228"/>
                <a:gd name="connsiteY323" fmla="*/ 2439744 h 4098010"/>
                <a:gd name="connsiteX324" fmla="*/ 1010208 w 3931228"/>
                <a:gd name="connsiteY324" fmla="*/ 2434980 h 4098010"/>
                <a:gd name="connsiteX325" fmla="*/ 1014972 w 3931228"/>
                <a:gd name="connsiteY325" fmla="*/ 2430214 h 4098010"/>
                <a:gd name="connsiteX326" fmla="*/ 1029268 w 3931228"/>
                <a:gd name="connsiteY326" fmla="*/ 2430214 h 4098010"/>
                <a:gd name="connsiteX327" fmla="*/ 1043564 w 3931228"/>
                <a:gd name="connsiteY327" fmla="*/ 2420684 h 4098010"/>
                <a:gd name="connsiteX328" fmla="*/ 1057856 w 3931228"/>
                <a:gd name="connsiteY328" fmla="*/ 2401624 h 4098010"/>
                <a:gd name="connsiteX329" fmla="*/ 1057856 w 3931228"/>
                <a:gd name="connsiteY329" fmla="*/ 2392094 h 4098010"/>
                <a:gd name="connsiteX330" fmla="*/ 1062624 w 3931228"/>
                <a:gd name="connsiteY330" fmla="*/ 2382564 h 4098010"/>
                <a:gd name="connsiteX331" fmla="*/ 1334236 w 3931228"/>
                <a:gd name="connsiteY331" fmla="*/ 2363504 h 4098010"/>
                <a:gd name="connsiteX332" fmla="*/ 1343764 w 3931228"/>
                <a:gd name="connsiteY332" fmla="*/ 2363504 h 4098010"/>
                <a:gd name="connsiteX333" fmla="*/ 1348532 w 3931228"/>
                <a:gd name="connsiteY333" fmla="*/ 2368268 h 4098010"/>
                <a:gd name="connsiteX334" fmla="*/ 1367592 w 3931228"/>
                <a:gd name="connsiteY334" fmla="*/ 2368268 h 4098010"/>
                <a:gd name="connsiteX335" fmla="*/ 1362824 w 3931228"/>
                <a:gd name="connsiteY335" fmla="*/ 2377798 h 4098010"/>
                <a:gd name="connsiteX336" fmla="*/ 1358060 w 3931228"/>
                <a:gd name="connsiteY336" fmla="*/ 2382564 h 4098010"/>
                <a:gd name="connsiteX337" fmla="*/ 1343764 w 3931228"/>
                <a:gd name="connsiteY337" fmla="*/ 2377798 h 4098010"/>
                <a:gd name="connsiteX338" fmla="*/ 1334236 w 3931228"/>
                <a:gd name="connsiteY338" fmla="*/ 2377798 h 4098010"/>
                <a:gd name="connsiteX339" fmla="*/ 1329468 w 3931228"/>
                <a:gd name="connsiteY339" fmla="*/ 2368268 h 4098010"/>
                <a:gd name="connsiteX340" fmla="*/ 867252 w 3931228"/>
                <a:gd name="connsiteY340" fmla="*/ 2292026 h 4098010"/>
                <a:gd name="connsiteX341" fmla="*/ 886312 w 3931228"/>
                <a:gd name="connsiteY341" fmla="*/ 2301556 h 4098010"/>
                <a:gd name="connsiteX342" fmla="*/ 886312 w 3931228"/>
                <a:gd name="connsiteY342" fmla="*/ 2311086 h 4098010"/>
                <a:gd name="connsiteX343" fmla="*/ 876784 w 3931228"/>
                <a:gd name="connsiteY343" fmla="*/ 2330146 h 4098010"/>
                <a:gd name="connsiteX344" fmla="*/ 867252 w 3931228"/>
                <a:gd name="connsiteY344" fmla="*/ 2339676 h 4098010"/>
                <a:gd name="connsiteX345" fmla="*/ 862488 w 3931228"/>
                <a:gd name="connsiteY345" fmla="*/ 2325382 h 4098010"/>
                <a:gd name="connsiteX346" fmla="*/ 1605848 w 3931228"/>
                <a:gd name="connsiteY346" fmla="*/ 2287260 h 4098010"/>
                <a:gd name="connsiteX347" fmla="*/ 1624908 w 3931228"/>
                <a:gd name="connsiteY347" fmla="*/ 2287260 h 4098010"/>
                <a:gd name="connsiteX348" fmla="*/ 1648732 w 3931228"/>
                <a:gd name="connsiteY348" fmla="*/ 2292026 h 4098010"/>
                <a:gd name="connsiteX349" fmla="*/ 1667792 w 3931228"/>
                <a:gd name="connsiteY349" fmla="*/ 2306322 h 4098010"/>
                <a:gd name="connsiteX350" fmla="*/ 1691620 w 3931228"/>
                <a:gd name="connsiteY350" fmla="*/ 2315852 h 4098010"/>
                <a:gd name="connsiteX351" fmla="*/ 1710680 w 3931228"/>
                <a:gd name="connsiteY351" fmla="*/ 2311086 h 4098010"/>
                <a:gd name="connsiteX352" fmla="*/ 1710680 w 3931228"/>
                <a:gd name="connsiteY352" fmla="*/ 2344442 h 4098010"/>
                <a:gd name="connsiteX353" fmla="*/ 1715444 w 3931228"/>
                <a:gd name="connsiteY353" fmla="*/ 2358738 h 4098010"/>
                <a:gd name="connsiteX354" fmla="*/ 1720208 w 3931228"/>
                <a:gd name="connsiteY354" fmla="*/ 2368268 h 4098010"/>
                <a:gd name="connsiteX355" fmla="*/ 1715444 w 3931228"/>
                <a:gd name="connsiteY355" fmla="*/ 2382564 h 4098010"/>
                <a:gd name="connsiteX356" fmla="*/ 1729740 w 3931228"/>
                <a:gd name="connsiteY356" fmla="*/ 2387328 h 4098010"/>
                <a:gd name="connsiteX357" fmla="*/ 1696384 w 3931228"/>
                <a:gd name="connsiteY357" fmla="*/ 2406390 h 4098010"/>
                <a:gd name="connsiteX358" fmla="*/ 1672560 w 3931228"/>
                <a:gd name="connsiteY358" fmla="*/ 2425450 h 4098010"/>
                <a:gd name="connsiteX359" fmla="*/ 1658264 w 3931228"/>
                <a:gd name="connsiteY359" fmla="*/ 2444510 h 4098010"/>
                <a:gd name="connsiteX360" fmla="*/ 1648732 w 3931228"/>
                <a:gd name="connsiteY360" fmla="*/ 2458806 h 4098010"/>
                <a:gd name="connsiteX361" fmla="*/ 1643968 w 3931228"/>
                <a:gd name="connsiteY361" fmla="*/ 2477866 h 4098010"/>
                <a:gd name="connsiteX362" fmla="*/ 1639204 w 3931228"/>
                <a:gd name="connsiteY362" fmla="*/ 2496926 h 4098010"/>
                <a:gd name="connsiteX363" fmla="*/ 1629672 w 3931228"/>
                <a:gd name="connsiteY363" fmla="*/ 2487396 h 4098010"/>
                <a:gd name="connsiteX364" fmla="*/ 1605848 w 3931228"/>
                <a:gd name="connsiteY364" fmla="*/ 2458806 h 4098010"/>
                <a:gd name="connsiteX365" fmla="*/ 1591552 w 3931228"/>
                <a:gd name="connsiteY365" fmla="*/ 2449276 h 4098010"/>
                <a:gd name="connsiteX366" fmla="*/ 1562960 w 3931228"/>
                <a:gd name="connsiteY366" fmla="*/ 2444510 h 4098010"/>
                <a:gd name="connsiteX367" fmla="*/ 1553432 w 3931228"/>
                <a:gd name="connsiteY367" fmla="*/ 2444510 h 4098010"/>
                <a:gd name="connsiteX368" fmla="*/ 1501016 w 3931228"/>
                <a:gd name="connsiteY368" fmla="*/ 2473100 h 4098010"/>
                <a:gd name="connsiteX369" fmla="*/ 1491484 w 3931228"/>
                <a:gd name="connsiteY369" fmla="*/ 2496926 h 4098010"/>
                <a:gd name="connsiteX370" fmla="*/ 1477188 w 3931228"/>
                <a:gd name="connsiteY370" fmla="*/ 2525518 h 4098010"/>
                <a:gd name="connsiteX371" fmla="*/ 1472424 w 3931228"/>
                <a:gd name="connsiteY371" fmla="*/ 2535048 h 4098010"/>
                <a:gd name="connsiteX372" fmla="*/ 1462892 w 3931228"/>
                <a:gd name="connsiteY372" fmla="*/ 2539812 h 4098010"/>
                <a:gd name="connsiteX373" fmla="*/ 1458128 w 3931228"/>
                <a:gd name="connsiteY373" fmla="*/ 2544578 h 4098010"/>
                <a:gd name="connsiteX374" fmla="*/ 1453364 w 3931228"/>
                <a:gd name="connsiteY374" fmla="*/ 2568404 h 4098010"/>
                <a:gd name="connsiteX375" fmla="*/ 1434304 w 3931228"/>
                <a:gd name="connsiteY375" fmla="*/ 2587464 h 4098010"/>
                <a:gd name="connsiteX376" fmla="*/ 1424772 w 3931228"/>
                <a:gd name="connsiteY376" fmla="*/ 2587464 h 4098010"/>
                <a:gd name="connsiteX377" fmla="*/ 1405712 w 3931228"/>
                <a:gd name="connsiteY377" fmla="*/ 2582698 h 4098010"/>
                <a:gd name="connsiteX378" fmla="*/ 1400948 w 3931228"/>
                <a:gd name="connsiteY378" fmla="*/ 2587464 h 4098010"/>
                <a:gd name="connsiteX379" fmla="*/ 1410476 w 3931228"/>
                <a:gd name="connsiteY379" fmla="*/ 2558874 h 4098010"/>
                <a:gd name="connsiteX380" fmla="*/ 1396180 w 3931228"/>
                <a:gd name="connsiteY380" fmla="*/ 2554108 h 4098010"/>
                <a:gd name="connsiteX381" fmla="*/ 1377120 w 3931228"/>
                <a:gd name="connsiteY381" fmla="*/ 2558874 h 4098010"/>
                <a:gd name="connsiteX382" fmla="*/ 1377120 w 3931228"/>
                <a:gd name="connsiteY382" fmla="*/ 2539812 h 4098010"/>
                <a:gd name="connsiteX383" fmla="*/ 1367592 w 3931228"/>
                <a:gd name="connsiteY383" fmla="*/ 2530282 h 4098010"/>
                <a:gd name="connsiteX384" fmla="*/ 1372356 w 3931228"/>
                <a:gd name="connsiteY384" fmla="*/ 2515988 h 4098010"/>
                <a:gd name="connsiteX385" fmla="*/ 1372356 w 3931228"/>
                <a:gd name="connsiteY385" fmla="*/ 2506456 h 4098010"/>
                <a:gd name="connsiteX386" fmla="*/ 1377120 w 3931228"/>
                <a:gd name="connsiteY386" fmla="*/ 2501692 h 4098010"/>
                <a:gd name="connsiteX387" fmla="*/ 1381884 w 3931228"/>
                <a:gd name="connsiteY387" fmla="*/ 2492162 h 4098010"/>
                <a:gd name="connsiteX388" fmla="*/ 1381884 w 3931228"/>
                <a:gd name="connsiteY388" fmla="*/ 2487396 h 4098010"/>
                <a:gd name="connsiteX389" fmla="*/ 1367592 w 3931228"/>
                <a:gd name="connsiteY389" fmla="*/ 2482632 h 4098010"/>
                <a:gd name="connsiteX390" fmla="*/ 1362824 w 3931228"/>
                <a:gd name="connsiteY390" fmla="*/ 2477866 h 4098010"/>
                <a:gd name="connsiteX391" fmla="*/ 1362824 w 3931228"/>
                <a:gd name="connsiteY391" fmla="*/ 2458806 h 4098010"/>
                <a:gd name="connsiteX392" fmla="*/ 1358060 w 3931228"/>
                <a:gd name="connsiteY392" fmla="*/ 2458806 h 4098010"/>
                <a:gd name="connsiteX393" fmla="*/ 1343764 w 3931228"/>
                <a:gd name="connsiteY393" fmla="*/ 2463570 h 4098010"/>
                <a:gd name="connsiteX394" fmla="*/ 1315176 w 3931228"/>
                <a:gd name="connsiteY394" fmla="*/ 2477866 h 4098010"/>
                <a:gd name="connsiteX395" fmla="*/ 1305644 w 3931228"/>
                <a:gd name="connsiteY395" fmla="*/ 2477866 h 4098010"/>
                <a:gd name="connsiteX396" fmla="*/ 1319940 w 3931228"/>
                <a:gd name="connsiteY396" fmla="*/ 2468336 h 4098010"/>
                <a:gd name="connsiteX397" fmla="*/ 1343764 w 3931228"/>
                <a:gd name="connsiteY397" fmla="*/ 2454040 h 4098010"/>
                <a:gd name="connsiteX398" fmla="*/ 1358060 w 3931228"/>
                <a:gd name="connsiteY398" fmla="*/ 2444510 h 4098010"/>
                <a:gd name="connsiteX399" fmla="*/ 1381884 w 3931228"/>
                <a:gd name="connsiteY399" fmla="*/ 2420684 h 4098010"/>
                <a:gd name="connsiteX400" fmla="*/ 1400948 w 3931228"/>
                <a:gd name="connsiteY400" fmla="*/ 2411154 h 4098010"/>
                <a:gd name="connsiteX401" fmla="*/ 1410476 w 3931228"/>
                <a:gd name="connsiteY401" fmla="*/ 2392094 h 4098010"/>
                <a:gd name="connsiteX402" fmla="*/ 1410476 w 3931228"/>
                <a:gd name="connsiteY402" fmla="*/ 2382564 h 4098010"/>
                <a:gd name="connsiteX403" fmla="*/ 1415240 w 3931228"/>
                <a:gd name="connsiteY403" fmla="*/ 2373034 h 4098010"/>
                <a:gd name="connsiteX404" fmla="*/ 1424772 w 3931228"/>
                <a:gd name="connsiteY404" fmla="*/ 2353972 h 4098010"/>
                <a:gd name="connsiteX405" fmla="*/ 1429536 w 3931228"/>
                <a:gd name="connsiteY405" fmla="*/ 2349208 h 4098010"/>
                <a:gd name="connsiteX406" fmla="*/ 1443832 w 3931228"/>
                <a:gd name="connsiteY406" fmla="*/ 2334912 h 4098010"/>
                <a:gd name="connsiteX407" fmla="*/ 1453364 w 3931228"/>
                <a:gd name="connsiteY407" fmla="*/ 2334912 h 4098010"/>
                <a:gd name="connsiteX408" fmla="*/ 1462892 w 3931228"/>
                <a:gd name="connsiteY408" fmla="*/ 2353972 h 4098010"/>
                <a:gd name="connsiteX409" fmla="*/ 1477188 w 3931228"/>
                <a:gd name="connsiteY409" fmla="*/ 2368268 h 4098010"/>
                <a:gd name="connsiteX410" fmla="*/ 1486720 w 3931228"/>
                <a:gd name="connsiteY410" fmla="*/ 2368268 h 4098010"/>
                <a:gd name="connsiteX411" fmla="*/ 1501016 w 3931228"/>
                <a:gd name="connsiteY411" fmla="*/ 2358738 h 4098010"/>
                <a:gd name="connsiteX412" fmla="*/ 1510544 w 3931228"/>
                <a:gd name="connsiteY412" fmla="*/ 2358738 h 4098010"/>
                <a:gd name="connsiteX413" fmla="*/ 1529604 w 3931228"/>
                <a:gd name="connsiteY413" fmla="*/ 2358738 h 4098010"/>
                <a:gd name="connsiteX414" fmla="*/ 1548664 w 3931228"/>
                <a:gd name="connsiteY414" fmla="*/ 2349208 h 4098010"/>
                <a:gd name="connsiteX415" fmla="*/ 1553432 w 3931228"/>
                <a:gd name="connsiteY415" fmla="*/ 2339678 h 4098010"/>
                <a:gd name="connsiteX416" fmla="*/ 1558196 w 3931228"/>
                <a:gd name="connsiteY416" fmla="*/ 2330148 h 4098010"/>
                <a:gd name="connsiteX417" fmla="*/ 1548664 w 3931228"/>
                <a:gd name="connsiteY417" fmla="*/ 2306322 h 4098010"/>
                <a:gd name="connsiteX418" fmla="*/ 1558196 w 3931228"/>
                <a:gd name="connsiteY418" fmla="*/ 2311086 h 4098010"/>
                <a:gd name="connsiteX419" fmla="*/ 1567724 w 3931228"/>
                <a:gd name="connsiteY419" fmla="*/ 2311086 h 4098010"/>
                <a:gd name="connsiteX420" fmla="*/ 1586788 w 3931228"/>
                <a:gd name="connsiteY420" fmla="*/ 2296792 h 4098010"/>
                <a:gd name="connsiteX421" fmla="*/ 1639204 w 3931228"/>
                <a:gd name="connsiteY421" fmla="*/ 2253904 h 4098010"/>
                <a:gd name="connsiteX422" fmla="*/ 1663028 w 3931228"/>
                <a:gd name="connsiteY422" fmla="*/ 2253904 h 4098010"/>
                <a:gd name="connsiteX423" fmla="*/ 1672560 w 3931228"/>
                <a:gd name="connsiteY423" fmla="*/ 2253904 h 4098010"/>
                <a:gd name="connsiteX424" fmla="*/ 1667792 w 3931228"/>
                <a:gd name="connsiteY424" fmla="*/ 2263436 h 4098010"/>
                <a:gd name="connsiteX425" fmla="*/ 1663028 w 3931228"/>
                <a:gd name="connsiteY425" fmla="*/ 2268200 h 4098010"/>
                <a:gd name="connsiteX426" fmla="*/ 1663028 w 3931228"/>
                <a:gd name="connsiteY426" fmla="*/ 2263436 h 4098010"/>
                <a:gd name="connsiteX427" fmla="*/ 1653500 w 3931228"/>
                <a:gd name="connsiteY427" fmla="*/ 2272966 h 4098010"/>
                <a:gd name="connsiteX428" fmla="*/ 1648732 w 3931228"/>
                <a:gd name="connsiteY428" fmla="*/ 2263436 h 4098010"/>
                <a:gd name="connsiteX429" fmla="*/ 1639204 w 3931228"/>
                <a:gd name="connsiteY429" fmla="*/ 2258670 h 4098010"/>
                <a:gd name="connsiteX430" fmla="*/ 1763096 w 3931228"/>
                <a:gd name="connsiteY430" fmla="*/ 2249140 h 4098010"/>
                <a:gd name="connsiteX431" fmla="*/ 1767860 w 3931228"/>
                <a:gd name="connsiteY431" fmla="*/ 2249140 h 4098010"/>
                <a:gd name="connsiteX432" fmla="*/ 1753564 w 3931228"/>
                <a:gd name="connsiteY432" fmla="*/ 2277730 h 4098010"/>
                <a:gd name="connsiteX433" fmla="*/ 1758332 w 3931228"/>
                <a:gd name="connsiteY433" fmla="*/ 2301556 h 4098010"/>
                <a:gd name="connsiteX434" fmla="*/ 1739272 w 3931228"/>
                <a:gd name="connsiteY434" fmla="*/ 2315852 h 4098010"/>
                <a:gd name="connsiteX435" fmla="*/ 1724976 w 3931228"/>
                <a:gd name="connsiteY435" fmla="*/ 2315852 h 4098010"/>
                <a:gd name="connsiteX436" fmla="*/ 1720212 w 3931228"/>
                <a:gd name="connsiteY436" fmla="*/ 2306322 h 4098010"/>
                <a:gd name="connsiteX437" fmla="*/ 1715444 w 3931228"/>
                <a:gd name="connsiteY437" fmla="*/ 2296792 h 4098010"/>
                <a:gd name="connsiteX438" fmla="*/ 1729740 w 3931228"/>
                <a:gd name="connsiteY438" fmla="*/ 2282496 h 4098010"/>
                <a:gd name="connsiteX439" fmla="*/ 1744036 w 3931228"/>
                <a:gd name="connsiteY439" fmla="*/ 2263436 h 4098010"/>
                <a:gd name="connsiteX440" fmla="*/ 1753564 w 3931228"/>
                <a:gd name="connsiteY440" fmla="*/ 2253906 h 4098010"/>
                <a:gd name="connsiteX441" fmla="*/ 900608 w 3931228"/>
                <a:gd name="connsiteY441" fmla="*/ 2225314 h 4098010"/>
                <a:gd name="connsiteX442" fmla="*/ 905372 w 3931228"/>
                <a:gd name="connsiteY442" fmla="*/ 2225314 h 4098010"/>
                <a:gd name="connsiteX443" fmla="*/ 905372 w 3931228"/>
                <a:gd name="connsiteY443" fmla="*/ 2230080 h 4098010"/>
                <a:gd name="connsiteX444" fmla="*/ 905372 w 3931228"/>
                <a:gd name="connsiteY444" fmla="*/ 2239610 h 4098010"/>
                <a:gd name="connsiteX445" fmla="*/ 905372 w 3931228"/>
                <a:gd name="connsiteY445" fmla="*/ 2249140 h 4098010"/>
                <a:gd name="connsiteX446" fmla="*/ 891080 w 3931228"/>
                <a:gd name="connsiteY446" fmla="*/ 2277730 h 4098010"/>
                <a:gd name="connsiteX447" fmla="*/ 891080 w 3931228"/>
                <a:gd name="connsiteY447" fmla="*/ 2287260 h 4098010"/>
                <a:gd name="connsiteX448" fmla="*/ 886312 w 3931228"/>
                <a:gd name="connsiteY448" fmla="*/ 2296792 h 4098010"/>
                <a:gd name="connsiteX449" fmla="*/ 876784 w 3931228"/>
                <a:gd name="connsiteY449" fmla="*/ 2287260 h 4098010"/>
                <a:gd name="connsiteX450" fmla="*/ 872020 w 3931228"/>
                <a:gd name="connsiteY450" fmla="*/ 2282496 h 4098010"/>
                <a:gd name="connsiteX451" fmla="*/ 881548 w 3931228"/>
                <a:gd name="connsiteY451" fmla="*/ 2253904 h 4098010"/>
                <a:gd name="connsiteX452" fmla="*/ 881548 w 3931228"/>
                <a:gd name="connsiteY452" fmla="*/ 2244374 h 4098010"/>
                <a:gd name="connsiteX453" fmla="*/ 881548 w 3931228"/>
                <a:gd name="connsiteY453" fmla="*/ 2239610 h 4098010"/>
                <a:gd name="connsiteX454" fmla="*/ 2449276 w 3931228"/>
                <a:gd name="connsiteY454" fmla="*/ 2206254 h 4098010"/>
                <a:gd name="connsiteX455" fmla="*/ 2458804 w 3931228"/>
                <a:gd name="connsiteY455" fmla="*/ 2206254 h 4098010"/>
                <a:gd name="connsiteX456" fmla="*/ 2463572 w 3931228"/>
                <a:gd name="connsiteY456" fmla="*/ 2215784 h 4098010"/>
                <a:gd name="connsiteX457" fmla="*/ 2463572 w 3931228"/>
                <a:gd name="connsiteY457" fmla="*/ 2225316 h 4098010"/>
                <a:gd name="connsiteX458" fmla="*/ 2454040 w 3931228"/>
                <a:gd name="connsiteY458" fmla="*/ 2225316 h 4098010"/>
                <a:gd name="connsiteX459" fmla="*/ 2449276 w 3931228"/>
                <a:gd name="connsiteY459" fmla="*/ 2215784 h 4098010"/>
                <a:gd name="connsiteX460" fmla="*/ 1501016 w 3931228"/>
                <a:gd name="connsiteY460" fmla="*/ 1906052 h 4098010"/>
                <a:gd name="connsiteX461" fmla="*/ 1515308 w 3931228"/>
                <a:gd name="connsiteY461" fmla="*/ 1925112 h 4098010"/>
                <a:gd name="connsiteX462" fmla="*/ 1515308 w 3931228"/>
                <a:gd name="connsiteY462" fmla="*/ 1934642 h 4098010"/>
                <a:gd name="connsiteX463" fmla="*/ 1505780 w 3931228"/>
                <a:gd name="connsiteY463" fmla="*/ 1939408 h 4098010"/>
                <a:gd name="connsiteX464" fmla="*/ 1491484 w 3931228"/>
                <a:gd name="connsiteY464" fmla="*/ 1939408 h 4098010"/>
                <a:gd name="connsiteX465" fmla="*/ 1486720 w 3931228"/>
                <a:gd name="connsiteY465" fmla="*/ 1929876 h 4098010"/>
                <a:gd name="connsiteX466" fmla="*/ 1486720 w 3931228"/>
                <a:gd name="connsiteY466" fmla="*/ 1915582 h 4098010"/>
                <a:gd name="connsiteX467" fmla="*/ 2315852 w 3931228"/>
                <a:gd name="connsiteY467" fmla="*/ 1520076 h 4098010"/>
                <a:gd name="connsiteX468" fmla="*/ 2315852 w 3931228"/>
                <a:gd name="connsiteY468" fmla="*/ 1529606 h 4098010"/>
                <a:gd name="connsiteX469" fmla="*/ 2311084 w 3931228"/>
                <a:gd name="connsiteY469" fmla="*/ 1558198 h 4098010"/>
                <a:gd name="connsiteX470" fmla="*/ 2306320 w 3931228"/>
                <a:gd name="connsiteY470" fmla="*/ 1567728 h 4098010"/>
                <a:gd name="connsiteX471" fmla="*/ 2325380 w 3931228"/>
                <a:gd name="connsiteY471" fmla="*/ 1567728 h 4098010"/>
                <a:gd name="connsiteX472" fmla="*/ 2315852 w 3931228"/>
                <a:gd name="connsiteY472" fmla="*/ 1601084 h 4098010"/>
                <a:gd name="connsiteX473" fmla="*/ 2292024 w 3931228"/>
                <a:gd name="connsiteY473" fmla="*/ 1615380 h 4098010"/>
                <a:gd name="connsiteX474" fmla="*/ 2277732 w 3931228"/>
                <a:gd name="connsiteY474" fmla="*/ 1615380 h 4098010"/>
                <a:gd name="connsiteX475" fmla="*/ 2272964 w 3931228"/>
                <a:gd name="connsiteY475" fmla="*/ 1615380 h 4098010"/>
                <a:gd name="connsiteX476" fmla="*/ 2282496 w 3931228"/>
                <a:gd name="connsiteY476" fmla="*/ 1610614 h 4098010"/>
                <a:gd name="connsiteX477" fmla="*/ 2282496 w 3931228"/>
                <a:gd name="connsiteY477" fmla="*/ 1601084 h 4098010"/>
                <a:gd name="connsiteX478" fmla="*/ 2287260 w 3931228"/>
                <a:gd name="connsiteY478" fmla="*/ 1586788 h 4098010"/>
                <a:gd name="connsiteX479" fmla="*/ 2287260 w 3931228"/>
                <a:gd name="connsiteY479" fmla="*/ 1582022 h 4098010"/>
                <a:gd name="connsiteX480" fmla="*/ 2277732 w 3931228"/>
                <a:gd name="connsiteY480" fmla="*/ 1582022 h 4098010"/>
                <a:gd name="connsiteX481" fmla="*/ 2277732 w 3931228"/>
                <a:gd name="connsiteY481" fmla="*/ 1567728 h 4098010"/>
                <a:gd name="connsiteX482" fmla="*/ 2282496 w 3931228"/>
                <a:gd name="connsiteY482" fmla="*/ 1548666 h 4098010"/>
                <a:gd name="connsiteX483" fmla="*/ 2311084 w 3931228"/>
                <a:gd name="connsiteY483" fmla="*/ 1524842 h 4098010"/>
                <a:gd name="connsiteX484" fmla="*/ 2697060 w 3931228"/>
                <a:gd name="connsiteY484" fmla="*/ 867252 h 4098010"/>
                <a:gd name="connsiteX485" fmla="*/ 2711356 w 3931228"/>
                <a:gd name="connsiteY485" fmla="*/ 876784 h 4098010"/>
                <a:gd name="connsiteX486" fmla="*/ 2720888 w 3931228"/>
                <a:gd name="connsiteY486" fmla="*/ 876784 h 4098010"/>
                <a:gd name="connsiteX487" fmla="*/ 2739948 w 3931228"/>
                <a:gd name="connsiteY487" fmla="*/ 895844 h 4098010"/>
                <a:gd name="connsiteX488" fmla="*/ 2749476 w 3931228"/>
                <a:gd name="connsiteY488" fmla="*/ 900608 h 4098010"/>
                <a:gd name="connsiteX489" fmla="*/ 2778068 w 3931228"/>
                <a:gd name="connsiteY489" fmla="*/ 891078 h 4098010"/>
                <a:gd name="connsiteX490" fmla="*/ 2773304 w 3931228"/>
                <a:gd name="connsiteY490" fmla="*/ 919670 h 4098010"/>
                <a:gd name="connsiteX491" fmla="*/ 2768536 w 3931228"/>
                <a:gd name="connsiteY491" fmla="*/ 953026 h 4098010"/>
                <a:gd name="connsiteX492" fmla="*/ 2768536 w 3931228"/>
                <a:gd name="connsiteY492" fmla="*/ 1005442 h 4098010"/>
                <a:gd name="connsiteX493" fmla="*/ 2773304 w 3931228"/>
                <a:gd name="connsiteY493" fmla="*/ 1029268 h 4098010"/>
                <a:gd name="connsiteX494" fmla="*/ 2778068 w 3931228"/>
                <a:gd name="connsiteY494" fmla="*/ 1053092 h 4098010"/>
                <a:gd name="connsiteX495" fmla="*/ 2792364 w 3931228"/>
                <a:gd name="connsiteY495" fmla="*/ 1072154 h 4098010"/>
                <a:gd name="connsiteX496" fmla="*/ 2806660 w 3931228"/>
                <a:gd name="connsiteY496" fmla="*/ 1081684 h 4098010"/>
                <a:gd name="connsiteX497" fmla="*/ 2830484 w 3931228"/>
                <a:gd name="connsiteY497" fmla="*/ 1119804 h 4098010"/>
                <a:gd name="connsiteX498" fmla="*/ 2844780 w 3931228"/>
                <a:gd name="connsiteY498" fmla="*/ 1167456 h 4098010"/>
                <a:gd name="connsiteX499" fmla="*/ 2849544 w 3931228"/>
                <a:gd name="connsiteY499" fmla="*/ 1186516 h 4098010"/>
                <a:gd name="connsiteX500" fmla="*/ 2859076 w 3931228"/>
                <a:gd name="connsiteY500" fmla="*/ 1210342 h 4098010"/>
                <a:gd name="connsiteX501" fmla="*/ 2859076 w 3931228"/>
                <a:gd name="connsiteY501" fmla="*/ 1219872 h 4098010"/>
                <a:gd name="connsiteX502" fmla="*/ 2859076 w 3931228"/>
                <a:gd name="connsiteY502" fmla="*/ 1234168 h 4098010"/>
                <a:gd name="connsiteX503" fmla="*/ 2859076 w 3931228"/>
                <a:gd name="connsiteY503" fmla="*/ 1248464 h 4098010"/>
                <a:gd name="connsiteX504" fmla="*/ 2859076 w 3931228"/>
                <a:gd name="connsiteY504" fmla="*/ 1257994 h 4098010"/>
                <a:gd name="connsiteX505" fmla="*/ 2859076 w 3931228"/>
                <a:gd name="connsiteY505" fmla="*/ 1296114 h 4098010"/>
                <a:gd name="connsiteX506" fmla="*/ 2849544 w 3931228"/>
                <a:gd name="connsiteY506" fmla="*/ 1339000 h 4098010"/>
                <a:gd name="connsiteX507" fmla="*/ 2844780 w 3931228"/>
                <a:gd name="connsiteY507" fmla="*/ 1358062 h 4098010"/>
                <a:gd name="connsiteX508" fmla="*/ 2835248 w 3931228"/>
                <a:gd name="connsiteY508" fmla="*/ 1362826 h 4098010"/>
                <a:gd name="connsiteX509" fmla="*/ 2830484 w 3931228"/>
                <a:gd name="connsiteY509" fmla="*/ 1372356 h 4098010"/>
                <a:gd name="connsiteX510" fmla="*/ 2825720 w 3931228"/>
                <a:gd name="connsiteY510" fmla="*/ 1377122 h 4098010"/>
                <a:gd name="connsiteX511" fmla="*/ 2820956 w 3931228"/>
                <a:gd name="connsiteY511" fmla="*/ 1381886 h 4098010"/>
                <a:gd name="connsiteX512" fmla="*/ 2816188 w 3931228"/>
                <a:gd name="connsiteY512" fmla="*/ 1381886 h 4098010"/>
                <a:gd name="connsiteX513" fmla="*/ 2806660 w 3931228"/>
                <a:gd name="connsiteY513" fmla="*/ 1386652 h 4098010"/>
                <a:gd name="connsiteX514" fmla="*/ 2806660 w 3931228"/>
                <a:gd name="connsiteY514" fmla="*/ 1396182 h 4098010"/>
                <a:gd name="connsiteX515" fmla="*/ 2801892 w 3931228"/>
                <a:gd name="connsiteY515" fmla="*/ 1410478 h 4098010"/>
                <a:gd name="connsiteX516" fmla="*/ 2797128 w 3931228"/>
                <a:gd name="connsiteY516" fmla="*/ 1420008 h 4098010"/>
                <a:gd name="connsiteX517" fmla="*/ 2792364 w 3931228"/>
                <a:gd name="connsiteY517" fmla="*/ 1429538 h 4098010"/>
                <a:gd name="connsiteX518" fmla="*/ 2787600 w 3931228"/>
                <a:gd name="connsiteY518" fmla="*/ 1453364 h 4098010"/>
                <a:gd name="connsiteX519" fmla="*/ 2787600 w 3931228"/>
                <a:gd name="connsiteY519" fmla="*/ 1481954 h 4098010"/>
                <a:gd name="connsiteX520" fmla="*/ 2778068 w 3931228"/>
                <a:gd name="connsiteY520" fmla="*/ 1501014 h 4098010"/>
                <a:gd name="connsiteX521" fmla="*/ 2763772 w 3931228"/>
                <a:gd name="connsiteY521" fmla="*/ 1505780 h 4098010"/>
                <a:gd name="connsiteX522" fmla="*/ 2744712 w 3931228"/>
                <a:gd name="connsiteY522" fmla="*/ 1505780 h 4098010"/>
                <a:gd name="connsiteX523" fmla="*/ 2720888 w 3931228"/>
                <a:gd name="connsiteY523" fmla="*/ 1515310 h 4098010"/>
                <a:gd name="connsiteX524" fmla="*/ 2716120 w 3931228"/>
                <a:gd name="connsiteY524" fmla="*/ 1520076 h 4098010"/>
                <a:gd name="connsiteX525" fmla="*/ 2701824 w 3931228"/>
                <a:gd name="connsiteY525" fmla="*/ 1553432 h 4098010"/>
                <a:gd name="connsiteX526" fmla="*/ 2692296 w 3931228"/>
                <a:gd name="connsiteY526" fmla="*/ 1572492 h 4098010"/>
                <a:gd name="connsiteX527" fmla="*/ 2692296 w 3931228"/>
                <a:gd name="connsiteY527" fmla="*/ 1591552 h 4098010"/>
                <a:gd name="connsiteX528" fmla="*/ 2701824 w 3931228"/>
                <a:gd name="connsiteY528" fmla="*/ 1615378 h 4098010"/>
                <a:gd name="connsiteX529" fmla="*/ 2706592 w 3931228"/>
                <a:gd name="connsiteY529" fmla="*/ 1639204 h 4098010"/>
                <a:gd name="connsiteX530" fmla="*/ 2711356 w 3931228"/>
                <a:gd name="connsiteY530" fmla="*/ 1686854 h 4098010"/>
                <a:gd name="connsiteX531" fmla="*/ 2706592 w 3931228"/>
                <a:gd name="connsiteY531" fmla="*/ 1753566 h 4098010"/>
                <a:gd name="connsiteX532" fmla="*/ 2701824 w 3931228"/>
                <a:gd name="connsiteY532" fmla="*/ 1777392 h 4098010"/>
                <a:gd name="connsiteX533" fmla="*/ 2687532 w 3931228"/>
                <a:gd name="connsiteY533" fmla="*/ 1791688 h 4098010"/>
                <a:gd name="connsiteX534" fmla="*/ 2682764 w 3931228"/>
                <a:gd name="connsiteY534" fmla="*/ 1801218 h 4098010"/>
                <a:gd name="connsiteX535" fmla="*/ 2673236 w 3931228"/>
                <a:gd name="connsiteY535" fmla="*/ 1805982 h 4098010"/>
                <a:gd name="connsiteX536" fmla="*/ 2663704 w 3931228"/>
                <a:gd name="connsiteY536" fmla="*/ 1829808 h 4098010"/>
                <a:gd name="connsiteX537" fmla="*/ 2649408 w 3931228"/>
                <a:gd name="connsiteY537" fmla="*/ 1872694 h 4098010"/>
                <a:gd name="connsiteX538" fmla="*/ 2644644 w 3931228"/>
                <a:gd name="connsiteY538" fmla="*/ 1886990 h 4098010"/>
                <a:gd name="connsiteX539" fmla="*/ 2644644 w 3931228"/>
                <a:gd name="connsiteY539" fmla="*/ 1896520 h 4098010"/>
                <a:gd name="connsiteX540" fmla="*/ 2639880 w 3931228"/>
                <a:gd name="connsiteY540" fmla="*/ 1910816 h 4098010"/>
                <a:gd name="connsiteX541" fmla="*/ 2639880 w 3931228"/>
                <a:gd name="connsiteY541" fmla="*/ 1929876 h 4098010"/>
                <a:gd name="connsiteX542" fmla="*/ 2639880 w 3931228"/>
                <a:gd name="connsiteY542" fmla="*/ 1944172 h 4098010"/>
                <a:gd name="connsiteX543" fmla="*/ 2644644 w 3931228"/>
                <a:gd name="connsiteY543" fmla="*/ 1963232 h 4098010"/>
                <a:gd name="connsiteX544" fmla="*/ 2668468 w 3931228"/>
                <a:gd name="connsiteY544" fmla="*/ 2001354 h 4098010"/>
                <a:gd name="connsiteX545" fmla="*/ 2678000 w 3931228"/>
                <a:gd name="connsiteY545" fmla="*/ 2015648 h 4098010"/>
                <a:gd name="connsiteX546" fmla="*/ 2687532 w 3931228"/>
                <a:gd name="connsiteY546" fmla="*/ 2025178 h 4098010"/>
                <a:gd name="connsiteX547" fmla="*/ 2649408 w 3931228"/>
                <a:gd name="connsiteY547" fmla="*/ 2039474 h 4098010"/>
                <a:gd name="connsiteX548" fmla="*/ 2644644 w 3931228"/>
                <a:gd name="connsiteY548" fmla="*/ 2044240 h 4098010"/>
                <a:gd name="connsiteX549" fmla="*/ 2620820 w 3931228"/>
                <a:gd name="connsiteY549" fmla="*/ 2068064 h 4098010"/>
                <a:gd name="connsiteX550" fmla="*/ 2616052 w 3931228"/>
                <a:gd name="connsiteY550" fmla="*/ 2087126 h 4098010"/>
                <a:gd name="connsiteX551" fmla="*/ 2616052 w 3931228"/>
                <a:gd name="connsiteY551" fmla="*/ 2115716 h 4098010"/>
                <a:gd name="connsiteX552" fmla="*/ 2611288 w 3931228"/>
                <a:gd name="connsiteY552" fmla="*/ 2120482 h 4098010"/>
                <a:gd name="connsiteX553" fmla="*/ 2606524 w 3931228"/>
                <a:gd name="connsiteY553" fmla="*/ 2130012 h 4098010"/>
                <a:gd name="connsiteX554" fmla="*/ 2596992 w 3931228"/>
                <a:gd name="connsiteY554" fmla="*/ 2134776 h 4098010"/>
                <a:gd name="connsiteX555" fmla="*/ 2573168 w 3931228"/>
                <a:gd name="connsiteY555" fmla="*/ 2144306 h 4098010"/>
                <a:gd name="connsiteX556" fmla="*/ 2558872 w 3931228"/>
                <a:gd name="connsiteY556" fmla="*/ 2158602 h 4098010"/>
                <a:gd name="connsiteX557" fmla="*/ 2544576 w 3931228"/>
                <a:gd name="connsiteY557" fmla="*/ 2172898 h 4098010"/>
                <a:gd name="connsiteX558" fmla="*/ 2535048 w 3931228"/>
                <a:gd name="connsiteY558" fmla="*/ 2182428 h 4098010"/>
                <a:gd name="connsiteX559" fmla="*/ 2525516 w 3931228"/>
                <a:gd name="connsiteY559" fmla="*/ 2182428 h 4098010"/>
                <a:gd name="connsiteX560" fmla="*/ 2515984 w 3931228"/>
                <a:gd name="connsiteY560" fmla="*/ 2172898 h 4098010"/>
                <a:gd name="connsiteX561" fmla="*/ 2525516 w 3931228"/>
                <a:gd name="connsiteY561" fmla="*/ 2163368 h 4098010"/>
                <a:gd name="connsiteX562" fmla="*/ 2520752 w 3931228"/>
                <a:gd name="connsiteY562" fmla="*/ 2149072 h 4098010"/>
                <a:gd name="connsiteX563" fmla="*/ 2525516 w 3931228"/>
                <a:gd name="connsiteY563" fmla="*/ 2120482 h 4098010"/>
                <a:gd name="connsiteX564" fmla="*/ 2520752 w 3931228"/>
                <a:gd name="connsiteY564" fmla="*/ 2106186 h 4098010"/>
                <a:gd name="connsiteX565" fmla="*/ 2535048 w 3931228"/>
                <a:gd name="connsiteY565" fmla="*/ 2096656 h 4098010"/>
                <a:gd name="connsiteX566" fmla="*/ 2539812 w 3931228"/>
                <a:gd name="connsiteY566" fmla="*/ 2082360 h 4098010"/>
                <a:gd name="connsiteX567" fmla="*/ 2554108 w 3931228"/>
                <a:gd name="connsiteY567" fmla="*/ 2072830 h 4098010"/>
                <a:gd name="connsiteX568" fmla="*/ 2563636 w 3931228"/>
                <a:gd name="connsiteY568" fmla="*/ 2063300 h 4098010"/>
                <a:gd name="connsiteX569" fmla="*/ 2563636 w 3931228"/>
                <a:gd name="connsiteY569" fmla="*/ 2053770 h 4098010"/>
                <a:gd name="connsiteX570" fmla="*/ 2554108 w 3931228"/>
                <a:gd name="connsiteY570" fmla="*/ 2044240 h 4098010"/>
                <a:gd name="connsiteX571" fmla="*/ 2549340 w 3931228"/>
                <a:gd name="connsiteY571" fmla="*/ 2034708 h 4098010"/>
                <a:gd name="connsiteX572" fmla="*/ 2535048 w 3931228"/>
                <a:gd name="connsiteY572" fmla="*/ 2034708 h 4098010"/>
                <a:gd name="connsiteX573" fmla="*/ 2525516 w 3931228"/>
                <a:gd name="connsiteY573" fmla="*/ 2039474 h 4098010"/>
                <a:gd name="connsiteX574" fmla="*/ 2515984 w 3931228"/>
                <a:gd name="connsiteY574" fmla="*/ 2049004 h 4098010"/>
                <a:gd name="connsiteX575" fmla="*/ 2515984 w 3931228"/>
                <a:gd name="connsiteY575" fmla="*/ 2058534 h 4098010"/>
                <a:gd name="connsiteX576" fmla="*/ 2515984 w 3931228"/>
                <a:gd name="connsiteY576" fmla="*/ 2063300 h 4098010"/>
                <a:gd name="connsiteX577" fmla="*/ 2511220 w 3931228"/>
                <a:gd name="connsiteY577" fmla="*/ 2068064 h 4098010"/>
                <a:gd name="connsiteX578" fmla="*/ 2496924 w 3931228"/>
                <a:gd name="connsiteY578" fmla="*/ 2087126 h 4098010"/>
                <a:gd name="connsiteX579" fmla="*/ 2496924 w 3931228"/>
                <a:gd name="connsiteY579" fmla="*/ 2101420 h 4098010"/>
                <a:gd name="connsiteX580" fmla="*/ 2501692 w 3931228"/>
                <a:gd name="connsiteY580" fmla="*/ 2110952 h 4098010"/>
                <a:gd name="connsiteX581" fmla="*/ 2511220 w 3931228"/>
                <a:gd name="connsiteY581" fmla="*/ 2115716 h 4098010"/>
                <a:gd name="connsiteX582" fmla="*/ 2506456 w 3931228"/>
                <a:gd name="connsiteY582" fmla="*/ 2120482 h 4098010"/>
                <a:gd name="connsiteX583" fmla="*/ 2496924 w 3931228"/>
                <a:gd name="connsiteY583" fmla="*/ 2134776 h 4098010"/>
                <a:gd name="connsiteX584" fmla="*/ 2492160 w 3931228"/>
                <a:gd name="connsiteY584" fmla="*/ 2139542 h 4098010"/>
                <a:gd name="connsiteX585" fmla="*/ 2482628 w 3931228"/>
                <a:gd name="connsiteY585" fmla="*/ 2115716 h 4098010"/>
                <a:gd name="connsiteX586" fmla="*/ 2468336 w 3931228"/>
                <a:gd name="connsiteY586" fmla="*/ 2106186 h 4098010"/>
                <a:gd name="connsiteX587" fmla="*/ 2449276 w 3931228"/>
                <a:gd name="connsiteY587" fmla="*/ 2106186 h 4098010"/>
                <a:gd name="connsiteX588" fmla="*/ 2430212 w 3931228"/>
                <a:gd name="connsiteY588" fmla="*/ 2110952 h 4098010"/>
                <a:gd name="connsiteX589" fmla="*/ 2420684 w 3931228"/>
                <a:gd name="connsiteY589" fmla="*/ 2125246 h 4098010"/>
                <a:gd name="connsiteX590" fmla="*/ 2415920 w 3931228"/>
                <a:gd name="connsiteY590" fmla="*/ 2134776 h 4098010"/>
                <a:gd name="connsiteX591" fmla="*/ 2411152 w 3931228"/>
                <a:gd name="connsiteY591" fmla="*/ 2144306 h 4098010"/>
                <a:gd name="connsiteX592" fmla="*/ 2411152 w 3931228"/>
                <a:gd name="connsiteY592" fmla="*/ 2172898 h 4098010"/>
                <a:gd name="connsiteX593" fmla="*/ 2406388 w 3931228"/>
                <a:gd name="connsiteY593" fmla="*/ 2196724 h 4098010"/>
                <a:gd name="connsiteX594" fmla="*/ 2396856 w 3931228"/>
                <a:gd name="connsiteY594" fmla="*/ 2215784 h 4098010"/>
                <a:gd name="connsiteX595" fmla="*/ 2392092 w 3931228"/>
                <a:gd name="connsiteY595" fmla="*/ 2220548 h 4098010"/>
                <a:gd name="connsiteX596" fmla="*/ 2377796 w 3931228"/>
                <a:gd name="connsiteY596" fmla="*/ 2234844 h 4098010"/>
                <a:gd name="connsiteX597" fmla="*/ 2368268 w 3931228"/>
                <a:gd name="connsiteY597" fmla="*/ 2234844 h 4098010"/>
                <a:gd name="connsiteX598" fmla="*/ 2363500 w 3931228"/>
                <a:gd name="connsiteY598" fmla="*/ 2230080 h 4098010"/>
                <a:gd name="connsiteX599" fmla="*/ 2353972 w 3931228"/>
                <a:gd name="connsiteY599" fmla="*/ 2220548 h 4098010"/>
                <a:gd name="connsiteX600" fmla="*/ 2363500 w 3931228"/>
                <a:gd name="connsiteY600" fmla="*/ 2187192 h 4098010"/>
                <a:gd name="connsiteX601" fmla="*/ 2363500 w 3931228"/>
                <a:gd name="connsiteY601" fmla="*/ 2168132 h 4098010"/>
                <a:gd name="connsiteX602" fmla="*/ 2377796 w 3931228"/>
                <a:gd name="connsiteY602" fmla="*/ 2158602 h 4098010"/>
                <a:gd name="connsiteX603" fmla="*/ 2363500 w 3931228"/>
                <a:gd name="connsiteY603" fmla="*/ 2144306 h 4098010"/>
                <a:gd name="connsiteX604" fmla="*/ 2349208 w 3931228"/>
                <a:gd name="connsiteY604" fmla="*/ 2139542 h 4098010"/>
                <a:gd name="connsiteX605" fmla="*/ 2325380 w 3931228"/>
                <a:gd name="connsiteY605" fmla="*/ 2149072 h 4098010"/>
                <a:gd name="connsiteX606" fmla="*/ 2320616 w 3931228"/>
                <a:gd name="connsiteY606" fmla="*/ 2153838 h 4098010"/>
                <a:gd name="connsiteX607" fmla="*/ 2315852 w 3931228"/>
                <a:gd name="connsiteY607" fmla="*/ 2168132 h 4098010"/>
                <a:gd name="connsiteX608" fmla="*/ 2306320 w 3931228"/>
                <a:gd name="connsiteY608" fmla="*/ 2182428 h 4098010"/>
                <a:gd name="connsiteX609" fmla="*/ 2292024 w 3931228"/>
                <a:gd name="connsiteY609" fmla="*/ 2191958 h 4098010"/>
                <a:gd name="connsiteX610" fmla="*/ 2277728 w 3931228"/>
                <a:gd name="connsiteY610" fmla="*/ 2215784 h 4098010"/>
                <a:gd name="connsiteX611" fmla="*/ 2268200 w 3931228"/>
                <a:gd name="connsiteY611" fmla="*/ 2239610 h 4098010"/>
                <a:gd name="connsiteX612" fmla="*/ 2234844 w 3931228"/>
                <a:gd name="connsiteY612" fmla="*/ 2234844 h 4098010"/>
                <a:gd name="connsiteX613" fmla="*/ 2215784 w 3931228"/>
                <a:gd name="connsiteY613" fmla="*/ 2230080 h 4098010"/>
                <a:gd name="connsiteX614" fmla="*/ 2196724 w 3931228"/>
                <a:gd name="connsiteY614" fmla="*/ 2230080 h 4098010"/>
                <a:gd name="connsiteX615" fmla="*/ 2163368 w 3931228"/>
                <a:gd name="connsiteY615" fmla="*/ 2230080 h 4098010"/>
                <a:gd name="connsiteX616" fmla="*/ 2130012 w 3931228"/>
                <a:gd name="connsiteY616" fmla="*/ 2234844 h 4098010"/>
                <a:gd name="connsiteX617" fmla="*/ 2091888 w 3931228"/>
                <a:gd name="connsiteY617" fmla="*/ 2244374 h 4098010"/>
                <a:gd name="connsiteX618" fmla="*/ 2091888 w 3931228"/>
                <a:gd name="connsiteY618" fmla="*/ 2234844 h 4098010"/>
                <a:gd name="connsiteX619" fmla="*/ 2125244 w 3931228"/>
                <a:gd name="connsiteY619" fmla="*/ 2220548 h 4098010"/>
                <a:gd name="connsiteX620" fmla="*/ 2125244 w 3931228"/>
                <a:gd name="connsiteY620" fmla="*/ 2215784 h 4098010"/>
                <a:gd name="connsiteX621" fmla="*/ 2125244 w 3931228"/>
                <a:gd name="connsiteY621" fmla="*/ 2206254 h 4098010"/>
                <a:gd name="connsiteX622" fmla="*/ 2115716 w 3931228"/>
                <a:gd name="connsiteY622" fmla="*/ 2206254 h 4098010"/>
                <a:gd name="connsiteX623" fmla="*/ 2096656 w 3931228"/>
                <a:gd name="connsiteY623" fmla="*/ 2211018 h 4098010"/>
                <a:gd name="connsiteX624" fmla="*/ 2087124 w 3931228"/>
                <a:gd name="connsiteY624" fmla="*/ 2211018 h 4098010"/>
                <a:gd name="connsiteX625" fmla="*/ 2082360 w 3931228"/>
                <a:gd name="connsiteY625" fmla="*/ 2201488 h 4098010"/>
                <a:gd name="connsiteX626" fmla="*/ 2077596 w 3931228"/>
                <a:gd name="connsiteY626" fmla="*/ 2196724 h 4098010"/>
                <a:gd name="connsiteX627" fmla="*/ 2072828 w 3931228"/>
                <a:gd name="connsiteY627" fmla="*/ 2201488 h 4098010"/>
                <a:gd name="connsiteX628" fmla="*/ 2072828 w 3931228"/>
                <a:gd name="connsiteY628" fmla="*/ 2215784 h 4098010"/>
                <a:gd name="connsiteX629" fmla="*/ 2068064 w 3931228"/>
                <a:gd name="connsiteY629" fmla="*/ 2220548 h 4098010"/>
                <a:gd name="connsiteX630" fmla="*/ 2063300 w 3931228"/>
                <a:gd name="connsiteY630" fmla="*/ 2215784 h 4098010"/>
                <a:gd name="connsiteX631" fmla="*/ 2063300 w 3931228"/>
                <a:gd name="connsiteY631" fmla="*/ 2201488 h 4098010"/>
                <a:gd name="connsiteX632" fmla="*/ 2058532 w 3931228"/>
                <a:gd name="connsiteY632" fmla="*/ 2182428 h 4098010"/>
                <a:gd name="connsiteX633" fmla="*/ 2058532 w 3931228"/>
                <a:gd name="connsiteY633" fmla="*/ 2168132 h 4098010"/>
                <a:gd name="connsiteX634" fmla="*/ 2063300 w 3931228"/>
                <a:gd name="connsiteY634" fmla="*/ 2158602 h 4098010"/>
                <a:gd name="connsiteX635" fmla="*/ 2058532 w 3931228"/>
                <a:gd name="connsiteY635" fmla="*/ 2153838 h 4098010"/>
                <a:gd name="connsiteX636" fmla="*/ 2049004 w 3931228"/>
                <a:gd name="connsiteY636" fmla="*/ 2153838 h 4098010"/>
                <a:gd name="connsiteX637" fmla="*/ 2039472 w 3931228"/>
                <a:gd name="connsiteY637" fmla="*/ 2158602 h 4098010"/>
                <a:gd name="connsiteX638" fmla="*/ 2034708 w 3931228"/>
                <a:gd name="connsiteY638" fmla="*/ 2168132 h 4098010"/>
                <a:gd name="connsiteX639" fmla="*/ 2015648 w 3931228"/>
                <a:gd name="connsiteY639" fmla="*/ 2206254 h 4098010"/>
                <a:gd name="connsiteX640" fmla="*/ 2006116 w 3931228"/>
                <a:gd name="connsiteY640" fmla="*/ 2225314 h 4098010"/>
                <a:gd name="connsiteX641" fmla="*/ 2020412 w 3931228"/>
                <a:gd name="connsiteY641" fmla="*/ 2244374 h 4098010"/>
                <a:gd name="connsiteX642" fmla="*/ 2053768 w 3931228"/>
                <a:gd name="connsiteY642" fmla="*/ 2268200 h 4098010"/>
                <a:gd name="connsiteX643" fmla="*/ 2063300 w 3931228"/>
                <a:gd name="connsiteY643" fmla="*/ 2272966 h 4098010"/>
                <a:gd name="connsiteX644" fmla="*/ 2063300 w 3931228"/>
                <a:gd name="connsiteY644" fmla="*/ 2282496 h 4098010"/>
                <a:gd name="connsiteX645" fmla="*/ 2058532 w 3931228"/>
                <a:gd name="connsiteY645" fmla="*/ 2292026 h 4098010"/>
                <a:gd name="connsiteX646" fmla="*/ 2049004 w 3931228"/>
                <a:gd name="connsiteY646" fmla="*/ 2296792 h 4098010"/>
                <a:gd name="connsiteX647" fmla="*/ 2010884 w 3931228"/>
                <a:gd name="connsiteY647" fmla="*/ 2306322 h 4098010"/>
                <a:gd name="connsiteX648" fmla="*/ 1977528 w 3931228"/>
                <a:gd name="connsiteY648" fmla="*/ 2320616 h 4098010"/>
                <a:gd name="connsiteX649" fmla="*/ 1967996 w 3931228"/>
                <a:gd name="connsiteY649" fmla="*/ 2334912 h 4098010"/>
                <a:gd name="connsiteX650" fmla="*/ 1934640 w 3931228"/>
                <a:gd name="connsiteY650" fmla="*/ 2396858 h 4098010"/>
                <a:gd name="connsiteX651" fmla="*/ 1910816 w 3931228"/>
                <a:gd name="connsiteY651" fmla="*/ 2434980 h 4098010"/>
                <a:gd name="connsiteX652" fmla="*/ 1877460 w 3931228"/>
                <a:gd name="connsiteY652" fmla="*/ 2449276 h 4098010"/>
                <a:gd name="connsiteX653" fmla="*/ 1839336 w 3931228"/>
                <a:gd name="connsiteY653" fmla="*/ 2439744 h 4098010"/>
                <a:gd name="connsiteX654" fmla="*/ 1829808 w 3931228"/>
                <a:gd name="connsiteY654" fmla="*/ 2425450 h 4098010"/>
                <a:gd name="connsiteX655" fmla="*/ 1825044 w 3931228"/>
                <a:gd name="connsiteY655" fmla="*/ 2406388 h 4098010"/>
                <a:gd name="connsiteX656" fmla="*/ 1810748 w 3931228"/>
                <a:gd name="connsiteY656" fmla="*/ 2392094 h 4098010"/>
                <a:gd name="connsiteX657" fmla="*/ 1796452 w 3931228"/>
                <a:gd name="connsiteY657" fmla="*/ 2373032 h 4098010"/>
                <a:gd name="connsiteX658" fmla="*/ 1786920 w 3931228"/>
                <a:gd name="connsiteY658" fmla="*/ 2353972 h 4098010"/>
                <a:gd name="connsiteX659" fmla="*/ 1791688 w 3931228"/>
                <a:gd name="connsiteY659" fmla="*/ 2320616 h 4098010"/>
                <a:gd name="connsiteX660" fmla="*/ 1782156 w 3931228"/>
                <a:gd name="connsiteY660" fmla="*/ 2301556 h 4098010"/>
                <a:gd name="connsiteX661" fmla="*/ 1786920 w 3931228"/>
                <a:gd name="connsiteY661" fmla="*/ 2292026 h 4098010"/>
                <a:gd name="connsiteX662" fmla="*/ 1810748 w 3931228"/>
                <a:gd name="connsiteY662" fmla="*/ 2282496 h 4098010"/>
                <a:gd name="connsiteX663" fmla="*/ 1815512 w 3931228"/>
                <a:gd name="connsiteY663" fmla="*/ 2272966 h 4098010"/>
                <a:gd name="connsiteX664" fmla="*/ 1829808 w 3931228"/>
                <a:gd name="connsiteY664" fmla="*/ 2258670 h 4098010"/>
                <a:gd name="connsiteX665" fmla="*/ 1834572 w 3931228"/>
                <a:gd name="connsiteY665" fmla="*/ 2249140 h 4098010"/>
                <a:gd name="connsiteX666" fmla="*/ 1834572 w 3931228"/>
                <a:gd name="connsiteY666" fmla="*/ 2234844 h 4098010"/>
                <a:gd name="connsiteX667" fmla="*/ 1825044 w 3931228"/>
                <a:gd name="connsiteY667" fmla="*/ 2230080 h 4098010"/>
                <a:gd name="connsiteX668" fmla="*/ 1801216 w 3931228"/>
                <a:gd name="connsiteY668" fmla="*/ 2230080 h 4098010"/>
                <a:gd name="connsiteX669" fmla="*/ 1772628 w 3931228"/>
                <a:gd name="connsiteY669" fmla="*/ 2234844 h 4098010"/>
                <a:gd name="connsiteX670" fmla="*/ 1758332 w 3931228"/>
                <a:gd name="connsiteY670" fmla="*/ 2230080 h 4098010"/>
                <a:gd name="connsiteX671" fmla="*/ 1734504 w 3931228"/>
                <a:gd name="connsiteY671" fmla="*/ 2211018 h 4098010"/>
                <a:gd name="connsiteX672" fmla="*/ 1729740 w 3931228"/>
                <a:gd name="connsiteY672" fmla="*/ 2211018 h 4098010"/>
                <a:gd name="connsiteX673" fmla="*/ 1705916 w 3931228"/>
                <a:gd name="connsiteY673" fmla="*/ 2206254 h 4098010"/>
                <a:gd name="connsiteX674" fmla="*/ 1686852 w 3931228"/>
                <a:gd name="connsiteY674" fmla="*/ 2211018 h 4098010"/>
                <a:gd name="connsiteX675" fmla="*/ 1667792 w 3931228"/>
                <a:gd name="connsiteY675" fmla="*/ 2215784 h 4098010"/>
                <a:gd name="connsiteX676" fmla="*/ 1648732 w 3931228"/>
                <a:gd name="connsiteY676" fmla="*/ 2220548 h 4098010"/>
                <a:gd name="connsiteX677" fmla="*/ 1643968 w 3931228"/>
                <a:gd name="connsiteY677" fmla="*/ 2220548 h 4098010"/>
                <a:gd name="connsiteX678" fmla="*/ 1624908 w 3931228"/>
                <a:gd name="connsiteY678" fmla="*/ 2239610 h 4098010"/>
                <a:gd name="connsiteX679" fmla="*/ 1605848 w 3931228"/>
                <a:gd name="connsiteY679" fmla="*/ 2253904 h 4098010"/>
                <a:gd name="connsiteX680" fmla="*/ 1591552 w 3931228"/>
                <a:gd name="connsiteY680" fmla="*/ 2258670 h 4098010"/>
                <a:gd name="connsiteX681" fmla="*/ 1562960 w 3931228"/>
                <a:gd name="connsiteY681" fmla="*/ 2263436 h 4098010"/>
                <a:gd name="connsiteX682" fmla="*/ 1548664 w 3931228"/>
                <a:gd name="connsiteY682" fmla="*/ 2268200 h 4098010"/>
                <a:gd name="connsiteX683" fmla="*/ 1529604 w 3931228"/>
                <a:gd name="connsiteY683" fmla="*/ 2272966 h 4098010"/>
                <a:gd name="connsiteX684" fmla="*/ 1524840 w 3931228"/>
                <a:gd name="connsiteY684" fmla="*/ 2272966 h 4098010"/>
                <a:gd name="connsiteX685" fmla="*/ 1510544 w 3931228"/>
                <a:gd name="connsiteY685" fmla="*/ 2282496 h 4098010"/>
                <a:gd name="connsiteX686" fmla="*/ 1491484 w 3931228"/>
                <a:gd name="connsiteY686" fmla="*/ 2287260 h 4098010"/>
                <a:gd name="connsiteX687" fmla="*/ 1477188 w 3931228"/>
                <a:gd name="connsiteY687" fmla="*/ 2296792 h 4098010"/>
                <a:gd name="connsiteX688" fmla="*/ 1458128 w 3931228"/>
                <a:gd name="connsiteY688" fmla="*/ 2292026 h 4098010"/>
                <a:gd name="connsiteX689" fmla="*/ 1420008 w 3931228"/>
                <a:gd name="connsiteY689" fmla="*/ 2306322 h 4098010"/>
                <a:gd name="connsiteX690" fmla="*/ 1400948 w 3931228"/>
                <a:gd name="connsiteY690" fmla="*/ 2306322 h 4098010"/>
                <a:gd name="connsiteX691" fmla="*/ 1381884 w 3931228"/>
                <a:gd name="connsiteY691" fmla="*/ 2301556 h 4098010"/>
                <a:gd name="connsiteX692" fmla="*/ 1367592 w 3931228"/>
                <a:gd name="connsiteY692" fmla="*/ 2287260 h 4098010"/>
                <a:gd name="connsiteX693" fmla="*/ 1348528 w 3931228"/>
                <a:gd name="connsiteY693" fmla="*/ 2292026 h 4098010"/>
                <a:gd name="connsiteX694" fmla="*/ 1339000 w 3931228"/>
                <a:gd name="connsiteY694" fmla="*/ 2311086 h 4098010"/>
                <a:gd name="connsiteX695" fmla="*/ 1329468 w 3931228"/>
                <a:gd name="connsiteY695" fmla="*/ 2349208 h 4098010"/>
                <a:gd name="connsiteX696" fmla="*/ 1324704 w 3931228"/>
                <a:gd name="connsiteY696" fmla="*/ 2363502 h 4098010"/>
                <a:gd name="connsiteX697" fmla="*/ 1324704 w 3931228"/>
                <a:gd name="connsiteY697" fmla="*/ 2382564 h 4098010"/>
                <a:gd name="connsiteX698" fmla="*/ 1315176 w 3931228"/>
                <a:gd name="connsiteY698" fmla="*/ 2382564 h 4098010"/>
                <a:gd name="connsiteX699" fmla="*/ 1262756 w 3931228"/>
                <a:gd name="connsiteY699" fmla="*/ 2344442 h 4098010"/>
                <a:gd name="connsiteX700" fmla="*/ 1257992 w 3931228"/>
                <a:gd name="connsiteY700" fmla="*/ 2344442 h 4098010"/>
                <a:gd name="connsiteX701" fmla="*/ 1219872 w 3931228"/>
                <a:gd name="connsiteY701" fmla="*/ 2349208 h 4098010"/>
                <a:gd name="connsiteX702" fmla="*/ 1205576 w 3931228"/>
                <a:gd name="connsiteY702" fmla="*/ 2353972 h 4098010"/>
                <a:gd name="connsiteX703" fmla="*/ 1196044 w 3931228"/>
                <a:gd name="connsiteY703" fmla="*/ 2358738 h 4098010"/>
                <a:gd name="connsiteX704" fmla="*/ 1181752 w 3931228"/>
                <a:gd name="connsiteY704" fmla="*/ 2363502 h 4098010"/>
                <a:gd name="connsiteX705" fmla="*/ 1167456 w 3931228"/>
                <a:gd name="connsiteY705" fmla="*/ 2358738 h 4098010"/>
                <a:gd name="connsiteX706" fmla="*/ 1153160 w 3931228"/>
                <a:gd name="connsiteY706" fmla="*/ 2349208 h 4098010"/>
                <a:gd name="connsiteX707" fmla="*/ 1143628 w 3931228"/>
                <a:gd name="connsiteY707" fmla="*/ 2353972 h 4098010"/>
                <a:gd name="connsiteX708" fmla="*/ 1129336 w 3931228"/>
                <a:gd name="connsiteY708" fmla="*/ 2358738 h 4098010"/>
                <a:gd name="connsiteX709" fmla="*/ 1124568 w 3931228"/>
                <a:gd name="connsiteY709" fmla="*/ 2306322 h 4098010"/>
                <a:gd name="connsiteX710" fmla="*/ 1129336 w 3931228"/>
                <a:gd name="connsiteY710" fmla="*/ 2296792 h 4098010"/>
                <a:gd name="connsiteX711" fmla="*/ 1134100 w 3931228"/>
                <a:gd name="connsiteY711" fmla="*/ 2287260 h 4098010"/>
                <a:gd name="connsiteX712" fmla="*/ 1143628 w 3931228"/>
                <a:gd name="connsiteY712" fmla="*/ 2277730 h 4098010"/>
                <a:gd name="connsiteX713" fmla="*/ 1162692 w 3931228"/>
                <a:gd name="connsiteY713" fmla="*/ 2277730 h 4098010"/>
                <a:gd name="connsiteX714" fmla="*/ 1186516 w 3931228"/>
                <a:gd name="connsiteY714" fmla="*/ 2277730 h 4098010"/>
                <a:gd name="connsiteX715" fmla="*/ 1200812 w 3931228"/>
                <a:gd name="connsiteY715" fmla="*/ 2277730 h 4098010"/>
                <a:gd name="connsiteX716" fmla="*/ 1210340 w 3931228"/>
                <a:gd name="connsiteY716" fmla="*/ 2263436 h 4098010"/>
                <a:gd name="connsiteX717" fmla="*/ 1224636 w 3931228"/>
                <a:gd name="connsiteY717" fmla="*/ 2249140 h 4098010"/>
                <a:gd name="connsiteX718" fmla="*/ 1238932 w 3931228"/>
                <a:gd name="connsiteY718" fmla="*/ 2239610 h 4098010"/>
                <a:gd name="connsiteX719" fmla="*/ 1257992 w 3931228"/>
                <a:gd name="connsiteY719" fmla="*/ 2225314 h 4098010"/>
                <a:gd name="connsiteX720" fmla="*/ 1277052 w 3931228"/>
                <a:gd name="connsiteY720" fmla="*/ 2215784 h 4098010"/>
                <a:gd name="connsiteX721" fmla="*/ 1296112 w 3931228"/>
                <a:gd name="connsiteY721" fmla="*/ 2201488 h 4098010"/>
                <a:gd name="connsiteX722" fmla="*/ 1310408 w 3931228"/>
                <a:gd name="connsiteY722" fmla="*/ 2182428 h 4098010"/>
                <a:gd name="connsiteX723" fmla="*/ 1324704 w 3931228"/>
                <a:gd name="connsiteY723" fmla="*/ 2168132 h 4098010"/>
                <a:gd name="connsiteX724" fmla="*/ 1339000 w 3931228"/>
                <a:gd name="connsiteY724" fmla="*/ 2158602 h 4098010"/>
                <a:gd name="connsiteX725" fmla="*/ 1362824 w 3931228"/>
                <a:gd name="connsiteY725" fmla="*/ 2134776 h 4098010"/>
                <a:gd name="connsiteX726" fmla="*/ 1396180 w 3931228"/>
                <a:gd name="connsiteY726" fmla="*/ 2106186 h 4098010"/>
                <a:gd name="connsiteX727" fmla="*/ 1410476 w 3931228"/>
                <a:gd name="connsiteY727" fmla="*/ 2082360 h 4098010"/>
                <a:gd name="connsiteX728" fmla="*/ 1415240 w 3931228"/>
                <a:gd name="connsiteY728" fmla="*/ 2077596 h 4098010"/>
                <a:gd name="connsiteX729" fmla="*/ 1443832 w 3931228"/>
                <a:gd name="connsiteY729" fmla="*/ 2068064 h 4098010"/>
                <a:gd name="connsiteX730" fmla="*/ 1481952 w 3931228"/>
                <a:gd name="connsiteY730" fmla="*/ 2058534 h 4098010"/>
                <a:gd name="connsiteX731" fmla="*/ 1496248 w 3931228"/>
                <a:gd name="connsiteY731" fmla="*/ 2058534 h 4098010"/>
                <a:gd name="connsiteX732" fmla="*/ 1515308 w 3931228"/>
                <a:gd name="connsiteY732" fmla="*/ 2077596 h 4098010"/>
                <a:gd name="connsiteX733" fmla="*/ 1524840 w 3931228"/>
                <a:gd name="connsiteY733" fmla="*/ 2072830 h 4098010"/>
                <a:gd name="connsiteX734" fmla="*/ 1534368 w 3931228"/>
                <a:gd name="connsiteY734" fmla="*/ 2068064 h 4098010"/>
                <a:gd name="connsiteX735" fmla="*/ 1553432 w 3931228"/>
                <a:gd name="connsiteY735" fmla="*/ 2068064 h 4098010"/>
                <a:gd name="connsiteX736" fmla="*/ 1572492 w 3931228"/>
                <a:gd name="connsiteY736" fmla="*/ 2068064 h 4098010"/>
                <a:gd name="connsiteX737" fmla="*/ 1591552 w 3931228"/>
                <a:gd name="connsiteY737" fmla="*/ 2068064 h 4098010"/>
                <a:gd name="connsiteX738" fmla="*/ 1610612 w 3931228"/>
                <a:gd name="connsiteY738" fmla="*/ 2068064 h 4098010"/>
                <a:gd name="connsiteX739" fmla="*/ 1643968 w 3931228"/>
                <a:gd name="connsiteY739" fmla="*/ 2063300 h 4098010"/>
                <a:gd name="connsiteX740" fmla="*/ 1663028 w 3931228"/>
                <a:gd name="connsiteY740" fmla="*/ 2053770 h 4098010"/>
                <a:gd name="connsiteX741" fmla="*/ 1682088 w 3931228"/>
                <a:gd name="connsiteY741" fmla="*/ 2044240 h 4098010"/>
                <a:gd name="connsiteX742" fmla="*/ 1748800 w 3931228"/>
                <a:gd name="connsiteY742" fmla="*/ 2039474 h 4098010"/>
                <a:gd name="connsiteX743" fmla="*/ 1796452 w 3931228"/>
                <a:gd name="connsiteY743" fmla="*/ 2020414 h 4098010"/>
                <a:gd name="connsiteX744" fmla="*/ 1801216 w 3931228"/>
                <a:gd name="connsiteY744" fmla="*/ 2020414 h 4098010"/>
                <a:gd name="connsiteX745" fmla="*/ 1810748 w 3931228"/>
                <a:gd name="connsiteY745" fmla="*/ 2025178 h 4098010"/>
                <a:gd name="connsiteX746" fmla="*/ 1810748 w 3931228"/>
                <a:gd name="connsiteY746" fmla="*/ 2039474 h 4098010"/>
                <a:gd name="connsiteX747" fmla="*/ 1805984 w 3931228"/>
                <a:gd name="connsiteY747" fmla="*/ 2049004 h 4098010"/>
                <a:gd name="connsiteX748" fmla="*/ 1810748 w 3931228"/>
                <a:gd name="connsiteY748" fmla="*/ 2058534 h 4098010"/>
                <a:gd name="connsiteX749" fmla="*/ 1820276 w 3931228"/>
                <a:gd name="connsiteY749" fmla="*/ 2063300 h 4098010"/>
                <a:gd name="connsiteX750" fmla="*/ 1863164 w 3931228"/>
                <a:gd name="connsiteY750" fmla="*/ 2063300 h 4098010"/>
                <a:gd name="connsiteX751" fmla="*/ 1872692 w 3931228"/>
                <a:gd name="connsiteY751" fmla="*/ 2068064 h 4098010"/>
                <a:gd name="connsiteX752" fmla="*/ 1891756 w 3931228"/>
                <a:gd name="connsiteY752" fmla="*/ 2058534 h 4098010"/>
                <a:gd name="connsiteX753" fmla="*/ 1910816 w 3931228"/>
                <a:gd name="connsiteY753" fmla="*/ 2049004 h 4098010"/>
                <a:gd name="connsiteX754" fmla="*/ 1925112 w 3931228"/>
                <a:gd name="connsiteY754" fmla="*/ 2034708 h 4098010"/>
                <a:gd name="connsiteX755" fmla="*/ 1939404 w 3931228"/>
                <a:gd name="connsiteY755" fmla="*/ 2015648 h 4098010"/>
                <a:gd name="connsiteX756" fmla="*/ 1929876 w 3931228"/>
                <a:gd name="connsiteY756" fmla="*/ 1996588 h 4098010"/>
                <a:gd name="connsiteX757" fmla="*/ 1925112 w 3931228"/>
                <a:gd name="connsiteY757" fmla="*/ 1972762 h 4098010"/>
                <a:gd name="connsiteX758" fmla="*/ 1934640 w 3931228"/>
                <a:gd name="connsiteY758" fmla="*/ 1948936 h 4098010"/>
                <a:gd name="connsiteX759" fmla="*/ 1948936 w 3931228"/>
                <a:gd name="connsiteY759" fmla="*/ 1929876 h 4098010"/>
                <a:gd name="connsiteX760" fmla="*/ 1967996 w 3931228"/>
                <a:gd name="connsiteY760" fmla="*/ 1915580 h 4098010"/>
                <a:gd name="connsiteX761" fmla="*/ 1982292 w 3931228"/>
                <a:gd name="connsiteY761" fmla="*/ 1901286 h 4098010"/>
                <a:gd name="connsiteX762" fmla="*/ 2010884 w 3931228"/>
                <a:gd name="connsiteY762" fmla="*/ 1863164 h 4098010"/>
                <a:gd name="connsiteX763" fmla="*/ 2034708 w 3931228"/>
                <a:gd name="connsiteY763" fmla="*/ 1829808 h 4098010"/>
                <a:gd name="connsiteX764" fmla="*/ 2044240 w 3931228"/>
                <a:gd name="connsiteY764" fmla="*/ 1786922 h 4098010"/>
                <a:gd name="connsiteX765" fmla="*/ 2039472 w 3931228"/>
                <a:gd name="connsiteY765" fmla="*/ 1739272 h 4098010"/>
                <a:gd name="connsiteX766" fmla="*/ 2053768 w 3931228"/>
                <a:gd name="connsiteY766" fmla="*/ 1701150 h 4098010"/>
                <a:gd name="connsiteX767" fmla="*/ 2077596 w 3931228"/>
                <a:gd name="connsiteY767" fmla="*/ 1696384 h 4098010"/>
                <a:gd name="connsiteX768" fmla="*/ 2110952 w 3931228"/>
                <a:gd name="connsiteY768" fmla="*/ 1682090 h 4098010"/>
                <a:gd name="connsiteX769" fmla="*/ 2130012 w 3931228"/>
                <a:gd name="connsiteY769" fmla="*/ 1677324 h 4098010"/>
                <a:gd name="connsiteX770" fmla="*/ 2134776 w 3931228"/>
                <a:gd name="connsiteY770" fmla="*/ 1682090 h 4098010"/>
                <a:gd name="connsiteX771" fmla="*/ 2134776 w 3931228"/>
                <a:gd name="connsiteY771" fmla="*/ 1691620 h 4098010"/>
                <a:gd name="connsiteX772" fmla="*/ 2106184 w 3931228"/>
                <a:gd name="connsiteY772" fmla="*/ 1720210 h 4098010"/>
                <a:gd name="connsiteX773" fmla="*/ 2087124 w 3931228"/>
                <a:gd name="connsiteY773" fmla="*/ 1734506 h 4098010"/>
                <a:gd name="connsiteX774" fmla="*/ 2077596 w 3931228"/>
                <a:gd name="connsiteY774" fmla="*/ 1739272 h 4098010"/>
                <a:gd name="connsiteX775" fmla="*/ 2068064 w 3931228"/>
                <a:gd name="connsiteY775" fmla="*/ 1744036 h 4098010"/>
                <a:gd name="connsiteX776" fmla="*/ 2063300 w 3931228"/>
                <a:gd name="connsiteY776" fmla="*/ 1753566 h 4098010"/>
                <a:gd name="connsiteX777" fmla="*/ 2082360 w 3931228"/>
                <a:gd name="connsiteY777" fmla="*/ 1772628 h 4098010"/>
                <a:gd name="connsiteX778" fmla="*/ 2082360 w 3931228"/>
                <a:gd name="connsiteY778" fmla="*/ 1786922 h 4098010"/>
                <a:gd name="connsiteX779" fmla="*/ 2082360 w 3931228"/>
                <a:gd name="connsiteY779" fmla="*/ 1796452 h 4098010"/>
                <a:gd name="connsiteX780" fmla="*/ 2082360 w 3931228"/>
                <a:gd name="connsiteY780" fmla="*/ 1810748 h 4098010"/>
                <a:gd name="connsiteX781" fmla="*/ 2101420 w 3931228"/>
                <a:gd name="connsiteY781" fmla="*/ 1820278 h 4098010"/>
                <a:gd name="connsiteX782" fmla="*/ 2120480 w 3931228"/>
                <a:gd name="connsiteY782" fmla="*/ 1825044 h 4098010"/>
                <a:gd name="connsiteX783" fmla="*/ 2125244 w 3931228"/>
                <a:gd name="connsiteY783" fmla="*/ 1825044 h 4098010"/>
                <a:gd name="connsiteX784" fmla="*/ 2134776 w 3931228"/>
                <a:gd name="connsiteY784" fmla="*/ 1820278 h 4098010"/>
                <a:gd name="connsiteX785" fmla="*/ 2158600 w 3931228"/>
                <a:gd name="connsiteY785" fmla="*/ 1791688 h 4098010"/>
                <a:gd name="connsiteX786" fmla="*/ 2163368 w 3931228"/>
                <a:gd name="connsiteY786" fmla="*/ 1786922 h 4098010"/>
                <a:gd name="connsiteX787" fmla="*/ 2225312 w 3931228"/>
                <a:gd name="connsiteY787" fmla="*/ 1767862 h 4098010"/>
                <a:gd name="connsiteX788" fmla="*/ 2253904 w 3931228"/>
                <a:gd name="connsiteY788" fmla="*/ 1748802 h 4098010"/>
                <a:gd name="connsiteX789" fmla="*/ 2272964 w 3931228"/>
                <a:gd name="connsiteY789" fmla="*/ 1744036 h 4098010"/>
                <a:gd name="connsiteX790" fmla="*/ 2287260 w 3931228"/>
                <a:gd name="connsiteY790" fmla="*/ 1734506 h 4098010"/>
                <a:gd name="connsiteX791" fmla="*/ 2320616 w 3931228"/>
                <a:gd name="connsiteY791" fmla="*/ 1701150 h 4098010"/>
                <a:gd name="connsiteX792" fmla="*/ 2334912 w 3931228"/>
                <a:gd name="connsiteY792" fmla="*/ 1686854 h 4098010"/>
                <a:gd name="connsiteX793" fmla="*/ 2349208 w 3931228"/>
                <a:gd name="connsiteY793" fmla="*/ 1667794 h 4098010"/>
                <a:gd name="connsiteX794" fmla="*/ 2358736 w 3931228"/>
                <a:gd name="connsiteY794" fmla="*/ 1648734 h 4098010"/>
                <a:gd name="connsiteX795" fmla="*/ 2363500 w 3931228"/>
                <a:gd name="connsiteY795" fmla="*/ 1624908 h 4098010"/>
                <a:gd name="connsiteX796" fmla="*/ 2377796 w 3931228"/>
                <a:gd name="connsiteY796" fmla="*/ 1610612 h 4098010"/>
                <a:gd name="connsiteX797" fmla="*/ 2430212 w 3931228"/>
                <a:gd name="connsiteY797" fmla="*/ 1577256 h 4098010"/>
                <a:gd name="connsiteX798" fmla="*/ 2449276 w 3931228"/>
                <a:gd name="connsiteY798" fmla="*/ 1562962 h 4098010"/>
                <a:gd name="connsiteX799" fmla="*/ 2454040 w 3931228"/>
                <a:gd name="connsiteY799" fmla="*/ 1553432 h 4098010"/>
                <a:gd name="connsiteX800" fmla="*/ 2463568 w 3931228"/>
                <a:gd name="connsiteY800" fmla="*/ 1529606 h 4098010"/>
                <a:gd name="connsiteX801" fmla="*/ 2468336 w 3931228"/>
                <a:gd name="connsiteY801" fmla="*/ 1501014 h 4098010"/>
                <a:gd name="connsiteX802" fmla="*/ 2473100 w 3931228"/>
                <a:gd name="connsiteY802" fmla="*/ 1481954 h 4098010"/>
                <a:gd name="connsiteX803" fmla="*/ 2482628 w 3931228"/>
                <a:gd name="connsiteY803" fmla="*/ 1462894 h 4098010"/>
                <a:gd name="connsiteX804" fmla="*/ 2496924 w 3931228"/>
                <a:gd name="connsiteY804" fmla="*/ 1443834 h 4098010"/>
                <a:gd name="connsiteX805" fmla="*/ 2511220 w 3931228"/>
                <a:gd name="connsiteY805" fmla="*/ 1424772 h 4098010"/>
                <a:gd name="connsiteX806" fmla="*/ 2520752 w 3931228"/>
                <a:gd name="connsiteY806" fmla="*/ 1405712 h 4098010"/>
                <a:gd name="connsiteX807" fmla="*/ 2530280 w 3931228"/>
                <a:gd name="connsiteY807" fmla="*/ 1362826 h 4098010"/>
                <a:gd name="connsiteX808" fmla="*/ 2535048 w 3931228"/>
                <a:gd name="connsiteY808" fmla="*/ 1334236 h 4098010"/>
                <a:gd name="connsiteX809" fmla="*/ 2539812 w 3931228"/>
                <a:gd name="connsiteY809" fmla="*/ 1324706 h 4098010"/>
                <a:gd name="connsiteX810" fmla="*/ 2544576 w 3931228"/>
                <a:gd name="connsiteY810" fmla="*/ 1319940 h 4098010"/>
                <a:gd name="connsiteX811" fmla="*/ 2549340 w 3931228"/>
                <a:gd name="connsiteY811" fmla="*/ 1310410 h 4098010"/>
                <a:gd name="connsiteX812" fmla="*/ 2554108 w 3931228"/>
                <a:gd name="connsiteY812" fmla="*/ 1300880 h 4098010"/>
                <a:gd name="connsiteX813" fmla="*/ 2558872 w 3931228"/>
                <a:gd name="connsiteY813" fmla="*/ 1286584 h 4098010"/>
                <a:gd name="connsiteX814" fmla="*/ 2558872 w 3931228"/>
                <a:gd name="connsiteY814" fmla="*/ 1257994 h 4098010"/>
                <a:gd name="connsiteX815" fmla="*/ 2558872 w 3931228"/>
                <a:gd name="connsiteY815" fmla="*/ 1229402 h 4098010"/>
                <a:gd name="connsiteX816" fmla="*/ 2549340 w 3931228"/>
                <a:gd name="connsiteY816" fmla="*/ 1210342 h 4098010"/>
                <a:gd name="connsiteX817" fmla="*/ 2539812 w 3931228"/>
                <a:gd name="connsiteY817" fmla="*/ 1200812 h 4098010"/>
                <a:gd name="connsiteX818" fmla="*/ 2530280 w 3931228"/>
                <a:gd name="connsiteY818" fmla="*/ 1200812 h 4098010"/>
                <a:gd name="connsiteX819" fmla="*/ 2520752 w 3931228"/>
                <a:gd name="connsiteY819" fmla="*/ 1205576 h 4098010"/>
                <a:gd name="connsiteX820" fmla="*/ 2511220 w 3931228"/>
                <a:gd name="connsiteY820" fmla="*/ 1196046 h 4098010"/>
                <a:gd name="connsiteX821" fmla="*/ 2511220 w 3931228"/>
                <a:gd name="connsiteY821" fmla="*/ 1186516 h 4098010"/>
                <a:gd name="connsiteX822" fmla="*/ 2520752 w 3931228"/>
                <a:gd name="connsiteY822" fmla="*/ 1186516 h 4098010"/>
                <a:gd name="connsiteX823" fmla="*/ 2530280 w 3931228"/>
                <a:gd name="connsiteY823" fmla="*/ 1181752 h 4098010"/>
                <a:gd name="connsiteX824" fmla="*/ 2535048 w 3931228"/>
                <a:gd name="connsiteY824" fmla="*/ 1172222 h 4098010"/>
                <a:gd name="connsiteX825" fmla="*/ 2544576 w 3931228"/>
                <a:gd name="connsiteY825" fmla="*/ 1153160 h 4098010"/>
                <a:gd name="connsiteX826" fmla="*/ 2549340 w 3931228"/>
                <a:gd name="connsiteY826" fmla="*/ 1124570 h 4098010"/>
                <a:gd name="connsiteX827" fmla="*/ 2554108 w 3931228"/>
                <a:gd name="connsiteY827" fmla="*/ 1115040 h 4098010"/>
                <a:gd name="connsiteX828" fmla="*/ 2544576 w 3931228"/>
                <a:gd name="connsiteY828" fmla="*/ 1095980 h 4098010"/>
                <a:gd name="connsiteX829" fmla="*/ 2539812 w 3931228"/>
                <a:gd name="connsiteY829" fmla="*/ 1072154 h 4098010"/>
                <a:gd name="connsiteX830" fmla="*/ 2535048 w 3931228"/>
                <a:gd name="connsiteY830" fmla="*/ 1057858 h 4098010"/>
                <a:gd name="connsiteX831" fmla="*/ 2544576 w 3931228"/>
                <a:gd name="connsiteY831" fmla="*/ 1043562 h 4098010"/>
                <a:gd name="connsiteX832" fmla="*/ 2554108 w 3931228"/>
                <a:gd name="connsiteY832" fmla="*/ 1029268 h 4098010"/>
                <a:gd name="connsiteX833" fmla="*/ 2563636 w 3931228"/>
                <a:gd name="connsiteY833" fmla="*/ 1024502 h 4098010"/>
                <a:gd name="connsiteX834" fmla="*/ 2573168 w 3931228"/>
                <a:gd name="connsiteY834" fmla="*/ 1024502 h 4098010"/>
                <a:gd name="connsiteX835" fmla="*/ 2582696 w 3931228"/>
                <a:gd name="connsiteY835" fmla="*/ 1019738 h 4098010"/>
                <a:gd name="connsiteX836" fmla="*/ 2587464 w 3931228"/>
                <a:gd name="connsiteY836" fmla="*/ 1014972 h 4098010"/>
                <a:gd name="connsiteX837" fmla="*/ 2592228 w 3931228"/>
                <a:gd name="connsiteY837" fmla="*/ 1005442 h 4098010"/>
                <a:gd name="connsiteX838" fmla="*/ 2601760 w 3931228"/>
                <a:gd name="connsiteY838" fmla="*/ 986382 h 4098010"/>
                <a:gd name="connsiteX839" fmla="*/ 2601760 w 3931228"/>
                <a:gd name="connsiteY839" fmla="*/ 972086 h 4098010"/>
                <a:gd name="connsiteX840" fmla="*/ 2596992 w 3931228"/>
                <a:gd name="connsiteY840" fmla="*/ 938730 h 4098010"/>
                <a:gd name="connsiteX841" fmla="*/ 2601760 w 3931228"/>
                <a:gd name="connsiteY841" fmla="*/ 933964 h 4098010"/>
                <a:gd name="connsiteX842" fmla="*/ 2611288 w 3931228"/>
                <a:gd name="connsiteY842" fmla="*/ 924434 h 4098010"/>
                <a:gd name="connsiteX843" fmla="*/ 2616052 w 3931228"/>
                <a:gd name="connsiteY843" fmla="*/ 929200 h 4098010"/>
                <a:gd name="connsiteX844" fmla="*/ 2625584 w 3931228"/>
                <a:gd name="connsiteY844" fmla="*/ 929200 h 4098010"/>
                <a:gd name="connsiteX845" fmla="*/ 2635116 w 3931228"/>
                <a:gd name="connsiteY845" fmla="*/ 929200 h 4098010"/>
                <a:gd name="connsiteX846" fmla="*/ 2649408 w 3931228"/>
                <a:gd name="connsiteY846" fmla="*/ 933964 h 4098010"/>
                <a:gd name="connsiteX847" fmla="*/ 2649408 w 3931228"/>
                <a:gd name="connsiteY847" fmla="*/ 943496 h 4098010"/>
                <a:gd name="connsiteX848" fmla="*/ 2654176 w 3931228"/>
                <a:gd name="connsiteY848" fmla="*/ 995912 h 4098010"/>
                <a:gd name="connsiteX849" fmla="*/ 2658940 w 3931228"/>
                <a:gd name="connsiteY849" fmla="*/ 1005442 h 4098010"/>
                <a:gd name="connsiteX850" fmla="*/ 2668468 w 3931228"/>
                <a:gd name="connsiteY850" fmla="*/ 1010206 h 4098010"/>
                <a:gd name="connsiteX851" fmla="*/ 2673236 w 3931228"/>
                <a:gd name="connsiteY851" fmla="*/ 1010206 h 4098010"/>
                <a:gd name="connsiteX852" fmla="*/ 2682764 w 3931228"/>
                <a:gd name="connsiteY852" fmla="*/ 1000676 h 4098010"/>
                <a:gd name="connsiteX853" fmla="*/ 2687532 w 3931228"/>
                <a:gd name="connsiteY853" fmla="*/ 986382 h 4098010"/>
                <a:gd name="connsiteX854" fmla="*/ 2697060 w 3931228"/>
                <a:gd name="connsiteY854" fmla="*/ 986382 h 4098010"/>
                <a:gd name="connsiteX855" fmla="*/ 2725652 w 3931228"/>
                <a:gd name="connsiteY855" fmla="*/ 995912 h 4098010"/>
                <a:gd name="connsiteX856" fmla="*/ 2735180 w 3931228"/>
                <a:gd name="connsiteY856" fmla="*/ 991146 h 4098010"/>
                <a:gd name="connsiteX857" fmla="*/ 2739948 w 3931228"/>
                <a:gd name="connsiteY857" fmla="*/ 976850 h 4098010"/>
                <a:gd name="connsiteX858" fmla="*/ 2744712 w 3931228"/>
                <a:gd name="connsiteY858" fmla="*/ 953026 h 4098010"/>
                <a:gd name="connsiteX859" fmla="*/ 2744712 w 3931228"/>
                <a:gd name="connsiteY859" fmla="*/ 929200 h 4098010"/>
                <a:gd name="connsiteX860" fmla="*/ 2735180 w 3931228"/>
                <a:gd name="connsiteY860" fmla="*/ 924434 h 4098010"/>
                <a:gd name="connsiteX861" fmla="*/ 2730416 w 3931228"/>
                <a:gd name="connsiteY861" fmla="*/ 924434 h 4098010"/>
                <a:gd name="connsiteX862" fmla="*/ 2725652 w 3931228"/>
                <a:gd name="connsiteY862" fmla="*/ 929200 h 4098010"/>
                <a:gd name="connsiteX863" fmla="*/ 2716120 w 3931228"/>
                <a:gd name="connsiteY863" fmla="*/ 933964 h 4098010"/>
                <a:gd name="connsiteX864" fmla="*/ 2673236 w 3931228"/>
                <a:gd name="connsiteY864" fmla="*/ 943496 h 4098010"/>
                <a:gd name="connsiteX865" fmla="*/ 2673236 w 3931228"/>
                <a:gd name="connsiteY865" fmla="*/ 919670 h 4098010"/>
                <a:gd name="connsiteX866" fmla="*/ 2682764 w 3931228"/>
                <a:gd name="connsiteY866" fmla="*/ 886314 h 4098010"/>
                <a:gd name="connsiteX867" fmla="*/ 2687532 w 3931228"/>
                <a:gd name="connsiteY867" fmla="*/ 872018 h 4098010"/>
                <a:gd name="connsiteX868" fmla="*/ 2482632 w 3931228"/>
                <a:gd name="connsiteY868" fmla="*/ 714768 h 4098010"/>
                <a:gd name="connsiteX869" fmla="*/ 2473100 w 3931228"/>
                <a:gd name="connsiteY869" fmla="*/ 743360 h 4098010"/>
                <a:gd name="connsiteX870" fmla="*/ 2468336 w 3931228"/>
                <a:gd name="connsiteY870" fmla="*/ 748124 h 4098010"/>
                <a:gd name="connsiteX871" fmla="*/ 2463572 w 3931228"/>
                <a:gd name="connsiteY871" fmla="*/ 748124 h 4098010"/>
                <a:gd name="connsiteX872" fmla="*/ 2458804 w 3931228"/>
                <a:gd name="connsiteY872" fmla="*/ 748124 h 4098010"/>
                <a:gd name="connsiteX873" fmla="*/ 2458804 w 3931228"/>
                <a:gd name="connsiteY873" fmla="*/ 733830 h 4098010"/>
                <a:gd name="connsiteX874" fmla="*/ 2458804 w 3931228"/>
                <a:gd name="connsiteY874" fmla="*/ 724300 h 4098010"/>
                <a:gd name="connsiteX875" fmla="*/ 2473100 w 3931228"/>
                <a:gd name="connsiteY875" fmla="*/ 719534 h 4098010"/>
                <a:gd name="connsiteX876" fmla="*/ 3502368 w 3931228"/>
                <a:gd name="connsiteY876" fmla="*/ 457452 h 4098010"/>
                <a:gd name="connsiteX877" fmla="*/ 3497604 w 3931228"/>
                <a:gd name="connsiteY877" fmla="*/ 462216 h 4098010"/>
                <a:gd name="connsiteX878" fmla="*/ 3492836 w 3931228"/>
                <a:gd name="connsiteY878" fmla="*/ 466982 h 4098010"/>
                <a:gd name="connsiteX879" fmla="*/ 3492836 w 3931228"/>
                <a:gd name="connsiteY879" fmla="*/ 462216 h 4098010"/>
                <a:gd name="connsiteX880" fmla="*/ 3469012 w 3931228"/>
                <a:gd name="connsiteY880" fmla="*/ 457452 h 4098010"/>
                <a:gd name="connsiteX881" fmla="*/ 3473776 w 3931228"/>
                <a:gd name="connsiteY881" fmla="*/ 457452 h 4098010"/>
                <a:gd name="connsiteX882" fmla="*/ 3478540 w 3931228"/>
                <a:gd name="connsiteY882" fmla="*/ 457452 h 4098010"/>
                <a:gd name="connsiteX883" fmla="*/ 3478540 w 3931228"/>
                <a:gd name="connsiteY883" fmla="*/ 462216 h 4098010"/>
                <a:gd name="connsiteX884" fmla="*/ 3473776 w 3931228"/>
                <a:gd name="connsiteY884" fmla="*/ 462216 h 4098010"/>
                <a:gd name="connsiteX885" fmla="*/ 3469012 w 3931228"/>
                <a:gd name="connsiteY885" fmla="*/ 462216 h 4098010"/>
                <a:gd name="connsiteX886" fmla="*/ 3530960 w 3931228"/>
                <a:gd name="connsiteY886" fmla="*/ 414566 h 4098010"/>
                <a:gd name="connsiteX887" fmla="*/ 3535724 w 3931228"/>
                <a:gd name="connsiteY887" fmla="*/ 414566 h 4098010"/>
                <a:gd name="connsiteX888" fmla="*/ 3540488 w 3931228"/>
                <a:gd name="connsiteY888" fmla="*/ 414566 h 4098010"/>
                <a:gd name="connsiteX889" fmla="*/ 3540488 w 3931228"/>
                <a:gd name="connsiteY889" fmla="*/ 419332 h 4098010"/>
                <a:gd name="connsiteX890" fmla="*/ 3530960 w 3931228"/>
                <a:gd name="connsiteY890" fmla="*/ 419332 h 4098010"/>
                <a:gd name="connsiteX891" fmla="*/ 3616732 w 3931228"/>
                <a:gd name="connsiteY891" fmla="*/ 366916 h 4098010"/>
                <a:gd name="connsiteX892" fmla="*/ 3626260 w 3931228"/>
                <a:gd name="connsiteY892" fmla="*/ 376446 h 4098010"/>
                <a:gd name="connsiteX893" fmla="*/ 3626260 w 3931228"/>
                <a:gd name="connsiteY893" fmla="*/ 381210 h 4098010"/>
                <a:gd name="connsiteX894" fmla="*/ 3597672 w 3931228"/>
                <a:gd name="connsiteY894" fmla="*/ 395506 h 4098010"/>
                <a:gd name="connsiteX895" fmla="*/ 3592904 w 3931228"/>
                <a:gd name="connsiteY895" fmla="*/ 400272 h 4098010"/>
                <a:gd name="connsiteX896" fmla="*/ 3583376 w 3931228"/>
                <a:gd name="connsiteY896" fmla="*/ 395506 h 4098010"/>
                <a:gd name="connsiteX897" fmla="*/ 3583376 w 3931228"/>
                <a:gd name="connsiteY897" fmla="*/ 381210 h 4098010"/>
                <a:gd name="connsiteX898" fmla="*/ 3583376 w 3931228"/>
                <a:gd name="connsiteY898" fmla="*/ 376446 h 4098010"/>
                <a:gd name="connsiteX899" fmla="*/ 3502368 w 3931228"/>
                <a:gd name="connsiteY899" fmla="*/ 228726 h 4098010"/>
                <a:gd name="connsiteX900" fmla="*/ 3516664 w 3931228"/>
                <a:gd name="connsiteY900" fmla="*/ 228726 h 4098010"/>
                <a:gd name="connsiteX901" fmla="*/ 3540488 w 3931228"/>
                <a:gd name="connsiteY901" fmla="*/ 247786 h 4098010"/>
                <a:gd name="connsiteX902" fmla="*/ 3573844 w 3931228"/>
                <a:gd name="connsiteY902" fmla="*/ 243022 h 4098010"/>
                <a:gd name="connsiteX903" fmla="*/ 3569080 w 3931228"/>
                <a:gd name="connsiteY903" fmla="*/ 257316 h 4098010"/>
                <a:gd name="connsiteX904" fmla="*/ 3554784 w 3931228"/>
                <a:gd name="connsiteY904" fmla="*/ 257316 h 4098010"/>
                <a:gd name="connsiteX905" fmla="*/ 3530960 w 3931228"/>
                <a:gd name="connsiteY905" fmla="*/ 276378 h 4098010"/>
                <a:gd name="connsiteX906" fmla="*/ 3511900 w 3931228"/>
                <a:gd name="connsiteY906" fmla="*/ 281142 h 4098010"/>
                <a:gd name="connsiteX907" fmla="*/ 3502368 w 3931228"/>
                <a:gd name="connsiteY907" fmla="*/ 285908 h 4098010"/>
                <a:gd name="connsiteX908" fmla="*/ 3473776 w 3931228"/>
                <a:gd name="connsiteY908" fmla="*/ 314498 h 4098010"/>
                <a:gd name="connsiteX909" fmla="*/ 3469012 w 3931228"/>
                <a:gd name="connsiteY909" fmla="*/ 328794 h 4098010"/>
                <a:gd name="connsiteX910" fmla="*/ 3449952 w 3931228"/>
                <a:gd name="connsiteY910" fmla="*/ 352620 h 4098010"/>
                <a:gd name="connsiteX911" fmla="*/ 3421360 w 3931228"/>
                <a:gd name="connsiteY911" fmla="*/ 371680 h 4098010"/>
                <a:gd name="connsiteX912" fmla="*/ 3416596 w 3931228"/>
                <a:gd name="connsiteY912" fmla="*/ 409800 h 4098010"/>
                <a:gd name="connsiteX913" fmla="*/ 3397536 w 3931228"/>
                <a:gd name="connsiteY913" fmla="*/ 395506 h 4098010"/>
                <a:gd name="connsiteX914" fmla="*/ 3397536 w 3931228"/>
                <a:gd name="connsiteY914" fmla="*/ 381210 h 4098010"/>
                <a:gd name="connsiteX915" fmla="*/ 3402300 w 3931228"/>
                <a:gd name="connsiteY915" fmla="*/ 366914 h 4098010"/>
                <a:gd name="connsiteX916" fmla="*/ 3435656 w 3931228"/>
                <a:gd name="connsiteY916" fmla="*/ 338324 h 4098010"/>
                <a:gd name="connsiteX917" fmla="*/ 3449952 w 3931228"/>
                <a:gd name="connsiteY917" fmla="*/ 324028 h 4098010"/>
                <a:gd name="connsiteX918" fmla="*/ 3449952 w 3931228"/>
                <a:gd name="connsiteY918" fmla="*/ 309734 h 4098010"/>
                <a:gd name="connsiteX919" fmla="*/ 3464248 w 3931228"/>
                <a:gd name="connsiteY919" fmla="*/ 295438 h 4098010"/>
                <a:gd name="connsiteX920" fmla="*/ 3469012 w 3931228"/>
                <a:gd name="connsiteY920" fmla="*/ 285908 h 4098010"/>
                <a:gd name="connsiteX921" fmla="*/ 3478544 w 3931228"/>
                <a:gd name="connsiteY921" fmla="*/ 281142 h 4098010"/>
                <a:gd name="connsiteX922" fmla="*/ 2735184 w 3931228"/>
                <a:gd name="connsiteY922" fmla="*/ 66712 h 4098010"/>
                <a:gd name="connsiteX923" fmla="*/ 2744712 w 3931228"/>
                <a:gd name="connsiteY923" fmla="*/ 66712 h 4098010"/>
                <a:gd name="connsiteX924" fmla="*/ 2754244 w 3931228"/>
                <a:gd name="connsiteY924" fmla="*/ 81008 h 4098010"/>
                <a:gd name="connsiteX925" fmla="*/ 2759008 w 3931228"/>
                <a:gd name="connsiteY925" fmla="*/ 85772 h 4098010"/>
                <a:gd name="connsiteX926" fmla="*/ 2749476 w 3931228"/>
                <a:gd name="connsiteY926" fmla="*/ 90538 h 4098010"/>
                <a:gd name="connsiteX927" fmla="*/ 2739948 w 3931228"/>
                <a:gd name="connsiteY927" fmla="*/ 95304 h 4098010"/>
                <a:gd name="connsiteX928" fmla="*/ 2730416 w 3931228"/>
                <a:gd name="connsiteY928" fmla="*/ 85772 h 4098010"/>
                <a:gd name="connsiteX929" fmla="*/ 2725652 w 3931228"/>
                <a:gd name="connsiteY929" fmla="*/ 71478 h 4098010"/>
                <a:gd name="connsiteX930" fmla="*/ 2701828 w 3931228"/>
                <a:gd name="connsiteY930" fmla="*/ 14296 h 4098010"/>
                <a:gd name="connsiteX931" fmla="*/ 2706592 w 3931228"/>
                <a:gd name="connsiteY931" fmla="*/ 14296 h 4098010"/>
                <a:gd name="connsiteX932" fmla="*/ 2716120 w 3931228"/>
                <a:gd name="connsiteY932" fmla="*/ 19062 h 4098010"/>
                <a:gd name="connsiteX933" fmla="*/ 2716120 w 3931228"/>
                <a:gd name="connsiteY933" fmla="*/ 28592 h 4098010"/>
                <a:gd name="connsiteX934" fmla="*/ 2716120 w 3931228"/>
                <a:gd name="connsiteY934" fmla="*/ 47652 h 4098010"/>
                <a:gd name="connsiteX935" fmla="*/ 2711356 w 3931228"/>
                <a:gd name="connsiteY935" fmla="*/ 61948 h 4098010"/>
                <a:gd name="connsiteX936" fmla="*/ 2701828 w 3931228"/>
                <a:gd name="connsiteY936" fmla="*/ 38122 h 4098010"/>
                <a:gd name="connsiteX937" fmla="*/ 2854312 w 3931228"/>
                <a:gd name="connsiteY937" fmla="*/ 4764 h 4098010"/>
                <a:gd name="connsiteX938" fmla="*/ 2859076 w 3931228"/>
                <a:gd name="connsiteY938" fmla="*/ 9530 h 4098010"/>
                <a:gd name="connsiteX939" fmla="*/ 2863840 w 3931228"/>
                <a:gd name="connsiteY939" fmla="*/ 23826 h 4098010"/>
                <a:gd name="connsiteX940" fmla="*/ 2887668 w 3931228"/>
                <a:gd name="connsiteY940" fmla="*/ 47652 h 4098010"/>
                <a:gd name="connsiteX941" fmla="*/ 2925788 w 3931228"/>
                <a:gd name="connsiteY941" fmla="*/ 90538 h 4098010"/>
                <a:gd name="connsiteX942" fmla="*/ 2973440 w 3931228"/>
                <a:gd name="connsiteY942" fmla="*/ 157248 h 4098010"/>
                <a:gd name="connsiteX943" fmla="*/ 3002028 w 3931228"/>
                <a:gd name="connsiteY943" fmla="*/ 190604 h 4098010"/>
                <a:gd name="connsiteX944" fmla="*/ 3030620 w 3931228"/>
                <a:gd name="connsiteY944" fmla="*/ 219196 h 4098010"/>
                <a:gd name="connsiteX945" fmla="*/ 3063976 w 3931228"/>
                <a:gd name="connsiteY945" fmla="*/ 252552 h 4098010"/>
                <a:gd name="connsiteX946" fmla="*/ 3097332 w 3931228"/>
                <a:gd name="connsiteY946" fmla="*/ 276378 h 4098010"/>
                <a:gd name="connsiteX947" fmla="*/ 3121156 w 3931228"/>
                <a:gd name="connsiteY947" fmla="*/ 290672 h 4098010"/>
                <a:gd name="connsiteX948" fmla="*/ 3135452 w 3931228"/>
                <a:gd name="connsiteY948" fmla="*/ 309732 h 4098010"/>
                <a:gd name="connsiteX949" fmla="*/ 3144984 w 3931228"/>
                <a:gd name="connsiteY949" fmla="*/ 314498 h 4098010"/>
                <a:gd name="connsiteX950" fmla="*/ 3164044 w 3931228"/>
                <a:gd name="connsiteY950" fmla="*/ 314498 h 4098010"/>
                <a:gd name="connsiteX951" fmla="*/ 3173576 w 3931228"/>
                <a:gd name="connsiteY951" fmla="*/ 314498 h 4098010"/>
                <a:gd name="connsiteX952" fmla="*/ 3187868 w 3931228"/>
                <a:gd name="connsiteY952" fmla="*/ 314498 h 4098010"/>
                <a:gd name="connsiteX953" fmla="*/ 3249816 w 3931228"/>
                <a:gd name="connsiteY953" fmla="*/ 347854 h 4098010"/>
                <a:gd name="connsiteX954" fmla="*/ 3268876 w 3931228"/>
                <a:gd name="connsiteY954" fmla="*/ 352620 h 4098010"/>
                <a:gd name="connsiteX955" fmla="*/ 3287936 w 3931228"/>
                <a:gd name="connsiteY955" fmla="*/ 352620 h 4098010"/>
                <a:gd name="connsiteX956" fmla="*/ 3297468 w 3931228"/>
                <a:gd name="connsiteY956" fmla="*/ 352620 h 4098010"/>
                <a:gd name="connsiteX957" fmla="*/ 3311764 w 3931228"/>
                <a:gd name="connsiteY957" fmla="*/ 343088 h 4098010"/>
                <a:gd name="connsiteX958" fmla="*/ 3345120 w 3931228"/>
                <a:gd name="connsiteY958" fmla="*/ 300202 h 4098010"/>
                <a:gd name="connsiteX959" fmla="*/ 3383240 w 3931228"/>
                <a:gd name="connsiteY959" fmla="*/ 266846 h 4098010"/>
                <a:gd name="connsiteX960" fmla="*/ 3388004 w 3931228"/>
                <a:gd name="connsiteY960" fmla="*/ 266846 h 4098010"/>
                <a:gd name="connsiteX961" fmla="*/ 3388004 w 3931228"/>
                <a:gd name="connsiteY961" fmla="*/ 276378 h 4098010"/>
                <a:gd name="connsiteX962" fmla="*/ 3383240 w 3931228"/>
                <a:gd name="connsiteY962" fmla="*/ 285908 h 4098010"/>
                <a:gd name="connsiteX963" fmla="*/ 3368944 w 3931228"/>
                <a:gd name="connsiteY963" fmla="*/ 319264 h 4098010"/>
                <a:gd name="connsiteX964" fmla="*/ 3349884 w 3931228"/>
                <a:gd name="connsiteY964" fmla="*/ 366914 h 4098010"/>
                <a:gd name="connsiteX965" fmla="*/ 3345120 w 3931228"/>
                <a:gd name="connsiteY965" fmla="*/ 390740 h 4098010"/>
                <a:gd name="connsiteX966" fmla="*/ 3354648 w 3931228"/>
                <a:gd name="connsiteY966" fmla="*/ 409800 h 4098010"/>
                <a:gd name="connsiteX967" fmla="*/ 3364180 w 3931228"/>
                <a:gd name="connsiteY967" fmla="*/ 428862 h 4098010"/>
                <a:gd name="connsiteX968" fmla="*/ 3373708 w 3931228"/>
                <a:gd name="connsiteY968" fmla="*/ 452686 h 4098010"/>
                <a:gd name="connsiteX969" fmla="*/ 3383240 w 3931228"/>
                <a:gd name="connsiteY969" fmla="*/ 486042 h 4098010"/>
                <a:gd name="connsiteX970" fmla="*/ 3397536 w 3931228"/>
                <a:gd name="connsiteY970" fmla="*/ 495572 h 4098010"/>
                <a:gd name="connsiteX971" fmla="*/ 3407064 w 3931228"/>
                <a:gd name="connsiteY971" fmla="*/ 495572 h 4098010"/>
                <a:gd name="connsiteX972" fmla="*/ 3421360 w 3931228"/>
                <a:gd name="connsiteY972" fmla="*/ 481278 h 4098010"/>
                <a:gd name="connsiteX973" fmla="*/ 3435656 w 3931228"/>
                <a:gd name="connsiteY973" fmla="*/ 471748 h 4098010"/>
                <a:gd name="connsiteX974" fmla="*/ 3449952 w 3931228"/>
                <a:gd name="connsiteY974" fmla="*/ 466982 h 4098010"/>
                <a:gd name="connsiteX975" fmla="*/ 3459484 w 3931228"/>
                <a:gd name="connsiteY975" fmla="*/ 471748 h 4098010"/>
                <a:gd name="connsiteX976" fmla="*/ 3445188 w 3931228"/>
                <a:gd name="connsiteY976" fmla="*/ 481278 h 4098010"/>
                <a:gd name="connsiteX977" fmla="*/ 3426128 w 3931228"/>
                <a:gd name="connsiteY977" fmla="*/ 490808 h 4098010"/>
                <a:gd name="connsiteX978" fmla="*/ 3416596 w 3931228"/>
                <a:gd name="connsiteY978" fmla="*/ 509868 h 4098010"/>
                <a:gd name="connsiteX979" fmla="*/ 3411832 w 3931228"/>
                <a:gd name="connsiteY979" fmla="*/ 514634 h 4098010"/>
                <a:gd name="connsiteX980" fmla="*/ 3392772 w 3931228"/>
                <a:gd name="connsiteY980" fmla="*/ 514634 h 4098010"/>
                <a:gd name="connsiteX981" fmla="*/ 3383240 w 3931228"/>
                <a:gd name="connsiteY981" fmla="*/ 514634 h 4098010"/>
                <a:gd name="connsiteX982" fmla="*/ 3368944 w 3931228"/>
                <a:gd name="connsiteY982" fmla="*/ 524164 h 4098010"/>
                <a:gd name="connsiteX983" fmla="*/ 3349884 w 3931228"/>
                <a:gd name="connsiteY983" fmla="*/ 533694 h 4098010"/>
                <a:gd name="connsiteX984" fmla="*/ 3335588 w 3931228"/>
                <a:gd name="connsiteY984" fmla="*/ 547990 h 4098010"/>
                <a:gd name="connsiteX985" fmla="*/ 3316528 w 3931228"/>
                <a:gd name="connsiteY985" fmla="*/ 552754 h 4098010"/>
                <a:gd name="connsiteX986" fmla="*/ 3302232 w 3931228"/>
                <a:gd name="connsiteY986" fmla="*/ 552754 h 4098010"/>
                <a:gd name="connsiteX987" fmla="*/ 3273644 w 3931228"/>
                <a:gd name="connsiteY987" fmla="*/ 562284 h 4098010"/>
                <a:gd name="connsiteX988" fmla="*/ 3254580 w 3931228"/>
                <a:gd name="connsiteY988" fmla="*/ 567050 h 4098010"/>
                <a:gd name="connsiteX989" fmla="*/ 3221224 w 3931228"/>
                <a:gd name="connsiteY989" fmla="*/ 557520 h 4098010"/>
                <a:gd name="connsiteX990" fmla="*/ 3206932 w 3931228"/>
                <a:gd name="connsiteY990" fmla="*/ 557520 h 4098010"/>
                <a:gd name="connsiteX991" fmla="*/ 3168808 w 3931228"/>
                <a:gd name="connsiteY991" fmla="*/ 576580 h 4098010"/>
                <a:gd name="connsiteX992" fmla="*/ 3135452 w 3931228"/>
                <a:gd name="connsiteY992" fmla="*/ 605170 h 4098010"/>
                <a:gd name="connsiteX993" fmla="*/ 3106864 w 3931228"/>
                <a:gd name="connsiteY993" fmla="*/ 638526 h 4098010"/>
                <a:gd name="connsiteX994" fmla="*/ 3083036 w 3931228"/>
                <a:gd name="connsiteY994" fmla="*/ 676648 h 4098010"/>
                <a:gd name="connsiteX995" fmla="*/ 3078272 w 3931228"/>
                <a:gd name="connsiteY995" fmla="*/ 695708 h 4098010"/>
                <a:gd name="connsiteX996" fmla="*/ 3068740 w 3931228"/>
                <a:gd name="connsiteY996" fmla="*/ 719534 h 4098010"/>
                <a:gd name="connsiteX997" fmla="*/ 3068740 w 3931228"/>
                <a:gd name="connsiteY997" fmla="*/ 733828 h 4098010"/>
                <a:gd name="connsiteX998" fmla="*/ 3068740 w 3931228"/>
                <a:gd name="connsiteY998" fmla="*/ 748124 h 4098010"/>
                <a:gd name="connsiteX999" fmla="*/ 3063976 w 3931228"/>
                <a:gd name="connsiteY999" fmla="*/ 757654 h 4098010"/>
                <a:gd name="connsiteX1000" fmla="*/ 3054448 w 3931228"/>
                <a:gd name="connsiteY1000" fmla="*/ 767184 h 4098010"/>
                <a:gd name="connsiteX1001" fmla="*/ 3035384 w 3931228"/>
                <a:gd name="connsiteY1001" fmla="*/ 762420 h 4098010"/>
                <a:gd name="connsiteX1002" fmla="*/ 3002028 w 3931228"/>
                <a:gd name="connsiteY1002" fmla="*/ 738594 h 4098010"/>
                <a:gd name="connsiteX1003" fmla="*/ 2940084 w 3931228"/>
                <a:gd name="connsiteY1003" fmla="*/ 710004 h 4098010"/>
                <a:gd name="connsiteX1004" fmla="*/ 2873372 w 3931228"/>
                <a:gd name="connsiteY1004" fmla="*/ 667118 h 4098010"/>
                <a:gd name="connsiteX1005" fmla="*/ 2840016 w 3931228"/>
                <a:gd name="connsiteY1005" fmla="*/ 643292 h 4098010"/>
                <a:gd name="connsiteX1006" fmla="*/ 2768540 w 3931228"/>
                <a:gd name="connsiteY1006" fmla="*/ 648056 h 4098010"/>
                <a:gd name="connsiteX1007" fmla="*/ 2701828 w 3931228"/>
                <a:gd name="connsiteY1007" fmla="*/ 690942 h 4098010"/>
                <a:gd name="connsiteX1008" fmla="*/ 2697060 w 3931228"/>
                <a:gd name="connsiteY1008" fmla="*/ 690942 h 4098010"/>
                <a:gd name="connsiteX1009" fmla="*/ 2673236 w 3931228"/>
                <a:gd name="connsiteY1009" fmla="*/ 657588 h 4098010"/>
                <a:gd name="connsiteX1010" fmla="*/ 2658940 w 3931228"/>
                <a:gd name="connsiteY1010" fmla="*/ 648056 h 4098010"/>
                <a:gd name="connsiteX1011" fmla="*/ 2644644 w 3931228"/>
                <a:gd name="connsiteY1011" fmla="*/ 643292 h 4098010"/>
                <a:gd name="connsiteX1012" fmla="*/ 2635116 w 3931228"/>
                <a:gd name="connsiteY1012" fmla="*/ 643292 h 4098010"/>
                <a:gd name="connsiteX1013" fmla="*/ 2625584 w 3931228"/>
                <a:gd name="connsiteY1013" fmla="*/ 648056 h 4098010"/>
                <a:gd name="connsiteX1014" fmla="*/ 2611288 w 3931228"/>
                <a:gd name="connsiteY1014" fmla="*/ 662352 h 4098010"/>
                <a:gd name="connsiteX1015" fmla="*/ 2601760 w 3931228"/>
                <a:gd name="connsiteY1015" fmla="*/ 671882 h 4098010"/>
                <a:gd name="connsiteX1016" fmla="*/ 2601760 w 3931228"/>
                <a:gd name="connsiteY1016" fmla="*/ 686178 h 4098010"/>
                <a:gd name="connsiteX1017" fmla="*/ 2596996 w 3931228"/>
                <a:gd name="connsiteY1017" fmla="*/ 695708 h 4098010"/>
                <a:gd name="connsiteX1018" fmla="*/ 2601760 w 3931228"/>
                <a:gd name="connsiteY1018" fmla="*/ 705238 h 4098010"/>
                <a:gd name="connsiteX1019" fmla="*/ 2616056 w 3931228"/>
                <a:gd name="connsiteY1019" fmla="*/ 724298 h 4098010"/>
                <a:gd name="connsiteX1020" fmla="*/ 2630348 w 3931228"/>
                <a:gd name="connsiteY1020" fmla="*/ 738594 h 4098010"/>
                <a:gd name="connsiteX1021" fmla="*/ 2639880 w 3931228"/>
                <a:gd name="connsiteY1021" fmla="*/ 738594 h 4098010"/>
                <a:gd name="connsiteX1022" fmla="*/ 2654176 w 3931228"/>
                <a:gd name="connsiteY1022" fmla="*/ 738594 h 4098010"/>
                <a:gd name="connsiteX1023" fmla="*/ 2663704 w 3931228"/>
                <a:gd name="connsiteY1023" fmla="*/ 738594 h 4098010"/>
                <a:gd name="connsiteX1024" fmla="*/ 2692296 w 3931228"/>
                <a:gd name="connsiteY1024" fmla="*/ 771950 h 4098010"/>
                <a:gd name="connsiteX1025" fmla="*/ 2720888 w 3931228"/>
                <a:gd name="connsiteY1025" fmla="*/ 795776 h 4098010"/>
                <a:gd name="connsiteX1026" fmla="*/ 2730416 w 3931228"/>
                <a:gd name="connsiteY1026" fmla="*/ 805306 h 4098010"/>
                <a:gd name="connsiteX1027" fmla="*/ 2716124 w 3931228"/>
                <a:gd name="connsiteY1027" fmla="*/ 814836 h 4098010"/>
                <a:gd name="connsiteX1028" fmla="*/ 2706592 w 3931228"/>
                <a:gd name="connsiteY1028" fmla="*/ 819602 h 4098010"/>
                <a:gd name="connsiteX1029" fmla="*/ 2692296 w 3931228"/>
                <a:gd name="connsiteY1029" fmla="*/ 819602 h 4098010"/>
                <a:gd name="connsiteX1030" fmla="*/ 2678000 w 3931228"/>
                <a:gd name="connsiteY1030" fmla="*/ 814836 h 4098010"/>
                <a:gd name="connsiteX1031" fmla="*/ 2654176 w 3931228"/>
                <a:gd name="connsiteY1031" fmla="*/ 805306 h 4098010"/>
                <a:gd name="connsiteX1032" fmla="*/ 2639880 w 3931228"/>
                <a:gd name="connsiteY1032" fmla="*/ 814836 h 4098010"/>
                <a:gd name="connsiteX1033" fmla="*/ 2625584 w 3931228"/>
                <a:gd name="connsiteY1033" fmla="*/ 833896 h 4098010"/>
                <a:gd name="connsiteX1034" fmla="*/ 2616056 w 3931228"/>
                <a:gd name="connsiteY1034" fmla="*/ 857722 h 4098010"/>
                <a:gd name="connsiteX1035" fmla="*/ 2611288 w 3931228"/>
                <a:gd name="connsiteY1035" fmla="*/ 867252 h 4098010"/>
                <a:gd name="connsiteX1036" fmla="*/ 2592228 w 3931228"/>
                <a:gd name="connsiteY1036" fmla="*/ 876782 h 4098010"/>
                <a:gd name="connsiteX1037" fmla="*/ 2573168 w 3931228"/>
                <a:gd name="connsiteY1037" fmla="*/ 886312 h 4098010"/>
                <a:gd name="connsiteX1038" fmla="*/ 2563640 w 3931228"/>
                <a:gd name="connsiteY1038" fmla="*/ 886312 h 4098010"/>
                <a:gd name="connsiteX1039" fmla="*/ 2554108 w 3931228"/>
                <a:gd name="connsiteY1039" fmla="*/ 876782 h 4098010"/>
                <a:gd name="connsiteX1040" fmla="*/ 2549344 w 3931228"/>
                <a:gd name="connsiteY1040" fmla="*/ 867252 h 4098010"/>
                <a:gd name="connsiteX1041" fmla="*/ 2549344 w 3931228"/>
                <a:gd name="connsiteY1041" fmla="*/ 852958 h 4098010"/>
                <a:gd name="connsiteX1042" fmla="*/ 2554108 w 3931228"/>
                <a:gd name="connsiteY1042" fmla="*/ 829132 h 4098010"/>
                <a:gd name="connsiteX1043" fmla="*/ 2563640 w 3931228"/>
                <a:gd name="connsiteY1043" fmla="*/ 805306 h 4098010"/>
                <a:gd name="connsiteX1044" fmla="*/ 2568404 w 3931228"/>
                <a:gd name="connsiteY1044" fmla="*/ 781480 h 4098010"/>
                <a:gd name="connsiteX1045" fmla="*/ 2558872 w 3931228"/>
                <a:gd name="connsiteY1045" fmla="*/ 752890 h 4098010"/>
                <a:gd name="connsiteX1046" fmla="*/ 2554108 w 3931228"/>
                <a:gd name="connsiteY1046" fmla="*/ 743360 h 4098010"/>
                <a:gd name="connsiteX1047" fmla="*/ 2535048 w 3931228"/>
                <a:gd name="connsiteY1047" fmla="*/ 724298 h 4098010"/>
                <a:gd name="connsiteX1048" fmla="*/ 2525516 w 3931228"/>
                <a:gd name="connsiteY1048" fmla="*/ 705238 h 4098010"/>
                <a:gd name="connsiteX1049" fmla="*/ 2520752 w 3931228"/>
                <a:gd name="connsiteY1049" fmla="*/ 681412 h 4098010"/>
                <a:gd name="connsiteX1050" fmla="*/ 2520752 w 3931228"/>
                <a:gd name="connsiteY1050" fmla="*/ 671882 h 4098010"/>
                <a:gd name="connsiteX1051" fmla="*/ 2530284 w 3931228"/>
                <a:gd name="connsiteY1051" fmla="*/ 643292 h 4098010"/>
                <a:gd name="connsiteX1052" fmla="*/ 2530284 w 3931228"/>
                <a:gd name="connsiteY1052" fmla="*/ 628996 h 4098010"/>
                <a:gd name="connsiteX1053" fmla="*/ 2539812 w 3931228"/>
                <a:gd name="connsiteY1053" fmla="*/ 624232 h 4098010"/>
                <a:gd name="connsiteX1054" fmla="*/ 2554108 w 3931228"/>
                <a:gd name="connsiteY1054" fmla="*/ 619466 h 4098010"/>
                <a:gd name="connsiteX1055" fmla="*/ 2568404 w 3931228"/>
                <a:gd name="connsiteY1055" fmla="*/ 609936 h 4098010"/>
                <a:gd name="connsiteX1056" fmla="*/ 2582700 w 3931228"/>
                <a:gd name="connsiteY1056" fmla="*/ 595640 h 4098010"/>
                <a:gd name="connsiteX1057" fmla="*/ 2601760 w 3931228"/>
                <a:gd name="connsiteY1057" fmla="*/ 581346 h 4098010"/>
                <a:gd name="connsiteX1058" fmla="*/ 2616056 w 3931228"/>
                <a:gd name="connsiteY1058" fmla="*/ 562284 h 4098010"/>
                <a:gd name="connsiteX1059" fmla="*/ 2625584 w 3931228"/>
                <a:gd name="connsiteY1059" fmla="*/ 543224 h 4098010"/>
                <a:gd name="connsiteX1060" fmla="*/ 2611288 w 3931228"/>
                <a:gd name="connsiteY1060" fmla="*/ 519398 h 4098010"/>
                <a:gd name="connsiteX1061" fmla="*/ 2611288 w 3931228"/>
                <a:gd name="connsiteY1061" fmla="*/ 500338 h 4098010"/>
                <a:gd name="connsiteX1062" fmla="*/ 2611288 w 3931228"/>
                <a:gd name="connsiteY1062" fmla="*/ 486042 h 4098010"/>
                <a:gd name="connsiteX1063" fmla="*/ 2625584 w 3931228"/>
                <a:gd name="connsiteY1063" fmla="*/ 481278 h 4098010"/>
                <a:gd name="connsiteX1064" fmla="*/ 2639880 w 3931228"/>
                <a:gd name="connsiteY1064" fmla="*/ 486042 h 4098010"/>
                <a:gd name="connsiteX1065" fmla="*/ 2673236 w 3931228"/>
                <a:gd name="connsiteY1065" fmla="*/ 505104 h 4098010"/>
                <a:gd name="connsiteX1066" fmla="*/ 2678000 w 3931228"/>
                <a:gd name="connsiteY1066" fmla="*/ 509868 h 4098010"/>
                <a:gd name="connsiteX1067" fmla="*/ 2697060 w 3931228"/>
                <a:gd name="connsiteY1067" fmla="*/ 509868 h 4098010"/>
                <a:gd name="connsiteX1068" fmla="*/ 2725652 w 3931228"/>
                <a:gd name="connsiteY1068" fmla="*/ 514634 h 4098010"/>
                <a:gd name="connsiteX1069" fmla="*/ 2744712 w 3931228"/>
                <a:gd name="connsiteY1069" fmla="*/ 514634 h 4098010"/>
                <a:gd name="connsiteX1070" fmla="*/ 2754244 w 3931228"/>
                <a:gd name="connsiteY1070" fmla="*/ 509868 h 4098010"/>
                <a:gd name="connsiteX1071" fmla="*/ 2763772 w 3931228"/>
                <a:gd name="connsiteY1071" fmla="*/ 495572 h 4098010"/>
                <a:gd name="connsiteX1072" fmla="*/ 2768540 w 3931228"/>
                <a:gd name="connsiteY1072" fmla="*/ 471748 h 4098010"/>
                <a:gd name="connsiteX1073" fmla="*/ 2768540 w 3931228"/>
                <a:gd name="connsiteY1073" fmla="*/ 443156 h 4098010"/>
                <a:gd name="connsiteX1074" fmla="*/ 2768540 w 3931228"/>
                <a:gd name="connsiteY1074" fmla="*/ 414566 h 4098010"/>
                <a:gd name="connsiteX1075" fmla="*/ 2773304 w 3931228"/>
                <a:gd name="connsiteY1075" fmla="*/ 390740 h 4098010"/>
                <a:gd name="connsiteX1076" fmla="*/ 2797128 w 3931228"/>
                <a:gd name="connsiteY1076" fmla="*/ 357384 h 4098010"/>
                <a:gd name="connsiteX1077" fmla="*/ 2806660 w 3931228"/>
                <a:gd name="connsiteY1077" fmla="*/ 333558 h 4098010"/>
                <a:gd name="connsiteX1078" fmla="*/ 2806660 w 3931228"/>
                <a:gd name="connsiteY1078" fmla="*/ 281142 h 4098010"/>
                <a:gd name="connsiteX1079" fmla="*/ 2816188 w 3931228"/>
                <a:gd name="connsiteY1079" fmla="*/ 257316 h 4098010"/>
                <a:gd name="connsiteX1080" fmla="*/ 2825720 w 3931228"/>
                <a:gd name="connsiteY1080" fmla="*/ 233490 h 4098010"/>
                <a:gd name="connsiteX1081" fmla="*/ 2825720 w 3931228"/>
                <a:gd name="connsiteY1081" fmla="*/ 181074 h 4098010"/>
                <a:gd name="connsiteX1082" fmla="*/ 2816188 w 3931228"/>
                <a:gd name="connsiteY1082" fmla="*/ 133424 h 4098010"/>
                <a:gd name="connsiteX1083" fmla="*/ 2806660 w 3931228"/>
                <a:gd name="connsiteY1083" fmla="*/ 109598 h 4098010"/>
                <a:gd name="connsiteX1084" fmla="*/ 2797128 w 3931228"/>
                <a:gd name="connsiteY1084" fmla="*/ 85772 h 4098010"/>
                <a:gd name="connsiteX1085" fmla="*/ 2797128 w 3931228"/>
                <a:gd name="connsiteY1085" fmla="*/ 61946 h 4098010"/>
                <a:gd name="connsiteX1086" fmla="*/ 2806660 w 3931228"/>
                <a:gd name="connsiteY1086" fmla="*/ 42886 h 4098010"/>
                <a:gd name="connsiteX1087" fmla="*/ 2806660 w 3931228"/>
                <a:gd name="connsiteY1087" fmla="*/ 33356 h 4098010"/>
                <a:gd name="connsiteX1088" fmla="*/ 2811424 w 3931228"/>
                <a:gd name="connsiteY1088" fmla="*/ 28590 h 4098010"/>
                <a:gd name="connsiteX1089" fmla="*/ 2825720 w 3931228"/>
                <a:gd name="connsiteY1089" fmla="*/ 28590 h 4098010"/>
                <a:gd name="connsiteX1090" fmla="*/ 2835252 w 3931228"/>
                <a:gd name="connsiteY1090" fmla="*/ 23826 h 4098010"/>
                <a:gd name="connsiteX1091" fmla="*/ 2844780 w 3931228"/>
                <a:gd name="connsiteY1091" fmla="*/ 9530 h 4098010"/>
                <a:gd name="connsiteX1092" fmla="*/ 3921700 w 3931228"/>
                <a:gd name="connsiteY1092" fmla="*/ 0 h 4098010"/>
                <a:gd name="connsiteX1093" fmla="*/ 3926464 w 3931228"/>
                <a:gd name="connsiteY1093" fmla="*/ 4766 h 4098010"/>
                <a:gd name="connsiteX1094" fmla="*/ 3926464 w 3931228"/>
                <a:gd name="connsiteY1094" fmla="*/ 9530 h 4098010"/>
                <a:gd name="connsiteX1095" fmla="*/ 3926464 w 3931228"/>
                <a:gd name="connsiteY1095" fmla="*/ 19060 h 4098010"/>
                <a:gd name="connsiteX1096" fmla="*/ 3926464 w 3931228"/>
                <a:gd name="connsiteY1096" fmla="*/ 28590 h 4098010"/>
                <a:gd name="connsiteX1097" fmla="*/ 3931228 w 3931228"/>
                <a:gd name="connsiteY1097" fmla="*/ 38122 h 4098010"/>
                <a:gd name="connsiteX1098" fmla="*/ 3921700 w 3931228"/>
                <a:gd name="connsiteY1098" fmla="*/ 47652 h 4098010"/>
                <a:gd name="connsiteX1099" fmla="*/ 3893108 w 3931228"/>
                <a:gd name="connsiteY1099" fmla="*/ 47652 h 4098010"/>
                <a:gd name="connsiteX1100" fmla="*/ 3864516 w 3931228"/>
                <a:gd name="connsiteY1100" fmla="*/ 66712 h 4098010"/>
                <a:gd name="connsiteX1101" fmla="*/ 3840692 w 3931228"/>
                <a:gd name="connsiteY1101" fmla="*/ 71478 h 4098010"/>
                <a:gd name="connsiteX1102" fmla="*/ 3797804 w 3931228"/>
                <a:gd name="connsiteY1102" fmla="*/ 104832 h 4098010"/>
                <a:gd name="connsiteX1103" fmla="*/ 3783512 w 3931228"/>
                <a:gd name="connsiteY1103" fmla="*/ 119128 h 4098010"/>
                <a:gd name="connsiteX1104" fmla="*/ 3764448 w 3931228"/>
                <a:gd name="connsiteY1104" fmla="*/ 128658 h 4098010"/>
                <a:gd name="connsiteX1105" fmla="*/ 3745388 w 3931228"/>
                <a:gd name="connsiteY1105" fmla="*/ 123894 h 4098010"/>
                <a:gd name="connsiteX1106" fmla="*/ 3740624 w 3931228"/>
                <a:gd name="connsiteY1106" fmla="*/ 133424 h 4098010"/>
                <a:gd name="connsiteX1107" fmla="*/ 3740624 w 3931228"/>
                <a:gd name="connsiteY1107" fmla="*/ 142954 h 4098010"/>
                <a:gd name="connsiteX1108" fmla="*/ 3731092 w 3931228"/>
                <a:gd name="connsiteY1108" fmla="*/ 157250 h 4098010"/>
                <a:gd name="connsiteX1109" fmla="*/ 3692972 w 3931228"/>
                <a:gd name="connsiteY1109" fmla="*/ 190606 h 4098010"/>
                <a:gd name="connsiteX1110" fmla="*/ 3673912 w 3931228"/>
                <a:gd name="connsiteY1110" fmla="*/ 219196 h 4098010"/>
                <a:gd name="connsiteX1111" fmla="*/ 3659616 w 3931228"/>
                <a:gd name="connsiteY1111" fmla="*/ 223962 h 4098010"/>
                <a:gd name="connsiteX1112" fmla="*/ 3626260 w 3931228"/>
                <a:gd name="connsiteY1112" fmla="*/ 247788 h 4098010"/>
                <a:gd name="connsiteX1113" fmla="*/ 3631028 w 3931228"/>
                <a:gd name="connsiteY1113" fmla="*/ 223962 h 4098010"/>
                <a:gd name="connsiteX1114" fmla="*/ 3640556 w 3931228"/>
                <a:gd name="connsiteY1114" fmla="*/ 214432 h 4098010"/>
                <a:gd name="connsiteX1115" fmla="*/ 3664380 w 3931228"/>
                <a:gd name="connsiteY1115" fmla="*/ 195370 h 4098010"/>
                <a:gd name="connsiteX1116" fmla="*/ 3669148 w 3931228"/>
                <a:gd name="connsiteY1116" fmla="*/ 171544 h 4098010"/>
                <a:gd name="connsiteX1117" fmla="*/ 3683444 w 3931228"/>
                <a:gd name="connsiteY1117" fmla="*/ 152484 h 4098010"/>
                <a:gd name="connsiteX1118" fmla="*/ 3712032 w 3931228"/>
                <a:gd name="connsiteY1118" fmla="*/ 133424 h 4098010"/>
                <a:gd name="connsiteX1119" fmla="*/ 3731092 w 3931228"/>
                <a:gd name="connsiteY1119" fmla="*/ 104832 h 4098010"/>
                <a:gd name="connsiteX1120" fmla="*/ 3745388 w 3931228"/>
                <a:gd name="connsiteY1120" fmla="*/ 100068 h 4098010"/>
                <a:gd name="connsiteX1121" fmla="*/ 3764448 w 3931228"/>
                <a:gd name="connsiteY1121" fmla="*/ 76242 h 4098010"/>
                <a:gd name="connsiteX1122" fmla="*/ 3783512 w 3931228"/>
                <a:gd name="connsiteY1122" fmla="*/ 71478 h 4098010"/>
                <a:gd name="connsiteX1123" fmla="*/ 3778744 w 3931228"/>
                <a:gd name="connsiteY1123" fmla="*/ 52416 h 4098010"/>
                <a:gd name="connsiteX1124" fmla="*/ 3788276 w 3931228"/>
                <a:gd name="connsiteY1124" fmla="*/ 33356 h 4098010"/>
                <a:gd name="connsiteX1125" fmla="*/ 3793040 w 3931228"/>
                <a:gd name="connsiteY1125" fmla="*/ 33356 h 4098010"/>
                <a:gd name="connsiteX1126" fmla="*/ 3807336 w 3931228"/>
                <a:gd name="connsiteY1126" fmla="*/ 61946 h 4098010"/>
                <a:gd name="connsiteX1127" fmla="*/ 3821632 w 3931228"/>
                <a:gd name="connsiteY1127" fmla="*/ 61946 h 4098010"/>
                <a:gd name="connsiteX1128" fmla="*/ 3850220 w 3931228"/>
                <a:gd name="connsiteY1128" fmla="*/ 57182 h 4098010"/>
                <a:gd name="connsiteX1129" fmla="*/ 3893108 w 3931228"/>
                <a:gd name="connsiteY1129" fmla="*/ 9530 h 4098010"/>
                <a:gd name="connsiteX1130" fmla="*/ 3907404 w 3931228"/>
                <a:gd name="connsiteY1130" fmla="*/ 4766 h 4098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</a:cxnLst>
              <a:rect l="l" t="t" r="r" b="b"/>
              <a:pathLst>
                <a:path w="3931228" h="4098010">
                  <a:moveTo>
                    <a:pt x="14296" y="4074184"/>
                  </a:moveTo>
                  <a:lnTo>
                    <a:pt x="38120" y="4083714"/>
                  </a:lnTo>
                  <a:lnTo>
                    <a:pt x="38120" y="4088480"/>
                  </a:lnTo>
                  <a:lnTo>
                    <a:pt x="33356" y="4093244"/>
                  </a:lnTo>
                  <a:lnTo>
                    <a:pt x="23824" y="4098010"/>
                  </a:lnTo>
                  <a:lnTo>
                    <a:pt x="9528" y="4093244"/>
                  </a:lnTo>
                  <a:lnTo>
                    <a:pt x="0" y="4093244"/>
                  </a:lnTo>
                  <a:lnTo>
                    <a:pt x="0" y="4088480"/>
                  </a:lnTo>
                  <a:lnTo>
                    <a:pt x="9528" y="4083714"/>
                  </a:lnTo>
                  <a:close/>
                  <a:moveTo>
                    <a:pt x="95300" y="4040828"/>
                  </a:moveTo>
                  <a:lnTo>
                    <a:pt x="100068" y="4045594"/>
                  </a:lnTo>
                  <a:lnTo>
                    <a:pt x="95300" y="4055124"/>
                  </a:lnTo>
                  <a:lnTo>
                    <a:pt x="85772" y="4083714"/>
                  </a:lnTo>
                  <a:lnTo>
                    <a:pt x="81008" y="4083714"/>
                  </a:lnTo>
                  <a:lnTo>
                    <a:pt x="71476" y="4083714"/>
                  </a:lnTo>
                  <a:lnTo>
                    <a:pt x="61948" y="4069418"/>
                  </a:lnTo>
                  <a:lnTo>
                    <a:pt x="71476" y="4064654"/>
                  </a:lnTo>
                  <a:lnTo>
                    <a:pt x="76240" y="4064654"/>
                  </a:lnTo>
                  <a:lnTo>
                    <a:pt x="85772" y="4064654"/>
                  </a:lnTo>
                  <a:close/>
                  <a:moveTo>
                    <a:pt x="252552" y="3993176"/>
                  </a:moveTo>
                  <a:lnTo>
                    <a:pt x="257316" y="3997942"/>
                  </a:lnTo>
                  <a:lnTo>
                    <a:pt x="257316" y="4007472"/>
                  </a:lnTo>
                  <a:lnTo>
                    <a:pt x="271612" y="4007472"/>
                  </a:lnTo>
                  <a:lnTo>
                    <a:pt x="276376" y="4017002"/>
                  </a:lnTo>
                  <a:lnTo>
                    <a:pt x="262080" y="4021768"/>
                  </a:lnTo>
                  <a:lnTo>
                    <a:pt x="247788" y="4017002"/>
                  </a:lnTo>
                  <a:close/>
                  <a:moveTo>
                    <a:pt x="714768" y="3645322"/>
                  </a:moveTo>
                  <a:lnTo>
                    <a:pt x="729064" y="3654852"/>
                  </a:lnTo>
                  <a:lnTo>
                    <a:pt x="724300" y="3673912"/>
                  </a:lnTo>
                  <a:lnTo>
                    <a:pt x="714768" y="3683444"/>
                  </a:lnTo>
                  <a:lnTo>
                    <a:pt x="700472" y="3692974"/>
                  </a:lnTo>
                  <a:lnTo>
                    <a:pt x="695708" y="3702504"/>
                  </a:lnTo>
                  <a:lnTo>
                    <a:pt x="681412" y="3707268"/>
                  </a:lnTo>
                  <a:lnTo>
                    <a:pt x="667116" y="3716800"/>
                  </a:lnTo>
                  <a:lnTo>
                    <a:pt x="652820" y="3721564"/>
                  </a:lnTo>
                  <a:lnTo>
                    <a:pt x="652820" y="3731094"/>
                  </a:lnTo>
                  <a:lnTo>
                    <a:pt x="662352" y="3740624"/>
                  </a:lnTo>
                  <a:lnTo>
                    <a:pt x="652820" y="3745390"/>
                  </a:lnTo>
                  <a:lnTo>
                    <a:pt x="643292" y="3754920"/>
                  </a:lnTo>
                  <a:lnTo>
                    <a:pt x="643292" y="3764450"/>
                  </a:lnTo>
                  <a:lnTo>
                    <a:pt x="643292" y="3769216"/>
                  </a:lnTo>
                  <a:lnTo>
                    <a:pt x="643292" y="3773980"/>
                  </a:lnTo>
                  <a:lnTo>
                    <a:pt x="633760" y="3783512"/>
                  </a:lnTo>
                  <a:lnTo>
                    <a:pt x="619468" y="3783512"/>
                  </a:lnTo>
                  <a:lnTo>
                    <a:pt x="619468" y="3773980"/>
                  </a:lnTo>
                  <a:lnTo>
                    <a:pt x="619468" y="3764450"/>
                  </a:lnTo>
                  <a:lnTo>
                    <a:pt x="633760" y="3745390"/>
                  </a:lnTo>
                  <a:lnTo>
                    <a:pt x="633760" y="3721564"/>
                  </a:lnTo>
                  <a:lnTo>
                    <a:pt x="643292" y="3721564"/>
                  </a:lnTo>
                  <a:lnTo>
                    <a:pt x="648056" y="3716800"/>
                  </a:lnTo>
                  <a:lnTo>
                    <a:pt x="662352" y="3702504"/>
                  </a:lnTo>
                  <a:lnTo>
                    <a:pt x="667116" y="3692974"/>
                  </a:lnTo>
                  <a:lnTo>
                    <a:pt x="657588" y="3688208"/>
                  </a:lnTo>
                  <a:lnTo>
                    <a:pt x="657588" y="3678678"/>
                  </a:lnTo>
                  <a:lnTo>
                    <a:pt x="662352" y="3678678"/>
                  </a:lnTo>
                  <a:lnTo>
                    <a:pt x="676648" y="3678678"/>
                  </a:lnTo>
                  <a:lnTo>
                    <a:pt x="681412" y="3688208"/>
                  </a:lnTo>
                  <a:lnTo>
                    <a:pt x="690944" y="3683444"/>
                  </a:lnTo>
                  <a:lnTo>
                    <a:pt x="695708" y="3673912"/>
                  </a:lnTo>
                  <a:lnTo>
                    <a:pt x="710004" y="3659618"/>
                  </a:lnTo>
                  <a:close/>
                  <a:moveTo>
                    <a:pt x="814836" y="3464248"/>
                  </a:moveTo>
                  <a:lnTo>
                    <a:pt x="824368" y="3464248"/>
                  </a:lnTo>
                  <a:lnTo>
                    <a:pt x="829132" y="3483308"/>
                  </a:lnTo>
                  <a:lnTo>
                    <a:pt x="833896" y="3488072"/>
                  </a:lnTo>
                  <a:lnTo>
                    <a:pt x="829132" y="3497602"/>
                  </a:lnTo>
                  <a:lnTo>
                    <a:pt x="824368" y="3502368"/>
                  </a:lnTo>
                  <a:lnTo>
                    <a:pt x="814836" y="3497602"/>
                  </a:lnTo>
                  <a:lnTo>
                    <a:pt x="814836" y="3473778"/>
                  </a:lnTo>
                  <a:close/>
                  <a:moveTo>
                    <a:pt x="862488" y="3411832"/>
                  </a:moveTo>
                  <a:lnTo>
                    <a:pt x="872016" y="3416596"/>
                  </a:lnTo>
                  <a:lnTo>
                    <a:pt x="876784" y="3421362"/>
                  </a:lnTo>
                  <a:lnTo>
                    <a:pt x="881548" y="3430892"/>
                  </a:lnTo>
                  <a:lnTo>
                    <a:pt x="881548" y="3435656"/>
                  </a:lnTo>
                  <a:lnTo>
                    <a:pt x="867252" y="3430892"/>
                  </a:lnTo>
                  <a:close/>
                  <a:moveTo>
                    <a:pt x="938728" y="3354648"/>
                  </a:moveTo>
                  <a:lnTo>
                    <a:pt x="943492" y="3364180"/>
                  </a:lnTo>
                  <a:lnTo>
                    <a:pt x="943492" y="3373710"/>
                  </a:lnTo>
                  <a:lnTo>
                    <a:pt x="933964" y="3373710"/>
                  </a:lnTo>
                  <a:lnTo>
                    <a:pt x="919668" y="3383240"/>
                  </a:lnTo>
                  <a:lnTo>
                    <a:pt x="910140" y="3392770"/>
                  </a:lnTo>
                  <a:lnTo>
                    <a:pt x="900608" y="3397536"/>
                  </a:lnTo>
                  <a:lnTo>
                    <a:pt x="900608" y="3402300"/>
                  </a:lnTo>
                  <a:lnTo>
                    <a:pt x="900608" y="3411830"/>
                  </a:lnTo>
                  <a:lnTo>
                    <a:pt x="891076" y="3426126"/>
                  </a:lnTo>
                  <a:lnTo>
                    <a:pt x="872016" y="3411830"/>
                  </a:lnTo>
                  <a:lnTo>
                    <a:pt x="857724" y="3402300"/>
                  </a:lnTo>
                  <a:lnTo>
                    <a:pt x="867252" y="3402300"/>
                  </a:lnTo>
                  <a:lnTo>
                    <a:pt x="872016" y="3397536"/>
                  </a:lnTo>
                  <a:lnTo>
                    <a:pt x="872016" y="3392770"/>
                  </a:lnTo>
                  <a:lnTo>
                    <a:pt x="881548" y="3383240"/>
                  </a:lnTo>
                  <a:lnTo>
                    <a:pt x="905372" y="3378474"/>
                  </a:lnTo>
                  <a:lnTo>
                    <a:pt x="910140" y="3378474"/>
                  </a:lnTo>
                  <a:lnTo>
                    <a:pt x="919668" y="3373710"/>
                  </a:lnTo>
                  <a:lnTo>
                    <a:pt x="919668" y="3364180"/>
                  </a:lnTo>
                  <a:lnTo>
                    <a:pt x="924432" y="3364180"/>
                  </a:lnTo>
                  <a:close/>
                  <a:moveTo>
                    <a:pt x="1067388" y="3006796"/>
                  </a:moveTo>
                  <a:lnTo>
                    <a:pt x="1086448" y="3021090"/>
                  </a:lnTo>
                  <a:lnTo>
                    <a:pt x="1091212" y="3025856"/>
                  </a:lnTo>
                  <a:lnTo>
                    <a:pt x="1086448" y="3044916"/>
                  </a:lnTo>
                  <a:lnTo>
                    <a:pt x="1067388" y="3044916"/>
                  </a:lnTo>
                  <a:lnTo>
                    <a:pt x="1057856" y="3044916"/>
                  </a:lnTo>
                  <a:lnTo>
                    <a:pt x="1048328" y="3021090"/>
                  </a:lnTo>
                  <a:close/>
                  <a:moveTo>
                    <a:pt x="1153160" y="2940084"/>
                  </a:moveTo>
                  <a:lnTo>
                    <a:pt x="1157924" y="2949614"/>
                  </a:lnTo>
                  <a:lnTo>
                    <a:pt x="1153160" y="2973438"/>
                  </a:lnTo>
                  <a:lnTo>
                    <a:pt x="1143628" y="2992500"/>
                  </a:lnTo>
                  <a:lnTo>
                    <a:pt x="1138864" y="3021090"/>
                  </a:lnTo>
                  <a:lnTo>
                    <a:pt x="1124568" y="3021090"/>
                  </a:lnTo>
                  <a:lnTo>
                    <a:pt x="1124568" y="3011560"/>
                  </a:lnTo>
                  <a:lnTo>
                    <a:pt x="1134100" y="2987734"/>
                  </a:lnTo>
                  <a:lnTo>
                    <a:pt x="1134100" y="2968674"/>
                  </a:lnTo>
                  <a:lnTo>
                    <a:pt x="1143628" y="2949614"/>
                  </a:lnTo>
                  <a:lnTo>
                    <a:pt x="1148396" y="2944848"/>
                  </a:lnTo>
                  <a:close/>
                  <a:moveTo>
                    <a:pt x="953024" y="2763774"/>
                  </a:moveTo>
                  <a:lnTo>
                    <a:pt x="953024" y="2773304"/>
                  </a:lnTo>
                  <a:lnTo>
                    <a:pt x="943492" y="2787600"/>
                  </a:lnTo>
                  <a:lnTo>
                    <a:pt x="938728" y="2792364"/>
                  </a:lnTo>
                  <a:lnTo>
                    <a:pt x="943492" y="2778070"/>
                  </a:lnTo>
                  <a:close/>
                  <a:moveTo>
                    <a:pt x="1043564" y="2630350"/>
                  </a:moveTo>
                  <a:lnTo>
                    <a:pt x="1057860" y="2630350"/>
                  </a:lnTo>
                  <a:lnTo>
                    <a:pt x="1053092" y="2639880"/>
                  </a:lnTo>
                  <a:lnTo>
                    <a:pt x="1048328" y="2649412"/>
                  </a:lnTo>
                  <a:lnTo>
                    <a:pt x="1034032" y="2649412"/>
                  </a:lnTo>
                  <a:lnTo>
                    <a:pt x="1029268" y="2644646"/>
                  </a:lnTo>
                  <a:lnTo>
                    <a:pt x="1024500" y="2639880"/>
                  </a:lnTo>
                  <a:close/>
                  <a:moveTo>
                    <a:pt x="1014972" y="2625584"/>
                  </a:moveTo>
                  <a:lnTo>
                    <a:pt x="1019736" y="2635116"/>
                  </a:lnTo>
                  <a:lnTo>
                    <a:pt x="1019736" y="2663706"/>
                  </a:lnTo>
                  <a:lnTo>
                    <a:pt x="1000676" y="2682766"/>
                  </a:lnTo>
                  <a:lnTo>
                    <a:pt x="986380" y="2692296"/>
                  </a:lnTo>
                  <a:lnTo>
                    <a:pt x="986380" y="2682766"/>
                  </a:lnTo>
                  <a:lnTo>
                    <a:pt x="981616" y="2682766"/>
                  </a:lnTo>
                  <a:lnTo>
                    <a:pt x="991144" y="2673236"/>
                  </a:lnTo>
                  <a:lnTo>
                    <a:pt x="991144" y="2668472"/>
                  </a:lnTo>
                  <a:lnTo>
                    <a:pt x="986380" y="2663706"/>
                  </a:lnTo>
                  <a:lnTo>
                    <a:pt x="991144" y="2639880"/>
                  </a:lnTo>
                  <a:lnTo>
                    <a:pt x="991144" y="2630350"/>
                  </a:lnTo>
                  <a:close/>
                  <a:moveTo>
                    <a:pt x="776716" y="2582700"/>
                  </a:moveTo>
                  <a:lnTo>
                    <a:pt x="786244" y="2587464"/>
                  </a:lnTo>
                  <a:lnTo>
                    <a:pt x="795776" y="2582700"/>
                  </a:lnTo>
                  <a:lnTo>
                    <a:pt x="800540" y="2582700"/>
                  </a:lnTo>
                  <a:lnTo>
                    <a:pt x="805304" y="2587464"/>
                  </a:lnTo>
                  <a:lnTo>
                    <a:pt x="814836" y="2596994"/>
                  </a:lnTo>
                  <a:lnTo>
                    <a:pt x="814836" y="2606524"/>
                  </a:lnTo>
                  <a:lnTo>
                    <a:pt x="805304" y="2606524"/>
                  </a:lnTo>
                  <a:lnTo>
                    <a:pt x="800540" y="2606524"/>
                  </a:lnTo>
                  <a:lnTo>
                    <a:pt x="791012" y="2616056"/>
                  </a:lnTo>
                  <a:lnTo>
                    <a:pt x="781480" y="2616056"/>
                  </a:lnTo>
                  <a:lnTo>
                    <a:pt x="776716" y="2611290"/>
                  </a:lnTo>
                  <a:lnTo>
                    <a:pt x="776716" y="2601760"/>
                  </a:lnTo>
                  <a:close/>
                  <a:moveTo>
                    <a:pt x="2515988" y="2515988"/>
                  </a:moveTo>
                  <a:lnTo>
                    <a:pt x="2520752" y="2515988"/>
                  </a:lnTo>
                  <a:lnTo>
                    <a:pt x="2530284" y="2525518"/>
                  </a:lnTo>
                  <a:lnTo>
                    <a:pt x="2525516" y="2530282"/>
                  </a:lnTo>
                  <a:lnTo>
                    <a:pt x="2520752" y="2535048"/>
                  </a:lnTo>
                  <a:lnTo>
                    <a:pt x="2515988" y="2525518"/>
                  </a:lnTo>
                  <a:lnTo>
                    <a:pt x="2511220" y="2520752"/>
                  </a:lnTo>
                  <a:close/>
                  <a:moveTo>
                    <a:pt x="848192" y="2515988"/>
                  </a:moveTo>
                  <a:lnTo>
                    <a:pt x="852956" y="2530282"/>
                  </a:lnTo>
                  <a:lnTo>
                    <a:pt x="852956" y="2539812"/>
                  </a:lnTo>
                  <a:lnTo>
                    <a:pt x="857724" y="2539812"/>
                  </a:lnTo>
                  <a:lnTo>
                    <a:pt x="852956" y="2549344"/>
                  </a:lnTo>
                  <a:lnTo>
                    <a:pt x="848192" y="2554108"/>
                  </a:lnTo>
                  <a:lnTo>
                    <a:pt x="843428" y="2573168"/>
                  </a:lnTo>
                  <a:lnTo>
                    <a:pt x="838660" y="2573168"/>
                  </a:lnTo>
                  <a:lnTo>
                    <a:pt x="833896" y="2554108"/>
                  </a:lnTo>
                  <a:lnTo>
                    <a:pt x="829132" y="2549344"/>
                  </a:lnTo>
                  <a:lnTo>
                    <a:pt x="838660" y="2549344"/>
                  </a:lnTo>
                  <a:close/>
                  <a:moveTo>
                    <a:pt x="914904" y="2473100"/>
                  </a:moveTo>
                  <a:lnTo>
                    <a:pt x="919668" y="2473100"/>
                  </a:lnTo>
                  <a:lnTo>
                    <a:pt x="910140" y="2487396"/>
                  </a:lnTo>
                  <a:lnTo>
                    <a:pt x="910140" y="2501692"/>
                  </a:lnTo>
                  <a:lnTo>
                    <a:pt x="895844" y="2506456"/>
                  </a:lnTo>
                  <a:lnTo>
                    <a:pt x="891076" y="2506456"/>
                  </a:lnTo>
                  <a:lnTo>
                    <a:pt x="895844" y="2496926"/>
                  </a:lnTo>
                  <a:lnTo>
                    <a:pt x="895844" y="2492162"/>
                  </a:lnTo>
                  <a:lnTo>
                    <a:pt x="905372" y="2477866"/>
                  </a:lnTo>
                  <a:close/>
                  <a:moveTo>
                    <a:pt x="943496" y="2382564"/>
                  </a:moveTo>
                  <a:lnTo>
                    <a:pt x="953024" y="2387330"/>
                  </a:lnTo>
                  <a:lnTo>
                    <a:pt x="957788" y="2401624"/>
                  </a:lnTo>
                  <a:lnTo>
                    <a:pt x="943496" y="2406390"/>
                  </a:lnTo>
                  <a:lnTo>
                    <a:pt x="938728" y="2401624"/>
                  </a:lnTo>
                  <a:lnTo>
                    <a:pt x="938728" y="2387330"/>
                  </a:lnTo>
                  <a:close/>
                  <a:moveTo>
                    <a:pt x="1091212" y="2368268"/>
                  </a:moveTo>
                  <a:lnTo>
                    <a:pt x="1100744" y="2368268"/>
                  </a:lnTo>
                  <a:lnTo>
                    <a:pt x="1119804" y="2368268"/>
                  </a:lnTo>
                  <a:lnTo>
                    <a:pt x="1134100" y="2377798"/>
                  </a:lnTo>
                  <a:lnTo>
                    <a:pt x="1143628" y="2396858"/>
                  </a:lnTo>
                  <a:lnTo>
                    <a:pt x="1153160" y="2415920"/>
                  </a:lnTo>
                  <a:lnTo>
                    <a:pt x="1172220" y="2430214"/>
                  </a:lnTo>
                  <a:lnTo>
                    <a:pt x="1191280" y="2434980"/>
                  </a:lnTo>
                  <a:lnTo>
                    <a:pt x="1200812" y="2434980"/>
                  </a:lnTo>
                  <a:lnTo>
                    <a:pt x="1210340" y="2430214"/>
                  </a:lnTo>
                  <a:lnTo>
                    <a:pt x="1219872" y="2425450"/>
                  </a:lnTo>
                  <a:lnTo>
                    <a:pt x="1234168" y="2420684"/>
                  </a:lnTo>
                  <a:lnTo>
                    <a:pt x="1243696" y="2420684"/>
                  </a:lnTo>
                  <a:lnTo>
                    <a:pt x="1253228" y="2430214"/>
                  </a:lnTo>
                  <a:lnTo>
                    <a:pt x="1257992" y="2439744"/>
                  </a:lnTo>
                  <a:lnTo>
                    <a:pt x="1253228" y="2449276"/>
                  </a:lnTo>
                  <a:lnTo>
                    <a:pt x="1238932" y="2468336"/>
                  </a:lnTo>
                  <a:lnTo>
                    <a:pt x="1229404" y="2492162"/>
                  </a:lnTo>
                  <a:lnTo>
                    <a:pt x="1257992" y="2492162"/>
                  </a:lnTo>
                  <a:lnTo>
                    <a:pt x="1281820" y="2492162"/>
                  </a:lnTo>
                  <a:lnTo>
                    <a:pt x="1277052" y="2506456"/>
                  </a:lnTo>
                  <a:lnTo>
                    <a:pt x="1277052" y="2520752"/>
                  </a:lnTo>
                  <a:lnTo>
                    <a:pt x="1286584" y="2525518"/>
                  </a:lnTo>
                  <a:lnTo>
                    <a:pt x="1291348" y="2530282"/>
                  </a:lnTo>
                  <a:lnTo>
                    <a:pt x="1291348" y="2539812"/>
                  </a:lnTo>
                  <a:lnTo>
                    <a:pt x="1286584" y="2544578"/>
                  </a:lnTo>
                  <a:lnTo>
                    <a:pt x="1300880" y="2554108"/>
                  </a:lnTo>
                  <a:lnTo>
                    <a:pt x="1300880" y="2563638"/>
                  </a:lnTo>
                  <a:lnTo>
                    <a:pt x="1296112" y="2568404"/>
                  </a:lnTo>
                  <a:lnTo>
                    <a:pt x="1257992" y="2616054"/>
                  </a:lnTo>
                  <a:lnTo>
                    <a:pt x="1248464" y="2639880"/>
                  </a:lnTo>
                  <a:lnTo>
                    <a:pt x="1238932" y="2668470"/>
                  </a:lnTo>
                  <a:lnTo>
                    <a:pt x="1229404" y="2687532"/>
                  </a:lnTo>
                  <a:lnTo>
                    <a:pt x="1224636" y="2706592"/>
                  </a:lnTo>
                  <a:lnTo>
                    <a:pt x="1224636" y="2725652"/>
                  </a:lnTo>
                  <a:lnTo>
                    <a:pt x="1215108" y="2749478"/>
                  </a:lnTo>
                  <a:lnTo>
                    <a:pt x="1219872" y="2768538"/>
                  </a:lnTo>
                  <a:lnTo>
                    <a:pt x="1215108" y="2787598"/>
                  </a:lnTo>
                  <a:lnTo>
                    <a:pt x="1196048" y="2835250"/>
                  </a:lnTo>
                  <a:lnTo>
                    <a:pt x="1181752" y="2835250"/>
                  </a:lnTo>
                  <a:lnTo>
                    <a:pt x="1167456" y="2830486"/>
                  </a:lnTo>
                  <a:lnTo>
                    <a:pt x="1153160" y="2830486"/>
                  </a:lnTo>
                  <a:lnTo>
                    <a:pt x="1148396" y="2840016"/>
                  </a:lnTo>
                  <a:lnTo>
                    <a:pt x="1157924" y="2863840"/>
                  </a:lnTo>
                  <a:lnTo>
                    <a:pt x="1129336" y="2887666"/>
                  </a:lnTo>
                  <a:lnTo>
                    <a:pt x="1095980" y="2906728"/>
                  </a:lnTo>
                  <a:lnTo>
                    <a:pt x="1095980" y="2897196"/>
                  </a:lnTo>
                  <a:lnTo>
                    <a:pt x="1095980" y="2892432"/>
                  </a:lnTo>
                  <a:lnTo>
                    <a:pt x="1100744" y="2887666"/>
                  </a:lnTo>
                  <a:lnTo>
                    <a:pt x="1105508" y="2882902"/>
                  </a:lnTo>
                  <a:lnTo>
                    <a:pt x="1110272" y="2859076"/>
                  </a:lnTo>
                  <a:lnTo>
                    <a:pt x="1110272" y="2840016"/>
                  </a:lnTo>
                  <a:lnTo>
                    <a:pt x="1095980" y="2811424"/>
                  </a:lnTo>
                  <a:lnTo>
                    <a:pt x="1095980" y="2801894"/>
                  </a:lnTo>
                  <a:lnTo>
                    <a:pt x="1105508" y="2801894"/>
                  </a:lnTo>
                  <a:lnTo>
                    <a:pt x="1110272" y="2797130"/>
                  </a:lnTo>
                  <a:lnTo>
                    <a:pt x="1110272" y="2787598"/>
                  </a:lnTo>
                  <a:lnTo>
                    <a:pt x="1110272" y="2782834"/>
                  </a:lnTo>
                  <a:lnTo>
                    <a:pt x="1100744" y="2778068"/>
                  </a:lnTo>
                  <a:lnTo>
                    <a:pt x="1091212" y="2778068"/>
                  </a:lnTo>
                  <a:lnTo>
                    <a:pt x="1081684" y="2787598"/>
                  </a:lnTo>
                  <a:lnTo>
                    <a:pt x="1072152" y="2806660"/>
                  </a:lnTo>
                  <a:lnTo>
                    <a:pt x="1072152" y="2825720"/>
                  </a:lnTo>
                  <a:lnTo>
                    <a:pt x="1072152" y="2835250"/>
                  </a:lnTo>
                  <a:lnTo>
                    <a:pt x="1076920" y="2844780"/>
                  </a:lnTo>
                  <a:lnTo>
                    <a:pt x="1086448" y="2859076"/>
                  </a:lnTo>
                  <a:lnTo>
                    <a:pt x="1086448" y="2868606"/>
                  </a:lnTo>
                  <a:lnTo>
                    <a:pt x="1081684" y="2878136"/>
                  </a:lnTo>
                  <a:lnTo>
                    <a:pt x="1034032" y="2859076"/>
                  </a:lnTo>
                  <a:lnTo>
                    <a:pt x="1024500" y="2859076"/>
                  </a:lnTo>
                  <a:lnTo>
                    <a:pt x="1019736" y="2854310"/>
                  </a:lnTo>
                  <a:lnTo>
                    <a:pt x="1010208" y="2835250"/>
                  </a:lnTo>
                  <a:lnTo>
                    <a:pt x="1029268" y="2830486"/>
                  </a:lnTo>
                  <a:lnTo>
                    <a:pt x="1034032" y="2825720"/>
                  </a:lnTo>
                  <a:lnTo>
                    <a:pt x="1034032" y="2820954"/>
                  </a:lnTo>
                  <a:lnTo>
                    <a:pt x="1038796" y="2797130"/>
                  </a:lnTo>
                  <a:lnTo>
                    <a:pt x="1029268" y="2782834"/>
                  </a:lnTo>
                  <a:lnTo>
                    <a:pt x="1024500" y="2778068"/>
                  </a:lnTo>
                  <a:lnTo>
                    <a:pt x="1014972" y="2768538"/>
                  </a:lnTo>
                  <a:lnTo>
                    <a:pt x="1019736" y="2754244"/>
                  </a:lnTo>
                  <a:lnTo>
                    <a:pt x="1019736" y="2735182"/>
                  </a:lnTo>
                  <a:lnTo>
                    <a:pt x="1019736" y="2711356"/>
                  </a:lnTo>
                  <a:lnTo>
                    <a:pt x="1019736" y="2706592"/>
                  </a:lnTo>
                  <a:lnTo>
                    <a:pt x="1038796" y="2701826"/>
                  </a:lnTo>
                  <a:lnTo>
                    <a:pt x="1048328" y="2687532"/>
                  </a:lnTo>
                  <a:lnTo>
                    <a:pt x="1057856" y="2668470"/>
                  </a:lnTo>
                  <a:lnTo>
                    <a:pt x="1076920" y="2639880"/>
                  </a:lnTo>
                  <a:lnTo>
                    <a:pt x="1086448" y="2611290"/>
                  </a:lnTo>
                  <a:lnTo>
                    <a:pt x="1076920" y="2611290"/>
                  </a:lnTo>
                  <a:lnTo>
                    <a:pt x="1067388" y="2606524"/>
                  </a:lnTo>
                  <a:lnTo>
                    <a:pt x="1076920" y="2592228"/>
                  </a:lnTo>
                  <a:lnTo>
                    <a:pt x="1072152" y="2573168"/>
                  </a:lnTo>
                  <a:lnTo>
                    <a:pt x="1057856" y="2549342"/>
                  </a:lnTo>
                  <a:lnTo>
                    <a:pt x="1048328" y="2525518"/>
                  </a:lnTo>
                  <a:lnTo>
                    <a:pt x="1034032" y="2511222"/>
                  </a:lnTo>
                  <a:lnTo>
                    <a:pt x="1024500" y="2506456"/>
                  </a:lnTo>
                  <a:lnTo>
                    <a:pt x="1014972" y="2515986"/>
                  </a:lnTo>
                  <a:lnTo>
                    <a:pt x="1005440" y="2520752"/>
                  </a:lnTo>
                  <a:lnTo>
                    <a:pt x="1014972" y="2539812"/>
                  </a:lnTo>
                  <a:lnTo>
                    <a:pt x="1014972" y="2554108"/>
                  </a:lnTo>
                  <a:lnTo>
                    <a:pt x="1014972" y="2568404"/>
                  </a:lnTo>
                  <a:lnTo>
                    <a:pt x="1024500" y="2568404"/>
                  </a:lnTo>
                  <a:lnTo>
                    <a:pt x="1029268" y="2563638"/>
                  </a:lnTo>
                  <a:lnTo>
                    <a:pt x="1038796" y="2568404"/>
                  </a:lnTo>
                  <a:lnTo>
                    <a:pt x="1043564" y="2577934"/>
                  </a:lnTo>
                  <a:lnTo>
                    <a:pt x="1043564" y="2587464"/>
                  </a:lnTo>
                  <a:lnTo>
                    <a:pt x="1038796" y="2596994"/>
                  </a:lnTo>
                  <a:lnTo>
                    <a:pt x="1034032" y="2601760"/>
                  </a:lnTo>
                  <a:lnTo>
                    <a:pt x="1024500" y="2601760"/>
                  </a:lnTo>
                  <a:lnTo>
                    <a:pt x="1019736" y="2596994"/>
                  </a:lnTo>
                  <a:lnTo>
                    <a:pt x="1010208" y="2587464"/>
                  </a:lnTo>
                  <a:lnTo>
                    <a:pt x="995912" y="2582698"/>
                  </a:lnTo>
                  <a:lnTo>
                    <a:pt x="981616" y="2592228"/>
                  </a:lnTo>
                  <a:lnTo>
                    <a:pt x="962556" y="2611290"/>
                  </a:lnTo>
                  <a:lnTo>
                    <a:pt x="953024" y="2620820"/>
                  </a:lnTo>
                  <a:lnTo>
                    <a:pt x="957788" y="2606524"/>
                  </a:lnTo>
                  <a:lnTo>
                    <a:pt x="962556" y="2592228"/>
                  </a:lnTo>
                  <a:lnTo>
                    <a:pt x="953024" y="2582698"/>
                  </a:lnTo>
                  <a:lnTo>
                    <a:pt x="938728" y="2563638"/>
                  </a:lnTo>
                  <a:lnTo>
                    <a:pt x="933964" y="2554108"/>
                  </a:lnTo>
                  <a:lnTo>
                    <a:pt x="933964" y="2539812"/>
                  </a:lnTo>
                  <a:lnTo>
                    <a:pt x="938728" y="2530282"/>
                  </a:lnTo>
                  <a:lnTo>
                    <a:pt x="953024" y="2544578"/>
                  </a:lnTo>
                  <a:lnTo>
                    <a:pt x="962556" y="2558872"/>
                  </a:lnTo>
                  <a:lnTo>
                    <a:pt x="972084" y="2568404"/>
                  </a:lnTo>
                  <a:lnTo>
                    <a:pt x="986380" y="2568404"/>
                  </a:lnTo>
                  <a:lnTo>
                    <a:pt x="976852" y="2544578"/>
                  </a:lnTo>
                  <a:lnTo>
                    <a:pt x="972084" y="2535048"/>
                  </a:lnTo>
                  <a:lnTo>
                    <a:pt x="957788" y="2525518"/>
                  </a:lnTo>
                  <a:lnTo>
                    <a:pt x="933964" y="2506456"/>
                  </a:lnTo>
                  <a:lnTo>
                    <a:pt x="924436" y="2496926"/>
                  </a:lnTo>
                  <a:lnTo>
                    <a:pt x="929200" y="2477866"/>
                  </a:lnTo>
                  <a:lnTo>
                    <a:pt x="933964" y="2473100"/>
                  </a:lnTo>
                  <a:lnTo>
                    <a:pt x="938728" y="2473100"/>
                  </a:lnTo>
                  <a:lnTo>
                    <a:pt x="962556" y="2482630"/>
                  </a:lnTo>
                  <a:lnTo>
                    <a:pt x="967320" y="2473100"/>
                  </a:lnTo>
                  <a:lnTo>
                    <a:pt x="962556" y="2468336"/>
                  </a:lnTo>
                  <a:lnTo>
                    <a:pt x="962556" y="2458806"/>
                  </a:lnTo>
                  <a:lnTo>
                    <a:pt x="976852" y="2449276"/>
                  </a:lnTo>
                  <a:lnTo>
                    <a:pt x="1000676" y="2444510"/>
                  </a:lnTo>
                  <a:lnTo>
                    <a:pt x="1005440" y="2439744"/>
                  </a:lnTo>
                  <a:lnTo>
                    <a:pt x="1010208" y="2434980"/>
                  </a:lnTo>
                  <a:lnTo>
                    <a:pt x="1014972" y="2430214"/>
                  </a:lnTo>
                  <a:lnTo>
                    <a:pt x="1029268" y="2430214"/>
                  </a:lnTo>
                  <a:lnTo>
                    <a:pt x="1043564" y="2420684"/>
                  </a:lnTo>
                  <a:lnTo>
                    <a:pt x="1057856" y="2401624"/>
                  </a:lnTo>
                  <a:lnTo>
                    <a:pt x="1057856" y="2392094"/>
                  </a:lnTo>
                  <a:lnTo>
                    <a:pt x="1062624" y="2382564"/>
                  </a:lnTo>
                  <a:close/>
                  <a:moveTo>
                    <a:pt x="1334236" y="2363504"/>
                  </a:moveTo>
                  <a:lnTo>
                    <a:pt x="1343764" y="2363504"/>
                  </a:lnTo>
                  <a:lnTo>
                    <a:pt x="1348532" y="2368268"/>
                  </a:lnTo>
                  <a:lnTo>
                    <a:pt x="1367592" y="2368268"/>
                  </a:lnTo>
                  <a:lnTo>
                    <a:pt x="1362824" y="2377798"/>
                  </a:lnTo>
                  <a:lnTo>
                    <a:pt x="1358060" y="2382564"/>
                  </a:lnTo>
                  <a:lnTo>
                    <a:pt x="1343764" y="2377798"/>
                  </a:lnTo>
                  <a:lnTo>
                    <a:pt x="1334236" y="2377798"/>
                  </a:lnTo>
                  <a:lnTo>
                    <a:pt x="1329468" y="2368268"/>
                  </a:lnTo>
                  <a:close/>
                  <a:moveTo>
                    <a:pt x="867252" y="2292026"/>
                  </a:moveTo>
                  <a:lnTo>
                    <a:pt x="886312" y="2301556"/>
                  </a:lnTo>
                  <a:lnTo>
                    <a:pt x="886312" y="2311086"/>
                  </a:lnTo>
                  <a:lnTo>
                    <a:pt x="876784" y="2330146"/>
                  </a:lnTo>
                  <a:lnTo>
                    <a:pt x="867252" y="2339676"/>
                  </a:lnTo>
                  <a:lnTo>
                    <a:pt x="862488" y="2325382"/>
                  </a:lnTo>
                  <a:close/>
                  <a:moveTo>
                    <a:pt x="1605848" y="2287260"/>
                  </a:moveTo>
                  <a:lnTo>
                    <a:pt x="1624908" y="2287260"/>
                  </a:lnTo>
                  <a:lnTo>
                    <a:pt x="1648732" y="2292026"/>
                  </a:lnTo>
                  <a:lnTo>
                    <a:pt x="1667792" y="2306322"/>
                  </a:lnTo>
                  <a:lnTo>
                    <a:pt x="1691620" y="2315852"/>
                  </a:lnTo>
                  <a:lnTo>
                    <a:pt x="1710680" y="2311086"/>
                  </a:lnTo>
                  <a:lnTo>
                    <a:pt x="1710680" y="2344442"/>
                  </a:lnTo>
                  <a:lnTo>
                    <a:pt x="1715444" y="2358738"/>
                  </a:lnTo>
                  <a:lnTo>
                    <a:pt x="1720208" y="2368268"/>
                  </a:lnTo>
                  <a:lnTo>
                    <a:pt x="1715444" y="2382564"/>
                  </a:lnTo>
                  <a:lnTo>
                    <a:pt x="1729740" y="2387328"/>
                  </a:lnTo>
                  <a:lnTo>
                    <a:pt x="1696384" y="2406390"/>
                  </a:lnTo>
                  <a:lnTo>
                    <a:pt x="1672560" y="2425450"/>
                  </a:lnTo>
                  <a:lnTo>
                    <a:pt x="1658264" y="2444510"/>
                  </a:lnTo>
                  <a:lnTo>
                    <a:pt x="1648732" y="2458806"/>
                  </a:lnTo>
                  <a:lnTo>
                    <a:pt x="1643968" y="2477866"/>
                  </a:lnTo>
                  <a:lnTo>
                    <a:pt x="1639204" y="2496926"/>
                  </a:lnTo>
                  <a:lnTo>
                    <a:pt x="1629672" y="2487396"/>
                  </a:lnTo>
                  <a:lnTo>
                    <a:pt x="1605848" y="2458806"/>
                  </a:lnTo>
                  <a:lnTo>
                    <a:pt x="1591552" y="2449276"/>
                  </a:lnTo>
                  <a:lnTo>
                    <a:pt x="1562960" y="2444510"/>
                  </a:lnTo>
                  <a:lnTo>
                    <a:pt x="1553432" y="2444510"/>
                  </a:lnTo>
                  <a:lnTo>
                    <a:pt x="1501016" y="2473100"/>
                  </a:lnTo>
                  <a:lnTo>
                    <a:pt x="1491484" y="2496926"/>
                  </a:lnTo>
                  <a:lnTo>
                    <a:pt x="1477188" y="2525518"/>
                  </a:lnTo>
                  <a:lnTo>
                    <a:pt x="1472424" y="2535048"/>
                  </a:lnTo>
                  <a:lnTo>
                    <a:pt x="1462892" y="2539812"/>
                  </a:lnTo>
                  <a:lnTo>
                    <a:pt x="1458128" y="2544578"/>
                  </a:lnTo>
                  <a:lnTo>
                    <a:pt x="1453364" y="2568404"/>
                  </a:lnTo>
                  <a:lnTo>
                    <a:pt x="1434304" y="2587464"/>
                  </a:lnTo>
                  <a:lnTo>
                    <a:pt x="1424772" y="2587464"/>
                  </a:lnTo>
                  <a:lnTo>
                    <a:pt x="1405712" y="2582698"/>
                  </a:lnTo>
                  <a:lnTo>
                    <a:pt x="1400948" y="2587464"/>
                  </a:lnTo>
                  <a:lnTo>
                    <a:pt x="1410476" y="2558874"/>
                  </a:lnTo>
                  <a:lnTo>
                    <a:pt x="1396180" y="2554108"/>
                  </a:lnTo>
                  <a:lnTo>
                    <a:pt x="1377120" y="2558874"/>
                  </a:lnTo>
                  <a:lnTo>
                    <a:pt x="1377120" y="2539812"/>
                  </a:lnTo>
                  <a:lnTo>
                    <a:pt x="1367592" y="2530282"/>
                  </a:lnTo>
                  <a:lnTo>
                    <a:pt x="1372356" y="2515988"/>
                  </a:lnTo>
                  <a:lnTo>
                    <a:pt x="1372356" y="2506456"/>
                  </a:lnTo>
                  <a:lnTo>
                    <a:pt x="1377120" y="2501692"/>
                  </a:lnTo>
                  <a:lnTo>
                    <a:pt x="1381884" y="2492162"/>
                  </a:lnTo>
                  <a:lnTo>
                    <a:pt x="1381884" y="2487396"/>
                  </a:lnTo>
                  <a:lnTo>
                    <a:pt x="1367592" y="2482632"/>
                  </a:lnTo>
                  <a:lnTo>
                    <a:pt x="1362824" y="2477866"/>
                  </a:lnTo>
                  <a:lnTo>
                    <a:pt x="1362824" y="2458806"/>
                  </a:lnTo>
                  <a:lnTo>
                    <a:pt x="1358060" y="2458806"/>
                  </a:lnTo>
                  <a:lnTo>
                    <a:pt x="1343764" y="2463570"/>
                  </a:lnTo>
                  <a:lnTo>
                    <a:pt x="1315176" y="2477866"/>
                  </a:lnTo>
                  <a:lnTo>
                    <a:pt x="1305644" y="2477866"/>
                  </a:lnTo>
                  <a:lnTo>
                    <a:pt x="1319940" y="2468336"/>
                  </a:lnTo>
                  <a:lnTo>
                    <a:pt x="1343764" y="2454040"/>
                  </a:lnTo>
                  <a:lnTo>
                    <a:pt x="1358060" y="2444510"/>
                  </a:lnTo>
                  <a:lnTo>
                    <a:pt x="1381884" y="2420684"/>
                  </a:lnTo>
                  <a:lnTo>
                    <a:pt x="1400948" y="2411154"/>
                  </a:lnTo>
                  <a:lnTo>
                    <a:pt x="1410476" y="2392094"/>
                  </a:lnTo>
                  <a:lnTo>
                    <a:pt x="1410476" y="2382564"/>
                  </a:lnTo>
                  <a:lnTo>
                    <a:pt x="1415240" y="2373034"/>
                  </a:lnTo>
                  <a:lnTo>
                    <a:pt x="1424772" y="2353972"/>
                  </a:lnTo>
                  <a:lnTo>
                    <a:pt x="1429536" y="2349208"/>
                  </a:lnTo>
                  <a:lnTo>
                    <a:pt x="1443832" y="2334912"/>
                  </a:lnTo>
                  <a:lnTo>
                    <a:pt x="1453364" y="2334912"/>
                  </a:lnTo>
                  <a:lnTo>
                    <a:pt x="1462892" y="2353972"/>
                  </a:lnTo>
                  <a:lnTo>
                    <a:pt x="1477188" y="2368268"/>
                  </a:lnTo>
                  <a:lnTo>
                    <a:pt x="1486720" y="2368268"/>
                  </a:lnTo>
                  <a:lnTo>
                    <a:pt x="1501016" y="2358738"/>
                  </a:lnTo>
                  <a:lnTo>
                    <a:pt x="1510544" y="2358738"/>
                  </a:lnTo>
                  <a:lnTo>
                    <a:pt x="1529604" y="2358738"/>
                  </a:lnTo>
                  <a:lnTo>
                    <a:pt x="1548664" y="2349208"/>
                  </a:lnTo>
                  <a:lnTo>
                    <a:pt x="1553432" y="2339678"/>
                  </a:lnTo>
                  <a:lnTo>
                    <a:pt x="1558196" y="2330148"/>
                  </a:lnTo>
                  <a:lnTo>
                    <a:pt x="1548664" y="2306322"/>
                  </a:lnTo>
                  <a:lnTo>
                    <a:pt x="1558196" y="2311086"/>
                  </a:lnTo>
                  <a:lnTo>
                    <a:pt x="1567724" y="2311086"/>
                  </a:lnTo>
                  <a:lnTo>
                    <a:pt x="1586788" y="2296792"/>
                  </a:lnTo>
                  <a:close/>
                  <a:moveTo>
                    <a:pt x="1639204" y="2253904"/>
                  </a:moveTo>
                  <a:lnTo>
                    <a:pt x="1663028" y="2253904"/>
                  </a:lnTo>
                  <a:lnTo>
                    <a:pt x="1672560" y="2253904"/>
                  </a:lnTo>
                  <a:lnTo>
                    <a:pt x="1667792" y="2263436"/>
                  </a:lnTo>
                  <a:lnTo>
                    <a:pt x="1663028" y="2268200"/>
                  </a:lnTo>
                  <a:lnTo>
                    <a:pt x="1663028" y="2263436"/>
                  </a:lnTo>
                  <a:lnTo>
                    <a:pt x="1653500" y="2272966"/>
                  </a:lnTo>
                  <a:lnTo>
                    <a:pt x="1648732" y="2263436"/>
                  </a:lnTo>
                  <a:lnTo>
                    <a:pt x="1639204" y="2258670"/>
                  </a:lnTo>
                  <a:close/>
                  <a:moveTo>
                    <a:pt x="1763096" y="2249140"/>
                  </a:moveTo>
                  <a:lnTo>
                    <a:pt x="1767860" y="2249140"/>
                  </a:lnTo>
                  <a:lnTo>
                    <a:pt x="1753564" y="2277730"/>
                  </a:lnTo>
                  <a:lnTo>
                    <a:pt x="1758332" y="2301556"/>
                  </a:lnTo>
                  <a:lnTo>
                    <a:pt x="1739272" y="2315852"/>
                  </a:lnTo>
                  <a:lnTo>
                    <a:pt x="1724976" y="2315852"/>
                  </a:lnTo>
                  <a:lnTo>
                    <a:pt x="1720212" y="2306322"/>
                  </a:lnTo>
                  <a:lnTo>
                    <a:pt x="1715444" y="2296792"/>
                  </a:lnTo>
                  <a:lnTo>
                    <a:pt x="1729740" y="2282496"/>
                  </a:lnTo>
                  <a:lnTo>
                    <a:pt x="1744036" y="2263436"/>
                  </a:lnTo>
                  <a:lnTo>
                    <a:pt x="1753564" y="2253906"/>
                  </a:lnTo>
                  <a:close/>
                  <a:moveTo>
                    <a:pt x="900608" y="2225314"/>
                  </a:moveTo>
                  <a:lnTo>
                    <a:pt x="905372" y="2225314"/>
                  </a:lnTo>
                  <a:lnTo>
                    <a:pt x="905372" y="2230080"/>
                  </a:lnTo>
                  <a:lnTo>
                    <a:pt x="905372" y="2239610"/>
                  </a:lnTo>
                  <a:lnTo>
                    <a:pt x="905372" y="2249140"/>
                  </a:lnTo>
                  <a:lnTo>
                    <a:pt x="891080" y="2277730"/>
                  </a:lnTo>
                  <a:lnTo>
                    <a:pt x="891080" y="2287260"/>
                  </a:lnTo>
                  <a:lnTo>
                    <a:pt x="886312" y="2296792"/>
                  </a:lnTo>
                  <a:lnTo>
                    <a:pt x="876784" y="2287260"/>
                  </a:lnTo>
                  <a:lnTo>
                    <a:pt x="872020" y="2282496"/>
                  </a:lnTo>
                  <a:lnTo>
                    <a:pt x="881548" y="2253904"/>
                  </a:lnTo>
                  <a:lnTo>
                    <a:pt x="881548" y="2244374"/>
                  </a:lnTo>
                  <a:lnTo>
                    <a:pt x="881548" y="2239610"/>
                  </a:lnTo>
                  <a:close/>
                  <a:moveTo>
                    <a:pt x="2449276" y="2206254"/>
                  </a:moveTo>
                  <a:lnTo>
                    <a:pt x="2458804" y="2206254"/>
                  </a:lnTo>
                  <a:lnTo>
                    <a:pt x="2463572" y="2215784"/>
                  </a:lnTo>
                  <a:lnTo>
                    <a:pt x="2463572" y="2225316"/>
                  </a:lnTo>
                  <a:lnTo>
                    <a:pt x="2454040" y="2225316"/>
                  </a:lnTo>
                  <a:lnTo>
                    <a:pt x="2449276" y="2215784"/>
                  </a:lnTo>
                  <a:close/>
                  <a:moveTo>
                    <a:pt x="1501016" y="1906052"/>
                  </a:moveTo>
                  <a:lnTo>
                    <a:pt x="1515308" y="1925112"/>
                  </a:lnTo>
                  <a:lnTo>
                    <a:pt x="1515308" y="1934642"/>
                  </a:lnTo>
                  <a:lnTo>
                    <a:pt x="1505780" y="1939408"/>
                  </a:lnTo>
                  <a:lnTo>
                    <a:pt x="1491484" y="1939408"/>
                  </a:lnTo>
                  <a:lnTo>
                    <a:pt x="1486720" y="1929876"/>
                  </a:lnTo>
                  <a:lnTo>
                    <a:pt x="1486720" y="1915582"/>
                  </a:lnTo>
                  <a:close/>
                  <a:moveTo>
                    <a:pt x="2315852" y="1520076"/>
                  </a:moveTo>
                  <a:lnTo>
                    <a:pt x="2315852" y="1529606"/>
                  </a:lnTo>
                  <a:lnTo>
                    <a:pt x="2311084" y="1558198"/>
                  </a:lnTo>
                  <a:lnTo>
                    <a:pt x="2306320" y="1567728"/>
                  </a:lnTo>
                  <a:lnTo>
                    <a:pt x="2325380" y="1567728"/>
                  </a:lnTo>
                  <a:lnTo>
                    <a:pt x="2315852" y="1601084"/>
                  </a:lnTo>
                  <a:lnTo>
                    <a:pt x="2292024" y="1615380"/>
                  </a:lnTo>
                  <a:lnTo>
                    <a:pt x="2277732" y="1615380"/>
                  </a:lnTo>
                  <a:lnTo>
                    <a:pt x="2272964" y="1615380"/>
                  </a:lnTo>
                  <a:lnTo>
                    <a:pt x="2282496" y="1610614"/>
                  </a:lnTo>
                  <a:lnTo>
                    <a:pt x="2282496" y="1601084"/>
                  </a:lnTo>
                  <a:lnTo>
                    <a:pt x="2287260" y="1586788"/>
                  </a:lnTo>
                  <a:lnTo>
                    <a:pt x="2287260" y="1582022"/>
                  </a:lnTo>
                  <a:lnTo>
                    <a:pt x="2277732" y="1582022"/>
                  </a:lnTo>
                  <a:lnTo>
                    <a:pt x="2277732" y="1567728"/>
                  </a:lnTo>
                  <a:lnTo>
                    <a:pt x="2282496" y="1548666"/>
                  </a:lnTo>
                  <a:lnTo>
                    <a:pt x="2311084" y="1524842"/>
                  </a:lnTo>
                  <a:close/>
                  <a:moveTo>
                    <a:pt x="2697060" y="867252"/>
                  </a:moveTo>
                  <a:lnTo>
                    <a:pt x="2711356" y="876784"/>
                  </a:lnTo>
                  <a:lnTo>
                    <a:pt x="2720888" y="876784"/>
                  </a:lnTo>
                  <a:lnTo>
                    <a:pt x="2739948" y="895844"/>
                  </a:lnTo>
                  <a:lnTo>
                    <a:pt x="2749476" y="900608"/>
                  </a:lnTo>
                  <a:lnTo>
                    <a:pt x="2778068" y="891078"/>
                  </a:lnTo>
                  <a:lnTo>
                    <a:pt x="2773304" y="919670"/>
                  </a:lnTo>
                  <a:lnTo>
                    <a:pt x="2768536" y="953026"/>
                  </a:lnTo>
                  <a:lnTo>
                    <a:pt x="2768536" y="1005442"/>
                  </a:lnTo>
                  <a:lnTo>
                    <a:pt x="2773304" y="1029268"/>
                  </a:lnTo>
                  <a:lnTo>
                    <a:pt x="2778068" y="1053092"/>
                  </a:lnTo>
                  <a:lnTo>
                    <a:pt x="2792364" y="1072154"/>
                  </a:lnTo>
                  <a:lnTo>
                    <a:pt x="2806660" y="1081684"/>
                  </a:lnTo>
                  <a:lnTo>
                    <a:pt x="2830484" y="1119804"/>
                  </a:lnTo>
                  <a:lnTo>
                    <a:pt x="2844780" y="1167456"/>
                  </a:lnTo>
                  <a:lnTo>
                    <a:pt x="2849544" y="1186516"/>
                  </a:lnTo>
                  <a:lnTo>
                    <a:pt x="2859076" y="1210342"/>
                  </a:lnTo>
                  <a:lnTo>
                    <a:pt x="2859076" y="1219872"/>
                  </a:lnTo>
                  <a:lnTo>
                    <a:pt x="2859076" y="1234168"/>
                  </a:lnTo>
                  <a:lnTo>
                    <a:pt x="2859076" y="1248464"/>
                  </a:lnTo>
                  <a:lnTo>
                    <a:pt x="2859076" y="1257994"/>
                  </a:lnTo>
                  <a:lnTo>
                    <a:pt x="2859076" y="1296114"/>
                  </a:lnTo>
                  <a:lnTo>
                    <a:pt x="2849544" y="1339000"/>
                  </a:lnTo>
                  <a:lnTo>
                    <a:pt x="2844780" y="1358062"/>
                  </a:lnTo>
                  <a:lnTo>
                    <a:pt x="2835248" y="1362826"/>
                  </a:lnTo>
                  <a:lnTo>
                    <a:pt x="2830484" y="1372356"/>
                  </a:lnTo>
                  <a:lnTo>
                    <a:pt x="2825720" y="1377122"/>
                  </a:lnTo>
                  <a:lnTo>
                    <a:pt x="2820956" y="1381886"/>
                  </a:lnTo>
                  <a:lnTo>
                    <a:pt x="2816188" y="1381886"/>
                  </a:lnTo>
                  <a:lnTo>
                    <a:pt x="2806660" y="1386652"/>
                  </a:lnTo>
                  <a:lnTo>
                    <a:pt x="2806660" y="1396182"/>
                  </a:lnTo>
                  <a:lnTo>
                    <a:pt x="2801892" y="1410478"/>
                  </a:lnTo>
                  <a:lnTo>
                    <a:pt x="2797128" y="1420008"/>
                  </a:lnTo>
                  <a:lnTo>
                    <a:pt x="2792364" y="1429538"/>
                  </a:lnTo>
                  <a:lnTo>
                    <a:pt x="2787600" y="1453364"/>
                  </a:lnTo>
                  <a:lnTo>
                    <a:pt x="2787600" y="1481954"/>
                  </a:lnTo>
                  <a:lnTo>
                    <a:pt x="2778068" y="1501014"/>
                  </a:lnTo>
                  <a:lnTo>
                    <a:pt x="2763772" y="1505780"/>
                  </a:lnTo>
                  <a:lnTo>
                    <a:pt x="2744712" y="1505780"/>
                  </a:lnTo>
                  <a:lnTo>
                    <a:pt x="2720888" y="1515310"/>
                  </a:lnTo>
                  <a:lnTo>
                    <a:pt x="2716120" y="1520076"/>
                  </a:lnTo>
                  <a:lnTo>
                    <a:pt x="2701824" y="1553432"/>
                  </a:lnTo>
                  <a:lnTo>
                    <a:pt x="2692296" y="1572492"/>
                  </a:lnTo>
                  <a:lnTo>
                    <a:pt x="2692296" y="1591552"/>
                  </a:lnTo>
                  <a:lnTo>
                    <a:pt x="2701824" y="1615378"/>
                  </a:lnTo>
                  <a:lnTo>
                    <a:pt x="2706592" y="1639204"/>
                  </a:lnTo>
                  <a:lnTo>
                    <a:pt x="2711356" y="1686854"/>
                  </a:lnTo>
                  <a:lnTo>
                    <a:pt x="2706592" y="1753566"/>
                  </a:lnTo>
                  <a:lnTo>
                    <a:pt x="2701824" y="1777392"/>
                  </a:lnTo>
                  <a:lnTo>
                    <a:pt x="2687532" y="1791688"/>
                  </a:lnTo>
                  <a:lnTo>
                    <a:pt x="2682764" y="1801218"/>
                  </a:lnTo>
                  <a:lnTo>
                    <a:pt x="2673236" y="1805982"/>
                  </a:lnTo>
                  <a:lnTo>
                    <a:pt x="2663704" y="1829808"/>
                  </a:lnTo>
                  <a:lnTo>
                    <a:pt x="2649408" y="1872694"/>
                  </a:lnTo>
                  <a:lnTo>
                    <a:pt x="2644644" y="1886990"/>
                  </a:lnTo>
                  <a:lnTo>
                    <a:pt x="2644644" y="1896520"/>
                  </a:lnTo>
                  <a:lnTo>
                    <a:pt x="2639880" y="1910816"/>
                  </a:lnTo>
                  <a:lnTo>
                    <a:pt x="2639880" y="1929876"/>
                  </a:lnTo>
                  <a:lnTo>
                    <a:pt x="2639880" y="1944172"/>
                  </a:lnTo>
                  <a:lnTo>
                    <a:pt x="2644644" y="1963232"/>
                  </a:lnTo>
                  <a:lnTo>
                    <a:pt x="2668468" y="2001354"/>
                  </a:lnTo>
                  <a:lnTo>
                    <a:pt x="2678000" y="2015648"/>
                  </a:lnTo>
                  <a:lnTo>
                    <a:pt x="2687532" y="2025178"/>
                  </a:lnTo>
                  <a:lnTo>
                    <a:pt x="2649408" y="2039474"/>
                  </a:lnTo>
                  <a:lnTo>
                    <a:pt x="2644644" y="2044240"/>
                  </a:lnTo>
                  <a:lnTo>
                    <a:pt x="2620820" y="2068064"/>
                  </a:lnTo>
                  <a:lnTo>
                    <a:pt x="2616052" y="2087126"/>
                  </a:lnTo>
                  <a:lnTo>
                    <a:pt x="2616052" y="2115716"/>
                  </a:lnTo>
                  <a:lnTo>
                    <a:pt x="2611288" y="2120482"/>
                  </a:lnTo>
                  <a:lnTo>
                    <a:pt x="2606524" y="2130012"/>
                  </a:lnTo>
                  <a:lnTo>
                    <a:pt x="2596992" y="2134776"/>
                  </a:lnTo>
                  <a:lnTo>
                    <a:pt x="2573168" y="2144306"/>
                  </a:lnTo>
                  <a:lnTo>
                    <a:pt x="2558872" y="2158602"/>
                  </a:lnTo>
                  <a:lnTo>
                    <a:pt x="2544576" y="2172898"/>
                  </a:lnTo>
                  <a:lnTo>
                    <a:pt x="2535048" y="2182428"/>
                  </a:lnTo>
                  <a:lnTo>
                    <a:pt x="2525516" y="2182428"/>
                  </a:lnTo>
                  <a:lnTo>
                    <a:pt x="2515984" y="2172898"/>
                  </a:lnTo>
                  <a:lnTo>
                    <a:pt x="2525516" y="2163368"/>
                  </a:lnTo>
                  <a:lnTo>
                    <a:pt x="2520752" y="2149072"/>
                  </a:lnTo>
                  <a:lnTo>
                    <a:pt x="2525516" y="2120482"/>
                  </a:lnTo>
                  <a:lnTo>
                    <a:pt x="2520752" y="2106186"/>
                  </a:lnTo>
                  <a:lnTo>
                    <a:pt x="2535048" y="2096656"/>
                  </a:lnTo>
                  <a:lnTo>
                    <a:pt x="2539812" y="2082360"/>
                  </a:lnTo>
                  <a:lnTo>
                    <a:pt x="2554108" y="2072830"/>
                  </a:lnTo>
                  <a:lnTo>
                    <a:pt x="2563636" y="2063300"/>
                  </a:lnTo>
                  <a:lnTo>
                    <a:pt x="2563636" y="2053770"/>
                  </a:lnTo>
                  <a:lnTo>
                    <a:pt x="2554108" y="2044240"/>
                  </a:lnTo>
                  <a:lnTo>
                    <a:pt x="2549340" y="2034708"/>
                  </a:lnTo>
                  <a:lnTo>
                    <a:pt x="2535048" y="2034708"/>
                  </a:lnTo>
                  <a:lnTo>
                    <a:pt x="2525516" y="2039474"/>
                  </a:lnTo>
                  <a:lnTo>
                    <a:pt x="2515984" y="2049004"/>
                  </a:lnTo>
                  <a:lnTo>
                    <a:pt x="2515984" y="2058534"/>
                  </a:lnTo>
                  <a:lnTo>
                    <a:pt x="2515984" y="2063300"/>
                  </a:lnTo>
                  <a:lnTo>
                    <a:pt x="2511220" y="2068064"/>
                  </a:lnTo>
                  <a:lnTo>
                    <a:pt x="2496924" y="2087126"/>
                  </a:lnTo>
                  <a:lnTo>
                    <a:pt x="2496924" y="2101420"/>
                  </a:lnTo>
                  <a:lnTo>
                    <a:pt x="2501692" y="2110952"/>
                  </a:lnTo>
                  <a:lnTo>
                    <a:pt x="2511220" y="2115716"/>
                  </a:lnTo>
                  <a:lnTo>
                    <a:pt x="2506456" y="2120482"/>
                  </a:lnTo>
                  <a:lnTo>
                    <a:pt x="2496924" y="2134776"/>
                  </a:lnTo>
                  <a:lnTo>
                    <a:pt x="2492160" y="2139542"/>
                  </a:lnTo>
                  <a:lnTo>
                    <a:pt x="2482628" y="2115716"/>
                  </a:lnTo>
                  <a:lnTo>
                    <a:pt x="2468336" y="2106186"/>
                  </a:lnTo>
                  <a:lnTo>
                    <a:pt x="2449276" y="2106186"/>
                  </a:lnTo>
                  <a:lnTo>
                    <a:pt x="2430212" y="2110952"/>
                  </a:lnTo>
                  <a:lnTo>
                    <a:pt x="2420684" y="2125246"/>
                  </a:lnTo>
                  <a:lnTo>
                    <a:pt x="2415920" y="2134776"/>
                  </a:lnTo>
                  <a:lnTo>
                    <a:pt x="2411152" y="2144306"/>
                  </a:lnTo>
                  <a:lnTo>
                    <a:pt x="2411152" y="2172898"/>
                  </a:lnTo>
                  <a:lnTo>
                    <a:pt x="2406388" y="2196724"/>
                  </a:lnTo>
                  <a:lnTo>
                    <a:pt x="2396856" y="2215784"/>
                  </a:lnTo>
                  <a:lnTo>
                    <a:pt x="2392092" y="2220548"/>
                  </a:lnTo>
                  <a:lnTo>
                    <a:pt x="2377796" y="2234844"/>
                  </a:lnTo>
                  <a:lnTo>
                    <a:pt x="2368268" y="2234844"/>
                  </a:lnTo>
                  <a:lnTo>
                    <a:pt x="2363500" y="2230080"/>
                  </a:lnTo>
                  <a:lnTo>
                    <a:pt x="2353972" y="2220548"/>
                  </a:lnTo>
                  <a:lnTo>
                    <a:pt x="2363500" y="2187192"/>
                  </a:lnTo>
                  <a:lnTo>
                    <a:pt x="2363500" y="2168132"/>
                  </a:lnTo>
                  <a:lnTo>
                    <a:pt x="2377796" y="2158602"/>
                  </a:lnTo>
                  <a:lnTo>
                    <a:pt x="2363500" y="2144306"/>
                  </a:lnTo>
                  <a:lnTo>
                    <a:pt x="2349208" y="2139542"/>
                  </a:lnTo>
                  <a:lnTo>
                    <a:pt x="2325380" y="2149072"/>
                  </a:lnTo>
                  <a:lnTo>
                    <a:pt x="2320616" y="2153838"/>
                  </a:lnTo>
                  <a:lnTo>
                    <a:pt x="2315852" y="2168132"/>
                  </a:lnTo>
                  <a:lnTo>
                    <a:pt x="2306320" y="2182428"/>
                  </a:lnTo>
                  <a:lnTo>
                    <a:pt x="2292024" y="2191958"/>
                  </a:lnTo>
                  <a:lnTo>
                    <a:pt x="2277728" y="2215784"/>
                  </a:lnTo>
                  <a:lnTo>
                    <a:pt x="2268200" y="2239610"/>
                  </a:lnTo>
                  <a:lnTo>
                    <a:pt x="2234844" y="2234844"/>
                  </a:lnTo>
                  <a:lnTo>
                    <a:pt x="2215784" y="2230080"/>
                  </a:lnTo>
                  <a:lnTo>
                    <a:pt x="2196724" y="2230080"/>
                  </a:lnTo>
                  <a:lnTo>
                    <a:pt x="2163368" y="2230080"/>
                  </a:lnTo>
                  <a:lnTo>
                    <a:pt x="2130012" y="2234844"/>
                  </a:lnTo>
                  <a:lnTo>
                    <a:pt x="2091888" y="2244374"/>
                  </a:lnTo>
                  <a:lnTo>
                    <a:pt x="2091888" y="2234844"/>
                  </a:lnTo>
                  <a:lnTo>
                    <a:pt x="2125244" y="2220548"/>
                  </a:lnTo>
                  <a:lnTo>
                    <a:pt x="2125244" y="2215784"/>
                  </a:lnTo>
                  <a:lnTo>
                    <a:pt x="2125244" y="2206254"/>
                  </a:lnTo>
                  <a:lnTo>
                    <a:pt x="2115716" y="2206254"/>
                  </a:lnTo>
                  <a:lnTo>
                    <a:pt x="2096656" y="2211018"/>
                  </a:lnTo>
                  <a:lnTo>
                    <a:pt x="2087124" y="2211018"/>
                  </a:lnTo>
                  <a:lnTo>
                    <a:pt x="2082360" y="2201488"/>
                  </a:lnTo>
                  <a:lnTo>
                    <a:pt x="2077596" y="2196724"/>
                  </a:lnTo>
                  <a:lnTo>
                    <a:pt x="2072828" y="2201488"/>
                  </a:lnTo>
                  <a:lnTo>
                    <a:pt x="2072828" y="2215784"/>
                  </a:lnTo>
                  <a:lnTo>
                    <a:pt x="2068064" y="2220548"/>
                  </a:lnTo>
                  <a:lnTo>
                    <a:pt x="2063300" y="2215784"/>
                  </a:lnTo>
                  <a:lnTo>
                    <a:pt x="2063300" y="2201488"/>
                  </a:lnTo>
                  <a:lnTo>
                    <a:pt x="2058532" y="2182428"/>
                  </a:lnTo>
                  <a:lnTo>
                    <a:pt x="2058532" y="2168132"/>
                  </a:lnTo>
                  <a:lnTo>
                    <a:pt x="2063300" y="2158602"/>
                  </a:lnTo>
                  <a:lnTo>
                    <a:pt x="2058532" y="2153838"/>
                  </a:lnTo>
                  <a:lnTo>
                    <a:pt x="2049004" y="2153838"/>
                  </a:lnTo>
                  <a:lnTo>
                    <a:pt x="2039472" y="2158602"/>
                  </a:lnTo>
                  <a:lnTo>
                    <a:pt x="2034708" y="2168132"/>
                  </a:lnTo>
                  <a:lnTo>
                    <a:pt x="2015648" y="2206254"/>
                  </a:lnTo>
                  <a:lnTo>
                    <a:pt x="2006116" y="2225314"/>
                  </a:lnTo>
                  <a:lnTo>
                    <a:pt x="2020412" y="2244374"/>
                  </a:lnTo>
                  <a:lnTo>
                    <a:pt x="2053768" y="2268200"/>
                  </a:lnTo>
                  <a:lnTo>
                    <a:pt x="2063300" y="2272966"/>
                  </a:lnTo>
                  <a:lnTo>
                    <a:pt x="2063300" y="2282496"/>
                  </a:lnTo>
                  <a:lnTo>
                    <a:pt x="2058532" y="2292026"/>
                  </a:lnTo>
                  <a:lnTo>
                    <a:pt x="2049004" y="2296792"/>
                  </a:lnTo>
                  <a:lnTo>
                    <a:pt x="2010884" y="2306322"/>
                  </a:lnTo>
                  <a:lnTo>
                    <a:pt x="1977528" y="2320616"/>
                  </a:lnTo>
                  <a:lnTo>
                    <a:pt x="1967996" y="2334912"/>
                  </a:lnTo>
                  <a:lnTo>
                    <a:pt x="1934640" y="2396858"/>
                  </a:lnTo>
                  <a:lnTo>
                    <a:pt x="1910816" y="2434980"/>
                  </a:lnTo>
                  <a:lnTo>
                    <a:pt x="1877460" y="2449276"/>
                  </a:lnTo>
                  <a:lnTo>
                    <a:pt x="1839336" y="2439744"/>
                  </a:lnTo>
                  <a:lnTo>
                    <a:pt x="1829808" y="2425450"/>
                  </a:lnTo>
                  <a:lnTo>
                    <a:pt x="1825044" y="2406388"/>
                  </a:lnTo>
                  <a:lnTo>
                    <a:pt x="1810748" y="2392094"/>
                  </a:lnTo>
                  <a:lnTo>
                    <a:pt x="1796452" y="2373032"/>
                  </a:lnTo>
                  <a:lnTo>
                    <a:pt x="1786920" y="2353972"/>
                  </a:lnTo>
                  <a:lnTo>
                    <a:pt x="1791688" y="2320616"/>
                  </a:lnTo>
                  <a:lnTo>
                    <a:pt x="1782156" y="2301556"/>
                  </a:lnTo>
                  <a:lnTo>
                    <a:pt x="1786920" y="2292026"/>
                  </a:lnTo>
                  <a:lnTo>
                    <a:pt x="1810748" y="2282496"/>
                  </a:lnTo>
                  <a:lnTo>
                    <a:pt x="1815512" y="2272966"/>
                  </a:lnTo>
                  <a:lnTo>
                    <a:pt x="1829808" y="2258670"/>
                  </a:lnTo>
                  <a:lnTo>
                    <a:pt x="1834572" y="2249140"/>
                  </a:lnTo>
                  <a:lnTo>
                    <a:pt x="1834572" y="2234844"/>
                  </a:lnTo>
                  <a:lnTo>
                    <a:pt x="1825044" y="2230080"/>
                  </a:lnTo>
                  <a:lnTo>
                    <a:pt x="1801216" y="2230080"/>
                  </a:lnTo>
                  <a:lnTo>
                    <a:pt x="1772628" y="2234844"/>
                  </a:lnTo>
                  <a:lnTo>
                    <a:pt x="1758332" y="2230080"/>
                  </a:lnTo>
                  <a:lnTo>
                    <a:pt x="1734504" y="2211018"/>
                  </a:lnTo>
                  <a:lnTo>
                    <a:pt x="1729740" y="2211018"/>
                  </a:lnTo>
                  <a:lnTo>
                    <a:pt x="1705916" y="2206254"/>
                  </a:lnTo>
                  <a:lnTo>
                    <a:pt x="1686852" y="2211018"/>
                  </a:lnTo>
                  <a:lnTo>
                    <a:pt x="1667792" y="2215784"/>
                  </a:lnTo>
                  <a:lnTo>
                    <a:pt x="1648732" y="2220548"/>
                  </a:lnTo>
                  <a:lnTo>
                    <a:pt x="1643968" y="2220548"/>
                  </a:lnTo>
                  <a:lnTo>
                    <a:pt x="1624908" y="2239610"/>
                  </a:lnTo>
                  <a:lnTo>
                    <a:pt x="1605848" y="2253904"/>
                  </a:lnTo>
                  <a:lnTo>
                    <a:pt x="1591552" y="2258670"/>
                  </a:lnTo>
                  <a:lnTo>
                    <a:pt x="1562960" y="2263436"/>
                  </a:lnTo>
                  <a:lnTo>
                    <a:pt x="1548664" y="2268200"/>
                  </a:lnTo>
                  <a:lnTo>
                    <a:pt x="1529604" y="2272966"/>
                  </a:lnTo>
                  <a:lnTo>
                    <a:pt x="1524840" y="2272966"/>
                  </a:lnTo>
                  <a:lnTo>
                    <a:pt x="1510544" y="2282496"/>
                  </a:lnTo>
                  <a:lnTo>
                    <a:pt x="1491484" y="2287260"/>
                  </a:lnTo>
                  <a:lnTo>
                    <a:pt x="1477188" y="2296792"/>
                  </a:lnTo>
                  <a:lnTo>
                    <a:pt x="1458128" y="2292026"/>
                  </a:lnTo>
                  <a:lnTo>
                    <a:pt x="1420008" y="2306322"/>
                  </a:lnTo>
                  <a:lnTo>
                    <a:pt x="1400948" y="2306322"/>
                  </a:lnTo>
                  <a:lnTo>
                    <a:pt x="1381884" y="2301556"/>
                  </a:lnTo>
                  <a:lnTo>
                    <a:pt x="1367592" y="2287260"/>
                  </a:lnTo>
                  <a:lnTo>
                    <a:pt x="1348528" y="2292026"/>
                  </a:lnTo>
                  <a:lnTo>
                    <a:pt x="1339000" y="2311086"/>
                  </a:lnTo>
                  <a:lnTo>
                    <a:pt x="1329468" y="2349208"/>
                  </a:lnTo>
                  <a:lnTo>
                    <a:pt x="1324704" y="2363502"/>
                  </a:lnTo>
                  <a:lnTo>
                    <a:pt x="1324704" y="2382564"/>
                  </a:lnTo>
                  <a:lnTo>
                    <a:pt x="1315176" y="2382564"/>
                  </a:lnTo>
                  <a:lnTo>
                    <a:pt x="1262756" y="2344442"/>
                  </a:lnTo>
                  <a:lnTo>
                    <a:pt x="1257992" y="2344442"/>
                  </a:lnTo>
                  <a:lnTo>
                    <a:pt x="1219872" y="2349208"/>
                  </a:lnTo>
                  <a:lnTo>
                    <a:pt x="1205576" y="2353972"/>
                  </a:lnTo>
                  <a:lnTo>
                    <a:pt x="1196044" y="2358738"/>
                  </a:lnTo>
                  <a:lnTo>
                    <a:pt x="1181752" y="2363502"/>
                  </a:lnTo>
                  <a:lnTo>
                    <a:pt x="1167456" y="2358738"/>
                  </a:lnTo>
                  <a:lnTo>
                    <a:pt x="1153160" y="2349208"/>
                  </a:lnTo>
                  <a:lnTo>
                    <a:pt x="1143628" y="2353972"/>
                  </a:lnTo>
                  <a:lnTo>
                    <a:pt x="1129336" y="2358738"/>
                  </a:lnTo>
                  <a:lnTo>
                    <a:pt x="1124568" y="2306322"/>
                  </a:lnTo>
                  <a:lnTo>
                    <a:pt x="1129336" y="2296792"/>
                  </a:lnTo>
                  <a:lnTo>
                    <a:pt x="1134100" y="2287260"/>
                  </a:lnTo>
                  <a:lnTo>
                    <a:pt x="1143628" y="2277730"/>
                  </a:lnTo>
                  <a:lnTo>
                    <a:pt x="1162692" y="2277730"/>
                  </a:lnTo>
                  <a:lnTo>
                    <a:pt x="1186516" y="2277730"/>
                  </a:lnTo>
                  <a:lnTo>
                    <a:pt x="1200812" y="2277730"/>
                  </a:lnTo>
                  <a:lnTo>
                    <a:pt x="1210340" y="2263436"/>
                  </a:lnTo>
                  <a:lnTo>
                    <a:pt x="1224636" y="2249140"/>
                  </a:lnTo>
                  <a:lnTo>
                    <a:pt x="1238932" y="2239610"/>
                  </a:lnTo>
                  <a:lnTo>
                    <a:pt x="1257992" y="2225314"/>
                  </a:lnTo>
                  <a:lnTo>
                    <a:pt x="1277052" y="2215784"/>
                  </a:lnTo>
                  <a:lnTo>
                    <a:pt x="1296112" y="2201488"/>
                  </a:lnTo>
                  <a:lnTo>
                    <a:pt x="1310408" y="2182428"/>
                  </a:lnTo>
                  <a:lnTo>
                    <a:pt x="1324704" y="2168132"/>
                  </a:lnTo>
                  <a:lnTo>
                    <a:pt x="1339000" y="2158602"/>
                  </a:lnTo>
                  <a:lnTo>
                    <a:pt x="1362824" y="2134776"/>
                  </a:lnTo>
                  <a:lnTo>
                    <a:pt x="1396180" y="2106186"/>
                  </a:lnTo>
                  <a:lnTo>
                    <a:pt x="1410476" y="2082360"/>
                  </a:lnTo>
                  <a:lnTo>
                    <a:pt x="1415240" y="2077596"/>
                  </a:lnTo>
                  <a:lnTo>
                    <a:pt x="1443832" y="2068064"/>
                  </a:lnTo>
                  <a:lnTo>
                    <a:pt x="1481952" y="2058534"/>
                  </a:lnTo>
                  <a:lnTo>
                    <a:pt x="1496248" y="2058534"/>
                  </a:lnTo>
                  <a:lnTo>
                    <a:pt x="1515308" y="2077596"/>
                  </a:lnTo>
                  <a:lnTo>
                    <a:pt x="1524840" y="2072830"/>
                  </a:lnTo>
                  <a:lnTo>
                    <a:pt x="1534368" y="2068064"/>
                  </a:lnTo>
                  <a:lnTo>
                    <a:pt x="1553432" y="2068064"/>
                  </a:lnTo>
                  <a:lnTo>
                    <a:pt x="1572492" y="2068064"/>
                  </a:lnTo>
                  <a:lnTo>
                    <a:pt x="1591552" y="2068064"/>
                  </a:lnTo>
                  <a:lnTo>
                    <a:pt x="1610612" y="2068064"/>
                  </a:lnTo>
                  <a:lnTo>
                    <a:pt x="1643968" y="2063300"/>
                  </a:lnTo>
                  <a:lnTo>
                    <a:pt x="1663028" y="2053770"/>
                  </a:lnTo>
                  <a:lnTo>
                    <a:pt x="1682088" y="2044240"/>
                  </a:lnTo>
                  <a:lnTo>
                    <a:pt x="1748800" y="2039474"/>
                  </a:lnTo>
                  <a:lnTo>
                    <a:pt x="1796452" y="2020414"/>
                  </a:lnTo>
                  <a:lnTo>
                    <a:pt x="1801216" y="2020414"/>
                  </a:lnTo>
                  <a:lnTo>
                    <a:pt x="1810748" y="2025178"/>
                  </a:lnTo>
                  <a:lnTo>
                    <a:pt x="1810748" y="2039474"/>
                  </a:lnTo>
                  <a:lnTo>
                    <a:pt x="1805984" y="2049004"/>
                  </a:lnTo>
                  <a:lnTo>
                    <a:pt x="1810748" y="2058534"/>
                  </a:lnTo>
                  <a:lnTo>
                    <a:pt x="1820276" y="2063300"/>
                  </a:lnTo>
                  <a:lnTo>
                    <a:pt x="1863164" y="2063300"/>
                  </a:lnTo>
                  <a:lnTo>
                    <a:pt x="1872692" y="2068064"/>
                  </a:lnTo>
                  <a:lnTo>
                    <a:pt x="1891756" y="2058534"/>
                  </a:lnTo>
                  <a:lnTo>
                    <a:pt x="1910816" y="2049004"/>
                  </a:lnTo>
                  <a:lnTo>
                    <a:pt x="1925112" y="2034708"/>
                  </a:lnTo>
                  <a:lnTo>
                    <a:pt x="1939404" y="2015648"/>
                  </a:lnTo>
                  <a:lnTo>
                    <a:pt x="1929876" y="1996588"/>
                  </a:lnTo>
                  <a:lnTo>
                    <a:pt x="1925112" y="1972762"/>
                  </a:lnTo>
                  <a:lnTo>
                    <a:pt x="1934640" y="1948936"/>
                  </a:lnTo>
                  <a:lnTo>
                    <a:pt x="1948936" y="1929876"/>
                  </a:lnTo>
                  <a:lnTo>
                    <a:pt x="1967996" y="1915580"/>
                  </a:lnTo>
                  <a:lnTo>
                    <a:pt x="1982292" y="1901286"/>
                  </a:lnTo>
                  <a:lnTo>
                    <a:pt x="2010884" y="1863164"/>
                  </a:lnTo>
                  <a:lnTo>
                    <a:pt x="2034708" y="1829808"/>
                  </a:lnTo>
                  <a:lnTo>
                    <a:pt x="2044240" y="1786922"/>
                  </a:lnTo>
                  <a:lnTo>
                    <a:pt x="2039472" y="1739272"/>
                  </a:lnTo>
                  <a:lnTo>
                    <a:pt x="2053768" y="1701150"/>
                  </a:lnTo>
                  <a:lnTo>
                    <a:pt x="2077596" y="1696384"/>
                  </a:lnTo>
                  <a:lnTo>
                    <a:pt x="2110952" y="1682090"/>
                  </a:lnTo>
                  <a:lnTo>
                    <a:pt x="2130012" y="1677324"/>
                  </a:lnTo>
                  <a:lnTo>
                    <a:pt x="2134776" y="1682090"/>
                  </a:lnTo>
                  <a:lnTo>
                    <a:pt x="2134776" y="1691620"/>
                  </a:lnTo>
                  <a:lnTo>
                    <a:pt x="2106184" y="1720210"/>
                  </a:lnTo>
                  <a:lnTo>
                    <a:pt x="2087124" y="1734506"/>
                  </a:lnTo>
                  <a:lnTo>
                    <a:pt x="2077596" y="1739272"/>
                  </a:lnTo>
                  <a:lnTo>
                    <a:pt x="2068064" y="1744036"/>
                  </a:lnTo>
                  <a:lnTo>
                    <a:pt x="2063300" y="1753566"/>
                  </a:lnTo>
                  <a:lnTo>
                    <a:pt x="2082360" y="1772628"/>
                  </a:lnTo>
                  <a:lnTo>
                    <a:pt x="2082360" y="1786922"/>
                  </a:lnTo>
                  <a:lnTo>
                    <a:pt x="2082360" y="1796452"/>
                  </a:lnTo>
                  <a:lnTo>
                    <a:pt x="2082360" y="1810748"/>
                  </a:lnTo>
                  <a:lnTo>
                    <a:pt x="2101420" y="1820278"/>
                  </a:lnTo>
                  <a:lnTo>
                    <a:pt x="2120480" y="1825044"/>
                  </a:lnTo>
                  <a:lnTo>
                    <a:pt x="2125244" y="1825044"/>
                  </a:lnTo>
                  <a:lnTo>
                    <a:pt x="2134776" y="1820278"/>
                  </a:lnTo>
                  <a:lnTo>
                    <a:pt x="2158600" y="1791688"/>
                  </a:lnTo>
                  <a:lnTo>
                    <a:pt x="2163368" y="1786922"/>
                  </a:lnTo>
                  <a:lnTo>
                    <a:pt x="2225312" y="1767862"/>
                  </a:lnTo>
                  <a:lnTo>
                    <a:pt x="2253904" y="1748802"/>
                  </a:lnTo>
                  <a:lnTo>
                    <a:pt x="2272964" y="1744036"/>
                  </a:lnTo>
                  <a:lnTo>
                    <a:pt x="2287260" y="1734506"/>
                  </a:lnTo>
                  <a:lnTo>
                    <a:pt x="2320616" y="1701150"/>
                  </a:lnTo>
                  <a:lnTo>
                    <a:pt x="2334912" y="1686854"/>
                  </a:lnTo>
                  <a:lnTo>
                    <a:pt x="2349208" y="1667794"/>
                  </a:lnTo>
                  <a:lnTo>
                    <a:pt x="2358736" y="1648734"/>
                  </a:lnTo>
                  <a:lnTo>
                    <a:pt x="2363500" y="1624908"/>
                  </a:lnTo>
                  <a:lnTo>
                    <a:pt x="2377796" y="1610612"/>
                  </a:lnTo>
                  <a:lnTo>
                    <a:pt x="2430212" y="1577256"/>
                  </a:lnTo>
                  <a:lnTo>
                    <a:pt x="2449276" y="1562962"/>
                  </a:lnTo>
                  <a:lnTo>
                    <a:pt x="2454040" y="1553432"/>
                  </a:lnTo>
                  <a:lnTo>
                    <a:pt x="2463568" y="1529606"/>
                  </a:lnTo>
                  <a:lnTo>
                    <a:pt x="2468336" y="1501014"/>
                  </a:lnTo>
                  <a:lnTo>
                    <a:pt x="2473100" y="1481954"/>
                  </a:lnTo>
                  <a:lnTo>
                    <a:pt x="2482628" y="1462894"/>
                  </a:lnTo>
                  <a:lnTo>
                    <a:pt x="2496924" y="1443834"/>
                  </a:lnTo>
                  <a:lnTo>
                    <a:pt x="2511220" y="1424772"/>
                  </a:lnTo>
                  <a:lnTo>
                    <a:pt x="2520752" y="1405712"/>
                  </a:lnTo>
                  <a:lnTo>
                    <a:pt x="2530280" y="1362826"/>
                  </a:lnTo>
                  <a:lnTo>
                    <a:pt x="2535048" y="1334236"/>
                  </a:lnTo>
                  <a:lnTo>
                    <a:pt x="2539812" y="1324706"/>
                  </a:lnTo>
                  <a:lnTo>
                    <a:pt x="2544576" y="1319940"/>
                  </a:lnTo>
                  <a:lnTo>
                    <a:pt x="2549340" y="1310410"/>
                  </a:lnTo>
                  <a:lnTo>
                    <a:pt x="2554108" y="1300880"/>
                  </a:lnTo>
                  <a:lnTo>
                    <a:pt x="2558872" y="1286584"/>
                  </a:lnTo>
                  <a:lnTo>
                    <a:pt x="2558872" y="1257994"/>
                  </a:lnTo>
                  <a:lnTo>
                    <a:pt x="2558872" y="1229402"/>
                  </a:lnTo>
                  <a:lnTo>
                    <a:pt x="2549340" y="1210342"/>
                  </a:lnTo>
                  <a:lnTo>
                    <a:pt x="2539812" y="1200812"/>
                  </a:lnTo>
                  <a:lnTo>
                    <a:pt x="2530280" y="1200812"/>
                  </a:lnTo>
                  <a:lnTo>
                    <a:pt x="2520752" y="1205576"/>
                  </a:lnTo>
                  <a:lnTo>
                    <a:pt x="2511220" y="1196046"/>
                  </a:lnTo>
                  <a:lnTo>
                    <a:pt x="2511220" y="1186516"/>
                  </a:lnTo>
                  <a:lnTo>
                    <a:pt x="2520752" y="1186516"/>
                  </a:lnTo>
                  <a:lnTo>
                    <a:pt x="2530280" y="1181752"/>
                  </a:lnTo>
                  <a:lnTo>
                    <a:pt x="2535048" y="1172222"/>
                  </a:lnTo>
                  <a:lnTo>
                    <a:pt x="2544576" y="1153160"/>
                  </a:lnTo>
                  <a:lnTo>
                    <a:pt x="2549340" y="1124570"/>
                  </a:lnTo>
                  <a:lnTo>
                    <a:pt x="2554108" y="1115040"/>
                  </a:lnTo>
                  <a:lnTo>
                    <a:pt x="2544576" y="1095980"/>
                  </a:lnTo>
                  <a:lnTo>
                    <a:pt x="2539812" y="1072154"/>
                  </a:lnTo>
                  <a:lnTo>
                    <a:pt x="2535048" y="1057858"/>
                  </a:lnTo>
                  <a:lnTo>
                    <a:pt x="2544576" y="1043562"/>
                  </a:lnTo>
                  <a:lnTo>
                    <a:pt x="2554108" y="1029268"/>
                  </a:lnTo>
                  <a:lnTo>
                    <a:pt x="2563636" y="1024502"/>
                  </a:lnTo>
                  <a:lnTo>
                    <a:pt x="2573168" y="1024502"/>
                  </a:lnTo>
                  <a:lnTo>
                    <a:pt x="2582696" y="1019738"/>
                  </a:lnTo>
                  <a:lnTo>
                    <a:pt x="2587464" y="1014972"/>
                  </a:lnTo>
                  <a:lnTo>
                    <a:pt x="2592228" y="1005442"/>
                  </a:lnTo>
                  <a:lnTo>
                    <a:pt x="2601760" y="986382"/>
                  </a:lnTo>
                  <a:lnTo>
                    <a:pt x="2601760" y="972086"/>
                  </a:lnTo>
                  <a:lnTo>
                    <a:pt x="2596992" y="938730"/>
                  </a:lnTo>
                  <a:lnTo>
                    <a:pt x="2601760" y="933964"/>
                  </a:lnTo>
                  <a:lnTo>
                    <a:pt x="2611288" y="924434"/>
                  </a:lnTo>
                  <a:lnTo>
                    <a:pt x="2616052" y="929200"/>
                  </a:lnTo>
                  <a:lnTo>
                    <a:pt x="2625584" y="929200"/>
                  </a:lnTo>
                  <a:lnTo>
                    <a:pt x="2635116" y="929200"/>
                  </a:lnTo>
                  <a:lnTo>
                    <a:pt x="2649408" y="933964"/>
                  </a:lnTo>
                  <a:lnTo>
                    <a:pt x="2649408" y="943496"/>
                  </a:lnTo>
                  <a:lnTo>
                    <a:pt x="2654176" y="995912"/>
                  </a:lnTo>
                  <a:lnTo>
                    <a:pt x="2658940" y="1005442"/>
                  </a:lnTo>
                  <a:lnTo>
                    <a:pt x="2668468" y="1010206"/>
                  </a:lnTo>
                  <a:lnTo>
                    <a:pt x="2673236" y="1010206"/>
                  </a:lnTo>
                  <a:lnTo>
                    <a:pt x="2682764" y="1000676"/>
                  </a:lnTo>
                  <a:lnTo>
                    <a:pt x="2687532" y="986382"/>
                  </a:lnTo>
                  <a:lnTo>
                    <a:pt x="2697060" y="986382"/>
                  </a:lnTo>
                  <a:lnTo>
                    <a:pt x="2725652" y="995912"/>
                  </a:lnTo>
                  <a:lnTo>
                    <a:pt x="2735180" y="991146"/>
                  </a:lnTo>
                  <a:lnTo>
                    <a:pt x="2739948" y="976850"/>
                  </a:lnTo>
                  <a:lnTo>
                    <a:pt x="2744712" y="953026"/>
                  </a:lnTo>
                  <a:lnTo>
                    <a:pt x="2744712" y="929200"/>
                  </a:lnTo>
                  <a:lnTo>
                    <a:pt x="2735180" y="924434"/>
                  </a:lnTo>
                  <a:lnTo>
                    <a:pt x="2730416" y="924434"/>
                  </a:lnTo>
                  <a:lnTo>
                    <a:pt x="2725652" y="929200"/>
                  </a:lnTo>
                  <a:lnTo>
                    <a:pt x="2716120" y="933964"/>
                  </a:lnTo>
                  <a:lnTo>
                    <a:pt x="2673236" y="943496"/>
                  </a:lnTo>
                  <a:lnTo>
                    <a:pt x="2673236" y="919670"/>
                  </a:lnTo>
                  <a:lnTo>
                    <a:pt x="2682764" y="886314"/>
                  </a:lnTo>
                  <a:lnTo>
                    <a:pt x="2687532" y="872018"/>
                  </a:lnTo>
                  <a:close/>
                  <a:moveTo>
                    <a:pt x="2482632" y="714768"/>
                  </a:moveTo>
                  <a:lnTo>
                    <a:pt x="2473100" y="743360"/>
                  </a:lnTo>
                  <a:lnTo>
                    <a:pt x="2468336" y="748124"/>
                  </a:lnTo>
                  <a:lnTo>
                    <a:pt x="2463572" y="748124"/>
                  </a:lnTo>
                  <a:lnTo>
                    <a:pt x="2458804" y="748124"/>
                  </a:lnTo>
                  <a:lnTo>
                    <a:pt x="2458804" y="733830"/>
                  </a:lnTo>
                  <a:lnTo>
                    <a:pt x="2458804" y="724300"/>
                  </a:lnTo>
                  <a:lnTo>
                    <a:pt x="2473100" y="719534"/>
                  </a:lnTo>
                  <a:close/>
                  <a:moveTo>
                    <a:pt x="3502368" y="457452"/>
                  </a:moveTo>
                  <a:lnTo>
                    <a:pt x="3497604" y="462216"/>
                  </a:lnTo>
                  <a:lnTo>
                    <a:pt x="3492836" y="466982"/>
                  </a:lnTo>
                  <a:lnTo>
                    <a:pt x="3492836" y="462216"/>
                  </a:lnTo>
                  <a:close/>
                  <a:moveTo>
                    <a:pt x="3469012" y="457452"/>
                  </a:moveTo>
                  <a:lnTo>
                    <a:pt x="3473776" y="457452"/>
                  </a:lnTo>
                  <a:lnTo>
                    <a:pt x="3478540" y="457452"/>
                  </a:lnTo>
                  <a:lnTo>
                    <a:pt x="3478540" y="462216"/>
                  </a:lnTo>
                  <a:lnTo>
                    <a:pt x="3473776" y="462216"/>
                  </a:lnTo>
                  <a:lnTo>
                    <a:pt x="3469012" y="462216"/>
                  </a:lnTo>
                  <a:close/>
                  <a:moveTo>
                    <a:pt x="3530960" y="414566"/>
                  </a:moveTo>
                  <a:lnTo>
                    <a:pt x="3535724" y="414566"/>
                  </a:lnTo>
                  <a:lnTo>
                    <a:pt x="3540488" y="414566"/>
                  </a:lnTo>
                  <a:lnTo>
                    <a:pt x="3540488" y="419332"/>
                  </a:lnTo>
                  <a:lnTo>
                    <a:pt x="3530960" y="419332"/>
                  </a:lnTo>
                  <a:close/>
                  <a:moveTo>
                    <a:pt x="3616732" y="366916"/>
                  </a:moveTo>
                  <a:lnTo>
                    <a:pt x="3626260" y="376446"/>
                  </a:lnTo>
                  <a:lnTo>
                    <a:pt x="3626260" y="381210"/>
                  </a:lnTo>
                  <a:lnTo>
                    <a:pt x="3597672" y="395506"/>
                  </a:lnTo>
                  <a:lnTo>
                    <a:pt x="3592904" y="400272"/>
                  </a:lnTo>
                  <a:lnTo>
                    <a:pt x="3583376" y="395506"/>
                  </a:lnTo>
                  <a:lnTo>
                    <a:pt x="3583376" y="381210"/>
                  </a:lnTo>
                  <a:lnTo>
                    <a:pt x="3583376" y="376446"/>
                  </a:lnTo>
                  <a:close/>
                  <a:moveTo>
                    <a:pt x="3502368" y="228726"/>
                  </a:moveTo>
                  <a:lnTo>
                    <a:pt x="3516664" y="228726"/>
                  </a:lnTo>
                  <a:lnTo>
                    <a:pt x="3540488" y="247786"/>
                  </a:lnTo>
                  <a:lnTo>
                    <a:pt x="3573844" y="243022"/>
                  </a:lnTo>
                  <a:lnTo>
                    <a:pt x="3569080" y="257316"/>
                  </a:lnTo>
                  <a:lnTo>
                    <a:pt x="3554784" y="257316"/>
                  </a:lnTo>
                  <a:lnTo>
                    <a:pt x="3530960" y="276378"/>
                  </a:lnTo>
                  <a:lnTo>
                    <a:pt x="3511900" y="281142"/>
                  </a:lnTo>
                  <a:lnTo>
                    <a:pt x="3502368" y="285908"/>
                  </a:lnTo>
                  <a:lnTo>
                    <a:pt x="3473776" y="314498"/>
                  </a:lnTo>
                  <a:lnTo>
                    <a:pt x="3469012" y="328794"/>
                  </a:lnTo>
                  <a:lnTo>
                    <a:pt x="3449952" y="352620"/>
                  </a:lnTo>
                  <a:lnTo>
                    <a:pt x="3421360" y="371680"/>
                  </a:lnTo>
                  <a:lnTo>
                    <a:pt x="3416596" y="409800"/>
                  </a:lnTo>
                  <a:lnTo>
                    <a:pt x="3397536" y="395506"/>
                  </a:lnTo>
                  <a:lnTo>
                    <a:pt x="3397536" y="381210"/>
                  </a:lnTo>
                  <a:lnTo>
                    <a:pt x="3402300" y="366914"/>
                  </a:lnTo>
                  <a:lnTo>
                    <a:pt x="3435656" y="338324"/>
                  </a:lnTo>
                  <a:lnTo>
                    <a:pt x="3449952" y="324028"/>
                  </a:lnTo>
                  <a:lnTo>
                    <a:pt x="3449952" y="309734"/>
                  </a:lnTo>
                  <a:lnTo>
                    <a:pt x="3464248" y="295438"/>
                  </a:lnTo>
                  <a:lnTo>
                    <a:pt x="3469012" y="285908"/>
                  </a:lnTo>
                  <a:lnTo>
                    <a:pt x="3478544" y="281142"/>
                  </a:lnTo>
                  <a:close/>
                  <a:moveTo>
                    <a:pt x="2735184" y="66712"/>
                  </a:moveTo>
                  <a:lnTo>
                    <a:pt x="2744712" y="66712"/>
                  </a:lnTo>
                  <a:lnTo>
                    <a:pt x="2754244" y="81008"/>
                  </a:lnTo>
                  <a:lnTo>
                    <a:pt x="2759008" y="85772"/>
                  </a:lnTo>
                  <a:lnTo>
                    <a:pt x="2749476" y="90538"/>
                  </a:lnTo>
                  <a:lnTo>
                    <a:pt x="2739948" y="95304"/>
                  </a:lnTo>
                  <a:lnTo>
                    <a:pt x="2730416" y="85772"/>
                  </a:lnTo>
                  <a:lnTo>
                    <a:pt x="2725652" y="71478"/>
                  </a:lnTo>
                  <a:close/>
                  <a:moveTo>
                    <a:pt x="2701828" y="14296"/>
                  </a:moveTo>
                  <a:lnTo>
                    <a:pt x="2706592" y="14296"/>
                  </a:lnTo>
                  <a:lnTo>
                    <a:pt x="2716120" y="19062"/>
                  </a:lnTo>
                  <a:lnTo>
                    <a:pt x="2716120" y="28592"/>
                  </a:lnTo>
                  <a:lnTo>
                    <a:pt x="2716120" y="47652"/>
                  </a:lnTo>
                  <a:lnTo>
                    <a:pt x="2711356" y="61948"/>
                  </a:lnTo>
                  <a:lnTo>
                    <a:pt x="2701828" y="38122"/>
                  </a:lnTo>
                  <a:close/>
                  <a:moveTo>
                    <a:pt x="2854312" y="4764"/>
                  </a:moveTo>
                  <a:lnTo>
                    <a:pt x="2859076" y="9530"/>
                  </a:lnTo>
                  <a:lnTo>
                    <a:pt x="2863840" y="23826"/>
                  </a:lnTo>
                  <a:lnTo>
                    <a:pt x="2887668" y="47652"/>
                  </a:lnTo>
                  <a:lnTo>
                    <a:pt x="2925788" y="90538"/>
                  </a:lnTo>
                  <a:lnTo>
                    <a:pt x="2973440" y="157248"/>
                  </a:lnTo>
                  <a:lnTo>
                    <a:pt x="3002028" y="190604"/>
                  </a:lnTo>
                  <a:lnTo>
                    <a:pt x="3030620" y="219196"/>
                  </a:lnTo>
                  <a:lnTo>
                    <a:pt x="3063976" y="252552"/>
                  </a:lnTo>
                  <a:lnTo>
                    <a:pt x="3097332" y="276378"/>
                  </a:lnTo>
                  <a:lnTo>
                    <a:pt x="3121156" y="290672"/>
                  </a:lnTo>
                  <a:lnTo>
                    <a:pt x="3135452" y="309732"/>
                  </a:lnTo>
                  <a:lnTo>
                    <a:pt x="3144984" y="314498"/>
                  </a:lnTo>
                  <a:lnTo>
                    <a:pt x="3164044" y="314498"/>
                  </a:lnTo>
                  <a:lnTo>
                    <a:pt x="3173576" y="314498"/>
                  </a:lnTo>
                  <a:lnTo>
                    <a:pt x="3187868" y="314498"/>
                  </a:lnTo>
                  <a:lnTo>
                    <a:pt x="3249816" y="347854"/>
                  </a:lnTo>
                  <a:lnTo>
                    <a:pt x="3268876" y="352620"/>
                  </a:lnTo>
                  <a:lnTo>
                    <a:pt x="3287936" y="352620"/>
                  </a:lnTo>
                  <a:lnTo>
                    <a:pt x="3297468" y="352620"/>
                  </a:lnTo>
                  <a:lnTo>
                    <a:pt x="3311764" y="343088"/>
                  </a:lnTo>
                  <a:lnTo>
                    <a:pt x="3345120" y="300202"/>
                  </a:lnTo>
                  <a:lnTo>
                    <a:pt x="3383240" y="266846"/>
                  </a:lnTo>
                  <a:lnTo>
                    <a:pt x="3388004" y="266846"/>
                  </a:lnTo>
                  <a:lnTo>
                    <a:pt x="3388004" y="276378"/>
                  </a:lnTo>
                  <a:lnTo>
                    <a:pt x="3383240" y="285908"/>
                  </a:lnTo>
                  <a:lnTo>
                    <a:pt x="3368944" y="319264"/>
                  </a:lnTo>
                  <a:lnTo>
                    <a:pt x="3349884" y="366914"/>
                  </a:lnTo>
                  <a:lnTo>
                    <a:pt x="3345120" y="390740"/>
                  </a:lnTo>
                  <a:lnTo>
                    <a:pt x="3354648" y="409800"/>
                  </a:lnTo>
                  <a:lnTo>
                    <a:pt x="3364180" y="428862"/>
                  </a:lnTo>
                  <a:lnTo>
                    <a:pt x="3373708" y="452686"/>
                  </a:lnTo>
                  <a:lnTo>
                    <a:pt x="3383240" y="486042"/>
                  </a:lnTo>
                  <a:lnTo>
                    <a:pt x="3397536" y="495572"/>
                  </a:lnTo>
                  <a:lnTo>
                    <a:pt x="3407064" y="495572"/>
                  </a:lnTo>
                  <a:lnTo>
                    <a:pt x="3421360" y="481278"/>
                  </a:lnTo>
                  <a:lnTo>
                    <a:pt x="3435656" y="471748"/>
                  </a:lnTo>
                  <a:lnTo>
                    <a:pt x="3449952" y="466982"/>
                  </a:lnTo>
                  <a:lnTo>
                    <a:pt x="3459484" y="471748"/>
                  </a:lnTo>
                  <a:lnTo>
                    <a:pt x="3445188" y="481278"/>
                  </a:lnTo>
                  <a:lnTo>
                    <a:pt x="3426128" y="490808"/>
                  </a:lnTo>
                  <a:lnTo>
                    <a:pt x="3416596" y="509868"/>
                  </a:lnTo>
                  <a:lnTo>
                    <a:pt x="3411832" y="514634"/>
                  </a:lnTo>
                  <a:lnTo>
                    <a:pt x="3392772" y="514634"/>
                  </a:lnTo>
                  <a:lnTo>
                    <a:pt x="3383240" y="514634"/>
                  </a:lnTo>
                  <a:lnTo>
                    <a:pt x="3368944" y="524164"/>
                  </a:lnTo>
                  <a:lnTo>
                    <a:pt x="3349884" y="533694"/>
                  </a:lnTo>
                  <a:lnTo>
                    <a:pt x="3335588" y="547990"/>
                  </a:lnTo>
                  <a:lnTo>
                    <a:pt x="3316528" y="552754"/>
                  </a:lnTo>
                  <a:lnTo>
                    <a:pt x="3302232" y="552754"/>
                  </a:lnTo>
                  <a:lnTo>
                    <a:pt x="3273644" y="562284"/>
                  </a:lnTo>
                  <a:lnTo>
                    <a:pt x="3254580" y="567050"/>
                  </a:lnTo>
                  <a:lnTo>
                    <a:pt x="3221224" y="557520"/>
                  </a:lnTo>
                  <a:lnTo>
                    <a:pt x="3206932" y="557520"/>
                  </a:lnTo>
                  <a:lnTo>
                    <a:pt x="3168808" y="576580"/>
                  </a:lnTo>
                  <a:lnTo>
                    <a:pt x="3135452" y="605170"/>
                  </a:lnTo>
                  <a:lnTo>
                    <a:pt x="3106864" y="638526"/>
                  </a:lnTo>
                  <a:lnTo>
                    <a:pt x="3083036" y="676648"/>
                  </a:lnTo>
                  <a:lnTo>
                    <a:pt x="3078272" y="695708"/>
                  </a:lnTo>
                  <a:lnTo>
                    <a:pt x="3068740" y="719534"/>
                  </a:lnTo>
                  <a:lnTo>
                    <a:pt x="3068740" y="733828"/>
                  </a:lnTo>
                  <a:lnTo>
                    <a:pt x="3068740" y="748124"/>
                  </a:lnTo>
                  <a:lnTo>
                    <a:pt x="3063976" y="757654"/>
                  </a:lnTo>
                  <a:lnTo>
                    <a:pt x="3054448" y="767184"/>
                  </a:lnTo>
                  <a:lnTo>
                    <a:pt x="3035384" y="762420"/>
                  </a:lnTo>
                  <a:lnTo>
                    <a:pt x="3002028" y="738594"/>
                  </a:lnTo>
                  <a:lnTo>
                    <a:pt x="2940084" y="710004"/>
                  </a:lnTo>
                  <a:lnTo>
                    <a:pt x="2873372" y="667118"/>
                  </a:lnTo>
                  <a:lnTo>
                    <a:pt x="2840016" y="643292"/>
                  </a:lnTo>
                  <a:lnTo>
                    <a:pt x="2768540" y="648056"/>
                  </a:lnTo>
                  <a:lnTo>
                    <a:pt x="2701828" y="690942"/>
                  </a:lnTo>
                  <a:lnTo>
                    <a:pt x="2697060" y="690942"/>
                  </a:lnTo>
                  <a:lnTo>
                    <a:pt x="2673236" y="657588"/>
                  </a:lnTo>
                  <a:lnTo>
                    <a:pt x="2658940" y="648056"/>
                  </a:lnTo>
                  <a:lnTo>
                    <a:pt x="2644644" y="643292"/>
                  </a:lnTo>
                  <a:lnTo>
                    <a:pt x="2635116" y="643292"/>
                  </a:lnTo>
                  <a:lnTo>
                    <a:pt x="2625584" y="648056"/>
                  </a:lnTo>
                  <a:lnTo>
                    <a:pt x="2611288" y="662352"/>
                  </a:lnTo>
                  <a:lnTo>
                    <a:pt x="2601760" y="671882"/>
                  </a:lnTo>
                  <a:lnTo>
                    <a:pt x="2601760" y="686178"/>
                  </a:lnTo>
                  <a:lnTo>
                    <a:pt x="2596996" y="695708"/>
                  </a:lnTo>
                  <a:lnTo>
                    <a:pt x="2601760" y="705238"/>
                  </a:lnTo>
                  <a:lnTo>
                    <a:pt x="2616056" y="724298"/>
                  </a:lnTo>
                  <a:lnTo>
                    <a:pt x="2630348" y="738594"/>
                  </a:lnTo>
                  <a:lnTo>
                    <a:pt x="2639880" y="738594"/>
                  </a:lnTo>
                  <a:lnTo>
                    <a:pt x="2654176" y="738594"/>
                  </a:lnTo>
                  <a:lnTo>
                    <a:pt x="2663704" y="738594"/>
                  </a:lnTo>
                  <a:lnTo>
                    <a:pt x="2692296" y="771950"/>
                  </a:lnTo>
                  <a:lnTo>
                    <a:pt x="2720888" y="795776"/>
                  </a:lnTo>
                  <a:lnTo>
                    <a:pt x="2730416" y="805306"/>
                  </a:lnTo>
                  <a:lnTo>
                    <a:pt x="2716124" y="814836"/>
                  </a:lnTo>
                  <a:lnTo>
                    <a:pt x="2706592" y="819602"/>
                  </a:lnTo>
                  <a:lnTo>
                    <a:pt x="2692296" y="819602"/>
                  </a:lnTo>
                  <a:lnTo>
                    <a:pt x="2678000" y="814836"/>
                  </a:lnTo>
                  <a:lnTo>
                    <a:pt x="2654176" y="805306"/>
                  </a:lnTo>
                  <a:lnTo>
                    <a:pt x="2639880" y="814836"/>
                  </a:lnTo>
                  <a:lnTo>
                    <a:pt x="2625584" y="833896"/>
                  </a:lnTo>
                  <a:lnTo>
                    <a:pt x="2616056" y="857722"/>
                  </a:lnTo>
                  <a:lnTo>
                    <a:pt x="2611288" y="867252"/>
                  </a:lnTo>
                  <a:lnTo>
                    <a:pt x="2592228" y="876782"/>
                  </a:lnTo>
                  <a:lnTo>
                    <a:pt x="2573168" y="886312"/>
                  </a:lnTo>
                  <a:lnTo>
                    <a:pt x="2563640" y="886312"/>
                  </a:lnTo>
                  <a:lnTo>
                    <a:pt x="2554108" y="876782"/>
                  </a:lnTo>
                  <a:lnTo>
                    <a:pt x="2549344" y="867252"/>
                  </a:lnTo>
                  <a:lnTo>
                    <a:pt x="2549344" y="852958"/>
                  </a:lnTo>
                  <a:lnTo>
                    <a:pt x="2554108" y="829132"/>
                  </a:lnTo>
                  <a:lnTo>
                    <a:pt x="2563640" y="805306"/>
                  </a:lnTo>
                  <a:lnTo>
                    <a:pt x="2568404" y="781480"/>
                  </a:lnTo>
                  <a:lnTo>
                    <a:pt x="2558872" y="752890"/>
                  </a:lnTo>
                  <a:lnTo>
                    <a:pt x="2554108" y="743360"/>
                  </a:lnTo>
                  <a:lnTo>
                    <a:pt x="2535048" y="724298"/>
                  </a:lnTo>
                  <a:lnTo>
                    <a:pt x="2525516" y="705238"/>
                  </a:lnTo>
                  <a:lnTo>
                    <a:pt x="2520752" y="681412"/>
                  </a:lnTo>
                  <a:lnTo>
                    <a:pt x="2520752" y="671882"/>
                  </a:lnTo>
                  <a:lnTo>
                    <a:pt x="2530284" y="643292"/>
                  </a:lnTo>
                  <a:lnTo>
                    <a:pt x="2530284" y="628996"/>
                  </a:lnTo>
                  <a:lnTo>
                    <a:pt x="2539812" y="624232"/>
                  </a:lnTo>
                  <a:lnTo>
                    <a:pt x="2554108" y="619466"/>
                  </a:lnTo>
                  <a:lnTo>
                    <a:pt x="2568404" y="609936"/>
                  </a:lnTo>
                  <a:lnTo>
                    <a:pt x="2582700" y="595640"/>
                  </a:lnTo>
                  <a:lnTo>
                    <a:pt x="2601760" y="581346"/>
                  </a:lnTo>
                  <a:lnTo>
                    <a:pt x="2616056" y="562284"/>
                  </a:lnTo>
                  <a:lnTo>
                    <a:pt x="2625584" y="543224"/>
                  </a:lnTo>
                  <a:lnTo>
                    <a:pt x="2611288" y="519398"/>
                  </a:lnTo>
                  <a:lnTo>
                    <a:pt x="2611288" y="500338"/>
                  </a:lnTo>
                  <a:lnTo>
                    <a:pt x="2611288" y="486042"/>
                  </a:lnTo>
                  <a:lnTo>
                    <a:pt x="2625584" y="481278"/>
                  </a:lnTo>
                  <a:lnTo>
                    <a:pt x="2639880" y="486042"/>
                  </a:lnTo>
                  <a:lnTo>
                    <a:pt x="2673236" y="505104"/>
                  </a:lnTo>
                  <a:lnTo>
                    <a:pt x="2678000" y="509868"/>
                  </a:lnTo>
                  <a:lnTo>
                    <a:pt x="2697060" y="509868"/>
                  </a:lnTo>
                  <a:lnTo>
                    <a:pt x="2725652" y="514634"/>
                  </a:lnTo>
                  <a:lnTo>
                    <a:pt x="2744712" y="514634"/>
                  </a:lnTo>
                  <a:lnTo>
                    <a:pt x="2754244" y="509868"/>
                  </a:lnTo>
                  <a:lnTo>
                    <a:pt x="2763772" y="495572"/>
                  </a:lnTo>
                  <a:lnTo>
                    <a:pt x="2768540" y="471748"/>
                  </a:lnTo>
                  <a:lnTo>
                    <a:pt x="2768540" y="443156"/>
                  </a:lnTo>
                  <a:lnTo>
                    <a:pt x="2768540" y="414566"/>
                  </a:lnTo>
                  <a:lnTo>
                    <a:pt x="2773304" y="390740"/>
                  </a:lnTo>
                  <a:lnTo>
                    <a:pt x="2797128" y="357384"/>
                  </a:lnTo>
                  <a:lnTo>
                    <a:pt x="2806660" y="333558"/>
                  </a:lnTo>
                  <a:lnTo>
                    <a:pt x="2806660" y="281142"/>
                  </a:lnTo>
                  <a:lnTo>
                    <a:pt x="2816188" y="257316"/>
                  </a:lnTo>
                  <a:lnTo>
                    <a:pt x="2825720" y="233490"/>
                  </a:lnTo>
                  <a:lnTo>
                    <a:pt x="2825720" y="181074"/>
                  </a:lnTo>
                  <a:lnTo>
                    <a:pt x="2816188" y="133424"/>
                  </a:lnTo>
                  <a:lnTo>
                    <a:pt x="2806660" y="109598"/>
                  </a:lnTo>
                  <a:lnTo>
                    <a:pt x="2797128" y="85772"/>
                  </a:lnTo>
                  <a:lnTo>
                    <a:pt x="2797128" y="61946"/>
                  </a:lnTo>
                  <a:lnTo>
                    <a:pt x="2806660" y="42886"/>
                  </a:lnTo>
                  <a:lnTo>
                    <a:pt x="2806660" y="33356"/>
                  </a:lnTo>
                  <a:lnTo>
                    <a:pt x="2811424" y="28590"/>
                  </a:lnTo>
                  <a:lnTo>
                    <a:pt x="2825720" y="28590"/>
                  </a:lnTo>
                  <a:lnTo>
                    <a:pt x="2835252" y="23826"/>
                  </a:lnTo>
                  <a:lnTo>
                    <a:pt x="2844780" y="9530"/>
                  </a:lnTo>
                  <a:close/>
                  <a:moveTo>
                    <a:pt x="3921700" y="0"/>
                  </a:moveTo>
                  <a:lnTo>
                    <a:pt x="3926464" y="4766"/>
                  </a:lnTo>
                  <a:lnTo>
                    <a:pt x="3926464" y="9530"/>
                  </a:lnTo>
                  <a:lnTo>
                    <a:pt x="3926464" y="19060"/>
                  </a:lnTo>
                  <a:lnTo>
                    <a:pt x="3926464" y="28590"/>
                  </a:lnTo>
                  <a:lnTo>
                    <a:pt x="3931228" y="38122"/>
                  </a:lnTo>
                  <a:lnTo>
                    <a:pt x="3921700" y="47652"/>
                  </a:lnTo>
                  <a:lnTo>
                    <a:pt x="3893108" y="47652"/>
                  </a:lnTo>
                  <a:lnTo>
                    <a:pt x="3864516" y="66712"/>
                  </a:lnTo>
                  <a:lnTo>
                    <a:pt x="3840692" y="71478"/>
                  </a:lnTo>
                  <a:lnTo>
                    <a:pt x="3797804" y="104832"/>
                  </a:lnTo>
                  <a:lnTo>
                    <a:pt x="3783512" y="119128"/>
                  </a:lnTo>
                  <a:lnTo>
                    <a:pt x="3764448" y="128658"/>
                  </a:lnTo>
                  <a:lnTo>
                    <a:pt x="3745388" y="123894"/>
                  </a:lnTo>
                  <a:lnTo>
                    <a:pt x="3740624" y="133424"/>
                  </a:lnTo>
                  <a:lnTo>
                    <a:pt x="3740624" y="142954"/>
                  </a:lnTo>
                  <a:lnTo>
                    <a:pt x="3731092" y="157250"/>
                  </a:lnTo>
                  <a:lnTo>
                    <a:pt x="3692972" y="190606"/>
                  </a:lnTo>
                  <a:lnTo>
                    <a:pt x="3673912" y="219196"/>
                  </a:lnTo>
                  <a:lnTo>
                    <a:pt x="3659616" y="223962"/>
                  </a:lnTo>
                  <a:lnTo>
                    <a:pt x="3626260" y="247788"/>
                  </a:lnTo>
                  <a:lnTo>
                    <a:pt x="3631028" y="223962"/>
                  </a:lnTo>
                  <a:lnTo>
                    <a:pt x="3640556" y="214432"/>
                  </a:lnTo>
                  <a:lnTo>
                    <a:pt x="3664380" y="195370"/>
                  </a:lnTo>
                  <a:lnTo>
                    <a:pt x="3669148" y="171544"/>
                  </a:lnTo>
                  <a:lnTo>
                    <a:pt x="3683444" y="152484"/>
                  </a:lnTo>
                  <a:lnTo>
                    <a:pt x="3712032" y="133424"/>
                  </a:lnTo>
                  <a:lnTo>
                    <a:pt x="3731092" y="104832"/>
                  </a:lnTo>
                  <a:lnTo>
                    <a:pt x="3745388" y="100068"/>
                  </a:lnTo>
                  <a:lnTo>
                    <a:pt x="3764448" y="76242"/>
                  </a:lnTo>
                  <a:lnTo>
                    <a:pt x="3783512" y="71478"/>
                  </a:lnTo>
                  <a:lnTo>
                    <a:pt x="3778744" y="52416"/>
                  </a:lnTo>
                  <a:lnTo>
                    <a:pt x="3788276" y="33356"/>
                  </a:lnTo>
                  <a:lnTo>
                    <a:pt x="3793040" y="33356"/>
                  </a:lnTo>
                  <a:lnTo>
                    <a:pt x="3807336" y="61946"/>
                  </a:lnTo>
                  <a:lnTo>
                    <a:pt x="3821632" y="61946"/>
                  </a:lnTo>
                  <a:lnTo>
                    <a:pt x="3850220" y="57182"/>
                  </a:lnTo>
                  <a:lnTo>
                    <a:pt x="3893108" y="9530"/>
                  </a:lnTo>
                  <a:lnTo>
                    <a:pt x="3907404" y="476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4" name="Freeform 3757">
              <a:extLst>
                <a:ext uri="{FF2B5EF4-FFF2-40B4-BE49-F238E27FC236}">
                  <a16:creationId xmlns:a16="http://schemas.microsoft.com/office/drawing/2014/main" id="{36856411-F1D4-435A-8A2B-9286A487C8A4}"/>
                </a:ext>
              </a:extLst>
            </p:cNvPr>
            <p:cNvSpPr/>
            <p:nvPr/>
          </p:nvSpPr>
          <p:spPr bwMode="auto">
            <a:xfrm>
              <a:off x="5333914" y="4216094"/>
              <a:ext cx="8480" cy="6938"/>
            </a:xfrm>
            <a:custGeom>
              <a:avLst/>
              <a:gdLst>
                <a:gd name="T0" fmla="*/ 20 w 22"/>
                <a:gd name="T1" fmla="*/ 12 h 18"/>
                <a:gd name="T2" fmla="*/ 20 w 22"/>
                <a:gd name="T3" fmla="*/ 10 h 18"/>
                <a:gd name="T4" fmla="*/ 22 w 22"/>
                <a:gd name="T5" fmla="*/ 8 h 18"/>
                <a:gd name="T6" fmla="*/ 22 w 22"/>
                <a:gd name="T7" fmla="*/ 6 h 18"/>
                <a:gd name="T8" fmla="*/ 20 w 22"/>
                <a:gd name="T9" fmla="*/ 4 h 18"/>
                <a:gd name="T10" fmla="*/ 12 w 22"/>
                <a:gd name="T11" fmla="*/ 0 h 18"/>
                <a:gd name="T12" fmla="*/ 6 w 22"/>
                <a:gd name="T13" fmla="*/ 0 h 18"/>
                <a:gd name="T14" fmla="*/ 4 w 22"/>
                <a:gd name="T15" fmla="*/ 2 h 18"/>
                <a:gd name="T16" fmla="*/ 2 w 22"/>
                <a:gd name="T17" fmla="*/ 4 h 18"/>
                <a:gd name="T18" fmla="*/ 0 w 22"/>
                <a:gd name="T19" fmla="*/ 8 h 18"/>
                <a:gd name="T20" fmla="*/ 2 w 22"/>
                <a:gd name="T21" fmla="*/ 10 h 18"/>
                <a:gd name="T22" fmla="*/ 2 w 22"/>
                <a:gd name="T23" fmla="*/ 14 h 18"/>
                <a:gd name="T24" fmla="*/ 2 w 22"/>
                <a:gd name="T25" fmla="*/ 16 h 18"/>
                <a:gd name="T26" fmla="*/ 4 w 22"/>
                <a:gd name="T27" fmla="*/ 18 h 18"/>
                <a:gd name="T28" fmla="*/ 6 w 22"/>
                <a:gd name="T29" fmla="*/ 18 h 18"/>
                <a:gd name="T30" fmla="*/ 8 w 22"/>
                <a:gd name="T31" fmla="*/ 18 h 18"/>
                <a:gd name="T32" fmla="*/ 12 w 22"/>
                <a:gd name="T33" fmla="*/ 16 h 18"/>
                <a:gd name="T34" fmla="*/ 18 w 22"/>
                <a:gd name="T35" fmla="*/ 14 h 18"/>
                <a:gd name="T36" fmla="*/ 20 w 22"/>
                <a:gd name="T37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18">
                  <a:moveTo>
                    <a:pt x="20" y="12"/>
                  </a:moveTo>
                  <a:lnTo>
                    <a:pt x="20" y="10"/>
                  </a:lnTo>
                  <a:lnTo>
                    <a:pt x="22" y="8"/>
                  </a:lnTo>
                  <a:lnTo>
                    <a:pt x="22" y="6"/>
                  </a:lnTo>
                  <a:lnTo>
                    <a:pt x="20" y="4"/>
                  </a:lnTo>
                  <a:lnTo>
                    <a:pt x="12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10"/>
                  </a:lnTo>
                  <a:lnTo>
                    <a:pt x="2" y="14"/>
                  </a:lnTo>
                  <a:lnTo>
                    <a:pt x="2" y="16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8" y="18"/>
                  </a:lnTo>
                  <a:lnTo>
                    <a:pt x="12" y="16"/>
                  </a:lnTo>
                  <a:lnTo>
                    <a:pt x="18" y="14"/>
                  </a:lnTo>
                  <a:lnTo>
                    <a:pt x="20" y="1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5" name="Freeform 414">
              <a:extLst>
                <a:ext uri="{FF2B5EF4-FFF2-40B4-BE49-F238E27FC236}">
                  <a16:creationId xmlns:a16="http://schemas.microsoft.com/office/drawing/2014/main" id="{8F53CCB4-57DA-41AA-B7C4-1BC7F809DC12}"/>
                </a:ext>
              </a:extLst>
            </p:cNvPr>
            <p:cNvSpPr/>
            <p:nvPr/>
          </p:nvSpPr>
          <p:spPr bwMode="auto">
            <a:xfrm>
              <a:off x="5982221" y="6163714"/>
              <a:ext cx="58586" cy="59358"/>
            </a:xfrm>
            <a:custGeom>
              <a:avLst/>
              <a:gdLst>
                <a:gd name="connsiteX0" fmla="*/ 238256 w 362148"/>
                <a:gd name="connsiteY0" fmla="*/ 0 h 366918"/>
                <a:gd name="connsiteX1" fmla="*/ 243020 w 362148"/>
                <a:gd name="connsiteY1" fmla="*/ 0 h 366918"/>
                <a:gd name="connsiteX2" fmla="*/ 247786 w 362148"/>
                <a:gd name="connsiteY2" fmla="*/ 0 h 366918"/>
                <a:gd name="connsiteX3" fmla="*/ 252550 w 362148"/>
                <a:gd name="connsiteY3" fmla="*/ 9532 h 366918"/>
                <a:gd name="connsiteX4" fmla="*/ 257316 w 362148"/>
                <a:gd name="connsiteY4" fmla="*/ 19062 h 366918"/>
                <a:gd name="connsiteX5" fmla="*/ 276376 w 362148"/>
                <a:gd name="connsiteY5" fmla="*/ 28592 h 366918"/>
                <a:gd name="connsiteX6" fmla="*/ 281142 w 362148"/>
                <a:gd name="connsiteY6" fmla="*/ 33356 h 366918"/>
                <a:gd name="connsiteX7" fmla="*/ 295438 w 362148"/>
                <a:gd name="connsiteY7" fmla="*/ 52418 h 366918"/>
                <a:gd name="connsiteX8" fmla="*/ 314498 w 362148"/>
                <a:gd name="connsiteY8" fmla="*/ 61948 h 366918"/>
                <a:gd name="connsiteX9" fmla="*/ 328794 w 362148"/>
                <a:gd name="connsiteY9" fmla="*/ 81008 h 366918"/>
                <a:gd name="connsiteX10" fmla="*/ 343088 w 362148"/>
                <a:gd name="connsiteY10" fmla="*/ 85774 h 366918"/>
                <a:gd name="connsiteX11" fmla="*/ 352618 w 362148"/>
                <a:gd name="connsiteY11" fmla="*/ 90538 h 366918"/>
                <a:gd name="connsiteX12" fmla="*/ 357384 w 362148"/>
                <a:gd name="connsiteY12" fmla="*/ 100068 h 366918"/>
                <a:gd name="connsiteX13" fmla="*/ 362148 w 362148"/>
                <a:gd name="connsiteY13" fmla="*/ 109598 h 366918"/>
                <a:gd name="connsiteX14" fmla="*/ 362148 w 362148"/>
                <a:gd name="connsiteY14" fmla="*/ 109600 h 366918"/>
                <a:gd name="connsiteX15" fmla="*/ 362148 w 362148"/>
                <a:gd name="connsiteY15" fmla="*/ 119130 h 366918"/>
                <a:gd name="connsiteX16" fmla="*/ 362148 w 362148"/>
                <a:gd name="connsiteY16" fmla="*/ 119132 h 366918"/>
                <a:gd name="connsiteX17" fmla="*/ 362148 w 362148"/>
                <a:gd name="connsiteY17" fmla="*/ 128660 h 366918"/>
                <a:gd name="connsiteX18" fmla="*/ 362148 w 362148"/>
                <a:gd name="connsiteY18" fmla="*/ 128662 h 366918"/>
                <a:gd name="connsiteX19" fmla="*/ 357384 w 362148"/>
                <a:gd name="connsiteY19" fmla="*/ 152488 h 366918"/>
                <a:gd name="connsiteX20" fmla="*/ 347854 w 362148"/>
                <a:gd name="connsiteY20" fmla="*/ 176312 h 366918"/>
                <a:gd name="connsiteX21" fmla="*/ 343088 w 362148"/>
                <a:gd name="connsiteY21" fmla="*/ 181078 h 366918"/>
                <a:gd name="connsiteX22" fmla="*/ 333558 w 362148"/>
                <a:gd name="connsiteY22" fmla="*/ 190608 h 366918"/>
                <a:gd name="connsiteX23" fmla="*/ 324028 w 362148"/>
                <a:gd name="connsiteY23" fmla="*/ 200138 h 366918"/>
                <a:gd name="connsiteX24" fmla="*/ 324028 w 362148"/>
                <a:gd name="connsiteY24" fmla="*/ 214432 h 366918"/>
                <a:gd name="connsiteX25" fmla="*/ 324028 w 362148"/>
                <a:gd name="connsiteY25" fmla="*/ 214434 h 366918"/>
                <a:gd name="connsiteX26" fmla="*/ 319262 w 362148"/>
                <a:gd name="connsiteY26" fmla="*/ 238260 h 366918"/>
                <a:gd name="connsiteX27" fmla="*/ 309732 w 362148"/>
                <a:gd name="connsiteY27" fmla="*/ 247790 h 366918"/>
                <a:gd name="connsiteX28" fmla="*/ 300202 w 362148"/>
                <a:gd name="connsiteY28" fmla="*/ 252554 h 366918"/>
                <a:gd name="connsiteX29" fmla="*/ 285906 w 362148"/>
                <a:gd name="connsiteY29" fmla="*/ 257320 h 366918"/>
                <a:gd name="connsiteX30" fmla="*/ 262082 w 362148"/>
                <a:gd name="connsiteY30" fmla="*/ 271616 h 366918"/>
                <a:gd name="connsiteX31" fmla="*/ 247786 w 362148"/>
                <a:gd name="connsiteY31" fmla="*/ 276380 h 366918"/>
                <a:gd name="connsiteX32" fmla="*/ 238256 w 362148"/>
                <a:gd name="connsiteY32" fmla="*/ 276380 h 366918"/>
                <a:gd name="connsiteX33" fmla="*/ 223960 w 362148"/>
                <a:gd name="connsiteY33" fmla="*/ 276380 h 366918"/>
                <a:gd name="connsiteX34" fmla="*/ 214430 w 362148"/>
                <a:gd name="connsiteY34" fmla="*/ 276380 h 366918"/>
                <a:gd name="connsiteX35" fmla="*/ 209664 w 362148"/>
                <a:gd name="connsiteY35" fmla="*/ 276380 h 366918"/>
                <a:gd name="connsiteX36" fmla="*/ 195370 w 362148"/>
                <a:gd name="connsiteY36" fmla="*/ 290676 h 366918"/>
                <a:gd name="connsiteX37" fmla="*/ 176308 w 362148"/>
                <a:gd name="connsiteY37" fmla="*/ 324032 h 366918"/>
                <a:gd name="connsiteX38" fmla="*/ 166778 w 362148"/>
                <a:gd name="connsiteY38" fmla="*/ 333562 h 366918"/>
                <a:gd name="connsiteX39" fmla="*/ 166778 w 362148"/>
                <a:gd name="connsiteY39" fmla="*/ 347856 h 366918"/>
                <a:gd name="connsiteX40" fmla="*/ 166778 w 362148"/>
                <a:gd name="connsiteY40" fmla="*/ 347858 h 366918"/>
                <a:gd name="connsiteX41" fmla="*/ 162014 w 362148"/>
                <a:gd name="connsiteY41" fmla="*/ 357388 h 366918"/>
                <a:gd name="connsiteX42" fmla="*/ 157248 w 362148"/>
                <a:gd name="connsiteY42" fmla="*/ 366918 h 366918"/>
                <a:gd name="connsiteX43" fmla="*/ 147718 w 362148"/>
                <a:gd name="connsiteY43" fmla="*/ 366918 h 366918"/>
                <a:gd name="connsiteX44" fmla="*/ 133422 w 362148"/>
                <a:gd name="connsiteY44" fmla="*/ 366918 h 366918"/>
                <a:gd name="connsiteX45" fmla="*/ 109598 w 362148"/>
                <a:gd name="connsiteY45" fmla="*/ 362152 h 366918"/>
                <a:gd name="connsiteX46" fmla="*/ 95302 w 362148"/>
                <a:gd name="connsiteY46" fmla="*/ 347858 h 366918"/>
                <a:gd name="connsiteX47" fmla="*/ 81006 w 362148"/>
                <a:gd name="connsiteY47" fmla="*/ 338328 h 366918"/>
                <a:gd name="connsiteX48" fmla="*/ 76242 w 362148"/>
                <a:gd name="connsiteY48" fmla="*/ 328796 h 366918"/>
                <a:gd name="connsiteX49" fmla="*/ 71476 w 362148"/>
                <a:gd name="connsiteY49" fmla="*/ 319266 h 366918"/>
                <a:gd name="connsiteX50" fmla="*/ 66710 w 362148"/>
                <a:gd name="connsiteY50" fmla="*/ 319266 h 366918"/>
                <a:gd name="connsiteX51" fmla="*/ 57180 w 362148"/>
                <a:gd name="connsiteY51" fmla="*/ 314502 h 366918"/>
                <a:gd name="connsiteX52" fmla="*/ 52416 w 362148"/>
                <a:gd name="connsiteY52" fmla="*/ 309736 h 366918"/>
                <a:gd name="connsiteX53" fmla="*/ 47650 w 362148"/>
                <a:gd name="connsiteY53" fmla="*/ 300206 h 366918"/>
                <a:gd name="connsiteX54" fmla="*/ 42886 w 362148"/>
                <a:gd name="connsiteY54" fmla="*/ 295442 h 366918"/>
                <a:gd name="connsiteX55" fmla="*/ 42886 w 362148"/>
                <a:gd name="connsiteY55" fmla="*/ 295440 h 366918"/>
                <a:gd name="connsiteX56" fmla="*/ 47650 w 362148"/>
                <a:gd name="connsiteY56" fmla="*/ 281146 h 366918"/>
                <a:gd name="connsiteX57" fmla="*/ 38120 w 362148"/>
                <a:gd name="connsiteY57" fmla="*/ 271616 h 366918"/>
                <a:gd name="connsiteX58" fmla="*/ 28590 w 362148"/>
                <a:gd name="connsiteY58" fmla="*/ 252554 h 366918"/>
                <a:gd name="connsiteX59" fmla="*/ 19060 w 362148"/>
                <a:gd name="connsiteY59" fmla="*/ 243024 h 366918"/>
                <a:gd name="connsiteX60" fmla="*/ 9530 w 362148"/>
                <a:gd name="connsiteY60" fmla="*/ 223964 h 366918"/>
                <a:gd name="connsiteX61" fmla="*/ 4764 w 362148"/>
                <a:gd name="connsiteY61" fmla="*/ 209668 h 366918"/>
                <a:gd name="connsiteX62" fmla="*/ 0 w 362148"/>
                <a:gd name="connsiteY62" fmla="*/ 190608 h 366918"/>
                <a:gd name="connsiteX63" fmla="*/ 0 w 362148"/>
                <a:gd name="connsiteY63" fmla="*/ 190606 h 366918"/>
                <a:gd name="connsiteX64" fmla="*/ 0 w 362148"/>
                <a:gd name="connsiteY64" fmla="*/ 185844 h 366918"/>
                <a:gd name="connsiteX65" fmla="*/ 0 w 362148"/>
                <a:gd name="connsiteY65" fmla="*/ 185842 h 366918"/>
                <a:gd name="connsiteX66" fmla="*/ 4764 w 362148"/>
                <a:gd name="connsiteY66" fmla="*/ 181076 h 366918"/>
                <a:gd name="connsiteX67" fmla="*/ 23824 w 362148"/>
                <a:gd name="connsiteY67" fmla="*/ 171546 h 366918"/>
                <a:gd name="connsiteX68" fmla="*/ 38120 w 362148"/>
                <a:gd name="connsiteY68" fmla="*/ 166780 h 366918"/>
                <a:gd name="connsiteX69" fmla="*/ 47650 w 362148"/>
                <a:gd name="connsiteY69" fmla="*/ 152486 h 366918"/>
                <a:gd name="connsiteX70" fmla="*/ 57180 w 362148"/>
                <a:gd name="connsiteY70" fmla="*/ 138190 h 366918"/>
                <a:gd name="connsiteX71" fmla="*/ 61946 w 362148"/>
                <a:gd name="connsiteY71" fmla="*/ 128660 h 366918"/>
                <a:gd name="connsiteX72" fmla="*/ 66710 w 362148"/>
                <a:gd name="connsiteY72" fmla="*/ 123894 h 366918"/>
                <a:gd name="connsiteX73" fmla="*/ 71476 w 362148"/>
                <a:gd name="connsiteY73" fmla="*/ 114364 h 366918"/>
                <a:gd name="connsiteX74" fmla="*/ 81006 w 362148"/>
                <a:gd name="connsiteY74" fmla="*/ 100068 h 366918"/>
                <a:gd name="connsiteX75" fmla="*/ 95302 w 362148"/>
                <a:gd name="connsiteY75" fmla="*/ 81008 h 366918"/>
                <a:gd name="connsiteX76" fmla="*/ 104832 w 362148"/>
                <a:gd name="connsiteY76" fmla="*/ 61948 h 366918"/>
                <a:gd name="connsiteX77" fmla="*/ 119128 w 362148"/>
                <a:gd name="connsiteY77" fmla="*/ 57182 h 366918"/>
                <a:gd name="connsiteX78" fmla="*/ 138188 w 362148"/>
                <a:gd name="connsiteY78" fmla="*/ 52418 h 366918"/>
                <a:gd name="connsiteX79" fmla="*/ 162014 w 362148"/>
                <a:gd name="connsiteY79" fmla="*/ 33356 h 366918"/>
                <a:gd name="connsiteX80" fmla="*/ 181074 w 362148"/>
                <a:gd name="connsiteY80" fmla="*/ 19062 h 366918"/>
                <a:gd name="connsiteX81" fmla="*/ 219196 w 362148"/>
                <a:gd name="connsiteY81" fmla="*/ 4766 h 366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362148" h="366918">
                  <a:moveTo>
                    <a:pt x="238256" y="0"/>
                  </a:moveTo>
                  <a:lnTo>
                    <a:pt x="243020" y="0"/>
                  </a:lnTo>
                  <a:lnTo>
                    <a:pt x="247786" y="0"/>
                  </a:lnTo>
                  <a:lnTo>
                    <a:pt x="252550" y="9532"/>
                  </a:lnTo>
                  <a:lnTo>
                    <a:pt x="257316" y="19062"/>
                  </a:lnTo>
                  <a:lnTo>
                    <a:pt x="276376" y="28592"/>
                  </a:lnTo>
                  <a:lnTo>
                    <a:pt x="281142" y="33356"/>
                  </a:lnTo>
                  <a:lnTo>
                    <a:pt x="295438" y="52418"/>
                  </a:lnTo>
                  <a:lnTo>
                    <a:pt x="314498" y="61948"/>
                  </a:lnTo>
                  <a:lnTo>
                    <a:pt x="328794" y="81008"/>
                  </a:lnTo>
                  <a:lnTo>
                    <a:pt x="343088" y="85774"/>
                  </a:lnTo>
                  <a:lnTo>
                    <a:pt x="352618" y="90538"/>
                  </a:lnTo>
                  <a:lnTo>
                    <a:pt x="357384" y="100068"/>
                  </a:lnTo>
                  <a:lnTo>
                    <a:pt x="362148" y="109598"/>
                  </a:lnTo>
                  <a:lnTo>
                    <a:pt x="362148" y="109600"/>
                  </a:lnTo>
                  <a:lnTo>
                    <a:pt x="362148" y="119130"/>
                  </a:lnTo>
                  <a:lnTo>
                    <a:pt x="362148" y="119132"/>
                  </a:lnTo>
                  <a:lnTo>
                    <a:pt x="362148" y="128660"/>
                  </a:lnTo>
                  <a:lnTo>
                    <a:pt x="362148" y="128662"/>
                  </a:lnTo>
                  <a:lnTo>
                    <a:pt x="357384" y="152488"/>
                  </a:lnTo>
                  <a:lnTo>
                    <a:pt x="347854" y="176312"/>
                  </a:lnTo>
                  <a:lnTo>
                    <a:pt x="343088" y="181078"/>
                  </a:lnTo>
                  <a:lnTo>
                    <a:pt x="333558" y="190608"/>
                  </a:lnTo>
                  <a:lnTo>
                    <a:pt x="324028" y="200138"/>
                  </a:lnTo>
                  <a:lnTo>
                    <a:pt x="324028" y="214432"/>
                  </a:lnTo>
                  <a:lnTo>
                    <a:pt x="324028" y="214434"/>
                  </a:lnTo>
                  <a:lnTo>
                    <a:pt x="319262" y="238260"/>
                  </a:lnTo>
                  <a:lnTo>
                    <a:pt x="309732" y="247790"/>
                  </a:lnTo>
                  <a:lnTo>
                    <a:pt x="300202" y="252554"/>
                  </a:lnTo>
                  <a:lnTo>
                    <a:pt x="285906" y="257320"/>
                  </a:lnTo>
                  <a:lnTo>
                    <a:pt x="262082" y="271616"/>
                  </a:lnTo>
                  <a:lnTo>
                    <a:pt x="247786" y="276380"/>
                  </a:lnTo>
                  <a:lnTo>
                    <a:pt x="238256" y="276380"/>
                  </a:lnTo>
                  <a:lnTo>
                    <a:pt x="223960" y="276380"/>
                  </a:lnTo>
                  <a:lnTo>
                    <a:pt x="214430" y="276380"/>
                  </a:lnTo>
                  <a:lnTo>
                    <a:pt x="209664" y="276380"/>
                  </a:lnTo>
                  <a:lnTo>
                    <a:pt x="195370" y="290676"/>
                  </a:lnTo>
                  <a:lnTo>
                    <a:pt x="176308" y="324032"/>
                  </a:lnTo>
                  <a:lnTo>
                    <a:pt x="166778" y="333562"/>
                  </a:lnTo>
                  <a:lnTo>
                    <a:pt x="166778" y="347856"/>
                  </a:lnTo>
                  <a:lnTo>
                    <a:pt x="166778" y="347858"/>
                  </a:lnTo>
                  <a:lnTo>
                    <a:pt x="162014" y="357388"/>
                  </a:lnTo>
                  <a:lnTo>
                    <a:pt x="157248" y="366918"/>
                  </a:lnTo>
                  <a:lnTo>
                    <a:pt x="147718" y="366918"/>
                  </a:lnTo>
                  <a:lnTo>
                    <a:pt x="133422" y="366918"/>
                  </a:lnTo>
                  <a:lnTo>
                    <a:pt x="109598" y="362152"/>
                  </a:lnTo>
                  <a:lnTo>
                    <a:pt x="95302" y="347858"/>
                  </a:lnTo>
                  <a:lnTo>
                    <a:pt x="81006" y="338328"/>
                  </a:lnTo>
                  <a:lnTo>
                    <a:pt x="76242" y="328796"/>
                  </a:lnTo>
                  <a:lnTo>
                    <a:pt x="71476" y="319266"/>
                  </a:lnTo>
                  <a:lnTo>
                    <a:pt x="66710" y="319266"/>
                  </a:lnTo>
                  <a:lnTo>
                    <a:pt x="57180" y="314502"/>
                  </a:lnTo>
                  <a:lnTo>
                    <a:pt x="52416" y="309736"/>
                  </a:lnTo>
                  <a:lnTo>
                    <a:pt x="47650" y="300206"/>
                  </a:lnTo>
                  <a:lnTo>
                    <a:pt x="42886" y="295442"/>
                  </a:lnTo>
                  <a:lnTo>
                    <a:pt x="42886" y="295440"/>
                  </a:lnTo>
                  <a:lnTo>
                    <a:pt x="47650" y="281146"/>
                  </a:lnTo>
                  <a:lnTo>
                    <a:pt x="38120" y="271616"/>
                  </a:lnTo>
                  <a:lnTo>
                    <a:pt x="28590" y="252554"/>
                  </a:lnTo>
                  <a:lnTo>
                    <a:pt x="19060" y="243024"/>
                  </a:lnTo>
                  <a:lnTo>
                    <a:pt x="9530" y="223964"/>
                  </a:lnTo>
                  <a:lnTo>
                    <a:pt x="4764" y="209668"/>
                  </a:lnTo>
                  <a:lnTo>
                    <a:pt x="0" y="190608"/>
                  </a:lnTo>
                  <a:lnTo>
                    <a:pt x="0" y="190606"/>
                  </a:lnTo>
                  <a:lnTo>
                    <a:pt x="0" y="185844"/>
                  </a:lnTo>
                  <a:lnTo>
                    <a:pt x="0" y="185842"/>
                  </a:lnTo>
                  <a:lnTo>
                    <a:pt x="4764" y="181076"/>
                  </a:lnTo>
                  <a:lnTo>
                    <a:pt x="23824" y="171546"/>
                  </a:lnTo>
                  <a:lnTo>
                    <a:pt x="38120" y="166780"/>
                  </a:lnTo>
                  <a:lnTo>
                    <a:pt x="47650" y="152486"/>
                  </a:lnTo>
                  <a:lnTo>
                    <a:pt x="57180" y="138190"/>
                  </a:lnTo>
                  <a:lnTo>
                    <a:pt x="61946" y="128660"/>
                  </a:lnTo>
                  <a:lnTo>
                    <a:pt x="66710" y="123894"/>
                  </a:lnTo>
                  <a:lnTo>
                    <a:pt x="71476" y="114364"/>
                  </a:lnTo>
                  <a:lnTo>
                    <a:pt x="81006" y="100068"/>
                  </a:lnTo>
                  <a:lnTo>
                    <a:pt x="95302" y="81008"/>
                  </a:lnTo>
                  <a:lnTo>
                    <a:pt x="104832" y="61948"/>
                  </a:lnTo>
                  <a:lnTo>
                    <a:pt x="119128" y="57182"/>
                  </a:lnTo>
                  <a:lnTo>
                    <a:pt x="138188" y="52418"/>
                  </a:lnTo>
                  <a:lnTo>
                    <a:pt x="162014" y="33356"/>
                  </a:lnTo>
                  <a:lnTo>
                    <a:pt x="181074" y="19062"/>
                  </a:lnTo>
                  <a:lnTo>
                    <a:pt x="219196" y="476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6" name="Freeform 5638">
              <a:extLst>
                <a:ext uri="{FF2B5EF4-FFF2-40B4-BE49-F238E27FC236}">
                  <a16:creationId xmlns:a16="http://schemas.microsoft.com/office/drawing/2014/main" id="{38EF7A9F-07FD-4DDE-A408-B6BE4450EBE9}"/>
                </a:ext>
              </a:extLst>
            </p:cNvPr>
            <p:cNvSpPr/>
            <p:nvPr/>
          </p:nvSpPr>
          <p:spPr bwMode="auto">
            <a:xfrm>
              <a:off x="5971429" y="4005645"/>
              <a:ext cx="88651" cy="111777"/>
            </a:xfrm>
            <a:custGeom>
              <a:avLst/>
              <a:gdLst>
                <a:gd name="T0" fmla="*/ 110 w 230"/>
                <a:gd name="T1" fmla="*/ 286 h 290"/>
                <a:gd name="T2" fmla="*/ 122 w 230"/>
                <a:gd name="T3" fmla="*/ 282 h 290"/>
                <a:gd name="T4" fmla="*/ 122 w 230"/>
                <a:gd name="T5" fmla="*/ 270 h 290"/>
                <a:gd name="T6" fmla="*/ 138 w 230"/>
                <a:gd name="T7" fmla="*/ 252 h 290"/>
                <a:gd name="T8" fmla="*/ 152 w 230"/>
                <a:gd name="T9" fmla="*/ 234 h 290"/>
                <a:gd name="T10" fmla="*/ 152 w 230"/>
                <a:gd name="T11" fmla="*/ 212 h 290"/>
                <a:gd name="T12" fmla="*/ 152 w 230"/>
                <a:gd name="T13" fmla="*/ 196 h 290"/>
                <a:gd name="T14" fmla="*/ 168 w 230"/>
                <a:gd name="T15" fmla="*/ 188 h 290"/>
                <a:gd name="T16" fmla="*/ 170 w 230"/>
                <a:gd name="T17" fmla="*/ 202 h 290"/>
                <a:gd name="T18" fmla="*/ 178 w 230"/>
                <a:gd name="T19" fmla="*/ 196 h 290"/>
                <a:gd name="T20" fmla="*/ 186 w 230"/>
                <a:gd name="T21" fmla="*/ 196 h 290"/>
                <a:gd name="T22" fmla="*/ 196 w 230"/>
                <a:gd name="T23" fmla="*/ 200 h 290"/>
                <a:gd name="T24" fmla="*/ 204 w 230"/>
                <a:gd name="T25" fmla="*/ 196 h 290"/>
                <a:gd name="T26" fmla="*/ 226 w 230"/>
                <a:gd name="T27" fmla="*/ 202 h 290"/>
                <a:gd name="T28" fmla="*/ 216 w 230"/>
                <a:gd name="T29" fmla="*/ 188 h 290"/>
                <a:gd name="T30" fmla="*/ 216 w 230"/>
                <a:gd name="T31" fmla="*/ 164 h 290"/>
                <a:gd name="T32" fmla="*/ 194 w 230"/>
                <a:gd name="T33" fmla="*/ 150 h 290"/>
                <a:gd name="T34" fmla="*/ 192 w 230"/>
                <a:gd name="T35" fmla="*/ 138 h 290"/>
                <a:gd name="T36" fmla="*/ 190 w 230"/>
                <a:gd name="T37" fmla="*/ 126 h 290"/>
                <a:gd name="T38" fmla="*/ 188 w 230"/>
                <a:gd name="T39" fmla="*/ 116 h 290"/>
                <a:gd name="T40" fmla="*/ 178 w 230"/>
                <a:gd name="T41" fmla="*/ 106 h 290"/>
                <a:gd name="T42" fmla="*/ 164 w 230"/>
                <a:gd name="T43" fmla="*/ 96 h 290"/>
                <a:gd name="T44" fmla="*/ 168 w 230"/>
                <a:gd name="T45" fmla="*/ 80 h 290"/>
                <a:gd name="T46" fmla="*/ 168 w 230"/>
                <a:gd name="T47" fmla="*/ 58 h 290"/>
                <a:gd name="T48" fmla="*/ 158 w 230"/>
                <a:gd name="T49" fmla="*/ 50 h 290"/>
                <a:gd name="T50" fmla="*/ 146 w 230"/>
                <a:gd name="T51" fmla="*/ 46 h 290"/>
                <a:gd name="T52" fmla="*/ 124 w 230"/>
                <a:gd name="T53" fmla="*/ 32 h 290"/>
                <a:gd name="T54" fmla="*/ 118 w 230"/>
                <a:gd name="T55" fmla="*/ 32 h 290"/>
                <a:gd name="T56" fmla="*/ 112 w 230"/>
                <a:gd name="T57" fmla="*/ 30 h 290"/>
                <a:gd name="T58" fmla="*/ 100 w 230"/>
                <a:gd name="T59" fmla="*/ 22 h 290"/>
                <a:gd name="T60" fmla="*/ 92 w 230"/>
                <a:gd name="T61" fmla="*/ 14 h 290"/>
                <a:gd name="T62" fmla="*/ 78 w 230"/>
                <a:gd name="T63" fmla="*/ 6 h 290"/>
                <a:gd name="T64" fmla="*/ 60 w 230"/>
                <a:gd name="T65" fmla="*/ 0 h 290"/>
                <a:gd name="T66" fmla="*/ 50 w 230"/>
                <a:gd name="T67" fmla="*/ 6 h 290"/>
                <a:gd name="T68" fmla="*/ 24 w 230"/>
                <a:gd name="T69" fmla="*/ 10 h 290"/>
                <a:gd name="T70" fmla="*/ 0 w 230"/>
                <a:gd name="T71" fmla="*/ 18 h 290"/>
                <a:gd name="T72" fmla="*/ 10 w 230"/>
                <a:gd name="T73" fmla="*/ 22 h 290"/>
                <a:gd name="T74" fmla="*/ 26 w 230"/>
                <a:gd name="T75" fmla="*/ 36 h 290"/>
                <a:gd name="T76" fmla="*/ 40 w 230"/>
                <a:gd name="T77" fmla="*/ 62 h 290"/>
                <a:gd name="T78" fmla="*/ 46 w 230"/>
                <a:gd name="T79" fmla="*/ 82 h 290"/>
                <a:gd name="T80" fmla="*/ 58 w 230"/>
                <a:gd name="T81" fmla="*/ 98 h 290"/>
                <a:gd name="T82" fmla="*/ 74 w 230"/>
                <a:gd name="T83" fmla="*/ 122 h 290"/>
                <a:gd name="T84" fmla="*/ 88 w 230"/>
                <a:gd name="T85" fmla="*/ 140 h 290"/>
                <a:gd name="T86" fmla="*/ 104 w 230"/>
                <a:gd name="T87" fmla="*/ 172 h 290"/>
                <a:gd name="T88" fmla="*/ 106 w 230"/>
                <a:gd name="T89" fmla="*/ 196 h 290"/>
                <a:gd name="T90" fmla="*/ 96 w 230"/>
                <a:gd name="T91" fmla="*/ 240 h 290"/>
                <a:gd name="T92" fmla="*/ 98 w 230"/>
                <a:gd name="T93" fmla="*/ 258 h 290"/>
                <a:gd name="T94" fmla="*/ 98 w 230"/>
                <a:gd name="T95" fmla="*/ 274 h 290"/>
                <a:gd name="T96" fmla="*/ 98 w 230"/>
                <a:gd name="T97" fmla="*/ 278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0" h="290">
                  <a:moveTo>
                    <a:pt x="104" y="290"/>
                  </a:moveTo>
                  <a:lnTo>
                    <a:pt x="108" y="286"/>
                  </a:lnTo>
                  <a:lnTo>
                    <a:pt x="110" y="286"/>
                  </a:lnTo>
                  <a:lnTo>
                    <a:pt x="120" y="284"/>
                  </a:lnTo>
                  <a:lnTo>
                    <a:pt x="122" y="284"/>
                  </a:lnTo>
                  <a:lnTo>
                    <a:pt x="122" y="282"/>
                  </a:lnTo>
                  <a:lnTo>
                    <a:pt x="124" y="278"/>
                  </a:lnTo>
                  <a:lnTo>
                    <a:pt x="124" y="274"/>
                  </a:lnTo>
                  <a:lnTo>
                    <a:pt x="122" y="270"/>
                  </a:lnTo>
                  <a:lnTo>
                    <a:pt x="126" y="264"/>
                  </a:lnTo>
                  <a:lnTo>
                    <a:pt x="134" y="258"/>
                  </a:lnTo>
                  <a:lnTo>
                    <a:pt x="138" y="252"/>
                  </a:lnTo>
                  <a:lnTo>
                    <a:pt x="138" y="244"/>
                  </a:lnTo>
                  <a:lnTo>
                    <a:pt x="146" y="240"/>
                  </a:lnTo>
                  <a:lnTo>
                    <a:pt x="152" y="234"/>
                  </a:lnTo>
                  <a:lnTo>
                    <a:pt x="154" y="226"/>
                  </a:lnTo>
                  <a:lnTo>
                    <a:pt x="156" y="222"/>
                  </a:lnTo>
                  <a:lnTo>
                    <a:pt x="152" y="212"/>
                  </a:lnTo>
                  <a:lnTo>
                    <a:pt x="150" y="204"/>
                  </a:lnTo>
                  <a:lnTo>
                    <a:pt x="150" y="198"/>
                  </a:lnTo>
                  <a:lnTo>
                    <a:pt x="152" y="196"/>
                  </a:lnTo>
                  <a:lnTo>
                    <a:pt x="158" y="192"/>
                  </a:lnTo>
                  <a:lnTo>
                    <a:pt x="164" y="188"/>
                  </a:lnTo>
                  <a:lnTo>
                    <a:pt x="168" y="188"/>
                  </a:lnTo>
                  <a:lnTo>
                    <a:pt x="168" y="190"/>
                  </a:lnTo>
                  <a:lnTo>
                    <a:pt x="168" y="202"/>
                  </a:lnTo>
                  <a:lnTo>
                    <a:pt x="170" y="202"/>
                  </a:lnTo>
                  <a:lnTo>
                    <a:pt x="172" y="20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2" y="198"/>
                  </a:lnTo>
                  <a:lnTo>
                    <a:pt x="184" y="196"/>
                  </a:lnTo>
                  <a:lnTo>
                    <a:pt x="186" y="196"/>
                  </a:lnTo>
                  <a:lnTo>
                    <a:pt x="188" y="198"/>
                  </a:lnTo>
                  <a:lnTo>
                    <a:pt x="192" y="200"/>
                  </a:lnTo>
                  <a:lnTo>
                    <a:pt x="196" y="200"/>
                  </a:lnTo>
                  <a:lnTo>
                    <a:pt x="198" y="198"/>
                  </a:lnTo>
                  <a:lnTo>
                    <a:pt x="202" y="196"/>
                  </a:lnTo>
                  <a:lnTo>
                    <a:pt x="204" y="196"/>
                  </a:lnTo>
                  <a:lnTo>
                    <a:pt x="210" y="206"/>
                  </a:lnTo>
                  <a:lnTo>
                    <a:pt x="212" y="204"/>
                  </a:lnTo>
                  <a:lnTo>
                    <a:pt x="226" y="202"/>
                  </a:lnTo>
                  <a:lnTo>
                    <a:pt x="228" y="200"/>
                  </a:lnTo>
                  <a:lnTo>
                    <a:pt x="230" y="198"/>
                  </a:lnTo>
                  <a:lnTo>
                    <a:pt x="216" y="188"/>
                  </a:lnTo>
                  <a:lnTo>
                    <a:pt x="216" y="180"/>
                  </a:lnTo>
                  <a:lnTo>
                    <a:pt x="218" y="170"/>
                  </a:lnTo>
                  <a:lnTo>
                    <a:pt x="216" y="164"/>
                  </a:lnTo>
                  <a:lnTo>
                    <a:pt x="212" y="160"/>
                  </a:lnTo>
                  <a:lnTo>
                    <a:pt x="202" y="154"/>
                  </a:lnTo>
                  <a:lnTo>
                    <a:pt x="194" y="150"/>
                  </a:lnTo>
                  <a:lnTo>
                    <a:pt x="192" y="146"/>
                  </a:lnTo>
                  <a:lnTo>
                    <a:pt x="192" y="144"/>
                  </a:lnTo>
                  <a:lnTo>
                    <a:pt x="192" y="138"/>
                  </a:lnTo>
                  <a:lnTo>
                    <a:pt x="190" y="134"/>
                  </a:lnTo>
                  <a:lnTo>
                    <a:pt x="188" y="130"/>
                  </a:lnTo>
                  <a:lnTo>
                    <a:pt x="190" y="126"/>
                  </a:lnTo>
                  <a:lnTo>
                    <a:pt x="192" y="120"/>
                  </a:lnTo>
                  <a:lnTo>
                    <a:pt x="190" y="116"/>
                  </a:lnTo>
                  <a:lnTo>
                    <a:pt x="188" y="116"/>
                  </a:lnTo>
                  <a:lnTo>
                    <a:pt x="186" y="114"/>
                  </a:lnTo>
                  <a:lnTo>
                    <a:pt x="180" y="112"/>
                  </a:lnTo>
                  <a:lnTo>
                    <a:pt x="178" y="106"/>
                  </a:lnTo>
                  <a:lnTo>
                    <a:pt x="168" y="100"/>
                  </a:lnTo>
                  <a:lnTo>
                    <a:pt x="166" y="100"/>
                  </a:lnTo>
                  <a:lnTo>
                    <a:pt x="164" y="96"/>
                  </a:lnTo>
                  <a:lnTo>
                    <a:pt x="164" y="92"/>
                  </a:lnTo>
                  <a:lnTo>
                    <a:pt x="166" y="88"/>
                  </a:lnTo>
                  <a:lnTo>
                    <a:pt x="168" y="80"/>
                  </a:lnTo>
                  <a:lnTo>
                    <a:pt x="168" y="72"/>
                  </a:lnTo>
                  <a:lnTo>
                    <a:pt x="170" y="68"/>
                  </a:lnTo>
                  <a:lnTo>
                    <a:pt x="168" y="58"/>
                  </a:lnTo>
                  <a:lnTo>
                    <a:pt x="164" y="50"/>
                  </a:lnTo>
                  <a:lnTo>
                    <a:pt x="162" y="48"/>
                  </a:lnTo>
                  <a:lnTo>
                    <a:pt x="158" y="50"/>
                  </a:lnTo>
                  <a:lnTo>
                    <a:pt x="154" y="52"/>
                  </a:lnTo>
                  <a:lnTo>
                    <a:pt x="150" y="50"/>
                  </a:lnTo>
                  <a:lnTo>
                    <a:pt x="146" y="46"/>
                  </a:lnTo>
                  <a:lnTo>
                    <a:pt x="140" y="34"/>
                  </a:lnTo>
                  <a:lnTo>
                    <a:pt x="130" y="32"/>
                  </a:lnTo>
                  <a:lnTo>
                    <a:pt x="124" y="32"/>
                  </a:lnTo>
                  <a:lnTo>
                    <a:pt x="120" y="38"/>
                  </a:lnTo>
                  <a:lnTo>
                    <a:pt x="118" y="36"/>
                  </a:lnTo>
                  <a:lnTo>
                    <a:pt x="118" y="32"/>
                  </a:lnTo>
                  <a:lnTo>
                    <a:pt x="116" y="30"/>
                  </a:lnTo>
                  <a:lnTo>
                    <a:pt x="112" y="32"/>
                  </a:lnTo>
                  <a:lnTo>
                    <a:pt x="112" y="30"/>
                  </a:lnTo>
                  <a:lnTo>
                    <a:pt x="112" y="26"/>
                  </a:lnTo>
                  <a:lnTo>
                    <a:pt x="108" y="22"/>
                  </a:lnTo>
                  <a:lnTo>
                    <a:pt x="100" y="22"/>
                  </a:lnTo>
                  <a:lnTo>
                    <a:pt x="96" y="22"/>
                  </a:lnTo>
                  <a:lnTo>
                    <a:pt x="94" y="18"/>
                  </a:lnTo>
                  <a:lnTo>
                    <a:pt x="92" y="14"/>
                  </a:lnTo>
                  <a:lnTo>
                    <a:pt x="88" y="14"/>
                  </a:lnTo>
                  <a:lnTo>
                    <a:pt x="82" y="10"/>
                  </a:lnTo>
                  <a:lnTo>
                    <a:pt x="78" y="6"/>
                  </a:lnTo>
                  <a:lnTo>
                    <a:pt x="70" y="2"/>
                  </a:lnTo>
                  <a:lnTo>
                    <a:pt x="62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54" y="2"/>
                  </a:lnTo>
                  <a:lnTo>
                    <a:pt x="50" y="6"/>
                  </a:lnTo>
                  <a:lnTo>
                    <a:pt x="46" y="4"/>
                  </a:lnTo>
                  <a:lnTo>
                    <a:pt x="38" y="10"/>
                  </a:lnTo>
                  <a:lnTo>
                    <a:pt x="24" y="10"/>
                  </a:lnTo>
                  <a:lnTo>
                    <a:pt x="18" y="10"/>
                  </a:lnTo>
                  <a:lnTo>
                    <a:pt x="14" y="8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6" y="20"/>
                  </a:lnTo>
                  <a:lnTo>
                    <a:pt x="10" y="22"/>
                  </a:lnTo>
                  <a:lnTo>
                    <a:pt x="18" y="26"/>
                  </a:lnTo>
                  <a:lnTo>
                    <a:pt x="22" y="30"/>
                  </a:lnTo>
                  <a:lnTo>
                    <a:pt x="26" y="36"/>
                  </a:lnTo>
                  <a:lnTo>
                    <a:pt x="30" y="42"/>
                  </a:lnTo>
                  <a:lnTo>
                    <a:pt x="34" y="50"/>
                  </a:lnTo>
                  <a:lnTo>
                    <a:pt x="40" y="62"/>
                  </a:lnTo>
                  <a:lnTo>
                    <a:pt x="40" y="68"/>
                  </a:lnTo>
                  <a:lnTo>
                    <a:pt x="42" y="74"/>
                  </a:lnTo>
                  <a:lnTo>
                    <a:pt x="46" y="82"/>
                  </a:lnTo>
                  <a:lnTo>
                    <a:pt x="54" y="90"/>
                  </a:lnTo>
                  <a:lnTo>
                    <a:pt x="54" y="92"/>
                  </a:lnTo>
                  <a:lnTo>
                    <a:pt x="58" y="98"/>
                  </a:lnTo>
                  <a:lnTo>
                    <a:pt x="64" y="110"/>
                  </a:lnTo>
                  <a:lnTo>
                    <a:pt x="70" y="116"/>
                  </a:lnTo>
                  <a:lnTo>
                    <a:pt x="74" y="122"/>
                  </a:lnTo>
                  <a:lnTo>
                    <a:pt x="76" y="128"/>
                  </a:lnTo>
                  <a:lnTo>
                    <a:pt x="80" y="132"/>
                  </a:lnTo>
                  <a:lnTo>
                    <a:pt x="88" y="140"/>
                  </a:lnTo>
                  <a:lnTo>
                    <a:pt x="94" y="146"/>
                  </a:lnTo>
                  <a:lnTo>
                    <a:pt x="100" y="164"/>
                  </a:lnTo>
                  <a:lnTo>
                    <a:pt x="104" y="172"/>
                  </a:lnTo>
                  <a:lnTo>
                    <a:pt x="106" y="178"/>
                  </a:lnTo>
                  <a:lnTo>
                    <a:pt x="104" y="190"/>
                  </a:lnTo>
                  <a:lnTo>
                    <a:pt x="106" y="196"/>
                  </a:lnTo>
                  <a:lnTo>
                    <a:pt x="102" y="206"/>
                  </a:lnTo>
                  <a:lnTo>
                    <a:pt x="98" y="226"/>
                  </a:lnTo>
                  <a:lnTo>
                    <a:pt x="96" y="240"/>
                  </a:lnTo>
                  <a:lnTo>
                    <a:pt x="98" y="250"/>
                  </a:lnTo>
                  <a:lnTo>
                    <a:pt x="98" y="254"/>
                  </a:lnTo>
                  <a:lnTo>
                    <a:pt x="98" y="258"/>
                  </a:lnTo>
                  <a:lnTo>
                    <a:pt x="100" y="266"/>
                  </a:lnTo>
                  <a:lnTo>
                    <a:pt x="100" y="272"/>
                  </a:lnTo>
                  <a:lnTo>
                    <a:pt x="98" y="274"/>
                  </a:lnTo>
                  <a:lnTo>
                    <a:pt x="96" y="274"/>
                  </a:lnTo>
                  <a:lnTo>
                    <a:pt x="94" y="276"/>
                  </a:lnTo>
                  <a:lnTo>
                    <a:pt x="98" y="278"/>
                  </a:lnTo>
                  <a:lnTo>
                    <a:pt x="100" y="284"/>
                  </a:lnTo>
                  <a:lnTo>
                    <a:pt x="104" y="290"/>
                  </a:lnTo>
                </a:path>
              </a:pathLst>
            </a:custGeom>
            <a:solidFill>
              <a:schemeClr val="bg1"/>
            </a:solidFill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7" name="Freeform 3933">
              <a:extLst>
                <a:ext uri="{FF2B5EF4-FFF2-40B4-BE49-F238E27FC236}">
                  <a16:creationId xmlns:a16="http://schemas.microsoft.com/office/drawing/2014/main" id="{E07C8330-3B20-421D-8E65-302B0080A450}"/>
                </a:ext>
              </a:extLst>
            </p:cNvPr>
            <p:cNvSpPr/>
            <p:nvPr/>
          </p:nvSpPr>
          <p:spPr bwMode="auto">
            <a:xfrm>
              <a:off x="7586415" y="4811211"/>
              <a:ext cx="3084" cy="3084"/>
            </a:xfrm>
            <a:custGeom>
              <a:avLst/>
              <a:gdLst>
                <a:gd name="T0" fmla="*/ 6 w 8"/>
                <a:gd name="T1" fmla="*/ 6 h 8"/>
                <a:gd name="T2" fmla="*/ 2 w 8"/>
                <a:gd name="T3" fmla="*/ 0 h 8"/>
                <a:gd name="T4" fmla="*/ 0 w 8"/>
                <a:gd name="T5" fmla="*/ 2 h 8"/>
                <a:gd name="T6" fmla="*/ 2 w 8"/>
                <a:gd name="T7" fmla="*/ 4 h 8"/>
                <a:gd name="T8" fmla="*/ 4 w 8"/>
                <a:gd name="T9" fmla="*/ 6 h 8"/>
                <a:gd name="T10" fmla="*/ 8 w 8"/>
                <a:gd name="T11" fmla="*/ 8 h 8"/>
                <a:gd name="T12" fmla="*/ 6 w 8"/>
                <a:gd name="T13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8">
                  <a:moveTo>
                    <a:pt x="6" y="6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4"/>
                  </a:lnTo>
                  <a:lnTo>
                    <a:pt x="4" y="6"/>
                  </a:lnTo>
                  <a:lnTo>
                    <a:pt x="8" y="8"/>
                  </a:lnTo>
                  <a:lnTo>
                    <a:pt x="6" y="6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8" name="Freeform 417">
              <a:extLst>
                <a:ext uri="{FF2B5EF4-FFF2-40B4-BE49-F238E27FC236}">
                  <a16:creationId xmlns:a16="http://schemas.microsoft.com/office/drawing/2014/main" id="{25CA4123-1469-442D-882A-15BADC708D9D}"/>
                </a:ext>
              </a:extLst>
            </p:cNvPr>
            <p:cNvSpPr/>
            <p:nvPr/>
          </p:nvSpPr>
          <p:spPr bwMode="auto">
            <a:xfrm>
              <a:off x="7522433" y="4712539"/>
              <a:ext cx="116402" cy="159571"/>
            </a:xfrm>
            <a:custGeom>
              <a:avLst/>
              <a:gdLst>
                <a:gd name="connsiteX0" fmla="*/ 600404 w 719532"/>
                <a:gd name="connsiteY0" fmla="*/ 833896 h 986380"/>
                <a:gd name="connsiteX1" fmla="*/ 609936 w 719532"/>
                <a:gd name="connsiteY1" fmla="*/ 833896 h 986380"/>
                <a:gd name="connsiteX2" fmla="*/ 614700 w 719532"/>
                <a:gd name="connsiteY2" fmla="*/ 833896 h 986380"/>
                <a:gd name="connsiteX3" fmla="*/ 614700 w 719532"/>
                <a:gd name="connsiteY3" fmla="*/ 838662 h 986380"/>
                <a:gd name="connsiteX4" fmla="*/ 614700 w 719532"/>
                <a:gd name="connsiteY4" fmla="*/ 852956 h 986380"/>
                <a:gd name="connsiteX5" fmla="*/ 614700 w 719532"/>
                <a:gd name="connsiteY5" fmla="*/ 867252 h 986380"/>
                <a:gd name="connsiteX6" fmla="*/ 605168 w 719532"/>
                <a:gd name="connsiteY6" fmla="*/ 867252 h 986380"/>
                <a:gd name="connsiteX7" fmla="*/ 600404 w 719532"/>
                <a:gd name="connsiteY7" fmla="*/ 862486 h 986380"/>
                <a:gd name="connsiteX8" fmla="*/ 605168 w 719532"/>
                <a:gd name="connsiteY8" fmla="*/ 857722 h 986380"/>
                <a:gd name="connsiteX9" fmla="*/ 600404 w 719532"/>
                <a:gd name="connsiteY9" fmla="*/ 795776 h 986380"/>
                <a:gd name="connsiteX10" fmla="*/ 605168 w 719532"/>
                <a:gd name="connsiteY10" fmla="*/ 805306 h 986380"/>
                <a:gd name="connsiteX11" fmla="*/ 605168 w 719532"/>
                <a:gd name="connsiteY11" fmla="*/ 814836 h 986380"/>
                <a:gd name="connsiteX12" fmla="*/ 595640 w 719532"/>
                <a:gd name="connsiteY12" fmla="*/ 829132 h 986380"/>
                <a:gd name="connsiteX13" fmla="*/ 595640 w 719532"/>
                <a:gd name="connsiteY13" fmla="*/ 814836 h 986380"/>
                <a:gd name="connsiteX14" fmla="*/ 595640 w 719532"/>
                <a:gd name="connsiteY14" fmla="*/ 805306 h 986380"/>
                <a:gd name="connsiteX15" fmla="*/ 476512 w 719532"/>
                <a:gd name="connsiteY15" fmla="*/ 695708 h 986380"/>
                <a:gd name="connsiteX16" fmla="*/ 490808 w 719532"/>
                <a:gd name="connsiteY16" fmla="*/ 724298 h 986380"/>
                <a:gd name="connsiteX17" fmla="*/ 495572 w 719532"/>
                <a:gd name="connsiteY17" fmla="*/ 738594 h 986380"/>
                <a:gd name="connsiteX18" fmla="*/ 490808 w 719532"/>
                <a:gd name="connsiteY18" fmla="*/ 757654 h 986380"/>
                <a:gd name="connsiteX19" fmla="*/ 471748 w 719532"/>
                <a:gd name="connsiteY19" fmla="*/ 767184 h 986380"/>
                <a:gd name="connsiteX20" fmla="*/ 533692 w 719532"/>
                <a:gd name="connsiteY20" fmla="*/ 681412 h 986380"/>
                <a:gd name="connsiteX21" fmla="*/ 538460 w 719532"/>
                <a:gd name="connsiteY21" fmla="*/ 681412 h 986380"/>
                <a:gd name="connsiteX22" fmla="*/ 543224 w 719532"/>
                <a:gd name="connsiteY22" fmla="*/ 686178 h 986380"/>
                <a:gd name="connsiteX23" fmla="*/ 547988 w 719532"/>
                <a:gd name="connsiteY23" fmla="*/ 700472 h 986380"/>
                <a:gd name="connsiteX24" fmla="*/ 552752 w 719532"/>
                <a:gd name="connsiteY24" fmla="*/ 714768 h 986380"/>
                <a:gd name="connsiteX25" fmla="*/ 552752 w 719532"/>
                <a:gd name="connsiteY25" fmla="*/ 719532 h 986380"/>
                <a:gd name="connsiteX26" fmla="*/ 547988 w 719532"/>
                <a:gd name="connsiteY26" fmla="*/ 724298 h 986380"/>
                <a:gd name="connsiteX27" fmla="*/ 538460 w 719532"/>
                <a:gd name="connsiteY27" fmla="*/ 719532 h 986380"/>
                <a:gd name="connsiteX28" fmla="*/ 528928 w 719532"/>
                <a:gd name="connsiteY28" fmla="*/ 705238 h 986380"/>
                <a:gd name="connsiteX29" fmla="*/ 405036 w 719532"/>
                <a:gd name="connsiteY29" fmla="*/ 638526 h 986380"/>
                <a:gd name="connsiteX30" fmla="*/ 414564 w 719532"/>
                <a:gd name="connsiteY30" fmla="*/ 648056 h 986380"/>
                <a:gd name="connsiteX31" fmla="*/ 419332 w 719532"/>
                <a:gd name="connsiteY31" fmla="*/ 652822 h 986380"/>
                <a:gd name="connsiteX32" fmla="*/ 419332 w 719532"/>
                <a:gd name="connsiteY32" fmla="*/ 662352 h 986380"/>
                <a:gd name="connsiteX33" fmla="*/ 424096 w 719532"/>
                <a:gd name="connsiteY33" fmla="*/ 676648 h 986380"/>
                <a:gd name="connsiteX34" fmla="*/ 447920 w 719532"/>
                <a:gd name="connsiteY34" fmla="*/ 705238 h 986380"/>
                <a:gd name="connsiteX35" fmla="*/ 447920 w 719532"/>
                <a:gd name="connsiteY35" fmla="*/ 719534 h 986380"/>
                <a:gd name="connsiteX36" fmla="*/ 438392 w 719532"/>
                <a:gd name="connsiteY36" fmla="*/ 757654 h 986380"/>
                <a:gd name="connsiteX37" fmla="*/ 433628 w 719532"/>
                <a:gd name="connsiteY37" fmla="*/ 771950 h 986380"/>
                <a:gd name="connsiteX38" fmla="*/ 405036 w 719532"/>
                <a:gd name="connsiteY38" fmla="*/ 776716 h 986380"/>
                <a:gd name="connsiteX39" fmla="*/ 390740 w 719532"/>
                <a:gd name="connsiteY39" fmla="*/ 771950 h 986380"/>
                <a:gd name="connsiteX40" fmla="*/ 414564 w 719532"/>
                <a:gd name="connsiteY40" fmla="*/ 729064 h 986380"/>
                <a:gd name="connsiteX41" fmla="*/ 414564 w 719532"/>
                <a:gd name="connsiteY41" fmla="*/ 710004 h 986380"/>
                <a:gd name="connsiteX42" fmla="*/ 409800 w 719532"/>
                <a:gd name="connsiteY42" fmla="*/ 695708 h 986380"/>
                <a:gd name="connsiteX43" fmla="*/ 400272 w 719532"/>
                <a:gd name="connsiteY43" fmla="*/ 681412 h 986380"/>
                <a:gd name="connsiteX44" fmla="*/ 395504 w 719532"/>
                <a:gd name="connsiteY44" fmla="*/ 671882 h 986380"/>
                <a:gd name="connsiteX45" fmla="*/ 390740 w 719532"/>
                <a:gd name="connsiteY45" fmla="*/ 657586 h 986380"/>
                <a:gd name="connsiteX46" fmla="*/ 390740 w 719532"/>
                <a:gd name="connsiteY46" fmla="*/ 643292 h 986380"/>
                <a:gd name="connsiteX47" fmla="*/ 400272 w 719532"/>
                <a:gd name="connsiteY47" fmla="*/ 609936 h 986380"/>
                <a:gd name="connsiteX48" fmla="*/ 409800 w 719532"/>
                <a:gd name="connsiteY48" fmla="*/ 624230 h 986380"/>
                <a:gd name="connsiteX49" fmla="*/ 414568 w 719532"/>
                <a:gd name="connsiteY49" fmla="*/ 628996 h 986380"/>
                <a:gd name="connsiteX50" fmla="*/ 405036 w 719532"/>
                <a:gd name="connsiteY50" fmla="*/ 624230 h 986380"/>
                <a:gd name="connsiteX51" fmla="*/ 400272 w 719532"/>
                <a:gd name="connsiteY51" fmla="*/ 619466 h 986380"/>
                <a:gd name="connsiteX52" fmla="*/ 395504 w 719532"/>
                <a:gd name="connsiteY52" fmla="*/ 614700 h 986380"/>
                <a:gd name="connsiteX53" fmla="*/ 61944 w 719532"/>
                <a:gd name="connsiteY53" fmla="*/ 0 h 986380"/>
                <a:gd name="connsiteX54" fmla="*/ 81008 w 719532"/>
                <a:gd name="connsiteY54" fmla="*/ 9530 h 986380"/>
                <a:gd name="connsiteX55" fmla="*/ 95300 w 719532"/>
                <a:gd name="connsiteY55" fmla="*/ 23824 h 986380"/>
                <a:gd name="connsiteX56" fmla="*/ 104832 w 719532"/>
                <a:gd name="connsiteY56" fmla="*/ 38120 h 986380"/>
                <a:gd name="connsiteX57" fmla="*/ 104832 w 719532"/>
                <a:gd name="connsiteY57" fmla="*/ 52416 h 986380"/>
                <a:gd name="connsiteX58" fmla="*/ 109596 w 719532"/>
                <a:gd name="connsiteY58" fmla="*/ 52416 h 986380"/>
                <a:gd name="connsiteX59" fmla="*/ 119128 w 719532"/>
                <a:gd name="connsiteY59" fmla="*/ 52416 h 986380"/>
                <a:gd name="connsiteX60" fmla="*/ 128656 w 719532"/>
                <a:gd name="connsiteY60" fmla="*/ 57180 h 986380"/>
                <a:gd name="connsiteX61" fmla="*/ 138188 w 719532"/>
                <a:gd name="connsiteY61" fmla="*/ 57180 h 986380"/>
                <a:gd name="connsiteX62" fmla="*/ 142952 w 719532"/>
                <a:gd name="connsiteY62" fmla="*/ 57180 h 986380"/>
                <a:gd name="connsiteX63" fmla="*/ 147716 w 719532"/>
                <a:gd name="connsiteY63" fmla="*/ 57180 h 986380"/>
                <a:gd name="connsiteX64" fmla="*/ 152484 w 719532"/>
                <a:gd name="connsiteY64" fmla="*/ 52416 h 986380"/>
                <a:gd name="connsiteX65" fmla="*/ 147716 w 719532"/>
                <a:gd name="connsiteY65" fmla="*/ 42886 h 986380"/>
                <a:gd name="connsiteX66" fmla="*/ 142952 w 719532"/>
                <a:gd name="connsiteY66" fmla="*/ 33354 h 986380"/>
                <a:gd name="connsiteX67" fmla="*/ 147716 w 719532"/>
                <a:gd name="connsiteY67" fmla="*/ 28590 h 986380"/>
                <a:gd name="connsiteX68" fmla="*/ 152484 w 719532"/>
                <a:gd name="connsiteY68" fmla="*/ 28590 h 986380"/>
                <a:gd name="connsiteX69" fmla="*/ 157248 w 719532"/>
                <a:gd name="connsiteY69" fmla="*/ 28590 h 986380"/>
                <a:gd name="connsiteX70" fmla="*/ 166780 w 719532"/>
                <a:gd name="connsiteY70" fmla="*/ 33354 h 986380"/>
                <a:gd name="connsiteX71" fmla="*/ 171544 w 719532"/>
                <a:gd name="connsiteY71" fmla="*/ 47650 h 986380"/>
                <a:gd name="connsiteX72" fmla="*/ 171544 w 719532"/>
                <a:gd name="connsiteY72" fmla="*/ 66710 h 986380"/>
                <a:gd name="connsiteX73" fmla="*/ 181072 w 719532"/>
                <a:gd name="connsiteY73" fmla="*/ 81006 h 986380"/>
                <a:gd name="connsiteX74" fmla="*/ 200136 w 719532"/>
                <a:gd name="connsiteY74" fmla="*/ 95302 h 986380"/>
                <a:gd name="connsiteX75" fmla="*/ 214428 w 719532"/>
                <a:gd name="connsiteY75" fmla="*/ 100066 h 986380"/>
                <a:gd name="connsiteX76" fmla="*/ 228724 w 719532"/>
                <a:gd name="connsiteY76" fmla="*/ 104832 h 986380"/>
                <a:gd name="connsiteX77" fmla="*/ 238256 w 719532"/>
                <a:gd name="connsiteY77" fmla="*/ 100066 h 986380"/>
                <a:gd name="connsiteX78" fmla="*/ 247784 w 719532"/>
                <a:gd name="connsiteY78" fmla="*/ 90536 h 986380"/>
                <a:gd name="connsiteX79" fmla="*/ 243020 w 719532"/>
                <a:gd name="connsiteY79" fmla="*/ 76242 h 986380"/>
                <a:gd name="connsiteX80" fmla="*/ 247784 w 719532"/>
                <a:gd name="connsiteY80" fmla="*/ 66710 h 986380"/>
                <a:gd name="connsiteX81" fmla="*/ 252552 w 719532"/>
                <a:gd name="connsiteY81" fmla="*/ 61946 h 986380"/>
                <a:gd name="connsiteX82" fmla="*/ 257316 w 719532"/>
                <a:gd name="connsiteY82" fmla="*/ 61946 h 986380"/>
                <a:gd name="connsiteX83" fmla="*/ 266848 w 719532"/>
                <a:gd name="connsiteY83" fmla="*/ 71476 h 986380"/>
                <a:gd name="connsiteX84" fmla="*/ 281140 w 719532"/>
                <a:gd name="connsiteY84" fmla="*/ 109596 h 986380"/>
                <a:gd name="connsiteX85" fmla="*/ 281140 w 719532"/>
                <a:gd name="connsiteY85" fmla="*/ 128658 h 986380"/>
                <a:gd name="connsiteX86" fmla="*/ 281140 w 719532"/>
                <a:gd name="connsiteY86" fmla="*/ 176308 h 986380"/>
                <a:gd name="connsiteX87" fmla="*/ 276376 w 719532"/>
                <a:gd name="connsiteY87" fmla="*/ 209664 h 986380"/>
                <a:gd name="connsiteX88" fmla="*/ 281140 w 719532"/>
                <a:gd name="connsiteY88" fmla="*/ 214430 h 986380"/>
                <a:gd name="connsiteX89" fmla="*/ 281140 w 719532"/>
                <a:gd name="connsiteY89" fmla="*/ 219194 h 986380"/>
                <a:gd name="connsiteX90" fmla="*/ 285908 w 719532"/>
                <a:gd name="connsiteY90" fmla="*/ 223960 h 986380"/>
                <a:gd name="connsiteX91" fmla="*/ 290672 w 719532"/>
                <a:gd name="connsiteY91" fmla="*/ 223960 h 986380"/>
                <a:gd name="connsiteX92" fmla="*/ 309732 w 719532"/>
                <a:gd name="connsiteY92" fmla="*/ 228726 h 986380"/>
                <a:gd name="connsiteX93" fmla="*/ 328792 w 719532"/>
                <a:gd name="connsiteY93" fmla="*/ 238256 h 986380"/>
                <a:gd name="connsiteX94" fmla="*/ 347852 w 719532"/>
                <a:gd name="connsiteY94" fmla="*/ 243020 h 986380"/>
                <a:gd name="connsiteX95" fmla="*/ 381208 w 719532"/>
                <a:gd name="connsiteY95" fmla="*/ 247786 h 986380"/>
                <a:gd name="connsiteX96" fmla="*/ 395504 w 719532"/>
                <a:gd name="connsiteY96" fmla="*/ 243020 h 986380"/>
                <a:gd name="connsiteX97" fmla="*/ 405036 w 719532"/>
                <a:gd name="connsiteY97" fmla="*/ 243020 h 986380"/>
                <a:gd name="connsiteX98" fmla="*/ 424096 w 719532"/>
                <a:gd name="connsiteY98" fmla="*/ 247786 h 986380"/>
                <a:gd name="connsiteX99" fmla="*/ 471748 w 719532"/>
                <a:gd name="connsiteY99" fmla="*/ 243020 h 986380"/>
                <a:gd name="connsiteX100" fmla="*/ 514632 w 719532"/>
                <a:gd name="connsiteY100" fmla="*/ 243020 h 986380"/>
                <a:gd name="connsiteX101" fmla="*/ 528928 w 719532"/>
                <a:gd name="connsiteY101" fmla="*/ 247786 h 986380"/>
                <a:gd name="connsiteX102" fmla="*/ 543224 w 719532"/>
                <a:gd name="connsiteY102" fmla="*/ 247786 h 986380"/>
                <a:gd name="connsiteX103" fmla="*/ 586108 w 719532"/>
                <a:gd name="connsiteY103" fmla="*/ 247786 h 986380"/>
                <a:gd name="connsiteX104" fmla="*/ 628996 w 719532"/>
                <a:gd name="connsiteY104" fmla="*/ 243020 h 986380"/>
                <a:gd name="connsiteX105" fmla="*/ 652820 w 719532"/>
                <a:gd name="connsiteY105" fmla="*/ 252550 h 986380"/>
                <a:gd name="connsiteX106" fmla="*/ 681412 w 719532"/>
                <a:gd name="connsiteY106" fmla="*/ 271612 h 986380"/>
                <a:gd name="connsiteX107" fmla="*/ 695708 w 719532"/>
                <a:gd name="connsiteY107" fmla="*/ 285906 h 986380"/>
                <a:gd name="connsiteX108" fmla="*/ 700472 w 719532"/>
                <a:gd name="connsiteY108" fmla="*/ 290672 h 986380"/>
                <a:gd name="connsiteX109" fmla="*/ 695708 w 719532"/>
                <a:gd name="connsiteY109" fmla="*/ 295436 h 986380"/>
                <a:gd name="connsiteX110" fmla="*/ 690944 w 719532"/>
                <a:gd name="connsiteY110" fmla="*/ 300202 h 986380"/>
                <a:gd name="connsiteX111" fmla="*/ 681412 w 719532"/>
                <a:gd name="connsiteY111" fmla="*/ 300202 h 986380"/>
                <a:gd name="connsiteX112" fmla="*/ 662352 w 719532"/>
                <a:gd name="connsiteY112" fmla="*/ 290672 h 986380"/>
                <a:gd name="connsiteX113" fmla="*/ 657588 w 719532"/>
                <a:gd name="connsiteY113" fmla="*/ 295436 h 986380"/>
                <a:gd name="connsiteX114" fmla="*/ 657588 w 719532"/>
                <a:gd name="connsiteY114" fmla="*/ 309732 h 986380"/>
                <a:gd name="connsiteX115" fmla="*/ 657588 w 719532"/>
                <a:gd name="connsiteY115" fmla="*/ 314498 h 986380"/>
                <a:gd name="connsiteX116" fmla="*/ 652820 w 719532"/>
                <a:gd name="connsiteY116" fmla="*/ 328792 h 986380"/>
                <a:gd name="connsiteX117" fmla="*/ 643292 w 719532"/>
                <a:gd name="connsiteY117" fmla="*/ 362148 h 986380"/>
                <a:gd name="connsiteX118" fmla="*/ 638524 w 719532"/>
                <a:gd name="connsiteY118" fmla="*/ 376444 h 986380"/>
                <a:gd name="connsiteX119" fmla="*/ 633760 w 719532"/>
                <a:gd name="connsiteY119" fmla="*/ 381210 h 986380"/>
                <a:gd name="connsiteX120" fmla="*/ 624232 w 719532"/>
                <a:gd name="connsiteY120" fmla="*/ 381210 h 986380"/>
                <a:gd name="connsiteX121" fmla="*/ 614700 w 719532"/>
                <a:gd name="connsiteY121" fmla="*/ 385974 h 986380"/>
                <a:gd name="connsiteX122" fmla="*/ 609936 w 719532"/>
                <a:gd name="connsiteY122" fmla="*/ 390740 h 986380"/>
                <a:gd name="connsiteX123" fmla="*/ 605168 w 719532"/>
                <a:gd name="connsiteY123" fmla="*/ 400270 h 986380"/>
                <a:gd name="connsiteX124" fmla="*/ 605168 w 719532"/>
                <a:gd name="connsiteY124" fmla="*/ 409800 h 986380"/>
                <a:gd name="connsiteX125" fmla="*/ 600404 w 719532"/>
                <a:gd name="connsiteY125" fmla="*/ 414564 h 986380"/>
                <a:gd name="connsiteX126" fmla="*/ 586108 w 719532"/>
                <a:gd name="connsiteY126" fmla="*/ 409800 h 986380"/>
                <a:gd name="connsiteX127" fmla="*/ 581344 w 719532"/>
                <a:gd name="connsiteY127" fmla="*/ 409800 h 986380"/>
                <a:gd name="connsiteX128" fmla="*/ 571816 w 719532"/>
                <a:gd name="connsiteY128" fmla="*/ 414564 h 986380"/>
                <a:gd name="connsiteX129" fmla="*/ 562284 w 719532"/>
                <a:gd name="connsiteY129" fmla="*/ 419330 h 986380"/>
                <a:gd name="connsiteX130" fmla="*/ 557520 w 719532"/>
                <a:gd name="connsiteY130" fmla="*/ 428860 h 986380"/>
                <a:gd name="connsiteX131" fmla="*/ 547988 w 719532"/>
                <a:gd name="connsiteY131" fmla="*/ 428860 h 986380"/>
                <a:gd name="connsiteX132" fmla="*/ 528928 w 719532"/>
                <a:gd name="connsiteY132" fmla="*/ 428860 h 986380"/>
                <a:gd name="connsiteX133" fmla="*/ 524164 w 719532"/>
                <a:gd name="connsiteY133" fmla="*/ 428860 h 986380"/>
                <a:gd name="connsiteX134" fmla="*/ 519396 w 719532"/>
                <a:gd name="connsiteY134" fmla="*/ 433626 h 986380"/>
                <a:gd name="connsiteX135" fmla="*/ 519396 w 719532"/>
                <a:gd name="connsiteY135" fmla="*/ 443156 h 986380"/>
                <a:gd name="connsiteX136" fmla="*/ 500336 w 719532"/>
                <a:gd name="connsiteY136" fmla="*/ 457452 h 986380"/>
                <a:gd name="connsiteX137" fmla="*/ 495572 w 719532"/>
                <a:gd name="connsiteY137" fmla="*/ 486042 h 986380"/>
                <a:gd name="connsiteX138" fmla="*/ 490808 w 719532"/>
                <a:gd name="connsiteY138" fmla="*/ 505102 h 986380"/>
                <a:gd name="connsiteX139" fmla="*/ 490808 w 719532"/>
                <a:gd name="connsiteY139" fmla="*/ 519398 h 986380"/>
                <a:gd name="connsiteX140" fmla="*/ 505104 w 719532"/>
                <a:gd name="connsiteY140" fmla="*/ 552754 h 986380"/>
                <a:gd name="connsiteX141" fmla="*/ 514632 w 719532"/>
                <a:gd name="connsiteY141" fmla="*/ 600404 h 986380"/>
                <a:gd name="connsiteX142" fmla="*/ 519396 w 719532"/>
                <a:gd name="connsiteY142" fmla="*/ 600404 h 986380"/>
                <a:gd name="connsiteX143" fmla="*/ 524164 w 719532"/>
                <a:gd name="connsiteY143" fmla="*/ 605170 h 986380"/>
                <a:gd name="connsiteX144" fmla="*/ 524164 w 719532"/>
                <a:gd name="connsiteY144" fmla="*/ 595640 h 986380"/>
                <a:gd name="connsiteX145" fmla="*/ 524164 w 719532"/>
                <a:gd name="connsiteY145" fmla="*/ 581344 h 986380"/>
                <a:gd name="connsiteX146" fmla="*/ 528928 w 719532"/>
                <a:gd name="connsiteY146" fmla="*/ 581344 h 986380"/>
                <a:gd name="connsiteX147" fmla="*/ 533692 w 719532"/>
                <a:gd name="connsiteY147" fmla="*/ 581344 h 986380"/>
                <a:gd name="connsiteX148" fmla="*/ 538460 w 719532"/>
                <a:gd name="connsiteY148" fmla="*/ 590874 h 986380"/>
                <a:gd name="connsiteX149" fmla="*/ 547988 w 719532"/>
                <a:gd name="connsiteY149" fmla="*/ 609936 h 986380"/>
                <a:gd name="connsiteX150" fmla="*/ 552752 w 719532"/>
                <a:gd name="connsiteY150" fmla="*/ 619466 h 986380"/>
                <a:gd name="connsiteX151" fmla="*/ 562284 w 719532"/>
                <a:gd name="connsiteY151" fmla="*/ 619466 h 986380"/>
                <a:gd name="connsiteX152" fmla="*/ 576580 w 719532"/>
                <a:gd name="connsiteY152" fmla="*/ 614700 h 986380"/>
                <a:gd name="connsiteX153" fmla="*/ 581344 w 719532"/>
                <a:gd name="connsiteY153" fmla="*/ 605170 h 986380"/>
                <a:gd name="connsiteX154" fmla="*/ 586108 w 719532"/>
                <a:gd name="connsiteY154" fmla="*/ 595640 h 986380"/>
                <a:gd name="connsiteX155" fmla="*/ 586108 w 719532"/>
                <a:gd name="connsiteY155" fmla="*/ 581344 h 986380"/>
                <a:gd name="connsiteX156" fmla="*/ 586108 w 719532"/>
                <a:gd name="connsiteY156" fmla="*/ 567048 h 986380"/>
                <a:gd name="connsiteX157" fmla="*/ 590876 w 719532"/>
                <a:gd name="connsiteY157" fmla="*/ 552754 h 986380"/>
                <a:gd name="connsiteX158" fmla="*/ 609936 w 719532"/>
                <a:gd name="connsiteY158" fmla="*/ 533694 h 986380"/>
                <a:gd name="connsiteX159" fmla="*/ 614700 w 719532"/>
                <a:gd name="connsiteY159" fmla="*/ 528928 h 986380"/>
                <a:gd name="connsiteX160" fmla="*/ 609936 w 719532"/>
                <a:gd name="connsiteY160" fmla="*/ 514632 h 986380"/>
                <a:gd name="connsiteX161" fmla="*/ 609936 w 719532"/>
                <a:gd name="connsiteY161" fmla="*/ 500338 h 986380"/>
                <a:gd name="connsiteX162" fmla="*/ 619464 w 719532"/>
                <a:gd name="connsiteY162" fmla="*/ 500338 h 986380"/>
                <a:gd name="connsiteX163" fmla="*/ 628996 w 719532"/>
                <a:gd name="connsiteY163" fmla="*/ 500338 h 986380"/>
                <a:gd name="connsiteX164" fmla="*/ 643292 w 719532"/>
                <a:gd name="connsiteY164" fmla="*/ 495572 h 986380"/>
                <a:gd name="connsiteX165" fmla="*/ 648056 w 719532"/>
                <a:gd name="connsiteY165" fmla="*/ 495572 h 986380"/>
                <a:gd name="connsiteX166" fmla="*/ 652820 w 719532"/>
                <a:gd name="connsiteY166" fmla="*/ 500338 h 986380"/>
                <a:gd name="connsiteX167" fmla="*/ 662352 w 719532"/>
                <a:gd name="connsiteY167" fmla="*/ 500338 h 986380"/>
                <a:gd name="connsiteX168" fmla="*/ 667116 w 719532"/>
                <a:gd name="connsiteY168" fmla="*/ 533694 h 986380"/>
                <a:gd name="connsiteX169" fmla="*/ 676648 w 719532"/>
                <a:gd name="connsiteY169" fmla="*/ 562284 h 986380"/>
                <a:gd name="connsiteX170" fmla="*/ 676648 w 719532"/>
                <a:gd name="connsiteY170" fmla="*/ 576580 h 986380"/>
                <a:gd name="connsiteX171" fmla="*/ 676648 w 719532"/>
                <a:gd name="connsiteY171" fmla="*/ 605170 h 986380"/>
                <a:gd name="connsiteX172" fmla="*/ 681412 w 719532"/>
                <a:gd name="connsiteY172" fmla="*/ 628996 h 986380"/>
                <a:gd name="connsiteX173" fmla="*/ 686176 w 719532"/>
                <a:gd name="connsiteY173" fmla="*/ 633760 h 986380"/>
                <a:gd name="connsiteX174" fmla="*/ 690944 w 719532"/>
                <a:gd name="connsiteY174" fmla="*/ 648056 h 986380"/>
                <a:gd name="connsiteX175" fmla="*/ 695708 w 719532"/>
                <a:gd name="connsiteY175" fmla="*/ 662352 h 986380"/>
                <a:gd name="connsiteX176" fmla="*/ 700472 w 719532"/>
                <a:gd name="connsiteY176" fmla="*/ 671882 h 986380"/>
                <a:gd name="connsiteX177" fmla="*/ 700472 w 719532"/>
                <a:gd name="connsiteY177" fmla="*/ 695708 h 986380"/>
                <a:gd name="connsiteX178" fmla="*/ 705236 w 719532"/>
                <a:gd name="connsiteY178" fmla="*/ 714768 h 986380"/>
                <a:gd name="connsiteX179" fmla="*/ 710004 w 719532"/>
                <a:gd name="connsiteY179" fmla="*/ 776714 h 986380"/>
                <a:gd name="connsiteX180" fmla="*/ 714768 w 719532"/>
                <a:gd name="connsiteY180" fmla="*/ 791010 h 986380"/>
                <a:gd name="connsiteX181" fmla="*/ 714768 w 719532"/>
                <a:gd name="connsiteY181" fmla="*/ 795776 h 986380"/>
                <a:gd name="connsiteX182" fmla="*/ 714768 w 719532"/>
                <a:gd name="connsiteY182" fmla="*/ 852956 h 986380"/>
                <a:gd name="connsiteX183" fmla="*/ 714768 w 719532"/>
                <a:gd name="connsiteY183" fmla="*/ 876782 h 986380"/>
                <a:gd name="connsiteX184" fmla="*/ 719532 w 719532"/>
                <a:gd name="connsiteY184" fmla="*/ 895842 h 986380"/>
                <a:gd name="connsiteX185" fmla="*/ 719532 w 719532"/>
                <a:gd name="connsiteY185" fmla="*/ 900608 h 986380"/>
                <a:gd name="connsiteX186" fmla="*/ 714768 w 719532"/>
                <a:gd name="connsiteY186" fmla="*/ 910138 h 986380"/>
                <a:gd name="connsiteX187" fmla="*/ 710004 w 719532"/>
                <a:gd name="connsiteY187" fmla="*/ 910138 h 986380"/>
                <a:gd name="connsiteX188" fmla="*/ 705236 w 719532"/>
                <a:gd name="connsiteY188" fmla="*/ 900608 h 986380"/>
                <a:gd name="connsiteX189" fmla="*/ 695708 w 719532"/>
                <a:gd name="connsiteY189" fmla="*/ 891078 h 986380"/>
                <a:gd name="connsiteX190" fmla="*/ 681412 w 719532"/>
                <a:gd name="connsiteY190" fmla="*/ 881548 h 986380"/>
                <a:gd name="connsiteX191" fmla="*/ 671880 w 719532"/>
                <a:gd name="connsiteY191" fmla="*/ 876782 h 986380"/>
                <a:gd name="connsiteX192" fmla="*/ 667116 w 719532"/>
                <a:gd name="connsiteY192" fmla="*/ 881548 h 986380"/>
                <a:gd name="connsiteX193" fmla="*/ 652820 w 719532"/>
                <a:gd name="connsiteY193" fmla="*/ 891078 h 986380"/>
                <a:gd name="connsiteX194" fmla="*/ 652820 w 719532"/>
                <a:gd name="connsiteY194" fmla="*/ 905372 h 986380"/>
                <a:gd name="connsiteX195" fmla="*/ 652820 w 719532"/>
                <a:gd name="connsiteY195" fmla="*/ 919668 h 986380"/>
                <a:gd name="connsiteX196" fmla="*/ 657588 w 719532"/>
                <a:gd name="connsiteY196" fmla="*/ 933964 h 986380"/>
                <a:gd name="connsiteX197" fmla="*/ 662352 w 719532"/>
                <a:gd name="connsiteY197" fmla="*/ 943494 h 986380"/>
                <a:gd name="connsiteX198" fmla="*/ 667116 w 719532"/>
                <a:gd name="connsiteY198" fmla="*/ 953024 h 986380"/>
                <a:gd name="connsiteX199" fmla="*/ 667116 w 719532"/>
                <a:gd name="connsiteY199" fmla="*/ 962554 h 986380"/>
                <a:gd name="connsiteX200" fmla="*/ 671880 w 719532"/>
                <a:gd name="connsiteY200" fmla="*/ 976850 h 986380"/>
                <a:gd name="connsiteX201" fmla="*/ 671880 w 719532"/>
                <a:gd name="connsiteY201" fmla="*/ 986380 h 986380"/>
                <a:gd name="connsiteX202" fmla="*/ 662352 w 719532"/>
                <a:gd name="connsiteY202" fmla="*/ 972084 h 986380"/>
                <a:gd name="connsiteX203" fmla="*/ 652820 w 719532"/>
                <a:gd name="connsiteY203" fmla="*/ 953024 h 986380"/>
                <a:gd name="connsiteX204" fmla="*/ 633760 w 719532"/>
                <a:gd name="connsiteY204" fmla="*/ 924434 h 986380"/>
                <a:gd name="connsiteX205" fmla="*/ 624232 w 719532"/>
                <a:gd name="connsiteY205" fmla="*/ 867252 h 986380"/>
                <a:gd name="connsiteX206" fmla="*/ 624232 w 719532"/>
                <a:gd name="connsiteY206" fmla="*/ 838662 h 986380"/>
                <a:gd name="connsiteX207" fmla="*/ 609936 w 719532"/>
                <a:gd name="connsiteY207" fmla="*/ 805306 h 986380"/>
                <a:gd name="connsiteX208" fmla="*/ 600404 w 719532"/>
                <a:gd name="connsiteY208" fmla="*/ 757654 h 986380"/>
                <a:gd name="connsiteX209" fmla="*/ 595640 w 719532"/>
                <a:gd name="connsiteY209" fmla="*/ 748124 h 986380"/>
                <a:gd name="connsiteX210" fmla="*/ 600404 w 719532"/>
                <a:gd name="connsiteY210" fmla="*/ 733828 h 986380"/>
                <a:gd name="connsiteX211" fmla="*/ 600404 w 719532"/>
                <a:gd name="connsiteY211" fmla="*/ 729064 h 986380"/>
                <a:gd name="connsiteX212" fmla="*/ 590876 w 719532"/>
                <a:gd name="connsiteY212" fmla="*/ 733828 h 986380"/>
                <a:gd name="connsiteX213" fmla="*/ 581344 w 719532"/>
                <a:gd name="connsiteY213" fmla="*/ 714768 h 986380"/>
                <a:gd name="connsiteX214" fmla="*/ 576580 w 719532"/>
                <a:gd name="connsiteY214" fmla="*/ 700472 h 986380"/>
                <a:gd name="connsiteX215" fmla="*/ 547988 w 719532"/>
                <a:gd name="connsiteY215" fmla="*/ 667116 h 986380"/>
                <a:gd name="connsiteX216" fmla="*/ 543224 w 719532"/>
                <a:gd name="connsiteY216" fmla="*/ 652822 h 986380"/>
                <a:gd name="connsiteX217" fmla="*/ 543224 w 719532"/>
                <a:gd name="connsiteY217" fmla="*/ 633760 h 986380"/>
                <a:gd name="connsiteX218" fmla="*/ 528928 w 719532"/>
                <a:gd name="connsiteY218" fmla="*/ 652822 h 986380"/>
                <a:gd name="connsiteX219" fmla="*/ 514632 w 719532"/>
                <a:gd name="connsiteY219" fmla="*/ 662352 h 986380"/>
                <a:gd name="connsiteX220" fmla="*/ 500336 w 719532"/>
                <a:gd name="connsiteY220" fmla="*/ 676646 h 986380"/>
                <a:gd name="connsiteX221" fmla="*/ 490808 w 719532"/>
                <a:gd name="connsiteY221" fmla="*/ 681412 h 986380"/>
                <a:gd name="connsiteX222" fmla="*/ 457452 w 719532"/>
                <a:gd name="connsiteY222" fmla="*/ 686178 h 986380"/>
                <a:gd name="connsiteX223" fmla="*/ 438392 w 719532"/>
                <a:gd name="connsiteY223" fmla="*/ 662352 h 986380"/>
                <a:gd name="connsiteX224" fmla="*/ 414564 w 719532"/>
                <a:gd name="connsiteY224" fmla="*/ 609936 h 986380"/>
                <a:gd name="connsiteX225" fmla="*/ 409800 w 719532"/>
                <a:gd name="connsiteY225" fmla="*/ 600404 h 986380"/>
                <a:gd name="connsiteX226" fmla="*/ 414564 w 719532"/>
                <a:gd name="connsiteY226" fmla="*/ 567048 h 986380"/>
                <a:gd name="connsiteX227" fmla="*/ 405036 w 719532"/>
                <a:gd name="connsiteY227" fmla="*/ 538458 h 986380"/>
                <a:gd name="connsiteX228" fmla="*/ 405036 w 719532"/>
                <a:gd name="connsiteY228" fmla="*/ 524162 h 986380"/>
                <a:gd name="connsiteX229" fmla="*/ 405036 w 719532"/>
                <a:gd name="connsiteY229" fmla="*/ 514632 h 986380"/>
                <a:gd name="connsiteX230" fmla="*/ 400268 w 719532"/>
                <a:gd name="connsiteY230" fmla="*/ 519398 h 986380"/>
                <a:gd name="connsiteX231" fmla="*/ 400268 w 719532"/>
                <a:gd name="connsiteY231" fmla="*/ 524162 h 986380"/>
                <a:gd name="connsiteX232" fmla="*/ 400268 w 719532"/>
                <a:gd name="connsiteY232" fmla="*/ 533694 h 986380"/>
                <a:gd name="connsiteX233" fmla="*/ 395504 w 719532"/>
                <a:gd name="connsiteY233" fmla="*/ 543224 h 986380"/>
                <a:gd name="connsiteX234" fmla="*/ 376444 w 719532"/>
                <a:gd name="connsiteY234" fmla="*/ 543224 h 986380"/>
                <a:gd name="connsiteX235" fmla="*/ 352620 w 719532"/>
                <a:gd name="connsiteY235" fmla="*/ 538458 h 986380"/>
                <a:gd name="connsiteX236" fmla="*/ 371680 w 719532"/>
                <a:gd name="connsiteY236" fmla="*/ 552754 h 986380"/>
                <a:gd name="connsiteX237" fmla="*/ 390740 w 719532"/>
                <a:gd name="connsiteY237" fmla="*/ 557518 h 986380"/>
                <a:gd name="connsiteX238" fmla="*/ 400268 w 719532"/>
                <a:gd name="connsiteY238" fmla="*/ 571814 h 986380"/>
                <a:gd name="connsiteX239" fmla="*/ 405036 w 719532"/>
                <a:gd name="connsiteY239" fmla="*/ 581344 h 986380"/>
                <a:gd name="connsiteX240" fmla="*/ 405036 w 719532"/>
                <a:gd name="connsiteY240" fmla="*/ 595640 h 986380"/>
                <a:gd name="connsiteX241" fmla="*/ 390740 w 719532"/>
                <a:gd name="connsiteY241" fmla="*/ 600404 h 986380"/>
                <a:gd name="connsiteX242" fmla="*/ 381208 w 719532"/>
                <a:gd name="connsiteY242" fmla="*/ 605170 h 986380"/>
                <a:gd name="connsiteX243" fmla="*/ 385976 w 719532"/>
                <a:gd name="connsiteY243" fmla="*/ 619466 h 986380"/>
                <a:gd name="connsiteX244" fmla="*/ 395504 w 719532"/>
                <a:gd name="connsiteY244" fmla="*/ 633760 h 986380"/>
                <a:gd name="connsiteX245" fmla="*/ 381208 w 719532"/>
                <a:gd name="connsiteY245" fmla="*/ 633760 h 986380"/>
                <a:gd name="connsiteX246" fmla="*/ 376444 w 719532"/>
                <a:gd name="connsiteY246" fmla="*/ 643290 h 986380"/>
                <a:gd name="connsiteX247" fmla="*/ 376444 w 719532"/>
                <a:gd name="connsiteY247" fmla="*/ 657586 h 986380"/>
                <a:gd name="connsiteX248" fmla="*/ 385976 w 719532"/>
                <a:gd name="connsiteY248" fmla="*/ 671882 h 986380"/>
                <a:gd name="connsiteX249" fmla="*/ 385976 w 719532"/>
                <a:gd name="connsiteY249" fmla="*/ 676646 h 986380"/>
                <a:gd name="connsiteX250" fmla="*/ 385976 w 719532"/>
                <a:gd name="connsiteY250" fmla="*/ 686178 h 986380"/>
                <a:gd name="connsiteX251" fmla="*/ 395504 w 719532"/>
                <a:gd name="connsiteY251" fmla="*/ 695708 h 986380"/>
                <a:gd name="connsiteX252" fmla="*/ 405036 w 719532"/>
                <a:gd name="connsiteY252" fmla="*/ 710002 h 986380"/>
                <a:gd name="connsiteX253" fmla="*/ 405036 w 719532"/>
                <a:gd name="connsiteY253" fmla="*/ 724298 h 986380"/>
                <a:gd name="connsiteX254" fmla="*/ 400268 w 719532"/>
                <a:gd name="connsiteY254" fmla="*/ 743358 h 986380"/>
                <a:gd name="connsiteX255" fmla="*/ 395504 w 719532"/>
                <a:gd name="connsiteY255" fmla="*/ 748124 h 986380"/>
                <a:gd name="connsiteX256" fmla="*/ 385976 w 719532"/>
                <a:gd name="connsiteY256" fmla="*/ 752888 h 986380"/>
                <a:gd name="connsiteX257" fmla="*/ 366912 w 719532"/>
                <a:gd name="connsiteY257" fmla="*/ 776714 h 986380"/>
                <a:gd name="connsiteX258" fmla="*/ 357384 w 719532"/>
                <a:gd name="connsiteY258" fmla="*/ 800540 h 986380"/>
                <a:gd name="connsiteX259" fmla="*/ 347852 w 719532"/>
                <a:gd name="connsiteY259" fmla="*/ 814836 h 986380"/>
                <a:gd name="connsiteX260" fmla="*/ 333556 w 719532"/>
                <a:gd name="connsiteY260" fmla="*/ 814836 h 986380"/>
                <a:gd name="connsiteX261" fmla="*/ 328792 w 719532"/>
                <a:gd name="connsiteY261" fmla="*/ 810070 h 986380"/>
                <a:gd name="connsiteX262" fmla="*/ 319264 w 719532"/>
                <a:gd name="connsiteY262" fmla="*/ 805306 h 986380"/>
                <a:gd name="connsiteX263" fmla="*/ 319264 w 719532"/>
                <a:gd name="connsiteY263" fmla="*/ 791010 h 986380"/>
                <a:gd name="connsiteX264" fmla="*/ 324028 w 719532"/>
                <a:gd name="connsiteY264" fmla="*/ 781480 h 986380"/>
                <a:gd name="connsiteX265" fmla="*/ 343088 w 719532"/>
                <a:gd name="connsiteY265" fmla="*/ 757654 h 986380"/>
                <a:gd name="connsiteX266" fmla="*/ 333556 w 719532"/>
                <a:gd name="connsiteY266" fmla="*/ 762420 h 986380"/>
                <a:gd name="connsiteX267" fmla="*/ 319264 w 719532"/>
                <a:gd name="connsiteY267" fmla="*/ 767184 h 986380"/>
                <a:gd name="connsiteX268" fmla="*/ 304968 w 719532"/>
                <a:gd name="connsiteY268" fmla="*/ 781480 h 986380"/>
                <a:gd name="connsiteX269" fmla="*/ 295436 w 719532"/>
                <a:gd name="connsiteY269" fmla="*/ 767184 h 986380"/>
                <a:gd name="connsiteX270" fmla="*/ 295436 w 719532"/>
                <a:gd name="connsiteY270" fmla="*/ 752888 h 986380"/>
                <a:gd name="connsiteX271" fmla="*/ 295436 w 719532"/>
                <a:gd name="connsiteY271" fmla="*/ 733828 h 986380"/>
                <a:gd name="connsiteX272" fmla="*/ 309732 w 719532"/>
                <a:gd name="connsiteY272" fmla="*/ 705238 h 986380"/>
                <a:gd name="connsiteX273" fmla="*/ 290672 w 719532"/>
                <a:gd name="connsiteY273" fmla="*/ 719532 h 986380"/>
                <a:gd name="connsiteX274" fmla="*/ 285908 w 719532"/>
                <a:gd name="connsiteY274" fmla="*/ 738594 h 986380"/>
                <a:gd name="connsiteX275" fmla="*/ 290672 w 719532"/>
                <a:gd name="connsiteY275" fmla="*/ 757654 h 986380"/>
                <a:gd name="connsiteX276" fmla="*/ 285908 w 719532"/>
                <a:gd name="connsiteY276" fmla="*/ 771950 h 986380"/>
                <a:gd name="connsiteX277" fmla="*/ 281140 w 719532"/>
                <a:gd name="connsiteY277" fmla="*/ 786244 h 986380"/>
                <a:gd name="connsiteX278" fmla="*/ 271612 w 719532"/>
                <a:gd name="connsiteY278" fmla="*/ 800540 h 986380"/>
                <a:gd name="connsiteX279" fmla="*/ 257316 w 719532"/>
                <a:gd name="connsiteY279" fmla="*/ 805306 h 986380"/>
                <a:gd name="connsiteX280" fmla="*/ 252552 w 719532"/>
                <a:gd name="connsiteY280" fmla="*/ 814836 h 986380"/>
                <a:gd name="connsiteX281" fmla="*/ 243020 w 719532"/>
                <a:gd name="connsiteY281" fmla="*/ 824366 h 986380"/>
                <a:gd name="connsiteX282" fmla="*/ 243020 w 719532"/>
                <a:gd name="connsiteY282" fmla="*/ 810070 h 986380"/>
                <a:gd name="connsiteX283" fmla="*/ 238256 w 719532"/>
                <a:gd name="connsiteY283" fmla="*/ 786244 h 986380"/>
                <a:gd name="connsiteX284" fmla="*/ 228724 w 719532"/>
                <a:gd name="connsiteY284" fmla="*/ 738594 h 986380"/>
                <a:gd name="connsiteX285" fmla="*/ 228724 w 719532"/>
                <a:gd name="connsiteY285" fmla="*/ 748124 h 986380"/>
                <a:gd name="connsiteX286" fmla="*/ 233492 w 719532"/>
                <a:gd name="connsiteY286" fmla="*/ 781480 h 986380"/>
                <a:gd name="connsiteX287" fmla="*/ 233492 w 719532"/>
                <a:gd name="connsiteY287" fmla="*/ 800540 h 986380"/>
                <a:gd name="connsiteX288" fmla="*/ 223960 w 719532"/>
                <a:gd name="connsiteY288" fmla="*/ 814836 h 986380"/>
                <a:gd name="connsiteX289" fmla="*/ 209664 w 719532"/>
                <a:gd name="connsiteY289" fmla="*/ 833896 h 986380"/>
                <a:gd name="connsiteX290" fmla="*/ 195368 w 719532"/>
                <a:gd name="connsiteY290" fmla="*/ 833896 h 986380"/>
                <a:gd name="connsiteX291" fmla="*/ 190604 w 719532"/>
                <a:gd name="connsiteY291" fmla="*/ 833896 h 986380"/>
                <a:gd name="connsiteX292" fmla="*/ 181072 w 719532"/>
                <a:gd name="connsiteY292" fmla="*/ 819600 h 986380"/>
                <a:gd name="connsiteX293" fmla="*/ 166780 w 719532"/>
                <a:gd name="connsiteY293" fmla="*/ 805306 h 986380"/>
                <a:gd name="connsiteX294" fmla="*/ 166780 w 719532"/>
                <a:gd name="connsiteY294" fmla="*/ 781480 h 986380"/>
                <a:gd name="connsiteX295" fmla="*/ 162012 w 719532"/>
                <a:gd name="connsiteY295" fmla="*/ 767184 h 986380"/>
                <a:gd name="connsiteX296" fmla="*/ 162012 w 719532"/>
                <a:gd name="connsiteY296" fmla="*/ 752888 h 986380"/>
                <a:gd name="connsiteX297" fmla="*/ 162012 w 719532"/>
                <a:gd name="connsiteY297" fmla="*/ 738594 h 986380"/>
                <a:gd name="connsiteX298" fmla="*/ 147716 w 719532"/>
                <a:gd name="connsiteY298" fmla="*/ 700472 h 986380"/>
                <a:gd name="connsiteX299" fmla="*/ 142952 w 719532"/>
                <a:gd name="connsiteY299" fmla="*/ 676646 h 986380"/>
                <a:gd name="connsiteX300" fmla="*/ 142952 w 719532"/>
                <a:gd name="connsiteY300" fmla="*/ 671882 h 986380"/>
                <a:gd name="connsiteX301" fmla="*/ 142952 w 719532"/>
                <a:gd name="connsiteY301" fmla="*/ 667116 h 986380"/>
                <a:gd name="connsiteX302" fmla="*/ 138188 w 719532"/>
                <a:gd name="connsiteY302" fmla="*/ 643290 h 986380"/>
                <a:gd name="connsiteX303" fmla="*/ 133424 w 719532"/>
                <a:gd name="connsiteY303" fmla="*/ 628996 h 986380"/>
                <a:gd name="connsiteX304" fmla="*/ 128656 w 719532"/>
                <a:gd name="connsiteY304" fmla="*/ 609936 h 986380"/>
                <a:gd name="connsiteX305" fmla="*/ 142952 w 719532"/>
                <a:gd name="connsiteY305" fmla="*/ 586110 h 986380"/>
                <a:gd name="connsiteX306" fmla="*/ 138188 w 719532"/>
                <a:gd name="connsiteY306" fmla="*/ 581344 h 986380"/>
                <a:gd name="connsiteX307" fmla="*/ 123892 w 719532"/>
                <a:gd name="connsiteY307" fmla="*/ 576580 h 986380"/>
                <a:gd name="connsiteX308" fmla="*/ 109596 w 719532"/>
                <a:gd name="connsiteY308" fmla="*/ 571814 h 986380"/>
                <a:gd name="connsiteX309" fmla="*/ 109596 w 719532"/>
                <a:gd name="connsiteY309" fmla="*/ 567048 h 986380"/>
                <a:gd name="connsiteX310" fmla="*/ 114364 w 719532"/>
                <a:gd name="connsiteY310" fmla="*/ 543224 h 986380"/>
                <a:gd name="connsiteX311" fmla="*/ 104832 w 719532"/>
                <a:gd name="connsiteY311" fmla="*/ 533694 h 986380"/>
                <a:gd name="connsiteX312" fmla="*/ 95300 w 719532"/>
                <a:gd name="connsiteY312" fmla="*/ 524162 h 986380"/>
                <a:gd name="connsiteX313" fmla="*/ 95300 w 719532"/>
                <a:gd name="connsiteY313" fmla="*/ 519398 h 986380"/>
                <a:gd name="connsiteX314" fmla="*/ 90536 w 719532"/>
                <a:gd name="connsiteY314" fmla="*/ 514632 h 986380"/>
                <a:gd name="connsiteX315" fmla="*/ 85772 w 719532"/>
                <a:gd name="connsiteY315" fmla="*/ 500338 h 986380"/>
                <a:gd name="connsiteX316" fmla="*/ 95300 w 719532"/>
                <a:gd name="connsiteY316" fmla="*/ 476512 h 986380"/>
                <a:gd name="connsiteX317" fmla="*/ 104832 w 719532"/>
                <a:gd name="connsiteY317" fmla="*/ 443156 h 986380"/>
                <a:gd name="connsiteX318" fmla="*/ 109596 w 719532"/>
                <a:gd name="connsiteY318" fmla="*/ 433626 h 986380"/>
                <a:gd name="connsiteX319" fmla="*/ 109596 w 719532"/>
                <a:gd name="connsiteY319" fmla="*/ 414564 h 986380"/>
                <a:gd name="connsiteX320" fmla="*/ 114364 w 719532"/>
                <a:gd name="connsiteY320" fmla="*/ 405034 h 986380"/>
                <a:gd name="connsiteX321" fmla="*/ 109596 w 719532"/>
                <a:gd name="connsiteY321" fmla="*/ 400270 h 986380"/>
                <a:gd name="connsiteX322" fmla="*/ 100068 w 719532"/>
                <a:gd name="connsiteY322" fmla="*/ 390740 h 986380"/>
                <a:gd name="connsiteX323" fmla="*/ 76240 w 719532"/>
                <a:gd name="connsiteY323" fmla="*/ 385974 h 986380"/>
                <a:gd name="connsiteX324" fmla="*/ 61944 w 719532"/>
                <a:gd name="connsiteY324" fmla="*/ 381210 h 986380"/>
                <a:gd name="connsiteX325" fmla="*/ 52416 w 719532"/>
                <a:gd name="connsiteY325" fmla="*/ 366914 h 986380"/>
                <a:gd name="connsiteX326" fmla="*/ 42884 w 719532"/>
                <a:gd name="connsiteY326" fmla="*/ 362148 h 986380"/>
                <a:gd name="connsiteX327" fmla="*/ 33356 w 719532"/>
                <a:gd name="connsiteY327" fmla="*/ 366914 h 986380"/>
                <a:gd name="connsiteX328" fmla="*/ 19060 w 719532"/>
                <a:gd name="connsiteY328" fmla="*/ 362148 h 986380"/>
                <a:gd name="connsiteX329" fmla="*/ 9528 w 719532"/>
                <a:gd name="connsiteY329" fmla="*/ 352618 h 986380"/>
                <a:gd name="connsiteX330" fmla="*/ 0 w 719532"/>
                <a:gd name="connsiteY330" fmla="*/ 338322 h 986380"/>
                <a:gd name="connsiteX331" fmla="*/ 4764 w 719532"/>
                <a:gd name="connsiteY331" fmla="*/ 333558 h 986380"/>
                <a:gd name="connsiteX332" fmla="*/ 4764 w 719532"/>
                <a:gd name="connsiteY332" fmla="*/ 324028 h 986380"/>
                <a:gd name="connsiteX333" fmla="*/ 19060 w 719532"/>
                <a:gd name="connsiteY333" fmla="*/ 290672 h 986380"/>
                <a:gd name="connsiteX334" fmla="*/ 28588 w 719532"/>
                <a:gd name="connsiteY334" fmla="*/ 285906 h 986380"/>
                <a:gd name="connsiteX335" fmla="*/ 42884 w 719532"/>
                <a:gd name="connsiteY335" fmla="*/ 295436 h 986380"/>
                <a:gd name="connsiteX336" fmla="*/ 47652 w 719532"/>
                <a:gd name="connsiteY336" fmla="*/ 295436 h 986380"/>
                <a:gd name="connsiteX337" fmla="*/ 57180 w 719532"/>
                <a:gd name="connsiteY337" fmla="*/ 281142 h 986380"/>
                <a:gd name="connsiteX338" fmla="*/ 66712 w 719532"/>
                <a:gd name="connsiteY338" fmla="*/ 243020 h 986380"/>
                <a:gd name="connsiteX339" fmla="*/ 85772 w 719532"/>
                <a:gd name="connsiteY339" fmla="*/ 243020 h 986380"/>
                <a:gd name="connsiteX340" fmla="*/ 104832 w 719532"/>
                <a:gd name="connsiteY340" fmla="*/ 243020 h 986380"/>
                <a:gd name="connsiteX341" fmla="*/ 114364 w 719532"/>
                <a:gd name="connsiteY341" fmla="*/ 243020 h 986380"/>
                <a:gd name="connsiteX342" fmla="*/ 123892 w 719532"/>
                <a:gd name="connsiteY342" fmla="*/ 243020 h 986380"/>
                <a:gd name="connsiteX343" fmla="*/ 138188 w 719532"/>
                <a:gd name="connsiteY343" fmla="*/ 238256 h 986380"/>
                <a:gd name="connsiteX344" fmla="*/ 142952 w 719532"/>
                <a:gd name="connsiteY344" fmla="*/ 233490 h 986380"/>
                <a:gd name="connsiteX345" fmla="*/ 147716 w 719532"/>
                <a:gd name="connsiteY345" fmla="*/ 228726 h 986380"/>
                <a:gd name="connsiteX346" fmla="*/ 142952 w 719532"/>
                <a:gd name="connsiteY346" fmla="*/ 223960 h 986380"/>
                <a:gd name="connsiteX347" fmla="*/ 133424 w 719532"/>
                <a:gd name="connsiteY347" fmla="*/ 214430 h 986380"/>
                <a:gd name="connsiteX348" fmla="*/ 123892 w 719532"/>
                <a:gd name="connsiteY348" fmla="*/ 209664 h 986380"/>
                <a:gd name="connsiteX349" fmla="*/ 123892 w 719532"/>
                <a:gd name="connsiteY349" fmla="*/ 195370 h 986380"/>
                <a:gd name="connsiteX350" fmla="*/ 119128 w 719532"/>
                <a:gd name="connsiteY350" fmla="*/ 190604 h 986380"/>
                <a:gd name="connsiteX351" fmla="*/ 90536 w 719532"/>
                <a:gd name="connsiteY351" fmla="*/ 190604 h 986380"/>
                <a:gd name="connsiteX352" fmla="*/ 76240 w 719532"/>
                <a:gd name="connsiteY352" fmla="*/ 181074 h 986380"/>
                <a:gd name="connsiteX353" fmla="*/ 66712 w 719532"/>
                <a:gd name="connsiteY353" fmla="*/ 176308 h 986380"/>
                <a:gd name="connsiteX354" fmla="*/ 57180 w 719532"/>
                <a:gd name="connsiteY354" fmla="*/ 152484 h 986380"/>
                <a:gd name="connsiteX355" fmla="*/ 38120 w 719532"/>
                <a:gd name="connsiteY355" fmla="*/ 138188 h 986380"/>
                <a:gd name="connsiteX356" fmla="*/ 19060 w 719532"/>
                <a:gd name="connsiteY356" fmla="*/ 133422 h 986380"/>
                <a:gd name="connsiteX357" fmla="*/ 14296 w 719532"/>
                <a:gd name="connsiteY357" fmla="*/ 128658 h 986380"/>
                <a:gd name="connsiteX358" fmla="*/ 9528 w 719532"/>
                <a:gd name="connsiteY358" fmla="*/ 119128 h 986380"/>
                <a:gd name="connsiteX359" fmla="*/ 14296 w 719532"/>
                <a:gd name="connsiteY359" fmla="*/ 109596 h 986380"/>
                <a:gd name="connsiteX360" fmla="*/ 19060 w 719532"/>
                <a:gd name="connsiteY360" fmla="*/ 95302 h 986380"/>
                <a:gd name="connsiteX361" fmla="*/ 23824 w 719532"/>
                <a:gd name="connsiteY361" fmla="*/ 85772 h 986380"/>
                <a:gd name="connsiteX362" fmla="*/ 33356 w 719532"/>
                <a:gd name="connsiteY362" fmla="*/ 71476 h 986380"/>
                <a:gd name="connsiteX363" fmla="*/ 47652 w 719532"/>
                <a:gd name="connsiteY363" fmla="*/ 57180 h 986380"/>
                <a:gd name="connsiteX364" fmla="*/ 57180 w 719532"/>
                <a:gd name="connsiteY364" fmla="*/ 47650 h 986380"/>
                <a:gd name="connsiteX365" fmla="*/ 66712 w 719532"/>
                <a:gd name="connsiteY365" fmla="*/ 38120 h 986380"/>
                <a:gd name="connsiteX366" fmla="*/ 66712 w 719532"/>
                <a:gd name="connsiteY366" fmla="*/ 33354 h 986380"/>
                <a:gd name="connsiteX367" fmla="*/ 66712 w 719532"/>
                <a:gd name="connsiteY367" fmla="*/ 23824 h 986380"/>
                <a:gd name="connsiteX368" fmla="*/ 57180 w 719532"/>
                <a:gd name="connsiteY368" fmla="*/ 19060 h 986380"/>
                <a:gd name="connsiteX369" fmla="*/ 52416 w 719532"/>
                <a:gd name="connsiteY369" fmla="*/ 14294 h 986380"/>
                <a:gd name="connsiteX370" fmla="*/ 57180 w 719532"/>
                <a:gd name="connsiteY370" fmla="*/ 4764 h 986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</a:cxnLst>
              <a:rect l="l" t="t" r="r" b="b"/>
              <a:pathLst>
                <a:path w="719532" h="986380">
                  <a:moveTo>
                    <a:pt x="600404" y="833896"/>
                  </a:moveTo>
                  <a:lnTo>
                    <a:pt x="609936" y="833896"/>
                  </a:lnTo>
                  <a:lnTo>
                    <a:pt x="614700" y="833896"/>
                  </a:lnTo>
                  <a:lnTo>
                    <a:pt x="614700" y="838662"/>
                  </a:lnTo>
                  <a:lnTo>
                    <a:pt x="614700" y="852956"/>
                  </a:lnTo>
                  <a:lnTo>
                    <a:pt x="614700" y="867252"/>
                  </a:lnTo>
                  <a:lnTo>
                    <a:pt x="605168" y="867252"/>
                  </a:lnTo>
                  <a:lnTo>
                    <a:pt x="600404" y="862486"/>
                  </a:lnTo>
                  <a:lnTo>
                    <a:pt x="605168" y="857722"/>
                  </a:lnTo>
                  <a:close/>
                  <a:moveTo>
                    <a:pt x="600404" y="795776"/>
                  </a:moveTo>
                  <a:lnTo>
                    <a:pt x="605168" y="805306"/>
                  </a:lnTo>
                  <a:lnTo>
                    <a:pt x="605168" y="814836"/>
                  </a:lnTo>
                  <a:lnTo>
                    <a:pt x="595640" y="829132"/>
                  </a:lnTo>
                  <a:lnTo>
                    <a:pt x="595640" y="814836"/>
                  </a:lnTo>
                  <a:lnTo>
                    <a:pt x="595640" y="805306"/>
                  </a:lnTo>
                  <a:close/>
                  <a:moveTo>
                    <a:pt x="476512" y="695708"/>
                  </a:moveTo>
                  <a:lnTo>
                    <a:pt x="490808" y="724298"/>
                  </a:lnTo>
                  <a:lnTo>
                    <a:pt x="495572" y="738594"/>
                  </a:lnTo>
                  <a:lnTo>
                    <a:pt x="490808" y="757654"/>
                  </a:lnTo>
                  <a:lnTo>
                    <a:pt x="471748" y="767184"/>
                  </a:lnTo>
                  <a:close/>
                  <a:moveTo>
                    <a:pt x="533692" y="681412"/>
                  </a:moveTo>
                  <a:lnTo>
                    <a:pt x="538460" y="681412"/>
                  </a:lnTo>
                  <a:lnTo>
                    <a:pt x="543224" y="686178"/>
                  </a:lnTo>
                  <a:lnTo>
                    <a:pt x="547988" y="700472"/>
                  </a:lnTo>
                  <a:lnTo>
                    <a:pt x="552752" y="714768"/>
                  </a:lnTo>
                  <a:lnTo>
                    <a:pt x="552752" y="719532"/>
                  </a:lnTo>
                  <a:lnTo>
                    <a:pt x="547988" y="724298"/>
                  </a:lnTo>
                  <a:lnTo>
                    <a:pt x="538460" y="719532"/>
                  </a:lnTo>
                  <a:lnTo>
                    <a:pt x="528928" y="705238"/>
                  </a:lnTo>
                  <a:close/>
                  <a:moveTo>
                    <a:pt x="405036" y="638526"/>
                  </a:moveTo>
                  <a:lnTo>
                    <a:pt x="414564" y="648056"/>
                  </a:lnTo>
                  <a:lnTo>
                    <a:pt x="419332" y="652822"/>
                  </a:lnTo>
                  <a:lnTo>
                    <a:pt x="419332" y="662352"/>
                  </a:lnTo>
                  <a:lnTo>
                    <a:pt x="424096" y="676648"/>
                  </a:lnTo>
                  <a:lnTo>
                    <a:pt x="447920" y="705238"/>
                  </a:lnTo>
                  <a:lnTo>
                    <a:pt x="447920" y="719534"/>
                  </a:lnTo>
                  <a:lnTo>
                    <a:pt x="438392" y="757654"/>
                  </a:lnTo>
                  <a:lnTo>
                    <a:pt x="433628" y="771950"/>
                  </a:lnTo>
                  <a:lnTo>
                    <a:pt x="405036" y="776716"/>
                  </a:lnTo>
                  <a:lnTo>
                    <a:pt x="390740" y="771950"/>
                  </a:lnTo>
                  <a:lnTo>
                    <a:pt x="414564" y="729064"/>
                  </a:lnTo>
                  <a:lnTo>
                    <a:pt x="414564" y="710004"/>
                  </a:lnTo>
                  <a:lnTo>
                    <a:pt x="409800" y="695708"/>
                  </a:lnTo>
                  <a:lnTo>
                    <a:pt x="400272" y="681412"/>
                  </a:lnTo>
                  <a:lnTo>
                    <a:pt x="395504" y="671882"/>
                  </a:lnTo>
                  <a:lnTo>
                    <a:pt x="390740" y="657586"/>
                  </a:lnTo>
                  <a:lnTo>
                    <a:pt x="390740" y="643292"/>
                  </a:lnTo>
                  <a:close/>
                  <a:moveTo>
                    <a:pt x="400272" y="609936"/>
                  </a:moveTo>
                  <a:lnTo>
                    <a:pt x="409800" y="624230"/>
                  </a:lnTo>
                  <a:lnTo>
                    <a:pt x="414568" y="628996"/>
                  </a:lnTo>
                  <a:lnTo>
                    <a:pt x="405036" y="624230"/>
                  </a:lnTo>
                  <a:lnTo>
                    <a:pt x="400272" y="619466"/>
                  </a:lnTo>
                  <a:lnTo>
                    <a:pt x="395504" y="614700"/>
                  </a:lnTo>
                  <a:close/>
                  <a:moveTo>
                    <a:pt x="61944" y="0"/>
                  </a:moveTo>
                  <a:lnTo>
                    <a:pt x="81008" y="9530"/>
                  </a:lnTo>
                  <a:lnTo>
                    <a:pt x="95300" y="23824"/>
                  </a:lnTo>
                  <a:lnTo>
                    <a:pt x="104832" y="38120"/>
                  </a:lnTo>
                  <a:lnTo>
                    <a:pt x="104832" y="52416"/>
                  </a:lnTo>
                  <a:lnTo>
                    <a:pt x="109596" y="52416"/>
                  </a:lnTo>
                  <a:lnTo>
                    <a:pt x="119128" y="52416"/>
                  </a:lnTo>
                  <a:lnTo>
                    <a:pt x="128656" y="57180"/>
                  </a:lnTo>
                  <a:lnTo>
                    <a:pt x="138188" y="57180"/>
                  </a:lnTo>
                  <a:lnTo>
                    <a:pt x="142952" y="57180"/>
                  </a:lnTo>
                  <a:lnTo>
                    <a:pt x="147716" y="57180"/>
                  </a:lnTo>
                  <a:lnTo>
                    <a:pt x="152484" y="52416"/>
                  </a:lnTo>
                  <a:lnTo>
                    <a:pt x="147716" y="42886"/>
                  </a:lnTo>
                  <a:lnTo>
                    <a:pt x="142952" y="33354"/>
                  </a:lnTo>
                  <a:lnTo>
                    <a:pt x="147716" y="28590"/>
                  </a:lnTo>
                  <a:lnTo>
                    <a:pt x="152484" y="28590"/>
                  </a:lnTo>
                  <a:lnTo>
                    <a:pt x="157248" y="28590"/>
                  </a:lnTo>
                  <a:lnTo>
                    <a:pt x="166780" y="33354"/>
                  </a:lnTo>
                  <a:lnTo>
                    <a:pt x="171544" y="47650"/>
                  </a:lnTo>
                  <a:lnTo>
                    <a:pt x="171544" y="66710"/>
                  </a:lnTo>
                  <a:lnTo>
                    <a:pt x="181072" y="81006"/>
                  </a:lnTo>
                  <a:lnTo>
                    <a:pt x="200136" y="95302"/>
                  </a:lnTo>
                  <a:lnTo>
                    <a:pt x="214428" y="100066"/>
                  </a:lnTo>
                  <a:lnTo>
                    <a:pt x="228724" y="104832"/>
                  </a:lnTo>
                  <a:lnTo>
                    <a:pt x="238256" y="100066"/>
                  </a:lnTo>
                  <a:lnTo>
                    <a:pt x="247784" y="90536"/>
                  </a:lnTo>
                  <a:lnTo>
                    <a:pt x="243020" y="76242"/>
                  </a:lnTo>
                  <a:lnTo>
                    <a:pt x="247784" y="66710"/>
                  </a:lnTo>
                  <a:lnTo>
                    <a:pt x="252552" y="61946"/>
                  </a:lnTo>
                  <a:lnTo>
                    <a:pt x="257316" y="61946"/>
                  </a:lnTo>
                  <a:lnTo>
                    <a:pt x="266848" y="71476"/>
                  </a:lnTo>
                  <a:lnTo>
                    <a:pt x="281140" y="109596"/>
                  </a:lnTo>
                  <a:lnTo>
                    <a:pt x="281140" y="128658"/>
                  </a:lnTo>
                  <a:lnTo>
                    <a:pt x="281140" y="176308"/>
                  </a:lnTo>
                  <a:lnTo>
                    <a:pt x="276376" y="209664"/>
                  </a:lnTo>
                  <a:lnTo>
                    <a:pt x="281140" y="214430"/>
                  </a:lnTo>
                  <a:lnTo>
                    <a:pt x="281140" y="219194"/>
                  </a:lnTo>
                  <a:lnTo>
                    <a:pt x="285908" y="223960"/>
                  </a:lnTo>
                  <a:lnTo>
                    <a:pt x="290672" y="223960"/>
                  </a:lnTo>
                  <a:lnTo>
                    <a:pt x="309732" y="228726"/>
                  </a:lnTo>
                  <a:lnTo>
                    <a:pt x="328792" y="238256"/>
                  </a:lnTo>
                  <a:lnTo>
                    <a:pt x="347852" y="243020"/>
                  </a:lnTo>
                  <a:lnTo>
                    <a:pt x="381208" y="247786"/>
                  </a:lnTo>
                  <a:lnTo>
                    <a:pt x="395504" y="243020"/>
                  </a:lnTo>
                  <a:lnTo>
                    <a:pt x="405036" y="243020"/>
                  </a:lnTo>
                  <a:lnTo>
                    <a:pt x="424096" y="247786"/>
                  </a:lnTo>
                  <a:lnTo>
                    <a:pt x="471748" y="243020"/>
                  </a:lnTo>
                  <a:lnTo>
                    <a:pt x="514632" y="243020"/>
                  </a:lnTo>
                  <a:lnTo>
                    <a:pt x="528928" y="247786"/>
                  </a:lnTo>
                  <a:lnTo>
                    <a:pt x="543224" y="247786"/>
                  </a:lnTo>
                  <a:lnTo>
                    <a:pt x="586108" y="247786"/>
                  </a:lnTo>
                  <a:lnTo>
                    <a:pt x="628996" y="243020"/>
                  </a:lnTo>
                  <a:lnTo>
                    <a:pt x="652820" y="252550"/>
                  </a:lnTo>
                  <a:lnTo>
                    <a:pt x="681412" y="271612"/>
                  </a:lnTo>
                  <a:lnTo>
                    <a:pt x="695708" y="285906"/>
                  </a:lnTo>
                  <a:lnTo>
                    <a:pt x="700472" y="290672"/>
                  </a:lnTo>
                  <a:lnTo>
                    <a:pt x="695708" y="295436"/>
                  </a:lnTo>
                  <a:lnTo>
                    <a:pt x="690944" y="300202"/>
                  </a:lnTo>
                  <a:lnTo>
                    <a:pt x="681412" y="300202"/>
                  </a:lnTo>
                  <a:lnTo>
                    <a:pt x="662352" y="290672"/>
                  </a:lnTo>
                  <a:lnTo>
                    <a:pt x="657588" y="295436"/>
                  </a:lnTo>
                  <a:lnTo>
                    <a:pt x="657588" y="309732"/>
                  </a:lnTo>
                  <a:lnTo>
                    <a:pt x="657588" y="314498"/>
                  </a:lnTo>
                  <a:lnTo>
                    <a:pt x="652820" y="328792"/>
                  </a:lnTo>
                  <a:lnTo>
                    <a:pt x="643292" y="362148"/>
                  </a:lnTo>
                  <a:lnTo>
                    <a:pt x="638524" y="376444"/>
                  </a:lnTo>
                  <a:lnTo>
                    <a:pt x="633760" y="381210"/>
                  </a:lnTo>
                  <a:lnTo>
                    <a:pt x="624232" y="381210"/>
                  </a:lnTo>
                  <a:lnTo>
                    <a:pt x="614700" y="385974"/>
                  </a:lnTo>
                  <a:lnTo>
                    <a:pt x="609936" y="390740"/>
                  </a:lnTo>
                  <a:lnTo>
                    <a:pt x="605168" y="400270"/>
                  </a:lnTo>
                  <a:lnTo>
                    <a:pt x="605168" y="409800"/>
                  </a:lnTo>
                  <a:lnTo>
                    <a:pt x="600404" y="414564"/>
                  </a:lnTo>
                  <a:lnTo>
                    <a:pt x="586108" y="409800"/>
                  </a:lnTo>
                  <a:lnTo>
                    <a:pt x="581344" y="409800"/>
                  </a:lnTo>
                  <a:lnTo>
                    <a:pt x="571816" y="414564"/>
                  </a:lnTo>
                  <a:lnTo>
                    <a:pt x="562284" y="419330"/>
                  </a:lnTo>
                  <a:lnTo>
                    <a:pt x="557520" y="428860"/>
                  </a:lnTo>
                  <a:lnTo>
                    <a:pt x="547988" y="428860"/>
                  </a:lnTo>
                  <a:lnTo>
                    <a:pt x="528928" y="428860"/>
                  </a:lnTo>
                  <a:lnTo>
                    <a:pt x="524164" y="428860"/>
                  </a:lnTo>
                  <a:lnTo>
                    <a:pt x="519396" y="433626"/>
                  </a:lnTo>
                  <a:lnTo>
                    <a:pt x="519396" y="443156"/>
                  </a:lnTo>
                  <a:lnTo>
                    <a:pt x="500336" y="457452"/>
                  </a:lnTo>
                  <a:lnTo>
                    <a:pt x="495572" y="486042"/>
                  </a:lnTo>
                  <a:lnTo>
                    <a:pt x="490808" y="505102"/>
                  </a:lnTo>
                  <a:lnTo>
                    <a:pt x="490808" y="519398"/>
                  </a:lnTo>
                  <a:lnTo>
                    <a:pt x="505104" y="552754"/>
                  </a:lnTo>
                  <a:lnTo>
                    <a:pt x="514632" y="600404"/>
                  </a:lnTo>
                  <a:lnTo>
                    <a:pt x="519396" y="600404"/>
                  </a:lnTo>
                  <a:lnTo>
                    <a:pt x="524164" y="605170"/>
                  </a:lnTo>
                  <a:lnTo>
                    <a:pt x="524164" y="595640"/>
                  </a:lnTo>
                  <a:lnTo>
                    <a:pt x="524164" y="581344"/>
                  </a:lnTo>
                  <a:lnTo>
                    <a:pt x="528928" y="581344"/>
                  </a:lnTo>
                  <a:lnTo>
                    <a:pt x="533692" y="581344"/>
                  </a:lnTo>
                  <a:lnTo>
                    <a:pt x="538460" y="590874"/>
                  </a:lnTo>
                  <a:lnTo>
                    <a:pt x="547988" y="609936"/>
                  </a:lnTo>
                  <a:lnTo>
                    <a:pt x="552752" y="619466"/>
                  </a:lnTo>
                  <a:lnTo>
                    <a:pt x="562284" y="619466"/>
                  </a:lnTo>
                  <a:lnTo>
                    <a:pt x="576580" y="614700"/>
                  </a:lnTo>
                  <a:lnTo>
                    <a:pt x="581344" y="605170"/>
                  </a:lnTo>
                  <a:lnTo>
                    <a:pt x="586108" y="595640"/>
                  </a:lnTo>
                  <a:lnTo>
                    <a:pt x="586108" y="581344"/>
                  </a:lnTo>
                  <a:lnTo>
                    <a:pt x="586108" y="567048"/>
                  </a:lnTo>
                  <a:lnTo>
                    <a:pt x="590876" y="552754"/>
                  </a:lnTo>
                  <a:lnTo>
                    <a:pt x="609936" y="533694"/>
                  </a:lnTo>
                  <a:lnTo>
                    <a:pt x="614700" y="528928"/>
                  </a:lnTo>
                  <a:lnTo>
                    <a:pt x="609936" y="514632"/>
                  </a:lnTo>
                  <a:lnTo>
                    <a:pt x="609936" y="500338"/>
                  </a:lnTo>
                  <a:lnTo>
                    <a:pt x="619464" y="500338"/>
                  </a:lnTo>
                  <a:lnTo>
                    <a:pt x="628996" y="500338"/>
                  </a:lnTo>
                  <a:lnTo>
                    <a:pt x="643292" y="495572"/>
                  </a:lnTo>
                  <a:lnTo>
                    <a:pt x="648056" y="495572"/>
                  </a:lnTo>
                  <a:lnTo>
                    <a:pt x="652820" y="500338"/>
                  </a:lnTo>
                  <a:lnTo>
                    <a:pt x="662352" y="500338"/>
                  </a:lnTo>
                  <a:lnTo>
                    <a:pt x="667116" y="533694"/>
                  </a:lnTo>
                  <a:lnTo>
                    <a:pt x="676648" y="562284"/>
                  </a:lnTo>
                  <a:lnTo>
                    <a:pt x="676648" y="576580"/>
                  </a:lnTo>
                  <a:lnTo>
                    <a:pt x="676648" y="605170"/>
                  </a:lnTo>
                  <a:lnTo>
                    <a:pt x="681412" y="628996"/>
                  </a:lnTo>
                  <a:lnTo>
                    <a:pt x="686176" y="633760"/>
                  </a:lnTo>
                  <a:lnTo>
                    <a:pt x="690944" y="648056"/>
                  </a:lnTo>
                  <a:lnTo>
                    <a:pt x="695708" y="662352"/>
                  </a:lnTo>
                  <a:lnTo>
                    <a:pt x="700472" y="671882"/>
                  </a:lnTo>
                  <a:lnTo>
                    <a:pt x="700472" y="695708"/>
                  </a:lnTo>
                  <a:lnTo>
                    <a:pt x="705236" y="714768"/>
                  </a:lnTo>
                  <a:lnTo>
                    <a:pt x="710004" y="776714"/>
                  </a:lnTo>
                  <a:lnTo>
                    <a:pt x="714768" y="791010"/>
                  </a:lnTo>
                  <a:lnTo>
                    <a:pt x="714768" y="795776"/>
                  </a:lnTo>
                  <a:lnTo>
                    <a:pt x="714768" y="852956"/>
                  </a:lnTo>
                  <a:lnTo>
                    <a:pt x="714768" y="876782"/>
                  </a:lnTo>
                  <a:lnTo>
                    <a:pt x="719532" y="895842"/>
                  </a:lnTo>
                  <a:lnTo>
                    <a:pt x="719532" y="900608"/>
                  </a:lnTo>
                  <a:lnTo>
                    <a:pt x="714768" y="910138"/>
                  </a:lnTo>
                  <a:lnTo>
                    <a:pt x="710004" y="910138"/>
                  </a:lnTo>
                  <a:lnTo>
                    <a:pt x="705236" y="900608"/>
                  </a:lnTo>
                  <a:lnTo>
                    <a:pt x="695708" y="891078"/>
                  </a:lnTo>
                  <a:lnTo>
                    <a:pt x="681412" y="881548"/>
                  </a:lnTo>
                  <a:lnTo>
                    <a:pt x="671880" y="876782"/>
                  </a:lnTo>
                  <a:lnTo>
                    <a:pt x="667116" y="881548"/>
                  </a:lnTo>
                  <a:lnTo>
                    <a:pt x="652820" y="891078"/>
                  </a:lnTo>
                  <a:lnTo>
                    <a:pt x="652820" y="905372"/>
                  </a:lnTo>
                  <a:lnTo>
                    <a:pt x="652820" y="919668"/>
                  </a:lnTo>
                  <a:lnTo>
                    <a:pt x="657588" y="933964"/>
                  </a:lnTo>
                  <a:lnTo>
                    <a:pt x="662352" y="943494"/>
                  </a:lnTo>
                  <a:lnTo>
                    <a:pt x="667116" y="953024"/>
                  </a:lnTo>
                  <a:lnTo>
                    <a:pt x="667116" y="962554"/>
                  </a:lnTo>
                  <a:lnTo>
                    <a:pt x="671880" y="976850"/>
                  </a:lnTo>
                  <a:lnTo>
                    <a:pt x="671880" y="986380"/>
                  </a:lnTo>
                  <a:lnTo>
                    <a:pt x="662352" y="972084"/>
                  </a:lnTo>
                  <a:lnTo>
                    <a:pt x="652820" y="953024"/>
                  </a:lnTo>
                  <a:lnTo>
                    <a:pt x="633760" y="924434"/>
                  </a:lnTo>
                  <a:lnTo>
                    <a:pt x="624232" y="867252"/>
                  </a:lnTo>
                  <a:lnTo>
                    <a:pt x="624232" y="838662"/>
                  </a:lnTo>
                  <a:lnTo>
                    <a:pt x="609936" y="805306"/>
                  </a:lnTo>
                  <a:lnTo>
                    <a:pt x="600404" y="757654"/>
                  </a:lnTo>
                  <a:lnTo>
                    <a:pt x="595640" y="748124"/>
                  </a:lnTo>
                  <a:lnTo>
                    <a:pt x="600404" y="733828"/>
                  </a:lnTo>
                  <a:lnTo>
                    <a:pt x="600404" y="729064"/>
                  </a:lnTo>
                  <a:lnTo>
                    <a:pt x="590876" y="733828"/>
                  </a:lnTo>
                  <a:lnTo>
                    <a:pt x="581344" y="714768"/>
                  </a:lnTo>
                  <a:lnTo>
                    <a:pt x="576580" y="700472"/>
                  </a:lnTo>
                  <a:lnTo>
                    <a:pt x="547988" y="667116"/>
                  </a:lnTo>
                  <a:lnTo>
                    <a:pt x="543224" y="652822"/>
                  </a:lnTo>
                  <a:lnTo>
                    <a:pt x="543224" y="633760"/>
                  </a:lnTo>
                  <a:lnTo>
                    <a:pt x="528928" y="652822"/>
                  </a:lnTo>
                  <a:lnTo>
                    <a:pt x="514632" y="662352"/>
                  </a:lnTo>
                  <a:lnTo>
                    <a:pt x="500336" y="676646"/>
                  </a:lnTo>
                  <a:lnTo>
                    <a:pt x="490808" y="681412"/>
                  </a:lnTo>
                  <a:lnTo>
                    <a:pt x="457452" y="686178"/>
                  </a:lnTo>
                  <a:lnTo>
                    <a:pt x="438392" y="662352"/>
                  </a:lnTo>
                  <a:lnTo>
                    <a:pt x="414564" y="609936"/>
                  </a:lnTo>
                  <a:lnTo>
                    <a:pt x="409800" y="600404"/>
                  </a:lnTo>
                  <a:lnTo>
                    <a:pt x="414564" y="567048"/>
                  </a:lnTo>
                  <a:lnTo>
                    <a:pt x="405036" y="538458"/>
                  </a:lnTo>
                  <a:lnTo>
                    <a:pt x="405036" y="524162"/>
                  </a:lnTo>
                  <a:lnTo>
                    <a:pt x="405036" y="514632"/>
                  </a:lnTo>
                  <a:lnTo>
                    <a:pt x="400268" y="519398"/>
                  </a:lnTo>
                  <a:lnTo>
                    <a:pt x="400268" y="524162"/>
                  </a:lnTo>
                  <a:lnTo>
                    <a:pt x="400268" y="533694"/>
                  </a:lnTo>
                  <a:lnTo>
                    <a:pt x="395504" y="543224"/>
                  </a:lnTo>
                  <a:lnTo>
                    <a:pt x="376444" y="543224"/>
                  </a:lnTo>
                  <a:lnTo>
                    <a:pt x="352620" y="538458"/>
                  </a:lnTo>
                  <a:lnTo>
                    <a:pt x="371680" y="552754"/>
                  </a:lnTo>
                  <a:lnTo>
                    <a:pt x="390740" y="557518"/>
                  </a:lnTo>
                  <a:lnTo>
                    <a:pt x="400268" y="571814"/>
                  </a:lnTo>
                  <a:lnTo>
                    <a:pt x="405036" y="581344"/>
                  </a:lnTo>
                  <a:lnTo>
                    <a:pt x="405036" y="595640"/>
                  </a:lnTo>
                  <a:lnTo>
                    <a:pt x="390740" y="600404"/>
                  </a:lnTo>
                  <a:lnTo>
                    <a:pt x="381208" y="605170"/>
                  </a:lnTo>
                  <a:lnTo>
                    <a:pt x="385976" y="619466"/>
                  </a:lnTo>
                  <a:lnTo>
                    <a:pt x="395504" y="633760"/>
                  </a:lnTo>
                  <a:lnTo>
                    <a:pt x="381208" y="633760"/>
                  </a:lnTo>
                  <a:lnTo>
                    <a:pt x="376444" y="643290"/>
                  </a:lnTo>
                  <a:lnTo>
                    <a:pt x="376444" y="657586"/>
                  </a:lnTo>
                  <a:lnTo>
                    <a:pt x="385976" y="671882"/>
                  </a:lnTo>
                  <a:lnTo>
                    <a:pt x="385976" y="676646"/>
                  </a:lnTo>
                  <a:lnTo>
                    <a:pt x="385976" y="686178"/>
                  </a:lnTo>
                  <a:lnTo>
                    <a:pt x="395504" y="695708"/>
                  </a:lnTo>
                  <a:lnTo>
                    <a:pt x="405036" y="710002"/>
                  </a:lnTo>
                  <a:lnTo>
                    <a:pt x="405036" y="724298"/>
                  </a:lnTo>
                  <a:lnTo>
                    <a:pt x="400268" y="743358"/>
                  </a:lnTo>
                  <a:lnTo>
                    <a:pt x="395504" y="748124"/>
                  </a:lnTo>
                  <a:lnTo>
                    <a:pt x="385976" y="752888"/>
                  </a:lnTo>
                  <a:lnTo>
                    <a:pt x="366912" y="776714"/>
                  </a:lnTo>
                  <a:lnTo>
                    <a:pt x="357384" y="800540"/>
                  </a:lnTo>
                  <a:lnTo>
                    <a:pt x="347852" y="814836"/>
                  </a:lnTo>
                  <a:lnTo>
                    <a:pt x="333556" y="814836"/>
                  </a:lnTo>
                  <a:lnTo>
                    <a:pt x="328792" y="810070"/>
                  </a:lnTo>
                  <a:lnTo>
                    <a:pt x="319264" y="805306"/>
                  </a:lnTo>
                  <a:lnTo>
                    <a:pt x="319264" y="791010"/>
                  </a:lnTo>
                  <a:lnTo>
                    <a:pt x="324028" y="781480"/>
                  </a:lnTo>
                  <a:lnTo>
                    <a:pt x="343088" y="757654"/>
                  </a:lnTo>
                  <a:lnTo>
                    <a:pt x="333556" y="762420"/>
                  </a:lnTo>
                  <a:lnTo>
                    <a:pt x="319264" y="767184"/>
                  </a:lnTo>
                  <a:lnTo>
                    <a:pt x="304968" y="781480"/>
                  </a:lnTo>
                  <a:lnTo>
                    <a:pt x="295436" y="767184"/>
                  </a:lnTo>
                  <a:lnTo>
                    <a:pt x="295436" y="752888"/>
                  </a:lnTo>
                  <a:lnTo>
                    <a:pt x="295436" y="733828"/>
                  </a:lnTo>
                  <a:lnTo>
                    <a:pt x="309732" y="705238"/>
                  </a:lnTo>
                  <a:lnTo>
                    <a:pt x="290672" y="719532"/>
                  </a:lnTo>
                  <a:lnTo>
                    <a:pt x="285908" y="738594"/>
                  </a:lnTo>
                  <a:lnTo>
                    <a:pt x="290672" y="757654"/>
                  </a:lnTo>
                  <a:lnTo>
                    <a:pt x="285908" y="771950"/>
                  </a:lnTo>
                  <a:lnTo>
                    <a:pt x="281140" y="786244"/>
                  </a:lnTo>
                  <a:lnTo>
                    <a:pt x="271612" y="800540"/>
                  </a:lnTo>
                  <a:lnTo>
                    <a:pt x="257316" y="805306"/>
                  </a:lnTo>
                  <a:lnTo>
                    <a:pt x="252552" y="814836"/>
                  </a:lnTo>
                  <a:lnTo>
                    <a:pt x="243020" y="824366"/>
                  </a:lnTo>
                  <a:lnTo>
                    <a:pt x="243020" y="810070"/>
                  </a:lnTo>
                  <a:lnTo>
                    <a:pt x="238256" y="786244"/>
                  </a:lnTo>
                  <a:lnTo>
                    <a:pt x="228724" y="738594"/>
                  </a:lnTo>
                  <a:lnTo>
                    <a:pt x="228724" y="748124"/>
                  </a:lnTo>
                  <a:lnTo>
                    <a:pt x="233492" y="781480"/>
                  </a:lnTo>
                  <a:lnTo>
                    <a:pt x="233492" y="800540"/>
                  </a:lnTo>
                  <a:lnTo>
                    <a:pt x="223960" y="814836"/>
                  </a:lnTo>
                  <a:lnTo>
                    <a:pt x="209664" y="833896"/>
                  </a:lnTo>
                  <a:lnTo>
                    <a:pt x="195368" y="833896"/>
                  </a:lnTo>
                  <a:lnTo>
                    <a:pt x="190604" y="833896"/>
                  </a:lnTo>
                  <a:lnTo>
                    <a:pt x="181072" y="819600"/>
                  </a:lnTo>
                  <a:lnTo>
                    <a:pt x="166780" y="805306"/>
                  </a:lnTo>
                  <a:lnTo>
                    <a:pt x="166780" y="781480"/>
                  </a:lnTo>
                  <a:lnTo>
                    <a:pt x="162012" y="767184"/>
                  </a:lnTo>
                  <a:lnTo>
                    <a:pt x="162012" y="752888"/>
                  </a:lnTo>
                  <a:lnTo>
                    <a:pt x="162012" y="738594"/>
                  </a:lnTo>
                  <a:lnTo>
                    <a:pt x="147716" y="700472"/>
                  </a:lnTo>
                  <a:lnTo>
                    <a:pt x="142952" y="676646"/>
                  </a:lnTo>
                  <a:lnTo>
                    <a:pt x="142952" y="671882"/>
                  </a:lnTo>
                  <a:lnTo>
                    <a:pt x="142952" y="667116"/>
                  </a:lnTo>
                  <a:lnTo>
                    <a:pt x="138188" y="643290"/>
                  </a:lnTo>
                  <a:lnTo>
                    <a:pt x="133424" y="628996"/>
                  </a:lnTo>
                  <a:lnTo>
                    <a:pt x="128656" y="609936"/>
                  </a:lnTo>
                  <a:lnTo>
                    <a:pt x="142952" y="586110"/>
                  </a:lnTo>
                  <a:lnTo>
                    <a:pt x="138188" y="581344"/>
                  </a:lnTo>
                  <a:lnTo>
                    <a:pt x="123892" y="576580"/>
                  </a:lnTo>
                  <a:lnTo>
                    <a:pt x="109596" y="571814"/>
                  </a:lnTo>
                  <a:lnTo>
                    <a:pt x="109596" y="567048"/>
                  </a:lnTo>
                  <a:lnTo>
                    <a:pt x="114364" y="543224"/>
                  </a:lnTo>
                  <a:lnTo>
                    <a:pt x="104832" y="533694"/>
                  </a:lnTo>
                  <a:lnTo>
                    <a:pt x="95300" y="524162"/>
                  </a:lnTo>
                  <a:lnTo>
                    <a:pt x="95300" y="519398"/>
                  </a:lnTo>
                  <a:lnTo>
                    <a:pt x="90536" y="514632"/>
                  </a:lnTo>
                  <a:lnTo>
                    <a:pt x="85772" y="500338"/>
                  </a:lnTo>
                  <a:lnTo>
                    <a:pt x="95300" y="476512"/>
                  </a:lnTo>
                  <a:lnTo>
                    <a:pt x="104832" y="443156"/>
                  </a:lnTo>
                  <a:lnTo>
                    <a:pt x="109596" y="433626"/>
                  </a:lnTo>
                  <a:lnTo>
                    <a:pt x="109596" y="414564"/>
                  </a:lnTo>
                  <a:lnTo>
                    <a:pt x="114364" y="405034"/>
                  </a:lnTo>
                  <a:lnTo>
                    <a:pt x="109596" y="400270"/>
                  </a:lnTo>
                  <a:lnTo>
                    <a:pt x="100068" y="390740"/>
                  </a:lnTo>
                  <a:lnTo>
                    <a:pt x="76240" y="385974"/>
                  </a:lnTo>
                  <a:lnTo>
                    <a:pt x="61944" y="381210"/>
                  </a:lnTo>
                  <a:lnTo>
                    <a:pt x="52416" y="366914"/>
                  </a:lnTo>
                  <a:lnTo>
                    <a:pt x="42884" y="362148"/>
                  </a:lnTo>
                  <a:lnTo>
                    <a:pt x="33356" y="366914"/>
                  </a:lnTo>
                  <a:lnTo>
                    <a:pt x="19060" y="362148"/>
                  </a:lnTo>
                  <a:lnTo>
                    <a:pt x="9528" y="352618"/>
                  </a:lnTo>
                  <a:lnTo>
                    <a:pt x="0" y="338322"/>
                  </a:lnTo>
                  <a:lnTo>
                    <a:pt x="4764" y="333558"/>
                  </a:lnTo>
                  <a:lnTo>
                    <a:pt x="4764" y="324028"/>
                  </a:lnTo>
                  <a:lnTo>
                    <a:pt x="19060" y="290672"/>
                  </a:lnTo>
                  <a:lnTo>
                    <a:pt x="28588" y="285906"/>
                  </a:lnTo>
                  <a:lnTo>
                    <a:pt x="42884" y="295436"/>
                  </a:lnTo>
                  <a:lnTo>
                    <a:pt x="47652" y="295436"/>
                  </a:lnTo>
                  <a:lnTo>
                    <a:pt x="57180" y="281142"/>
                  </a:lnTo>
                  <a:lnTo>
                    <a:pt x="66712" y="243020"/>
                  </a:lnTo>
                  <a:lnTo>
                    <a:pt x="85772" y="243020"/>
                  </a:lnTo>
                  <a:lnTo>
                    <a:pt x="104832" y="243020"/>
                  </a:lnTo>
                  <a:lnTo>
                    <a:pt x="114364" y="243020"/>
                  </a:lnTo>
                  <a:lnTo>
                    <a:pt x="123892" y="243020"/>
                  </a:lnTo>
                  <a:lnTo>
                    <a:pt x="138188" y="238256"/>
                  </a:lnTo>
                  <a:lnTo>
                    <a:pt x="142952" y="233490"/>
                  </a:lnTo>
                  <a:lnTo>
                    <a:pt x="147716" y="228726"/>
                  </a:lnTo>
                  <a:lnTo>
                    <a:pt x="142952" y="223960"/>
                  </a:lnTo>
                  <a:lnTo>
                    <a:pt x="133424" y="214430"/>
                  </a:lnTo>
                  <a:lnTo>
                    <a:pt x="123892" y="209664"/>
                  </a:lnTo>
                  <a:lnTo>
                    <a:pt x="123892" y="195370"/>
                  </a:lnTo>
                  <a:lnTo>
                    <a:pt x="119128" y="190604"/>
                  </a:lnTo>
                  <a:lnTo>
                    <a:pt x="90536" y="190604"/>
                  </a:lnTo>
                  <a:lnTo>
                    <a:pt x="76240" y="181074"/>
                  </a:lnTo>
                  <a:lnTo>
                    <a:pt x="66712" y="176308"/>
                  </a:lnTo>
                  <a:lnTo>
                    <a:pt x="57180" y="152484"/>
                  </a:lnTo>
                  <a:lnTo>
                    <a:pt x="38120" y="138188"/>
                  </a:lnTo>
                  <a:lnTo>
                    <a:pt x="19060" y="133422"/>
                  </a:lnTo>
                  <a:lnTo>
                    <a:pt x="14296" y="128658"/>
                  </a:lnTo>
                  <a:lnTo>
                    <a:pt x="9528" y="119128"/>
                  </a:lnTo>
                  <a:lnTo>
                    <a:pt x="14296" y="109596"/>
                  </a:lnTo>
                  <a:lnTo>
                    <a:pt x="19060" y="95302"/>
                  </a:lnTo>
                  <a:lnTo>
                    <a:pt x="23824" y="85772"/>
                  </a:lnTo>
                  <a:lnTo>
                    <a:pt x="33356" y="71476"/>
                  </a:lnTo>
                  <a:lnTo>
                    <a:pt x="47652" y="57180"/>
                  </a:lnTo>
                  <a:lnTo>
                    <a:pt x="57180" y="47650"/>
                  </a:lnTo>
                  <a:lnTo>
                    <a:pt x="66712" y="38120"/>
                  </a:lnTo>
                  <a:lnTo>
                    <a:pt x="66712" y="33354"/>
                  </a:lnTo>
                  <a:lnTo>
                    <a:pt x="66712" y="23824"/>
                  </a:lnTo>
                  <a:lnTo>
                    <a:pt x="57180" y="19060"/>
                  </a:lnTo>
                  <a:lnTo>
                    <a:pt x="52416" y="14294"/>
                  </a:lnTo>
                  <a:lnTo>
                    <a:pt x="57180" y="476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9" name="Freeform 4060">
              <a:extLst>
                <a:ext uri="{FF2B5EF4-FFF2-40B4-BE49-F238E27FC236}">
                  <a16:creationId xmlns:a16="http://schemas.microsoft.com/office/drawing/2014/main" id="{C77B2B5D-BC7F-4CBC-894C-1F08FE491796}"/>
                </a:ext>
              </a:extLst>
            </p:cNvPr>
            <p:cNvSpPr/>
            <p:nvPr/>
          </p:nvSpPr>
          <p:spPr bwMode="auto">
            <a:xfrm>
              <a:off x="7540934" y="4663203"/>
              <a:ext cx="84026" cy="45482"/>
            </a:xfrm>
            <a:custGeom>
              <a:avLst/>
              <a:gdLst>
                <a:gd name="T0" fmla="*/ 190 w 218"/>
                <a:gd name="T1" fmla="*/ 38 h 118"/>
                <a:gd name="T2" fmla="*/ 188 w 218"/>
                <a:gd name="T3" fmla="*/ 26 h 118"/>
                <a:gd name="T4" fmla="*/ 172 w 218"/>
                <a:gd name="T5" fmla="*/ 22 h 118"/>
                <a:gd name="T6" fmla="*/ 166 w 218"/>
                <a:gd name="T7" fmla="*/ 18 h 118"/>
                <a:gd name="T8" fmla="*/ 158 w 218"/>
                <a:gd name="T9" fmla="*/ 22 h 118"/>
                <a:gd name="T10" fmla="*/ 150 w 218"/>
                <a:gd name="T11" fmla="*/ 26 h 118"/>
                <a:gd name="T12" fmla="*/ 142 w 218"/>
                <a:gd name="T13" fmla="*/ 22 h 118"/>
                <a:gd name="T14" fmla="*/ 124 w 218"/>
                <a:gd name="T15" fmla="*/ 18 h 118"/>
                <a:gd name="T16" fmla="*/ 106 w 218"/>
                <a:gd name="T17" fmla="*/ 18 h 118"/>
                <a:gd name="T18" fmla="*/ 104 w 218"/>
                <a:gd name="T19" fmla="*/ 14 h 118"/>
                <a:gd name="T20" fmla="*/ 106 w 218"/>
                <a:gd name="T21" fmla="*/ 8 h 118"/>
                <a:gd name="T22" fmla="*/ 96 w 218"/>
                <a:gd name="T23" fmla="*/ 2 h 118"/>
                <a:gd name="T24" fmla="*/ 80 w 218"/>
                <a:gd name="T25" fmla="*/ 0 h 118"/>
                <a:gd name="T26" fmla="*/ 70 w 218"/>
                <a:gd name="T27" fmla="*/ 4 h 118"/>
                <a:gd name="T28" fmla="*/ 60 w 218"/>
                <a:gd name="T29" fmla="*/ 12 h 118"/>
                <a:gd name="T30" fmla="*/ 48 w 218"/>
                <a:gd name="T31" fmla="*/ 18 h 118"/>
                <a:gd name="T32" fmla="*/ 34 w 218"/>
                <a:gd name="T33" fmla="*/ 36 h 118"/>
                <a:gd name="T34" fmla="*/ 24 w 218"/>
                <a:gd name="T35" fmla="*/ 54 h 118"/>
                <a:gd name="T36" fmla="*/ 14 w 218"/>
                <a:gd name="T37" fmla="*/ 64 h 118"/>
                <a:gd name="T38" fmla="*/ 10 w 218"/>
                <a:gd name="T39" fmla="*/ 76 h 118"/>
                <a:gd name="T40" fmla="*/ 0 w 218"/>
                <a:gd name="T41" fmla="*/ 84 h 118"/>
                <a:gd name="T42" fmla="*/ 4 w 218"/>
                <a:gd name="T43" fmla="*/ 90 h 118"/>
                <a:gd name="T44" fmla="*/ 8 w 218"/>
                <a:gd name="T45" fmla="*/ 100 h 118"/>
                <a:gd name="T46" fmla="*/ 20 w 218"/>
                <a:gd name="T47" fmla="*/ 108 h 118"/>
                <a:gd name="T48" fmla="*/ 38 w 218"/>
                <a:gd name="T49" fmla="*/ 108 h 118"/>
                <a:gd name="T50" fmla="*/ 48 w 218"/>
                <a:gd name="T51" fmla="*/ 112 h 118"/>
                <a:gd name="T52" fmla="*/ 56 w 218"/>
                <a:gd name="T53" fmla="*/ 114 h 118"/>
                <a:gd name="T54" fmla="*/ 56 w 218"/>
                <a:gd name="T55" fmla="*/ 116 h 118"/>
                <a:gd name="T56" fmla="*/ 64 w 218"/>
                <a:gd name="T57" fmla="*/ 118 h 118"/>
                <a:gd name="T58" fmla="*/ 78 w 218"/>
                <a:gd name="T59" fmla="*/ 118 h 118"/>
                <a:gd name="T60" fmla="*/ 96 w 218"/>
                <a:gd name="T61" fmla="*/ 108 h 118"/>
                <a:gd name="T62" fmla="*/ 104 w 218"/>
                <a:gd name="T63" fmla="*/ 106 h 118"/>
                <a:gd name="T64" fmla="*/ 118 w 218"/>
                <a:gd name="T65" fmla="*/ 112 h 118"/>
                <a:gd name="T66" fmla="*/ 130 w 218"/>
                <a:gd name="T67" fmla="*/ 114 h 118"/>
                <a:gd name="T68" fmla="*/ 156 w 218"/>
                <a:gd name="T69" fmla="*/ 112 h 118"/>
                <a:gd name="T70" fmla="*/ 176 w 218"/>
                <a:gd name="T71" fmla="*/ 106 h 118"/>
                <a:gd name="T72" fmla="*/ 182 w 218"/>
                <a:gd name="T73" fmla="*/ 112 h 118"/>
                <a:gd name="T74" fmla="*/ 198 w 218"/>
                <a:gd name="T75" fmla="*/ 110 h 118"/>
                <a:gd name="T76" fmla="*/ 206 w 218"/>
                <a:gd name="T77" fmla="*/ 108 h 118"/>
                <a:gd name="T78" fmla="*/ 214 w 218"/>
                <a:gd name="T79" fmla="*/ 108 h 118"/>
                <a:gd name="T80" fmla="*/ 218 w 218"/>
                <a:gd name="T81" fmla="*/ 104 h 118"/>
                <a:gd name="T82" fmla="*/ 216 w 218"/>
                <a:gd name="T83" fmla="*/ 94 h 118"/>
                <a:gd name="T84" fmla="*/ 212 w 218"/>
                <a:gd name="T85" fmla="*/ 90 h 118"/>
                <a:gd name="T86" fmla="*/ 216 w 218"/>
                <a:gd name="T87" fmla="*/ 82 h 118"/>
                <a:gd name="T88" fmla="*/ 216 w 218"/>
                <a:gd name="T89" fmla="*/ 70 h 118"/>
                <a:gd name="T90" fmla="*/ 210 w 218"/>
                <a:gd name="T91" fmla="*/ 64 h 118"/>
                <a:gd name="T92" fmla="*/ 196 w 218"/>
                <a:gd name="T93" fmla="*/ 64 h 118"/>
                <a:gd name="T94" fmla="*/ 186 w 218"/>
                <a:gd name="T95" fmla="*/ 56 h 118"/>
                <a:gd name="T96" fmla="*/ 186 w 218"/>
                <a:gd name="T97" fmla="*/ 4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18" h="118">
                  <a:moveTo>
                    <a:pt x="190" y="42"/>
                  </a:moveTo>
                  <a:lnTo>
                    <a:pt x="190" y="38"/>
                  </a:lnTo>
                  <a:lnTo>
                    <a:pt x="190" y="28"/>
                  </a:lnTo>
                  <a:lnTo>
                    <a:pt x="188" y="26"/>
                  </a:lnTo>
                  <a:lnTo>
                    <a:pt x="180" y="24"/>
                  </a:lnTo>
                  <a:lnTo>
                    <a:pt x="172" y="22"/>
                  </a:lnTo>
                  <a:lnTo>
                    <a:pt x="168" y="18"/>
                  </a:lnTo>
                  <a:lnTo>
                    <a:pt x="166" y="18"/>
                  </a:lnTo>
                  <a:lnTo>
                    <a:pt x="162" y="18"/>
                  </a:lnTo>
                  <a:lnTo>
                    <a:pt x="158" y="22"/>
                  </a:lnTo>
                  <a:lnTo>
                    <a:pt x="152" y="26"/>
                  </a:lnTo>
                  <a:lnTo>
                    <a:pt x="150" y="26"/>
                  </a:lnTo>
                  <a:lnTo>
                    <a:pt x="146" y="24"/>
                  </a:lnTo>
                  <a:lnTo>
                    <a:pt x="142" y="22"/>
                  </a:lnTo>
                  <a:lnTo>
                    <a:pt x="130" y="18"/>
                  </a:lnTo>
                  <a:lnTo>
                    <a:pt x="124" y="18"/>
                  </a:lnTo>
                  <a:lnTo>
                    <a:pt x="114" y="18"/>
                  </a:lnTo>
                  <a:lnTo>
                    <a:pt x="106" y="18"/>
                  </a:lnTo>
                  <a:lnTo>
                    <a:pt x="104" y="16"/>
                  </a:lnTo>
                  <a:lnTo>
                    <a:pt x="104" y="14"/>
                  </a:lnTo>
                  <a:lnTo>
                    <a:pt x="106" y="10"/>
                  </a:lnTo>
                  <a:lnTo>
                    <a:pt x="106" y="8"/>
                  </a:lnTo>
                  <a:lnTo>
                    <a:pt x="104" y="4"/>
                  </a:lnTo>
                  <a:lnTo>
                    <a:pt x="96" y="2"/>
                  </a:lnTo>
                  <a:lnTo>
                    <a:pt x="90" y="0"/>
                  </a:lnTo>
                  <a:lnTo>
                    <a:pt x="80" y="0"/>
                  </a:lnTo>
                  <a:lnTo>
                    <a:pt x="76" y="2"/>
                  </a:lnTo>
                  <a:lnTo>
                    <a:pt x="70" y="4"/>
                  </a:lnTo>
                  <a:lnTo>
                    <a:pt x="66" y="10"/>
                  </a:lnTo>
                  <a:lnTo>
                    <a:pt x="60" y="12"/>
                  </a:lnTo>
                  <a:lnTo>
                    <a:pt x="52" y="16"/>
                  </a:lnTo>
                  <a:lnTo>
                    <a:pt x="48" y="18"/>
                  </a:lnTo>
                  <a:lnTo>
                    <a:pt x="42" y="26"/>
                  </a:lnTo>
                  <a:lnTo>
                    <a:pt x="34" y="36"/>
                  </a:lnTo>
                  <a:lnTo>
                    <a:pt x="28" y="44"/>
                  </a:lnTo>
                  <a:lnTo>
                    <a:pt x="24" y="54"/>
                  </a:lnTo>
                  <a:lnTo>
                    <a:pt x="18" y="58"/>
                  </a:lnTo>
                  <a:lnTo>
                    <a:pt x="14" y="64"/>
                  </a:lnTo>
                  <a:lnTo>
                    <a:pt x="10" y="74"/>
                  </a:lnTo>
                  <a:lnTo>
                    <a:pt x="10" y="76"/>
                  </a:lnTo>
                  <a:lnTo>
                    <a:pt x="2" y="82"/>
                  </a:lnTo>
                  <a:lnTo>
                    <a:pt x="0" y="84"/>
                  </a:lnTo>
                  <a:lnTo>
                    <a:pt x="2" y="88"/>
                  </a:lnTo>
                  <a:lnTo>
                    <a:pt x="4" y="90"/>
                  </a:lnTo>
                  <a:lnTo>
                    <a:pt x="6" y="92"/>
                  </a:lnTo>
                  <a:lnTo>
                    <a:pt x="8" y="100"/>
                  </a:lnTo>
                  <a:lnTo>
                    <a:pt x="12" y="102"/>
                  </a:lnTo>
                  <a:lnTo>
                    <a:pt x="20" y="108"/>
                  </a:lnTo>
                  <a:lnTo>
                    <a:pt x="26" y="110"/>
                  </a:lnTo>
                  <a:lnTo>
                    <a:pt x="38" y="108"/>
                  </a:lnTo>
                  <a:lnTo>
                    <a:pt x="42" y="110"/>
                  </a:lnTo>
                  <a:lnTo>
                    <a:pt x="48" y="112"/>
                  </a:lnTo>
                  <a:lnTo>
                    <a:pt x="52" y="112"/>
                  </a:lnTo>
                  <a:lnTo>
                    <a:pt x="56" y="114"/>
                  </a:lnTo>
                  <a:lnTo>
                    <a:pt x="56" y="114"/>
                  </a:lnTo>
                  <a:lnTo>
                    <a:pt x="56" y="116"/>
                  </a:lnTo>
                  <a:lnTo>
                    <a:pt x="56" y="118"/>
                  </a:lnTo>
                  <a:lnTo>
                    <a:pt x="64" y="118"/>
                  </a:lnTo>
                  <a:lnTo>
                    <a:pt x="66" y="118"/>
                  </a:lnTo>
                  <a:lnTo>
                    <a:pt x="78" y="118"/>
                  </a:lnTo>
                  <a:lnTo>
                    <a:pt x="90" y="116"/>
                  </a:lnTo>
                  <a:lnTo>
                    <a:pt x="96" y="108"/>
                  </a:lnTo>
                  <a:lnTo>
                    <a:pt x="98" y="108"/>
                  </a:lnTo>
                  <a:lnTo>
                    <a:pt x="104" y="106"/>
                  </a:lnTo>
                  <a:lnTo>
                    <a:pt x="112" y="108"/>
                  </a:lnTo>
                  <a:lnTo>
                    <a:pt x="118" y="112"/>
                  </a:lnTo>
                  <a:lnTo>
                    <a:pt x="124" y="114"/>
                  </a:lnTo>
                  <a:lnTo>
                    <a:pt x="130" y="114"/>
                  </a:lnTo>
                  <a:lnTo>
                    <a:pt x="138" y="114"/>
                  </a:lnTo>
                  <a:lnTo>
                    <a:pt x="156" y="112"/>
                  </a:lnTo>
                  <a:lnTo>
                    <a:pt x="166" y="112"/>
                  </a:lnTo>
                  <a:lnTo>
                    <a:pt x="176" y="106"/>
                  </a:lnTo>
                  <a:lnTo>
                    <a:pt x="178" y="106"/>
                  </a:lnTo>
                  <a:lnTo>
                    <a:pt x="182" y="112"/>
                  </a:lnTo>
                  <a:lnTo>
                    <a:pt x="192" y="112"/>
                  </a:lnTo>
                  <a:lnTo>
                    <a:pt x="198" y="110"/>
                  </a:lnTo>
                  <a:lnTo>
                    <a:pt x="202" y="108"/>
                  </a:lnTo>
                  <a:lnTo>
                    <a:pt x="206" y="108"/>
                  </a:lnTo>
                  <a:lnTo>
                    <a:pt x="210" y="108"/>
                  </a:lnTo>
                  <a:lnTo>
                    <a:pt x="214" y="108"/>
                  </a:lnTo>
                  <a:lnTo>
                    <a:pt x="216" y="106"/>
                  </a:lnTo>
                  <a:lnTo>
                    <a:pt x="218" y="104"/>
                  </a:lnTo>
                  <a:lnTo>
                    <a:pt x="218" y="98"/>
                  </a:lnTo>
                  <a:lnTo>
                    <a:pt x="216" y="94"/>
                  </a:lnTo>
                  <a:lnTo>
                    <a:pt x="214" y="92"/>
                  </a:lnTo>
                  <a:lnTo>
                    <a:pt x="212" y="90"/>
                  </a:lnTo>
                  <a:lnTo>
                    <a:pt x="214" y="86"/>
                  </a:lnTo>
                  <a:lnTo>
                    <a:pt x="216" y="82"/>
                  </a:lnTo>
                  <a:lnTo>
                    <a:pt x="218" y="76"/>
                  </a:lnTo>
                  <a:lnTo>
                    <a:pt x="216" y="70"/>
                  </a:lnTo>
                  <a:lnTo>
                    <a:pt x="212" y="64"/>
                  </a:lnTo>
                  <a:lnTo>
                    <a:pt x="210" y="64"/>
                  </a:lnTo>
                  <a:lnTo>
                    <a:pt x="204" y="64"/>
                  </a:lnTo>
                  <a:lnTo>
                    <a:pt x="196" y="64"/>
                  </a:lnTo>
                  <a:lnTo>
                    <a:pt x="190" y="60"/>
                  </a:lnTo>
                  <a:lnTo>
                    <a:pt x="186" y="56"/>
                  </a:lnTo>
                  <a:lnTo>
                    <a:pt x="186" y="52"/>
                  </a:lnTo>
                  <a:lnTo>
                    <a:pt x="186" y="48"/>
                  </a:lnTo>
                  <a:lnTo>
                    <a:pt x="190" y="4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0" name="Freeform 419">
              <a:extLst>
                <a:ext uri="{FF2B5EF4-FFF2-40B4-BE49-F238E27FC236}">
                  <a16:creationId xmlns:a16="http://schemas.microsoft.com/office/drawing/2014/main" id="{5716F034-E343-4C6F-97EF-3370B51AD28A}"/>
                </a:ext>
              </a:extLst>
            </p:cNvPr>
            <p:cNvSpPr/>
            <p:nvPr/>
          </p:nvSpPr>
          <p:spPr bwMode="auto">
            <a:xfrm>
              <a:off x="7628043" y="4657036"/>
              <a:ext cx="226252" cy="501841"/>
            </a:xfrm>
            <a:custGeom>
              <a:avLst/>
              <a:gdLst>
                <a:gd name="connsiteX0" fmla="*/ 941112 w 1398564"/>
                <a:gd name="connsiteY0" fmla="*/ 3073508 h 3102100"/>
                <a:gd name="connsiteX1" fmla="*/ 950640 w 1398564"/>
                <a:gd name="connsiteY1" fmla="*/ 3073508 h 3102100"/>
                <a:gd name="connsiteX2" fmla="*/ 950640 w 1398564"/>
                <a:gd name="connsiteY2" fmla="*/ 3083038 h 3102100"/>
                <a:gd name="connsiteX3" fmla="*/ 941112 w 1398564"/>
                <a:gd name="connsiteY3" fmla="*/ 3087804 h 3102100"/>
                <a:gd name="connsiteX4" fmla="*/ 931580 w 1398564"/>
                <a:gd name="connsiteY4" fmla="*/ 3092568 h 3102100"/>
                <a:gd name="connsiteX5" fmla="*/ 929196 w 1398564"/>
                <a:gd name="connsiteY5" fmla="*/ 3102100 h 3102100"/>
                <a:gd name="connsiteX6" fmla="*/ 924432 w 1398564"/>
                <a:gd name="connsiteY6" fmla="*/ 3102100 h 3102100"/>
                <a:gd name="connsiteX7" fmla="*/ 929196 w 1398564"/>
                <a:gd name="connsiteY7" fmla="*/ 3087804 h 3102100"/>
                <a:gd name="connsiteX8" fmla="*/ 931580 w 1398564"/>
                <a:gd name="connsiteY8" fmla="*/ 2925788 h 3102100"/>
                <a:gd name="connsiteX9" fmla="*/ 936344 w 1398564"/>
                <a:gd name="connsiteY9" fmla="*/ 2930554 h 3102100"/>
                <a:gd name="connsiteX10" fmla="*/ 950640 w 1398564"/>
                <a:gd name="connsiteY10" fmla="*/ 2959144 h 3102100"/>
                <a:gd name="connsiteX11" fmla="*/ 950640 w 1398564"/>
                <a:gd name="connsiteY11" fmla="*/ 2963910 h 3102100"/>
                <a:gd name="connsiteX12" fmla="*/ 945876 w 1398564"/>
                <a:gd name="connsiteY12" fmla="*/ 2963910 h 3102100"/>
                <a:gd name="connsiteX13" fmla="*/ 936344 w 1398564"/>
                <a:gd name="connsiteY13" fmla="*/ 2949614 h 3102100"/>
                <a:gd name="connsiteX14" fmla="*/ 929196 w 1398564"/>
                <a:gd name="connsiteY14" fmla="*/ 2940084 h 3102100"/>
                <a:gd name="connsiteX15" fmla="*/ 919668 w 1398564"/>
                <a:gd name="connsiteY15" fmla="*/ 2940084 h 3102100"/>
                <a:gd name="connsiteX16" fmla="*/ 929196 w 1398564"/>
                <a:gd name="connsiteY16" fmla="*/ 2930554 h 3102100"/>
                <a:gd name="connsiteX17" fmla="*/ 988760 w 1398564"/>
                <a:gd name="connsiteY17" fmla="*/ 2911494 h 3102100"/>
                <a:gd name="connsiteX18" fmla="*/ 988760 w 1398564"/>
                <a:gd name="connsiteY18" fmla="*/ 2930556 h 3102100"/>
                <a:gd name="connsiteX19" fmla="*/ 983996 w 1398564"/>
                <a:gd name="connsiteY19" fmla="*/ 2930556 h 3102100"/>
                <a:gd name="connsiteX20" fmla="*/ 979232 w 1398564"/>
                <a:gd name="connsiteY20" fmla="*/ 2925790 h 3102100"/>
                <a:gd name="connsiteX21" fmla="*/ 950640 w 1398564"/>
                <a:gd name="connsiteY21" fmla="*/ 2801896 h 3102100"/>
                <a:gd name="connsiteX22" fmla="*/ 950640 w 1398564"/>
                <a:gd name="connsiteY22" fmla="*/ 2806662 h 3102100"/>
                <a:gd name="connsiteX23" fmla="*/ 950640 w 1398564"/>
                <a:gd name="connsiteY23" fmla="*/ 2830486 h 3102100"/>
                <a:gd name="connsiteX24" fmla="*/ 945876 w 1398564"/>
                <a:gd name="connsiteY24" fmla="*/ 2840016 h 3102100"/>
                <a:gd name="connsiteX25" fmla="*/ 941108 w 1398564"/>
                <a:gd name="connsiteY25" fmla="*/ 2844782 h 3102100"/>
                <a:gd name="connsiteX26" fmla="*/ 936344 w 1398564"/>
                <a:gd name="connsiteY26" fmla="*/ 2849548 h 3102100"/>
                <a:gd name="connsiteX27" fmla="*/ 931580 w 1398564"/>
                <a:gd name="connsiteY27" fmla="*/ 2849548 h 3102100"/>
                <a:gd name="connsiteX28" fmla="*/ 936344 w 1398564"/>
                <a:gd name="connsiteY28" fmla="*/ 2835252 h 3102100"/>
                <a:gd name="connsiteX29" fmla="*/ 941108 w 1398564"/>
                <a:gd name="connsiteY29" fmla="*/ 2820956 h 3102100"/>
                <a:gd name="connsiteX30" fmla="*/ 964936 w 1398564"/>
                <a:gd name="connsiteY30" fmla="*/ 2797132 h 3102100"/>
                <a:gd name="connsiteX31" fmla="*/ 988760 w 1398564"/>
                <a:gd name="connsiteY31" fmla="*/ 2797132 h 3102100"/>
                <a:gd name="connsiteX32" fmla="*/ 993528 w 1398564"/>
                <a:gd name="connsiteY32" fmla="*/ 2806662 h 3102100"/>
                <a:gd name="connsiteX33" fmla="*/ 988760 w 1398564"/>
                <a:gd name="connsiteY33" fmla="*/ 2835252 h 3102100"/>
                <a:gd name="connsiteX34" fmla="*/ 979232 w 1398564"/>
                <a:gd name="connsiteY34" fmla="*/ 2835252 h 3102100"/>
                <a:gd name="connsiteX35" fmla="*/ 974464 w 1398564"/>
                <a:gd name="connsiteY35" fmla="*/ 2835252 h 3102100"/>
                <a:gd name="connsiteX36" fmla="*/ 964936 w 1398564"/>
                <a:gd name="connsiteY36" fmla="*/ 2816192 h 3102100"/>
                <a:gd name="connsiteX37" fmla="*/ 964936 w 1398564"/>
                <a:gd name="connsiteY37" fmla="*/ 2811426 h 3102100"/>
                <a:gd name="connsiteX38" fmla="*/ 910136 w 1398564"/>
                <a:gd name="connsiteY38" fmla="*/ 2787600 h 3102100"/>
                <a:gd name="connsiteX39" fmla="*/ 914904 w 1398564"/>
                <a:gd name="connsiteY39" fmla="*/ 2801896 h 3102100"/>
                <a:gd name="connsiteX40" fmla="*/ 919668 w 1398564"/>
                <a:gd name="connsiteY40" fmla="*/ 2806662 h 3102100"/>
                <a:gd name="connsiteX41" fmla="*/ 919668 w 1398564"/>
                <a:gd name="connsiteY41" fmla="*/ 2811426 h 3102100"/>
                <a:gd name="connsiteX42" fmla="*/ 919668 w 1398564"/>
                <a:gd name="connsiteY42" fmla="*/ 2820956 h 3102100"/>
                <a:gd name="connsiteX43" fmla="*/ 910136 w 1398564"/>
                <a:gd name="connsiteY43" fmla="*/ 2811426 h 3102100"/>
                <a:gd name="connsiteX44" fmla="*/ 979232 w 1398564"/>
                <a:gd name="connsiteY44" fmla="*/ 2749480 h 3102100"/>
                <a:gd name="connsiteX45" fmla="*/ 988760 w 1398564"/>
                <a:gd name="connsiteY45" fmla="*/ 2763776 h 3102100"/>
                <a:gd name="connsiteX46" fmla="*/ 998292 w 1398564"/>
                <a:gd name="connsiteY46" fmla="*/ 2768540 h 3102100"/>
                <a:gd name="connsiteX47" fmla="*/ 993528 w 1398564"/>
                <a:gd name="connsiteY47" fmla="*/ 2778072 h 3102100"/>
                <a:gd name="connsiteX48" fmla="*/ 983996 w 1398564"/>
                <a:gd name="connsiteY48" fmla="*/ 2778072 h 3102100"/>
                <a:gd name="connsiteX49" fmla="*/ 979232 w 1398564"/>
                <a:gd name="connsiteY49" fmla="*/ 2778072 h 3102100"/>
                <a:gd name="connsiteX50" fmla="*/ 974464 w 1398564"/>
                <a:gd name="connsiteY50" fmla="*/ 2754246 h 3102100"/>
                <a:gd name="connsiteX51" fmla="*/ 919668 w 1398564"/>
                <a:gd name="connsiteY51" fmla="*/ 2716124 h 3102100"/>
                <a:gd name="connsiteX52" fmla="*/ 924432 w 1398564"/>
                <a:gd name="connsiteY52" fmla="*/ 2716124 h 3102100"/>
                <a:gd name="connsiteX53" fmla="*/ 924432 w 1398564"/>
                <a:gd name="connsiteY53" fmla="*/ 2720890 h 3102100"/>
                <a:gd name="connsiteX54" fmla="*/ 924432 w 1398564"/>
                <a:gd name="connsiteY54" fmla="*/ 2725654 h 3102100"/>
                <a:gd name="connsiteX55" fmla="*/ 924432 w 1398564"/>
                <a:gd name="connsiteY55" fmla="*/ 2735184 h 3102100"/>
                <a:gd name="connsiteX56" fmla="*/ 929196 w 1398564"/>
                <a:gd name="connsiteY56" fmla="*/ 2739950 h 3102100"/>
                <a:gd name="connsiteX57" fmla="*/ 924432 w 1398564"/>
                <a:gd name="connsiteY57" fmla="*/ 2739950 h 3102100"/>
                <a:gd name="connsiteX58" fmla="*/ 919668 w 1398564"/>
                <a:gd name="connsiteY58" fmla="*/ 2739950 h 3102100"/>
                <a:gd name="connsiteX59" fmla="*/ 914904 w 1398564"/>
                <a:gd name="connsiteY59" fmla="*/ 2725654 h 3102100"/>
                <a:gd name="connsiteX60" fmla="*/ 914904 w 1398564"/>
                <a:gd name="connsiteY60" fmla="*/ 2720890 h 3102100"/>
                <a:gd name="connsiteX61" fmla="*/ 905372 w 1398564"/>
                <a:gd name="connsiteY61" fmla="*/ 2701828 h 3102100"/>
                <a:gd name="connsiteX62" fmla="*/ 914904 w 1398564"/>
                <a:gd name="connsiteY62" fmla="*/ 2701828 h 3102100"/>
                <a:gd name="connsiteX63" fmla="*/ 919668 w 1398564"/>
                <a:gd name="connsiteY63" fmla="*/ 2701828 h 3102100"/>
                <a:gd name="connsiteX64" fmla="*/ 914904 w 1398564"/>
                <a:gd name="connsiteY64" fmla="*/ 2706594 h 3102100"/>
                <a:gd name="connsiteX65" fmla="*/ 905372 w 1398564"/>
                <a:gd name="connsiteY65" fmla="*/ 2720888 h 3102100"/>
                <a:gd name="connsiteX66" fmla="*/ 900608 w 1398564"/>
                <a:gd name="connsiteY66" fmla="*/ 2711358 h 3102100"/>
                <a:gd name="connsiteX67" fmla="*/ 895840 w 1398564"/>
                <a:gd name="connsiteY67" fmla="*/ 2706594 h 3102100"/>
                <a:gd name="connsiteX68" fmla="*/ 955404 w 1398564"/>
                <a:gd name="connsiteY68" fmla="*/ 2654176 h 3102100"/>
                <a:gd name="connsiteX69" fmla="*/ 964936 w 1398564"/>
                <a:gd name="connsiteY69" fmla="*/ 2658942 h 3102100"/>
                <a:gd name="connsiteX70" fmla="*/ 969700 w 1398564"/>
                <a:gd name="connsiteY70" fmla="*/ 2668472 h 3102100"/>
                <a:gd name="connsiteX71" fmla="*/ 974464 w 1398564"/>
                <a:gd name="connsiteY71" fmla="*/ 2673238 h 3102100"/>
                <a:gd name="connsiteX72" fmla="*/ 979232 w 1398564"/>
                <a:gd name="connsiteY72" fmla="*/ 2673238 h 3102100"/>
                <a:gd name="connsiteX73" fmla="*/ 974464 w 1398564"/>
                <a:gd name="connsiteY73" fmla="*/ 2687534 h 3102100"/>
                <a:gd name="connsiteX74" fmla="*/ 964936 w 1398564"/>
                <a:gd name="connsiteY74" fmla="*/ 2706594 h 3102100"/>
                <a:gd name="connsiteX75" fmla="*/ 955404 w 1398564"/>
                <a:gd name="connsiteY75" fmla="*/ 2711360 h 3102100"/>
                <a:gd name="connsiteX76" fmla="*/ 955404 w 1398564"/>
                <a:gd name="connsiteY76" fmla="*/ 2682768 h 3102100"/>
                <a:gd name="connsiteX77" fmla="*/ 950640 w 1398564"/>
                <a:gd name="connsiteY77" fmla="*/ 2663708 h 3102100"/>
                <a:gd name="connsiteX78" fmla="*/ 945876 w 1398564"/>
                <a:gd name="connsiteY78" fmla="*/ 2573170 h 3102100"/>
                <a:gd name="connsiteX79" fmla="*/ 950640 w 1398564"/>
                <a:gd name="connsiteY79" fmla="*/ 2577936 h 3102100"/>
                <a:gd name="connsiteX80" fmla="*/ 955404 w 1398564"/>
                <a:gd name="connsiteY80" fmla="*/ 2587466 h 3102100"/>
                <a:gd name="connsiteX81" fmla="*/ 950640 w 1398564"/>
                <a:gd name="connsiteY81" fmla="*/ 2616056 h 3102100"/>
                <a:gd name="connsiteX82" fmla="*/ 945876 w 1398564"/>
                <a:gd name="connsiteY82" fmla="*/ 2601760 h 3102100"/>
                <a:gd name="connsiteX83" fmla="*/ 945876 w 1398564"/>
                <a:gd name="connsiteY83" fmla="*/ 2587466 h 3102100"/>
                <a:gd name="connsiteX84" fmla="*/ 409800 w 1398564"/>
                <a:gd name="connsiteY84" fmla="*/ 2130012 h 3102100"/>
                <a:gd name="connsiteX85" fmla="*/ 414564 w 1398564"/>
                <a:gd name="connsiteY85" fmla="*/ 2139544 h 3102100"/>
                <a:gd name="connsiteX86" fmla="*/ 409800 w 1398564"/>
                <a:gd name="connsiteY86" fmla="*/ 2149074 h 3102100"/>
                <a:gd name="connsiteX87" fmla="*/ 405032 w 1398564"/>
                <a:gd name="connsiteY87" fmla="*/ 2153840 h 3102100"/>
                <a:gd name="connsiteX88" fmla="*/ 400268 w 1398564"/>
                <a:gd name="connsiteY88" fmla="*/ 2149074 h 3102100"/>
                <a:gd name="connsiteX89" fmla="*/ 395504 w 1398564"/>
                <a:gd name="connsiteY89" fmla="*/ 2149074 h 3102100"/>
                <a:gd name="connsiteX90" fmla="*/ 376444 w 1398564"/>
                <a:gd name="connsiteY90" fmla="*/ 2087128 h 3102100"/>
                <a:gd name="connsiteX91" fmla="*/ 376444 w 1398564"/>
                <a:gd name="connsiteY91" fmla="*/ 2096658 h 3102100"/>
                <a:gd name="connsiteX92" fmla="*/ 371676 w 1398564"/>
                <a:gd name="connsiteY92" fmla="*/ 2115718 h 3102100"/>
                <a:gd name="connsiteX93" fmla="*/ 357384 w 1398564"/>
                <a:gd name="connsiteY93" fmla="*/ 2130014 h 3102100"/>
                <a:gd name="connsiteX94" fmla="*/ 347852 w 1398564"/>
                <a:gd name="connsiteY94" fmla="*/ 2144308 h 3102100"/>
                <a:gd name="connsiteX95" fmla="*/ 343088 w 1398564"/>
                <a:gd name="connsiteY95" fmla="*/ 2120484 h 3102100"/>
                <a:gd name="connsiteX96" fmla="*/ 357384 w 1398564"/>
                <a:gd name="connsiteY96" fmla="*/ 2106188 h 3102100"/>
                <a:gd name="connsiteX97" fmla="*/ 366912 w 1398564"/>
                <a:gd name="connsiteY97" fmla="*/ 2096658 h 3102100"/>
                <a:gd name="connsiteX98" fmla="*/ 833896 w 1398564"/>
                <a:gd name="connsiteY98" fmla="*/ 2039476 h 3102100"/>
                <a:gd name="connsiteX99" fmla="*/ 843424 w 1398564"/>
                <a:gd name="connsiteY99" fmla="*/ 2039476 h 3102100"/>
                <a:gd name="connsiteX100" fmla="*/ 843424 w 1398564"/>
                <a:gd name="connsiteY100" fmla="*/ 2044242 h 3102100"/>
                <a:gd name="connsiteX101" fmla="*/ 843424 w 1398564"/>
                <a:gd name="connsiteY101" fmla="*/ 2049006 h 3102100"/>
                <a:gd name="connsiteX102" fmla="*/ 843424 w 1398564"/>
                <a:gd name="connsiteY102" fmla="*/ 2053772 h 3102100"/>
                <a:gd name="connsiteX103" fmla="*/ 838660 w 1398564"/>
                <a:gd name="connsiteY103" fmla="*/ 2077596 h 3102100"/>
                <a:gd name="connsiteX104" fmla="*/ 833896 w 1398564"/>
                <a:gd name="connsiteY104" fmla="*/ 2082362 h 3102100"/>
                <a:gd name="connsiteX105" fmla="*/ 824364 w 1398564"/>
                <a:gd name="connsiteY105" fmla="*/ 2068066 h 3102100"/>
                <a:gd name="connsiteX106" fmla="*/ 824364 w 1398564"/>
                <a:gd name="connsiteY106" fmla="*/ 2044242 h 3102100"/>
                <a:gd name="connsiteX107" fmla="*/ 200132 w 1398564"/>
                <a:gd name="connsiteY107" fmla="*/ 1648736 h 3102100"/>
                <a:gd name="connsiteX108" fmla="*/ 223960 w 1398564"/>
                <a:gd name="connsiteY108" fmla="*/ 1648736 h 3102100"/>
                <a:gd name="connsiteX109" fmla="*/ 243020 w 1398564"/>
                <a:gd name="connsiteY109" fmla="*/ 1648736 h 3102100"/>
                <a:gd name="connsiteX110" fmla="*/ 243020 w 1398564"/>
                <a:gd name="connsiteY110" fmla="*/ 1658266 h 3102100"/>
                <a:gd name="connsiteX111" fmla="*/ 238252 w 1398564"/>
                <a:gd name="connsiteY111" fmla="*/ 1677326 h 3102100"/>
                <a:gd name="connsiteX112" fmla="*/ 233488 w 1398564"/>
                <a:gd name="connsiteY112" fmla="*/ 1682092 h 3102100"/>
                <a:gd name="connsiteX113" fmla="*/ 214428 w 1398564"/>
                <a:gd name="connsiteY113" fmla="*/ 1667796 h 3102100"/>
                <a:gd name="connsiteX114" fmla="*/ 238256 w 1398564"/>
                <a:gd name="connsiteY114" fmla="*/ 1534372 h 3102100"/>
                <a:gd name="connsiteX115" fmla="*/ 257316 w 1398564"/>
                <a:gd name="connsiteY115" fmla="*/ 1548668 h 3102100"/>
                <a:gd name="connsiteX116" fmla="*/ 262080 w 1398564"/>
                <a:gd name="connsiteY116" fmla="*/ 1548668 h 3102100"/>
                <a:gd name="connsiteX117" fmla="*/ 271608 w 1398564"/>
                <a:gd name="connsiteY117" fmla="*/ 1558198 h 3102100"/>
                <a:gd name="connsiteX118" fmla="*/ 271608 w 1398564"/>
                <a:gd name="connsiteY118" fmla="*/ 1562962 h 3102100"/>
                <a:gd name="connsiteX119" fmla="*/ 271608 w 1398564"/>
                <a:gd name="connsiteY119" fmla="*/ 1567728 h 3102100"/>
                <a:gd name="connsiteX120" fmla="*/ 266844 w 1398564"/>
                <a:gd name="connsiteY120" fmla="*/ 1572492 h 3102100"/>
                <a:gd name="connsiteX121" fmla="*/ 252548 w 1398564"/>
                <a:gd name="connsiteY121" fmla="*/ 1577258 h 3102100"/>
                <a:gd name="connsiteX122" fmla="*/ 243020 w 1398564"/>
                <a:gd name="connsiteY122" fmla="*/ 1572492 h 3102100"/>
                <a:gd name="connsiteX123" fmla="*/ 238256 w 1398564"/>
                <a:gd name="connsiteY123" fmla="*/ 1558198 h 3102100"/>
                <a:gd name="connsiteX124" fmla="*/ 228724 w 1398564"/>
                <a:gd name="connsiteY124" fmla="*/ 1553432 h 3102100"/>
                <a:gd name="connsiteX125" fmla="*/ 228724 w 1398564"/>
                <a:gd name="connsiteY125" fmla="*/ 1548668 h 3102100"/>
                <a:gd name="connsiteX126" fmla="*/ 233488 w 1398564"/>
                <a:gd name="connsiteY126" fmla="*/ 1539138 h 3102100"/>
                <a:gd name="connsiteX127" fmla="*/ 190604 w 1398564"/>
                <a:gd name="connsiteY127" fmla="*/ 1472426 h 3102100"/>
                <a:gd name="connsiteX128" fmla="*/ 204896 w 1398564"/>
                <a:gd name="connsiteY128" fmla="*/ 1481956 h 3102100"/>
                <a:gd name="connsiteX129" fmla="*/ 204896 w 1398564"/>
                <a:gd name="connsiteY129" fmla="*/ 1505782 h 3102100"/>
                <a:gd name="connsiteX130" fmla="*/ 195368 w 1398564"/>
                <a:gd name="connsiteY130" fmla="*/ 1496252 h 3102100"/>
                <a:gd name="connsiteX131" fmla="*/ 190604 w 1398564"/>
                <a:gd name="connsiteY131" fmla="*/ 1481956 h 3102100"/>
                <a:gd name="connsiteX132" fmla="*/ 114360 w 1398564"/>
                <a:gd name="connsiteY132" fmla="*/ 1448600 h 3102100"/>
                <a:gd name="connsiteX133" fmla="*/ 119128 w 1398564"/>
                <a:gd name="connsiteY133" fmla="*/ 1453366 h 3102100"/>
                <a:gd name="connsiteX134" fmla="*/ 128656 w 1398564"/>
                <a:gd name="connsiteY134" fmla="*/ 1477190 h 3102100"/>
                <a:gd name="connsiteX135" fmla="*/ 128656 w 1398564"/>
                <a:gd name="connsiteY135" fmla="*/ 1491486 h 3102100"/>
                <a:gd name="connsiteX136" fmla="*/ 123892 w 1398564"/>
                <a:gd name="connsiteY136" fmla="*/ 1486720 h 3102100"/>
                <a:gd name="connsiteX137" fmla="*/ 114360 w 1398564"/>
                <a:gd name="connsiteY137" fmla="*/ 1462896 h 3102100"/>
                <a:gd name="connsiteX138" fmla="*/ 843428 w 1398564"/>
                <a:gd name="connsiteY138" fmla="*/ 0 h 3102100"/>
                <a:gd name="connsiteX139" fmla="*/ 852956 w 1398564"/>
                <a:gd name="connsiteY139" fmla="*/ 4766 h 3102100"/>
                <a:gd name="connsiteX140" fmla="*/ 857720 w 1398564"/>
                <a:gd name="connsiteY140" fmla="*/ 9532 h 3102100"/>
                <a:gd name="connsiteX141" fmla="*/ 862488 w 1398564"/>
                <a:gd name="connsiteY141" fmla="*/ 19062 h 3102100"/>
                <a:gd name="connsiteX142" fmla="*/ 872016 w 1398564"/>
                <a:gd name="connsiteY142" fmla="*/ 28592 h 3102100"/>
                <a:gd name="connsiteX143" fmla="*/ 876784 w 1398564"/>
                <a:gd name="connsiteY143" fmla="*/ 28592 h 3102100"/>
                <a:gd name="connsiteX144" fmla="*/ 886312 w 1398564"/>
                <a:gd name="connsiteY144" fmla="*/ 28592 h 3102100"/>
                <a:gd name="connsiteX145" fmla="*/ 891076 w 1398564"/>
                <a:gd name="connsiteY145" fmla="*/ 28592 h 3102100"/>
                <a:gd name="connsiteX146" fmla="*/ 895844 w 1398564"/>
                <a:gd name="connsiteY146" fmla="*/ 38122 h 3102100"/>
                <a:gd name="connsiteX147" fmla="*/ 910140 w 1398564"/>
                <a:gd name="connsiteY147" fmla="*/ 57182 h 3102100"/>
                <a:gd name="connsiteX148" fmla="*/ 914904 w 1398564"/>
                <a:gd name="connsiteY148" fmla="*/ 61948 h 3102100"/>
                <a:gd name="connsiteX149" fmla="*/ 924432 w 1398564"/>
                <a:gd name="connsiteY149" fmla="*/ 66712 h 3102100"/>
                <a:gd name="connsiteX150" fmla="*/ 924432 w 1398564"/>
                <a:gd name="connsiteY150" fmla="*/ 85774 h 3102100"/>
                <a:gd name="connsiteX151" fmla="*/ 929200 w 1398564"/>
                <a:gd name="connsiteY151" fmla="*/ 100068 h 3102100"/>
                <a:gd name="connsiteX152" fmla="*/ 941112 w 1398564"/>
                <a:gd name="connsiteY152" fmla="*/ 152486 h 3102100"/>
                <a:gd name="connsiteX153" fmla="*/ 945876 w 1398564"/>
                <a:gd name="connsiteY153" fmla="*/ 162016 h 3102100"/>
                <a:gd name="connsiteX154" fmla="*/ 950640 w 1398564"/>
                <a:gd name="connsiteY154" fmla="*/ 171546 h 3102100"/>
                <a:gd name="connsiteX155" fmla="*/ 960172 w 1398564"/>
                <a:gd name="connsiteY155" fmla="*/ 176310 h 3102100"/>
                <a:gd name="connsiteX156" fmla="*/ 964936 w 1398564"/>
                <a:gd name="connsiteY156" fmla="*/ 166780 h 3102100"/>
                <a:gd name="connsiteX157" fmla="*/ 969704 w 1398564"/>
                <a:gd name="connsiteY157" fmla="*/ 157250 h 3102100"/>
                <a:gd name="connsiteX158" fmla="*/ 974468 w 1398564"/>
                <a:gd name="connsiteY158" fmla="*/ 152486 h 3102100"/>
                <a:gd name="connsiteX159" fmla="*/ 983996 w 1398564"/>
                <a:gd name="connsiteY159" fmla="*/ 157250 h 3102100"/>
                <a:gd name="connsiteX160" fmla="*/ 998292 w 1398564"/>
                <a:gd name="connsiteY160" fmla="*/ 162016 h 3102100"/>
                <a:gd name="connsiteX161" fmla="*/ 1007824 w 1398564"/>
                <a:gd name="connsiteY161" fmla="*/ 166780 h 3102100"/>
                <a:gd name="connsiteX162" fmla="*/ 1012588 w 1398564"/>
                <a:gd name="connsiteY162" fmla="*/ 195372 h 3102100"/>
                <a:gd name="connsiteX163" fmla="*/ 1012588 w 1398564"/>
                <a:gd name="connsiteY163" fmla="*/ 223962 h 3102100"/>
                <a:gd name="connsiteX164" fmla="*/ 1007824 w 1398564"/>
                <a:gd name="connsiteY164" fmla="*/ 238258 h 3102100"/>
                <a:gd name="connsiteX165" fmla="*/ 1017352 w 1398564"/>
                <a:gd name="connsiteY165" fmla="*/ 262082 h 3102100"/>
                <a:gd name="connsiteX166" fmla="*/ 1017352 w 1398564"/>
                <a:gd name="connsiteY166" fmla="*/ 290674 h 3102100"/>
                <a:gd name="connsiteX167" fmla="*/ 1022120 w 1398564"/>
                <a:gd name="connsiteY167" fmla="*/ 304970 h 3102100"/>
                <a:gd name="connsiteX168" fmla="*/ 1022120 w 1398564"/>
                <a:gd name="connsiteY168" fmla="*/ 324030 h 3102100"/>
                <a:gd name="connsiteX169" fmla="*/ 1017352 w 1398564"/>
                <a:gd name="connsiteY169" fmla="*/ 343090 h 3102100"/>
                <a:gd name="connsiteX170" fmla="*/ 1017352 w 1398564"/>
                <a:gd name="connsiteY170" fmla="*/ 371680 h 3102100"/>
                <a:gd name="connsiteX171" fmla="*/ 1007824 w 1398564"/>
                <a:gd name="connsiteY171" fmla="*/ 390742 h 3102100"/>
                <a:gd name="connsiteX172" fmla="*/ 1012588 w 1398564"/>
                <a:gd name="connsiteY172" fmla="*/ 409802 h 3102100"/>
                <a:gd name="connsiteX173" fmla="*/ 1007824 w 1398564"/>
                <a:gd name="connsiteY173" fmla="*/ 419332 h 3102100"/>
                <a:gd name="connsiteX174" fmla="*/ 993528 w 1398564"/>
                <a:gd name="connsiteY174" fmla="*/ 424098 h 3102100"/>
                <a:gd name="connsiteX175" fmla="*/ 993528 w 1398564"/>
                <a:gd name="connsiteY175" fmla="*/ 433628 h 3102100"/>
                <a:gd name="connsiteX176" fmla="*/ 998292 w 1398564"/>
                <a:gd name="connsiteY176" fmla="*/ 443158 h 3102100"/>
                <a:gd name="connsiteX177" fmla="*/ 1007824 w 1398564"/>
                <a:gd name="connsiteY177" fmla="*/ 457454 h 3102100"/>
                <a:gd name="connsiteX178" fmla="*/ 1007824 w 1398564"/>
                <a:gd name="connsiteY178" fmla="*/ 466984 h 3102100"/>
                <a:gd name="connsiteX179" fmla="*/ 1003060 w 1398564"/>
                <a:gd name="connsiteY179" fmla="*/ 471748 h 3102100"/>
                <a:gd name="connsiteX180" fmla="*/ 993528 w 1398564"/>
                <a:gd name="connsiteY180" fmla="*/ 476514 h 3102100"/>
                <a:gd name="connsiteX181" fmla="*/ 979232 w 1398564"/>
                <a:gd name="connsiteY181" fmla="*/ 481278 h 3102100"/>
                <a:gd name="connsiteX182" fmla="*/ 969704 w 1398564"/>
                <a:gd name="connsiteY182" fmla="*/ 500340 h 3102100"/>
                <a:gd name="connsiteX183" fmla="*/ 955408 w 1398564"/>
                <a:gd name="connsiteY183" fmla="*/ 514634 h 3102100"/>
                <a:gd name="connsiteX184" fmla="*/ 950640 w 1398564"/>
                <a:gd name="connsiteY184" fmla="*/ 519400 h 3102100"/>
                <a:gd name="connsiteX185" fmla="*/ 931580 w 1398564"/>
                <a:gd name="connsiteY185" fmla="*/ 514634 h 3102100"/>
                <a:gd name="connsiteX186" fmla="*/ 929200 w 1398564"/>
                <a:gd name="connsiteY186" fmla="*/ 519400 h 3102100"/>
                <a:gd name="connsiteX187" fmla="*/ 924432 w 1398564"/>
                <a:gd name="connsiteY187" fmla="*/ 543226 h 3102100"/>
                <a:gd name="connsiteX188" fmla="*/ 914904 w 1398564"/>
                <a:gd name="connsiteY188" fmla="*/ 557520 h 3102100"/>
                <a:gd name="connsiteX189" fmla="*/ 910140 w 1398564"/>
                <a:gd name="connsiteY189" fmla="*/ 567052 h 3102100"/>
                <a:gd name="connsiteX190" fmla="*/ 900608 w 1398564"/>
                <a:gd name="connsiteY190" fmla="*/ 571816 h 3102100"/>
                <a:gd name="connsiteX191" fmla="*/ 895844 w 1398564"/>
                <a:gd name="connsiteY191" fmla="*/ 576582 h 3102100"/>
                <a:gd name="connsiteX192" fmla="*/ 876784 w 1398564"/>
                <a:gd name="connsiteY192" fmla="*/ 571816 h 3102100"/>
                <a:gd name="connsiteX193" fmla="*/ 872016 w 1398564"/>
                <a:gd name="connsiteY193" fmla="*/ 590876 h 3102100"/>
                <a:gd name="connsiteX194" fmla="*/ 862488 w 1398564"/>
                <a:gd name="connsiteY194" fmla="*/ 609938 h 3102100"/>
                <a:gd name="connsiteX195" fmla="*/ 862488 w 1398564"/>
                <a:gd name="connsiteY195" fmla="*/ 624232 h 3102100"/>
                <a:gd name="connsiteX196" fmla="*/ 867252 w 1398564"/>
                <a:gd name="connsiteY196" fmla="*/ 638528 h 3102100"/>
                <a:gd name="connsiteX197" fmla="*/ 862488 w 1398564"/>
                <a:gd name="connsiteY197" fmla="*/ 643294 h 3102100"/>
                <a:gd name="connsiteX198" fmla="*/ 857720 w 1398564"/>
                <a:gd name="connsiteY198" fmla="*/ 648058 h 3102100"/>
                <a:gd name="connsiteX199" fmla="*/ 843428 w 1398564"/>
                <a:gd name="connsiteY199" fmla="*/ 657588 h 3102100"/>
                <a:gd name="connsiteX200" fmla="*/ 833896 w 1398564"/>
                <a:gd name="connsiteY200" fmla="*/ 681414 h 3102100"/>
                <a:gd name="connsiteX201" fmla="*/ 833896 w 1398564"/>
                <a:gd name="connsiteY201" fmla="*/ 705240 h 3102100"/>
                <a:gd name="connsiteX202" fmla="*/ 838660 w 1398564"/>
                <a:gd name="connsiteY202" fmla="*/ 714770 h 3102100"/>
                <a:gd name="connsiteX203" fmla="*/ 848192 w 1398564"/>
                <a:gd name="connsiteY203" fmla="*/ 714770 h 3102100"/>
                <a:gd name="connsiteX204" fmla="*/ 852956 w 1398564"/>
                <a:gd name="connsiteY204" fmla="*/ 724300 h 3102100"/>
                <a:gd name="connsiteX205" fmla="*/ 857720 w 1398564"/>
                <a:gd name="connsiteY205" fmla="*/ 733830 h 3102100"/>
                <a:gd name="connsiteX206" fmla="*/ 862488 w 1398564"/>
                <a:gd name="connsiteY206" fmla="*/ 748126 h 3102100"/>
                <a:gd name="connsiteX207" fmla="*/ 857720 w 1398564"/>
                <a:gd name="connsiteY207" fmla="*/ 767186 h 3102100"/>
                <a:gd name="connsiteX208" fmla="*/ 838660 w 1398564"/>
                <a:gd name="connsiteY208" fmla="*/ 791012 h 3102100"/>
                <a:gd name="connsiteX209" fmla="*/ 838660 w 1398564"/>
                <a:gd name="connsiteY209" fmla="*/ 805308 h 3102100"/>
                <a:gd name="connsiteX210" fmla="*/ 848192 w 1398564"/>
                <a:gd name="connsiteY210" fmla="*/ 810072 h 3102100"/>
                <a:gd name="connsiteX211" fmla="*/ 857720 w 1398564"/>
                <a:gd name="connsiteY211" fmla="*/ 805308 h 3102100"/>
                <a:gd name="connsiteX212" fmla="*/ 867252 w 1398564"/>
                <a:gd name="connsiteY212" fmla="*/ 800542 h 3102100"/>
                <a:gd name="connsiteX213" fmla="*/ 881548 w 1398564"/>
                <a:gd name="connsiteY213" fmla="*/ 791012 h 3102100"/>
                <a:gd name="connsiteX214" fmla="*/ 910140 w 1398564"/>
                <a:gd name="connsiteY214" fmla="*/ 776716 h 3102100"/>
                <a:gd name="connsiteX215" fmla="*/ 936348 w 1398564"/>
                <a:gd name="connsiteY215" fmla="*/ 771952 h 3102100"/>
                <a:gd name="connsiteX216" fmla="*/ 960172 w 1398564"/>
                <a:gd name="connsiteY216" fmla="*/ 767186 h 3102100"/>
                <a:gd name="connsiteX217" fmla="*/ 983996 w 1398564"/>
                <a:gd name="connsiteY217" fmla="*/ 767186 h 3102100"/>
                <a:gd name="connsiteX218" fmla="*/ 993528 w 1398564"/>
                <a:gd name="connsiteY218" fmla="*/ 771952 h 3102100"/>
                <a:gd name="connsiteX219" fmla="*/ 993528 w 1398564"/>
                <a:gd name="connsiteY219" fmla="*/ 776716 h 3102100"/>
                <a:gd name="connsiteX220" fmla="*/ 1022120 w 1398564"/>
                <a:gd name="connsiteY220" fmla="*/ 767186 h 3102100"/>
                <a:gd name="connsiteX221" fmla="*/ 1031648 w 1398564"/>
                <a:gd name="connsiteY221" fmla="*/ 767186 h 3102100"/>
                <a:gd name="connsiteX222" fmla="*/ 1036416 w 1398564"/>
                <a:gd name="connsiteY222" fmla="*/ 767186 h 3102100"/>
                <a:gd name="connsiteX223" fmla="*/ 1036416 w 1398564"/>
                <a:gd name="connsiteY223" fmla="*/ 771952 h 3102100"/>
                <a:gd name="connsiteX224" fmla="*/ 1012588 w 1398564"/>
                <a:gd name="connsiteY224" fmla="*/ 795778 h 3102100"/>
                <a:gd name="connsiteX225" fmla="*/ 1012588 w 1398564"/>
                <a:gd name="connsiteY225" fmla="*/ 805308 h 3102100"/>
                <a:gd name="connsiteX226" fmla="*/ 1012588 w 1398564"/>
                <a:gd name="connsiteY226" fmla="*/ 814838 h 3102100"/>
                <a:gd name="connsiteX227" fmla="*/ 1017352 w 1398564"/>
                <a:gd name="connsiteY227" fmla="*/ 824368 h 3102100"/>
                <a:gd name="connsiteX228" fmla="*/ 1026884 w 1398564"/>
                <a:gd name="connsiteY228" fmla="*/ 833898 h 3102100"/>
                <a:gd name="connsiteX229" fmla="*/ 1036416 w 1398564"/>
                <a:gd name="connsiteY229" fmla="*/ 852958 h 3102100"/>
                <a:gd name="connsiteX230" fmla="*/ 1031648 w 1398564"/>
                <a:gd name="connsiteY230" fmla="*/ 872020 h 3102100"/>
                <a:gd name="connsiteX231" fmla="*/ 1031648 w 1398564"/>
                <a:gd name="connsiteY231" fmla="*/ 876784 h 3102100"/>
                <a:gd name="connsiteX232" fmla="*/ 1036416 w 1398564"/>
                <a:gd name="connsiteY232" fmla="*/ 886314 h 3102100"/>
                <a:gd name="connsiteX233" fmla="*/ 1041180 w 1398564"/>
                <a:gd name="connsiteY233" fmla="*/ 895844 h 3102100"/>
                <a:gd name="connsiteX234" fmla="*/ 1041180 w 1398564"/>
                <a:gd name="connsiteY234" fmla="*/ 905376 h 3102100"/>
                <a:gd name="connsiteX235" fmla="*/ 1041180 w 1398564"/>
                <a:gd name="connsiteY235" fmla="*/ 924436 h 3102100"/>
                <a:gd name="connsiteX236" fmla="*/ 1069768 w 1398564"/>
                <a:gd name="connsiteY236" fmla="*/ 938732 h 3102100"/>
                <a:gd name="connsiteX237" fmla="*/ 1093596 w 1398564"/>
                <a:gd name="connsiteY237" fmla="*/ 943496 h 3102100"/>
                <a:gd name="connsiteX238" fmla="*/ 1112656 w 1398564"/>
                <a:gd name="connsiteY238" fmla="*/ 943496 h 3102100"/>
                <a:gd name="connsiteX239" fmla="*/ 1126952 w 1398564"/>
                <a:gd name="connsiteY239" fmla="*/ 948262 h 3102100"/>
                <a:gd name="connsiteX240" fmla="*/ 1131716 w 1398564"/>
                <a:gd name="connsiteY240" fmla="*/ 953026 h 3102100"/>
                <a:gd name="connsiteX241" fmla="*/ 1136480 w 1398564"/>
                <a:gd name="connsiteY241" fmla="*/ 957792 h 3102100"/>
                <a:gd name="connsiteX242" fmla="*/ 1141248 w 1398564"/>
                <a:gd name="connsiteY242" fmla="*/ 967322 h 3102100"/>
                <a:gd name="connsiteX243" fmla="*/ 1131716 w 1398564"/>
                <a:gd name="connsiteY243" fmla="*/ 972086 h 3102100"/>
                <a:gd name="connsiteX244" fmla="*/ 1122188 w 1398564"/>
                <a:gd name="connsiteY244" fmla="*/ 986382 h 3102100"/>
                <a:gd name="connsiteX245" fmla="*/ 1112656 w 1398564"/>
                <a:gd name="connsiteY245" fmla="*/ 1010208 h 3102100"/>
                <a:gd name="connsiteX246" fmla="*/ 1112656 w 1398564"/>
                <a:gd name="connsiteY246" fmla="*/ 1029268 h 3102100"/>
                <a:gd name="connsiteX247" fmla="*/ 1112656 w 1398564"/>
                <a:gd name="connsiteY247" fmla="*/ 1043564 h 3102100"/>
                <a:gd name="connsiteX248" fmla="*/ 1098360 w 1398564"/>
                <a:gd name="connsiteY248" fmla="*/ 1067390 h 3102100"/>
                <a:gd name="connsiteX249" fmla="*/ 1093596 w 1398564"/>
                <a:gd name="connsiteY249" fmla="*/ 1081684 h 3102100"/>
                <a:gd name="connsiteX250" fmla="*/ 1088832 w 1398564"/>
                <a:gd name="connsiteY250" fmla="*/ 1095980 h 3102100"/>
                <a:gd name="connsiteX251" fmla="*/ 1088832 w 1398564"/>
                <a:gd name="connsiteY251" fmla="*/ 1100746 h 3102100"/>
                <a:gd name="connsiteX252" fmla="*/ 1088832 w 1398564"/>
                <a:gd name="connsiteY252" fmla="*/ 1105510 h 3102100"/>
                <a:gd name="connsiteX253" fmla="*/ 1098360 w 1398564"/>
                <a:gd name="connsiteY253" fmla="*/ 1110276 h 3102100"/>
                <a:gd name="connsiteX254" fmla="*/ 1107892 w 1398564"/>
                <a:gd name="connsiteY254" fmla="*/ 1110276 h 3102100"/>
                <a:gd name="connsiteX255" fmla="*/ 1122188 w 1398564"/>
                <a:gd name="connsiteY255" fmla="*/ 1110276 h 3102100"/>
                <a:gd name="connsiteX256" fmla="*/ 1155544 w 1398564"/>
                <a:gd name="connsiteY256" fmla="*/ 1115040 h 3102100"/>
                <a:gd name="connsiteX257" fmla="*/ 1188900 w 1398564"/>
                <a:gd name="connsiteY257" fmla="*/ 1119806 h 3102100"/>
                <a:gd name="connsiteX258" fmla="*/ 1203192 w 1398564"/>
                <a:gd name="connsiteY258" fmla="*/ 1124572 h 3102100"/>
                <a:gd name="connsiteX259" fmla="*/ 1207960 w 1398564"/>
                <a:gd name="connsiteY259" fmla="*/ 1129336 h 3102100"/>
                <a:gd name="connsiteX260" fmla="*/ 1207960 w 1398564"/>
                <a:gd name="connsiteY260" fmla="*/ 1143632 h 3102100"/>
                <a:gd name="connsiteX261" fmla="*/ 1203192 w 1398564"/>
                <a:gd name="connsiteY261" fmla="*/ 1157926 h 3102100"/>
                <a:gd name="connsiteX262" fmla="*/ 1207960 w 1398564"/>
                <a:gd name="connsiteY262" fmla="*/ 1167458 h 3102100"/>
                <a:gd name="connsiteX263" fmla="*/ 1212724 w 1398564"/>
                <a:gd name="connsiteY263" fmla="*/ 1176988 h 3102100"/>
                <a:gd name="connsiteX264" fmla="*/ 1222256 w 1398564"/>
                <a:gd name="connsiteY264" fmla="*/ 1181752 h 3102100"/>
                <a:gd name="connsiteX265" fmla="*/ 1231784 w 1398564"/>
                <a:gd name="connsiteY265" fmla="*/ 1186518 h 3102100"/>
                <a:gd name="connsiteX266" fmla="*/ 1231784 w 1398564"/>
                <a:gd name="connsiteY266" fmla="*/ 1191282 h 3102100"/>
                <a:gd name="connsiteX267" fmla="*/ 1231784 w 1398564"/>
                <a:gd name="connsiteY267" fmla="*/ 1200812 h 3102100"/>
                <a:gd name="connsiteX268" fmla="*/ 1236548 w 1398564"/>
                <a:gd name="connsiteY268" fmla="*/ 1210344 h 3102100"/>
                <a:gd name="connsiteX269" fmla="*/ 1241316 w 1398564"/>
                <a:gd name="connsiteY269" fmla="*/ 1215108 h 3102100"/>
                <a:gd name="connsiteX270" fmla="*/ 1250844 w 1398564"/>
                <a:gd name="connsiteY270" fmla="*/ 1219874 h 3102100"/>
                <a:gd name="connsiteX271" fmla="*/ 1269904 w 1398564"/>
                <a:gd name="connsiteY271" fmla="*/ 1210344 h 3102100"/>
                <a:gd name="connsiteX272" fmla="*/ 1288968 w 1398564"/>
                <a:gd name="connsiteY272" fmla="*/ 1215108 h 3102100"/>
                <a:gd name="connsiteX273" fmla="*/ 1298496 w 1398564"/>
                <a:gd name="connsiteY273" fmla="*/ 1219874 h 3102100"/>
                <a:gd name="connsiteX274" fmla="*/ 1312792 w 1398564"/>
                <a:gd name="connsiteY274" fmla="*/ 1215108 h 3102100"/>
                <a:gd name="connsiteX275" fmla="*/ 1322320 w 1398564"/>
                <a:gd name="connsiteY275" fmla="*/ 1210344 h 3102100"/>
                <a:gd name="connsiteX276" fmla="*/ 1346148 w 1398564"/>
                <a:gd name="connsiteY276" fmla="*/ 1186518 h 3102100"/>
                <a:gd name="connsiteX277" fmla="*/ 1374740 w 1398564"/>
                <a:gd name="connsiteY277" fmla="*/ 1172222 h 3102100"/>
                <a:gd name="connsiteX278" fmla="*/ 1384268 w 1398564"/>
                <a:gd name="connsiteY278" fmla="*/ 1167458 h 3102100"/>
                <a:gd name="connsiteX279" fmla="*/ 1393800 w 1398564"/>
                <a:gd name="connsiteY279" fmla="*/ 1172222 h 3102100"/>
                <a:gd name="connsiteX280" fmla="*/ 1393800 w 1398564"/>
                <a:gd name="connsiteY280" fmla="*/ 1176988 h 3102100"/>
                <a:gd name="connsiteX281" fmla="*/ 1398564 w 1398564"/>
                <a:gd name="connsiteY281" fmla="*/ 1196048 h 3102100"/>
                <a:gd name="connsiteX282" fmla="*/ 1393800 w 1398564"/>
                <a:gd name="connsiteY282" fmla="*/ 1200812 h 3102100"/>
                <a:gd name="connsiteX283" fmla="*/ 1384268 w 1398564"/>
                <a:gd name="connsiteY283" fmla="*/ 1215108 h 3102100"/>
                <a:gd name="connsiteX284" fmla="*/ 1360444 w 1398564"/>
                <a:gd name="connsiteY284" fmla="*/ 1234168 h 3102100"/>
                <a:gd name="connsiteX285" fmla="*/ 1346148 w 1398564"/>
                <a:gd name="connsiteY285" fmla="*/ 1243700 h 3102100"/>
                <a:gd name="connsiteX286" fmla="*/ 1336616 w 1398564"/>
                <a:gd name="connsiteY286" fmla="*/ 1243700 h 3102100"/>
                <a:gd name="connsiteX287" fmla="*/ 1327088 w 1398564"/>
                <a:gd name="connsiteY287" fmla="*/ 1253230 h 3102100"/>
                <a:gd name="connsiteX288" fmla="*/ 1322320 w 1398564"/>
                <a:gd name="connsiteY288" fmla="*/ 1272290 h 3102100"/>
                <a:gd name="connsiteX289" fmla="*/ 1312792 w 1398564"/>
                <a:gd name="connsiteY289" fmla="*/ 1286586 h 3102100"/>
                <a:gd name="connsiteX290" fmla="*/ 1303260 w 1398564"/>
                <a:gd name="connsiteY290" fmla="*/ 1291350 h 3102100"/>
                <a:gd name="connsiteX291" fmla="*/ 1303260 w 1398564"/>
                <a:gd name="connsiteY291" fmla="*/ 1296116 h 3102100"/>
                <a:gd name="connsiteX292" fmla="*/ 1298496 w 1398564"/>
                <a:gd name="connsiteY292" fmla="*/ 1310410 h 3102100"/>
                <a:gd name="connsiteX293" fmla="*/ 1303260 w 1398564"/>
                <a:gd name="connsiteY293" fmla="*/ 1315176 h 3102100"/>
                <a:gd name="connsiteX294" fmla="*/ 1312792 w 1398564"/>
                <a:gd name="connsiteY294" fmla="*/ 1315176 h 3102100"/>
                <a:gd name="connsiteX295" fmla="*/ 1312792 w 1398564"/>
                <a:gd name="connsiteY295" fmla="*/ 1319942 h 3102100"/>
                <a:gd name="connsiteX296" fmla="*/ 1303260 w 1398564"/>
                <a:gd name="connsiteY296" fmla="*/ 1324706 h 3102100"/>
                <a:gd name="connsiteX297" fmla="*/ 1293732 w 1398564"/>
                <a:gd name="connsiteY297" fmla="*/ 1329472 h 3102100"/>
                <a:gd name="connsiteX298" fmla="*/ 1279436 w 1398564"/>
                <a:gd name="connsiteY298" fmla="*/ 1324706 h 3102100"/>
                <a:gd name="connsiteX299" fmla="*/ 1269904 w 1398564"/>
                <a:gd name="connsiteY299" fmla="*/ 1329472 h 3102100"/>
                <a:gd name="connsiteX300" fmla="*/ 1255612 w 1398564"/>
                <a:gd name="connsiteY300" fmla="*/ 1339002 h 3102100"/>
                <a:gd name="connsiteX301" fmla="*/ 1246080 w 1398564"/>
                <a:gd name="connsiteY301" fmla="*/ 1362828 h 3102100"/>
                <a:gd name="connsiteX302" fmla="*/ 1236548 w 1398564"/>
                <a:gd name="connsiteY302" fmla="*/ 1400948 h 3102100"/>
                <a:gd name="connsiteX303" fmla="*/ 1236548 w 1398564"/>
                <a:gd name="connsiteY303" fmla="*/ 1410478 h 3102100"/>
                <a:gd name="connsiteX304" fmla="*/ 1217488 w 1398564"/>
                <a:gd name="connsiteY304" fmla="*/ 1400948 h 3102100"/>
                <a:gd name="connsiteX305" fmla="*/ 1207960 w 1398564"/>
                <a:gd name="connsiteY305" fmla="*/ 1391418 h 3102100"/>
                <a:gd name="connsiteX306" fmla="*/ 1198428 w 1398564"/>
                <a:gd name="connsiteY306" fmla="*/ 1391418 h 3102100"/>
                <a:gd name="connsiteX307" fmla="*/ 1188900 w 1398564"/>
                <a:gd name="connsiteY307" fmla="*/ 1396184 h 3102100"/>
                <a:gd name="connsiteX308" fmla="*/ 1184132 w 1398564"/>
                <a:gd name="connsiteY308" fmla="*/ 1405714 h 3102100"/>
                <a:gd name="connsiteX309" fmla="*/ 1174604 w 1398564"/>
                <a:gd name="connsiteY309" fmla="*/ 1410478 h 3102100"/>
                <a:gd name="connsiteX310" fmla="*/ 1160308 w 1398564"/>
                <a:gd name="connsiteY310" fmla="*/ 1410478 h 3102100"/>
                <a:gd name="connsiteX311" fmla="*/ 1146012 w 1398564"/>
                <a:gd name="connsiteY311" fmla="*/ 1405714 h 3102100"/>
                <a:gd name="connsiteX312" fmla="*/ 1131716 w 1398564"/>
                <a:gd name="connsiteY312" fmla="*/ 1400948 h 3102100"/>
                <a:gd name="connsiteX313" fmla="*/ 1131716 w 1398564"/>
                <a:gd name="connsiteY313" fmla="*/ 1405714 h 3102100"/>
                <a:gd name="connsiteX314" fmla="*/ 1136480 w 1398564"/>
                <a:gd name="connsiteY314" fmla="*/ 1420008 h 3102100"/>
                <a:gd name="connsiteX315" fmla="*/ 1141248 w 1398564"/>
                <a:gd name="connsiteY315" fmla="*/ 1429540 h 3102100"/>
                <a:gd name="connsiteX316" fmla="*/ 1136480 w 1398564"/>
                <a:gd name="connsiteY316" fmla="*/ 1439070 h 3102100"/>
                <a:gd name="connsiteX317" fmla="*/ 1131716 w 1398564"/>
                <a:gd name="connsiteY317" fmla="*/ 1443834 h 3102100"/>
                <a:gd name="connsiteX318" fmla="*/ 1122188 w 1398564"/>
                <a:gd name="connsiteY318" fmla="*/ 1448600 h 3102100"/>
                <a:gd name="connsiteX319" fmla="*/ 1112656 w 1398564"/>
                <a:gd name="connsiteY319" fmla="*/ 1448600 h 3102100"/>
                <a:gd name="connsiteX320" fmla="*/ 1103124 w 1398564"/>
                <a:gd name="connsiteY320" fmla="*/ 1448600 h 3102100"/>
                <a:gd name="connsiteX321" fmla="*/ 1093596 w 1398564"/>
                <a:gd name="connsiteY321" fmla="*/ 1443834 h 3102100"/>
                <a:gd name="connsiteX322" fmla="*/ 1079300 w 1398564"/>
                <a:gd name="connsiteY322" fmla="*/ 1443834 h 3102100"/>
                <a:gd name="connsiteX323" fmla="*/ 1074536 w 1398564"/>
                <a:gd name="connsiteY323" fmla="*/ 1448600 h 3102100"/>
                <a:gd name="connsiteX324" fmla="*/ 1065004 w 1398564"/>
                <a:gd name="connsiteY324" fmla="*/ 1448600 h 3102100"/>
                <a:gd name="connsiteX325" fmla="*/ 1065004 w 1398564"/>
                <a:gd name="connsiteY325" fmla="*/ 1453364 h 3102100"/>
                <a:gd name="connsiteX326" fmla="*/ 1060240 w 1398564"/>
                <a:gd name="connsiteY326" fmla="*/ 1486720 h 3102100"/>
                <a:gd name="connsiteX327" fmla="*/ 1055476 w 1398564"/>
                <a:gd name="connsiteY327" fmla="*/ 1496250 h 3102100"/>
                <a:gd name="connsiteX328" fmla="*/ 1045944 w 1398564"/>
                <a:gd name="connsiteY328" fmla="*/ 1501016 h 3102100"/>
                <a:gd name="connsiteX329" fmla="*/ 1041180 w 1398564"/>
                <a:gd name="connsiteY329" fmla="*/ 1501016 h 3102100"/>
                <a:gd name="connsiteX330" fmla="*/ 1031648 w 1398564"/>
                <a:gd name="connsiteY330" fmla="*/ 1501016 h 3102100"/>
                <a:gd name="connsiteX331" fmla="*/ 1022120 w 1398564"/>
                <a:gd name="connsiteY331" fmla="*/ 1501016 h 3102100"/>
                <a:gd name="connsiteX332" fmla="*/ 979232 w 1398564"/>
                <a:gd name="connsiteY332" fmla="*/ 1510546 h 3102100"/>
                <a:gd name="connsiteX333" fmla="*/ 974468 w 1398564"/>
                <a:gd name="connsiteY333" fmla="*/ 1515312 h 3102100"/>
                <a:gd name="connsiteX334" fmla="*/ 960172 w 1398564"/>
                <a:gd name="connsiteY334" fmla="*/ 1515312 h 3102100"/>
                <a:gd name="connsiteX335" fmla="*/ 950640 w 1398564"/>
                <a:gd name="connsiteY335" fmla="*/ 1515312 h 3102100"/>
                <a:gd name="connsiteX336" fmla="*/ 941112 w 1398564"/>
                <a:gd name="connsiteY336" fmla="*/ 1515312 h 3102100"/>
                <a:gd name="connsiteX337" fmla="*/ 924432 w 1398564"/>
                <a:gd name="connsiteY337" fmla="*/ 1501016 h 3102100"/>
                <a:gd name="connsiteX338" fmla="*/ 914904 w 1398564"/>
                <a:gd name="connsiteY338" fmla="*/ 1501016 h 3102100"/>
                <a:gd name="connsiteX339" fmla="*/ 910140 w 1398564"/>
                <a:gd name="connsiteY339" fmla="*/ 1505782 h 3102100"/>
                <a:gd name="connsiteX340" fmla="*/ 905372 w 1398564"/>
                <a:gd name="connsiteY340" fmla="*/ 1520076 h 3102100"/>
                <a:gd name="connsiteX341" fmla="*/ 895844 w 1398564"/>
                <a:gd name="connsiteY341" fmla="*/ 1529606 h 3102100"/>
                <a:gd name="connsiteX342" fmla="*/ 876784 w 1398564"/>
                <a:gd name="connsiteY342" fmla="*/ 1553432 h 3102100"/>
                <a:gd name="connsiteX343" fmla="*/ 876784 w 1398564"/>
                <a:gd name="connsiteY343" fmla="*/ 1586788 h 3102100"/>
                <a:gd name="connsiteX344" fmla="*/ 876784 w 1398564"/>
                <a:gd name="connsiteY344" fmla="*/ 1605848 h 3102100"/>
                <a:gd name="connsiteX345" fmla="*/ 862488 w 1398564"/>
                <a:gd name="connsiteY345" fmla="*/ 1629674 h 3102100"/>
                <a:gd name="connsiteX346" fmla="*/ 862488 w 1398564"/>
                <a:gd name="connsiteY346" fmla="*/ 1639204 h 3102100"/>
                <a:gd name="connsiteX347" fmla="*/ 867252 w 1398564"/>
                <a:gd name="connsiteY347" fmla="*/ 1691620 h 3102100"/>
                <a:gd name="connsiteX348" fmla="*/ 867252 w 1398564"/>
                <a:gd name="connsiteY348" fmla="*/ 1696386 h 3102100"/>
                <a:gd name="connsiteX349" fmla="*/ 862488 w 1398564"/>
                <a:gd name="connsiteY349" fmla="*/ 1701152 h 3102100"/>
                <a:gd name="connsiteX350" fmla="*/ 857720 w 1398564"/>
                <a:gd name="connsiteY350" fmla="*/ 1701152 h 3102100"/>
                <a:gd name="connsiteX351" fmla="*/ 838660 w 1398564"/>
                <a:gd name="connsiteY351" fmla="*/ 1705916 h 3102100"/>
                <a:gd name="connsiteX352" fmla="*/ 833896 w 1398564"/>
                <a:gd name="connsiteY352" fmla="*/ 1710682 h 3102100"/>
                <a:gd name="connsiteX353" fmla="*/ 824364 w 1398564"/>
                <a:gd name="connsiteY353" fmla="*/ 1710682 h 3102100"/>
                <a:gd name="connsiteX354" fmla="*/ 814836 w 1398564"/>
                <a:gd name="connsiteY354" fmla="*/ 1705916 h 3102100"/>
                <a:gd name="connsiteX355" fmla="*/ 810072 w 1398564"/>
                <a:gd name="connsiteY355" fmla="*/ 1705916 h 3102100"/>
                <a:gd name="connsiteX356" fmla="*/ 810072 w 1398564"/>
                <a:gd name="connsiteY356" fmla="*/ 1710682 h 3102100"/>
                <a:gd name="connsiteX357" fmla="*/ 819600 w 1398564"/>
                <a:gd name="connsiteY357" fmla="*/ 1734508 h 3102100"/>
                <a:gd name="connsiteX358" fmla="*/ 833896 w 1398564"/>
                <a:gd name="connsiteY358" fmla="*/ 1744038 h 3102100"/>
                <a:gd name="connsiteX359" fmla="*/ 843428 w 1398564"/>
                <a:gd name="connsiteY359" fmla="*/ 1744038 h 3102100"/>
                <a:gd name="connsiteX360" fmla="*/ 848192 w 1398564"/>
                <a:gd name="connsiteY360" fmla="*/ 1744038 h 3102100"/>
                <a:gd name="connsiteX361" fmla="*/ 848192 w 1398564"/>
                <a:gd name="connsiteY361" fmla="*/ 1748802 h 3102100"/>
                <a:gd name="connsiteX362" fmla="*/ 852956 w 1398564"/>
                <a:gd name="connsiteY362" fmla="*/ 1763098 h 3102100"/>
                <a:gd name="connsiteX363" fmla="*/ 862488 w 1398564"/>
                <a:gd name="connsiteY363" fmla="*/ 1786924 h 3102100"/>
                <a:gd name="connsiteX364" fmla="*/ 867252 w 1398564"/>
                <a:gd name="connsiteY364" fmla="*/ 1805984 h 3102100"/>
                <a:gd name="connsiteX365" fmla="*/ 857720 w 1398564"/>
                <a:gd name="connsiteY365" fmla="*/ 1820280 h 3102100"/>
                <a:gd name="connsiteX366" fmla="*/ 862488 w 1398564"/>
                <a:gd name="connsiteY366" fmla="*/ 1825044 h 3102100"/>
                <a:gd name="connsiteX367" fmla="*/ 862488 w 1398564"/>
                <a:gd name="connsiteY367" fmla="*/ 1829810 h 3102100"/>
                <a:gd name="connsiteX368" fmla="*/ 876784 w 1398564"/>
                <a:gd name="connsiteY368" fmla="*/ 1844106 h 3102100"/>
                <a:gd name="connsiteX369" fmla="*/ 895844 w 1398564"/>
                <a:gd name="connsiteY369" fmla="*/ 1867930 h 3102100"/>
                <a:gd name="connsiteX370" fmla="*/ 914904 w 1398564"/>
                <a:gd name="connsiteY370" fmla="*/ 1896522 h 3102100"/>
                <a:gd name="connsiteX371" fmla="*/ 931580 w 1398564"/>
                <a:gd name="connsiteY371" fmla="*/ 1915582 h 3102100"/>
                <a:gd name="connsiteX372" fmla="*/ 945876 w 1398564"/>
                <a:gd name="connsiteY372" fmla="*/ 1934642 h 3102100"/>
                <a:gd name="connsiteX373" fmla="*/ 974468 w 1398564"/>
                <a:gd name="connsiteY373" fmla="*/ 1958468 h 3102100"/>
                <a:gd name="connsiteX374" fmla="*/ 979232 w 1398564"/>
                <a:gd name="connsiteY374" fmla="*/ 1972764 h 3102100"/>
                <a:gd name="connsiteX375" fmla="*/ 979232 w 1398564"/>
                <a:gd name="connsiteY375" fmla="*/ 2001354 h 3102100"/>
                <a:gd name="connsiteX376" fmla="*/ 988764 w 1398564"/>
                <a:gd name="connsiteY376" fmla="*/ 2015650 h 3102100"/>
                <a:gd name="connsiteX377" fmla="*/ 993528 w 1398564"/>
                <a:gd name="connsiteY377" fmla="*/ 2025180 h 3102100"/>
                <a:gd name="connsiteX378" fmla="*/ 998292 w 1398564"/>
                <a:gd name="connsiteY378" fmla="*/ 2034710 h 3102100"/>
                <a:gd name="connsiteX379" fmla="*/ 1007824 w 1398564"/>
                <a:gd name="connsiteY379" fmla="*/ 2068066 h 3102100"/>
                <a:gd name="connsiteX380" fmla="*/ 1012588 w 1398564"/>
                <a:gd name="connsiteY380" fmla="*/ 2068066 h 3102100"/>
                <a:gd name="connsiteX381" fmla="*/ 1036416 w 1398564"/>
                <a:gd name="connsiteY381" fmla="*/ 2053770 h 3102100"/>
                <a:gd name="connsiteX382" fmla="*/ 1041180 w 1398564"/>
                <a:gd name="connsiteY382" fmla="*/ 2053770 h 3102100"/>
                <a:gd name="connsiteX383" fmla="*/ 1045944 w 1398564"/>
                <a:gd name="connsiteY383" fmla="*/ 2063300 h 3102100"/>
                <a:gd name="connsiteX384" fmla="*/ 1045944 w 1398564"/>
                <a:gd name="connsiteY384" fmla="*/ 2072832 h 3102100"/>
                <a:gd name="connsiteX385" fmla="*/ 1041180 w 1398564"/>
                <a:gd name="connsiteY385" fmla="*/ 2082362 h 3102100"/>
                <a:gd name="connsiteX386" fmla="*/ 1031648 w 1398564"/>
                <a:gd name="connsiteY386" fmla="*/ 2091892 h 3102100"/>
                <a:gd name="connsiteX387" fmla="*/ 998292 w 1398564"/>
                <a:gd name="connsiteY387" fmla="*/ 2110952 h 3102100"/>
                <a:gd name="connsiteX388" fmla="*/ 993528 w 1398564"/>
                <a:gd name="connsiteY388" fmla="*/ 2130012 h 3102100"/>
                <a:gd name="connsiteX389" fmla="*/ 993528 w 1398564"/>
                <a:gd name="connsiteY389" fmla="*/ 2158604 h 3102100"/>
                <a:gd name="connsiteX390" fmla="*/ 993528 w 1398564"/>
                <a:gd name="connsiteY390" fmla="*/ 2191960 h 3102100"/>
                <a:gd name="connsiteX391" fmla="*/ 993528 w 1398564"/>
                <a:gd name="connsiteY391" fmla="*/ 2215784 h 3102100"/>
                <a:gd name="connsiteX392" fmla="*/ 993528 w 1398564"/>
                <a:gd name="connsiteY392" fmla="*/ 2220550 h 3102100"/>
                <a:gd name="connsiteX393" fmla="*/ 988764 w 1398564"/>
                <a:gd name="connsiteY393" fmla="*/ 2225316 h 3102100"/>
                <a:gd name="connsiteX394" fmla="*/ 974468 w 1398564"/>
                <a:gd name="connsiteY394" fmla="*/ 2225316 h 3102100"/>
                <a:gd name="connsiteX395" fmla="*/ 955408 w 1398564"/>
                <a:gd name="connsiteY395" fmla="*/ 2234846 h 3102100"/>
                <a:gd name="connsiteX396" fmla="*/ 950640 w 1398564"/>
                <a:gd name="connsiteY396" fmla="*/ 2239610 h 3102100"/>
                <a:gd name="connsiteX397" fmla="*/ 941112 w 1398564"/>
                <a:gd name="connsiteY397" fmla="*/ 2244376 h 3102100"/>
                <a:gd name="connsiteX398" fmla="*/ 936348 w 1398564"/>
                <a:gd name="connsiteY398" fmla="*/ 2249140 h 3102100"/>
                <a:gd name="connsiteX399" fmla="*/ 931580 w 1398564"/>
                <a:gd name="connsiteY399" fmla="*/ 2258672 h 3102100"/>
                <a:gd name="connsiteX400" fmla="*/ 936348 w 1398564"/>
                <a:gd name="connsiteY400" fmla="*/ 2287262 h 3102100"/>
                <a:gd name="connsiteX401" fmla="*/ 941112 w 1398564"/>
                <a:gd name="connsiteY401" fmla="*/ 2311088 h 3102100"/>
                <a:gd name="connsiteX402" fmla="*/ 955408 w 1398564"/>
                <a:gd name="connsiteY402" fmla="*/ 2330148 h 3102100"/>
                <a:gd name="connsiteX403" fmla="*/ 969704 w 1398564"/>
                <a:gd name="connsiteY403" fmla="*/ 2344444 h 3102100"/>
                <a:gd name="connsiteX404" fmla="*/ 983996 w 1398564"/>
                <a:gd name="connsiteY404" fmla="*/ 2368268 h 3102100"/>
                <a:gd name="connsiteX405" fmla="*/ 993528 w 1398564"/>
                <a:gd name="connsiteY405" fmla="*/ 2387330 h 3102100"/>
                <a:gd name="connsiteX406" fmla="*/ 1017352 w 1398564"/>
                <a:gd name="connsiteY406" fmla="*/ 2406390 h 3102100"/>
                <a:gd name="connsiteX407" fmla="*/ 1050708 w 1398564"/>
                <a:gd name="connsiteY407" fmla="*/ 2434980 h 3102100"/>
                <a:gd name="connsiteX408" fmla="*/ 1065004 w 1398564"/>
                <a:gd name="connsiteY408" fmla="*/ 2449276 h 3102100"/>
                <a:gd name="connsiteX409" fmla="*/ 1074536 w 1398564"/>
                <a:gd name="connsiteY409" fmla="*/ 2473102 h 3102100"/>
                <a:gd name="connsiteX410" fmla="*/ 1084064 w 1398564"/>
                <a:gd name="connsiteY410" fmla="*/ 2487398 h 3102100"/>
                <a:gd name="connsiteX411" fmla="*/ 1084064 w 1398564"/>
                <a:gd name="connsiteY411" fmla="*/ 2511224 h 3102100"/>
                <a:gd name="connsiteX412" fmla="*/ 1088832 w 1398564"/>
                <a:gd name="connsiteY412" fmla="*/ 2525518 h 3102100"/>
                <a:gd name="connsiteX413" fmla="*/ 1088832 w 1398564"/>
                <a:gd name="connsiteY413" fmla="*/ 2568404 h 3102100"/>
                <a:gd name="connsiteX414" fmla="*/ 1084064 w 1398564"/>
                <a:gd name="connsiteY414" fmla="*/ 2577934 h 3102100"/>
                <a:gd name="connsiteX415" fmla="*/ 1079300 w 1398564"/>
                <a:gd name="connsiteY415" fmla="*/ 2587464 h 3102100"/>
                <a:gd name="connsiteX416" fmla="*/ 1079300 w 1398564"/>
                <a:gd name="connsiteY416" fmla="*/ 2596996 h 3102100"/>
                <a:gd name="connsiteX417" fmla="*/ 1088832 w 1398564"/>
                <a:gd name="connsiteY417" fmla="*/ 2611290 h 3102100"/>
                <a:gd name="connsiteX418" fmla="*/ 1088832 w 1398564"/>
                <a:gd name="connsiteY418" fmla="*/ 2620820 h 3102100"/>
                <a:gd name="connsiteX419" fmla="*/ 1093596 w 1398564"/>
                <a:gd name="connsiteY419" fmla="*/ 2644646 h 3102100"/>
                <a:gd name="connsiteX420" fmla="*/ 1107892 w 1398564"/>
                <a:gd name="connsiteY420" fmla="*/ 2658942 h 3102100"/>
                <a:gd name="connsiteX421" fmla="*/ 1117420 w 1398564"/>
                <a:gd name="connsiteY421" fmla="*/ 2668472 h 3102100"/>
                <a:gd name="connsiteX422" fmla="*/ 1122188 w 1398564"/>
                <a:gd name="connsiteY422" fmla="*/ 2678002 h 3102100"/>
                <a:gd name="connsiteX423" fmla="*/ 1122188 w 1398564"/>
                <a:gd name="connsiteY423" fmla="*/ 2687532 h 3102100"/>
                <a:gd name="connsiteX424" fmla="*/ 1126952 w 1398564"/>
                <a:gd name="connsiteY424" fmla="*/ 2701828 h 3102100"/>
                <a:gd name="connsiteX425" fmla="*/ 1126952 w 1398564"/>
                <a:gd name="connsiteY425" fmla="*/ 2716124 h 3102100"/>
                <a:gd name="connsiteX426" fmla="*/ 1131716 w 1398564"/>
                <a:gd name="connsiteY426" fmla="*/ 2735184 h 3102100"/>
                <a:gd name="connsiteX427" fmla="*/ 1141248 w 1398564"/>
                <a:gd name="connsiteY427" fmla="*/ 2749480 h 3102100"/>
                <a:gd name="connsiteX428" fmla="*/ 1155544 w 1398564"/>
                <a:gd name="connsiteY428" fmla="*/ 2797130 h 3102100"/>
                <a:gd name="connsiteX429" fmla="*/ 1155544 w 1398564"/>
                <a:gd name="connsiteY429" fmla="*/ 2801896 h 3102100"/>
                <a:gd name="connsiteX430" fmla="*/ 1150776 w 1398564"/>
                <a:gd name="connsiteY430" fmla="*/ 2816192 h 3102100"/>
                <a:gd name="connsiteX431" fmla="*/ 1141248 w 1398564"/>
                <a:gd name="connsiteY431" fmla="*/ 2820956 h 3102100"/>
                <a:gd name="connsiteX432" fmla="*/ 1136480 w 1398564"/>
                <a:gd name="connsiteY432" fmla="*/ 2825722 h 3102100"/>
                <a:gd name="connsiteX433" fmla="*/ 1131716 w 1398564"/>
                <a:gd name="connsiteY433" fmla="*/ 2835252 h 3102100"/>
                <a:gd name="connsiteX434" fmla="*/ 1117420 w 1398564"/>
                <a:gd name="connsiteY434" fmla="*/ 2859078 h 3102100"/>
                <a:gd name="connsiteX435" fmla="*/ 1088832 w 1398564"/>
                <a:gd name="connsiteY435" fmla="*/ 2906728 h 3102100"/>
                <a:gd name="connsiteX436" fmla="*/ 1065004 w 1398564"/>
                <a:gd name="connsiteY436" fmla="*/ 2935320 h 3102100"/>
                <a:gd name="connsiteX437" fmla="*/ 1041180 w 1398564"/>
                <a:gd name="connsiteY437" fmla="*/ 2959144 h 3102100"/>
                <a:gd name="connsiteX438" fmla="*/ 1026884 w 1398564"/>
                <a:gd name="connsiteY438" fmla="*/ 2968676 h 3102100"/>
                <a:gd name="connsiteX439" fmla="*/ 1022120 w 1398564"/>
                <a:gd name="connsiteY439" fmla="*/ 2978206 h 3102100"/>
                <a:gd name="connsiteX440" fmla="*/ 1022120 w 1398564"/>
                <a:gd name="connsiteY440" fmla="*/ 2982970 h 3102100"/>
                <a:gd name="connsiteX441" fmla="*/ 1026884 w 1398564"/>
                <a:gd name="connsiteY441" fmla="*/ 2992500 h 3102100"/>
                <a:gd name="connsiteX442" fmla="*/ 1026884 w 1398564"/>
                <a:gd name="connsiteY442" fmla="*/ 3011562 h 3102100"/>
                <a:gd name="connsiteX443" fmla="*/ 1022120 w 1398564"/>
                <a:gd name="connsiteY443" fmla="*/ 3025856 h 3102100"/>
                <a:gd name="connsiteX444" fmla="*/ 1017352 w 1398564"/>
                <a:gd name="connsiteY444" fmla="*/ 3040152 h 3102100"/>
                <a:gd name="connsiteX445" fmla="*/ 1012588 w 1398564"/>
                <a:gd name="connsiteY445" fmla="*/ 3049682 h 3102100"/>
                <a:gd name="connsiteX446" fmla="*/ 1007824 w 1398564"/>
                <a:gd name="connsiteY446" fmla="*/ 3054448 h 3102100"/>
                <a:gd name="connsiteX447" fmla="*/ 993528 w 1398564"/>
                <a:gd name="connsiteY447" fmla="*/ 3078272 h 3102100"/>
                <a:gd name="connsiteX448" fmla="*/ 983996 w 1398564"/>
                <a:gd name="connsiteY448" fmla="*/ 3063978 h 3102100"/>
                <a:gd name="connsiteX449" fmla="*/ 983996 w 1398564"/>
                <a:gd name="connsiteY449" fmla="*/ 3054448 h 3102100"/>
                <a:gd name="connsiteX450" fmla="*/ 988764 w 1398564"/>
                <a:gd name="connsiteY450" fmla="*/ 3025856 h 3102100"/>
                <a:gd name="connsiteX451" fmla="*/ 979232 w 1398564"/>
                <a:gd name="connsiteY451" fmla="*/ 2973440 h 3102100"/>
                <a:gd name="connsiteX452" fmla="*/ 983996 w 1398564"/>
                <a:gd name="connsiteY452" fmla="*/ 2968676 h 3102100"/>
                <a:gd name="connsiteX453" fmla="*/ 988764 w 1398564"/>
                <a:gd name="connsiteY453" fmla="*/ 2963910 h 3102100"/>
                <a:gd name="connsiteX454" fmla="*/ 998292 w 1398564"/>
                <a:gd name="connsiteY454" fmla="*/ 2944850 h 3102100"/>
                <a:gd name="connsiteX455" fmla="*/ 1012588 w 1398564"/>
                <a:gd name="connsiteY455" fmla="*/ 2925788 h 3102100"/>
                <a:gd name="connsiteX456" fmla="*/ 1012588 w 1398564"/>
                <a:gd name="connsiteY456" fmla="*/ 2901964 h 3102100"/>
                <a:gd name="connsiteX457" fmla="*/ 1022120 w 1398564"/>
                <a:gd name="connsiteY457" fmla="*/ 2882902 h 3102100"/>
                <a:gd name="connsiteX458" fmla="*/ 1017352 w 1398564"/>
                <a:gd name="connsiteY458" fmla="*/ 2868608 h 3102100"/>
                <a:gd name="connsiteX459" fmla="*/ 1017352 w 1398564"/>
                <a:gd name="connsiteY459" fmla="*/ 2854312 h 3102100"/>
                <a:gd name="connsiteX460" fmla="*/ 1022120 w 1398564"/>
                <a:gd name="connsiteY460" fmla="*/ 2840016 h 3102100"/>
                <a:gd name="connsiteX461" fmla="*/ 1022120 w 1398564"/>
                <a:gd name="connsiteY461" fmla="*/ 2830486 h 3102100"/>
                <a:gd name="connsiteX462" fmla="*/ 1026884 w 1398564"/>
                <a:gd name="connsiteY462" fmla="*/ 2816192 h 3102100"/>
                <a:gd name="connsiteX463" fmla="*/ 1041180 w 1398564"/>
                <a:gd name="connsiteY463" fmla="*/ 2806660 h 3102100"/>
                <a:gd name="connsiteX464" fmla="*/ 1036416 w 1398564"/>
                <a:gd name="connsiteY464" fmla="*/ 2806660 h 3102100"/>
                <a:gd name="connsiteX465" fmla="*/ 1031648 w 1398564"/>
                <a:gd name="connsiteY465" fmla="*/ 2797130 h 3102100"/>
                <a:gd name="connsiteX466" fmla="*/ 1012588 w 1398564"/>
                <a:gd name="connsiteY466" fmla="*/ 2806660 h 3102100"/>
                <a:gd name="connsiteX467" fmla="*/ 1003060 w 1398564"/>
                <a:gd name="connsiteY467" fmla="*/ 2806660 h 3102100"/>
                <a:gd name="connsiteX468" fmla="*/ 1003060 w 1398564"/>
                <a:gd name="connsiteY468" fmla="*/ 2797130 h 3102100"/>
                <a:gd name="connsiteX469" fmla="*/ 1003060 w 1398564"/>
                <a:gd name="connsiteY469" fmla="*/ 2782836 h 3102100"/>
                <a:gd name="connsiteX470" fmla="*/ 1007824 w 1398564"/>
                <a:gd name="connsiteY470" fmla="*/ 2778070 h 3102100"/>
                <a:gd name="connsiteX471" fmla="*/ 1012588 w 1398564"/>
                <a:gd name="connsiteY471" fmla="*/ 2768540 h 3102100"/>
                <a:gd name="connsiteX472" fmla="*/ 1012588 w 1398564"/>
                <a:gd name="connsiteY472" fmla="*/ 2754244 h 3102100"/>
                <a:gd name="connsiteX473" fmla="*/ 1007824 w 1398564"/>
                <a:gd name="connsiteY473" fmla="*/ 2744714 h 3102100"/>
                <a:gd name="connsiteX474" fmla="*/ 1012588 w 1398564"/>
                <a:gd name="connsiteY474" fmla="*/ 2725654 h 3102100"/>
                <a:gd name="connsiteX475" fmla="*/ 1003060 w 1398564"/>
                <a:gd name="connsiteY475" fmla="*/ 2725654 h 3102100"/>
                <a:gd name="connsiteX476" fmla="*/ 998292 w 1398564"/>
                <a:gd name="connsiteY476" fmla="*/ 2725654 h 3102100"/>
                <a:gd name="connsiteX477" fmla="*/ 1003060 w 1398564"/>
                <a:gd name="connsiteY477" fmla="*/ 2716124 h 3102100"/>
                <a:gd name="connsiteX478" fmla="*/ 1012588 w 1398564"/>
                <a:gd name="connsiteY478" fmla="*/ 2706592 h 3102100"/>
                <a:gd name="connsiteX479" fmla="*/ 1003060 w 1398564"/>
                <a:gd name="connsiteY479" fmla="*/ 2692298 h 3102100"/>
                <a:gd name="connsiteX480" fmla="*/ 1007824 w 1398564"/>
                <a:gd name="connsiteY480" fmla="*/ 2678002 h 3102100"/>
                <a:gd name="connsiteX481" fmla="*/ 1007824 w 1398564"/>
                <a:gd name="connsiteY481" fmla="*/ 2658942 h 3102100"/>
                <a:gd name="connsiteX482" fmla="*/ 1003060 w 1398564"/>
                <a:gd name="connsiteY482" fmla="*/ 2639882 h 3102100"/>
                <a:gd name="connsiteX483" fmla="*/ 1003060 w 1398564"/>
                <a:gd name="connsiteY483" fmla="*/ 2630352 h 3102100"/>
                <a:gd name="connsiteX484" fmla="*/ 998292 w 1398564"/>
                <a:gd name="connsiteY484" fmla="*/ 2606526 h 3102100"/>
                <a:gd name="connsiteX485" fmla="*/ 993528 w 1398564"/>
                <a:gd name="connsiteY485" fmla="*/ 2577934 h 3102100"/>
                <a:gd name="connsiteX486" fmla="*/ 979232 w 1398564"/>
                <a:gd name="connsiteY486" fmla="*/ 2558874 h 3102100"/>
                <a:gd name="connsiteX487" fmla="*/ 969704 w 1398564"/>
                <a:gd name="connsiteY487" fmla="*/ 2525518 h 3102100"/>
                <a:gd name="connsiteX488" fmla="*/ 941112 w 1398564"/>
                <a:gd name="connsiteY488" fmla="*/ 2487398 h 3102100"/>
                <a:gd name="connsiteX489" fmla="*/ 941112 w 1398564"/>
                <a:gd name="connsiteY489" fmla="*/ 2468336 h 3102100"/>
                <a:gd name="connsiteX490" fmla="*/ 941112 w 1398564"/>
                <a:gd name="connsiteY490" fmla="*/ 2454042 h 3102100"/>
                <a:gd name="connsiteX491" fmla="*/ 936348 w 1398564"/>
                <a:gd name="connsiteY491" fmla="*/ 2444512 h 3102100"/>
                <a:gd name="connsiteX492" fmla="*/ 929200 w 1398564"/>
                <a:gd name="connsiteY492" fmla="*/ 2501692 h 3102100"/>
                <a:gd name="connsiteX493" fmla="*/ 924432 w 1398564"/>
                <a:gd name="connsiteY493" fmla="*/ 2487398 h 3102100"/>
                <a:gd name="connsiteX494" fmla="*/ 924432 w 1398564"/>
                <a:gd name="connsiteY494" fmla="*/ 2458806 h 3102100"/>
                <a:gd name="connsiteX495" fmla="*/ 919668 w 1398564"/>
                <a:gd name="connsiteY495" fmla="*/ 2444512 h 3102100"/>
                <a:gd name="connsiteX496" fmla="*/ 924432 w 1398564"/>
                <a:gd name="connsiteY496" fmla="*/ 2415920 h 3102100"/>
                <a:gd name="connsiteX497" fmla="*/ 905372 w 1398564"/>
                <a:gd name="connsiteY497" fmla="*/ 2387330 h 3102100"/>
                <a:gd name="connsiteX498" fmla="*/ 905372 w 1398564"/>
                <a:gd name="connsiteY498" fmla="*/ 2368268 h 3102100"/>
                <a:gd name="connsiteX499" fmla="*/ 891076 w 1398564"/>
                <a:gd name="connsiteY499" fmla="*/ 2339678 h 3102100"/>
                <a:gd name="connsiteX500" fmla="*/ 895844 w 1398564"/>
                <a:gd name="connsiteY500" fmla="*/ 2330148 h 3102100"/>
                <a:gd name="connsiteX501" fmla="*/ 910140 w 1398564"/>
                <a:gd name="connsiteY501" fmla="*/ 2339678 h 3102100"/>
                <a:gd name="connsiteX502" fmla="*/ 895844 w 1398564"/>
                <a:gd name="connsiteY502" fmla="*/ 2320618 h 3102100"/>
                <a:gd name="connsiteX503" fmla="*/ 886312 w 1398564"/>
                <a:gd name="connsiteY503" fmla="*/ 2325384 h 3102100"/>
                <a:gd name="connsiteX504" fmla="*/ 876784 w 1398564"/>
                <a:gd name="connsiteY504" fmla="*/ 2306322 h 3102100"/>
                <a:gd name="connsiteX505" fmla="*/ 876784 w 1398564"/>
                <a:gd name="connsiteY505" fmla="*/ 2253906 h 3102100"/>
                <a:gd name="connsiteX506" fmla="*/ 867252 w 1398564"/>
                <a:gd name="connsiteY506" fmla="*/ 2230080 h 3102100"/>
                <a:gd name="connsiteX507" fmla="*/ 872016 w 1398564"/>
                <a:gd name="connsiteY507" fmla="*/ 2211020 h 3102100"/>
                <a:gd name="connsiteX508" fmla="*/ 862488 w 1398564"/>
                <a:gd name="connsiteY508" fmla="*/ 2139544 h 3102100"/>
                <a:gd name="connsiteX509" fmla="*/ 843428 w 1398564"/>
                <a:gd name="connsiteY509" fmla="*/ 2115718 h 3102100"/>
                <a:gd name="connsiteX510" fmla="*/ 843428 w 1398564"/>
                <a:gd name="connsiteY510" fmla="*/ 2096656 h 3102100"/>
                <a:gd name="connsiteX511" fmla="*/ 852956 w 1398564"/>
                <a:gd name="connsiteY511" fmla="*/ 2077596 h 3102100"/>
                <a:gd name="connsiteX512" fmla="*/ 848192 w 1398564"/>
                <a:gd name="connsiteY512" fmla="*/ 2044240 h 3102100"/>
                <a:gd name="connsiteX513" fmla="*/ 852956 w 1398564"/>
                <a:gd name="connsiteY513" fmla="*/ 2034710 h 3102100"/>
                <a:gd name="connsiteX514" fmla="*/ 862488 w 1398564"/>
                <a:gd name="connsiteY514" fmla="*/ 2025180 h 3102100"/>
                <a:gd name="connsiteX515" fmla="*/ 857720 w 1398564"/>
                <a:gd name="connsiteY515" fmla="*/ 2029946 h 3102100"/>
                <a:gd name="connsiteX516" fmla="*/ 848192 w 1398564"/>
                <a:gd name="connsiteY516" fmla="*/ 2034710 h 3102100"/>
                <a:gd name="connsiteX517" fmla="*/ 829132 w 1398564"/>
                <a:gd name="connsiteY517" fmla="*/ 2034710 h 3102100"/>
                <a:gd name="connsiteX518" fmla="*/ 810072 w 1398564"/>
                <a:gd name="connsiteY518" fmla="*/ 2034710 h 3102100"/>
                <a:gd name="connsiteX519" fmla="*/ 800540 w 1398564"/>
                <a:gd name="connsiteY519" fmla="*/ 2010884 h 3102100"/>
                <a:gd name="connsiteX520" fmla="*/ 791008 w 1398564"/>
                <a:gd name="connsiteY520" fmla="*/ 1996590 h 3102100"/>
                <a:gd name="connsiteX521" fmla="*/ 781480 w 1398564"/>
                <a:gd name="connsiteY521" fmla="*/ 1972764 h 3102100"/>
                <a:gd name="connsiteX522" fmla="*/ 776716 w 1398564"/>
                <a:gd name="connsiteY522" fmla="*/ 1944172 h 3102100"/>
                <a:gd name="connsiteX523" fmla="*/ 781480 w 1398564"/>
                <a:gd name="connsiteY523" fmla="*/ 1939408 h 3102100"/>
                <a:gd name="connsiteX524" fmla="*/ 767184 w 1398564"/>
                <a:gd name="connsiteY524" fmla="*/ 1929878 h 3102100"/>
                <a:gd name="connsiteX525" fmla="*/ 762420 w 1398564"/>
                <a:gd name="connsiteY525" fmla="*/ 1925112 h 3102100"/>
                <a:gd name="connsiteX526" fmla="*/ 748124 w 1398564"/>
                <a:gd name="connsiteY526" fmla="*/ 1906052 h 3102100"/>
                <a:gd name="connsiteX527" fmla="*/ 729064 w 1398564"/>
                <a:gd name="connsiteY527" fmla="*/ 1891756 h 3102100"/>
                <a:gd name="connsiteX528" fmla="*/ 729064 w 1398564"/>
                <a:gd name="connsiteY528" fmla="*/ 1901286 h 3102100"/>
                <a:gd name="connsiteX529" fmla="*/ 738592 w 1398564"/>
                <a:gd name="connsiteY529" fmla="*/ 1906052 h 3102100"/>
                <a:gd name="connsiteX530" fmla="*/ 729064 w 1398564"/>
                <a:gd name="connsiteY530" fmla="*/ 1925112 h 3102100"/>
                <a:gd name="connsiteX531" fmla="*/ 738592 w 1398564"/>
                <a:gd name="connsiteY531" fmla="*/ 1953704 h 3102100"/>
                <a:gd name="connsiteX532" fmla="*/ 729064 w 1398564"/>
                <a:gd name="connsiteY532" fmla="*/ 1967998 h 3102100"/>
                <a:gd name="connsiteX533" fmla="*/ 719532 w 1398564"/>
                <a:gd name="connsiteY533" fmla="*/ 1991824 h 3102100"/>
                <a:gd name="connsiteX534" fmla="*/ 714768 w 1398564"/>
                <a:gd name="connsiteY534" fmla="*/ 2006120 h 3102100"/>
                <a:gd name="connsiteX535" fmla="*/ 690944 w 1398564"/>
                <a:gd name="connsiteY535" fmla="*/ 2029946 h 3102100"/>
                <a:gd name="connsiteX536" fmla="*/ 671880 w 1398564"/>
                <a:gd name="connsiteY536" fmla="*/ 2034710 h 3102100"/>
                <a:gd name="connsiteX537" fmla="*/ 662352 w 1398564"/>
                <a:gd name="connsiteY537" fmla="*/ 2039476 h 3102100"/>
                <a:gd name="connsiteX538" fmla="*/ 652820 w 1398564"/>
                <a:gd name="connsiteY538" fmla="*/ 2034710 h 3102100"/>
                <a:gd name="connsiteX539" fmla="*/ 638524 w 1398564"/>
                <a:gd name="connsiteY539" fmla="*/ 2020414 h 3102100"/>
                <a:gd name="connsiteX540" fmla="*/ 633760 w 1398564"/>
                <a:gd name="connsiteY540" fmla="*/ 2010884 h 3102100"/>
                <a:gd name="connsiteX541" fmla="*/ 633760 w 1398564"/>
                <a:gd name="connsiteY541" fmla="*/ 1996590 h 3102100"/>
                <a:gd name="connsiteX542" fmla="*/ 628996 w 1398564"/>
                <a:gd name="connsiteY542" fmla="*/ 1991824 h 3102100"/>
                <a:gd name="connsiteX543" fmla="*/ 624232 w 1398564"/>
                <a:gd name="connsiteY543" fmla="*/ 1996590 h 3102100"/>
                <a:gd name="connsiteX544" fmla="*/ 633760 w 1398564"/>
                <a:gd name="connsiteY544" fmla="*/ 2015650 h 3102100"/>
                <a:gd name="connsiteX545" fmla="*/ 628996 w 1398564"/>
                <a:gd name="connsiteY545" fmla="*/ 2025180 h 3102100"/>
                <a:gd name="connsiteX546" fmla="*/ 643292 w 1398564"/>
                <a:gd name="connsiteY546" fmla="*/ 2049006 h 3102100"/>
                <a:gd name="connsiteX547" fmla="*/ 638524 w 1398564"/>
                <a:gd name="connsiteY547" fmla="*/ 2053770 h 3102100"/>
                <a:gd name="connsiteX548" fmla="*/ 614700 w 1398564"/>
                <a:gd name="connsiteY548" fmla="*/ 2063300 h 3102100"/>
                <a:gd name="connsiteX549" fmla="*/ 605168 w 1398564"/>
                <a:gd name="connsiteY549" fmla="*/ 2063300 h 3102100"/>
                <a:gd name="connsiteX550" fmla="*/ 600404 w 1398564"/>
                <a:gd name="connsiteY550" fmla="*/ 2063300 h 3102100"/>
                <a:gd name="connsiteX551" fmla="*/ 600404 w 1398564"/>
                <a:gd name="connsiteY551" fmla="*/ 2072832 h 3102100"/>
                <a:gd name="connsiteX552" fmla="*/ 595640 w 1398564"/>
                <a:gd name="connsiteY552" fmla="*/ 2077596 h 3102100"/>
                <a:gd name="connsiteX553" fmla="*/ 557520 w 1398564"/>
                <a:gd name="connsiteY553" fmla="*/ 2091892 h 3102100"/>
                <a:gd name="connsiteX554" fmla="*/ 547988 w 1398564"/>
                <a:gd name="connsiteY554" fmla="*/ 2106188 h 3102100"/>
                <a:gd name="connsiteX555" fmla="*/ 543224 w 1398564"/>
                <a:gd name="connsiteY555" fmla="*/ 2125248 h 3102100"/>
                <a:gd name="connsiteX556" fmla="*/ 524164 w 1398564"/>
                <a:gd name="connsiteY556" fmla="*/ 2144308 h 3102100"/>
                <a:gd name="connsiteX557" fmla="*/ 500336 w 1398564"/>
                <a:gd name="connsiteY557" fmla="*/ 2163368 h 3102100"/>
                <a:gd name="connsiteX558" fmla="*/ 490808 w 1398564"/>
                <a:gd name="connsiteY558" fmla="*/ 2163368 h 3102100"/>
                <a:gd name="connsiteX559" fmla="*/ 486040 w 1398564"/>
                <a:gd name="connsiteY559" fmla="*/ 2158604 h 3102100"/>
                <a:gd name="connsiteX560" fmla="*/ 486040 w 1398564"/>
                <a:gd name="connsiteY560" fmla="*/ 2139544 h 3102100"/>
                <a:gd name="connsiteX561" fmla="*/ 495572 w 1398564"/>
                <a:gd name="connsiteY561" fmla="*/ 2120482 h 3102100"/>
                <a:gd name="connsiteX562" fmla="*/ 490808 w 1398564"/>
                <a:gd name="connsiteY562" fmla="*/ 2101422 h 3102100"/>
                <a:gd name="connsiteX563" fmla="*/ 490808 w 1398564"/>
                <a:gd name="connsiteY563" fmla="*/ 2115718 h 3102100"/>
                <a:gd name="connsiteX564" fmla="*/ 471744 w 1398564"/>
                <a:gd name="connsiteY564" fmla="*/ 2139544 h 3102100"/>
                <a:gd name="connsiteX565" fmla="*/ 466980 w 1398564"/>
                <a:gd name="connsiteY565" fmla="*/ 2149074 h 3102100"/>
                <a:gd name="connsiteX566" fmla="*/ 452684 w 1398564"/>
                <a:gd name="connsiteY566" fmla="*/ 2144308 h 3102100"/>
                <a:gd name="connsiteX567" fmla="*/ 428860 w 1398564"/>
                <a:gd name="connsiteY567" fmla="*/ 2149074 h 3102100"/>
                <a:gd name="connsiteX568" fmla="*/ 419328 w 1398564"/>
                <a:gd name="connsiteY568" fmla="*/ 2125248 h 3102100"/>
                <a:gd name="connsiteX569" fmla="*/ 424096 w 1398564"/>
                <a:gd name="connsiteY569" fmla="*/ 2115718 h 3102100"/>
                <a:gd name="connsiteX570" fmla="*/ 419328 w 1398564"/>
                <a:gd name="connsiteY570" fmla="*/ 2106188 h 3102100"/>
                <a:gd name="connsiteX571" fmla="*/ 424096 w 1398564"/>
                <a:gd name="connsiteY571" fmla="*/ 2096656 h 3102100"/>
                <a:gd name="connsiteX572" fmla="*/ 424096 w 1398564"/>
                <a:gd name="connsiteY572" fmla="*/ 2091892 h 3102100"/>
                <a:gd name="connsiteX573" fmla="*/ 414564 w 1398564"/>
                <a:gd name="connsiteY573" fmla="*/ 2101422 h 3102100"/>
                <a:gd name="connsiteX574" fmla="*/ 414564 w 1398564"/>
                <a:gd name="connsiteY574" fmla="*/ 2115718 h 3102100"/>
                <a:gd name="connsiteX575" fmla="*/ 405036 w 1398564"/>
                <a:gd name="connsiteY575" fmla="*/ 2125248 h 3102100"/>
                <a:gd name="connsiteX576" fmla="*/ 385972 w 1398564"/>
                <a:gd name="connsiteY576" fmla="*/ 2134778 h 3102100"/>
                <a:gd name="connsiteX577" fmla="*/ 385972 w 1398564"/>
                <a:gd name="connsiteY577" fmla="*/ 2120482 h 3102100"/>
                <a:gd name="connsiteX578" fmla="*/ 385972 w 1398564"/>
                <a:gd name="connsiteY578" fmla="*/ 2110952 h 3102100"/>
                <a:gd name="connsiteX579" fmla="*/ 390740 w 1398564"/>
                <a:gd name="connsiteY579" fmla="*/ 2096656 h 3102100"/>
                <a:gd name="connsiteX580" fmla="*/ 385972 w 1398564"/>
                <a:gd name="connsiteY580" fmla="*/ 2082362 h 3102100"/>
                <a:gd name="connsiteX581" fmla="*/ 395504 w 1398564"/>
                <a:gd name="connsiteY581" fmla="*/ 2053770 h 3102100"/>
                <a:gd name="connsiteX582" fmla="*/ 395504 w 1398564"/>
                <a:gd name="connsiteY582" fmla="*/ 2044240 h 3102100"/>
                <a:gd name="connsiteX583" fmla="*/ 390740 w 1398564"/>
                <a:gd name="connsiteY583" fmla="*/ 2034710 h 3102100"/>
                <a:gd name="connsiteX584" fmla="*/ 385972 w 1398564"/>
                <a:gd name="connsiteY584" fmla="*/ 2049006 h 3102100"/>
                <a:gd name="connsiteX585" fmla="*/ 385972 w 1398564"/>
                <a:gd name="connsiteY585" fmla="*/ 2063300 h 3102100"/>
                <a:gd name="connsiteX586" fmla="*/ 381208 w 1398564"/>
                <a:gd name="connsiteY586" fmla="*/ 2068066 h 3102100"/>
                <a:gd name="connsiteX587" fmla="*/ 371680 w 1398564"/>
                <a:gd name="connsiteY587" fmla="*/ 2072832 h 3102100"/>
                <a:gd name="connsiteX588" fmla="*/ 357384 w 1398564"/>
                <a:gd name="connsiteY588" fmla="*/ 2091892 h 3102100"/>
                <a:gd name="connsiteX589" fmla="*/ 352616 w 1398564"/>
                <a:gd name="connsiteY589" fmla="*/ 2106188 h 3102100"/>
                <a:gd name="connsiteX590" fmla="*/ 328792 w 1398564"/>
                <a:gd name="connsiteY590" fmla="*/ 2120482 h 3102100"/>
                <a:gd name="connsiteX591" fmla="*/ 319260 w 1398564"/>
                <a:gd name="connsiteY591" fmla="*/ 2115718 h 3102100"/>
                <a:gd name="connsiteX592" fmla="*/ 314496 w 1398564"/>
                <a:gd name="connsiteY592" fmla="*/ 2101422 h 3102100"/>
                <a:gd name="connsiteX593" fmla="*/ 324028 w 1398564"/>
                <a:gd name="connsiteY593" fmla="*/ 2034710 h 3102100"/>
                <a:gd name="connsiteX594" fmla="*/ 333556 w 1398564"/>
                <a:gd name="connsiteY594" fmla="*/ 2025180 h 3102100"/>
                <a:gd name="connsiteX595" fmla="*/ 338324 w 1398564"/>
                <a:gd name="connsiteY595" fmla="*/ 2015650 h 3102100"/>
                <a:gd name="connsiteX596" fmla="*/ 343088 w 1398564"/>
                <a:gd name="connsiteY596" fmla="*/ 1977528 h 3102100"/>
                <a:gd name="connsiteX597" fmla="*/ 352616 w 1398564"/>
                <a:gd name="connsiteY597" fmla="*/ 1963234 h 3102100"/>
                <a:gd name="connsiteX598" fmla="*/ 357384 w 1398564"/>
                <a:gd name="connsiteY598" fmla="*/ 1934642 h 3102100"/>
                <a:gd name="connsiteX599" fmla="*/ 357384 w 1398564"/>
                <a:gd name="connsiteY599" fmla="*/ 1929878 h 3102100"/>
                <a:gd name="connsiteX600" fmla="*/ 371680 w 1398564"/>
                <a:gd name="connsiteY600" fmla="*/ 1906052 h 3102100"/>
                <a:gd name="connsiteX601" fmla="*/ 376444 w 1398564"/>
                <a:gd name="connsiteY601" fmla="*/ 1863166 h 3102100"/>
                <a:gd name="connsiteX602" fmla="*/ 371680 w 1398564"/>
                <a:gd name="connsiteY602" fmla="*/ 1844106 h 3102100"/>
                <a:gd name="connsiteX603" fmla="*/ 357384 w 1398564"/>
                <a:gd name="connsiteY603" fmla="*/ 1820280 h 3102100"/>
                <a:gd name="connsiteX604" fmla="*/ 347852 w 1398564"/>
                <a:gd name="connsiteY604" fmla="*/ 1758332 h 3102100"/>
                <a:gd name="connsiteX605" fmla="*/ 324028 w 1398564"/>
                <a:gd name="connsiteY605" fmla="*/ 1710682 h 3102100"/>
                <a:gd name="connsiteX606" fmla="*/ 319260 w 1398564"/>
                <a:gd name="connsiteY606" fmla="*/ 1691620 h 3102100"/>
                <a:gd name="connsiteX607" fmla="*/ 309732 w 1398564"/>
                <a:gd name="connsiteY607" fmla="*/ 1672560 h 3102100"/>
                <a:gd name="connsiteX608" fmla="*/ 319260 w 1398564"/>
                <a:gd name="connsiteY608" fmla="*/ 1672560 h 3102100"/>
                <a:gd name="connsiteX609" fmla="*/ 295436 w 1398564"/>
                <a:gd name="connsiteY609" fmla="*/ 1653500 h 3102100"/>
                <a:gd name="connsiteX610" fmla="*/ 295436 w 1398564"/>
                <a:gd name="connsiteY610" fmla="*/ 1643970 h 3102100"/>
                <a:gd name="connsiteX611" fmla="*/ 290672 w 1398564"/>
                <a:gd name="connsiteY611" fmla="*/ 1605848 h 3102100"/>
                <a:gd name="connsiteX612" fmla="*/ 290672 w 1398564"/>
                <a:gd name="connsiteY612" fmla="*/ 1582024 h 3102100"/>
                <a:gd name="connsiteX613" fmla="*/ 285904 w 1398564"/>
                <a:gd name="connsiteY613" fmla="*/ 1582024 h 3102100"/>
                <a:gd name="connsiteX614" fmla="*/ 281140 w 1398564"/>
                <a:gd name="connsiteY614" fmla="*/ 1596318 h 3102100"/>
                <a:gd name="connsiteX615" fmla="*/ 271612 w 1398564"/>
                <a:gd name="connsiteY615" fmla="*/ 1605848 h 3102100"/>
                <a:gd name="connsiteX616" fmla="*/ 276376 w 1398564"/>
                <a:gd name="connsiteY616" fmla="*/ 1629674 h 3102100"/>
                <a:gd name="connsiteX617" fmla="*/ 276376 w 1398564"/>
                <a:gd name="connsiteY617" fmla="*/ 1634440 h 3102100"/>
                <a:gd name="connsiteX618" fmla="*/ 271612 w 1398564"/>
                <a:gd name="connsiteY618" fmla="*/ 1643970 h 3102100"/>
                <a:gd name="connsiteX619" fmla="*/ 252548 w 1398564"/>
                <a:gd name="connsiteY619" fmla="*/ 1634440 h 3102100"/>
                <a:gd name="connsiteX620" fmla="*/ 238256 w 1398564"/>
                <a:gd name="connsiteY620" fmla="*/ 1624910 h 3102100"/>
                <a:gd name="connsiteX621" fmla="*/ 219196 w 1398564"/>
                <a:gd name="connsiteY621" fmla="*/ 1596318 h 3102100"/>
                <a:gd name="connsiteX622" fmla="*/ 204900 w 1398564"/>
                <a:gd name="connsiteY622" fmla="*/ 1567728 h 3102100"/>
                <a:gd name="connsiteX623" fmla="*/ 209664 w 1398564"/>
                <a:gd name="connsiteY623" fmla="*/ 1562962 h 3102100"/>
                <a:gd name="connsiteX624" fmla="*/ 214428 w 1398564"/>
                <a:gd name="connsiteY624" fmla="*/ 1562962 h 3102100"/>
                <a:gd name="connsiteX625" fmla="*/ 238256 w 1398564"/>
                <a:gd name="connsiteY625" fmla="*/ 1586788 h 3102100"/>
                <a:gd name="connsiteX626" fmla="*/ 252548 w 1398564"/>
                <a:gd name="connsiteY626" fmla="*/ 1586788 h 3102100"/>
                <a:gd name="connsiteX627" fmla="*/ 266844 w 1398564"/>
                <a:gd name="connsiteY627" fmla="*/ 1582024 h 3102100"/>
                <a:gd name="connsiteX628" fmla="*/ 276376 w 1398564"/>
                <a:gd name="connsiteY628" fmla="*/ 1572492 h 3102100"/>
                <a:gd name="connsiteX629" fmla="*/ 281140 w 1398564"/>
                <a:gd name="connsiteY629" fmla="*/ 1553432 h 3102100"/>
                <a:gd name="connsiteX630" fmla="*/ 276376 w 1398564"/>
                <a:gd name="connsiteY630" fmla="*/ 1548668 h 3102100"/>
                <a:gd name="connsiteX631" fmla="*/ 266844 w 1398564"/>
                <a:gd name="connsiteY631" fmla="*/ 1543902 h 3102100"/>
                <a:gd name="connsiteX632" fmla="*/ 257316 w 1398564"/>
                <a:gd name="connsiteY632" fmla="*/ 1539136 h 3102100"/>
                <a:gd name="connsiteX633" fmla="*/ 247784 w 1398564"/>
                <a:gd name="connsiteY633" fmla="*/ 1529606 h 3102100"/>
                <a:gd name="connsiteX634" fmla="*/ 243020 w 1398564"/>
                <a:gd name="connsiteY634" fmla="*/ 1520076 h 3102100"/>
                <a:gd name="connsiteX635" fmla="*/ 243020 w 1398564"/>
                <a:gd name="connsiteY635" fmla="*/ 1510546 h 3102100"/>
                <a:gd name="connsiteX636" fmla="*/ 228724 w 1398564"/>
                <a:gd name="connsiteY636" fmla="*/ 1505782 h 3102100"/>
                <a:gd name="connsiteX637" fmla="*/ 219196 w 1398564"/>
                <a:gd name="connsiteY637" fmla="*/ 1501016 h 3102100"/>
                <a:gd name="connsiteX638" fmla="*/ 228724 w 1398564"/>
                <a:gd name="connsiteY638" fmla="*/ 1486720 h 3102100"/>
                <a:gd name="connsiteX639" fmla="*/ 238256 w 1398564"/>
                <a:gd name="connsiteY639" fmla="*/ 1477190 h 3102100"/>
                <a:gd name="connsiteX640" fmla="*/ 219196 w 1398564"/>
                <a:gd name="connsiteY640" fmla="*/ 1477190 h 3102100"/>
                <a:gd name="connsiteX641" fmla="*/ 195368 w 1398564"/>
                <a:gd name="connsiteY641" fmla="*/ 1462896 h 3102100"/>
                <a:gd name="connsiteX642" fmla="*/ 190604 w 1398564"/>
                <a:gd name="connsiteY642" fmla="*/ 1458130 h 3102100"/>
                <a:gd name="connsiteX643" fmla="*/ 181072 w 1398564"/>
                <a:gd name="connsiteY643" fmla="*/ 1453364 h 3102100"/>
                <a:gd name="connsiteX644" fmla="*/ 166776 w 1398564"/>
                <a:gd name="connsiteY644" fmla="*/ 1453364 h 3102100"/>
                <a:gd name="connsiteX645" fmla="*/ 152484 w 1398564"/>
                <a:gd name="connsiteY645" fmla="*/ 1453364 h 3102100"/>
                <a:gd name="connsiteX646" fmla="*/ 157248 w 1398564"/>
                <a:gd name="connsiteY646" fmla="*/ 1481956 h 3102100"/>
                <a:gd name="connsiteX647" fmla="*/ 157248 w 1398564"/>
                <a:gd name="connsiteY647" fmla="*/ 1486720 h 3102100"/>
                <a:gd name="connsiteX648" fmla="*/ 147716 w 1398564"/>
                <a:gd name="connsiteY648" fmla="*/ 1486720 h 3102100"/>
                <a:gd name="connsiteX649" fmla="*/ 123892 w 1398564"/>
                <a:gd name="connsiteY649" fmla="*/ 1448600 h 3102100"/>
                <a:gd name="connsiteX650" fmla="*/ 133420 w 1398564"/>
                <a:gd name="connsiteY650" fmla="*/ 1439070 h 3102100"/>
                <a:gd name="connsiteX651" fmla="*/ 142952 w 1398564"/>
                <a:gd name="connsiteY651" fmla="*/ 1434304 h 3102100"/>
                <a:gd name="connsiteX652" fmla="*/ 138188 w 1398564"/>
                <a:gd name="connsiteY652" fmla="*/ 1429540 h 3102100"/>
                <a:gd name="connsiteX653" fmla="*/ 128656 w 1398564"/>
                <a:gd name="connsiteY653" fmla="*/ 1429540 h 3102100"/>
                <a:gd name="connsiteX654" fmla="*/ 138188 w 1398564"/>
                <a:gd name="connsiteY654" fmla="*/ 1400948 h 3102100"/>
                <a:gd name="connsiteX655" fmla="*/ 133420 w 1398564"/>
                <a:gd name="connsiteY655" fmla="*/ 1396184 h 3102100"/>
                <a:gd name="connsiteX656" fmla="*/ 128656 w 1398564"/>
                <a:gd name="connsiteY656" fmla="*/ 1405714 h 3102100"/>
                <a:gd name="connsiteX657" fmla="*/ 123892 w 1398564"/>
                <a:gd name="connsiteY657" fmla="*/ 1415244 h 3102100"/>
                <a:gd name="connsiteX658" fmla="*/ 109596 w 1398564"/>
                <a:gd name="connsiteY658" fmla="*/ 1439070 h 3102100"/>
                <a:gd name="connsiteX659" fmla="*/ 100064 w 1398564"/>
                <a:gd name="connsiteY659" fmla="*/ 1434304 h 3102100"/>
                <a:gd name="connsiteX660" fmla="*/ 95300 w 1398564"/>
                <a:gd name="connsiteY660" fmla="*/ 1429540 h 3102100"/>
                <a:gd name="connsiteX661" fmla="*/ 100064 w 1398564"/>
                <a:gd name="connsiteY661" fmla="*/ 1415244 h 3102100"/>
                <a:gd name="connsiteX662" fmla="*/ 104832 w 1398564"/>
                <a:gd name="connsiteY662" fmla="*/ 1410478 h 3102100"/>
                <a:gd name="connsiteX663" fmla="*/ 109596 w 1398564"/>
                <a:gd name="connsiteY663" fmla="*/ 1405714 h 3102100"/>
                <a:gd name="connsiteX664" fmla="*/ 104832 w 1398564"/>
                <a:gd name="connsiteY664" fmla="*/ 1391418 h 3102100"/>
                <a:gd name="connsiteX665" fmla="*/ 90536 w 1398564"/>
                <a:gd name="connsiteY665" fmla="*/ 1386652 h 3102100"/>
                <a:gd name="connsiteX666" fmla="*/ 85772 w 1398564"/>
                <a:gd name="connsiteY666" fmla="*/ 1367592 h 3102100"/>
                <a:gd name="connsiteX667" fmla="*/ 81004 w 1398564"/>
                <a:gd name="connsiteY667" fmla="*/ 1367592 h 3102100"/>
                <a:gd name="connsiteX668" fmla="*/ 85772 w 1398564"/>
                <a:gd name="connsiteY668" fmla="*/ 1386652 h 3102100"/>
                <a:gd name="connsiteX669" fmla="*/ 81004 w 1398564"/>
                <a:gd name="connsiteY669" fmla="*/ 1415244 h 3102100"/>
                <a:gd name="connsiteX670" fmla="*/ 66708 w 1398564"/>
                <a:gd name="connsiteY670" fmla="*/ 1386652 h 3102100"/>
                <a:gd name="connsiteX671" fmla="*/ 28588 w 1398564"/>
                <a:gd name="connsiteY671" fmla="*/ 1343766 h 3102100"/>
                <a:gd name="connsiteX672" fmla="*/ 19060 w 1398564"/>
                <a:gd name="connsiteY672" fmla="*/ 1329472 h 3102100"/>
                <a:gd name="connsiteX673" fmla="*/ 19060 w 1398564"/>
                <a:gd name="connsiteY673" fmla="*/ 1319942 h 3102100"/>
                <a:gd name="connsiteX674" fmla="*/ 14292 w 1398564"/>
                <a:gd name="connsiteY674" fmla="*/ 1305646 h 3102100"/>
                <a:gd name="connsiteX675" fmla="*/ 14292 w 1398564"/>
                <a:gd name="connsiteY675" fmla="*/ 1296116 h 3102100"/>
                <a:gd name="connsiteX676" fmla="*/ 9528 w 1398564"/>
                <a:gd name="connsiteY676" fmla="*/ 1286586 h 3102100"/>
                <a:gd name="connsiteX677" fmla="*/ 4764 w 1398564"/>
                <a:gd name="connsiteY677" fmla="*/ 1277056 h 3102100"/>
                <a:gd name="connsiteX678" fmla="*/ 0 w 1398564"/>
                <a:gd name="connsiteY678" fmla="*/ 1262760 h 3102100"/>
                <a:gd name="connsiteX679" fmla="*/ 0 w 1398564"/>
                <a:gd name="connsiteY679" fmla="*/ 1248464 h 3102100"/>
                <a:gd name="connsiteX680" fmla="*/ 0 w 1398564"/>
                <a:gd name="connsiteY680" fmla="*/ 1234168 h 3102100"/>
                <a:gd name="connsiteX681" fmla="*/ 14292 w 1398564"/>
                <a:gd name="connsiteY681" fmla="*/ 1224638 h 3102100"/>
                <a:gd name="connsiteX682" fmla="*/ 19060 w 1398564"/>
                <a:gd name="connsiteY682" fmla="*/ 1219874 h 3102100"/>
                <a:gd name="connsiteX683" fmla="*/ 28588 w 1398564"/>
                <a:gd name="connsiteY683" fmla="*/ 1224638 h 3102100"/>
                <a:gd name="connsiteX684" fmla="*/ 42884 w 1398564"/>
                <a:gd name="connsiteY684" fmla="*/ 1234168 h 3102100"/>
                <a:gd name="connsiteX685" fmla="*/ 52416 w 1398564"/>
                <a:gd name="connsiteY685" fmla="*/ 1243700 h 3102100"/>
                <a:gd name="connsiteX686" fmla="*/ 57180 w 1398564"/>
                <a:gd name="connsiteY686" fmla="*/ 1253230 h 3102100"/>
                <a:gd name="connsiteX687" fmla="*/ 61944 w 1398564"/>
                <a:gd name="connsiteY687" fmla="*/ 1253230 h 3102100"/>
                <a:gd name="connsiteX688" fmla="*/ 66708 w 1398564"/>
                <a:gd name="connsiteY688" fmla="*/ 1243700 h 3102100"/>
                <a:gd name="connsiteX689" fmla="*/ 66708 w 1398564"/>
                <a:gd name="connsiteY689" fmla="*/ 1238934 h 3102100"/>
                <a:gd name="connsiteX690" fmla="*/ 61944 w 1398564"/>
                <a:gd name="connsiteY690" fmla="*/ 1219874 h 3102100"/>
                <a:gd name="connsiteX691" fmla="*/ 61944 w 1398564"/>
                <a:gd name="connsiteY691" fmla="*/ 1196048 h 3102100"/>
                <a:gd name="connsiteX692" fmla="*/ 61944 w 1398564"/>
                <a:gd name="connsiteY692" fmla="*/ 1138866 h 3102100"/>
                <a:gd name="connsiteX693" fmla="*/ 61944 w 1398564"/>
                <a:gd name="connsiteY693" fmla="*/ 1134102 h 3102100"/>
                <a:gd name="connsiteX694" fmla="*/ 66708 w 1398564"/>
                <a:gd name="connsiteY694" fmla="*/ 1124572 h 3102100"/>
                <a:gd name="connsiteX695" fmla="*/ 71476 w 1398564"/>
                <a:gd name="connsiteY695" fmla="*/ 1119806 h 3102100"/>
                <a:gd name="connsiteX696" fmla="*/ 76240 w 1398564"/>
                <a:gd name="connsiteY696" fmla="*/ 1110276 h 3102100"/>
                <a:gd name="connsiteX697" fmla="*/ 76240 w 1398564"/>
                <a:gd name="connsiteY697" fmla="*/ 1105510 h 3102100"/>
                <a:gd name="connsiteX698" fmla="*/ 81004 w 1398564"/>
                <a:gd name="connsiteY698" fmla="*/ 1105510 h 3102100"/>
                <a:gd name="connsiteX699" fmla="*/ 90536 w 1398564"/>
                <a:gd name="connsiteY699" fmla="*/ 1110276 h 3102100"/>
                <a:gd name="connsiteX700" fmla="*/ 104832 w 1398564"/>
                <a:gd name="connsiteY700" fmla="*/ 1124572 h 3102100"/>
                <a:gd name="connsiteX701" fmla="*/ 114360 w 1398564"/>
                <a:gd name="connsiteY701" fmla="*/ 1129336 h 3102100"/>
                <a:gd name="connsiteX702" fmla="*/ 119128 w 1398564"/>
                <a:gd name="connsiteY702" fmla="*/ 1129336 h 3102100"/>
                <a:gd name="connsiteX703" fmla="*/ 128656 w 1398564"/>
                <a:gd name="connsiteY703" fmla="*/ 1105510 h 3102100"/>
                <a:gd name="connsiteX704" fmla="*/ 133420 w 1398564"/>
                <a:gd name="connsiteY704" fmla="*/ 1095980 h 3102100"/>
                <a:gd name="connsiteX705" fmla="*/ 138188 w 1398564"/>
                <a:gd name="connsiteY705" fmla="*/ 1091216 h 3102100"/>
                <a:gd name="connsiteX706" fmla="*/ 147716 w 1398564"/>
                <a:gd name="connsiteY706" fmla="*/ 1095980 h 3102100"/>
                <a:gd name="connsiteX707" fmla="*/ 147716 w 1398564"/>
                <a:gd name="connsiteY707" fmla="*/ 1091216 h 3102100"/>
                <a:gd name="connsiteX708" fmla="*/ 152484 w 1398564"/>
                <a:gd name="connsiteY708" fmla="*/ 1076920 h 3102100"/>
                <a:gd name="connsiteX709" fmla="*/ 152484 w 1398564"/>
                <a:gd name="connsiteY709" fmla="*/ 1067390 h 3102100"/>
                <a:gd name="connsiteX710" fmla="*/ 142952 w 1398564"/>
                <a:gd name="connsiteY710" fmla="*/ 1034034 h 3102100"/>
                <a:gd name="connsiteX711" fmla="*/ 138188 w 1398564"/>
                <a:gd name="connsiteY711" fmla="*/ 1019738 h 3102100"/>
                <a:gd name="connsiteX712" fmla="*/ 138188 w 1398564"/>
                <a:gd name="connsiteY712" fmla="*/ 1005442 h 3102100"/>
                <a:gd name="connsiteX713" fmla="*/ 142952 w 1398564"/>
                <a:gd name="connsiteY713" fmla="*/ 991148 h 3102100"/>
                <a:gd name="connsiteX714" fmla="*/ 152484 w 1398564"/>
                <a:gd name="connsiteY714" fmla="*/ 976852 h 3102100"/>
                <a:gd name="connsiteX715" fmla="*/ 147716 w 1398564"/>
                <a:gd name="connsiteY715" fmla="*/ 957792 h 3102100"/>
                <a:gd name="connsiteX716" fmla="*/ 152484 w 1398564"/>
                <a:gd name="connsiteY716" fmla="*/ 953026 h 3102100"/>
                <a:gd name="connsiteX717" fmla="*/ 157248 w 1398564"/>
                <a:gd name="connsiteY717" fmla="*/ 953026 h 3102100"/>
                <a:gd name="connsiteX718" fmla="*/ 166776 w 1398564"/>
                <a:gd name="connsiteY718" fmla="*/ 957792 h 3102100"/>
                <a:gd name="connsiteX719" fmla="*/ 176308 w 1398564"/>
                <a:gd name="connsiteY719" fmla="*/ 953026 h 3102100"/>
                <a:gd name="connsiteX720" fmla="*/ 181072 w 1398564"/>
                <a:gd name="connsiteY720" fmla="*/ 943496 h 3102100"/>
                <a:gd name="connsiteX721" fmla="*/ 185840 w 1398564"/>
                <a:gd name="connsiteY721" fmla="*/ 938732 h 3102100"/>
                <a:gd name="connsiteX722" fmla="*/ 185840 w 1398564"/>
                <a:gd name="connsiteY722" fmla="*/ 900610 h 3102100"/>
                <a:gd name="connsiteX723" fmla="*/ 190604 w 1398564"/>
                <a:gd name="connsiteY723" fmla="*/ 867254 h 3102100"/>
                <a:gd name="connsiteX724" fmla="*/ 190604 w 1398564"/>
                <a:gd name="connsiteY724" fmla="*/ 843428 h 3102100"/>
                <a:gd name="connsiteX725" fmla="*/ 185840 w 1398564"/>
                <a:gd name="connsiteY725" fmla="*/ 829134 h 3102100"/>
                <a:gd name="connsiteX726" fmla="*/ 176308 w 1398564"/>
                <a:gd name="connsiteY726" fmla="*/ 786246 h 3102100"/>
                <a:gd name="connsiteX727" fmla="*/ 176308 w 1398564"/>
                <a:gd name="connsiteY727" fmla="*/ 776716 h 3102100"/>
                <a:gd name="connsiteX728" fmla="*/ 181072 w 1398564"/>
                <a:gd name="connsiteY728" fmla="*/ 776716 h 3102100"/>
                <a:gd name="connsiteX729" fmla="*/ 195368 w 1398564"/>
                <a:gd name="connsiteY729" fmla="*/ 791012 h 3102100"/>
                <a:gd name="connsiteX730" fmla="*/ 204900 w 1398564"/>
                <a:gd name="connsiteY730" fmla="*/ 791012 h 3102100"/>
                <a:gd name="connsiteX731" fmla="*/ 214428 w 1398564"/>
                <a:gd name="connsiteY731" fmla="*/ 791012 h 3102100"/>
                <a:gd name="connsiteX732" fmla="*/ 223960 w 1398564"/>
                <a:gd name="connsiteY732" fmla="*/ 786246 h 3102100"/>
                <a:gd name="connsiteX733" fmla="*/ 233488 w 1398564"/>
                <a:gd name="connsiteY733" fmla="*/ 786246 h 3102100"/>
                <a:gd name="connsiteX734" fmla="*/ 243020 w 1398564"/>
                <a:gd name="connsiteY734" fmla="*/ 791012 h 3102100"/>
                <a:gd name="connsiteX735" fmla="*/ 257316 w 1398564"/>
                <a:gd name="connsiteY735" fmla="*/ 800542 h 3102100"/>
                <a:gd name="connsiteX736" fmla="*/ 285904 w 1398564"/>
                <a:gd name="connsiteY736" fmla="*/ 805308 h 3102100"/>
                <a:gd name="connsiteX737" fmla="*/ 295436 w 1398564"/>
                <a:gd name="connsiteY737" fmla="*/ 810072 h 3102100"/>
                <a:gd name="connsiteX738" fmla="*/ 300200 w 1398564"/>
                <a:gd name="connsiteY738" fmla="*/ 810072 h 3102100"/>
                <a:gd name="connsiteX739" fmla="*/ 309732 w 1398564"/>
                <a:gd name="connsiteY739" fmla="*/ 791012 h 3102100"/>
                <a:gd name="connsiteX740" fmla="*/ 314496 w 1398564"/>
                <a:gd name="connsiteY740" fmla="*/ 767186 h 3102100"/>
                <a:gd name="connsiteX741" fmla="*/ 328792 w 1398564"/>
                <a:gd name="connsiteY741" fmla="*/ 733830 h 3102100"/>
                <a:gd name="connsiteX742" fmla="*/ 343088 w 1398564"/>
                <a:gd name="connsiteY742" fmla="*/ 705240 h 3102100"/>
                <a:gd name="connsiteX743" fmla="*/ 343088 w 1398564"/>
                <a:gd name="connsiteY743" fmla="*/ 700474 h 3102100"/>
                <a:gd name="connsiteX744" fmla="*/ 371680 w 1398564"/>
                <a:gd name="connsiteY744" fmla="*/ 657588 h 3102100"/>
                <a:gd name="connsiteX745" fmla="*/ 385972 w 1398564"/>
                <a:gd name="connsiteY745" fmla="*/ 628998 h 3102100"/>
                <a:gd name="connsiteX746" fmla="*/ 390740 w 1398564"/>
                <a:gd name="connsiteY746" fmla="*/ 609938 h 3102100"/>
                <a:gd name="connsiteX747" fmla="*/ 390740 w 1398564"/>
                <a:gd name="connsiteY747" fmla="*/ 600408 h 3102100"/>
                <a:gd name="connsiteX748" fmla="*/ 385972 w 1398564"/>
                <a:gd name="connsiteY748" fmla="*/ 590876 h 3102100"/>
                <a:gd name="connsiteX749" fmla="*/ 376444 w 1398564"/>
                <a:gd name="connsiteY749" fmla="*/ 590876 h 3102100"/>
                <a:gd name="connsiteX750" fmla="*/ 371680 w 1398564"/>
                <a:gd name="connsiteY750" fmla="*/ 586112 h 3102100"/>
                <a:gd name="connsiteX751" fmla="*/ 366912 w 1398564"/>
                <a:gd name="connsiteY751" fmla="*/ 581346 h 3102100"/>
                <a:gd name="connsiteX752" fmla="*/ 366912 w 1398564"/>
                <a:gd name="connsiteY752" fmla="*/ 576582 h 3102100"/>
                <a:gd name="connsiteX753" fmla="*/ 371680 w 1398564"/>
                <a:gd name="connsiteY753" fmla="*/ 562286 h 3102100"/>
                <a:gd name="connsiteX754" fmla="*/ 381208 w 1398564"/>
                <a:gd name="connsiteY754" fmla="*/ 547990 h 3102100"/>
                <a:gd name="connsiteX755" fmla="*/ 385972 w 1398564"/>
                <a:gd name="connsiteY755" fmla="*/ 538460 h 3102100"/>
                <a:gd name="connsiteX756" fmla="*/ 405036 w 1398564"/>
                <a:gd name="connsiteY756" fmla="*/ 528930 h 3102100"/>
                <a:gd name="connsiteX757" fmla="*/ 414564 w 1398564"/>
                <a:gd name="connsiteY757" fmla="*/ 514634 h 3102100"/>
                <a:gd name="connsiteX758" fmla="*/ 428860 w 1398564"/>
                <a:gd name="connsiteY758" fmla="*/ 495574 h 3102100"/>
                <a:gd name="connsiteX759" fmla="*/ 438392 w 1398564"/>
                <a:gd name="connsiteY759" fmla="*/ 486044 h 3102100"/>
                <a:gd name="connsiteX760" fmla="*/ 443156 w 1398564"/>
                <a:gd name="connsiteY760" fmla="*/ 457454 h 3102100"/>
                <a:gd name="connsiteX761" fmla="*/ 443156 w 1398564"/>
                <a:gd name="connsiteY761" fmla="*/ 452688 h 3102100"/>
                <a:gd name="connsiteX762" fmla="*/ 452684 w 1398564"/>
                <a:gd name="connsiteY762" fmla="*/ 447922 h 3102100"/>
                <a:gd name="connsiteX763" fmla="*/ 457452 w 1398564"/>
                <a:gd name="connsiteY763" fmla="*/ 438392 h 3102100"/>
                <a:gd name="connsiteX764" fmla="*/ 457452 w 1398564"/>
                <a:gd name="connsiteY764" fmla="*/ 433628 h 3102100"/>
                <a:gd name="connsiteX765" fmla="*/ 457452 w 1398564"/>
                <a:gd name="connsiteY765" fmla="*/ 428862 h 3102100"/>
                <a:gd name="connsiteX766" fmla="*/ 447920 w 1398564"/>
                <a:gd name="connsiteY766" fmla="*/ 409802 h 3102100"/>
                <a:gd name="connsiteX767" fmla="*/ 447920 w 1398564"/>
                <a:gd name="connsiteY767" fmla="*/ 385976 h 3102100"/>
                <a:gd name="connsiteX768" fmla="*/ 447920 w 1398564"/>
                <a:gd name="connsiteY768" fmla="*/ 362150 h 3102100"/>
                <a:gd name="connsiteX769" fmla="*/ 452684 w 1398564"/>
                <a:gd name="connsiteY769" fmla="*/ 352620 h 3102100"/>
                <a:gd name="connsiteX770" fmla="*/ 457452 w 1398564"/>
                <a:gd name="connsiteY770" fmla="*/ 338324 h 3102100"/>
                <a:gd name="connsiteX771" fmla="*/ 471744 w 1398564"/>
                <a:gd name="connsiteY771" fmla="*/ 333560 h 3102100"/>
                <a:gd name="connsiteX772" fmla="*/ 486040 w 1398564"/>
                <a:gd name="connsiteY772" fmla="*/ 328794 h 3102100"/>
                <a:gd name="connsiteX773" fmla="*/ 509868 w 1398564"/>
                <a:gd name="connsiteY773" fmla="*/ 314500 h 3102100"/>
                <a:gd name="connsiteX774" fmla="*/ 552752 w 1398564"/>
                <a:gd name="connsiteY774" fmla="*/ 276378 h 3102100"/>
                <a:gd name="connsiteX775" fmla="*/ 567048 w 1398564"/>
                <a:gd name="connsiteY775" fmla="*/ 266848 h 3102100"/>
                <a:gd name="connsiteX776" fmla="*/ 581344 w 1398564"/>
                <a:gd name="connsiteY776" fmla="*/ 262082 h 3102100"/>
                <a:gd name="connsiteX777" fmla="*/ 590876 w 1398564"/>
                <a:gd name="connsiteY777" fmla="*/ 247788 h 3102100"/>
                <a:gd name="connsiteX778" fmla="*/ 605168 w 1398564"/>
                <a:gd name="connsiteY778" fmla="*/ 233492 h 3102100"/>
                <a:gd name="connsiteX779" fmla="*/ 624232 w 1398564"/>
                <a:gd name="connsiteY779" fmla="*/ 223962 h 3102100"/>
                <a:gd name="connsiteX780" fmla="*/ 638524 w 1398564"/>
                <a:gd name="connsiteY780" fmla="*/ 219196 h 3102100"/>
                <a:gd name="connsiteX781" fmla="*/ 700472 w 1398564"/>
                <a:gd name="connsiteY781" fmla="*/ 209666 h 3102100"/>
                <a:gd name="connsiteX782" fmla="*/ 710004 w 1398564"/>
                <a:gd name="connsiteY782" fmla="*/ 209666 h 3102100"/>
                <a:gd name="connsiteX783" fmla="*/ 719532 w 1398564"/>
                <a:gd name="connsiteY783" fmla="*/ 219196 h 3102100"/>
                <a:gd name="connsiteX784" fmla="*/ 733828 w 1398564"/>
                <a:gd name="connsiteY784" fmla="*/ 238258 h 3102100"/>
                <a:gd name="connsiteX785" fmla="*/ 743360 w 1398564"/>
                <a:gd name="connsiteY785" fmla="*/ 247788 h 3102100"/>
                <a:gd name="connsiteX786" fmla="*/ 757652 w 1398564"/>
                <a:gd name="connsiteY786" fmla="*/ 252552 h 3102100"/>
                <a:gd name="connsiteX787" fmla="*/ 767184 w 1398564"/>
                <a:gd name="connsiteY787" fmla="*/ 247788 h 3102100"/>
                <a:gd name="connsiteX788" fmla="*/ 767184 w 1398564"/>
                <a:gd name="connsiteY788" fmla="*/ 243022 h 3102100"/>
                <a:gd name="connsiteX789" fmla="*/ 733828 w 1398564"/>
                <a:gd name="connsiteY789" fmla="*/ 190606 h 3102100"/>
                <a:gd name="connsiteX790" fmla="*/ 733828 w 1398564"/>
                <a:gd name="connsiteY790" fmla="*/ 181076 h 3102100"/>
                <a:gd name="connsiteX791" fmla="*/ 729064 w 1398564"/>
                <a:gd name="connsiteY791" fmla="*/ 166780 h 3102100"/>
                <a:gd name="connsiteX792" fmla="*/ 733828 w 1398564"/>
                <a:gd name="connsiteY792" fmla="*/ 157250 h 3102100"/>
                <a:gd name="connsiteX793" fmla="*/ 743360 w 1398564"/>
                <a:gd name="connsiteY793" fmla="*/ 147720 h 3102100"/>
                <a:gd name="connsiteX794" fmla="*/ 757652 w 1398564"/>
                <a:gd name="connsiteY794" fmla="*/ 138190 h 3102100"/>
                <a:gd name="connsiteX795" fmla="*/ 776716 w 1398564"/>
                <a:gd name="connsiteY795" fmla="*/ 123894 h 3102100"/>
                <a:gd name="connsiteX796" fmla="*/ 786244 w 1398564"/>
                <a:gd name="connsiteY796" fmla="*/ 114364 h 3102100"/>
                <a:gd name="connsiteX797" fmla="*/ 800540 w 1398564"/>
                <a:gd name="connsiteY797" fmla="*/ 109598 h 3102100"/>
                <a:gd name="connsiteX798" fmla="*/ 805304 w 1398564"/>
                <a:gd name="connsiteY798" fmla="*/ 104834 h 3102100"/>
                <a:gd name="connsiteX799" fmla="*/ 805304 w 1398564"/>
                <a:gd name="connsiteY799" fmla="*/ 95304 h 3102100"/>
                <a:gd name="connsiteX800" fmla="*/ 805304 w 1398564"/>
                <a:gd name="connsiteY800" fmla="*/ 85774 h 3102100"/>
                <a:gd name="connsiteX801" fmla="*/ 800540 w 1398564"/>
                <a:gd name="connsiteY801" fmla="*/ 76244 h 3102100"/>
                <a:gd name="connsiteX802" fmla="*/ 800540 w 1398564"/>
                <a:gd name="connsiteY802" fmla="*/ 66712 h 3102100"/>
                <a:gd name="connsiteX803" fmla="*/ 800540 w 1398564"/>
                <a:gd name="connsiteY803" fmla="*/ 57182 h 3102100"/>
                <a:gd name="connsiteX804" fmla="*/ 805304 w 1398564"/>
                <a:gd name="connsiteY804" fmla="*/ 47652 h 3102100"/>
                <a:gd name="connsiteX805" fmla="*/ 819600 w 1398564"/>
                <a:gd name="connsiteY805" fmla="*/ 28592 h 3102100"/>
                <a:gd name="connsiteX806" fmla="*/ 824364 w 1398564"/>
                <a:gd name="connsiteY806" fmla="*/ 19062 h 3102100"/>
                <a:gd name="connsiteX807" fmla="*/ 829132 w 1398564"/>
                <a:gd name="connsiteY807" fmla="*/ 14296 h 3102100"/>
                <a:gd name="connsiteX808" fmla="*/ 833896 w 1398564"/>
                <a:gd name="connsiteY808" fmla="*/ 4766 h 310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</a:cxnLst>
              <a:rect l="l" t="t" r="r" b="b"/>
              <a:pathLst>
                <a:path w="1398564" h="3102100">
                  <a:moveTo>
                    <a:pt x="941112" y="3073508"/>
                  </a:moveTo>
                  <a:lnTo>
                    <a:pt x="950640" y="3073508"/>
                  </a:lnTo>
                  <a:lnTo>
                    <a:pt x="950640" y="3083038"/>
                  </a:lnTo>
                  <a:lnTo>
                    <a:pt x="941112" y="3087804"/>
                  </a:lnTo>
                  <a:lnTo>
                    <a:pt x="931580" y="3092568"/>
                  </a:lnTo>
                  <a:lnTo>
                    <a:pt x="929196" y="3102100"/>
                  </a:lnTo>
                  <a:lnTo>
                    <a:pt x="924432" y="3102100"/>
                  </a:lnTo>
                  <a:lnTo>
                    <a:pt x="929196" y="3087804"/>
                  </a:lnTo>
                  <a:close/>
                  <a:moveTo>
                    <a:pt x="931580" y="2925788"/>
                  </a:moveTo>
                  <a:lnTo>
                    <a:pt x="936344" y="2930554"/>
                  </a:lnTo>
                  <a:lnTo>
                    <a:pt x="950640" y="2959144"/>
                  </a:lnTo>
                  <a:lnTo>
                    <a:pt x="950640" y="2963910"/>
                  </a:lnTo>
                  <a:lnTo>
                    <a:pt x="945876" y="2963910"/>
                  </a:lnTo>
                  <a:lnTo>
                    <a:pt x="936344" y="2949614"/>
                  </a:lnTo>
                  <a:lnTo>
                    <a:pt x="929196" y="2940084"/>
                  </a:lnTo>
                  <a:lnTo>
                    <a:pt x="919668" y="2940084"/>
                  </a:lnTo>
                  <a:lnTo>
                    <a:pt x="929196" y="2930554"/>
                  </a:lnTo>
                  <a:close/>
                  <a:moveTo>
                    <a:pt x="988760" y="2911494"/>
                  </a:moveTo>
                  <a:lnTo>
                    <a:pt x="988760" y="2930556"/>
                  </a:lnTo>
                  <a:lnTo>
                    <a:pt x="983996" y="2930556"/>
                  </a:lnTo>
                  <a:lnTo>
                    <a:pt x="979232" y="2925790"/>
                  </a:lnTo>
                  <a:close/>
                  <a:moveTo>
                    <a:pt x="950640" y="2801896"/>
                  </a:moveTo>
                  <a:lnTo>
                    <a:pt x="950640" y="2806662"/>
                  </a:lnTo>
                  <a:lnTo>
                    <a:pt x="950640" y="2830486"/>
                  </a:lnTo>
                  <a:lnTo>
                    <a:pt x="945876" y="2840016"/>
                  </a:lnTo>
                  <a:lnTo>
                    <a:pt x="941108" y="2844782"/>
                  </a:lnTo>
                  <a:lnTo>
                    <a:pt x="936344" y="2849548"/>
                  </a:lnTo>
                  <a:lnTo>
                    <a:pt x="931580" y="2849548"/>
                  </a:lnTo>
                  <a:lnTo>
                    <a:pt x="936344" y="2835252"/>
                  </a:lnTo>
                  <a:lnTo>
                    <a:pt x="941108" y="2820956"/>
                  </a:lnTo>
                  <a:close/>
                  <a:moveTo>
                    <a:pt x="964936" y="2797132"/>
                  </a:moveTo>
                  <a:lnTo>
                    <a:pt x="988760" y="2797132"/>
                  </a:lnTo>
                  <a:lnTo>
                    <a:pt x="993528" y="2806662"/>
                  </a:lnTo>
                  <a:lnTo>
                    <a:pt x="988760" y="2835252"/>
                  </a:lnTo>
                  <a:lnTo>
                    <a:pt x="979232" y="2835252"/>
                  </a:lnTo>
                  <a:lnTo>
                    <a:pt x="974464" y="2835252"/>
                  </a:lnTo>
                  <a:lnTo>
                    <a:pt x="964936" y="2816192"/>
                  </a:lnTo>
                  <a:lnTo>
                    <a:pt x="964936" y="2811426"/>
                  </a:lnTo>
                  <a:close/>
                  <a:moveTo>
                    <a:pt x="910136" y="2787600"/>
                  </a:moveTo>
                  <a:lnTo>
                    <a:pt x="914904" y="2801896"/>
                  </a:lnTo>
                  <a:lnTo>
                    <a:pt x="919668" y="2806662"/>
                  </a:lnTo>
                  <a:lnTo>
                    <a:pt x="919668" y="2811426"/>
                  </a:lnTo>
                  <a:lnTo>
                    <a:pt x="919668" y="2820956"/>
                  </a:lnTo>
                  <a:lnTo>
                    <a:pt x="910136" y="2811426"/>
                  </a:lnTo>
                  <a:close/>
                  <a:moveTo>
                    <a:pt x="979232" y="2749480"/>
                  </a:moveTo>
                  <a:lnTo>
                    <a:pt x="988760" y="2763776"/>
                  </a:lnTo>
                  <a:lnTo>
                    <a:pt x="998292" y="2768540"/>
                  </a:lnTo>
                  <a:lnTo>
                    <a:pt x="993528" y="2778072"/>
                  </a:lnTo>
                  <a:lnTo>
                    <a:pt x="983996" y="2778072"/>
                  </a:lnTo>
                  <a:lnTo>
                    <a:pt x="979232" y="2778072"/>
                  </a:lnTo>
                  <a:lnTo>
                    <a:pt x="974464" y="2754246"/>
                  </a:lnTo>
                  <a:close/>
                  <a:moveTo>
                    <a:pt x="919668" y="2716124"/>
                  </a:moveTo>
                  <a:lnTo>
                    <a:pt x="924432" y="2716124"/>
                  </a:lnTo>
                  <a:lnTo>
                    <a:pt x="924432" y="2720890"/>
                  </a:lnTo>
                  <a:lnTo>
                    <a:pt x="924432" y="2725654"/>
                  </a:lnTo>
                  <a:lnTo>
                    <a:pt x="924432" y="2735184"/>
                  </a:lnTo>
                  <a:lnTo>
                    <a:pt x="929196" y="2739950"/>
                  </a:lnTo>
                  <a:lnTo>
                    <a:pt x="924432" y="2739950"/>
                  </a:lnTo>
                  <a:lnTo>
                    <a:pt x="919668" y="2739950"/>
                  </a:lnTo>
                  <a:lnTo>
                    <a:pt x="914904" y="2725654"/>
                  </a:lnTo>
                  <a:lnTo>
                    <a:pt x="914904" y="2720890"/>
                  </a:lnTo>
                  <a:close/>
                  <a:moveTo>
                    <a:pt x="905372" y="2701828"/>
                  </a:moveTo>
                  <a:lnTo>
                    <a:pt x="914904" y="2701828"/>
                  </a:lnTo>
                  <a:lnTo>
                    <a:pt x="919668" y="2701828"/>
                  </a:lnTo>
                  <a:lnTo>
                    <a:pt x="914904" y="2706594"/>
                  </a:lnTo>
                  <a:lnTo>
                    <a:pt x="905372" y="2720888"/>
                  </a:lnTo>
                  <a:lnTo>
                    <a:pt x="900608" y="2711358"/>
                  </a:lnTo>
                  <a:lnTo>
                    <a:pt x="895840" y="2706594"/>
                  </a:lnTo>
                  <a:close/>
                  <a:moveTo>
                    <a:pt x="955404" y="2654176"/>
                  </a:moveTo>
                  <a:lnTo>
                    <a:pt x="964936" y="2658942"/>
                  </a:lnTo>
                  <a:lnTo>
                    <a:pt x="969700" y="2668472"/>
                  </a:lnTo>
                  <a:lnTo>
                    <a:pt x="974464" y="2673238"/>
                  </a:lnTo>
                  <a:lnTo>
                    <a:pt x="979232" y="2673238"/>
                  </a:lnTo>
                  <a:lnTo>
                    <a:pt x="974464" y="2687534"/>
                  </a:lnTo>
                  <a:lnTo>
                    <a:pt x="964936" y="2706594"/>
                  </a:lnTo>
                  <a:lnTo>
                    <a:pt x="955404" y="2711360"/>
                  </a:lnTo>
                  <a:lnTo>
                    <a:pt x="955404" y="2682768"/>
                  </a:lnTo>
                  <a:lnTo>
                    <a:pt x="950640" y="2663708"/>
                  </a:lnTo>
                  <a:close/>
                  <a:moveTo>
                    <a:pt x="945876" y="2573170"/>
                  </a:moveTo>
                  <a:lnTo>
                    <a:pt x="950640" y="2577936"/>
                  </a:lnTo>
                  <a:lnTo>
                    <a:pt x="955404" y="2587466"/>
                  </a:lnTo>
                  <a:lnTo>
                    <a:pt x="950640" y="2616056"/>
                  </a:lnTo>
                  <a:lnTo>
                    <a:pt x="945876" y="2601760"/>
                  </a:lnTo>
                  <a:lnTo>
                    <a:pt x="945876" y="2587466"/>
                  </a:lnTo>
                  <a:close/>
                  <a:moveTo>
                    <a:pt x="409800" y="2130012"/>
                  </a:moveTo>
                  <a:lnTo>
                    <a:pt x="414564" y="2139544"/>
                  </a:lnTo>
                  <a:lnTo>
                    <a:pt x="409800" y="2149074"/>
                  </a:lnTo>
                  <a:lnTo>
                    <a:pt x="405032" y="2153840"/>
                  </a:lnTo>
                  <a:lnTo>
                    <a:pt x="400268" y="2149074"/>
                  </a:lnTo>
                  <a:lnTo>
                    <a:pt x="395504" y="2149074"/>
                  </a:lnTo>
                  <a:close/>
                  <a:moveTo>
                    <a:pt x="376444" y="2087128"/>
                  </a:moveTo>
                  <a:lnTo>
                    <a:pt x="376444" y="2096658"/>
                  </a:lnTo>
                  <a:lnTo>
                    <a:pt x="371676" y="2115718"/>
                  </a:lnTo>
                  <a:lnTo>
                    <a:pt x="357384" y="2130014"/>
                  </a:lnTo>
                  <a:lnTo>
                    <a:pt x="347852" y="2144308"/>
                  </a:lnTo>
                  <a:lnTo>
                    <a:pt x="343088" y="2120484"/>
                  </a:lnTo>
                  <a:lnTo>
                    <a:pt x="357384" y="2106188"/>
                  </a:lnTo>
                  <a:lnTo>
                    <a:pt x="366912" y="2096658"/>
                  </a:lnTo>
                  <a:close/>
                  <a:moveTo>
                    <a:pt x="833896" y="2039476"/>
                  </a:moveTo>
                  <a:lnTo>
                    <a:pt x="843424" y="2039476"/>
                  </a:lnTo>
                  <a:lnTo>
                    <a:pt x="843424" y="2044242"/>
                  </a:lnTo>
                  <a:lnTo>
                    <a:pt x="843424" y="2049006"/>
                  </a:lnTo>
                  <a:lnTo>
                    <a:pt x="843424" y="2053772"/>
                  </a:lnTo>
                  <a:lnTo>
                    <a:pt x="838660" y="2077596"/>
                  </a:lnTo>
                  <a:lnTo>
                    <a:pt x="833896" y="2082362"/>
                  </a:lnTo>
                  <a:lnTo>
                    <a:pt x="824364" y="2068066"/>
                  </a:lnTo>
                  <a:lnTo>
                    <a:pt x="824364" y="2044242"/>
                  </a:lnTo>
                  <a:close/>
                  <a:moveTo>
                    <a:pt x="200132" y="1648736"/>
                  </a:moveTo>
                  <a:lnTo>
                    <a:pt x="223960" y="1648736"/>
                  </a:lnTo>
                  <a:lnTo>
                    <a:pt x="243020" y="1648736"/>
                  </a:lnTo>
                  <a:lnTo>
                    <a:pt x="243020" y="1658266"/>
                  </a:lnTo>
                  <a:lnTo>
                    <a:pt x="238252" y="1677326"/>
                  </a:lnTo>
                  <a:lnTo>
                    <a:pt x="233488" y="1682092"/>
                  </a:lnTo>
                  <a:lnTo>
                    <a:pt x="214428" y="1667796"/>
                  </a:lnTo>
                  <a:close/>
                  <a:moveTo>
                    <a:pt x="238256" y="1534372"/>
                  </a:moveTo>
                  <a:lnTo>
                    <a:pt x="257316" y="1548668"/>
                  </a:lnTo>
                  <a:lnTo>
                    <a:pt x="262080" y="1548668"/>
                  </a:lnTo>
                  <a:lnTo>
                    <a:pt x="271608" y="1558198"/>
                  </a:lnTo>
                  <a:lnTo>
                    <a:pt x="271608" y="1562962"/>
                  </a:lnTo>
                  <a:lnTo>
                    <a:pt x="271608" y="1567728"/>
                  </a:lnTo>
                  <a:lnTo>
                    <a:pt x="266844" y="1572492"/>
                  </a:lnTo>
                  <a:lnTo>
                    <a:pt x="252548" y="1577258"/>
                  </a:lnTo>
                  <a:lnTo>
                    <a:pt x="243020" y="1572492"/>
                  </a:lnTo>
                  <a:lnTo>
                    <a:pt x="238256" y="1558198"/>
                  </a:lnTo>
                  <a:lnTo>
                    <a:pt x="228724" y="1553432"/>
                  </a:lnTo>
                  <a:lnTo>
                    <a:pt x="228724" y="1548668"/>
                  </a:lnTo>
                  <a:lnTo>
                    <a:pt x="233488" y="1539138"/>
                  </a:lnTo>
                  <a:close/>
                  <a:moveTo>
                    <a:pt x="190604" y="1472426"/>
                  </a:moveTo>
                  <a:lnTo>
                    <a:pt x="204896" y="1481956"/>
                  </a:lnTo>
                  <a:lnTo>
                    <a:pt x="204896" y="1505782"/>
                  </a:lnTo>
                  <a:lnTo>
                    <a:pt x="195368" y="1496252"/>
                  </a:lnTo>
                  <a:lnTo>
                    <a:pt x="190604" y="1481956"/>
                  </a:lnTo>
                  <a:close/>
                  <a:moveTo>
                    <a:pt x="114360" y="1448600"/>
                  </a:moveTo>
                  <a:lnTo>
                    <a:pt x="119128" y="1453366"/>
                  </a:lnTo>
                  <a:lnTo>
                    <a:pt x="128656" y="1477190"/>
                  </a:lnTo>
                  <a:lnTo>
                    <a:pt x="128656" y="1491486"/>
                  </a:lnTo>
                  <a:lnTo>
                    <a:pt x="123892" y="1486720"/>
                  </a:lnTo>
                  <a:lnTo>
                    <a:pt x="114360" y="1462896"/>
                  </a:lnTo>
                  <a:close/>
                  <a:moveTo>
                    <a:pt x="843428" y="0"/>
                  </a:moveTo>
                  <a:lnTo>
                    <a:pt x="852956" y="4766"/>
                  </a:lnTo>
                  <a:lnTo>
                    <a:pt x="857720" y="9532"/>
                  </a:lnTo>
                  <a:lnTo>
                    <a:pt x="862488" y="19062"/>
                  </a:lnTo>
                  <a:lnTo>
                    <a:pt x="872016" y="28592"/>
                  </a:lnTo>
                  <a:lnTo>
                    <a:pt x="876784" y="28592"/>
                  </a:lnTo>
                  <a:lnTo>
                    <a:pt x="886312" y="28592"/>
                  </a:lnTo>
                  <a:lnTo>
                    <a:pt x="891076" y="28592"/>
                  </a:lnTo>
                  <a:lnTo>
                    <a:pt x="895844" y="38122"/>
                  </a:lnTo>
                  <a:lnTo>
                    <a:pt x="910140" y="57182"/>
                  </a:lnTo>
                  <a:lnTo>
                    <a:pt x="914904" y="61948"/>
                  </a:lnTo>
                  <a:lnTo>
                    <a:pt x="924432" y="66712"/>
                  </a:lnTo>
                  <a:lnTo>
                    <a:pt x="924432" y="85774"/>
                  </a:lnTo>
                  <a:lnTo>
                    <a:pt x="929200" y="100068"/>
                  </a:lnTo>
                  <a:lnTo>
                    <a:pt x="941112" y="152486"/>
                  </a:lnTo>
                  <a:lnTo>
                    <a:pt x="945876" y="162016"/>
                  </a:lnTo>
                  <a:lnTo>
                    <a:pt x="950640" y="171546"/>
                  </a:lnTo>
                  <a:lnTo>
                    <a:pt x="960172" y="176310"/>
                  </a:lnTo>
                  <a:lnTo>
                    <a:pt x="964936" y="166780"/>
                  </a:lnTo>
                  <a:lnTo>
                    <a:pt x="969704" y="157250"/>
                  </a:lnTo>
                  <a:lnTo>
                    <a:pt x="974468" y="152486"/>
                  </a:lnTo>
                  <a:lnTo>
                    <a:pt x="983996" y="157250"/>
                  </a:lnTo>
                  <a:lnTo>
                    <a:pt x="998292" y="162016"/>
                  </a:lnTo>
                  <a:lnTo>
                    <a:pt x="1007824" y="166780"/>
                  </a:lnTo>
                  <a:lnTo>
                    <a:pt x="1012588" y="195372"/>
                  </a:lnTo>
                  <a:lnTo>
                    <a:pt x="1012588" y="223962"/>
                  </a:lnTo>
                  <a:lnTo>
                    <a:pt x="1007824" y="238258"/>
                  </a:lnTo>
                  <a:lnTo>
                    <a:pt x="1017352" y="262082"/>
                  </a:lnTo>
                  <a:lnTo>
                    <a:pt x="1017352" y="290674"/>
                  </a:lnTo>
                  <a:lnTo>
                    <a:pt x="1022120" y="304970"/>
                  </a:lnTo>
                  <a:lnTo>
                    <a:pt x="1022120" y="324030"/>
                  </a:lnTo>
                  <a:lnTo>
                    <a:pt x="1017352" y="343090"/>
                  </a:lnTo>
                  <a:lnTo>
                    <a:pt x="1017352" y="371680"/>
                  </a:lnTo>
                  <a:lnTo>
                    <a:pt x="1007824" y="390742"/>
                  </a:lnTo>
                  <a:lnTo>
                    <a:pt x="1012588" y="409802"/>
                  </a:lnTo>
                  <a:lnTo>
                    <a:pt x="1007824" y="419332"/>
                  </a:lnTo>
                  <a:lnTo>
                    <a:pt x="993528" y="424098"/>
                  </a:lnTo>
                  <a:lnTo>
                    <a:pt x="993528" y="433628"/>
                  </a:lnTo>
                  <a:lnTo>
                    <a:pt x="998292" y="443158"/>
                  </a:lnTo>
                  <a:lnTo>
                    <a:pt x="1007824" y="457454"/>
                  </a:lnTo>
                  <a:lnTo>
                    <a:pt x="1007824" y="466984"/>
                  </a:lnTo>
                  <a:lnTo>
                    <a:pt x="1003060" y="471748"/>
                  </a:lnTo>
                  <a:lnTo>
                    <a:pt x="993528" y="476514"/>
                  </a:lnTo>
                  <a:lnTo>
                    <a:pt x="979232" y="481278"/>
                  </a:lnTo>
                  <a:lnTo>
                    <a:pt x="969704" y="500340"/>
                  </a:lnTo>
                  <a:lnTo>
                    <a:pt x="955408" y="514634"/>
                  </a:lnTo>
                  <a:lnTo>
                    <a:pt x="950640" y="519400"/>
                  </a:lnTo>
                  <a:lnTo>
                    <a:pt x="931580" y="514634"/>
                  </a:lnTo>
                  <a:lnTo>
                    <a:pt x="929200" y="519400"/>
                  </a:lnTo>
                  <a:lnTo>
                    <a:pt x="924432" y="543226"/>
                  </a:lnTo>
                  <a:lnTo>
                    <a:pt x="914904" y="557520"/>
                  </a:lnTo>
                  <a:lnTo>
                    <a:pt x="910140" y="567052"/>
                  </a:lnTo>
                  <a:lnTo>
                    <a:pt x="900608" y="571816"/>
                  </a:lnTo>
                  <a:lnTo>
                    <a:pt x="895844" y="576582"/>
                  </a:lnTo>
                  <a:lnTo>
                    <a:pt x="876784" y="571816"/>
                  </a:lnTo>
                  <a:lnTo>
                    <a:pt x="872016" y="590876"/>
                  </a:lnTo>
                  <a:lnTo>
                    <a:pt x="862488" y="609938"/>
                  </a:lnTo>
                  <a:lnTo>
                    <a:pt x="862488" y="624232"/>
                  </a:lnTo>
                  <a:lnTo>
                    <a:pt x="867252" y="638528"/>
                  </a:lnTo>
                  <a:lnTo>
                    <a:pt x="862488" y="643294"/>
                  </a:lnTo>
                  <a:lnTo>
                    <a:pt x="857720" y="648058"/>
                  </a:lnTo>
                  <a:lnTo>
                    <a:pt x="843428" y="657588"/>
                  </a:lnTo>
                  <a:lnTo>
                    <a:pt x="833896" y="681414"/>
                  </a:lnTo>
                  <a:lnTo>
                    <a:pt x="833896" y="705240"/>
                  </a:lnTo>
                  <a:lnTo>
                    <a:pt x="838660" y="714770"/>
                  </a:lnTo>
                  <a:lnTo>
                    <a:pt x="848192" y="714770"/>
                  </a:lnTo>
                  <a:lnTo>
                    <a:pt x="852956" y="724300"/>
                  </a:lnTo>
                  <a:lnTo>
                    <a:pt x="857720" y="733830"/>
                  </a:lnTo>
                  <a:lnTo>
                    <a:pt x="862488" y="748126"/>
                  </a:lnTo>
                  <a:lnTo>
                    <a:pt x="857720" y="767186"/>
                  </a:lnTo>
                  <a:lnTo>
                    <a:pt x="838660" y="791012"/>
                  </a:lnTo>
                  <a:lnTo>
                    <a:pt x="838660" y="805308"/>
                  </a:lnTo>
                  <a:lnTo>
                    <a:pt x="848192" y="810072"/>
                  </a:lnTo>
                  <a:lnTo>
                    <a:pt x="857720" y="805308"/>
                  </a:lnTo>
                  <a:lnTo>
                    <a:pt x="867252" y="800542"/>
                  </a:lnTo>
                  <a:lnTo>
                    <a:pt x="881548" y="791012"/>
                  </a:lnTo>
                  <a:lnTo>
                    <a:pt x="910140" y="776716"/>
                  </a:lnTo>
                  <a:lnTo>
                    <a:pt x="936348" y="771952"/>
                  </a:lnTo>
                  <a:lnTo>
                    <a:pt x="960172" y="767186"/>
                  </a:lnTo>
                  <a:lnTo>
                    <a:pt x="983996" y="767186"/>
                  </a:lnTo>
                  <a:lnTo>
                    <a:pt x="993528" y="771952"/>
                  </a:lnTo>
                  <a:lnTo>
                    <a:pt x="993528" y="776716"/>
                  </a:lnTo>
                  <a:lnTo>
                    <a:pt x="1022120" y="767186"/>
                  </a:lnTo>
                  <a:lnTo>
                    <a:pt x="1031648" y="767186"/>
                  </a:lnTo>
                  <a:lnTo>
                    <a:pt x="1036416" y="767186"/>
                  </a:lnTo>
                  <a:lnTo>
                    <a:pt x="1036416" y="771952"/>
                  </a:lnTo>
                  <a:lnTo>
                    <a:pt x="1012588" y="795778"/>
                  </a:lnTo>
                  <a:lnTo>
                    <a:pt x="1012588" y="805308"/>
                  </a:lnTo>
                  <a:lnTo>
                    <a:pt x="1012588" y="814838"/>
                  </a:lnTo>
                  <a:lnTo>
                    <a:pt x="1017352" y="824368"/>
                  </a:lnTo>
                  <a:lnTo>
                    <a:pt x="1026884" y="833898"/>
                  </a:lnTo>
                  <a:lnTo>
                    <a:pt x="1036416" y="852958"/>
                  </a:lnTo>
                  <a:lnTo>
                    <a:pt x="1031648" y="872020"/>
                  </a:lnTo>
                  <a:lnTo>
                    <a:pt x="1031648" y="876784"/>
                  </a:lnTo>
                  <a:lnTo>
                    <a:pt x="1036416" y="886314"/>
                  </a:lnTo>
                  <a:lnTo>
                    <a:pt x="1041180" y="895844"/>
                  </a:lnTo>
                  <a:lnTo>
                    <a:pt x="1041180" y="905376"/>
                  </a:lnTo>
                  <a:lnTo>
                    <a:pt x="1041180" y="924436"/>
                  </a:lnTo>
                  <a:lnTo>
                    <a:pt x="1069768" y="938732"/>
                  </a:lnTo>
                  <a:lnTo>
                    <a:pt x="1093596" y="943496"/>
                  </a:lnTo>
                  <a:lnTo>
                    <a:pt x="1112656" y="943496"/>
                  </a:lnTo>
                  <a:lnTo>
                    <a:pt x="1126952" y="948262"/>
                  </a:lnTo>
                  <a:lnTo>
                    <a:pt x="1131716" y="953026"/>
                  </a:lnTo>
                  <a:lnTo>
                    <a:pt x="1136480" y="957792"/>
                  </a:lnTo>
                  <a:lnTo>
                    <a:pt x="1141248" y="967322"/>
                  </a:lnTo>
                  <a:lnTo>
                    <a:pt x="1131716" y="972086"/>
                  </a:lnTo>
                  <a:lnTo>
                    <a:pt x="1122188" y="986382"/>
                  </a:lnTo>
                  <a:lnTo>
                    <a:pt x="1112656" y="1010208"/>
                  </a:lnTo>
                  <a:lnTo>
                    <a:pt x="1112656" y="1029268"/>
                  </a:lnTo>
                  <a:lnTo>
                    <a:pt x="1112656" y="1043564"/>
                  </a:lnTo>
                  <a:lnTo>
                    <a:pt x="1098360" y="1067390"/>
                  </a:lnTo>
                  <a:lnTo>
                    <a:pt x="1093596" y="1081684"/>
                  </a:lnTo>
                  <a:lnTo>
                    <a:pt x="1088832" y="1095980"/>
                  </a:lnTo>
                  <a:lnTo>
                    <a:pt x="1088832" y="1100746"/>
                  </a:lnTo>
                  <a:lnTo>
                    <a:pt x="1088832" y="1105510"/>
                  </a:lnTo>
                  <a:lnTo>
                    <a:pt x="1098360" y="1110276"/>
                  </a:lnTo>
                  <a:lnTo>
                    <a:pt x="1107892" y="1110276"/>
                  </a:lnTo>
                  <a:lnTo>
                    <a:pt x="1122188" y="1110276"/>
                  </a:lnTo>
                  <a:lnTo>
                    <a:pt x="1155544" y="1115040"/>
                  </a:lnTo>
                  <a:lnTo>
                    <a:pt x="1188900" y="1119806"/>
                  </a:lnTo>
                  <a:lnTo>
                    <a:pt x="1203192" y="1124572"/>
                  </a:lnTo>
                  <a:lnTo>
                    <a:pt x="1207960" y="1129336"/>
                  </a:lnTo>
                  <a:lnTo>
                    <a:pt x="1207960" y="1143632"/>
                  </a:lnTo>
                  <a:lnTo>
                    <a:pt x="1203192" y="1157926"/>
                  </a:lnTo>
                  <a:lnTo>
                    <a:pt x="1207960" y="1167458"/>
                  </a:lnTo>
                  <a:lnTo>
                    <a:pt x="1212724" y="1176988"/>
                  </a:lnTo>
                  <a:lnTo>
                    <a:pt x="1222256" y="1181752"/>
                  </a:lnTo>
                  <a:lnTo>
                    <a:pt x="1231784" y="1186518"/>
                  </a:lnTo>
                  <a:lnTo>
                    <a:pt x="1231784" y="1191282"/>
                  </a:lnTo>
                  <a:lnTo>
                    <a:pt x="1231784" y="1200812"/>
                  </a:lnTo>
                  <a:lnTo>
                    <a:pt x="1236548" y="1210344"/>
                  </a:lnTo>
                  <a:lnTo>
                    <a:pt x="1241316" y="1215108"/>
                  </a:lnTo>
                  <a:lnTo>
                    <a:pt x="1250844" y="1219874"/>
                  </a:lnTo>
                  <a:lnTo>
                    <a:pt x="1269904" y="1210344"/>
                  </a:lnTo>
                  <a:lnTo>
                    <a:pt x="1288968" y="1215108"/>
                  </a:lnTo>
                  <a:lnTo>
                    <a:pt x="1298496" y="1219874"/>
                  </a:lnTo>
                  <a:lnTo>
                    <a:pt x="1312792" y="1215108"/>
                  </a:lnTo>
                  <a:lnTo>
                    <a:pt x="1322320" y="1210344"/>
                  </a:lnTo>
                  <a:lnTo>
                    <a:pt x="1346148" y="1186518"/>
                  </a:lnTo>
                  <a:lnTo>
                    <a:pt x="1374740" y="1172222"/>
                  </a:lnTo>
                  <a:lnTo>
                    <a:pt x="1384268" y="1167458"/>
                  </a:lnTo>
                  <a:lnTo>
                    <a:pt x="1393800" y="1172222"/>
                  </a:lnTo>
                  <a:lnTo>
                    <a:pt x="1393800" y="1176988"/>
                  </a:lnTo>
                  <a:lnTo>
                    <a:pt x="1398564" y="1196048"/>
                  </a:lnTo>
                  <a:lnTo>
                    <a:pt x="1393800" y="1200812"/>
                  </a:lnTo>
                  <a:lnTo>
                    <a:pt x="1384268" y="1215108"/>
                  </a:lnTo>
                  <a:lnTo>
                    <a:pt x="1360444" y="1234168"/>
                  </a:lnTo>
                  <a:lnTo>
                    <a:pt x="1346148" y="1243700"/>
                  </a:lnTo>
                  <a:lnTo>
                    <a:pt x="1336616" y="1243700"/>
                  </a:lnTo>
                  <a:lnTo>
                    <a:pt x="1327088" y="1253230"/>
                  </a:lnTo>
                  <a:lnTo>
                    <a:pt x="1322320" y="1272290"/>
                  </a:lnTo>
                  <a:lnTo>
                    <a:pt x="1312792" y="1286586"/>
                  </a:lnTo>
                  <a:lnTo>
                    <a:pt x="1303260" y="1291350"/>
                  </a:lnTo>
                  <a:lnTo>
                    <a:pt x="1303260" y="1296116"/>
                  </a:lnTo>
                  <a:lnTo>
                    <a:pt x="1298496" y="1310410"/>
                  </a:lnTo>
                  <a:lnTo>
                    <a:pt x="1303260" y="1315176"/>
                  </a:lnTo>
                  <a:lnTo>
                    <a:pt x="1312792" y="1315176"/>
                  </a:lnTo>
                  <a:lnTo>
                    <a:pt x="1312792" y="1319942"/>
                  </a:lnTo>
                  <a:lnTo>
                    <a:pt x="1303260" y="1324706"/>
                  </a:lnTo>
                  <a:lnTo>
                    <a:pt x="1293732" y="1329472"/>
                  </a:lnTo>
                  <a:lnTo>
                    <a:pt x="1279436" y="1324706"/>
                  </a:lnTo>
                  <a:lnTo>
                    <a:pt x="1269904" y="1329472"/>
                  </a:lnTo>
                  <a:lnTo>
                    <a:pt x="1255612" y="1339002"/>
                  </a:lnTo>
                  <a:lnTo>
                    <a:pt x="1246080" y="1362828"/>
                  </a:lnTo>
                  <a:lnTo>
                    <a:pt x="1236548" y="1400948"/>
                  </a:lnTo>
                  <a:lnTo>
                    <a:pt x="1236548" y="1410478"/>
                  </a:lnTo>
                  <a:lnTo>
                    <a:pt x="1217488" y="1400948"/>
                  </a:lnTo>
                  <a:lnTo>
                    <a:pt x="1207960" y="1391418"/>
                  </a:lnTo>
                  <a:lnTo>
                    <a:pt x="1198428" y="1391418"/>
                  </a:lnTo>
                  <a:lnTo>
                    <a:pt x="1188900" y="1396184"/>
                  </a:lnTo>
                  <a:lnTo>
                    <a:pt x="1184132" y="1405714"/>
                  </a:lnTo>
                  <a:lnTo>
                    <a:pt x="1174604" y="1410478"/>
                  </a:lnTo>
                  <a:lnTo>
                    <a:pt x="1160308" y="1410478"/>
                  </a:lnTo>
                  <a:lnTo>
                    <a:pt x="1146012" y="1405714"/>
                  </a:lnTo>
                  <a:lnTo>
                    <a:pt x="1131716" y="1400948"/>
                  </a:lnTo>
                  <a:lnTo>
                    <a:pt x="1131716" y="1405714"/>
                  </a:lnTo>
                  <a:lnTo>
                    <a:pt x="1136480" y="1420008"/>
                  </a:lnTo>
                  <a:lnTo>
                    <a:pt x="1141248" y="1429540"/>
                  </a:lnTo>
                  <a:lnTo>
                    <a:pt x="1136480" y="1439070"/>
                  </a:lnTo>
                  <a:lnTo>
                    <a:pt x="1131716" y="1443834"/>
                  </a:lnTo>
                  <a:lnTo>
                    <a:pt x="1122188" y="1448600"/>
                  </a:lnTo>
                  <a:lnTo>
                    <a:pt x="1112656" y="1448600"/>
                  </a:lnTo>
                  <a:lnTo>
                    <a:pt x="1103124" y="1448600"/>
                  </a:lnTo>
                  <a:lnTo>
                    <a:pt x="1093596" y="1443834"/>
                  </a:lnTo>
                  <a:lnTo>
                    <a:pt x="1079300" y="1443834"/>
                  </a:lnTo>
                  <a:lnTo>
                    <a:pt x="1074536" y="1448600"/>
                  </a:lnTo>
                  <a:lnTo>
                    <a:pt x="1065004" y="1448600"/>
                  </a:lnTo>
                  <a:lnTo>
                    <a:pt x="1065004" y="1453364"/>
                  </a:lnTo>
                  <a:lnTo>
                    <a:pt x="1060240" y="1486720"/>
                  </a:lnTo>
                  <a:lnTo>
                    <a:pt x="1055476" y="1496250"/>
                  </a:lnTo>
                  <a:lnTo>
                    <a:pt x="1045944" y="1501016"/>
                  </a:lnTo>
                  <a:lnTo>
                    <a:pt x="1041180" y="1501016"/>
                  </a:lnTo>
                  <a:lnTo>
                    <a:pt x="1031648" y="1501016"/>
                  </a:lnTo>
                  <a:lnTo>
                    <a:pt x="1022120" y="1501016"/>
                  </a:lnTo>
                  <a:lnTo>
                    <a:pt x="979232" y="1510546"/>
                  </a:lnTo>
                  <a:lnTo>
                    <a:pt x="974468" y="1515312"/>
                  </a:lnTo>
                  <a:lnTo>
                    <a:pt x="960172" y="1515312"/>
                  </a:lnTo>
                  <a:lnTo>
                    <a:pt x="950640" y="1515312"/>
                  </a:lnTo>
                  <a:lnTo>
                    <a:pt x="941112" y="1515312"/>
                  </a:lnTo>
                  <a:lnTo>
                    <a:pt x="924432" y="1501016"/>
                  </a:lnTo>
                  <a:lnTo>
                    <a:pt x="914904" y="1501016"/>
                  </a:lnTo>
                  <a:lnTo>
                    <a:pt x="910140" y="1505782"/>
                  </a:lnTo>
                  <a:lnTo>
                    <a:pt x="905372" y="1520076"/>
                  </a:lnTo>
                  <a:lnTo>
                    <a:pt x="895844" y="1529606"/>
                  </a:lnTo>
                  <a:lnTo>
                    <a:pt x="876784" y="1553432"/>
                  </a:lnTo>
                  <a:lnTo>
                    <a:pt x="876784" y="1586788"/>
                  </a:lnTo>
                  <a:lnTo>
                    <a:pt x="876784" y="1605848"/>
                  </a:lnTo>
                  <a:lnTo>
                    <a:pt x="862488" y="1629674"/>
                  </a:lnTo>
                  <a:lnTo>
                    <a:pt x="862488" y="1639204"/>
                  </a:lnTo>
                  <a:lnTo>
                    <a:pt x="867252" y="1691620"/>
                  </a:lnTo>
                  <a:lnTo>
                    <a:pt x="867252" y="1696386"/>
                  </a:lnTo>
                  <a:lnTo>
                    <a:pt x="862488" y="1701152"/>
                  </a:lnTo>
                  <a:lnTo>
                    <a:pt x="857720" y="1701152"/>
                  </a:lnTo>
                  <a:lnTo>
                    <a:pt x="838660" y="1705916"/>
                  </a:lnTo>
                  <a:lnTo>
                    <a:pt x="833896" y="1710682"/>
                  </a:lnTo>
                  <a:lnTo>
                    <a:pt x="824364" y="1710682"/>
                  </a:lnTo>
                  <a:lnTo>
                    <a:pt x="814836" y="1705916"/>
                  </a:lnTo>
                  <a:lnTo>
                    <a:pt x="810072" y="1705916"/>
                  </a:lnTo>
                  <a:lnTo>
                    <a:pt x="810072" y="1710682"/>
                  </a:lnTo>
                  <a:lnTo>
                    <a:pt x="819600" y="1734508"/>
                  </a:lnTo>
                  <a:lnTo>
                    <a:pt x="833896" y="1744038"/>
                  </a:lnTo>
                  <a:lnTo>
                    <a:pt x="843428" y="1744038"/>
                  </a:lnTo>
                  <a:lnTo>
                    <a:pt x="848192" y="1744038"/>
                  </a:lnTo>
                  <a:lnTo>
                    <a:pt x="848192" y="1748802"/>
                  </a:lnTo>
                  <a:lnTo>
                    <a:pt x="852956" y="1763098"/>
                  </a:lnTo>
                  <a:lnTo>
                    <a:pt x="862488" y="1786924"/>
                  </a:lnTo>
                  <a:lnTo>
                    <a:pt x="867252" y="1805984"/>
                  </a:lnTo>
                  <a:lnTo>
                    <a:pt x="857720" y="1820280"/>
                  </a:lnTo>
                  <a:lnTo>
                    <a:pt x="862488" y="1825044"/>
                  </a:lnTo>
                  <a:lnTo>
                    <a:pt x="862488" y="1829810"/>
                  </a:lnTo>
                  <a:lnTo>
                    <a:pt x="876784" y="1844106"/>
                  </a:lnTo>
                  <a:lnTo>
                    <a:pt x="895844" y="1867930"/>
                  </a:lnTo>
                  <a:lnTo>
                    <a:pt x="914904" y="1896522"/>
                  </a:lnTo>
                  <a:lnTo>
                    <a:pt x="931580" y="1915582"/>
                  </a:lnTo>
                  <a:lnTo>
                    <a:pt x="945876" y="1934642"/>
                  </a:lnTo>
                  <a:lnTo>
                    <a:pt x="974468" y="1958468"/>
                  </a:lnTo>
                  <a:lnTo>
                    <a:pt x="979232" y="1972764"/>
                  </a:lnTo>
                  <a:lnTo>
                    <a:pt x="979232" y="2001354"/>
                  </a:lnTo>
                  <a:lnTo>
                    <a:pt x="988764" y="2015650"/>
                  </a:lnTo>
                  <a:lnTo>
                    <a:pt x="993528" y="2025180"/>
                  </a:lnTo>
                  <a:lnTo>
                    <a:pt x="998292" y="2034710"/>
                  </a:lnTo>
                  <a:lnTo>
                    <a:pt x="1007824" y="2068066"/>
                  </a:lnTo>
                  <a:lnTo>
                    <a:pt x="1012588" y="2068066"/>
                  </a:lnTo>
                  <a:lnTo>
                    <a:pt x="1036416" y="2053770"/>
                  </a:lnTo>
                  <a:lnTo>
                    <a:pt x="1041180" y="2053770"/>
                  </a:lnTo>
                  <a:lnTo>
                    <a:pt x="1045944" y="2063300"/>
                  </a:lnTo>
                  <a:lnTo>
                    <a:pt x="1045944" y="2072832"/>
                  </a:lnTo>
                  <a:lnTo>
                    <a:pt x="1041180" y="2082362"/>
                  </a:lnTo>
                  <a:lnTo>
                    <a:pt x="1031648" y="2091892"/>
                  </a:lnTo>
                  <a:lnTo>
                    <a:pt x="998292" y="2110952"/>
                  </a:lnTo>
                  <a:lnTo>
                    <a:pt x="993528" y="2130012"/>
                  </a:lnTo>
                  <a:lnTo>
                    <a:pt x="993528" y="2158604"/>
                  </a:lnTo>
                  <a:lnTo>
                    <a:pt x="993528" y="2191960"/>
                  </a:lnTo>
                  <a:lnTo>
                    <a:pt x="993528" y="2215784"/>
                  </a:lnTo>
                  <a:lnTo>
                    <a:pt x="993528" y="2220550"/>
                  </a:lnTo>
                  <a:lnTo>
                    <a:pt x="988764" y="2225316"/>
                  </a:lnTo>
                  <a:lnTo>
                    <a:pt x="974468" y="2225316"/>
                  </a:lnTo>
                  <a:lnTo>
                    <a:pt x="955408" y="2234846"/>
                  </a:lnTo>
                  <a:lnTo>
                    <a:pt x="950640" y="2239610"/>
                  </a:lnTo>
                  <a:lnTo>
                    <a:pt x="941112" y="2244376"/>
                  </a:lnTo>
                  <a:lnTo>
                    <a:pt x="936348" y="2249140"/>
                  </a:lnTo>
                  <a:lnTo>
                    <a:pt x="931580" y="2258672"/>
                  </a:lnTo>
                  <a:lnTo>
                    <a:pt x="936348" y="2287262"/>
                  </a:lnTo>
                  <a:lnTo>
                    <a:pt x="941112" y="2311088"/>
                  </a:lnTo>
                  <a:lnTo>
                    <a:pt x="955408" y="2330148"/>
                  </a:lnTo>
                  <a:lnTo>
                    <a:pt x="969704" y="2344444"/>
                  </a:lnTo>
                  <a:lnTo>
                    <a:pt x="983996" y="2368268"/>
                  </a:lnTo>
                  <a:lnTo>
                    <a:pt x="993528" y="2387330"/>
                  </a:lnTo>
                  <a:lnTo>
                    <a:pt x="1017352" y="2406390"/>
                  </a:lnTo>
                  <a:lnTo>
                    <a:pt x="1050708" y="2434980"/>
                  </a:lnTo>
                  <a:lnTo>
                    <a:pt x="1065004" y="2449276"/>
                  </a:lnTo>
                  <a:lnTo>
                    <a:pt x="1074536" y="2473102"/>
                  </a:lnTo>
                  <a:lnTo>
                    <a:pt x="1084064" y="2487398"/>
                  </a:lnTo>
                  <a:lnTo>
                    <a:pt x="1084064" y="2511224"/>
                  </a:lnTo>
                  <a:lnTo>
                    <a:pt x="1088832" y="2525518"/>
                  </a:lnTo>
                  <a:lnTo>
                    <a:pt x="1088832" y="2568404"/>
                  </a:lnTo>
                  <a:lnTo>
                    <a:pt x="1084064" y="2577934"/>
                  </a:lnTo>
                  <a:lnTo>
                    <a:pt x="1079300" y="2587464"/>
                  </a:lnTo>
                  <a:lnTo>
                    <a:pt x="1079300" y="2596996"/>
                  </a:lnTo>
                  <a:lnTo>
                    <a:pt x="1088832" y="2611290"/>
                  </a:lnTo>
                  <a:lnTo>
                    <a:pt x="1088832" y="2620820"/>
                  </a:lnTo>
                  <a:lnTo>
                    <a:pt x="1093596" y="2644646"/>
                  </a:lnTo>
                  <a:lnTo>
                    <a:pt x="1107892" y="2658942"/>
                  </a:lnTo>
                  <a:lnTo>
                    <a:pt x="1117420" y="2668472"/>
                  </a:lnTo>
                  <a:lnTo>
                    <a:pt x="1122188" y="2678002"/>
                  </a:lnTo>
                  <a:lnTo>
                    <a:pt x="1122188" y="2687532"/>
                  </a:lnTo>
                  <a:lnTo>
                    <a:pt x="1126952" y="2701828"/>
                  </a:lnTo>
                  <a:lnTo>
                    <a:pt x="1126952" y="2716124"/>
                  </a:lnTo>
                  <a:lnTo>
                    <a:pt x="1131716" y="2735184"/>
                  </a:lnTo>
                  <a:lnTo>
                    <a:pt x="1141248" y="2749480"/>
                  </a:lnTo>
                  <a:lnTo>
                    <a:pt x="1155544" y="2797130"/>
                  </a:lnTo>
                  <a:lnTo>
                    <a:pt x="1155544" y="2801896"/>
                  </a:lnTo>
                  <a:lnTo>
                    <a:pt x="1150776" y="2816192"/>
                  </a:lnTo>
                  <a:lnTo>
                    <a:pt x="1141248" y="2820956"/>
                  </a:lnTo>
                  <a:lnTo>
                    <a:pt x="1136480" y="2825722"/>
                  </a:lnTo>
                  <a:lnTo>
                    <a:pt x="1131716" y="2835252"/>
                  </a:lnTo>
                  <a:lnTo>
                    <a:pt x="1117420" y="2859078"/>
                  </a:lnTo>
                  <a:lnTo>
                    <a:pt x="1088832" y="2906728"/>
                  </a:lnTo>
                  <a:lnTo>
                    <a:pt x="1065004" y="2935320"/>
                  </a:lnTo>
                  <a:lnTo>
                    <a:pt x="1041180" y="2959144"/>
                  </a:lnTo>
                  <a:lnTo>
                    <a:pt x="1026884" y="2968676"/>
                  </a:lnTo>
                  <a:lnTo>
                    <a:pt x="1022120" y="2978206"/>
                  </a:lnTo>
                  <a:lnTo>
                    <a:pt x="1022120" y="2982970"/>
                  </a:lnTo>
                  <a:lnTo>
                    <a:pt x="1026884" y="2992500"/>
                  </a:lnTo>
                  <a:lnTo>
                    <a:pt x="1026884" y="3011562"/>
                  </a:lnTo>
                  <a:lnTo>
                    <a:pt x="1022120" y="3025856"/>
                  </a:lnTo>
                  <a:lnTo>
                    <a:pt x="1017352" y="3040152"/>
                  </a:lnTo>
                  <a:lnTo>
                    <a:pt x="1012588" y="3049682"/>
                  </a:lnTo>
                  <a:lnTo>
                    <a:pt x="1007824" y="3054448"/>
                  </a:lnTo>
                  <a:lnTo>
                    <a:pt x="993528" y="3078272"/>
                  </a:lnTo>
                  <a:lnTo>
                    <a:pt x="983996" y="3063978"/>
                  </a:lnTo>
                  <a:lnTo>
                    <a:pt x="983996" y="3054448"/>
                  </a:lnTo>
                  <a:lnTo>
                    <a:pt x="988764" y="3025856"/>
                  </a:lnTo>
                  <a:lnTo>
                    <a:pt x="979232" y="2973440"/>
                  </a:lnTo>
                  <a:lnTo>
                    <a:pt x="983996" y="2968676"/>
                  </a:lnTo>
                  <a:lnTo>
                    <a:pt x="988764" y="2963910"/>
                  </a:lnTo>
                  <a:lnTo>
                    <a:pt x="998292" y="2944850"/>
                  </a:lnTo>
                  <a:lnTo>
                    <a:pt x="1012588" y="2925788"/>
                  </a:lnTo>
                  <a:lnTo>
                    <a:pt x="1012588" y="2901964"/>
                  </a:lnTo>
                  <a:lnTo>
                    <a:pt x="1022120" y="2882902"/>
                  </a:lnTo>
                  <a:lnTo>
                    <a:pt x="1017352" y="2868608"/>
                  </a:lnTo>
                  <a:lnTo>
                    <a:pt x="1017352" y="2854312"/>
                  </a:lnTo>
                  <a:lnTo>
                    <a:pt x="1022120" y="2840016"/>
                  </a:lnTo>
                  <a:lnTo>
                    <a:pt x="1022120" y="2830486"/>
                  </a:lnTo>
                  <a:lnTo>
                    <a:pt x="1026884" y="2816192"/>
                  </a:lnTo>
                  <a:lnTo>
                    <a:pt x="1041180" y="2806660"/>
                  </a:lnTo>
                  <a:lnTo>
                    <a:pt x="1036416" y="2806660"/>
                  </a:lnTo>
                  <a:lnTo>
                    <a:pt x="1031648" y="2797130"/>
                  </a:lnTo>
                  <a:lnTo>
                    <a:pt x="1012588" y="2806660"/>
                  </a:lnTo>
                  <a:lnTo>
                    <a:pt x="1003060" y="2806660"/>
                  </a:lnTo>
                  <a:lnTo>
                    <a:pt x="1003060" y="2797130"/>
                  </a:lnTo>
                  <a:lnTo>
                    <a:pt x="1003060" y="2782836"/>
                  </a:lnTo>
                  <a:lnTo>
                    <a:pt x="1007824" y="2778070"/>
                  </a:lnTo>
                  <a:lnTo>
                    <a:pt x="1012588" y="2768540"/>
                  </a:lnTo>
                  <a:lnTo>
                    <a:pt x="1012588" y="2754244"/>
                  </a:lnTo>
                  <a:lnTo>
                    <a:pt x="1007824" y="2744714"/>
                  </a:lnTo>
                  <a:lnTo>
                    <a:pt x="1012588" y="2725654"/>
                  </a:lnTo>
                  <a:lnTo>
                    <a:pt x="1003060" y="2725654"/>
                  </a:lnTo>
                  <a:lnTo>
                    <a:pt x="998292" y="2725654"/>
                  </a:lnTo>
                  <a:lnTo>
                    <a:pt x="1003060" y="2716124"/>
                  </a:lnTo>
                  <a:lnTo>
                    <a:pt x="1012588" y="2706592"/>
                  </a:lnTo>
                  <a:lnTo>
                    <a:pt x="1003060" y="2692298"/>
                  </a:lnTo>
                  <a:lnTo>
                    <a:pt x="1007824" y="2678002"/>
                  </a:lnTo>
                  <a:lnTo>
                    <a:pt x="1007824" y="2658942"/>
                  </a:lnTo>
                  <a:lnTo>
                    <a:pt x="1003060" y="2639882"/>
                  </a:lnTo>
                  <a:lnTo>
                    <a:pt x="1003060" y="2630352"/>
                  </a:lnTo>
                  <a:lnTo>
                    <a:pt x="998292" y="2606526"/>
                  </a:lnTo>
                  <a:lnTo>
                    <a:pt x="993528" y="2577934"/>
                  </a:lnTo>
                  <a:lnTo>
                    <a:pt x="979232" y="2558874"/>
                  </a:lnTo>
                  <a:lnTo>
                    <a:pt x="969704" y="2525518"/>
                  </a:lnTo>
                  <a:lnTo>
                    <a:pt x="941112" y="2487398"/>
                  </a:lnTo>
                  <a:lnTo>
                    <a:pt x="941112" y="2468336"/>
                  </a:lnTo>
                  <a:lnTo>
                    <a:pt x="941112" y="2454042"/>
                  </a:lnTo>
                  <a:lnTo>
                    <a:pt x="936348" y="2444512"/>
                  </a:lnTo>
                  <a:lnTo>
                    <a:pt x="929200" y="2501692"/>
                  </a:lnTo>
                  <a:lnTo>
                    <a:pt x="924432" y="2487398"/>
                  </a:lnTo>
                  <a:lnTo>
                    <a:pt x="924432" y="2458806"/>
                  </a:lnTo>
                  <a:lnTo>
                    <a:pt x="919668" y="2444512"/>
                  </a:lnTo>
                  <a:lnTo>
                    <a:pt x="924432" y="2415920"/>
                  </a:lnTo>
                  <a:lnTo>
                    <a:pt x="905372" y="2387330"/>
                  </a:lnTo>
                  <a:lnTo>
                    <a:pt x="905372" y="2368268"/>
                  </a:lnTo>
                  <a:lnTo>
                    <a:pt x="891076" y="2339678"/>
                  </a:lnTo>
                  <a:lnTo>
                    <a:pt x="895844" y="2330148"/>
                  </a:lnTo>
                  <a:lnTo>
                    <a:pt x="910140" y="2339678"/>
                  </a:lnTo>
                  <a:lnTo>
                    <a:pt x="895844" y="2320618"/>
                  </a:lnTo>
                  <a:lnTo>
                    <a:pt x="886312" y="2325384"/>
                  </a:lnTo>
                  <a:lnTo>
                    <a:pt x="876784" y="2306322"/>
                  </a:lnTo>
                  <a:lnTo>
                    <a:pt x="876784" y="2253906"/>
                  </a:lnTo>
                  <a:lnTo>
                    <a:pt x="867252" y="2230080"/>
                  </a:lnTo>
                  <a:lnTo>
                    <a:pt x="872016" y="2211020"/>
                  </a:lnTo>
                  <a:lnTo>
                    <a:pt x="862488" y="2139544"/>
                  </a:lnTo>
                  <a:lnTo>
                    <a:pt x="843428" y="2115718"/>
                  </a:lnTo>
                  <a:lnTo>
                    <a:pt x="843428" y="2096656"/>
                  </a:lnTo>
                  <a:lnTo>
                    <a:pt x="852956" y="2077596"/>
                  </a:lnTo>
                  <a:lnTo>
                    <a:pt x="848192" y="2044240"/>
                  </a:lnTo>
                  <a:lnTo>
                    <a:pt x="852956" y="2034710"/>
                  </a:lnTo>
                  <a:lnTo>
                    <a:pt x="862488" y="2025180"/>
                  </a:lnTo>
                  <a:lnTo>
                    <a:pt x="857720" y="2029946"/>
                  </a:lnTo>
                  <a:lnTo>
                    <a:pt x="848192" y="2034710"/>
                  </a:lnTo>
                  <a:lnTo>
                    <a:pt x="829132" y="2034710"/>
                  </a:lnTo>
                  <a:lnTo>
                    <a:pt x="810072" y="2034710"/>
                  </a:lnTo>
                  <a:lnTo>
                    <a:pt x="800540" y="2010884"/>
                  </a:lnTo>
                  <a:lnTo>
                    <a:pt x="791008" y="1996590"/>
                  </a:lnTo>
                  <a:lnTo>
                    <a:pt x="781480" y="1972764"/>
                  </a:lnTo>
                  <a:lnTo>
                    <a:pt x="776716" y="1944172"/>
                  </a:lnTo>
                  <a:lnTo>
                    <a:pt x="781480" y="1939408"/>
                  </a:lnTo>
                  <a:lnTo>
                    <a:pt x="767184" y="1929878"/>
                  </a:lnTo>
                  <a:lnTo>
                    <a:pt x="762420" y="1925112"/>
                  </a:lnTo>
                  <a:lnTo>
                    <a:pt x="748124" y="1906052"/>
                  </a:lnTo>
                  <a:lnTo>
                    <a:pt x="729064" y="1891756"/>
                  </a:lnTo>
                  <a:lnTo>
                    <a:pt x="729064" y="1901286"/>
                  </a:lnTo>
                  <a:lnTo>
                    <a:pt x="738592" y="1906052"/>
                  </a:lnTo>
                  <a:lnTo>
                    <a:pt x="729064" y="1925112"/>
                  </a:lnTo>
                  <a:lnTo>
                    <a:pt x="738592" y="1953704"/>
                  </a:lnTo>
                  <a:lnTo>
                    <a:pt x="729064" y="1967998"/>
                  </a:lnTo>
                  <a:lnTo>
                    <a:pt x="719532" y="1991824"/>
                  </a:lnTo>
                  <a:lnTo>
                    <a:pt x="714768" y="2006120"/>
                  </a:lnTo>
                  <a:lnTo>
                    <a:pt x="690944" y="2029946"/>
                  </a:lnTo>
                  <a:lnTo>
                    <a:pt x="671880" y="2034710"/>
                  </a:lnTo>
                  <a:lnTo>
                    <a:pt x="662352" y="2039476"/>
                  </a:lnTo>
                  <a:lnTo>
                    <a:pt x="652820" y="2034710"/>
                  </a:lnTo>
                  <a:lnTo>
                    <a:pt x="638524" y="2020414"/>
                  </a:lnTo>
                  <a:lnTo>
                    <a:pt x="633760" y="2010884"/>
                  </a:lnTo>
                  <a:lnTo>
                    <a:pt x="633760" y="1996590"/>
                  </a:lnTo>
                  <a:lnTo>
                    <a:pt x="628996" y="1991824"/>
                  </a:lnTo>
                  <a:lnTo>
                    <a:pt x="624232" y="1996590"/>
                  </a:lnTo>
                  <a:lnTo>
                    <a:pt x="633760" y="2015650"/>
                  </a:lnTo>
                  <a:lnTo>
                    <a:pt x="628996" y="2025180"/>
                  </a:lnTo>
                  <a:lnTo>
                    <a:pt x="643292" y="2049006"/>
                  </a:lnTo>
                  <a:lnTo>
                    <a:pt x="638524" y="2053770"/>
                  </a:lnTo>
                  <a:lnTo>
                    <a:pt x="614700" y="2063300"/>
                  </a:lnTo>
                  <a:lnTo>
                    <a:pt x="605168" y="2063300"/>
                  </a:lnTo>
                  <a:lnTo>
                    <a:pt x="600404" y="2063300"/>
                  </a:lnTo>
                  <a:lnTo>
                    <a:pt x="600404" y="2072832"/>
                  </a:lnTo>
                  <a:lnTo>
                    <a:pt x="595640" y="2077596"/>
                  </a:lnTo>
                  <a:lnTo>
                    <a:pt x="557520" y="2091892"/>
                  </a:lnTo>
                  <a:lnTo>
                    <a:pt x="547988" y="2106188"/>
                  </a:lnTo>
                  <a:lnTo>
                    <a:pt x="543224" y="2125248"/>
                  </a:lnTo>
                  <a:lnTo>
                    <a:pt x="524164" y="2144308"/>
                  </a:lnTo>
                  <a:lnTo>
                    <a:pt x="500336" y="2163368"/>
                  </a:lnTo>
                  <a:lnTo>
                    <a:pt x="490808" y="2163368"/>
                  </a:lnTo>
                  <a:lnTo>
                    <a:pt x="486040" y="2158604"/>
                  </a:lnTo>
                  <a:lnTo>
                    <a:pt x="486040" y="2139544"/>
                  </a:lnTo>
                  <a:lnTo>
                    <a:pt x="495572" y="2120482"/>
                  </a:lnTo>
                  <a:lnTo>
                    <a:pt x="490808" y="2101422"/>
                  </a:lnTo>
                  <a:lnTo>
                    <a:pt x="490808" y="2115718"/>
                  </a:lnTo>
                  <a:lnTo>
                    <a:pt x="471744" y="2139544"/>
                  </a:lnTo>
                  <a:lnTo>
                    <a:pt x="466980" y="2149074"/>
                  </a:lnTo>
                  <a:lnTo>
                    <a:pt x="452684" y="2144308"/>
                  </a:lnTo>
                  <a:lnTo>
                    <a:pt x="428860" y="2149074"/>
                  </a:lnTo>
                  <a:lnTo>
                    <a:pt x="419328" y="2125248"/>
                  </a:lnTo>
                  <a:lnTo>
                    <a:pt x="424096" y="2115718"/>
                  </a:lnTo>
                  <a:lnTo>
                    <a:pt x="419328" y="2106188"/>
                  </a:lnTo>
                  <a:lnTo>
                    <a:pt x="424096" y="2096656"/>
                  </a:lnTo>
                  <a:lnTo>
                    <a:pt x="424096" y="2091892"/>
                  </a:lnTo>
                  <a:lnTo>
                    <a:pt x="414564" y="2101422"/>
                  </a:lnTo>
                  <a:lnTo>
                    <a:pt x="414564" y="2115718"/>
                  </a:lnTo>
                  <a:lnTo>
                    <a:pt x="405036" y="2125248"/>
                  </a:lnTo>
                  <a:lnTo>
                    <a:pt x="385972" y="2134778"/>
                  </a:lnTo>
                  <a:lnTo>
                    <a:pt x="385972" y="2120482"/>
                  </a:lnTo>
                  <a:lnTo>
                    <a:pt x="385972" y="2110952"/>
                  </a:lnTo>
                  <a:lnTo>
                    <a:pt x="390740" y="2096656"/>
                  </a:lnTo>
                  <a:lnTo>
                    <a:pt x="385972" y="2082362"/>
                  </a:lnTo>
                  <a:lnTo>
                    <a:pt x="395504" y="2053770"/>
                  </a:lnTo>
                  <a:lnTo>
                    <a:pt x="395504" y="2044240"/>
                  </a:lnTo>
                  <a:lnTo>
                    <a:pt x="390740" y="2034710"/>
                  </a:lnTo>
                  <a:lnTo>
                    <a:pt x="385972" y="2049006"/>
                  </a:lnTo>
                  <a:lnTo>
                    <a:pt x="385972" y="2063300"/>
                  </a:lnTo>
                  <a:lnTo>
                    <a:pt x="381208" y="2068066"/>
                  </a:lnTo>
                  <a:lnTo>
                    <a:pt x="371680" y="2072832"/>
                  </a:lnTo>
                  <a:lnTo>
                    <a:pt x="357384" y="2091892"/>
                  </a:lnTo>
                  <a:lnTo>
                    <a:pt x="352616" y="2106188"/>
                  </a:lnTo>
                  <a:lnTo>
                    <a:pt x="328792" y="2120482"/>
                  </a:lnTo>
                  <a:lnTo>
                    <a:pt x="319260" y="2115718"/>
                  </a:lnTo>
                  <a:lnTo>
                    <a:pt x="314496" y="2101422"/>
                  </a:lnTo>
                  <a:lnTo>
                    <a:pt x="324028" y="2034710"/>
                  </a:lnTo>
                  <a:lnTo>
                    <a:pt x="333556" y="2025180"/>
                  </a:lnTo>
                  <a:lnTo>
                    <a:pt x="338324" y="2015650"/>
                  </a:lnTo>
                  <a:lnTo>
                    <a:pt x="343088" y="1977528"/>
                  </a:lnTo>
                  <a:lnTo>
                    <a:pt x="352616" y="1963234"/>
                  </a:lnTo>
                  <a:lnTo>
                    <a:pt x="357384" y="1934642"/>
                  </a:lnTo>
                  <a:lnTo>
                    <a:pt x="357384" y="1929878"/>
                  </a:lnTo>
                  <a:lnTo>
                    <a:pt x="371680" y="1906052"/>
                  </a:lnTo>
                  <a:lnTo>
                    <a:pt x="376444" y="1863166"/>
                  </a:lnTo>
                  <a:lnTo>
                    <a:pt x="371680" y="1844106"/>
                  </a:lnTo>
                  <a:lnTo>
                    <a:pt x="357384" y="1820280"/>
                  </a:lnTo>
                  <a:lnTo>
                    <a:pt x="347852" y="1758332"/>
                  </a:lnTo>
                  <a:lnTo>
                    <a:pt x="324028" y="1710682"/>
                  </a:lnTo>
                  <a:lnTo>
                    <a:pt x="319260" y="1691620"/>
                  </a:lnTo>
                  <a:lnTo>
                    <a:pt x="309732" y="1672560"/>
                  </a:lnTo>
                  <a:lnTo>
                    <a:pt x="319260" y="1672560"/>
                  </a:lnTo>
                  <a:lnTo>
                    <a:pt x="295436" y="1653500"/>
                  </a:lnTo>
                  <a:lnTo>
                    <a:pt x="295436" y="1643970"/>
                  </a:lnTo>
                  <a:lnTo>
                    <a:pt x="290672" y="1605848"/>
                  </a:lnTo>
                  <a:lnTo>
                    <a:pt x="290672" y="1582024"/>
                  </a:lnTo>
                  <a:lnTo>
                    <a:pt x="285904" y="1582024"/>
                  </a:lnTo>
                  <a:lnTo>
                    <a:pt x="281140" y="1596318"/>
                  </a:lnTo>
                  <a:lnTo>
                    <a:pt x="271612" y="1605848"/>
                  </a:lnTo>
                  <a:lnTo>
                    <a:pt x="276376" y="1629674"/>
                  </a:lnTo>
                  <a:lnTo>
                    <a:pt x="276376" y="1634440"/>
                  </a:lnTo>
                  <a:lnTo>
                    <a:pt x="271612" y="1643970"/>
                  </a:lnTo>
                  <a:lnTo>
                    <a:pt x="252548" y="1634440"/>
                  </a:lnTo>
                  <a:lnTo>
                    <a:pt x="238256" y="1624910"/>
                  </a:lnTo>
                  <a:lnTo>
                    <a:pt x="219196" y="1596318"/>
                  </a:lnTo>
                  <a:lnTo>
                    <a:pt x="204900" y="1567728"/>
                  </a:lnTo>
                  <a:lnTo>
                    <a:pt x="209664" y="1562962"/>
                  </a:lnTo>
                  <a:lnTo>
                    <a:pt x="214428" y="1562962"/>
                  </a:lnTo>
                  <a:lnTo>
                    <a:pt x="238256" y="1586788"/>
                  </a:lnTo>
                  <a:lnTo>
                    <a:pt x="252548" y="1586788"/>
                  </a:lnTo>
                  <a:lnTo>
                    <a:pt x="266844" y="1582024"/>
                  </a:lnTo>
                  <a:lnTo>
                    <a:pt x="276376" y="1572492"/>
                  </a:lnTo>
                  <a:lnTo>
                    <a:pt x="281140" y="1553432"/>
                  </a:lnTo>
                  <a:lnTo>
                    <a:pt x="276376" y="1548668"/>
                  </a:lnTo>
                  <a:lnTo>
                    <a:pt x="266844" y="1543902"/>
                  </a:lnTo>
                  <a:lnTo>
                    <a:pt x="257316" y="1539136"/>
                  </a:lnTo>
                  <a:lnTo>
                    <a:pt x="247784" y="1529606"/>
                  </a:lnTo>
                  <a:lnTo>
                    <a:pt x="243020" y="1520076"/>
                  </a:lnTo>
                  <a:lnTo>
                    <a:pt x="243020" y="1510546"/>
                  </a:lnTo>
                  <a:lnTo>
                    <a:pt x="228724" y="1505782"/>
                  </a:lnTo>
                  <a:lnTo>
                    <a:pt x="219196" y="1501016"/>
                  </a:lnTo>
                  <a:lnTo>
                    <a:pt x="228724" y="1486720"/>
                  </a:lnTo>
                  <a:lnTo>
                    <a:pt x="238256" y="1477190"/>
                  </a:lnTo>
                  <a:lnTo>
                    <a:pt x="219196" y="1477190"/>
                  </a:lnTo>
                  <a:lnTo>
                    <a:pt x="195368" y="1462896"/>
                  </a:lnTo>
                  <a:lnTo>
                    <a:pt x="190604" y="1458130"/>
                  </a:lnTo>
                  <a:lnTo>
                    <a:pt x="181072" y="1453364"/>
                  </a:lnTo>
                  <a:lnTo>
                    <a:pt x="166776" y="1453364"/>
                  </a:lnTo>
                  <a:lnTo>
                    <a:pt x="152484" y="1453364"/>
                  </a:lnTo>
                  <a:lnTo>
                    <a:pt x="157248" y="1481956"/>
                  </a:lnTo>
                  <a:lnTo>
                    <a:pt x="157248" y="1486720"/>
                  </a:lnTo>
                  <a:lnTo>
                    <a:pt x="147716" y="1486720"/>
                  </a:lnTo>
                  <a:lnTo>
                    <a:pt x="123892" y="1448600"/>
                  </a:lnTo>
                  <a:lnTo>
                    <a:pt x="133420" y="1439070"/>
                  </a:lnTo>
                  <a:lnTo>
                    <a:pt x="142952" y="1434304"/>
                  </a:lnTo>
                  <a:lnTo>
                    <a:pt x="138188" y="1429540"/>
                  </a:lnTo>
                  <a:lnTo>
                    <a:pt x="128656" y="1429540"/>
                  </a:lnTo>
                  <a:lnTo>
                    <a:pt x="138188" y="1400948"/>
                  </a:lnTo>
                  <a:lnTo>
                    <a:pt x="133420" y="1396184"/>
                  </a:lnTo>
                  <a:lnTo>
                    <a:pt x="128656" y="1405714"/>
                  </a:lnTo>
                  <a:lnTo>
                    <a:pt x="123892" y="1415244"/>
                  </a:lnTo>
                  <a:lnTo>
                    <a:pt x="109596" y="1439070"/>
                  </a:lnTo>
                  <a:lnTo>
                    <a:pt x="100064" y="1434304"/>
                  </a:lnTo>
                  <a:lnTo>
                    <a:pt x="95300" y="1429540"/>
                  </a:lnTo>
                  <a:lnTo>
                    <a:pt x="100064" y="1415244"/>
                  </a:lnTo>
                  <a:lnTo>
                    <a:pt x="104832" y="1410478"/>
                  </a:lnTo>
                  <a:lnTo>
                    <a:pt x="109596" y="1405714"/>
                  </a:lnTo>
                  <a:lnTo>
                    <a:pt x="104832" y="1391418"/>
                  </a:lnTo>
                  <a:lnTo>
                    <a:pt x="90536" y="1386652"/>
                  </a:lnTo>
                  <a:lnTo>
                    <a:pt x="85772" y="1367592"/>
                  </a:lnTo>
                  <a:lnTo>
                    <a:pt x="81004" y="1367592"/>
                  </a:lnTo>
                  <a:lnTo>
                    <a:pt x="85772" y="1386652"/>
                  </a:lnTo>
                  <a:lnTo>
                    <a:pt x="81004" y="1415244"/>
                  </a:lnTo>
                  <a:lnTo>
                    <a:pt x="66708" y="1386652"/>
                  </a:lnTo>
                  <a:lnTo>
                    <a:pt x="28588" y="1343766"/>
                  </a:lnTo>
                  <a:lnTo>
                    <a:pt x="19060" y="1329472"/>
                  </a:lnTo>
                  <a:lnTo>
                    <a:pt x="19060" y="1319942"/>
                  </a:lnTo>
                  <a:lnTo>
                    <a:pt x="14292" y="1305646"/>
                  </a:lnTo>
                  <a:lnTo>
                    <a:pt x="14292" y="1296116"/>
                  </a:lnTo>
                  <a:lnTo>
                    <a:pt x="9528" y="1286586"/>
                  </a:lnTo>
                  <a:lnTo>
                    <a:pt x="4764" y="1277056"/>
                  </a:lnTo>
                  <a:lnTo>
                    <a:pt x="0" y="1262760"/>
                  </a:lnTo>
                  <a:lnTo>
                    <a:pt x="0" y="1248464"/>
                  </a:lnTo>
                  <a:lnTo>
                    <a:pt x="0" y="1234168"/>
                  </a:lnTo>
                  <a:lnTo>
                    <a:pt x="14292" y="1224638"/>
                  </a:lnTo>
                  <a:lnTo>
                    <a:pt x="19060" y="1219874"/>
                  </a:lnTo>
                  <a:lnTo>
                    <a:pt x="28588" y="1224638"/>
                  </a:lnTo>
                  <a:lnTo>
                    <a:pt x="42884" y="1234168"/>
                  </a:lnTo>
                  <a:lnTo>
                    <a:pt x="52416" y="1243700"/>
                  </a:lnTo>
                  <a:lnTo>
                    <a:pt x="57180" y="1253230"/>
                  </a:lnTo>
                  <a:lnTo>
                    <a:pt x="61944" y="1253230"/>
                  </a:lnTo>
                  <a:lnTo>
                    <a:pt x="66708" y="1243700"/>
                  </a:lnTo>
                  <a:lnTo>
                    <a:pt x="66708" y="1238934"/>
                  </a:lnTo>
                  <a:lnTo>
                    <a:pt x="61944" y="1219874"/>
                  </a:lnTo>
                  <a:lnTo>
                    <a:pt x="61944" y="1196048"/>
                  </a:lnTo>
                  <a:lnTo>
                    <a:pt x="61944" y="1138866"/>
                  </a:lnTo>
                  <a:lnTo>
                    <a:pt x="61944" y="1134102"/>
                  </a:lnTo>
                  <a:lnTo>
                    <a:pt x="66708" y="1124572"/>
                  </a:lnTo>
                  <a:lnTo>
                    <a:pt x="71476" y="1119806"/>
                  </a:lnTo>
                  <a:lnTo>
                    <a:pt x="76240" y="1110276"/>
                  </a:lnTo>
                  <a:lnTo>
                    <a:pt x="76240" y="1105510"/>
                  </a:lnTo>
                  <a:lnTo>
                    <a:pt x="81004" y="1105510"/>
                  </a:lnTo>
                  <a:lnTo>
                    <a:pt x="90536" y="1110276"/>
                  </a:lnTo>
                  <a:lnTo>
                    <a:pt x="104832" y="1124572"/>
                  </a:lnTo>
                  <a:lnTo>
                    <a:pt x="114360" y="1129336"/>
                  </a:lnTo>
                  <a:lnTo>
                    <a:pt x="119128" y="1129336"/>
                  </a:lnTo>
                  <a:lnTo>
                    <a:pt x="128656" y="1105510"/>
                  </a:lnTo>
                  <a:lnTo>
                    <a:pt x="133420" y="1095980"/>
                  </a:lnTo>
                  <a:lnTo>
                    <a:pt x="138188" y="1091216"/>
                  </a:lnTo>
                  <a:lnTo>
                    <a:pt x="147716" y="1095980"/>
                  </a:lnTo>
                  <a:lnTo>
                    <a:pt x="147716" y="1091216"/>
                  </a:lnTo>
                  <a:lnTo>
                    <a:pt x="152484" y="1076920"/>
                  </a:lnTo>
                  <a:lnTo>
                    <a:pt x="152484" y="1067390"/>
                  </a:lnTo>
                  <a:lnTo>
                    <a:pt x="142952" y="1034034"/>
                  </a:lnTo>
                  <a:lnTo>
                    <a:pt x="138188" y="1019738"/>
                  </a:lnTo>
                  <a:lnTo>
                    <a:pt x="138188" y="1005442"/>
                  </a:lnTo>
                  <a:lnTo>
                    <a:pt x="142952" y="991148"/>
                  </a:lnTo>
                  <a:lnTo>
                    <a:pt x="152484" y="976852"/>
                  </a:lnTo>
                  <a:lnTo>
                    <a:pt x="147716" y="957792"/>
                  </a:lnTo>
                  <a:lnTo>
                    <a:pt x="152484" y="953026"/>
                  </a:lnTo>
                  <a:lnTo>
                    <a:pt x="157248" y="953026"/>
                  </a:lnTo>
                  <a:lnTo>
                    <a:pt x="166776" y="957792"/>
                  </a:lnTo>
                  <a:lnTo>
                    <a:pt x="176308" y="953026"/>
                  </a:lnTo>
                  <a:lnTo>
                    <a:pt x="181072" y="943496"/>
                  </a:lnTo>
                  <a:lnTo>
                    <a:pt x="185840" y="938732"/>
                  </a:lnTo>
                  <a:lnTo>
                    <a:pt x="185840" y="900610"/>
                  </a:lnTo>
                  <a:lnTo>
                    <a:pt x="190604" y="867254"/>
                  </a:lnTo>
                  <a:lnTo>
                    <a:pt x="190604" y="843428"/>
                  </a:lnTo>
                  <a:lnTo>
                    <a:pt x="185840" y="829134"/>
                  </a:lnTo>
                  <a:lnTo>
                    <a:pt x="176308" y="786246"/>
                  </a:lnTo>
                  <a:lnTo>
                    <a:pt x="176308" y="776716"/>
                  </a:lnTo>
                  <a:lnTo>
                    <a:pt x="181072" y="776716"/>
                  </a:lnTo>
                  <a:lnTo>
                    <a:pt x="195368" y="791012"/>
                  </a:lnTo>
                  <a:lnTo>
                    <a:pt x="204900" y="791012"/>
                  </a:lnTo>
                  <a:lnTo>
                    <a:pt x="214428" y="791012"/>
                  </a:lnTo>
                  <a:lnTo>
                    <a:pt x="223960" y="786246"/>
                  </a:lnTo>
                  <a:lnTo>
                    <a:pt x="233488" y="786246"/>
                  </a:lnTo>
                  <a:lnTo>
                    <a:pt x="243020" y="791012"/>
                  </a:lnTo>
                  <a:lnTo>
                    <a:pt x="257316" y="800542"/>
                  </a:lnTo>
                  <a:lnTo>
                    <a:pt x="285904" y="805308"/>
                  </a:lnTo>
                  <a:lnTo>
                    <a:pt x="295436" y="810072"/>
                  </a:lnTo>
                  <a:lnTo>
                    <a:pt x="300200" y="810072"/>
                  </a:lnTo>
                  <a:lnTo>
                    <a:pt x="309732" y="791012"/>
                  </a:lnTo>
                  <a:lnTo>
                    <a:pt x="314496" y="767186"/>
                  </a:lnTo>
                  <a:lnTo>
                    <a:pt x="328792" y="733830"/>
                  </a:lnTo>
                  <a:lnTo>
                    <a:pt x="343088" y="705240"/>
                  </a:lnTo>
                  <a:lnTo>
                    <a:pt x="343088" y="700474"/>
                  </a:lnTo>
                  <a:lnTo>
                    <a:pt x="371680" y="657588"/>
                  </a:lnTo>
                  <a:lnTo>
                    <a:pt x="385972" y="628998"/>
                  </a:lnTo>
                  <a:lnTo>
                    <a:pt x="390740" y="609938"/>
                  </a:lnTo>
                  <a:lnTo>
                    <a:pt x="390740" y="600408"/>
                  </a:lnTo>
                  <a:lnTo>
                    <a:pt x="385972" y="590876"/>
                  </a:lnTo>
                  <a:lnTo>
                    <a:pt x="376444" y="590876"/>
                  </a:lnTo>
                  <a:lnTo>
                    <a:pt x="371680" y="586112"/>
                  </a:lnTo>
                  <a:lnTo>
                    <a:pt x="366912" y="581346"/>
                  </a:lnTo>
                  <a:lnTo>
                    <a:pt x="366912" y="576582"/>
                  </a:lnTo>
                  <a:lnTo>
                    <a:pt x="371680" y="562286"/>
                  </a:lnTo>
                  <a:lnTo>
                    <a:pt x="381208" y="547990"/>
                  </a:lnTo>
                  <a:lnTo>
                    <a:pt x="385972" y="538460"/>
                  </a:lnTo>
                  <a:lnTo>
                    <a:pt x="405036" y="528930"/>
                  </a:lnTo>
                  <a:lnTo>
                    <a:pt x="414564" y="514634"/>
                  </a:lnTo>
                  <a:lnTo>
                    <a:pt x="428860" y="495574"/>
                  </a:lnTo>
                  <a:lnTo>
                    <a:pt x="438392" y="486044"/>
                  </a:lnTo>
                  <a:lnTo>
                    <a:pt x="443156" y="457454"/>
                  </a:lnTo>
                  <a:lnTo>
                    <a:pt x="443156" y="452688"/>
                  </a:lnTo>
                  <a:lnTo>
                    <a:pt x="452684" y="447922"/>
                  </a:lnTo>
                  <a:lnTo>
                    <a:pt x="457452" y="438392"/>
                  </a:lnTo>
                  <a:lnTo>
                    <a:pt x="457452" y="433628"/>
                  </a:lnTo>
                  <a:lnTo>
                    <a:pt x="457452" y="428862"/>
                  </a:lnTo>
                  <a:lnTo>
                    <a:pt x="447920" y="409802"/>
                  </a:lnTo>
                  <a:lnTo>
                    <a:pt x="447920" y="385976"/>
                  </a:lnTo>
                  <a:lnTo>
                    <a:pt x="447920" y="362150"/>
                  </a:lnTo>
                  <a:lnTo>
                    <a:pt x="452684" y="352620"/>
                  </a:lnTo>
                  <a:lnTo>
                    <a:pt x="457452" y="338324"/>
                  </a:lnTo>
                  <a:lnTo>
                    <a:pt x="471744" y="333560"/>
                  </a:lnTo>
                  <a:lnTo>
                    <a:pt x="486040" y="328794"/>
                  </a:lnTo>
                  <a:lnTo>
                    <a:pt x="509868" y="314500"/>
                  </a:lnTo>
                  <a:lnTo>
                    <a:pt x="552752" y="276378"/>
                  </a:lnTo>
                  <a:lnTo>
                    <a:pt x="567048" y="266848"/>
                  </a:lnTo>
                  <a:lnTo>
                    <a:pt x="581344" y="262082"/>
                  </a:lnTo>
                  <a:lnTo>
                    <a:pt x="590876" y="247788"/>
                  </a:lnTo>
                  <a:lnTo>
                    <a:pt x="605168" y="233492"/>
                  </a:lnTo>
                  <a:lnTo>
                    <a:pt x="624232" y="223962"/>
                  </a:lnTo>
                  <a:lnTo>
                    <a:pt x="638524" y="219196"/>
                  </a:lnTo>
                  <a:lnTo>
                    <a:pt x="700472" y="209666"/>
                  </a:lnTo>
                  <a:lnTo>
                    <a:pt x="710004" y="209666"/>
                  </a:lnTo>
                  <a:lnTo>
                    <a:pt x="719532" y="219196"/>
                  </a:lnTo>
                  <a:lnTo>
                    <a:pt x="733828" y="238258"/>
                  </a:lnTo>
                  <a:lnTo>
                    <a:pt x="743360" y="247788"/>
                  </a:lnTo>
                  <a:lnTo>
                    <a:pt x="757652" y="252552"/>
                  </a:lnTo>
                  <a:lnTo>
                    <a:pt x="767184" y="247788"/>
                  </a:lnTo>
                  <a:lnTo>
                    <a:pt x="767184" y="243022"/>
                  </a:lnTo>
                  <a:lnTo>
                    <a:pt x="733828" y="190606"/>
                  </a:lnTo>
                  <a:lnTo>
                    <a:pt x="733828" y="181076"/>
                  </a:lnTo>
                  <a:lnTo>
                    <a:pt x="729064" y="166780"/>
                  </a:lnTo>
                  <a:lnTo>
                    <a:pt x="733828" y="157250"/>
                  </a:lnTo>
                  <a:lnTo>
                    <a:pt x="743360" y="147720"/>
                  </a:lnTo>
                  <a:lnTo>
                    <a:pt x="757652" y="138190"/>
                  </a:lnTo>
                  <a:lnTo>
                    <a:pt x="776716" y="123894"/>
                  </a:lnTo>
                  <a:lnTo>
                    <a:pt x="786244" y="114364"/>
                  </a:lnTo>
                  <a:lnTo>
                    <a:pt x="800540" y="109598"/>
                  </a:lnTo>
                  <a:lnTo>
                    <a:pt x="805304" y="104834"/>
                  </a:lnTo>
                  <a:lnTo>
                    <a:pt x="805304" y="95304"/>
                  </a:lnTo>
                  <a:lnTo>
                    <a:pt x="805304" y="85774"/>
                  </a:lnTo>
                  <a:lnTo>
                    <a:pt x="800540" y="76244"/>
                  </a:lnTo>
                  <a:lnTo>
                    <a:pt x="800540" y="66712"/>
                  </a:lnTo>
                  <a:lnTo>
                    <a:pt x="800540" y="57182"/>
                  </a:lnTo>
                  <a:lnTo>
                    <a:pt x="805304" y="47652"/>
                  </a:lnTo>
                  <a:lnTo>
                    <a:pt x="819600" y="28592"/>
                  </a:lnTo>
                  <a:lnTo>
                    <a:pt x="824364" y="19062"/>
                  </a:lnTo>
                  <a:lnTo>
                    <a:pt x="829132" y="14296"/>
                  </a:lnTo>
                  <a:lnTo>
                    <a:pt x="833896" y="476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1" name="Freeform 420">
              <a:extLst>
                <a:ext uri="{FF2B5EF4-FFF2-40B4-BE49-F238E27FC236}">
                  <a16:creationId xmlns:a16="http://schemas.microsoft.com/office/drawing/2014/main" id="{12BB54C8-1FC9-406F-B8DA-4EB99F6FF29E}"/>
                </a:ext>
              </a:extLst>
            </p:cNvPr>
            <p:cNvSpPr/>
            <p:nvPr/>
          </p:nvSpPr>
          <p:spPr bwMode="auto">
            <a:xfrm>
              <a:off x="5383250" y="3798279"/>
              <a:ext cx="97130" cy="118715"/>
            </a:xfrm>
            <a:custGeom>
              <a:avLst/>
              <a:gdLst>
                <a:gd name="connsiteX0" fmla="*/ 9530 w 600406"/>
                <a:gd name="connsiteY0" fmla="*/ 571814 h 733830"/>
                <a:gd name="connsiteX1" fmla="*/ 38120 w 600406"/>
                <a:gd name="connsiteY1" fmla="*/ 571814 h 733830"/>
                <a:gd name="connsiteX2" fmla="*/ 57180 w 600406"/>
                <a:gd name="connsiteY2" fmla="*/ 576580 h 733830"/>
                <a:gd name="connsiteX3" fmla="*/ 81006 w 600406"/>
                <a:gd name="connsiteY3" fmla="*/ 581346 h 733830"/>
                <a:gd name="connsiteX4" fmla="*/ 104832 w 600406"/>
                <a:gd name="connsiteY4" fmla="*/ 571814 h 733830"/>
                <a:gd name="connsiteX5" fmla="*/ 119128 w 600406"/>
                <a:gd name="connsiteY5" fmla="*/ 581346 h 733830"/>
                <a:gd name="connsiteX6" fmla="*/ 138188 w 600406"/>
                <a:gd name="connsiteY6" fmla="*/ 571814 h 733830"/>
                <a:gd name="connsiteX7" fmla="*/ 133422 w 600406"/>
                <a:gd name="connsiteY7" fmla="*/ 581346 h 733830"/>
                <a:gd name="connsiteX8" fmla="*/ 128658 w 600406"/>
                <a:gd name="connsiteY8" fmla="*/ 595640 h 733830"/>
                <a:gd name="connsiteX9" fmla="*/ 104832 w 600406"/>
                <a:gd name="connsiteY9" fmla="*/ 609936 h 733830"/>
                <a:gd name="connsiteX10" fmla="*/ 85772 w 600406"/>
                <a:gd name="connsiteY10" fmla="*/ 619466 h 733830"/>
                <a:gd name="connsiteX11" fmla="*/ 76242 w 600406"/>
                <a:gd name="connsiteY11" fmla="*/ 614700 h 733830"/>
                <a:gd name="connsiteX12" fmla="*/ 66710 w 600406"/>
                <a:gd name="connsiteY12" fmla="*/ 609936 h 733830"/>
                <a:gd name="connsiteX13" fmla="*/ 61946 w 600406"/>
                <a:gd name="connsiteY13" fmla="*/ 605170 h 733830"/>
                <a:gd name="connsiteX14" fmla="*/ 52416 w 600406"/>
                <a:gd name="connsiteY14" fmla="*/ 600406 h 733830"/>
                <a:gd name="connsiteX15" fmla="*/ 33354 w 600406"/>
                <a:gd name="connsiteY15" fmla="*/ 600406 h 733830"/>
                <a:gd name="connsiteX16" fmla="*/ 23824 w 600406"/>
                <a:gd name="connsiteY16" fmla="*/ 605170 h 733830"/>
                <a:gd name="connsiteX17" fmla="*/ 19060 w 600406"/>
                <a:gd name="connsiteY17" fmla="*/ 609936 h 733830"/>
                <a:gd name="connsiteX18" fmla="*/ 9530 w 600406"/>
                <a:gd name="connsiteY18" fmla="*/ 609936 h 733830"/>
                <a:gd name="connsiteX19" fmla="*/ 9530 w 600406"/>
                <a:gd name="connsiteY19" fmla="*/ 605170 h 733830"/>
                <a:gd name="connsiteX20" fmla="*/ 4764 w 600406"/>
                <a:gd name="connsiteY20" fmla="*/ 595640 h 733830"/>
                <a:gd name="connsiteX21" fmla="*/ 0 w 600406"/>
                <a:gd name="connsiteY21" fmla="*/ 576580 h 733830"/>
                <a:gd name="connsiteX22" fmla="*/ 66712 w 600406"/>
                <a:gd name="connsiteY22" fmla="*/ 481278 h 733830"/>
                <a:gd name="connsiteX23" fmla="*/ 90538 w 600406"/>
                <a:gd name="connsiteY23" fmla="*/ 486044 h 733830"/>
                <a:gd name="connsiteX24" fmla="*/ 109598 w 600406"/>
                <a:gd name="connsiteY24" fmla="*/ 500338 h 733830"/>
                <a:gd name="connsiteX25" fmla="*/ 109598 w 600406"/>
                <a:gd name="connsiteY25" fmla="*/ 505104 h 733830"/>
                <a:gd name="connsiteX26" fmla="*/ 114364 w 600406"/>
                <a:gd name="connsiteY26" fmla="*/ 509868 h 733830"/>
                <a:gd name="connsiteX27" fmla="*/ 90538 w 600406"/>
                <a:gd name="connsiteY27" fmla="*/ 514634 h 733830"/>
                <a:gd name="connsiteX28" fmla="*/ 71476 w 600406"/>
                <a:gd name="connsiteY28" fmla="*/ 495574 h 733830"/>
                <a:gd name="connsiteX29" fmla="*/ 57182 w 600406"/>
                <a:gd name="connsiteY29" fmla="*/ 500338 h 733830"/>
                <a:gd name="connsiteX30" fmla="*/ 52416 w 600406"/>
                <a:gd name="connsiteY30" fmla="*/ 490808 h 733830"/>
                <a:gd name="connsiteX31" fmla="*/ 52416 w 600406"/>
                <a:gd name="connsiteY31" fmla="*/ 486044 h 733830"/>
                <a:gd name="connsiteX32" fmla="*/ 357384 w 600406"/>
                <a:gd name="connsiteY32" fmla="*/ 266846 h 733830"/>
                <a:gd name="connsiteX33" fmla="*/ 371680 w 600406"/>
                <a:gd name="connsiteY33" fmla="*/ 271612 h 733830"/>
                <a:gd name="connsiteX34" fmla="*/ 381210 w 600406"/>
                <a:gd name="connsiteY34" fmla="*/ 276378 h 733830"/>
                <a:gd name="connsiteX35" fmla="*/ 385976 w 600406"/>
                <a:gd name="connsiteY35" fmla="*/ 281142 h 733830"/>
                <a:gd name="connsiteX36" fmla="*/ 385976 w 600406"/>
                <a:gd name="connsiteY36" fmla="*/ 290672 h 733830"/>
                <a:gd name="connsiteX37" fmla="*/ 381210 w 600406"/>
                <a:gd name="connsiteY37" fmla="*/ 300202 h 733830"/>
                <a:gd name="connsiteX38" fmla="*/ 371680 w 600406"/>
                <a:gd name="connsiteY38" fmla="*/ 309734 h 733830"/>
                <a:gd name="connsiteX39" fmla="*/ 352620 w 600406"/>
                <a:gd name="connsiteY39" fmla="*/ 324028 h 733830"/>
                <a:gd name="connsiteX40" fmla="*/ 343088 w 600406"/>
                <a:gd name="connsiteY40" fmla="*/ 338324 h 733830"/>
                <a:gd name="connsiteX41" fmla="*/ 333558 w 600406"/>
                <a:gd name="connsiteY41" fmla="*/ 343090 h 733830"/>
                <a:gd name="connsiteX42" fmla="*/ 324028 w 600406"/>
                <a:gd name="connsiteY42" fmla="*/ 343090 h 733830"/>
                <a:gd name="connsiteX43" fmla="*/ 295438 w 600406"/>
                <a:gd name="connsiteY43" fmla="*/ 333558 h 733830"/>
                <a:gd name="connsiteX44" fmla="*/ 285908 w 600406"/>
                <a:gd name="connsiteY44" fmla="*/ 328794 h 733830"/>
                <a:gd name="connsiteX45" fmla="*/ 281142 w 600406"/>
                <a:gd name="connsiteY45" fmla="*/ 324028 h 733830"/>
                <a:gd name="connsiteX46" fmla="*/ 314498 w 600406"/>
                <a:gd name="connsiteY46" fmla="*/ 295438 h 733830"/>
                <a:gd name="connsiteX47" fmla="*/ 343088 w 600406"/>
                <a:gd name="connsiteY47" fmla="*/ 276378 h 733830"/>
                <a:gd name="connsiteX48" fmla="*/ 314498 w 600406"/>
                <a:gd name="connsiteY48" fmla="*/ 147718 h 733830"/>
                <a:gd name="connsiteX49" fmla="*/ 300202 w 600406"/>
                <a:gd name="connsiteY49" fmla="*/ 157250 h 733830"/>
                <a:gd name="connsiteX50" fmla="*/ 281142 w 600406"/>
                <a:gd name="connsiteY50" fmla="*/ 171544 h 733830"/>
                <a:gd name="connsiteX51" fmla="*/ 266846 w 600406"/>
                <a:gd name="connsiteY51" fmla="*/ 181074 h 733830"/>
                <a:gd name="connsiteX52" fmla="*/ 271612 w 600406"/>
                <a:gd name="connsiteY52" fmla="*/ 190606 h 733830"/>
                <a:gd name="connsiteX53" fmla="*/ 276376 w 600406"/>
                <a:gd name="connsiteY53" fmla="*/ 204900 h 733830"/>
                <a:gd name="connsiteX54" fmla="*/ 281142 w 600406"/>
                <a:gd name="connsiteY54" fmla="*/ 219196 h 733830"/>
                <a:gd name="connsiteX55" fmla="*/ 295438 w 600406"/>
                <a:gd name="connsiteY55" fmla="*/ 233492 h 733830"/>
                <a:gd name="connsiteX56" fmla="*/ 295438 w 600406"/>
                <a:gd name="connsiteY56" fmla="*/ 247786 h 733830"/>
                <a:gd name="connsiteX57" fmla="*/ 276376 w 600406"/>
                <a:gd name="connsiteY57" fmla="*/ 257318 h 733830"/>
                <a:gd name="connsiteX58" fmla="*/ 266846 w 600406"/>
                <a:gd name="connsiteY58" fmla="*/ 262082 h 733830"/>
                <a:gd name="connsiteX59" fmla="*/ 266846 w 600406"/>
                <a:gd name="connsiteY59" fmla="*/ 276378 h 733830"/>
                <a:gd name="connsiteX60" fmla="*/ 266846 w 600406"/>
                <a:gd name="connsiteY60" fmla="*/ 285908 h 733830"/>
                <a:gd name="connsiteX61" fmla="*/ 266846 w 600406"/>
                <a:gd name="connsiteY61" fmla="*/ 304968 h 733830"/>
                <a:gd name="connsiteX62" fmla="*/ 266846 w 600406"/>
                <a:gd name="connsiteY62" fmla="*/ 309734 h 733830"/>
                <a:gd name="connsiteX63" fmla="*/ 262082 w 600406"/>
                <a:gd name="connsiteY63" fmla="*/ 314498 h 733830"/>
                <a:gd name="connsiteX64" fmla="*/ 257316 w 600406"/>
                <a:gd name="connsiteY64" fmla="*/ 324030 h 733830"/>
                <a:gd name="connsiteX65" fmla="*/ 262082 w 600406"/>
                <a:gd name="connsiteY65" fmla="*/ 328794 h 733830"/>
                <a:gd name="connsiteX66" fmla="*/ 304968 w 600406"/>
                <a:gd name="connsiteY66" fmla="*/ 343090 h 733830"/>
                <a:gd name="connsiteX67" fmla="*/ 333558 w 600406"/>
                <a:gd name="connsiteY67" fmla="*/ 357386 h 733830"/>
                <a:gd name="connsiteX68" fmla="*/ 381210 w 600406"/>
                <a:gd name="connsiteY68" fmla="*/ 309734 h 733830"/>
                <a:gd name="connsiteX69" fmla="*/ 390740 w 600406"/>
                <a:gd name="connsiteY69" fmla="*/ 295438 h 733830"/>
                <a:gd name="connsiteX70" fmla="*/ 390740 w 600406"/>
                <a:gd name="connsiteY70" fmla="*/ 276378 h 733830"/>
                <a:gd name="connsiteX71" fmla="*/ 385974 w 600406"/>
                <a:gd name="connsiteY71" fmla="*/ 262082 h 733830"/>
                <a:gd name="connsiteX72" fmla="*/ 357384 w 600406"/>
                <a:gd name="connsiteY72" fmla="*/ 257318 h 733830"/>
                <a:gd name="connsiteX73" fmla="*/ 352618 w 600406"/>
                <a:gd name="connsiteY73" fmla="*/ 252552 h 733830"/>
                <a:gd name="connsiteX74" fmla="*/ 352618 w 600406"/>
                <a:gd name="connsiteY74" fmla="*/ 243022 h 733830"/>
                <a:gd name="connsiteX75" fmla="*/ 352618 w 600406"/>
                <a:gd name="connsiteY75" fmla="*/ 223962 h 733830"/>
                <a:gd name="connsiteX76" fmla="*/ 352618 w 600406"/>
                <a:gd name="connsiteY76" fmla="*/ 219196 h 733830"/>
                <a:gd name="connsiteX77" fmla="*/ 362150 w 600406"/>
                <a:gd name="connsiteY77" fmla="*/ 209666 h 733830"/>
                <a:gd name="connsiteX78" fmla="*/ 357384 w 600406"/>
                <a:gd name="connsiteY78" fmla="*/ 200136 h 733830"/>
                <a:gd name="connsiteX79" fmla="*/ 343088 w 600406"/>
                <a:gd name="connsiteY79" fmla="*/ 200136 h 733830"/>
                <a:gd name="connsiteX80" fmla="*/ 328794 w 600406"/>
                <a:gd name="connsiteY80" fmla="*/ 200136 h 733830"/>
                <a:gd name="connsiteX81" fmla="*/ 324028 w 600406"/>
                <a:gd name="connsiteY81" fmla="*/ 195370 h 733830"/>
                <a:gd name="connsiteX82" fmla="*/ 319262 w 600406"/>
                <a:gd name="connsiteY82" fmla="*/ 185840 h 733830"/>
                <a:gd name="connsiteX83" fmla="*/ 319262 w 600406"/>
                <a:gd name="connsiteY83" fmla="*/ 152484 h 733830"/>
                <a:gd name="connsiteX84" fmla="*/ 238256 w 600406"/>
                <a:gd name="connsiteY84" fmla="*/ 114362 h 733830"/>
                <a:gd name="connsiteX85" fmla="*/ 238256 w 600406"/>
                <a:gd name="connsiteY85" fmla="*/ 142954 h 733830"/>
                <a:gd name="connsiteX86" fmla="*/ 223960 w 600406"/>
                <a:gd name="connsiteY86" fmla="*/ 162014 h 733830"/>
                <a:gd name="connsiteX87" fmla="*/ 214430 w 600406"/>
                <a:gd name="connsiteY87" fmla="*/ 157248 h 733830"/>
                <a:gd name="connsiteX88" fmla="*/ 209664 w 600406"/>
                <a:gd name="connsiteY88" fmla="*/ 152484 h 733830"/>
                <a:gd name="connsiteX89" fmla="*/ 214430 w 600406"/>
                <a:gd name="connsiteY89" fmla="*/ 138188 h 733830"/>
                <a:gd name="connsiteX90" fmla="*/ 262082 w 600406"/>
                <a:gd name="connsiteY90" fmla="*/ 81006 h 733830"/>
                <a:gd name="connsiteX91" fmla="*/ 276376 w 600406"/>
                <a:gd name="connsiteY91" fmla="*/ 81006 h 733830"/>
                <a:gd name="connsiteX92" fmla="*/ 243020 w 600406"/>
                <a:gd name="connsiteY92" fmla="*/ 100068 h 733830"/>
                <a:gd name="connsiteX93" fmla="*/ 500338 w 600406"/>
                <a:gd name="connsiteY93" fmla="*/ 47650 h 733830"/>
                <a:gd name="connsiteX94" fmla="*/ 543224 w 600406"/>
                <a:gd name="connsiteY94" fmla="*/ 47650 h 733830"/>
                <a:gd name="connsiteX95" fmla="*/ 557520 w 600406"/>
                <a:gd name="connsiteY95" fmla="*/ 66712 h 733830"/>
                <a:gd name="connsiteX96" fmla="*/ 567050 w 600406"/>
                <a:gd name="connsiteY96" fmla="*/ 76242 h 733830"/>
                <a:gd name="connsiteX97" fmla="*/ 576580 w 600406"/>
                <a:gd name="connsiteY97" fmla="*/ 85772 h 733830"/>
                <a:gd name="connsiteX98" fmla="*/ 600406 w 600406"/>
                <a:gd name="connsiteY98" fmla="*/ 90538 h 733830"/>
                <a:gd name="connsiteX99" fmla="*/ 600406 w 600406"/>
                <a:gd name="connsiteY99" fmla="*/ 114362 h 733830"/>
                <a:gd name="connsiteX100" fmla="*/ 600406 w 600406"/>
                <a:gd name="connsiteY100" fmla="*/ 162014 h 733830"/>
                <a:gd name="connsiteX101" fmla="*/ 595640 w 600406"/>
                <a:gd name="connsiteY101" fmla="*/ 171544 h 733830"/>
                <a:gd name="connsiteX102" fmla="*/ 586110 w 600406"/>
                <a:gd name="connsiteY102" fmla="*/ 190604 h 733830"/>
                <a:gd name="connsiteX103" fmla="*/ 576580 w 600406"/>
                <a:gd name="connsiteY103" fmla="*/ 228726 h 733830"/>
                <a:gd name="connsiteX104" fmla="*/ 576580 w 600406"/>
                <a:gd name="connsiteY104" fmla="*/ 252552 h 733830"/>
                <a:gd name="connsiteX105" fmla="*/ 571816 w 600406"/>
                <a:gd name="connsiteY105" fmla="*/ 257316 h 733830"/>
                <a:gd name="connsiteX106" fmla="*/ 528930 w 600406"/>
                <a:gd name="connsiteY106" fmla="*/ 257316 h 733830"/>
                <a:gd name="connsiteX107" fmla="*/ 524164 w 600406"/>
                <a:gd name="connsiteY107" fmla="*/ 262082 h 733830"/>
                <a:gd name="connsiteX108" fmla="*/ 524164 w 600406"/>
                <a:gd name="connsiteY108" fmla="*/ 266846 h 733830"/>
                <a:gd name="connsiteX109" fmla="*/ 524164 w 600406"/>
                <a:gd name="connsiteY109" fmla="*/ 271612 h 733830"/>
                <a:gd name="connsiteX110" fmla="*/ 524164 w 600406"/>
                <a:gd name="connsiteY110" fmla="*/ 281142 h 733830"/>
                <a:gd name="connsiteX111" fmla="*/ 519398 w 600406"/>
                <a:gd name="connsiteY111" fmla="*/ 285908 h 733830"/>
                <a:gd name="connsiteX112" fmla="*/ 524164 w 600406"/>
                <a:gd name="connsiteY112" fmla="*/ 290672 h 733830"/>
                <a:gd name="connsiteX113" fmla="*/ 528930 w 600406"/>
                <a:gd name="connsiteY113" fmla="*/ 300202 h 733830"/>
                <a:gd name="connsiteX114" fmla="*/ 543224 w 600406"/>
                <a:gd name="connsiteY114" fmla="*/ 304968 h 733830"/>
                <a:gd name="connsiteX115" fmla="*/ 557520 w 600406"/>
                <a:gd name="connsiteY115" fmla="*/ 304968 h 733830"/>
                <a:gd name="connsiteX116" fmla="*/ 567050 w 600406"/>
                <a:gd name="connsiteY116" fmla="*/ 304968 h 733830"/>
                <a:gd name="connsiteX117" fmla="*/ 571816 w 600406"/>
                <a:gd name="connsiteY117" fmla="*/ 314498 h 733830"/>
                <a:gd name="connsiteX118" fmla="*/ 576580 w 600406"/>
                <a:gd name="connsiteY118" fmla="*/ 324028 h 733830"/>
                <a:gd name="connsiteX119" fmla="*/ 576580 w 600406"/>
                <a:gd name="connsiteY119" fmla="*/ 333558 h 733830"/>
                <a:gd name="connsiteX120" fmla="*/ 571816 w 600406"/>
                <a:gd name="connsiteY120" fmla="*/ 352618 h 733830"/>
                <a:gd name="connsiteX121" fmla="*/ 567050 w 600406"/>
                <a:gd name="connsiteY121" fmla="*/ 366914 h 733830"/>
                <a:gd name="connsiteX122" fmla="*/ 547990 w 600406"/>
                <a:gd name="connsiteY122" fmla="*/ 385974 h 733830"/>
                <a:gd name="connsiteX123" fmla="*/ 538460 w 600406"/>
                <a:gd name="connsiteY123" fmla="*/ 390740 h 733830"/>
                <a:gd name="connsiteX124" fmla="*/ 528930 w 600406"/>
                <a:gd name="connsiteY124" fmla="*/ 395506 h 733830"/>
                <a:gd name="connsiteX125" fmla="*/ 528930 w 600406"/>
                <a:gd name="connsiteY125" fmla="*/ 400270 h 733830"/>
                <a:gd name="connsiteX126" fmla="*/ 524164 w 600406"/>
                <a:gd name="connsiteY126" fmla="*/ 405036 h 733830"/>
                <a:gd name="connsiteX127" fmla="*/ 524164 w 600406"/>
                <a:gd name="connsiteY127" fmla="*/ 409800 h 733830"/>
                <a:gd name="connsiteX128" fmla="*/ 538460 w 600406"/>
                <a:gd name="connsiteY128" fmla="*/ 424096 h 733830"/>
                <a:gd name="connsiteX129" fmla="*/ 538460 w 600406"/>
                <a:gd name="connsiteY129" fmla="*/ 428862 h 733830"/>
                <a:gd name="connsiteX130" fmla="*/ 533694 w 600406"/>
                <a:gd name="connsiteY130" fmla="*/ 433626 h 733830"/>
                <a:gd name="connsiteX131" fmla="*/ 528930 w 600406"/>
                <a:gd name="connsiteY131" fmla="*/ 443156 h 733830"/>
                <a:gd name="connsiteX132" fmla="*/ 495574 w 600406"/>
                <a:gd name="connsiteY132" fmla="*/ 457452 h 733830"/>
                <a:gd name="connsiteX133" fmla="*/ 481278 w 600406"/>
                <a:gd name="connsiteY133" fmla="*/ 452686 h 733830"/>
                <a:gd name="connsiteX134" fmla="*/ 471748 w 600406"/>
                <a:gd name="connsiteY134" fmla="*/ 462216 h 733830"/>
                <a:gd name="connsiteX135" fmla="*/ 466982 w 600406"/>
                <a:gd name="connsiteY135" fmla="*/ 462216 h 733830"/>
                <a:gd name="connsiteX136" fmla="*/ 457452 w 600406"/>
                <a:gd name="connsiteY136" fmla="*/ 457452 h 733830"/>
                <a:gd name="connsiteX137" fmla="*/ 438392 w 600406"/>
                <a:gd name="connsiteY137" fmla="*/ 447922 h 733830"/>
                <a:gd name="connsiteX138" fmla="*/ 433626 w 600406"/>
                <a:gd name="connsiteY138" fmla="*/ 452686 h 733830"/>
                <a:gd name="connsiteX139" fmla="*/ 428862 w 600406"/>
                <a:gd name="connsiteY139" fmla="*/ 457452 h 733830"/>
                <a:gd name="connsiteX140" fmla="*/ 414566 w 600406"/>
                <a:gd name="connsiteY140" fmla="*/ 462216 h 733830"/>
                <a:gd name="connsiteX141" fmla="*/ 405036 w 600406"/>
                <a:gd name="connsiteY141" fmla="*/ 466982 h 733830"/>
                <a:gd name="connsiteX142" fmla="*/ 405036 w 600406"/>
                <a:gd name="connsiteY142" fmla="*/ 481278 h 733830"/>
                <a:gd name="connsiteX143" fmla="*/ 419332 w 600406"/>
                <a:gd name="connsiteY143" fmla="*/ 505102 h 733830"/>
                <a:gd name="connsiteX144" fmla="*/ 428862 w 600406"/>
                <a:gd name="connsiteY144" fmla="*/ 509868 h 733830"/>
                <a:gd name="connsiteX145" fmla="*/ 428862 w 600406"/>
                <a:gd name="connsiteY145" fmla="*/ 519398 h 733830"/>
                <a:gd name="connsiteX146" fmla="*/ 433626 w 600406"/>
                <a:gd name="connsiteY146" fmla="*/ 533694 h 733830"/>
                <a:gd name="connsiteX147" fmla="*/ 443156 w 600406"/>
                <a:gd name="connsiteY147" fmla="*/ 547990 h 733830"/>
                <a:gd name="connsiteX148" fmla="*/ 443156 w 600406"/>
                <a:gd name="connsiteY148" fmla="*/ 557520 h 733830"/>
                <a:gd name="connsiteX149" fmla="*/ 443156 w 600406"/>
                <a:gd name="connsiteY149" fmla="*/ 567050 h 733830"/>
                <a:gd name="connsiteX150" fmla="*/ 438392 w 600406"/>
                <a:gd name="connsiteY150" fmla="*/ 581346 h 733830"/>
                <a:gd name="connsiteX151" fmla="*/ 424096 w 600406"/>
                <a:gd name="connsiteY151" fmla="*/ 614700 h 733830"/>
                <a:gd name="connsiteX152" fmla="*/ 424096 w 600406"/>
                <a:gd name="connsiteY152" fmla="*/ 619466 h 733830"/>
                <a:gd name="connsiteX153" fmla="*/ 424096 w 600406"/>
                <a:gd name="connsiteY153" fmla="*/ 624232 h 733830"/>
                <a:gd name="connsiteX154" fmla="*/ 428862 w 600406"/>
                <a:gd name="connsiteY154" fmla="*/ 628996 h 733830"/>
                <a:gd name="connsiteX155" fmla="*/ 433626 w 600406"/>
                <a:gd name="connsiteY155" fmla="*/ 628996 h 733830"/>
                <a:gd name="connsiteX156" fmla="*/ 433626 w 600406"/>
                <a:gd name="connsiteY156" fmla="*/ 633762 h 733830"/>
                <a:gd name="connsiteX157" fmla="*/ 405036 w 600406"/>
                <a:gd name="connsiteY157" fmla="*/ 657586 h 733830"/>
                <a:gd name="connsiteX158" fmla="*/ 390740 w 600406"/>
                <a:gd name="connsiteY158" fmla="*/ 657586 h 733830"/>
                <a:gd name="connsiteX159" fmla="*/ 390740 w 600406"/>
                <a:gd name="connsiteY159" fmla="*/ 662352 h 733830"/>
                <a:gd name="connsiteX160" fmla="*/ 390740 w 600406"/>
                <a:gd name="connsiteY160" fmla="*/ 667118 h 733830"/>
                <a:gd name="connsiteX161" fmla="*/ 395506 w 600406"/>
                <a:gd name="connsiteY161" fmla="*/ 671882 h 733830"/>
                <a:gd name="connsiteX162" fmla="*/ 405036 w 600406"/>
                <a:gd name="connsiteY162" fmla="*/ 676648 h 733830"/>
                <a:gd name="connsiteX163" fmla="*/ 414566 w 600406"/>
                <a:gd name="connsiteY163" fmla="*/ 681412 h 733830"/>
                <a:gd name="connsiteX164" fmla="*/ 419332 w 600406"/>
                <a:gd name="connsiteY164" fmla="*/ 695708 h 733830"/>
                <a:gd name="connsiteX165" fmla="*/ 414566 w 600406"/>
                <a:gd name="connsiteY165" fmla="*/ 733830 h 733830"/>
                <a:gd name="connsiteX166" fmla="*/ 395506 w 600406"/>
                <a:gd name="connsiteY166" fmla="*/ 729064 h 733830"/>
                <a:gd name="connsiteX167" fmla="*/ 381210 w 600406"/>
                <a:gd name="connsiteY167" fmla="*/ 729064 h 733830"/>
                <a:gd name="connsiteX168" fmla="*/ 371680 w 600406"/>
                <a:gd name="connsiteY168" fmla="*/ 729064 h 733830"/>
                <a:gd name="connsiteX169" fmla="*/ 366914 w 600406"/>
                <a:gd name="connsiteY169" fmla="*/ 724298 h 733830"/>
                <a:gd name="connsiteX170" fmla="*/ 357384 w 600406"/>
                <a:gd name="connsiteY170" fmla="*/ 710004 h 733830"/>
                <a:gd name="connsiteX171" fmla="*/ 357384 w 600406"/>
                <a:gd name="connsiteY171" fmla="*/ 705238 h 733830"/>
                <a:gd name="connsiteX172" fmla="*/ 371680 w 600406"/>
                <a:gd name="connsiteY172" fmla="*/ 686178 h 733830"/>
                <a:gd name="connsiteX173" fmla="*/ 376444 w 600406"/>
                <a:gd name="connsiteY173" fmla="*/ 681412 h 733830"/>
                <a:gd name="connsiteX174" fmla="*/ 371680 w 600406"/>
                <a:gd name="connsiteY174" fmla="*/ 681412 h 733830"/>
                <a:gd name="connsiteX175" fmla="*/ 376444 w 600406"/>
                <a:gd name="connsiteY175" fmla="*/ 671882 h 733830"/>
                <a:gd name="connsiteX176" fmla="*/ 385976 w 600406"/>
                <a:gd name="connsiteY176" fmla="*/ 648056 h 733830"/>
                <a:gd name="connsiteX177" fmla="*/ 385976 w 600406"/>
                <a:gd name="connsiteY177" fmla="*/ 638526 h 733830"/>
                <a:gd name="connsiteX178" fmla="*/ 381210 w 600406"/>
                <a:gd name="connsiteY178" fmla="*/ 633762 h 733830"/>
                <a:gd name="connsiteX179" fmla="*/ 376444 w 600406"/>
                <a:gd name="connsiteY179" fmla="*/ 628996 h 733830"/>
                <a:gd name="connsiteX180" fmla="*/ 352620 w 600406"/>
                <a:gd name="connsiteY180" fmla="*/ 619466 h 733830"/>
                <a:gd name="connsiteX181" fmla="*/ 343088 w 600406"/>
                <a:gd name="connsiteY181" fmla="*/ 609936 h 733830"/>
                <a:gd name="connsiteX182" fmla="*/ 338324 w 600406"/>
                <a:gd name="connsiteY182" fmla="*/ 600406 h 733830"/>
                <a:gd name="connsiteX183" fmla="*/ 333558 w 600406"/>
                <a:gd name="connsiteY183" fmla="*/ 600406 h 733830"/>
                <a:gd name="connsiteX184" fmla="*/ 324028 w 600406"/>
                <a:gd name="connsiteY184" fmla="*/ 600406 h 733830"/>
                <a:gd name="connsiteX185" fmla="*/ 304968 w 600406"/>
                <a:gd name="connsiteY185" fmla="*/ 605170 h 733830"/>
                <a:gd name="connsiteX186" fmla="*/ 290672 w 600406"/>
                <a:gd name="connsiteY186" fmla="*/ 600406 h 733830"/>
                <a:gd name="connsiteX187" fmla="*/ 271612 w 600406"/>
                <a:gd name="connsiteY187" fmla="*/ 581346 h 733830"/>
                <a:gd name="connsiteX188" fmla="*/ 266846 w 600406"/>
                <a:gd name="connsiteY188" fmla="*/ 567050 h 733830"/>
                <a:gd name="connsiteX189" fmla="*/ 266846 w 600406"/>
                <a:gd name="connsiteY189" fmla="*/ 557520 h 733830"/>
                <a:gd name="connsiteX190" fmla="*/ 262082 w 600406"/>
                <a:gd name="connsiteY190" fmla="*/ 552754 h 733830"/>
                <a:gd name="connsiteX191" fmla="*/ 257316 w 600406"/>
                <a:gd name="connsiteY191" fmla="*/ 557520 h 733830"/>
                <a:gd name="connsiteX192" fmla="*/ 247786 w 600406"/>
                <a:gd name="connsiteY192" fmla="*/ 567050 h 733830"/>
                <a:gd name="connsiteX193" fmla="*/ 233490 w 600406"/>
                <a:gd name="connsiteY193" fmla="*/ 571814 h 733830"/>
                <a:gd name="connsiteX194" fmla="*/ 228726 w 600406"/>
                <a:gd name="connsiteY194" fmla="*/ 567050 h 733830"/>
                <a:gd name="connsiteX195" fmla="*/ 228726 w 600406"/>
                <a:gd name="connsiteY195" fmla="*/ 562284 h 733830"/>
                <a:gd name="connsiteX196" fmla="*/ 228726 w 600406"/>
                <a:gd name="connsiteY196" fmla="*/ 557520 h 733830"/>
                <a:gd name="connsiteX197" fmla="*/ 223960 w 600406"/>
                <a:gd name="connsiteY197" fmla="*/ 552754 h 733830"/>
                <a:gd name="connsiteX198" fmla="*/ 219196 w 600406"/>
                <a:gd name="connsiteY198" fmla="*/ 547990 h 733830"/>
                <a:gd name="connsiteX199" fmla="*/ 200136 w 600406"/>
                <a:gd name="connsiteY199" fmla="*/ 562284 h 733830"/>
                <a:gd name="connsiteX200" fmla="*/ 195370 w 600406"/>
                <a:gd name="connsiteY200" fmla="*/ 562284 h 733830"/>
                <a:gd name="connsiteX201" fmla="*/ 185840 w 600406"/>
                <a:gd name="connsiteY201" fmla="*/ 557520 h 733830"/>
                <a:gd name="connsiteX202" fmla="*/ 181074 w 600406"/>
                <a:gd name="connsiteY202" fmla="*/ 552754 h 733830"/>
                <a:gd name="connsiteX203" fmla="*/ 171544 w 600406"/>
                <a:gd name="connsiteY203" fmla="*/ 557520 h 733830"/>
                <a:gd name="connsiteX204" fmla="*/ 162014 w 600406"/>
                <a:gd name="connsiteY204" fmla="*/ 562284 h 733830"/>
                <a:gd name="connsiteX205" fmla="*/ 162014 w 600406"/>
                <a:gd name="connsiteY205" fmla="*/ 576580 h 733830"/>
                <a:gd name="connsiteX206" fmla="*/ 157248 w 600406"/>
                <a:gd name="connsiteY206" fmla="*/ 581346 h 733830"/>
                <a:gd name="connsiteX207" fmla="*/ 147718 w 600406"/>
                <a:gd name="connsiteY207" fmla="*/ 581346 h 733830"/>
                <a:gd name="connsiteX208" fmla="*/ 138188 w 600406"/>
                <a:gd name="connsiteY208" fmla="*/ 571814 h 733830"/>
                <a:gd name="connsiteX209" fmla="*/ 123892 w 600406"/>
                <a:gd name="connsiteY209" fmla="*/ 571814 h 733830"/>
                <a:gd name="connsiteX210" fmla="*/ 100068 w 600406"/>
                <a:gd name="connsiteY210" fmla="*/ 557520 h 733830"/>
                <a:gd name="connsiteX211" fmla="*/ 71476 w 600406"/>
                <a:gd name="connsiteY211" fmla="*/ 567050 h 733830"/>
                <a:gd name="connsiteX212" fmla="*/ 52416 w 600406"/>
                <a:gd name="connsiteY212" fmla="*/ 557520 h 733830"/>
                <a:gd name="connsiteX213" fmla="*/ 38120 w 600406"/>
                <a:gd name="connsiteY213" fmla="*/ 557520 h 733830"/>
                <a:gd name="connsiteX214" fmla="*/ 23826 w 600406"/>
                <a:gd name="connsiteY214" fmla="*/ 547990 h 733830"/>
                <a:gd name="connsiteX215" fmla="*/ 14296 w 600406"/>
                <a:gd name="connsiteY215" fmla="*/ 533694 h 733830"/>
                <a:gd name="connsiteX216" fmla="*/ 23826 w 600406"/>
                <a:gd name="connsiteY216" fmla="*/ 524164 h 733830"/>
                <a:gd name="connsiteX217" fmla="*/ 28590 w 600406"/>
                <a:gd name="connsiteY217" fmla="*/ 524164 h 733830"/>
                <a:gd name="connsiteX218" fmla="*/ 61946 w 600406"/>
                <a:gd name="connsiteY218" fmla="*/ 519398 h 733830"/>
                <a:gd name="connsiteX219" fmla="*/ 81006 w 600406"/>
                <a:gd name="connsiteY219" fmla="*/ 524164 h 733830"/>
                <a:gd name="connsiteX220" fmla="*/ 123892 w 600406"/>
                <a:gd name="connsiteY220" fmla="*/ 557520 h 733830"/>
                <a:gd name="connsiteX221" fmla="*/ 133424 w 600406"/>
                <a:gd name="connsiteY221" fmla="*/ 557520 h 733830"/>
                <a:gd name="connsiteX222" fmla="*/ 142954 w 600406"/>
                <a:gd name="connsiteY222" fmla="*/ 552754 h 733830"/>
                <a:gd name="connsiteX223" fmla="*/ 138188 w 600406"/>
                <a:gd name="connsiteY223" fmla="*/ 543224 h 733830"/>
                <a:gd name="connsiteX224" fmla="*/ 128658 w 600406"/>
                <a:gd name="connsiteY224" fmla="*/ 538458 h 733830"/>
                <a:gd name="connsiteX225" fmla="*/ 114362 w 600406"/>
                <a:gd name="connsiteY225" fmla="*/ 533694 h 733830"/>
                <a:gd name="connsiteX226" fmla="*/ 100068 w 600406"/>
                <a:gd name="connsiteY226" fmla="*/ 519398 h 733830"/>
                <a:gd name="connsiteX227" fmla="*/ 128658 w 600406"/>
                <a:gd name="connsiteY227" fmla="*/ 519398 h 733830"/>
                <a:gd name="connsiteX228" fmla="*/ 123892 w 600406"/>
                <a:gd name="connsiteY228" fmla="*/ 509868 h 733830"/>
                <a:gd name="connsiteX229" fmla="*/ 123892 w 600406"/>
                <a:gd name="connsiteY229" fmla="*/ 500338 h 733830"/>
                <a:gd name="connsiteX230" fmla="*/ 90538 w 600406"/>
                <a:gd name="connsiteY230" fmla="*/ 466982 h 733830"/>
                <a:gd name="connsiteX231" fmla="*/ 95302 w 600406"/>
                <a:gd name="connsiteY231" fmla="*/ 457452 h 733830"/>
                <a:gd name="connsiteX232" fmla="*/ 104832 w 600406"/>
                <a:gd name="connsiteY232" fmla="*/ 438392 h 733830"/>
                <a:gd name="connsiteX233" fmla="*/ 114362 w 600406"/>
                <a:gd name="connsiteY233" fmla="*/ 419330 h 733830"/>
                <a:gd name="connsiteX234" fmla="*/ 119128 w 600406"/>
                <a:gd name="connsiteY234" fmla="*/ 414566 h 733830"/>
                <a:gd name="connsiteX235" fmla="*/ 133424 w 600406"/>
                <a:gd name="connsiteY235" fmla="*/ 405036 h 733830"/>
                <a:gd name="connsiteX236" fmla="*/ 157248 w 600406"/>
                <a:gd name="connsiteY236" fmla="*/ 366914 h 733830"/>
                <a:gd name="connsiteX237" fmla="*/ 176310 w 600406"/>
                <a:gd name="connsiteY237" fmla="*/ 338324 h 733830"/>
                <a:gd name="connsiteX238" fmla="*/ 190604 w 600406"/>
                <a:gd name="connsiteY238" fmla="*/ 304968 h 733830"/>
                <a:gd name="connsiteX239" fmla="*/ 204900 w 600406"/>
                <a:gd name="connsiteY239" fmla="*/ 209666 h 733830"/>
                <a:gd name="connsiteX240" fmla="*/ 214430 w 600406"/>
                <a:gd name="connsiteY240" fmla="*/ 195370 h 733830"/>
                <a:gd name="connsiteX241" fmla="*/ 219196 w 600406"/>
                <a:gd name="connsiteY241" fmla="*/ 176310 h 733830"/>
                <a:gd name="connsiteX242" fmla="*/ 233490 w 600406"/>
                <a:gd name="connsiteY242" fmla="*/ 181074 h 733830"/>
                <a:gd name="connsiteX243" fmla="*/ 238256 w 600406"/>
                <a:gd name="connsiteY243" fmla="*/ 185840 h 733830"/>
                <a:gd name="connsiteX244" fmla="*/ 266846 w 600406"/>
                <a:gd name="connsiteY244" fmla="*/ 171544 h 733830"/>
                <a:gd name="connsiteX245" fmla="*/ 314498 w 600406"/>
                <a:gd name="connsiteY245" fmla="*/ 138188 h 733830"/>
                <a:gd name="connsiteX246" fmla="*/ 324028 w 600406"/>
                <a:gd name="connsiteY246" fmla="*/ 104832 h 733830"/>
                <a:gd name="connsiteX247" fmla="*/ 338324 w 600406"/>
                <a:gd name="connsiteY247" fmla="*/ 90538 h 733830"/>
                <a:gd name="connsiteX248" fmla="*/ 395506 w 600406"/>
                <a:gd name="connsiteY248" fmla="*/ 66712 h 733830"/>
                <a:gd name="connsiteX249" fmla="*/ 424096 w 600406"/>
                <a:gd name="connsiteY249" fmla="*/ 57182 h 733830"/>
                <a:gd name="connsiteX250" fmla="*/ 466982 w 600406"/>
                <a:gd name="connsiteY250" fmla="*/ 52416 h 733830"/>
                <a:gd name="connsiteX251" fmla="*/ 324028 w 600406"/>
                <a:gd name="connsiteY251" fmla="*/ 47650 h 733830"/>
                <a:gd name="connsiteX252" fmla="*/ 343088 w 600406"/>
                <a:gd name="connsiteY252" fmla="*/ 47650 h 733830"/>
                <a:gd name="connsiteX253" fmla="*/ 347854 w 600406"/>
                <a:gd name="connsiteY253" fmla="*/ 47650 h 733830"/>
                <a:gd name="connsiteX254" fmla="*/ 309732 w 600406"/>
                <a:gd name="connsiteY254" fmla="*/ 61946 h 733830"/>
                <a:gd name="connsiteX255" fmla="*/ 295438 w 600406"/>
                <a:gd name="connsiteY255" fmla="*/ 61946 h 733830"/>
                <a:gd name="connsiteX256" fmla="*/ 285908 w 600406"/>
                <a:gd name="connsiteY256" fmla="*/ 61946 h 733830"/>
                <a:gd name="connsiteX257" fmla="*/ 366914 w 600406"/>
                <a:gd name="connsiteY257" fmla="*/ 38122 h 733830"/>
                <a:gd name="connsiteX258" fmla="*/ 395504 w 600406"/>
                <a:gd name="connsiteY258" fmla="*/ 38122 h 733830"/>
                <a:gd name="connsiteX259" fmla="*/ 400270 w 600406"/>
                <a:gd name="connsiteY259" fmla="*/ 42886 h 733830"/>
                <a:gd name="connsiteX260" fmla="*/ 371680 w 600406"/>
                <a:gd name="connsiteY260" fmla="*/ 47650 h 733830"/>
                <a:gd name="connsiteX261" fmla="*/ 362150 w 600406"/>
                <a:gd name="connsiteY261" fmla="*/ 42886 h 733830"/>
                <a:gd name="connsiteX262" fmla="*/ 357384 w 600406"/>
                <a:gd name="connsiteY262" fmla="*/ 42886 h 733830"/>
                <a:gd name="connsiteX263" fmla="*/ 457452 w 600406"/>
                <a:gd name="connsiteY263" fmla="*/ 28590 h 733830"/>
                <a:gd name="connsiteX264" fmla="*/ 466982 w 600406"/>
                <a:gd name="connsiteY264" fmla="*/ 28590 h 733830"/>
                <a:gd name="connsiteX265" fmla="*/ 443156 w 600406"/>
                <a:gd name="connsiteY265" fmla="*/ 38122 h 733830"/>
                <a:gd name="connsiteX266" fmla="*/ 438392 w 600406"/>
                <a:gd name="connsiteY266" fmla="*/ 38122 h 733830"/>
                <a:gd name="connsiteX267" fmla="*/ 438392 w 600406"/>
                <a:gd name="connsiteY267" fmla="*/ 33356 h 733830"/>
                <a:gd name="connsiteX268" fmla="*/ 528928 w 600406"/>
                <a:gd name="connsiteY268" fmla="*/ 0 h 733830"/>
                <a:gd name="connsiteX269" fmla="*/ 538460 w 600406"/>
                <a:gd name="connsiteY269" fmla="*/ 0 h 733830"/>
                <a:gd name="connsiteX270" fmla="*/ 528928 w 600406"/>
                <a:gd name="connsiteY270" fmla="*/ 9530 h 733830"/>
                <a:gd name="connsiteX271" fmla="*/ 514632 w 600406"/>
                <a:gd name="connsiteY271" fmla="*/ 9530 h 733830"/>
                <a:gd name="connsiteX272" fmla="*/ 519398 w 600406"/>
                <a:gd name="connsiteY272" fmla="*/ 4766 h 733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</a:cxnLst>
              <a:rect l="l" t="t" r="r" b="b"/>
              <a:pathLst>
                <a:path w="600406" h="733830">
                  <a:moveTo>
                    <a:pt x="9530" y="571814"/>
                  </a:moveTo>
                  <a:lnTo>
                    <a:pt x="38120" y="571814"/>
                  </a:lnTo>
                  <a:lnTo>
                    <a:pt x="57180" y="576580"/>
                  </a:lnTo>
                  <a:lnTo>
                    <a:pt x="81006" y="581346"/>
                  </a:lnTo>
                  <a:lnTo>
                    <a:pt x="104832" y="571814"/>
                  </a:lnTo>
                  <a:lnTo>
                    <a:pt x="119128" y="581346"/>
                  </a:lnTo>
                  <a:lnTo>
                    <a:pt x="138188" y="571814"/>
                  </a:lnTo>
                  <a:lnTo>
                    <a:pt x="133422" y="581346"/>
                  </a:lnTo>
                  <a:lnTo>
                    <a:pt x="128658" y="595640"/>
                  </a:lnTo>
                  <a:lnTo>
                    <a:pt x="104832" y="609936"/>
                  </a:lnTo>
                  <a:lnTo>
                    <a:pt x="85772" y="619466"/>
                  </a:lnTo>
                  <a:lnTo>
                    <a:pt x="76242" y="614700"/>
                  </a:lnTo>
                  <a:lnTo>
                    <a:pt x="66710" y="609936"/>
                  </a:lnTo>
                  <a:lnTo>
                    <a:pt x="61946" y="605170"/>
                  </a:lnTo>
                  <a:lnTo>
                    <a:pt x="52416" y="600406"/>
                  </a:lnTo>
                  <a:lnTo>
                    <a:pt x="33354" y="600406"/>
                  </a:lnTo>
                  <a:lnTo>
                    <a:pt x="23824" y="605170"/>
                  </a:lnTo>
                  <a:lnTo>
                    <a:pt x="19060" y="609936"/>
                  </a:lnTo>
                  <a:lnTo>
                    <a:pt x="9530" y="609936"/>
                  </a:lnTo>
                  <a:lnTo>
                    <a:pt x="9530" y="605170"/>
                  </a:lnTo>
                  <a:lnTo>
                    <a:pt x="4764" y="595640"/>
                  </a:lnTo>
                  <a:lnTo>
                    <a:pt x="0" y="576580"/>
                  </a:lnTo>
                  <a:close/>
                  <a:moveTo>
                    <a:pt x="66712" y="481278"/>
                  </a:moveTo>
                  <a:lnTo>
                    <a:pt x="90538" y="486044"/>
                  </a:lnTo>
                  <a:lnTo>
                    <a:pt x="109598" y="500338"/>
                  </a:lnTo>
                  <a:lnTo>
                    <a:pt x="109598" y="505104"/>
                  </a:lnTo>
                  <a:lnTo>
                    <a:pt x="114364" y="509868"/>
                  </a:lnTo>
                  <a:lnTo>
                    <a:pt x="90538" y="514634"/>
                  </a:lnTo>
                  <a:lnTo>
                    <a:pt x="71476" y="495574"/>
                  </a:lnTo>
                  <a:lnTo>
                    <a:pt x="57182" y="500338"/>
                  </a:lnTo>
                  <a:lnTo>
                    <a:pt x="52416" y="490808"/>
                  </a:lnTo>
                  <a:lnTo>
                    <a:pt x="52416" y="486044"/>
                  </a:lnTo>
                  <a:close/>
                  <a:moveTo>
                    <a:pt x="357384" y="266846"/>
                  </a:moveTo>
                  <a:lnTo>
                    <a:pt x="371680" y="271612"/>
                  </a:lnTo>
                  <a:lnTo>
                    <a:pt x="381210" y="276378"/>
                  </a:lnTo>
                  <a:lnTo>
                    <a:pt x="385976" y="281142"/>
                  </a:lnTo>
                  <a:lnTo>
                    <a:pt x="385976" y="290672"/>
                  </a:lnTo>
                  <a:lnTo>
                    <a:pt x="381210" y="300202"/>
                  </a:lnTo>
                  <a:lnTo>
                    <a:pt x="371680" y="309734"/>
                  </a:lnTo>
                  <a:lnTo>
                    <a:pt x="352620" y="324028"/>
                  </a:lnTo>
                  <a:lnTo>
                    <a:pt x="343088" y="338324"/>
                  </a:lnTo>
                  <a:lnTo>
                    <a:pt x="333558" y="343090"/>
                  </a:lnTo>
                  <a:lnTo>
                    <a:pt x="324028" y="343090"/>
                  </a:lnTo>
                  <a:lnTo>
                    <a:pt x="295438" y="333558"/>
                  </a:lnTo>
                  <a:lnTo>
                    <a:pt x="285908" y="328794"/>
                  </a:lnTo>
                  <a:lnTo>
                    <a:pt x="281142" y="324028"/>
                  </a:lnTo>
                  <a:lnTo>
                    <a:pt x="314498" y="295438"/>
                  </a:lnTo>
                  <a:lnTo>
                    <a:pt x="343088" y="276378"/>
                  </a:lnTo>
                  <a:close/>
                  <a:moveTo>
                    <a:pt x="314498" y="147718"/>
                  </a:moveTo>
                  <a:lnTo>
                    <a:pt x="300202" y="157250"/>
                  </a:lnTo>
                  <a:lnTo>
                    <a:pt x="281142" y="171544"/>
                  </a:lnTo>
                  <a:lnTo>
                    <a:pt x="266846" y="181074"/>
                  </a:lnTo>
                  <a:lnTo>
                    <a:pt x="271612" y="190606"/>
                  </a:lnTo>
                  <a:lnTo>
                    <a:pt x="276376" y="204900"/>
                  </a:lnTo>
                  <a:lnTo>
                    <a:pt x="281142" y="219196"/>
                  </a:lnTo>
                  <a:lnTo>
                    <a:pt x="295438" y="233492"/>
                  </a:lnTo>
                  <a:lnTo>
                    <a:pt x="295438" y="247786"/>
                  </a:lnTo>
                  <a:lnTo>
                    <a:pt x="276376" y="257318"/>
                  </a:lnTo>
                  <a:lnTo>
                    <a:pt x="266846" y="262082"/>
                  </a:lnTo>
                  <a:lnTo>
                    <a:pt x="266846" y="276378"/>
                  </a:lnTo>
                  <a:lnTo>
                    <a:pt x="266846" y="285908"/>
                  </a:lnTo>
                  <a:lnTo>
                    <a:pt x="266846" y="304968"/>
                  </a:lnTo>
                  <a:lnTo>
                    <a:pt x="266846" y="309734"/>
                  </a:lnTo>
                  <a:lnTo>
                    <a:pt x="262082" y="314498"/>
                  </a:lnTo>
                  <a:lnTo>
                    <a:pt x="257316" y="324030"/>
                  </a:lnTo>
                  <a:lnTo>
                    <a:pt x="262082" y="328794"/>
                  </a:lnTo>
                  <a:lnTo>
                    <a:pt x="304968" y="343090"/>
                  </a:lnTo>
                  <a:lnTo>
                    <a:pt x="333558" y="357386"/>
                  </a:lnTo>
                  <a:lnTo>
                    <a:pt x="381210" y="309734"/>
                  </a:lnTo>
                  <a:lnTo>
                    <a:pt x="390740" y="295438"/>
                  </a:lnTo>
                  <a:lnTo>
                    <a:pt x="390740" y="276378"/>
                  </a:lnTo>
                  <a:lnTo>
                    <a:pt x="385974" y="262082"/>
                  </a:lnTo>
                  <a:lnTo>
                    <a:pt x="357384" y="257318"/>
                  </a:lnTo>
                  <a:lnTo>
                    <a:pt x="352618" y="252552"/>
                  </a:lnTo>
                  <a:lnTo>
                    <a:pt x="352618" y="243022"/>
                  </a:lnTo>
                  <a:lnTo>
                    <a:pt x="352618" y="223962"/>
                  </a:lnTo>
                  <a:lnTo>
                    <a:pt x="352618" y="219196"/>
                  </a:lnTo>
                  <a:lnTo>
                    <a:pt x="362150" y="209666"/>
                  </a:lnTo>
                  <a:lnTo>
                    <a:pt x="357384" y="200136"/>
                  </a:lnTo>
                  <a:lnTo>
                    <a:pt x="343088" y="200136"/>
                  </a:lnTo>
                  <a:lnTo>
                    <a:pt x="328794" y="200136"/>
                  </a:lnTo>
                  <a:lnTo>
                    <a:pt x="324028" y="195370"/>
                  </a:lnTo>
                  <a:lnTo>
                    <a:pt x="319262" y="185840"/>
                  </a:lnTo>
                  <a:lnTo>
                    <a:pt x="319262" y="152484"/>
                  </a:lnTo>
                  <a:close/>
                  <a:moveTo>
                    <a:pt x="238256" y="114362"/>
                  </a:moveTo>
                  <a:lnTo>
                    <a:pt x="238256" y="142954"/>
                  </a:lnTo>
                  <a:lnTo>
                    <a:pt x="223960" y="162014"/>
                  </a:lnTo>
                  <a:lnTo>
                    <a:pt x="214430" y="157248"/>
                  </a:lnTo>
                  <a:lnTo>
                    <a:pt x="209664" y="152484"/>
                  </a:lnTo>
                  <a:lnTo>
                    <a:pt x="214430" y="138188"/>
                  </a:lnTo>
                  <a:close/>
                  <a:moveTo>
                    <a:pt x="262082" y="81006"/>
                  </a:moveTo>
                  <a:lnTo>
                    <a:pt x="276376" y="81006"/>
                  </a:lnTo>
                  <a:lnTo>
                    <a:pt x="243020" y="100068"/>
                  </a:lnTo>
                  <a:close/>
                  <a:moveTo>
                    <a:pt x="500338" y="47650"/>
                  </a:moveTo>
                  <a:lnTo>
                    <a:pt x="543224" y="47650"/>
                  </a:lnTo>
                  <a:lnTo>
                    <a:pt x="557520" y="66712"/>
                  </a:lnTo>
                  <a:lnTo>
                    <a:pt x="567050" y="76242"/>
                  </a:lnTo>
                  <a:lnTo>
                    <a:pt x="576580" y="85772"/>
                  </a:lnTo>
                  <a:lnTo>
                    <a:pt x="600406" y="90538"/>
                  </a:lnTo>
                  <a:lnTo>
                    <a:pt x="600406" y="114362"/>
                  </a:lnTo>
                  <a:lnTo>
                    <a:pt x="600406" y="162014"/>
                  </a:lnTo>
                  <a:lnTo>
                    <a:pt x="595640" y="171544"/>
                  </a:lnTo>
                  <a:lnTo>
                    <a:pt x="586110" y="190604"/>
                  </a:lnTo>
                  <a:lnTo>
                    <a:pt x="576580" y="228726"/>
                  </a:lnTo>
                  <a:lnTo>
                    <a:pt x="576580" y="252552"/>
                  </a:lnTo>
                  <a:lnTo>
                    <a:pt x="571816" y="257316"/>
                  </a:lnTo>
                  <a:lnTo>
                    <a:pt x="528930" y="257316"/>
                  </a:lnTo>
                  <a:lnTo>
                    <a:pt x="524164" y="262082"/>
                  </a:lnTo>
                  <a:lnTo>
                    <a:pt x="524164" y="266846"/>
                  </a:lnTo>
                  <a:lnTo>
                    <a:pt x="524164" y="271612"/>
                  </a:lnTo>
                  <a:lnTo>
                    <a:pt x="524164" y="281142"/>
                  </a:lnTo>
                  <a:lnTo>
                    <a:pt x="519398" y="285908"/>
                  </a:lnTo>
                  <a:lnTo>
                    <a:pt x="524164" y="290672"/>
                  </a:lnTo>
                  <a:lnTo>
                    <a:pt x="528930" y="300202"/>
                  </a:lnTo>
                  <a:lnTo>
                    <a:pt x="543224" y="304968"/>
                  </a:lnTo>
                  <a:lnTo>
                    <a:pt x="557520" y="304968"/>
                  </a:lnTo>
                  <a:lnTo>
                    <a:pt x="567050" y="304968"/>
                  </a:lnTo>
                  <a:lnTo>
                    <a:pt x="571816" y="314498"/>
                  </a:lnTo>
                  <a:lnTo>
                    <a:pt x="576580" y="324028"/>
                  </a:lnTo>
                  <a:lnTo>
                    <a:pt x="576580" y="333558"/>
                  </a:lnTo>
                  <a:lnTo>
                    <a:pt x="571816" y="352618"/>
                  </a:lnTo>
                  <a:lnTo>
                    <a:pt x="567050" y="366914"/>
                  </a:lnTo>
                  <a:lnTo>
                    <a:pt x="547990" y="385974"/>
                  </a:lnTo>
                  <a:lnTo>
                    <a:pt x="538460" y="390740"/>
                  </a:lnTo>
                  <a:lnTo>
                    <a:pt x="528930" y="395506"/>
                  </a:lnTo>
                  <a:lnTo>
                    <a:pt x="528930" y="400270"/>
                  </a:lnTo>
                  <a:lnTo>
                    <a:pt x="524164" y="405036"/>
                  </a:lnTo>
                  <a:lnTo>
                    <a:pt x="524164" y="409800"/>
                  </a:lnTo>
                  <a:lnTo>
                    <a:pt x="538460" y="424096"/>
                  </a:lnTo>
                  <a:lnTo>
                    <a:pt x="538460" y="428862"/>
                  </a:lnTo>
                  <a:lnTo>
                    <a:pt x="533694" y="433626"/>
                  </a:lnTo>
                  <a:lnTo>
                    <a:pt x="528930" y="443156"/>
                  </a:lnTo>
                  <a:lnTo>
                    <a:pt x="495574" y="457452"/>
                  </a:lnTo>
                  <a:lnTo>
                    <a:pt x="481278" y="452686"/>
                  </a:lnTo>
                  <a:lnTo>
                    <a:pt x="471748" y="462216"/>
                  </a:lnTo>
                  <a:lnTo>
                    <a:pt x="466982" y="462216"/>
                  </a:lnTo>
                  <a:lnTo>
                    <a:pt x="457452" y="457452"/>
                  </a:lnTo>
                  <a:lnTo>
                    <a:pt x="438392" y="447922"/>
                  </a:lnTo>
                  <a:lnTo>
                    <a:pt x="433626" y="452686"/>
                  </a:lnTo>
                  <a:lnTo>
                    <a:pt x="428862" y="457452"/>
                  </a:lnTo>
                  <a:lnTo>
                    <a:pt x="414566" y="462216"/>
                  </a:lnTo>
                  <a:lnTo>
                    <a:pt x="405036" y="466982"/>
                  </a:lnTo>
                  <a:lnTo>
                    <a:pt x="405036" y="481278"/>
                  </a:lnTo>
                  <a:lnTo>
                    <a:pt x="419332" y="505102"/>
                  </a:lnTo>
                  <a:lnTo>
                    <a:pt x="428862" y="509868"/>
                  </a:lnTo>
                  <a:lnTo>
                    <a:pt x="428862" y="519398"/>
                  </a:lnTo>
                  <a:lnTo>
                    <a:pt x="433626" y="533694"/>
                  </a:lnTo>
                  <a:lnTo>
                    <a:pt x="443156" y="547990"/>
                  </a:lnTo>
                  <a:lnTo>
                    <a:pt x="443156" y="557520"/>
                  </a:lnTo>
                  <a:lnTo>
                    <a:pt x="443156" y="567050"/>
                  </a:lnTo>
                  <a:lnTo>
                    <a:pt x="438392" y="581346"/>
                  </a:lnTo>
                  <a:lnTo>
                    <a:pt x="424096" y="614700"/>
                  </a:lnTo>
                  <a:lnTo>
                    <a:pt x="424096" y="619466"/>
                  </a:lnTo>
                  <a:lnTo>
                    <a:pt x="424096" y="624232"/>
                  </a:lnTo>
                  <a:lnTo>
                    <a:pt x="428862" y="628996"/>
                  </a:lnTo>
                  <a:lnTo>
                    <a:pt x="433626" y="628996"/>
                  </a:lnTo>
                  <a:lnTo>
                    <a:pt x="433626" y="633762"/>
                  </a:lnTo>
                  <a:lnTo>
                    <a:pt x="405036" y="657586"/>
                  </a:lnTo>
                  <a:lnTo>
                    <a:pt x="390740" y="657586"/>
                  </a:lnTo>
                  <a:lnTo>
                    <a:pt x="390740" y="662352"/>
                  </a:lnTo>
                  <a:lnTo>
                    <a:pt x="390740" y="667118"/>
                  </a:lnTo>
                  <a:lnTo>
                    <a:pt x="395506" y="671882"/>
                  </a:lnTo>
                  <a:lnTo>
                    <a:pt x="405036" y="676648"/>
                  </a:lnTo>
                  <a:lnTo>
                    <a:pt x="414566" y="681412"/>
                  </a:lnTo>
                  <a:lnTo>
                    <a:pt x="419332" y="695708"/>
                  </a:lnTo>
                  <a:lnTo>
                    <a:pt x="414566" y="733830"/>
                  </a:lnTo>
                  <a:lnTo>
                    <a:pt x="395506" y="729064"/>
                  </a:lnTo>
                  <a:lnTo>
                    <a:pt x="381210" y="729064"/>
                  </a:lnTo>
                  <a:lnTo>
                    <a:pt x="371680" y="729064"/>
                  </a:lnTo>
                  <a:lnTo>
                    <a:pt x="366914" y="724298"/>
                  </a:lnTo>
                  <a:lnTo>
                    <a:pt x="357384" y="710004"/>
                  </a:lnTo>
                  <a:lnTo>
                    <a:pt x="357384" y="705238"/>
                  </a:lnTo>
                  <a:lnTo>
                    <a:pt x="371680" y="686178"/>
                  </a:lnTo>
                  <a:lnTo>
                    <a:pt x="376444" y="681412"/>
                  </a:lnTo>
                  <a:lnTo>
                    <a:pt x="371680" y="681412"/>
                  </a:lnTo>
                  <a:lnTo>
                    <a:pt x="376444" y="671882"/>
                  </a:lnTo>
                  <a:lnTo>
                    <a:pt x="385976" y="648056"/>
                  </a:lnTo>
                  <a:lnTo>
                    <a:pt x="385976" y="638526"/>
                  </a:lnTo>
                  <a:lnTo>
                    <a:pt x="381210" y="633762"/>
                  </a:lnTo>
                  <a:lnTo>
                    <a:pt x="376444" y="628996"/>
                  </a:lnTo>
                  <a:lnTo>
                    <a:pt x="352620" y="619466"/>
                  </a:lnTo>
                  <a:lnTo>
                    <a:pt x="343088" y="609936"/>
                  </a:lnTo>
                  <a:lnTo>
                    <a:pt x="338324" y="600406"/>
                  </a:lnTo>
                  <a:lnTo>
                    <a:pt x="333558" y="600406"/>
                  </a:lnTo>
                  <a:lnTo>
                    <a:pt x="324028" y="600406"/>
                  </a:lnTo>
                  <a:lnTo>
                    <a:pt x="304968" y="605170"/>
                  </a:lnTo>
                  <a:lnTo>
                    <a:pt x="290672" y="600406"/>
                  </a:lnTo>
                  <a:lnTo>
                    <a:pt x="271612" y="581346"/>
                  </a:lnTo>
                  <a:lnTo>
                    <a:pt x="266846" y="567050"/>
                  </a:lnTo>
                  <a:lnTo>
                    <a:pt x="266846" y="557520"/>
                  </a:lnTo>
                  <a:lnTo>
                    <a:pt x="262082" y="552754"/>
                  </a:lnTo>
                  <a:lnTo>
                    <a:pt x="257316" y="557520"/>
                  </a:lnTo>
                  <a:lnTo>
                    <a:pt x="247786" y="567050"/>
                  </a:lnTo>
                  <a:lnTo>
                    <a:pt x="233490" y="571814"/>
                  </a:lnTo>
                  <a:lnTo>
                    <a:pt x="228726" y="567050"/>
                  </a:lnTo>
                  <a:lnTo>
                    <a:pt x="228726" y="562284"/>
                  </a:lnTo>
                  <a:lnTo>
                    <a:pt x="228726" y="557520"/>
                  </a:lnTo>
                  <a:lnTo>
                    <a:pt x="223960" y="552754"/>
                  </a:lnTo>
                  <a:lnTo>
                    <a:pt x="219196" y="547990"/>
                  </a:lnTo>
                  <a:lnTo>
                    <a:pt x="200136" y="562284"/>
                  </a:lnTo>
                  <a:lnTo>
                    <a:pt x="195370" y="562284"/>
                  </a:lnTo>
                  <a:lnTo>
                    <a:pt x="185840" y="557520"/>
                  </a:lnTo>
                  <a:lnTo>
                    <a:pt x="181074" y="552754"/>
                  </a:lnTo>
                  <a:lnTo>
                    <a:pt x="171544" y="557520"/>
                  </a:lnTo>
                  <a:lnTo>
                    <a:pt x="162014" y="562284"/>
                  </a:lnTo>
                  <a:lnTo>
                    <a:pt x="162014" y="576580"/>
                  </a:lnTo>
                  <a:lnTo>
                    <a:pt x="157248" y="581346"/>
                  </a:lnTo>
                  <a:lnTo>
                    <a:pt x="147718" y="581346"/>
                  </a:lnTo>
                  <a:lnTo>
                    <a:pt x="138188" y="571814"/>
                  </a:lnTo>
                  <a:lnTo>
                    <a:pt x="123892" y="571814"/>
                  </a:lnTo>
                  <a:lnTo>
                    <a:pt x="100068" y="557520"/>
                  </a:lnTo>
                  <a:lnTo>
                    <a:pt x="71476" y="567050"/>
                  </a:lnTo>
                  <a:lnTo>
                    <a:pt x="52416" y="557520"/>
                  </a:lnTo>
                  <a:lnTo>
                    <a:pt x="38120" y="557520"/>
                  </a:lnTo>
                  <a:lnTo>
                    <a:pt x="23826" y="547990"/>
                  </a:lnTo>
                  <a:lnTo>
                    <a:pt x="14296" y="533694"/>
                  </a:lnTo>
                  <a:lnTo>
                    <a:pt x="23826" y="524164"/>
                  </a:lnTo>
                  <a:lnTo>
                    <a:pt x="28590" y="524164"/>
                  </a:lnTo>
                  <a:lnTo>
                    <a:pt x="61946" y="519398"/>
                  </a:lnTo>
                  <a:lnTo>
                    <a:pt x="81006" y="524164"/>
                  </a:lnTo>
                  <a:lnTo>
                    <a:pt x="123892" y="557520"/>
                  </a:lnTo>
                  <a:lnTo>
                    <a:pt x="133424" y="557520"/>
                  </a:lnTo>
                  <a:lnTo>
                    <a:pt x="142954" y="552754"/>
                  </a:lnTo>
                  <a:lnTo>
                    <a:pt x="138188" y="543224"/>
                  </a:lnTo>
                  <a:lnTo>
                    <a:pt x="128658" y="538458"/>
                  </a:lnTo>
                  <a:lnTo>
                    <a:pt x="114362" y="533694"/>
                  </a:lnTo>
                  <a:lnTo>
                    <a:pt x="100068" y="519398"/>
                  </a:lnTo>
                  <a:lnTo>
                    <a:pt x="128658" y="519398"/>
                  </a:lnTo>
                  <a:lnTo>
                    <a:pt x="123892" y="509868"/>
                  </a:lnTo>
                  <a:lnTo>
                    <a:pt x="123892" y="500338"/>
                  </a:lnTo>
                  <a:lnTo>
                    <a:pt x="90538" y="466982"/>
                  </a:lnTo>
                  <a:lnTo>
                    <a:pt x="95302" y="457452"/>
                  </a:lnTo>
                  <a:lnTo>
                    <a:pt x="104832" y="438392"/>
                  </a:lnTo>
                  <a:lnTo>
                    <a:pt x="114362" y="419330"/>
                  </a:lnTo>
                  <a:lnTo>
                    <a:pt x="119128" y="414566"/>
                  </a:lnTo>
                  <a:lnTo>
                    <a:pt x="133424" y="405036"/>
                  </a:lnTo>
                  <a:lnTo>
                    <a:pt x="157248" y="366914"/>
                  </a:lnTo>
                  <a:lnTo>
                    <a:pt x="176310" y="338324"/>
                  </a:lnTo>
                  <a:lnTo>
                    <a:pt x="190604" y="304968"/>
                  </a:lnTo>
                  <a:lnTo>
                    <a:pt x="204900" y="209666"/>
                  </a:lnTo>
                  <a:lnTo>
                    <a:pt x="214430" y="195370"/>
                  </a:lnTo>
                  <a:lnTo>
                    <a:pt x="219196" y="176310"/>
                  </a:lnTo>
                  <a:lnTo>
                    <a:pt x="233490" y="181074"/>
                  </a:lnTo>
                  <a:lnTo>
                    <a:pt x="238256" y="185840"/>
                  </a:lnTo>
                  <a:lnTo>
                    <a:pt x="266846" y="171544"/>
                  </a:lnTo>
                  <a:lnTo>
                    <a:pt x="314498" y="138188"/>
                  </a:lnTo>
                  <a:lnTo>
                    <a:pt x="324028" y="104832"/>
                  </a:lnTo>
                  <a:lnTo>
                    <a:pt x="338324" y="90538"/>
                  </a:lnTo>
                  <a:lnTo>
                    <a:pt x="395506" y="66712"/>
                  </a:lnTo>
                  <a:lnTo>
                    <a:pt x="424096" y="57182"/>
                  </a:lnTo>
                  <a:lnTo>
                    <a:pt x="466982" y="52416"/>
                  </a:lnTo>
                  <a:close/>
                  <a:moveTo>
                    <a:pt x="324028" y="47650"/>
                  </a:moveTo>
                  <a:lnTo>
                    <a:pt x="343088" y="47650"/>
                  </a:lnTo>
                  <a:lnTo>
                    <a:pt x="347854" y="47650"/>
                  </a:lnTo>
                  <a:lnTo>
                    <a:pt x="309732" y="61946"/>
                  </a:lnTo>
                  <a:lnTo>
                    <a:pt x="295438" y="61946"/>
                  </a:lnTo>
                  <a:lnTo>
                    <a:pt x="285908" y="61946"/>
                  </a:lnTo>
                  <a:close/>
                  <a:moveTo>
                    <a:pt x="366914" y="38122"/>
                  </a:moveTo>
                  <a:lnTo>
                    <a:pt x="395504" y="38122"/>
                  </a:lnTo>
                  <a:lnTo>
                    <a:pt x="400270" y="42886"/>
                  </a:lnTo>
                  <a:lnTo>
                    <a:pt x="371680" y="47650"/>
                  </a:lnTo>
                  <a:lnTo>
                    <a:pt x="362150" y="42886"/>
                  </a:lnTo>
                  <a:lnTo>
                    <a:pt x="357384" y="42886"/>
                  </a:lnTo>
                  <a:close/>
                  <a:moveTo>
                    <a:pt x="457452" y="28590"/>
                  </a:moveTo>
                  <a:lnTo>
                    <a:pt x="466982" y="28590"/>
                  </a:lnTo>
                  <a:lnTo>
                    <a:pt x="443156" y="38122"/>
                  </a:lnTo>
                  <a:lnTo>
                    <a:pt x="438392" y="38122"/>
                  </a:lnTo>
                  <a:lnTo>
                    <a:pt x="438392" y="33356"/>
                  </a:lnTo>
                  <a:close/>
                  <a:moveTo>
                    <a:pt x="528928" y="0"/>
                  </a:moveTo>
                  <a:lnTo>
                    <a:pt x="538460" y="0"/>
                  </a:lnTo>
                  <a:lnTo>
                    <a:pt x="528928" y="9530"/>
                  </a:lnTo>
                  <a:lnTo>
                    <a:pt x="514632" y="9530"/>
                  </a:lnTo>
                  <a:lnTo>
                    <a:pt x="519398" y="476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2" name="Freeform 421">
              <a:extLst>
                <a:ext uri="{FF2B5EF4-FFF2-40B4-BE49-F238E27FC236}">
                  <a16:creationId xmlns:a16="http://schemas.microsoft.com/office/drawing/2014/main" id="{CDE46215-6714-4210-9155-7F8AB9EC83F5}"/>
                </a:ext>
              </a:extLst>
            </p:cNvPr>
            <p:cNvSpPr/>
            <p:nvPr/>
          </p:nvSpPr>
          <p:spPr bwMode="auto">
            <a:xfrm>
              <a:off x="9506950" y="6333744"/>
              <a:ext cx="302719" cy="432674"/>
            </a:xfrm>
            <a:custGeom>
              <a:avLst/>
              <a:gdLst>
                <a:gd name="connsiteX0" fmla="*/ 204316 w 1871240"/>
                <a:gd name="connsiteY0" fmla="*/ 2544036 h 2674548"/>
                <a:gd name="connsiteX1" fmla="*/ 207016 w 1871240"/>
                <a:gd name="connsiteY1" fmla="*/ 2544036 h 2674548"/>
                <a:gd name="connsiteX2" fmla="*/ 209716 w 1871240"/>
                <a:gd name="connsiteY2" fmla="*/ 2544936 h 2674548"/>
                <a:gd name="connsiteX3" fmla="*/ 218716 w 1871240"/>
                <a:gd name="connsiteY3" fmla="*/ 2548536 h 2674548"/>
                <a:gd name="connsiteX4" fmla="*/ 227716 w 1871240"/>
                <a:gd name="connsiteY4" fmla="*/ 2553936 h 2674548"/>
                <a:gd name="connsiteX5" fmla="*/ 236716 w 1871240"/>
                <a:gd name="connsiteY5" fmla="*/ 2560240 h 2674548"/>
                <a:gd name="connsiteX6" fmla="*/ 244820 w 1871240"/>
                <a:gd name="connsiteY6" fmla="*/ 2567440 h 2674548"/>
                <a:gd name="connsiteX7" fmla="*/ 247520 w 1871240"/>
                <a:gd name="connsiteY7" fmla="*/ 2570140 h 2674548"/>
                <a:gd name="connsiteX8" fmla="*/ 249320 w 1871240"/>
                <a:gd name="connsiteY8" fmla="*/ 2572840 h 2674548"/>
                <a:gd name="connsiteX9" fmla="*/ 250220 w 1871240"/>
                <a:gd name="connsiteY9" fmla="*/ 2575540 h 2674548"/>
                <a:gd name="connsiteX10" fmla="*/ 250220 w 1871240"/>
                <a:gd name="connsiteY10" fmla="*/ 2578240 h 2674548"/>
                <a:gd name="connsiteX11" fmla="*/ 245720 w 1871240"/>
                <a:gd name="connsiteY11" fmla="*/ 2586340 h 2674548"/>
                <a:gd name="connsiteX12" fmla="*/ 244820 w 1871240"/>
                <a:gd name="connsiteY12" fmla="*/ 2590840 h 2674548"/>
                <a:gd name="connsiteX13" fmla="*/ 243020 w 1871240"/>
                <a:gd name="connsiteY13" fmla="*/ 2596240 h 2674548"/>
                <a:gd name="connsiteX14" fmla="*/ 243020 w 1871240"/>
                <a:gd name="connsiteY14" fmla="*/ 2602540 h 2674548"/>
                <a:gd name="connsiteX15" fmla="*/ 243020 w 1871240"/>
                <a:gd name="connsiteY15" fmla="*/ 2609740 h 2674548"/>
                <a:gd name="connsiteX16" fmla="*/ 244820 w 1871240"/>
                <a:gd name="connsiteY16" fmla="*/ 2617844 h 2674548"/>
                <a:gd name="connsiteX17" fmla="*/ 247520 w 1871240"/>
                <a:gd name="connsiteY17" fmla="*/ 2625944 h 2674548"/>
                <a:gd name="connsiteX18" fmla="*/ 249320 w 1871240"/>
                <a:gd name="connsiteY18" fmla="*/ 2630444 h 2674548"/>
                <a:gd name="connsiteX19" fmla="*/ 250220 w 1871240"/>
                <a:gd name="connsiteY19" fmla="*/ 2634044 h 2674548"/>
                <a:gd name="connsiteX20" fmla="*/ 249320 w 1871240"/>
                <a:gd name="connsiteY20" fmla="*/ 2636744 h 2674548"/>
                <a:gd name="connsiteX21" fmla="*/ 249320 w 1871240"/>
                <a:gd name="connsiteY21" fmla="*/ 2639444 h 2674548"/>
                <a:gd name="connsiteX22" fmla="*/ 247520 w 1871240"/>
                <a:gd name="connsiteY22" fmla="*/ 2642144 h 2674548"/>
                <a:gd name="connsiteX23" fmla="*/ 245720 w 1871240"/>
                <a:gd name="connsiteY23" fmla="*/ 2643944 h 2674548"/>
                <a:gd name="connsiteX24" fmla="*/ 239420 w 1871240"/>
                <a:gd name="connsiteY24" fmla="*/ 2646644 h 2674548"/>
                <a:gd name="connsiteX25" fmla="*/ 232216 w 1871240"/>
                <a:gd name="connsiteY25" fmla="*/ 2648444 h 2674548"/>
                <a:gd name="connsiteX26" fmla="*/ 223216 w 1871240"/>
                <a:gd name="connsiteY26" fmla="*/ 2649344 h 2674548"/>
                <a:gd name="connsiteX27" fmla="*/ 202516 w 1871240"/>
                <a:gd name="connsiteY27" fmla="*/ 2652944 h 2674548"/>
                <a:gd name="connsiteX28" fmla="*/ 194416 w 1871240"/>
                <a:gd name="connsiteY28" fmla="*/ 2654744 h 2674548"/>
                <a:gd name="connsiteX29" fmla="*/ 189016 w 1871240"/>
                <a:gd name="connsiteY29" fmla="*/ 2657444 h 2674548"/>
                <a:gd name="connsiteX30" fmla="*/ 185412 w 1871240"/>
                <a:gd name="connsiteY30" fmla="*/ 2661044 h 2674548"/>
                <a:gd name="connsiteX31" fmla="*/ 183612 w 1871240"/>
                <a:gd name="connsiteY31" fmla="*/ 2664644 h 2674548"/>
                <a:gd name="connsiteX32" fmla="*/ 180912 w 1871240"/>
                <a:gd name="connsiteY32" fmla="*/ 2667344 h 2674548"/>
                <a:gd name="connsiteX33" fmla="*/ 178212 w 1871240"/>
                <a:gd name="connsiteY33" fmla="*/ 2670044 h 2674548"/>
                <a:gd name="connsiteX34" fmla="*/ 172812 w 1871240"/>
                <a:gd name="connsiteY34" fmla="*/ 2672744 h 2674548"/>
                <a:gd name="connsiteX35" fmla="*/ 163812 w 1871240"/>
                <a:gd name="connsiteY35" fmla="*/ 2674548 h 2674548"/>
                <a:gd name="connsiteX36" fmla="*/ 154812 w 1871240"/>
                <a:gd name="connsiteY36" fmla="*/ 2674548 h 2674548"/>
                <a:gd name="connsiteX37" fmla="*/ 152112 w 1871240"/>
                <a:gd name="connsiteY37" fmla="*/ 2673644 h 2674548"/>
                <a:gd name="connsiteX38" fmla="*/ 151212 w 1871240"/>
                <a:gd name="connsiteY38" fmla="*/ 2672744 h 2674548"/>
                <a:gd name="connsiteX39" fmla="*/ 150312 w 1871240"/>
                <a:gd name="connsiteY39" fmla="*/ 2670944 h 2674548"/>
                <a:gd name="connsiteX40" fmla="*/ 149412 w 1871240"/>
                <a:gd name="connsiteY40" fmla="*/ 2669144 h 2674548"/>
                <a:gd name="connsiteX41" fmla="*/ 151212 w 1871240"/>
                <a:gd name="connsiteY41" fmla="*/ 2665544 h 2674548"/>
                <a:gd name="connsiteX42" fmla="*/ 157512 w 1871240"/>
                <a:gd name="connsiteY42" fmla="*/ 2652944 h 2674548"/>
                <a:gd name="connsiteX43" fmla="*/ 161112 w 1871240"/>
                <a:gd name="connsiteY43" fmla="*/ 2645744 h 2674548"/>
                <a:gd name="connsiteX44" fmla="*/ 163812 w 1871240"/>
                <a:gd name="connsiteY44" fmla="*/ 2637644 h 2674548"/>
                <a:gd name="connsiteX45" fmla="*/ 167412 w 1871240"/>
                <a:gd name="connsiteY45" fmla="*/ 2624144 h 2674548"/>
                <a:gd name="connsiteX46" fmla="*/ 170112 w 1871240"/>
                <a:gd name="connsiteY46" fmla="*/ 2619644 h 2674548"/>
                <a:gd name="connsiteX47" fmla="*/ 172812 w 1871240"/>
                <a:gd name="connsiteY47" fmla="*/ 2615140 h 2674548"/>
                <a:gd name="connsiteX48" fmla="*/ 175512 w 1871240"/>
                <a:gd name="connsiteY48" fmla="*/ 2610640 h 2674548"/>
                <a:gd name="connsiteX49" fmla="*/ 180012 w 1871240"/>
                <a:gd name="connsiteY49" fmla="*/ 2607040 h 2674548"/>
                <a:gd name="connsiteX50" fmla="*/ 189916 w 1871240"/>
                <a:gd name="connsiteY50" fmla="*/ 2597140 h 2674548"/>
                <a:gd name="connsiteX51" fmla="*/ 192616 w 1871240"/>
                <a:gd name="connsiteY51" fmla="*/ 2594440 h 2674548"/>
                <a:gd name="connsiteX52" fmla="*/ 195316 w 1871240"/>
                <a:gd name="connsiteY52" fmla="*/ 2590840 h 2674548"/>
                <a:gd name="connsiteX53" fmla="*/ 198916 w 1871240"/>
                <a:gd name="connsiteY53" fmla="*/ 2583640 h 2674548"/>
                <a:gd name="connsiteX54" fmla="*/ 201616 w 1871240"/>
                <a:gd name="connsiteY54" fmla="*/ 2575540 h 2674548"/>
                <a:gd name="connsiteX55" fmla="*/ 202516 w 1871240"/>
                <a:gd name="connsiteY55" fmla="*/ 2566540 h 2674548"/>
                <a:gd name="connsiteX56" fmla="*/ 202516 w 1871240"/>
                <a:gd name="connsiteY56" fmla="*/ 2559340 h 2674548"/>
                <a:gd name="connsiteX57" fmla="*/ 202516 w 1871240"/>
                <a:gd name="connsiteY57" fmla="*/ 2553036 h 2674548"/>
                <a:gd name="connsiteX58" fmla="*/ 202516 w 1871240"/>
                <a:gd name="connsiteY58" fmla="*/ 2547636 h 2674548"/>
                <a:gd name="connsiteX59" fmla="*/ 202516 w 1871240"/>
                <a:gd name="connsiteY59" fmla="*/ 2545836 h 2674548"/>
                <a:gd name="connsiteX60" fmla="*/ 949572 w 1871240"/>
                <a:gd name="connsiteY60" fmla="*/ 1224540 h 2674548"/>
                <a:gd name="connsiteX61" fmla="*/ 952272 w 1871240"/>
                <a:gd name="connsiteY61" fmla="*/ 1224540 h 2674548"/>
                <a:gd name="connsiteX62" fmla="*/ 954972 w 1871240"/>
                <a:gd name="connsiteY62" fmla="*/ 1225440 h 2674548"/>
                <a:gd name="connsiteX63" fmla="*/ 956772 w 1871240"/>
                <a:gd name="connsiteY63" fmla="*/ 1227240 h 2674548"/>
                <a:gd name="connsiteX64" fmla="*/ 959472 w 1871240"/>
                <a:gd name="connsiteY64" fmla="*/ 1229040 h 2674548"/>
                <a:gd name="connsiteX65" fmla="*/ 963972 w 1871240"/>
                <a:gd name="connsiteY65" fmla="*/ 1235340 h 2674548"/>
                <a:gd name="connsiteX66" fmla="*/ 966672 w 1871240"/>
                <a:gd name="connsiteY66" fmla="*/ 1242540 h 2674548"/>
                <a:gd name="connsiteX67" fmla="*/ 969372 w 1871240"/>
                <a:gd name="connsiteY67" fmla="*/ 1252444 h 2674548"/>
                <a:gd name="connsiteX68" fmla="*/ 970272 w 1871240"/>
                <a:gd name="connsiteY68" fmla="*/ 1262344 h 2674548"/>
                <a:gd name="connsiteX69" fmla="*/ 970272 w 1871240"/>
                <a:gd name="connsiteY69" fmla="*/ 1273144 h 2674548"/>
                <a:gd name="connsiteX70" fmla="*/ 970272 w 1871240"/>
                <a:gd name="connsiteY70" fmla="*/ 1282144 h 2674548"/>
                <a:gd name="connsiteX71" fmla="*/ 970272 w 1871240"/>
                <a:gd name="connsiteY71" fmla="*/ 1285744 h 2674548"/>
                <a:gd name="connsiteX72" fmla="*/ 972072 w 1871240"/>
                <a:gd name="connsiteY72" fmla="*/ 1288444 h 2674548"/>
                <a:gd name="connsiteX73" fmla="*/ 972972 w 1871240"/>
                <a:gd name="connsiteY73" fmla="*/ 1290244 h 2674548"/>
                <a:gd name="connsiteX74" fmla="*/ 974772 w 1871240"/>
                <a:gd name="connsiteY74" fmla="*/ 1292044 h 2674548"/>
                <a:gd name="connsiteX75" fmla="*/ 980172 w 1871240"/>
                <a:gd name="connsiteY75" fmla="*/ 1293844 h 2674548"/>
                <a:gd name="connsiteX76" fmla="*/ 986472 w 1871240"/>
                <a:gd name="connsiteY76" fmla="*/ 1294744 h 2674548"/>
                <a:gd name="connsiteX77" fmla="*/ 993676 w 1871240"/>
                <a:gd name="connsiteY77" fmla="*/ 1295644 h 2674548"/>
                <a:gd name="connsiteX78" fmla="*/ 1003576 w 1871240"/>
                <a:gd name="connsiteY78" fmla="*/ 1296544 h 2674548"/>
                <a:gd name="connsiteX79" fmla="*/ 1013476 w 1871240"/>
                <a:gd name="connsiteY79" fmla="*/ 1299244 h 2674548"/>
                <a:gd name="connsiteX80" fmla="*/ 1022476 w 1871240"/>
                <a:gd name="connsiteY80" fmla="*/ 1303744 h 2674548"/>
                <a:gd name="connsiteX81" fmla="*/ 1027876 w 1871240"/>
                <a:gd name="connsiteY81" fmla="*/ 1307348 h 2674548"/>
                <a:gd name="connsiteX82" fmla="*/ 1029676 w 1871240"/>
                <a:gd name="connsiteY82" fmla="*/ 1310048 h 2674548"/>
                <a:gd name="connsiteX83" fmla="*/ 1031476 w 1871240"/>
                <a:gd name="connsiteY83" fmla="*/ 1311848 h 2674548"/>
                <a:gd name="connsiteX84" fmla="*/ 1032376 w 1871240"/>
                <a:gd name="connsiteY84" fmla="*/ 1317248 h 2674548"/>
                <a:gd name="connsiteX85" fmla="*/ 1032376 w 1871240"/>
                <a:gd name="connsiteY85" fmla="*/ 1323548 h 2674548"/>
                <a:gd name="connsiteX86" fmla="*/ 1031476 w 1871240"/>
                <a:gd name="connsiteY86" fmla="*/ 1330748 h 2674548"/>
                <a:gd name="connsiteX87" fmla="*/ 1030576 w 1871240"/>
                <a:gd name="connsiteY87" fmla="*/ 1338848 h 2674548"/>
                <a:gd name="connsiteX88" fmla="*/ 1030576 w 1871240"/>
                <a:gd name="connsiteY88" fmla="*/ 1347848 h 2674548"/>
                <a:gd name="connsiteX89" fmla="*/ 1030576 w 1871240"/>
                <a:gd name="connsiteY89" fmla="*/ 1355948 h 2674548"/>
                <a:gd name="connsiteX90" fmla="*/ 1031476 w 1871240"/>
                <a:gd name="connsiteY90" fmla="*/ 1361352 h 2674548"/>
                <a:gd name="connsiteX91" fmla="*/ 1033276 w 1871240"/>
                <a:gd name="connsiteY91" fmla="*/ 1364052 h 2674548"/>
                <a:gd name="connsiteX92" fmla="*/ 1035976 w 1871240"/>
                <a:gd name="connsiteY92" fmla="*/ 1364952 h 2674548"/>
                <a:gd name="connsiteX93" fmla="*/ 1039576 w 1871240"/>
                <a:gd name="connsiteY93" fmla="*/ 1364052 h 2674548"/>
                <a:gd name="connsiteX94" fmla="*/ 1045880 w 1871240"/>
                <a:gd name="connsiteY94" fmla="*/ 1362252 h 2674548"/>
                <a:gd name="connsiteX95" fmla="*/ 1052180 w 1871240"/>
                <a:gd name="connsiteY95" fmla="*/ 1361352 h 2674548"/>
                <a:gd name="connsiteX96" fmla="*/ 1061180 w 1871240"/>
                <a:gd name="connsiteY96" fmla="*/ 1359548 h 2674548"/>
                <a:gd name="connsiteX97" fmla="*/ 1071080 w 1871240"/>
                <a:gd name="connsiteY97" fmla="*/ 1357748 h 2674548"/>
                <a:gd name="connsiteX98" fmla="*/ 1078280 w 1871240"/>
                <a:gd name="connsiteY98" fmla="*/ 1355048 h 2674548"/>
                <a:gd name="connsiteX99" fmla="*/ 1085480 w 1871240"/>
                <a:gd name="connsiteY99" fmla="*/ 1350548 h 2674548"/>
                <a:gd name="connsiteX100" fmla="*/ 1091780 w 1871240"/>
                <a:gd name="connsiteY100" fmla="*/ 1345148 h 2674548"/>
                <a:gd name="connsiteX101" fmla="*/ 1105284 w 1871240"/>
                <a:gd name="connsiteY101" fmla="*/ 1330748 h 2674548"/>
                <a:gd name="connsiteX102" fmla="*/ 1112484 w 1871240"/>
                <a:gd name="connsiteY102" fmla="*/ 1322648 h 2674548"/>
                <a:gd name="connsiteX103" fmla="*/ 1121484 w 1871240"/>
                <a:gd name="connsiteY103" fmla="*/ 1314548 h 2674548"/>
                <a:gd name="connsiteX104" fmla="*/ 1130484 w 1871240"/>
                <a:gd name="connsiteY104" fmla="*/ 1306448 h 2674548"/>
                <a:gd name="connsiteX105" fmla="*/ 1138584 w 1871240"/>
                <a:gd name="connsiteY105" fmla="*/ 1301944 h 2674548"/>
                <a:gd name="connsiteX106" fmla="*/ 1144884 w 1871240"/>
                <a:gd name="connsiteY106" fmla="*/ 1300144 h 2674548"/>
                <a:gd name="connsiteX107" fmla="*/ 1150284 w 1871240"/>
                <a:gd name="connsiteY107" fmla="*/ 1300144 h 2674548"/>
                <a:gd name="connsiteX108" fmla="*/ 1155688 w 1871240"/>
                <a:gd name="connsiteY108" fmla="*/ 1302844 h 2674548"/>
                <a:gd name="connsiteX109" fmla="*/ 1161088 w 1871240"/>
                <a:gd name="connsiteY109" fmla="*/ 1305548 h 2674548"/>
                <a:gd name="connsiteX110" fmla="*/ 1171888 w 1871240"/>
                <a:gd name="connsiteY110" fmla="*/ 1314548 h 2674548"/>
                <a:gd name="connsiteX111" fmla="*/ 1184488 w 1871240"/>
                <a:gd name="connsiteY111" fmla="*/ 1323548 h 2674548"/>
                <a:gd name="connsiteX112" fmla="*/ 1188988 w 1871240"/>
                <a:gd name="connsiteY112" fmla="*/ 1328048 h 2674548"/>
                <a:gd name="connsiteX113" fmla="*/ 1193488 w 1871240"/>
                <a:gd name="connsiteY113" fmla="*/ 1332548 h 2674548"/>
                <a:gd name="connsiteX114" fmla="*/ 1196188 w 1871240"/>
                <a:gd name="connsiteY114" fmla="*/ 1337948 h 2674548"/>
                <a:gd name="connsiteX115" fmla="*/ 1197088 w 1871240"/>
                <a:gd name="connsiteY115" fmla="*/ 1343348 h 2674548"/>
                <a:gd name="connsiteX116" fmla="*/ 1196188 w 1871240"/>
                <a:gd name="connsiteY116" fmla="*/ 1348748 h 2674548"/>
                <a:gd name="connsiteX117" fmla="*/ 1194388 w 1871240"/>
                <a:gd name="connsiteY117" fmla="*/ 1355048 h 2674548"/>
                <a:gd name="connsiteX118" fmla="*/ 1190788 w 1871240"/>
                <a:gd name="connsiteY118" fmla="*/ 1362252 h 2674548"/>
                <a:gd name="connsiteX119" fmla="*/ 1189888 w 1871240"/>
                <a:gd name="connsiteY119" fmla="*/ 1369452 h 2674548"/>
                <a:gd name="connsiteX120" fmla="*/ 1188988 w 1871240"/>
                <a:gd name="connsiteY120" fmla="*/ 1378452 h 2674548"/>
                <a:gd name="connsiteX121" fmla="*/ 1190788 w 1871240"/>
                <a:gd name="connsiteY121" fmla="*/ 1388352 h 2674548"/>
                <a:gd name="connsiteX122" fmla="*/ 1193488 w 1871240"/>
                <a:gd name="connsiteY122" fmla="*/ 1399152 h 2674548"/>
                <a:gd name="connsiteX123" fmla="*/ 1197988 w 1871240"/>
                <a:gd name="connsiteY123" fmla="*/ 1410852 h 2674548"/>
                <a:gd name="connsiteX124" fmla="*/ 1203388 w 1871240"/>
                <a:gd name="connsiteY124" fmla="*/ 1424356 h 2674548"/>
                <a:gd name="connsiteX125" fmla="*/ 1210592 w 1871240"/>
                <a:gd name="connsiteY125" fmla="*/ 1439656 h 2674548"/>
                <a:gd name="connsiteX126" fmla="*/ 1214192 w 1871240"/>
                <a:gd name="connsiteY126" fmla="*/ 1446856 h 2674548"/>
                <a:gd name="connsiteX127" fmla="*/ 1216892 w 1871240"/>
                <a:gd name="connsiteY127" fmla="*/ 1453156 h 2674548"/>
                <a:gd name="connsiteX128" fmla="*/ 1218692 w 1871240"/>
                <a:gd name="connsiteY128" fmla="*/ 1458556 h 2674548"/>
                <a:gd name="connsiteX129" fmla="*/ 1218692 w 1871240"/>
                <a:gd name="connsiteY129" fmla="*/ 1463056 h 2674548"/>
                <a:gd name="connsiteX130" fmla="*/ 1218692 w 1871240"/>
                <a:gd name="connsiteY130" fmla="*/ 1467556 h 2674548"/>
                <a:gd name="connsiteX131" fmla="*/ 1218692 w 1871240"/>
                <a:gd name="connsiteY131" fmla="*/ 1471160 h 2674548"/>
                <a:gd name="connsiteX132" fmla="*/ 1215092 w 1871240"/>
                <a:gd name="connsiteY132" fmla="*/ 1478360 h 2674548"/>
                <a:gd name="connsiteX133" fmla="*/ 1210592 w 1871240"/>
                <a:gd name="connsiteY133" fmla="*/ 1485560 h 2674548"/>
                <a:gd name="connsiteX134" fmla="*/ 1206092 w 1871240"/>
                <a:gd name="connsiteY134" fmla="*/ 1492760 h 2674548"/>
                <a:gd name="connsiteX135" fmla="*/ 1200688 w 1871240"/>
                <a:gd name="connsiteY135" fmla="*/ 1501760 h 2674548"/>
                <a:gd name="connsiteX136" fmla="*/ 1197988 w 1871240"/>
                <a:gd name="connsiteY136" fmla="*/ 1507160 h 2674548"/>
                <a:gd name="connsiteX137" fmla="*/ 1196188 w 1871240"/>
                <a:gd name="connsiteY137" fmla="*/ 1513460 h 2674548"/>
                <a:gd name="connsiteX138" fmla="*/ 1192588 w 1871240"/>
                <a:gd name="connsiteY138" fmla="*/ 1526064 h 2674548"/>
                <a:gd name="connsiteX139" fmla="*/ 1188088 w 1871240"/>
                <a:gd name="connsiteY139" fmla="*/ 1536864 h 2674548"/>
                <a:gd name="connsiteX140" fmla="*/ 1183588 w 1871240"/>
                <a:gd name="connsiteY140" fmla="*/ 1545864 h 2674548"/>
                <a:gd name="connsiteX141" fmla="*/ 1178188 w 1871240"/>
                <a:gd name="connsiteY141" fmla="*/ 1553064 h 2674548"/>
                <a:gd name="connsiteX142" fmla="*/ 1172788 w 1871240"/>
                <a:gd name="connsiteY142" fmla="*/ 1560264 h 2674548"/>
                <a:gd name="connsiteX143" fmla="*/ 1166488 w 1871240"/>
                <a:gd name="connsiteY143" fmla="*/ 1565664 h 2674548"/>
                <a:gd name="connsiteX144" fmla="*/ 1152988 w 1871240"/>
                <a:gd name="connsiteY144" fmla="*/ 1576468 h 2674548"/>
                <a:gd name="connsiteX145" fmla="*/ 1149384 w 1871240"/>
                <a:gd name="connsiteY145" fmla="*/ 1580068 h 2674548"/>
                <a:gd name="connsiteX146" fmla="*/ 1145784 w 1871240"/>
                <a:gd name="connsiteY146" fmla="*/ 1583668 h 2674548"/>
                <a:gd name="connsiteX147" fmla="*/ 1136784 w 1871240"/>
                <a:gd name="connsiteY147" fmla="*/ 1594468 h 2674548"/>
                <a:gd name="connsiteX148" fmla="*/ 1128684 w 1871240"/>
                <a:gd name="connsiteY148" fmla="*/ 1607968 h 2674548"/>
                <a:gd name="connsiteX149" fmla="*/ 1120584 w 1871240"/>
                <a:gd name="connsiteY149" fmla="*/ 1623268 h 2674548"/>
                <a:gd name="connsiteX150" fmla="*/ 1104384 w 1871240"/>
                <a:gd name="connsiteY150" fmla="*/ 1653872 h 2674548"/>
                <a:gd name="connsiteX151" fmla="*/ 1092680 w 1871240"/>
                <a:gd name="connsiteY151" fmla="*/ 1679972 h 2674548"/>
                <a:gd name="connsiteX152" fmla="*/ 1088180 w 1871240"/>
                <a:gd name="connsiteY152" fmla="*/ 1689876 h 2674548"/>
                <a:gd name="connsiteX153" fmla="*/ 1081880 w 1871240"/>
                <a:gd name="connsiteY153" fmla="*/ 1699776 h 2674548"/>
                <a:gd name="connsiteX154" fmla="*/ 1075580 w 1871240"/>
                <a:gd name="connsiteY154" fmla="*/ 1707876 h 2674548"/>
                <a:gd name="connsiteX155" fmla="*/ 1068380 w 1871240"/>
                <a:gd name="connsiteY155" fmla="*/ 1715076 h 2674548"/>
                <a:gd name="connsiteX156" fmla="*/ 1054880 w 1871240"/>
                <a:gd name="connsiteY156" fmla="*/ 1727676 h 2674548"/>
                <a:gd name="connsiteX157" fmla="*/ 1043180 w 1871240"/>
                <a:gd name="connsiteY157" fmla="*/ 1737580 h 2674548"/>
                <a:gd name="connsiteX158" fmla="*/ 1039576 w 1871240"/>
                <a:gd name="connsiteY158" fmla="*/ 1741180 h 2674548"/>
                <a:gd name="connsiteX159" fmla="*/ 1036876 w 1871240"/>
                <a:gd name="connsiteY159" fmla="*/ 1744780 h 2674548"/>
                <a:gd name="connsiteX160" fmla="*/ 1029676 w 1871240"/>
                <a:gd name="connsiteY160" fmla="*/ 1756480 h 2674548"/>
                <a:gd name="connsiteX161" fmla="*/ 1022476 w 1871240"/>
                <a:gd name="connsiteY161" fmla="*/ 1771780 h 2674548"/>
                <a:gd name="connsiteX162" fmla="*/ 1014376 w 1871240"/>
                <a:gd name="connsiteY162" fmla="*/ 1788880 h 2674548"/>
                <a:gd name="connsiteX163" fmla="*/ 999976 w 1871240"/>
                <a:gd name="connsiteY163" fmla="*/ 1823084 h 2674548"/>
                <a:gd name="connsiteX164" fmla="*/ 989176 w 1871240"/>
                <a:gd name="connsiteY164" fmla="*/ 1848288 h 2674548"/>
                <a:gd name="connsiteX165" fmla="*/ 988276 w 1871240"/>
                <a:gd name="connsiteY165" fmla="*/ 1852788 h 2674548"/>
                <a:gd name="connsiteX166" fmla="*/ 988276 w 1871240"/>
                <a:gd name="connsiteY166" fmla="*/ 1857288 h 2674548"/>
                <a:gd name="connsiteX167" fmla="*/ 990076 w 1871240"/>
                <a:gd name="connsiteY167" fmla="*/ 1861788 h 2674548"/>
                <a:gd name="connsiteX168" fmla="*/ 992776 w 1871240"/>
                <a:gd name="connsiteY168" fmla="*/ 1866288 h 2674548"/>
                <a:gd name="connsiteX169" fmla="*/ 995476 w 1871240"/>
                <a:gd name="connsiteY169" fmla="*/ 1870788 h 2674548"/>
                <a:gd name="connsiteX170" fmla="*/ 999976 w 1871240"/>
                <a:gd name="connsiteY170" fmla="*/ 1874388 h 2674548"/>
                <a:gd name="connsiteX171" fmla="*/ 1009876 w 1871240"/>
                <a:gd name="connsiteY171" fmla="*/ 1882488 h 2674548"/>
                <a:gd name="connsiteX172" fmla="*/ 1029676 w 1871240"/>
                <a:gd name="connsiteY172" fmla="*/ 1898688 h 2674548"/>
                <a:gd name="connsiteX173" fmla="*/ 1037776 w 1871240"/>
                <a:gd name="connsiteY173" fmla="*/ 1905892 h 2674548"/>
                <a:gd name="connsiteX174" fmla="*/ 1040476 w 1871240"/>
                <a:gd name="connsiteY174" fmla="*/ 1909492 h 2674548"/>
                <a:gd name="connsiteX175" fmla="*/ 1042276 w 1871240"/>
                <a:gd name="connsiteY175" fmla="*/ 1913092 h 2674548"/>
                <a:gd name="connsiteX176" fmla="*/ 1043180 w 1871240"/>
                <a:gd name="connsiteY176" fmla="*/ 1916692 h 2674548"/>
                <a:gd name="connsiteX177" fmla="*/ 1041376 w 1871240"/>
                <a:gd name="connsiteY177" fmla="*/ 1919392 h 2674548"/>
                <a:gd name="connsiteX178" fmla="*/ 1038676 w 1871240"/>
                <a:gd name="connsiteY178" fmla="*/ 1921192 h 2674548"/>
                <a:gd name="connsiteX179" fmla="*/ 1035076 w 1871240"/>
                <a:gd name="connsiteY179" fmla="*/ 1922992 h 2674548"/>
                <a:gd name="connsiteX180" fmla="*/ 1029676 w 1871240"/>
                <a:gd name="connsiteY180" fmla="*/ 1923892 h 2674548"/>
                <a:gd name="connsiteX181" fmla="*/ 1024276 w 1871240"/>
                <a:gd name="connsiteY181" fmla="*/ 1924792 h 2674548"/>
                <a:gd name="connsiteX182" fmla="*/ 1010776 w 1871240"/>
                <a:gd name="connsiteY182" fmla="*/ 1923892 h 2674548"/>
                <a:gd name="connsiteX183" fmla="*/ 995476 w 1871240"/>
                <a:gd name="connsiteY183" fmla="*/ 1922092 h 2674548"/>
                <a:gd name="connsiteX184" fmla="*/ 981072 w 1871240"/>
                <a:gd name="connsiteY184" fmla="*/ 1919392 h 2674548"/>
                <a:gd name="connsiteX185" fmla="*/ 969372 w 1871240"/>
                <a:gd name="connsiteY185" fmla="*/ 1915792 h 2674548"/>
                <a:gd name="connsiteX186" fmla="*/ 963972 w 1871240"/>
                <a:gd name="connsiteY186" fmla="*/ 1913092 h 2674548"/>
                <a:gd name="connsiteX187" fmla="*/ 960372 w 1871240"/>
                <a:gd name="connsiteY187" fmla="*/ 1911292 h 2674548"/>
                <a:gd name="connsiteX188" fmla="*/ 956772 w 1871240"/>
                <a:gd name="connsiteY188" fmla="*/ 1909492 h 2674548"/>
                <a:gd name="connsiteX189" fmla="*/ 953172 w 1871240"/>
                <a:gd name="connsiteY189" fmla="*/ 1907692 h 2674548"/>
                <a:gd name="connsiteX190" fmla="*/ 949572 w 1871240"/>
                <a:gd name="connsiteY190" fmla="*/ 1906792 h 2674548"/>
                <a:gd name="connsiteX191" fmla="*/ 945072 w 1871240"/>
                <a:gd name="connsiteY191" fmla="*/ 1906792 h 2674548"/>
                <a:gd name="connsiteX192" fmla="*/ 935172 w 1871240"/>
                <a:gd name="connsiteY192" fmla="*/ 1907692 h 2674548"/>
                <a:gd name="connsiteX193" fmla="*/ 925268 w 1871240"/>
                <a:gd name="connsiteY193" fmla="*/ 1910392 h 2674548"/>
                <a:gd name="connsiteX194" fmla="*/ 914468 w 1871240"/>
                <a:gd name="connsiteY194" fmla="*/ 1914892 h 2674548"/>
                <a:gd name="connsiteX195" fmla="*/ 904568 w 1871240"/>
                <a:gd name="connsiteY195" fmla="*/ 1920292 h 2674548"/>
                <a:gd name="connsiteX196" fmla="*/ 894668 w 1871240"/>
                <a:gd name="connsiteY196" fmla="*/ 1927492 h 2674548"/>
                <a:gd name="connsiteX197" fmla="*/ 885668 w 1871240"/>
                <a:gd name="connsiteY197" fmla="*/ 1935592 h 2674548"/>
                <a:gd name="connsiteX198" fmla="*/ 877564 w 1871240"/>
                <a:gd name="connsiteY198" fmla="*/ 1942792 h 2674548"/>
                <a:gd name="connsiteX199" fmla="*/ 868564 w 1871240"/>
                <a:gd name="connsiteY199" fmla="*/ 1949092 h 2674548"/>
                <a:gd name="connsiteX200" fmla="*/ 858664 w 1871240"/>
                <a:gd name="connsiteY200" fmla="*/ 1954496 h 2674548"/>
                <a:gd name="connsiteX201" fmla="*/ 848764 w 1871240"/>
                <a:gd name="connsiteY201" fmla="*/ 1958096 h 2674548"/>
                <a:gd name="connsiteX202" fmla="*/ 837964 w 1871240"/>
                <a:gd name="connsiteY202" fmla="*/ 1960796 h 2674548"/>
                <a:gd name="connsiteX203" fmla="*/ 827164 w 1871240"/>
                <a:gd name="connsiteY203" fmla="*/ 1962596 h 2674548"/>
                <a:gd name="connsiteX204" fmla="*/ 815460 w 1871240"/>
                <a:gd name="connsiteY204" fmla="*/ 1962596 h 2674548"/>
                <a:gd name="connsiteX205" fmla="*/ 803760 w 1871240"/>
                <a:gd name="connsiteY205" fmla="*/ 1961696 h 2674548"/>
                <a:gd name="connsiteX206" fmla="*/ 798360 w 1871240"/>
                <a:gd name="connsiteY206" fmla="*/ 1961696 h 2674548"/>
                <a:gd name="connsiteX207" fmla="*/ 793860 w 1871240"/>
                <a:gd name="connsiteY207" fmla="*/ 1962596 h 2674548"/>
                <a:gd name="connsiteX208" fmla="*/ 790260 w 1871240"/>
                <a:gd name="connsiteY208" fmla="*/ 1964396 h 2674548"/>
                <a:gd name="connsiteX209" fmla="*/ 787560 w 1871240"/>
                <a:gd name="connsiteY209" fmla="*/ 1967996 h 2674548"/>
                <a:gd name="connsiteX210" fmla="*/ 784860 w 1871240"/>
                <a:gd name="connsiteY210" fmla="*/ 1971596 h 2674548"/>
                <a:gd name="connsiteX211" fmla="*/ 783060 w 1871240"/>
                <a:gd name="connsiteY211" fmla="*/ 1976996 h 2674548"/>
                <a:gd name="connsiteX212" fmla="*/ 779460 w 1871240"/>
                <a:gd name="connsiteY212" fmla="*/ 1987796 h 2674548"/>
                <a:gd name="connsiteX213" fmla="*/ 774960 w 1871240"/>
                <a:gd name="connsiteY213" fmla="*/ 2013000 h 2674548"/>
                <a:gd name="connsiteX214" fmla="*/ 772260 w 1871240"/>
                <a:gd name="connsiteY214" fmla="*/ 2024700 h 2674548"/>
                <a:gd name="connsiteX215" fmla="*/ 770456 w 1871240"/>
                <a:gd name="connsiteY215" fmla="*/ 2029200 h 2674548"/>
                <a:gd name="connsiteX216" fmla="*/ 767756 w 1871240"/>
                <a:gd name="connsiteY216" fmla="*/ 2033700 h 2674548"/>
                <a:gd name="connsiteX217" fmla="*/ 765056 w 1871240"/>
                <a:gd name="connsiteY217" fmla="*/ 2038200 h 2674548"/>
                <a:gd name="connsiteX218" fmla="*/ 763256 w 1871240"/>
                <a:gd name="connsiteY218" fmla="*/ 2043600 h 2674548"/>
                <a:gd name="connsiteX219" fmla="*/ 759656 w 1871240"/>
                <a:gd name="connsiteY219" fmla="*/ 2056200 h 2674548"/>
                <a:gd name="connsiteX220" fmla="*/ 756056 w 1871240"/>
                <a:gd name="connsiteY220" fmla="*/ 2070604 h 2674548"/>
                <a:gd name="connsiteX221" fmla="*/ 753356 w 1871240"/>
                <a:gd name="connsiteY221" fmla="*/ 2086804 h 2674548"/>
                <a:gd name="connsiteX222" fmla="*/ 750656 w 1871240"/>
                <a:gd name="connsiteY222" fmla="*/ 2103004 h 2674548"/>
                <a:gd name="connsiteX223" fmla="*/ 747956 w 1871240"/>
                <a:gd name="connsiteY223" fmla="*/ 2119208 h 2674548"/>
                <a:gd name="connsiteX224" fmla="*/ 743456 w 1871240"/>
                <a:gd name="connsiteY224" fmla="*/ 2133608 h 2674548"/>
                <a:gd name="connsiteX225" fmla="*/ 738956 w 1871240"/>
                <a:gd name="connsiteY225" fmla="*/ 2147108 h 2674548"/>
                <a:gd name="connsiteX226" fmla="*/ 730856 w 1871240"/>
                <a:gd name="connsiteY226" fmla="*/ 2165108 h 2674548"/>
                <a:gd name="connsiteX227" fmla="*/ 725456 w 1871240"/>
                <a:gd name="connsiteY227" fmla="*/ 2177712 h 2674548"/>
                <a:gd name="connsiteX228" fmla="*/ 712852 w 1871240"/>
                <a:gd name="connsiteY228" fmla="*/ 2211912 h 2674548"/>
                <a:gd name="connsiteX229" fmla="*/ 708352 w 1871240"/>
                <a:gd name="connsiteY229" fmla="*/ 2223612 h 2674548"/>
                <a:gd name="connsiteX230" fmla="*/ 707452 w 1871240"/>
                <a:gd name="connsiteY230" fmla="*/ 2232616 h 2674548"/>
                <a:gd name="connsiteX231" fmla="*/ 707452 w 1871240"/>
                <a:gd name="connsiteY231" fmla="*/ 2238916 h 2674548"/>
                <a:gd name="connsiteX232" fmla="*/ 708352 w 1871240"/>
                <a:gd name="connsiteY232" fmla="*/ 2244316 h 2674548"/>
                <a:gd name="connsiteX233" fmla="*/ 709252 w 1871240"/>
                <a:gd name="connsiteY233" fmla="*/ 2247916 h 2674548"/>
                <a:gd name="connsiteX234" fmla="*/ 710152 w 1871240"/>
                <a:gd name="connsiteY234" fmla="*/ 2252416 h 2674548"/>
                <a:gd name="connsiteX235" fmla="*/ 710152 w 1871240"/>
                <a:gd name="connsiteY235" fmla="*/ 2257816 h 2674548"/>
                <a:gd name="connsiteX236" fmla="*/ 707452 w 1871240"/>
                <a:gd name="connsiteY236" fmla="*/ 2265016 h 2674548"/>
                <a:gd name="connsiteX237" fmla="*/ 701152 w 1871240"/>
                <a:gd name="connsiteY237" fmla="*/ 2279420 h 2674548"/>
                <a:gd name="connsiteX238" fmla="*/ 693952 w 1871240"/>
                <a:gd name="connsiteY238" fmla="*/ 2292920 h 2674548"/>
                <a:gd name="connsiteX239" fmla="*/ 684952 w 1871240"/>
                <a:gd name="connsiteY239" fmla="*/ 2308220 h 2674548"/>
                <a:gd name="connsiteX240" fmla="*/ 671452 w 1871240"/>
                <a:gd name="connsiteY240" fmla="*/ 2329820 h 2674548"/>
                <a:gd name="connsiteX241" fmla="*/ 667852 w 1871240"/>
                <a:gd name="connsiteY241" fmla="*/ 2336124 h 2674548"/>
                <a:gd name="connsiteX242" fmla="*/ 666052 w 1871240"/>
                <a:gd name="connsiteY242" fmla="*/ 2340624 h 2674548"/>
                <a:gd name="connsiteX243" fmla="*/ 665152 w 1871240"/>
                <a:gd name="connsiteY243" fmla="*/ 2345124 h 2674548"/>
                <a:gd name="connsiteX244" fmla="*/ 665152 w 1871240"/>
                <a:gd name="connsiteY244" fmla="*/ 2348724 h 2674548"/>
                <a:gd name="connsiteX245" fmla="*/ 665152 w 1871240"/>
                <a:gd name="connsiteY245" fmla="*/ 2351424 h 2674548"/>
                <a:gd name="connsiteX246" fmla="*/ 666952 w 1871240"/>
                <a:gd name="connsiteY246" fmla="*/ 2353224 h 2674548"/>
                <a:gd name="connsiteX247" fmla="*/ 669652 w 1871240"/>
                <a:gd name="connsiteY247" fmla="*/ 2355924 h 2674548"/>
                <a:gd name="connsiteX248" fmla="*/ 672352 w 1871240"/>
                <a:gd name="connsiteY248" fmla="*/ 2356824 h 2674548"/>
                <a:gd name="connsiteX249" fmla="*/ 680452 w 1871240"/>
                <a:gd name="connsiteY249" fmla="*/ 2359524 h 2674548"/>
                <a:gd name="connsiteX250" fmla="*/ 689452 w 1871240"/>
                <a:gd name="connsiteY250" fmla="*/ 2361324 h 2674548"/>
                <a:gd name="connsiteX251" fmla="*/ 700252 w 1871240"/>
                <a:gd name="connsiteY251" fmla="*/ 2363124 h 2674548"/>
                <a:gd name="connsiteX252" fmla="*/ 710152 w 1871240"/>
                <a:gd name="connsiteY252" fmla="*/ 2365824 h 2674548"/>
                <a:gd name="connsiteX253" fmla="*/ 709252 w 1871240"/>
                <a:gd name="connsiteY253" fmla="*/ 2368524 h 2674548"/>
                <a:gd name="connsiteX254" fmla="*/ 706552 w 1871240"/>
                <a:gd name="connsiteY254" fmla="*/ 2374824 h 2674548"/>
                <a:gd name="connsiteX255" fmla="*/ 703852 w 1871240"/>
                <a:gd name="connsiteY255" fmla="*/ 2378424 h 2674548"/>
                <a:gd name="connsiteX256" fmla="*/ 700252 w 1871240"/>
                <a:gd name="connsiteY256" fmla="*/ 2382024 h 2674548"/>
                <a:gd name="connsiteX257" fmla="*/ 694852 w 1871240"/>
                <a:gd name="connsiteY257" fmla="*/ 2385628 h 2674548"/>
                <a:gd name="connsiteX258" fmla="*/ 688552 w 1871240"/>
                <a:gd name="connsiteY258" fmla="*/ 2387428 h 2674548"/>
                <a:gd name="connsiteX259" fmla="*/ 671452 w 1871240"/>
                <a:gd name="connsiteY259" fmla="*/ 2391928 h 2674548"/>
                <a:gd name="connsiteX260" fmla="*/ 650748 w 1871240"/>
                <a:gd name="connsiteY260" fmla="*/ 2396428 h 2674548"/>
                <a:gd name="connsiteX261" fmla="*/ 640848 w 1871240"/>
                <a:gd name="connsiteY261" fmla="*/ 2400028 h 2674548"/>
                <a:gd name="connsiteX262" fmla="*/ 630948 w 1871240"/>
                <a:gd name="connsiteY262" fmla="*/ 2403628 h 2674548"/>
                <a:gd name="connsiteX263" fmla="*/ 621948 w 1871240"/>
                <a:gd name="connsiteY263" fmla="*/ 2408128 h 2674548"/>
                <a:gd name="connsiteX264" fmla="*/ 613848 w 1871240"/>
                <a:gd name="connsiteY264" fmla="*/ 2414428 h 2674548"/>
                <a:gd name="connsiteX265" fmla="*/ 598544 w 1871240"/>
                <a:gd name="connsiteY265" fmla="*/ 2427028 h 2674548"/>
                <a:gd name="connsiteX266" fmla="*/ 583244 w 1871240"/>
                <a:gd name="connsiteY266" fmla="*/ 2439628 h 2674548"/>
                <a:gd name="connsiteX267" fmla="*/ 567044 w 1871240"/>
                <a:gd name="connsiteY267" fmla="*/ 2448632 h 2674548"/>
                <a:gd name="connsiteX268" fmla="*/ 559844 w 1871240"/>
                <a:gd name="connsiteY268" fmla="*/ 2452232 h 2674548"/>
                <a:gd name="connsiteX269" fmla="*/ 553540 w 1871240"/>
                <a:gd name="connsiteY269" fmla="*/ 2454932 h 2674548"/>
                <a:gd name="connsiteX270" fmla="*/ 549940 w 1871240"/>
                <a:gd name="connsiteY270" fmla="*/ 2456732 h 2674548"/>
                <a:gd name="connsiteX271" fmla="*/ 546340 w 1871240"/>
                <a:gd name="connsiteY271" fmla="*/ 2459432 h 2674548"/>
                <a:gd name="connsiteX272" fmla="*/ 536440 w 1871240"/>
                <a:gd name="connsiteY272" fmla="*/ 2467532 h 2674548"/>
                <a:gd name="connsiteX273" fmla="*/ 525640 w 1871240"/>
                <a:gd name="connsiteY273" fmla="*/ 2479232 h 2674548"/>
                <a:gd name="connsiteX274" fmla="*/ 514840 w 1871240"/>
                <a:gd name="connsiteY274" fmla="*/ 2491832 h 2674548"/>
                <a:gd name="connsiteX275" fmla="*/ 491436 w 1871240"/>
                <a:gd name="connsiteY275" fmla="*/ 2518836 h 2674548"/>
                <a:gd name="connsiteX276" fmla="*/ 480636 w 1871240"/>
                <a:gd name="connsiteY276" fmla="*/ 2530536 h 2674548"/>
                <a:gd name="connsiteX277" fmla="*/ 471636 w 1871240"/>
                <a:gd name="connsiteY277" fmla="*/ 2539536 h 2674548"/>
                <a:gd name="connsiteX278" fmla="*/ 467136 w 1871240"/>
                <a:gd name="connsiteY278" fmla="*/ 2542236 h 2674548"/>
                <a:gd name="connsiteX279" fmla="*/ 463536 w 1871240"/>
                <a:gd name="connsiteY279" fmla="*/ 2544936 h 2674548"/>
                <a:gd name="connsiteX280" fmla="*/ 459036 w 1871240"/>
                <a:gd name="connsiteY280" fmla="*/ 2546736 h 2674548"/>
                <a:gd name="connsiteX281" fmla="*/ 455436 w 1871240"/>
                <a:gd name="connsiteY281" fmla="*/ 2547636 h 2674548"/>
                <a:gd name="connsiteX282" fmla="*/ 450936 w 1871240"/>
                <a:gd name="connsiteY282" fmla="*/ 2547636 h 2674548"/>
                <a:gd name="connsiteX283" fmla="*/ 446432 w 1871240"/>
                <a:gd name="connsiteY283" fmla="*/ 2546736 h 2674548"/>
                <a:gd name="connsiteX284" fmla="*/ 437432 w 1871240"/>
                <a:gd name="connsiteY284" fmla="*/ 2544936 h 2674548"/>
                <a:gd name="connsiteX285" fmla="*/ 428432 w 1871240"/>
                <a:gd name="connsiteY285" fmla="*/ 2541336 h 2674548"/>
                <a:gd name="connsiteX286" fmla="*/ 417632 w 1871240"/>
                <a:gd name="connsiteY286" fmla="*/ 2535936 h 2674548"/>
                <a:gd name="connsiteX287" fmla="*/ 406832 w 1871240"/>
                <a:gd name="connsiteY287" fmla="*/ 2530536 h 2674548"/>
                <a:gd name="connsiteX288" fmla="*/ 395132 w 1871240"/>
                <a:gd name="connsiteY288" fmla="*/ 2525136 h 2674548"/>
                <a:gd name="connsiteX289" fmla="*/ 383428 w 1871240"/>
                <a:gd name="connsiteY289" fmla="*/ 2520636 h 2674548"/>
                <a:gd name="connsiteX290" fmla="*/ 373528 w 1871240"/>
                <a:gd name="connsiteY290" fmla="*/ 2518836 h 2674548"/>
                <a:gd name="connsiteX291" fmla="*/ 365428 w 1871240"/>
                <a:gd name="connsiteY291" fmla="*/ 2517936 h 2674548"/>
                <a:gd name="connsiteX292" fmla="*/ 358228 w 1871240"/>
                <a:gd name="connsiteY292" fmla="*/ 2518836 h 2674548"/>
                <a:gd name="connsiteX293" fmla="*/ 344728 w 1871240"/>
                <a:gd name="connsiteY293" fmla="*/ 2521536 h 2674548"/>
                <a:gd name="connsiteX294" fmla="*/ 336624 w 1871240"/>
                <a:gd name="connsiteY294" fmla="*/ 2523336 h 2674548"/>
                <a:gd name="connsiteX295" fmla="*/ 327624 w 1871240"/>
                <a:gd name="connsiteY295" fmla="*/ 2525136 h 2674548"/>
                <a:gd name="connsiteX296" fmla="*/ 317724 w 1871240"/>
                <a:gd name="connsiteY296" fmla="*/ 2525136 h 2674548"/>
                <a:gd name="connsiteX297" fmla="*/ 309624 w 1871240"/>
                <a:gd name="connsiteY297" fmla="*/ 2522436 h 2674548"/>
                <a:gd name="connsiteX298" fmla="*/ 301524 w 1871240"/>
                <a:gd name="connsiteY298" fmla="*/ 2519736 h 2674548"/>
                <a:gd name="connsiteX299" fmla="*/ 294324 w 1871240"/>
                <a:gd name="connsiteY299" fmla="*/ 2515236 h 2674548"/>
                <a:gd name="connsiteX300" fmla="*/ 288024 w 1871240"/>
                <a:gd name="connsiteY300" fmla="*/ 2509836 h 2674548"/>
                <a:gd name="connsiteX301" fmla="*/ 281720 w 1871240"/>
                <a:gd name="connsiteY301" fmla="*/ 2505336 h 2674548"/>
                <a:gd name="connsiteX302" fmla="*/ 271820 w 1871240"/>
                <a:gd name="connsiteY302" fmla="*/ 2496336 h 2674548"/>
                <a:gd name="connsiteX303" fmla="*/ 267320 w 1871240"/>
                <a:gd name="connsiteY303" fmla="*/ 2493636 h 2674548"/>
                <a:gd name="connsiteX304" fmla="*/ 261920 w 1871240"/>
                <a:gd name="connsiteY304" fmla="*/ 2492732 h 2674548"/>
                <a:gd name="connsiteX305" fmla="*/ 256520 w 1871240"/>
                <a:gd name="connsiteY305" fmla="*/ 2492732 h 2674548"/>
                <a:gd name="connsiteX306" fmla="*/ 251120 w 1871240"/>
                <a:gd name="connsiteY306" fmla="*/ 2493636 h 2674548"/>
                <a:gd name="connsiteX307" fmla="*/ 241220 w 1871240"/>
                <a:gd name="connsiteY307" fmla="*/ 2495436 h 2674548"/>
                <a:gd name="connsiteX308" fmla="*/ 236720 w 1871240"/>
                <a:gd name="connsiteY308" fmla="*/ 2496336 h 2674548"/>
                <a:gd name="connsiteX309" fmla="*/ 233120 w 1871240"/>
                <a:gd name="connsiteY309" fmla="*/ 2496336 h 2674548"/>
                <a:gd name="connsiteX310" fmla="*/ 229516 w 1871240"/>
                <a:gd name="connsiteY310" fmla="*/ 2492732 h 2674548"/>
                <a:gd name="connsiteX311" fmla="*/ 222316 w 1871240"/>
                <a:gd name="connsiteY311" fmla="*/ 2485532 h 2674548"/>
                <a:gd name="connsiteX312" fmla="*/ 202516 w 1871240"/>
                <a:gd name="connsiteY312" fmla="*/ 2465732 h 2674548"/>
                <a:gd name="connsiteX313" fmla="*/ 191716 w 1871240"/>
                <a:gd name="connsiteY313" fmla="*/ 2456732 h 2674548"/>
                <a:gd name="connsiteX314" fmla="*/ 186316 w 1871240"/>
                <a:gd name="connsiteY314" fmla="*/ 2453132 h 2674548"/>
                <a:gd name="connsiteX315" fmla="*/ 181816 w 1871240"/>
                <a:gd name="connsiteY315" fmla="*/ 2450432 h 2674548"/>
                <a:gd name="connsiteX316" fmla="*/ 177316 w 1871240"/>
                <a:gd name="connsiteY316" fmla="*/ 2447732 h 2674548"/>
                <a:gd name="connsiteX317" fmla="*/ 172812 w 1871240"/>
                <a:gd name="connsiteY317" fmla="*/ 2447732 h 2674548"/>
                <a:gd name="connsiteX318" fmla="*/ 169212 w 1871240"/>
                <a:gd name="connsiteY318" fmla="*/ 2447732 h 2674548"/>
                <a:gd name="connsiteX319" fmla="*/ 166512 w 1871240"/>
                <a:gd name="connsiteY319" fmla="*/ 2450432 h 2674548"/>
                <a:gd name="connsiteX320" fmla="*/ 162912 w 1871240"/>
                <a:gd name="connsiteY320" fmla="*/ 2453132 h 2674548"/>
                <a:gd name="connsiteX321" fmla="*/ 159312 w 1871240"/>
                <a:gd name="connsiteY321" fmla="*/ 2454932 h 2674548"/>
                <a:gd name="connsiteX322" fmla="*/ 154812 w 1871240"/>
                <a:gd name="connsiteY322" fmla="*/ 2454932 h 2674548"/>
                <a:gd name="connsiteX323" fmla="*/ 150312 w 1871240"/>
                <a:gd name="connsiteY323" fmla="*/ 2454932 h 2674548"/>
                <a:gd name="connsiteX324" fmla="*/ 138612 w 1871240"/>
                <a:gd name="connsiteY324" fmla="*/ 2453132 h 2674548"/>
                <a:gd name="connsiteX325" fmla="*/ 126912 w 1871240"/>
                <a:gd name="connsiteY325" fmla="*/ 2448632 h 2674548"/>
                <a:gd name="connsiteX326" fmla="*/ 99908 w 1871240"/>
                <a:gd name="connsiteY326" fmla="*/ 2438728 h 2674548"/>
                <a:gd name="connsiteX327" fmla="*/ 87308 w 1871240"/>
                <a:gd name="connsiteY327" fmla="*/ 2434228 h 2674548"/>
                <a:gd name="connsiteX328" fmla="*/ 74708 w 1871240"/>
                <a:gd name="connsiteY328" fmla="*/ 2430628 h 2674548"/>
                <a:gd name="connsiteX329" fmla="*/ 64804 w 1871240"/>
                <a:gd name="connsiteY329" fmla="*/ 2428828 h 2674548"/>
                <a:gd name="connsiteX330" fmla="*/ 57604 w 1871240"/>
                <a:gd name="connsiteY330" fmla="*/ 2426128 h 2674548"/>
                <a:gd name="connsiteX331" fmla="*/ 53104 w 1871240"/>
                <a:gd name="connsiteY331" fmla="*/ 2422528 h 2674548"/>
                <a:gd name="connsiteX332" fmla="*/ 50404 w 1871240"/>
                <a:gd name="connsiteY332" fmla="*/ 2418928 h 2674548"/>
                <a:gd name="connsiteX333" fmla="*/ 49504 w 1871240"/>
                <a:gd name="connsiteY333" fmla="*/ 2414428 h 2674548"/>
                <a:gd name="connsiteX334" fmla="*/ 49504 w 1871240"/>
                <a:gd name="connsiteY334" fmla="*/ 2409028 h 2674548"/>
                <a:gd name="connsiteX335" fmla="*/ 50404 w 1871240"/>
                <a:gd name="connsiteY335" fmla="*/ 2397328 h 2674548"/>
                <a:gd name="connsiteX336" fmla="*/ 49504 w 1871240"/>
                <a:gd name="connsiteY336" fmla="*/ 2391928 h 2674548"/>
                <a:gd name="connsiteX337" fmla="*/ 46804 w 1871240"/>
                <a:gd name="connsiteY337" fmla="*/ 2386528 h 2674548"/>
                <a:gd name="connsiteX338" fmla="*/ 42304 w 1871240"/>
                <a:gd name="connsiteY338" fmla="*/ 2382924 h 2674548"/>
                <a:gd name="connsiteX339" fmla="*/ 36904 w 1871240"/>
                <a:gd name="connsiteY339" fmla="*/ 2379324 h 2674548"/>
                <a:gd name="connsiteX340" fmla="*/ 23404 w 1871240"/>
                <a:gd name="connsiteY340" fmla="*/ 2371224 h 2674548"/>
                <a:gd name="connsiteX341" fmla="*/ 15304 w 1871240"/>
                <a:gd name="connsiteY341" fmla="*/ 2366724 h 2674548"/>
                <a:gd name="connsiteX342" fmla="*/ 7200 w 1871240"/>
                <a:gd name="connsiteY342" fmla="*/ 2361324 h 2674548"/>
                <a:gd name="connsiteX343" fmla="*/ 3600 w 1871240"/>
                <a:gd name="connsiteY343" fmla="*/ 2358624 h 2674548"/>
                <a:gd name="connsiteX344" fmla="*/ 900 w 1871240"/>
                <a:gd name="connsiteY344" fmla="*/ 2355924 h 2674548"/>
                <a:gd name="connsiteX345" fmla="*/ 0 w 1871240"/>
                <a:gd name="connsiteY345" fmla="*/ 2353224 h 2674548"/>
                <a:gd name="connsiteX346" fmla="*/ 0 w 1871240"/>
                <a:gd name="connsiteY346" fmla="*/ 2350524 h 2674548"/>
                <a:gd name="connsiteX347" fmla="*/ 0 w 1871240"/>
                <a:gd name="connsiteY347" fmla="*/ 2348724 h 2674548"/>
                <a:gd name="connsiteX348" fmla="*/ 900 w 1871240"/>
                <a:gd name="connsiteY348" fmla="*/ 2346924 h 2674548"/>
                <a:gd name="connsiteX349" fmla="*/ 5400 w 1871240"/>
                <a:gd name="connsiteY349" fmla="*/ 2344224 h 2674548"/>
                <a:gd name="connsiteX350" fmla="*/ 12600 w 1871240"/>
                <a:gd name="connsiteY350" fmla="*/ 2340624 h 2674548"/>
                <a:gd name="connsiteX351" fmla="*/ 20704 w 1871240"/>
                <a:gd name="connsiteY351" fmla="*/ 2337924 h 2674548"/>
                <a:gd name="connsiteX352" fmla="*/ 29704 w 1871240"/>
                <a:gd name="connsiteY352" fmla="*/ 2334324 h 2674548"/>
                <a:gd name="connsiteX353" fmla="*/ 38704 w 1871240"/>
                <a:gd name="connsiteY353" fmla="*/ 2329820 h 2674548"/>
                <a:gd name="connsiteX354" fmla="*/ 50404 w 1871240"/>
                <a:gd name="connsiteY354" fmla="*/ 2323520 h 2674548"/>
                <a:gd name="connsiteX355" fmla="*/ 53104 w 1871240"/>
                <a:gd name="connsiteY355" fmla="*/ 2320820 h 2674548"/>
                <a:gd name="connsiteX356" fmla="*/ 53104 w 1871240"/>
                <a:gd name="connsiteY356" fmla="*/ 2319920 h 2674548"/>
                <a:gd name="connsiteX357" fmla="*/ 52204 w 1871240"/>
                <a:gd name="connsiteY357" fmla="*/ 2318120 h 2674548"/>
                <a:gd name="connsiteX358" fmla="*/ 51304 w 1871240"/>
                <a:gd name="connsiteY358" fmla="*/ 2317220 h 2674548"/>
                <a:gd name="connsiteX359" fmla="*/ 49504 w 1871240"/>
                <a:gd name="connsiteY359" fmla="*/ 2315420 h 2674548"/>
                <a:gd name="connsiteX360" fmla="*/ 48604 w 1871240"/>
                <a:gd name="connsiteY360" fmla="*/ 2312720 h 2674548"/>
                <a:gd name="connsiteX361" fmla="*/ 48604 w 1871240"/>
                <a:gd name="connsiteY361" fmla="*/ 2310920 h 2674548"/>
                <a:gd name="connsiteX362" fmla="*/ 49504 w 1871240"/>
                <a:gd name="connsiteY362" fmla="*/ 2308220 h 2674548"/>
                <a:gd name="connsiteX363" fmla="*/ 54904 w 1871240"/>
                <a:gd name="connsiteY363" fmla="*/ 2303720 h 2674548"/>
                <a:gd name="connsiteX364" fmla="*/ 57604 w 1871240"/>
                <a:gd name="connsiteY364" fmla="*/ 2301020 h 2674548"/>
                <a:gd name="connsiteX365" fmla="*/ 60304 w 1871240"/>
                <a:gd name="connsiteY365" fmla="*/ 2296520 h 2674548"/>
                <a:gd name="connsiteX366" fmla="*/ 61204 w 1871240"/>
                <a:gd name="connsiteY366" fmla="*/ 2291120 h 2674548"/>
                <a:gd name="connsiteX367" fmla="*/ 60304 w 1871240"/>
                <a:gd name="connsiteY367" fmla="*/ 2283920 h 2674548"/>
                <a:gd name="connsiteX368" fmla="*/ 57604 w 1871240"/>
                <a:gd name="connsiteY368" fmla="*/ 2274916 h 2674548"/>
                <a:gd name="connsiteX369" fmla="*/ 57604 w 1871240"/>
                <a:gd name="connsiteY369" fmla="*/ 2274016 h 2674548"/>
                <a:gd name="connsiteX370" fmla="*/ 56704 w 1871240"/>
                <a:gd name="connsiteY370" fmla="*/ 2274916 h 2674548"/>
                <a:gd name="connsiteX371" fmla="*/ 56704 w 1871240"/>
                <a:gd name="connsiteY371" fmla="*/ 2275816 h 2674548"/>
                <a:gd name="connsiteX372" fmla="*/ 55804 w 1871240"/>
                <a:gd name="connsiteY372" fmla="*/ 2275816 h 2674548"/>
                <a:gd name="connsiteX373" fmla="*/ 53104 w 1871240"/>
                <a:gd name="connsiteY373" fmla="*/ 2274916 h 2674548"/>
                <a:gd name="connsiteX374" fmla="*/ 50404 w 1871240"/>
                <a:gd name="connsiteY374" fmla="*/ 2272216 h 2674548"/>
                <a:gd name="connsiteX375" fmla="*/ 49504 w 1871240"/>
                <a:gd name="connsiteY375" fmla="*/ 2270416 h 2674548"/>
                <a:gd name="connsiteX376" fmla="*/ 48604 w 1871240"/>
                <a:gd name="connsiteY376" fmla="*/ 2267716 h 2674548"/>
                <a:gd name="connsiteX377" fmla="*/ 48604 w 1871240"/>
                <a:gd name="connsiteY377" fmla="*/ 2265916 h 2674548"/>
                <a:gd name="connsiteX378" fmla="*/ 48604 w 1871240"/>
                <a:gd name="connsiteY378" fmla="*/ 2264116 h 2674548"/>
                <a:gd name="connsiteX379" fmla="*/ 51304 w 1871240"/>
                <a:gd name="connsiteY379" fmla="*/ 2259616 h 2674548"/>
                <a:gd name="connsiteX380" fmla="*/ 55804 w 1871240"/>
                <a:gd name="connsiteY380" fmla="*/ 2256016 h 2674548"/>
                <a:gd name="connsiteX381" fmla="*/ 66604 w 1871240"/>
                <a:gd name="connsiteY381" fmla="*/ 2247016 h 2674548"/>
                <a:gd name="connsiteX382" fmla="*/ 72008 w 1871240"/>
                <a:gd name="connsiteY382" fmla="*/ 2241616 h 2674548"/>
                <a:gd name="connsiteX383" fmla="*/ 77408 w 1871240"/>
                <a:gd name="connsiteY383" fmla="*/ 2236216 h 2674548"/>
                <a:gd name="connsiteX384" fmla="*/ 81008 w 1871240"/>
                <a:gd name="connsiteY384" fmla="*/ 2230816 h 2674548"/>
                <a:gd name="connsiteX385" fmla="*/ 84608 w 1871240"/>
                <a:gd name="connsiteY385" fmla="*/ 2227216 h 2674548"/>
                <a:gd name="connsiteX386" fmla="*/ 90908 w 1871240"/>
                <a:gd name="connsiteY386" fmla="*/ 2222712 h 2674548"/>
                <a:gd name="connsiteX387" fmla="*/ 93608 w 1871240"/>
                <a:gd name="connsiteY387" fmla="*/ 2220912 h 2674548"/>
                <a:gd name="connsiteX388" fmla="*/ 97208 w 1871240"/>
                <a:gd name="connsiteY388" fmla="*/ 2218212 h 2674548"/>
                <a:gd name="connsiteX389" fmla="*/ 99908 w 1871240"/>
                <a:gd name="connsiteY389" fmla="*/ 2214612 h 2674548"/>
                <a:gd name="connsiteX390" fmla="*/ 103508 w 1871240"/>
                <a:gd name="connsiteY390" fmla="*/ 2209212 h 2674548"/>
                <a:gd name="connsiteX391" fmla="*/ 106208 w 1871240"/>
                <a:gd name="connsiteY391" fmla="*/ 2203812 h 2674548"/>
                <a:gd name="connsiteX392" fmla="*/ 107108 w 1871240"/>
                <a:gd name="connsiteY392" fmla="*/ 2200212 h 2674548"/>
                <a:gd name="connsiteX393" fmla="*/ 107108 w 1871240"/>
                <a:gd name="connsiteY393" fmla="*/ 2197512 h 2674548"/>
                <a:gd name="connsiteX394" fmla="*/ 106208 w 1871240"/>
                <a:gd name="connsiteY394" fmla="*/ 2195712 h 2674548"/>
                <a:gd name="connsiteX395" fmla="*/ 100808 w 1871240"/>
                <a:gd name="connsiteY395" fmla="*/ 2192112 h 2674548"/>
                <a:gd name="connsiteX396" fmla="*/ 97208 w 1871240"/>
                <a:gd name="connsiteY396" fmla="*/ 2189412 h 2674548"/>
                <a:gd name="connsiteX397" fmla="*/ 93608 w 1871240"/>
                <a:gd name="connsiteY397" fmla="*/ 2185812 h 2674548"/>
                <a:gd name="connsiteX398" fmla="*/ 90908 w 1871240"/>
                <a:gd name="connsiteY398" fmla="*/ 2181312 h 2674548"/>
                <a:gd name="connsiteX399" fmla="*/ 90908 w 1871240"/>
                <a:gd name="connsiteY399" fmla="*/ 2177712 h 2674548"/>
                <a:gd name="connsiteX400" fmla="*/ 91808 w 1871240"/>
                <a:gd name="connsiteY400" fmla="*/ 2175012 h 2674548"/>
                <a:gd name="connsiteX401" fmla="*/ 94508 w 1871240"/>
                <a:gd name="connsiteY401" fmla="*/ 2171412 h 2674548"/>
                <a:gd name="connsiteX402" fmla="*/ 101708 w 1871240"/>
                <a:gd name="connsiteY402" fmla="*/ 2163308 h 2674548"/>
                <a:gd name="connsiteX403" fmla="*/ 106208 w 1871240"/>
                <a:gd name="connsiteY403" fmla="*/ 2157908 h 2674548"/>
                <a:gd name="connsiteX404" fmla="*/ 110708 w 1871240"/>
                <a:gd name="connsiteY404" fmla="*/ 2151608 h 2674548"/>
                <a:gd name="connsiteX405" fmla="*/ 113408 w 1871240"/>
                <a:gd name="connsiteY405" fmla="*/ 2148908 h 2674548"/>
                <a:gd name="connsiteX406" fmla="*/ 115208 w 1871240"/>
                <a:gd name="connsiteY406" fmla="*/ 2146208 h 2674548"/>
                <a:gd name="connsiteX407" fmla="*/ 117908 w 1871240"/>
                <a:gd name="connsiteY407" fmla="*/ 2145308 h 2674548"/>
                <a:gd name="connsiteX408" fmla="*/ 120608 w 1871240"/>
                <a:gd name="connsiteY408" fmla="*/ 2144408 h 2674548"/>
                <a:gd name="connsiteX409" fmla="*/ 126012 w 1871240"/>
                <a:gd name="connsiteY409" fmla="*/ 2144408 h 2674548"/>
                <a:gd name="connsiteX410" fmla="*/ 131412 w 1871240"/>
                <a:gd name="connsiteY410" fmla="*/ 2145308 h 2674548"/>
                <a:gd name="connsiteX411" fmla="*/ 142212 w 1871240"/>
                <a:gd name="connsiteY411" fmla="*/ 2149808 h 2674548"/>
                <a:gd name="connsiteX412" fmla="*/ 145812 w 1871240"/>
                <a:gd name="connsiteY412" fmla="*/ 2151608 h 2674548"/>
                <a:gd name="connsiteX413" fmla="*/ 149412 w 1871240"/>
                <a:gd name="connsiteY413" fmla="*/ 2151608 h 2674548"/>
                <a:gd name="connsiteX414" fmla="*/ 152112 w 1871240"/>
                <a:gd name="connsiteY414" fmla="*/ 2150708 h 2674548"/>
                <a:gd name="connsiteX415" fmla="*/ 154812 w 1871240"/>
                <a:gd name="connsiteY415" fmla="*/ 2148008 h 2674548"/>
                <a:gd name="connsiteX416" fmla="*/ 161112 w 1871240"/>
                <a:gd name="connsiteY416" fmla="*/ 2140808 h 2674548"/>
                <a:gd name="connsiteX417" fmla="*/ 168312 w 1871240"/>
                <a:gd name="connsiteY417" fmla="*/ 2131808 h 2674548"/>
                <a:gd name="connsiteX418" fmla="*/ 178216 w 1871240"/>
                <a:gd name="connsiteY418" fmla="*/ 2122808 h 2674548"/>
                <a:gd name="connsiteX419" fmla="*/ 181816 w 1871240"/>
                <a:gd name="connsiteY419" fmla="*/ 2118308 h 2674548"/>
                <a:gd name="connsiteX420" fmla="*/ 184516 w 1871240"/>
                <a:gd name="connsiteY420" fmla="*/ 2113804 h 2674548"/>
                <a:gd name="connsiteX421" fmla="*/ 184516 w 1871240"/>
                <a:gd name="connsiteY421" fmla="*/ 2109304 h 2674548"/>
                <a:gd name="connsiteX422" fmla="*/ 183616 w 1871240"/>
                <a:gd name="connsiteY422" fmla="*/ 2104804 h 2674548"/>
                <a:gd name="connsiteX423" fmla="*/ 181816 w 1871240"/>
                <a:gd name="connsiteY423" fmla="*/ 2102104 h 2674548"/>
                <a:gd name="connsiteX424" fmla="*/ 180016 w 1871240"/>
                <a:gd name="connsiteY424" fmla="*/ 2098504 h 2674548"/>
                <a:gd name="connsiteX425" fmla="*/ 178216 w 1871240"/>
                <a:gd name="connsiteY425" fmla="*/ 2096704 h 2674548"/>
                <a:gd name="connsiteX426" fmla="*/ 203416 w 1871240"/>
                <a:gd name="connsiteY426" fmla="*/ 2089504 h 2674548"/>
                <a:gd name="connsiteX427" fmla="*/ 210616 w 1871240"/>
                <a:gd name="connsiteY427" fmla="*/ 2086804 h 2674548"/>
                <a:gd name="connsiteX428" fmla="*/ 215116 w 1871240"/>
                <a:gd name="connsiteY428" fmla="*/ 2085004 h 2674548"/>
                <a:gd name="connsiteX429" fmla="*/ 215116 w 1871240"/>
                <a:gd name="connsiteY429" fmla="*/ 2084104 h 2674548"/>
                <a:gd name="connsiteX430" fmla="*/ 216016 w 1871240"/>
                <a:gd name="connsiteY430" fmla="*/ 2083204 h 2674548"/>
                <a:gd name="connsiteX431" fmla="*/ 214216 w 1871240"/>
                <a:gd name="connsiteY431" fmla="*/ 2081404 h 2674548"/>
                <a:gd name="connsiteX432" fmla="*/ 208816 w 1871240"/>
                <a:gd name="connsiteY432" fmla="*/ 2077804 h 2674548"/>
                <a:gd name="connsiteX433" fmla="*/ 206116 w 1871240"/>
                <a:gd name="connsiteY433" fmla="*/ 2076004 h 2674548"/>
                <a:gd name="connsiteX434" fmla="*/ 204316 w 1871240"/>
                <a:gd name="connsiteY434" fmla="*/ 2072404 h 2674548"/>
                <a:gd name="connsiteX435" fmla="*/ 203416 w 1871240"/>
                <a:gd name="connsiteY435" fmla="*/ 2065204 h 2674548"/>
                <a:gd name="connsiteX436" fmla="*/ 203416 w 1871240"/>
                <a:gd name="connsiteY436" fmla="*/ 2058000 h 2674548"/>
                <a:gd name="connsiteX437" fmla="*/ 204316 w 1871240"/>
                <a:gd name="connsiteY437" fmla="*/ 2050800 h 2674548"/>
                <a:gd name="connsiteX438" fmla="*/ 221416 w 1871240"/>
                <a:gd name="connsiteY438" fmla="*/ 2043600 h 2674548"/>
                <a:gd name="connsiteX439" fmla="*/ 226816 w 1871240"/>
                <a:gd name="connsiteY439" fmla="*/ 2040900 h 2674548"/>
                <a:gd name="connsiteX440" fmla="*/ 230420 w 1871240"/>
                <a:gd name="connsiteY440" fmla="*/ 2038200 h 2674548"/>
                <a:gd name="connsiteX441" fmla="*/ 233120 w 1871240"/>
                <a:gd name="connsiteY441" fmla="*/ 2036400 h 2674548"/>
                <a:gd name="connsiteX442" fmla="*/ 234920 w 1871240"/>
                <a:gd name="connsiteY442" fmla="*/ 2033700 h 2674548"/>
                <a:gd name="connsiteX443" fmla="*/ 235820 w 1871240"/>
                <a:gd name="connsiteY443" fmla="*/ 2031000 h 2674548"/>
                <a:gd name="connsiteX444" fmla="*/ 235820 w 1871240"/>
                <a:gd name="connsiteY444" fmla="*/ 2028300 h 2674548"/>
                <a:gd name="connsiteX445" fmla="*/ 235820 w 1871240"/>
                <a:gd name="connsiteY445" fmla="*/ 2022000 h 2674548"/>
                <a:gd name="connsiteX446" fmla="*/ 236720 w 1871240"/>
                <a:gd name="connsiteY446" fmla="*/ 2015700 h 2674548"/>
                <a:gd name="connsiteX447" fmla="*/ 237620 w 1871240"/>
                <a:gd name="connsiteY447" fmla="*/ 2013000 h 2674548"/>
                <a:gd name="connsiteX448" fmla="*/ 238520 w 1871240"/>
                <a:gd name="connsiteY448" fmla="*/ 2010300 h 2674548"/>
                <a:gd name="connsiteX449" fmla="*/ 241220 w 1871240"/>
                <a:gd name="connsiteY449" fmla="*/ 2008500 h 2674548"/>
                <a:gd name="connsiteX450" fmla="*/ 243920 w 1871240"/>
                <a:gd name="connsiteY450" fmla="*/ 2006696 h 2674548"/>
                <a:gd name="connsiteX451" fmla="*/ 252920 w 1871240"/>
                <a:gd name="connsiteY451" fmla="*/ 2002196 h 2674548"/>
                <a:gd name="connsiteX452" fmla="*/ 258320 w 1871240"/>
                <a:gd name="connsiteY452" fmla="*/ 2000396 h 2674548"/>
                <a:gd name="connsiteX453" fmla="*/ 261020 w 1871240"/>
                <a:gd name="connsiteY453" fmla="*/ 1998596 h 2674548"/>
                <a:gd name="connsiteX454" fmla="*/ 261920 w 1871240"/>
                <a:gd name="connsiteY454" fmla="*/ 1994996 h 2674548"/>
                <a:gd name="connsiteX455" fmla="*/ 262820 w 1871240"/>
                <a:gd name="connsiteY455" fmla="*/ 1991396 h 2674548"/>
                <a:gd name="connsiteX456" fmla="*/ 261920 w 1871240"/>
                <a:gd name="connsiteY456" fmla="*/ 1986896 h 2674548"/>
                <a:gd name="connsiteX457" fmla="*/ 260120 w 1871240"/>
                <a:gd name="connsiteY457" fmla="*/ 1980596 h 2674548"/>
                <a:gd name="connsiteX458" fmla="*/ 254720 w 1871240"/>
                <a:gd name="connsiteY458" fmla="*/ 1964396 h 2674548"/>
                <a:gd name="connsiteX459" fmla="*/ 253820 w 1871240"/>
                <a:gd name="connsiteY459" fmla="*/ 1956296 h 2674548"/>
                <a:gd name="connsiteX460" fmla="*/ 253820 w 1871240"/>
                <a:gd name="connsiteY460" fmla="*/ 1952692 h 2674548"/>
                <a:gd name="connsiteX461" fmla="*/ 254720 w 1871240"/>
                <a:gd name="connsiteY461" fmla="*/ 1952692 h 2674548"/>
                <a:gd name="connsiteX462" fmla="*/ 257420 w 1871240"/>
                <a:gd name="connsiteY462" fmla="*/ 1954496 h 2674548"/>
                <a:gd name="connsiteX463" fmla="*/ 266420 w 1871240"/>
                <a:gd name="connsiteY463" fmla="*/ 1959896 h 2674548"/>
                <a:gd name="connsiteX464" fmla="*/ 271820 w 1871240"/>
                <a:gd name="connsiteY464" fmla="*/ 1962596 h 2674548"/>
                <a:gd name="connsiteX465" fmla="*/ 277220 w 1871240"/>
                <a:gd name="connsiteY465" fmla="*/ 1964396 h 2674548"/>
                <a:gd name="connsiteX466" fmla="*/ 285324 w 1871240"/>
                <a:gd name="connsiteY466" fmla="*/ 1963496 h 2674548"/>
                <a:gd name="connsiteX467" fmla="*/ 288924 w 1871240"/>
                <a:gd name="connsiteY467" fmla="*/ 1962596 h 2674548"/>
                <a:gd name="connsiteX468" fmla="*/ 291624 w 1871240"/>
                <a:gd name="connsiteY468" fmla="*/ 1960796 h 2674548"/>
                <a:gd name="connsiteX469" fmla="*/ 294324 w 1871240"/>
                <a:gd name="connsiteY469" fmla="*/ 1958996 h 2674548"/>
                <a:gd name="connsiteX470" fmla="*/ 296124 w 1871240"/>
                <a:gd name="connsiteY470" fmla="*/ 1956296 h 2674548"/>
                <a:gd name="connsiteX471" fmla="*/ 300624 w 1871240"/>
                <a:gd name="connsiteY471" fmla="*/ 1947292 h 2674548"/>
                <a:gd name="connsiteX472" fmla="*/ 303324 w 1871240"/>
                <a:gd name="connsiteY472" fmla="*/ 1942792 h 2674548"/>
                <a:gd name="connsiteX473" fmla="*/ 306024 w 1871240"/>
                <a:gd name="connsiteY473" fmla="*/ 1940992 h 2674548"/>
                <a:gd name="connsiteX474" fmla="*/ 309624 w 1871240"/>
                <a:gd name="connsiteY474" fmla="*/ 1940992 h 2674548"/>
                <a:gd name="connsiteX475" fmla="*/ 314124 w 1871240"/>
                <a:gd name="connsiteY475" fmla="*/ 1941892 h 2674548"/>
                <a:gd name="connsiteX476" fmla="*/ 325824 w 1871240"/>
                <a:gd name="connsiteY476" fmla="*/ 1945492 h 2674548"/>
                <a:gd name="connsiteX477" fmla="*/ 334824 w 1871240"/>
                <a:gd name="connsiteY477" fmla="*/ 1946392 h 2674548"/>
                <a:gd name="connsiteX478" fmla="*/ 346528 w 1871240"/>
                <a:gd name="connsiteY478" fmla="*/ 1947292 h 2674548"/>
                <a:gd name="connsiteX479" fmla="*/ 357328 w 1871240"/>
                <a:gd name="connsiteY479" fmla="*/ 1947292 h 2674548"/>
                <a:gd name="connsiteX480" fmla="*/ 365428 w 1871240"/>
                <a:gd name="connsiteY480" fmla="*/ 1946392 h 2674548"/>
                <a:gd name="connsiteX481" fmla="*/ 370828 w 1871240"/>
                <a:gd name="connsiteY481" fmla="*/ 1944592 h 2674548"/>
                <a:gd name="connsiteX482" fmla="*/ 375328 w 1871240"/>
                <a:gd name="connsiteY482" fmla="*/ 1942792 h 2674548"/>
                <a:gd name="connsiteX483" fmla="*/ 378028 w 1871240"/>
                <a:gd name="connsiteY483" fmla="*/ 1940092 h 2674548"/>
                <a:gd name="connsiteX484" fmla="*/ 379828 w 1871240"/>
                <a:gd name="connsiteY484" fmla="*/ 1937392 h 2674548"/>
                <a:gd name="connsiteX485" fmla="*/ 385228 w 1871240"/>
                <a:gd name="connsiteY485" fmla="*/ 1928392 h 2674548"/>
                <a:gd name="connsiteX486" fmla="*/ 387928 w 1871240"/>
                <a:gd name="connsiteY486" fmla="*/ 1922992 h 2674548"/>
                <a:gd name="connsiteX487" fmla="*/ 389728 w 1871240"/>
                <a:gd name="connsiteY487" fmla="*/ 1919392 h 2674548"/>
                <a:gd name="connsiteX488" fmla="*/ 391528 w 1871240"/>
                <a:gd name="connsiteY488" fmla="*/ 1913092 h 2674548"/>
                <a:gd name="connsiteX489" fmla="*/ 392428 w 1871240"/>
                <a:gd name="connsiteY489" fmla="*/ 1910392 h 2674548"/>
                <a:gd name="connsiteX490" fmla="*/ 394232 w 1871240"/>
                <a:gd name="connsiteY490" fmla="*/ 1907692 h 2674548"/>
                <a:gd name="connsiteX491" fmla="*/ 397832 w 1871240"/>
                <a:gd name="connsiteY491" fmla="*/ 1904992 h 2674548"/>
                <a:gd name="connsiteX492" fmla="*/ 402332 w 1871240"/>
                <a:gd name="connsiteY492" fmla="*/ 1901392 h 2674548"/>
                <a:gd name="connsiteX493" fmla="*/ 406832 w 1871240"/>
                <a:gd name="connsiteY493" fmla="*/ 1898688 h 2674548"/>
                <a:gd name="connsiteX494" fmla="*/ 412232 w 1871240"/>
                <a:gd name="connsiteY494" fmla="*/ 1895988 h 2674548"/>
                <a:gd name="connsiteX495" fmla="*/ 423032 w 1871240"/>
                <a:gd name="connsiteY495" fmla="*/ 1891488 h 2674548"/>
                <a:gd name="connsiteX496" fmla="*/ 437432 w 1871240"/>
                <a:gd name="connsiteY496" fmla="*/ 1886088 h 2674548"/>
                <a:gd name="connsiteX497" fmla="*/ 446432 w 1871240"/>
                <a:gd name="connsiteY497" fmla="*/ 1881588 h 2674548"/>
                <a:gd name="connsiteX498" fmla="*/ 457236 w 1871240"/>
                <a:gd name="connsiteY498" fmla="*/ 1875288 h 2674548"/>
                <a:gd name="connsiteX499" fmla="*/ 467136 w 1871240"/>
                <a:gd name="connsiteY499" fmla="*/ 1868088 h 2674548"/>
                <a:gd name="connsiteX500" fmla="*/ 474336 w 1871240"/>
                <a:gd name="connsiteY500" fmla="*/ 1862688 h 2674548"/>
                <a:gd name="connsiteX501" fmla="*/ 486936 w 1871240"/>
                <a:gd name="connsiteY501" fmla="*/ 1852788 h 2674548"/>
                <a:gd name="connsiteX502" fmla="*/ 502240 w 1871240"/>
                <a:gd name="connsiteY502" fmla="*/ 1838384 h 2674548"/>
                <a:gd name="connsiteX503" fmla="*/ 514840 w 1871240"/>
                <a:gd name="connsiteY503" fmla="*/ 1829384 h 2674548"/>
                <a:gd name="connsiteX504" fmla="*/ 531940 w 1871240"/>
                <a:gd name="connsiteY504" fmla="*/ 1816784 h 2674548"/>
                <a:gd name="connsiteX505" fmla="*/ 558044 w 1871240"/>
                <a:gd name="connsiteY505" fmla="*/ 1798784 h 2674548"/>
                <a:gd name="connsiteX506" fmla="*/ 565244 w 1871240"/>
                <a:gd name="connsiteY506" fmla="*/ 1792484 h 2674548"/>
                <a:gd name="connsiteX507" fmla="*/ 569744 w 1871240"/>
                <a:gd name="connsiteY507" fmla="*/ 1788880 h 2674548"/>
                <a:gd name="connsiteX508" fmla="*/ 585044 w 1871240"/>
                <a:gd name="connsiteY508" fmla="*/ 1778980 h 2674548"/>
                <a:gd name="connsiteX509" fmla="*/ 594944 w 1871240"/>
                <a:gd name="connsiteY509" fmla="*/ 1771780 h 2674548"/>
                <a:gd name="connsiteX510" fmla="*/ 600344 w 1871240"/>
                <a:gd name="connsiteY510" fmla="*/ 1767280 h 2674548"/>
                <a:gd name="connsiteX511" fmla="*/ 602144 w 1871240"/>
                <a:gd name="connsiteY511" fmla="*/ 1763680 h 2674548"/>
                <a:gd name="connsiteX512" fmla="*/ 602144 w 1871240"/>
                <a:gd name="connsiteY512" fmla="*/ 1761880 h 2674548"/>
                <a:gd name="connsiteX513" fmla="*/ 601244 w 1871240"/>
                <a:gd name="connsiteY513" fmla="*/ 1759180 h 2674548"/>
                <a:gd name="connsiteX514" fmla="*/ 601244 w 1871240"/>
                <a:gd name="connsiteY514" fmla="*/ 1755580 h 2674548"/>
                <a:gd name="connsiteX515" fmla="*/ 602144 w 1871240"/>
                <a:gd name="connsiteY515" fmla="*/ 1750180 h 2674548"/>
                <a:gd name="connsiteX516" fmla="*/ 606644 w 1871240"/>
                <a:gd name="connsiteY516" fmla="*/ 1742980 h 2674548"/>
                <a:gd name="connsiteX517" fmla="*/ 612048 w 1871240"/>
                <a:gd name="connsiteY517" fmla="*/ 1735776 h 2674548"/>
                <a:gd name="connsiteX518" fmla="*/ 616548 w 1871240"/>
                <a:gd name="connsiteY518" fmla="*/ 1732176 h 2674548"/>
                <a:gd name="connsiteX519" fmla="*/ 619248 w 1871240"/>
                <a:gd name="connsiteY519" fmla="*/ 1730376 h 2674548"/>
                <a:gd name="connsiteX520" fmla="*/ 622848 w 1871240"/>
                <a:gd name="connsiteY520" fmla="*/ 1730376 h 2674548"/>
                <a:gd name="connsiteX521" fmla="*/ 627348 w 1871240"/>
                <a:gd name="connsiteY521" fmla="*/ 1729476 h 2674548"/>
                <a:gd name="connsiteX522" fmla="*/ 633648 w 1871240"/>
                <a:gd name="connsiteY522" fmla="*/ 1729476 h 2674548"/>
                <a:gd name="connsiteX523" fmla="*/ 641748 w 1871240"/>
                <a:gd name="connsiteY523" fmla="*/ 1726776 h 2674548"/>
                <a:gd name="connsiteX524" fmla="*/ 652548 w 1871240"/>
                <a:gd name="connsiteY524" fmla="*/ 1720476 h 2674548"/>
                <a:gd name="connsiteX525" fmla="*/ 663348 w 1871240"/>
                <a:gd name="connsiteY525" fmla="*/ 1714176 h 2674548"/>
                <a:gd name="connsiteX526" fmla="*/ 671452 w 1871240"/>
                <a:gd name="connsiteY526" fmla="*/ 1706976 h 2674548"/>
                <a:gd name="connsiteX527" fmla="*/ 676852 w 1871240"/>
                <a:gd name="connsiteY527" fmla="*/ 1700676 h 2674548"/>
                <a:gd name="connsiteX528" fmla="*/ 683152 w 1871240"/>
                <a:gd name="connsiteY528" fmla="*/ 1692576 h 2674548"/>
                <a:gd name="connsiteX529" fmla="*/ 689452 w 1871240"/>
                <a:gd name="connsiteY529" fmla="*/ 1683572 h 2674548"/>
                <a:gd name="connsiteX530" fmla="*/ 697552 w 1871240"/>
                <a:gd name="connsiteY530" fmla="*/ 1673672 h 2674548"/>
                <a:gd name="connsiteX531" fmla="*/ 709252 w 1871240"/>
                <a:gd name="connsiteY531" fmla="*/ 1661072 h 2674548"/>
                <a:gd name="connsiteX532" fmla="*/ 724556 w 1871240"/>
                <a:gd name="connsiteY532" fmla="*/ 1646672 h 2674548"/>
                <a:gd name="connsiteX533" fmla="*/ 732656 w 1871240"/>
                <a:gd name="connsiteY533" fmla="*/ 1638572 h 2674548"/>
                <a:gd name="connsiteX534" fmla="*/ 738956 w 1871240"/>
                <a:gd name="connsiteY534" fmla="*/ 1632272 h 2674548"/>
                <a:gd name="connsiteX535" fmla="*/ 743456 w 1871240"/>
                <a:gd name="connsiteY535" fmla="*/ 1625968 h 2674548"/>
                <a:gd name="connsiteX536" fmla="*/ 747056 w 1871240"/>
                <a:gd name="connsiteY536" fmla="*/ 1620568 h 2674548"/>
                <a:gd name="connsiteX537" fmla="*/ 748856 w 1871240"/>
                <a:gd name="connsiteY537" fmla="*/ 1616068 h 2674548"/>
                <a:gd name="connsiteX538" fmla="*/ 749756 w 1871240"/>
                <a:gd name="connsiteY538" fmla="*/ 1612468 h 2674548"/>
                <a:gd name="connsiteX539" fmla="*/ 749756 w 1871240"/>
                <a:gd name="connsiteY539" fmla="*/ 1607968 h 2674548"/>
                <a:gd name="connsiteX540" fmla="*/ 749756 w 1871240"/>
                <a:gd name="connsiteY540" fmla="*/ 1604368 h 2674548"/>
                <a:gd name="connsiteX541" fmla="*/ 747056 w 1871240"/>
                <a:gd name="connsiteY541" fmla="*/ 1597168 h 2674548"/>
                <a:gd name="connsiteX542" fmla="*/ 744356 w 1871240"/>
                <a:gd name="connsiteY542" fmla="*/ 1588168 h 2674548"/>
                <a:gd name="connsiteX543" fmla="*/ 743456 w 1871240"/>
                <a:gd name="connsiteY543" fmla="*/ 1583668 h 2674548"/>
                <a:gd name="connsiteX544" fmla="*/ 742556 w 1871240"/>
                <a:gd name="connsiteY544" fmla="*/ 1578268 h 2674548"/>
                <a:gd name="connsiteX545" fmla="*/ 742556 w 1871240"/>
                <a:gd name="connsiteY545" fmla="*/ 1571964 h 2674548"/>
                <a:gd name="connsiteX546" fmla="*/ 743456 w 1871240"/>
                <a:gd name="connsiteY546" fmla="*/ 1564764 h 2674548"/>
                <a:gd name="connsiteX547" fmla="*/ 746156 w 1871240"/>
                <a:gd name="connsiteY547" fmla="*/ 1551264 h 2674548"/>
                <a:gd name="connsiteX548" fmla="*/ 748856 w 1871240"/>
                <a:gd name="connsiteY548" fmla="*/ 1540464 h 2674548"/>
                <a:gd name="connsiteX549" fmla="*/ 752456 w 1871240"/>
                <a:gd name="connsiteY549" fmla="*/ 1533264 h 2674548"/>
                <a:gd name="connsiteX550" fmla="*/ 755156 w 1871240"/>
                <a:gd name="connsiteY550" fmla="*/ 1526964 h 2674548"/>
                <a:gd name="connsiteX551" fmla="*/ 761456 w 1871240"/>
                <a:gd name="connsiteY551" fmla="*/ 1515260 h 2674548"/>
                <a:gd name="connsiteX552" fmla="*/ 764156 w 1871240"/>
                <a:gd name="connsiteY552" fmla="*/ 1508060 h 2674548"/>
                <a:gd name="connsiteX553" fmla="*/ 767756 w 1871240"/>
                <a:gd name="connsiteY553" fmla="*/ 1499060 h 2674548"/>
                <a:gd name="connsiteX554" fmla="*/ 771356 w 1871240"/>
                <a:gd name="connsiteY554" fmla="*/ 1490060 h 2674548"/>
                <a:gd name="connsiteX555" fmla="*/ 775860 w 1871240"/>
                <a:gd name="connsiteY555" fmla="*/ 1481060 h 2674548"/>
                <a:gd name="connsiteX556" fmla="*/ 781260 w 1871240"/>
                <a:gd name="connsiteY556" fmla="*/ 1472960 h 2674548"/>
                <a:gd name="connsiteX557" fmla="*/ 786660 w 1871240"/>
                <a:gd name="connsiteY557" fmla="*/ 1465756 h 2674548"/>
                <a:gd name="connsiteX558" fmla="*/ 792960 w 1871240"/>
                <a:gd name="connsiteY558" fmla="*/ 1459456 h 2674548"/>
                <a:gd name="connsiteX559" fmla="*/ 799260 w 1871240"/>
                <a:gd name="connsiteY559" fmla="*/ 1453156 h 2674548"/>
                <a:gd name="connsiteX560" fmla="*/ 807360 w 1871240"/>
                <a:gd name="connsiteY560" fmla="*/ 1446856 h 2674548"/>
                <a:gd name="connsiteX561" fmla="*/ 816360 w 1871240"/>
                <a:gd name="connsiteY561" fmla="*/ 1441456 h 2674548"/>
                <a:gd name="connsiteX562" fmla="*/ 833464 w 1871240"/>
                <a:gd name="connsiteY562" fmla="*/ 1430656 h 2674548"/>
                <a:gd name="connsiteX563" fmla="*/ 847864 w 1871240"/>
                <a:gd name="connsiteY563" fmla="*/ 1419856 h 2674548"/>
                <a:gd name="connsiteX564" fmla="*/ 854164 w 1871240"/>
                <a:gd name="connsiteY564" fmla="*/ 1414456 h 2674548"/>
                <a:gd name="connsiteX565" fmla="*/ 858664 w 1871240"/>
                <a:gd name="connsiteY565" fmla="*/ 1409052 h 2674548"/>
                <a:gd name="connsiteX566" fmla="*/ 863164 w 1871240"/>
                <a:gd name="connsiteY566" fmla="*/ 1403652 h 2674548"/>
                <a:gd name="connsiteX567" fmla="*/ 866764 w 1871240"/>
                <a:gd name="connsiteY567" fmla="*/ 1398252 h 2674548"/>
                <a:gd name="connsiteX568" fmla="*/ 869464 w 1871240"/>
                <a:gd name="connsiteY568" fmla="*/ 1390152 h 2674548"/>
                <a:gd name="connsiteX569" fmla="*/ 873064 w 1871240"/>
                <a:gd name="connsiteY569" fmla="*/ 1376652 h 2674548"/>
                <a:gd name="connsiteX570" fmla="*/ 881168 w 1871240"/>
                <a:gd name="connsiteY570" fmla="*/ 1341548 h 2674548"/>
                <a:gd name="connsiteX571" fmla="*/ 887468 w 1871240"/>
                <a:gd name="connsiteY571" fmla="*/ 1305548 h 2674548"/>
                <a:gd name="connsiteX572" fmla="*/ 890168 w 1871240"/>
                <a:gd name="connsiteY572" fmla="*/ 1292044 h 2674548"/>
                <a:gd name="connsiteX573" fmla="*/ 891068 w 1871240"/>
                <a:gd name="connsiteY573" fmla="*/ 1283044 h 2674548"/>
                <a:gd name="connsiteX574" fmla="*/ 891068 w 1871240"/>
                <a:gd name="connsiteY574" fmla="*/ 1279444 h 2674548"/>
                <a:gd name="connsiteX575" fmla="*/ 892868 w 1871240"/>
                <a:gd name="connsiteY575" fmla="*/ 1275844 h 2674548"/>
                <a:gd name="connsiteX576" fmla="*/ 899168 w 1871240"/>
                <a:gd name="connsiteY576" fmla="*/ 1266844 h 2674548"/>
                <a:gd name="connsiteX577" fmla="*/ 907268 w 1871240"/>
                <a:gd name="connsiteY577" fmla="*/ 1257844 h 2674548"/>
                <a:gd name="connsiteX578" fmla="*/ 917168 w 1871240"/>
                <a:gd name="connsiteY578" fmla="*/ 1248840 h 2674548"/>
                <a:gd name="connsiteX579" fmla="*/ 935172 w 1871240"/>
                <a:gd name="connsiteY579" fmla="*/ 1233540 h 2674548"/>
                <a:gd name="connsiteX580" fmla="*/ 943272 w 1871240"/>
                <a:gd name="connsiteY580" fmla="*/ 1227240 h 2674548"/>
                <a:gd name="connsiteX581" fmla="*/ 946872 w 1871240"/>
                <a:gd name="connsiteY581" fmla="*/ 1225440 h 2674548"/>
                <a:gd name="connsiteX582" fmla="*/ 970272 w 1871240"/>
                <a:gd name="connsiteY582" fmla="*/ 0 h 2674548"/>
                <a:gd name="connsiteX583" fmla="*/ 972072 w 1871240"/>
                <a:gd name="connsiteY583" fmla="*/ 0 h 2674548"/>
                <a:gd name="connsiteX584" fmla="*/ 973872 w 1871240"/>
                <a:gd name="connsiteY584" fmla="*/ 0 h 2674548"/>
                <a:gd name="connsiteX585" fmla="*/ 978372 w 1871240"/>
                <a:gd name="connsiteY585" fmla="*/ 1800 h 2674548"/>
                <a:gd name="connsiteX586" fmla="*/ 984672 w 1871240"/>
                <a:gd name="connsiteY586" fmla="*/ 5400 h 2674548"/>
                <a:gd name="connsiteX587" fmla="*/ 990972 w 1871240"/>
                <a:gd name="connsiteY587" fmla="*/ 10800 h 2674548"/>
                <a:gd name="connsiteX588" fmla="*/ 1006276 w 1871240"/>
                <a:gd name="connsiteY588" fmla="*/ 25202 h 2674548"/>
                <a:gd name="connsiteX589" fmla="*/ 1024276 w 1871240"/>
                <a:gd name="connsiteY589" fmla="*/ 43204 h 2674548"/>
                <a:gd name="connsiteX590" fmla="*/ 1042276 w 1871240"/>
                <a:gd name="connsiteY590" fmla="*/ 61204 h 2674548"/>
                <a:gd name="connsiteX591" fmla="*/ 1059380 w 1871240"/>
                <a:gd name="connsiteY591" fmla="*/ 77406 h 2674548"/>
                <a:gd name="connsiteX592" fmla="*/ 1068380 w 1871240"/>
                <a:gd name="connsiteY592" fmla="*/ 84606 h 2674548"/>
                <a:gd name="connsiteX593" fmla="*/ 1076480 w 1871240"/>
                <a:gd name="connsiteY593" fmla="*/ 90006 h 2674548"/>
                <a:gd name="connsiteX594" fmla="*/ 1083680 w 1871240"/>
                <a:gd name="connsiteY594" fmla="*/ 94506 h 2674548"/>
                <a:gd name="connsiteX595" fmla="*/ 1090880 w 1871240"/>
                <a:gd name="connsiteY595" fmla="*/ 96308 h 2674548"/>
                <a:gd name="connsiteX596" fmla="*/ 1102580 w 1871240"/>
                <a:gd name="connsiteY596" fmla="*/ 99008 h 2674548"/>
                <a:gd name="connsiteX597" fmla="*/ 1114284 w 1871240"/>
                <a:gd name="connsiteY597" fmla="*/ 102608 h 2674548"/>
                <a:gd name="connsiteX598" fmla="*/ 1125084 w 1871240"/>
                <a:gd name="connsiteY598" fmla="*/ 106208 h 2674548"/>
                <a:gd name="connsiteX599" fmla="*/ 1134984 w 1871240"/>
                <a:gd name="connsiteY599" fmla="*/ 111608 h 2674548"/>
                <a:gd name="connsiteX600" fmla="*/ 1144884 w 1871240"/>
                <a:gd name="connsiteY600" fmla="*/ 118808 h 2674548"/>
                <a:gd name="connsiteX601" fmla="*/ 1154784 w 1871240"/>
                <a:gd name="connsiteY601" fmla="*/ 127810 h 2674548"/>
                <a:gd name="connsiteX602" fmla="*/ 1164688 w 1871240"/>
                <a:gd name="connsiteY602" fmla="*/ 138610 h 2674548"/>
                <a:gd name="connsiteX603" fmla="*/ 1174588 w 1871240"/>
                <a:gd name="connsiteY603" fmla="*/ 153012 h 2674548"/>
                <a:gd name="connsiteX604" fmla="*/ 1185388 w 1871240"/>
                <a:gd name="connsiteY604" fmla="*/ 168312 h 2674548"/>
                <a:gd name="connsiteX605" fmla="*/ 1197988 w 1871240"/>
                <a:gd name="connsiteY605" fmla="*/ 182714 h 2674548"/>
                <a:gd name="connsiteX606" fmla="*/ 1211488 w 1871240"/>
                <a:gd name="connsiteY606" fmla="*/ 197114 h 2674548"/>
                <a:gd name="connsiteX607" fmla="*/ 1224992 w 1871240"/>
                <a:gd name="connsiteY607" fmla="*/ 210616 h 2674548"/>
                <a:gd name="connsiteX608" fmla="*/ 1238492 w 1871240"/>
                <a:gd name="connsiteY608" fmla="*/ 225016 h 2674548"/>
                <a:gd name="connsiteX609" fmla="*/ 1251092 w 1871240"/>
                <a:gd name="connsiteY609" fmla="*/ 239418 h 2674548"/>
                <a:gd name="connsiteX610" fmla="*/ 1263692 w 1871240"/>
                <a:gd name="connsiteY610" fmla="*/ 253818 h 2674548"/>
                <a:gd name="connsiteX611" fmla="*/ 1268196 w 1871240"/>
                <a:gd name="connsiteY611" fmla="*/ 261920 h 2674548"/>
                <a:gd name="connsiteX612" fmla="*/ 1273596 w 1871240"/>
                <a:gd name="connsiteY612" fmla="*/ 270020 h 2674548"/>
                <a:gd name="connsiteX613" fmla="*/ 1279896 w 1871240"/>
                <a:gd name="connsiteY613" fmla="*/ 283520 h 2674548"/>
                <a:gd name="connsiteX614" fmla="*/ 1281696 w 1871240"/>
                <a:gd name="connsiteY614" fmla="*/ 288022 h 2674548"/>
                <a:gd name="connsiteX615" fmla="*/ 1282596 w 1871240"/>
                <a:gd name="connsiteY615" fmla="*/ 291622 h 2674548"/>
                <a:gd name="connsiteX616" fmla="*/ 1282596 w 1871240"/>
                <a:gd name="connsiteY616" fmla="*/ 295222 h 2674548"/>
                <a:gd name="connsiteX617" fmla="*/ 1281696 w 1871240"/>
                <a:gd name="connsiteY617" fmla="*/ 297022 h 2674548"/>
                <a:gd name="connsiteX618" fmla="*/ 1278996 w 1871240"/>
                <a:gd name="connsiteY618" fmla="*/ 301522 h 2674548"/>
                <a:gd name="connsiteX619" fmla="*/ 1275396 w 1871240"/>
                <a:gd name="connsiteY619" fmla="*/ 305122 h 2674548"/>
                <a:gd name="connsiteX620" fmla="*/ 1271796 w 1871240"/>
                <a:gd name="connsiteY620" fmla="*/ 310522 h 2674548"/>
                <a:gd name="connsiteX621" fmla="*/ 1269996 w 1871240"/>
                <a:gd name="connsiteY621" fmla="*/ 314124 h 2674548"/>
                <a:gd name="connsiteX622" fmla="*/ 1269096 w 1871240"/>
                <a:gd name="connsiteY622" fmla="*/ 318624 h 2674548"/>
                <a:gd name="connsiteX623" fmla="*/ 1268196 w 1871240"/>
                <a:gd name="connsiteY623" fmla="*/ 324924 h 2674548"/>
                <a:gd name="connsiteX624" fmla="*/ 1268196 w 1871240"/>
                <a:gd name="connsiteY624" fmla="*/ 332124 h 2674548"/>
                <a:gd name="connsiteX625" fmla="*/ 1269996 w 1871240"/>
                <a:gd name="connsiteY625" fmla="*/ 345626 h 2674548"/>
                <a:gd name="connsiteX626" fmla="*/ 1271796 w 1871240"/>
                <a:gd name="connsiteY626" fmla="*/ 354626 h 2674548"/>
                <a:gd name="connsiteX627" fmla="*/ 1274496 w 1871240"/>
                <a:gd name="connsiteY627" fmla="*/ 360926 h 2674548"/>
                <a:gd name="connsiteX628" fmla="*/ 1278096 w 1871240"/>
                <a:gd name="connsiteY628" fmla="*/ 365426 h 2674548"/>
                <a:gd name="connsiteX629" fmla="*/ 1290696 w 1871240"/>
                <a:gd name="connsiteY629" fmla="*/ 375328 h 2674548"/>
                <a:gd name="connsiteX630" fmla="*/ 1298796 w 1871240"/>
                <a:gd name="connsiteY630" fmla="*/ 383428 h 2674548"/>
                <a:gd name="connsiteX631" fmla="*/ 1309596 w 1871240"/>
                <a:gd name="connsiteY631" fmla="*/ 395130 h 2674548"/>
                <a:gd name="connsiteX632" fmla="*/ 1318596 w 1871240"/>
                <a:gd name="connsiteY632" fmla="*/ 406830 h 2674548"/>
                <a:gd name="connsiteX633" fmla="*/ 1323100 w 1871240"/>
                <a:gd name="connsiteY633" fmla="*/ 414930 h 2674548"/>
                <a:gd name="connsiteX634" fmla="*/ 1324900 w 1871240"/>
                <a:gd name="connsiteY634" fmla="*/ 417630 h 2674548"/>
                <a:gd name="connsiteX635" fmla="*/ 1324900 w 1871240"/>
                <a:gd name="connsiteY635" fmla="*/ 420330 h 2674548"/>
                <a:gd name="connsiteX636" fmla="*/ 1324000 w 1871240"/>
                <a:gd name="connsiteY636" fmla="*/ 423932 h 2674548"/>
                <a:gd name="connsiteX637" fmla="*/ 1322200 w 1871240"/>
                <a:gd name="connsiteY637" fmla="*/ 429332 h 2674548"/>
                <a:gd name="connsiteX638" fmla="*/ 1320400 w 1871240"/>
                <a:gd name="connsiteY638" fmla="*/ 435632 h 2674548"/>
                <a:gd name="connsiteX639" fmla="*/ 1318596 w 1871240"/>
                <a:gd name="connsiteY639" fmla="*/ 446432 h 2674548"/>
                <a:gd name="connsiteX640" fmla="*/ 1318596 w 1871240"/>
                <a:gd name="connsiteY640" fmla="*/ 453634 h 2674548"/>
                <a:gd name="connsiteX641" fmla="*/ 1319500 w 1871240"/>
                <a:gd name="connsiteY641" fmla="*/ 462634 h 2674548"/>
                <a:gd name="connsiteX642" fmla="*/ 1321300 w 1871240"/>
                <a:gd name="connsiteY642" fmla="*/ 477936 h 2674548"/>
                <a:gd name="connsiteX643" fmla="*/ 1323100 w 1871240"/>
                <a:gd name="connsiteY643" fmla="*/ 483336 h 2674548"/>
                <a:gd name="connsiteX644" fmla="*/ 1324000 w 1871240"/>
                <a:gd name="connsiteY644" fmla="*/ 487836 h 2674548"/>
                <a:gd name="connsiteX645" fmla="*/ 1325800 w 1871240"/>
                <a:gd name="connsiteY645" fmla="*/ 490536 h 2674548"/>
                <a:gd name="connsiteX646" fmla="*/ 1328500 w 1871240"/>
                <a:gd name="connsiteY646" fmla="*/ 493236 h 2674548"/>
                <a:gd name="connsiteX647" fmla="*/ 1331200 w 1871240"/>
                <a:gd name="connsiteY647" fmla="*/ 495036 h 2674548"/>
                <a:gd name="connsiteX648" fmla="*/ 1333900 w 1871240"/>
                <a:gd name="connsiteY648" fmla="*/ 495936 h 2674548"/>
                <a:gd name="connsiteX649" fmla="*/ 1340200 w 1871240"/>
                <a:gd name="connsiteY649" fmla="*/ 497736 h 2674548"/>
                <a:gd name="connsiteX650" fmla="*/ 1348300 w 1871240"/>
                <a:gd name="connsiteY650" fmla="*/ 499536 h 2674548"/>
                <a:gd name="connsiteX651" fmla="*/ 1352800 w 1871240"/>
                <a:gd name="connsiteY651" fmla="*/ 502238 h 2674548"/>
                <a:gd name="connsiteX652" fmla="*/ 1358200 w 1871240"/>
                <a:gd name="connsiteY652" fmla="*/ 504938 h 2674548"/>
                <a:gd name="connsiteX653" fmla="*/ 1363600 w 1871240"/>
                <a:gd name="connsiteY653" fmla="*/ 508538 h 2674548"/>
                <a:gd name="connsiteX654" fmla="*/ 1369900 w 1871240"/>
                <a:gd name="connsiteY654" fmla="*/ 513038 h 2674548"/>
                <a:gd name="connsiteX655" fmla="*/ 1387004 w 1871240"/>
                <a:gd name="connsiteY655" fmla="*/ 527438 h 2674548"/>
                <a:gd name="connsiteX656" fmla="*/ 1390604 w 1871240"/>
                <a:gd name="connsiteY656" fmla="*/ 529240 h 2674548"/>
                <a:gd name="connsiteX657" fmla="*/ 1391504 w 1871240"/>
                <a:gd name="connsiteY657" fmla="*/ 529240 h 2674548"/>
                <a:gd name="connsiteX658" fmla="*/ 1392404 w 1871240"/>
                <a:gd name="connsiteY658" fmla="*/ 528338 h 2674548"/>
                <a:gd name="connsiteX659" fmla="*/ 1393304 w 1871240"/>
                <a:gd name="connsiteY659" fmla="*/ 525638 h 2674548"/>
                <a:gd name="connsiteX660" fmla="*/ 1395104 w 1871240"/>
                <a:gd name="connsiteY660" fmla="*/ 521138 h 2674548"/>
                <a:gd name="connsiteX661" fmla="*/ 1396904 w 1871240"/>
                <a:gd name="connsiteY661" fmla="*/ 514838 h 2674548"/>
                <a:gd name="connsiteX662" fmla="*/ 1401404 w 1871240"/>
                <a:gd name="connsiteY662" fmla="*/ 508538 h 2674548"/>
                <a:gd name="connsiteX663" fmla="*/ 1403204 w 1871240"/>
                <a:gd name="connsiteY663" fmla="*/ 504038 h 2674548"/>
                <a:gd name="connsiteX664" fmla="*/ 1405004 w 1871240"/>
                <a:gd name="connsiteY664" fmla="*/ 500436 h 2674548"/>
                <a:gd name="connsiteX665" fmla="*/ 1407704 w 1871240"/>
                <a:gd name="connsiteY665" fmla="*/ 491436 h 2674548"/>
                <a:gd name="connsiteX666" fmla="*/ 1408604 w 1871240"/>
                <a:gd name="connsiteY666" fmla="*/ 482436 h 2674548"/>
                <a:gd name="connsiteX667" fmla="*/ 1408604 w 1871240"/>
                <a:gd name="connsiteY667" fmla="*/ 471634 h 2674548"/>
                <a:gd name="connsiteX668" fmla="*/ 1406804 w 1871240"/>
                <a:gd name="connsiteY668" fmla="*/ 449134 h 2674548"/>
                <a:gd name="connsiteX669" fmla="*/ 1405904 w 1871240"/>
                <a:gd name="connsiteY669" fmla="*/ 438332 h 2674548"/>
                <a:gd name="connsiteX670" fmla="*/ 1405904 w 1871240"/>
                <a:gd name="connsiteY670" fmla="*/ 426632 h 2674548"/>
                <a:gd name="connsiteX671" fmla="*/ 1405904 w 1871240"/>
                <a:gd name="connsiteY671" fmla="*/ 421232 h 2674548"/>
                <a:gd name="connsiteX672" fmla="*/ 1406804 w 1871240"/>
                <a:gd name="connsiteY672" fmla="*/ 418530 h 2674548"/>
                <a:gd name="connsiteX673" fmla="*/ 1408604 w 1871240"/>
                <a:gd name="connsiteY673" fmla="*/ 416730 h 2674548"/>
                <a:gd name="connsiteX674" fmla="*/ 1410404 w 1871240"/>
                <a:gd name="connsiteY674" fmla="*/ 416730 h 2674548"/>
                <a:gd name="connsiteX675" fmla="*/ 1413104 w 1871240"/>
                <a:gd name="connsiteY675" fmla="*/ 417630 h 2674548"/>
                <a:gd name="connsiteX676" fmla="*/ 1415804 w 1871240"/>
                <a:gd name="connsiteY676" fmla="*/ 420330 h 2674548"/>
                <a:gd name="connsiteX677" fmla="*/ 1422104 w 1871240"/>
                <a:gd name="connsiteY677" fmla="*/ 427532 h 2674548"/>
                <a:gd name="connsiteX678" fmla="*/ 1428408 w 1871240"/>
                <a:gd name="connsiteY678" fmla="*/ 438332 h 2674548"/>
                <a:gd name="connsiteX679" fmla="*/ 1433808 w 1871240"/>
                <a:gd name="connsiteY679" fmla="*/ 450034 h 2674548"/>
                <a:gd name="connsiteX680" fmla="*/ 1439208 w 1871240"/>
                <a:gd name="connsiteY680" fmla="*/ 462634 h 2674548"/>
                <a:gd name="connsiteX681" fmla="*/ 1441908 w 1871240"/>
                <a:gd name="connsiteY681" fmla="*/ 474334 h 2674548"/>
                <a:gd name="connsiteX682" fmla="*/ 1444608 w 1871240"/>
                <a:gd name="connsiteY682" fmla="*/ 486936 h 2674548"/>
                <a:gd name="connsiteX683" fmla="*/ 1448208 w 1871240"/>
                <a:gd name="connsiteY683" fmla="*/ 501336 h 2674548"/>
                <a:gd name="connsiteX684" fmla="*/ 1458108 w 1871240"/>
                <a:gd name="connsiteY684" fmla="*/ 534640 h 2674548"/>
                <a:gd name="connsiteX685" fmla="*/ 1463508 w 1871240"/>
                <a:gd name="connsiteY685" fmla="*/ 553540 h 2674548"/>
                <a:gd name="connsiteX686" fmla="*/ 1468008 w 1871240"/>
                <a:gd name="connsiteY686" fmla="*/ 573342 h 2674548"/>
                <a:gd name="connsiteX687" fmla="*/ 1471608 w 1871240"/>
                <a:gd name="connsiteY687" fmla="*/ 592244 h 2674548"/>
                <a:gd name="connsiteX688" fmla="*/ 1473408 w 1871240"/>
                <a:gd name="connsiteY688" fmla="*/ 612046 h 2674548"/>
                <a:gd name="connsiteX689" fmla="*/ 1474308 w 1871240"/>
                <a:gd name="connsiteY689" fmla="*/ 620146 h 2674548"/>
                <a:gd name="connsiteX690" fmla="*/ 1475208 w 1871240"/>
                <a:gd name="connsiteY690" fmla="*/ 626446 h 2674548"/>
                <a:gd name="connsiteX691" fmla="*/ 1477008 w 1871240"/>
                <a:gd name="connsiteY691" fmla="*/ 631846 h 2674548"/>
                <a:gd name="connsiteX692" fmla="*/ 1478808 w 1871240"/>
                <a:gd name="connsiteY692" fmla="*/ 635446 h 2674548"/>
                <a:gd name="connsiteX693" fmla="*/ 1481512 w 1871240"/>
                <a:gd name="connsiteY693" fmla="*/ 637248 h 2674548"/>
                <a:gd name="connsiteX694" fmla="*/ 1484212 w 1871240"/>
                <a:gd name="connsiteY694" fmla="*/ 639048 h 2674548"/>
                <a:gd name="connsiteX695" fmla="*/ 1487812 w 1871240"/>
                <a:gd name="connsiteY695" fmla="*/ 639948 h 2674548"/>
                <a:gd name="connsiteX696" fmla="*/ 1491412 w 1871240"/>
                <a:gd name="connsiteY696" fmla="*/ 639948 h 2674548"/>
                <a:gd name="connsiteX697" fmla="*/ 1501312 w 1871240"/>
                <a:gd name="connsiteY697" fmla="*/ 639048 h 2674548"/>
                <a:gd name="connsiteX698" fmla="*/ 1513012 w 1871240"/>
                <a:gd name="connsiteY698" fmla="*/ 639048 h 2674548"/>
                <a:gd name="connsiteX699" fmla="*/ 1520212 w 1871240"/>
                <a:gd name="connsiteY699" fmla="*/ 639948 h 2674548"/>
                <a:gd name="connsiteX700" fmla="*/ 1527412 w 1871240"/>
                <a:gd name="connsiteY700" fmla="*/ 641748 h 2674548"/>
                <a:gd name="connsiteX701" fmla="*/ 1534612 w 1871240"/>
                <a:gd name="connsiteY701" fmla="*/ 643548 h 2674548"/>
                <a:gd name="connsiteX702" fmla="*/ 1542716 w 1871240"/>
                <a:gd name="connsiteY702" fmla="*/ 648048 h 2674548"/>
                <a:gd name="connsiteX703" fmla="*/ 1570616 w 1871240"/>
                <a:gd name="connsiteY703" fmla="*/ 662448 h 2674548"/>
                <a:gd name="connsiteX704" fmla="*/ 1589520 w 1871240"/>
                <a:gd name="connsiteY704" fmla="*/ 671450 h 2674548"/>
                <a:gd name="connsiteX705" fmla="*/ 1607520 w 1871240"/>
                <a:gd name="connsiteY705" fmla="*/ 680450 h 2674548"/>
                <a:gd name="connsiteX706" fmla="*/ 1630020 w 1871240"/>
                <a:gd name="connsiteY706" fmla="*/ 693052 h 2674548"/>
                <a:gd name="connsiteX707" fmla="*/ 1641720 w 1871240"/>
                <a:gd name="connsiteY707" fmla="*/ 700252 h 2674548"/>
                <a:gd name="connsiteX708" fmla="*/ 1651624 w 1871240"/>
                <a:gd name="connsiteY708" fmla="*/ 703852 h 2674548"/>
                <a:gd name="connsiteX709" fmla="*/ 1656124 w 1871240"/>
                <a:gd name="connsiteY709" fmla="*/ 704752 h 2674548"/>
                <a:gd name="connsiteX710" fmla="*/ 1659724 w 1871240"/>
                <a:gd name="connsiteY710" fmla="*/ 704752 h 2674548"/>
                <a:gd name="connsiteX711" fmla="*/ 1667824 w 1871240"/>
                <a:gd name="connsiteY711" fmla="*/ 704752 h 2674548"/>
                <a:gd name="connsiteX712" fmla="*/ 1675924 w 1871240"/>
                <a:gd name="connsiteY712" fmla="*/ 702052 h 2674548"/>
                <a:gd name="connsiteX713" fmla="*/ 1684924 w 1871240"/>
                <a:gd name="connsiteY713" fmla="*/ 697552 h 2674548"/>
                <a:gd name="connsiteX714" fmla="*/ 1695724 w 1871240"/>
                <a:gd name="connsiteY714" fmla="*/ 692152 h 2674548"/>
                <a:gd name="connsiteX715" fmla="*/ 1709228 w 1871240"/>
                <a:gd name="connsiteY715" fmla="*/ 685850 h 2674548"/>
                <a:gd name="connsiteX716" fmla="*/ 1716428 w 1871240"/>
                <a:gd name="connsiteY716" fmla="*/ 683150 h 2674548"/>
                <a:gd name="connsiteX717" fmla="*/ 1722728 w 1871240"/>
                <a:gd name="connsiteY717" fmla="*/ 678650 h 2674548"/>
                <a:gd name="connsiteX718" fmla="*/ 1729028 w 1871240"/>
                <a:gd name="connsiteY718" fmla="*/ 675050 h 2674548"/>
                <a:gd name="connsiteX719" fmla="*/ 1733528 w 1871240"/>
                <a:gd name="connsiteY719" fmla="*/ 670550 h 2674548"/>
                <a:gd name="connsiteX720" fmla="*/ 1743428 w 1871240"/>
                <a:gd name="connsiteY720" fmla="*/ 660648 h 2674548"/>
                <a:gd name="connsiteX721" fmla="*/ 1751532 w 1871240"/>
                <a:gd name="connsiteY721" fmla="*/ 649848 h 2674548"/>
                <a:gd name="connsiteX722" fmla="*/ 1760532 w 1871240"/>
                <a:gd name="connsiteY722" fmla="*/ 638148 h 2674548"/>
                <a:gd name="connsiteX723" fmla="*/ 1769532 w 1871240"/>
                <a:gd name="connsiteY723" fmla="*/ 626446 h 2674548"/>
                <a:gd name="connsiteX724" fmla="*/ 1781232 w 1871240"/>
                <a:gd name="connsiteY724" fmla="*/ 613846 h 2674548"/>
                <a:gd name="connsiteX725" fmla="*/ 1788432 w 1871240"/>
                <a:gd name="connsiteY725" fmla="*/ 607544 h 2674548"/>
                <a:gd name="connsiteX726" fmla="*/ 1795632 w 1871240"/>
                <a:gd name="connsiteY726" fmla="*/ 602144 h 2674548"/>
                <a:gd name="connsiteX727" fmla="*/ 1803732 w 1871240"/>
                <a:gd name="connsiteY727" fmla="*/ 596744 h 2674548"/>
                <a:gd name="connsiteX728" fmla="*/ 1810036 w 1871240"/>
                <a:gd name="connsiteY728" fmla="*/ 593144 h 2674548"/>
                <a:gd name="connsiteX729" fmla="*/ 1815436 w 1871240"/>
                <a:gd name="connsiteY729" fmla="*/ 590444 h 2674548"/>
                <a:gd name="connsiteX730" fmla="*/ 1820836 w 1871240"/>
                <a:gd name="connsiteY730" fmla="*/ 589544 h 2674548"/>
                <a:gd name="connsiteX731" fmla="*/ 1825336 w 1871240"/>
                <a:gd name="connsiteY731" fmla="*/ 589544 h 2674548"/>
                <a:gd name="connsiteX732" fmla="*/ 1828936 w 1871240"/>
                <a:gd name="connsiteY732" fmla="*/ 590444 h 2674548"/>
                <a:gd name="connsiteX733" fmla="*/ 1831636 w 1871240"/>
                <a:gd name="connsiteY733" fmla="*/ 592244 h 2674548"/>
                <a:gd name="connsiteX734" fmla="*/ 1835236 w 1871240"/>
                <a:gd name="connsiteY734" fmla="*/ 594044 h 2674548"/>
                <a:gd name="connsiteX735" fmla="*/ 1839736 w 1871240"/>
                <a:gd name="connsiteY735" fmla="*/ 601244 h 2674548"/>
                <a:gd name="connsiteX736" fmla="*/ 1844236 w 1871240"/>
                <a:gd name="connsiteY736" fmla="*/ 610244 h 2674548"/>
                <a:gd name="connsiteX737" fmla="*/ 1849636 w 1871240"/>
                <a:gd name="connsiteY737" fmla="*/ 619246 h 2674548"/>
                <a:gd name="connsiteX738" fmla="*/ 1855936 w 1871240"/>
                <a:gd name="connsiteY738" fmla="*/ 628246 h 2674548"/>
                <a:gd name="connsiteX739" fmla="*/ 1862240 w 1871240"/>
                <a:gd name="connsiteY739" fmla="*/ 638148 h 2674548"/>
                <a:gd name="connsiteX740" fmla="*/ 1866740 w 1871240"/>
                <a:gd name="connsiteY740" fmla="*/ 648048 h 2674548"/>
                <a:gd name="connsiteX741" fmla="*/ 1869440 w 1871240"/>
                <a:gd name="connsiteY741" fmla="*/ 658848 h 2674548"/>
                <a:gd name="connsiteX742" fmla="*/ 1871240 w 1871240"/>
                <a:gd name="connsiteY742" fmla="*/ 670550 h 2674548"/>
                <a:gd name="connsiteX743" fmla="*/ 1871240 w 1871240"/>
                <a:gd name="connsiteY743" fmla="*/ 683150 h 2674548"/>
                <a:gd name="connsiteX744" fmla="*/ 1871240 w 1871240"/>
                <a:gd name="connsiteY744" fmla="*/ 696652 h 2674548"/>
                <a:gd name="connsiteX745" fmla="*/ 1867640 w 1871240"/>
                <a:gd name="connsiteY745" fmla="*/ 727254 h 2674548"/>
                <a:gd name="connsiteX746" fmla="*/ 1865840 w 1871240"/>
                <a:gd name="connsiteY746" fmla="*/ 740754 h 2674548"/>
                <a:gd name="connsiteX747" fmla="*/ 1863140 w 1871240"/>
                <a:gd name="connsiteY747" fmla="*/ 749756 h 2674548"/>
                <a:gd name="connsiteX748" fmla="*/ 1860440 w 1871240"/>
                <a:gd name="connsiteY748" fmla="*/ 756056 h 2674548"/>
                <a:gd name="connsiteX749" fmla="*/ 1857740 w 1871240"/>
                <a:gd name="connsiteY749" fmla="*/ 759656 h 2674548"/>
                <a:gd name="connsiteX750" fmla="*/ 1855036 w 1871240"/>
                <a:gd name="connsiteY750" fmla="*/ 763256 h 2674548"/>
                <a:gd name="connsiteX751" fmla="*/ 1852336 w 1871240"/>
                <a:gd name="connsiteY751" fmla="*/ 767756 h 2674548"/>
                <a:gd name="connsiteX752" fmla="*/ 1849636 w 1871240"/>
                <a:gd name="connsiteY752" fmla="*/ 774958 h 2674548"/>
                <a:gd name="connsiteX753" fmla="*/ 1848736 w 1871240"/>
                <a:gd name="connsiteY753" fmla="*/ 784858 h 2674548"/>
                <a:gd name="connsiteX754" fmla="*/ 1846936 w 1871240"/>
                <a:gd name="connsiteY754" fmla="*/ 796558 h 2674548"/>
                <a:gd name="connsiteX755" fmla="*/ 1844236 w 1871240"/>
                <a:gd name="connsiteY755" fmla="*/ 806460 h 2674548"/>
                <a:gd name="connsiteX756" fmla="*/ 1840636 w 1871240"/>
                <a:gd name="connsiteY756" fmla="*/ 814560 h 2674548"/>
                <a:gd name="connsiteX757" fmla="*/ 1837036 w 1871240"/>
                <a:gd name="connsiteY757" fmla="*/ 820860 h 2674548"/>
                <a:gd name="connsiteX758" fmla="*/ 1831636 w 1871240"/>
                <a:gd name="connsiteY758" fmla="*/ 827160 h 2674548"/>
                <a:gd name="connsiteX759" fmla="*/ 1827136 w 1871240"/>
                <a:gd name="connsiteY759" fmla="*/ 832560 h 2674548"/>
                <a:gd name="connsiteX760" fmla="*/ 1817236 w 1871240"/>
                <a:gd name="connsiteY760" fmla="*/ 842464 h 2674548"/>
                <a:gd name="connsiteX761" fmla="*/ 1815436 w 1871240"/>
                <a:gd name="connsiteY761" fmla="*/ 846064 h 2674548"/>
                <a:gd name="connsiteX762" fmla="*/ 1813636 w 1871240"/>
                <a:gd name="connsiteY762" fmla="*/ 850564 h 2674548"/>
                <a:gd name="connsiteX763" fmla="*/ 1810036 w 1871240"/>
                <a:gd name="connsiteY763" fmla="*/ 861364 h 2674548"/>
                <a:gd name="connsiteX764" fmla="*/ 1806436 w 1871240"/>
                <a:gd name="connsiteY764" fmla="*/ 873964 h 2674548"/>
                <a:gd name="connsiteX765" fmla="*/ 1803732 w 1871240"/>
                <a:gd name="connsiteY765" fmla="*/ 889264 h 2674548"/>
                <a:gd name="connsiteX766" fmla="*/ 1799232 w 1871240"/>
                <a:gd name="connsiteY766" fmla="*/ 919868 h 2674548"/>
                <a:gd name="connsiteX767" fmla="*/ 1795632 w 1871240"/>
                <a:gd name="connsiteY767" fmla="*/ 945968 h 2674548"/>
                <a:gd name="connsiteX768" fmla="*/ 1794732 w 1871240"/>
                <a:gd name="connsiteY768" fmla="*/ 951372 h 2674548"/>
                <a:gd name="connsiteX769" fmla="*/ 1792032 w 1871240"/>
                <a:gd name="connsiteY769" fmla="*/ 954072 h 2674548"/>
                <a:gd name="connsiteX770" fmla="*/ 1789332 w 1871240"/>
                <a:gd name="connsiteY770" fmla="*/ 956772 h 2674548"/>
                <a:gd name="connsiteX771" fmla="*/ 1785732 w 1871240"/>
                <a:gd name="connsiteY771" fmla="*/ 957672 h 2674548"/>
                <a:gd name="connsiteX772" fmla="*/ 1782132 w 1871240"/>
                <a:gd name="connsiteY772" fmla="*/ 957672 h 2674548"/>
                <a:gd name="connsiteX773" fmla="*/ 1776732 w 1871240"/>
                <a:gd name="connsiteY773" fmla="*/ 956772 h 2674548"/>
                <a:gd name="connsiteX774" fmla="*/ 1765932 w 1871240"/>
                <a:gd name="connsiteY774" fmla="*/ 953172 h 2674548"/>
                <a:gd name="connsiteX775" fmla="*/ 1753332 w 1871240"/>
                <a:gd name="connsiteY775" fmla="*/ 947768 h 2674548"/>
                <a:gd name="connsiteX776" fmla="*/ 1738928 w 1871240"/>
                <a:gd name="connsiteY776" fmla="*/ 941468 h 2674548"/>
                <a:gd name="connsiteX777" fmla="*/ 1724528 w 1871240"/>
                <a:gd name="connsiteY777" fmla="*/ 935168 h 2674548"/>
                <a:gd name="connsiteX778" fmla="*/ 1709228 w 1871240"/>
                <a:gd name="connsiteY778" fmla="*/ 929768 h 2674548"/>
                <a:gd name="connsiteX779" fmla="*/ 1702028 w 1871240"/>
                <a:gd name="connsiteY779" fmla="*/ 927968 h 2674548"/>
                <a:gd name="connsiteX780" fmla="*/ 1695724 w 1871240"/>
                <a:gd name="connsiteY780" fmla="*/ 927068 h 2674548"/>
                <a:gd name="connsiteX781" fmla="*/ 1690324 w 1871240"/>
                <a:gd name="connsiteY781" fmla="*/ 926168 h 2674548"/>
                <a:gd name="connsiteX782" fmla="*/ 1685824 w 1871240"/>
                <a:gd name="connsiteY782" fmla="*/ 927068 h 2674548"/>
                <a:gd name="connsiteX783" fmla="*/ 1681324 w 1871240"/>
                <a:gd name="connsiteY783" fmla="*/ 928868 h 2674548"/>
                <a:gd name="connsiteX784" fmla="*/ 1677724 w 1871240"/>
                <a:gd name="connsiteY784" fmla="*/ 930668 h 2674548"/>
                <a:gd name="connsiteX785" fmla="*/ 1672324 w 1871240"/>
                <a:gd name="connsiteY785" fmla="*/ 935168 h 2674548"/>
                <a:gd name="connsiteX786" fmla="*/ 1666924 w 1871240"/>
                <a:gd name="connsiteY786" fmla="*/ 941468 h 2674548"/>
                <a:gd name="connsiteX787" fmla="*/ 1660624 w 1871240"/>
                <a:gd name="connsiteY787" fmla="*/ 948668 h 2674548"/>
                <a:gd name="connsiteX788" fmla="*/ 1653424 w 1871240"/>
                <a:gd name="connsiteY788" fmla="*/ 955872 h 2674548"/>
                <a:gd name="connsiteX789" fmla="*/ 1648924 w 1871240"/>
                <a:gd name="connsiteY789" fmla="*/ 959472 h 2674548"/>
                <a:gd name="connsiteX790" fmla="*/ 1644424 w 1871240"/>
                <a:gd name="connsiteY790" fmla="*/ 963072 h 2674548"/>
                <a:gd name="connsiteX791" fmla="*/ 1639020 w 1871240"/>
                <a:gd name="connsiteY791" fmla="*/ 966672 h 2674548"/>
                <a:gd name="connsiteX792" fmla="*/ 1636320 w 1871240"/>
                <a:gd name="connsiteY792" fmla="*/ 970272 h 2674548"/>
                <a:gd name="connsiteX793" fmla="*/ 1633620 w 1871240"/>
                <a:gd name="connsiteY793" fmla="*/ 974772 h 2674548"/>
                <a:gd name="connsiteX794" fmla="*/ 1631820 w 1871240"/>
                <a:gd name="connsiteY794" fmla="*/ 979272 h 2674548"/>
                <a:gd name="connsiteX795" fmla="*/ 1631820 w 1871240"/>
                <a:gd name="connsiteY795" fmla="*/ 983772 h 2674548"/>
                <a:gd name="connsiteX796" fmla="*/ 1631820 w 1871240"/>
                <a:gd name="connsiteY796" fmla="*/ 989172 h 2674548"/>
                <a:gd name="connsiteX797" fmla="*/ 1634520 w 1871240"/>
                <a:gd name="connsiteY797" fmla="*/ 999972 h 2674548"/>
                <a:gd name="connsiteX798" fmla="*/ 1640820 w 1871240"/>
                <a:gd name="connsiteY798" fmla="*/ 1022924 h 2674548"/>
                <a:gd name="connsiteX799" fmla="*/ 1643524 w 1871240"/>
                <a:gd name="connsiteY799" fmla="*/ 1034628 h 2674548"/>
                <a:gd name="connsiteX800" fmla="*/ 1644424 w 1871240"/>
                <a:gd name="connsiteY800" fmla="*/ 1040928 h 2674548"/>
                <a:gd name="connsiteX801" fmla="*/ 1644424 w 1871240"/>
                <a:gd name="connsiteY801" fmla="*/ 1047228 h 2674548"/>
                <a:gd name="connsiteX802" fmla="*/ 1642620 w 1871240"/>
                <a:gd name="connsiteY802" fmla="*/ 1058928 h 2674548"/>
                <a:gd name="connsiteX803" fmla="*/ 1639920 w 1871240"/>
                <a:gd name="connsiteY803" fmla="*/ 1072428 h 2674548"/>
                <a:gd name="connsiteX804" fmla="*/ 1636320 w 1871240"/>
                <a:gd name="connsiteY804" fmla="*/ 1086832 h 2674548"/>
                <a:gd name="connsiteX805" fmla="*/ 1632720 w 1871240"/>
                <a:gd name="connsiteY805" fmla="*/ 1100332 h 2674548"/>
                <a:gd name="connsiteX806" fmla="*/ 1627320 w 1871240"/>
                <a:gd name="connsiteY806" fmla="*/ 1113832 h 2674548"/>
                <a:gd name="connsiteX807" fmla="*/ 1621020 w 1871240"/>
                <a:gd name="connsiteY807" fmla="*/ 1127332 h 2674548"/>
                <a:gd name="connsiteX808" fmla="*/ 1614720 w 1871240"/>
                <a:gd name="connsiteY808" fmla="*/ 1139932 h 2674548"/>
                <a:gd name="connsiteX809" fmla="*/ 1608420 w 1871240"/>
                <a:gd name="connsiteY809" fmla="*/ 1150736 h 2674548"/>
                <a:gd name="connsiteX810" fmla="*/ 1600320 w 1871240"/>
                <a:gd name="connsiteY810" fmla="*/ 1162436 h 2674548"/>
                <a:gd name="connsiteX811" fmla="*/ 1590420 w 1871240"/>
                <a:gd name="connsiteY811" fmla="*/ 1177736 h 2674548"/>
                <a:gd name="connsiteX812" fmla="*/ 1568816 w 1871240"/>
                <a:gd name="connsiteY812" fmla="*/ 1214640 h 2674548"/>
                <a:gd name="connsiteX813" fmla="*/ 1546316 w 1871240"/>
                <a:gd name="connsiteY813" fmla="*/ 1251544 h 2674548"/>
                <a:gd name="connsiteX814" fmla="*/ 1535516 w 1871240"/>
                <a:gd name="connsiteY814" fmla="*/ 1267744 h 2674548"/>
                <a:gd name="connsiteX815" fmla="*/ 1526512 w 1871240"/>
                <a:gd name="connsiteY815" fmla="*/ 1280344 h 2674548"/>
                <a:gd name="connsiteX816" fmla="*/ 1517512 w 1871240"/>
                <a:gd name="connsiteY816" fmla="*/ 1292044 h 2674548"/>
                <a:gd name="connsiteX817" fmla="*/ 1508512 w 1871240"/>
                <a:gd name="connsiteY817" fmla="*/ 1306448 h 2674548"/>
                <a:gd name="connsiteX818" fmla="*/ 1490512 w 1871240"/>
                <a:gd name="connsiteY818" fmla="*/ 1337948 h 2674548"/>
                <a:gd name="connsiteX819" fmla="*/ 1480608 w 1871240"/>
                <a:gd name="connsiteY819" fmla="*/ 1353248 h 2674548"/>
                <a:gd name="connsiteX820" fmla="*/ 1470708 w 1871240"/>
                <a:gd name="connsiteY820" fmla="*/ 1367652 h 2674548"/>
                <a:gd name="connsiteX821" fmla="*/ 1460808 w 1871240"/>
                <a:gd name="connsiteY821" fmla="*/ 1380252 h 2674548"/>
                <a:gd name="connsiteX822" fmla="*/ 1454508 w 1871240"/>
                <a:gd name="connsiteY822" fmla="*/ 1386552 h 2674548"/>
                <a:gd name="connsiteX823" fmla="*/ 1449108 w 1871240"/>
                <a:gd name="connsiteY823" fmla="*/ 1391052 h 2674548"/>
                <a:gd name="connsiteX824" fmla="*/ 1439208 w 1871240"/>
                <a:gd name="connsiteY824" fmla="*/ 1399152 h 2674548"/>
                <a:gd name="connsiteX825" fmla="*/ 1431108 w 1871240"/>
                <a:gd name="connsiteY825" fmla="*/ 1403652 h 2674548"/>
                <a:gd name="connsiteX826" fmla="*/ 1424804 w 1871240"/>
                <a:gd name="connsiteY826" fmla="*/ 1407252 h 2674548"/>
                <a:gd name="connsiteX827" fmla="*/ 1419404 w 1871240"/>
                <a:gd name="connsiteY827" fmla="*/ 1409052 h 2674548"/>
                <a:gd name="connsiteX828" fmla="*/ 1414004 w 1871240"/>
                <a:gd name="connsiteY828" fmla="*/ 1409952 h 2674548"/>
                <a:gd name="connsiteX829" fmla="*/ 1408604 w 1871240"/>
                <a:gd name="connsiteY829" fmla="*/ 1409952 h 2674548"/>
                <a:gd name="connsiteX830" fmla="*/ 1391504 w 1871240"/>
                <a:gd name="connsiteY830" fmla="*/ 1409952 h 2674548"/>
                <a:gd name="connsiteX831" fmla="*/ 1381604 w 1871240"/>
                <a:gd name="connsiteY831" fmla="*/ 1410852 h 2674548"/>
                <a:gd name="connsiteX832" fmla="*/ 1373504 w 1871240"/>
                <a:gd name="connsiteY832" fmla="*/ 1409952 h 2674548"/>
                <a:gd name="connsiteX833" fmla="*/ 1366300 w 1871240"/>
                <a:gd name="connsiteY833" fmla="*/ 1408152 h 2674548"/>
                <a:gd name="connsiteX834" fmla="*/ 1360900 w 1871240"/>
                <a:gd name="connsiteY834" fmla="*/ 1404552 h 2674548"/>
                <a:gd name="connsiteX835" fmla="*/ 1348300 w 1871240"/>
                <a:gd name="connsiteY835" fmla="*/ 1397352 h 2674548"/>
                <a:gd name="connsiteX836" fmla="*/ 1342000 w 1871240"/>
                <a:gd name="connsiteY836" fmla="*/ 1392852 h 2674548"/>
                <a:gd name="connsiteX837" fmla="*/ 1333900 w 1871240"/>
                <a:gd name="connsiteY837" fmla="*/ 1388352 h 2674548"/>
                <a:gd name="connsiteX838" fmla="*/ 1318596 w 1871240"/>
                <a:gd name="connsiteY838" fmla="*/ 1381152 h 2674548"/>
                <a:gd name="connsiteX839" fmla="*/ 1313196 w 1871240"/>
                <a:gd name="connsiteY839" fmla="*/ 1378452 h 2674548"/>
                <a:gd name="connsiteX840" fmla="*/ 1309596 w 1871240"/>
                <a:gd name="connsiteY840" fmla="*/ 1374852 h 2674548"/>
                <a:gd name="connsiteX841" fmla="*/ 1305996 w 1871240"/>
                <a:gd name="connsiteY841" fmla="*/ 1370352 h 2674548"/>
                <a:gd name="connsiteX842" fmla="*/ 1304196 w 1871240"/>
                <a:gd name="connsiteY842" fmla="*/ 1364952 h 2674548"/>
                <a:gd name="connsiteX843" fmla="*/ 1301496 w 1871240"/>
                <a:gd name="connsiteY843" fmla="*/ 1357752 h 2674548"/>
                <a:gd name="connsiteX844" fmla="*/ 1299696 w 1871240"/>
                <a:gd name="connsiteY844" fmla="*/ 1347848 h 2674548"/>
                <a:gd name="connsiteX845" fmla="*/ 1299696 w 1871240"/>
                <a:gd name="connsiteY845" fmla="*/ 1342448 h 2674548"/>
                <a:gd name="connsiteX846" fmla="*/ 1300596 w 1871240"/>
                <a:gd name="connsiteY846" fmla="*/ 1336148 h 2674548"/>
                <a:gd name="connsiteX847" fmla="*/ 1301496 w 1871240"/>
                <a:gd name="connsiteY847" fmla="*/ 1330748 h 2674548"/>
                <a:gd name="connsiteX848" fmla="*/ 1304196 w 1871240"/>
                <a:gd name="connsiteY848" fmla="*/ 1324448 h 2674548"/>
                <a:gd name="connsiteX849" fmla="*/ 1311396 w 1871240"/>
                <a:gd name="connsiteY849" fmla="*/ 1311848 h 2674548"/>
                <a:gd name="connsiteX850" fmla="*/ 1320400 w 1871240"/>
                <a:gd name="connsiteY850" fmla="*/ 1299244 h 2674548"/>
                <a:gd name="connsiteX851" fmla="*/ 1330300 w 1871240"/>
                <a:gd name="connsiteY851" fmla="*/ 1286644 h 2674548"/>
                <a:gd name="connsiteX852" fmla="*/ 1341100 w 1871240"/>
                <a:gd name="connsiteY852" fmla="*/ 1274944 h 2674548"/>
                <a:gd name="connsiteX853" fmla="*/ 1360000 w 1871240"/>
                <a:gd name="connsiteY853" fmla="*/ 1254244 h 2674548"/>
                <a:gd name="connsiteX854" fmla="*/ 1363600 w 1871240"/>
                <a:gd name="connsiteY854" fmla="*/ 1249744 h 2674548"/>
                <a:gd name="connsiteX855" fmla="*/ 1366300 w 1871240"/>
                <a:gd name="connsiteY855" fmla="*/ 1244340 h 2674548"/>
                <a:gd name="connsiteX856" fmla="*/ 1369000 w 1871240"/>
                <a:gd name="connsiteY856" fmla="*/ 1239840 h 2674548"/>
                <a:gd name="connsiteX857" fmla="*/ 1370800 w 1871240"/>
                <a:gd name="connsiteY857" fmla="*/ 1235340 h 2674548"/>
                <a:gd name="connsiteX858" fmla="*/ 1372600 w 1871240"/>
                <a:gd name="connsiteY858" fmla="*/ 1225440 h 2674548"/>
                <a:gd name="connsiteX859" fmla="*/ 1373504 w 1871240"/>
                <a:gd name="connsiteY859" fmla="*/ 1214640 h 2674548"/>
                <a:gd name="connsiteX860" fmla="*/ 1373504 w 1871240"/>
                <a:gd name="connsiteY860" fmla="*/ 1191236 h 2674548"/>
                <a:gd name="connsiteX861" fmla="*/ 1373504 w 1871240"/>
                <a:gd name="connsiteY861" fmla="*/ 1178636 h 2674548"/>
                <a:gd name="connsiteX862" fmla="*/ 1374404 w 1871240"/>
                <a:gd name="connsiteY862" fmla="*/ 1165136 h 2674548"/>
                <a:gd name="connsiteX863" fmla="*/ 1375304 w 1871240"/>
                <a:gd name="connsiteY863" fmla="*/ 1157936 h 2674548"/>
                <a:gd name="connsiteX864" fmla="*/ 1375304 w 1871240"/>
                <a:gd name="connsiteY864" fmla="*/ 1152536 h 2674548"/>
                <a:gd name="connsiteX865" fmla="*/ 1374404 w 1871240"/>
                <a:gd name="connsiteY865" fmla="*/ 1148036 h 2674548"/>
                <a:gd name="connsiteX866" fmla="*/ 1373504 w 1871240"/>
                <a:gd name="connsiteY866" fmla="*/ 1143536 h 2674548"/>
                <a:gd name="connsiteX867" fmla="*/ 1371700 w 1871240"/>
                <a:gd name="connsiteY867" fmla="*/ 1140836 h 2674548"/>
                <a:gd name="connsiteX868" fmla="*/ 1369900 w 1871240"/>
                <a:gd name="connsiteY868" fmla="*/ 1138132 h 2674548"/>
                <a:gd name="connsiteX869" fmla="*/ 1367200 w 1871240"/>
                <a:gd name="connsiteY869" fmla="*/ 1136332 h 2674548"/>
                <a:gd name="connsiteX870" fmla="*/ 1364500 w 1871240"/>
                <a:gd name="connsiteY870" fmla="*/ 1134532 h 2674548"/>
                <a:gd name="connsiteX871" fmla="*/ 1357300 w 1871240"/>
                <a:gd name="connsiteY871" fmla="*/ 1131832 h 2674548"/>
                <a:gd name="connsiteX872" fmla="*/ 1349200 w 1871240"/>
                <a:gd name="connsiteY872" fmla="*/ 1129132 h 2674548"/>
                <a:gd name="connsiteX873" fmla="*/ 1339300 w 1871240"/>
                <a:gd name="connsiteY873" fmla="*/ 1125532 h 2674548"/>
                <a:gd name="connsiteX874" fmla="*/ 1328500 w 1871240"/>
                <a:gd name="connsiteY874" fmla="*/ 1121932 h 2674548"/>
                <a:gd name="connsiteX875" fmla="*/ 1318596 w 1871240"/>
                <a:gd name="connsiteY875" fmla="*/ 1115632 h 2674548"/>
                <a:gd name="connsiteX876" fmla="*/ 1308696 w 1871240"/>
                <a:gd name="connsiteY876" fmla="*/ 1108432 h 2674548"/>
                <a:gd name="connsiteX877" fmla="*/ 1299696 w 1871240"/>
                <a:gd name="connsiteY877" fmla="*/ 1101232 h 2674548"/>
                <a:gd name="connsiteX878" fmla="*/ 1290696 w 1871240"/>
                <a:gd name="connsiteY878" fmla="*/ 1093132 h 2674548"/>
                <a:gd name="connsiteX879" fmla="*/ 1271796 w 1871240"/>
                <a:gd name="connsiteY879" fmla="*/ 1076028 h 2674548"/>
                <a:gd name="connsiteX880" fmla="*/ 1261892 w 1871240"/>
                <a:gd name="connsiteY880" fmla="*/ 1067028 h 2674548"/>
                <a:gd name="connsiteX881" fmla="*/ 1251992 w 1871240"/>
                <a:gd name="connsiteY881" fmla="*/ 1058928 h 2674548"/>
                <a:gd name="connsiteX882" fmla="*/ 1233092 w 1871240"/>
                <a:gd name="connsiteY882" fmla="*/ 1045428 h 2674548"/>
                <a:gd name="connsiteX883" fmla="*/ 1216892 w 1871240"/>
                <a:gd name="connsiteY883" fmla="*/ 1037328 h 2674548"/>
                <a:gd name="connsiteX884" fmla="*/ 1199788 w 1871240"/>
                <a:gd name="connsiteY884" fmla="*/ 1029224 h 2674548"/>
                <a:gd name="connsiteX885" fmla="*/ 1177288 w 1871240"/>
                <a:gd name="connsiteY885" fmla="*/ 1020224 h 2674548"/>
                <a:gd name="connsiteX886" fmla="*/ 1170988 w 1871240"/>
                <a:gd name="connsiteY886" fmla="*/ 1017524 h 2674548"/>
                <a:gd name="connsiteX887" fmla="*/ 1165588 w 1871240"/>
                <a:gd name="connsiteY887" fmla="*/ 1014824 h 2674548"/>
                <a:gd name="connsiteX888" fmla="*/ 1161088 w 1871240"/>
                <a:gd name="connsiteY888" fmla="*/ 1011224 h 2674548"/>
                <a:gd name="connsiteX889" fmla="*/ 1156584 w 1871240"/>
                <a:gd name="connsiteY889" fmla="*/ 1007624 h 2674548"/>
                <a:gd name="connsiteX890" fmla="*/ 1153884 w 1871240"/>
                <a:gd name="connsiteY890" fmla="*/ 1004024 h 2674548"/>
                <a:gd name="connsiteX891" fmla="*/ 1151184 w 1871240"/>
                <a:gd name="connsiteY891" fmla="*/ 1000872 h 2674548"/>
                <a:gd name="connsiteX892" fmla="*/ 1146684 w 1871240"/>
                <a:gd name="connsiteY892" fmla="*/ 991872 h 2674548"/>
                <a:gd name="connsiteX893" fmla="*/ 1144884 w 1871240"/>
                <a:gd name="connsiteY893" fmla="*/ 982872 h 2674548"/>
                <a:gd name="connsiteX894" fmla="*/ 1143084 w 1871240"/>
                <a:gd name="connsiteY894" fmla="*/ 972972 h 2674548"/>
                <a:gd name="connsiteX895" fmla="*/ 1139484 w 1871240"/>
                <a:gd name="connsiteY895" fmla="*/ 951372 h 2674548"/>
                <a:gd name="connsiteX896" fmla="*/ 1138584 w 1871240"/>
                <a:gd name="connsiteY896" fmla="*/ 945068 h 2674548"/>
                <a:gd name="connsiteX897" fmla="*/ 1139484 w 1871240"/>
                <a:gd name="connsiteY897" fmla="*/ 940568 h 2674548"/>
                <a:gd name="connsiteX898" fmla="*/ 1140384 w 1871240"/>
                <a:gd name="connsiteY898" fmla="*/ 936068 h 2674548"/>
                <a:gd name="connsiteX899" fmla="*/ 1143084 w 1871240"/>
                <a:gd name="connsiteY899" fmla="*/ 932468 h 2674548"/>
                <a:gd name="connsiteX900" fmla="*/ 1146684 w 1871240"/>
                <a:gd name="connsiteY900" fmla="*/ 928868 h 2674548"/>
                <a:gd name="connsiteX901" fmla="*/ 1150284 w 1871240"/>
                <a:gd name="connsiteY901" fmla="*/ 925268 h 2674548"/>
                <a:gd name="connsiteX902" fmla="*/ 1160188 w 1871240"/>
                <a:gd name="connsiteY902" fmla="*/ 919868 h 2674548"/>
                <a:gd name="connsiteX903" fmla="*/ 1170988 w 1871240"/>
                <a:gd name="connsiteY903" fmla="*/ 915368 h 2674548"/>
                <a:gd name="connsiteX904" fmla="*/ 1182688 w 1871240"/>
                <a:gd name="connsiteY904" fmla="*/ 911768 h 2674548"/>
                <a:gd name="connsiteX905" fmla="*/ 1193488 w 1871240"/>
                <a:gd name="connsiteY905" fmla="*/ 909068 h 2674548"/>
                <a:gd name="connsiteX906" fmla="*/ 1203388 w 1871240"/>
                <a:gd name="connsiteY906" fmla="*/ 905468 h 2674548"/>
                <a:gd name="connsiteX907" fmla="*/ 1212392 w 1871240"/>
                <a:gd name="connsiteY907" fmla="*/ 900968 h 2674548"/>
                <a:gd name="connsiteX908" fmla="*/ 1219592 w 1871240"/>
                <a:gd name="connsiteY908" fmla="*/ 896468 h 2674548"/>
                <a:gd name="connsiteX909" fmla="*/ 1225892 w 1871240"/>
                <a:gd name="connsiteY909" fmla="*/ 891064 h 2674548"/>
                <a:gd name="connsiteX910" fmla="*/ 1233092 w 1871240"/>
                <a:gd name="connsiteY910" fmla="*/ 883864 h 2674548"/>
                <a:gd name="connsiteX911" fmla="*/ 1246592 w 1871240"/>
                <a:gd name="connsiteY911" fmla="*/ 869464 h 2674548"/>
                <a:gd name="connsiteX912" fmla="*/ 1254692 w 1871240"/>
                <a:gd name="connsiteY912" fmla="*/ 861364 h 2674548"/>
                <a:gd name="connsiteX913" fmla="*/ 1263692 w 1871240"/>
                <a:gd name="connsiteY913" fmla="*/ 852364 h 2674548"/>
                <a:gd name="connsiteX914" fmla="*/ 1271796 w 1871240"/>
                <a:gd name="connsiteY914" fmla="*/ 844264 h 2674548"/>
                <a:gd name="connsiteX915" fmla="*/ 1278096 w 1871240"/>
                <a:gd name="connsiteY915" fmla="*/ 836160 h 2674548"/>
                <a:gd name="connsiteX916" fmla="*/ 1281696 w 1871240"/>
                <a:gd name="connsiteY916" fmla="*/ 828060 h 2674548"/>
                <a:gd name="connsiteX917" fmla="*/ 1283496 w 1871240"/>
                <a:gd name="connsiteY917" fmla="*/ 820860 h 2674548"/>
                <a:gd name="connsiteX918" fmla="*/ 1285296 w 1871240"/>
                <a:gd name="connsiteY918" fmla="*/ 812760 h 2674548"/>
                <a:gd name="connsiteX919" fmla="*/ 1286196 w 1871240"/>
                <a:gd name="connsiteY919" fmla="*/ 802860 h 2674548"/>
                <a:gd name="connsiteX920" fmla="*/ 1286196 w 1871240"/>
                <a:gd name="connsiteY920" fmla="*/ 792958 h 2674548"/>
                <a:gd name="connsiteX921" fmla="*/ 1287996 w 1871240"/>
                <a:gd name="connsiteY921" fmla="*/ 780358 h 2674548"/>
                <a:gd name="connsiteX922" fmla="*/ 1292496 w 1871240"/>
                <a:gd name="connsiteY922" fmla="*/ 742554 h 2674548"/>
                <a:gd name="connsiteX923" fmla="*/ 1294296 w 1871240"/>
                <a:gd name="connsiteY923" fmla="*/ 729054 h 2674548"/>
                <a:gd name="connsiteX924" fmla="*/ 1299696 w 1871240"/>
                <a:gd name="connsiteY924" fmla="*/ 712852 h 2674548"/>
                <a:gd name="connsiteX925" fmla="*/ 1305996 w 1871240"/>
                <a:gd name="connsiteY925" fmla="*/ 696652 h 2674548"/>
                <a:gd name="connsiteX926" fmla="*/ 1307796 w 1871240"/>
                <a:gd name="connsiteY926" fmla="*/ 691250 h 2674548"/>
                <a:gd name="connsiteX927" fmla="*/ 1309596 w 1871240"/>
                <a:gd name="connsiteY927" fmla="*/ 685850 h 2674548"/>
                <a:gd name="connsiteX928" fmla="*/ 1308696 w 1871240"/>
                <a:gd name="connsiteY928" fmla="*/ 680450 h 2674548"/>
                <a:gd name="connsiteX929" fmla="*/ 1307796 w 1871240"/>
                <a:gd name="connsiteY929" fmla="*/ 674150 h 2674548"/>
                <a:gd name="connsiteX930" fmla="*/ 1304196 w 1871240"/>
                <a:gd name="connsiteY930" fmla="*/ 666950 h 2674548"/>
                <a:gd name="connsiteX931" fmla="*/ 1299696 w 1871240"/>
                <a:gd name="connsiteY931" fmla="*/ 657048 h 2674548"/>
                <a:gd name="connsiteX932" fmla="*/ 1295196 w 1871240"/>
                <a:gd name="connsiteY932" fmla="*/ 646248 h 2674548"/>
                <a:gd name="connsiteX933" fmla="*/ 1291596 w 1871240"/>
                <a:gd name="connsiteY933" fmla="*/ 633646 h 2674548"/>
                <a:gd name="connsiteX934" fmla="*/ 1285296 w 1871240"/>
                <a:gd name="connsiteY934" fmla="*/ 607544 h 2674548"/>
                <a:gd name="connsiteX935" fmla="*/ 1282596 w 1871240"/>
                <a:gd name="connsiteY935" fmla="*/ 594044 h 2674548"/>
                <a:gd name="connsiteX936" fmla="*/ 1279896 w 1871240"/>
                <a:gd name="connsiteY936" fmla="*/ 581442 h 2674548"/>
                <a:gd name="connsiteX937" fmla="*/ 1275396 w 1871240"/>
                <a:gd name="connsiteY937" fmla="*/ 569742 h 2674548"/>
                <a:gd name="connsiteX938" fmla="*/ 1270896 w 1871240"/>
                <a:gd name="connsiteY938" fmla="*/ 558942 h 2674548"/>
                <a:gd name="connsiteX939" fmla="*/ 1267296 w 1871240"/>
                <a:gd name="connsiteY939" fmla="*/ 550840 h 2674548"/>
                <a:gd name="connsiteX940" fmla="*/ 1266396 w 1871240"/>
                <a:gd name="connsiteY940" fmla="*/ 547240 h 2674548"/>
                <a:gd name="connsiteX941" fmla="*/ 1266396 w 1871240"/>
                <a:gd name="connsiteY941" fmla="*/ 545440 h 2674548"/>
                <a:gd name="connsiteX942" fmla="*/ 1266396 w 1871240"/>
                <a:gd name="connsiteY942" fmla="*/ 542740 h 2674548"/>
                <a:gd name="connsiteX943" fmla="*/ 1268196 w 1871240"/>
                <a:gd name="connsiteY943" fmla="*/ 541840 h 2674548"/>
                <a:gd name="connsiteX944" fmla="*/ 1270896 w 1871240"/>
                <a:gd name="connsiteY944" fmla="*/ 540040 h 2674548"/>
                <a:gd name="connsiteX945" fmla="*/ 1282596 w 1871240"/>
                <a:gd name="connsiteY945" fmla="*/ 536440 h 2674548"/>
                <a:gd name="connsiteX946" fmla="*/ 1288896 w 1871240"/>
                <a:gd name="connsiteY946" fmla="*/ 533740 h 2674548"/>
                <a:gd name="connsiteX947" fmla="*/ 1295196 w 1871240"/>
                <a:gd name="connsiteY947" fmla="*/ 530140 h 2674548"/>
                <a:gd name="connsiteX948" fmla="*/ 1297896 w 1871240"/>
                <a:gd name="connsiteY948" fmla="*/ 527438 h 2674548"/>
                <a:gd name="connsiteX949" fmla="*/ 1299696 w 1871240"/>
                <a:gd name="connsiteY949" fmla="*/ 524738 h 2674548"/>
                <a:gd name="connsiteX950" fmla="*/ 1299696 w 1871240"/>
                <a:gd name="connsiteY950" fmla="*/ 522038 h 2674548"/>
                <a:gd name="connsiteX951" fmla="*/ 1299696 w 1871240"/>
                <a:gd name="connsiteY951" fmla="*/ 520238 h 2674548"/>
                <a:gd name="connsiteX952" fmla="*/ 1298796 w 1871240"/>
                <a:gd name="connsiteY952" fmla="*/ 518438 h 2674548"/>
                <a:gd name="connsiteX953" fmla="*/ 1297896 w 1871240"/>
                <a:gd name="connsiteY953" fmla="*/ 516638 h 2674548"/>
                <a:gd name="connsiteX954" fmla="*/ 1293396 w 1871240"/>
                <a:gd name="connsiteY954" fmla="*/ 513938 h 2674548"/>
                <a:gd name="connsiteX955" fmla="*/ 1286196 w 1871240"/>
                <a:gd name="connsiteY955" fmla="*/ 511238 h 2674548"/>
                <a:gd name="connsiteX956" fmla="*/ 1278996 w 1871240"/>
                <a:gd name="connsiteY956" fmla="*/ 509438 h 2674548"/>
                <a:gd name="connsiteX957" fmla="*/ 1270896 w 1871240"/>
                <a:gd name="connsiteY957" fmla="*/ 508538 h 2674548"/>
                <a:gd name="connsiteX958" fmla="*/ 1263692 w 1871240"/>
                <a:gd name="connsiteY958" fmla="*/ 508538 h 2674548"/>
                <a:gd name="connsiteX959" fmla="*/ 1260092 w 1871240"/>
                <a:gd name="connsiteY959" fmla="*/ 507638 h 2674548"/>
                <a:gd name="connsiteX960" fmla="*/ 1256492 w 1871240"/>
                <a:gd name="connsiteY960" fmla="*/ 505838 h 2674548"/>
                <a:gd name="connsiteX961" fmla="*/ 1252892 w 1871240"/>
                <a:gd name="connsiteY961" fmla="*/ 504038 h 2674548"/>
                <a:gd name="connsiteX962" fmla="*/ 1250192 w 1871240"/>
                <a:gd name="connsiteY962" fmla="*/ 500436 h 2674548"/>
                <a:gd name="connsiteX963" fmla="*/ 1242992 w 1871240"/>
                <a:gd name="connsiteY963" fmla="*/ 491436 h 2674548"/>
                <a:gd name="connsiteX964" fmla="*/ 1236692 w 1871240"/>
                <a:gd name="connsiteY964" fmla="*/ 479736 h 2674548"/>
                <a:gd name="connsiteX965" fmla="*/ 1230392 w 1871240"/>
                <a:gd name="connsiteY965" fmla="*/ 467134 h 2674548"/>
                <a:gd name="connsiteX966" fmla="*/ 1224092 w 1871240"/>
                <a:gd name="connsiteY966" fmla="*/ 451834 h 2674548"/>
                <a:gd name="connsiteX967" fmla="*/ 1213292 w 1871240"/>
                <a:gd name="connsiteY967" fmla="*/ 421232 h 2674548"/>
                <a:gd name="connsiteX968" fmla="*/ 1206988 w 1871240"/>
                <a:gd name="connsiteY968" fmla="*/ 404130 h 2674548"/>
                <a:gd name="connsiteX969" fmla="*/ 1206988 w 1871240"/>
                <a:gd name="connsiteY969" fmla="*/ 402330 h 2674548"/>
                <a:gd name="connsiteX970" fmla="*/ 1208788 w 1871240"/>
                <a:gd name="connsiteY970" fmla="*/ 404130 h 2674548"/>
                <a:gd name="connsiteX971" fmla="*/ 1210588 w 1871240"/>
                <a:gd name="connsiteY971" fmla="*/ 406830 h 2674548"/>
                <a:gd name="connsiteX972" fmla="*/ 1213292 w 1871240"/>
                <a:gd name="connsiteY972" fmla="*/ 408630 h 2674548"/>
                <a:gd name="connsiteX973" fmla="*/ 1215092 w 1871240"/>
                <a:gd name="connsiteY973" fmla="*/ 408630 h 2674548"/>
                <a:gd name="connsiteX974" fmla="*/ 1216892 w 1871240"/>
                <a:gd name="connsiteY974" fmla="*/ 408630 h 2674548"/>
                <a:gd name="connsiteX975" fmla="*/ 1217792 w 1871240"/>
                <a:gd name="connsiteY975" fmla="*/ 406830 h 2674548"/>
                <a:gd name="connsiteX976" fmla="*/ 1218692 w 1871240"/>
                <a:gd name="connsiteY976" fmla="*/ 405030 h 2674548"/>
                <a:gd name="connsiteX977" fmla="*/ 1220492 w 1871240"/>
                <a:gd name="connsiteY977" fmla="*/ 398730 h 2674548"/>
                <a:gd name="connsiteX978" fmla="*/ 1221392 w 1871240"/>
                <a:gd name="connsiteY978" fmla="*/ 392428 h 2674548"/>
                <a:gd name="connsiteX979" fmla="*/ 1221392 w 1871240"/>
                <a:gd name="connsiteY979" fmla="*/ 387028 h 2674548"/>
                <a:gd name="connsiteX980" fmla="*/ 1219592 w 1871240"/>
                <a:gd name="connsiteY980" fmla="*/ 381628 h 2674548"/>
                <a:gd name="connsiteX981" fmla="*/ 1217792 w 1871240"/>
                <a:gd name="connsiteY981" fmla="*/ 377128 h 2674548"/>
                <a:gd name="connsiteX982" fmla="*/ 1214192 w 1871240"/>
                <a:gd name="connsiteY982" fmla="*/ 371728 h 2674548"/>
                <a:gd name="connsiteX983" fmla="*/ 1209688 w 1871240"/>
                <a:gd name="connsiteY983" fmla="*/ 366328 h 2674548"/>
                <a:gd name="connsiteX984" fmla="*/ 1203388 w 1871240"/>
                <a:gd name="connsiteY984" fmla="*/ 360926 h 2674548"/>
                <a:gd name="connsiteX985" fmla="*/ 1197988 w 1871240"/>
                <a:gd name="connsiteY985" fmla="*/ 357326 h 2674548"/>
                <a:gd name="connsiteX986" fmla="*/ 1193488 w 1871240"/>
                <a:gd name="connsiteY986" fmla="*/ 354626 h 2674548"/>
                <a:gd name="connsiteX987" fmla="*/ 1188988 w 1871240"/>
                <a:gd name="connsiteY987" fmla="*/ 354626 h 2674548"/>
                <a:gd name="connsiteX988" fmla="*/ 1184488 w 1871240"/>
                <a:gd name="connsiteY988" fmla="*/ 354626 h 2674548"/>
                <a:gd name="connsiteX989" fmla="*/ 1180888 w 1871240"/>
                <a:gd name="connsiteY989" fmla="*/ 354626 h 2674548"/>
                <a:gd name="connsiteX990" fmla="*/ 1175488 w 1871240"/>
                <a:gd name="connsiteY990" fmla="*/ 354626 h 2674548"/>
                <a:gd name="connsiteX991" fmla="*/ 1170088 w 1871240"/>
                <a:gd name="connsiteY991" fmla="*/ 352826 h 2674548"/>
                <a:gd name="connsiteX992" fmla="*/ 1162888 w 1871240"/>
                <a:gd name="connsiteY992" fmla="*/ 349226 h 2674548"/>
                <a:gd name="connsiteX993" fmla="*/ 1158388 w 1871240"/>
                <a:gd name="connsiteY993" fmla="*/ 346526 h 2674548"/>
                <a:gd name="connsiteX994" fmla="*/ 1153884 w 1871240"/>
                <a:gd name="connsiteY994" fmla="*/ 342926 h 2674548"/>
                <a:gd name="connsiteX995" fmla="*/ 1143084 w 1871240"/>
                <a:gd name="connsiteY995" fmla="*/ 332124 h 2674548"/>
                <a:gd name="connsiteX996" fmla="*/ 1131384 w 1871240"/>
                <a:gd name="connsiteY996" fmla="*/ 318624 h 2674548"/>
                <a:gd name="connsiteX997" fmla="*/ 1119684 w 1871240"/>
                <a:gd name="connsiteY997" fmla="*/ 303322 h 2674548"/>
                <a:gd name="connsiteX998" fmla="*/ 1108884 w 1871240"/>
                <a:gd name="connsiteY998" fmla="*/ 287122 h 2674548"/>
                <a:gd name="connsiteX999" fmla="*/ 1098980 w 1871240"/>
                <a:gd name="connsiteY999" fmla="*/ 271820 h 2674548"/>
                <a:gd name="connsiteX1000" fmla="*/ 1090880 w 1871240"/>
                <a:gd name="connsiteY1000" fmla="*/ 256518 h 2674548"/>
                <a:gd name="connsiteX1001" fmla="*/ 1085480 w 1871240"/>
                <a:gd name="connsiteY1001" fmla="*/ 243018 h 2674548"/>
                <a:gd name="connsiteX1002" fmla="*/ 1080080 w 1871240"/>
                <a:gd name="connsiteY1002" fmla="*/ 225916 h 2674548"/>
                <a:gd name="connsiteX1003" fmla="*/ 1079180 w 1871240"/>
                <a:gd name="connsiteY1003" fmla="*/ 220516 h 2674548"/>
                <a:gd name="connsiteX1004" fmla="*/ 1076480 w 1871240"/>
                <a:gd name="connsiteY1004" fmla="*/ 216916 h 2674548"/>
                <a:gd name="connsiteX1005" fmla="*/ 1074680 w 1871240"/>
                <a:gd name="connsiteY1005" fmla="*/ 215116 h 2674548"/>
                <a:gd name="connsiteX1006" fmla="*/ 1071080 w 1871240"/>
                <a:gd name="connsiteY1006" fmla="*/ 213316 h 2674548"/>
                <a:gd name="connsiteX1007" fmla="*/ 1059380 w 1871240"/>
                <a:gd name="connsiteY1007" fmla="*/ 212416 h 2674548"/>
                <a:gd name="connsiteX1008" fmla="*/ 1055780 w 1871240"/>
                <a:gd name="connsiteY1008" fmla="*/ 211516 h 2674548"/>
                <a:gd name="connsiteX1009" fmla="*/ 1052180 w 1871240"/>
                <a:gd name="connsiteY1009" fmla="*/ 210616 h 2674548"/>
                <a:gd name="connsiteX1010" fmla="*/ 1049476 w 1871240"/>
                <a:gd name="connsiteY1010" fmla="*/ 208816 h 2674548"/>
                <a:gd name="connsiteX1011" fmla="*/ 1047676 w 1871240"/>
                <a:gd name="connsiteY1011" fmla="*/ 207016 h 2674548"/>
                <a:gd name="connsiteX1012" fmla="*/ 1044976 w 1871240"/>
                <a:gd name="connsiteY1012" fmla="*/ 202514 h 2674548"/>
                <a:gd name="connsiteX1013" fmla="*/ 1042276 w 1871240"/>
                <a:gd name="connsiteY1013" fmla="*/ 195314 h 2674548"/>
                <a:gd name="connsiteX1014" fmla="*/ 1037776 w 1871240"/>
                <a:gd name="connsiteY1014" fmla="*/ 177314 h 2674548"/>
                <a:gd name="connsiteX1015" fmla="*/ 1034176 w 1871240"/>
                <a:gd name="connsiteY1015" fmla="*/ 166512 h 2674548"/>
                <a:gd name="connsiteX1016" fmla="*/ 1028776 w 1871240"/>
                <a:gd name="connsiteY1016" fmla="*/ 153012 h 2674548"/>
                <a:gd name="connsiteX1017" fmla="*/ 1019776 w 1871240"/>
                <a:gd name="connsiteY1017" fmla="*/ 135010 h 2674548"/>
                <a:gd name="connsiteX1018" fmla="*/ 1018876 w 1871240"/>
                <a:gd name="connsiteY1018" fmla="*/ 131410 h 2674548"/>
                <a:gd name="connsiteX1019" fmla="*/ 1018876 w 1871240"/>
                <a:gd name="connsiteY1019" fmla="*/ 129610 h 2674548"/>
                <a:gd name="connsiteX1020" fmla="*/ 1022476 w 1871240"/>
                <a:gd name="connsiteY1020" fmla="*/ 127810 h 2674548"/>
                <a:gd name="connsiteX1021" fmla="*/ 1025176 w 1871240"/>
                <a:gd name="connsiteY1021" fmla="*/ 124210 h 2674548"/>
                <a:gd name="connsiteX1022" fmla="*/ 1027876 w 1871240"/>
                <a:gd name="connsiteY1022" fmla="*/ 117908 h 2674548"/>
                <a:gd name="connsiteX1023" fmla="*/ 1028776 w 1871240"/>
                <a:gd name="connsiteY1023" fmla="*/ 114308 h 2674548"/>
                <a:gd name="connsiteX1024" fmla="*/ 1028776 w 1871240"/>
                <a:gd name="connsiteY1024" fmla="*/ 109808 h 2674548"/>
                <a:gd name="connsiteX1025" fmla="*/ 1027876 w 1871240"/>
                <a:gd name="connsiteY1025" fmla="*/ 105308 h 2674548"/>
                <a:gd name="connsiteX1026" fmla="*/ 1026076 w 1871240"/>
                <a:gd name="connsiteY1026" fmla="*/ 100808 h 2674548"/>
                <a:gd name="connsiteX1027" fmla="*/ 1020676 w 1871240"/>
                <a:gd name="connsiteY1027" fmla="*/ 92706 h 2674548"/>
                <a:gd name="connsiteX1028" fmla="*/ 1014376 w 1871240"/>
                <a:gd name="connsiteY1028" fmla="*/ 83706 h 2674548"/>
                <a:gd name="connsiteX1029" fmla="*/ 1006276 w 1871240"/>
                <a:gd name="connsiteY1029" fmla="*/ 75606 h 2674548"/>
                <a:gd name="connsiteX1030" fmla="*/ 997276 w 1871240"/>
                <a:gd name="connsiteY1030" fmla="*/ 67504 h 2674548"/>
                <a:gd name="connsiteX1031" fmla="*/ 981972 w 1871240"/>
                <a:gd name="connsiteY1031" fmla="*/ 53104 h 2674548"/>
                <a:gd name="connsiteX1032" fmla="*/ 979272 w 1871240"/>
                <a:gd name="connsiteY1032" fmla="*/ 49504 h 2674548"/>
                <a:gd name="connsiteX1033" fmla="*/ 976572 w 1871240"/>
                <a:gd name="connsiteY1033" fmla="*/ 45904 h 2674548"/>
                <a:gd name="connsiteX1034" fmla="*/ 972972 w 1871240"/>
                <a:gd name="connsiteY1034" fmla="*/ 37802 h 2674548"/>
                <a:gd name="connsiteX1035" fmla="*/ 971172 w 1871240"/>
                <a:gd name="connsiteY1035" fmla="*/ 28802 h 2674548"/>
                <a:gd name="connsiteX1036" fmla="*/ 969372 w 1871240"/>
                <a:gd name="connsiteY1036" fmla="*/ 20702 h 2674548"/>
                <a:gd name="connsiteX1037" fmla="*/ 969372 w 1871240"/>
                <a:gd name="connsiteY1037" fmla="*/ 12600 h 2674548"/>
                <a:gd name="connsiteX1038" fmla="*/ 969372 w 1871240"/>
                <a:gd name="connsiteY1038" fmla="*/ 6300 h 2674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</a:cxnLst>
              <a:rect l="l" t="t" r="r" b="b"/>
              <a:pathLst>
                <a:path w="1871240" h="2674548">
                  <a:moveTo>
                    <a:pt x="204316" y="2544036"/>
                  </a:moveTo>
                  <a:lnTo>
                    <a:pt x="207016" y="2544036"/>
                  </a:lnTo>
                  <a:lnTo>
                    <a:pt x="209716" y="2544936"/>
                  </a:lnTo>
                  <a:lnTo>
                    <a:pt x="218716" y="2548536"/>
                  </a:lnTo>
                  <a:lnTo>
                    <a:pt x="227716" y="2553936"/>
                  </a:lnTo>
                  <a:lnTo>
                    <a:pt x="236716" y="2560240"/>
                  </a:lnTo>
                  <a:lnTo>
                    <a:pt x="244820" y="2567440"/>
                  </a:lnTo>
                  <a:lnTo>
                    <a:pt x="247520" y="2570140"/>
                  </a:lnTo>
                  <a:lnTo>
                    <a:pt x="249320" y="2572840"/>
                  </a:lnTo>
                  <a:lnTo>
                    <a:pt x="250220" y="2575540"/>
                  </a:lnTo>
                  <a:lnTo>
                    <a:pt x="250220" y="2578240"/>
                  </a:lnTo>
                  <a:lnTo>
                    <a:pt x="245720" y="2586340"/>
                  </a:lnTo>
                  <a:lnTo>
                    <a:pt x="244820" y="2590840"/>
                  </a:lnTo>
                  <a:lnTo>
                    <a:pt x="243020" y="2596240"/>
                  </a:lnTo>
                  <a:lnTo>
                    <a:pt x="243020" y="2602540"/>
                  </a:lnTo>
                  <a:lnTo>
                    <a:pt x="243020" y="2609740"/>
                  </a:lnTo>
                  <a:lnTo>
                    <a:pt x="244820" y="2617844"/>
                  </a:lnTo>
                  <a:lnTo>
                    <a:pt x="247520" y="2625944"/>
                  </a:lnTo>
                  <a:lnTo>
                    <a:pt x="249320" y="2630444"/>
                  </a:lnTo>
                  <a:lnTo>
                    <a:pt x="250220" y="2634044"/>
                  </a:lnTo>
                  <a:lnTo>
                    <a:pt x="249320" y="2636744"/>
                  </a:lnTo>
                  <a:lnTo>
                    <a:pt x="249320" y="2639444"/>
                  </a:lnTo>
                  <a:lnTo>
                    <a:pt x="247520" y="2642144"/>
                  </a:lnTo>
                  <a:lnTo>
                    <a:pt x="245720" y="2643944"/>
                  </a:lnTo>
                  <a:lnTo>
                    <a:pt x="239420" y="2646644"/>
                  </a:lnTo>
                  <a:lnTo>
                    <a:pt x="232216" y="2648444"/>
                  </a:lnTo>
                  <a:lnTo>
                    <a:pt x="223216" y="2649344"/>
                  </a:lnTo>
                  <a:lnTo>
                    <a:pt x="202516" y="2652944"/>
                  </a:lnTo>
                  <a:lnTo>
                    <a:pt x="194416" y="2654744"/>
                  </a:lnTo>
                  <a:lnTo>
                    <a:pt x="189016" y="2657444"/>
                  </a:lnTo>
                  <a:lnTo>
                    <a:pt x="185412" y="2661044"/>
                  </a:lnTo>
                  <a:lnTo>
                    <a:pt x="183612" y="2664644"/>
                  </a:lnTo>
                  <a:lnTo>
                    <a:pt x="180912" y="2667344"/>
                  </a:lnTo>
                  <a:lnTo>
                    <a:pt x="178212" y="2670044"/>
                  </a:lnTo>
                  <a:lnTo>
                    <a:pt x="172812" y="2672744"/>
                  </a:lnTo>
                  <a:lnTo>
                    <a:pt x="163812" y="2674548"/>
                  </a:lnTo>
                  <a:lnTo>
                    <a:pt x="154812" y="2674548"/>
                  </a:lnTo>
                  <a:lnTo>
                    <a:pt x="152112" y="2673644"/>
                  </a:lnTo>
                  <a:lnTo>
                    <a:pt x="151212" y="2672744"/>
                  </a:lnTo>
                  <a:lnTo>
                    <a:pt x="150312" y="2670944"/>
                  </a:lnTo>
                  <a:lnTo>
                    <a:pt x="149412" y="2669144"/>
                  </a:lnTo>
                  <a:lnTo>
                    <a:pt x="151212" y="2665544"/>
                  </a:lnTo>
                  <a:lnTo>
                    <a:pt x="157512" y="2652944"/>
                  </a:lnTo>
                  <a:lnTo>
                    <a:pt x="161112" y="2645744"/>
                  </a:lnTo>
                  <a:lnTo>
                    <a:pt x="163812" y="2637644"/>
                  </a:lnTo>
                  <a:lnTo>
                    <a:pt x="167412" y="2624144"/>
                  </a:lnTo>
                  <a:lnTo>
                    <a:pt x="170112" y="2619644"/>
                  </a:lnTo>
                  <a:lnTo>
                    <a:pt x="172812" y="2615140"/>
                  </a:lnTo>
                  <a:lnTo>
                    <a:pt x="175512" y="2610640"/>
                  </a:lnTo>
                  <a:lnTo>
                    <a:pt x="180012" y="2607040"/>
                  </a:lnTo>
                  <a:lnTo>
                    <a:pt x="189916" y="2597140"/>
                  </a:lnTo>
                  <a:lnTo>
                    <a:pt x="192616" y="2594440"/>
                  </a:lnTo>
                  <a:lnTo>
                    <a:pt x="195316" y="2590840"/>
                  </a:lnTo>
                  <a:lnTo>
                    <a:pt x="198916" y="2583640"/>
                  </a:lnTo>
                  <a:lnTo>
                    <a:pt x="201616" y="2575540"/>
                  </a:lnTo>
                  <a:lnTo>
                    <a:pt x="202516" y="2566540"/>
                  </a:lnTo>
                  <a:lnTo>
                    <a:pt x="202516" y="2559340"/>
                  </a:lnTo>
                  <a:lnTo>
                    <a:pt x="202516" y="2553036"/>
                  </a:lnTo>
                  <a:lnTo>
                    <a:pt x="202516" y="2547636"/>
                  </a:lnTo>
                  <a:lnTo>
                    <a:pt x="202516" y="2545836"/>
                  </a:lnTo>
                  <a:close/>
                  <a:moveTo>
                    <a:pt x="949572" y="1224540"/>
                  </a:moveTo>
                  <a:lnTo>
                    <a:pt x="952272" y="1224540"/>
                  </a:lnTo>
                  <a:lnTo>
                    <a:pt x="954972" y="1225440"/>
                  </a:lnTo>
                  <a:lnTo>
                    <a:pt x="956772" y="1227240"/>
                  </a:lnTo>
                  <a:lnTo>
                    <a:pt x="959472" y="1229040"/>
                  </a:lnTo>
                  <a:lnTo>
                    <a:pt x="963972" y="1235340"/>
                  </a:lnTo>
                  <a:lnTo>
                    <a:pt x="966672" y="1242540"/>
                  </a:lnTo>
                  <a:lnTo>
                    <a:pt x="969372" y="1252444"/>
                  </a:lnTo>
                  <a:lnTo>
                    <a:pt x="970272" y="1262344"/>
                  </a:lnTo>
                  <a:lnTo>
                    <a:pt x="970272" y="1273144"/>
                  </a:lnTo>
                  <a:lnTo>
                    <a:pt x="970272" y="1282144"/>
                  </a:lnTo>
                  <a:lnTo>
                    <a:pt x="970272" y="1285744"/>
                  </a:lnTo>
                  <a:lnTo>
                    <a:pt x="972072" y="1288444"/>
                  </a:lnTo>
                  <a:lnTo>
                    <a:pt x="972972" y="1290244"/>
                  </a:lnTo>
                  <a:lnTo>
                    <a:pt x="974772" y="1292044"/>
                  </a:lnTo>
                  <a:lnTo>
                    <a:pt x="980172" y="1293844"/>
                  </a:lnTo>
                  <a:lnTo>
                    <a:pt x="986472" y="1294744"/>
                  </a:lnTo>
                  <a:lnTo>
                    <a:pt x="993676" y="1295644"/>
                  </a:lnTo>
                  <a:lnTo>
                    <a:pt x="1003576" y="1296544"/>
                  </a:lnTo>
                  <a:lnTo>
                    <a:pt x="1013476" y="1299244"/>
                  </a:lnTo>
                  <a:lnTo>
                    <a:pt x="1022476" y="1303744"/>
                  </a:lnTo>
                  <a:lnTo>
                    <a:pt x="1027876" y="1307348"/>
                  </a:lnTo>
                  <a:lnTo>
                    <a:pt x="1029676" y="1310048"/>
                  </a:lnTo>
                  <a:lnTo>
                    <a:pt x="1031476" y="1311848"/>
                  </a:lnTo>
                  <a:lnTo>
                    <a:pt x="1032376" y="1317248"/>
                  </a:lnTo>
                  <a:lnTo>
                    <a:pt x="1032376" y="1323548"/>
                  </a:lnTo>
                  <a:lnTo>
                    <a:pt x="1031476" y="1330748"/>
                  </a:lnTo>
                  <a:lnTo>
                    <a:pt x="1030576" y="1338848"/>
                  </a:lnTo>
                  <a:lnTo>
                    <a:pt x="1030576" y="1347848"/>
                  </a:lnTo>
                  <a:lnTo>
                    <a:pt x="1030576" y="1355948"/>
                  </a:lnTo>
                  <a:lnTo>
                    <a:pt x="1031476" y="1361352"/>
                  </a:lnTo>
                  <a:lnTo>
                    <a:pt x="1033276" y="1364052"/>
                  </a:lnTo>
                  <a:lnTo>
                    <a:pt x="1035976" y="1364952"/>
                  </a:lnTo>
                  <a:lnTo>
                    <a:pt x="1039576" y="1364052"/>
                  </a:lnTo>
                  <a:lnTo>
                    <a:pt x="1045880" y="1362252"/>
                  </a:lnTo>
                  <a:lnTo>
                    <a:pt x="1052180" y="1361352"/>
                  </a:lnTo>
                  <a:lnTo>
                    <a:pt x="1061180" y="1359548"/>
                  </a:lnTo>
                  <a:lnTo>
                    <a:pt x="1071080" y="1357748"/>
                  </a:lnTo>
                  <a:lnTo>
                    <a:pt x="1078280" y="1355048"/>
                  </a:lnTo>
                  <a:lnTo>
                    <a:pt x="1085480" y="1350548"/>
                  </a:lnTo>
                  <a:lnTo>
                    <a:pt x="1091780" y="1345148"/>
                  </a:lnTo>
                  <a:lnTo>
                    <a:pt x="1105284" y="1330748"/>
                  </a:lnTo>
                  <a:lnTo>
                    <a:pt x="1112484" y="1322648"/>
                  </a:lnTo>
                  <a:lnTo>
                    <a:pt x="1121484" y="1314548"/>
                  </a:lnTo>
                  <a:lnTo>
                    <a:pt x="1130484" y="1306448"/>
                  </a:lnTo>
                  <a:lnTo>
                    <a:pt x="1138584" y="1301944"/>
                  </a:lnTo>
                  <a:lnTo>
                    <a:pt x="1144884" y="1300144"/>
                  </a:lnTo>
                  <a:lnTo>
                    <a:pt x="1150284" y="1300144"/>
                  </a:lnTo>
                  <a:lnTo>
                    <a:pt x="1155688" y="1302844"/>
                  </a:lnTo>
                  <a:lnTo>
                    <a:pt x="1161088" y="1305548"/>
                  </a:lnTo>
                  <a:lnTo>
                    <a:pt x="1171888" y="1314548"/>
                  </a:lnTo>
                  <a:lnTo>
                    <a:pt x="1184488" y="1323548"/>
                  </a:lnTo>
                  <a:lnTo>
                    <a:pt x="1188988" y="1328048"/>
                  </a:lnTo>
                  <a:lnTo>
                    <a:pt x="1193488" y="1332548"/>
                  </a:lnTo>
                  <a:lnTo>
                    <a:pt x="1196188" y="1337948"/>
                  </a:lnTo>
                  <a:lnTo>
                    <a:pt x="1197088" y="1343348"/>
                  </a:lnTo>
                  <a:lnTo>
                    <a:pt x="1196188" y="1348748"/>
                  </a:lnTo>
                  <a:lnTo>
                    <a:pt x="1194388" y="1355048"/>
                  </a:lnTo>
                  <a:lnTo>
                    <a:pt x="1190788" y="1362252"/>
                  </a:lnTo>
                  <a:lnTo>
                    <a:pt x="1189888" y="1369452"/>
                  </a:lnTo>
                  <a:lnTo>
                    <a:pt x="1188988" y="1378452"/>
                  </a:lnTo>
                  <a:lnTo>
                    <a:pt x="1190788" y="1388352"/>
                  </a:lnTo>
                  <a:lnTo>
                    <a:pt x="1193488" y="1399152"/>
                  </a:lnTo>
                  <a:lnTo>
                    <a:pt x="1197988" y="1410852"/>
                  </a:lnTo>
                  <a:lnTo>
                    <a:pt x="1203388" y="1424356"/>
                  </a:lnTo>
                  <a:lnTo>
                    <a:pt x="1210592" y="1439656"/>
                  </a:lnTo>
                  <a:lnTo>
                    <a:pt x="1214192" y="1446856"/>
                  </a:lnTo>
                  <a:lnTo>
                    <a:pt x="1216892" y="1453156"/>
                  </a:lnTo>
                  <a:lnTo>
                    <a:pt x="1218692" y="1458556"/>
                  </a:lnTo>
                  <a:lnTo>
                    <a:pt x="1218692" y="1463056"/>
                  </a:lnTo>
                  <a:lnTo>
                    <a:pt x="1218692" y="1467556"/>
                  </a:lnTo>
                  <a:lnTo>
                    <a:pt x="1218692" y="1471160"/>
                  </a:lnTo>
                  <a:lnTo>
                    <a:pt x="1215092" y="1478360"/>
                  </a:lnTo>
                  <a:lnTo>
                    <a:pt x="1210592" y="1485560"/>
                  </a:lnTo>
                  <a:lnTo>
                    <a:pt x="1206092" y="1492760"/>
                  </a:lnTo>
                  <a:lnTo>
                    <a:pt x="1200688" y="1501760"/>
                  </a:lnTo>
                  <a:lnTo>
                    <a:pt x="1197988" y="1507160"/>
                  </a:lnTo>
                  <a:lnTo>
                    <a:pt x="1196188" y="1513460"/>
                  </a:lnTo>
                  <a:lnTo>
                    <a:pt x="1192588" y="1526064"/>
                  </a:lnTo>
                  <a:lnTo>
                    <a:pt x="1188088" y="1536864"/>
                  </a:lnTo>
                  <a:lnTo>
                    <a:pt x="1183588" y="1545864"/>
                  </a:lnTo>
                  <a:lnTo>
                    <a:pt x="1178188" y="1553064"/>
                  </a:lnTo>
                  <a:lnTo>
                    <a:pt x="1172788" y="1560264"/>
                  </a:lnTo>
                  <a:lnTo>
                    <a:pt x="1166488" y="1565664"/>
                  </a:lnTo>
                  <a:lnTo>
                    <a:pt x="1152988" y="1576468"/>
                  </a:lnTo>
                  <a:lnTo>
                    <a:pt x="1149384" y="1580068"/>
                  </a:lnTo>
                  <a:lnTo>
                    <a:pt x="1145784" y="1583668"/>
                  </a:lnTo>
                  <a:lnTo>
                    <a:pt x="1136784" y="1594468"/>
                  </a:lnTo>
                  <a:lnTo>
                    <a:pt x="1128684" y="1607968"/>
                  </a:lnTo>
                  <a:lnTo>
                    <a:pt x="1120584" y="1623268"/>
                  </a:lnTo>
                  <a:lnTo>
                    <a:pt x="1104384" y="1653872"/>
                  </a:lnTo>
                  <a:lnTo>
                    <a:pt x="1092680" y="1679972"/>
                  </a:lnTo>
                  <a:lnTo>
                    <a:pt x="1088180" y="1689876"/>
                  </a:lnTo>
                  <a:lnTo>
                    <a:pt x="1081880" y="1699776"/>
                  </a:lnTo>
                  <a:lnTo>
                    <a:pt x="1075580" y="1707876"/>
                  </a:lnTo>
                  <a:lnTo>
                    <a:pt x="1068380" y="1715076"/>
                  </a:lnTo>
                  <a:lnTo>
                    <a:pt x="1054880" y="1727676"/>
                  </a:lnTo>
                  <a:lnTo>
                    <a:pt x="1043180" y="1737580"/>
                  </a:lnTo>
                  <a:lnTo>
                    <a:pt x="1039576" y="1741180"/>
                  </a:lnTo>
                  <a:lnTo>
                    <a:pt x="1036876" y="1744780"/>
                  </a:lnTo>
                  <a:lnTo>
                    <a:pt x="1029676" y="1756480"/>
                  </a:lnTo>
                  <a:lnTo>
                    <a:pt x="1022476" y="1771780"/>
                  </a:lnTo>
                  <a:lnTo>
                    <a:pt x="1014376" y="1788880"/>
                  </a:lnTo>
                  <a:lnTo>
                    <a:pt x="999976" y="1823084"/>
                  </a:lnTo>
                  <a:lnTo>
                    <a:pt x="989176" y="1848288"/>
                  </a:lnTo>
                  <a:lnTo>
                    <a:pt x="988276" y="1852788"/>
                  </a:lnTo>
                  <a:lnTo>
                    <a:pt x="988276" y="1857288"/>
                  </a:lnTo>
                  <a:lnTo>
                    <a:pt x="990076" y="1861788"/>
                  </a:lnTo>
                  <a:lnTo>
                    <a:pt x="992776" y="1866288"/>
                  </a:lnTo>
                  <a:lnTo>
                    <a:pt x="995476" y="1870788"/>
                  </a:lnTo>
                  <a:lnTo>
                    <a:pt x="999976" y="1874388"/>
                  </a:lnTo>
                  <a:lnTo>
                    <a:pt x="1009876" y="1882488"/>
                  </a:lnTo>
                  <a:lnTo>
                    <a:pt x="1029676" y="1898688"/>
                  </a:lnTo>
                  <a:lnTo>
                    <a:pt x="1037776" y="1905892"/>
                  </a:lnTo>
                  <a:lnTo>
                    <a:pt x="1040476" y="1909492"/>
                  </a:lnTo>
                  <a:lnTo>
                    <a:pt x="1042276" y="1913092"/>
                  </a:lnTo>
                  <a:lnTo>
                    <a:pt x="1043180" y="1916692"/>
                  </a:lnTo>
                  <a:lnTo>
                    <a:pt x="1041376" y="1919392"/>
                  </a:lnTo>
                  <a:lnTo>
                    <a:pt x="1038676" y="1921192"/>
                  </a:lnTo>
                  <a:lnTo>
                    <a:pt x="1035076" y="1922992"/>
                  </a:lnTo>
                  <a:lnTo>
                    <a:pt x="1029676" y="1923892"/>
                  </a:lnTo>
                  <a:lnTo>
                    <a:pt x="1024276" y="1924792"/>
                  </a:lnTo>
                  <a:lnTo>
                    <a:pt x="1010776" y="1923892"/>
                  </a:lnTo>
                  <a:lnTo>
                    <a:pt x="995476" y="1922092"/>
                  </a:lnTo>
                  <a:lnTo>
                    <a:pt x="981072" y="1919392"/>
                  </a:lnTo>
                  <a:lnTo>
                    <a:pt x="969372" y="1915792"/>
                  </a:lnTo>
                  <a:lnTo>
                    <a:pt x="963972" y="1913092"/>
                  </a:lnTo>
                  <a:lnTo>
                    <a:pt x="960372" y="1911292"/>
                  </a:lnTo>
                  <a:lnTo>
                    <a:pt x="956772" y="1909492"/>
                  </a:lnTo>
                  <a:lnTo>
                    <a:pt x="953172" y="1907692"/>
                  </a:lnTo>
                  <a:lnTo>
                    <a:pt x="949572" y="1906792"/>
                  </a:lnTo>
                  <a:lnTo>
                    <a:pt x="945072" y="1906792"/>
                  </a:lnTo>
                  <a:lnTo>
                    <a:pt x="935172" y="1907692"/>
                  </a:lnTo>
                  <a:lnTo>
                    <a:pt x="925268" y="1910392"/>
                  </a:lnTo>
                  <a:lnTo>
                    <a:pt x="914468" y="1914892"/>
                  </a:lnTo>
                  <a:lnTo>
                    <a:pt x="904568" y="1920292"/>
                  </a:lnTo>
                  <a:lnTo>
                    <a:pt x="894668" y="1927492"/>
                  </a:lnTo>
                  <a:lnTo>
                    <a:pt x="885668" y="1935592"/>
                  </a:lnTo>
                  <a:lnTo>
                    <a:pt x="877564" y="1942792"/>
                  </a:lnTo>
                  <a:lnTo>
                    <a:pt x="868564" y="1949092"/>
                  </a:lnTo>
                  <a:lnTo>
                    <a:pt x="858664" y="1954496"/>
                  </a:lnTo>
                  <a:lnTo>
                    <a:pt x="848764" y="1958096"/>
                  </a:lnTo>
                  <a:lnTo>
                    <a:pt x="837964" y="1960796"/>
                  </a:lnTo>
                  <a:lnTo>
                    <a:pt x="827164" y="1962596"/>
                  </a:lnTo>
                  <a:lnTo>
                    <a:pt x="815460" y="1962596"/>
                  </a:lnTo>
                  <a:lnTo>
                    <a:pt x="803760" y="1961696"/>
                  </a:lnTo>
                  <a:lnTo>
                    <a:pt x="798360" y="1961696"/>
                  </a:lnTo>
                  <a:lnTo>
                    <a:pt x="793860" y="1962596"/>
                  </a:lnTo>
                  <a:lnTo>
                    <a:pt x="790260" y="1964396"/>
                  </a:lnTo>
                  <a:lnTo>
                    <a:pt x="787560" y="1967996"/>
                  </a:lnTo>
                  <a:lnTo>
                    <a:pt x="784860" y="1971596"/>
                  </a:lnTo>
                  <a:lnTo>
                    <a:pt x="783060" y="1976996"/>
                  </a:lnTo>
                  <a:lnTo>
                    <a:pt x="779460" y="1987796"/>
                  </a:lnTo>
                  <a:lnTo>
                    <a:pt x="774960" y="2013000"/>
                  </a:lnTo>
                  <a:lnTo>
                    <a:pt x="772260" y="2024700"/>
                  </a:lnTo>
                  <a:lnTo>
                    <a:pt x="770456" y="2029200"/>
                  </a:lnTo>
                  <a:lnTo>
                    <a:pt x="767756" y="2033700"/>
                  </a:lnTo>
                  <a:lnTo>
                    <a:pt x="765056" y="2038200"/>
                  </a:lnTo>
                  <a:lnTo>
                    <a:pt x="763256" y="2043600"/>
                  </a:lnTo>
                  <a:lnTo>
                    <a:pt x="759656" y="2056200"/>
                  </a:lnTo>
                  <a:lnTo>
                    <a:pt x="756056" y="2070604"/>
                  </a:lnTo>
                  <a:lnTo>
                    <a:pt x="753356" y="2086804"/>
                  </a:lnTo>
                  <a:lnTo>
                    <a:pt x="750656" y="2103004"/>
                  </a:lnTo>
                  <a:lnTo>
                    <a:pt x="747956" y="2119208"/>
                  </a:lnTo>
                  <a:lnTo>
                    <a:pt x="743456" y="2133608"/>
                  </a:lnTo>
                  <a:lnTo>
                    <a:pt x="738956" y="2147108"/>
                  </a:lnTo>
                  <a:lnTo>
                    <a:pt x="730856" y="2165108"/>
                  </a:lnTo>
                  <a:lnTo>
                    <a:pt x="725456" y="2177712"/>
                  </a:lnTo>
                  <a:lnTo>
                    <a:pt x="712852" y="2211912"/>
                  </a:lnTo>
                  <a:lnTo>
                    <a:pt x="708352" y="2223612"/>
                  </a:lnTo>
                  <a:lnTo>
                    <a:pt x="707452" y="2232616"/>
                  </a:lnTo>
                  <a:lnTo>
                    <a:pt x="707452" y="2238916"/>
                  </a:lnTo>
                  <a:lnTo>
                    <a:pt x="708352" y="2244316"/>
                  </a:lnTo>
                  <a:lnTo>
                    <a:pt x="709252" y="2247916"/>
                  </a:lnTo>
                  <a:lnTo>
                    <a:pt x="710152" y="2252416"/>
                  </a:lnTo>
                  <a:lnTo>
                    <a:pt x="710152" y="2257816"/>
                  </a:lnTo>
                  <a:lnTo>
                    <a:pt x="707452" y="2265016"/>
                  </a:lnTo>
                  <a:lnTo>
                    <a:pt x="701152" y="2279420"/>
                  </a:lnTo>
                  <a:lnTo>
                    <a:pt x="693952" y="2292920"/>
                  </a:lnTo>
                  <a:lnTo>
                    <a:pt x="684952" y="2308220"/>
                  </a:lnTo>
                  <a:lnTo>
                    <a:pt x="671452" y="2329820"/>
                  </a:lnTo>
                  <a:lnTo>
                    <a:pt x="667852" y="2336124"/>
                  </a:lnTo>
                  <a:lnTo>
                    <a:pt x="666052" y="2340624"/>
                  </a:lnTo>
                  <a:lnTo>
                    <a:pt x="665152" y="2345124"/>
                  </a:lnTo>
                  <a:lnTo>
                    <a:pt x="665152" y="2348724"/>
                  </a:lnTo>
                  <a:lnTo>
                    <a:pt x="665152" y="2351424"/>
                  </a:lnTo>
                  <a:lnTo>
                    <a:pt x="666952" y="2353224"/>
                  </a:lnTo>
                  <a:lnTo>
                    <a:pt x="669652" y="2355924"/>
                  </a:lnTo>
                  <a:lnTo>
                    <a:pt x="672352" y="2356824"/>
                  </a:lnTo>
                  <a:lnTo>
                    <a:pt x="680452" y="2359524"/>
                  </a:lnTo>
                  <a:lnTo>
                    <a:pt x="689452" y="2361324"/>
                  </a:lnTo>
                  <a:lnTo>
                    <a:pt x="700252" y="2363124"/>
                  </a:lnTo>
                  <a:lnTo>
                    <a:pt x="710152" y="2365824"/>
                  </a:lnTo>
                  <a:lnTo>
                    <a:pt x="709252" y="2368524"/>
                  </a:lnTo>
                  <a:lnTo>
                    <a:pt x="706552" y="2374824"/>
                  </a:lnTo>
                  <a:lnTo>
                    <a:pt x="703852" y="2378424"/>
                  </a:lnTo>
                  <a:lnTo>
                    <a:pt x="700252" y="2382024"/>
                  </a:lnTo>
                  <a:lnTo>
                    <a:pt x="694852" y="2385628"/>
                  </a:lnTo>
                  <a:lnTo>
                    <a:pt x="688552" y="2387428"/>
                  </a:lnTo>
                  <a:lnTo>
                    <a:pt x="671452" y="2391928"/>
                  </a:lnTo>
                  <a:lnTo>
                    <a:pt x="650748" y="2396428"/>
                  </a:lnTo>
                  <a:lnTo>
                    <a:pt x="640848" y="2400028"/>
                  </a:lnTo>
                  <a:lnTo>
                    <a:pt x="630948" y="2403628"/>
                  </a:lnTo>
                  <a:lnTo>
                    <a:pt x="621948" y="2408128"/>
                  </a:lnTo>
                  <a:lnTo>
                    <a:pt x="613848" y="2414428"/>
                  </a:lnTo>
                  <a:lnTo>
                    <a:pt x="598544" y="2427028"/>
                  </a:lnTo>
                  <a:lnTo>
                    <a:pt x="583244" y="2439628"/>
                  </a:lnTo>
                  <a:lnTo>
                    <a:pt x="567044" y="2448632"/>
                  </a:lnTo>
                  <a:lnTo>
                    <a:pt x="559844" y="2452232"/>
                  </a:lnTo>
                  <a:lnTo>
                    <a:pt x="553540" y="2454932"/>
                  </a:lnTo>
                  <a:lnTo>
                    <a:pt x="549940" y="2456732"/>
                  </a:lnTo>
                  <a:lnTo>
                    <a:pt x="546340" y="2459432"/>
                  </a:lnTo>
                  <a:lnTo>
                    <a:pt x="536440" y="2467532"/>
                  </a:lnTo>
                  <a:lnTo>
                    <a:pt x="525640" y="2479232"/>
                  </a:lnTo>
                  <a:lnTo>
                    <a:pt x="514840" y="2491832"/>
                  </a:lnTo>
                  <a:lnTo>
                    <a:pt x="491436" y="2518836"/>
                  </a:lnTo>
                  <a:lnTo>
                    <a:pt x="480636" y="2530536"/>
                  </a:lnTo>
                  <a:lnTo>
                    <a:pt x="471636" y="2539536"/>
                  </a:lnTo>
                  <a:lnTo>
                    <a:pt x="467136" y="2542236"/>
                  </a:lnTo>
                  <a:lnTo>
                    <a:pt x="463536" y="2544936"/>
                  </a:lnTo>
                  <a:lnTo>
                    <a:pt x="459036" y="2546736"/>
                  </a:lnTo>
                  <a:lnTo>
                    <a:pt x="455436" y="2547636"/>
                  </a:lnTo>
                  <a:lnTo>
                    <a:pt x="450936" y="2547636"/>
                  </a:lnTo>
                  <a:lnTo>
                    <a:pt x="446432" y="2546736"/>
                  </a:lnTo>
                  <a:lnTo>
                    <a:pt x="437432" y="2544936"/>
                  </a:lnTo>
                  <a:lnTo>
                    <a:pt x="428432" y="2541336"/>
                  </a:lnTo>
                  <a:lnTo>
                    <a:pt x="417632" y="2535936"/>
                  </a:lnTo>
                  <a:lnTo>
                    <a:pt x="406832" y="2530536"/>
                  </a:lnTo>
                  <a:lnTo>
                    <a:pt x="395132" y="2525136"/>
                  </a:lnTo>
                  <a:lnTo>
                    <a:pt x="383428" y="2520636"/>
                  </a:lnTo>
                  <a:lnTo>
                    <a:pt x="373528" y="2518836"/>
                  </a:lnTo>
                  <a:lnTo>
                    <a:pt x="365428" y="2517936"/>
                  </a:lnTo>
                  <a:lnTo>
                    <a:pt x="358228" y="2518836"/>
                  </a:lnTo>
                  <a:lnTo>
                    <a:pt x="344728" y="2521536"/>
                  </a:lnTo>
                  <a:lnTo>
                    <a:pt x="336624" y="2523336"/>
                  </a:lnTo>
                  <a:lnTo>
                    <a:pt x="327624" y="2525136"/>
                  </a:lnTo>
                  <a:lnTo>
                    <a:pt x="317724" y="2525136"/>
                  </a:lnTo>
                  <a:lnTo>
                    <a:pt x="309624" y="2522436"/>
                  </a:lnTo>
                  <a:lnTo>
                    <a:pt x="301524" y="2519736"/>
                  </a:lnTo>
                  <a:lnTo>
                    <a:pt x="294324" y="2515236"/>
                  </a:lnTo>
                  <a:lnTo>
                    <a:pt x="288024" y="2509836"/>
                  </a:lnTo>
                  <a:lnTo>
                    <a:pt x="281720" y="2505336"/>
                  </a:lnTo>
                  <a:lnTo>
                    <a:pt x="271820" y="2496336"/>
                  </a:lnTo>
                  <a:lnTo>
                    <a:pt x="267320" y="2493636"/>
                  </a:lnTo>
                  <a:lnTo>
                    <a:pt x="261920" y="2492732"/>
                  </a:lnTo>
                  <a:lnTo>
                    <a:pt x="256520" y="2492732"/>
                  </a:lnTo>
                  <a:lnTo>
                    <a:pt x="251120" y="2493636"/>
                  </a:lnTo>
                  <a:lnTo>
                    <a:pt x="241220" y="2495436"/>
                  </a:lnTo>
                  <a:lnTo>
                    <a:pt x="236720" y="2496336"/>
                  </a:lnTo>
                  <a:lnTo>
                    <a:pt x="233120" y="2496336"/>
                  </a:lnTo>
                  <a:lnTo>
                    <a:pt x="229516" y="2492732"/>
                  </a:lnTo>
                  <a:lnTo>
                    <a:pt x="222316" y="2485532"/>
                  </a:lnTo>
                  <a:lnTo>
                    <a:pt x="202516" y="2465732"/>
                  </a:lnTo>
                  <a:lnTo>
                    <a:pt x="191716" y="2456732"/>
                  </a:lnTo>
                  <a:lnTo>
                    <a:pt x="186316" y="2453132"/>
                  </a:lnTo>
                  <a:lnTo>
                    <a:pt x="181816" y="2450432"/>
                  </a:lnTo>
                  <a:lnTo>
                    <a:pt x="177316" y="2447732"/>
                  </a:lnTo>
                  <a:lnTo>
                    <a:pt x="172812" y="2447732"/>
                  </a:lnTo>
                  <a:lnTo>
                    <a:pt x="169212" y="2447732"/>
                  </a:lnTo>
                  <a:lnTo>
                    <a:pt x="166512" y="2450432"/>
                  </a:lnTo>
                  <a:lnTo>
                    <a:pt x="162912" y="2453132"/>
                  </a:lnTo>
                  <a:lnTo>
                    <a:pt x="159312" y="2454932"/>
                  </a:lnTo>
                  <a:lnTo>
                    <a:pt x="154812" y="2454932"/>
                  </a:lnTo>
                  <a:lnTo>
                    <a:pt x="150312" y="2454932"/>
                  </a:lnTo>
                  <a:lnTo>
                    <a:pt x="138612" y="2453132"/>
                  </a:lnTo>
                  <a:lnTo>
                    <a:pt x="126912" y="2448632"/>
                  </a:lnTo>
                  <a:lnTo>
                    <a:pt x="99908" y="2438728"/>
                  </a:lnTo>
                  <a:lnTo>
                    <a:pt x="87308" y="2434228"/>
                  </a:lnTo>
                  <a:lnTo>
                    <a:pt x="74708" y="2430628"/>
                  </a:lnTo>
                  <a:lnTo>
                    <a:pt x="64804" y="2428828"/>
                  </a:lnTo>
                  <a:lnTo>
                    <a:pt x="57604" y="2426128"/>
                  </a:lnTo>
                  <a:lnTo>
                    <a:pt x="53104" y="2422528"/>
                  </a:lnTo>
                  <a:lnTo>
                    <a:pt x="50404" y="2418928"/>
                  </a:lnTo>
                  <a:lnTo>
                    <a:pt x="49504" y="2414428"/>
                  </a:lnTo>
                  <a:lnTo>
                    <a:pt x="49504" y="2409028"/>
                  </a:lnTo>
                  <a:lnTo>
                    <a:pt x="50404" y="2397328"/>
                  </a:lnTo>
                  <a:lnTo>
                    <a:pt x="49504" y="2391928"/>
                  </a:lnTo>
                  <a:lnTo>
                    <a:pt x="46804" y="2386528"/>
                  </a:lnTo>
                  <a:lnTo>
                    <a:pt x="42304" y="2382924"/>
                  </a:lnTo>
                  <a:lnTo>
                    <a:pt x="36904" y="2379324"/>
                  </a:lnTo>
                  <a:lnTo>
                    <a:pt x="23404" y="2371224"/>
                  </a:lnTo>
                  <a:lnTo>
                    <a:pt x="15304" y="2366724"/>
                  </a:lnTo>
                  <a:lnTo>
                    <a:pt x="7200" y="2361324"/>
                  </a:lnTo>
                  <a:lnTo>
                    <a:pt x="3600" y="2358624"/>
                  </a:lnTo>
                  <a:lnTo>
                    <a:pt x="900" y="2355924"/>
                  </a:lnTo>
                  <a:lnTo>
                    <a:pt x="0" y="2353224"/>
                  </a:lnTo>
                  <a:lnTo>
                    <a:pt x="0" y="2350524"/>
                  </a:lnTo>
                  <a:lnTo>
                    <a:pt x="0" y="2348724"/>
                  </a:lnTo>
                  <a:lnTo>
                    <a:pt x="900" y="2346924"/>
                  </a:lnTo>
                  <a:lnTo>
                    <a:pt x="5400" y="2344224"/>
                  </a:lnTo>
                  <a:lnTo>
                    <a:pt x="12600" y="2340624"/>
                  </a:lnTo>
                  <a:lnTo>
                    <a:pt x="20704" y="2337924"/>
                  </a:lnTo>
                  <a:lnTo>
                    <a:pt x="29704" y="2334324"/>
                  </a:lnTo>
                  <a:lnTo>
                    <a:pt x="38704" y="2329820"/>
                  </a:lnTo>
                  <a:lnTo>
                    <a:pt x="50404" y="2323520"/>
                  </a:lnTo>
                  <a:lnTo>
                    <a:pt x="53104" y="2320820"/>
                  </a:lnTo>
                  <a:lnTo>
                    <a:pt x="53104" y="2319920"/>
                  </a:lnTo>
                  <a:lnTo>
                    <a:pt x="52204" y="2318120"/>
                  </a:lnTo>
                  <a:lnTo>
                    <a:pt x="51304" y="2317220"/>
                  </a:lnTo>
                  <a:lnTo>
                    <a:pt x="49504" y="2315420"/>
                  </a:lnTo>
                  <a:lnTo>
                    <a:pt x="48604" y="2312720"/>
                  </a:lnTo>
                  <a:lnTo>
                    <a:pt x="48604" y="2310920"/>
                  </a:lnTo>
                  <a:lnTo>
                    <a:pt x="49504" y="2308220"/>
                  </a:lnTo>
                  <a:lnTo>
                    <a:pt x="54904" y="2303720"/>
                  </a:lnTo>
                  <a:lnTo>
                    <a:pt x="57604" y="2301020"/>
                  </a:lnTo>
                  <a:lnTo>
                    <a:pt x="60304" y="2296520"/>
                  </a:lnTo>
                  <a:lnTo>
                    <a:pt x="61204" y="2291120"/>
                  </a:lnTo>
                  <a:lnTo>
                    <a:pt x="60304" y="2283920"/>
                  </a:lnTo>
                  <a:lnTo>
                    <a:pt x="57604" y="2274916"/>
                  </a:lnTo>
                  <a:lnTo>
                    <a:pt x="57604" y="2274016"/>
                  </a:lnTo>
                  <a:lnTo>
                    <a:pt x="56704" y="2274916"/>
                  </a:lnTo>
                  <a:lnTo>
                    <a:pt x="56704" y="2275816"/>
                  </a:lnTo>
                  <a:lnTo>
                    <a:pt x="55804" y="2275816"/>
                  </a:lnTo>
                  <a:lnTo>
                    <a:pt x="53104" y="2274916"/>
                  </a:lnTo>
                  <a:lnTo>
                    <a:pt x="50404" y="2272216"/>
                  </a:lnTo>
                  <a:lnTo>
                    <a:pt x="49504" y="2270416"/>
                  </a:lnTo>
                  <a:lnTo>
                    <a:pt x="48604" y="2267716"/>
                  </a:lnTo>
                  <a:lnTo>
                    <a:pt x="48604" y="2265916"/>
                  </a:lnTo>
                  <a:lnTo>
                    <a:pt x="48604" y="2264116"/>
                  </a:lnTo>
                  <a:lnTo>
                    <a:pt x="51304" y="2259616"/>
                  </a:lnTo>
                  <a:lnTo>
                    <a:pt x="55804" y="2256016"/>
                  </a:lnTo>
                  <a:lnTo>
                    <a:pt x="66604" y="2247016"/>
                  </a:lnTo>
                  <a:lnTo>
                    <a:pt x="72008" y="2241616"/>
                  </a:lnTo>
                  <a:lnTo>
                    <a:pt x="77408" y="2236216"/>
                  </a:lnTo>
                  <a:lnTo>
                    <a:pt x="81008" y="2230816"/>
                  </a:lnTo>
                  <a:lnTo>
                    <a:pt x="84608" y="2227216"/>
                  </a:lnTo>
                  <a:lnTo>
                    <a:pt x="90908" y="2222712"/>
                  </a:lnTo>
                  <a:lnTo>
                    <a:pt x="93608" y="2220912"/>
                  </a:lnTo>
                  <a:lnTo>
                    <a:pt x="97208" y="2218212"/>
                  </a:lnTo>
                  <a:lnTo>
                    <a:pt x="99908" y="2214612"/>
                  </a:lnTo>
                  <a:lnTo>
                    <a:pt x="103508" y="2209212"/>
                  </a:lnTo>
                  <a:lnTo>
                    <a:pt x="106208" y="2203812"/>
                  </a:lnTo>
                  <a:lnTo>
                    <a:pt x="107108" y="2200212"/>
                  </a:lnTo>
                  <a:lnTo>
                    <a:pt x="107108" y="2197512"/>
                  </a:lnTo>
                  <a:lnTo>
                    <a:pt x="106208" y="2195712"/>
                  </a:lnTo>
                  <a:lnTo>
                    <a:pt x="100808" y="2192112"/>
                  </a:lnTo>
                  <a:lnTo>
                    <a:pt x="97208" y="2189412"/>
                  </a:lnTo>
                  <a:lnTo>
                    <a:pt x="93608" y="2185812"/>
                  </a:lnTo>
                  <a:lnTo>
                    <a:pt x="90908" y="2181312"/>
                  </a:lnTo>
                  <a:lnTo>
                    <a:pt x="90908" y="2177712"/>
                  </a:lnTo>
                  <a:lnTo>
                    <a:pt x="91808" y="2175012"/>
                  </a:lnTo>
                  <a:lnTo>
                    <a:pt x="94508" y="2171412"/>
                  </a:lnTo>
                  <a:lnTo>
                    <a:pt x="101708" y="2163308"/>
                  </a:lnTo>
                  <a:lnTo>
                    <a:pt x="106208" y="2157908"/>
                  </a:lnTo>
                  <a:lnTo>
                    <a:pt x="110708" y="2151608"/>
                  </a:lnTo>
                  <a:lnTo>
                    <a:pt x="113408" y="2148908"/>
                  </a:lnTo>
                  <a:lnTo>
                    <a:pt x="115208" y="2146208"/>
                  </a:lnTo>
                  <a:lnTo>
                    <a:pt x="117908" y="2145308"/>
                  </a:lnTo>
                  <a:lnTo>
                    <a:pt x="120608" y="2144408"/>
                  </a:lnTo>
                  <a:lnTo>
                    <a:pt x="126012" y="2144408"/>
                  </a:lnTo>
                  <a:lnTo>
                    <a:pt x="131412" y="2145308"/>
                  </a:lnTo>
                  <a:lnTo>
                    <a:pt x="142212" y="2149808"/>
                  </a:lnTo>
                  <a:lnTo>
                    <a:pt x="145812" y="2151608"/>
                  </a:lnTo>
                  <a:lnTo>
                    <a:pt x="149412" y="2151608"/>
                  </a:lnTo>
                  <a:lnTo>
                    <a:pt x="152112" y="2150708"/>
                  </a:lnTo>
                  <a:lnTo>
                    <a:pt x="154812" y="2148008"/>
                  </a:lnTo>
                  <a:lnTo>
                    <a:pt x="161112" y="2140808"/>
                  </a:lnTo>
                  <a:lnTo>
                    <a:pt x="168312" y="2131808"/>
                  </a:lnTo>
                  <a:lnTo>
                    <a:pt x="178216" y="2122808"/>
                  </a:lnTo>
                  <a:lnTo>
                    <a:pt x="181816" y="2118308"/>
                  </a:lnTo>
                  <a:lnTo>
                    <a:pt x="184516" y="2113804"/>
                  </a:lnTo>
                  <a:lnTo>
                    <a:pt x="184516" y="2109304"/>
                  </a:lnTo>
                  <a:lnTo>
                    <a:pt x="183616" y="2104804"/>
                  </a:lnTo>
                  <a:lnTo>
                    <a:pt x="181816" y="2102104"/>
                  </a:lnTo>
                  <a:lnTo>
                    <a:pt x="180016" y="2098504"/>
                  </a:lnTo>
                  <a:lnTo>
                    <a:pt x="178216" y="2096704"/>
                  </a:lnTo>
                  <a:lnTo>
                    <a:pt x="203416" y="2089504"/>
                  </a:lnTo>
                  <a:lnTo>
                    <a:pt x="210616" y="2086804"/>
                  </a:lnTo>
                  <a:lnTo>
                    <a:pt x="215116" y="2085004"/>
                  </a:lnTo>
                  <a:lnTo>
                    <a:pt x="215116" y="2084104"/>
                  </a:lnTo>
                  <a:lnTo>
                    <a:pt x="216016" y="2083204"/>
                  </a:lnTo>
                  <a:lnTo>
                    <a:pt x="214216" y="2081404"/>
                  </a:lnTo>
                  <a:lnTo>
                    <a:pt x="208816" y="2077804"/>
                  </a:lnTo>
                  <a:lnTo>
                    <a:pt x="206116" y="2076004"/>
                  </a:lnTo>
                  <a:lnTo>
                    <a:pt x="204316" y="2072404"/>
                  </a:lnTo>
                  <a:lnTo>
                    <a:pt x="203416" y="2065204"/>
                  </a:lnTo>
                  <a:lnTo>
                    <a:pt x="203416" y="2058000"/>
                  </a:lnTo>
                  <a:lnTo>
                    <a:pt x="204316" y="2050800"/>
                  </a:lnTo>
                  <a:lnTo>
                    <a:pt x="221416" y="2043600"/>
                  </a:lnTo>
                  <a:lnTo>
                    <a:pt x="226816" y="2040900"/>
                  </a:lnTo>
                  <a:lnTo>
                    <a:pt x="230420" y="2038200"/>
                  </a:lnTo>
                  <a:lnTo>
                    <a:pt x="233120" y="2036400"/>
                  </a:lnTo>
                  <a:lnTo>
                    <a:pt x="234920" y="2033700"/>
                  </a:lnTo>
                  <a:lnTo>
                    <a:pt x="235820" y="2031000"/>
                  </a:lnTo>
                  <a:lnTo>
                    <a:pt x="235820" y="2028300"/>
                  </a:lnTo>
                  <a:lnTo>
                    <a:pt x="235820" y="2022000"/>
                  </a:lnTo>
                  <a:lnTo>
                    <a:pt x="236720" y="2015700"/>
                  </a:lnTo>
                  <a:lnTo>
                    <a:pt x="237620" y="2013000"/>
                  </a:lnTo>
                  <a:lnTo>
                    <a:pt x="238520" y="2010300"/>
                  </a:lnTo>
                  <a:lnTo>
                    <a:pt x="241220" y="2008500"/>
                  </a:lnTo>
                  <a:lnTo>
                    <a:pt x="243920" y="2006696"/>
                  </a:lnTo>
                  <a:lnTo>
                    <a:pt x="252920" y="2002196"/>
                  </a:lnTo>
                  <a:lnTo>
                    <a:pt x="258320" y="2000396"/>
                  </a:lnTo>
                  <a:lnTo>
                    <a:pt x="261020" y="1998596"/>
                  </a:lnTo>
                  <a:lnTo>
                    <a:pt x="261920" y="1994996"/>
                  </a:lnTo>
                  <a:lnTo>
                    <a:pt x="262820" y="1991396"/>
                  </a:lnTo>
                  <a:lnTo>
                    <a:pt x="261920" y="1986896"/>
                  </a:lnTo>
                  <a:lnTo>
                    <a:pt x="260120" y="1980596"/>
                  </a:lnTo>
                  <a:lnTo>
                    <a:pt x="254720" y="1964396"/>
                  </a:lnTo>
                  <a:lnTo>
                    <a:pt x="253820" y="1956296"/>
                  </a:lnTo>
                  <a:lnTo>
                    <a:pt x="253820" y="1952692"/>
                  </a:lnTo>
                  <a:lnTo>
                    <a:pt x="254720" y="1952692"/>
                  </a:lnTo>
                  <a:lnTo>
                    <a:pt x="257420" y="1954496"/>
                  </a:lnTo>
                  <a:lnTo>
                    <a:pt x="266420" y="1959896"/>
                  </a:lnTo>
                  <a:lnTo>
                    <a:pt x="271820" y="1962596"/>
                  </a:lnTo>
                  <a:lnTo>
                    <a:pt x="277220" y="1964396"/>
                  </a:lnTo>
                  <a:lnTo>
                    <a:pt x="285324" y="1963496"/>
                  </a:lnTo>
                  <a:lnTo>
                    <a:pt x="288924" y="1962596"/>
                  </a:lnTo>
                  <a:lnTo>
                    <a:pt x="291624" y="1960796"/>
                  </a:lnTo>
                  <a:lnTo>
                    <a:pt x="294324" y="1958996"/>
                  </a:lnTo>
                  <a:lnTo>
                    <a:pt x="296124" y="1956296"/>
                  </a:lnTo>
                  <a:lnTo>
                    <a:pt x="300624" y="1947292"/>
                  </a:lnTo>
                  <a:lnTo>
                    <a:pt x="303324" y="1942792"/>
                  </a:lnTo>
                  <a:lnTo>
                    <a:pt x="306024" y="1940992"/>
                  </a:lnTo>
                  <a:lnTo>
                    <a:pt x="309624" y="1940992"/>
                  </a:lnTo>
                  <a:lnTo>
                    <a:pt x="314124" y="1941892"/>
                  </a:lnTo>
                  <a:lnTo>
                    <a:pt x="325824" y="1945492"/>
                  </a:lnTo>
                  <a:lnTo>
                    <a:pt x="334824" y="1946392"/>
                  </a:lnTo>
                  <a:lnTo>
                    <a:pt x="346528" y="1947292"/>
                  </a:lnTo>
                  <a:lnTo>
                    <a:pt x="357328" y="1947292"/>
                  </a:lnTo>
                  <a:lnTo>
                    <a:pt x="365428" y="1946392"/>
                  </a:lnTo>
                  <a:lnTo>
                    <a:pt x="370828" y="1944592"/>
                  </a:lnTo>
                  <a:lnTo>
                    <a:pt x="375328" y="1942792"/>
                  </a:lnTo>
                  <a:lnTo>
                    <a:pt x="378028" y="1940092"/>
                  </a:lnTo>
                  <a:lnTo>
                    <a:pt x="379828" y="1937392"/>
                  </a:lnTo>
                  <a:lnTo>
                    <a:pt x="385228" y="1928392"/>
                  </a:lnTo>
                  <a:lnTo>
                    <a:pt x="387928" y="1922992"/>
                  </a:lnTo>
                  <a:lnTo>
                    <a:pt x="389728" y="1919392"/>
                  </a:lnTo>
                  <a:lnTo>
                    <a:pt x="391528" y="1913092"/>
                  </a:lnTo>
                  <a:lnTo>
                    <a:pt x="392428" y="1910392"/>
                  </a:lnTo>
                  <a:lnTo>
                    <a:pt x="394232" y="1907692"/>
                  </a:lnTo>
                  <a:lnTo>
                    <a:pt x="397832" y="1904992"/>
                  </a:lnTo>
                  <a:lnTo>
                    <a:pt x="402332" y="1901392"/>
                  </a:lnTo>
                  <a:lnTo>
                    <a:pt x="406832" y="1898688"/>
                  </a:lnTo>
                  <a:lnTo>
                    <a:pt x="412232" y="1895988"/>
                  </a:lnTo>
                  <a:lnTo>
                    <a:pt x="423032" y="1891488"/>
                  </a:lnTo>
                  <a:lnTo>
                    <a:pt x="437432" y="1886088"/>
                  </a:lnTo>
                  <a:lnTo>
                    <a:pt x="446432" y="1881588"/>
                  </a:lnTo>
                  <a:lnTo>
                    <a:pt x="457236" y="1875288"/>
                  </a:lnTo>
                  <a:lnTo>
                    <a:pt x="467136" y="1868088"/>
                  </a:lnTo>
                  <a:lnTo>
                    <a:pt x="474336" y="1862688"/>
                  </a:lnTo>
                  <a:lnTo>
                    <a:pt x="486936" y="1852788"/>
                  </a:lnTo>
                  <a:lnTo>
                    <a:pt x="502240" y="1838384"/>
                  </a:lnTo>
                  <a:lnTo>
                    <a:pt x="514840" y="1829384"/>
                  </a:lnTo>
                  <a:lnTo>
                    <a:pt x="531940" y="1816784"/>
                  </a:lnTo>
                  <a:lnTo>
                    <a:pt x="558044" y="1798784"/>
                  </a:lnTo>
                  <a:lnTo>
                    <a:pt x="565244" y="1792484"/>
                  </a:lnTo>
                  <a:lnTo>
                    <a:pt x="569744" y="1788880"/>
                  </a:lnTo>
                  <a:lnTo>
                    <a:pt x="585044" y="1778980"/>
                  </a:lnTo>
                  <a:lnTo>
                    <a:pt x="594944" y="1771780"/>
                  </a:lnTo>
                  <a:lnTo>
                    <a:pt x="600344" y="1767280"/>
                  </a:lnTo>
                  <a:lnTo>
                    <a:pt x="602144" y="1763680"/>
                  </a:lnTo>
                  <a:lnTo>
                    <a:pt x="602144" y="1761880"/>
                  </a:lnTo>
                  <a:lnTo>
                    <a:pt x="601244" y="1759180"/>
                  </a:lnTo>
                  <a:lnTo>
                    <a:pt x="601244" y="1755580"/>
                  </a:lnTo>
                  <a:lnTo>
                    <a:pt x="602144" y="1750180"/>
                  </a:lnTo>
                  <a:lnTo>
                    <a:pt x="606644" y="1742980"/>
                  </a:lnTo>
                  <a:lnTo>
                    <a:pt x="612048" y="1735776"/>
                  </a:lnTo>
                  <a:lnTo>
                    <a:pt x="616548" y="1732176"/>
                  </a:lnTo>
                  <a:lnTo>
                    <a:pt x="619248" y="1730376"/>
                  </a:lnTo>
                  <a:lnTo>
                    <a:pt x="622848" y="1730376"/>
                  </a:lnTo>
                  <a:lnTo>
                    <a:pt x="627348" y="1729476"/>
                  </a:lnTo>
                  <a:lnTo>
                    <a:pt x="633648" y="1729476"/>
                  </a:lnTo>
                  <a:lnTo>
                    <a:pt x="641748" y="1726776"/>
                  </a:lnTo>
                  <a:lnTo>
                    <a:pt x="652548" y="1720476"/>
                  </a:lnTo>
                  <a:lnTo>
                    <a:pt x="663348" y="1714176"/>
                  </a:lnTo>
                  <a:lnTo>
                    <a:pt x="671452" y="1706976"/>
                  </a:lnTo>
                  <a:lnTo>
                    <a:pt x="676852" y="1700676"/>
                  </a:lnTo>
                  <a:lnTo>
                    <a:pt x="683152" y="1692576"/>
                  </a:lnTo>
                  <a:lnTo>
                    <a:pt x="689452" y="1683572"/>
                  </a:lnTo>
                  <a:lnTo>
                    <a:pt x="697552" y="1673672"/>
                  </a:lnTo>
                  <a:lnTo>
                    <a:pt x="709252" y="1661072"/>
                  </a:lnTo>
                  <a:lnTo>
                    <a:pt x="724556" y="1646672"/>
                  </a:lnTo>
                  <a:lnTo>
                    <a:pt x="732656" y="1638572"/>
                  </a:lnTo>
                  <a:lnTo>
                    <a:pt x="738956" y="1632272"/>
                  </a:lnTo>
                  <a:lnTo>
                    <a:pt x="743456" y="1625968"/>
                  </a:lnTo>
                  <a:lnTo>
                    <a:pt x="747056" y="1620568"/>
                  </a:lnTo>
                  <a:lnTo>
                    <a:pt x="748856" y="1616068"/>
                  </a:lnTo>
                  <a:lnTo>
                    <a:pt x="749756" y="1612468"/>
                  </a:lnTo>
                  <a:lnTo>
                    <a:pt x="749756" y="1607968"/>
                  </a:lnTo>
                  <a:lnTo>
                    <a:pt x="749756" y="1604368"/>
                  </a:lnTo>
                  <a:lnTo>
                    <a:pt x="747056" y="1597168"/>
                  </a:lnTo>
                  <a:lnTo>
                    <a:pt x="744356" y="1588168"/>
                  </a:lnTo>
                  <a:lnTo>
                    <a:pt x="743456" y="1583668"/>
                  </a:lnTo>
                  <a:lnTo>
                    <a:pt x="742556" y="1578268"/>
                  </a:lnTo>
                  <a:lnTo>
                    <a:pt x="742556" y="1571964"/>
                  </a:lnTo>
                  <a:lnTo>
                    <a:pt x="743456" y="1564764"/>
                  </a:lnTo>
                  <a:lnTo>
                    <a:pt x="746156" y="1551264"/>
                  </a:lnTo>
                  <a:lnTo>
                    <a:pt x="748856" y="1540464"/>
                  </a:lnTo>
                  <a:lnTo>
                    <a:pt x="752456" y="1533264"/>
                  </a:lnTo>
                  <a:lnTo>
                    <a:pt x="755156" y="1526964"/>
                  </a:lnTo>
                  <a:lnTo>
                    <a:pt x="761456" y="1515260"/>
                  </a:lnTo>
                  <a:lnTo>
                    <a:pt x="764156" y="1508060"/>
                  </a:lnTo>
                  <a:lnTo>
                    <a:pt x="767756" y="1499060"/>
                  </a:lnTo>
                  <a:lnTo>
                    <a:pt x="771356" y="1490060"/>
                  </a:lnTo>
                  <a:lnTo>
                    <a:pt x="775860" y="1481060"/>
                  </a:lnTo>
                  <a:lnTo>
                    <a:pt x="781260" y="1472960"/>
                  </a:lnTo>
                  <a:lnTo>
                    <a:pt x="786660" y="1465756"/>
                  </a:lnTo>
                  <a:lnTo>
                    <a:pt x="792960" y="1459456"/>
                  </a:lnTo>
                  <a:lnTo>
                    <a:pt x="799260" y="1453156"/>
                  </a:lnTo>
                  <a:lnTo>
                    <a:pt x="807360" y="1446856"/>
                  </a:lnTo>
                  <a:lnTo>
                    <a:pt x="816360" y="1441456"/>
                  </a:lnTo>
                  <a:lnTo>
                    <a:pt x="833464" y="1430656"/>
                  </a:lnTo>
                  <a:lnTo>
                    <a:pt x="847864" y="1419856"/>
                  </a:lnTo>
                  <a:lnTo>
                    <a:pt x="854164" y="1414456"/>
                  </a:lnTo>
                  <a:lnTo>
                    <a:pt x="858664" y="1409052"/>
                  </a:lnTo>
                  <a:lnTo>
                    <a:pt x="863164" y="1403652"/>
                  </a:lnTo>
                  <a:lnTo>
                    <a:pt x="866764" y="1398252"/>
                  </a:lnTo>
                  <a:lnTo>
                    <a:pt x="869464" y="1390152"/>
                  </a:lnTo>
                  <a:lnTo>
                    <a:pt x="873064" y="1376652"/>
                  </a:lnTo>
                  <a:lnTo>
                    <a:pt x="881168" y="1341548"/>
                  </a:lnTo>
                  <a:lnTo>
                    <a:pt x="887468" y="1305548"/>
                  </a:lnTo>
                  <a:lnTo>
                    <a:pt x="890168" y="1292044"/>
                  </a:lnTo>
                  <a:lnTo>
                    <a:pt x="891068" y="1283044"/>
                  </a:lnTo>
                  <a:lnTo>
                    <a:pt x="891068" y="1279444"/>
                  </a:lnTo>
                  <a:lnTo>
                    <a:pt x="892868" y="1275844"/>
                  </a:lnTo>
                  <a:lnTo>
                    <a:pt x="899168" y="1266844"/>
                  </a:lnTo>
                  <a:lnTo>
                    <a:pt x="907268" y="1257844"/>
                  </a:lnTo>
                  <a:lnTo>
                    <a:pt x="917168" y="1248840"/>
                  </a:lnTo>
                  <a:lnTo>
                    <a:pt x="935172" y="1233540"/>
                  </a:lnTo>
                  <a:lnTo>
                    <a:pt x="943272" y="1227240"/>
                  </a:lnTo>
                  <a:lnTo>
                    <a:pt x="946872" y="1225440"/>
                  </a:lnTo>
                  <a:close/>
                  <a:moveTo>
                    <a:pt x="970272" y="0"/>
                  </a:moveTo>
                  <a:lnTo>
                    <a:pt x="972072" y="0"/>
                  </a:lnTo>
                  <a:lnTo>
                    <a:pt x="973872" y="0"/>
                  </a:lnTo>
                  <a:lnTo>
                    <a:pt x="978372" y="1800"/>
                  </a:lnTo>
                  <a:lnTo>
                    <a:pt x="984672" y="5400"/>
                  </a:lnTo>
                  <a:lnTo>
                    <a:pt x="990972" y="10800"/>
                  </a:lnTo>
                  <a:lnTo>
                    <a:pt x="1006276" y="25202"/>
                  </a:lnTo>
                  <a:lnTo>
                    <a:pt x="1024276" y="43204"/>
                  </a:lnTo>
                  <a:lnTo>
                    <a:pt x="1042276" y="61204"/>
                  </a:lnTo>
                  <a:lnTo>
                    <a:pt x="1059380" y="77406"/>
                  </a:lnTo>
                  <a:lnTo>
                    <a:pt x="1068380" y="84606"/>
                  </a:lnTo>
                  <a:lnTo>
                    <a:pt x="1076480" y="90006"/>
                  </a:lnTo>
                  <a:lnTo>
                    <a:pt x="1083680" y="94506"/>
                  </a:lnTo>
                  <a:lnTo>
                    <a:pt x="1090880" y="96308"/>
                  </a:lnTo>
                  <a:lnTo>
                    <a:pt x="1102580" y="99008"/>
                  </a:lnTo>
                  <a:lnTo>
                    <a:pt x="1114284" y="102608"/>
                  </a:lnTo>
                  <a:lnTo>
                    <a:pt x="1125084" y="106208"/>
                  </a:lnTo>
                  <a:lnTo>
                    <a:pt x="1134984" y="111608"/>
                  </a:lnTo>
                  <a:lnTo>
                    <a:pt x="1144884" y="118808"/>
                  </a:lnTo>
                  <a:lnTo>
                    <a:pt x="1154784" y="127810"/>
                  </a:lnTo>
                  <a:lnTo>
                    <a:pt x="1164688" y="138610"/>
                  </a:lnTo>
                  <a:lnTo>
                    <a:pt x="1174588" y="153012"/>
                  </a:lnTo>
                  <a:lnTo>
                    <a:pt x="1185388" y="168312"/>
                  </a:lnTo>
                  <a:lnTo>
                    <a:pt x="1197988" y="182714"/>
                  </a:lnTo>
                  <a:lnTo>
                    <a:pt x="1211488" y="197114"/>
                  </a:lnTo>
                  <a:lnTo>
                    <a:pt x="1224992" y="210616"/>
                  </a:lnTo>
                  <a:lnTo>
                    <a:pt x="1238492" y="225016"/>
                  </a:lnTo>
                  <a:lnTo>
                    <a:pt x="1251092" y="239418"/>
                  </a:lnTo>
                  <a:lnTo>
                    <a:pt x="1263692" y="253818"/>
                  </a:lnTo>
                  <a:lnTo>
                    <a:pt x="1268196" y="261920"/>
                  </a:lnTo>
                  <a:lnTo>
                    <a:pt x="1273596" y="270020"/>
                  </a:lnTo>
                  <a:lnTo>
                    <a:pt x="1279896" y="283520"/>
                  </a:lnTo>
                  <a:lnTo>
                    <a:pt x="1281696" y="288022"/>
                  </a:lnTo>
                  <a:lnTo>
                    <a:pt x="1282596" y="291622"/>
                  </a:lnTo>
                  <a:lnTo>
                    <a:pt x="1282596" y="295222"/>
                  </a:lnTo>
                  <a:lnTo>
                    <a:pt x="1281696" y="297022"/>
                  </a:lnTo>
                  <a:lnTo>
                    <a:pt x="1278996" y="301522"/>
                  </a:lnTo>
                  <a:lnTo>
                    <a:pt x="1275396" y="305122"/>
                  </a:lnTo>
                  <a:lnTo>
                    <a:pt x="1271796" y="310522"/>
                  </a:lnTo>
                  <a:lnTo>
                    <a:pt x="1269996" y="314124"/>
                  </a:lnTo>
                  <a:lnTo>
                    <a:pt x="1269096" y="318624"/>
                  </a:lnTo>
                  <a:lnTo>
                    <a:pt x="1268196" y="324924"/>
                  </a:lnTo>
                  <a:lnTo>
                    <a:pt x="1268196" y="332124"/>
                  </a:lnTo>
                  <a:lnTo>
                    <a:pt x="1269996" y="345626"/>
                  </a:lnTo>
                  <a:lnTo>
                    <a:pt x="1271796" y="354626"/>
                  </a:lnTo>
                  <a:lnTo>
                    <a:pt x="1274496" y="360926"/>
                  </a:lnTo>
                  <a:lnTo>
                    <a:pt x="1278096" y="365426"/>
                  </a:lnTo>
                  <a:lnTo>
                    <a:pt x="1290696" y="375328"/>
                  </a:lnTo>
                  <a:lnTo>
                    <a:pt x="1298796" y="383428"/>
                  </a:lnTo>
                  <a:lnTo>
                    <a:pt x="1309596" y="395130"/>
                  </a:lnTo>
                  <a:lnTo>
                    <a:pt x="1318596" y="406830"/>
                  </a:lnTo>
                  <a:lnTo>
                    <a:pt x="1323100" y="414930"/>
                  </a:lnTo>
                  <a:lnTo>
                    <a:pt x="1324900" y="417630"/>
                  </a:lnTo>
                  <a:lnTo>
                    <a:pt x="1324900" y="420330"/>
                  </a:lnTo>
                  <a:lnTo>
                    <a:pt x="1324000" y="423932"/>
                  </a:lnTo>
                  <a:lnTo>
                    <a:pt x="1322200" y="429332"/>
                  </a:lnTo>
                  <a:lnTo>
                    <a:pt x="1320400" y="435632"/>
                  </a:lnTo>
                  <a:lnTo>
                    <a:pt x="1318596" y="446432"/>
                  </a:lnTo>
                  <a:lnTo>
                    <a:pt x="1318596" y="453634"/>
                  </a:lnTo>
                  <a:lnTo>
                    <a:pt x="1319500" y="462634"/>
                  </a:lnTo>
                  <a:lnTo>
                    <a:pt x="1321300" y="477936"/>
                  </a:lnTo>
                  <a:lnTo>
                    <a:pt x="1323100" y="483336"/>
                  </a:lnTo>
                  <a:lnTo>
                    <a:pt x="1324000" y="487836"/>
                  </a:lnTo>
                  <a:lnTo>
                    <a:pt x="1325800" y="490536"/>
                  </a:lnTo>
                  <a:lnTo>
                    <a:pt x="1328500" y="493236"/>
                  </a:lnTo>
                  <a:lnTo>
                    <a:pt x="1331200" y="495036"/>
                  </a:lnTo>
                  <a:lnTo>
                    <a:pt x="1333900" y="495936"/>
                  </a:lnTo>
                  <a:lnTo>
                    <a:pt x="1340200" y="497736"/>
                  </a:lnTo>
                  <a:lnTo>
                    <a:pt x="1348300" y="499536"/>
                  </a:lnTo>
                  <a:lnTo>
                    <a:pt x="1352800" y="502238"/>
                  </a:lnTo>
                  <a:lnTo>
                    <a:pt x="1358200" y="504938"/>
                  </a:lnTo>
                  <a:lnTo>
                    <a:pt x="1363600" y="508538"/>
                  </a:lnTo>
                  <a:lnTo>
                    <a:pt x="1369900" y="513038"/>
                  </a:lnTo>
                  <a:lnTo>
                    <a:pt x="1387004" y="527438"/>
                  </a:lnTo>
                  <a:lnTo>
                    <a:pt x="1390604" y="529240"/>
                  </a:lnTo>
                  <a:lnTo>
                    <a:pt x="1391504" y="529240"/>
                  </a:lnTo>
                  <a:lnTo>
                    <a:pt x="1392404" y="528338"/>
                  </a:lnTo>
                  <a:lnTo>
                    <a:pt x="1393304" y="525638"/>
                  </a:lnTo>
                  <a:lnTo>
                    <a:pt x="1395104" y="521138"/>
                  </a:lnTo>
                  <a:lnTo>
                    <a:pt x="1396904" y="514838"/>
                  </a:lnTo>
                  <a:lnTo>
                    <a:pt x="1401404" y="508538"/>
                  </a:lnTo>
                  <a:lnTo>
                    <a:pt x="1403204" y="504038"/>
                  </a:lnTo>
                  <a:lnTo>
                    <a:pt x="1405004" y="500436"/>
                  </a:lnTo>
                  <a:lnTo>
                    <a:pt x="1407704" y="491436"/>
                  </a:lnTo>
                  <a:lnTo>
                    <a:pt x="1408604" y="482436"/>
                  </a:lnTo>
                  <a:lnTo>
                    <a:pt x="1408604" y="471634"/>
                  </a:lnTo>
                  <a:lnTo>
                    <a:pt x="1406804" y="449134"/>
                  </a:lnTo>
                  <a:lnTo>
                    <a:pt x="1405904" y="438332"/>
                  </a:lnTo>
                  <a:lnTo>
                    <a:pt x="1405904" y="426632"/>
                  </a:lnTo>
                  <a:lnTo>
                    <a:pt x="1405904" y="421232"/>
                  </a:lnTo>
                  <a:lnTo>
                    <a:pt x="1406804" y="418530"/>
                  </a:lnTo>
                  <a:lnTo>
                    <a:pt x="1408604" y="416730"/>
                  </a:lnTo>
                  <a:lnTo>
                    <a:pt x="1410404" y="416730"/>
                  </a:lnTo>
                  <a:lnTo>
                    <a:pt x="1413104" y="417630"/>
                  </a:lnTo>
                  <a:lnTo>
                    <a:pt x="1415804" y="420330"/>
                  </a:lnTo>
                  <a:lnTo>
                    <a:pt x="1422104" y="427532"/>
                  </a:lnTo>
                  <a:lnTo>
                    <a:pt x="1428408" y="438332"/>
                  </a:lnTo>
                  <a:lnTo>
                    <a:pt x="1433808" y="450034"/>
                  </a:lnTo>
                  <a:lnTo>
                    <a:pt x="1439208" y="462634"/>
                  </a:lnTo>
                  <a:lnTo>
                    <a:pt x="1441908" y="474334"/>
                  </a:lnTo>
                  <a:lnTo>
                    <a:pt x="1444608" y="486936"/>
                  </a:lnTo>
                  <a:lnTo>
                    <a:pt x="1448208" y="501336"/>
                  </a:lnTo>
                  <a:lnTo>
                    <a:pt x="1458108" y="534640"/>
                  </a:lnTo>
                  <a:lnTo>
                    <a:pt x="1463508" y="553540"/>
                  </a:lnTo>
                  <a:lnTo>
                    <a:pt x="1468008" y="573342"/>
                  </a:lnTo>
                  <a:lnTo>
                    <a:pt x="1471608" y="592244"/>
                  </a:lnTo>
                  <a:lnTo>
                    <a:pt x="1473408" y="612046"/>
                  </a:lnTo>
                  <a:lnTo>
                    <a:pt x="1474308" y="620146"/>
                  </a:lnTo>
                  <a:lnTo>
                    <a:pt x="1475208" y="626446"/>
                  </a:lnTo>
                  <a:lnTo>
                    <a:pt x="1477008" y="631846"/>
                  </a:lnTo>
                  <a:lnTo>
                    <a:pt x="1478808" y="635446"/>
                  </a:lnTo>
                  <a:lnTo>
                    <a:pt x="1481512" y="637248"/>
                  </a:lnTo>
                  <a:lnTo>
                    <a:pt x="1484212" y="639048"/>
                  </a:lnTo>
                  <a:lnTo>
                    <a:pt x="1487812" y="639948"/>
                  </a:lnTo>
                  <a:lnTo>
                    <a:pt x="1491412" y="639948"/>
                  </a:lnTo>
                  <a:lnTo>
                    <a:pt x="1501312" y="639048"/>
                  </a:lnTo>
                  <a:lnTo>
                    <a:pt x="1513012" y="639048"/>
                  </a:lnTo>
                  <a:lnTo>
                    <a:pt x="1520212" y="639948"/>
                  </a:lnTo>
                  <a:lnTo>
                    <a:pt x="1527412" y="641748"/>
                  </a:lnTo>
                  <a:lnTo>
                    <a:pt x="1534612" y="643548"/>
                  </a:lnTo>
                  <a:lnTo>
                    <a:pt x="1542716" y="648048"/>
                  </a:lnTo>
                  <a:lnTo>
                    <a:pt x="1570616" y="662448"/>
                  </a:lnTo>
                  <a:lnTo>
                    <a:pt x="1589520" y="671450"/>
                  </a:lnTo>
                  <a:lnTo>
                    <a:pt x="1607520" y="680450"/>
                  </a:lnTo>
                  <a:lnTo>
                    <a:pt x="1630020" y="693052"/>
                  </a:lnTo>
                  <a:lnTo>
                    <a:pt x="1641720" y="700252"/>
                  </a:lnTo>
                  <a:lnTo>
                    <a:pt x="1651624" y="703852"/>
                  </a:lnTo>
                  <a:lnTo>
                    <a:pt x="1656124" y="704752"/>
                  </a:lnTo>
                  <a:lnTo>
                    <a:pt x="1659724" y="704752"/>
                  </a:lnTo>
                  <a:lnTo>
                    <a:pt x="1667824" y="704752"/>
                  </a:lnTo>
                  <a:lnTo>
                    <a:pt x="1675924" y="702052"/>
                  </a:lnTo>
                  <a:lnTo>
                    <a:pt x="1684924" y="697552"/>
                  </a:lnTo>
                  <a:lnTo>
                    <a:pt x="1695724" y="692152"/>
                  </a:lnTo>
                  <a:lnTo>
                    <a:pt x="1709228" y="685850"/>
                  </a:lnTo>
                  <a:lnTo>
                    <a:pt x="1716428" y="683150"/>
                  </a:lnTo>
                  <a:lnTo>
                    <a:pt x="1722728" y="678650"/>
                  </a:lnTo>
                  <a:lnTo>
                    <a:pt x="1729028" y="675050"/>
                  </a:lnTo>
                  <a:lnTo>
                    <a:pt x="1733528" y="670550"/>
                  </a:lnTo>
                  <a:lnTo>
                    <a:pt x="1743428" y="660648"/>
                  </a:lnTo>
                  <a:lnTo>
                    <a:pt x="1751532" y="649848"/>
                  </a:lnTo>
                  <a:lnTo>
                    <a:pt x="1760532" y="638148"/>
                  </a:lnTo>
                  <a:lnTo>
                    <a:pt x="1769532" y="626446"/>
                  </a:lnTo>
                  <a:lnTo>
                    <a:pt x="1781232" y="613846"/>
                  </a:lnTo>
                  <a:lnTo>
                    <a:pt x="1788432" y="607544"/>
                  </a:lnTo>
                  <a:lnTo>
                    <a:pt x="1795632" y="602144"/>
                  </a:lnTo>
                  <a:lnTo>
                    <a:pt x="1803732" y="596744"/>
                  </a:lnTo>
                  <a:lnTo>
                    <a:pt x="1810036" y="593144"/>
                  </a:lnTo>
                  <a:lnTo>
                    <a:pt x="1815436" y="590444"/>
                  </a:lnTo>
                  <a:lnTo>
                    <a:pt x="1820836" y="589544"/>
                  </a:lnTo>
                  <a:lnTo>
                    <a:pt x="1825336" y="589544"/>
                  </a:lnTo>
                  <a:lnTo>
                    <a:pt x="1828936" y="590444"/>
                  </a:lnTo>
                  <a:lnTo>
                    <a:pt x="1831636" y="592244"/>
                  </a:lnTo>
                  <a:lnTo>
                    <a:pt x="1835236" y="594044"/>
                  </a:lnTo>
                  <a:lnTo>
                    <a:pt x="1839736" y="601244"/>
                  </a:lnTo>
                  <a:lnTo>
                    <a:pt x="1844236" y="610244"/>
                  </a:lnTo>
                  <a:lnTo>
                    <a:pt x="1849636" y="619246"/>
                  </a:lnTo>
                  <a:lnTo>
                    <a:pt x="1855936" y="628246"/>
                  </a:lnTo>
                  <a:lnTo>
                    <a:pt x="1862240" y="638148"/>
                  </a:lnTo>
                  <a:lnTo>
                    <a:pt x="1866740" y="648048"/>
                  </a:lnTo>
                  <a:lnTo>
                    <a:pt x="1869440" y="658848"/>
                  </a:lnTo>
                  <a:lnTo>
                    <a:pt x="1871240" y="670550"/>
                  </a:lnTo>
                  <a:lnTo>
                    <a:pt x="1871240" y="683150"/>
                  </a:lnTo>
                  <a:lnTo>
                    <a:pt x="1871240" y="696652"/>
                  </a:lnTo>
                  <a:lnTo>
                    <a:pt x="1867640" y="727254"/>
                  </a:lnTo>
                  <a:lnTo>
                    <a:pt x="1865840" y="740754"/>
                  </a:lnTo>
                  <a:lnTo>
                    <a:pt x="1863140" y="749756"/>
                  </a:lnTo>
                  <a:lnTo>
                    <a:pt x="1860440" y="756056"/>
                  </a:lnTo>
                  <a:lnTo>
                    <a:pt x="1857740" y="759656"/>
                  </a:lnTo>
                  <a:lnTo>
                    <a:pt x="1855036" y="763256"/>
                  </a:lnTo>
                  <a:lnTo>
                    <a:pt x="1852336" y="767756"/>
                  </a:lnTo>
                  <a:lnTo>
                    <a:pt x="1849636" y="774958"/>
                  </a:lnTo>
                  <a:lnTo>
                    <a:pt x="1848736" y="784858"/>
                  </a:lnTo>
                  <a:lnTo>
                    <a:pt x="1846936" y="796558"/>
                  </a:lnTo>
                  <a:lnTo>
                    <a:pt x="1844236" y="806460"/>
                  </a:lnTo>
                  <a:lnTo>
                    <a:pt x="1840636" y="814560"/>
                  </a:lnTo>
                  <a:lnTo>
                    <a:pt x="1837036" y="820860"/>
                  </a:lnTo>
                  <a:lnTo>
                    <a:pt x="1831636" y="827160"/>
                  </a:lnTo>
                  <a:lnTo>
                    <a:pt x="1827136" y="832560"/>
                  </a:lnTo>
                  <a:lnTo>
                    <a:pt x="1817236" y="842464"/>
                  </a:lnTo>
                  <a:lnTo>
                    <a:pt x="1815436" y="846064"/>
                  </a:lnTo>
                  <a:lnTo>
                    <a:pt x="1813636" y="850564"/>
                  </a:lnTo>
                  <a:lnTo>
                    <a:pt x="1810036" y="861364"/>
                  </a:lnTo>
                  <a:lnTo>
                    <a:pt x="1806436" y="873964"/>
                  </a:lnTo>
                  <a:lnTo>
                    <a:pt x="1803732" y="889264"/>
                  </a:lnTo>
                  <a:lnTo>
                    <a:pt x="1799232" y="919868"/>
                  </a:lnTo>
                  <a:lnTo>
                    <a:pt x="1795632" y="945968"/>
                  </a:lnTo>
                  <a:lnTo>
                    <a:pt x="1794732" y="951372"/>
                  </a:lnTo>
                  <a:lnTo>
                    <a:pt x="1792032" y="954072"/>
                  </a:lnTo>
                  <a:lnTo>
                    <a:pt x="1789332" y="956772"/>
                  </a:lnTo>
                  <a:lnTo>
                    <a:pt x="1785732" y="957672"/>
                  </a:lnTo>
                  <a:lnTo>
                    <a:pt x="1782132" y="957672"/>
                  </a:lnTo>
                  <a:lnTo>
                    <a:pt x="1776732" y="956772"/>
                  </a:lnTo>
                  <a:lnTo>
                    <a:pt x="1765932" y="953172"/>
                  </a:lnTo>
                  <a:lnTo>
                    <a:pt x="1753332" y="947768"/>
                  </a:lnTo>
                  <a:lnTo>
                    <a:pt x="1738928" y="941468"/>
                  </a:lnTo>
                  <a:lnTo>
                    <a:pt x="1724528" y="935168"/>
                  </a:lnTo>
                  <a:lnTo>
                    <a:pt x="1709228" y="929768"/>
                  </a:lnTo>
                  <a:lnTo>
                    <a:pt x="1702028" y="927968"/>
                  </a:lnTo>
                  <a:lnTo>
                    <a:pt x="1695724" y="927068"/>
                  </a:lnTo>
                  <a:lnTo>
                    <a:pt x="1690324" y="926168"/>
                  </a:lnTo>
                  <a:lnTo>
                    <a:pt x="1685824" y="927068"/>
                  </a:lnTo>
                  <a:lnTo>
                    <a:pt x="1681324" y="928868"/>
                  </a:lnTo>
                  <a:lnTo>
                    <a:pt x="1677724" y="930668"/>
                  </a:lnTo>
                  <a:lnTo>
                    <a:pt x="1672324" y="935168"/>
                  </a:lnTo>
                  <a:lnTo>
                    <a:pt x="1666924" y="941468"/>
                  </a:lnTo>
                  <a:lnTo>
                    <a:pt x="1660624" y="948668"/>
                  </a:lnTo>
                  <a:lnTo>
                    <a:pt x="1653424" y="955872"/>
                  </a:lnTo>
                  <a:lnTo>
                    <a:pt x="1648924" y="959472"/>
                  </a:lnTo>
                  <a:lnTo>
                    <a:pt x="1644424" y="963072"/>
                  </a:lnTo>
                  <a:lnTo>
                    <a:pt x="1639020" y="966672"/>
                  </a:lnTo>
                  <a:lnTo>
                    <a:pt x="1636320" y="970272"/>
                  </a:lnTo>
                  <a:lnTo>
                    <a:pt x="1633620" y="974772"/>
                  </a:lnTo>
                  <a:lnTo>
                    <a:pt x="1631820" y="979272"/>
                  </a:lnTo>
                  <a:lnTo>
                    <a:pt x="1631820" y="983772"/>
                  </a:lnTo>
                  <a:lnTo>
                    <a:pt x="1631820" y="989172"/>
                  </a:lnTo>
                  <a:lnTo>
                    <a:pt x="1634520" y="999972"/>
                  </a:lnTo>
                  <a:lnTo>
                    <a:pt x="1640820" y="1022924"/>
                  </a:lnTo>
                  <a:lnTo>
                    <a:pt x="1643524" y="1034628"/>
                  </a:lnTo>
                  <a:lnTo>
                    <a:pt x="1644424" y="1040928"/>
                  </a:lnTo>
                  <a:lnTo>
                    <a:pt x="1644424" y="1047228"/>
                  </a:lnTo>
                  <a:lnTo>
                    <a:pt x="1642620" y="1058928"/>
                  </a:lnTo>
                  <a:lnTo>
                    <a:pt x="1639920" y="1072428"/>
                  </a:lnTo>
                  <a:lnTo>
                    <a:pt x="1636320" y="1086832"/>
                  </a:lnTo>
                  <a:lnTo>
                    <a:pt x="1632720" y="1100332"/>
                  </a:lnTo>
                  <a:lnTo>
                    <a:pt x="1627320" y="1113832"/>
                  </a:lnTo>
                  <a:lnTo>
                    <a:pt x="1621020" y="1127332"/>
                  </a:lnTo>
                  <a:lnTo>
                    <a:pt x="1614720" y="1139932"/>
                  </a:lnTo>
                  <a:lnTo>
                    <a:pt x="1608420" y="1150736"/>
                  </a:lnTo>
                  <a:lnTo>
                    <a:pt x="1600320" y="1162436"/>
                  </a:lnTo>
                  <a:lnTo>
                    <a:pt x="1590420" y="1177736"/>
                  </a:lnTo>
                  <a:lnTo>
                    <a:pt x="1568816" y="1214640"/>
                  </a:lnTo>
                  <a:lnTo>
                    <a:pt x="1546316" y="1251544"/>
                  </a:lnTo>
                  <a:lnTo>
                    <a:pt x="1535516" y="1267744"/>
                  </a:lnTo>
                  <a:lnTo>
                    <a:pt x="1526512" y="1280344"/>
                  </a:lnTo>
                  <a:lnTo>
                    <a:pt x="1517512" y="1292044"/>
                  </a:lnTo>
                  <a:lnTo>
                    <a:pt x="1508512" y="1306448"/>
                  </a:lnTo>
                  <a:lnTo>
                    <a:pt x="1490512" y="1337948"/>
                  </a:lnTo>
                  <a:lnTo>
                    <a:pt x="1480608" y="1353248"/>
                  </a:lnTo>
                  <a:lnTo>
                    <a:pt x="1470708" y="1367652"/>
                  </a:lnTo>
                  <a:lnTo>
                    <a:pt x="1460808" y="1380252"/>
                  </a:lnTo>
                  <a:lnTo>
                    <a:pt x="1454508" y="1386552"/>
                  </a:lnTo>
                  <a:lnTo>
                    <a:pt x="1449108" y="1391052"/>
                  </a:lnTo>
                  <a:lnTo>
                    <a:pt x="1439208" y="1399152"/>
                  </a:lnTo>
                  <a:lnTo>
                    <a:pt x="1431108" y="1403652"/>
                  </a:lnTo>
                  <a:lnTo>
                    <a:pt x="1424804" y="1407252"/>
                  </a:lnTo>
                  <a:lnTo>
                    <a:pt x="1419404" y="1409052"/>
                  </a:lnTo>
                  <a:lnTo>
                    <a:pt x="1414004" y="1409952"/>
                  </a:lnTo>
                  <a:lnTo>
                    <a:pt x="1408604" y="1409952"/>
                  </a:lnTo>
                  <a:lnTo>
                    <a:pt x="1391504" y="1409952"/>
                  </a:lnTo>
                  <a:lnTo>
                    <a:pt x="1381604" y="1410852"/>
                  </a:lnTo>
                  <a:lnTo>
                    <a:pt x="1373504" y="1409952"/>
                  </a:lnTo>
                  <a:lnTo>
                    <a:pt x="1366300" y="1408152"/>
                  </a:lnTo>
                  <a:lnTo>
                    <a:pt x="1360900" y="1404552"/>
                  </a:lnTo>
                  <a:lnTo>
                    <a:pt x="1348300" y="1397352"/>
                  </a:lnTo>
                  <a:lnTo>
                    <a:pt x="1342000" y="1392852"/>
                  </a:lnTo>
                  <a:lnTo>
                    <a:pt x="1333900" y="1388352"/>
                  </a:lnTo>
                  <a:lnTo>
                    <a:pt x="1318596" y="1381152"/>
                  </a:lnTo>
                  <a:lnTo>
                    <a:pt x="1313196" y="1378452"/>
                  </a:lnTo>
                  <a:lnTo>
                    <a:pt x="1309596" y="1374852"/>
                  </a:lnTo>
                  <a:lnTo>
                    <a:pt x="1305996" y="1370352"/>
                  </a:lnTo>
                  <a:lnTo>
                    <a:pt x="1304196" y="1364952"/>
                  </a:lnTo>
                  <a:lnTo>
                    <a:pt x="1301496" y="1357752"/>
                  </a:lnTo>
                  <a:lnTo>
                    <a:pt x="1299696" y="1347848"/>
                  </a:lnTo>
                  <a:lnTo>
                    <a:pt x="1299696" y="1342448"/>
                  </a:lnTo>
                  <a:lnTo>
                    <a:pt x="1300596" y="1336148"/>
                  </a:lnTo>
                  <a:lnTo>
                    <a:pt x="1301496" y="1330748"/>
                  </a:lnTo>
                  <a:lnTo>
                    <a:pt x="1304196" y="1324448"/>
                  </a:lnTo>
                  <a:lnTo>
                    <a:pt x="1311396" y="1311848"/>
                  </a:lnTo>
                  <a:lnTo>
                    <a:pt x="1320400" y="1299244"/>
                  </a:lnTo>
                  <a:lnTo>
                    <a:pt x="1330300" y="1286644"/>
                  </a:lnTo>
                  <a:lnTo>
                    <a:pt x="1341100" y="1274944"/>
                  </a:lnTo>
                  <a:lnTo>
                    <a:pt x="1360000" y="1254244"/>
                  </a:lnTo>
                  <a:lnTo>
                    <a:pt x="1363600" y="1249744"/>
                  </a:lnTo>
                  <a:lnTo>
                    <a:pt x="1366300" y="1244340"/>
                  </a:lnTo>
                  <a:lnTo>
                    <a:pt x="1369000" y="1239840"/>
                  </a:lnTo>
                  <a:lnTo>
                    <a:pt x="1370800" y="1235340"/>
                  </a:lnTo>
                  <a:lnTo>
                    <a:pt x="1372600" y="1225440"/>
                  </a:lnTo>
                  <a:lnTo>
                    <a:pt x="1373504" y="1214640"/>
                  </a:lnTo>
                  <a:lnTo>
                    <a:pt x="1373504" y="1191236"/>
                  </a:lnTo>
                  <a:lnTo>
                    <a:pt x="1373504" y="1178636"/>
                  </a:lnTo>
                  <a:lnTo>
                    <a:pt x="1374404" y="1165136"/>
                  </a:lnTo>
                  <a:lnTo>
                    <a:pt x="1375304" y="1157936"/>
                  </a:lnTo>
                  <a:lnTo>
                    <a:pt x="1375304" y="1152536"/>
                  </a:lnTo>
                  <a:lnTo>
                    <a:pt x="1374404" y="1148036"/>
                  </a:lnTo>
                  <a:lnTo>
                    <a:pt x="1373504" y="1143536"/>
                  </a:lnTo>
                  <a:lnTo>
                    <a:pt x="1371700" y="1140836"/>
                  </a:lnTo>
                  <a:lnTo>
                    <a:pt x="1369900" y="1138132"/>
                  </a:lnTo>
                  <a:lnTo>
                    <a:pt x="1367200" y="1136332"/>
                  </a:lnTo>
                  <a:lnTo>
                    <a:pt x="1364500" y="1134532"/>
                  </a:lnTo>
                  <a:lnTo>
                    <a:pt x="1357300" y="1131832"/>
                  </a:lnTo>
                  <a:lnTo>
                    <a:pt x="1349200" y="1129132"/>
                  </a:lnTo>
                  <a:lnTo>
                    <a:pt x="1339300" y="1125532"/>
                  </a:lnTo>
                  <a:lnTo>
                    <a:pt x="1328500" y="1121932"/>
                  </a:lnTo>
                  <a:lnTo>
                    <a:pt x="1318596" y="1115632"/>
                  </a:lnTo>
                  <a:lnTo>
                    <a:pt x="1308696" y="1108432"/>
                  </a:lnTo>
                  <a:lnTo>
                    <a:pt x="1299696" y="1101232"/>
                  </a:lnTo>
                  <a:lnTo>
                    <a:pt x="1290696" y="1093132"/>
                  </a:lnTo>
                  <a:lnTo>
                    <a:pt x="1271796" y="1076028"/>
                  </a:lnTo>
                  <a:lnTo>
                    <a:pt x="1261892" y="1067028"/>
                  </a:lnTo>
                  <a:lnTo>
                    <a:pt x="1251992" y="1058928"/>
                  </a:lnTo>
                  <a:lnTo>
                    <a:pt x="1233092" y="1045428"/>
                  </a:lnTo>
                  <a:lnTo>
                    <a:pt x="1216892" y="1037328"/>
                  </a:lnTo>
                  <a:lnTo>
                    <a:pt x="1199788" y="1029224"/>
                  </a:lnTo>
                  <a:lnTo>
                    <a:pt x="1177288" y="1020224"/>
                  </a:lnTo>
                  <a:lnTo>
                    <a:pt x="1170988" y="1017524"/>
                  </a:lnTo>
                  <a:lnTo>
                    <a:pt x="1165588" y="1014824"/>
                  </a:lnTo>
                  <a:lnTo>
                    <a:pt x="1161088" y="1011224"/>
                  </a:lnTo>
                  <a:lnTo>
                    <a:pt x="1156584" y="1007624"/>
                  </a:lnTo>
                  <a:lnTo>
                    <a:pt x="1153884" y="1004024"/>
                  </a:lnTo>
                  <a:lnTo>
                    <a:pt x="1151184" y="1000872"/>
                  </a:lnTo>
                  <a:lnTo>
                    <a:pt x="1146684" y="991872"/>
                  </a:lnTo>
                  <a:lnTo>
                    <a:pt x="1144884" y="982872"/>
                  </a:lnTo>
                  <a:lnTo>
                    <a:pt x="1143084" y="972972"/>
                  </a:lnTo>
                  <a:lnTo>
                    <a:pt x="1139484" y="951372"/>
                  </a:lnTo>
                  <a:lnTo>
                    <a:pt x="1138584" y="945068"/>
                  </a:lnTo>
                  <a:lnTo>
                    <a:pt x="1139484" y="940568"/>
                  </a:lnTo>
                  <a:lnTo>
                    <a:pt x="1140384" y="936068"/>
                  </a:lnTo>
                  <a:lnTo>
                    <a:pt x="1143084" y="932468"/>
                  </a:lnTo>
                  <a:lnTo>
                    <a:pt x="1146684" y="928868"/>
                  </a:lnTo>
                  <a:lnTo>
                    <a:pt x="1150284" y="925268"/>
                  </a:lnTo>
                  <a:lnTo>
                    <a:pt x="1160188" y="919868"/>
                  </a:lnTo>
                  <a:lnTo>
                    <a:pt x="1170988" y="915368"/>
                  </a:lnTo>
                  <a:lnTo>
                    <a:pt x="1182688" y="911768"/>
                  </a:lnTo>
                  <a:lnTo>
                    <a:pt x="1193488" y="909068"/>
                  </a:lnTo>
                  <a:lnTo>
                    <a:pt x="1203388" y="905468"/>
                  </a:lnTo>
                  <a:lnTo>
                    <a:pt x="1212392" y="900968"/>
                  </a:lnTo>
                  <a:lnTo>
                    <a:pt x="1219592" y="896468"/>
                  </a:lnTo>
                  <a:lnTo>
                    <a:pt x="1225892" y="891064"/>
                  </a:lnTo>
                  <a:lnTo>
                    <a:pt x="1233092" y="883864"/>
                  </a:lnTo>
                  <a:lnTo>
                    <a:pt x="1246592" y="869464"/>
                  </a:lnTo>
                  <a:lnTo>
                    <a:pt x="1254692" y="861364"/>
                  </a:lnTo>
                  <a:lnTo>
                    <a:pt x="1263692" y="852364"/>
                  </a:lnTo>
                  <a:lnTo>
                    <a:pt x="1271796" y="844264"/>
                  </a:lnTo>
                  <a:lnTo>
                    <a:pt x="1278096" y="836160"/>
                  </a:lnTo>
                  <a:lnTo>
                    <a:pt x="1281696" y="828060"/>
                  </a:lnTo>
                  <a:lnTo>
                    <a:pt x="1283496" y="820860"/>
                  </a:lnTo>
                  <a:lnTo>
                    <a:pt x="1285296" y="812760"/>
                  </a:lnTo>
                  <a:lnTo>
                    <a:pt x="1286196" y="802860"/>
                  </a:lnTo>
                  <a:lnTo>
                    <a:pt x="1286196" y="792958"/>
                  </a:lnTo>
                  <a:lnTo>
                    <a:pt x="1287996" y="780358"/>
                  </a:lnTo>
                  <a:lnTo>
                    <a:pt x="1292496" y="742554"/>
                  </a:lnTo>
                  <a:lnTo>
                    <a:pt x="1294296" y="729054"/>
                  </a:lnTo>
                  <a:lnTo>
                    <a:pt x="1299696" y="712852"/>
                  </a:lnTo>
                  <a:lnTo>
                    <a:pt x="1305996" y="696652"/>
                  </a:lnTo>
                  <a:lnTo>
                    <a:pt x="1307796" y="691250"/>
                  </a:lnTo>
                  <a:lnTo>
                    <a:pt x="1309596" y="685850"/>
                  </a:lnTo>
                  <a:lnTo>
                    <a:pt x="1308696" y="680450"/>
                  </a:lnTo>
                  <a:lnTo>
                    <a:pt x="1307796" y="674150"/>
                  </a:lnTo>
                  <a:lnTo>
                    <a:pt x="1304196" y="666950"/>
                  </a:lnTo>
                  <a:lnTo>
                    <a:pt x="1299696" y="657048"/>
                  </a:lnTo>
                  <a:lnTo>
                    <a:pt x="1295196" y="646248"/>
                  </a:lnTo>
                  <a:lnTo>
                    <a:pt x="1291596" y="633646"/>
                  </a:lnTo>
                  <a:lnTo>
                    <a:pt x="1285296" y="607544"/>
                  </a:lnTo>
                  <a:lnTo>
                    <a:pt x="1282596" y="594044"/>
                  </a:lnTo>
                  <a:lnTo>
                    <a:pt x="1279896" y="581442"/>
                  </a:lnTo>
                  <a:lnTo>
                    <a:pt x="1275396" y="569742"/>
                  </a:lnTo>
                  <a:lnTo>
                    <a:pt x="1270896" y="558942"/>
                  </a:lnTo>
                  <a:lnTo>
                    <a:pt x="1267296" y="550840"/>
                  </a:lnTo>
                  <a:lnTo>
                    <a:pt x="1266396" y="547240"/>
                  </a:lnTo>
                  <a:lnTo>
                    <a:pt x="1266396" y="545440"/>
                  </a:lnTo>
                  <a:lnTo>
                    <a:pt x="1266396" y="542740"/>
                  </a:lnTo>
                  <a:lnTo>
                    <a:pt x="1268196" y="541840"/>
                  </a:lnTo>
                  <a:lnTo>
                    <a:pt x="1270896" y="540040"/>
                  </a:lnTo>
                  <a:lnTo>
                    <a:pt x="1282596" y="536440"/>
                  </a:lnTo>
                  <a:lnTo>
                    <a:pt x="1288896" y="533740"/>
                  </a:lnTo>
                  <a:lnTo>
                    <a:pt x="1295196" y="530140"/>
                  </a:lnTo>
                  <a:lnTo>
                    <a:pt x="1297896" y="527438"/>
                  </a:lnTo>
                  <a:lnTo>
                    <a:pt x="1299696" y="524738"/>
                  </a:lnTo>
                  <a:lnTo>
                    <a:pt x="1299696" y="522038"/>
                  </a:lnTo>
                  <a:lnTo>
                    <a:pt x="1299696" y="520238"/>
                  </a:lnTo>
                  <a:lnTo>
                    <a:pt x="1298796" y="518438"/>
                  </a:lnTo>
                  <a:lnTo>
                    <a:pt x="1297896" y="516638"/>
                  </a:lnTo>
                  <a:lnTo>
                    <a:pt x="1293396" y="513938"/>
                  </a:lnTo>
                  <a:lnTo>
                    <a:pt x="1286196" y="511238"/>
                  </a:lnTo>
                  <a:lnTo>
                    <a:pt x="1278996" y="509438"/>
                  </a:lnTo>
                  <a:lnTo>
                    <a:pt x="1270896" y="508538"/>
                  </a:lnTo>
                  <a:lnTo>
                    <a:pt x="1263692" y="508538"/>
                  </a:lnTo>
                  <a:lnTo>
                    <a:pt x="1260092" y="507638"/>
                  </a:lnTo>
                  <a:lnTo>
                    <a:pt x="1256492" y="505838"/>
                  </a:lnTo>
                  <a:lnTo>
                    <a:pt x="1252892" y="504038"/>
                  </a:lnTo>
                  <a:lnTo>
                    <a:pt x="1250192" y="500436"/>
                  </a:lnTo>
                  <a:lnTo>
                    <a:pt x="1242992" y="491436"/>
                  </a:lnTo>
                  <a:lnTo>
                    <a:pt x="1236692" y="479736"/>
                  </a:lnTo>
                  <a:lnTo>
                    <a:pt x="1230392" y="467134"/>
                  </a:lnTo>
                  <a:lnTo>
                    <a:pt x="1224092" y="451834"/>
                  </a:lnTo>
                  <a:lnTo>
                    <a:pt x="1213292" y="421232"/>
                  </a:lnTo>
                  <a:lnTo>
                    <a:pt x="1206988" y="404130"/>
                  </a:lnTo>
                  <a:lnTo>
                    <a:pt x="1206988" y="402330"/>
                  </a:lnTo>
                  <a:lnTo>
                    <a:pt x="1208788" y="404130"/>
                  </a:lnTo>
                  <a:lnTo>
                    <a:pt x="1210588" y="406830"/>
                  </a:lnTo>
                  <a:lnTo>
                    <a:pt x="1213292" y="408630"/>
                  </a:lnTo>
                  <a:lnTo>
                    <a:pt x="1215092" y="408630"/>
                  </a:lnTo>
                  <a:lnTo>
                    <a:pt x="1216892" y="408630"/>
                  </a:lnTo>
                  <a:lnTo>
                    <a:pt x="1217792" y="406830"/>
                  </a:lnTo>
                  <a:lnTo>
                    <a:pt x="1218692" y="405030"/>
                  </a:lnTo>
                  <a:lnTo>
                    <a:pt x="1220492" y="398730"/>
                  </a:lnTo>
                  <a:lnTo>
                    <a:pt x="1221392" y="392428"/>
                  </a:lnTo>
                  <a:lnTo>
                    <a:pt x="1221392" y="387028"/>
                  </a:lnTo>
                  <a:lnTo>
                    <a:pt x="1219592" y="381628"/>
                  </a:lnTo>
                  <a:lnTo>
                    <a:pt x="1217792" y="377128"/>
                  </a:lnTo>
                  <a:lnTo>
                    <a:pt x="1214192" y="371728"/>
                  </a:lnTo>
                  <a:lnTo>
                    <a:pt x="1209688" y="366328"/>
                  </a:lnTo>
                  <a:lnTo>
                    <a:pt x="1203388" y="360926"/>
                  </a:lnTo>
                  <a:lnTo>
                    <a:pt x="1197988" y="357326"/>
                  </a:lnTo>
                  <a:lnTo>
                    <a:pt x="1193488" y="354626"/>
                  </a:lnTo>
                  <a:lnTo>
                    <a:pt x="1188988" y="354626"/>
                  </a:lnTo>
                  <a:lnTo>
                    <a:pt x="1184488" y="354626"/>
                  </a:lnTo>
                  <a:lnTo>
                    <a:pt x="1180888" y="354626"/>
                  </a:lnTo>
                  <a:lnTo>
                    <a:pt x="1175488" y="354626"/>
                  </a:lnTo>
                  <a:lnTo>
                    <a:pt x="1170088" y="352826"/>
                  </a:lnTo>
                  <a:lnTo>
                    <a:pt x="1162888" y="349226"/>
                  </a:lnTo>
                  <a:lnTo>
                    <a:pt x="1158388" y="346526"/>
                  </a:lnTo>
                  <a:lnTo>
                    <a:pt x="1153884" y="342926"/>
                  </a:lnTo>
                  <a:lnTo>
                    <a:pt x="1143084" y="332124"/>
                  </a:lnTo>
                  <a:lnTo>
                    <a:pt x="1131384" y="318624"/>
                  </a:lnTo>
                  <a:lnTo>
                    <a:pt x="1119684" y="303322"/>
                  </a:lnTo>
                  <a:lnTo>
                    <a:pt x="1108884" y="287122"/>
                  </a:lnTo>
                  <a:lnTo>
                    <a:pt x="1098980" y="271820"/>
                  </a:lnTo>
                  <a:lnTo>
                    <a:pt x="1090880" y="256518"/>
                  </a:lnTo>
                  <a:lnTo>
                    <a:pt x="1085480" y="243018"/>
                  </a:lnTo>
                  <a:lnTo>
                    <a:pt x="1080080" y="225916"/>
                  </a:lnTo>
                  <a:lnTo>
                    <a:pt x="1079180" y="220516"/>
                  </a:lnTo>
                  <a:lnTo>
                    <a:pt x="1076480" y="216916"/>
                  </a:lnTo>
                  <a:lnTo>
                    <a:pt x="1074680" y="215116"/>
                  </a:lnTo>
                  <a:lnTo>
                    <a:pt x="1071080" y="213316"/>
                  </a:lnTo>
                  <a:lnTo>
                    <a:pt x="1059380" y="212416"/>
                  </a:lnTo>
                  <a:lnTo>
                    <a:pt x="1055780" y="211516"/>
                  </a:lnTo>
                  <a:lnTo>
                    <a:pt x="1052180" y="210616"/>
                  </a:lnTo>
                  <a:lnTo>
                    <a:pt x="1049476" y="208816"/>
                  </a:lnTo>
                  <a:lnTo>
                    <a:pt x="1047676" y="207016"/>
                  </a:lnTo>
                  <a:lnTo>
                    <a:pt x="1044976" y="202514"/>
                  </a:lnTo>
                  <a:lnTo>
                    <a:pt x="1042276" y="195314"/>
                  </a:lnTo>
                  <a:lnTo>
                    <a:pt x="1037776" y="177314"/>
                  </a:lnTo>
                  <a:lnTo>
                    <a:pt x="1034176" y="166512"/>
                  </a:lnTo>
                  <a:lnTo>
                    <a:pt x="1028776" y="153012"/>
                  </a:lnTo>
                  <a:lnTo>
                    <a:pt x="1019776" y="135010"/>
                  </a:lnTo>
                  <a:lnTo>
                    <a:pt x="1018876" y="131410"/>
                  </a:lnTo>
                  <a:lnTo>
                    <a:pt x="1018876" y="129610"/>
                  </a:lnTo>
                  <a:lnTo>
                    <a:pt x="1022476" y="127810"/>
                  </a:lnTo>
                  <a:lnTo>
                    <a:pt x="1025176" y="124210"/>
                  </a:lnTo>
                  <a:lnTo>
                    <a:pt x="1027876" y="117908"/>
                  </a:lnTo>
                  <a:lnTo>
                    <a:pt x="1028776" y="114308"/>
                  </a:lnTo>
                  <a:lnTo>
                    <a:pt x="1028776" y="109808"/>
                  </a:lnTo>
                  <a:lnTo>
                    <a:pt x="1027876" y="105308"/>
                  </a:lnTo>
                  <a:lnTo>
                    <a:pt x="1026076" y="100808"/>
                  </a:lnTo>
                  <a:lnTo>
                    <a:pt x="1020676" y="92706"/>
                  </a:lnTo>
                  <a:lnTo>
                    <a:pt x="1014376" y="83706"/>
                  </a:lnTo>
                  <a:lnTo>
                    <a:pt x="1006276" y="75606"/>
                  </a:lnTo>
                  <a:lnTo>
                    <a:pt x="997276" y="67504"/>
                  </a:lnTo>
                  <a:lnTo>
                    <a:pt x="981972" y="53104"/>
                  </a:lnTo>
                  <a:lnTo>
                    <a:pt x="979272" y="49504"/>
                  </a:lnTo>
                  <a:lnTo>
                    <a:pt x="976572" y="45904"/>
                  </a:lnTo>
                  <a:lnTo>
                    <a:pt x="972972" y="37802"/>
                  </a:lnTo>
                  <a:lnTo>
                    <a:pt x="971172" y="28802"/>
                  </a:lnTo>
                  <a:lnTo>
                    <a:pt x="969372" y="20702"/>
                  </a:lnTo>
                  <a:lnTo>
                    <a:pt x="969372" y="12600"/>
                  </a:lnTo>
                  <a:lnTo>
                    <a:pt x="969372" y="630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3" name="Freeform 422">
              <a:extLst>
                <a:ext uri="{FF2B5EF4-FFF2-40B4-BE49-F238E27FC236}">
                  <a16:creationId xmlns:a16="http://schemas.microsoft.com/office/drawing/2014/main" id="{D55F5C49-11C1-48A4-B4B4-59DDB7BF5628}"/>
                </a:ext>
              </a:extLst>
            </p:cNvPr>
            <p:cNvSpPr/>
            <p:nvPr/>
          </p:nvSpPr>
          <p:spPr bwMode="auto">
            <a:xfrm>
              <a:off x="5231387" y="3965560"/>
              <a:ext cx="16188" cy="13105"/>
            </a:xfrm>
            <a:custGeom>
              <a:avLst/>
              <a:gdLst>
                <a:gd name="connsiteX0" fmla="*/ 66712 w 100068"/>
                <a:gd name="connsiteY0" fmla="*/ 57180 h 81006"/>
                <a:gd name="connsiteX1" fmla="*/ 90538 w 100068"/>
                <a:gd name="connsiteY1" fmla="*/ 61946 h 81006"/>
                <a:gd name="connsiteX2" fmla="*/ 100068 w 100068"/>
                <a:gd name="connsiteY2" fmla="*/ 66710 h 81006"/>
                <a:gd name="connsiteX3" fmla="*/ 100068 w 100068"/>
                <a:gd name="connsiteY3" fmla="*/ 76240 h 81006"/>
                <a:gd name="connsiteX4" fmla="*/ 95304 w 100068"/>
                <a:gd name="connsiteY4" fmla="*/ 81006 h 81006"/>
                <a:gd name="connsiteX5" fmla="*/ 85774 w 100068"/>
                <a:gd name="connsiteY5" fmla="*/ 76240 h 81006"/>
                <a:gd name="connsiteX6" fmla="*/ 76244 w 100068"/>
                <a:gd name="connsiteY6" fmla="*/ 76240 h 81006"/>
                <a:gd name="connsiteX7" fmla="*/ 66712 w 100068"/>
                <a:gd name="connsiteY7" fmla="*/ 81006 h 81006"/>
                <a:gd name="connsiteX8" fmla="*/ 19062 w 100068"/>
                <a:gd name="connsiteY8" fmla="*/ 0 h 81006"/>
                <a:gd name="connsiteX9" fmla="*/ 23828 w 100068"/>
                <a:gd name="connsiteY9" fmla="*/ 4764 h 81006"/>
                <a:gd name="connsiteX10" fmla="*/ 19062 w 100068"/>
                <a:gd name="connsiteY10" fmla="*/ 19060 h 81006"/>
                <a:gd name="connsiteX11" fmla="*/ 4766 w 100068"/>
                <a:gd name="connsiteY11" fmla="*/ 14294 h 81006"/>
                <a:gd name="connsiteX12" fmla="*/ 0 w 100068"/>
                <a:gd name="connsiteY12" fmla="*/ 9530 h 81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0068" h="81006">
                  <a:moveTo>
                    <a:pt x="66712" y="57180"/>
                  </a:moveTo>
                  <a:lnTo>
                    <a:pt x="90538" y="61946"/>
                  </a:lnTo>
                  <a:lnTo>
                    <a:pt x="100068" y="66710"/>
                  </a:lnTo>
                  <a:lnTo>
                    <a:pt x="100068" y="76240"/>
                  </a:lnTo>
                  <a:lnTo>
                    <a:pt x="95304" y="81006"/>
                  </a:lnTo>
                  <a:lnTo>
                    <a:pt x="85774" y="76240"/>
                  </a:lnTo>
                  <a:lnTo>
                    <a:pt x="76244" y="76240"/>
                  </a:lnTo>
                  <a:lnTo>
                    <a:pt x="66712" y="81006"/>
                  </a:lnTo>
                  <a:close/>
                  <a:moveTo>
                    <a:pt x="19062" y="0"/>
                  </a:moveTo>
                  <a:lnTo>
                    <a:pt x="23828" y="4764"/>
                  </a:lnTo>
                  <a:lnTo>
                    <a:pt x="19062" y="19060"/>
                  </a:lnTo>
                  <a:lnTo>
                    <a:pt x="4766" y="14294"/>
                  </a:lnTo>
                  <a:lnTo>
                    <a:pt x="0" y="953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474" name="FIJI">
              <a:extLst>
                <a:ext uri="{FF2B5EF4-FFF2-40B4-BE49-F238E27FC236}">
                  <a16:creationId xmlns:a16="http://schemas.microsoft.com/office/drawing/2014/main" id="{A527EEE9-BBF8-4B6C-A8A2-1B461151DF4D}"/>
                </a:ext>
              </a:extLst>
            </p:cNvPr>
            <p:cNvGrpSpPr/>
            <p:nvPr/>
          </p:nvGrpSpPr>
          <p:grpSpPr>
            <a:xfrm>
              <a:off x="9779206" y="5832275"/>
              <a:ext cx="121735" cy="87119"/>
              <a:chOff x="3916363" y="3062288"/>
              <a:chExt cx="3003550" cy="2149475"/>
            </a:xfrm>
            <a:grpFill/>
          </p:grpSpPr>
          <p:sp>
            <p:nvSpPr>
              <p:cNvPr id="479" name="Viti Levu">
                <a:extLst>
                  <a:ext uri="{FF2B5EF4-FFF2-40B4-BE49-F238E27FC236}">
                    <a16:creationId xmlns:a16="http://schemas.microsoft.com/office/drawing/2014/main" id="{5F4C1152-97CD-4CB8-B45B-0EF8E914AF20}"/>
                  </a:ext>
                </a:extLst>
              </p:cNvPr>
              <p:cNvSpPr/>
              <p:nvPr/>
            </p:nvSpPr>
            <p:spPr bwMode="gray">
              <a:xfrm>
                <a:off x="4014788" y="3897313"/>
                <a:ext cx="968375" cy="666750"/>
              </a:xfrm>
              <a:custGeom>
                <a:avLst/>
                <a:gdLst/>
                <a:ahLst/>
                <a:cxnLst>
                  <a:cxn ang="0">
                    <a:pos x="0" y="268"/>
                  </a:cxn>
                  <a:cxn ang="0">
                    <a:pos x="24" y="344"/>
                  </a:cxn>
                  <a:cxn ang="0">
                    <a:pos x="90" y="378"/>
                  </a:cxn>
                  <a:cxn ang="0">
                    <a:pos x="150" y="378"/>
                  </a:cxn>
                  <a:cxn ang="0">
                    <a:pos x="252" y="420"/>
                  </a:cxn>
                  <a:cxn ang="0">
                    <a:pos x="318" y="418"/>
                  </a:cxn>
                  <a:cxn ang="0">
                    <a:pos x="348" y="404"/>
                  </a:cxn>
                  <a:cxn ang="0">
                    <a:pos x="386" y="406"/>
                  </a:cxn>
                  <a:cxn ang="0">
                    <a:pos x="436" y="358"/>
                  </a:cxn>
                  <a:cxn ang="0">
                    <a:pos x="480" y="340"/>
                  </a:cxn>
                  <a:cxn ang="0">
                    <a:pos x="506" y="360"/>
                  </a:cxn>
                  <a:cxn ang="0">
                    <a:pos x="530" y="338"/>
                  </a:cxn>
                  <a:cxn ang="0">
                    <a:pos x="558" y="350"/>
                  </a:cxn>
                  <a:cxn ang="0">
                    <a:pos x="602" y="322"/>
                  </a:cxn>
                  <a:cxn ang="0">
                    <a:pos x="610" y="298"/>
                  </a:cxn>
                  <a:cxn ang="0">
                    <a:pos x="598" y="302"/>
                  </a:cxn>
                  <a:cxn ang="0">
                    <a:pos x="594" y="284"/>
                  </a:cxn>
                  <a:cxn ang="0">
                    <a:pos x="580" y="282"/>
                  </a:cxn>
                  <a:cxn ang="0">
                    <a:pos x="562" y="246"/>
                  </a:cxn>
                  <a:cxn ang="0">
                    <a:pos x="578" y="240"/>
                  </a:cxn>
                  <a:cxn ang="0">
                    <a:pos x="582" y="216"/>
                  </a:cxn>
                  <a:cxn ang="0">
                    <a:pos x="566" y="210"/>
                  </a:cxn>
                  <a:cxn ang="0">
                    <a:pos x="570" y="200"/>
                  </a:cxn>
                  <a:cxn ang="0">
                    <a:pos x="554" y="184"/>
                  </a:cxn>
                  <a:cxn ang="0">
                    <a:pos x="570" y="150"/>
                  </a:cxn>
                  <a:cxn ang="0">
                    <a:pos x="566" y="136"/>
                  </a:cxn>
                  <a:cxn ang="0">
                    <a:pos x="544" y="118"/>
                  </a:cxn>
                  <a:cxn ang="0">
                    <a:pos x="536" y="120"/>
                  </a:cxn>
                  <a:cxn ang="0">
                    <a:pos x="530" y="106"/>
                  </a:cxn>
                  <a:cxn ang="0">
                    <a:pos x="502" y="100"/>
                  </a:cxn>
                  <a:cxn ang="0">
                    <a:pos x="476" y="76"/>
                  </a:cxn>
                  <a:cxn ang="0">
                    <a:pos x="460" y="44"/>
                  </a:cxn>
                  <a:cxn ang="0">
                    <a:pos x="438" y="46"/>
                  </a:cxn>
                  <a:cxn ang="0">
                    <a:pos x="418" y="62"/>
                  </a:cxn>
                  <a:cxn ang="0">
                    <a:pos x="416" y="40"/>
                  </a:cxn>
                  <a:cxn ang="0">
                    <a:pos x="436" y="30"/>
                  </a:cxn>
                  <a:cxn ang="0">
                    <a:pos x="438" y="2"/>
                  </a:cxn>
                  <a:cxn ang="0">
                    <a:pos x="390" y="0"/>
                  </a:cxn>
                  <a:cxn ang="0">
                    <a:pos x="372" y="12"/>
                  </a:cxn>
                  <a:cxn ang="0">
                    <a:pos x="336" y="6"/>
                  </a:cxn>
                  <a:cxn ang="0">
                    <a:pos x="306" y="30"/>
                  </a:cxn>
                  <a:cxn ang="0">
                    <a:pos x="258" y="28"/>
                  </a:cxn>
                  <a:cxn ang="0">
                    <a:pos x="242" y="42"/>
                  </a:cxn>
                  <a:cxn ang="0">
                    <a:pos x="248" y="14"/>
                  </a:cxn>
                  <a:cxn ang="0">
                    <a:pos x="216" y="32"/>
                  </a:cxn>
                  <a:cxn ang="0">
                    <a:pos x="210" y="44"/>
                  </a:cxn>
                  <a:cxn ang="0">
                    <a:pos x="194" y="38"/>
                  </a:cxn>
                  <a:cxn ang="0">
                    <a:pos x="172" y="50"/>
                  </a:cxn>
                  <a:cxn ang="0">
                    <a:pos x="160" y="48"/>
                  </a:cxn>
                  <a:cxn ang="0">
                    <a:pos x="122" y="80"/>
                  </a:cxn>
                  <a:cxn ang="0">
                    <a:pos x="114" y="78"/>
                  </a:cxn>
                  <a:cxn ang="0">
                    <a:pos x="104" y="94"/>
                  </a:cxn>
                  <a:cxn ang="0">
                    <a:pos x="70" y="130"/>
                  </a:cxn>
                  <a:cxn ang="0">
                    <a:pos x="62" y="130"/>
                  </a:cxn>
                  <a:cxn ang="0">
                    <a:pos x="60" y="148"/>
                  </a:cxn>
                  <a:cxn ang="0">
                    <a:pos x="78" y="158"/>
                  </a:cxn>
                  <a:cxn ang="0">
                    <a:pos x="80" y="188"/>
                  </a:cxn>
                  <a:cxn ang="0">
                    <a:pos x="54" y="176"/>
                  </a:cxn>
                  <a:cxn ang="0">
                    <a:pos x="54" y="218"/>
                  </a:cxn>
                  <a:cxn ang="0">
                    <a:pos x="8" y="232"/>
                  </a:cxn>
                  <a:cxn ang="0">
                    <a:pos x="12" y="258"/>
                  </a:cxn>
                  <a:cxn ang="0">
                    <a:pos x="0" y="268"/>
                  </a:cxn>
                </a:cxnLst>
                <a:rect l="0" t="0" r="r" b="b"/>
                <a:pathLst>
                  <a:path w="610" h="420">
                    <a:moveTo>
                      <a:pt x="0" y="268"/>
                    </a:moveTo>
                    <a:lnTo>
                      <a:pt x="24" y="344"/>
                    </a:lnTo>
                    <a:lnTo>
                      <a:pt x="90" y="378"/>
                    </a:lnTo>
                    <a:lnTo>
                      <a:pt x="150" y="378"/>
                    </a:lnTo>
                    <a:lnTo>
                      <a:pt x="252" y="420"/>
                    </a:lnTo>
                    <a:lnTo>
                      <a:pt x="318" y="418"/>
                    </a:lnTo>
                    <a:lnTo>
                      <a:pt x="348" y="404"/>
                    </a:lnTo>
                    <a:lnTo>
                      <a:pt x="386" y="406"/>
                    </a:lnTo>
                    <a:lnTo>
                      <a:pt x="436" y="358"/>
                    </a:lnTo>
                    <a:lnTo>
                      <a:pt x="480" y="340"/>
                    </a:lnTo>
                    <a:lnTo>
                      <a:pt x="506" y="360"/>
                    </a:lnTo>
                    <a:lnTo>
                      <a:pt x="530" y="338"/>
                    </a:lnTo>
                    <a:lnTo>
                      <a:pt x="558" y="350"/>
                    </a:lnTo>
                    <a:lnTo>
                      <a:pt x="602" y="322"/>
                    </a:lnTo>
                    <a:lnTo>
                      <a:pt x="610" y="298"/>
                    </a:lnTo>
                    <a:lnTo>
                      <a:pt x="598" y="302"/>
                    </a:lnTo>
                    <a:lnTo>
                      <a:pt x="594" y="284"/>
                    </a:lnTo>
                    <a:lnTo>
                      <a:pt x="580" y="282"/>
                    </a:lnTo>
                    <a:lnTo>
                      <a:pt x="562" y="246"/>
                    </a:lnTo>
                    <a:lnTo>
                      <a:pt x="578" y="240"/>
                    </a:lnTo>
                    <a:lnTo>
                      <a:pt x="582" y="216"/>
                    </a:lnTo>
                    <a:lnTo>
                      <a:pt x="566" y="210"/>
                    </a:lnTo>
                    <a:lnTo>
                      <a:pt x="570" y="200"/>
                    </a:lnTo>
                    <a:lnTo>
                      <a:pt x="554" y="184"/>
                    </a:lnTo>
                    <a:lnTo>
                      <a:pt x="570" y="150"/>
                    </a:lnTo>
                    <a:lnTo>
                      <a:pt x="566" y="136"/>
                    </a:lnTo>
                    <a:lnTo>
                      <a:pt x="544" y="118"/>
                    </a:lnTo>
                    <a:lnTo>
                      <a:pt x="536" y="120"/>
                    </a:lnTo>
                    <a:lnTo>
                      <a:pt x="530" y="106"/>
                    </a:lnTo>
                    <a:lnTo>
                      <a:pt x="502" y="100"/>
                    </a:lnTo>
                    <a:lnTo>
                      <a:pt x="476" y="76"/>
                    </a:lnTo>
                    <a:lnTo>
                      <a:pt x="460" y="44"/>
                    </a:lnTo>
                    <a:lnTo>
                      <a:pt x="438" y="46"/>
                    </a:lnTo>
                    <a:lnTo>
                      <a:pt x="418" y="62"/>
                    </a:lnTo>
                    <a:lnTo>
                      <a:pt x="416" y="40"/>
                    </a:lnTo>
                    <a:lnTo>
                      <a:pt x="436" y="30"/>
                    </a:lnTo>
                    <a:lnTo>
                      <a:pt x="438" y="2"/>
                    </a:lnTo>
                    <a:lnTo>
                      <a:pt x="390" y="0"/>
                    </a:lnTo>
                    <a:lnTo>
                      <a:pt x="372" y="12"/>
                    </a:lnTo>
                    <a:lnTo>
                      <a:pt x="336" y="6"/>
                    </a:lnTo>
                    <a:lnTo>
                      <a:pt x="306" y="30"/>
                    </a:lnTo>
                    <a:lnTo>
                      <a:pt x="258" y="28"/>
                    </a:lnTo>
                    <a:lnTo>
                      <a:pt x="242" y="42"/>
                    </a:lnTo>
                    <a:lnTo>
                      <a:pt x="248" y="14"/>
                    </a:lnTo>
                    <a:lnTo>
                      <a:pt x="216" y="32"/>
                    </a:lnTo>
                    <a:lnTo>
                      <a:pt x="210" y="44"/>
                    </a:lnTo>
                    <a:lnTo>
                      <a:pt x="194" y="38"/>
                    </a:lnTo>
                    <a:lnTo>
                      <a:pt x="172" y="50"/>
                    </a:lnTo>
                    <a:lnTo>
                      <a:pt x="160" y="48"/>
                    </a:lnTo>
                    <a:lnTo>
                      <a:pt x="122" y="80"/>
                    </a:lnTo>
                    <a:lnTo>
                      <a:pt x="114" y="78"/>
                    </a:lnTo>
                    <a:lnTo>
                      <a:pt x="104" y="94"/>
                    </a:lnTo>
                    <a:lnTo>
                      <a:pt x="70" y="130"/>
                    </a:lnTo>
                    <a:lnTo>
                      <a:pt x="62" y="130"/>
                    </a:lnTo>
                    <a:lnTo>
                      <a:pt x="60" y="148"/>
                    </a:lnTo>
                    <a:lnTo>
                      <a:pt x="78" y="158"/>
                    </a:lnTo>
                    <a:lnTo>
                      <a:pt x="80" y="188"/>
                    </a:lnTo>
                    <a:lnTo>
                      <a:pt x="54" y="176"/>
                    </a:lnTo>
                    <a:lnTo>
                      <a:pt x="54" y="218"/>
                    </a:lnTo>
                    <a:lnTo>
                      <a:pt x="8" y="232"/>
                    </a:lnTo>
                    <a:lnTo>
                      <a:pt x="12" y="258"/>
                    </a:lnTo>
                    <a:lnTo>
                      <a:pt x="0" y="268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0" name="Vatulele">
                <a:extLst>
                  <a:ext uri="{FF2B5EF4-FFF2-40B4-BE49-F238E27FC236}">
                    <a16:creationId xmlns:a16="http://schemas.microsoft.com/office/drawing/2014/main" id="{6C891C17-5C60-4FAF-A8DC-144A6895E519}"/>
                  </a:ext>
                </a:extLst>
              </p:cNvPr>
              <p:cNvSpPr/>
              <p:nvPr/>
            </p:nvSpPr>
            <p:spPr bwMode="gray">
              <a:xfrm>
                <a:off x="4252913" y="4687888"/>
                <a:ext cx="73025" cy="114300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0" y="24"/>
                  </a:cxn>
                  <a:cxn ang="0">
                    <a:pos x="26" y="72"/>
                  </a:cxn>
                  <a:cxn ang="0">
                    <a:pos x="40" y="68"/>
                  </a:cxn>
                  <a:cxn ang="0">
                    <a:pos x="46" y="24"/>
                  </a:cxn>
                  <a:cxn ang="0">
                    <a:pos x="18" y="0"/>
                  </a:cxn>
                </a:cxnLst>
                <a:rect l="0" t="0" r="r" b="b"/>
                <a:pathLst>
                  <a:path w="46" h="72">
                    <a:moveTo>
                      <a:pt x="18" y="0"/>
                    </a:moveTo>
                    <a:lnTo>
                      <a:pt x="0" y="24"/>
                    </a:lnTo>
                    <a:lnTo>
                      <a:pt x="26" y="72"/>
                    </a:lnTo>
                    <a:lnTo>
                      <a:pt x="40" y="68"/>
                    </a:lnTo>
                    <a:lnTo>
                      <a:pt x="46" y="24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1" name="Kadavu Island">
                <a:extLst>
                  <a:ext uri="{FF2B5EF4-FFF2-40B4-BE49-F238E27FC236}">
                    <a16:creationId xmlns:a16="http://schemas.microsoft.com/office/drawing/2014/main" id="{8BC950DF-C861-4890-BF41-D0AC8A3B7899}"/>
                  </a:ext>
                </a:extLst>
              </p:cNvPr>
              <p:cNvSpPr/>
              <p:nvPr/>
            </p:nvSpPr>
            <p:spPr bwMode="gray">
              <a:xfrm>
                <a:off x="4487863" y="5018088"/>
                <a:ext cx="361950" cy="171450"/>
              </a:xfrm>
              <a:custGeom>
                <a:avLst/>
                <a:gdLst/>
                <a:ahLst/>
                <a:cxnLst>
                  <a:cxn ang="0">
                    <a:pos x="0" y="86"/>
                  </a:cxn>
                  <a:cxn ang="0">
                    <a:pos x="8" y="74"/>
                  </a:cxn>
                  <a:cxn ang="0">
                    <a:pos x="32" y="76"/>
                  </a:cxn>
                  <a:cxn ang="0">
                    <a:pos x="36" y="52"/>
                  </a:cxn>
                  <a:cxn ang="0">
                    <a:pos x="72" y="64"/>
                  </a:cxn>
                  <a:cxn ang="0">
                    <a:pos x="78" y="48"/>
                  </a:cxn>
                  <a:cxn ang="0">
                    <a:pos x="90" y="48"/>
                  </a:cxn>
                  <a:cxn ang="0">
                    <a:pos x="96" y="22"/>
                  </a:cxn>
                  <a:cxn ang="0">
                    <a:pos x="124" y="12"/>
                  </a:cxn>
                  <a:cxn ang="0">
                    <a:pos x="146" y="18"/>
                  </a:cxn>
                  <a:cxn ang="0">
                    <a:pos x="148" y="2"/>
                  </a:cxn>
                  <a:cxn ang="0">
                    <a:pos x="180" y="0"/>
                  </a:cxn>
                  <a:cxn ang="0">
                    <a:pos x="228" y="24"/>
                  </a:cxn>
                  <a:cxn ang="0">
                    <a:pos x="224" y="38"/>
                  </a:cxn>
                  <a:cxn ang="0">
                    <a:pos x="198" y="40"/>
                  </a:cxn>
                  <a:cxn ang="0">
                    <a:pos x="182" y="52"/>
                  </a:cxn>
                  <a:cxn ang="0">
                    <a:pos x="150" y="30"/>
                  </a:cxn>
                  <a:cxn ang="0">
                    <a:pos x="116" y="50"/>
                  </a:cxn>
                  <a:cxn ang="0">
                    <a:pos x="98" y="52"/>
                  </a:cxn>
                  <a:cxn ang="0">
                    <a:pos x="92" y="68"/>
                  </a:cxn>
                  <a:cxn ang="0">
                    <a:pos x="102" y="84"/>
                  </a:cxn>
                  <a:cxn ang="0">
                    <a:pos x="104" y="98"/>
                  </a:cxn>
                  <a:cxn ang="0">
                    <a:pos x="92" y="98"/>
                  </a:cxn>
                  <a:cxn ang="0">
                    <a:pos x="88" y="82"/>
                  </a:cxn>
                  <a:cxn ang="0">
                    <a:pos x="66" y="98"/>
                  </a:cxn>
                  <a:cxn ang="0">
                    <a:pos x="70" y="108"/>
                  </a:cxn>
                  <a:cxn ang="0">
                    <a:pos x="62" y="106"/>
                  </a:cxn>
                  <a:cxn ang="0">
                    <a:pos x="54" y="100"/>
                  </a:cxn>
                  <a:cxn ang="0">
                    <a:pos x="28" y="98"/>
                  </a:cxn>
                  <a:cxn ang="0">
                    <a:pos x="16" y="100"/>
                  </a:cxn>
                  <a:cxn ang="0">
                    <a:pos x="0" y="86"/>
                  </a:cxn>
                </a:cxnLst>
                <a:rect l="0" t="0" r="r" b="b"/>
                <a:pathLst>
                  <a:path w="228" h="108">
                    <a:moveTo>
                      <a:pt x="0" y="86"/>
                    </a:moveTo>
                    <a:lnTo>
                      <a:pt x="8" y="74"/>
                    </a:lnTo>
                    <a:lnTo>
                      <a:pt x="32" y="76"/>
                    </a:lnTo>
                    <a:lnTo>
                      <a:pt x="36" y="52"/>
                    </a:lnTo>
                    <a:lnTo>
                      <a:pt x="72" y="64"/>
                    </a:lnTo>
                    <a:lnTo>
                      <a:pt x="78" y="48"/>
                    </a:lnTo>
                    <a:lnTo>
                      <a:pt x="90" y="48"/>
                    </a:lnTo>
                    <a:lnTo>
                      <a:pt x="96" y="22"/>
                    </a:lnTo>
                    <a:lnTo>
                      <a:pt x="124" y="12"/>
                    </a:lnTo>
                    <a:lnTo>
                      <a:pt x="146" y="18"/>
                    </a:lnTo>
                    <a:lnTo>
                      <a:pt x="148" y="2"/>
                    </a:lnTo>
                    <a:lnTo>
                      <a:pt x="180" y="0"/>
                    </a:lnTo>
                    <a:lnTo>
                      <a:pt x="228" y="24"/>
                    </a:lnTo>
                    <a:lnTo>
                      <a:pt x="224" y="38"/>
                    </a:lnTo>
                    <a:lnTo>
                      <a:pt x="198" y="40"/>
                    </a:lnTo>
                    <a:lnTo>
                      <a:pt x="182" y="52"/>
                    </a:lnTo>
                    <a:lnTo>
                      <a:pt x="150" y="30"/>
                    </a:lnTo>
                    <a:lnTo>
                      <a:pt x="116" y="50"/>
                    </a:lnTo>
                    <a:lnTo>
                      <a:pt x="98" y="52"/>
                    </a:lnTo>
                    <a:lnTo>
                      <a:pt x="92" y="68"/>
                    </a:lnTo>
                    <a:lnTo>
                      <a:pt x="102" y="84"/>
                    </a:lnTo>
                    <a:lnTo>
                      <a:pt x="104" y="98"/>
                    </a:lnTo>
                    <a:lnTo>
                      <a:pt x="92" y="98"/>
                    </a:lnTo>
                    <a:lnTo>
                      <a:pt x="88" y="82"/>
                    </a:lnTo>
                    <a:lnTo>
                      <a:pt x="66" y="98"/>
                    </a:lnTo>
                    <a:lnTo>
                      <a:pt x="70" y="108"/>
                    </a:lnTo>
                    <a:lnTo>
                      <a:pt x="62" y="106"/>
                    </a:lnTo>
                    <a:lnTo>
                      <a:pt x="54" y="100"/>
                    </a:lnTo>
                    <a:lnTo>
                      <a:pt x="28" y="98"/>
                    </a:lnTo>
                    <a:lnTo>
                      <a:pt x="16" y="100"/>
                    </a:lnTo>
                    <a:lnTo>
                      <a:pt x="0" y="86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2" name="Ono">
                <a:extLst>
                  <a:ext uri="{FF2B5EF4-FFF2-40B4-BE49-F238E27FC236}">
                    <a16:creationId xmlns:a16="http://schemas.microsoft.com/office/drawing/2014/main" id="{3B2A3FE2-C04B-4172-984A-48EB8F921F39}"/>
                  </a:ext>
                </a:extLst>
              </p:cNvPr>
              <p:cNvSpPr/>
              <p:nvPr/>
            </p:nvSpPr>
            <p:spPr bwMode="gray">
              <a:xfrm>
                <a:off x="4824413" y="4967288"/>
                <a:ext cx="47625" cy="476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0" y="12"/>
                  </a:cxn>
                  <a:cxn ang="0">
                    <a:pos x="6" y="20"/>
                  </a:cxn>
                  <a:cxn ang="0">
                    <a:pos x="14" y="24"/>
                  </a:cxn>
                  <a:cxn ang="0">
                    <a:pos x="16" y="30"/>
                  </a:cxn>
                  <a:cxn ang="0">
                    <a:pos x="24" y="20"/>
                  </a:cxn>
                  <a:cxn ang="0">
                    <a:pos x="30" y="16"/>
                  </a:cxn>
                  <a:cxn ang="0">
                    <a:pos x="28" y="2"/>
                  </a:cxn>
                  <a:cxn ang="0">
                    <a:pos x="24" y="0"/>
                  </a:cxn>
                </a:cxnLst>
                <a:rect l="0" t="0" r="r" b="b"/>
                <a:pathLst>
                  <a:path w="30" h="30">
                    <a:moveTo>
                      <a:pt x="24" y="0"/>
                    </a:moveTo>
                    <a:lnTo>
                      <a:pt x="0" y="12"/>
                    </a:lnTo>
                    <a:lnTo>
                      <a:pt x="6" y="20"/>
                    </a:lnTo>
                    <a:lnTo>
                      <a:pt x="14" y="24"/>
                    </a:lnTo>
                    <a:lnTo>
                      <a:pt x="16" y="30"/>
                    </a:lnTo>
                    <a:lnTo>
                      <a:pt x="24" y="20"/>
                    </a:lnTo>
                    <a:lnTo>
                      <a:pt x="30" y="16"/>
                    </a:lnTo>
                    <a:lnTo>
                      <a:pt x="28" y="2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3" name="Moala">
                <a:extLst>
                  <a:ext uri="{FF2B5EF4-FFF2-40B4-BE49-F238E27FC236}">
                    <a16:creationId xmlns:a16="http://schemas.microsoft.com/office/drawing/2014/main" id="{AC01C699-B749-4105-8592-08EAB328D248}"/>
                  </a:ext>
                </a:extLst>
              </p:cNvPr>
              <p:cNvSpPr/>
              <p:nvPr/>
            </p:nvSpPr>
            <p:spPr bwMode="gray">
              <a:xfrm>
                <a:off x="5729288" y="4725988"/>
                <a:ext cx="117475" cy="117475"/>
              </a:xfrm>
              <a:custGeom>
                <a:avLst/>
                <a:gdLst/>
                <a:ahLst/>
                <a:cxnLst>
                  <a:cxn ang="0">
                    <a:pos x="70" y="0"/>
                  </a:cxn>
                  <a:cxn ang="0">
                    <a:pos x="0" y="22"/>
                  </a:cxn>
                  <a:cxn ang="0">
                    <a:pos x="16" y="74"/>
                  </a:cxn>
                  <a:cxn ang="0">
                    <a:pos x="44" y="72"/>
                  </a:cxn>
                  <a:cxn ang="0">
                    <a:pos x="54" y="46"/>
                  </a:cxn>
                  <a:cxn ang="0">
                    <a:pos x="74" y="28"/>
                  </a:cxn>
                  <a:cxn ang="0">
                    <a:pos x="70" y="0"/>
                  </a:cxn>
                </a:cxnLst>
                <a:rect l="0" t="0" r="r" b="b"/>
                <a:pathLst>
                  <a:path w="74" h="74">
                    <a:moveTo>
                      <a:pt x="70" y="0"/>
                    </a:moveTo>
                    <a:lnTo>
                      <a:pt x="0" y="22"/>
                    </a:lnTo>
                    <a:lnTo>
                      <a:pt x="16" y="74"/>
                    </a:lnTo>
                    <a:lnTo>
                      <a:pt x="44" y="72"/>
                    </a:lnTo>
                    <a:lnTo>
                      <a:pt x="54" y="46"/>
                    </a:lnTo>
                    <a:lnTo>
                      <a:pt x="74" y="28"/>
                    </a:lnTo>
                    <a:lnTo>
                      <a:pt x="7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4" name="Ngau">
                <a:extLst>
                  <a:ext uri="{FF2B5EF4-FFF2-40B4-BE49-F238E27FC236}">
                    <a16:creationId xmlns:a16="http://schemas.microsoft.com/office/drawing/2014/main" id="{0E69B100-A0BA-440D-9C67-7ED531819260}"/>
                  </a:ext>
                </a:extLst>
              </p:cNvPr>
              <p:cNvSpPr/>
              <p:nvPr/>
            </p:nvSpPr>
            <p:spPr bwMode="gray">
              <a:xfrm>
                <a:off x="5300663" y="4310063"/>
                <a:ext cx="146050" cy="155575"/>
              </a:xfrm>
              <a:custGeom>
                <a:avLst/>
                <a:gdLst/>
                <a:ahLst/>
                <a:cxnLst>
                  <a:cxn ang="0">
                    <a:pos x="22" y="2"/>
                  </a:cxn>
                  <a:cxn ang="0">
                    <a:pos x="14" y="30"/>
                  </a:cxn>
                  <a:cxn ang="0">
                    <a:pos x="0" y="42"/>
                  </a:cxn>
                  <a:cxn ang="0">
                    <a:pos x="8" y="58"/>
                  </a:cxn>
                  <a:cxn ang="0">
                    <a:pos x="26" y="70"/>
                  </a:cxn>
                  <a:cxn ang="0">
                    <a:pos x="58" y="98"/>
                  </a:cxn>
                  <a:cxn ang="0">
                    <a:pos x="92" y="80"/>
                  </a:cxn>
                  <a:cxn ang="0">
                    <a:pos x="84" y="42"/>
                  </a:cxn>
                  <a:cxn ang="0">
                    <a:pos x="88" y="30"/>
                  </a:cxn>
                  <a:cxn ang="0">
                    <a:pos x="56" y="0"/>
                  </a:cxn>
                  <a:cxn ang="0">
                    <a:pos x="22" y="2"/>
                  </a:cxn>
                </a:cxnLst>
                <a:rect l="0" t="0" r="r" b="b"/>
                <a:pathLst>
                  <a:path w="92" h="98">
                    <a:moveTo>
                      <a:pt x="22" y="2"/>
                    </a:moveTo>
                    <a:lnTo>
                      <a:pt x="14" y="30"/>
                    </a:lnTo>
                    <a:lnTo>
                      <a:pt x="0" y="42"/>
                    </a:lnTo>
                    <a:lnTo>
                      <a:pt x="8" y="58"/>
                    </a:lnTo>
                    <a:lnTo>
                      <a:pt x="26" y="70"/>
                    </a:lnTo>
                    <a:lnTo>
                      <a:pt x="58" y="98"/>
                    </a:lnTo>
                    <a:lnTo>
                      <a:pt x="92" y="80"/>
                    </a:lnTo>
                    <a:lnTo>
                      <a:pt x="84" y="42"/>
                    </a:lnTo>
                    <a:lnTo>
                      <a:pt x="88" y="30"/>
                    </a:lnTo>
                    <a:lnTo>
                      <a:pt x="56" y="0"/>
                    </a:lnTo>
                    <a:lnTo>
                      <a:pt x="22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5" name="Matuku Island">
                <a:extLst>
                  <a:ext uri="{FF2B5EF4-FFF2-40B4-BE49-F238E27FC236}">
                    <a16:creationId xmlns:a16="http://schemas.microsoft.com/office/drawing/2014/main" id="{633D93B5-5DB2-499E-994D-6D7536EA280F}"/>
                  </a:ext>
                </a:extLst>
              </p:cNvPr>
              <p:cNvSpPr/>
              <p:nvPr/>
            </p:nvSpPr>
            <p:spPr bwMode="gray">
              <a:xfrm>
                <a:off x="5672138" y="5145088"/>
                <a:ext cx="50800" cy="66675"/>
              </a:xfrm>
              <a:custGeom>
                <a:avLst/>
                <a:gdLst/>
                <a:ahLst/>
                <a:cxnLst>
                  <a:cxn ang="0">
                    <a:pos x="6" y="4"/>
                  </a:cxn>
                  <a:cxn ang="0">
                    <a:pos x="6" y="20"/>
                  </a:cxn>
                  <a:cxn ang="0">
                    <a:pos x="0" y="32"/>
                  </a:cxn>
                  <a:cxn ang="0">
                    <a:pos x="8" y="42"/>
                  </a:cxn>
                  <a:cxn ang="0">
                    <a:pos x="30" y="32"/>
                  </a:cxn>
                  <a:cxn ang="0">
                    <a:pos x="32" y="10"/>
                  </a:cxn>
                  <a:cxn ang="0">
                    <a:pos x="22" y="0"/>
                  </a:cxn>
                  <a:cxn ang="0">
                    <a:pos x="6" y="4"/>
                  </a:cxn>
                </a:cxnLst>
                <a:rect l="0" t="0" r="r" b="b"/>
                <a:pathLst>
                  <a:path w="32" h="42">
                    <a:moveTo>
                      <a:pt x="6" y="4"/>
                    </a:moveTo>
                    <a:lnTo>
                      <a:pt x="6" y="20"/>
                    </a:lnTo>
                    <a:lnTo>
                      <a:pt x="0" y="32"/>
                    </a:lnTo>
                    <a:lnTo>
                      <a:pt x="8" y="42"/>
                    </a:lnTo>
                    <a:lnTo>
                      <a:pt x="30" y="32"/>
                    </a:lnTo>
                    <a:lnTo>
                      <a:pt x="32" y="10"/>
                    </a:lnTo>
                    <a:lnTo>
                      <a:pt x="22" y="0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6" name="Kabara">
                <a:extLst>
                  <a:ext uri="{FF2B5EF4-FFF2-40B4-BE49-F238E27FC236}">
                    <a16:creationId xmlns:a16="http://schemas.microsoft.com/office/drawing/2014/main" id="{E0F4A14E-0192-4573-AC27-4C279DF994DB}"/>
                  </a:ext>
                </a:extLst>
              </p:cNvPr>
              <p:cNvSpPr/>
              <p:nvPr/>
            </p:nvSpPr>
            <p:spPr bwMode="gray">
              <a:xfrm>
                <a:off x="6519863" y="5002213"/>
                <a:ext cx="60325" cy="60325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0" y="14"/>
                  </a:cxn>
                  <a:cxn ang="0">
                    <a:pos x="12" y="38"/>
                  </a:cxn>
                  <a:cxn ang="0">
                    <a:pos x="34" y="36"/>
                  </a:cxn>
                  <a:cxn ang="0">
                    <a:pos x="38" y="10"/>
                  </a:cxn>
                  <a:cxn ang="0">
                    <a:pos x="24" y="0"/>
                  </a:cxn>
                </a:cxnLst>
                <a:rect l="0" t="0" r="r" b="b"/>
                <a:pathLst>
                  <a:path w="38" h="38">
                    <a:moveTo>
                      <a:pt x="24" y="0"/>
                    </a:moveTo>
                    <a:lnTo>
                      <a:pt x="0" y="14"/>
                    </a:lnTo>
                    <a:lnTo>
                      <a:pt x="12" y="38"/>
                    </a:lnTo>
                    <a:lnTo>
                      <a:pt x="34" y="36"/>
                    </a:lnTo>
                    <a:lnTo>
                      <a:pt x="38" y="1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7" name="Lakemba Island">
                <a:extLst>
                  <a:ext uri="{FF2B5EF4-FFF2-40B4-BE49-F238E27FC236}">
                    <a16:creationId xmlns:a16="http://schemas.microsoft.com/office/drawing/2014/main" id="{59477346-68D9-44A4-963B-344B1D0FCF3B}"/>
                  </a:ext>
                </a:extLst>
              </p:cNvPr>
              <p:cNvSpPr/>
              <p:nvPr/>
            </p:nvSpPr>
            <p:spPr bwMode="gray">
              <a:xfrm>
                <a:off x="6615113" y="4478338"/>
                <a:ext cx="139700" cy="60325"/>
              </a:xfrm>
              <a:custGeom>
                <a:avLst/>
                <a:gdLst/>
                <a:ahLst/>
                <a:cxnLst>
                  <a:cxn ang="0">
                    <a:pos x="32" y="10"/>
                  </a:cxn>
                  <a:cxn ang="0">
                    <a:pos x="8" y="8"/>
                  </a:cxn>
                  <a:cxn ang="0">
                    <a:pos x="0" y="24"/>
                  </a:cxn>
                  <a:cxn ang="0">
                    <a:pos x="24" y="38"/>
                  </a:cxn>
                  <a:cxn ang="0">
                    <a:pos x="46" y="36"/>
                  </a:cxn>
                  <a:cxn ang="0">
                    <a:pos x="72" y="36"/>
                  </a:cxn>
                  <a:cxn ang="0">
                    <a:pos x="88" y="20"/>
                  </a:cxn>
                  <a:cxn ang="0">
                    <a:pos x="80" y="2"/>
                  </a:cxn>
                  <a:cxn ang="0">
                    <a:pos x="66" y="10"/>
                  </a:cxn>
                  <a:cxn ang="0">
                    <a:pos x="44" y="0"/>
                  </a:cxn>
                  <a:cxn ang="0">
                    <a:pos x="32" y="10"/>
                  </a:cxn>
                </a:cxnLst>
                <a:rect l="0" t="0" r="r" b="b"/>
                <a:pathLst>
                  <a:path w="88" h="38">
                    <a:moveTo>
                      <a:pt x="32" y="10"/>
                    </a:moveTo>
                    <a:lnTo>
                      <a:pt x="8" y="8"/>
                    </a:lnTo>
                    <a:lnTo>
                      <a:pt x="0" y="24"/>
                    </a:lnTo>
                    <a:lnTo>
                      <a:pt x="24" y="38"/>
                    </a:lnTo>
                    <a:lnTo>
                      <a:pt x="46" y="36"/>
                    </a:lnTo>
                    <a:lnTo>
                      <a:pt x="72" y="36"/>
                    </a:lnTo>
                    <a:lnTo>
                      <a:pt x="88" y="20"/>
                    </a:lnTo>
                    <a:lnTo>
                      <a:pt x="80" y="2"/>
                    </a:lnTo>
                    <a:lnTo>
                      <a:pt x="66" y="10"/>
                    </a:lnTo>
                    <a:lnTo>
                      <a:pt x="44" y="0"/>
                    </a:lnTo>
                    <a:lnTo>
                      <a:pt x="32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8" name="Koro">
                <a:extLst>
                  <a:ext uri="{FF2B5EF4-FFF2-40B4-BE49-F238E27FC236}">
                    <a16:creationId xmlns:a16="http://schemas.microsoft.com/office/drawing/2014/main" id="{C7FB7CDB-0D86-4AA1-8C2A-01F782EBD365}"/>
                  </a:ext>
                </a:extLst>
              </p:cNvPr>
              <p:cNvSpPr/>
              <p:nvPr/>
            </p:nvSpPr>
            <p:spPr bwMode="gray">
              <a:xfrm>
                <a:off x="5418138" y="3833813"/>
                <a:ext cx="60325" cy="107950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34" y="0"/>
                  </a:cxn>
                  <a:cxn ang="0">
                    <a:pos x="38" y="36"/>
                  </a:cxn>
                  <a:cxn ang="0">
                    <a:pos x="10" y="68"/>
                  </a:cxn>
                  <a:cxn ang="0">
                    <a:pos x="0" y="22"/>
                  </a:cxn>
                  <a:cxn ang="0">
                    <a:pos x="10" y="2"/>
                  </a:cxn>
                </a:cxnLst>
                <a:rect l="0" t="0" r="r" b="b"/>
                <a:pathLst>
                  <a:path w="38" h="68">
                    <a:moveTo>
                      <a:pt x="10" y="2"/>
                    </a:moveTo>
                    <a:lnTo>
                      <a:pt x="34" y="0"/>
                    </a:lnTo>
                    <a:lnTo>
                      <a:pt x="38" y="36"/>
                    </a:lnTo>
                    <a:lnTo>
                      <a:pt x="10" y="68"/>
                    </a:lnTo>
                    <a:lnTo>
                      <a:pt x="0" y="22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9" name="Mago">
                <a:extLst>
                  <a:ext uri="{FF2B5EF4-FFF2-40B4-BE49-F238E27FC236}">
                    <a16:creationId xmlns:a16="http://schemas.microsoft.com/office/drawing/2014/main" id="{D6FE34F3-D51D-4838-8D0C-186880AF4513}"/>
                  </a:ext>
                </a:extLst>
              </p:cNvPr>
              <p:cNvSpPr/>
              <p:nvPr/>
            </p:nvSpPr>
            <p:spPr bwMode="gray">
              <a:xfrm>
                <a:off x="6380163" y="3951288"/>
                <a:ext cx="60325" cy="6350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26" y="2"/>
                  </a:cxn>
                  <a:cxn ang="0">
                    <a:pos x="38" y="20"/>
                  </a:cxn>
                  <a:cxn ang="0">
                    <a:pos x="20" y="40"/>
                  </a:cxn>
                  <a:cxn ang="0">
                    <a:pos x="0" y="18"/>
                  </a:cxn>
                  <a:cxn ang="0">
                    <a:pos x="6" y="0"/>
                  </a:cxn>
                </a:cxnLst>
                <a:rect l="0" t="0" r="r" b="b"/>
                <a:pathLst>
                  <a:path w="38" h="40">
                    <a:moveTo>
                      <a:pt x="6" y="0"/>
                    </a:moveTo>
                    <a:lnTo>
                      <a:pt x="26" y="2"/>
                    </a:lnTo>
                    <a:lnTo>
                      <a:pt x="38" y="20"/>
                    </a:lnTo>
                    <a:lnTo>
                      <a:pt x="20" y="40"/>
                    </a:lnTo>
                    <a:lnTo>
                      <a:pt x="0" y="18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90" name="Taveuni">
                <a:extLst>
                  <a:ext uri="{FF2B5EF4-FFF2-40B4-BE49-F238E27FC236}">
                    <a16:creationId xmlns:a16="http://schemas.microsoft.com/office/drawing/2014/main" id="{311D35F9-D0A3-4C13-9B41-0965390F4804}"/>
                  </a:ext>
                </a:extLst>
              </p:cNvPr>
              <p:cNvSpPr/>
              <p:nvPr/>
            </p:nvSpPr>
            <p:spPr bwMode="gray">
              <a:xfrm>
                <a:off x="5767388" y="3449638"/>
                <a:ext cx="200025" cy="215900"/>
              </a:xfrm>
              <a:custGeom>
                <a:avLst/>
                <a:gdLst/>
                <a:ahLst/>
                <a:cxnLst>
                  <a:cxn ang="0">
                    <a:pos x="110" y="0"/>
                  </a:cxn>
                  <a:cxn ang="0">
                    <a:pos x="116" y="26"/>
                  </a:cxn>
                  <a:cxn ang="0">
                    <a:pos x="126" y="32"/>
                  </a:cxn>
                  <a:cxn ang="0">
                    <a:pos x="118" y="54"/>
                  </a:cxn>
                  <a:cxn ang="0">
                    <a:pos x="106" y="68"/>
                  </a:cxn>
                  <a:cxn ang="0">
                    <a:pos x="106" y="80"/>
                  </a:cxn>
                  <a:cxn ang="0">
                    <a:pos x="90" y="84"/>
                  </a:cxn>
                  <a:cxn ang="0">
                    <a:pos x="26" y="136"/>
                  </a:cxn>
                  <a:cxn ang="0">
                    <a:pos x="0" y="118"/>
                  </a:cxn>
                  <a:cxn ang="0">
                    <a:pos x="34" y="76"/>
                  </a:cxn>
                  <a:cxn ang="0">
                    <a:pos x="50" y="40"/>
                  </a:cxn>
                  <a:cxn ang="0">
                    <a:pos x="74" y="24"/>
                  </a:cxn>
                  <a:cxn ang="0">
                    <a:pos x="78" y="8"/>
                  </a:cxn>
                  <a:cxn ang="0">
                    <a:pos x="110" y="0"/>
                  </a:cxn>
                </a:cxnLst>
                <a:rect l="0" t="0" r="r" b="b"/>
                <a:pathLst>
                  <a:path w="125" h="136">
                    <a:moveTo>
                      <a:pt x="110" y="0"/>
                    </a:moveTo>
                    <a:lnTo>
                      <a:pt x="116" y="26"/>
                    </a:lnTo>
                    <a:lnTo>
                      <a:pt x="126" y="32"/>
                    </a:lnTo>
                    <a:lnTo>
                      <a:pt x="118" y="54"/>
                    </a:lnTo>
                    <a:lnTo>
                      <a:pt x="106" y="68"/>
                    </a:lnTo>
                    <a:lnTo>
                      <a:pt x="106" y="80"/>
                    </a:lnTo>
                    <a:lnTo>
                      <a:pt x="90" y="84"/>
                    </a:lnTo>
                    <a:lnTo>
                      <a:pt x="26" y="136"/>
                    </a:lnTo>
                    <a:lnTo>
                      <a:pt x="0" y="118"/>
                    </a:lnTo>
                    <a:lnTo>
                      <a:pt x="34" y="76"/>
                    </a:lnTo>
                    <a:lnTo>
                      <a:pt x="50" y="40"/>
                    </a:lnTo>
                    <a:lnTo>
                      <a:pt x="74" y="24"/>
                    </a:lnTo>
                    <a:lnTo>
                      <a:pt x="78" y="8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91" name="Waya">
                <a:extLst>
                  <a:ext uri="{FF2B5EF4-FFF2-40B4-BE49-F238E27FC236}">
                    <a16:creationId xmlns:a16="http://schemas.microsoft.com/office/drawing/2014/main" id="{9651AB60-4005-453D-9E7F-D1AA07C4E38B}"/>
                  </a:ext>
                </a:extLst>
              </p:cNvPr>
              <p:cNvSpPr/>
              <p:nvPr/>
            </p:nvSpPr>
            <p:spPr bwMode="gray">
              <a:xfrm>
                <a:off x="3916363" y="3833813"/>
                <a:ext cx="41275" cy="539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" y="14"/>
                  </a:cxn>
                  <a:cxn ang="0">
                    <a:pos x="22" y="2"/>
                  </a:cxn>
                  <a:cxn ang="0">
                    <a:pos x="26" y="20"/>
                  </a:cxn>
                  <a:cxn ang="0">
                    <a:pos x="4" y="34"/>
                  </a:cxn>
                  <a:cxn ang="0">
                    <a:pos x="0" y="0"/>
                  </a:cxn>
                </a:cxnLst>
                <a:rect l="0" t="0" r="r" b="b"/>
                <a:pathLst>
                  <a:path w="26" h="34">
                    <a:moveTo>
                      <a:pt x="0" y="0"/>
                    </a:moveTo>
                    <a:lnTo>
                      <a:pt x="12" y="14"/>
                    </a:lnTo>
                    <a:lnTo>
                      <a:pt x="22" y="2"/>
                    </a:lnTo>
                    <a:lnTo>
                      <a:pt x="26" y="20"/>
                    </a:lnTo>
                    <a:lnTo>
                      <a:pt x="4" y="3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92" name="Yasawa Group">
                <a:extLst>
                  <a:ext uri="{FF2B5EF4-FFF2-40B4-BE49-F238E27FC236}">
                    <a16:creationId xmlns:a16="http://schemas.microsoft.com/office/drawing/2014/main" id="{B0C6C6AD-7D38-4B67-A9A6-51711AE25759}"/>
                  </a:ext>
                </a:extLst>
              </p:cNvPr>
              <p:cNvSpPr/>
              <p:nvPr/>
            </p:nvSpPr>
            <p:spPr bwMode="gray">
              <a:xfrm>
                <a:off x="3967163" y="3690938"/>
                <a:ext cx="79375" cy="952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0" y="30"/>
                  </a:cxn>
                  <a:cxn ang="0">
                    <a:pos x="6" y="60"/>
                  </a:cxn>
                  <a:cxn ang="0">
                    <a:pos x="24" y="44"/>
                  </a:cxn>
                  <a:cxn ang="0">
                    <a:pos x="40" y="40"/>
                  </a:cxn>
                  <a:cxn ang="0">
                    <a:pos x="50" y="16"/>
                  </a:cxn>
                  <a:cxn ang="0">
                    <a:pos x="34" y="16"/>
                  </a:cxn>
                  <a:cxn ang="0">
                    <a:pos x="30" y="0"/>
                  </a:cxn>
                </a:cxnLst>
                <a:rect l="0" t="0" r="r" b="b"/>
                <a:pathLst>
                  <a:path w="50" h="60">
                    <a:moveTo>
                      <a:pt x="30" y="0"/>
                    </a:moveTo>
                    <a:lnTo>
                      <a:pt x="0" y="30"/>
                    </a:lnTo>
                    <a:lnTo>
                      <a:pt x="6" y="60"/>
                    </a:lnTo>
                    <a:lnTo>
                      <a:pt x="24" y="44"/>
                    </a:lnTo>
                    <a:lnTo>
                      <a:pt x="40" y="40"/>
                    </a:lnTo>
                    <a:lnTo>
                      <a:pt x="50" y="16"/>
                    </a:lnTo>
                    <a:lnTo>
                      <a:pt x="34" y="16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93" name="Yasawa Group">
                <a:extLst>
                  <a:ext uri="{FF2B5EF4-FFF2-40B4-BE49-F238E27FC236}">
                    <a16:creationId xmlns:a16="http://schemas.microsoft.com/office/drawing/2014/main" id="{90F84FCE-B9FD-4224-B6E0-CEFAD9632101}"/>
                  </a:ext>
                </a:extLst>
              </p:cNvPr>
              <p:cNvSpPr/>
              <p:nvPr/>
            </p:nvSpPr>
            <p:spPr bwMode="gray">
              <a:xfrm>
                <a:off x="4138613" y="3443288"/>
                <a:ext cx="104775" cy="111125"/>
              </a:xfrm>
              <a:custGeom>
                <a:avLst/>
                <a:gdLst/>
                <a:ahLst/>
                <a:cxnLst>
                  <a:cxn ang="0">
                    <a:pos x="56" y="0"/>
                  </a:cxn>
                  <a:cxn ang="0">
                    <a:pos x="52" y="20"/>
                  </a:cxn>
                  <a:cxn ang="0">
                    <a:pos x="16" y="52"/>
                  </a:cxn>
                  <a:cxn ang="0">
                    <a:pos x="0" y="52"/>
                  </a:cxn>
                  <a:cxn ang="0">
                    <a:pos x="2" y="66"/>
                  </a:cxn>
                  <a:cxn ang="0">
                    <a:pos x="16" y="70"/>
                  </a:cxn>
                  <a:cxn ang="0">
                    <a:pos x="32" y="52"/>
                  </a:cxn>
                  <a:cxn ang="0">
                    <a:pos x="62" y="20"/>
                  </a:cxn>
                  <a:cxn ang="0">
                    <a:pos x="66" y="4"/>
                  </a:cxn>
                  <a:cxn ang="0">
                    <a:pos x="56" y="0"/>
                  </a:cxn>
                </a:cxnLst>
                <a:rect l="0" t="0" r="r" b="b"/>
                <a:pathLst>
                  <a:path w="66" h="70">
                    <a:moveTo>
                      <a:pt x="56" y="0"/>
                    </a:moveTo>
                    <a:lnTo>
                      <a:pt x="52" y="20"/>
                    </a:lnTo>
                    <a:lnTo>
                      <a:pt x="16" y="52"/>
                    </a:lnTo>
                    <a:lnTo>
                      <a:pt x="0" y="52"/>
                    </a:lnTo>
                    <a:lnTo>
                      <a:pt x="2" y="66"/>
                    </a:lnTo>
                    <a:lnTo>
                      <a:pt x="16" y="70"/>
                    </a:lnTo>
                    <a:lnTo>
                      <a:pt x="32" y="52"/>
                    </a:lnTo>
                    <a:lnTo>
                      <a:pt x="62" y="20"/>
                    </a:lnTo>
                    <a:lnTo>
                      <a:pt x="66" y="4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94" name="Vanua Levu">
                <a:extLst>
                  <a:ext uri="{FF2B5EF4-FFF2-40B4-BE49-F238E27FC236}">
                    <a16:creationId xmlns:a16="http://schemas.microsoft.com/office/drawing/2014/main" id="{12301ADF-831D-4E93-9F98-90836E63394C}"/>
                  </a:ext>
                </a:extLst>
              </p:cNvPr>
              <p:cNvSpPr/>
              <p:nvPr/>
            </p:nvSpPr>
            <p:spPr bwMode="gray">
              <a:xfrm>
                <a:off x="4840288" y="3062288"/>
                <a:ext cx="1044575" cy="609600"/>
              </a:xfrm>
              <a:custGeom>
                <a:avLst/>
                <a:gdLst/>
                <a:ahLst/>
                <a:cxnLst>
                  <a:cxn ang="0">
                    <a:pos x="22" y="220"/>
                  </a:cxn>
                  <a:cxn ang="0">
                    <a:pos x="42" y="234"/>
                  </a:cxn>
                  <a:cxn ang="0">
                    <a:pos x="2" y="270"/>
                  </a:cxn>
                  <a:cxn ang="0">
                    <a:pos x="26" y="298"/>
                  </a:cxn>
                  <a:cxn ang="0">
                    <a:pos x="58" y="300"/>
                  </a:cxn>
                  <a:cxn ang="0">
                    <a:pos x="76" y="336"/>
                  </a:cxn>
                  <a:cxn ang="0">
                    <a:pos x="108" y="384"/>
                  </a:cxn>
                  <a:cxn ang="0">
                    <a:pos x="138" y="338"/>
                  </a:cxn>
                  <a:cxn ang="0">
                    <a:pos x="222" y="342"/>
                  </a:cxn>
                  <a:cxn ang="0">
                    <a:pos x="226" y="322"/>
                  </a:cxn>
                  <a:cxn ang="0">
                    <a:pos x="266" y="290"/>
                  </a:cxn>
                  <a:cxn ang="0">
                    <a:pos x="302" y="252"/>
                  </a:cxn>
                  <a:cxn ang="0">
                    <a:pos x="344" y="260"/>
                  </a:cxn>
                  <a:cxn ang="0">
                    <a:pos x="362" y="278"/>
                  </a:cxn>
                  <a:cxn ang="0">
                    <a:pos x="378" y="304"/>
                  </a:cxn>
                  <a:cxn ang="0">
                    <a:pos x="482" y="290"/>
                  </a:cxn>
                  <a:cxn ang="0">
                    <a:pos x="554" y="272"/>
                  </a:cxn>
                  <a:cxn ang="0">
                    <a:pos x="598" y="272"/>
                  </a:cxn>
                  <a:cxn ang="0">
                    <a:pos x="590" y="244"/>
                  </a:cxn>
                  <a:cxn ang="0">
                    <a:pos x="598" y="184"/>
                  </a:cxn>
                  <a:cxn ang="0">
                    <a:pos x="606" y="146"/>
                  </a:cxn>
                  <a:cxn ang="0">
                    <a:pos x="530" y="192"/>
                  </a:cxn>
                  <a:cxn ang="0">
                    <a:pos x="518" y="206"/>
                  </a:cxn>
                  <a:cxn ang="0">
                    <a:pos x="500" y="218"/>
                  </a:cxn>
                  <a:cxn ang="0">
                    <a:pos x="478" y="250"/>
                  </a:cxn>
                  <a:cxn ang="0">
                    <a:pos x="442" y="270"/>
                  </a:cxn>
                  <a:cxn ang="0">
                    <a:pos x="418" y="244"/>
                  </a:cxn>
                  <a:cxn ang="0">
                    <a:pos x="460" y="178"/>
                  </a:cxn>
                  <a:cxn ang="0">
                    <a:pos x="506" y="152"/>
                  </a:cxn>
                  <a:cxn ang="0">
                    <a:pos x="574" y="60"/>
                  </a:cxn>
                  <a:cxn ang="0">
                    <a:pos x="632" y="18"/>
                  </a:cxn>
                  <a:cxn ang="0">
                    <a:pos x="642" y="0"/>
                  </a:cxn>
                  <a:cxn ang="0">
                    <a:pos x="610" y="16"/>
                  </a:cxn>
                  <a:cxn ang="0">
                    <a:pos x="570" y="48"/>
                  </a:cxn>
                  <a:cxn ang="0">
                    <a:pos x="542" y="36"/>
                  </a:cxn>
                  <a:cxn ang="0">
                    <a:pos x="506" y="36"/>
                  </a:cxn>
                  <a:cxn ang="0">
                    <a:pos x="486" y="52"/>
                  </a:cxn>
                  <a:cxn ang="0">
                    <a:pos x="452" y="44"/>
                  </a:cxn>
                  <a:cxn ang="0">
                    <a:pos x="432" y="58"/>
                  </a:cxn>
                  <a:cxn ang="0">
                    <a:pos x="406" y="74"/>
                  </a:cxn>
                  <a:cxn ang="0">
                    <a:pos x="390" y="98"/>
                  </a:cxn>
                  <a:cxn ang="0">
                    <a:pos x="372" y="118"/>
                  </a:cxn>
                  <a:cxn ang="0">
                    <a:pos x="290" y="120"/>
                  </a:cxn>
                  <a:cxn ang="0">
                    <a:pos x="256" y="132"/>
                  </a:cxn>
                  <a:cxn ang="0">
                    <a:pos x="200" y="146"/>
                  </a:cxn>
                  <a:cxn ang="0">
                    <a:pos x="182" y="164"/>
                  </a:cxn>
                  <a:cxn ang="0">
                    <a:pos x="150" y="186"/>
                  </a:cxn>
                  <a:cxn ang="0">
                    <a:pos x="134" y="216"/>
                  </a:cxn>
                  <a:cxn ang="0">
                    <a:pos x="114" y="212"/>
                  </a:cxn>
                  <a:cxn ang="0">
                    <a:pos x="82" y="236"/>
                  </a:cxn>
                  <a:cxn ang="0">
                    <a:pos x="34" y="214"/>
                  </a:cxn>
                </a:cxnLst>
                <a:rect l="0" t="0" r="r" b="b"/>
                <a:pathLst>
                  <a:path w="658" h="384">
                    <a:moveTo>
                      <a:pt x="34" y="214"/>
                    </a:moveTo>
                    <a:lnTo>
                      <a:pt x="22" y="220"/>
                    </a:lnTo>
                    <a:lnTo>
                      <a:pt x="24" y="234"/>
                    </a:lnTo>
                    <a:lnTo>
                      <a:pt x="42" y="234"/>
                    </a:lnTo>
                    <a:lnTo>
                      <a:pt x="26" y="254"/>
                    </a:lnTo>
                    <a:lnTo>
                      <a:pt x="2" y="270"/>
                    </a:lnTo>
                    <a:lnTo>
                      <a:pt x="0" y="298"/>
                    </a:lnTo>
                    <a:lnTo>
                      <a:pt x="26" y="298"/>
                    </a:lnTo>
                    <a:lnTo>
                      <a:pt x="38" y="284"/>
                    </a:lnTo>
                    <a:lnTo>
                      <a:pt x="58" y="300"/>
                    </a:lnTo>
                    <a:lnTo>
                      <a:pt x="56" y="320"/>
                    </a:lnTo>
                    <a:lnTo>
                      <a:pt x="76" y="336"/>
                    </a:lnTo>
                    <a:lnTo>
                      <a:pt x="78" y="378"/>
                    </a:lnTo>
                    <a:lnTo>
                      <a:pt x="108" y="384"/>
                    </a:lnTo>
                    <a:lnTo>
                      <a:pt x="134" y="356"/>
                    </a:lnTo>
                    <a:lnTo>
                      <a:pt x="138" y="338"/>
                    </a:lnTo>
                    <a:lnTo>
                      <a:pt x="164" y="322"/>
                    </a:lnTo>
                    <a:lnTo>
                      <a:pt x="222" y="342"/>
                    </a:lnTo>
                    <a:lnTo>
                      <a:pt x="244" y="328"/>
                    </a:lnTo>
                    <a:lnTo>
                      <a:pt x="226" y="322"/>
                    </a:lnTo>
                    <a:lnTo>
                      <a:pt x="238" y="296"/>
                    </a:lnTo>
                    <a:lnTo>
                      <a:pt x="266" y="290"/>
                    </a:lnTo>
                    <a:lnTo>
                      <a:pt x="266" y="272"/>
                    </a:lnTo>
                    <a:lnTo>
                      <a:pt x="302" y="252"/>
                    </a:lnTo>
                    <a:lnTo>
                      <a:pt x="330" y="240"/>
                    </a:lnTo>
                    <a:lnTo>
                      <a:pt x="344" y="260"/>
                    </a:lnTo>
                    <a:lnTo>
                      <a:pt x="360" y="262"/>
                    </a:lnTo>
                    <a:lnTo>
                      <a:pt x="362" y="278"/>
                    </a:lnTo>
                    <a:lnTo>
                      <a:pt x="336" y="292"/>
                    </a:lnTo>
                    <a:lnTo>
                      <a:pt x="378" y="304"/>
                    </a:lnTo>
                    <a:lnTo>
                      <a:pt x="448" y="300"/>
                    </a:lnTo>
                    <a:lnTo>
                      <a:pt x="482" y="290"/>
                    </a:lnTo>
                    <a:lnTo>
                      <a:pt x="518" y="266"/>
                    </a:lnTo>
                    <a:lnTo>
                      <a:pt x="554" y="272"/>
                    </a:lnTo>
                    <a:lnTo>
                      <a:pt x="574" y="276"/>
                    </a:lnTo>
                    <a:lnTo>
                      <a:pt x="598" y="272"/>
                    </a:lnTo>
                    <a:lnTo>
                      <a:pt x="614" y="262"/>
                    </a:lnTo>
                    <a:lnTo>
                      <a:pt x="590" y="244"/>
                    </a:lnTo>
                    <a:lnTo>
                      <a:pt x="586" y="212"/>
                    </a:lnTo>
                    <a:lnTo>
                      <a:pt x="598" y="184"/>
                    </a:lnTo>
                    <a:lnTo>
                      <a:pt x="616" y="164"/>
                    </a:lnTo>
                    <a:lnTo>
                      <a:pt x="606" y="146"/>
                    </a:lnTo>
                    <a:lnTo>
                      <a:pt x="544" y="192"/>
                    </a:lnTo>
                    <a:lnTo>
                      <a:pt x="530" y="192"/>
                    </a:lnTo>
                    <a:lnTo>
                      <a:pt x="530" y="204"/>
                    </a:lnTo>
                    <a:lnTo>
                      <a:pt x="518" y="206"/>
                    </a:lnTo>
                    <a:lnTo>
                      <a:pt x="518" y="218"/>
                    </a:lnTo>
                    <a:lnTo>
                      <a:pt x="500" y="218"/>
                    </a:lnTo>
                    <a:lnTo>
                      <a:pt x="490" y="236"/>
                    </a:lnTo>
                    <a:lnTo>
                      <a:pt x="478" y="250"/>
                    </a:lnTo>
                    <a:lnTo>
                      <a:pt x="462" y="266"/>
                    </a:lnTo>
                    <a:lnTo>
                      <a:pt x="442" y="270"/>
                    </a:lnTo>
                    <a:lnTo>
                      <a:pt x="418" y="270"/>
                    </a:lnTo>
                    <a:lnTo>
                      <a:pt x="418" y="244"/>
                    </a:lnTo>
                    <a:lnTo>
                      <a:pt x="460" y="214"/>
                    </a:lnTo>
                    <a:lnTo>
                      <a:pt x="460" y="178"/>
                    </a:lnTo>
                    <a:lnTo>
                      <a:pt x="488" y="164"/>
                    </a:lnTo>
                    <a:lnTo>
                      <a:pt x="506" y="152"/>
                    </a:lnTo>
                    <a:lnTo>
                      <a:pt x="542" y="120"/>
                    </a:lnTo>
                    <a:lnTo>
                      <a:pt x="574" y="60"/>
                    </a:lnTo>
                    <a:lnTo>
                      <a:pt x="610" y="38"/>
                    </a:lnTo>
                    <a:lnTo>
                      <a:pt x="632" y="18"/>
                    </a:lnTo>
                    <a:lnTo>
                      <a:pt x="658" y="0"/>
                    </a:lnTo>
                    <a:lnTo>
                      <a:pt x="642" y="0"/>
                    </a:lnTo>
                    <a:lnTo>
                      <a:pt x="626" y="10"/>
                    </a:lnTo>
                    <a:lnTo>
                      <a:pt x="610" y="16"/>
                    </a:lnTo>
                    <a:lnTo>
                      <a:pt x="590" y="26"/>
                    </a:lnTo>
                    <a:lnTo>
                      <a:pt x="570" y="48"/>
                    </a:lnTo>
                    <a:lnTo>
                      <a:pt x="564" y="30"/>
                    </a:lnTo>
                    <a:lnTo>
                      <a:pt x="542" y="36"/>
                    </a:lnTo>
                    <a:lnTo>
                      <a:pt x="538" y="20"/>
                    </a:lnTo>
                    <a:lnTo>
                      <a:pt x="506" y="36"/>
                    </a:lnTo>
                    <a:lnTo>
                      <a:pt x="492" y="38"/>
                    </a:lnTo>
                    <a:lnTo>
                      <a:pt x="486" y="52"/>
                    </a:lnTo>
                    <a:lnTo>
                      <a:pt x="470" y="44"/>
                    </a:lnTo>
                    <a:lnTo>
                      <a:pt x="452" y="44"/>
                    </a:lnTo>
                    <a:lnTo>
                      <a:pt x="446" y="58"/>
                    </a:lnTo>
                    <a:lnTo>
                      <a:pt x="432" y="58"/>
                    </a:lnTo>
                    <a:lnTo>
                      <a:pt x="418" y="56"/>
                    </a:lnTo>
                    <a:lnTo>
                      <a:pt x="406" y="74"/>
                    </a:lnTo>
                    <a:lnTo>
                      <a:pt x="394" y="84"/>
                    </a:lnTo>
                    <a:lnTo>
                      <a:pt x="390" y="98"/>
                    </a:lnTo>
                    <a:lnTo>
                      <a:pt x="376" y="100"/>
                    </a:lnTo>
                    <a:lnTo>
                      <a:pt x="372" y="118"/>
                    </a:lnTo>
                    <a:lnTo>
                      <a:pt x="330" y="122"/>
                    </a:lnTo>
                    <a:lnTo>
                      <a:pt x="290" y="120"/>
                    </a:lnTo>
                    <a:lnTo>
                      <a:pt x="280" y="132"/>
                    </a:lnTo>
                    <a:lnTo>
                      <a:pt x="256" y="132"/>
                    </a:lnTo>
                    <a:lnTo>
                      <a:pt x="238" y="142"/>
                    </a:lnTo>
                    <a:lnTo>
                      <a:pt x="200" y="146"/>
                    </a:lnTo>
                    <a:lnTo>
                      <a:pt x="182" y="148"/>
                    </a:lnTo>
                    <a:lnTo>
                      <a:pt x="182" y="164"/>
                    </a:lnTo>
                    <a:lnTo>
                      <a:pt x="166" y="184"/>
                    </a:lnTo>
                    <a:lnTo>
                      <a:pt x="150" y="186"/>
                    </a:lnTo>
                    <a:lnTo>
                      <a:pt x="138" y="202"/>
                    </a:lnTo>
                    <a:lnTo>
                      <a:pt x="134" y="216"/>
                    </a:lnTo>
                    <a:lnTo>
                      <a:pt x="126" y="202"/>
                    </a:lnTo>
                    <a:lnTo>
                      <a:pt x="114" y="212"/>
                    </a:lnTo>
                    <a:lnTo>
                      <a:pt x="96" y="232"/>
                    </a:lnTo>
                    <a:lnTo>
                      <a:pt x="82" y="236"/>
                    </a:lnTo>
                    <a:lnTo>
                      <a:pt x="44" y="220"/>
                    </a:lnTo>
                    <a:lnTo>
                      <a:pt x="34" y="214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95" name="Yadua">
                <a:extLst>
                  <a:ext uri="{FF2B5EF4-FFF2-40B4-BE49-F238E27FC236}">
                    <a16:creationId xmlns:a16="http://schemas.microsoft.com/office/drawing/2014/main" id="{ABBFB0DF-93E8-41F4-8FED-5AF7BA033473}"/>
                  </a:ext>
                </a:extLst>
              </p:cNvPr>
              <p:cNvSpPr/>
              <p:nvPr/>
            </p:nvSpPr>
            <p:spPr bwMode="gray">
              <a:xfrm>
                <a:off x="4697413" y="3519488"/>
                <a:ext cx="44450" cy="285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4" y="2"/>
                  </a:cxn>
                  <a:cxn ang="0">
                    <a:pos x="28" y="18"/>
                  </a:cxn>
                  <a:cxn ang="0">
                    <a:pos x="0" y="16"/>
                  </a:cxn>
                  <a:cxn ang="0">
                    <a:pos x="0" y="0"/>
                  </a:cxn>
                </a:cxnLst>
                <a:rect l="0" t="0" r="r" b="b"/>
                <a:pathLst>
                  <a:path w="28" h="18">
                    <a:moveTo>
                      <a:pt x="0" y="0"/>
                    </a:moveTo>
                    <a:lnTo>
                      <a:pt x="24" y="2"/>
                    </a:lnTo>
                    <a:lnTo>
                      <a:pt x="28" y="18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96" name="Rab">
                <a:extLst>
                  <a:ext uri="{FF2B5EF4-FFF2-40B4-BE49-F238E27FC236}">
                    <a16:creationId xmlns:a16="http://schemas.microsoft.com/office/drawing/2014/main" id="{23789C37-F233-483C-A1E6-95409C321FDD}"/>
                  </a:ext>
                </a:extLst>
              </p:cNvPr>
              <p:cNvSpPr/>
              <p:nvPr/>
            </p:nvSpPr>
            <p:spPr bwMode="gray">
              <a:xfrm>
                <a:off x="5837238" y="3271838"/>
                <a:ext cx="73025" cy="69850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0" y="24"/>
                  </a:cxn>
                  <a:cxn ang="0">
                    <a:pos x="2" y="44"/>
                  </a:cxn>
                  <a:cxn ang="0">
                    <a:pos x="40" y="36"/>
                  </a:cxn>
                  <a:cxn ang="0">
                    <a:pos x="28" y="16"/>
                  </a:cxn>
                  <a:cxn ang="0">
                    <a:pos x="46" y="8"/>
                  </a:cxn>
                  <a:cxn ang="0">
                    <a:pos x="38" y="0"/>
                  </a:cxn>
                </a:cxnLst>
                <a:rect l="0" t="0" r="r" b="b"/>
                <a:pathLst>
                  <a:path w="46" h="44">
                    <a:moveTo>
                      <a:pt x="38" y="0"/>
                    </a:moveTo>
                    <a:lnTo>
                      <a:pt x="0" y="24"/>
                    </a:lnTo>
                    <a:lnTo>
                      <a:pt x="2" y="44"/>
                    </a:lnTo>
                    <a:lnTo>
                      <a:pt x="40" y="36"/>
                    </a:lnTo>
                    <a:lnTo>
                      <a:pt x="28" y="16"/>
                    </a:lnTo>
                    <a:lnTo>
                      <a:pt x="46" y="8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97" name="Beqa">
                <a:extLst>
                  <a:ext uri="{FF2B5EF4-FFF2-40B4-BE49-F238E27FC236}">
                    <a16:creationId xmlns:a16="http://schemas.microsoft.com/office/drawing/2014/main" id="{7D785AE9-5348-4B22-BA37-4D30E4CDEA0B}"/>
                  </a:ext>
                </a:extLst>
              </p:cNvPr>
              <p:cNvSpPr/>
              <p:nvPr/>
            </p:nvSpPr>
            <p:spPr bwMode="gray">
              <a:xfrm>
                <a:off x="4595813" y="4608513"/>
                <a:ext cx="28575" cy="4762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6" y="2"/>
                  </a:cxn>
                  <a:cxn ang="0">
                    <a:pos x="18" y="18"/>
                  </a:cxn>
                  <a:cxn ang="0">
                    <a:pos x="12" y="30"/>
                  </a:cxn>
                  <a:cxn ang="0">
                    <a:pos x="0" y="30"/>
                  </a:cxn>
                  <a:cxn ang="0">
                    <a:pos x="2" y="0"/>
                  </a:cxn>
                </a:cxnLst>
                <a:rect l="0" t="0" r="r" b="b"/>
                <a:pathLst>
                  <a:path w="18" h="30">
                    <a:moveTo>
                      <a:pt x="2" y="0"/>
                    </a:moveTo>
                    <a:lnTo>
                      <a:pt x="16" y="2"/>
                    </a:lnTo>
                    <a:lnTo>
                      <a:pt x="18" y="18"/>
                    </a:lnTo>
                    <a:lnTo>
                      <a:pt x="12" y="30"/>
                    </a:lnTo>
                    <a:lnTo>
                      <a:pt x="0" y="3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98" name="Totoya">
                <a:extLst>
                  <a:ext uri="{FF2B5EF4-FFF2-40B4-BE49-F238E27FC236}">
                    <a16:creationId xmlns:a16="http://schemas.microsoft.com/office/drawing/2014/main" id="{DCBA3927-82FC-4794-8C5E-5C8250D7C10F}"/>
                  </a:ext>
                </a:extLst>
              </p:cNvPr>
              <p:cNvSpPr/>
              <p:nvPr/>
            </p:nvSpPr>
            <p:spPr bwMode="gray">
              <a:xfrm>
                <a:off x="5922963" y="4992688"/>
                <a:ext cx="76200" cy="88900"/>
              </a:xfrm>
              <a:custGeom>
                <a:avLst/>
                <a:gdLst/>
                <a:ahLst/>
                <a:cxnLst>
                  <a:cxn ang="0">
                    <a:pos x="10" y="22"/>
                  </a:cxn>
                  <a:cxn ang="0">
                    <a:pos x="26" y="24"/>
                  </a:cxn>
                  <a:cxn ang="0">
                    <a:pos x="38" y="40"/>
                  </a:cxn>
                  <a:cxn ang="0">
                    <a:pos x="48" y="22"/>
                  </a:cxn>
                  <a:cxn ang="0">
                    <a:pos x="36" y="6"/>
                  </a:cxn>
                  <a:cxn ang="0">
                    <a:pos x="18" y="0"/>
                  </a:cxn>
                  <a:cxn ang="0">
                    <a:pos x="4" y="14"/>
                  </a:cxn>
                  <a:cxn ang="0">
                    <a:pos x="0" y="38"/>
                  </a:cxn>
                  <a:cxn ang="0">
                    <a:pos x="8" y="54"/>
                  </a:cxn>
                  <a:cxn ang="0">
                    <a:pos x="28" y="56"/>
                  </a:cxn>
                  <a:cxn ang="0">
                    <a:pos x="16" y="38"/>
                  </a:cxn>
                  <a:cxn ang="0">
                    <a:pos x="10" y="22"/>
                  </a:cxn>
                </a:cxnLst>
                <a:rect l="0" t="0" r="r" b="b"/>
                <a:pathLst>
                  <a:path w="48" h="56">
                    <a:moveTo>
                      <a:pt x="10" y="22"/>
                    </a:moveTo>
                    <a:lnTo>
                      <a:pt x="26" y="24"/>
                    </a:lnTo>
                    <a:lnTo>
                      <a:pt x="38" y="40"/>
                    </a:lnTo>
                    <a:lnTo>
                      <a:pt x="48" y="22"/>
                    </a:lnTo>
                    <a:lnTo>
                      <a:pt x="36" y="6"/>
                    </a:lnTo>
                    <a:lnTo>
                      <a:pt x="18" y="0"/>
                    </a:lnTo>
                    <a:lnTo>
                      <a:pt x="4" y="14"/>
                    </a:lnTo>
                    <a:lnTo>
                      <a:pt x="0" y="38"/>
                    </a:lnTo>
                    <a:lnTo>
                      <a:pt x="8" y="54"/>
                    </a:lnTo>
                    <a:lnTo>
                      <a:pt x="28" y="56"/>
                    </a:lnTo>
                    <a:lnTo>
                      <a:pt x="16" y="38"/>
                    </a:lnTo>
                    <a:lnTo>
                      <a:pt x="10" y="22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99" name="Fulanga Island">
                <a:extLst>
                  <a:ext uri="{FF2B5EF4-FFF2-40B4-BE49-F238E27FC236}">
                    <a16:creationId xmlns:a16="http://schemas.microsoft.com/office/drawing/2014/main" id="{B684A720-01DE-45F5-9133-E129F4892355}"/>
                  </a:ext>
                </a:extLst>
              </p:cNvPr>
              <p:cNvSpPr/>
              <p:nvPr/>
            </p:nvSpPr>
            <p:spPr bwMode="gray">
              <a:xfrm>
                <a:off x="6764338" y="5132388"/>
                <a:ext cx="82550" cy="79375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8" y="6"/>
                  </a:cxn>
                  <a:cxn ang="0">
                    <a:pos x="22" y="18"/>
                  </a:cxn>
                  <a:cxn ang="0">
                    <a:pos x="30" y="30"/>
                  </a:cxn>
                  <a:cxn ang="0">
                    <a:pos x="46" y="14"/>
                  </a:cxn>
                  <a:cxn ang="0">
                    <a:pos x="52" y="28"/>
                  </a:cxn>
                  <a:cxn ang="0">
                    <a:pos x="44" y="46"/>
                  </a:cxn>
                  <a:cxn ang="0">
                    <a:pos x="28" y="50"/>
                  </a:cxn>
                  <a:cxn ang="0">
                    <a:pos x="8" y="36"/>
                  </a:cxn>
                  <a:cxn ang="0">
                    <a:pos x="0" y="10"/>
                  </a:cxn>
                  <a:cxn ang="0">
                    <a:pos x="22" y="0"/>
                  </a:cxn>
                </a:cxnLst>
                <a:rect l="0" t="0" r="r" b="b"/>
                <a:pathLst>
                  <a:path w="52" h="50">
                    <a:moveTo>
                      <a:pt x="22" y="0"/>
                    </a:moveTo>
                    <a:lnTo>
                      <a:pt x="28" y="6"/>
                    </a:lnTo>
                    <a:lnTo>
                      <a:pt x="22" y="18"/>
                    </a:lnTo>
                    <a:lnTo>
                      <a:pt x="30" y="30"/>
                    </a:lnTo>
                    <a:lnTo>
                      <a:pt x="46" y="14"/>
                    </a:lnTo>
                    <a:lnTo>
                      <a:pt x="52" y="28"/>
                    </a:lnTo>
                    <a:lnTo>
                      <a:pt x="44" y="46"/>
                    </a:lnTo>
                    <a:lnTo>
                      <a:pt x="28" y="50"/>
                    </a:lnTo>
                    <a:lnTo>
                      <a:pt x="8" y="36"/>
                    </a:lnTo>
                    <a:lnTo>
                      <a:pt x="0" y="1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0" name="Cicia">
                <a:extLst>
                  <a:ext uri="{FF2B5EF4-FFF2-40B4-BE49-F238E27FC236}">
                    <a16:creationId xmlns:a16="http://schemas.microsoft.com/office/drawing/2014/main" id="{53E1E353-A826-4F08-A3D5-482EE24C9B26}"/>
                  </a:ext>
                </a:extLst>
              </p:cNvPr>
              <p:cNvSpPr/>
              <p:nvPr/>
            </p:nvSpPr>
            <p:spPr bwMode="gray">
              <a:xfrm>
                <a:off x="6291263" y="4170363"/>
                <a:ext cx="31750" cy="38100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0" y="18"/>
                  </a:cxn>
                  <a:cxn ang="0">
                    <a:pos x="18" y="24"/>
                  </a:cxn>
                  <a:cxn ang="0">
                    <a:pos x="20" y="8"/>
                  </a:cxn>
                  <a:cxn ang="0">
                    <a:pos x="12" y="0"/>
                  </a:cxn>
                  <a:cxn ang="0">
                    <a:pos x="2" y="2"/>
                  </a:cxn>
                </a:cxnLst>
                <a:rect l="0" t="0" r="r" b="b"/>
                <a:pathLst>
                  <a:path w="20" h="24">
                    <a:moveTo>
                      <a:pt x="2" y="2"/>
                    </a:moveTo>
                    <a:lnTo>
                      <a:pt x="0" y="18"/>
                    </a:lnTo>
                    <a:lnTo>
                      <a:pt x="18" y="24"/>
                    </a:lnTo>
                    <a:lnTo>
                      <a:pt x="20" y="8"/>
                    </a:lnTo>
                    <a:lnTo>
                      <a:pt x="1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1" name="Nayau">
                <a:extLst>
                  <a:ext uri="{FF2B5EF4-FFF2-40B4-BE49-F238E27FC236}">
                    <a16:creationId xmlns:a16="http://schemas.microsoft.com/office/drawing/2014/main" id="{48DFECD7-ADC6-4F3C-A693-7ACF28F12E5F}"/>
                  </a:ext>
                </a:extLst>
              </p:cNvPr>
              <p:cNvSpPr/>
              <p:nvPr/>
            </p:nvSpPr>
            <p:spPr bwMode="gray">
              <a:xfrm>
                <a:off x="6469063" y="4319588"/>
                <a:ext cx="44450" cy="34925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0" y="12"/>
                  </a:cxn>
                  <a:cxn ang="0">
                    <a:pos x="14" y="22"/>
                  </a:cxn>
                  <a:cxn ang="0">
                    <a:pos x="28" y="12"/>
                  </a:cxn>
                  <a:cxn ang="0">
                    <a:pos x="12" y="0"/>
                  </a:cxn>
                  <a:cxn ang="0">
                    <a:pos x="6" y="2"/>
                  </a:cxn>
                </a:cxnLst>
                <a:rect l="0" t="0" r="r" b="b"/>
                <a:pathLst>
                  <a:path w="28" h="22">
                    <a:moveTo>
                      <a:pt x="6" y="2"/>
                    </a:moveTo>
                    <a:lnTo>
                      <a:pt x="0" y="12"/>
                    </a:lnTo>
                    <a:lnTo>
                      <a:pt x="14" y="22"/>
                    </a:lnTo>
                    <a:lnTo>
                      <a:pt x="28" y="12"/>
                    </a:lnTo>
                    <a:lnTo>
                      <a:pt x="12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2" name="Vanua Balavu">
                <a:extLst>
                  <a:ext uri="{FF2B5EF4-FFF2-40B4-BE49-F238E27FC236}">
                    <a16:creationId xmlns:a16="http://schemas.microsoft.com/office/drawing/2014/main" id="{AFB2E9B1-16BD-4F01-BBD1-D65BDACB8B2F}"/>
                  </a:ext>
                </a:extLst>
              </p:cNvPr>
              <p:cNvSpPr/>
              <p:nvPr/>
            </p:nvSpPr>
            <p:spPr bwMode="gray">
              <a:xfrm>
                <a:off x="6497638" y="3767138"/>
                <a:ext cx="66675" cy="117475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42" y="24"/>
                  </a:cxn>
                  <a:cxn ang="0">
                    <a:pos x="42" y="44"/>
                  </a:cxn>
                  <a:cxn ang="0">
                    <a:pos x="10" y="74"/>
                  </a:cxn>
                  <a:cxn ang="0">
                    <a:pos x="0" y="68"/>
                  </a:cxn>
                  <a:cxn ang="0">
                    <a:pos x="22" y="46"/>
                  </a:cxn>
                  <a:cxn ang="0">
                    <a:pos x="28" y="28"/>
                  </a:cxn>
                  <a:cxn ang="0">
                    <a:pos x="12" y="16"/>
                  </a:cxn>
                  <a:cxn ang="0">
                    <a:pos x="0" y="6"/>
                  </a:cxn>
                  <a:cxn ang="0">
                    <a:pos x="16" y="0"/>
                  </a:cxn>
                </a:cxnLst>
                <a:rect l="0" t="0" r="r" b="b"/>
                <a:pathLst>
                  <a:path w="42" h="74">
                    <a:moveTo>
                      <a:pt x="16" y="0"/>
                    </a:moveTo>
                    <a:lnTo>
                      <a:pt x="42" y="24"/>
                    </a:lnTo>
                    <a:lnTo>
                      <a:pt x="42" y="44"/>
                    </a:lnTo>
                    <a:lnTo>
                      <a:pt x="10" y="74"/>
                    </a:lnTo>
                    <a:lnTo>
                      <a:pt x="0" y="68"/>
                    </a:lnTo>
                    <a:lnTo>
                      <a:pt x="22" y="46"/>
                    </a:lnTo>
                    <a:lnTo>
                      <a:pt x="28" y="28"/>
                    </a:lnTo>
                    <a:lnTo>
                      <a:pt x="12" y="16"/>
                    </a:lnTo>
                    <a:lnTo>
                      <a:pt x="0" y="6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3" name="Oamea">
                <a:extLst>
                  <a:ext uri="{FF2B5EF4-FFF2-40B4-BE49-F238E27FC236}">
                    <a16:creationId xmlns:a16="http://schemas.microsoft.com/office/drawing/2014/main" id="{99F35B0F-4DB9-41A4-90BB-D3519653AB6C}"/>
                  </a:ext>
                </a:extLst>
              </p:cNvPr>
              <p:cNvSpPr/>
              <p:nvPr/>
            </p:nvSpPr>
            <p:spPr bwMode="gray">
              <a:xfrm>
                <a:off x="5986463" y="3471863"/>
                <a:ext cx="88900" cy="47625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6" y="20"/>
                  </a:cxn>
                  <a:cxn ang="0">
                    <a:pos x="0" y="30"/>
                  </a:cxn>
                  <a:cxn ang="0">
                    <a:pos x="26" y="30"/>
                  </a:cxn>
                  <a:cxn ang="0">
                    <a:pos x="26" y="22"/>
                  </a:cxn>
                  <a:cxn ang="0">
                    <a:pos x="50" y="20"/>
                  </a:cxn>
                  <a:cxn ang="0">
                    <a:pos x="56" y="8"/>
                  </a:cxn>
                  <a:cxn ang="0">
                    <a:pos x="48" y="0"/>
                  </a:cxn>
                  <a:cxn ang="0">
                    <a:pos x="40" y="8"/>
                  </a:cxn>
                  <a:cxn ang="0">
                    <a:pos x="20" y="10"/>
                  </a:cxn>
                  <a:cxn ang="0">
                    <a:pos x="18" y="2"/>
                  </a:cxn>
                  <a:cxn ang="0">
                    <a:pos x="0" y="4"/>
                  </a:cxn>
                </a:cxnLst>
                <a:rect l="0" t="0" r="r" b="b"/>
                <a:pathLst>
                  <a:path w="56" h="30">
                    <a:moveTo>
                      <a:pt x="0" y="4"/>
                    </a:moveTo>
                    <a:lnTo>
                      <a:pt x="6" y="20"/>
                    </a:lnTo>
                    <a:lnTo>
                      <a:pt x="0" y="30"/>
                    </a:lnTo>
                    <a:lnTo>
                      <a:pt x="26" y="30"/>
                    </a:lnTo>
                    <a:lnTo>
                      <a:pt x="26" y="22"/>
                    </a:lnTo>
                    <a:lnTo>
                      <a:pt x="50" y="20"/>
                    </a:lnTo>
                    <a:lnTo>
                      <a:pt x="56" y="8"/>
                    </a:lnTo>
                    <a:lnTo>
                      <a:pt x="48" y="0"/>
                    </a:lnTo>
                    <a:lnTo>
                      <a:pt x="40" y="8"/>
                    </a:lnTo>
                    <a:lnTo>
                      <a:pt x="20" y="10"/>
                    </a:lnTo>
                    <a:lnTo>
                      <a:pt x="18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4" name="Moce">
                <a:extLst>
                  <a:ext uri="{FF2B5EF4-FFF2-40B4-BE49-F238E27FC236}">
                    <a16:creationId xmlns:a16="http://schemas.microsoft.com/office/drawing/2014/main" id="{9C3A3613-690F-4D10-B78E-D1892069A297}"/>
                  </a:ext>
                </a:extLst>
              </p:cNvPr>
              <p:cNvSpPr/>
              <p:nvPr/>
            </p:nvSpPr>
            <p:spPr bwMode="gray">
              <a:xfrm>
                <a:off x="6821488" y="4802188"/>
                <a:ext cx="98425" cy="920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0" y="4"/>
                  </a:cxn>
                  <a:cxn ang="0">
                    <a:pos x="30" y="28"/>
                  </a:cxn>
                  <a:cxn ang="0">
                    <a:pos x="62" y="52"/>
                  </a:cxn>
                  <a:cxn ang="0">
                    <a:pos x="40" y="58"/>
                  </a:cxn>
                  <a:cxn ang="0">
                    <a:pos x="12" y="24"/>
                  </a:cxn>
                  <a:cxn ang="0">
                    <a:pos x="0" y="26"/>
                  </a:cxn>
                  <a:cxn ang="0">
                    <a:pos x="4" y="0"/>
                  </a:cxn>
                </a:cxnLst>
                <a:rect l="0" t="0" r="r" b="b"/>
                <a:pathLst>
                  <a:path w="62" h="57">
                    <a:moveTo>
                      <a:pt x="4" y="0"/>
                    </a:moveTo>
                    <a:lnTo>
                      <a:pt x="40" y="4"/>
                    </a:lnTo>
                    <a:lnTo>
                      <a:pt x="30" y="28"/>
                    </a:lnTo>
                    <a:lnTo>
                      <a:pt x="62" y="52"/>
                    </a:lnTo>
                    <a:lnTo>
                      <a:pt x="40" y="58"/>
                    </a:lnTo>
                    <a:lnTo>
                      <a:pt x="12" y="24"/>
                    </a:lnTo>
                    <a:lnTo>
                      <a:pt x="0" y="26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5" name="Komo">
                <a:extLst>
                  <a:ext uri="{FF2B5EF4-FFF2-40B4-BE49-F238E27FC236}">
                    <a16:creationId xmlns:a16="http://schemas.microsoft.com/office/drawing/2014/main" id="{AF54C13C-6A0C-4F97-8246-34867D9F4DEB}"/>
                  </a:ext>
                </a:extLst>
              </p:cNvPr>
              <p:cNvSpPr/>
              <p:nvPr/>
            </p:nvSpPr>
            <p:spPr bwMode="gray">
              <a:xfrm>
                <a:off x="6723063" y="4814888"/>
                <a:ext cx="79375" cy="5715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50" y="16"/>
                  </a:cxn>
                  <a:cxn ang="0">
                    <a:pos x="28" y="36"/>
                  </a:cxn>
                  <a:cxn ang="0">
                    <a:pos x="0" y="28"/>
                  </a:cxn>
                  <a:cxn ang="0">
                    <a:pos x="4" y="2"/>
                  </a:cxn>
                  <a:cxn ang="0">
                    <a:pos x="12" y="4"/>
                  </a:cxn>
                  <a:cxn ang="0">
                    <a:pos x="14" y="20"/>
                  </a:cxn>
                  <a:cxn ang="0">
                    <a:pos x="26" y="20"/>
                  </a:cxn>
                  <a:cxn ang="0">
                    <a:pos x="30" y="0"/>
                  </a:cxn>
                </a:cxnLst>
                <a:rect l="0" t="0" r="r" b="b"/>
                <a:pathLst>
                  <a:path w="50" h="36">
                    <a:moveTo>
                      <a:pt x="30" y="0"/>
                    </a:moveTo>
                    <a:lnTo>
                      <a:pt x="50" y="16"/>
                    </a:lnTo>
                    <a:lnTo>
                      <a:pt x="28" y="36"/>
                    </a:lnTo>
                    <a:lnTo>
                      <a:pt x="0" y="28"/>
                    </a:lnTo>
                    <a:lnTo>
                      <a:pt x="4" y="2"/>
                    </a:lnTo>
                    <a:lnTo>
                      <a:pt x="12" y="4"/>
                    </a:lnTo>
                    <a:lnTo>
                      <a:pt x="14" y="20"/>
                    </a:lnTo>
                    <a:lnTo>
                      <a:pt x="26" y="2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6" name="Yacata">
                <a:extLst>
                  <a:ext uri="{FF2B5EF4-FFF2-40B4-BE49-F238E27FC236}">
                    <a16:creationId xmlns:a16="http://schemas.microsoft.com/office/drawing/2014/main" id="{D34B97A9-803B-42CE-A298-C442A8F92140}"/>
                  </a:ext>
                </a:extLst>
              </p:cNvPr>
              <p:cNvSpPr/>
              <p:nvPr/>
            </p:nvSpPr>
            <p:spPr bwMode="gray">
              <a:xfrm>
                <a:off x="6135688" y="3827463"/>
                <a:ext cx="82550" cy="44450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52" y="10"/>
                  </a:cxn>
                  <a:cxn ang="0">
                    <a:pos x="44" y="28"/>
                  </a:cxn>
                  <a:cxn ang="0">
                    <a:pos x="20" y="22"/>
                  </a:cxn>
                  <a:cxn ang="0">
                    <a:pos x="0" y="8"/>
                  </a:cxn>
                  <a:cxn ang="0">
                    <a:pos x="24" y="0"/>
                  </a:cxn>
                </a:cxnLst>
                <a:rect l="0" t="0" r="r" b="b"/>
                <a:pathLst>
                  <a:path w="52" h="28">
                    <a:moveTo>
                      <a:pt x="24" y="0"/>
                    </a:moveTo>
                    <a:lnTo>
                      <a:pt x="52" y="10"/>
                    </a:lnTo>
                    <a:lnTo>
                      <a:pt x="44" y="28"/>
                    </a:lnTo>
                    <a:lnTo>
                      <a:pt x="20" y="22"/>
                    </a:lnTo>
                    <a:lnTo>
                      <a:pt x="0" y="8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7" name="Levuka">
                <a:extLst>
                  <a:ext uri="{FF2B5EF4-FFF2-40B4-BE49-F238E27FC236}">
                    <a16:creationId xmlns:a16="http://schemas.microsoft.com/office/drawing/2014/main" id="{0E1EDFEA-B433-4947-B23D-77634C977D8E}"/>
                  </a:ext>
                </a:extLst>
              </p:cNvPr>
              <p:cNvSpPr/>
              <p:nvPr/>
            </p:nvSpPr>
            <p:spPr bwMode="gray">
              <a:xfrm>
                <a:off x="5011738" y="4084638"/>
                <a:ext cx="82550" cy="117475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0" y="12"/>
                  </a:cxn>
                  <a:cxn ang="0">
                    <a:pos x="2" y="56"/>
                  </a:cxn>
                  <a:cxn ang="0">
                    <a:pos x="16" y="74"/>
                  </a:cxn>
                  <a:cxn ang="0">
                    <a:pos x="50" y="68"/>
                  </a:cxn>
                  <a:cxn ang="0">
                    <a:pos x="52" y="36"/>
                  </a:cxn>
                  <a:cxn ang="0">
                    <a:pos x="42" y="12"/>
                  </a:cxn>
                  <a:cxn ang="0">
                    <a:pos x="42" y="0"/>
                  </a:cxn>
                </a:cxnLst>
                <a:rect l="0" t="0" r="r" b="b"/>
                <a:pathLst>
                  <a:path w="52" h="74">
                    <a:moveTo>
                      <a:pt x="42" y="0"/>
                    </a:moveTo>
                    <a:lnTo>
                      <a:pt x="0" y="12"/>
                    </a:lnTo>
                    <a:lnTo>
                      <a:pt x="2" y="56"/>
                    </a:lnTo>
                    <a:lnTo>
                      <a:pt x="16" y="74"/>
                    </a:lnTo>
                    <a:lnTo>
                      <a:pt x="50" y="68"/>
                    </a:lnTo>
                    <a:lnTo>
                      <a:pt x="52" y="36"/>
                    </a:lnTo>
                    <a:lnTo>
                      <a:pt x="42" y="12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</a:ln>
            </p:spPr>
            <p:txBody>
              <a:bodyPr vert="horz" wrap="square" lIns="52127" tIns="26064" rIns="52127" bIns="26064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60963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026" noProof="1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75" name="Freeform 5636">
              <a:extLst>
                <a:ext uri="{FF2B5EF4-FFF2-40B4-BE49-F238E27FC236}">
                  <a16:creationId xmlns:a16="http://schemas.microsoft.com/office/drawing/2014/main" id="{3A80DD71-9E58-486A-BB31-8243D0FED6A0}"/>
                </a:ext>
              </a:extLst>
            </p:cNvPr>
            <p:cNvSpPr/>
            <p:nvPr/>
          </p:nvSpPr>
          <p:spPr bwMode="auto">
            <a:xfrm>
              <a:off x="5485005" y="4176780"/>
              <a:ext cx="1542" cy="1542"/>
            </a:xfrm>
            <a:custGeom>
              <a:avLst/>
              <a:gdLst>
                <a:gd name="T0" fmla="*/ 4 w 4"/>
                <a:gd name="T1" fmla="*/ 2 h 4"/>
                <a:gd name="T2" fmla="*/ 4 w 4"/>
                <a:gd name="T3" fmla="*/ 2 h 4"/>
                <a:gd name="T4" fmla="*/ 2 w 4"/>
                <a:gd name="T5" fmla="*/ 0 h 4"/>
                <a:gd name="T6" fmla="*/ 0 w 4"/>
                <a:gd name="T7" fmla="*/ 2 h 4"/>
                <a:gd name="T8" fmla="*/ 0 w 4"/>
                <a:gd name="T9" fmla="*/ 2 h 4"/>
                <a:gd name="T10" fmla="*/ 0 w 4"/>
                <a:gd name="T11" fmla="*/ 4 h 4"/>
                <a:gd name="T12" fmla="*/ 4 w 4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lnTo>
                    <a:pt x="4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4" y="2"/>
                  </a:lnTo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26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6" name="Freeform 425">
              <a:extLst>
                <a:ext uri="{FF2B5EF4-FFF2-40B4-BE49-F238E27FC236}">
                  <a16:creationId xmlns:a16="http://schemas.microsoft.com/office/drawing/2014/main" id="{2EE51737-7D10-4D70-B714-FE5733B025A0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146446" y="5385942"/>
              <a:ext cx="1747" cy="1747"/>
            </a:xfrm>
            <a:custGeom>
              <a:avLst/>
              <a:gdLst>
                <a:gd name="connsiteX0" fmla="*/ 580649 w 1360378"/>
                <a:gd name="connsiteY0" fmla="*/ 901389 h 1042404"/>
                <a:gd name="connsiteX1" fmla="*/ 586179 w 1360378"/>
                <a:gd name="connsiteY1" fmla="*/ 912449 h 1042404"/>
                <a:gd name="connsiteX2" fmla="*/ 602769 w 1360378"/>
                <a:gd name="connsiteY2" fmla="*/ 920744 h 1042404"/>
                <a:gd name="connsiteX3" fmla="*/ 624889 w 1360378"/>
                <a:gd name="connsiteY3" fmla="*/ 920744 h 1042404"/>
                <a:gd name="connsiteX4" fmla="*/ 633184 w 1360378"/>
                <a:gd name="connsiteY4" fmla="*/ 934569 h 1042404"/>
                <a:gd name="connsiteX5" fmla="*/ 652539 w 1360378"/>
                <a:gd name="connsiteY5" fmla="*/ 937334 h 1042404"/>
                <a:gd name="connsiteX6" fmla="*/ 671894 w 1360378"/>
                <a:gd name="connsiteY6" fmla="*/ 945629 h 1042404"/>
                <a:gd name="connsiteX7" fmla="*/ 705074 w 1360378"/>
                <a:gd name="connsiteY7" fmla="*/ 942864 h 1042404"/>
                <a:gd name="connsiteX8" fmla="*/ 716134 w 1360378"/>
                <a:gd name="connsiteY8" fmla="*/ 959454 h 1042404"/>
                <a:gd name="connsiteX9" fmla="*/ 735489 w 1360378"/>
                <a:gd name="connsiteY9" fmla="*/ 959454 h 1042404"/>
                <a:gd name="connsiteX10" fmla="*/ 743784 w 1360378"/>
                <a:gd name="connsiteY10" fmla="*/ 964984 h 1042404"/>
                <a:gd name="connsiteX11" fmla="*/ 763139 w 1360378"/>
                <a:gd name="connsiteY11" fmla="*/ 973279 h 1042404"/>
                <a:gd name="connsiteX12" fmla="*/ 760374 w 1360378"/>
                <a:gd name="connsiteY12" fmla="*/ 995399 h 1042404"/>
                <a:gd name="connsiteX13" fmla="*/ 738254 w 1360378"/>
                <a:gd name="connsiteY13" fmla="*/ 1023049 h 1042404"/>
                <a:gd name="connsiteX14" fmla="*/ 707839 w 1360378"/>
                <a:gd name="connsiteY14" fmla="*/ 1028579 h 1042404"/>
                <a:gd name="connsiteX15" fmla="*/ 694014 w 1360378"/>
                <a:gd name="connsiteY15" fmla="*/ 1034109 h 1042404"/>
                <a:gd name="connsiteX16" fmla="*/ 677424 w 1360378"/>
                <a:gd name="connsiteY16" fmla="*/ 1025814 h 1042404"/>
                <a:gd name="connsiteX17" fmla="*/ 649774 w 1360378"/>
                <a:gd name="connsiteY17" fmla="*/ 1025814 h 1042404"/>
                <a:gd name="connsiteX18" fmla="*/ 630419 w 1360378"/>
                <a:gd name="connsiteY18" fmla="*/ 1025814 h 1042404"/>
                <a:gd name="connsiteX19" fmla="*/ 644244 w 1360378"/>
                <a:gd name="connsiteY19" fmla="*/ 1034109 h 1042404"/>
                <a:gd name="connsiteX20" fmla="*/ 641479 w 1360378"/>
                <a:gd name="connsiteY20" fmla="*/ 1042404 h 1042404"/>
                <a:gd name="connsiteX21" fmla="*/ 619359 w 1360378"/>
                <a:gd name="connsiteY21" fmla="*/ 1031344 h 1042404"/>
                <a:gd name="connsiteX22" fmla="*/ 605534 w 1360378"/>
                <a:gd name="connsiteY22" fmla="*/ 1025814 h 1042404"/>
                <a:gd name="connsiteX23" fmla="*/ 605534 w 1360378"/>
                <a:gd name="connsiteY23" fmla="*/ 1011989 h 1042404"/>
                <a:gd name="connsiteX24" fmla="*/ 586179 w 1360378"/>
                <a:gd name="connsiteY24" fmla="*/ 998164 h 1042404"/>
                <a:gd name="connsiteX25" fmla="*/ 575119 w 1360378"/>
                <a:gd name="connsiteY25" fmla="*/ 978809 h 1042404"/>
                <a:gd name="connsiteX26" fmla="*/ 564059 w 1360378"/>
                <a:gd name="connsiteY26" fmla="*/ 970514 h 1042404"/>
                <a:gd name="connsiteX27" fmla="*/ 555764 w 1360378"/>
                <a:gd name="connsiteY27" fmla="*/ 956689 h 1042404"/>
                <a:gd name="connsiteX28" fmla="*/ 566824 w 1360378"/>
                <a:gd name="connsiteY28" fmla="*/ 937334 h 1042404"/>
                <a:gd name="connsiteX29" fmla="*/ 569589 w 1360378"/>
                <a:gd name="connsiteY29" fmla="*/ 917979 h 1042404"/>
                <a:gd name="connsiteX30" fmla="*/ 572354 w 1360378"/>
                <a:gd name="connsiteY30" fmla="*/ 904154 h 1042404"/>
                <a:gd name="connsiteX31" fmla="*/ 395394 w 1360378"/>
                <a:gd name="connsiteY31" fmla="*/ 843324 h 1042404"/>
                <a:gd name="connsiteX32" fmla="*/ 395394 w 1360378"/>
                <a:gd name="connsiteY32" fmla="*/ 854384 h 1042404"/>
                <a:gd name="connsiteX33" fmla="*/ 406454 w 1360378"/>
                <a:gd name="connsiteY33" fmla="*/ 865444 h 1042404"/>
                <a:gd name="connsiteX34" fmla="*/ 414749 w 1360378"/>
                <a:gd name="connsiteY34" fmla="*/ 870974 h 1042404"/>
                <a:gd name="connsiteX35" fmla="*/ 400924 w 1360378"/>
                <a:gd name="connsiteY35" fmla="*/ 873739 h 1042404"/>
                <a:gd name="connsiteX36" fmla="*/ 387099 w 1360378"/>
                <a:gd name="connsiteY36" fmla="*/ 859914 h 1042404"/>
                <a:gd name="connsiteX37" fmla="*/ 387099 w 1360378"/>
                <a:gd name="connsiteY37" fmla="*/ 846089 h 1042404"/>
                <a:gd name="connsiteX38" fmla="*/ 456224 w 1360378"/>
                <a:gd name="connsiteY38" fmla="*/ 832264 h 1042404"/>
                <a:gd name="connsiteX39" fmla="*/ 478344 w 1360378"/>
                <a:gd name="connsiteY39" fmla="*/ 859914 h 1042404"/>
                <a:gd name="connsiteX40" fmla="*/ 508759 w 1360378"/>
                <a:gd name="connsiteY40" fmla="*/ 868209 h 1042404"/>
                <a:gd name="connsiteX41" fmla="*/ 539174 w 1360378"/>
                <a:gd name="connsiteY41" fmla="*/ 890329 h 1042404"/>
                <a:gd name="connsiteX42" fmla="*/ 552999 w 1360378"/>
                <a:gd name="connsiteY42" fmla="*/ 895859 h 1042404"/>
                <a:gd name="connsiteX43" fmla="*/ 547469 w 1360378"/>
                <a:gd name="connsiteY43" fmla="*/ 909684 h 1042404"/>
                <a:gd name="connsiteX44" fmla="*/ 522584 w 1360378"/>
                <a:gd name="connsiteY44" fmla="*/ 909684 h 1042404"/>
                <a:gd name="connsiteX45" fmla="*/ 511524 w 1360378"/>
                <a:gd name="connsiteY45" fmla="*/ 917979 h 1042404"/>
                <a:gd name="connsiteX46" fmla="*/ 497699 w 1360378"/>
                <a:gd name="connsiteY46" fmla="*/ 904154 h 1042404"/>
                <a:gd name="connsiteX47" fmla="*/ 467284 w 1360378"/>
                <a:gd name="connsiteY47" fmla="*/ 904154 h 1042404"/>
                <a:gd name="connsiteX48" fmla="*/ 461754 w 1360378"/>
                <a:gd name="connsiteY48" fmla="*/ 876504 h 1042404"/>
                <a:gd name="connsiteX49" fmla="*/ 450694 w 1360378"/>
                <a:gd name="connsiteY49" fmla="*/ 859914 h 1042404"/>
                <a:gd name="connsiteX50" fmla="*/ 453459 w 1360378"/>
                <a:gd name="connsiteY50" fmla="*/ 851619 h 1042404"/>
                <a:gd name="connsiteX51" fmla="*/ 976044 w 1360378"/>
                <a:gd name="connsiteY51" fmla="*/ 804614 h 1042404"/>
                <a:gd name="connsiteX52" fmla="*/ 1009224 w 1360378"/>
                <a:gd name="connsiteY52" fmla="*/ 807379 h 1042404"/>
                <a:gd name="connsiteX53" fmla="*/ 1011989 w 1360378"/>
                <a:gd name="connsiteY53" fmla="*/ 837794 h 1042404"/>
                <a:gd name="connsiteX54" fmla="*/ 1014754 w 1360378"/>
                <a:gd name="connsiteY54" fmla="*/ 848854 h 1042404"/>
                <a:gd name="connsiteX55" fmla="*/ 1000929 w 1360378"/>
                <a:gd name="connsiteY55" fmla="*/ 865444 h 1042404"/>
                <a:gd name="connsiteX56" fmla="*/ 981574 w 1360378"/>
                <a:gd name="connsiteY56" fmla="*/ 895859 h 1042404"/>
                <a:gd name="connsiteX57" fmla="*/ 956689 w 1360378"/>
                <a:gd name="connsiteY57" fmla="*/ 917979 h 1042404"/>
                <a:gd name="connsiteX58" fmla="*/ 940099 w 1360378"/>
                <a:gd name="connsiteY58" fmla="*/ 929039 h 1042404"/>
                <a:gd name="connsiteX59" fmla="*/ 926274 w 1360378"/>
                <a:gd name="connsiteY59" fmla="*/ 945629 h 1042404"/>
                <a:gd name="connsiteX60" fmla="*/ 915214 w 1360378"/>
                <a:gd name="connsiteY60" fmla="*/ 945629 h 1042404"/>
                <a:gd name="connsiteX61" fmla="*/ 931804 w 1360378"/>
                <a:gd name="connsiteY61" fmla="*/ 917979 h 1042404"/>
                <a:gd name="connsiteX62" fmla="*/ 940099 w 1360378"/>
                <a:gd name="connsiteY62" fmla="*/ 909684 h 1042404"/>
                <a:gd name="connsiteX63" fmla="*/ 951159 w 1360378"/>
                <a:gd name="connsiteY63" fmla="*/ 898624 h 1042404"/>
                <a:gd name="connsiteX64" fmla="*/ 970514 w 1360378"/>
                <a:gd name="connsiteY64" fmla="*/ 882034 h 1042404"/>
                <a:gd name="connsiteX65" fmla="*/ 976044 w 1360378"/>
                <a:gd name="connsiteY65" fmla="*/ 857149 h 1042404"/>
                <a:gd name="connsiteX66" fmla="*/ 978809 w 1360378"/>
                <a:gd name="connsiteY66" fmla="*/ 832264 h 1042404"/>
                <a:gd name="connsiteX67" fmla="*/ 970514 w 1360378"/>
                <a:gd name="connsiteY67" fmla="*/ 810144 h 1042404"/>
                <a:gd name="connsiteX68" fmla="*/ 320740 w 1360378"/>
                <a:gd name="connsiteY68" fmla="*/ 694014 h 1042404"/>
                <a:gd name="connsiteX69" fmla="*/ 329035 w 1360378"/>
                <a:gd name="connsiteY69" fmla="*/ 696779 h 1042404"/>
                <a:gd name="connsiteX70" fmla="*/ 348390 w 1360378"/>
                <a:gd name="connsiteY70" fmla="*/ 721664 h 1042404"/>
                <a:gd name="connsiteX71" fmla="*/ 362215 w 1360378"/>
                <a:gd name="connsiteY71" fmla="*/ 735489 h 1042404"/>
                <a:gd name="connsiteX72" fmla="*/ 376040 w 1360378"/>
                <a:gd name="connsiteY72" fmla="*/ 743784 h 1042404"/>
                <a:gd name="connsiteX73" fmla="*/ 387100 w 1360378"/>
                <a:gd name="connsiteY73" fmla="*/ 743784 h 1042404"/>
                <a:gd name="connsiteX74" fmla="*/ 389865 w 1360378"/>
                <a:gd name="connsiteY74" fmla="*/ 763139 h 1042404"/>
                <a:gd name="connsiteX75" fmla="*/ 406455 w 1360378"/>
                <a:gd name="connsiteY75" fmla="*/ 779729 h 1042404"/>
                <a:gd name="connsiteX76" fmla="*/ 423045 w 1360378"/>
                <a:gd name="connsiteY76" fmla="*/ 804614 h 1042404"/>
                <a:gd name="connsiteX77" fmla="*/ 434105 w 1360378"/>
                <a:gd name="connsiteY77" fmla="*/ 812909 h 1042404"/>
                <a:gd name="connsiteX78" fmla="*/ 445165 w 1360378"/>
                <a:gd name="connsiteY78" fmla="*/ 832264 h 1042404"/>
                <a:gd name="connsiteX79" fmla="*/ 434105 w 1360378"/>
                <a:gd name="connsiteY79" fmla="*/ 843324 h 1042404"/>
                <a:gd name="connsiteX80" fmla="*/ 417515 w 1360378"/>
                <a:gd name="connsiteY80" fmla="*/ 840559 h 1042404"/>
                <a:gd name="connsiteX81" fmla="*/ 409220 w 1360378"/>
                <a:gd name="connsiteY81" fmla="*/ 821204 h 1042404"/>
                <a:gd name="connsiteX82" fmla="*/ 389865 w 1360378"/>
                <a:gd name="connsiteY82" fmla="*/ 812909 h 1042404"/>
                <a:gd name="connsiteX83" fmla="*/ 370510 w 1360378"/>
                <a:gd name="connsiteY83" fmla="*/ 782494 h 1042404"/>
                <a:gd name="connsiteX84" fmla="*/ 353920 w 1360378"/>
                <a:gd name="connsiteY84" fmla="*/ 763139 h 1042404"/>
                <a:gd name="connsiteX85" fmla="*/ 342860 w 1360378"/>
                <a:gd name="connsiteY85" fmla="*/ 765904 h 1042404"/>
                <a:gd name="connsiteX86" fmla="*/ 334565 w 1360378"/>
                <a:gd name="connsiteY86" fmla="*/ 738254 h 1042404"/>
                <a:gd name="connsiteX87" fmla="*/ 326270 w 1360378"/>
                <a:gd name="connsiteY87" fmla="*/ 716134 h 1042404"/>
                <a:gd name="connsiteX88" fmla="*/ 312445 w 1360378"/>
                <a:gd name="connsiteY88" fmla="*/ 707839 h 1042404"/>
                <a:gd name="connsiteX89" fmla="*/ 1172358 w 1360378"/>
                <a:gd name="connsiteY89" fmla="*/ 685719 h 1042404"/>
                <a:gd name="connsiteX90" fmla="*/ 1180653 w 1360378"/>
                <a:gd name="connsiteY90" fmla="*/ 702309 h 1042404"/>
                <a:gd name="connsiteX91" fmla="*/ 1169593 w 1360378"/>
                <a:gd name="connsiteY91" fmla="*/ 710604 h 1042404"/>
                <a:gd name="connsiteX92" fmla="*/ 1153003 w 1360378"/>
                <a:gd name="connsiteY92" fmla="*/ 705074 h 1042404"/>
                <a:gd name="connsiteX93" fmla="*/ 1153003 w 1360378"/>
                <a:gd name="connsiteY93" fmla="*/ 691249 h 1042404"/>
                <a:gd name="connsiteX94" fmla="*/ 1166828 w 1360378"/>
                <a:gd name="connsiteY94" fmla="*/ 691249 h 1042404"/>
                <a:gd name="connsiteX95" fmla="*/ 290325 w 1360378"/>
                <a:gd name="connsiteY95" fmla="*/ 658069 h 1042404"/>
                <a:gd name="connsiteX96" fmla="*/ 306915 w 1360378"/>
                <a:gd name="connsiteY96" fmla="*/ 666364 h 1042404"/>
                <a:gd name="connsiteX97" fmla="*/ 317975 w 1360378"/>
                <a:gd name="connsiteY97" fmla="*/ 674659 h 1042404"/>
                <a:gd name="connsiteX98" fmla="*/ 315210 w 1360378"/>
                <a:gd name="connsiteY98" fmla="*/ 685719 h 1042404"/>
                <a:gd name="connsiteX99" fmla="*/ 301385 w 1360378"/>
                <a:gd name="connsiteY99" fmla="*/ 674659 h 1042404"/>
                <a:gd name="connsiteX100" fmla="*/ 284795 w 1360378"/>
                <a:gd name="connsiteY100" fmla="*/ 671894 h 1042404"/>
                <a:gd name="connsiteX101" fmla="*/ 284795 w 1360378"/>
                <a:gd name="connsiteY101" fmla="*/ 660834 h 1042404"/>
                <a:gd name="connsiteX102" fmla="*/ 207375 w 1360378"/>
                <a:gd name="connsiteY102" fmla="*/ 483874 h 1042404"/>
                <a:gd name="connsiteX103" fmla="*/ 215670 w 1360378"/>
                <a:gd name="connsiteY103" fmla="*/ 492169 h 1042404"/>
                <a:gd name="connsiteX104" fmla="*/ 226730 w 1360378"/>
                <a:gd name="connsiteY104" fmla="*/ 514289 h 1042404"/>
                <a:gd name="connsiteX105" fmla="*/ 232260 w 1360378"/>
                <a:gd name="connsiteY105" fmla="*/ 522584 h 1042404"/>
                <a:gd name="connsiteX106" fmla="*/ 251615 w 1360378"/>
                <a:gd name="connsiteY106" fmla="*/ 544704 h 1042404"/>
                <a:gd name="connsiteX107" fmla="*/ 254380 w 1360378"/>
                <a:gd name="connsiteY107" fmla="*/ 577884 h 1042404"/>
                <a:gd name="connsiteX108" fmla="*/ 262675 w 1360378"/>
                <a:gd name="connsiteY108" fmla="*/ 605534 h 1042404"/>
                <a:gd name="connsiteX109" fmla="*/ 276500 w 1360378"/>
                <a:gd name="connsiteY109" fmla="*/ 624889 h 1042404"/>
                <a:gd name="connsiteX110" fmla="*/ 276500 w 1360378"/>
                <a:gd name="connsiteY110" fmla="*/ 641479 h 1042404"/>
                <a:gd name="connsiteX111" fmla="*/ 265440 w 1360378"/>
                <a:gd name="connsiteY111" fmla="*/ 641479 h 1042404"/>
                <a:gd name="connsiteX112" fmla="*/ 262675 w 1360378"/>
                <a:gd name="connsiteY112" fmla="*/ 624889 h 1042404"/>
                <a:gd name="connsiteX113" fmla="*/ 254380 w 1360378"/>
                <a:gd name="connsiteY113" fmla="*/ 616594 h 1042404"/>
                <a:gd name="connsiteX114" fmla="*/ 251615 w 1360378"/>
                <a:gd name="connsiteY114" fmla="*/ 600004 h 1042404"/>
                <a:gd name="connsiteX115" fmla="*/ 237790 w 1360378"/>
                <a:gd name="connsiteY115" fmla="*/ 588944 h 1042404"/>
                <a:gd name="connsiteX116" fmla="*/ 237790 w 1360378"/>
                <a:gd name="connsiteY116" fmla="*/ 550234 h 1042404"/>
                <a:gd name="connsiteX117" fmla="*/ 210140 w 1360378"/>
                <a:gd name="connsiteY117" fmla="*/ 525349 h 1042404"/>
                <a:gd name="connsiteX118" fmla="*/ 1235953 w 1360378"/>
                <a:gd name="connsiteY118" fmla="*/ 196315 h 1042404"/>
                <a:gd name="connsiteX119" fmla="*/ 1249778 w 1360378"/>
                <a:gd name="connsiteY119" fmla="*/ 215670 h 1042404"/>
                <a:gd name="connsiteX120" fmla="*/ 1249778 w 1360378"/>
                <a:gd name="connsiteY120" fmla="*/ 246085 h 1042404"/>
                <a:gd name="connsiteX121" fmla="*/ 1249778 w 1360378"/>
                <a:gd name="connsiteY121" fmla="*/ 290325 h 1042404"/>
                <a:gd name="connsiteX122" fmla="*/ 1247013 w 1360378"/>
                <a:gd name="connsiteY122" fmla="*/ 323505 h 1042404"/>
                <a:gd name="connsiteX123" fmla="*/ 1252543 w 1360378"/>
                <a:gd name="connsiteY123" fmla="*/ 362215 h 1042404"/>
                <a:gd name="connsiteX124" fmla="*/ 1260838 w 1360378"/>
                <a:gd name="connsiteY124" fmla="*/ 381570 h 1042404"/>
                <a:gd name="connsiteX125" fmla="*/ 1255308 w 1360378"/>
                <a:gd name="connsiteY125" fmla="*/ 428575 h 1042404"/>
                <a:gd name="connsiteX126" fmla="*/ 1247013 w 1360378"/>
                <a:gd name="connsiteY126" fmla="*/ 456225 h 1042404"/>
                <a:gd name="connsiteX127" fmla="*/ 1241483 w 1360378"/>
                <a:gd name="connsiteY127" fmla="*/ 497700 h 1042404"/>
                <a:gd name="connsiteX128" fmla="*/ 1233188 w 1360378"/>
                <a:gd name="connsiteY128" fmla="*/ 514290 h 1042404"/>
                <a:gd name="connsiteX129" fmla="*/ 1233188 w 1360378"/>
                <a:gd name="connsiteY129" fmla="*/ 497700 h 1042404"/>
                <a:gd name="connsiteX130" fmla="*/ 1238718 w 1360378"/>
                <a:gd name="connsiteY130" fmla="*/ 431340 h 1042404"/>
                <a:gd name="connsiteX131" fmla="*/ 1238718 w 1360378"/>
                <a:gd name="connsiteY131" fmla="*/ 398160 h 1042404"/>
                <a:gd name="connsiteX132" fmla="*/ 1235953 w 1360378"/>
                <a:gd name="connsiteY132" fmla="*/ 359450 h 1042404"/>
                <a:gd name="connsiteX133" fmla="*/ 1233188 w 1360378"/>
                <a:gd name="connsiteY133" fmla="*/ 334565 h 1042404"/>
                <a:gd name="connsiteX134" fmla="*/ 1238718 w 1360378"/>
                <a:gd name="connsiteY134" fmla="*/ 293090 h 1042404"/>
                <a:gd name="connsiteX135" fmla="*/ 1230423 w 1360378"/>
                <a:gd name="connsiteY135" fmla="*/ 243320 h 1042404"/>
                <a:gd name="connsiteX136" fmla="*/ 1233188 w 1360378"/>
                <a:gd name="connsiteY136" fmla="*/ 204610 h 1042404"/>
                <a:gd name="connsiteX137" fmla="*/ 1341023 w 1360378"/>
                <a:gd name="connsiteY137" fmla="*/ 30415 h 1042404"/>
                <a:gd name="connsiteX138" fmla="*/ 1360378 w 1360378"/>
                <a:gd name="connsiteY138" fmla="*/ 35945 h 1042404"/>
                <a:gd name="connsiteX139" fmla="*/ 1360378 w 1360378"/>
                <a:gd name="connsiteY139" fmla="*/ 69125 h 1042404"/>
                <a:gd name="connsiteX140" fmla="*/ 1352083 w 1360378"/>
                <a:gd name="connsiteY140" fmla="*/ 88480 h 1042404"/>
                <a:gd name="connsiteX141" fmla="*/ 1329963 w 1360378"/>
                <a:gd name="connsiteY141" fmla="*/ 124425 h 1042404"/>
                <a:gd name="connsiteX142" fmla="*/ 1305078 w 1360378"/>
                <a:gd name="connsiteY142" fmla="*/ 154840 h 1042404"/>
                <a:gd name="connsiteX143" fmla="*/ 1277428 w 1360378"/>
                <a:gd name="connsiteY143" fmla="*/ 182490 h 1042404"/>
                <a:gd name="connsiteX144" fmla="*/ 1247013 w 1360378"/>
                <a:gd name="connsiteY144" fmla="*/ 193550 h 1042404"/>
                <a:gd name="connsiteX145" fmla="*/ 1233188 w 1360378"/>
                <a:gd name="connsiteY145" fmla="*/ 174195 h 1042404"/>
                <a:gd name="connsiteX146" fmla="*/ 1244248 w 1360378"/>
                <a:gd name="connsiteY146" fmla="*/ 157605 h 1042404"/>
                <a:gd name="connsiteX147" fmla="*/ 1247013 w 1360378"/>
                <a:gd name="connsiteY147" fmla="*/ 118895 h 1042404"/>
                <a:gd name="connsiteX148" fmla="*/ 1238718 w 1360378"/>
                <a:gd name="connsiteY148" fmla="*/ 82950 h 1042404"/>
                <a:gd name="connsiteX149" fmla="*/ 1230423 w 1360378"/>
                <a:gd name="connsiteY149" fmla="*/ 55300 h 1042404"/>
                <a:gd name="connsiteX150" fmla="*/ 1244248 w 1360378"/>
                <a:gd name="connsiteY150" fmla="*/ 38710 h 1042404"/>
                <a:gd name="connsiteX151" fmla="*/ 1285723 w 1360378"/>
                <a:gd name="connsiteY151" fmla="*/ 41475 h 1042404"/>
                <a:gd name="connsiteX152" fmla="*/ 1307843 w 1360378"/>
                <a:gd name="connsiteY152" fmla="*/ 35945 h 1042404"/>
                <a:gd name="connsiteX153" fmla="*/ 107835 w 1360378"/>
                <a:gd name="connsiteY153" fmla="*/ 22120 h 1042404"/>
                <a:gd name="connsiteX154" fmla="*/ 121660 w 1360378"/>
                <a:gd name="connsiteY154" fmla="*/ 27650 h 1042404"/>
                <a:gd name="connsiteX155" fmla="*/ 113365 w 1360378"/>
                <a:gd name="connsiteY155" fmla="*/ 44240 h 1042404"/>
                <a:gd name="connsiteX156" fmla="*/ 107835 w 1360378"/>
                <a:gd name="connsiteY156" fmla="*/ 69125 h 1042404"/>
                <a:gd name="connsiteX157" fmla="*/ 105070 w 1360378"/>
                <a:gd name="connsiteY157" fmla="*/ 88480 h 1042404"/>
                <a:gd name="connsiteX158" fmla="*/ 116130 w 1360378"/>
                <a:gd name="connsiteY158" fmla="*/ 102305 h 1042404"/>
                <a:gd name="connsiteX159" fmla="*/ 113365 w 1360378"/>
                <a:gd name="connsiteY159" fmla="*/ 132720 h 1042404"/>
                <a:gd name="connsiteX160" fmla="*/ 121660 w 1360378"/>
                <a:gd name="connsiteY160" fmla="*/ 143780 h 1042404"/>
                <a:gd name="connsiteX161" fmla="*/ 127190 w 1360378"/>
                <a:gd name="connsiteY161" fmla="*/ 163135 h 1042404"/>
                <a:gd name="connsiteX162" fmla="*/ 121660 w 1360378"/>
                <a:gd name="connsiteY162" fmla="*/ 174195 h 1042404"/>
                <a:gd name="connsiteX163" fmla="*/ 110600 w 1360378"/>
                <a:gd name="connsiteY163" fmla="*/ 163135 h 1042404"/>
                <a:gd name="connsiteX164" fmla="*/ 116130 w 1360378"/>
                <a:gd name="connsiteY164" fmla="*/ 157605 h 1042404"/>
                <a:gd name="connsiteX165" fmla="*/ 110600 w 1360378"/>
                <a:gd name="connsiteY165" fmla="*/ 146545 h 1042404"/>
                <a:gd name="connsiteX166" fmla="*/ 107835 w 1360378"/>
                <a:gd name="connsiteY166" fmla="*/ 129955 h 1042404"/>
                <a:gd name="connsiteX167" fmla="*/ 107835 w 1360378"/>
                <a:gd name="connsiteY167" fmla="*/ 110600 h 1042404"/>
                <a:gd name="connsiteX168" fmla="*/ 105070 w 1360378"/>
                <a:gd name="connsiteY168" fmla="*/ 102305 h 1042404"/>
                <a:gd name="connsiteX169" fmla="*/ 96775 w 1360378"/>
                <a:gd name="connsiteY169" fmla="*/ 82950 h 1042404"/>
                <a:gd name="connsiteX170" fmla="*/ 99540 w 1360378"/>
                <a:gd name="connsiteY170" fmla="*/ 63595 h 1042404"/>
                <a:gd name="connsiteX171" fmla="*/ 105070 w 1360378"/>
                <a:gd name="connsiteY171" fmla="*/ 49770 h 1042404"/>
                <a:gd name="connsiteX172" fmla="*/ 96775 w 1360378"/>
                <a:gd name="connsiteY172" fmla="*/ 41475 h 1042404"/>
                <a:gd name="connsiteX173" fmla="*/ 85715 w 1360378"/>
                <a:gd name="connsiteY173" fmla="*/ 44240 h 1042404"/>
                <a:gd name="connsiteX174" fmla="*/ 82950 w 1360378"/>
                <a:gd name="connsiteY174" fmla="*/ 60830 h 1042404"/>
                <a:gd name="connsiteX175" fmla="*/ 85715 w 1360378"/>
                <a:gd name="connsiteY175" fmla="*/ 88480 h 1042404"/>
                <a:gd name="connsiteX176" fmla="*/ 94010 w 1360378"/>
                <a:gd name="connsiteY176" fmla="*/ 107835 h 1042404"/>
                <a:gd name="connsiteX177" fmla="*/ 91245 w 1360378"/>
                <a:gd name="connsiteY177" fmla="*/ 116130 h 1042404"/>
                <a:gd name="connsiteX178" fmla="*/ 82950 w 1360378"/>
                <a:gd name="connsiteY178" fmla="*/ 96775 h 1042404"/>
                <a:gd name="connsiteX179" fmla="*/ 60830 w 1360378"/>
                <a:gd name="connsiteY179" fmla="*/ 88480 h 1042404"/>
                <a:gd name="connsiteX180" fmla="*/ 49770 w 1360378"/>
                <a:gd name="connsiteY180" fmla="*/ 91245 h 1042404"/>
                <a:gd name="connsiteX181" fmla="*/ 63595 w 1360378"/>
                <a:gd name="connsiteY181" fmla="*/ 105070 h 1042404"/>
                <a:gd name="connsiteX182" fmla="*/ 49770 w 1360378"/>
                <a:gd name="connsiteY182" fmla="*/ 129955 h 1042404"/>
                <a:gd name="connsiteX183" fmla="*/ 60830 w 1360378"/>
                <a:gd name="connsiteY183" fmla="*/ 138250 h 1042404"/>
                <a:gd name="connsiteX184" fmla="*/ 60830 w 1360378"/>
                <a:gd name="connsiteY184" fmla="*/ 176960 h 1042404"/>
                <a:gd name="connsiteX185" fmla="*/ 55300 w 1360378"/>
                <a:gd name="connsiteY185" fmla="*/ 196315 h 1042404"/>
                <a:gd name="connsiteX186" fmla="*/ 91245 w 1360378"/>
                <a:gd name="connsiteY186" fmla="*/ 207375 h 1042404"/>
                <a:gd name="connsiteX187" fmla="*/ 94010 w 1360378"/>
                <a:gd name="connsiteY187" fmla="*/ 221200 h 1042404"/>
                <a:gd name="connsiteX188" fmla="*/ 110600 w 1360378"/>
                <a:gd name="connsiteY188" fmla="*/ 229495 h 1042404"/>
                <a:gd name="connsiteX189" fmla="*/ 116130 w 1360378"/>
                <a:gd name="connsiteY189" fmla="*/ 240555 h 1042404"/>
                <a:gd name="connsiteX190" fmla="*/ 138250 w 1360378"/>
                <a:gd name="connsiteY190" fmla="*/ 257145 h 1042404"/>
                <a:gd name="connsiteX191" fmla="*/ 146545 w 1360378"/>
                <a:gd name="connsiteY191" fmla="*/ 276500 h 1042404"/>
                <a:gd name="connsiteX192" fmla="*/ 157605 w 1360378"/>
                <a:gd name="connsiteY192" fmla="*/ 293090 h 1042404"/>
                <a:gd name="connsiteX193" fmla="*/ 188020 w 1360378"/>
                <a:gd name="connsiteY193" fmla="*/ 315210 h 1042404"/>
                <a:gd name="connsiteX194" fmla="*/ 188020 w 1360378"/>
                <a:gd name="connsiteY194" fmla="*/ 331800 h 1042404"/>
                <a:gd name="connsiteX195" fmla="*/ 196315 w 1360378"/>
                <a:gd name="connsiteY195" fmla="*/ 340095 h 1042404"/>
                <a:gd name="connsiteX196" fmla="*/ 196315 w 1360378"/>
                <a:gd name="connsiteY196" fmla="*/ 378804 h 1042404"/>
                <a:gd name="connsiteX197" fmla="*/ 196315 w 1360378"/>
                <a:gd name="connsiteY197" fmla="*/ 417514 h 1042404"/>
                <a:gd name="connsiteX198" fmla="*/ 201845 w 1360378"/>
                <a:gd name="connsiteY198" fmla="*/ 439634 h 1042404"/>
                <a:gd name="connsiteX199" fmla="*/ 199080 w 1360378"/>
                <a:gd name="connsiteY199" fmla="*/ 475579 h 1042404"/>
                <a:gd name="connsiteX200" fmla="*/ 176960 w 1360378"/>
                <a:gd name="connsiteY200" fmla="*/ 450694 h 1042404"/>
                <a:gd name="connsiteX201" fmla="*/ 163135 w 1360378"/>
                <a:gd name="connsiteY201" fmla="*/ 434104 h 1042404"/>
                <a:gd name="connsiteX202" fmla="*/ 138250 w 1360378"/>
                <a:gd name="connsiteY202" fmla="*/ 395394 h 1042404"/>
                <a:gd name="connsiteX203" fmla="*/ 124425 w 1360378"/>
                <a:gd name="connsiteY203" fmla="*/ 367744 h 1042404"/>
                <a:gd name="connsiteX204" fmla="*/ 99540 w 1360378"/>
                <a:gd name="connsiteY204" fmla="*/ 334565 h 1042404"/>
                <a:gd name="connsiteX205" fmla="*/ 88480 w 1360378"/>
                <a:gd name="connsiteY205" fmla="*/ 298620 h 1042404"/>
                <a:gd name="connsiteX206" fmla="*/ 69125 w 1360378"/>
                <a:gd name="connsiteY206" fmla="*/ 254380 h 1042404"/>
                <a:gd name="connsiteX207" fmla="*/ 47005 w 1360378"/>
                <a:gd name="connsiteY207" fmla="*/ 218435 h 1042404"/>
                <a:gd name="connsiteX208" fmla="*/ 22120 w 1360378"/>
                <a:gd name="connsiteY208" fmla="*/ 179725 h 1042404"/>
                <a:gd name="connsiteX209" fmla="*/ 5530 w 1360378"/>
                <a:gd name="connsiteY209" fmla="*/ 146545 h 1042404"/>
                <a:gd name="connsiteX210" fmla="*/ 0 w 1360378"/>
                <a:gd name="connsiteY210" fmla="*/ 121660 h 1042404"/>
                <a:gd name="connsiteX211" fmla="*/ 5530 w 1360378"/>
                <a:gd name="connsiteY211" fmla="*/ 105070 h 1042404"/>
                <a:gd name="connsiteX212" fmla="*/ 5530 w 1360378"/>
                <a:gd name="connsiteY212" fmla="*/ 118895 h 1042404"/>
                <a:gd name="connsiteX213" fmla="*/ 19355 w 1360378"/>
                <a:gd name="connsiteY213" fmla="*/ 116130 h 1042404"/>
                <a:gd name="connsiteX214" fmla="*/ 22120 w 1360378"/>
                <a:gd name="connsiteY214" fmla="*/ 99540 h 1042404"/>
                <a:gd name="connsiteX215" fmla="*/ 11060 w 1360378"/>
                <a:gd name="connsiteY215" fmla="*/ 99540 h 1042404"/>
                <a:gd name="connsiteX216" fmla="*/ 8295 w 1360378"/>
                <a:gd name="connsiteY216" fmla="*/ 74655 h 1042404"/>
                <a:gd name="connsiteX217" fmla="*/ 16590 w 1360378"/>
                <a:gd name="connsiteY217" fmla="*/ 60830 h 1042404"/>
                <a:gd name="connsiteX218" fmla="*/ 38710 w 1360378"/>
                <a:gd name="connsiteY218" fmla="*/ 58065 h 1042404"/>
                <a:gd name="connsiteX219" fmla="*/ 63595 w 1360378"/>
                <a:gd name="connsiteY219" fmla="*/ 47005 h 1042404"/>
                <a:gd name="connsiteX220" fmla="*/ 77420 w 1360378"/>
                <a:gd name="connsiteY220" fmla="*/ 33180 h 1042404"/>
                <a:gd name="connsiteX221" fmla="*/ 94010 w 1360378"/>
                <a:gd name="connsiteY221" fmla="*/ 30415 h 1042404"/>
                <a:gd name="connsiteX222" fmla="*/ 1108764 w 1360378"/>
                <a:gd name="connsiteY222" fmla="*/ 0 h 1042404"/>
                <a:gd name="connsiteX223" fmla="*/ 1128119 w 1360378"/>
                <a:gd name="connsiteY223" fmla="*/ 11060 h 1042404"/>
                <a:gd name="connsiteX224" fmla="*/ 1141944 w 1360378"/>
                <a:gd name="connsiteY224" fmla="*/ 11060 h 1042404"/>
                <a:gd name="connsiteX225" fmla="*/ 1164064 w 1360378"/>
                <a:gd name="connsiteY225" fmla="*/ 22120 h 1042404"/>
                <a:gd name="connsiteX226" fmla="*/ 1180654 w 1360378"/>
                <a:gd name="connsiteY226" fmla="*/ 30415 h 1042404"/>
                <a:gd name="connsiteX227" fmla="*/ 1177889 w 1360378"/>
                <a:gd name="connsiteY227" fmla="*/ 35945 h 1042404"/>
                <a:gd name="connsiteX228" fmla="*/ 1164064 w 1360378"/>
                <a:gd name="connsiteY228" fmla="*/ 35945 h 1042404"/>
                <a:gd name="connsiteX229" fmla="*/ 1139179 w 1360378"/>
                <a:gd name="connsiteY229" fmla="*/ 22120 h 1042404"/>
                <a:gd name="connsiteX230" fmla="*/ 1119824 w 1360378"/>
                <a:gd name="connsiteY230" fmla="*/ 16590 h 1042404"/>
                <a:gd name="connsiteX231" fmla="*/ 1100469 w 1360378"/>
                <a:gd name="connsiteY231" fmla="*/ 13825 h 1042404"/>
                <a:gd name="connsiteX232" fmla="*/ 1086644 w 1360378"/>
                <a:gd name="connsiteY232" fmla="*/ 13825 h 1042404"/>
                <a:gd name="connsiteX233" fmla="*/ 1081114 w 1360378"/>
                <a:gd name="connsiteY233" fmla="*/ 11060 h 1042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</a:cxnLst>
              <a:rect l="l" t="t" r="r" b="b"/>
              <a:pathLst>
                <a:path w="1360378" h="1042404">
                  <a:moveTo>
                    <a:pt x="580649" y="901389"/>
                  </a:moveTo>
                  <a:lnTo>
                    <a:pt x="586179" y="912449"/>
                  </a:lnTo>
                  <a:lnTo>
                    <a:pt x="602769" y="920744"/>
                  </a:lnTo>
                  <a:lnTo>
                    <a:pt x="624889" y="920744"/>
                  </a:lnTo>
                  <a:lnTo>
                    <a:pt x="633184" y="934569"/>
                  </a:lnTo>
                  <a:lnTo>
                    <a:pt x="652539" y="937334"/>
                  </a:lnTo>
                  <a:lnTo>
                    <a:pt x="671894" y="945629"/>
                  </a:lnTo>
                  <a:lnTo>
                    <a:pt x="705074" y="942864"/>
                  </a:lnTo>
                  <a:lnTo>
                    <a:pt x="716134" y="959454"/>
                  </a:lnTo>
                  <a:lnTo>
                    <a:pt x="735489" y="959454"/>
                  </a:lnTo>
                  <a:lnTo>
                    <a:pt x="743784" y="964984"/>
                  </a:lnTo>
                  <a:lnTo>
                    <a:pt x="763139" y="973279"/>
                  </a:lnTo>
                  <a:lnTo>
                    <a:pt x="760374" y="995399"/>
                  </a:lnTo>
                  <a:lnTo>
                    <a:pt x="738254" y="1023049"/>
                  </a:lnTo>
                  <a:lnTo>
                    <a:pt x="707839" y="1028579"/>
                  </a:lnTo>
                  <a:lnTo>
                    <a:pt x="694014" y="1034109"/>
                  </a:lnTo>
                  <a:lnTo>
                    <a:pt x="677424" y="1025814"/>
                  </a:lnTo>
                  <a:lnTo>
                    <a:pt x="649774" y="1025814"/>
                  </a:lnTo>
                  <a:lnTo>
                    <a:pt x="630419" y="1025814"/>
                  </a:lnTo>
                  <a:lnTo>
                    <a:pt x="644244" y="1034109"/>
                  </a:lnTo>
                  <a:lnTo>
                    <a:pt x="641479" y="1042404"/>
                  </a:lnTo>
                  <a:lnTo>
                    <a:pt x="619359" y="1031344"/>
                  </a:lnTo>
                  <a:lnTo>
                    <a:pt x="605534" y="1025814"/>
                  </a:lnTo>
                  <a:lnTo>
                    <a:pt x="605534" y="1011989"/>
                  </a:lnTo>
                  <a:lnTo>
                    <a:pt x="586179" y="998164"/>
                  </a:lnTo>
                  <a:lnTo>
                    <a:pt x="575119" y="978809"/>
                  </a:lnTo>
                  <a:lnTo>
                    <a:pt x="564059" y="970514"/>
                  </a:lnTo>
                  <a:lnTo>
                    <a:pt x="555764" y="956689"/>
                  </a:lnTo>
                  <a:lnTo>
                    <a:pt x="566824" y="937334"/>
                  </a:lnTo>
                  <a:lnTo>
                    <a:pt x="569589" y="917979"/>
                  </a:lnTo>
                  <a:lnTo>
                    <a:pt x="572354" y="904154"/>
                  </a:lnTo>
                  <a:close/>
                  <a:moveTo>
                    <a:pt x="395394" y="843324"/>
                  </a:moveTo>
                  <a:lnTo>
                    <a:pt x="395394" y="854384"/>
                  </a:lnTo>
                  <a:lnTo>
                    <a:pt x="406454" y="865444"/>
                  </a:lnTo>
                  <a:lnTo>
                    <a:pt x="414749" y="870974"/>
                  </a:lnTo>
                  <a:lnTo>
                    <a:pt x="400924" y="873739"/>
                  </a:lnTo>
                  <a:lnTo>
                    <a:pt x="387099" y="859914"/>
                  </a:lnTo>
                  <a:lnTo>
                    <a:pt x="387099" y="846089"/>
                  </a:lnTo>
                  <a:close/>
                  <a:moveTo>
                    <a:pt x="456224" y="832264"/>
                  </a:moveTo>
                  <a:lnTo>
                    <a:pt x="478344" y="859914"/>
                  </a:lnTo>
                  <a:lnTo>
                    <a:pt x="508759" y="868209"/>
                  </a:lnTo>
                  <a:lnTo>
                    <a:pt x="539174" y="890329"/>
                  </a:lnTo>
                  <a:lnTo>
                    <a:pt x="552999" y="895859"/>
                  </a:lnTo>
                  <a:lnTo>
                    <a:pt x="547469" y="909684"/>
                  </a:lnTo>
                  <a:lnTo>
                    <a:pt x="522584" y="909684"/>
                  </a:lnTo>
                  <a:lnTo>
                    <a:pt x="511524" y="917979"/>
                  </a:lnTo>
                  <a:lnTo>
                    <a:pt x="497699" y="904154"/>
                  </a:lnTo>
                  <a:lnTo>
                    <a:pt x="467284" y="904154"/>
                  </a:lnTo>
                  <a:lnTo>
                    <a:pt x="461754" y="876504"/>
                  </a:lnTo>
                  <a:lnTo>
                    <a:pt x="450694" y="859914"/>
                  </a:lnTo>
                  <a:lnTo>
                    <a:pt x="453459" y="851619"/>
                  </a:lnTo>
                  <a:close/>
                  <a:moveTo>
                    <a:pt x="976044" y="804614"/>
                  </a:moveTo>
                  <a:lnTo>
                    <a:pt x="1009224" y="807379"/>
                  </a:lnTo>
                  <a:lnTo>
                    <a:pt x="1011989" y="837794"/>
                  </a:lnTo>
                  <a:lnTo>
                    <a:pt x="1014754" y="848854"/>
                  </a:lnTo>
                  <a:lnTo>
                    <a:pt x="1000929" y="865444"/>
                  </a:lnTo>
                  <a:lnTo>
                    <a:pt x="981574" y="895859"/>
                  </a:lnTo>
                  <a:lnTo>
                    <a:pt x="956689" y="917979"/>
                  </a:lnTo>
                  <a:lnTo>
                    <a:pt x="940099" y="929039"/>
                  </a:lnTo>
                  <a:lnTo>
                    <a:pt x="926274" y="945629"/>
                  </a:lnTo>
                  <a:lnTo>
                    <a:pt x="915214" y="945629"/>
                  </a:lnTo>
                  <a:lnTo>
                    <a:pt x="931804" y="917979"/>
                  </a:lnTo>
                  <a:lnTo>
                    <a:pt x="940099" y="909684"/>
                  </a:lnTo>
                  <a:lnTo>
                    <a:pt x="951159" y="898624"/>
                  </a:lnTo>
                  <a:lnTo>
                    <a:pt x="970514" y="882034"/>
                  </a:lnTo>
                  <a:lnTo>
                    <a:pt x="976044" y="857149"/>
                  </a:lnTo>
                  <a:lnTo>
                    <a:pt x="978809" y="832264"/>
                  </a:lnTo>
                  <a:lnTo>
                    <a:pt x="970514" y="810144"/>
                  </a:lnTo>
                  <a:close/>
                  <a:moveTo>
                    <a:pt x="320740" y="694014"/>
                  </a:moveTo>
                  <a:lnTo>
                    <a:pt x="329035" y="696779"/>
                  </a:lnTo>
                  <a:lnTo>
                    <a:pt x="348390" y="721664"/>
                  </a:lnTo>
                  <a:lnTo>
                    <a:pt x="362215" y="735489"/>
                  </a:lnTo>
                  <a:lnTo>
                    <a:pt x="376040" y="743784"/>
                  </a:lnTo>
                  <a:lnTo>
                    <a:pt x="387100" y="743784"/>
                  </a:lnTo>
                  <a:lnTo>
                    <a:pt x="389865" y="763139"/>
                  </a:lnTo>
                  <a:lnTo>
                    <a:pt x="406455" y="779729"/>
                  </a:lnTo>
                  <a:lnTo>
                    <a:pt x="423045" y="804614"/>
                  </a:lnTo>
                  <a:lnTo>
                    <a:pt x="434105" y="812909"/>
                  </a:lnTo>
                  <a:lnTo>
                    <a:pt x="445165" y="832264"/>
                  </a:lnTo>
                  <a:lnTo>
                    <a:pt x="434105" y="843324"/>
                  </a:lnTo>
                  <a:lnTo>
                    <a:pt x="417515" y="840559"/>
                  </a:lnTo>
                  <a:lnTo>
                    <a:pt x="409220" y="821204"/>
                  </a:lnTo>
                  <a:lnTo>
                    <a:pt x="389865" y="812909"/>
                  </a:lnTo>
                  <a:lnTo>
                    <a:pt x="370510" y="782494"/>
                  </a:lnTo>
                  <a:lnTo>
                    <a:pt x="353920" y="763139"/>
                  </a:lnTo>
                  <a:lnTo>
                    <a:pt x="342860" y="765904"/>
                  </a:lnTo>
                  <a:lnTo>
                    <a:pt x="334565" y="738254"/>
                  </a:lnTo>
                  <a:lnTo>
                    <a:pt x="326270" y="716134"/>
                  </a:lnTo>
                  <a:lnTo>
                    <a:pt x="312445" y="707839"/>
                  </a:lnTo>
                  <a:close/>
                  <a:moveTo>
                    <a:pt x="1172358" y="685719"/>
                  </a:moveTo>
                  <a:lnTo>
                    <a:pt x="1180653" y="702309"/>
                  </a:lnTo>
                  <a:lnTo>
                    <a:pt x="1169593" y="710604"/>
                  </a:lnTo>
                  <a:lnTo>
                    <a:pt x="1153003" y="705074"/>
                  </a:lnTo>
                  <a:lnTo>
                    <a:pt x="1153003" y="691249"/>
                  </a:lnTo>
                  <a:lnTo>
                    <a:pt x="1166828" y="691249"/>
                  </a:lnTo>
                  <a:close/>
                  <a:moveTo>
                    <a:pt x="290325" y="658069"/>
                  </a:moveTo>
                  <a:lnTo>
                    <a:pt x="306915" y="666364"/>
                  </a:lnTo>
                  <a:lnTo>
                    <a:pt x="317975" y="674659"/>
                  </a:lnTo>
                  <a:lnTo>
                    <a:pt x="315210" y="685719"/>
                  </a:lnTo>
                  <a:lnTo>
                    <a:pt x="301385" y="674659"/>
                  </a:lnTo>
                  <a:lnTo>
                    <a:pt x="284795" y="671894"/>
                  </a:lnTo>
                  <a:lnTo>
                    <a:pt x="284795" y="660834"/>
                  </a:lnTo>
                  <a:close/>
                  <a:moveTo>
                    <a:pt x="207375" y="483874"/>
                  </a:moveTo>
                  <a:lnTo>
                    <a:pt x="215670" y="492169"/>
                  </a:lnTo>
                  <a:lnTo>
                    <a:pt x="226730" y="514289"/>
                  </a:lnTo>
                  <a:lnTo>
                    <a:pt x="232260" y="522584"/>
                  </a:lnTo>
                  <a:lnTo>
                    <a:pt x="251615" y="544704"/>
                  </a:lnTo>
                  <a:lnTo>
                    <a:pt x="254380" y="577884"/>
                  </a:lnTo>
                  <a:lnTo>
                    <a:pt x="262675" y="605534"/>
                  </a:lnTo>
                  <a:lnTo>
                    <a:pt x="276500" y="624889"/>
                  </a:lnTo>
                  <a:lnTo>
                    <a:pt x="276500" y="641479"/>
                  </a:lnTo>
                  <a:lnTo>
                    <a:pt x="265440" y="641479"/>
                  </a:lnTo>
                  <a:lnTo>
                    <a:pt x="262675" y="624889"/>
                  </a:lnTo>
                  <a:lnTo>
                    <a:pt x="254380" y="616594"/>
                  </a:lnTo>
                  <a:lnTo>
                    <a:pt x="251615" y="600004"/>
                  </a:lnTo>
                  <a:lnTo>
                    <a:pt x="237790" y="588944"/>
                  </a:lnTo>
                  <a:lnTo>
                    <a:pt x="237790" y="550234"/>
                  </a:lnTo>
                  <a:lnTo>
                    <a:pt x="210140" y="525349"/>
                  </a:lnTo>
                  <a:close/>
                  <a:moveTo>
                    <a:pt x="1235953" y="196315"/>
                  </a:moveTo>
                  <a:lnTo>
                    <a:pt x="1249778" y="215670"/>
                  </a:lnTo>
                  <a:lnTo>
                    <a:pt x="1249778" y="246085"/>
                  </a:lnTo>
                  <a:lnTo>
                    <a:pt x="1249778" y="290325"/>
                  </a:lnTo>
                  <a:lnTo>
                    <a:pt x="1247013" y="323505"/>
                  </a:lnTo>
                  <a:lnTo>
                    <a:pt x="1252543" y="362215"/>
                  </a:lnTo>
                  <a:lnTo>
                    <a:pt x="1260838" y="381570"/>
                  </a:lnTo>
                  <a:lnTo>
                    <a:pt x="1255308" y="428575"/>
                  </a:lnTo>
                  <a:lnTo>
                    <a:pt x="1247013" y="456225"/>
                  </a:lnTo>
                  <a:lnTo>
                    <a:pt x="1241483" y="497700"/>
                  </a:lnTo>
                  <a:lnTo>
                    <a:pt x="1233188" y="514290"/>
                  </a:lnTo>
                  <a:lnTo>
                    <a:pt x="1233188" y="497700"/>
                  </a:lnTo>
                  <a:lnTo>
                    <a:pt x="1238718" y="431340"/>
                  </a:lnTo>
                  <a:lnTo>
                    <a:pt x="1238718" y="398160"/>
                  </a:lnTo>
                  <a:lnTo>
                    <a:pt x="1235953" y="359450"/>
                  </a:lnTo>
                  <a:lnTo>
                    <a:pt x="1233188" y="334565"/>
                  </a:lnTo>
                  <a:lnTo>
                    <a:pt x="1238718" y="293090"/>
                  </a:lnTo>
                  <a:lnTo>
                    <a:pt x="1230423" y="243320"/>
                  </a:lnTo>
                  <a:lnTo>
                    <a:pt x="1233188" y="204610"/>
                  </a:lnTo>
                  <a:close/>
                  <a:moveTo>
                    <a:pt x="1341023" y="30415"/>
                  </a:moveTo>
                  <a:lnTo>
                    <a:pt x="1360378" y="35945"/>
                  </a:lnTo>
                  <a:lnTo>
                    <a:pt x="1360378" y="69125"/>
                  </a:lnTo>
                  <a:lnTo>
                    <a:pt x="1352083" y="88480"/>
                  </a:lnTo>
                  <a:lnTo>
                    <a:pt x="1329963" y="124425"/>
                  </a:lnTo>
                  <a:lnTo>
                    <a:pt x="1305078" y="154840"/>
                  </a:lnTo>
                  <a:lnTo>
                    <a:pt x="1277428" y="182490"/>
                  </a:lnTo>
                  <a:lnTo>
                    <a:pt x="1247013" y="193550"/>
                  </a:lnTo>
                  <a:lnTo>
                    <a:pt x="1233188" y="174195"/>
                  </a:lnTo>
                  <a:lnTo>
                    <a:pt x="1244248" y="157605"/>
                  </a:lnTo>
                  <a:lnTo>
                    <a:pt x="1247013" y="118895"/>
                  </a:lnTo>
                  <a:lnTo>
                    <a:pt x="1238718" y="82950"/>
                  </a:lnTo>
                  <a:lnTo>
                    <a:pt x="1230423" y="55300"/>
                  </a:lnTo>
                  <a:lnTo>
                    <a:pt x="1244248" y="38710"/>
                  </a:lnTo>
                  <a:lnTo>
                    <a:pt x="1285723" y="41475"/>
                  </a:lnTo>
                  <a:lnTo>
                    <a:pt x="1307843" y="35945"/>
                  </a:lnTo>
                  <a:close/>
                  <a:moveTo>
                    <a:pt x="107835" y="22120"/>
                  </a:moveTo>
                  <a:lnTo>
                    <a:pt x="121660" y="27650"/>
                  </a:lnTo>
                  <a:lnTo>
                    <a:pt x="113365" y="44240"/>
                  </a:lnTo>
                  <a:lnTo>
                    <a:pt x="107835" y="69125"/>
                  </a:lnTo>
                  <a:lnTo>
                    <a:pt x="105070" y="88480"/>
                  </a:lnTo>
                  <a:lnTo>
                    <a:pt x="116130" y="102305"/>
                  </a:lnTo>
                  <a:lnTo>
                    <a:pt x="113365" y="132720"/>
                  </a:lnTo>
                  <a:lnTo>
                    <a:pt x="121660" y="143780"/>
                  </a:lnTo>
                  <a:lnTo>
                    <a:pt x="127190" y="163135"/>
                  </a:lnTo>
                  <a:lnTo>
                    <a:pt x="121660" y="174195"/>
                  </a:lnTo>
                  <a:lnTo>
                    <a:pt x="110600" y="163135"/>
                  </a:lnTo>
                  <a:lnTo>
                    <a:pt x="116130" y="157605"/>
                  </a:lnTo>
                  <a:lnTo>
                    <a:pt x="110600" y="146545"/>
                  </a:lnTo>
                  <a:lnTo>
                    <a:pt x="107835" y="129955"/>
                  </a:lnTo>
                  <a:lnTo>
                    <a:pt x="107835" y="110600"/>
                  </a:lnTo>
                  <a:lnTo>
                    <a:pt x="105070" y="102305"/>
                  </a:lnTo>
                  <a:lnTo>
                    <a:pt x="96775" y="82950"/>
                  </a:lnTo>
                  <a:lnTo>
                    <a:pt x="99540" y="63595"/>
                  </a:lnTo>
                  <a:lnTo>
                    <a:pt x="105070" y="49770"/>
                  </a:lnTo>
                  <a:lnTo>
                    <a:pt x="96775" y="41475"/>
                  </a:lnTo>
                  <a:lnTo>
                    <a:pt x="85715" y="44240"/>
                  </a:lnTo>
                  <a:lnTo>
                    <a:pt x="82950" y="60830"/>
                  </a:lnTo>
                  <a:lnTo>
                    <a:pt x="85715" y="88480"/>
                  </a:lnTo>
                  <a:lnTo>
                    <a:pt x="94010" y="107835"/>
                  </a:lnTo>
                  <a:lnTo>
                    <a:pt x="91245" y="116130"/>
                  </a:lnTo>
                  <a:lnTo>
                    <a:pt x="82950" y="96775"/>
                  </a:lnTo>
                  <a:lnTo>
                    <a:pt x="60830" y="88480"/>
                  </a:lnTo>
                  <a:lnTo>
                    <a:pt x="49770" y="91245"/>
                  </a:lnTo>
                  <a:lnTo>
                    <a:pt x="63595" y="105070"/>
                  </a:lnTo>
                  <a:lnTo>
                    <a:pt x="49770" y="129955"/>
                  </a:lnTo>
                  <a:lnTo>
                    <a:pt x="60830" y="138250"/>
                  </a:lnTo>
                  <a:lnTo>
                    <a:pt x="60830" y="176960"/>
                  </a:lnTo>
                  <a:lnTo>
                    <a:pt x="55300" y="196315"/>
                  </a:lnTo>
                  <a:lnTo>
                    <a:pt x="91245" y="207375"/>
                  </a:lnTo>
                  <a:lnTo>
                    <a:pt x="94010" y="221200"/>
                  </a:lnTo>
                  <a:lnTo>
                    <a:pt x="110600" y="229495"/>
                  </a:lnTo>
                  <a:lnTo>
                    <a:pt x="116130" y="240555"/>
                  </a:lnTo>
                  <a:lnTo>
                    <a:pt x="138250" y="257145"/>
                  </a:lnTo>
                  <a:lnTo>
                    <a:pt x="146545" y="276500"/>
                  </a:lnTo>
                  <a:lnTo>
                    <a:pt x="157605" y="293090"/>
                  </a:lnTo>
                  <a:lnTo>
                    <a:pt x="188020" y="315210"/>
                  </a:lnTo>
                  <a:lnTo>
                    <a:pt x="188020" y="331800"/>
                  </a:lnTo>
                  <a:lnTo>
                    <a:pt x="196315" y="340095"/>
                  </a:lnTo>
                  <a:lnTo>
                    <a:pt x="196315" y="378804"/>
                  </a:lnTo>
                  <a:lnTo>
                    <a:pt x="196315" y="417514"/>
                  </a:lnTo>
                  <a:lnTo>
                    <a:pt x="201845" y="439634"/>
                  </a:lnTo>
                  <a:lnTo>
                    <a:pt x="199080" y="475579"/>
                  </a:lnTo>
                  <a:lnTo>
                    <a:pt x="176960" y="450694"/>
                  </a:lnTo>
                  <a:lnTo>
                    <a:pt x="163135" y="434104"/>
                  </a:lnTo>
                  <a:lnTo>
                    <a:pt x="138250" y="395394"/>
                  </a:lnTo>
                  <a:lnTo>
                    <a:pt x="124425" y="367744"/>
                  </a:lnTo>
                  <a:lnTo>
                    <a:pt x="99540" y="334565"/>
                  </a:lnTo>
                  <a:lnTo>
                    <a:pt x="88480" y="298620"/>
                  </a:lnTo>
                  <a:lnTo>
                    <a:pt x="69125" y="254380"/>
                  </a:lnTo>
                  <a:lnTo>
                    <a:pt x="47005" y="218435"/>
                  </a:lnTo>
                  <a:lnTo>
                    <a:pt x="22120" y="179725"/>
                  </a:lnTo>
                  <a:lnTo>
                    <a:pt x="5530" y="146545"/>
                  </a:lnTo>
                  <a:lnTo>
                    <a:pt x="0" y="121660"/>
                  </a:lnTo>
                  <a:lnTo>
                    <a:pt x="5530" y="105070"/>
                  </a:lnTo>
                  <a:lnTo>
                    <a:pt x="5530" y="118895"/>
                  </a:lnTo>
                  <a:lnTo>
                    <a:pt x="19355" y="116130"/>
                  </a:lnTo>
                  <a:lnTo>
                    <a:pt x="22120" y="99540"/>
                  </a:lnTo>
                  <a:lnTo>
                    <a:pt x="11060" y="99540"/>
                  </a:lnTo>
                  <a:lnTo>
                    <a:pt x="8295" y="74655"/>
                  </a:lnTo>
                  <a:lnTo>
                    <a:pt x="16590" y="60830"/>
                  </a:lnTo>
                  <a:lnTo>
                    <a:pt x="38710" y="58065"/>
                  </a:lnTo>
                  <a:lnTo>
                    <a:pt x="63595" y="47005"/>
                  </a:lnTo>
                  <a:lnTo>
                    <a:pt x="77420" y="33180"/>
                  </a:lnTo>
                  <a:lnTo>
                    <a:pt x="94010" y="30415"/>
                  </a:lnTo>
                  <a:close/>
                  <a:moveTo>
                    <a:pt x="1108764" y="0"/>
                  </a:moveTo>
                  <a:lnTo>
                    <a:pt x="1128119" y="11060"/>
                  </a:lnTo>
                  <a:lnTo>
                    <a:pt x="1141944" y="11060"/>
                  </a:lnTo>
                  <a:lnTo>
                    <a:pt x="1164064" y="22120"/>
                  </a:lnTo>
                  <a:lnTo>
                    <a:pt x="1180654" y="30415"/>
                  </a:lnTo>
                  <a:lnTo>
                    <a:pt x="1177889" y="35945"/>
                  </a:lnTo>
                  <a:lnTo>
                    <a:pt x="1164064" y="35945"/>
                  </a:lnTo>
                  <a:lnTo>
                    <a:pt x="1139179" y="22120"/>
                  </a:lnTo>
                  <a:lnTo>
                    <a:pt x="1119824" y="16590"/>
                  </a:lnTo>
                  <a:lnTo>
                    <a:pt x="1100469" y="13825"/>
                  </a:lnTo>
                  <a:lnTo>
                    <a:pt x="1086644" y="13825"/>
                  </a:lnTo>
                  <a:lnTo>
                    <a:pt x="1081114" y="1106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026" noProof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7" name="Freeform 426">
              <a:extLst>
                <a:ext uri="{FF2B5EF4-FFF2-40B4-BE49-F238E27FC236}">
                  <a16:creationId xmlns:a16="http://schemas.microsoft.com/office/drawing/2014/main" id="{86A1B8AB-A301-48FE-BBED-8885EFADE42B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 bwMode="gray">
            <a:xfrm>
              <a:off x="3468305" y="4840636"/>
              <a:ext cx="34309" cy="14407"/>
            </a:xfrm>
            <a:custGeom>
              <a:avLst/>
              <a:gdLst>
                <a:gd name="connsiteX0" fmla="*/ 212080 w 212080"/>
                <a:gd name="connsiteY0" fmla="*/ 74378 h 89058"/>
                <a:gd name="connsiteX1" fmla="*/ 212080 w 212080"/>
                <a:gd name="connsiteY1" fmla="*/ 81718 h 89058"/>
                <a:gd name="connsiteX2" fmla="*/ 212080 w 212080"/>
                <a:gd name="connsiteY2" fmla="*/ 87590 h 89058"/>
                <a:gd name="connsiteX3" fmla="*/ 210176 w 212080"/>
                <a:gd name="connsiteY3" fmla="*/ 89058 h 89058"/>
                <a:gd name="connsiteX4" fmla="*/ 208276 w 212080"/>
                <a:gd name="connsiteY4" fmla="*/ 84654 h 89058"/>
                <a:gd name="connsiteX5" fmla="*/ 208276 w 212080"/>
                <a:gd name="connsiteY5" fmla="*/ 78782 h 89058"/>
                <a:gd name="connsiteX6" fmla="*/ 208276 w 212080"/>
                <a:gd name="connsiteY6" fmla="*/ 75846 h 89058"/>
                <a:gd name="connsiteX7" fmla="*/ 154066 w 212080"/>
                <a:gd name="connsiteY7" fmla="*/ 64590 h 89058"/>
                <a:gd name="connsiteX8" fmla="*/ 154066 w 212080"/>
                <a:gd name="connsiteY8" fmla="*/ 72420 h 89058"/>
                <a:gd name="connsiteX9" fmla="*/ 154066 w 212080"/>
                <a:gd name="connsiteY9" fmla="*/ 77118 h 89058"/>
                <a:gd name="connsiteX10" fmla="*/ 147980 w 212080"/>
                <a:gd name="connsiteY10" fmla="*/ 80250 h 89058"/>
                <a:gd name="connsiteX11" fmla="*/ 146458 w 212080"/>
                <a:gd name="connsiteY11" fmla="*/ 73986 h 89058"/>
                <a:gd name="connsiteX12" fmla="*/ 147980 w 212080"/>
                <a:gd name="connsiteY12" fmla="*/ 70854 h 89058"/>
                <a:gd name="connsiteX13" fmla="*/ 152544 w 212080"/>
                <a:gd name="connsiteY13" fmla="*/ 70854 h 89058"/>
                <a:gd name="connsiteX14" fmla="*/ 7132 w 212080"/>
                <a:gd name="connsiteY14" fmla="*/ 40126 h 89058"/>
                <a:gd name="connsiteX15" fmla="*/ 8560 w 212080"/>
                <a:gd name="connsiteY15" fmla="*/ 40126 h 89058"/>
                <a:gd name="connsiteX16" fmla="*/ 5706 w 212080"/>
                <a:gd name="connsiteY16" fmla="*/ 44692 h 89058"/>
                <a:gd name="connsiteX17" fmla="*/ 5706 w 212080"/>
                <a:gd name="connsiteY17" fmla="*/ 50782 h 89058"/>
                <a:gd name="connsiteX18" fmla="*/ 2852 w 212080"/>
                <a:gd name="connsiteY18" fmla="*/ 53826 h 89058"/>
                <a:gd name="connsiteX19" fmla="*/ 0 w 212080"/>
                <a:gd name="connsiteY19" fmla="*/ 53826 h 89058"/>
                <a:gd name="connsiteX20" fmla="*/ 1426 w 212080"/>
                <a:gd name="connsiteY20" fmla="*/ 49258 h 89058"/>
                <a:gd name="connsiteX21" fmla="*/ 2852 w 212080"/>
                <a:gd name="connsiteY21" fmla="*/ 41648 h 89058"/>
                <a:gd name="connsiteX22" fmla="*/ 4280 w 212080"/>
                <a:gd name="connsiteY22" fmla="*/ 41648 h 89058"/>
                <a:gd name="connsiteX23" fmla="*/ 23688 w 212080"/>
                <a:gd name="connsiteY23" fmla="*/ 14680 h 89058"/>
                <a:gd name="connsiteX24" fmla="*/ 26802 w 212080"/>
                <a:gd name="connsiteY24" fmla="*/ 17692 h 89058"/>
                <a:gd name="connsiteX25" fmla="*/ 29914 w 212080"/>
                <a:gd name="connsiteY25" fmla="*/ 22208 h 89058"/>
                <a:gd name="connsiteX26" fmla="*/ 34582 w 212080"/>
                <a:gd name="connsiteY26" fmla="*/ 26724 h 89058"/>
                <a:gd name="connsiteX27" fmla="*/ 37694 w 212080"/>
                <a:gd name="connsiteY27" fmla="*/ 26724 h 89058"/>
                <a:gd name="connsiteX28" fmla="*/ 40808 w 212080"/>
                <a:gd name="connsiteY28" fmla="*/ 28230 h 89058"/>
                <a:gd name="connsiteX29" fmla="*/ 45476 w 212080"/>
                <a:gd name="connsiteY29" fmla="*/ 26724 h 89058"/>
                <a:gd name="connsiteX30" fmla="*/ 50144 w 212080"/>
                <a:gd name="connsiteY30" fmla="*/ 22208 h 89058"/>
                <a:gd name="connsiteX31" fmla="*/ 51700 w 212080"/>
                <a:gd name="connsiteY31" fmla="*/ 19196 h 89058"/>
                <a:gd name="connsiteX32" fmla="*/ 53256 w 212080"/>
                <a:gd name="connsiteY32" fmla="*/ 22208 h 89058"/>
                <a:gd name="connsiteX33" fmla="*/ 51700 w 212080"/>
                <a:gd name="connsiteY33" fmla="*/ 28230 h 89058"/>
                <a:gd name="connsiteX34" fmla="*/ 48588 w 212080"/>
                <a:gd name="connsiteY34" fmla="*/ 31242 h 89058"/>
                <a:gd name="connsiteX35" fmla="*/ 45476 w 212080"/>
                <a:gd name="connsiteY35" fmla="*/ 31242 h 89058"/>
                <a:gd name="connsiteX36" fmla="*/ 40808 w 212080"/>
                <a:gd name="connsiteY36" fmla="*/ 31242 h 89058"/>
                <a:gd name="connsiteX37" fmla="*/ 37694 w 212080"/>
                <a:gd name="connsiteY37" fmla="*/ 32748 h 89058"/>
                <a:gd name="connsiteX38" fmla="*/ 36138 w 212080"/>
                <a:gd name="connsiteY38" fmla="*/ 29736 h 89058"/>
                <a:gd name="connsiteX39" fmla="*/ 33026 w 212080"/>
                <a:gd name="connsiteY39" fmla="*/ 34254 h 89058"/>
                <a:gd name="connsiteX40" fmla="*/ 29914 w 212080"/>
                <a:gd name="connsiteY40" fmla="*/ 34254 h 89058"/>
                <a:gd name="connsiteX41" fmla="*/ 28358 w 212080"/>
                <a:gd name="connsiteY41" fmla="*/ 32748 h 89058"/>
                <a:gd name="connsiteX42" fmla="*/ 23688 w 212080"/>
                <a:gd name="connsiteY42" fmla="*/ 31242 h 89058"/>
                <a:gd name="connsiteX43" fmla="*/ 19020 w 212080"/>
                <a:gd name="connsiteY43" fmla="*/ 32748 h 89058"/>
                <a:gd name="connsiteX44" fmla="*/ 22132 w 212080"/>
                <a:gd name="connsiteY44" fmla="*/ 26724 h 89058"/>
                <a:gd name="connsiteX45" fmla="*/ 20576 w 212080"/>
                <a:gd name="connsiteY45" fmla="*/ 23714 h 89058"/>
                <a:gd name="connsiteX46" fmla="*/ 22132 w 212080"/>
                <a:gd name="connsiteY46" fmla="*/ 19196 h 89058"/>
                <a:gd name="connsiteX47" fmla="*/ 71516 w 212080"/>
                <a:gd name="connsiteY47" fmla="*/ 0 h 89058"/>
                <a:gd name="connsiteX48" fmla="*/ 79124 w 212080"/>
                <a:gd name="connsiteY48" fmla="*/ 0 h 89058"/>
                <a:gd name="connsiteX49" fmla="*/ 85212 w 212080"/>
                <a:gd name="connsiteY49" fmla="*/ 0 h 89058"/>
                <a:gd name="connsiteX50" fmla="*/ 86732 w 212080"/>
                <a:gd name="connsiteY50" fmla="*/ 0 h 89058"/>
                <a:gd name="connsiteX51" fmla="*/ 92820 w 212080"/>
                <a:gd name="connsiteY51" fmla="*/ 4566 h 89058"/>
                <a:gd name="connsiteX52" fmla="*/ 94342 w 212080"/>
                <a:gd name="connsiteY52" fmla="*/ 9134 h 89058"/>
                <a:gd name="connsiteX53" fmla="*/ 95862 w 212080"/>
                <a:gd name="connsiteY53" fmla="*/ 12178 h 89058"/>
                <a:gd name="connsiteX54" fmla="*/ 98906 w 212080"/>
                <a:gd name="connsiteY54" fmla="*/ 18268 h 89058"/>
                <a:gd name="connsiteX55" fmla="*/ 95862 w 212080"/>
                <a:gd name="connsiteY55" fmla="*/ 19790 h 89058"/>
                <a:gd name="connsiteX56" fmla="*/ 94342 w 212080"/>
                <a:gd name="connsiteY56" fmla="*/ 19790 h 89058"/>
                <a:gd name="connsiteX57" fmla="*/ 92304 w 212080"/>
                <a:gd name="connsiteY57" fmla="*/ 23866 h 89058"/>
                <a:gd name="connsiteX58" fmla="*/ 98318 w 212080"/>
                <a:gd name="connsiteY58" fmla="*/ 22346 h 89058"/>
                <a:gd name="connsiteX59" fmla="*/ 99836 w 212080"/>
                <a:gd name="connsiteY59" fmla="*/ 14680 h 89058"/>
                <a:gd name="connsiteX60" fmla="*/ 101354 w 212080"/>
                <a:gd name="connsiteY60" fmla="*/ 16214 h 89058"/>
                <a:gd name="connsiteX61" fmla="*/ 105906 w 212080"/>
                <a:gd name="connsiteY61" fmla="*/ 19280 h 89058"/>
                <a:gd name="connsiteX62" fmla="*/ 111974 w 212080"/>
                <a:gd name="connsiteY62" fmla="*/ 19280 h 89058"/>
                <a:gd name="connsiteX63" fmla="*/ 116526 w 212080"/>
                <a:gd name="connsiteY63" fmla="*/ 20812 h 89058"/>
                <a:gd name="connsiteX64" fmla="*/ 118044 w 212080"/>
                <a:gd name="connsiteY64" fmla="*/ 20812 h 89058"/>
                <a:gd name="connsiteX65" fmla="*/ 125632 w 212080"/>
                <a:gd name="connsiteY65" fmla="*/ 22346 h 89058"/>
                <a:gd name="connsiteX66" fmla="*/ 127908 w 212080"/>
                <a:gd name="connsiteY66" fmla="*/ 22346 h 89058"/>
                <a:gd name="connsiteX67" fmla="*/ 129424 w 212080"/>
                <a:gd name="connsiteY67" fmla="*/ 26946 h 89058"/>
                <a:gd name="connsiteX68" fmla="*/ 135494 w 212080"/>
                <a:gd name="connsiteY68" fmla="*/ 31546 h 89058"/>
                <a:gd name="connsiteX69" fmla="*/ 140046 w 212080"/>
                <a:gd name="connsiteY69" fmla="*/ 33078 h 89058"/>
                <a:gd name="connsiteX70" fmla="*/ 144598 w 212080"/>
                <a:gd name="connsiteY70" fmla="*/ 36144 h 89058"/>
                <a:gd name="connsiteX71" fmla="*/ 149150 w 212080"/>
                <a:gd name="connsiteY71" fmla="*/ 39212 h 89058"/>
                <a:gd name="connsiteX72" fmla="*/ 155220 w 212080"/>
                <a:gd name="connsiteY72" fmla="*/ 39212 h 89058"/>
                <a:gd name="connsiteX73" fmla="*/ 159772 w 212080"/>
                <a:gd name="connsiteY73" fmla="*/ 42278 h 89058"/>
                <a:gd name="connsiteX74" fmla="*/ 158254 w 212080"/>
                <a:gd name="connsiteY74" fmla="*/ 45344 h 89058"/>
                <a:gd name="connsiteX75" fmla="*/ 156738 w 212080"/>
                <a:gd name="connsiteY75" fmla="*/ 51476 h 89058"/>
                <a:gd name="connsiteX76" fmla="*/ 153702 w 212080"/>
                <a:gd name="connsiteY76" fmla="*/ 53010 h 89058"/>
                <a:gd name="connsiteX77" fmla="*/ 153702 w 212080"/>
                <a:gd name="connsiteY77" fmla="*/ 56076 h 89058"/>
                <a:gd name="connsiteX78" fmla="*/ 150668 w 212080"/>
                <a:gd name="connsiteY78" fmla="*/ 60676 h 89058"/>
                <a:gd name="connsiteX79" fmla="*/ 146116 w 212080"/>
                <a:gd name="connsiteY79" fmla="*/ 60676 h 89058"/>
                <a:gd name="connsiteX80" fmla="*/ 141564 w 212080"/>
                <a:gd name="connsiteY80" fmla="*/ 59142 h 89058"/>
                <a:gd name="connsiteX81" fmla="*/ 143080 w 212080"/>
                <a:gd name="connsiteY81" fmla="*/ 54544 h 89058"/>
                <a:gd name="connsiteX82" fmla="*/ 141564 w 212080"/>
                <a:gd name="connsiteY82" fmla="*/ 48410 h 89058"/>
                <a:gd name="connsiteX83" fmla="*/ 138528 w 212080"/>
                <a:gd name="connsiteY83" fmla="*/ 48410 h 89058"/>
                <a:gd name="connsiteX84" fmla="*/ 137012 w 212080"/>
                <a:gd name="connsiteY84" fmla="*/ 46878 h 89058"/>
                <a:gd name="connsiteX85" fmla="*/ 133976 w 212080"/>
                <a:gd name="connsiteY85" fmla="*/ 45344 h 89058"/>
                <a:gd name="connsiteX86" fmla="*/ 130942 w 212080"/>
                <a:gd name="connsiteY86" fmla="*/ 48410 h 89058"/>
                <a:gd name="connsiteX87" fmla="*/ 127908 w 212080"/>
                <a:gd name="connsiteY87" fmla="*/ 45344 h 89058"/>
                <a:gd name="connsiteX88" fmla="*/ 130942 w 212080"/>
                <a:gd name="connsiteY88" fmla="*/ 42278 h 89058"/>
                <a:gd name="connsiteX89" fmla="*/ 133976 w 212080"/>
                <a:gd name="connsiteY89" fmla="*/ 40744 h 89058"/>
                <a:gd name="connsiteX90" fmla="*/ 133976 w 212080"/>
                <a:gd name="connsiteY90" fmla="*/ 36144 h 89058"/>
                <a:gd name="connsiteX91" fmla="*/ 132460 w 212080"/>
                <a:gd name="connsiteY91" fmla="*/ 33078 h 89058"/>
                <a:gd name="connsiteX92" fmla="*/ 130942 w 212080"/>
                <a:gd name="connsiteY92" fmla="*/ 31546 h 89058"/>
                <a:gd name="connsiteX93" fmla="*/ 129424 w 212080"/>
                <a:gd name="connsiteY93" fmla="*/ 30012 h 89058"/>
                <a:gd name="connsiteX94" fmla="*/ 127148 w 212080"/>
                <a:gd name="connsiteY94" fmla="*/ 31546 h 89058"/>
                <a:gd name="connsiteX95" fmla="*/ 132460 w 212080"/>
                <a:gd name="connsiteY95" fmla="*/ 36144 h 89058"/>
                <a:gd name="connsiteX96" fmla="*/ 130942 w 212080"/>
                <a:gd name="connsiteY96" fmla="*/ 40744 h 89058"/>
                <a:gd name="connsiteX97" fmla="*/ 125632 w 212080"/>
                <a:gd name="connsiteY97" fmla="*/ 40744 h 89058"/>
                <a:gd name="connsiteX98" fmla="*/ 119562 w 212080"/>
                <a:gd name="connsiteY98" fmla="*/ 42278 h 89058"/>
                <a:gd name="connsiteX99" fmla="*/ 118044 w 212080"/>
                <a:gd name="connsiteY99" fmla="*/ 39212 h 89058"/>
                <a:gd name="connsiteX100" fmla="*/ 113492 w 212080"/>
                <a:gd name="connsiteY100" fmla="*/ 37678 h 89058"/>
                <a:gd name="connsiteX101" fmla="*/ 107422 w 212080"/>
                <a:gd name="connsiteY101" fmla="*/ 37678 h 89058"/>
                <a:gd name="connsiteX102" fmla="*/ 102870 w 212080"/>
                <a:gd name="connsiteY102" fmla="*/ 34612 h 89058"/>
                <a:gd name="connsiteX103" fmla="*/ 98318 w 212080"/>
                <a:gd name="connsiteY103" fmla="*/ 37678 h 89058"/>
                <a:gd name="connsiteX104" fmla="*/ 95284 w 212080"/>
                <a:gd name="connsiteY104" fmla="*/ 33078 h 89058"/>
                <a:gd name="connsiteX105" fmla="*/ 92248 w 212080"/>
                <a:gd name="connsiteY105" fmla="*/ 28478 h 89058"/>
                <a:gd name="connsiteX106" fmla="*/ 92248 w 212080"/>
                <a:gd name="connsiteY106" fmla="*/ 23980 h 89058"/>
                <a:gd name="connsiteX107" fmla="*/ 91298 w 212080"/>
                <a:gd name="connsiteY107" fmla="*/ 25880 h 89058"/>
                <a:gd name="connsiteX108" fmla="*/ 88254 w 212080"/>
                <a:gd name="connsiteY108" fmla="*/ 27402 h 89058"/>
                <a:gd name="connsiteX109" fmla="*/ 80646 w 212080"/>
                <a:gd name="connsiteY109" fmla="*/ 22834 h 89058"/>
                <a:gd name="connsiteX110" fmla="*/ 76082 w 212080"/>
                <a:gd name="connsiteY110" fmla="*/ 19790 h 89058"/>
                <a:gd name="connsiteX111" fmla="*/ 68474 w 212080"/>
                <a:gd name="connsiteY111" fmla="*/ 16746 h 89058"/>
                <a:gd name="connsiteX112" fmla="*/ 69994 w 212080"/>
                <a:gd name="connsiteY112" fmla="*/ 13702 h 89058"/>
                <a:gd name="connsiteX113" fmla="*/ 68474 w 212080"/>
                <a:gd name="connsiteY113" fmla="*/ 7612 h 89058"/>
                <a:gd name="connsiteX114" fmla="*/ 65430 w 212080"/>
                <a:gd name="connsiteY114" fmla="*/ 10656 h 89058"/>
                <a:gd name="connsiteX115" fmla="*/ 60864 w 212080"/>
                <a:gd name="connsiteY115" fmla="*/ 13702 h 89058"/>
                <a:gd name="connsiteX116" fmla="*/ 65430 w 212080"/>
                <a:gd name="connsiteY116" fmla="*/ 4566 h 89058"/>
                <a:gd name="connsiteX117" fmla="*/ 68474 w 212080"/>
                <a:gd name="connsiteY117" fmla="*/ 3044 h 89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212080" h="89058">
                  <a:moveTo>
                    <a:pt x="212080" y="74378"/>
                  </a:moveTo>
                  <a:lnTo>
                    <a:pt x="212080" y="81718"/>
                  </a:lnTo>
                  <a:lnTo>
                    <a:pt x="212080" y="87590"/>
                  </a:lnTo>
                  <a:lnTo>
                    <a:pt x="210176" y="89058"/>
                  </a:lnTo>
                  <a:lnTo>
                    <a:pt x="208276" y="84654"/>
                  </a:lnTo>
                  <a:lnTo>
                    <a:pt x="208276" y="78782"/>
                  </a:lnTo>
                  <a:lnTo>
                    <a:pt x="208276" y="75846"/>
                  </a:lnTo>
                  <a:close/>
                  <a:moveTo>
                    <a:pt x="154066" y="64590"/>
                  </a:moveTo>
                  <a:lnTo>
                    <a:pt x="154066" y="72420"/>
                  </a:lnTo>
                  <a:lnTo>
                    <a:pt x="154066" y="77118"/>
                  </a:lnTo>
                  <a:lnTo>
                    <a:pt x="147980" y="80250"/>
                  </a:lnTo>
                  <a:lnTo>
                    <a:pt x="146458" y="73986"/>
                  </a:lnTo>
                  <a:lnTo>
                    <a:pt x="147980" y="70854"/>
                  </a:lnTo>
                  <a:lnTo>
                    <a:pt x="152544" y="70854"/>
                  </a:lnTo>
                  <a:close/>
                  <a:moveTo>
                    <a:pt x="7132" y="40126"/>
                  </a:moveTo>
                  <a:lnTo>
                    <a:pt x="8560" y="40126"/>
                  </a:lnTo>
                  <a:lnTo>
                    <a:pt x="5706" y="44692"/>
                  </a:lnTo>
                  <a:lnTo>
                    <a:pt x="5706" y="50782"/>
                  </a:lnTo>
                  <a:lnTo>
                    <a:pt x="2852" y="53826"/>
                  </a:lnTo>
                  <a:lnTo>
                    <a:pt x="0" y="53826"/>
                  </a:lnTo>
                  <a:lnTo>
                    <a:pt x="1426" y="49258"/>
                  </a:lnTo>
                  <a:lnTo>
                    <a:pt x="2852" y="41648"/>
                  </a:lnTo>
                  <a:lnTo>
                    <a:pt x="4280" y="41648"/>
                  </a:lnTo>
                  <a:close/>
                  <a:moveTo>
                    <a:pt x="23688" y="14680"/>
                  </a:moveTo>
                  <a:lnTo>
                    <a:pt x="26802" y="17692"/>
                  </a:lnTo>
                  <a:lnTo>
                    <a:pt x="29914" y="22208"/>
                  </a:lnTo>
                  <a:lnTo>
                    <a:pt x="34582" y="26724"/>
                  </a:lnTo>
                  <a:lnTo>
                    <a:pt x="37694" y="26724"/>
                  </a:lnTo>
                  <a:lnTo>
                    <a:pt x="40808" y="28230"/>
                  </a:lnTo>
                  <a:lnTo>
                    <a:pt x="45476" y="26724"/>
                  </a:lnTo>
                  <a:lnTo>
                    <a:pt x="50144" y="22208"/>
                  </a:lnTo>
                  <a:lnTo>
                    <a:pt x="51700" y="19196"/>
                  </a:lnTo>
                  <a:lnTo>
                    <a:pt x="53256" y="22208"/>
                  </a:lnTo>
                  <a:lnTo>
                    <a:pt x="51700" y="28230"/>
                  </a:lnTo>
                  <a:lnTo>
                    <a:pt x="48588" y="31242"/>
                  </a:lnTo>
                  <a:lnTo>
                    <a:pt x="45476" y="31242"/>
                  </a:lnTo>
                  <a:lnTo>
                    <a:pt x="40808" y="31242"/>
                  </a:lnTo>
                  <a:lnTo>
                    <a:pt x="37694" y="32748"/>
                  </a:lnTo>
                  <a:lnTo>
                    <a:pt x="36138" y="29736"/>
                  </a:lnTo>
                  <a:lnTo>
                    <a:pt x="33026" y="34254"/>
                  </a:lnTo>
                  <a:lnTo>
                    <a:pt x="29914" y="34254"/>
                  </a:lnTo>
                  <a:lnTo>
                    <a:pt x="28358" y="32748"/>
                  </a:lnTo>
                  <a:lnTo>
                    <a:pt x="23688" y="31242"/>
                  </a:lnTo>
                  <a:lnTo>
                    <a:pt x="19020" y="32748"/>
                  </a:lnTo>
                  <a:lnTo>
                    <a:pt x="22132" y="26724"/>
                  </a:lnTo>
                  <a:lnTo>
                    <a:pt x="20576" y="23714"/>
                  </a:lnTo>
                  <a:lnTo>
                    <a:pt x="22132" y="19196"/>
                  </a:lnTo>
                  <a:close/>
                  <a:moveTo>
                    <a:pt x="71516" y="0"/>
                  </a:moveTo>
                  <a:lnTo>
                    <a:pt x="79124" y="0"/>
                  </a:lnTo>
                  <a:lnTo>
                    <a:pt x="85212" y="0"/>
                  </a:lnTo>
                  <a:lnTo>
                    <a:pt x="86732" y="0"/>
                  </a:lnTo>
                  <a:lnTo>
                    <a:pt x="92820" y="4566"/>
                  </a:lnTo>
                  <a:lnTo>
                    <a:pt x="94342" y="9134"/>
                  </a:lnTo>
                  <a:lnTo>
                    <a:pt x="95862" y="12178"/>
                  </a:lnTo>
                  <a:lnTo>
                    <a:pt x="98906" y="18268"/>
                  </a:lnTo>
                  <a:lnTo>
                    <a:pt x="95862" y="19790"/>
                  </a:lnTo>
                  <a:lnTo>
                    <a:pt x="94342" y="19790"/>
                  </a:lnTo>
                  <a:lnTo>
                    <a:pt x="92304" y="23866"/>
                  </a:lnTo>
                  <a:lnTo>
                    <a:pt x="98318" y="22346"/>
                  </a:lnTo>
                  <a:lnTo>
                    <a:pt x="99836" y="14680"/>
                  </a:lnTo>
                  <a:lnTo>
                    <a:pt x="101354" y="16214"/>
                  </a:lnTo>
                  <a:lnTo>
                    <a:pt x="105906" y="19280"/>
                  </a:lnTo>
                  <a:lnTo>
                    <a:pt x="111974" y="19280"/>
                  </a:lnTo>
                  <a:lnTo>
                    <a:pt x="116526" y="20812"/>
                  </a:lnTo>
                  <a:lnTo>
                    <a:pt x="118044" y="20812"/>
                  </a:lnTo>
                  <a:lnTo>
                    <a:pt x="125632" y="22346"/>
                  </a:lnTo>
                  <a:lnTo>
                    <a:pt x="127908" y="22346"/>
                  </a:lnTo>
                  <a:lnTo>
                    <a:pt x="129424" y="26946"/>
                  </a:lnTo>
                  <a:lnTo>
                    <a:pt x="135494" y="31546"/>
                  </a:lnTo>
                  <a:lnTo>
                    <a:pt x="140046" y="33078"/>
                  </a:lnTo>
                  <a:lnTo>
                    <a:pt x="144598" y="36144"/>
                  </a:lnTo>
                  <a:lnTo>
                    <a:pt x="149150" y="39212"/>
                  </a:lnTo>
                  <a:lnTo>
                    <a:pt x="155220" y="39212"/>
                  </a:lnTo>
                  <a:lnTo>
                    <a:pt x="159772" y="42278"/>
                  </a:lnTo>
                  <a:lnTo>
                    <a:pt x="158254" y="45344"/>
                  </a:lnTo>
                  <a:lnTo>
                    <a:pt x="156738" y="51476"/>
                  </a:lnTo>
                  <a:lnTo>
                    <a:pt x="153702" y="53010"/>
                  </a:lnTo>
                  <a:lnTo>
                    <a:pt x="153702" y="56076"/>
                  </a:lnTo>
                  <a:lnTo>
                    <a:pt x="150668" y="60676"/>
                  </a:lnTo>
                  <a:lnTo>
                    <a:pt x="146116" y="60676"/>
                  </a:lnTo>
                  <a:lnTo>
                    <a:pt x="141564" y="59142"/>
                  </a:lnTo>
                  <a:lnTo>
                    <a:pt x="143080" y="54544"/>
                  </a:lnTo>
                  <a:lnTo>
                    <a:pt x="141564" y="48410"/>
                  </a:lnTo>
                  <a:lnTo>
                    <a:pt x="138528" y="48410"/>
                  </a:lnTo>
                  <a:lnTo>
                    <a:pt x="137012" y="46878"/>
                  </a:lnTo>
                  <a:lnTo>
                    <a:pt x="133976" y="45344"/>
                  </a:lnTo>
                  <a:lnTo>
                    <a:pt x="130942" y="48410"/>
                  </a:lnTo>
                  <a:lnTo>
                    <a:pt x="127908" y="45344"/>
                  </a:lnTo>
                  <a:lnTo>
                    <a:pt x="130942" y="42278"/>
                  </a:lnTo>
                  <a:lnTo>
                    <a:pt x="133976" y="40744"/>
                  </a:lnTo>
                  <a:lnTo>
                    <a:pt x="133976" y="36144"/>
                  </a:lnTo>
                  <a:lnTo>
                    <a:pt x="132460" y="33078"/>
                  </a:lnTo>
                  <a:lnTo>
                    <a:pt x="130942" y="31546"/>
                  </a:lnTo>
                  <a:lnTo>
                    <a:pt x="129424" y="30012"/>
                  </a:lnTo>
                  <a:lnTo>
                    <a:pt x="127148" y="31546"/>
                  </a:lnTo>
                  <a:lnTo>
                    <a:pt x="132460" y="36144"/>
                  </a:lnTo>
                  <a:lnTo>
                    <a:pt x="130942" y="40744"/>
                  </a:lnTo>
                  <a:lnTo>
                    <a:pt x="125632" y="40744"/>
                  </a:lnTo>
                  <a:lnTo>
                    <a:pt x="119562" y="42278"/>
                  </a:lnTo>
                  <a:lnTo>
                    <a:pt x="118044" y="39212"/>
                  </a:lnTo>
                  <a:lnTo>
                    <a:pt x="113492" y="37678"/>
                  </a:lnTo>
                  <a:lnTo>
                    <a:pt x="107422" y="37678"/>
                  </a:lnTo>
                  <a:lnTo>
                    <a:pt x="102870" y="34612"/>
                  </a:lnTo>
                  <a:lnTo>
                    <a:pt x="98318" y="37678"/>
                  </a:lnTo>
                  <a:lnTo>
                    <a:pt x="95284" y="33078"/>
                  </a:lnTo>
                  <a:lnTo>
                    <a:pt x="92248" y="28478"/>
                  </a:lnTo>
                  <a:lnTo>
                    <a:pt x="92248" y="23980"/>
                  </a:lnTo>
                  <a:lnTo>
                    <a:pt x="91298" y="25880"/>
                  </a:lnTo>
                  <a:lnTo>
                    <a:pt x="88254" y="27402"/>
                  </a:lnTo>
                  <a:lnTo>
                    <a:pt x="80646" y="22834"/>
                  </a:lnTo>
                  <a:lnTo>
                    <a:pt x="76082" y="19790"/>
                  </a:lnTo>
                  <a:lnTo>
                    <a:pt x="68474" y="16746"/>
                  </a:lnTo>
                  <a:lnTo>
                    <a:pt x="69994" y="13702"/>
                  </a:lnTo>
                  <a:lnTo>
                    <a:pt x="68474" y="7612"/>
                  </a:lnTo>
                  <a:lnTo>
                    <a:pt x="65430" y="10656"/>
                  </a:lnTo>
                  <a:lnTo>
                    <a:pt x="60864" y="13702"/>
                  </a:lnTo>
                  <a:lnTo>
                    <a:pt x="65430" y="4566"/>
                  </a:lnTo>
                  <a:lnTo>
                    <a:pt x="68474" y="304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026" noProof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78" name="Freeform 427">
              <a:extLst>
                <a:ext uri="{FF2B5EF4-FFF2-40B4-BE49-F238E27FC236}">
                  <a16:creationId xmlns:a16="http://schemas.microsoft.com/office/drawing/2014/main" id="{36E586FB-8DFC-4B71-902B-BD72A8AA91B8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gray">
            <a:xfrm>
              <a:off x="3303067" y="4702582"/>
              <a:ext cx="159083" cy="166552"/>
            </a:xfrm>
            <a:custGeom>
              <a:avLst/>
              <a:gdLst>
                <a:gd name="connsiteX0" fmla="*/ 930094 w 983364"/>
                <a:gd name="connsiteY0" fmla="*/ 959068 h 1029528"/>
                <a:gd name="connsiteX1" fmla="*/ 937716 w 983364"/>
                <a:gd name="connsiteY1" fmla="*/ 960598 h 1029528"/>
                <a:gd name="connsiteX2" fmla="*/ 937716 w 983364"/>
                <a:gd name="connsiteY2" fmla="*/ 974384 h 1029528"/>
                <a:gd name="connsiteX3" fmla="*/ 937716 w 983364"/>
                <a:gd name="connsiteY3" fmla="*/ 985108 h 1029528"/>
                <a:gd name="connsiteX4" fmla="*/ 930094 w 983364"/>
                <a:gd name="connsiteY4" fmla="*/ 991234 h 1029528"/>
                <a:gd name="connsiteX5" fmla="*/ 927046 w 983364"/>
                <a:gd name="connsiteY5" fmla="*/ 997362 h 1029528"/>
                <a:gd name="connsiteX6" fmla="*/ 920948 w 983364"/>
                <a:gd name="connsiteY6" fmla="*/ 1005020 h 1029528"/>
                <a:gd name="connsiteX7" fmla="*/ 919424 w 983364"/>
                <a:gd name="connsiteY7" fmla="*/ 1011148 h 1029528"/>
                <a:gd name="connsiteX8" fmla="*/ 913328 w 983364"/>
                <a:gd name="connsiteY8" fmla="*/ 1020338 h 1029528"/>
                <a:gd name="connsiteX9" fmla="*/ 898084 w 983364"/>
                <a:gd name="connsiteY9" fmla="*/ 1021870 h 1029528"/>
                <a:gd name="connsiteX10" fmla="*/ 885890 w 983364"/>
                <a:gd name="connsiteY10" fmla="*/ 1021870 h 1029528"/>
                <a:gd name="connsiteX11" fmla="*/ 873696 w 983364"/>
                <a:gd name="connsiteY11" fmla="*/ 1026466 h 1029528"/>
                <a:gd name="connsiteX12" fmla="*/ 859978 w 983364"/>
                <a:gd name="connsiteY12" fmla="*/ 1026466 h 1029528"/>
                <a:gd name="connsiteX13" fmla="*/ 852358 w 983364"/>
                <a:gd name="connsiteY13" fmla="*/ 1023402 h 1029528"/>
                <a:gd name="connsiteX14" fmla="*/ 840164 w 983364"/>
                <a:gd name="connsiteY14" fmla="*/ 1023402 h 1029528"/>
                <a:gd name="connsiteX15" fmla="*/ 840164 w 983364"/>
                <a:gd name="connsiteY15" fmla="*/ 1029528 h 1029528"/>
                <a:gd name="connsiteX16" fmla="*/ 832542 w 983364"/>
                <a:gd name="connsiteY16" fmla="*/ 1029528 h 1029528"/>
                <a:gd name="connsiteX17" fmla="*/ 831018 w 983364"/>
                <a:gd name="connsiteY17" fmla="*/ 1020338 h 1029528"/>
                <a:gd name="connsiteX18" fmla="*/ 826444 w 983364"/>
                <a:gd name="connsiteY18" fmla="*/ 1012680 h 1029528"/>
                <a:gd name="connsiteX19" fmla="*/ 835590 w 983364"/>
                <a:gd name="connsiteY19" fmla="*/ 1009616 h 1029528"/>
                <a:gd name="connsiteX20" fmla="*/ 835590 w 983364"/>
                <a:gd name="connsiteY20" fmla="*/ 1001956 h 1029528"/>
                <a:gd name="connsiteX21" fmla="*/ 834066 w 983364"/>
                <a:gd name="connsiteY21" fmla="*/ 997362 h 1029528"/>
                <a:gd name="connsiteX22" fmla="*/ 841688 w 983364"/>
                <a:gd name="connsiteY22" fmla="*/ 995830 h 1029528"/>
                <a:gd name="connsiteX23" fmla="*/ 850832 w 983364"/>
                <a:gd name="connsiteY23" fmla="*/ 992766 h 1029528"/>
                <a:gd name="connsiteX24" fmla="*/ 855406 w 983364"/>
                <a:gd name="connsiteY24" fmla="*/ 986640 h 1029528"/>
                <a:gd name="connsiteX25" fmla="*/ 863026 w 983364"/>
                <a:gd name="connsiteY25" fmla="*/ 985108 h 1029528"/>
                <a:gd name="connsiteX26" fmla="*/ 872172 w 983364"/>
                <a:gd name="connsiteY26" fmla="*/ 983576 h 1029528"/>
                <a:gd name="connsiteX27" fmla="*/ 876746 w 983364"/>
                <a:gd name="connsiteY27" fmla="*/ 975916 h 1029528"/>
                <a:gd name="connsiteX28" fmla="*/ 879794 w 983364"/>
                <a:gd name="connsiteY28" fmla="*/ 983576 h 1029528"/>
                <a:gd name="connsiteX29" fmla="*/ 888940 w 983364"/>
                <a:gd name="connsiteY29" fmla="*/ 989702 h 1029528"/>
                <a:gd name="connsiteX30" fmla="*/ 896560 w 983364"/>
                <a:gd name="connsiteY30" fmla="*/ 991234 h 1029528"/>
                <a:gd name="connsiteX31" fmla="*/ 905706 w 983364"/>
                <a:gd name="connsiteY31" fmla="*/ 986640 h 1029528"/>
                <a:gd name="connsiteX32" fmla="*/ 916376 w 983364"/>
                <a:gd name="connsiteY32" fmla="*/ 983576 h 1029528"/>
                <a:gd name="connsiteX33" fmla="*/ 920948 w 983364"/>
                <a:gd name="connsiteY33" fmla="*/ 974384 h 1029528"/>
                <a:gd name="connsiteX34" fmla="*/ 928570 w 983364"/>
                <a:gd name="connsiteY34" fmla="*/ 965194 h 1029528"/>
                <a:gd name="connsiteX35" fmla="*/ 934386 w 983364"/>
                <a:gd name="connsiteY35" fmla="*/ 922858 h 1029528"/>
                <a:gd name="connsiteX36" fmla="*/ 940568 w 983364"/>
                <a:gd name="connsiteY36" fmla="*/ 922858 h 1029528"/>
                <a:gd name="connsiteX37" fmla="*/ 948296 w 983364"/>
                <a:gd name="connsiteY37" fmla="*/ 927360 h 1029528"/>
                <a:gd name="connsiteX38" fmla="*/ 952932 w 983364"/>
                <a:gd name="connsiteY38" fmla="*/ 930360 h 1029528"/>
                <a:gd name="connsiteX39" fmla="*/ 948296 w 983364"/>
                <a:gd name="connsiteY39" fmla="*/ 933362 h 1029528"/>
                <a:gd name="connsiteX40" fmla="*/ 937478 w 983364"/>
                <a:gd name="connsiteY40" fmla="*/ 937864 h 1029528"/>
                <a:gd name="connsiteX41" fmla="*/ 931296 w 983364"/>
                <a:gd name="connsiteY41" fmla="*/ 945366 h 1029528"/>
                <a:gd name="connsiteX42" fmla="*/ 928204 w 983364"/>
                <a:gd name="connsiteY42" fmla="*/ 936362 h 1029528"/>
                <a:gd name="connsiteX43" fmla="*/ 928204 w 983364"/>
                <a:gd name="connsiteY43" fmla="*/ 927360 h 1029528"/>
                <a:gd name="connsiteX44" fmla="*/ 918108 w 983364"/>
                <a:gd name="connsiteY44" fmla="*/ 768232 h 1029528"/>
                <a:gd name="connsiteX45" fmla="*/ 921144 w 983364"/>
                <a:gd name="connsiteY45" fmla="*/ 769750 h 1029528"/>
                <a:gd name="connsiteX46" fmla="*/ 925696 w 983364"/>
                <a:gd name="connsiteY46" fmla="*/ 772784 h 1029528"/>
                <a:gd name="connsiteX47" fmla="*/ 931766 w 983364"/>
                <a:gd name="connsiteY47" fmla="*/ 771266 h 1029528"/>
                <a:gd name="connsiteX48" fmla="*/ 937838 w 983364"/>
                <a:gd name="connsiteY48" fmla="*/ 774300 h 1029528"/>
                <a:gd name="connsiteX49" fmla="*/ 940872 w 983364"/>
                <a:gd name="connsiteY49" fmla="*/ 778850 h 1029528"/>
                <a:gd name="connsiteX50" fmla="*/ 943908 w 983364"/>
                <a:gd name="connsiteY50" fmla="*/ 775818 h 1029528"/>
                <a:gd name="connsiteX51" fmla="*/ 954530 w 983364"/>
                <a:gd name="connsiteY51" fmla="*/ 777334 h 1029528"/>
                <a:gd name="connsiteX52" fmla="*/ 963636 w 983364"/>
                <a:gd name="connsiteY52" fmla="*/ 780368 h 1029528"/>
                <a:gd name="connsiteX53" fmla="*/ 971224 w 983364"/>
                <a:gd name="connsiteY53" fmla="*/ 784918 h 1029528"/>
                <a:gd name="connsiteX54" fmla="*/ 975778 w 983364"/>
                <a:gd name="connsiteY54" fmla="*/ 786436 h 1029528"/>
                <a:gd name="connsiteX55" fmla="*/ 980330 w 983364"/>
                <a:gd name="connsiteY55" fmla="*/ 787952 h 1029528"/>
                <a:gd name="connsiteX56" fmla="*/ 983364 w 983364"/>
                <a:gd name="connsiteY56" fmla="*/ 790986 h 1029528"/>
                <a:gd name="connsiteX57" fmla="*/ 980330 w 983364"/>
                <a:gd name="connsiteY57" fmla="*/ 795536 h 1029528"/>
                <a:gd name="connsiteX58" fmla="*/ 972742 w 983364"/>
                <a:gd name="connsiteY58" fmla="*/ 798570 h 1029528"/>
                <a:gd name="connsiteX59" fmla="*/ 965154 w 983364"/>
                <a:gd name="connsiteY59" fmla="*/ 790986 h 1029528"/>
                <a:gd name="connsiteX60" fmla="*/ 957566 w 983364"/>
                <a:gd name="connsiteY60" fmla="*/ 786436 h 1029528"/>
                <a:gd name="connsiteX61" fmla="*/ 949978 w 983364"/>
                <a:gd name="connsiteY61" fmla="*/ 786436 h 1029528"/>
                <a:gd name="connsiteX62" fmla="*/ 943908 w 983364"/>
                <a:gd name="connsiteY62" fmla="*/ 787952 h 1029528"/>
                <a:gd name="connsiteX63" fmla="*/ 942390 w 983364"/>
                <a:gd name="connsiteY63" fmla="*/ 784918 h 1029528"/>
                <a:gd name="connsiteX64" fmla="*/ 936320 w 983364"/>
                <a:gd name="connsiteY64" fmla="*/ 784918 h 1029528"/>
                <a:gd name="connsiteX65" fmla="*/ 934802 w 983364"/>
                <a:gd name="connsiteY65" fmla="*/ 787952 h 1029528"/>
                <a:gd name="connsiteX66" fmla="*/ 930250 w 983364"/>
                <a:gd name="connsiteY66" fmla="*/ 787952 h 1029528"/>
                <a:gd name="connsiteX67" fmla="*/ 922662 w 983364"/>
                <a:gd name="connsiteY67" fmla="*/ 784918 h 1029528"/>
                <a:gd name="connsiteX68" fmla="*/ 916590 w 983364"/>
                <a:gd name="connsiteY68" fmla="*/ 784918 h 1029528"/>
                <a:gd name="connsiteX69" fmla="*/ 912038 w 983364"/>
                <a:gd name="connsiteY69" fmla="*/ 784918 h 1029528"/>
                <a:gd name="connsiteX70" fmla="*/ 915074 w 983364"/>
                <a:gd name="connsiteY70" fmla="*/ 777334 h 1029528"/>
                <a:gd name="connsiteX71" fmla="*/ 918108 w 983364"/>
                <a:gd name="connsiteY71" fmla="*/ 775818 h 1029528"/>
                <a:gd name="connsiteX72" fmla="*/ 735146 w 983364"/>
                <a:gd name="connsiteY72" fmla="*/ 734960 h 1029528"/>
                <a:gd name="connsiteX73" fmla="*/ 733720 w 983364"/>
                <a:gd name="connsiteY73" fmla="*/ 742488 h 1029528"/>
                <a:gd name="connsiteX74" fmla="*/ 728014 w 983364"/>
                <a:gd name="connsiteY74" fmla="*/ 748510 h 1029528"/>
                <a:gd name="connsiteX75" fmla="*/ 726588 w 983364"/>
                <a:gd name="connsiteY75" fmla="*/ 753026 h 1029528"/>
                <a:gd name="connsiteX76" fmla="*/ 723734 w 983364"/>
                <a:gd name="connsiteY76" fmla="*/ 754532 h 1029528"/>
                <a:gd name="connsiteX77" fmla="*/ 723734 w 983364"/>
                <a:gd name="connsiteY77" fmla="*/ 747004 h 1029528"/>
                <a:gd name="connsiteX78" fmla="*/ 728014 w 983364"/>
                <a:gd name="connsiteY78" fmla="*/ 743992 h 1029528"/>
                <a:gd name="connsiteX79" fmla="*/ 732292 w 983364"/>
                <a:gd name="connsiteY79" fmla="*/ 736464 h 1029528"/>
                <a:gd name="connsiteX80" fmla="*/ 803456 w 983364"/>
                <a:gd name="connsiteY80" fmla="*/ 719300 h 1029528"/>
                <a:gd name="connsiteX81" fmla="*/ 806474 w 983364"/>
                <a:gd name="connsiteY81" fmla="*/ 723862 h 1029528"/>
                <a:gd name="connsiteX82" fmla="*/ 801946 w 983364"/>
                <a:gd name="connsiteY82" fmla="*/ 729946 h 1029528"/>
                <a:gd name="connsiteX83" fmla="*/ 804964 w 983364"/>
                <a:gd name="connsiteY83" fmla="*/ 737548 h 1029528"/>
                <a:gd name="connsiteX84" fmla="*/ 804964 w 983364"/>
                <a:gd name="connsiteY84" fmla="*/ 745152 h 1029528"/>
                <a:gd name="connsiteX85" fmla="*/ 804964 w 983364"/>
                <a:gd name="connsiteY85" fmla="*/ 752756 h 1029528"/>
                <a:gd name="connsiteX86" fmla="*/ 803456 w 983364"/>
                <a:gd name="connsiteY86" fmla="*/ 757318 h 1029528"/>
                <a:gd name="connsiteX87" fmla="*/ 803456 w 983364"/>
                <a:gd name="connsiteY87" fmla="*/ 764920 h 1029528"/>
                <a:gd name="connsiteX88" fmla="*/ 798928 w 983364"/>
                <a:gd name="connsiteY88" fmla="*/ 769482 h 1029528"/>
                <a:gd name="connsiteX89" fmla="*/ 791382 w 983364"/>
                <a:gd name="connsiteY89" fmla="*/ 771002 h 1029528"/>
                <a:gd name="connsiteX90" fmla="*/ 789872 w 983364"/>
                <a:gd name="connsiteY90" fmla="*/ 775564 h 1029528"/>
                <a:gd name="connsiteX91" fmla="*/ 785344 w 983364"/>
                <a:gd name="connsiteY91" fmla="*/ 781648 h 1029528"/>
                <a:gd name="connsiteX92" fmla="*/ 785344 w 983364"/>
                <a:gd name="connsiteY92" fmla="*/ 786210 h 1029528"/>
                <a:gd name="connsiteX93" fmla="*/ 780816 w 983364"/>
                <a:gd name="connsiteY93" fmla="*/ 790772 h 1029528"/>
                <a:gd name="connsiteX94" fmla="*/ 773270 w 983364"/>
                <a:gd name="connsiteY94" fmla="*/ 792292 h 1029528"/>
                <a:gd name="connsiteX95" fmla="*/ 767234 w 983364"/>
                <a:gd name="connsiteY95" fmla="*/ 796854 h 1029528"/>
                <a:gd name="connsiteX96" fmla="*/ 762706 w 983364"/>
                <a:gd name="connsiteY96" fmla="*/ 795334 h 1029528"/>
                <a:gd name="connsiteX97" fmla="*/ 758178 w 983364"/>
                <a:gd name="connsiteY97" fmla="*/ 801416 h 1029528"/>
                <a:gd name="connsiteX98" fmla="*/ 755160 w 983364"/>
                <a:gd name="connsiteY98" fmla="*/ 805978 h 1029528"/>
                <a:gd name="connsiteX99" fmla="*/ 750632 w 983364"/>
                <a:gd name="connsiteY99" fmla="*/ 810540 h 1029528"/>
                <a:gd name="connsiteX100" fmla="*/ 747614 w 983364"/>
                <a:gd name="connsiteY100" fmla="*/ 812060 h 1029528"/>
                <a:gd name="connsiteX101" fmla="*/ 743086 w 983364"/>
                <a:gd name="connsiteY101" fmla="*/ 812060 h 1029528"/>
                <a:gd name="connsiteX102" fmla="*/ 740068 w 983364"/>
                <a:gd name="connsiteY102" fmla="*/ 815102 h 1029528"/>
                <a:gd name="connsiteX103" fmla="*/ 737048 w 983364"/>
                <a:gd name="connsiteY103" fmla="*/ 818144 h 1029528"/>
                <a:gd name="connsiteX104" fmla="*/ 737048 w 983364"/>
                <a:gd name="connsiteY104" fmla="*/ 813582 h 1029528"/>
                <a:gd name="connsiteX105" fmla="*/ 737048 w 983364"/>
                <a:gd name="connsiteY105" fmla="*/ 807498 h 1029528"/>
                <a:gd name="connsiteX106" fmla="*/ 743086 w 983364"/>
                <a:gd name="connsiteY106" fmla="*/ 807498 h 1029528"/>
                <a:gd name="connsiteX107" fmla="*/ 746104 w 983364"/>
                <a:gd name="connsiteY107" fmla="*/ 807498 h 1029528"/>
                <a:gd name="connsiteX108" fmla="*/ 749122 w 983364"/>
                <a:gd name="connsiteY108" fmla="*/ 807498 h 1029528"/>
                <a:gd name="connsiteX109" fmla="*/ 750632 w 983364"/>
                <a:gd name="connsiteY109" fmla="*/ 807498 h 1029528"/>
                <a:gd name="connsiteX110" fmla="*/ 752142 w 983364"/>
                <a:gd name="connsiteY110" fmla="*/ 799896 h 1029528"/>
                <a:gd name="connsiteX111" fmla="*/ 753650 w 983364"/>
                <a:gd name="connsiteY111" fmla="*/ 795334 h 1029528"/>
                <a:gd name="connsiteX112" fmla="*/ 758178 w 983364"/>
                <a:gd name="connsiteY112" fmla="*/ 792292 h 1029528"/>
                <a:gd name="connsiteX113" fmla="*/ 762706 w 983364"/>
                <a:gd name="connsiteY113" fmla="*/ 790772 h 1029528"/>
                <a:gd name="connsiteX114" fmla="*/ 767234 w 983364"/>
                <a:gd name="connsiteY114" fmla="*/ 786210 h 1029528"/>
                <a:gd name="connsiteX115" fmla="*/ 770252 w 983364"/>
                <a:gd name="connsiteY115" fmla="*/ 784688 h 1029528"/>
                <a:gd name="connsiteX116" fmla="*/ 765724 w 983364"/>
                <a:gd name="connsiteY116" fmla="*/ 780126 h 1029528"/>
                <a:gd name="connsiteX117" fmla="*/ 773270 w 983364"/>
                <a:gd name="connsiteY117" fmla="*/ 778606 h 1029528"/>
                <a:gd name="connsiteX118" fmla="*/ 779308 w 983364"/>
                <a:gd name="connsiteY118" fmla="*/ 778606 h 1029528"/>
                <a:gd name="connsiteX119" fmla="*/ 782326 w 983364"/>
                <a:gd name="connsiteY119" fmla="*/ 774044 h 1029528"/>
                <a:gd name="connsiteX120" fmla="*/ 782326 w 983364"/>
                <a:gd name="connsiteY120" fmla="*/ 767962 h 1029528"/>
                <a:gd name="connsiteX121" fmla="*/ 789872 w 983364"/>
                <a:gd name="connsiteY121" fmla="*/ 766442 h 1029528"/>
                <a:gd name="connsiteX122" fmla="*/ 794400 w 983364"/>
                <a:gd name="connsiteY122" fmla="*/ 764920 h 1029528"/>
                <a:gd name="connsiteX123" fmla="*/ 800438 w 983364"/>
                <a:gd name="connsiteY123" fmla="*/ 761880 h 1029528"/>
                <a:gd name="connsiteX124" fmla="*/ 800438 w 983364"/>
                <a:gd name="connsiteY124" fmla="*/ 752756 h 1029528"/>
                <a:gd name="connsiteX125" fmla="*/ 795910 w 983364"/>
                <a:gd name="connsiteY125" fmla="*/ 748194 h 1029528"/>
                <a:gd name="connsiteX126" fmla="*/ 792890 w 983364"/>
                <a:gd name="connsiteY126" fmla="*/ 743632 h 1029528"/>
                <a:gd name="connsiteX127" fmla="*/ 788364 w 983364"/>
                <a:gd name="connsiteY127" fmla="*/ 746672 h 1029528"/>
                <a:gd name="connsiteX128" fmla="*/ 783836 w 983364"/>
                <a:gd name="connsiteY128" fmla="*/ 745152 h 1029528"/>
                <a:gd name="connsiteX129" fmla="*/ 777798 w 983364"/>
                <a:gd name="connsiteY129" fmla="*/ 742110 h 1029528"/>
                <a:gd name="connsiteX130" fmla="*/ 774780 w 983364"/>
                <a:gd name="connsiteY130" fmla="*/ 740590 h 1029528"/>
                <a:gd name="connsiteX131" fmla="*/ 779308 w 983364"/>
                <a:gd name="connsiteY131" fmla="*/ 736028 h 1029528"/>
                <a:gd name="connsiteX132" fmla="*/ 780816 w 983364"/>
                <a:gd name="connsiteY132" fmla="*/ 732986 h 1029528"/>
                <a:gd name="connsiteX133" fmla="*/ 779308 w 983364"/>
                <a:gd name="connsiteY133" fmla="*/ 729946 h 1029528"/>
                <a:gd name="connsiteX134" fmla="*/ 786854 w 983364"/>
                <a:gd name="connsiteY134" fmla="*/ 729946 h 1029528"/>
                <a:gd name="connsiteX135" fmla="*/ 789872 w 983364"/>
                <a:gd name="connsiteY135" fmla="*/ 725384 h 1029528"/>
                <a:gd name="connsiteX136" fmla="*/ 792890 w 983364"/>
                <a:gd name="connsiteY136" fmla="*/ 723862 h 1029528"/>
                <a:gd name="connsiteX137" fmla="*/ 797418 w 983364"/>
                <a:gd name="connsiteY137" fmla="*/ 723862 h 1029528"/>
                <a:gd name="connsiteX138" fmla="*/ 729060 w 983364"/>
                <a:gd name="connsiteY138" fmla="*/ 702664 h 1029528"/>
                <a:gd name="connsiteX139" fmla="*/ 732102 w 983364"/>
                <a:gd name="connsiteY139" fmla="*/ 702664 h 1029528"/>
                <a:gd name="connsiteX140" fmla="*/ 736668 w 983364"/>
                <a:gd name="connsiteY140" fmla="*/ 704202 h 1029528"/>
                <a:gd name="connsiteX141" fmla="*/ 742754 w 983364"/>
                <a:gd name="connsiteY141" fmla="*/ 707278 h 1029528"/>
                <a:gd name="connsiteX142" fmla="*/ 748842 w 983364"/>
                <a:gd name="connsiteY142" fmla="*/ 711892 h 1029528"/>
                <a:gd name="connsiteX143" fmla="*/ 750362 w 983364"/>
                <a:gd name="connsiteY143" fmla="*/ 718042 h 1029528"/>
                <a:gd name="connsiteX144" fmla="*/ 757972 w 983364"/>
                <a:gd name="connsiteY144" fmla="*/ 716504 h 1029528"/>
                <a:gd name="connsiteX145" fmla="*/ 757972 w 983364"/>
                <a:gd name="connsiteY145" fmla="*/ 719580 h 1029528"/>
                <a:gd name="connsiteX146" fmla="*/ 762536 w 983364"/>
                <a:gd name="connsiteY146" fmla="*/ 721118 h 1029528"/>
                <a:gd name="connsiteX147" fmla="*/ 767102 w 983364"/>
                <a:gd name="connsiteY147" fmla="*/ 718042 h 1029528"/>
                <a:gd name="connsiteX148" fmla="*/ 774710 w 983364"/>
                <a:gd name="connsiteY148" fmla="*/ 721118 h 1029528"/>
                <a:gd name="connsiteX149" fmla="*/ 780796 w 983364"/>
                <a:gd name="connsiteY149" fmla="*/ 724194 h 1029528"/>
                <a:gd name="connsiteX150" fmla="*/ 774710 w 983364"/>
                <a:gd name="connsiteY150" fmla="*/ 725732 h 1029528"/>
                <a:gd name="connsiteX151" fmla="*/ 771666 w 983364"/>
                <a:gd name="connsiteY151" fmla="*/ 730346 h 1029528"/>
                <a:gd name="connsiteX152" fmla="*/ 767102 w 983364"/>
                <a:gd name="connsiteY152" fmla="*/ 733422 h 1029528"/>
                <a:gd name="connsiteX153" fmla="*/ 764058 w 983364"/>
                <a:gd name="connsiteY153" fmla="*/ 731884 h 1029528"/>
                <a:gd name="connsiteX154" fmla="*/ 764058 w 983364"/>
                <a:gd name="connsiteY154" fmla="*/ 728808 h 1029528"/>
                <a:gd name="connsiteX155" fmla="*/ 759492 w 983364"/>
                <a:gd name="connsiteY155" fmla="*/ 730346 h 1029528"/>
                <a:gd name="connsiteX156" fmla="*/ 757972 w 983364"/>
                <a:gd name="connsiteY156" fmla="*/ 731884 h 1029528"/>
                <a:gd name="connsiteX157" fmla="*/ 757972 w 983364"/>
                <a:gd name="connsiteY157" fmla="*/ 734960 h 1029528"/>
                <a:gd name="connsiteX158" fmla="*/ 756450 w 983364"/>
                <a:gd name="connsiteY158" fmla="*/ 734960 h 1029528"/>
                <a:gd name="connsiteX159" fmla="*/ 754928 w 983364"/>
                <a:gd name="connsiteY159" fmla="*/ 733422 h 1029528"/>
                <a:gd name="connsiteX160" fmla="*/ 753406 w 983364"/>
                <a:gd name="connsiteY160" fmla="*/ 731884 h 1029528"/>
                <a:gd name="connsiteX161" fmla="*/ 753406 w 983364"/>
                <a:gd name="connsiteY161" fmla="*/ 728808 h 1029528"/>
                <a:gd name="connsiteX162" fmla="*/ 748842 w 983364"/>
                <a:gd name="connsiteY162" fmla="*/ 727270 h 1029528"/>
                <a:gd name="connsiteX163" fmla="*/ 744276 w 983364"/>
                <a:gd name="connsiteY163" fmla="*/ 725732 h 1029528"/>
                <a:gd name="connsiteX164" fmla="*/ 738190 w 983364"/>
                <a:gd name="connsiteY164" fmla="*/ 728808 h 1029528"/>
                <a:gd name="connsiteX165" fmla="*/ 735146 w 983364"/>
                <a:gd name="connsiteY165" fmla="*/ 728808 h 1029528"/>
                <a:gd name="connsiteX166" fmla="*/ 736668 w 983364"/>
                <a:gd name="connsiteY166" fmla="*/ 722656 h 1029528"/>
                <a:gd name="connsiteX167" fmla="*/ 733624 w 983364"/>
                <a:gd name="connsiteY167" fmla="*/ 718042 h 1029528"/>
                <a:gd name="connsiteX168" fmla="*/ 729060 w 983364"/>
                <a:gd name="connsiteY168" fmla="*/ 713428 h 1029528"/>
                <a:gd name="connsiteX169" fmla="*/ 727538 w 983364"/>
                <a:gd name="connsiteY169" fmla="*/ 705740 h 1029528"/>
                <a:gd name="connsiteX170" fmla="*/ 813250 w 983364"/>
                <a:gd name="connsiteY170" fmla="*/ 656668 h 1029528"/>
                <a:gd name="connsiteX171" fmla="*/ 823652 w 983364"/>
                <a:gd name="connsiteY171" fmla="*/ 656668 h 1029528"/>
                <a:gd name="connsiteX172" fmla="*/ 828110 w 983364"/>
                <a:gd name="connsiteY172" fmla="*/ 658234 h 1029528"/>
                <a:gd name="connsiteX173" fmla="*/ 834054 w 983364"/>
                <a:gd name="connsiteY173" fmla="*/ 658234 h 1029528"/>
                <a:gd name="connsiteX174" fmla="*/ 834054 w 983364"/>
                <a:gd name="connsiteY174" fmla="*/ 662932 h 1029528"/>
                <a:gd name="connsiteX175" fmla="*/ 828110 w 983364"/>
                <a:gd name="connsiteY175" fmla="*/ 661366 h 1029528"/>
                <a:gd name="connsiteX176" fmla="*/ 823652 w 983364"/>
                <a:gd name="connsiteY176" fmla="*/ 664496 h 1029528"/>
                <a:gd name="connsiteX177" fmla="*/ 817708 w 983364"/>
                <a:gd name="connsiteY177" fmla="*/ 662932 h 1029528"/>
                <a:gd name="connsiteX178" fmla="*/ 814736 w 983364"/>
                <a:gd name="connsiteY178" fmla="*/ 662932 h 1029528"/>
                <a:gd name="connsiteX179" fmla="*/ 810278 w 983364"/>
                <a:gd name="connsiteY179" fmla="*/ 659800 h 1029528"/>
                <a:gd name="connsiteX180" fmla="*/ 572696 w 983364"/>
                <a:gd name="connsiteY180" fmla="*/ 561740 h 1029528"/>
                <a:gd name="connsiteX181" fmla="*/ 584814 w 983364"/>
                <a:gd name="connsiteY181" fmla="*/ 567806 h 1029528"/>
                <a:gd name="connsiteX182" fmla="*/ 584814 w 983364"/>
                <a:gd name="connsiteY182" fmla="*/ 576904 h 1029528"/>
                <a:gd name="connsiteX183" fmla="*/ 589356 w 983364"/>
                <a:gd name="connsiteY183" fmla="*/ 581452 h 1029528"/>
                <a:gd name="connsiteX184" fmla="*/ 592386 w 983364"/>
                <a:gd name="connsiteY184" fmla="*/ 586002 h 1029528"/>
                <a:gd name="connsiteX185" fmla="*/ 593900 w 983364"/>
                <a:gd name="connsiteY185" fmla="*/ 592068 h 1029528"/>
                <a:gd name="connsiteX186" fmla="*/ 598444 w 983364"/>
                <a:gd name="connsiteY186" fmla="*/ 604198 h 1029528"/>
                <a:gd name="connsiteX187" fmla="*/ 606018 w 983364"/>
                <a:gd name="connsiteY187" fmla="*/ 613296 h 1029528"/>
                <a:gd name="connsiteX188" fmla="*/ 609046 w 983364"/>
                <a:gd name="connsiteY188" fmla="*/ 620878 h 1029528"/>
                <a:gd name="connsiteX189" fmla="*/ 612076 w 983364"/>
                <a:gd name="connsiteY189" fmla="*/ 628460 h 1029528"/>
                <a:gd name="connsiteX190" fmla="*/ 612076 w 983364"/>
                <a:gd name="connsiteY190" fmla="*/ 634524 h 1029528"/>
                <a:gd name="connsiteX191" fmla="*/ 610562 w 983364"/>
                <a:gd name="connsiteY191" fmla="*/ 640590 h 1029528"/>
                <a:gd name="connsiteX192" fmla="*/ 613590 w 983364"/>
                <a:gd name="connsiteY192" fmla="*/ 646656 h 1029528"/>
                <a:gd name="connsiteX193" fmla="*/ 618134 w 983364"/>
                <a:gd name="connsiteY193" fmla="*/ 654238 h 1029528"/>
                <a:gd name="connsiteX194" fmla="*/ 622678 w 983364"/>
                <a:gd name="connsiteY194" fmla="*/ 658786 h 1029528"/>
                <a:gd name="connsiteX195" fmla="*/ 630252 w 983364"/>
                <a:gd name="connsiteY195" fmla="*/ 658786 h 1029528"/>
                <a:gd name="connsiteX196" fmla="*/ 636310 w 983364"/>
                <a:gd name="connsiteY196" fmla="*/ 661820 h 1029528"/>
                <a:gd name="connsiteX197" fmla="*/ 642368 w 983364"/>
                <a:gd name="connsiteY197" fmla="*/ 669400 h 1029528"/>
                <a:gd name="connsiteX198" fmla="*/ 646912 w 983364"/>
                <a:gd name="connsiteY198" fmla="*/ 676982 h 1029528"/>
                <a:gd name="connsiteX199" fmla="*/ 648426 w 983364"/>
                <a:gd name="connsiteY199" fmla="*/ 681532 h 1029528"/>
                <a:gd name="connsiteX200" fmla="*/ 648426 w 983364"/>
                <a:gd name="connsiteY200" fmla="*/ 689114 h 1029528"/>
                <a:gd name="connsiteX201" fmla="*/ 651456 w 983364"/>
                <a:gd name="connsiteY201" fmla="*/ 695178 h 1029528"/>
                <a:gd name="connsiteX202" fmla="*/ 651456 w 983364"/>
                <a:gd name="connsiteY202" fmla="*/ 699728 h 1029528"/>
                <a:gd name="connsiteX203" fmla="*/ 642368 w 983364"/>
                <a:gd name="connsiteY203" fmla="*/ 696696 h 1029528"/>
                <a:gd name="connsiteX204" fmla="*/ 640854 w 983364"/>
                <a:gd name="connsiteY204" fmla="*/ 689114 h 1029528"/>
                <a:gd name="connsiteX205" fmla="*/ 636310 w 983364"/>
                <a:gd name="connsiteY205" fmla="*/ 678500 h 1029528"/>
                <a:gd name="connsiteX206" fmla="*/ 631766 w 983364"/>
                <a:gd name="connsiteY206" fmla="*/ 669400 h 1029528"/>
                <a:gd name="connsiteX207" fmla="*/ 627222 w 983364"/>
                <a:gd name="connsiteY207" fmla="*/ 664852 h 1029528"/>
                <a:gd name="connsiteX208" fmla="*/ 618134 w 983364"/>
                <a:gd name="connsiteY208" fmla="*/ 661820 h 1029528"/>
                <a:gd name="connsiteX209" fmla="*/ 609046 w 983364"/>
                <a:gd name="connsiteY209" fmla="*/ 658786 h 1029528"/>
                <a:gd name="connsiteX210" fmla="*/ 601474 w 983364"/>
                <a:gd name="connsiteY210" fmla="*/ 654238 h 1029528"/>
                <a:gd name="connsiteX211" fmla="*/ 595416 w 983364"/>
                <a:gd name="connsiteY211" fmla="*/ 651204 h 1029528"/>
                <a:gd name="connsiteX212" fmla="*/ 589356 w 983364"/>
                <a:gd name="connsiteY212" fmla="*/ 646656 h 1029528"/>
                <a:gd name="connsiteX213" fmla="*/ 592386 w 983364"/>
                <a:gd name="connsiteY213" fmla="*/ 645140 h 1029528"/>
                <a:gd name="connsiteX214" fmla="*/ 599960 w 983364"/>
                <a:gd name="connsiteY214" fmla="*/ 646656 h 1029528"/>
                <a:gd name="connsiteX215" fmla="*/ 604504 w 983364"/>
                <a:gd name="connsiteY215" fmla="*/ 649688 h 1029528"/>
                <a:gd name="connsiteX216" fmla="*/ 609046 w 983364"/>
                <a:gd name="connsiteY216" fmla="*/ 652722 h 1029528"/>
                <a:gd name="connsiteX217" fmla="*/ 612076 w 983364"/>
                <a:gd name="connsiteY217" fmla="*/ 655754 h 1029528"/>
                <a:gd name="connsiteX218" fmla="*/ 616620 w 983364"/>
                <a:gd name="connsiteY218" fmla="*/ 657270 h 1029528"/>
                <a:gd name="connsiteX219" fmla="*/ 612076 w 983364"/>
                <a:gd name="connsiteY219" fmla="*/ 651204 h 1029528"/>
                <a:gd name="connsiteX220" fmla="*/ 609046 w 983364"/>
                <a:gd name="connsiteY220" fmla="*/ 648172 h 1029528"/>
                <a:gd name="connsiteX221" fmla="*/ 604504 w 983364"/>
                <a:gd name="connsiteY221" fmla="*/ 643622 h 1029528"/>
                <a:gd name="connsiteX222" fmla="*/ 602988 w 983364"/>
                <a:gd name="connsiteY222" fmla="*/ 640590 h 1029528"/>
                <a:gd name="connsiteX223" fmla="*/ 601474 w 983364"/>
                <a:gd name="connsiteY223" fmla="*/ 636042 h 1029528"/>
                <a:gd name="connsiteX224" fmla="*/ 604504 w 983364"/>
                <a:gd name="connsiteY224" fmla="*/ 633008 h 1029528"/>
                <a:gd name="connsiteX225" fmla="*/ 609046 w 983364"/>
                <a:gd name="connsiteY225" fmla="*/ 628460 h 1029528"/>
                <a:gd name="connsiteX226" fmla="*/ 606018 w 983364"/>
                <a:gd name="connsiteY226" fmla="*/ 626944 h 1029528"/>
                <a:gd name="connsiteX227" fmla="*/ 604504 w 983364"/>
                <a:gd name="connsiteY227" fmla="*/ 622394 h 1029528"/>
                <a:gd name="connsiteX228" fmla="*/ 604504 w 983364"/>
                <a:gd name="connsiteY228" fmla="*/ 616328 h 1029528"/>
                <a:gd name="connsiteX229" fmla="*/ 599960 w 983364"/>
                <a:gd name="connsiteY229" fmla="*/ 616328 h 1029528"/>
                <a:gd name="connsiteX230" fmla="*/ 599960 w 983364"/>
                <a:gd name="connsiteY230" fmla="*/ 611780 h 1029528"/>
                <a:gd name="connsiteX231" fmla="*/ 595416 w 983364"/>
                <a:gd name="connsiteY231" fmla="*/ 607230 h 1029528"/>
                <a:gd name="connsiteX232" fmla="*/ 590872 w 983364"/>
                <a:gd name="connsiteY232" fmla="*/ 602682 h 1029528"/>
                <a:gd name="connsiteX233" fmla="*/ 587842 w 983364"/>
                <a:gd name="connsiteY233" fmla="*/ 596616 h 1029528"/>
                <a:gd name="connsiteX234" fmla="*/ 584814 w 983364"/>
                <a:gd name="connsiteY234" fmla="*/ 590550 h 1029528"/>
                <a:gd name="connsiteX235" fmla="*/ 584814 w 983364"/>
                <a:gd name="connsiteY235" fmla="*/ 586002 h 1029528"/>
                <a:gd name="connsiteX236" fmla="*/ 581784 w 983364"/>
                <a:gd name="connsiteY236" fmla="*/ 578420 h 1029528"/>
                <a:gd name="connsiteX237" fmla="*/ 581784 w 983364"/>
                <a:gd name="connsiteY237" fmla="*/ 575388 h 1029528"/>
                <a:gd name="connsiteX238" fmla="*/ 577240 w 983364"/>
                <a:gd name="connsiteY238" fmla="*/ 578420 h 1029528"/>
                <a:gd name="connsiteX239" fmla="*/ 577240 w 983364"/>
                <a:gd name="connsiteY239" fmla="*/ 572354 h 1029528"/>
                <a:gd name="connsiteX240" fmla="*/ 577240 w 983364"/>
                <a:gd name="connsiteY240" fmla="*/ 567806 h 1029528"/>
                <a:gd name="connsiteX241" fmla="*/ 572696 w 983364"/>
                <a:gd name="connsiteY241" fmla="*/ 572354 h 1029528"/>
                <a:gd name="connsiteX242" fmla="*/ 569668 w 983364"/>
                <a:gd name="connsiteY242" fmla="*/ 567806 h 1029528"/>
                <a:gd name="connsiteX243" fmla="*/ 572696 w 983364"/>
                <a:gd name="connsiteY243" fmla="*/ 566290 h 1029528"/>
                <a:gd name="connsiteX244" fmla="*/ 645808 w 983364"/>
                <a:gd name="connsiteY244" fmla="*/ 554888 h 1029528"/>
                <a:gd name="connsiteX245" fmla="*/ 654724 w 983364"/>
                <a:gd name="connsiteY245" fmla="*/ 554888 h 1029528"/>
                <a:gd name="connsiteX246" fmla="*/ 656210 w 983364"/>
                <a:gd name="connsiteY246" fmla="*/ 559660 h 1029528"/>
                <a:gd name="connsiteX247" fmla="*/ 656210 w 983364"/>
                <a:gd name="connsiteY247" fmla="*/ 564430 h 1029528"/>
                <a:gd name="connsiteX248" fmla="*/ 653238 w 983364"/>
                <a:gd name="connsiteY248" fmla="*/ 567612 h 1029528"/>
                <a:gd name="connsiteX249" fmla="*/ 651752 w 983364"/>
                <a:gd name="connsiteY249" fmla="*/ 567612 h 1029528"/>
                <a:gd name="connsiteX250" fmla="*/ 647294 w 983364"/>
                <a:gd name="connsiteY250" fmla="*/ 564430 h 1029528"/>
                <a:gd name="connsiteX251" fmla="*/ 641350 w 983364"/>
                <a:gd name="connsiteY251" fmla="*/ 564430 h 1029528"/>
                <a:gd name="connsiteX252" fmla="*/ 638378 w 983364"/>
                <a:gd name="connsiteY252" fmla="*/ 566020 h 1029528"/>
                <a:gd name="connsiteX253" fmla="*/ 632436 w 983364"/>
                <a:gd name="connsiteY253" fmla="*/ 566020 h 1029528"/>
                <a:gd name="connsiteX254" fmla="*/ 632436 w 983364"/>
                <a:gd name="connsiteY254" fmla="*/ 562840 h 1029528"/>
                <a:gd name="connsiteX255" fmla="*/ 635406 w 983364"/>
                <a:gd name="connsiteY255" fmla="*/ 559660 h 1029528"/>
                <a:gd name="connsiteX256" fmla="*/ 641350 w 983364"/>
                <a:gd name="connsiteY256" fmla="*/ 556480 h 1029528"/>
                <a:gd name="connsiteX257" fmla="*/ 457446 w 983364"/>
                <a:gd name="connsiteY257" fmla="*/ 553912 h 1029528"/>
                <a:gd name="connsiteX258" fmla="*/ 466515 w 983364"/>
                <a:gd name="connsiteY258" fmla="*/ 561460 h 1029528"/>
                <a:gd name="connsiteX259" fmla="*/ 471049 w 983364"/>
                <a:gd name="connsiteY259" fmla="*/ 561460 h 1029528"/>
                <a:gd name="connsiteX260" fmla="*/ 478606 w 983364"/>
                <a:gd name="connsiteY260" fmla="*/ 569010 h 1029528"/>
                <a:gd name="connsiteX261" fmla="*/ 489186 w 983364"/>
                <a:gd name="connsiteY261" fmla="*/ 575050 h 1029528"/>
                <a:gd name="connsiteX262" fmla="*/ 499766 w 983364"/>
                <a:gd name="connsiteY262" fmla="*/ 585618 h 1029528"/>
                <a:gd name="connsiteX263" fmla="*/ 504300 w 983364"/>
                <a:gd name="connsiteY263" fmla="*/ 591658 h 1029528"/>
                <a:gd name="connsiteX264" fmla="*/ 510346 w 983364"/>
                <a:gd name="connsiteY264" fmla="*/ 596188 h 1029528"/>
                <a:gd name="connsiteX265" fmla="*/ 517904 w 983364"/>
                <a:gd name="connsiteY265" fmla="*/ 596188 h 1029528"/>
                <a:gd name="connsiteX266" fmla="*/ 529996 w 983364"/>
                <a:gd name="connsiteY266" fmla="*/ 600718 h 1029528"/>
                <a:gd name="connsiteX267" fmla="*/ 539064 w 983364"/>
                <a:gd name="connsiteY267" fmla="*/ 602228 h 1029528"/>
                <a:gd name="connsiteX268" fmla="*/ 542088 w 983364"/>
                <a:gd name="connsiteY268" fmla="*/ 605248 h 1029528"/>
                <a:gd name="connsiteX269" fmla="*/ 536042 w 983364"/>
                <a:gd name="connsiteY269" fmla="*/ 606756 h 1029528"/>
                <a:gd name="connsiteX270" fmla="*/ 528484 w 983364"/>
                <a:gd name="connsiteY270" fmla="*/ 605248 h 1029528"/>
                <a:gd name="connsiteX271" fmla="*/ 522438 w 983364"/>
                <a:gd name="connsiteY271" fmla="*/ 600718 h 1029528"/>
                <a:gd name="connsiteX272" fmla="*/ 517904 w 983364"/>
                <a:gd name="connsiteY272" fmla="*/ 600718 h 1029528"/>
                <a:gd name="connsiteX273" fmla="*/ 517904 w 983364"/>
                <a:gd name="connsiteY273" fmla="*/ 602228 h 1029528"/>
                <a:gd name="connsiteX274" fmla="*/ 510346 w 983364"/>
                <a:gd name="connsiteY274" fmla="*/ 599208 h 1029528"/>
                <a:gd name="connsiteX275" fmla="*/ 507324 w 983364"/>
                <a:gd name="connsiteY275" fmla="*/ 597698 h 1029528"/>
                <a:gd name="connsiteX276" fmla="*/ 504300 w 983364"/>
                <a:gd name="connsiteY276" fmla="*/ 597698 h 1029528"/>
                <a:gd name="connsiteX277" fmla="*/ 496744 w 983364"/>
                <a:gd name="connsiteY277" fmla="*/ 597698 h 1029528"/>
                <a:gd name="connsiteX278" fmla="*/ 490698 w 983364"/>
                <a:gd name="connsiteY278" fmla="*/ 597698 h 1029528"/>
                <a:gd name="connsiteX279" fmla="*/ 490698 w 983364"/>
                <a:gd name="connsiteY279" fmla="*/ 593168 h 1029528"/>
                <a:gd name="connsiteX280" fmla="*/ 498256 w 983364"/>
                <a:gd name="connsiteY280" fmla="*/ 593168 h 1029528"/>
                <a:gd name="connsiteX281" fmla="*/ 496744 w 983364"/>
                <a:gd name="connsiteY281" fmla="*/ 590148 h 1029528"/>
                <a:gd name="connsiteX282" fmla="*/ 495232 w 983364"/>
                <a:gd name="connsiteY282" fmla="*/ 587128 h 1029528"/>
                <a:gd name="connsiteX283" fmla="*/ 493720 w 983364"/>
                <a:gd name="connsiteY283" fmla="*/ 585618 h 1029528"/>
                <a:gd name="connsiteX284" fmla="*/ 484652 w 983364"/>
                <a:gd name="connsiteY284" fmla="*/ 582598 h 1029528"/>
                <a:gd name="connsiteX285" fmla="*/ 477095 w 983364"/>
                <a:gd name="connsiteY285" fmla="*/ 578070 h 1029528"/>
                <a:gd name="connsiteX286" fmla="*/ 468026 w 983364"/>
                <a:gd name="connsiteY286" fmla="*/ 573540 h 1029528"/>
                <a:gd name="connsiteX287" fmla="*/ 461980 w 983364"/>
                <a:gd name="connsiteY287" fmla="*/ 575050 h 1029528"/>
                <a:gd name="connsiteX288" fmla="*/ 463492 w 983364"/>
                <a:gd name="connsiteY288" fmla="*/ 570520 h 1029528"/>
                <a:gd name="connsiteX289" fmla="*/ 463492 w 983364"/>
                <a:gd name="connsiteY289" fmla="*/ 565990 h 1029528"/>
                <a:gd name="connsiteX290" fmla="*/ 461980 w 983364"/>
                <a:gd name="connsiteY290" fmla="*/ 562970 h 1029528"/>
                <a:gd name="connsiteX291" fmla="*/ 458957 w 983364"/>
                <a:gd name="connsiteY291" fmla="*/ 561460 h 1029528"/>
                <a:gd name="connsiteX292" fmla="*/ 700616 w 983364"/>
                <a:gd name="connsiteY292" fmla="*/ 483448 h 1029528"/>
                <a:gd name="connsiteX293" fmla="*/ 707932 w 983364"/>
                <a:gd name="connsiteY293" fmla="*/ 483448 h 1029528"/>
                <a:gd name="connsiteX294" fmla="*/ 712322 w 983364"/>
                <a:gd name="connsiteY294" fmla="*/ 488120 h 1029528"/>
                <a:gd name="connsiteX295" fmla="*/ 712322 w 983364"/>
                <a:gd name="connsiteY295" fmla="*/ 494348 h 1029528"/>
                <a:gd name="connsiteX296" fmla="*/ 710858 w 983364"/>
                <a:gd name="connsiteY296" fmla="*/ 502132 h 1029528"/>
                <a:gd name="connsiteX297" fmla="*/ 707932 w 983364"/>
                <a:gd name="connsiteY297" fmla="*/ 508360 h 1029528"/>
                <a:gd name="connsiteX298" fmla="*/ 706470 w 983364"/>
                <a:gd name="connsiteY298" fmla="*/ 514588 h 1029528"/>
                <a:gd name="connsiteX299" fmla="*/ 702080 w 983364"/>
                <a:gd name="connsiteY299" fmla="*/ 516146 h 1029528"/>
                <a:gd name="connsiteX300" fmla="*/ 699154 w 983364"/>
                <a:gd name="connsiteY300" fmla="*/ 514588 h 1029528"/>
                <a:gd name="connsiteX301" fmla="*/ 693300 w 983364"/>
                <a:gd name="connsiteY301" fmla="*/ 517702 h 1029528"/>
                <a:gd name="connsiteX302" fmla="*/ 694764 w 983364"/>
                <a:gd name="connsiteY302" fmla="*/ 509918 h 1029528"/>
                <a:gd name="connsiteX303" fmla="*/ 697690 w 983364"/>
                <a:gd name="connsiteY303" fmla="*/ 505246 h 1029528"/>
                <a:gd name="connsiteX304" fmla="*/ 700616 w 983364"/>
                <a:gd name="connsiteY304" fmla="*/ 499018 h 1029528"/>
                <a:gd name="connsiteX305" fmla="*/ 697690 w 983364"/>
                <a:gd name="connsiteY305" fmla="*/ 495904 h 1029528"/>
                <a:gd name="connsiteX306" fmla="*/ 697690 w 983364"/>
                <a:gd name="connsiteY306" fmla="*/ 492790 h 1029528"/>
                <a:gd name="connsiteX307" fmla="*/ 699154 w 983364"/>
                <a:gd name="connsiteY307" fmla="*/ 488120 h 1029528"/>
                <a:gd name="connsiteX308" fmla="*/ 171478 w 983364"/>
                <a:gd name="connsiteY308" fmla="*/ 460940 h 1029528"/>
                <a:gd name="connsiteX309" fmla="*/ 178794 w 983364"/>
                <a:gd name="connsiteY309" fmla="*/ 460940 h 1029528"/>
                <a:gd name="connsiteX310" fmla="*/ 175868 w 983364"/>
                <a:gd name="connsiteY310" fmla="*/ 468688 h 1029528"/>
                <a:gd name="connsiteX311" fmla="*/ 172941 w 983364"/>
                <a:gd name="connsiteY311" fmla="*/ 473336 h 1029528"/>
                <a:gd name="connsiteX312" fmla="*/ 168552 w 983364"/>
                <a:gd name="connsiteY312" fmla="*/ 477984 h 1029528"/>
                <a:gd name="connsiteX313" fmla="*/ 161236 w 983364"/>
                <a:gd name="connsiteY313" fmla="*/ 479534 h 1029528"/>
                <a:gd name="connsiteX314" fmla="*/ 159773 w 983364"/>
                <a:gd name="connsiteY314" fmla="*/ 474886 h 1029528"/>
                <a:gd name="connsiteX315" fmla="*/ 168552 w 983364"/>
                <a:gd name="connsiteY315" fmla="*/ 471786 h 1029528"/>
                <a:gd name="connsiteX316" fmla="*/ 171478 w 983364"/>
                <a:gd name="connsiteY316" fmla="*/ 465588 h 1029528"/>
                <a:gd name="connsiteX317" fmla="*/ 203631 w 983364"/>
                <a:gd name="connsiteY317" fmla="*/ 455068 h 1029528"/>
                <a:gd name="connsiteX318" fmla="*/ 205157 w 983364"/>
                <a:gd name="connsiteY318" fmla="*/ 458110 h 1029528"/>
                <a:gd name="connsiteX319" fmla="*/ 209735 w 983364"/>
                <a:gd name="connsiteY319" fmla="*/ 465712 h 1029528"/>
                <a:gd name="connsiteX320" fmla="*/ 212787 w 983364"/>
                <a:gd name="connsiteY320" fmla="*/ 465712 h 1029528"/>
                <a:gd name="connsiteX321" fmla="*/ 211261 w 983364"/>
                <a:gd name="connsiteY321" fmla="*/ 473316 h 1029528"/>
                <a:gd name="connsiteX322" fmla="*/ 206683 w 983364"/>
                <a:gd name="connsiteY322" fmla="*/ 477878 h 1029528"/>
                <a:gd name="connsiteX323" fmla="*/ 206683 w 983364"/>
                <a:gd name="connsiteY323" fmla="*/ 480918 h 1029528"/>
                <a:gd name="connsiteX324" fmla="*/ 203631 w 983364"/>
                <a:gd name="connsiteY324" fmla="*/ 483960 h 1029528"/>
                <a:gd name="connsiteX325" fmla="*/ 202105 w 983364"/>
                <a:gd name="connsiteY325" fmla="*/ 488522 h 1029528"/>
                <a:gd name="connsiteX326" fmla="*/ 199053 w 983364"/>
                <a:gd name="connsiteY326" fmla="*/ 496126 h 1029528"/>
                <a:gd name="connsiteX327" fmla="*/ 196000 w 983364"/>
                <a:gd name="connsiteY327" fmla="*/ 499166 h 1029528"/>
                <a:gd name="connsiteX328" fmla="*/ 188370 w 983364"/>
                <a:gd name="connsiteY328" fmla="*/ 496126 h 1029528"/>
                <a:gd name="connsiteX329" fmla="*/ 188370 w 983364"/>
                <a:gd name="connsiteY329" fmla="*/ 499166 h 1029528"/>
                <a:gd name="connsiteX330" fmla="*/ 188370 w 983364"/>
                <a:gd name="connsiteY330" fmla="*/ 500688 h 1029528"/>
                <a:gd name="connsiteX331" fmla="*/ 200579 w 983364"/>
                <a:gd name="connsiteY331" fmla="*/ 500688 h 1029528"/>
                <a:gd name="connsiteX332" fmla="*/ 203631 w 983364"/>
                <a:gd name="connsiteY332" fmla="*/ 493084 h 1029528"/>
                <a:gd name="connsiteX333" fmla="*/ 206683 w 983364"/>
                <a:gd name="connsiteY333" fmla="*/ 485480 h 1029528"/>
                <a:gd name="connsiteX334" fmla="*/ 208209 w 983364"/>
                <a:gd name="connsiteY334" fmla="*/ 483960 h 1029528"/>
                <a:gd name="connsiteX335" fmla="*/ 211261 w 983364"/>
                <a:gd name="connsiteY335" fmla="*/ 482440 h 1029528"/>
                <a:gd name="connsiteX336" fmla="*/ 212787 w 983364"/>
                <a:gd name="connsiteY336" fmla="*/ 474836 h 1029528"/>
                <a:gd name="connsiteX337" fmla="*/ 215839 w 983364"/>
                <a:gd name="connsiteY337" fmla="*/ 471796 h 1029528"/>
                <a:gd name="connsiteX338" fmla="*/ 220418 w 983364"/>
                <a:gd name="connsiteY338" fmla="*/ 477878 h 1029528"/>
                <a:gd name="connsiteX339" fmla="*/ 224996 w 983364"/>
                <a:gd name="connsiteY339" fmla="*/ 488522 h 1029528"/>
                <a:gd name="connsiteX340" fmla="*/ 226522 w 983364"/>
                <a:gd name="connsiteY340" fmla="*/ 499166 h 1029528"/>
                <a:gd name="connsiteX341" fmla="*/ 228048 w 983364"/>
                <a:gd name="connsiteY341" fmla="*/ 512852 h 1029528"/>
                <a:gd name="connsiteX342" fmla="*/ 231100 w 983364"/>
                <a:gd name="connsiteY342" fmla="*/ 520456 h 1029528"/>
                <a:gd name="connsiteX343" fmla="*/ 231100 w 983364"/>
                <a:gd name="connsiteY343" fmla="*/ 528060 h 1029528"/>
                <a:gd name="connsiteX344" fmla="*/ 231100 w 983364"/>
                <a:gd name="connsiteY344" fmla="*/ 535662 h 1029528"/>
                <a:gd name="connsiteX345" fmla="*/ 228048 w 983364"/>
                <a:gd name="connsiteY345" fmla="*/ 546306 h 1029528"/>
                <a:gd name="connsiteX346" fmla="*/ 223470 w 983364"/>
                <a:gd name="connsiteY346" fmla="*/ 552390 h 1029528"/>
                <a:gd name="connsiteX347" fmla="*/ 214313 w 983364"/>
                <a:gd name="connsiteY347" fmla="*/ 553910 h 1029528"/>
                <a:gd name="connsiteX348" fmla="*/ 208209 w 983364"/>
                <a:gd name="connsiteY348" fmla="*/ 553910 h 1029528"/>
                <a:gd name="connsiteX349" fmla="*/ 203631 w 983364"/>
                <a:gd name="connsiteY349" fmla="*/ 552390 h 1029528"/>
                <a:gd name="connsiteX350" fmla="*/ 196000 w 983364"/>
                <a:gd name="connsiteY350" fmla="*/ 550868 h 1029528"/>
                <a:gd name="connsiteX351" fmla="*/ 189896 w 983364"/>
                <a:gd name="connsiteY351" fmla="*/ 550868 h 1029528"/>
                <a:gd name="connsiteX352" fmla="*/ 188370 w 983364"/>
                <a:gd name="connsiteY352" fmla="*/ 546306 h 1029528"/>
                <a:gd name="connsiteX353" fmla="*/ 189896 w 983364"/>
                <a:gd name="connsiteY353" fmla="*/ 541744 h 1029528"/>
                <a:gd name="connsiteX354" fmla="*/ 186844 w 983364"/>
                <a:gd name="connsiteY354" fmla="*/ 537182 h 1029528"/>
                <a:gd name="connsiteX355" fmla="*/ 186844 w 983364"/>
                <a:gd name="connsiteY355" fmla="*/ 534142 h 1029528"/>
                <a:gd name="connsiteX356" fmla="*/ 186844 w 983364"/>
                <a:gd name="connsiteY356" fmla="*/ 526538 h 1029528"/>
                <a:gd name="connsiteX357" fmla="*/ 188370 w 983364"/>
                <a:gd name="connsiteY357" fmla="*/ 521976 h 1029528"/>
                <a:gd name="connsiteX358" fmla="*/ 183792 w 983364"/>
                <a:gd name="connsiteY358" fmla="*/ 517414 h 1029528"/>
                <a:gd name="connsiteX359" fmla="*/ 182266 w 983364"/>
                <a:gd name="connsiteY359" fmla="*/ 512852 h 1029528"/>
                <a:gd name="connsiteX360" fmla="*/ 180740 w 983364"/>
                <a:gd name="connsiteY360" fmla="*/ 508290 h 1029528"/>
                <a:gd name="connsiteX361" fmla="*/ 180740 w 983364"/>
                <a:gd name="connsiteY361" fmla="*/ 506770 h 1029528"/>
                <a:gd name="connsiteX362" fmla="*/ 182266 w 983364"/>
                <a:gd name="connsiteY362" fmla="*/ 505250 h 1029528"/>
                <a:gd name="connsiteX363" fmla="*/ 180740 w 983364"/>
                <a:gd name="connsiteY363" fmla="*/ 505250 h 1029528"/>
                <a:gd name="connsiteX364" fmla="*/ 177688 w 983364"/>
                <a:gd name="connsiteY364" fmla="*/ 502208 h 1029528"/>
                <a:gd name="connsiteX365" fmla="*/ 176161 w 983364"/>
                <a:gd name="connsiteY365" fmla="*/ 499166 h 1029528"/>
                <a:gd name="connsiteX366" fmla="*/ 176161 w 983364"/>
                <a:gd name="connsiteY366" fmla="*/ 496126 h 1029528"/>
                <a:gd name="connsiteX367" fmla="*/ 170057 w 983364"/>
                <a:gd name="connsiteY367" fmla="*/ 494604 h 1029528"/>
                <a:gd name="connsiteX368" fmla="*/ 165479 w 983364"/>
                <a:gd name="connsiteY368" fmla="*/ 493084 h 1029528"/>
                <a:gd name="connsiteX369" fmla="*/ 165479 w 983364"/>
                <a:gd name="connsiteY369" fmla="*/ 490042 h 1029528"/>
                <a:gd name="connsiteX370" fmla="*/ 171583 w 983364"/>
                <a:gd name="connsiteY370" fmla="*/ 488522 h 1029528"/>
                <a:gd name="connsiteX371" fmla="*/ 168531 w 983364"/>
                <a:gd name="connsiteY371" fmla="*/ 482440 h 1029528"/>
                <a:gd name="connsiteX372" fmla="*/ 174635 w 983364"/>
                <a:gd name="connsiteY372" fmla="*/ 480918 h 1029528"/>
                <a:gd name="connsiteX373" fmla="*/ 179214 w 983364"/>
                <a:gd name="connsiteY373" fmla="*/ 477878 h 1029528"/>
                <a:gd name="connsiteX374" fmla="*/ 179214 w 983364"/>
                <a:gd name="connsiteY374" fmla="*/ 471796 h 1029528"/>
                <a:gd name="connsiteX375" fmla="*/ 182266 w 983364"/>
                <a:gd name="connsiteY375" fmla="*/ 465712 h 1029528"/>
                <a:gd name="connsiteX376" fmla="*/ 189896 w 983364"/>
                <a:gd name="connsiteY376" fmla="*/ 462672 h 1029528"/>
                <a:gd name="connsiteX377" fmla="*/ 197526 w 983364"/>
                <a:gd name="connsiteY377" fmla="*/ 458110 h 1029528"/>
                <a:gd name="connsiteX378" fmla="*/ 511712 w 983364"/>
                <a:gd name="connsiteY378" fmla="*/ 387542 h 1029528"/>
                <a:gd name="connsiteX379" fmla="*/ 517846 w 983364"/>
                <a:gd name="connsiteY379" fmla="*/ 389060 h 1029528"/>
                <a:gd name="connsiteX380" fmla="*/ 519380 w 983364"/>
                <a:gd name="connsiteY380" fmla="*/ 392094 h 1029528"/>
                <a:gd name="connsiteX381" fmla="*/ 525512 w 983364"/>
                <a:gd name="connsiteY381" fmla="*/ 396646 h 1029528"/>
                <a:gd name="connsiteX382" fmla="*/ 527046 w 983364"/>
                <a:gd name="connsiteY382" fmla="*/ 402714 h 1029528"/>
                <a:gd name="connsiteX383" fmla="*/ 528578 w 983364"/>
                <a:gd name="connsiteY383" fmla="*/ 407266 h 1029528"/>
                <a:gd name="connsiteX384" fmla="*/ 530112 w 983364"/>
                <a:gd name="connsiteY384" fmla="*/ 411818 h 1029528"/>
                <a:gd name="connsiteX385" fmla="*/ 533178 w 983364"/>
                <a:gd name="connsiteY385" fmla="*/ 414852 h 1029528"/>
                <a:gd name="connsiteX386" fmla="*/ 534712 w 983364"/>
                <a:gd name="connsiteY386" fmla="*/ 414852 h 1029528"/>
                <a:gd name="connsiteX387" fmla="*/ 536246 w 983364"/>
                <a:gd name="connsiteY387" fmla="*/ 416370 h 1029528"/>
                <a:gd name="connsiteX388" fmla="*/ 536246 w 983364"/>
                <a:gd name="connsiteY388" fmla="*/ 417888 h 1029528"/>
                <a:gd name="connsiteX389" fmla="*/ 537778 w 983364"/>
                <a:gd name="connsiteY389" fmla="*/ 420922 h 1029528"/>
                <a:gd name="connsiteX390" fmla="*/ 542378 w 983364"/>
                <a:gd name="connsiteY390" fmla="*/ 428508 h 1029528"/>
                <a:gd name="connsiteX391" fmla="*/ 545446 w 983364"/>
                <a:gd name="connsiteY391" fmla="*/ 433818 h 1029528"/>
                <a:gd name="connsiteX392" fmla="*/ 550046 w 983364"/>
                <a:gd name="connsiteY392" fmla="*/ 439888 h 1029528"/>
                <a:gd name="connsiteX393" fmla="*/ 554646 w 983364"/>
                <a:gd name="connsiteY393" fmla="*/ 442922 h 1029528"/>
                <a:gd name="connsiteX394" fmla="*/ 562312 w 983364"/>
                <a:gd name="connsiteY394" fmla="*/ 448992 h 1029528"/>
                <a:gd name="connsiteX395" fmla="*/ 565378 w 983364"/>
                <a:gd name="connsiteY395" fmla="*/ 455060 h 1029528"/>
                <a:gd name="connsiteX396" fmla="*/ 569978 w 983364"/>
                <a:gd name="connsiteY396" fmla="*/ 461130 h 1029528"/>
                <a:gd name="connsiteX397" fmla="*/ 573044 w 983364"/>
                <a:gd name="connsiteY397" fmla="*/ 468716 h 1029528"/>
                <a:gd name="connsiteX398" fmla="*/ 576112 w 983364"/>
                <a:gd name="connsiteY398" fmla="*/ 474786 h 1029528"/>
                <a:gd name="connsiteX399" fmla="*/ 579178 w 983364"/>
                <a:gd name="connsiteY399" fmla="*/ 480854 h 1029528"/>
                <a:gd name="connsiteX400" fmla="*/ 574578 w 983364"/>
                <a:gd name="connsiteY400" fmla="*/ 480854 h 1029528"/>
                <a:gd name="connsiteX401" fmla="*/ 569978 w 983364"/>
                <a:gd name="connsiteY401" fmla="*/ 480854 h 1029528"/>
                <a:gd name="connsiteX402" fmla="*/ 563844 w 983364"/>
                <a:gd name="connsiteY402" fmla="*/ 480854 h 1029528"/>
                <a:gd name="connsiteX403" fmla="*/ 560778 w 983364"/>
                <a:gd name="connsiteY403" fmla="*/ 482372 h 1029528"/>
                <a:gd name="connsiteX404" fmla="*/ 557712 w 983364"/>
                <a:gd name="connsiteY404" fmla="*/ 479336 h 1029528"/>
                <a:gd name="connsiteX405" fmla="*/ 556178 w 983364"/>
                <a:gd name="connsiteY405" fmla="*/ 482372 h 1029528"/>
                <a:gd name="connsiteX406" fmla="*/ 554646 w 983364"/>
                <a:gd name="connsiteY406" fmla="*/ 483888 h 1029528"/>
                <a:gd name="connsiteX407" fmla="*/ 553112 w 983364"/>
                <a:gd name="connsiteY407" fmla="*/ 485406 h 1029528"/>
                <a:gd name="connsiteX408" fmla="*/ 546978 w 983364"/>
                <a:gd name="connsiteY408" fmla="*/ 485406 h 1029528"/>
                <a:gd name="connsiteX409" fmla="*/ 543912 w 983364"/>
                <a:gd name="connsiteY409" fmla="*/ 485406 h 1029528"/>
                <a:gd name="connsiteX410" fmla="*/ 540846 w 983364"/>
                <a:gd name="connsiteY410" fmla="*/ 477820 h 1029528"/>
                <a:gd name="connsiteX411" fmla="*/ 548512 w 983364"/>
                <a:gd name="connsiteY411" fmla="*/ 473268 h 1029528"/>
                <a:gd name="connsiteX412" fmla="*/ 559246 w 983364"/>
                <a:gd name="connsiteY412" fmla="*/ 471750 h 1029528"/>
                <a:gd name="connsiteX413" fmla="*/ 560778 w 983364"/>
                <a:gd name="connsiteY413" fmla="*/ 468716 h 1029528"/>
                <a:gd name="connsiteX414" fmla="*/ 562312 w 983364"/>
                <a:gd name="connsiteY414" fmla="*/ 464164 h 1029528"/>
                <a:gd name="connsiteX415" fmla="*/ 560778 w 983364"/>
                <a:gd name="connsiteY415" fmla="*/ 459612 h 1029528"/>
                <a:gd name="connsiteX416" fmla="*/ 557712 w 983364"/>
                <a:gd name="connsiteY416" fmla="*/ 455060 h 1029528"/>
                <a:gd name="connsiteX417" fmla="*/ 551578 w 983364"/>
                <a:gd name="connsiteY417" fmla="*/ 455060 h 1029528"/>
                <a:gd name="connsiteX418" fmla="*/ 550046 w 983364"/>
                <a:gd name="connsiteY418" fmla="*/ 450508 h 1029528"/>
                <a:gd name="connsiteX419" fmla="*/ 545446 w 983364"/>
                <a:gd name="connsiteY419" fmla="*/ 442922 h 1029528"/>
                <a:gd name="connsiteX420" fmla="*/ 539312 w 983364"/>
                <a:gd name="connsiteY420" fmla="*/ 433060 h 1029528"/>
                <a:gd name="connsiteX421" fmla="*/ 537778 w 983364"/>
                <a:gd name="connsiteY421" fmla="*/ 426992 h 1029528"/>
                <a:gd name="connsiteX422" fmla="*/ 533178 w 983364"/>
                <a:gd name="connsiteY422" fmla="*/ 420922 h 1029528"/>
                <a:gd name="connsiteX423" fmla="*/ 530112 w 983364"/>
                <a:gd name="connsiteY423" fmla="*/ 416370 h 1029528"/>
                <a:gd name="connsiteX424" fmla="*/ 522446 w 983364"/>
                <a:gd name="connsiteY424" fmla="*/ 414852 h 1029528"/>
                <a:gd name="connsiteX425" fmla="*/ 523978 w 983364"/>
                <a:gd name="connsiteY425" fmla="*/ 410302 h 1029528"/>
                <a:gd name="connsiteX426" fmla="*/ 522446 w 983364"/>
                <a:gd name="connsiteY426" fmla="*/ 405750 h 1029528"/>
                <a:gd name="connsiteX427" fmla="*/ 519380 w 983364"/>
                <a:gd name="connsiteY427" fmla="*/ 402714 h 1029528"/>
                <a:gd name="connsiteX428" fmla="*/ 516312 w 983364"/>
                <a:gd name="connsiteY428" fmla="*/ 398162 h 1029528"/>
                <a:gd name="connsiteX429" fmla="*/ 513246 w 983364"/>
                <a:gd name="connsiteY429" fmla="*/ 396646 h 1029528"/>
                <a:gd name="connsiteX430" fmla="*/ 510180 w 983364"/>
                <a:gd name="connsiteY430" fmla="*/ 396646 h 1029528"/>
                <a:gd name="connsiteX431" fmla="*/ 508646 w 983364"/>
                <a:gd name="connsiteY431" fmla="*/ 392094 h 1029528"/>
                <a:gd name="connsiteX432" fmla="*/ 504046 w 983364"/>
                <a:gd name="connsiteY432" fmla="*/ 389060 h 1029528"/>
                <a:gd name="connsiteX433" fmla="*/ 255007 w 983364"/>
                <a:gd name="connsiteY433" fmla="*/ 320996 h 1029528"/>
                <a:gd name="connsiteX434" fmla="*/ 262549 w 983364"/>
                <a:gd name="connsiteY434" fmla="*/ 320996 h 1029528"/>
                <a:gd name="connsiteX435" fmla="*/ 267075 w 983364"/>
                <a:gd name="connsiteY435" fmla="*/ 323930 h 1029528"/>
                <a:gd name="connsiteX436" fmla="*/ 270092 w 983364"/>
                <a:gd name="connsiteY436" fmla="*/ 328334 h 1029528"/>
                <a:gd name="connsiteX437" fmla="*/ 261041 w 983364"/>
                <a:gd name="connsiteY437" fmla="*/ 332738 h 1029528"/>
                <a:gd name="connsiteX438" fmla="*/ 253498 w 983364"/>
                <a:gd name="connsiteY438" fmla="*/ 334206 h 1029528"/>
                <a:gd name="connsiteX439" fmla="*/ 245956 w 983364"/>
                <a:gd name="connsiteY439" fmla="*/ 338610 h 1029528"/>
                <a:gd name="connsiteX440" fmla="*/ 239922 w 983364"/>
                <a:gd name="connsiteY440" fmla="*/ 338610 h 1029528"/>
                <a:gd name="connsiteX441" fmla="*/ 232379 w 983364"/>
                <a:gd name="connsiteY441" fmla="*/ 334206 h 1029528"/>
                <a:gd name="connsiteX442" fmla="*/ 226345 w 983364"/>
                <a:gd name="connsiteY442" fmla="*/ 334206 h 1029528"/>
                <a:gd name="connsiteX443" fmla="*/ 226345 w 983364"/>
                <a:gd name="connsiteY443" fmla="*/ 328334 h 1029528"/>
                <a:gd name="connsiteX444" fmla="*/ 233888 w 983364"/>
                <a:gd name="connsiteY444" fmla="*/ 323930 h 1029528"/>
                <a:gd name="connsiteX445" fmla="*/ 239922 w 983364"/>
                <a:gd name="connsiteY445" fmla="*/ 323930 h 1029528"/>
                <a:gd name="connsiteX446" fmla="*/ 124516 w 983364"/>
                <a:gd name="connsiteY446" fmla="*/ 299464 h 1029528"/>
                <a:gd name="connsiteX447" fmla="*/ 132113 w 983364"/>
                <a:gd name="connsiteY447" fmla="*/ 304004 h 1029528"/>
                <a:gd name="connsiteX448" fmla="*/ 136671 w 983364"/>
                <a:gd name="connsiteY448" fmla="*/ 313086 h 1029528"/>
                <a:gd name="connsiteX449" fmla="*/ 141228 w 983364"/>
                <a:gd name="connsiteY449" fmla="*/ 310060 h 1029528"/>
                <a:gd name="connsiteX450" fmla="*/ 147306 w 983364"/>
                <a:gd name="connsiteY450" fmla="*/ 307032 h 1029528"/>
                <a:gd name="connsiteX451" fmla="*/ 154902 w 983364"/>
                <a:gd name="connsiteY451" fmla="*/ 313086 h 1029528"/>
                <a:gd name="connsiteX452" fmla="*/ 151864 w 983364"/>
                <a:gd name="connsiteY452" fmla="*/ 317628 h 1029528"/>
                <a:gd name="connsiteX453" fmla="*/ 159460 w 983364"/>
                <a:gd name="connsiteY453" fmla="*/ 320654 h 1029528"/>
                <a:gd name="connsiteX454" fmla="*/ 159460 w 983364"/>
                <a:gd name="connsiteY454" fmla="*/ 322168 h 1029528"/>
                <a:gd name="connsiteX455" fmla="*/ 159460 w 983364"/>
                <a:gd name="connsiteY455" fmla="*/ 325196 h 1029528"/>
                <a:gd name="connsiteX456" fmla="*/ 156422 w 983364"/>
                <a:gd name="connsiteY456" fmla="*/ 332764 h 1029528"/>
                <a:gd name="connsiteX457" fmla="*/ 159460 w 983364"/>
                <a:gd name="connsiteY457" fmla="*/ 341846 h 1029528"/>
                <a:gd name="connsiteX458" fmla="*/ 162499 w 983364"/>
                <a:gd name="connsiteY458" fmla="*/ 337304 h 1029528"/>
                <a:gd name="connsiteX459" fmla="*/ 162499 w 983364"/>
                <a:gd name="connsiteY459" fmla="*/ 344872 h 1029528"/>
                <a:gd name="connsiteX460" fmla="*/ 164018 w 983364"/>
                <a:gd name="connsiteY460" fmla="*/ 350928 h 1029528"/>
                <a:gd name="connsiteX461" fmla="*/ 168576 w 983364"/>
                <a:gd name="connsiteY461" fmla="*/ 361522 h 1029528"/>
                <a:gd name="connsiteX462" fmla="*/ 174654 w 983364"/>
                <a:gd name="connsiteY462" fmla="*/ 366064 h 1029528"/>
                <a:gd name="connsiteX463" fmla="*/ 180731 w 983364"/>
                <a:gd name="connsiteY463" fmla="*/ 372118 h 1029528"/>
                <a:gd name="connsiteX464" fmla="*/ 186808 w 983364"/>
                <a:gd name="connsiteY464" fmla="*/ 379686 h 1029528"/>
                <a:gd name="connsiteX465" fmla="*/ 192886 w 983364"/>
                <a:gd name="connsiteY465" fmla="*/ 387254 h 1029528"/>
                <a:gd name="connsiteX466" fmla="*/ 194405 w 983364"/>
                <a:gd name="connsiteY466" fmla="*/ 394822 h 1029528"/>
                <a:gd name="connsiteX467" fmla="*/ 192886 w 983364"/>
                <a:gd name="connsiteY467" fmla="*/ 402390 h 1029528"/>
                <a:gd name="connsiteX468" fmla="*/ 194405 w 983364"/>
                <a:gd name="connsiteY468" fmla="*/ 408446 h 1029528"/>
                <a:gd name="connsiteX469" fmla="*/ 194405 w 983364"/>
                <a:gd name="connsiteY469" fmla="*/ 414500 h 1029528"/>
                <a:gd name="connsiteX470" fmla="*/ 198963 w 983364"/>
                <a:gd name="connsiteY470" fmla="*/ 417526 h 1029528"/>
                <a:gd name="connsiteX471" fmla="*/ 198963 w 983364"/>
                <a:gd name="connsiteY471" fmla="*/ 425096 h 1029528"/>
                <a:gd name="connsiteX472" fmla="*/ 192886 w 983364"/>
                <a:gd name="connsiteY472" fmla="*/ 428122 h 1029528"/>
                <a:gd name="connsiteX473" fmla="*/ 197444 w 983364"/>
                <a:gd name="connsiteY473" fmla="*/ 431150 h 1029528"/>
                <a:gd name="connsiteX474" fmla="*/ 200482 w 983364"/>
                <a:gd name="connsiteY474" fmla="*/ 437960 h 1029528"/>
                <a:gd name="connsiteX475" fmla="*/ 203521 w 983364"/>
                <a:gd name="connsiteY475" fmla="*/ 447042 h 1029528"/>
                <a:gd name="connsiteX476" fmla="*/ 195924 w 983364"/>
                <a:gd name="connsiteY476" fmla="*/ 447042 h 1029528"/>
                <a:gd name="connsiteX477" fmla="*/ 191366 w 983364"/>
                <a:gd name="connsiteY477" fmla="*/ 450070 h 1029528"/>
                <a:gd name="connsiteX478" fmla="*/ 185289 w 983364"/>
                <a:gd name="connsiteY478" fmla="*/ 451584 h 1029528"/>
                <a:gd name="connsiteX479" fmla="*/ 183770 w 983364"/>
                <a:gd name="connsiteY479" fmla="*/ 445528 h 1029528"/>
                <a:gd name="connsiteX480" fmla="*/ 186808 w 983364"/>
                <a:gd name="connsiteY480" fmla="*/ 439474 h 1029528"/>
                <a:gd name="connsiteX481" fmla="*/ 177692 w 983364"/>
                <a:gd name="connsiteY481" fmla="*/ 439474 h 1029528"/>
                <a:gd name="connsiteX482" fmla="*/ 173134 w 983364"/>
                <a:gd name="connsiteY482" fmla="*/ 442502 h 1029528"/>
                <a:gd name="connsiteX483" fmla="*/ 177692 w 983364"/>
                <a:gd name="connsiteY483" fmla="*/ 447042 h 1029528"/>
                <a:gd name="connsiteX484" fmla="*/ 174654 w 983364"/>
                <a:gd name="connsiteY484" fmla="*/ 448556 h 1029528"/>
                <a:gd name="connsiteX485" fmla="*/ 167057 w 983364"/>
                <a:gd name="connsiteY485" fmla="*/ 447042 h 1029528"/>
                <a:gd name="connsiteX486" fmla="*/ 167057 w 983364"/>
                <a:gd name="connsiteY486" fmla="*/ 451584 h 1029528"/>
                <a:gd name="connsiteX487" fmla="*/ 159460 w 983364"/>
                <a:gd name="connsiteY487" fmla="*/ 450070 h 1029528"/>
                <a:gd name="connsiteX488" fmla="*/ 154902 w 983364"/>
                <a:gd name="connsiteY488" fmla="*/ 450070 h 1029528"/>
                <a:gd name="connsiteX489" fmla="*/ 148825 w 983364"/>
                <a:gd name="connsiteY489" fmla="*/ 453098 h 1029528"/>
                <a:gd name="connsiteX490" fmla="*/ 153383 w 983364"/>
                <a:gd name="connsiteY490" fmla="*/ 457638 h 1029528"/>
                <a:gd name="connsiteX491" fmla="*/ 156422 w 983364"/>
                <a:gd name="connsiteY491" fmla="*/ 457638 h 1029528"/>
                <a:gd name="connsiteX492" fmla="*/ 162499 w 983364"/>
                <a:gd name="connsiteY492" fmla="*/ 457638 h 1029528"/>
                <a:gd name="connsiteX493" fmla="*/ 165538 w 983364"/>
                <a:gd name="connsiteY493" fmla="*/ 462178 h 1029528"/>
                <a:gd name="connsiteX494" fmla="*/ 164018 w 983364"/>
                <a:gd name="connsiteY494" fmla="*/ 466720 h 1029528"/>
                <a:gd name="connsiteX495" fmla="*/ 154902 w 983364"/>
                <a:gd name="connsiteY495" fmla="*/ 469748 h 1029528"/>
                <a:gd name="connsiteX496" fmla="*/ 147306 w 983364"/>
                <a:gd name="connsiteY496" fmla="*/ 463692 h 1029528"/>
                <a:gd name="connsiteX497" fmla="*/ 145786 w 983364"/>
                <a:gd name="connsiteY497" fmla="*/ 456124 h 1029528"/>
                <a:gd name="connsiteX498" fmla="*/ 141228 w 983364"/>
                <a:gd name="connsiteY498" fmla="*/ 447042 h 1029528"/>
                <a:gd name="connsiteX499" fmla="*/ 136671 w 983364"/>
                <a:gd name="connsiteY499" fmla="*/ 444016 h 1029528"/>
                <a:gd name="connsiteX500" fmla="*/ 129074 w 983364"/>
                <a:gd name="connsiteY500" fmla="*/ 439474 h 1029528"/>
                <a:gd name="connsiteX501" fmla="*/ 124516 w 983364"/>
                <a:gd name="connsiteY501" fmla="*/ 433420 h 1029528"/>
                <a:gd name="connsiteX502" fmla="*/ 132113 w 983364"/>
                <a:gd name="connsiteY502" fmla="*/ 426608 h 1029528"/>
                <a:gd name="connsiteX503" fmla="*/ 119958 w 983364"/>
                <a:gd name="connsiteY503" fmla="*/ 432664 h 1029528"/>
                <a:gd name="connsiteX504" fmla="*/ 113881 w 983364"/>
                <a:gd name="connsiteY504" fmla="*/ 428122 h 1029528"/>
                <a:gd name="connsiteX505" fmla="*/ 100207 w 983364"/>
                <a:gd name="connsiteY505" fmla="*/ 419040 h 1029528"/>
                <a:gd name="connsiteX506" fmla="*/ 78936 w 983364"/>
                <a:gd name="connsiteY506" fmla="*/ 402390 h 1029528"/>
                <a:gd name="connsiteX507" fmla="*/ 86533 w 983364"/>
                <a:gd name="connsiteY507" fmla="*/ 399364 h 1029528"/>
                <a:gd name="connsiteX508" fmla="*/ 91091 w 983364"/>
                <a:gd name="connsiteY508" fmla="*/ 391796 h 1029528"/>
                <a:gd name="connsiteX509" fmla="*/ 98687 w 983364"/>
                <a:gd name="connsiteY509" fmla="*/ 391796 h 1029528"/>
                <a:gd name="connsiteX510" fmla="*/ 100207 w 983364"/>
                <a:gd name="connsiteY510" fmla="*/ 385740 h 1029528"/>
                <a:gd name="connsiteX511" fmla="*/ 104765 w 983364"/>
                <a:gd name="connsiteY511" fmla="*/ 379686 h 1029528"/>
                <a:gd name="connsiteX512" fmla="*/ 106284 w 983364"/>
                <a:gd name="connsiteY512" fmla="*/ 373632 h 1029528"/>
                <a:gd name="connsiteX513" fmla="*/ 110842 w 983364"/>
                <a:gd name="connsiteY513" fmla="*/ 375146 h 1029528"/>
                <a:gd name="connsiteX514" fmla="*/ 116919 w 983364"/>
                <a:gd name="connsiteY514" fmla="*/ 369090 h 1029528"/>
                <a:gd name="connsiteX515" fmla="*/ 115400 w 983364"/>
                <a:gd name="connsiteY515" fmla="*/ 363036 h 1029528"/>
                <a:gd name="connsiteX516" fmla="*/ 122997 w 983364"/>
                <a:gd name="connsiteY516" fmla="*/ 358496 h 1029528"/>
                <a:gd name="connsiteX517" fmla="*/ 129074 w 983364"/>
                <a:gd name="connsiteY517" fmla="*/ 349414 h 1029528"/>
                <a:gd name="connsiteX518" fmla="*/ 127555 w 983364"/>
                <a:gd name="connsiteY518" fmla="*/ 340332 h 1029528"/>
                <a:gd name="connsiteX519" fmla="*/ 130593 w 983364"/>
                <a:gd name="connsiteY519" fmla="*/ 338818 h 1029528"/>
                <a:gd name="connsiteX520" fmla="*/ 132113 w 983364"/>
                <a:gd name="connsiteY520" fmla="*/ 329736 h 1029528"/>
                <a:gd name="connsiteX521" fmla="*/ 127555 w 983364"/>
                <a:gd name="connsiteY521" fmla="*/ 322168 h 1029528"/>
                <a:gd name="connsiteX522" fmla="*/ 126035 w 983364"/>
                <a:gd name="connsiteY522" fmla="*/ 314600 h 1029528"/>
                <a:gd name="connsiteX523" fmla="*/ 119958 w 983364"/>
                <a:gd name="connsiteY523" fmla="*/ 310060 h 1029528"/>
                <a:gd name="connsiteX524" fmla="*/ 116919 w 983364"/>
                <a:gd name="connsiteY524" fmla="*/ 300978 h 1029528"/>
                <a:gd name="connsiteX525" fmla="*/ 358539 w 983364"/>
                <a:gd name="connsiteY525" fmla="*/ 235852 h 1029528"/>
                <a:gd name="connsiteX526" fmla="*/ 361582 w 983364"/>
                <a:gd name="connsiteY526" fmla="*/ 238888 h 1029528"/>
                <a:gd name="connsiteX527" fmla="*/ 357017 w 983364"/>
                <a:gd name="connsiteY527" fmla="*/ 238888 h 1029528"/>
                <a:gd name="connsiteX528" fmla="*/ 357017 w 983364"/>
                <a:gd name="connsiteY528" fmla="*/ 246474 h 1029528"/>
                <a:gd name="connsiteX529" fmla="*/ 364625 w 983364"/>
                <a:gd name="connsiteY529" fmla="*/ 246474 h 1029528"/>
                <a:gd name="connsiteX530" fmla="*/ 366147 w 983364"/>
                <a:gd name="connsiteY530" fmla="*/ 251026 h 1029528"/>
                <a:gd name="connsiteX531" fmla="*/ 372234 w 983364"/>
                <a:gd name="connsiteY531" fmla="*/ 255578 h 1029528"/>
                <a:gd name="connsiteX532" fmla="*/ 381364 w 983364"/>
                <a:gd name="connsiteY532" fmla="*/ 261648 h 1029528"/>
                <a:gd name="connsiteX533" fmla="*/ 384407 w 983364"/>
                <a:gd name="connsiteY533" fmla="*/ 264682 h 1029528"/>
                <a:gd name="connsiteX534" fmla="*/ 387450 w 983364"/>
                <a:gd name="connsiteY534" fmla="*/ 269234 h 1029528"/>
                <a:gd name="connsiteX535" fmla="*/ 388972 w 983364"/>
                <a:gd name="connsiteY535" fmla="*/ 270752 h 1029528"/>
                <a:gd name="connsiteX536" fmla="*/ 392015 w 983364"/>
                <a:gd name="connsiteY536" fmla="*/ 270752 h 1029528"/>
                <a:gd name="connsiteX537" fmla="*/ 396580 w 983364"/>
                <a:gd name="connsiteY537" fmla="*/ 272270 h 1029528"/>
                <a:gd name="connsiteX538" fmla="*/ 404188 w 983364"/>
                <a:gd name="connsiteY538" fmla="*/ 275304 h 1029528"/>
                <a:gd name="connsiteX539" fmla="*/ 410275 w 983364"/>
                <a:gd name="connsiteY539" fmla="*/ 272270 h 1029528"/>
                <a:gd name="connsiteX540" fmla="*/ 417883 w 983364"/>
                <a:gd name="connsiteY540" fmla="*/ 281374 h 1029528"/>
                <a:gd name="connsiteX541" fmla="*/ 425492 w 983364"/>
                <a:gd name="connsiteY541" fmla="*/ 290478 h 1029528"/>
                <a:gd name="connsiteX542" fmla="*/ 431578 w 983364"/>
                <a:gd name="connsiteY542" fmla="*/ 296546 h 1029528"/>
                <a:gd name="connsiteX543" fmla="*/ 439186 w 983364"/>
                <a:gd name="connsiteY543" fmla="*/ 302616 h 1029528"/>
                <a:gd name="connsiteX544" fmla="*/ 446795 w 983364"/>
                <a:gd name="connsiteY544" fmla="*/ 307168 h 1029528"/>
                <a:gd name="connsiteX545" fmla="*/ 449838 w 983364"/>
                <a:gd name="connsiteY545" fmla="*/ 319306 h 1029528"/>
                <a:gd name="connsiteX546" fmla="*/ 449838 w 983364"/>
                <a:gd name="connsiteY546" fmla="*/ 328410 h 1029528"/>
                <a:gd name="connsiteX547" fmla="*/ 445273 w 983364"/>
                <a:gd name="connsiteY547" fmla="*/ 340550 h 1029528"/>
                <a:gd name="connsiteX548" fmla="*/ 443751 w 983364"/>
                <a:gd name="connsiteY548" fmla="*/ 349654 h 1029528"/>
                <a:gd name="connsiteX549" fmla="*/ 446795 w 983364"/>
                <a:gd name="connsiteY549" fmla="*/ 358758 h 1029528"/>
                <a:gd name="connsiteX550" fmla="*/ 445273 w 983364"/>
                <a:gd name="connsiteY550" fmla="*/ 366344 h 1029528"/>
                <a:gd name="connsiteX551" fmla="*/ 439186 w 983364"/>
                <a:gd name="connsiteY551" fmla="*/ 373930 h 1029528"/>
                <a:gd name="connsiteX552" fmla="*/ 439186 w 983364"/>
                <a:gd name="connsiteY552" fmla="*/ 383034 h 1029528"/>
                <a:gd name="connsiteX553" fmla="*/ 442230 w 983364"/>
                <a:gd name="connsiteY553" fmla="*/ 389104 h 1029528"/>
                <a:gd name="connsiteX554" fmla="*/ 445273 w 983364"/>
                <a:gd name="connsiteY554" fmla="*/ 392138 h 1029528"/>
                <a:gd name="connsiteX555" fmla="*/ 445273 w 983364"/>
                <a:gd name="connsiteY555" fmla="*/ 401244 h 1029528"/>
                <a:gd name="connsiteX556" fmla="*/ 437665 w 983364"/>
                <a:gd name="connsiteY556" fmla="*/ 393656 h 1029528"/>
                <a:gd name="connsiteX557" fmla="*/ 433100 w 983364"/>
                <a:gd name="connsiteY557" fmla="*/ 384552 h 1029528"/>
                <a:gd name="connsiteX558" fmla="*/ 430057 w 983364"/>
                <a:gd name="connsiteY558" fmla="*/ 378482 h 1029528"/>
                <a:gd name="connsiteX559" fmla="*/ 425492 w 983364"/>
                <a:gd name="connsiteY559" fmla="*/ 373930 h 1029528"/>
                <a:gd name="connsiteX560" fmla="*/ 416362 w 983364"/>
                <a:gd name="connsiteY560" fmla="*/ 370896 h 1029528"/>
                <a:gd name="connsiteX561" fmla="*/ 413318 w 983364"/>
                <a:gd name="connsiteY561" fmla="*/ 363310 h 1029528"/>
                <a:gd name="connsiteX562" fmla="*/ 420927 w 983364"/>
                <a:gd name="connsiteY562" fmla="*/ 366344 h 1029528"/>
                <a:gd name="connsiteX563" fmla="*/ 427013 w 983364"/>
                <a:gd name="connsiteY563" fmla="*/ 370896 h 1029528"/>
                <a:gd name="connsiteX564" fmla="*/ 434621 w 983364"/>
                <a:gd name="connsiteY564" fmla="*/ 370896 h 1029528"/>
                <a:gd name="connsiteX565" fmla="*/ 439186 w 983364"/>
                <a:gd name="connsiteY565" fmla="*/ 364826 h 1029528"/>
                <a:gd name="connsiteX566" fmla="*/ 442230 w 983364"/>
                <a:gd name="connsiteY566" fmla="*/ 361792 h 1029528"/>
                <a:gd name="connsiteX567" fmla="*/ 440708 w 983364"/>
                <a:gd name="connsiteY567" fmla="*/ 352688 h 1029528"/>
                <a:gd name="connsiteX568" fmla="*/ 437665 w 983364"/>
                <a:gd name="connsiteY568" fmla="*/ 358758 h 1029528"/>
                <a:gd name="connsiteX569" fmla="*/ 436143 w 983364"/>
                <a:gd name="connsiteY569" fmla="*/ 355722 h 1029528"/>
                <a:gd name="connsiteX570" fmla="*/ 436143 w 983364"/>
                <a:gd name="connsiteY570" fmla="*/ 346618 h 1029528"/>
                <a:gd name="connsiteX571" fmla="*/ 437665 w 983364"/>
                <a:gd name="connsiteY571" fmla="*/ 340550 h 1029528"/>
                <a:gd name="connsiteX572" fmla="*/ 440708 w 983364"/>
                <a:gd name="connsiteY572" fmla="*/ 335998 h 1029528"/>
                <a:gd name="connsiteX573" fmla="*/ 445273 w 983364"/>
                <a:gd name="connsiteY573" fmla="*/ 331446 h 1029528"/>
                <a:gd name="connsiteX574" fmla="*/ 445273 w 983364"/>
                <a:gd name="connsiteY574" fmla="*/ 320824 h 1029528"/>
                <a:gd name="connsiteX575" fmla="*/ 445273 w 983364"/>
                <a:gd name="connsiteY575" fmla="*/ 313238 h 1029528"/>
                <a:gd name="connsiteX576" fmla="*/ 436143 w 983364"/>
                <a:gd name="connsiteY576" fmla="*/ 308686 h 1029528"/>
                <a:gd name="connsiteX577" fmla="*/ 428535 w 983364"/>
                <a:gd name="connsiteY577" fmla="*/ 299582 h 1029528"/>
                <a:gd name="connsiteX578" fmla="*/ 419405 w 983364"/>
                <a:gd name="connsiteY578" fmla="*/ 290478 h 1029528"/>
                <a:gd name="connsiteX579" fmla="*/ 411797 w 983364"/>
                <a:gd name="connsiteY579" fmla="*/ 278338 h 1029528"/>
                <a:gd name="connsiteX580" fmla="*/ 401145 w 983364"/>
                <a:gd name="connsiteY580" fmla="*/ 276822 h 1029528"/>
                <a:gd name="connsiteX581" fmla="*/ 393537 w 983364"/>
                <a:gd name="connsiteY581" fmla="*/ 276822 h 1029528"/>
                <a:gd name="connsiteX582" fmla="*/ 382885 w 983364"/>
                <a:gd name="connsiteY582" fmla="*/ 270752 h 1029528"/>
                <a:gd name="connsiteX583" fmla="*/ 378320 w 983364"/>
                <a:gd name="connsiteY583" fmla="*/ 264682 h 1029528"/>
                <a:gd name="connsiteX584" fmla="*/ 370712 w 983364"/>
                <a:gd name="connsiteY584" fmla="*/ 260130 h 1029528"/>
                <a:gd name="connsiteX585" fmla="*/ 366147 w 983364"/>
                <a:gd name="connsiteY585" fmla="*/ 258614 h 1029528"/>
                <a:gd name="connsiteX586" fmla="*/ 357017 w 983364"/>
                <a:gd name="connsiteY586" fmla="*/ 257096 h 1029528"/>
                <a:gd name="connsiteX587" fmla="*/ 346366 w 983364"/>
                <a:gd name="connsiteY587" fmla="*/ 263166 h 1029528"/>
                <a:gd name="connsiteX588" fmla="*/ 340279 w 983364"/>
                <a:gd name="connsiteY588" fmla="*/ 272270 h 1029528"/>
                <a:gd name="connsiteX589" fmla="*/ 335714 w 983364"/>
                <a:gd name="connsiteY589" fmla="*/ 276822 h 1029528"/>
                <a:gd name="connsiteX590" fmla="*/ 344844 w 983364"/>
                <a:gd name="connsiteY590" fmla="*/ 261648 h 1029528"/>
                <a:gd name="connsiteX591" fmla="*/ 347887 w 983364"/>
                <a:gd name="connsiteY591" fmla="*/ 257096 h 1029528"/>
                <a:gd name="connsiteX592" fmla="*/ 350931 w 983364"/>
                <a:gd name="connsiteY592" fmla="*/ 249510 h 1029528"/>
                <a:gd name="connsiteX593" fmla="*/ 353974 w 983364"/>
                <a:gd name="connsiteY593" fmla="*/ 241922 h 1029528"/>
                <a:gd name="connsiteX594" fmla="*/ 352452 w 983364"/>
                <a:gd name="connsiteY594" fmla="*/ 237370 h 1029528"/>
                <a:gd name="connsiteX595" fmla="*/ 63844 w 983364"/>
                <a:gd name="connsiteY595" fmla="*/ 22510 h 1029528"/>
                <a:gd name="connsiteX596" fmla="*/ 66884 w 983364"/>
                <a:gd name="connsiteY596" fmla="*/ 22510 h 1029528"/>
                <a:gd name="connsiteX597" fmla="*/ 69924 w 983364"/>
                <a:gd name="connsiteY597" fmla="*/ 28612 h 1029528"/>
                <a:gd name="connsiteX598" fmla="*/ 69924 w 983364"/>
                <a:gd name="connsiteY598" fmla="*/ 34714 h 1029528"/>
                <a:gd name="connsiteX599" fmla="*/ 74484 w 983364"/>
                <a:gd name="connsiteY599" fmla="*/ 33188 h 1029528"/>
                <a:gd name="connsiteX600" fmla="*/ 83605 w 983364"/>
                <a:gd name="connsiteY600" fmla="*/ 33188 h 1029528"/>
                <a:gd name="connsiteX601" fmla="*/ 91205 w 983364"/>
                <a:gd name="connsiteY601" fmla="*/ 37766 h 1029528"/>
                <a:gd name="connsiteX602" fmla="*/ 104886 w 983364"/>
                <a:gd name="connsiteY602" fmla="*/ 40816 h 1029528"/>
                <a:gd name="connsiteX603" fmla="*/ 112487 w 983364"/>
                <a:gd name="connsiteY603" fmla="*/ 39290 h 1029528"/>
                <a:gd name="connsiteX604" fmla="*/ 106406 w 983364"/>
                <a:gd name="connsiteY604" fmla="*/ 33188 h 1029528"/>
                <a:gd name="connsiteX605" fmla="*/ 107926 w 983364"/>
                <a:gd name="connsiteY605" fmla="*/ 28612 h 1029528"/>
                <a:gd name="connsiteX606" fmla="*/ 112487 w 983364"/>
                <a:gd name="connsiteY606" fmla="*/ 33188 h 1029528"/>
                <a:gd name="connsiteX607" fmla="*/ 120087 w 983364"/>
                <a:gd name="connsiteY607" fmla="*/ 34714 h 1029528"/>
                <a:gd name="connsiteX608" fmla="*/ 129208 w 983364"/>
                <a:gd name="connsiteY608" fmla="*/ 34714 h 1029528"/>
                <a:gd name="connsiteX609" fmla="*/ 138328 w 983364"/>
                <a:gd name="connsiteY609" fmla="*/ 37766 h 1029528"/>
                <a:gd name="connsiteX610" fmla="*/ 138328 w 983364"/>
                <a:gd name="connsiteY610" fmla="*/ 36240 h 1029528"/>
                <a:gd name="connsiteX611" fmla="*/ 141368 w 983364"/>
                <a:gd name="connsiteY611" fmla="*/ 33188 h 1029528"/>
                <a:gd name="connsiteX612" fmla="*/ 147449 w 983364"/>
                <a:gd name="connsiteY612" fmla="*/ 31664 h 1029528"/>
                <a:gd name="connsiteX613" fmla="*/ 152009 w 983364"/>
                <a:gd name="connsiteY613" fmla="*/ 31664 h 1029528"/>
                <a:gd name="connsiteX614" fmla="*/ 155049 w 983364"/>
                <a:gd name="connsiteY614" fmla="*/ 33188 h 1029528"/>
                <a:gd name="connsiteX615" fmla="*/ 156569 w 983364"/>
                <a:gd name="connsiteY615" fmla="*/ 34714 h 1029528"/>
                <a:gd name="connsiteX616" fmla="*/ 159609 w 983364"/>
                <a:gd name="connsiteY616" fmla="*/ 34714 h 1029528"/>
                <a:gd name="connsiteX617" fmla="*/ 165690 w 983364"/>
                <a:gd name="connsiteY617" fmla="*/ 31664 h 1029528"/>
                <a:gd name="connsiteX618" fmla="*/ 170250 w 983364"/>
                <a:gd name="connsiteY618" fmla="*/ 28612 h 1029528"/>
                <a:gd name="connsiteX619" fmla="*/ 170250 w 983364"/>
                <a:gd name="connsiteY619" fmla="*/ 34714 h 1029528"/>
                <a:gd name="connsiteX620" fmla="*/ 171770 w 983364"/>
                <a:gd name="connsiteY620" fmla="*/ 42342 h 1029528"/>
                <a:gd name="connsiteX621" fmla="*/ 180891 w 983364"/>
                <a:gd name="connsiteY621" fmla="*/ 48444 h 1029528"/>
                <a:gd name="connsiteX622" fmla="*/ 183931 w 983364"/>
                <a:gd name="connsiteY622" fmla="*/ 56072 h 1029528"/>
                <a:gd name="connsiteX623" fmla="*/ 185451 w 983364"/>
                <a:gd name="connsiteY623" fmla="*/ 62174 h 1029528"/>
                <a:gd name="connsiteX624" fmla="*/ 180891 w 983364"/>
                <a:gd name="connsiteY624" fmla="*/ 65224 h 1029528"/>
                <a:gd name="connsiteX625" fmla="*/ 173290 w 983364"/>
                <a:gd name="connsiteY625" fmla="*/ 59122 h 1029528"/>
                <a:gd name="connsiteX626" fmla="*/ 167210 w 983364"/>
                <a:gd name="connsiteY626" fmla="*/ 48444 h 1029528"/>
                <a:gd name="connsiteX627" fmla="*/ 159609 w 983364"/>
                <a:gd name="connsiteY627" fmla="*/ 46918 h 1029528"/>
                <a:gd name="connsiteX628" fmla="*/ 139848 w 983364"/>
                <a:gd name="connsiteY628" fmla="*/ 46918 h 1029528"/>
                <a:gd name="connsiteX629" fmla="*/ 123127 w 983364"/>
                <a:gd name="connsiteY629" fmla="*/ 48444 h 1029528"/>
                <a:gd name="connsiteX630" fmla="*/ 115527 w 983364"/>
                <a:gd name="connsiteY630" fmla="*/ 53020 h 1029528"/>
                <a:gd name="connsiteX631" fmla="*/ 103366 w 983364"/>
                <a:gd name="connsiteY631" fmla="*/ 51496 h 1029528"/>
                <a:gd name="connsiteX632" fmla="*/ 92726 w 983364"/>
                <a:gd name="connsiteY632" fmla="*/ 56072 h 1029528"/>
                <a:gd name="connsiteX633" fmla="*/ 83605 w 983364"/>
                <a:gd name="connsiteY633" fmla="*/ 56072 h 1029528"/>
                <a:gd name="connsiteX634" fmla="*/ 72964 w 983364"/>
                <a:gd name="connsiteY634" fmla="*/ 62174 h 1029528"/>
                <a:gd name="connsiteX635" fmla="*/ 65364 w 983364"/>
                <a:gd name="connsiteY635" fmla="*/ 65224 h 1029528"/>
                <a:gd name="connsiteX636" fmla="*/ 56243 w 983364"/>
                <a:gd name="connsiteY636" fmla="*/ 71326 h 1029528"/>
                <a:gd name="connsiteX637" fmla="*/ 50163 w 983364"/>
                <a:gd name="connsiteY637" fmla="*/ 74378 h 1029528"/>
                <a:gd name="connsiteX638" fmla="*/ 41042 w 983364"/>
                <a:gd name="connsiteY638" fmla="*/ 74378 h 1029528"/>
                <a:gd name="connsiteX639" fmla="*/ 33442 w 983364"/>
                <a:gd name="connsiteY639" fmla="*/ 69802 h 1029528"/>
                <a:gd name="connsiteX640" fmla="*/ 25842 w 983364"/>
                <a:gd name="connsiteY640" fmla="*/ 65224 h 1029528"/>
                <a:gd name="connsiteX641" fmla="*/ 16721 w 983364"/>
                <a:gd name="connsiteY641" fmla="*/ 57598 h 1029528"/>
                <a:gd name="connsiteX642" fmla="*/ 12161 w 983364"/>
                <a:gd name="connsiteY642" fmla="*/ 51496 h 1029528"/>
                <a:gd name="connsiteX643" fmla="*/ 4560 w 983364"/>
                <a:gd name="connsiteY643" fmla="*/ 46918 h 1029528"/>
                <a:gd name="connsiteX644" fmla="*/ 0 w 983364"/>
                <a:gd name="connsiteY644" fmla="*/ 39290 h 1029528"/>
                <a:gd name="connsiteX645" fmla="*/ 1520 w 983364"/>
                <a:gd name="connsiteY645" fmla="*/ 39290 h 1029528"/>
                <a:gd name="connsiteX646" fmla="*/ 13681 w 983364"/>
                <a:gd name="connsiteY646" fmla="*/ 45392 h 1029528"/>
                <a:gd name="connsiteX647" fmla="*/ 21281 w 983364"/>
                <a:gd name="connsiteY647" fmla="*/ 51496 h 1029528"/>
                <a:gd name="connsiteX648" fmla="*/ 28882 w 983364"/>
                <a:gd name="connsiteY648" fmla="*/ 62174 h 1029528"/>
                <a:gd name="connsiteX649" fmla="*/ 33442 w 983364"/>
                <a:gd name="connsiteY649" fmla="*/ 65224 h 1029528"/>
                <a:gd name="connsiteX650" fmla="*/ 34962 w 983364"/>
                <a:gd name="connsiteY650" fmla="*/ 60648 h 1029528"/>
                <a:gd name="connsiteX651" fmla="*/ 41042 w 983364"/>
                <a:gd name="connsiteY651" fmla="*/ 60648 h 1029528"/>
                <a:gd name="connsiteX652" fmla="*/ 53203 w 983364"/>
                <a:gd name="connsiteY652" fmla="*/ 54546 h 1029528"/>
                <a:gd name="connsiteX653" fmla="*/ 57763 w 983364"/>
                <a:gd name="connsiteY653" fmla="*/ 49970 h 1029528"/>
                <a:gd name="connsiteX654" fmla="*/ 60804 w 983364"/>
                <a:gd name="connsiteY654" fmla="*/ 42342 h 1029528"/>
                <a:gd name="connsiteX655" fmla="*/ 63844 w 983364"/>
                <a:gd name="connsiteY655" fmla="*/ 36240 h 1029528"/>
                <a:gd name="connsiteX656" fmla="*/ 59284 w 983364"/>
                <a:gd name="connsiteY656" fmla="*/ 34714 h 1029528"/>
                <a:gd name="connsiteX657" fmla="*/ 62324 w 983364"/>
                <a:gd name="connsiteY657" fmla="*/ 27086 h 1029528"/>
                <a:gd name="connsiteX658" fmla="*/ 178794 w 983364"/>
                <a:gd name="connsiteY658" fmla="*/ 0 h 1029528"/>
                <a:gd name="connsiteX659" fmla="*/ 184889 w 983364"/>
                <a:gd name="connsiteY659" fmla="*/ 0 h 1029528"/>
                <a:gd name="connsiteX660" fmla="*/ 194032 w 983364"/>
                <a:gd name="connsiteY660" fmla="*/ 0 h 1029528"/>
                <a:gd name="connsiteX661" fmla="*/ 204699 w 983364"/>
                <a:gd name="connsiteY661" fmla="*/ 3040 h 1029528"/>
                <a:gd name="connsiteX662" fmla="*/ 216889 w 983364"/>
                <a:gd name="connsiteY662" fmla="*/ 3040 h 1029528"/>
                <a:gd name="connsiteX663" fmla="*/ 224509 w 983364"/>
                <a:gd name="connsiteY663" fmla="*/ 3040 h 1029528"/>
                <a:gd name="connsiteX664" fmla="*/ 235175 w 983364"/>
                <a:gd name="connsiteY664" fmla="*/ 9120 h 1029528"/>
                <a:gd name="connsiteX665" fmla="*/ 244318 w 983364"/>
                <a:gd name="connsiteY665" fmla="*/ 18238 h 1029528"/>
                <a:gd name="connsiteX666" fmla="*/ 251937 w 983364"/>
                <a:gd name="connsiteY666" fmla="*/ 28874 h 1029528"/>
                <a:gd name="connsiteX667" fmla="*/ 262604 w 983364"/>
                <a:gd name="connsiteY667" fmla="*/ 36474 h 1029528"/>
                <a:gd name="connsiteX668" fmla="*/ 268699 w 983364"/>
                <a:gd name="connsiteY668" fmla="*/ 41032 h 1029528"/>
                <a:gd name="connsiteX669" fmla="*/ 264128 w 983364"/>
                <a:gd name="connsiteY669" fmla="*/ 45592 h 1029528"/>
                <a:gd name="connsiteX670" fmla="*/ 265652 w 983364"/>
                <a:gd name="connsiteY670" fmla="*/ 50150 h 1029528"/>
                <a:gd name="connsiteX671" fmla="*/ 268699 w 983364"/>
                <a:gd name="connsiteY671" fmla="*/ 51670 h 1029528"/>
                <a:gd name="connsiteX672" fmla="*/ 273271 w 983364"/>
                <a:gd name="connsiteY672" fmla="*/ 53190 h 1029528"/>
                <a:gd name="connsiteX673" fmla="*/ 279366 w 983364"/>
                <a:gd name="connsiteY673" fmla="*/ 54710 h 1029528"/>
                <a:gd name="connsiteX674" fmla="*/ 285461 w 983364"/>
                <a:gd name="connsiteY674" fmla="*/ 57748 h 1029528"/>
                <a:gd name="connsiteX675" fmla="*/ 296128 w 983364"/>
                <a:gd name="connsiteY675" fmla="*/ 60788 h 1029528"/>
                <a:gd name="connsiteX676" fmla="*/ 303747 w 983364"/>
                <a:gd name="connsiteY676" fmla="*/ 65348 h 1029528"/>
                <a:gd name="connsiteX677" fmla="*/ 303747 w 983364"/>
                <a:gd name="connsiteY677" fmla="*/ 72946 h 1029528"/>
                <a:gd name="connsiteX678" fmla="*/ 303747 w 983364"/>
                <a:gd name="connsiteY678" fmla="*/ 75984 h 1029528"/>
                <a:gd name="connsiteX679" fmla="*/ 303747 w 983364"/>
                <a:gd name="connsiteY679" fmla="*/ 83584 h 1029528"/>
                <a:gd name="connsiteX680" fmla="*/ 306795 w 983364"/>
                <a:gd name="connsiteY680" fmla="*/ 92702 h 1029528"/>
                <a:gd name="connsiteX681" fmla="*/ 311366 w 983364"/>
                <a:gd name="connsiteY681" fmla="*/ 95740 h 1029528"/>
                <a:gd name="connsiteX682" fmla="*/ 306795 w 983364"/>
                <a:gd name="connsiteY682" fmla="*/ 98780 h 1029528"/>
                <a:gd name="connsiteX683" fmla="*/ 312890 w 983364"/>
                <a:gd name="connsiteY683" fmla="*/ 101820 h 1029528"/>
                <a:gd name="connsiteX684" fmla="*/ 308319 w 983364"/>
                <a:gd name="connsiteY684" fmla="*/ 109418 h 1029528"/>
                <a:gd name="connsiteX685" fmla="*/ 303747 w 983364"/>
                <a:gd name="connsiteY685" fmla="*/ 112456 h 1029528"/>
                <a:gd name="connsiteX686" fmla="*/ 303747 w 983364"/>
                <a:gd name="connsiteY686" fmla="*/ 106378 h 1029528"/>
                <a:gd name="connsiteX687" fmla="*/ 299176 w 983364"/>
                <a:gd name="connsiteY687" fmla="*/ 107898 h 1029528"/>
                <a:gd name="connsiteX688" fmla="*/ 291557 w 983364"/>
                <a:gd name="connsiteY688" fmla="*/ 115496 h 1029528"/>
                <a:gd name="connsiteX689" fmla="*/ 285461 w 983364"/>
                <a:gd name="connsiteY689" fmla="*/ 123094 h 1029528"/>
                <a:gd name="connsiteX690" fmla="*/ 283937 w 983364"/>
                <a:gd name="connsiteY690" fmla="*/ 130694 h 1029528"/>
                <a:gd name="connsiteX691" fmla="*/ 283937 w 983364"/>
                <a:gd name="connsiteY691" fmla="*/ 142850 h 1029528"/>
                <a:gd name="connsiteX692" fmla="*/ 282414 w 983364"/>
                <a:gd name="connsiteY692" fmla="*/ 145890 h 1029528"/>
                <a:gd name="connsiteX693" fmla="*/ 280890 w 983364"/>
                <a:gd name="connsiteY693" fmla="*/ 148930 h 1029528"/>
                <a:gd name="connsiteX694" fmla="*/ 279366 w 983364"/>
                <a:gd name="connsiteY694" fmla="*/ 150448 h 1029528"/>
                <a:gd name="connsiteX695" fmla="*/ 279366 w 983364"/>
                <a:gd name="connsiteY695" fmla="*/ 151968 h 1029528"/>
                <a:gd name="connsiteX696" fmla="*/ 279366 w 983364"/>
                <a:gd name="connsiteY696" fmla="*/ 156528 h 1029528"/>
                <a:gd name="connsiteX697" fmla="*/ 283937 w 983364"/>
                <a:gd name="connsiteY697" fmla="*/ 168684 h 1029528"/>
                <a:gd name="connsiteX698" fmla="*/ 283937 w 983364"/>
                <a:gd name="connsiteY698" fmla="*/ 185402 h 1029528"/>
                <a:gd name="connsiteX699" fmla="*/ 277842 w 983364"/>
                <a:gd name="connsiteY699" fmla="*/ 186920 h 1029528"/>
                <a:gd name="connsiteX700" fmla="*/ 273271 w 983364"/>
                <a:gd name="connsiteY700" fmla="*/ 179322 h 1029528"/>
                <a:gd name="connsiteX701" fmla="*/ 267175 w 983364"/>
                <a:gd name="connsiteY701" fmla="*/ 177802 h 1029528"/>
                <a:gd name="connsiteX702" fmla="*/ 270223 w 983364"/>
                <a:gd name="connsiteY702" fmla="*/ 171724 h 1029528"/>
                <a:gd name="connsiteX703" fmla="*/ 267175 w 983364"/>
                <a:gd name="connsiteY703" fmla="*/ 165646 h 1029528"/>
                <a:gd name="connsiteX704" fmla="*/ 262604 w 983364"/>
                <a:gd name="connsiteY704" fmla="*/ 162606 h 1029528"/>
                <a:gd name="connsiteX705" fmla="*/ 254985 w 983364"/>
                <a:gd name="connsiteY705" fmla="*/ 161086 h 1029528"/>
                <a:gd name="connsiteX706" fmla="*/ 247366 w 983364"/>
                <a:gd name="connsiteY706" fmla="*/ 159566 h 1029528"/>
                <a:gd name="connsiteX707" fmla="*/ 245842 w 983364"/>
                <a:gd name="connsiteY707" fmla="*/ 159566 h 1029528"/>
                <a:gd name="connsiteX708" fmla="*/ 247366 w 983364"/>
                <a:gd name="connsiteY708" fmla="*/ 158048 h 1029528"/>
                <a:gd name="connsiteX709" fmla="*/ 248890 w 983364"/>
                <a:gd name="connsiteY709" fmla="*/ 156528 h 1029528"/>
                <a:gd name="connsiteX710" fmla="*/ 253461 w 983364"/>
                <a:gd name="connsiteY710" fmla="*/ 156528 h 1029528"/>
                <a:gd name="connsiteX711" fmla="*/ 256509 w 983364"/>
                <a:gd name="connsiteY711" fmla="*/ 151968 h 1029528"/>
                <a:gd name="connsiteX712" fmla="*/ 268699 w 983364"/>
                <a:gd name="connsiteY712" fmla="*/ 144370 h 1029528"/>
                <a:gd name="connsiteX713" fmla="*/ 276318 w 983364"/>
                <a:gd name="connsiteY713" fmla="*/ 135252 h 1029528"/>
                <a:gd name="connsiteX714" fmla="*/ 274795 w 983364"/>
                <a:gd name="connsiteY714" fmla="*/ 126134 h 1029528"/>
                <a:gd name="connsiteX715" fmla="*/ 268699 w 983364"/>
                <a:gd name="connsiteY715" fmla="*/ 126134 h 1029528"/>
                <a:gd name="connsiteX716" fmla="*/ 271747 w 983364"/>
                <a:gd name="connsiteY716" fmla="*/ 123094 h 1029528"/>
                <a:gd name="connsiteX717" fmla="*/ 273271 w 983364"/>
                <a:gd name="connsiteY717" fmla="*/ 120056 h 1029528"/>
                <a:gd name="connsiteX718" fmla="*/ 277842 w 983364"/>
                <a:gd name="connsiteY718" fmla="*/ 118536 h 1029528"/>
                <a:gd name="connsiteX719" fmla="*/ 279366 w 983364"/>
                <a:gd name="connsiteY719" fmla="*/ 117016 h 1029528"/>
                <a:gd name="connsiteX720" fmla="*/ 276318 w 983364"/>
                <a:gd name="connsiteY720" fmla="*/ 109418 h 1029528"/>
                <a:gd name="connsiteX721" fmla="*/ 273271 w 983364"/>
                <a:gd name="connsiteY721" fmla="*/ 103338 h 1029528"/>
                <a:gd name="connsiteX722" fmla="*/ 279366 w 983364"/>
                <a:gd name="connsiteY722" fmla="*/ 100300 h 1029528"/>
                <a:gd name="connsiteX723" fmla="*/ 286985 w 983364"/>
                <a:gd name="connsiteY723" fmla="*/ 98780 h 1029528"/>
                <a:gd name="connsiteX724" fmla="*/ 279366 w 983364"/>
                <a:gd name="connsiteY724" fmla="*/ 97260 h 1029528"/>
                <a:gd name="connsiteX725" fmla="*/ 276318 w 983364"/>
                <a:gd name="connsiteY725" fmla="*/ 94220 h 1029528"/>
                <a:gd name="connsiteX726" fmla="*/ 273271 w 983364"/>
                <a:gd name="connsiteY726" fmla="*/ 91182 h 1029528"/>
                <a:gd name="connsiteX727" fmla="*/ 277842 w 983364"/>
                <a:gd name="connsiteY727" fmla="*/ 88142 h 1029528"/>
                <a:gd name="connsiteX728" fmla="*/ 282414 w 983364"/>
                <a:gd name="connsiteY728" fmla="*/ 85102 h 1029528"/>
                <a:gd name="connsiteX729" fmla="*/ 277842 w 983364"/>
                <a:gd name="connsiteY729" fmla="*/ 83584 h 1029528"/>
                <a:gd name="connsiteX730" fmla="*/ 280890 w 983364"/>
                <a:gd name="connsiteY730" fmla="*/ 80544 h 1029528"/>
                <a:gd name="connsiteX731" fmla="*/ 283937 w 983364"/>
                <a:gd name="connsiteY731" fmla="*/ 75984 h 1029528"/>
                <a:gd name="connsiteX732" fmla="*/ 276318 w 983364"/>
                <a:gd name="connsiteY732" fmla="*/ 72946 h 1029528"/>
                <a:gd name="connsiteX733" fmla="*/ 270223 w 983364"/>
                <a:gd name="connsiteY733" fmla="*/ 71426 h 1029528"/>
                <a:gd name="connsiteX734" fmla="*/ 273271 w 983364"/>
                <a:gd name="connsiteY734" fmla="*/ 68386 h 1029528"/>
                <a:gd name="connsiteX735" fmla="*/ 279366 w 983364"/>
                <a:gd name="connsiteY735" fmla="*/ 65348 h 1029528"/>
                <a:gd name="connsiteX736" fmla="*/ 283937 w 983364"/>
                <a:gd name="connsiteY736" fmla="*/ 68386 h 1029528"/>
                <a:gd name="connsiteX737" fmla="*/ 288509 w 983364"/>
                <a:gd name="connsiteY737" fmla="*/ 71426 h 1029528"/>
                <a:gd name="connsiteX738" fmla="*/ 291557 w 983364"/>
                <a:gd name="connsiteY738" fmla="*/ 66866 h 1029528"/>
                <a:gd name="connsiteX739" fmla="*/ 286985 w 983364"/>
                <a:gd name="connsiteY739" fmla="*/ 63828 h 1029528"/>
                <a:gd name="connsiteX740" fmla="*/ 282414 w 983364"/>
                <a:gd name="connsiteY740" fmla="*/ 60788 h 1029528"/>
                <a:gd name="connsiteX741" fmla="*/ 279366 w 983364"/>
                <a:gd name="connsiteY741" fmla="*/ 60788 h 1029528"/>
                <a:gd name="connsiteX742" fmla="*/ 273271 w 983364"/>
                <a:gd name="connsiteY742" fmla="*/ 60788 h 1029528"/>
                <a:gd name="connsiteX743" fmla="*/ 265652 w 983364"/>
                <a:gd name="connsiteY743" fmla="*/ 59268 h 1029528"/>
                <a:gd name="connsiteX744" fmla="*/ 259556 w 983364"/>
                <a:gd name="connsiteY744" fmla="*/ 56228 h 1029528"/>
                <a:gd name="connsiteX745" fmla="*/ 256509 w 983364"/>
                <a:gd name="connsiteY745" fmla="*/ 51670 h 1029528"/>
                <a:gd name="connsiteX746" fmla="*/ 258033 w 983364"/>
                <a:gd name="connsiteY746" fmla="*/ 45592 h 1029528"/>
                <a:gd name="connsiteX747" fmla="*/ 258033 w 983364"/>
                <a:gd name="connsiteY747" fmla="*/ 41032 h 1029528"/>
                <a:gd name="connsiteX748" fmla="*/ 253461 w 983364"/>
                <a:gd name="connsiteY748" fmla="*/ 39512 h 1029528"/>
                <a:gd name="connsiteX749" fmla="*/ 248890 w 983364"/>
                <a:gd name="connsiteY749" fmla="*/ 39512 h 1029528"/>
                <a:gd name="connsiteX750" fmla="*/ 242794 w 983364"/>
                <a:gd name="connsiteY750" fmla="*/ 39512 h 1029528"/>
                <a:gd name="connsiteX751" fmla="*/ 241271 w 983364"/>
                <a:gd name="connsiteY751" fmla="*/ 31914 h 1029528"/>
                <a:gd name="connsiteX752" fmla="*/ 241271 w 983364"/>
                <a:gd name="connsiteY752" fmla="*/ 27356 h 1029528"/>
                <a:gd name="connsiteX753" fmla="*/ 241271 w 983364"/>
                <a:gd name="connsiteY753" fmla="*/ 21276 h 1029528"/>
                <a:gd name="connsiteX754" fmla="*/ 236699 w 983364"/>
                <a:gd name="connsiteY754" fmla="*/ 16718 h 1029528"/>
                <a:gd name="connsiteX755" fmla="*/ 230604 w 983364"/>
                <a:gd name="connsiteY755" fmla="*/ 10638 h 1029528"/>
                <a:gd name="connsiteX756" fmla="*/ 227556 w 983364"/>
                <a:gd name="connsiteY756" fmla="*/ 6080 h 1029528"/>
                <a:gd name="connsiteX757" fmla="*/ 221461 w 983364"/>
                <a:gd name="connsiteY757" fmla="*/ 7600 h 1029528"/>
                <a:gd name="connsiteX758" fmla="*/ 213842 w 983364"/>
                <a:gd name="connsiteY758" fmla="*/ 9120 h 1029528"/>
                <a:gd name="connsiteX759" fmla="*/ 210794 w 983364"/>
                <a:gd name="connsiteY759" fmla="*/ 7600 h 1029528"/>
                <a:gd name="connsiteX760" fmla="*/ 206223 w 983364"/>
                <a:gd name="connsiteY760" fmla="*/ 7600 h 1029528"/>
                <a:gd name="connsiteX761" fmla="*/ 198604 w 983364"/>
                <a:gd name="connsiteY761" fmla="*/ 4560 h 1029528"/>
                <a:gd name="connsiteX762" fmla="*/ 194032 w 983364"/>
                <a:gd name="connsiteY762" fmla="*/ 4560 h 1029528"/>
                <a:gd name="connsiteX763" fmla="*/ 186413 w 983364"/>
                <a:gd name="connsiteY763" fmla="*/ 1520 h 102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</a:cxnLst>
              <a:rect l="l" t="t" r="r" b="b"/>
              <a:pathLst>
                <a:path w="983364" h="1029528">
                  <a:moveTo>
                    <a:pt x="930094" y="959068"/>
                  </a:moveTo>
                  <a:lnTo>
                    <a:pt x="937716" y="960598"/>
                  </a:lnTo>
                  <a:lnTo>
                    <a:pt x="937716" y="974384"/>
                  </a:lnTo>
                  <a:lnTo>
                    <a:pt x="937716" y="985108"/>
                  </a:lnTo>
                  <a:lnTo>
                    <a:pt x="930094" y="991234"/>
                  </a:lnTo>
                  <a:lnTo>
                    <a:pt x="927046" y="997362"/>
                  </a:lnTo>
                  <a:lnTo>
                    <a:pt x="920948" y="1005020"/>
                  </a:lnTo>
                  <a:lnTo>
                    <a:pt x="919424" y="1011148"/>
                  </a:lnTo>
                  <a:lnTo>
                    <a:pt x="913328" y="1020338"/>
                  </a:lnTo>
                  <a:lnTo>
                    <a:pt x="898084" y="1021870"/>
                  </a:lnTo>
                  <a:lnTo>
                    <a:pt x="885890" y="1021870"/>
                  </a:lnTo>
                  <a:lnTo>
                    <a:pt x="873696" y="1026466"/>
                  </a:lnTo>
                  <a:lnTo>
                    <a:pt x="859978" y="1026466"/>
                  </a:lnTo>
                  <a:lnTo>
                    <a:pt x="852358" y="1023402"/>
                  </a:lnTo>
                  <a:lnTo>
                    <a:pt x="840164" y="1023402"/>
                  </a:lnTo>
                  <a:lnTo>
                    <a:pt x="840164" y="1029528"/>
                  </a:lnTo>
                  <a:lnTo>
                    <a:pt x="832542" y="1029528"/>
                  </a:lnTo>
                  <a:lnTo>
                    <a:pt x="831018" y="1020338"/>
                  </a:lnTo>
                  <a:lnTo>
                    <a:pt x="826444" y="1012680"/>
                  </a:lnTo>
                  <a:lnTo>
                    <a:pt x="835590" y="1009616"/>
                  </a:lnTo>
                  <a:lnTo>
                    <a:pt x="835590" y="1001956"/>
                  </a:lnTo>
                  <a:lnTo>
                    <a:pt x="834066" y="997362"/>
                  </a:lnTo>
                  <a:lnTo>
                    <a:pt x="841688" y="995830"/>
                  </a:lnTo>
                  <a:lnTo>
                    <a:pt x="850832" y="992766"/>
                  </a:lnTo>
                  <a:lnTo>
                    <a:pt x="855406" y="986640"/>
                  </a:lnTo>
                  <a:lnTo>
                    <a:pt x="863026" y="985108"/>
                  </a:lnTo>
                  <a:lnTo>
                    <a:pt x="872172" y="983576"/>
                  </a:lnTo>
                  <a:lnTo>
                    <a:pt x="876746" y="975916"/>
                  </a:lnTo>
                  <a:lnTo>
                    <a:pt x="879794" y="983576"/>
                  </a:lnTo>
                  <a:lnTo>
                    <a:pt x="888940" y="989702"/>
                  </a:lnTo>
                  <a:lnTo>
                    <a:pt x="896560" y="991234"/>
                  </a:lnTo>
                  <a:lnTo>
                    <a:pt x="905706" y="986640"/>
                  </a:lnTo>
                  <a:lnTo>
                    <a:pt x="916376" y="983576"/>
                  </a:lnTo>
                  <a:lnTo>
                    <a:pt x="920948" y="974384"/>
                  </a:lnTo>
                  <a:lnTo>
                    <a:pt x="928570" y="965194"/>
                  </a:lnTo>
                  <a:close/>
                  <a:moveTo>
                    <a:pt x="934386" y="922858"/>
                  </a:moveTo>
                  <a:lnTo>
                    <a:pt x="940568" y="922858"/>
                  </a:lnTo>
                  <a:lnTo>
                    <a:pt x="948296" y="927360"/>
                  </a:lnTo>
                  <a:lnTo>
                    <a:pt x="952932" y="930360"/>
                  </a:lnTo>
                  <a:lnTo>
                    <a:pt x="948296" y="933362"/>
                  </a:lnTo>
                  <a:lnTo>
                    <a:pt x="937478" y="937864"/>
                  </a:lnTo>
                  <a:lnTo>
                    <a:pt x="931296" y="945366"/>
                  </a:lnTo>
                  <a:lnTo>
                    <a:pt x="928204" y="936362"/>
                  </a:lnTo>
                  <a:lnTo>
                    <a:pt x="928204" y="927360"/>
                  </a:lnTo>
                  <a:close/>
                  <a:moveTo>
                    <a:pt x="918108" y="768232"/>
                  </a:moveTo>
                  <a:lnTo>
                    <a:pt x="921144" y="769750"/>
                  </a:lnTo>
                  <a:lnTo>
                    <a:pt x="925696" y="772784"/>
                  </a:lnTo>
                  <a:lnTo>
                    <a:pt x="931766" y="771266"/>
                  </a:lnTo>
                  <a:lnTo>
                    <a:pt x="937838" y="774300"/>
                  </a:lnTo>
                  <a:lnTo>
                    <a:pt x="940872" y="778850"/>
                  </a:lnTo>
                  <a:lnTo>
                    <a:pt x="943908" y="775818"/>
                  </a:lnTo>
                  <a:lnTo>
                    <a:pt x="954530" y="777334"/>
                  </a:lnTo>
                  <a:lnTo>
                    <a:pt x="963636" y="780368"/>
                  </a:lnTo>
                  <a:lnTo>
                    <a:pt x="971224" y="784918"/>
                  </a:lnTo>
                  <a:lnTo>
                    <a:pt x="975778" y="786436"/>
                  </a:lnTo>
                  <a:lnTo>
                    <a:pt x="980330" y="787952"/>
                  </a:lnTo>
                  <a:lnTo>
                    <a:pt x="983364" y="790986"/>
                  </a:lnTo>
                  <a:lnTo>
                    <a:pt x="980330" y="795536"/>
                  </a:lnTo>
                  <a:lnTo>
                    <a:pt x="972742" y="798570"/>
                  </a:lnTo>
                  <a:lnTo>
                    <a:pt x="965154" y="790986"/>
                  </a:lnTo>
                  <a:lnTo>
                    <a:pt x="957566" y="786436"/>
                  </a:lnTo>
                  <a:lnTo>
                    <a:pt x="949978" y="786436"/>
                  </a:lnTo>
                  <a:lnTo>
                    <a:pt x="943908" y="787952"/>
                  </a:lnTo>
                  <a:lnTo>
                    <a:pt x="942390" y="784918"/>
                  </a:lnTo>
                  <a:lnTo>
                    <a:pt x="936320" y="784918"/>
                  </a:lnTo>
                  <a:lnTo>
                    <a:pt x="934802" y="787952"/>
                  </a:lnTo>
                  <a:lnTo>
                    <a:pt x="930250" y="787952"/>
                  </a:lnTo>
                  <a:lnTo>
                    <a:pt x="922662" y="784918"/>
                  </a:lnTo>
                  <a:lnTo>
                    <a:pt x="916590" y="784918"/>
                  </a:lnTo>
                  <a:lnTo>
                    <a:pt x="912038" y="784918"/>
                  </a:lnTo>
                  <a:lnTo>
                    <a:pt x="915074" y="777334"/>
                  </a:lnTo>
                  <a:lnTo>
                    <a:pt x="918108" y="775818"/>
                  </a:lnTo>
                  <a:close/>
                  <a:moveTo>
                    <a:pt x="735146" y="734960"/>
                  </a:moveTo>
                  <a:lnTo>
                    <a:pt x="733720" y="742488"/>
                  </a:lnTo>
                  <a:lnTo>
                    <a:pt x="728014" y="748510"/>
                  </a:lnTo>
                  <a:lnTo>
                    <a:pt x="726588" y="753026"/>
                  </a:lnTo>
                  <a:lnTo>
                    <a:pt x="723734" y="754532"/>
                  </a:lnTo>
                  <a:lnTo>
                    <a:pt x="723734" y="747004"/>
                  </a:lnTo>
                  <a:lnTo>
                    <a:pt x="728014" y="743992"/>
                  </a:lnTo>
                  <a:lnTo>
                    <a:pt x="732292" y="736464"/>
                  </a:lnTo>
                  <a:close/>
                  <a:moveTo>
                    <a:pt x="803456" y="719300"/>
                  </a:moveTo>
                  <a:lnTo>
                    <a:pt x="806474" y="723862"/>
                  </a:lnTo>
                  <a:lnTo>
                    <a:pt x="801946" y="729946"/>
                  </a:lnTo>
                  <a:lnTo>
                    <a:pt x="804964" y="737548"/>
                  </a:lnTo>
                  <a:lnTo>
                    <a:pt x="804964" y="745152"/>
                  </a:lnTo>
                  <a:lnTo>
                    <a:pt x="804964" y="752756"/>
                  </a:lnTo>
                  <a:lnTo>
                    <a:pt x="803456" y="757318"/>
                  </a:lnTo>
                  <a:lnTo>
                    <a:pt x="803456" y="764920"/>
                  </a:lnTo>
                  <a:lnTo>
                    <a:pt x="798928" y="769482"/>
                  </a:lnTo>
                  <a:lnTo>
                    <a:pt x="791382" y="771002"/>
                  </a:lnTo>
                  <a:lnTo>
                    <a:pt x="789872" y="775564"/>
                  </a:lnTo>
                  <a:lnTo>
                    <a:pt x="785344" y="781648"/>
                  </a:lnTo>
                  <a:lnTo>
                    <a:pt x="785344" y="786210"/>
                  </a:lnTo>
                  <a:lnTo>
                    <a:pt x="780816" y="790772"/>
                  </a:lnTo>
                  <a:lnTo>
                    <a:pt x="773270" y="792292"/>
                  </a:lnTo>
                  <a:lnTo>
                    <a:pt x="767234" y="796854"/>
                  </a:lnTo>
                  <a:lnTo>
                    <a:pt x="762706" y="795334"/>
                  </a:lnTo>
                  <a:lnTo>
                    <a:pt x="758178" y="801416"/>
                  </a:lnTo>
                  <a:lnTo>
                    <a:pt x="755160" y="805978"/>
                  </a:lnTo>
                  <a:lnTo>
                    <a:pt x="750632" y="810540"/>
                  </a:lnTo>
                  <a:lnTo>
                    <a:pt x="747614" y="812060"/>
                  </a:lnTo>
                  <a:lnTo>
                    <a:pt x="743086" y="812060"/>
                  </a:lnTo>
                  <a:lnTo>
                    <a:pt x="740068" y="815102"/>
                  </a:lnTo>
                  <a:lnTo>
                    <a:pt x="737048" y="818144"/>
                  </a:lnTo>
                  <a:lnTo>
                    <a:pt x="737048" y="813582"/>
                  </a:lnTo>
                  <a:lnTo>
                    <a:pt x="737048" y="807498"/>
                  </a:lnTo>
                  <a:lnTo>
                    <a:pt x="743086" y="807498"/>
                  </a:lnTo>
                  <a:lnTo>
                    <a:pt x="746104" y="807498"/>
                  </a:lnTo>
                  <a:lnTo>
                    <a:pt x="749122" y="807498"/>
                  </a:lnTo>
                  <a:lnTo>
                    <a:pt x="750632" y="807498"/>
                  </a:lnTo>
                  <a:lnTo>
                    <a:pt x="752142" y="799896"/>
                  </a:lnTo>
                  <a:lnTo>
                    <a:pt x="753650" y="795334"/>
                  </a:lnTo>
                  <a:lnTo>
                    <a:pt x="758178" y="792292"/>
                  </a:lnTo>
                  <a:lnTo>
                    <a:pt x="762706" y="790772"/>
                  </a:lnTo>
                  <a:lnTo>
                    <a:pt x="767234" y="786210"/>
                  </a:lnTo>
                  <a:lnTo>
                    <a:pt x="770252" y="784688"/>
                  </a:lnTo>
                  <a:lnTo>
                    <a:pt x="765724" y="780126"/>
                  </a:lnTo>
                  <a:lnTo>
                    <a:pt x="773270" y="778606"/>
                  </a:lnTo>
                  <a:lnTo>
                    <a:pt x="779308" y="778606"/>
                  </a:lnTo>
                  <a:lnTo>
                    <a:pt x="782326" y="774044"/>
                  </a:lnTo>
                  <a:lnTo>
                    <a:pt x="782326" y="767962"/>
                  </a:lnTo>
                  <a:lnTo>
                    <a:pt x="789872" y="766442"/>
                  </a:lnTo>
                  <a:lnTo>
                    <a:pt x="794400" y="764920"/>
                  </a:lnTo>
                  <a:lnTo>
                    <a:pt x="800438" y="761880"/>
                  </a:lnTo>
                  <a:lnTo>
                    <a:pt x="800438" y="752756"/>
                  </a:lnTo>
                  <a:lnTo>
                    <a:pt x="795910" y="748194"/>
                  </a:lnTo>
                  <a:lnTo>
                    <a:pt x="792890" y="743632"/>
                  </a:lnTo>
                  <a:lnTo>
                    <a:pt x="788364" y="746672"/>
                  </a:lnTo>
                  <a:lnTo>
                    <a:pt x="783836" y="745152"/>
                  </a:lnTo>
                  <a:lnTo>
                    <a:pt x="777798" y="742110"/>
                  </a:lnTo>
                  <a:lnTo>
                    <a:pt x="774780" y="740590"/>
                  </a:lnTo>
                  <a:lnTo>
                    <a:pt x="779308" y="736028"/>
                  </a:lnTo>
                  <a:lnTo>
                    <a:pt x="780816" y="732986"/>
                  </a:lnTo>
                  <a:lnTo>
                    <a:pt x="779308" y="729946"/>
                  </a:lnTo>
                  <a:lnTo>
                    <a:pt x="786854" y="729946"/>
                  </a:lnTo>
                  <a:lnTo>
                    <a:pt x="789872" y="725384"/>
                  </a:lnTo>
                  <a:lnTo>
                    <a:pt x="792890" y="723862"/>
                  </a:lnTo>
                  <a:lnTo>
                    <a:pt x="797418" y="723862"/>
                  </a:lnTo>
                  <a:close/>
                  <a:moveTo>
                    <a:pt x="729060" y="702664"/>
                  </a:moveTo>
                  <a:lnTo>
                    <a:pt x="732102" y="702664"/>
                  </a:lnTo>
                  <a:lnTo>
                    <a:pt x="736668" y="704202"/>
                  </a:lnTo>
                  <a:lnTo>
                    <a:pt x="742754" y="707278"/>
                  </a:lnTo>
                  <a:lnTo>
                    <a:pt x="748842" y="711892"/>
                  </a:lnTo>
                  <a:lnTo>
                    <a:pt x="750362" y="718042"/>
                  </a:lnTo>
                  <a:lnTo>
                    <a:pt x="757972" y="716504"/>
                  </a:lnTo>
                  <a:lnTo>
                    <a:pt x="757972" y="719580"/>
                  </a:lnTo>
                  <a:lnTo>
                    <a:pt x="762536" y="721118"/>
                  </a:lnTo>
                  <a:lnTo>
                    <a:pt x="767102" y="718042"/>
                  </a:lnTo>
                  <a:lnTo>
                    <a:pt x="774710" y="721118"/>
                  </a:lnTo>
                  <a:lnTo>
                    <a:pt x="780796" y="724194"/>
                  </a:lnTo>
                  <a:lnTo>
                    <a:pt x="774710" y="725732"/>
                  </a:lnTo>
                  <a:lnTo>
                    <a:pt x="771666" y="730346"/>
                  </a:lnTo>
                  <a:lnTo>
                    <a:pt x="767102" y="733422"/>
                  </a:lnTo>
                  <a:lnTo>
                    <a:pt x="764058" y="731884"/>
                  </a:lnTo>
                  <a:lnTo>
                    <a:pt x="764058" y="728808"/>
                  </a:lnTo>
                  <a:lnTo>
                    <a:pt x="759492" y="730346"/>
                  </a:lnTo>
                  <a:lnTo>
                    <a:pt x="757972" y="731884"/>
                  </a:lnTo>
                  <a:lnTo>
                    <a:pt x="757972" y="734960"/>
                  </a:lnTo>
                  <a:lnTo>
                    <a:pt x="756450" y="734960"/>
                  </a:lnTo>
                  <a:lnTo>
                    <a:pt x="754928" y="733422"/>
                  </a:lnTo>
                  <a:lnTo>
                    <a:pt x="753406" y="731884"/>
                  </a:lnTo>
                  <a:lnTo>
                    <a:pt x="753406" y="728808"/>
                  </a:lnTo>
                  <a:lnTo>
                    <a:pt x="748842" y="727270"/>
                  </a:lnTo>
                  <a:lnTo>
                    <a:pt x="744276" y="725732"/>
                  </a:lnTo>
                  <a:lnTo>
                    <a:pt x="738190" y="728808"/>
                  </a:lnTo>
                  <a:lnTo>
                    <a:pt x="735146" y="728808"/>
                  </a:lnTo>
                  <a:lnTo>
                    <a:pt x="736668" y="722656"/>
                  </a:lnTo>
                  <a:lnTo>
                    <a:pt x="733624" y="718042"/>
                  </a:lnTo>
                  <a:lnTo>
                    <a:pt x="729060" y="713428"/>
                  </a:lnTo>
                  <a:lnTo>
                    <a:pt x="727538" y="705740"/>
                  </a:lnTo>
                  <a:close/>
                  <a:moveTo>
                    <a:pt x="813250" y="656668"/>
                  </a:moveTo>
                  <a:lnTo>
                    <a:pt x="823652" y="656668"/>
                  </a:lnTo>
                  <a:lnTo>
                    <a:pt x="828110" y="658234"/>
                  </a:lnTo>
                  <a:lnTo>
                    <a:pt x="834054" y="658234"/>
                  </a:lnTo>
                  <a:lnTo>
                    <a:pt x="834054" y="662932"/>
                  </a:lnTo>
                  <a:lnTo>
                    <a:pt x="828110" y="661366"/>
                  </a:lnTo>
                  <a:lnTo>
                    <a:pt x="823652" y="664496"/>
                  </a:lnTo>
                  <a:lnTo>
                    <a:pt x="817708" y="662932"/>
                  </a:lnTo>
                  <a:lnTo>
                    <a:pt x="814736" y="662932"/>
                  </a:lnTo>
                  <a:lnTo>
                    <a:pt x="810278" y="659800"/>
                  </a:lnTo>
                  <a:close/>
                  <a:moveTo>
                    <a:pt x="572696" y="561740"/>
                  </a:moveTo>
                  <a:lnTo>
                    <a:pt x="584814" y="567806"/>
                  </a:lnTo>
                  <a:lnTo>
                    <a:pt x="584814" y="576904"/>
                  </a:lnTo>
                  <a:lnTo>
                    <a:pt x="589356" y="581452"/>
                  </a:lnTo>
                  <a:lnTo>
                    <a:pt x="592386" y="586002"/>
                  </a:lnTo>
                  <a:lnTo>
                    <a:pt x="593900" y="592068"/>
                  </a:lnTo>
                  <a:lnTo>
                    <a:pt x="598444" y="604198"/>
                  </a:lnTo>
                  <a:lnTo>
                    <a:pt x="606018" y="613296"/>
                  </a:lnTo>
                  <a:lnTo>
                    <a:pt x="609046" y="620878"/>
                  </a:lnTo>
                  <a:lnTo>
                    <a:pt x="612076" y="628460"/>
                  </a:lnTo>
                  <a:lnTo>
                    <a:pt x="612076" y="634524"/>
                  </a:lnTo>
                  <a:lnTo>
                    <a:pt x="610562" y="640590"/>
                  </a:lnTo>
                  <a:lnTo>
                    <a:pt x="613590" y="646656"/>
                  </a:lnTo>
                  <a:lnTo>
                    <a:pt x="618134" y="654238"/>
                  </a:lnTo>
                  <a:lnTo>
                    <a:pt x="622678" y="658786"/>
                  </a:lnTo>
                  <a:lnTo>
                    <a:pt x="630252" y="658786"/>
                  </a:lnTo>
                  <a:lnTo>
                    <a:pt x="636310" y="661820"/>
                  </a:lnTo>
                  <a:lnTo>
                    <a:pt x="642368" y="669400"/>
                  </a:lnTo>
                  <a:lnTo>
                    <a:pt x="646912" y="676982"/>
                  </a:lnTo>
                  <a:lnTo>
                    <a:pt x="648426" y="681532"/>
                  </a:lnTo>
                  <a:lnTo>
                    <a:pt x="648426" y="689114"/>
                  </a:lnTo>
                  <a:lnTo>
                    <a:pt x="651456" y="695178"/>
                  </a:lnTo>
                  <a:lnTo>
                    <a:pt x="651456" y="699728"/>
                  </a:lnTo>
                  <a:lnTo>
                    <a:pt x="642368" y="696696"/>
                  </a:lnTo>
                  <a:lnTo>
                    <a:pt x="640854" y="689114"/>
                  </a:lnTo>
                  <a:lnTo>
                    <a:pt x="636310" y="678500"/>
                  </a:lnTo>
                  <a:lnTo>
                    <a:pt x="631766" y="669400"/>
                  </a:lnTo>
                  <a:lnTo>
                    <a:pt x="627222" y="664852"/>
                  </a:lnTo>
                  <a:lnTo>
                    <a:pt x="618134" y="661820"/>
                  </a:lnTo>
                  <a:lnTo>
                    <a:pt x="609046" y="658786"/>
                  </a:lnTo>
                  <a:lnTo>
                    <a:pt x="601474" y="654238"/>
                  </a:lnTo>
                  <a:lnTo>
                    <a:pt x="595416" y="651204"/>
                  </a:lnTo>
                  <a:lnTo>
                    <a:pt x="589356" y="646656"/>
                  </a:lnTo>
                  <a:lnTo>
                    <a:pt x="592386" y="645140"/>
                  </a:lnTo>
                  <a:lnTo>
                    <a:pt x="599960" y="646656"/>
                  </a:lnTo>
                  <a:lnTo>
                    <a:pt x="604504" y="649688"/>
                  </a:lnTo>
                  <a:lnTo>
                    <a:pt x="609046" y="652722"/>
                  </a:lnTo>
                  <a:lnTo>
                    <a:pt x="612076" y="655754"/>
                  </a:lnTo>
                  <a:lnTo>
                    <a:pt x="616620" y="657270"/>
                  </a:lnTo>
                  <a:lnTo>
                    <a:pt x="612076" y="651204"/>
                  </a:lnTo>
                  <a:lnTo>
                    <a:pt x="609046" y="648172"/>
                  </a:lnTo>
                  <a:lnTo>
                    <a:pt x="604504" y="643622"/>
                  </a:lnTo>
                  <a:lnTo>
                    <a:pt x="602988" y="640590"/>
                  </a:lnTo>
                  <a:lnTo>
                    <a:pt x="601474" y="636042"/>
                  </a:lnTo>
                  <a:lnTo>
                    <a:pt x="604504" y="633008"/>
                  </a:lnTo>
                  <a:lnTo>
                    <a:pt x="609046" y="628460"/>
                  </a:lnTo>
                  <a:lnTo>
                    <a:pt x="606018" y="626944"/>
                  </a:lnTo>
                  <a:lnTo>
                    <a:pt x="604504" y="622394"/>
                  </a:lnTo>
                  <a:lnTo>
                    <a:pt x="604504" y="616328"/>
                  </a:lnTo>
                  <a:lnTo>
                    <a:pt x="599960" y="616328"/>
                  </a:lnTo>
                  <a:lnTo>
                    <a:pt x="599960" y="611780"/>
                  </a:lnTo>
                  <a:lnTo>
                    <a:pt x="595416" y="607230"/>
                  </a:lnTo>
                  <a:lnTo>
                    <a:pt x="590872" y="602682"/>
                  </a:lnTo>
                  <a:lnTo>
                    <a:pt x="587842" y="596616"/>
                  </a:lnTo>
                  <a:lnTo>
                    <a:pt x="584814" y="590550"/>
                  </a:lnTo>
                  <a:lnTo>
                    <a:pt x="584814" y="586002"/>
                  </a:lnTo>
                  <a:lnTo>
                    <a:pt x="581784" y="578420"/>
                  </a:lnTo>
                  <a:lnTo>
                    <a:pt x="581784" y="575388"/>
                  </a:lnTo>
                  <a:lnTo>
                    <a:pt x="577240" y="578420"/>
                  </a:lnTo>
                  <a:lnTo>
                    <a:pt x="577240" y="572354"/>
                  </a:lnTo>
                  <a:lnTo>
                    <a:pt x="577240" y="567806"/>
                  </a:lnTo>
                  <a:lnTo>
                    <a:pt x="572696" y="572354"/>
                  </a:lnTo>
                  <a:lnTo>
                    <a:pt x="569668" y="567806"/>
                  </a:lnTo>
                  <a:lnTo>
                    <a:pt x="572696" y="566290"/>
                  </a:lnTo>
                  <a:close/>
                  <a:moveTo>
                    <a:pt x="645808" y="554888"/>
                  </a:moveTo>
                  <a:lnTo>
                    <a:pt x="654724" y="554888"/>
                  </a:lnTo>
                  <a:lnTo>
                    <a:pt x="656210" y="559660"/>
                  </a:lnTo>
                  <a:lnTo>
                    <a:pt x="656210" y="564430"/>
                  </a:lnTo>
                  <a:lnTo>
                    <a:pt x="653238" y="567612"/>
                  </a:lnTo>
                  <a:lnTo>
                    <a:pt x="651752" y="567612"/>
                  </a:lnTo>
                  <a:lnTo>
                    <a:pt x="647294" y="564430"/>
                  </a:lnTo>
                  <a:lnTo>
                    <a:pt x="641350" y="564430"/>
                  </a:lnTo>
                  <a:lnTo>
                    <a:pt x="638378" y="566020"/>
                  </a:lnTo>
                  <a:lnTo>
                    <a:pt x="632436" y="566020"/>
                  </a:lnTo>
                  <a:lnTo>
                    <a:pt x="632436" y="562840"/>
                  </a:lnTo>
                  <a:lnTo>
                    <a:pt x="635406" y="559660"/>
                  </a:lnTo>
                  <a:lnTo>
                    <a:pt x="641350" y="556480"/>
                  </a:lnTo>
                  <a:close/>
                  <a:moveTo>
                    <a:pt x="457446" y="553912"/>
                  </a:moveTo>
                  <a:lnTo>
                    <a:pt x="466515" y="561460"/>
                  </a:lnTo>
                  <a:lnTo>
                    <a:pt x="471049" y="561460"/>
                  </a:lnTo>
                  <a:lnTo>
                    <a:pt x="478606" y="569010"/>
                  </a:lnTo>
                  <a:lnTo>
                    <a:pt x="489186" y="575050"/>
                  </a:lnTo>
                  <a:lnTo>
                    <a:pt x="499766" y="585618"/>
                  </a:lnTo>
                  <a:lnTo>
                    <a:pt x="504300" y="591658"/>
                  </a:lnTo>
                  <a:lnTo>
                    <a:pt x="510346" y="596188"/>
                  </a:lnTo>
                  <a:lnTo>
                    <a:pt x="517904" y="596188"/>
                  </a:lnTo>
                  <a:lnTo>
                    <a:pt x="529996" y="600718"/>
                  </a:lnTo>
                  <a:lnTo>
                    <a:pt x="539064" y="602228"/>
                  </a:lnTo>
                  <a:lnTo>
                    <a:pt x="542088" y="605248"/>
                  </a:lnTo>
                  <a:lnTo>
                    <a:pt x="536042" y="606756"/>
                  </a:lnTo>
                  <a:lnTo>
                    <a:pt x="528484" y="605248"/>
                  </a:lnTo>
                  <a:lnTo>
                    <a:pt x="522438" y="600718"/>
                  </a:lnTo>
                  <a:lnTo>
                    <a:pt x="517904" y="600718"/>
                  </a:lnTo>
                  <a:lnTo>
                    <a:pt x="517904" y="602228"/>
                  </a:lnTo>
                  <a:lnTo>
                    <a:pt x="510346" y="599208"/>
                  </a:lnTo>
                  <a:lnTo>
                    <a:pt x="507324" y="597698"/>
                  </a:lnTo>
                  <a:lnTo>
                    <a:pt x="504300" y="597698"/>
                  </a:lnTo>
                  <a:lnTo>
                    <a:pt x="496744" y="597698"/>
                  </a:lnTo>
                  <a:lnTo>
                    <a:pt x="490698" y="597698"/>
                  </a:lnTo>
                  <a:lnTo>
                    <a:pt x="490698" y="593168"/>
                  </a:lnTo>
                  <a:lnTo>
                    <a:pt x="498256" y="593168"/>
                  </a:lnTo>
                  <a:lnTo>
                    <a:pt x="496744" y="590148"/>
                  </a:lnTo>
                  <a:lnTo>
                    <a:pt x="495232" y="587128"/>
                  </a:lnTo>
                  <a:lnTo>
                    <a:pt x="493720" y="585618"/>
                  </a:lnTo>
                  <a:lnTo>
                    <a:pt x="484652" y="582598"/>
                  </a:lnTo>
                  <a:lnTo>
                    <a:pt x="477095" y="578070"/>
                  </a:lnTo>
                  <a:lnTo>
                    <a:pt x="468026" y="573540"/>
                  </a:lnTo>
                  <a:lnTo>
                    <a:pt x="461980" y="575050"/>
                  </a:lnTo>
                  <a:lnTo>
                    <a:pt x="463492" y="570520"/>
                  </a:lnTo>
                  <a:lnTo>
                    <a:pt x="463492" y="565990"/>
                  </a:lnTo>
                  <a:lnTo>
                    <a:pt x="461980" y="562970"/>
                  </a:lnTo>
                  <a:lnTo>
                    <a:pt x="458957" y="561460"/>
                  </a:lnTo>
                  <a:close/>
                  <a:moveTo>
                    <a:pt x="700616" y="483448"/>
                  </a:moveTo>
                  <a:lnTo>
                    <a:pt x="707932" y="483448"/>
                  </a:lnTo>
                  <a:lnTo>
                    <a:pt x="712322" y="488120"/>
                  </a:lnTo>
                  <a:lnTo>
                    <a:pt x="712322" y="494348"/>
                  </a:lnTo>
                  <a:lnTo>
                    <a:pt x="710858" y="502132"/>
                  </a:lnTo>
                  <a:lnTo>
                    <a:pt x="707932" y="508360"/>
                  </a:lnTo>
                  <a:lnTo>
                    <a:pt x="706470" y="514588"/>
                  </a:lnTo>
                  <a:lnTo>
                    <a:pt x="702080" y="516146"/>
                  </a:lnTo>
                  <a:lnTo>
                    <a:pt x="699154" y="514588"/>
                  </a:lnTo>
                  <a:lnTo>
                    <a:pt x="693300" y="517702"/>
                  </a:lnTo>
                  <a:lnTo>
                    <a:pt x="694764" y="509918"/>
                  </a:lnTo>
                  <a:lnTo>
                    <a:pt x="697690" y="505246"/>
                  </a:lnTo>
                  <a:lnTo>
                    <a:pt x="700616" y="499018"/>
                  </a:lnTo>
                  <a:lnTo>
                    <a:pt x="697690" y="495904"/>
                  </a:lnTo>
                  <a:lnTo>
                    <a:pt x="697690" y="492790"/>
                  </a:lnTo>
                  <a:lnTo>
                    <a:pt x="699154" y="488120"/>
                  </a:lnTo>
                  <a:close/>
                  <a:moveTo>
                    <a:pt x="171478" y="460940"/>
                  </a:moveTo>
                  <a:lnTo>
                    <a:pt x="178794" y="460940"/>
                  </a:lnTo>
                  <a:lnTo>
                    <a:pt x="175868" y="468688"/>
                  </a:lnTo>
                  <a:lnTo>
                    <a:pt x="172941" y="473336"/>
                  </a:lnTo>
                  <a:lnTo>
                    <a:pt x="168552" y="477984"/>
                  </a:lnTo>
                  <a:lnTo>
                    <a:pt x="161236" y="479534"/>
                  </a:lnTo>
                  <a:lnTo>
                    <a:pt x="159773" y="474886"/>
                  </a:lnTo>
                  <a:lnTo>
                    <a:pt x="168552" y="471786"/>
                  </a:lnTo>
                  <a:lnTo>
                    <a:pt x="171478" y="465588"/>
                  </a:lnTo>
                  <a:close/>
                  <a:moveTo>
                    <a:pt x="203631" y="455068"/>
                  </a:moveTo>
                  <a:lnTo>
                    <a:pt x="205157" y="458110"/>
                  </a:lnTo>
                  <a:lnTo>
                    <a:pt x="209735" y="465712"/>
                  </a:lnTo>
                  <a:lnTo>
                    <a:pt x="212787" y="465712"/>
                  </a:lnTo>
                  <a:lnTo>
                    <a:pt x="211261" y="473316"/>
                  </a:lnTo>
                  <a:lnTo>
                    <a:pt x="206683" y="477878"/>
                  </a:lnTo>
                  <a:lnTo>
                    <a:pt x="206683" y="480918"/>
                  </a:lnTo>
                  <a:lnTo>
                    <a:pt x="203631" y="483960"/>
                  </a:lnTo>
                  <a:lnTo>
                    <a:pt x="202105" y="488522"/>
                  </a:lnTo>
                  <a:lnTo>
                    <a:pt x="199053" y="496126"/>
                  </a:lnTo>
                  <a:lnTo>
                    <a:pt x="196000" y="499166"/>
                  </a:lnTo>
                  <a:lnTo>
                    <a:pt x="188370" y="496126"/>
                  </a:lnTo>
                  <a:lnTo>
                    <a:pt x="188370" y="499166"/>
                  </a:lnTo>
                  <a:lnTo>
                    <a:pt x="188370" y="500688"/>
                  </a:lnTo>
                  <a:lnTo>
                    <a:pt x="200579" y="500688"/>
                  </a:lnTo>
                  <a:lnTo>
                    <a:pt x="203631" y="493084"/>
                  </a:lnTo>
                  <a:lnTo>
                    <a:pt x="206683" y="485480"/>
                  </a:lnTo>
                  <a:lnTo>
                    <a:pt x="208209" y="483960"/>
                  </a:lnTo>
                  <a:lnTo>
                    <a:pt x="211261" y="482440"/>
                  </a:lnTo>
                  <a:lnTo>
                    <a:pt x="212787" y="474836"/>
                  </a:lnTo>
                  <a:lnTo>
                    <a:pt x="215839" y="471796"/>
                  </a:lnTo>
                  <a:lnTo>
                    <a:pt x="220418" y="477878"/>
                  </a:lnTo>
                  <a:lnTo>
                    <a:pt x="224996" y="488522"/>
                  </a:lnTo>
                  <a:lnTo>
                    <a:pt x="226522" y="499166"/>
                  </a:lnTo>
                  <a:lnTo>
                    <a:pt x="228048" y="512852"/>
                  </a:lnTo>
                  <a:lnTo>
                    <a:pt x="231100" y="520456"/>
                  </a:lnTo>
                  <a:lnTo>
                    <a:pt x="231100" y="528060"/>
                  </a:lnTo>
                  <a:lnTo>
                    <a:pt x="231100" y="535662"/>
                  </a:lnTo>
                  <a:lnTo>
                    <a:pt x="228048" y="546306"/>
                  </a:lnTo>
                  <a:lnTo>
                    <a:pt x="223470" y="552390"/>
                  </a:lnTo>
                  <a:lnTo>
                    <a:pt x="214313" y="553910"/>
                  </a:lnTo>
                  <a:lnTo>
                    <a:pt x="208209" y="553910"/>
                  </a:lnTo>
                  <a:lnTo>
                    <a:pt x="203631" y="552390"/>
                  </a:lnTo>
                  <a:lnTo>
                    <a:pt x="196000" y="550868"/>
                  </a:lnTo>
                  <a:lnTo>
                    <a:pt x="189896" y="550868"/>
                  </a:lnTo>
                  <a:lnTo>
                    <a:pt x="188370" y="546306"/>
                  </a:lnTo>
                  <a:lnTo>
                    <a:pt x="189896" y="541744"/>
                  </a:lnTo>
                  <a:lnTo>
                    <a:pt x="186844" y="537182"/>
                  </a:lnTo>
                  <a:lnTo>
                    <a:pt x="186844" y="534142"/>
                  </a:lnTo>
                  <a:lnTo>
                    <a:pt x="186844" y="526538"/>
                  </a:lnTo>
                  <a:lnTo>
                    <a:pt x="188370" y="521976"/>
                  </a:lnTo>
                  <a:lnTo>
                    <a:pt x="183792" y="517414"/>
                  </a:lnTo>
                  <a:lnTo>
                    <a:pt x="182266" y="512852"/>
                  </a:lnTo>
                  <a:lnTo>
                    <a:pt x="180740" y="508290"/>
                  </a:lnTo>
                  <a:lnTo>
                    <a:pt x="180740" y="506770"/>
                  </a:lnTo>
                  <a:lnTo>
                    <a:pt x="182266" y="505250"/>
                  </a:lnTo>
                  <a:lnTo>
                    <a:pt x="180740" y="505250"/>
                  </a:lnTo>
                  <a:lnTo>
                    <a:pt x="177688" y="502208"/>
                  </a:lnTo>
                  <a:lnTo>
                    <a:pt x="176161" y="499166"/>
                  </a:lnTo>
                  <a:lnTo>
                    <a:pt x="176161" y="496126"/>
                  </a:lnTo>
                  <a:lnTo>
                    <a:pt x="170057" y="494604"/>
                  </a:lnTo>
                  <a:lnTo>
                    <a:pt x="165479" y="493084"/>
                  </a:lnTo>
                  <a:lnTo>
                    <a:pt x="165479" y="490042"/>
                  </a:lnTo>
                  <a:lnTo>
                    <a:pt x="171583" y="488522"/>
                  </a:lnTo>
                  <a:lnTo>
                    <a:pt x="168531" y="482440"/>
                  </a:lnTo>
                  <a:lnTo>
                    <a:pt x="174635" y="480918"/>
                  </a:lnTo>
                  <a:lnTo>
                    <a:pt x="179214" y="477878"/>
                  </a:lnTo>
                  <a:lnTo>
                    <a:pt x="179214" y="471796"/>
                  </a:lnTo>
                  <a:lnTo>
                    <a:pt x="182266" y="465712"/>
                  </a:lnTo>
                  <a:lnTo>
                    <a:pt x="189896" y="462672"/>
                  </a:lnTo>
                  <a:lnTo>
                    <a:pt x="197526" y="458110"/>
                  </a:lnTo>
                  <a:close/>
                  <a:moveTo>
                    <a:pt x="511712" y="387542"/>
                  </a:moveTo>
                  <a:lnTo>
                    <a:pt x="517846" y="389060"/>
                  </a:lnTo>
                  <a:lnTo>
                    <a:pt x="519380" y="392094"/>
                  </a:lnTo>
                  <a:lnTo>
                    <a:pt x="525512" y="396646"/>
                  </a:lnTo>
                  <a:lnTo>
                    <a:pt x="527046" y="402714"/>
                  </a:lnTo>
                  <a:lnTo>
                    <a:pt x="528578" y="407266"/>
                  </a:lnTo>
                  <a:lnTo>
                    <a:pt x="530112" y="411818"/>
                  </a:lnTo>
                  <a:lnTo>
                    <a:pt x="533178" y="414852"/>
                  </a:lnTo>
                  <a:lnTo>
                    <a:pt x="534712" y="414852"/>
                  </a:lnTo>
                  <a:lnTo>
                    <a:pt x="536246" y="416370"/>
                  </a:lnTo>
                  <a:lnTo>
                    <a:pt x="536246" y="417888"/>
                  </a:lnTo>
                  <a:lnTo>
                    <a:pt x="537778" y="420922"/>
                  </a:lnTo>
                  <a:lnTo>
                    <a:pt x="542378" y="428508"/>
                  </a:lnTo>
                  <a:lnTo>
                    <a:pt x="545446" y="433818"/>
                  </a:lnTo>
                  <a:lnTo>
                    <a:pt x="550046" y="439888"/>
                  </a:lnTo>
                  <a:lnTo>
                    <a:pt x="554646" y="442922"/>
                  </a:lnTo>
                  <a:lnTo>
                    <a:pt x="562312" y="448992"/>
                  </a:lnTo>
                  <a:lnTo>
                    <a:pt x="565378" y="455060"/>
                  </a:lnTo>
                  <a:lnTo>
                    <a:pt x="569978" y="461130"/>
                  </a:lnTo>
                  <a:lnTo>
                    <a:pt x="573044" y="468716"/>
                  </a:lnTo>
                  <a:lnTo>
                    <a:pt x="576112" y="474786"/>
                  </a:lnTo>
                  <a:lnTo>
                    <a:pt x="579178" y="480854"/>
                  </a:lnTo>
                  <a:lnTo>
                    <a:pt x="574578" y="480854"/>
                  </a:lnTo>
                  <a:lnTo>
                    <a:pt x="569978" y="480854"/>
                  </a:lnTo>
                  <a:lnTo>
                    <a:pt x="563844" y="480854"/>
                  </a:lnTo>
                  <a:lnTo>
                    <a:pt x="560778" y="482372"/>
                  </a:lnTo>
                  <a:lnTo>
                    <a:pt x="557712" y="479336"/>
                  </a:lnTo>
                  <a:lnTo>
                    <a:pt x="556178" y="482372"/>
                  </a:lnTo>
                  <a:lnTo>
                    <a:pt x="554646" y="483888"/>
                  </a:lnTo>
                  <a:lnTo>
                    <a:pt x="553112" y="485406"/>
                  </a:lnTo>
                  <a:lnTo>
                    <a:pt x="546978" y="485406"/>
                  </a:lnTo>
                  <a:lnTo>
                    <a:pt x="543912" y="485406"/>
                  </a:lnTo>
                  <a:lnTo>
                    <a:pt x="540846" y="477820"/>
                  </a:lnTo>
                  <a:lnTo>
                    <a:pt x="548512" y="473268"/>
                  </a:lnTo>
                  <a:lnTo>
                    <a:pt x="559246" y="471750"/>
                  </a:lnTo>
                  <a:lnTo>
                    <a:pt x="560778" y="468716"/>
                  </a:lnTo>
                  <a:lnTo>
                    <a:pt x="562312" y="464164"/>
                  </a:lnTo>
                  <a:lnTo>
                    <a:pt x="560778" y="459612"/>
                  </a:lnTo>
                  <a:lnTo>
                    <a:pt x="557712" y="455060"/>
                  </a:lnTo>
                  <a:lnTo>
                    <a:pt x="551578" y="455060"/>
                  </a:lnTo>
                  <a:lnTo>
                    <a:pt x="550046" y="450508"/>
                  </a:lnTo>
                  <a:lnTo>
                    <a:pt x="545446" y="442922"/>
                  </a:lnTo>
                  <a:lnTo>
                    <a:pt x="539312" y="433060"/>
                  </a:lnTo>
                  <a:lnTo>
                    <a:pt x="537778" y="426992"/>
                  </a:lnTo>
                  <a:lnTo>
                    <a:pt x="533178" y="420922"/>
                  </a:lnTo>
                  <a:lnTo>
                    <a:pt x="530112" y="416370"/>
                  </a:lnTo>
                  <a:lnTo>
                    <a:pt x="522446" y="414852"/>
                  </a:lnTo>
                  <a:lnTo>
                    <a:pt x="523978" y="410302"/>
                  </a:lnTo>
                  <a:lnTo>
                    <a:pt x="522446" y="405750"/>
                  </a:lnTo>
                  <a:lnTo>
                    <a:pt x="519380" y="402714"/>
                  </a:lnTo>
                  <a:lnTo>
                    <a:pt x="516312" y="398162"/>
                  </a:lnTo>
                  <a:lnTo>
                    <a:pt x="513246" y="396646"/>
                  </a:lnTo>
                  <a:lnTo>
                    <a:pt x="510180" y="396646"/>
                  </a:lnTo>
                  <a:lnTo>
                    <a:pt x="508646" y="392094"/>
                  </a:lnTo>
                  <a:lnTo>
                    <a:pt x="504046" y="389060"/>
                  </a:lnTo>
                  <a:close/>
                  <a:moveTo>
                    <a:pt x="255007" y="320996"/>
                  </a:moveTo>
                  <a:lnTo>
                    <a:pt x="262549" y="320996"/>
                  </a:lnTo>
                  <a:lnTo>
                    <a:pt x="267075" y="323930"/>
                  </a:lnTo>
                  <a:lnTo>
                    <a:pt x="270092" y="328334"/>
                  </a:lnTo>
                  <a:lnTo>
                    <a:pt x="261041" y="332738"/>
                  </a:lnTo>
                  <a:lnTo>
                    <a:pt x="253498" y="334206"/>
                  </a:lnTo>
                  <a:lnTo>
                    <a:pt x="245956" y="338610"/>
                  </a:lnTo>
                  <a:lnTo>
                    <a:pt x="239922" y="338610"/>
                  </a:lnTo>
                  <a:lnTo>
                    <a:pt x="232379" y="334206"/>
                  </a:lnTo>
                  <a:lnTo>
                    <a:pt x="226345" y="334206"/>
                  </a:lnTo>
                  <a:lnTo>
                    <a:pt x="226345" y="328334"/>
                  </a:lnTo>
                  <a:lnTo>
                    <a:pt x="233888" y="323930"/>
                  </a:lnTo>
                  <a:lnTo>
                    <a:pt x="239922" y="323930"/>
                  </a:lnTo>
                  <a:close/>
                  <a:moveTo>
                    <a:pt x="124516" y="299464"/>
                  </a:moveTo>
                  <a:lnTo>
                    <a:pt x="132113" y="304004"/>
                  </a:lnTo>
                  <a:lnTo>
                    <a:pt x="136671" y="313086"/>
                  </a:lnTo>
                  <a:lnTo>
                    <a:pt x="141228" y="310060"/>
                  </a:lnTo>
                  <a:lnTo>
                    <a:pt x="147306" y="307032"/>
                  </a:lnTo>
                  <a:lnTo>
                    <a:pt x="154902" y="313086"/>
                  </a:lnTo>
                  <a:lnTo>
                    <a:pt x="151864" y="317628"/>
                  </a:lnTo>
                  <a:lnTo>
                    <a:pt x="159460" y="320654"/>
                  </a:lnTo>
                  <a:lnTo>
                    <a:pt x="159460" y="322168"/>
                  </a:lnTo>
                  <a:lnTo>
                    <a:pt x="159460" y="325196"/>
                  </a:lnTo>
                  <a:lnTo>
                    <a:pt x="156422" y="332764"/>
                  </a:lnTo>
                  <a:lnTo>
                    <a:pt x="159460" y="341846"/>
                  </a:lnTo>
                  <a:lnTo>
                    <a:pt x="162499" y="337304"/>
                  </a:lnTo>
                  <a:lnTo>
                    <a:pt x="162499" y="344872"/>
                  </a:lnTo>
                  <a:lnTo>
                    <a:pt x="164018" y="350928"/>
                  </a:lnTo>
                  <a:lnTo>
                    <a:pt x="168576" y="361522"/>
                  </a:lnTo>
                  <a:lnTo>
                    <a:pt x="174654" y="366064"/>
                  </a:lnTo>
                  <a:lnTo>
                    <a:pt x="180731" y="372118"/>
                  </a:lnTo>
                  <a:lnTo>
                    <a:pt x="186808" y="379686"/>
                  </a:lnTo>
                  <a:lnTo>
                    <a:pt x="192886" y="387254"/>
                  </a:lnTo>
                  <a:lnTo>
                    <a:pt x="194405" y="394822"/>
                  </a:lnTo>
                  <a:lnTo>
                    <a:pt x="192886" y="402390"/>
                  </a:lnTo>
                  <a:lnTo>
                    <a:pt x="194405" y="408446"/>
                  </a:lnTo>
                  <a:lnTo>
                    <a:pt x="194405" y="414500"/>
                  </a:lnTo>
                  <a:lnTo>
                    <a:pt x="198963" y="417526"/>
                  </a:lnTo>
                  <a:lnTo>
                    <a:pt x="198963" y="425096"/>
                  </a:lnTo>
                  <a:lnTo>
                    <a:pt x="192886" y="428122"/>
                  </a:lnTo>
                  <a:lnTo>
                    <a:pt x="197444" y="431150"/>
                  </a:lnTo>
                  <a:lnTo>
                    <a:pt x="200482" y="437960"/>
                  </a:lnTo>
                  <a:lnTo>
                    <a:pt x="203521" y="447042"/>
                  </a:lnTo>
                  <a:lnTo>
                    <a:pt x="195924" y="447042"/>
                  </a:lnTo>
                  <a:lnTo>
                    <a:pt x="191366" y="450070"/>
                  </a:lnTo>
                  <a:lnTo>
                    <a:pt x="185289" y="451584"/>
                  </a:lnTo>
                  <a:lnTo>
                    <a:pt x="183770" y="445528"/>
                  </a:lnTo>
                  <a:lnTo>
                    <a:pt x="186808" y="439474"/>
                  </a:lnTo>
                  <a:lnTo>
                    <a:pt x="177692" y="439474"/>
                  </a:lnTo>
                  <a:lnTo>
                    <a:pt x="173134" y="442502"/>
                  </a:lnTo>
                  <a:lnTo>
                    <a:pt x="177692" y="447042"/>
                  </a:lnTo>
                  <a:lnTo>
                    <a:pt x="174654" y="448556"/>
                  </a:lnTo>
                  <a:lnTo>
                    <a:pt x="167057" y="447042"/>
                  </a:lnTo>
                  <a:lnTo>
                    <a:pt x="167057" y="451584"/>
                  </a:lnTo>
                  <a:lnTo>
                    <a:pt x="159460" y="450070"/>
                  </a:lnTo>
                  <a:lnTo>
                    <a:pt x="154902" y="450070"/>
                  </a:lnTo>
                  <a:lnTo>
                    <a:pt x="148825" y="453098"/>
                  </a:lnTo>
                  <a:lnTo>
                    <a:pt x="153383" y="457638"/>
                  </a:lnTo>
                  <a:lnTo>
                    <a:pt x="156422" y="457638"/>
                  </a:lnTo>
                  <a:lnTo>
                    <a:pt x="162499" y="457638"/>
                  </a:lnTo>
                  <a:lnTo>
                    <a:pt x="165538" y="462178"/>
                  </a:lnTo>
                  <a:lnTo>
                    <a:pt x="164018" y="466720"/>
                  </a:lnTo>
                  <a:lnTo>
                    <a:pt x="154902" y="469748"/>
                  </a:lnTo>
                  <a:lnTo>
                    <a:pt x="147306" y="463692"/>
                  </a:lnTo>
                  <a:lnTo>
                    <a:pt x="145786" y="456124"/>
                  </a:lnTo>
                  <a:lnTo>
                    <a:pt x="141228" y="447042"/>
                  </a:lnTo>
                  <a:lnTo>
                    <a:pt x="136671" y="444016"/>
                  </a:lnTo>
                  <a:lnTo>
                    <a:pt x="129074" y="439474"/>
                  </a:lnTo>
                  <a:lnTo>
                    <a:pt x="124516" y="433420"/>
                  </a:lnTo>
                  <a:lnTo>
                    <a:pt x="132113" y="426608"/>
                  </a:lnTo>
                  <a:lnTo>
                    <a:pt x="119958" y="432664"/>
                  </a:lnTo>
                  <a:lnTo>
                    <a:pt x="113881" y="428122"/>
                  </a:lnTo>
                  <a:lnTo>
                    <a:pt x="100207" y="419040"/>
                  </a:lnTo>
                  <a:lnTo>
                    <a:pt x="78936" y="402390"/>
                  </a:lnTo>
                  <a:lnTo>
                    <a:pt x="86533" y="399364"/>
                  </a:lnTo>
                  <a:lnTo>
                    <a:pt x="91091" y="391796"/>
                  </a:lnTo>
                  <a:lnTo>
                    <a:pt x="98687" y="391796"/>
                  </a:lnTo>
                  <a:lnTo>
                    <a:pt x="100207" y="385740"/>
                  </a:lnTo>
                  <a:lnTo>
                    <a:pt x="104765" y="379686"/>
                  </a:lnTo>
                  <a:lnTo>
                    <a:pt x="106284" y="373632"/>
                  </a:lnTo>
                  <a:lnTo>
                    <a:pt x="110842" y="375146"/>
                  </a:lnTo>
                  <a:lnTo>
                    <a:pt x="116919" y="369090"/>
                  </a:lnTo>
                  <a:lnTo>
                    <a:pt x="115400" y="363036"/>
                  </a:lnTo>
                  <a:lnTo>
                    <a:pt x="122997" y="358496"/>
                  </a:lnTo>
                  <a:lnTo>
                    <a:pt x="129074" y="349414"/>
                  </a:lnTo>
                  <a:lnTo>
                    <a:pt x="127555" y="340332"/>
                  </a:lnTo>
                  <a:lnTo>
                    <a:pt x="130593" y="338818"/>
                  </a:lnTo>
                  <a:lnTo>
                    <a:pt x="132113" y="329736"/>
                  </a:lnTo>
                  <a:lnTo>
                    <a:pt x="127555" y="322168"/>
                  </a:lnTo>
                  <a:lnTo>
                    <a:pt x="126035" y="314600"/>
                  </a:lnTo>
                  <a:lnTo>
                    <a:pt x="119958" y="310060"/>
                  </a:lnTo>
                  <a:lnTo>
                    <a:pt x="116919" y="300978"/>
                  </a:lnTo>
                  <a:close/>
                  <a:moveTo>
                    <a:pt x="358539" y="235852"/>
                  </a:moveTo>
                  <a:lnTo>
                    <a:pt x="361582" y="238888"/>
                  </a:lnTo>
                  <a:lnTo>
                    <a:pt x="357017" y="238888"/>
                  </a:lnTo>
                  <a:lnTo>
                    <a:pt x="357017" y="246474"/>
                  </a:lnTo>
                  <a:lnTo>
                    <a:pt x="364625" y="246474"/>
                  </a:lnTo>
                  <a:lnTo>
                    <a:pt x="366147" y="251026"/>
                  </a:lnTo>
                  <a:lnTo>
                    <a:pt x="372234" y="255578"/>
                  </a:lnTo>
                  <a:lnTo>
                    <a:pt x="381364" y="261648"/>
                  </a:lnTo>
                  <a:lnTo>
                    <a:pt x="384407" y="264682"/>
                  </a:lnTo>
                  <a:lnTo>
                    <a:pt x="387450" y="269234"/>
                  </a:lnTo>
                  <a:lnTo>
                    <a:pt x="388972" y="270752"/>
                  </a:lnTo>
                  <a:lnTo>
                    <a:pt x="392015" y="270752"/>
                  </a:lnTo>
                  <a:lnTo>
                    <a:pt x="396580" y="272270"/>
                  </a:lnTo>
                  <a:lnTo>
                    <a:pt x="404188" y="275304"/>
                  </a:lnTo>
                  <a:lnTo>
                    <a:pt x="410275" y="272270"/>
                  </a:lnTo>
                  <a:lnTo>
                    <a:pt x="417883" y="281374"/>
                  </a:lnTo>
                  <a:lnTo>
                    <a:pt x="425492" y="290478"/>
                  </a:lnTo>
                  <a:lnTo>
                    <a:pt x="431578" y="296546"/>
                  </a:lnTo>
                  <a:lnTo>
                    <a:pt x="439186" y="302616"/>
                  </a:lnTo>
                  <a:lnTo>
                    <a:pt x="446795" y="307168"/>
                  </a:lnTo>
                  <a:lnTo>
                    <a:pt x="449838" y="319306"/>
                  </a:lnTo>
                  <a:lnTo>
                    <a:pt x="449838" y="328410"/>
                  </a:lnTo>
                  <a:lnTo>
                    <a:pt x="445273" y="340550"/>
                  </a:lnTo>
                  <a:lnTo>
                    <a:pt x="443751" y="349654"/>
                  </a:lnTo>
                  <a:lnTo>
                    <a:pt x="446795" y="358758"/>
                  </a:lnTo>
                  <a:lnTo>
                    <a:pt x="445273" y="366344"/>
                  </a:lnTo>
                  <a:lnTo>
                    <a:pt x="439186" y="373930"/>
                  </a:lnTo>
                  <a:lnTo>
                    <a:pt x="439186" y="383034"/>
                  </a:lnTo>
                  <a:lnTo>
                    <a:pt x="442230" y="389104"/>
                  </a:lnTo>
                  <a:lnTo>
                    <a:pt x="445273" y="392138"/>
                  </a:lnTo>
                  <a:lnTo>
                    <a:pt x="445273" y="401244"/>
                  </a:lnTo>
                  <a:lnTo>
                    <a:pt x="437665" y="393656"/>
                  </a:lnTo>
                  <a:lnTo>
                    <a:pt x="433100" y="384552"/>
                  </a:lnTo>
                  <a:lnTo>
                    <a:pt x="430057" y="378482"/>
                  </a:lnTo>
                  <a:lnTo>
                    <a:pt x="425492" y="373930"/>
                  </a:lnTo>
                  <a:lnTo>
                    <a:pt x="416362" y="370896"/>
                  </a:lnTo>
                  <a:lnTo>
                    <a:pt x="413318" y="363310"/>
                  </a:lnTo>
                  <a:lnTo>
                    <a:pt x="420927" y="366344"/>
                  </a:lnTo>
                  <a:lnTo>
                    <a:pt x="427013" y="370896"/>
                  </a:lnTo>
                  <a:lnTo>
                    <a:pt x="434621" y="370896"/>
                  </a:lnTo>
                  <a:lnTo>
                    <a:pt x="439186" y="364826"/>
                  </a:lnTo>
                  <a:lnTo>
                    <a:pt x="442230" y="361792"/>
                  </a:lnTo>
                  <a:lnTo>
                    <a:pt x="440708" y="352688"/>
                  </a:lnTo>
                  <a:lnTo>
                    <a:pt x="437665" y="358758"/>
                  </a:lnTo>
                  <a:lnTo>
                    <a:pt x="436143" y="355722"/>
                  </a:lnTo>
                  <a:lnTo>
                    <a:pt x="436143" y="346618"/>
                  </a:lnTo>
                  <a:lnTo>
                    <a:pt x="437665" y="340550"/>
                  </a:lnTo>
                  <a:lnTo>
                    <a:pt x="440708" y="335998"/>
                  </a:lnTo>
                  <a:lnTo>
                    <a:pt x="445273" y="331446"/>
                  </a:lnTo>
                  <a:lnTo>
                    <a:pt x="445273" y="320824"/>
                  </a:lnTo>
                  <a:lnTo>
                    <a:pt x="445273" y="313238"/>
                  </a:lnTo>
                  <a:lnTo>
                    <a:pt x="436143" y="308686"/>
                  </a:lnTo>
                  <a:lnTo>
                    <a:pt x="428535" y="299582"/>
                  </a:lnTo>
                  <a:lnTo>
                    <a:pt x="419405" y="290478"/>
                  </a:lnTo>
                  <a:lnTo>
                    <a:pt x="411797" y="278338"/>
                  </a:lnTo>
                  <a:lnTo>
                    <a:pt x="401145" y="276822"/>
                  </a:lnTo>
                  <a:lnTo>
                    <a:pt x="393537" y="276822"/>
                  </a:lnTo>
                  <a:lnTo>
                    <a:pt x="382885" y="270752"/>
                  </a:lnTo>
                  <a:lnTo>
                    <a:pt x="378320" y="264682"/>
                  </a:lnTo>
                  <a:lnTo>
                    <a:pt x="370712" y="260130"/>
                  </a:lnTo>
                  <a:lnTo>
                    <a:pt x="366147" y="258614"/>
                  </a:lnTo>
                  <a:lnTo>
                    <a:pt x="357017" y="257096"/>
                  </a:lnTo>
                  <a:lnTo>
                    <a:pt x="346366" y="263166"/>
                  </a:lnTo>
                  <a:lnTo>
                    <a:pt x="340279" y="272270"/>
                  </a:lnTo>
                  <a:lnTo>
                    <a:pt x="335714" y="276822"/>
                  </a:lnTo>
                  <a:lnTo>
                    <a:pt x="344844" y="261648"/>
                  </a:lnTo>
                  <a:lnTo>
                    <a:pt x="347887" y="257096"/>
                  </a:lnTo>
                  <a:lnTo>
                    <a:pt x="350931" y="249510"/>
                  </a:lnTo>
                  <a:lnTo>
                    <a:pt x="353974" y="241922"/>
                  </a:lnTo>
                  <a:lnTo>
                    <a:pt x="352452" y="237370"/>
                  </a:lnTo>
                  <a:close/>
                  <a:moveTo>
                    <a:pt x="63844" y="22510"/>
                  </a:moveTo>
                  <a:lnTo>
                    <a:pt x="66884" y="22510"/>
                  </a:lnTo>
                  <a:lnTo>
                    <a:pt x="69924" y="28612"/>
                  </a:lnTo>
                  <a:lnTo>
                    <a:pt x="69924" y="34714"/>
                  </a:lnTo>
                  <a:lnTo>
                    <a:pt x="74484" y="33188"/>
                  </a:lnTo>
                  <a:lnTo>
                    <a:pt x="83605" y="33188"/>
                  </a:lnTo>
                  <a:lnTo>
                    <a:pt x="91205" y="37766"/>
                  </a:lnTo>
                  <a:lnTo>
                    <a:pt x="104886" y="40816"/>
                  </a:lnTo>
                  <a:lnTo>
                    <a:pt x="112487" y="39290"/>
                  </a:lnTo>
                  <a:lnTo>
                    <a:pt x="106406" y="33188"/>
                  </a:lnTo>
                  <a:lnTo>
                    <a:pt x="107926" y="28612"/>
                  </a:lnTo>
                  <a:lnTo>
                    <a:pt x="112487" y="33188"/>
                  </a:lnTo>
                  <a:lnTo>
                    <a:pt x="120087" y="34714"/>
                  </a:lnTo>
                  <a:lnTo>
                    <a:pt x="129208" y="34714"/>
                  </a:lnTo>
                  <a:lnTo>
                    <a:pt x="138328" y="37766"/>
                  </a:lnTo>
                  <a:lnTo>
                    <a:pt x="138328" y="36240"/>
                  </a:lnTo>
                  <a:lnTo>
                    <a:pt x="141368" y="33188"/>
                  </a:lnTo>
                  <a:lnTo>
                    <a:pt x="147449" y="31664"/>
                  </a:lnTo>
                  <a:lnTo>
                    <a:pt x="152009" y="31664"/>
                  </a:lnTo>
                  <a:lnTo>
                    <a:pt x="155049" y="33188"/>
                  </a:lnTo>
                  <a:lnTo>
                    <a:pt x="156569" y="34714"/>
                  </a:lnTo>
                  <a:lnTo>
                    <a:pt x="159609" y="34714"/>
                  </a:lnTo>
                  <a:lnTo>
                    <a:pt x="165690" y="31664"/>
                  </a:lnTo>
                  <a:lnTo>
                    <a:pt x="170250" y="28612"/>
                  </a:lnTo>
                  <a:lnTo>
                    <a:pt x="170250" y="34714"/>
                  </a:lnTo>
                  <a:lnTo>
                    <a:pt x="171770" y="42342"/>
                  </a:lnTo>
                  <a:lnTo>
                    <a:pt x="180891" y="48444"/>
                  </a:lnTo>
                  <a:lnTo>
                    <a:pt x="183931" y="56072"/>
                  </a:lnTo>
                  <a:lnTo>
                    <a:pt x="185451" y="62174"/>
                  </a:lnTo>
                  <a:lnTo>
                    <a:pt x="180891" y="65224"/>
                  </a:lnTo>
                  <a:lnTo>
                    <a:pt x="173290" y="59122"/>
                  </a:lnTo>
                  <a:lnTo>
                    <a:pt x="167210" y="48444"/>
                  </a:lnTo>
                  <a:lnTo>
                    <a:pt x="159609" y="46918"/>
                  </a:lnTo>
                  <a:lnTo>
                    <a:pt x="139848" y="46918"/>
                  </a:lnTo>
                  <a:lnTo>
                    <a:pt x="123127" y="48444"/>
                  </a:lnTo>
                  <a:lnTo>
                    <a:pt x="115527" y="53020"/>
                  </a:lnTo>
                  <a:lnTo>
                    <a:pt x="103366" y="51496"/>
                  </a:lnTo>
                  <a:lnTo>
                    <a:pt x="92726" y="56072"/>
                  </a:lnTo>
                  <a:lnTo>
                    <a:pt x="83605" y="56072"/>
                  </a:lnTo>
                  <a:lnTo>
                    <a:pt x="72964" y="62174"/>
                  </a:lnTo>
                  <a:lnTo>
                    <a:pt x="65364" y="65224"/>
                  </a:lnTo>
                  <a:lnTo>
                    <a:pt x="56243" y="71326"/>
                  </a:lnTo>
                  <a:lnTo>
                    <a:pt x="50163" y="74378"/>
                  </a:lnTo>
                  <a:lnTo>
                    <a:pt x="41042" y="74378"/>
                  </a:lnTo>
                  <a:lnTo>
                    <a:pt x="33442" y="69802"/>
                  </a:lnTo>
                  <a:lnTo>
                    <a:pt x="25842" y="65224"/>
                  </a:lnTo>
                  <a:lnTo>
                    <a:pt x="16721" y="57598"/>
                  </a:lnTo>
                  <a:lnTo>
                    <a:pt x="12161" y="51496"/>
                  </a:lnTo>
                  <a:lnTo>
                    <a:pt x="4560" y="46918"/>
                  </a:lnTo>
                  <a:lnTo>
                    <a:pt x="0" y="39290"/>
                  </a:lnTo>
                  <a:lnTo>
                    <a:pt x="1520" y="39290"/>
                  </a:lnTo>
                  <a:lnTo>
                    <a:pt x="13681" y="45392"/>
                  </a:lnTo>
                  <a:lnTo>
                    <a:pt x="21281" y="51496"/>
                  </a:lnTo>
                  <a:lnTo>
                    <a:pt x="28882" y="62174"/>
                  </a:lnTo>
                  <a:lnTo>
                    <a:pt x="33442" y="65224"/>
                  </a:lnTo>
                  <a:lnTo>
                    <a:pt x="34962" y="60648"/>
                  </a:lnTo>
                  <a:lnTo>
                    <a:pt x="41042" y="60648"/>
                  </a:lnTo>
                  <a:lnTo>
                    <a:pt x="53203" y="54546"/>
                  </a:lnTo>
                  <a:lnTo>
                    <a:pt x="57763" y="49970"/>
                  </a:lnTo>
                  <a:lnTo>
                    <a:pt x="60804" y="42342"/>
                  </a:lnTo>
                  <a:lnTo>
                    <a:pt x="63844" y="36240"/>
                  </a:lnTo>
                  <a:lnTo>
                    <a:pt x="59284" y="34714"/>
                  </a:lnTo>
                  <a:lnTo>
                    <a:pt x="62324" y="27086"/>
                  </a:lnTo>
                  <a:close/>
                  <a:moveTo>
                    <a:pt x="178794" y="0"/>
                  </a:moveTo>
                  <a:lnTo>
                    <a:pt x="184889" y="0"/>
                  </a:lnTo>
                  <a:lnTo>
                    <a:pt x="194032" y="0"/>
                  </a:lnTo>
                  <a:lnTo>
                    <a:pt x="204699" y="3040"/>
                  </a:lnTo>
                  <a:lnTo>
                    <a:pt x="216889" y="3040"/>
                  </a:lnTo>
                  <a:lnTo>
                    <a:pt x="224509" y="3040"/>
                  </a:lnTo>
                  <a:lnTo>
                    <a:pt x="235175" y="9120"/>
                  </a:lnTo>
                  <a:lnTo>
                    <a:pt x="244318" y="18238"/>
                  </a:lnTo>
                  <a:lnTo>
                    <a:pt x="251937" y="28874"/>
                  </a:lnTo>
                  <a:lnTo>
                    <a:pt x="262604" y="36474"/>
                  </a:lnTo>
                  <a:lnTo>
                    <a:pt x="268699" y="41032"/>
                  </a:lnTo>
                  <a:lnTo>
                    <a:pt x="264128" y="45592"/>
                  </a:lnTo>
                  <a:lnTo>
                    <a:pt x="265652" y="50150"/>
                  </a:lnTo>
                  <a:lnTo>
                    <a:pt x="268699" y="51670"/>
                  </a:lnTo>
                  <a:lnTo>
                    <a:pt x="273271" y="53190"/>
                  </a:lnTo>
                  <a:lnTo>
                    <a:pt x="279366" y="54710"/>
                  </a:lnTo>
                  <a:lnTo>
                    <a:pt x="285461" y="57748"/>
                  </a:lnTo>
                  <a:lnTo>
                    <a:pt x="296128" y="60788"/>
                  </a:lnTo>
                  <a:lnTo>
                    <a:pt x="303747" y="65348"/>
                  </a:lnTo>
                  <a:lnTo>
                    <a:pt x="303747" y="72946"/>
                  </a:lnTo>
                  <a:lnTo>
                    <a:pt x="303747" y="75984"/>
                  </a:lnTo>
                  <a:lnTo>
                    <a:pt x="303747" y="83584"/>
                  </a:lnTo>
                  <a:lnTo>
                    <a:pt x="306795" y="92702"/>
                  </a:lnTo>
                  <a:lnTo>
                    <a:pt x="311366" y="95740"/>
                  </a:lnTo>
                  <a:lnTo>
                    <a:pt x="306795" y="98780"/>
                  </a:lnTo>
                  <a:lnTo>
                    <a:pt x="312890" y="101820"/>
                  </a:lnTo>
                  <a:lnTo>
                    <a:pt x="308319" y="109418"/>
                  </a:lnTo>
                  <a:lnTo>
                    <a:pt x="303747" y="112456"/>
                  </a:lnTo>
                  <a:lnTo>
                    <a:pt x="303747" y="106378"/>
                  </a:lnTo>
                  <a:lnTo>
                    <a:pt x="299176" y="107898"/>
                  </a:lnTo>
                  <a:lnTo>
                    <a:pt x="291557" y="115496"/>
                  </a:lnTo>
                  <a:lnTo>
                    <a:pt x="285461" y="123094"/>
                  </a:lnTo>
                  <a:lnTo>
                    <a:pt x="283937" y="130694"/>
                  </a:lnTo>
                  <a:lnTo>
                    <a:pt x="283937" y="142850"/>
                  </a:lnTo>
                  <a:lnTo>
                    <a:pt x="282414" y="145890"/>
                  </a:lnTo>
                  <a:lnTo>
                    <a:pt x="280890" y="148930"/>
                  </a:lnTo>
                  <a:lnTo>
                    <a:pt x="279366" y="150448"/>
                  </a:lnTo>
                  <a:lnTo>
                    <a:pt x="279366" y="151968"/>
                  </a:lnTo>
                  <a:lnTo>
                    <a:pt x="279366" y="156528"/>
                  </a:lnTo>
                  <a:lnTo>
                    <a:pt x="283937" y="168684"/>
                  </a:lnTo>
                  <a:lnTo>
                    <a:pt x="283937" y="185402"/>
                  </a:lnTo>
                  <a:lnTo>
                    <a:pt x="277842" y="186920"/>
                  </a:lnTo>
                  <a:lnTo>
                    <a:pt x="273271" y="179322"/>
                  </a:lnTo>
                  <a:lnTo>
                    <a:pt x="267175" y="177802"/>
                  </a:lnTo>
                  <a:lnTo>
                    <a:pt x="270223" y="171724"/>
                  </a:lnTo>
                  <a:lnTo>
                    <a:pt x="267175" y="165646"/>
                  </a:lnTo>
                  <a:lnTo>
                    <a:pt x="262604" y="162606"/>
                  </a:lnTo>
                  <a:lnTo>
                    <a:pt x="254985" y="161086"/>
                  </a:lnTo>
                  <a:lnTo>
                    <a:pt x="247366" y="159566"/>
                  </a:lnTo>
                  <a:lnTo>
                    <a:pt x="245842" y="159566"/>
                  </a:lnTo>
                  <a:lnTo>
                    <a:pt x="247366" y="158048"/>
                  </a:lnTo>
                  <a:lnTo>
                    <a:pt x="248890" y="156528"/>
                  </a:lnTo>
                  <a:lnTo>
                    <a:pt x="253461" y="156528"/>
                  </a:lnTo>
                  <a:lnTo>
                    <a:pt x="256509" y="151968"/>
                  </a:lnTo>
                  <a:lnTo>
                    <a:pt x="268699" y="144370"/>
                  </a:lnTo>
                  <a:lnTo>
                    <a:pt x="276318" y="135252"/>
                  </a:lnTo>
                  <a:lnTo>
                    <a:pt x="274795" y="126134"/>
                  </a:lnTo>
                  <a:lnTo>
                    <a:pt x="268699" y="126134"/>
                  </a:lnTo>
                  <a:lnTo>
                    <a:pt x="271747" y="123094"/>
                  </a:lnTo>
                  <a:lnTo>
                    <a:pt x="273271" y="120056"/>
                  </a:lnTo>
                  <a:lnTo>
                    <a:pt x="277842" y="118536"/>
                  </a:lnTo>
                  <a:lnTo>
                    <a:pt x="279366" y="117016"/>
                  </a:lnTo>
                  <a:lnTo>
                    <a:pt x="276318" y="109418"/>
                  </a:lnTo>
                  <a:lnTo>
                    <a:pt x="273271" y="103338"/>
                  </a:lnTo>
                  <a:lnTo>
                    <a:pt x="279366" y="100300"/>
                  </a:lnTo>
                  <a:lnTo>
                    <a:pt x="286985" y="98780"/>
                  </a:lnTo>
                  <a:lnTo>
                    <a:pt x="279366" y="97260"/>
                  </a:lnTo>
                  <a:lnTo>
                    <a:pt x="276318" y="94220"/>
                  </a:lnTo>
                  <a:lnTo>
                    <a:pt x="273271" y="91182"/>
                  </a:lnTo>
                  <a:lnTo>
                    <a:pt x="277842" y="88142"/>
                  </a:lnTo>
                  <a:lnTo>
                    <a:pt x="282414" y="85102"/>
                  </a:lnTo>
                  <a:lnTo>
                    <a:pt x="277842" y="83584"/>
                  </a:lnTo>
                  <a:lnTo>
                    <a:pt x="280890" y="80544"/>
                  </a:lnTo>
                  <a:lnTo>
                    <a:pt x="283937" y="75984"/>
                  </a:lnTo>
                  <a:lnTo>
                    <a:pt x="276318" y="72946"/>
                  </a:lnTo>
                  <a:lnTo>
                    <a:pt x="270223" y="71426"/>
                  </a:lnTo>
                  <a:lnTo>
                    <a:pt x="273271" y="68386"/>
                  </a:lnTo>
                  <a:lnTo>
                    <a:pt x="279366" y="65348"/>
                  </a:lnTo>
                  <a:lnTo>
                    <a:pt x="283937" y="68386"/>
                  </a:lnTo>
                  <a:lnTo>
                    <a:pt x="288509" y="71426"/>
                  </a:lnTo>
                  <a:lnTo>
                    <a:pt x="291557" y="66866"/>
                  </a:lnTo>
                  <a:lnTo>
                    <a:pt x="286985" y="63828"/>
                  </a:lnTo>
                  <a:lnTo>
                    <a:pt x="282414" y="60788"/>
                  </a:lnTo>
                  <a:lnTo>
                    <a:pt x="279366" y="60788"/>
                  </a:lnTo>
                  <a:lnTo>
                    <a:pt x="273271" y="60788"/>
                  </a:lnTo>
                  <a:lnTo>
                    <a:pt x="265652" y="59268"/>
                  </a:lnTo>
                  <a:lnTo>
                    <a:pt x="259556" y="56228"/>
                  </a:lnTo>
                  <a:lnTo>
                    <a:pt x="256509" y="51670"/>
                  </a:lnTo>
                  <a:lnTo>
                    <a:pt x="258033" y="45592"/>
                  </a:lnTo>
                  <a:lnTo>
                    <a:pt x="258033" y="41032"/>
                  </a:lnTo>
                  <a:lnTo>
                    <a:pt x="253461" y="39512"/>
                  </a:lnTo>
                  <a:lnTo>
                    <a:pt x="248890" y="39512"/>
                  </a:lnTo>
                  <a:lnTo>
                    <a:pt x="242794" y="39512"/>
                  </a:lnTo>
                  <a:lnTo>
                    <a:pt x="241271" y="31914"/>
                  </a:lnTo>
                  <a:lnTo>
                    <a:pt x="241271" y="27356"/>
                  </a:lnTo>
                  <a:lnTo>
                    <a:pt x="241271" y="21276"/>
                  </a:lnTo>
                  <a:lnTo>
                    <a:pt x="236699" y="16718"/>
                  </a:lnTo>
                  <a:lnTo>
                    <a:pt x="230604" y="10638"/>
                  </a:lnTo>
                  <a:lnTo>
                    <a:pt x="227556" y="6080"/>
                  </a:lnTo>
                  <a:lnTo>
                    <a:pt x="221461" y="7600"/>
                  </a:lnTo>
                  <a:lnTo>
                    <a:pt x="213842" y="9120"/>
                  </a:lnTo>
                  <a:lnTo>
                    <a:pt x="210794" y="7600"/>
                  </a:lnTo>
                  <a:lnTo>
                    <a:pt x="206223" y="7600"/>
                  </a:lnTo>
                  <a:lnTo>
                    <a:pt x="198604" y="4560"/>
                  </a:lnTo>
                  <a:lnTo>
                    <a:pt x="194032" y="4560"/>
                  </a:lnTo>
                  <a:lnTo>
                    <a:pt x="186413" y="152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prstDash val="solid"/>
              <a:round/>
            </a:ln>
          </p:spPr>
          <p:txBody>
            <a:bodyPr vert="horz" wrap="square" lIns="52127" tIns="26064" rIns="52127" bIns="26064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60963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026" noProof="1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" name="AutoShape 2"/>
          <p:cNvSpPr/>
          <p:nvPr/>
        </p:nvSpPr>
        <p:spPr>
          <a:xfrm rot="5717">
            <a:off x="311280" y="810576"/>
            <a:ext cx="11454326" cy="0"/>
          </a:xfrm>
          <a:prstGeom prst="line">
            <a:avLst/>
          </a:prstGeom>
          <a:ln w="19050" cap="rnd">
            <a:solidFill>
              <a:srgbClr val="003975"/>
            </a:solidFill>
            <a:prstDash val="solid"/>
            <a:headEnd type="none" w="sm" len="sm"/>
            <a:tailEnd type="none" w="sm" len="sm"/>
          </a:ln>
        </p:spPr>
        <p:txBody>
          <a:bodyPr>
            <a:noAutofit/>
          </a:bodyPr>
          <a:lstStyle/>
          <a:p>
            <a:endParaRPr sz="1200"/>
          </a:p>
        </p:txBody>
      </p:sp>
      <p:grpSp>
        <p:nvGrpSpPr>
          <p:cNvPr id="3" name="Group 3"/>
          <p:cNvGrpSpPr/>
          <p:nvPr/>
        </p:nvGrpSpPr>
        <p:grpSpPr>
          <a:xfrm>
            <a:off x="7836616" y="5085742"/>
            <a:ext cx="3919458" cy="1395995"/>
            <a:chOff x="0" y="0"/>
            <a:chExt cx="7838916" cy="279199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7838948" cy="2791968"/>
            </a:xfrm>
            <a:custGeom>
              <a:avLst/>
              <a:gdLst/>
              <a:ahLst/>
              <a:cxnLst/>
              <a:rect l="l" t="t" r="r" b="b"/>
              <a:pathLst>
                <a:path w="7838948" h="2791968">
                  <a:moveTo>
                    <a:pt x="0" y="0"/>
                  </a:moveTo>
                  <a:lnTo>
                    <a:pt x="7838948" y="0"/>
                  </a:lnTo>
                  <a:lnTo>
                    <a:pt x="7838948" y="2791968"/>
                  </a:lnTo>
                  <a:lnTo>
                    <a:pt x="0" y="2791968"/>
                  </a:lnTo>
                  <a:close/>
                </a:path>
              </a:pathLst>
            </a:custGeom>
            <a:solidFill>
              <a:srgbClr val="C6DCF3">
                <a:alpha val="24706"/>
              </a:srgbClr>
            </a:solidFill>
          </p:spPr>
          <p:txBody>
            <a:bodyPr>
              <a:noAutofit/>
            </a:bodyPr>
            <a:lstStyle/>
            <a:p>
              <a:endParaRPr sz="1200"/>
            </a:p>
          </p:txBody>
        </p:sp>
      </p:grpSp>
      <p:sp>
        <p:nvSpPr>
          <p:cNvPr id="5" name="Freeform 5"/>
          <p:cNvSpPr/>
          <p:nvPr/>
        </p:nvSpPr>
        <p:spPr>
          <a:xfrm>
            <a:off x="9104981" y="4001294"/>
            <a:ext cx="3087019" cy="2856706"/>
          </a:xfrm>
          <a:custGeom>
            <a:avLst/>
            <a:gdLst/>
            <a:ahLst/>
            <a:cxnLst/>
            <a:rect l="l" t="t" r="r" b="b"/>
            <a:pathLst>
              <a:path w="4630528" h="4285059">
                <a:moveTo>
                  <a:pt x="0" y="0"/>
                </a:moveTo>
                <a:lnTo>
                  <a:pt x="4630528" y="0"/>
                </a:lnTo>
                <a:lnTo>
                  <a:pt x="4630528" y="4285059"/>
                </a:lnTo>
                <a:lnTo>
                  <a:pt x="0" y="4285059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r="-17308" b="-26980"/>
            </a:stretch>
          </a:blipFill>
        </p:spPr>
        <p:txBody>
          <a:bodyPr>
            <a:noAutofit/>
          </a:bodyPr>
          <a:lstStyle/>
          <a:p>
            <a:endParaRPr lang="ru-KZ" sz="1200"/>
          </a:p>
        </p:txBody>
      </p:sp>
      <p:sp>
        <p:nvSpPr>
          <p:cNvPr id="6" name="AutoShape 6"/>
          <p:cNvSpPr/>
          <p:nvPr/>
        </p:nvSpPr>
        <p:spPr>
          <a:xfrm rot="5717">
            <a:off x="311280" y="810576"/>
            <a:ext cx="11454326" cy="0"/>
          </a:xfrm>
          <a:prstGeom prst="line">
            <a:avLst/>
          </a:prstGeom>
          <a:ln w="19050" cap="rnd">
            <a:solidFill>
              <a:srgbClr val="003975"/>
            </a:solidFill>
            <a:prstDash val="solid"/>
            <a:headEnd type="none" w="sm" len="sm"/>
            <a:tailEnd type="none" w="sm" len="sm"/>
          </a:ln>
        </p:spPr>
        <p:txBody>
          <a:bodyPr>
            <a:noAutofit/>
          </a:bodyPr>
          <a:lstStyle/>
          <a:p>
            <a:endParaRPr sz="1200"/>
          </a:p>
        </p:txBody>
      </p:sp>
      <p:grpSp>
        <p:nvGrpSpPr>
          <p:cNvPr id="7" name="Group 7"/>
          <p:cNvGrpSpPr/>
          <p:nvPr/>
        </p:nvGrpSpPr>
        <p:grpSpPr>
          <a:xfrm>
            <a:off x="409044" y="1066353"/>
            <a:ext cx="7113870" cy="5462389"/>
            <a:chOff x="0" y="0"/>
            <a:chExt cx="14227739" cy="10738460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14227683" cy="10738485"/>
            </a:xfrm>
            <a:custGeom>
              <a:avLst/>
              <a:gdLst/>
              <a:ahLst/>
              <a:cxnLst/>
              <a:rect l="l" t="t" r="r" b="b"/>
              <a:pathLst>
                <a:path w="14227683" h="10738485">
                  <a:moveTo>
                    <a:pt x="0" y="0"/>
                  </a:moveTo>
                  <a:lnTo>
                    <a:pt x="14227683" y="0"/>
                  </a:lnTo>
                  <a:lnTo>
                    <a:pt x="14227683" y="10738485"/>
                  </a:lnTo>
                  <a:lnTo>
                    <a:pt x="0" y="10738485"/>
                  </a:lnTo>
                  <a:close/>
                </a:path>
              </a:pathLst>
            </a:custGeom>
            <a:solidFill>
              <a:srgbClr val="C6DCF3">
                <a:alpha val="24706"/>
              </a:srgbClr>
            </a:solidFill>
          </p:spPr>
          <p:txBody>
            <a:bodyPr>
              <a:noAutofit/>
            </a:bodyPr>
            <a:lstStyle/>
            <a:p>
              <a:endParaRPr lang="ru-RU" sz="1200"/>
            </a:p>
          </p:txBody>
        </p:sp>
      </p:grpSp>
      <p:sp>
        <p:nvSpPr>
          <p:cNvPr id="9" name="TextBox 9"/>
          <p:cNvSpPr txBox="1"/>
          <p:nvPr/>
        </p:nvSpPr>
        <p:spPr>
          <a:xfrm>
            <a:off x="719563" y="1425567"/>
            <a:ext cx="1970590" cy="179836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>
              <a:lnSpc>
                <a:spcPts val="1440"/>
              </a:lnSpc>
            </a:pPr>
            <a:r>
              <a:rPr lang="ru" sz="1200">
                <a:solidFill>
                  <a:srgbClr val="4A7CB2"/>
                </a:solidFill>
                <a:latin typeface="Calibri"/>
                <a:ea typeface="Open Sans 1 Bold"/>
              </a:rPr>
              <a:t>►</a:t>
            </a:r>
            <a:r>
              <a:rPr lang="ru" sz="1200">
                <a:solidFill>
                  <a:srgbClr val="0E131F"/>
                </a:solidFill>
                <a:latin typeface="Open Sans 1 Bold"/>
              </a:rPr>
              <a:t> Приоритетные отрасли промышленности:</a:t>
            </a:r>
          </a:p>
        </p:txBody>
      </p:sp>
      <p:sp>
        <p:nvSpPr>
          <p:cNvPr id="10" name="AutoShape 10"/>
          <p:cNvSpPr/>
          <p:nvPr/>
        </p:nvSpPr>
        <p:spPr>
          <a:xfrm rot="5391873">
            <a:off x="-2288257" y="3761601"/>
            <a:ext cx="5372186" cy="0"/>
          </a:xfrm>
          <a:prstGeom prst="line">
            <a:avLst/>
          </a:prstGeom>
          <a:ln w="9525" cap="rnd">
            <a:solidFill>
              <a:srgbClr val="0F3966"/>
            </a:solidFill>
            <a:prstDash val="solid"/>
            <a:headEnd type="none" w="sm" len="sm"/>
            <a:tailEnd type="none" w="sm" len="sm"/>
          </a:ln>
        </p:spPr>
        <p:txBody>
          <a:bodyPr>
            <a:noAutofit/>
          </a:bodyPr>
          <a:lstStyle/>
          <a:p>
            <a:endParaRPr sz="1200"/>
          </a:p>
        </p:txBody>
      </p:sp>
      <p:sp>
        <p:nvSpPr>
          <p:cNvPr id="11" name="TextBox 11"/>
          <p:cNvSpPr txBox="1"/>
          <p:nvPr/>
        </p:nvSpPr>
        <p:spPr>
          <a:xfrm>
            <a:off x="1241243" y="2018937"/>
            <a:ext cx="1784874" cy="419100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>
              <a:lnSpc>
                <a:spcPts val="1680"/>
              </a:lnSpc>
            </a:pPr>
            <a:r>
              <a:rPr lang="ru" sz="1400">
                <a:solidFill>
                  <a:srgbClr val="082C53"/>
                </a:solidFill>
                <a:latin typeface="Open Sans 1 Bold"/>
              </a:rPr>
              <a:t>Обрабатывающая промышленность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1293563" y="2728794"/>
            <a:ext cx="1617587" cy="628650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>
              <a:lnSpc>
                <a:spcPts val="1680"/>
              </a:lnSpc>
            </a:pPr>
            <a:r>
              <a:rPr lang="ru" sz="1400" dirty="0">
                <a:solidFill>
                  <a:srgbClr val="082C53"/>
                </a:solidFill>
                <a:latin typeface="Open Sans 1 Bold"/>
              </a:rPr>
              <a:t>Энергетика (включая возобновляемые </a:t>
            </a:r>
            <a:r>
              <a:rPr lang="ru-RU" sz="1400" dirty="0">
                <a:solidFill>
                  <a:srgbClr val="082C53"/>
                </a:solidFill>
                <a:latin typeface="Open Sans 1 Bold"/>
              </a:rPr>
              <a:t>и</a:t>
            </a:r>
            <a:r>
              <a:rPr lang="ru" sz="1400" dirty="0">
                <a:solidFill>
                  <a:srgbClr val="082C53"/>
                </a:solidFill>
                <a:latin typeface="Open Sans 1 Bold"/>
              </a:rPr>
              <a:t>сточники)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5231107" y="1433334"/>
            <a:ext cx="2720463" cy="171450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>
              <a:lnSpc>
                <a:spcPts val="1440"/>
              </a:lnSpc>
            </a:pPr>
            <a:r>
              <a:rPr lang="ru" sz="1200">
                <a:solidFill>
                  <a:srgbClr val="4A7CB2"/>
                </a:solidFill>
                <a:latin typeface="Calibri"/>
                <a:ea typeface="Open Sans 1 Bold"/>
              </a:rPr>
              <a:t>►</a:t>
            </a:r>
            <a:r>
              <a:rPr lang="ru" sz="1200">
                <a:solidFill>
                  <a:srgbClr val="0E131F"/>
                </a:solidFill>
                <a:latin typeface="Open Sans 1 Bold"/>
              </a:rPr>
              <a:t> Наши сегменты: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5764589" y="3945444"/>
            <a:ext cx="1677333" cy="419100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>
              <a:lnSpc>
                <a:spcPts val="1680"/>
              </a:lnSpc>
            </a:pPr>
            <a:r>
              <a:rPr lang="ru" sz="1400" dirty="0">
                <a:solidFill>
                  <a:srgbClr val="082C53"/>
                </a:solidFill>
                <a:latin typeface="Open Sans 1 Bold"/>
              </a:rPr>
              <a:t>Инфраструктурные проекты и проекты ГЧП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5771053" y="5036339"/>
            <a:ext cx="1333263" cy="427467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>
              <a:lnSpc>
                <a:spcPts val="1680"/>
              </a:lnSpc>
            </a:pPr>
            <a:r>
              <a:rPr lang="ru" sz="1400">
                <a:solidFill>
                  <a:srgbClr val="082C53"/>
                </a:solidFill>
                <a:latin typeface="Open Sans 1 Bold"/>
              </a:rPr>
              <a:t>Проблемные активы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5764569" y="3034900"/>
            <a:ext cx="1192695" cy="419100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>
              <a:lnSpc>
                <a:spcPts val="1680"/>
              </a:lnSpc>
            </a:pPr>
            <a:r>
              <a:rPr lang="ru" sz="1400" dirty="0">
                <a:solidFill>
                  <a:srgbClr val="082C53"/>
                </a:solidFill>
                <a:latin typeface="Open Sans 1 Bold"/>
              </a:rPr>
              <a:t>Венчурный капитал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5814400" y="1904244"/>
            <a:ext cx="1403022" cy="419100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>
              <a:lnSpc>
                <a:spcPts val="1680"/>
              </a:lnSpc>
            </a:pPr>
            <a:r>
              <a:rPr lang="ru" sz="1400">
                <a:solidFill>
                  <a:srgbClr val="082C53"/>
                </a:solidFill>
                <a:latin typeface="Open Sans 1 Bold"/>
              </a:rPr>
              <a:t>Фонды прямых инвестиций</a:t>
            </a:r>
          </a:p>
        </p:txBody>
      </p:sp>
      <p:sp>
        <p:nvSpPr>
          <p:cNvPr id="18" name="Freeform 18"/>
          <p:cNvSpPr/>
          <p:nvPr/>
        </p:nvSpPr>
        <p:spPr>
          <a:xfrm>
            <a:off x="5164157" y="1974385"/>
            <a:ext cx="482204" cy="476100"/>
          </a:xfrm>
          <a:custGeom>
            <a:avLst/>
            <a:gdLst/>
            <a:ahLst/>
            <a:cxnLst/>
            <a:rect l="l" t="t" r="r" b="b"/>
            <a:pathLst>
              <a:path w="723306" h="714150">
                <a:moveTo>
                  <a:pt x="0" y="0"/>
                </a:moveTo>
                <a:lnTo>
                  <a:pt x="723306" y="0"/>
                </a:lnTo>
                <a:lnTo>
                  <a:pt x="723306" y="714150"/>
                </a:lnTo>
                <a:lnTo>
                  <a:pt x="0" y="714150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>
            <a:noAutofit/>
          </a:bodyPr>
          <a:lstStyle/>
          <a:p>
            <a:endParaRPr sz="1200"/>
          </a:p>
        </p:txBody>
      </p:sp>
      <p:sp>
        <p:nvSpPr>
          <p:cNvPr id="19" name="Freeform 19"/>
          <p:cNvSpPr/>
          <p:nvPr/>
        </p:nvSpPr>
        <p:spPr>
          <a:xfrm>
            <a:off x="5167369" y="5023832"/>
            <a:ext cx="473048" cy="476100"/>
          </a:xfrm>
          <a:custGeom>
            <a:avLst/>
            <a:gdLst/>
            <a:ahLst/>
            <a:cxnLst/>
            <a:rect l="l" t="t" r="r" b="b"/>
            <a:pathLst>
              <a:path w="709572" h="714150">
                <a:moveTo>
                  <a:pt x="0" y="0"/>
                </a:moveTo>
                <a:lnTo>
                  <a:pt x="709572" y="0"/>
                </a:lnTo>
                <a:lnTo>
                  <a:pt x="709572" y="714150"/>
                </a:lnTo>
                <a:lnTo>
                  <a:pt x="0" y="714150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>
            <a:noAutofit/>
          </a:bodyPr>
          <a:lstStyle/>
          <a:p>
            <a:endParaRPr sz="1200"/>
          </a:p>
        </p:txBody>
      </p:sp>
      <p:sp>
        <p:nvSpPr>
          <p:cNvPr id="20" name="Freeform 20"/>
          <p:cNvSpPr/>
          <p:nvPr/>
        </p:nvSpPr>
        <p:spPr>
          <a:xfrm>
            <a:off x="5159443" y="4022766"/>
            <a:ext cx="482204" cy="482204"/>
          </a:xfrm>
          <a:custGeom>
            <a:avLst/>
            <a:gdLst/>
            <a:ahLst/>
            <a:cxnLst/>
            <a:rect l="l" t="t" r="r" b="b"/>
            <a:pathLst>
              <a:path w="723306" h="723306">
                <a:moveTo>
                  <a:pt x="0" y="0"/>
                </a:moveTo>
                <a:lnTo>
                  <a:pt x="723305" y="0"/>
                </a:lnTo>
                <a:lnTo>
                  <a:pt x="723305" y="723306"/>
                </a:lnTo>
                <a:lnTo>
                  <a:pt x="0" y="723306"/>
                </a:lnTo>
                <a:lnTo>
                  <a:pt x="0" y="0"/>
                </a:lnTo>
                <a:close/>
              </a:path>
            </a:pathLst>
          </a:custGeom>
          <a:blipFill>
            <a:blip r:embed="rId8"/>
            <a:stretch>
              <a:fillRect/>
            </a:stretch>
          </a:blipFill>
        </p:spPr>
        <p:txBody>
          <a:bodyPr>
            <a:noAutofit/>
          </a:bodyPr>
          <a:lstStyle/>
          <a:p>
            <a:endParaRPr sz="1200"/>
          </a:p>
        </p:txBody>
      </p:sp>
      <p:sp>
        <p:nvSpPr>
          <p:cNvPr id="21" name="Freeform 21"/>
          <p:cNvSpPr/>
          <p:nvPr/>
        </p:nvSpPr>
        <p:spPr>
          <a:xfrm>
            <a:off x="5163428" y="3012572"/>
            <a:ext cx="479152" cy="476100"/>
          </a:xfrm>
          <a:custGeom>
            <a:avLst/>
            <a:gdLst/>
            <a:ahLst/>
            <a:cxnLst/>
            <a:rect l="l" t="t" r="r" b="b"/>
            <a:pathLst>
              <a:path w="718728" h="714150">
                <a:moveTo>
                  <a:pt x="0" y="0"/>
                </a:moveTo>
                <a:lnTo>
                  <a:pt x="718728" y="0"/>
                </a:lnTo>
                <a:lnTo>
                  <a:pt x="718728" y="714150"/>
                </a:lnTo>
                <a:lnTo>
                  <a:pt x="0" y="714150"/>
                </a:lnTo>
                <a:lnTo>
                  <a:pt x="0" y="0"/>
                </a:lnTo>
                <a:close/>
              </a:path>
            </a:pathLst>
          </a:custGeom>
          <a:blipFill>
            <a:blip r:embed="rId9"/>
            <a:stretch>
              <a:fillRect/>
            </a:stretch>
          </a:blipFill>
        </p:spPr>
        <p:txBody>
          <a:bodyPr>
            <a:noAutofit/>
          </a:bodyPr>
          <a:lstStyle/>
          <a:p>
            <a:endParaRPr sz="1200"/>
          </a:p>
        </p:txBody>
      </p:sp>
      <p:sp>
        <p:nvSpPr>
          <p:cNvPr id="22" name="Freeform 22"/>
          <p:cNvSpPr/>
          <p:nvPr/>
        </p:nvSpPr>
        <p:spPr>
          <a:xfrm>
            <a:off x="724683" y="2784058"/>
            <a:ext cx="421165" cy="500515"/>
          </a:xfrm>
          <a:custGeom>
            <a:avLst/>
            <a:gdLst/>
            <a:ahLst/>
            <a:cxnLst/>
            <a:rect l="l" t="t" r="r" b="b"/>
            <a:pathLst>
              <a:path w="631748" h="750772">
                <a:moveTo>
                  <a:pt x="0" y="0"/>
                </a:moveTo>
                <a:lnTo>
                  <a:pt x="631748" y="0"/>
                </a:lnTo>
                <a:lnTo>
                  <a:pt x="631748" y="750773"/>
                </a:lnTo>
                <a:lnTo>
                  <a:pt x="0" y="750773"/>
                </a:lnTo>
                <a:lnTo>
                  <a:pt x="0" y="0"/>
                </a:lnTo>
                <a:close/>
              </a:path>
            </a:pathLst>
          </a:custGeom>
          <a:blipFill>
            <a:blip r:embed="rId10"/>
            <a:stretch>
              <a:fillRect/>
            </a:stretch>
          </a:blipFill>
        </p:spPr>
        <p:txBody>
          <a:bodyPr>
            <a:noAutofit/>
          </a:bodyPr>
          <a:lstStyle/>
          <a:p>
            <a:endParaRPr sz="1200"/>
          </a:p>
        </p:txBody>
      </p:sp>
      <p:sp>
        <p:nvSpPr>
          <p:cNvPr id="23" name="TextBox 23"/>
          <p:cNvSpPr txBox="1"/>
          <p:nvPr/>
        </p:nvSpPr>
        <p:spPr>
          <a:xfrm>
            <a:off x="1299453" y="3738444"/>
            <a:ext cx="2010402" cy="419100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>
              <a:lnSpc>
                <a:spcPts val="1680"/>
              </a:lnSpc>
            </a:pPr>
            <a:r>
              <a:rPr lang="ru" sz="1400" dirty="0">
                <a:solidFill>
                  <a:srgbClr val="082C53"/>
                </a:solidFill>
                <a:latin typeface="Open Sans 1 Bold"/>
              </a:rPr>
              <a:t>Агропромышленный комплекс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1282504" y="5272530"/>
            <a:ext cx="1391809" cy="419100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>
              <a:lnSpc>
                <a:spcPts val="1680"/>
              </a:lnSpc>
            </a:pPr>
            <a:r>
              <a:rPr lang="ru" sz="1400" dirty="0">
                <a:solidFill>
                  <a:srgbClr val="082C53"/>
                </a:solidFill>
                <a:latin typeface="Open Sans 1 Bold"/>
              </a:rPr>
              <a:t>Транспорт и логистика</a:t>
            </a:r>
          </a:p>
        </p:txBody>
      </p:sp>
      <p:sp>
        <p:nvSpPr>
          <p:cNvPr id="25" name="TextBox 25"/>
          <p:cNvSpPr txBox="1"/>
          <p:nvPr/>
        </p:nvSpPr>
        <p:spPr>
          <a:xfrm>
            <a:off x="3063712" y="1430221"/>
            <a:ext cx="1817789" cy="349250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>
              <a:lnSpc>
                <a:spcPts val="1440"/>
              </a:lnSpc>
            </a:pPr>
            <a:r>
              <a:rPr lang="ru" sz="1200">
                <a:solidFill>
                  <a:srgbClr val="4A7CB2"/>
                </a:solidFill>
                <a:latin typeface="Calibri"/>
                <a:ea typeface="Open Sans 1 Bold"/>
              </a:rPr>
              <a:t>►</a:t>
            </a:r>
            <a:r>
              <a:rPr lang="ru" sz="1200">
                <a:solidFill>
                  <a:srgbClr val="0E131F"/>
                </a:solidFill>
                <a:latin typeface="Open Sans 1 Bold"/>
              </a:rPr>
              <a:t> Целевой рынок:</a:t>
            </a:r>
          </a:p>
          <a:p>
            <a:pPr>
              <a:lnSpc>
                <a:spcPts val="1440"/>
              </a:lnSpc>
            </a:pPr>
            <a:endParaRPr lang="en-US" sz="1200">
              <a:solidFill>
                <a:srgbClr val="0E131F"/>
              </a:solidFill>
              <a:latin typeface="Open Sans 1 Bold"/>
            </a:endParaRPr>
          </a:p>
        </p:txBody>
      </p:sp>
      <p:sp>
        <p:nvSpPr>
          <p:cNvPr id="26" name="TextBox 26"/>
          <p:cNvSpPr txBox="1"/>
          <p:nvPr/>
        </p:nvSpPr>
        <p:spPr>
          <a:xfrm>
            <a:off x="1295082" y="4415584"/>
            <a:ext cx="1831146" cy="209550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>
              <a:lnSpc>
                <a:spcPts val="1680"/>
              </a:lnSpc>
            </a:pPr>
            <a:r>
              <a:rPr lang="ru" sz="1400" dirty="0">
                <a:solidFill>
                  <a:srgbClr val="082C53"/>
                </a:solidFill>
                <a:latin typeface="Open Sans 1 Bold"/>
              </a:rPr>
              <a:t>Информационные технологии и инновации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3130599" y="1849321"/>
            <a:ext cx="1373358" cy="527050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 algn="ctr">
              <a:lnSpc>
                <a:spcPts val="1440"/>
              </a:lnSpc>
            </a:pPr>
            <a:r>
              <a:rPr lang="ru" sz="1200">
                <a:solidFill>
                  <a:srgbClr val="082C53"/>
                </a:solidFill>
                <a:latin typeface="Open Sans 1 Bold"/>
              </a:rPr>
              <a:t>В глобальном масштабе, уделяя особое внимание Казахстану и Центральной Азии</a:t>
            </a:r>
          </a:p>
        </p:txBody>
      </p:sp>
      <p:sp>
        <p:nvSpPr>
          <p:cNvPr id="28" name="AutoShape 28"/>
          <p:cNvSpPr/>
          <p:nvPr/>
        </p:nvSpPr>
        <p:spPr>
          <a:xfrm rot="5391887">
            <a:off x="4825590" y="3766481"/>
            <a:ext cx="5381946" cy="0"/>
          </a:xfrm>
          <a:prstGeom prst="line">
            <a:avLst/>
          </a:prstGeom>
          <a:ln w="9525" cap="rnd">
            <a:solidFill>
              <a:srgbClr val="0F3966"/>
            </a:solidFill>
            <a:prstDash val="solid"/>
            <a:headEnd type="none" w="sm" len="sm"/>
            <a:tailEnd type="none" w="sm" len="sm"/>
          </a:ln>
        </p:spPr>
        <p:txBody>
          <a:bodyPr>
            <a:noAutofit/>
          </a:bodyPr>
          <a:lstStyle/>
          <a:p>
            <a:endParaRPr sz="1200"/>
          </a:p>
        </p:txBody>
      </p:sp>
      <p:grpSp>
        <p:nvGrpSpPr>
          <p:cNvPr id="29" name="Group 29"/>
          <p:cNvGrpSpPr/>
          <p:nvPr/>
        </p:nvGrpSpPr>
        <p:grpSpPr>
          <a:xfrm>
            <a:off x="7809386" y="1070097"/>
            <a:ext cx="3911473" cy="1645949"/>
            <a:chOff x="0" y="0"/>
            <a:chExt cx="7853788" cy="3268392"/>
          </a:xfrm>
        </p:grpSpPr>
        <p:sp>
          <p:nvSpPr>
            <p:cNvPr id="30" name="Freeform 30"/>
            <p:cNvSpPr/>
            <p:nvPr/>
          </p:nvSpPr>
          <p:spPr>
            <a:xfrm>
              <a:off x="0" y="0"/>
              <a:ext cx="7853807" cy="3268345"/>
            </a:xfrm>
            <a:custGeom>
              <a:avLst/>
              <a:gdLst/>
              <a:ahLst/>
              <a:cxnLst/>
              <a:rect l="l" t="t" r="r" b="b"/>
              <a:pathLst>
                <a:path w="7853807" h="3268345">
                  <a:moveTo>
                    <a:pt x="0" y="0"/>
                  </a:moveTo>
                  <a:lnTo>
                    <a:pt x="7853807" y="0"/>
                  </a:lnTo>
                  <a:lnTo>
                    <a:pt x="7853807" y="3268345"/>
                  </a:lnTo>
                  <a:lnTo>
                    <a:pt x="0" y="3268345"/>
                  </a:lnTo>
                  <a:close/>
                </a:path>
              </a:pathLst>
            </a:custGeom>
            <a:solidFill>
              <a:srgbClr val="C6DCF3">
                <a:alpha val="24706"/>
              </a:srgbClr>
            </a:solidFill>
          </p:spPr>
          <p:txBody>
            <a:bodyPr>
              <a:noAutofit/>
            </a:bodyPr>
            <a:lstStyle/>
            <a:p>
              <a:endParaRPr sz="1200"/>
            </a:p>
          </p:txBody>
        </p:sp>
      </p:grpSp>
      <p:sp>
        <p:nvSpPr>
          <p:cNvPr id="31" name="TextBox 31"/>
          <p:cNvSpPr txBox="1"/>
          <p:nvPr/>
        </p:nvSpPr>
        <p:spPr>
          <a:xfrm>
            <a:off x="8086715" y="1452002"/>
            <a:ext cx="1248723" cy="869170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>
              <a:lnSpc>
                <a:spcPts val="2880"/>
              </a:lnSpc>
            </a:pPr>
            <a:r>
              <a:rPr lang="en-US" sz="2400" dirty="0">
                <a:solidFill>
                  <a:srgbClr val="082C53"/>
                </a:solidFill>
                <a:latin typeface="Open Sans 1 Bold"/>
              </a:rPr>
              <a:t>269</a:t>
            </a:r>
          </a:p>
          <a:p>
            <a:pPr>
              <a:lnSpc>
                <a:spcPts val="2880"/>
              </a:lnSpc>
            </a:pPr>
            <a:r>
              <a:rPr lang="ru-RU" sz="1200" dirty="0">
                <a:solidFill>
                  <a:srgbClr val="082C53"/>
                </a:solidFill>
                <a:latin typeface="Open Sans 1 Bold"/>
              </a:rPr>
              <a:t>млрд тенге</a:t>
            </a:r>
            <a:endParaRPr lang="ru" sz="1200" dirty="0">
              <a:solidFill>
                <a:srgbClr val="082C53"/>
              </a:solidFill>
              <a:latin typeface="Open Sans 1 Bold"/>
            </a:endParaRPr>
          </a:p>
          <a:p>
            <a:pPr>
              <a:lnSpc>
                <a:spcPts val="1440"/>
              </a:lnSpc>
            </a:pPr>
            <a:r>
              <a:rPr lang="ru-RU" sz="1000" dirty="0">
                <a:solidFill>
                  <a:srgbClr val="082C53"/>
                </a:solidFill>
                <a:latin typeface="Open Sans 1"/>
                <a:ea typeface="Open Sans 1"/>
                <a:cs typeface="Open Sans 1"/>
              </a:rPr>
              <a:t>о</a:t>
            </a:r>
            <a:r>
              <a:rPr lang="ru" sz="1000" dirty="0">
                <a:solidFill>
                  <a:srgbClr val="082C53"/>
                </a:solidFill>
                <a:latin typeface="Open Sans 1"/>
                <a:ea typeface="Open Sans 1"/>
                <a:cs typeface="Open Sans 1"/>
              </a:rPr>
              <a:t>бщие активы</a:t>
            </a:r>
          </a:p>
          <a:p>
            <a:pPr>
              <a:lnSpc>
                <a:spcPts val="1200"/>
              </a:lnSpc>
            </a:pPr>
            <a:r>
              <a:rPr lang="ru" sz="1000" dirty="0">
                <a:solidFill>
                  <a:srgbClr val="082C53"/>
                </a:solidFill>
                <a:latin typeface="Open Sans 1"/>
                <a:ea typeface="Open Sans 1"/>
                <a:cs typeface="Open Sans 1"/>
              </a:rPr>
              <a:t>(оценка на 2023 год)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9284824" y="1452001"/>
            <a:ext cx="1213870" cy="863484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>
              <a:lnSpc>
                <a:spcPts val="2880"/>
              </a:lnSpc>
            </a:pPr>
            <a:r>
              <a:rPr lang="ru" sz="2400" dirty="0">
                <a:solidFill>
                  <a:srgbClr val="082C53"/>
                </a:solidFill>
                <a:latin typeface="Open Sans 1 Bold"/>
              </a:rPr>
              <a:t>215</a:t>
            </a:r>
          </a:p>
          <a:p>
            <a:pPr>
              <a:lnSpc>
                <a:spcPts val="1440"/>
              </a:lnSpc>
            </a:pPr>
            <a:r>
              <a:rPr lang="ru-RU" sz="1200" dirty="0">
                <a:solidFill>
                  <a:srgbClr val="082C53"/>
                </a:solidFill>
                <a:latin typeface="Open Sans 1 Bold"/>
              </a:rPr>
              <a:t>млрд тенге</a:t>
            </a:r>
          </a:p>
          <a:p>
            <a:pPr>
              <a:lnSpc>
                <a:spcPts val="1440"/>
              </a:lnSpc>
            </a:pPr>
            <a:endParaRPr lang="ru" sz="1200" dirty="0">
              <a:solidFill>
                <a:srgbClr val="082C53"/>
              </a:solidFill>
              <a:latin typeface="Open Sans 1 Bold"/>
            </a:endParaRPr>
          </a:p>
          <a:p>
            <a:pPr>
              <a:lnSpc>
                <a:spcPts val="1200"/>
              </a:lnSpc>
            </a:pPr>
            <a:r>
              <a:rPr lang="ru" sz="1000" dirty="0">
                <a:solidFill>
                  <a:srgbClr val="002060"/>
                </a:solidFill>
                <a:latin typeface="Open Sans 1"/>
              </a:rPr>
              <a:t>Капитал </a:t>
            </a:r>
          </a:p>
          <a:p>
            <a:pPr>
              <a:lnSpc>
                <a:spcPts val="1200"/>
              </a:lnSpc>
            </a:pPr>
            <a:r>
              <a:rPr lang="ru" sz="1000" dirty="0">
                <a:solidFill>
                  <a:srgbClr val="082C53"/>
                </a:solidFill>
                <a:latin typeface="Open Sans 1"/>
              </a:rPr>
              <a:t>(оценка на 2023 год)</a:t>
            </a:r>
          </a:p>
        </p:txBody>
      </p:sp>
      <p:grpSp>
        <p:nvGrpSpPr>
          <p:cNvPr id="33" name="Group 33"/>
          <p:cNvGrpSpPr/>
          <p:nvPr/>
        </p:nvGrpSpPr>
        <p:grpSpPr>
          <a:xfrm>
            <a:off x="7831623" y="2806976"/>
            <a:ext cx="3903149" cy="2178719"/>
            <a:chOff x="0" y="0"/>
            <a:chExt cx="7848640" cy="4357438"/>
          </a:xfrm>
        </p:grpSpPr>
        <p:sp>
          <p:nvSpPr>
            <p:cNvPr id="34" name="Freeform 34"/>
            <p:cNvSpPr/>
            <p:nvPr/>
          </p:nvSpPr>
          <p:spPr>
            <a:xfrm>
              <a:off x="0" y="0"/>
              <a:ext cx="7848600" cy="4357497"/>
            </a:xfrm>
            <a:custGeom>
              <a:avLst/>
              <a:gdLst/>
              <a:ahLst/>
              <a:cxnLst/>
              <a:rect l="l" t="t" r="r" b="b"/>
              <a:pathLst>
                <a:path w="7848600" h="4357497">
                  <a:moveTo>
                    <a:pt x="0" y="0"/>
                  </a:moveTo>
                  <a:lnTo>
                    <a:pt x="7848600" y="0"/>
                  </a:lnTo>
                  <a:lnTo>
                    <a:pt x="7848600" y="4357497"/>
                  </a:lnTo>
                  <a:lnTo>
                    <a:pt x="0" y="4357497"/>
                  </a:lnTo>
                  <a:close/>
                </a:path>
              </a:pathLst>
            </a:custGeom>
            <a:solidFill>
              <a:srgbClr val="C6DCF3">
                <a:alpha val="24706"/>
              </a:srgbClr>
            </a:solidFill>
          </p:spPr>
          <p:txBody>
            <a:bodyPr>
              <a:noAutofit/>
            </a:bodyPr>
            <a:lstStyle/>
            <a:p>
              <a:endParaRPr sz="1200"/>
            </a:p>
          </p:txBody>
        </p:sp>
      </p:grpSp>
      <p:sp>
        <p:nvSpPr>
          <p:cNvPr id="38" name="AutoShape 38"/>
          <p:cNvSpPr/>
          <p:nvPr/>
        </p:nvSpPr>
        <p:spPr>
          <a:xfrm rot="5373293">
            <a:off x="6999435" y="1887487"/>
            <a:ext cx="1634830" cy="0"/>
          </a:xfrm>
          <a:prstGeom prst="line">
            <a:avLst/>
          </a:prstGeom>
          <a:ln w="9525" cap="rnd">
            <a:solidFill>
              <a:srgbClr val="0F3966"/>
            </a:solidFill>
            <a:prstDash val="solid"/>
            <a:headEnd type="none" w="sm" len="sm"/>
            <a:tailEnd type="none" w="sm" len="sm"/>
          </a:ln>
        </p:spPr>
        <p:txBody>
          <a:bodyPr>
            <a:noAutofit/>
          </a:bodyPr>
          <a:lstStyle/>
          <a:p>
            <a:endParaRPr sz="1200"/>
          </a:p>
        </p:txBody>
      </p:sp>
      <p:sp>
        <p:nvSpPr>
          <p:cNvPr id="39" name="AutoShape 39"/>
          <p:cNvSpPr/>
          <p:nvPr/>
        </p:nvSpPr>
        <p:spPr>
          <a:xfrm rot="5379931">
            <a:off x="6743866" y="3896759"/>
            <a:ext cx="2175512" cy="0"/>
          </a:xfrm>
          <a:prstGeom prst="line">
            <a:avLst/>
          </a:prstGeom>
          <a:ln w="9525" cap="rnd">
            <a:solidFill>
              <a:srgbClr val="0F3966"/>
            </a:solidFill>
            <a:prstDash val="solid"/>
            <a:headEnd type="none" w="sm" len="sm"/>
            <a:tailEnd type="none" w="sm" len="sm"/>
          </a:ln>
        </p:spPr>
        <p:txBody>
          <a:bodyPr>
            <a:noAutofit/>
          </a:bodyPr>
          <a:lstStyle/>
          <a:p>
            <a:endParaRPr sz="1200"/>
          </a:p>
        </p:txBody>
      </p:sp>
      <p:sp>
        <p:nvSpPr>
          <p:cNvPr id="40" name="AutoShape 40"/>
          <p:cNvSpPr/>
          <p:nvPr/>
        </p:nvSpPr>
        <p:spPr>
          <a:xfrm rot="5379931">
            <a:off x="10653394" y="3891613"/>
            <a:ext cx="2175512" cy="0"/>
          </a:xfrm>
          <a:prstGeom prst="line">
            <a:avLst/>
          </a:prstGeom>
          <a:ln w="9525" cap="rnd">
            <a:solidFill>
              <a:srgbClr val="0F3966"/>
            </a:solidFill>
            <a:prstDash val="solid"/>
            <a:headEnd type="none" w="sm" len="sm"/>
            <a:tailEnd type="none" w="sm" len="sm"/>
          </a:ln>
        </p:spPr>
        <p:txBody>
          <a:bodyPr>
            <a:noAutofit/>
          </a:bodyPr>
          <a:lstStyle/>
          <a:p>
            <a:endParaRPr sz="1200"/>
          </a:p>
        </p:txBody>
      </p:sp>
      <p:sp>
        <p:nvSpPr>
          <p:cNvPr id="41" name="AutoShape 41"/>
          <p:cNvSpPr/>
          <p:nvPr/>
        </p:nvSpPr>
        <p:spPr>
          <a:xfrm rot="5368405">
            <a:off x="7149790" y="5766535"/>
            <a:ext cx="1381881" cy="0"/>
          </a:xfrm>
          <a:prstGeom prst="line">
            <a:avLst/>
          </a:prstGeom>
          <a:ln w="9525" cap="rnd">
            <a:solidFill>
              <a:srgbClr val="0F3966"/>
            </a:solidFill>
            <a:prstDash val="solid"/>
            <a:headEnd type="none" w="sm" len="sm"/>
            <a:tailEnd type="none" w="sm" len="sm"/>
          </a:ln>
        </p:spPr>
        <p:txBody>
          <a:bodyPr>
            <a:noAutofit/>
          </a:bodyPr>
          <a:lstStyle/>
          <a:p>
            <a:endParaRPr sz="1200"/>
          </a:p>
        </p:txBody>
      </p:sp>
      <p:sp>
        <p:nvSpPr>
          <p:cNvPr id="42" name="AutoShape 42"/>
          <p:cNvSpPr/>
          <p:nvPr/>
        </p:nvSpPr>
        <p:spPr>
          <a:xfrm rot="5369008">
            <a:off x="11051697" y="5783739"/>
            <a:ext cx="1408752" cy="0"/>
          </a:xfrm>
          <a:prstGeom prst="line">
            <a:avLst/>
          </a:prstGeom>
          <a:ln w="9525" cap="rnd">
            <a:solidFill>
              <a:srgbClr val="0F3966"/>
            </a:solidFill>
            <a:prstDash val="solid"/>
            <a:headEnd type="none" w="sm" len="sm"/>
            <a:tailEnd type="none" w="sm" len="sm"/>
          </a:ln>
        </p:spPr>
        <p:txBody>
          <a:bodyPr>
            <a:noAutofit/>
          </a:bodyPr>
          <a:lstStyle/>
          <a:p>
            <a:endParaRPr sz="1200"/>
          </a:p>
        </p:txBody>
      </p:sp>
      <p:sp>
        <p:nvSpPr>
          <p:cNvPr id="43" name="AutoShape 43"/>
          <p:cNvSpPr/>
          <p:nvPr/>
        </p:nvSpPr>
        <p:spPr>
          <a:xfrm rot="5373293">
            <a:off x="10911034" y="1883743"/>
            <a:ext cx="1634830" cy="0"/>
          </a:xfrm>
          <a:prstGeom prst="line">
            <a:avLst/>
          </a:prstGeom>
          <a:ln w="9525" cap="rnd">
            <a:solidFill>
              <a:srgbClr val="0F3966"/>
            </a:solidFill>
            <a:prstDash val="solid"/>
            <a:headEnd type="none" w="sm" len="sm"/>
            <a:tailEnd type="none" w="sm" len="sm"/>
          </a:ln>
        </p:spPr>
        <p:txBody>
          <a:bodyPr>
            <a:noAutofit/>
          </a:bodyPr>
          <a:lstStyle/>
          <a:p>
            <a:endParaRPr sz="1200"/>
          </a:p>
        </p:txBody>
      </p:sp>
      <p:sp>
        <p:nvSpPr>
          <p:cNvPr id="44" name="TextBox 44"/>
          <p:cNvSpPr txBox="1"/>
          <p:nvPr/>
        </p:nvSpPr>
        <p:spPr>
          <a:xfrm>
            <a:off x="408220" y="406026"/>
            <a:ext cx="8253549" cy="333425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>
              <a:lnSpc>
                <a:spcPts val="2592"/>
              </a:lnSpc>
            </a:pPr>
            <a:r>
              <a:rPr lang="ru" sz="2400" b="1" dirty="0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О </a:t>
            </a:r>
            <a:r>
              <a:rPr lang="ru-RU" sz="2400" b="1" dirty="0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деятельности </a:t>
            </a:r>
            <a:r>
              <a:rPr lang="ru" sz="2400" b="1" dirty="0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QIC </a:t>
            </a:r>
          </a:p>
        </p:txBody>
      </p:sp>
      <p:sp>
        <p:nvSpPr>
          <p:cNvPr id="45" name="Freeform 45" descr="Открытая ладонь с растением"/>
          <p:cNvSpPr/>
          <p:nvPr/>
        </p:nvSpPr>
        <p:spPr>
          <a:xfrm>
            <a:off x="658840" y="3699484"/>
            <a:ext cx="497021" cy="497021"/>
          </a:xfrm>
          <a:custGeom>
            <a:avLst/>
            <a:gdLst/>
            <a:ahLst/>
            <a:cxnLst/>
            <a:rect l="l" t="t" r="r" b="b"/>
            <a:pathLst>
              <a:path w="745531" h="745532">
                <a:moveTo>
                  <a:pt x="0" y="0"/>
                </a:moveTo>
                <a:lnTo>
                  <a:pt x="745531" y="0"/>
                </a:lnTo>
                <a:lnTo>
                  <a:pt x="745531" y="745532"/>
                </a:lnTo>
                <a:lnTo>
                  <a:pt x="0" y="745532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/>
          <a:p>
            <a:endParaRPr sz="1200"/>
          </a:p>
        </p:txBody>
      </p:sp>
      <p:sp>
        <p:nvSpPr>
          <p:cNvPr id="46" name="Freeform 46" descr="Лампочка и шестеренка"/>
          <p:cNvSpPr/>
          <p:nvPr/>
        </p:nvSpPr>
        <p:spPr>
          <a:xfrm>
            <a:off x="645508" y="4355294"/>
            <a:ext cx="554597" cy="554597"/>
          </a:xfrm>
          <a:custGeom>
            <a:avLst/>
            <a:gdLst/>
            <a:ahLst/>
            <a:cxnLst/>
            <a:rect l="l" t="t" r="r" b="b"/>
            <a:pathLst>
              <a:path w="831896" h="831896">
                <a:moveTo>
                  <a:pt x="0" y="0"/>
                </a:moveTo>
                <a:lnTo>
                  <a:pt x="831895" y="0"/>
                </a:lnTo>
                <a:lnTo>
                  <a:pt x="831895" y="831895"/>
                </a:lnTo>
                <a:lnTo>
                  <a:pt x="0" y="831895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=""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/>
          <a:p>
            <a:endParaRPr sz="1200"/>
          </a:p>
        </p:txBody>
      </p:sp>
      <p:sp>
        <p:nvSpPr>
          <p:cNvPr id="47" name="Freeform 47" descr="Грузовик"/>
          <p:cNvSpPr/>
          <p:nvPr/>
        </p:nvSpPr>
        <p:spPr>
          <a:xfrm>
            <a:off x="661538" y="5164724"/>
            <a:ext cx="541045" cy="554598"/>
          </a:xfrm>
          <a:custGeom>
            <a:avLst/>
            <a:gdLst/>
            <a:ahLst/>
            <a:cxnLst/>
            <a:rect l="l" t="t" r="r" b="b"/>
            <a:pathLst>
              <a:path w="811567" h="811568">
                <a:moveTo>
                  <a:pt x="0" y="0"/>
                </a:moveTo>
                <a:lnTo>
                  <a:pt x="811567" y="0"/>
                </a:lnTo>
                <a:lnTo>
                  <a:pt x="811567" y="811568"/>
                </a:lnTo>
                <a:lnTo>
                  <a:pt x="0" y="811568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=""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/>
          <a:p>
            <a:endParaRPr sz="1200"/>
          </a:p>
        </p:txBody>
      </p:sp>
      <p:sp>
        <p:nvSpPr>
          <p:cNvPr id="48" name="TextBox 48"/>
          <p:cNvSpPr txBox="1"/>
          <p:nvPr/>
        </p:nvSpPr>
        <p:spPr>
          <a:xfrm>
            <a:off x="10071535" y="4000255"/>
            <a:ext cx="1681832" cy="1054989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 algn="l" rtl="0"/>
            <a:r>
              <a:rPr lang="ru" sz="2400" dirty="0">
                <a:solidFill>
                  <a:srgbClr val="082C53"/>
                </a:solidFill>
                <a:latin typeface="Open Sans 1 Bold"/>
              </a:rPr>
              <a:t>116</a:t>
            </a:r>
            <a:r>
              <a:rPr lang="ru" sz="1200" dirty="0">
                <a:solidFill>
                  <a:srgbClr val="082C53"/>
                </a:solidFill>
                <a:latin typeface="Open Sans 1 Bold"/>
              </a:rPr>
              <a:t> проектов</a:t>
            </a:r>
          </a:p>
          <a:p>
            <a:pPr algn="l" rtl="0"/>
            <a:r>
              <a:rPr lang="ru-RU" sz="1000" dirty="0">
                <a:solidFill>
                  <a:srgbClr val="002060"/>
                </a:solidFill>
                <a:latin typeface="Open Sans 1"/>
              </a:rPr>
              <a:t>про</a:t>
            </a:r>
            <a:r>
              <a:rPr lang="ru" sz="1000" dirty="0">
                <a:solidFill>
                  <a:srgbClr val="002060"/>
                </a:solidFill>
                <a:latin typeface="Open Sans 1"/>
              </a:rPr>
              <a:t>финансир</a:t>
            </a:r>
            <a:r>
              <a:rPr lang="ru-RU" sz="1000" dirty="0">
                <a:solidFill>
                  <a:srgbClr val="002060"/>
                </a:solidFill>
                <a:latin typeface="Open Sans 1"/>
              </a:rPr>
              <a:t>ованных</a:t>
            </a:r>
          </a:p>
          <a:p>
            <a:pPr algn="l" rtl="0"/>
            <a:r>
              <a:rPr lang="ru" sz="1000" dirty="0">
                <a:solidFill>
                  <a:srgbClr val="002060"/>
                </a:solidFill>
                <a:latin typeface="Open Sans 1"/>
              </a:rPr>
              <a:t> в размере</a:t>
            </a:r>
          </a:p>
          <a:p>
            <a:pPr algn="l" rtl="0"/>
            <a:r>
              <a:rPr lang="ru" sz="2400" dirty="0">
                <a:solidFill>
                  <a:srgbClr val="082C53"/>
                </a:solidFill>
                <a:latin typeface="Open Sans 1 Bold"/>
              </a:rPr>
              <a:t>220</a:t>
            </a:r>
            <a:r>
              <a:rPr lang="ru" sz="1200" dirty="0">
                <a:solidFill>
                  <a:srgbClr val="082C53"/>
                </a:solidFill>
                <a:latin typeface="Open Sans 1 Bold"/>
              </a:rPr>
              <a:t> </a:t>
            </a:r>
            <a:r>
              <a:rPr lang="ru-RU" sz="1200" dirty="0">
                <a:solidFill>
                  <a:srgbClr val="082C53"/>
                </a:solidFill>
                <a:latin typeface="Open Sans 1 Bold"/>
              </a:rPr>
              <a:t>млрд тенге</a:t>
            </a:r>
            <a:endParaRPr lang="ru" sz="1200" dirty="0">
              <a:solidFill>
                <a:srgbClr val="082C53"/>
              </a:solidFill>
              <a:latin typeface="Open Sans 1 Bold"/>
            </a:endParaRPr>
          </a:p>
          <a:p>
            <a:pPr>
              <a:lnSpc>
                <a:spcPts val="1279"/>
              </a:lnSpc>
            </a:pPr>
            <a:endParaRPr lang="en-US" sz="1066" dirty="0">
              <a:solidFill>
                <a:srgbClr val="082C53"/>
              </a:solidFill>
              <a:latin typeface="Open Sans 1 Bold"/>
            </a:endParaRPr>
          </a:p>
        </p:txBody>
      </p:sp>
      <p:sp>
        <p:nvSpPr>
          <p:cNvPr id="49" name="Freeform 49" descr="Фабрика"/>
          <p:cNvSpPr/>
          <p:nvPr/>
        </p:nvSpPr>
        <p:spPr>
          <a:xfrm>
            <a:off x="656492" y="1977628"/>
            <a:ext cx="501718" cy="501718"/>
          </a:xfrm>
          <a:custGeom>
            <a:avLst/>
            <a:gdLst/>
            <a:ahLst/>
            <a:cxnLst/>
            <a:rect l="l" t="t" r="r" b="b"/>
            <a:pathLst>
              <a:path w="752577" h="752577">
                <a:moveTo>
                  <a:pt x="0" y="0"/>
                </a:moveTo>
                <a:lnTo>
                  <a:pt x="752577" y="0"/>
                </a:lnTo>
                <a:lnTo>
                  <a:pt x="752577" y="752577"/>
                </a:lnTo>
                <a:lnTo>
                  <a:pt x="0" y="752577"/>
                </a:lnTo>
                <a:lnTo>
                  <a:pt x="0" y="0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=""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/>
          <a:p>
            <a:endParaRPr sz="1200"/>
          </a:p>
        </p:txBody>
      </p:sp>
      <p:sp>
        <p:nvSpPr>
          <p:cNvPr id="50" name="TextBox 50"/>
          <p:cNvSpPr txBox="1"/>
          <p:nvPr/>
        </p:nvSpPr>
        <p:spPr>
          <a:xfrm>
            <a:off x="10085635" y="2796135"/>
            <a:ext cx="1512611" cy="830997"/>
          </a:xfrm>
          <a:prstGeom prst="rect">
            <a:avLst/>
          </a:prstGeom>
        </p:spPr>
        <p:txBody>
          <a:bodyPr wrap="square" lIns="0" tIns="0" rIns="0" bIns="0" rtlCol="0" anchor="t">
            <a:noAutofit/>
          </a:bodyPr>
          <a:lstStyle/>
          <a:p>
            <a:pPr algn="l" rtl="0"/>
            <a:r>
              <a:rPr lang="ru" sz="2400" dirty="0">
                <a:solidFill>
                  <a:srgbClr val="082C53"/>
                </a:solidFill>
                <a:latin typeface="Open Sans 1 Bold"/>
              </a:rPr>
              <a:t>408</a:t>
            </a:r>
            <a:r>
              <a:rPr lang="ru" sz="1200" dirty="0">
                <a:solidFill>
                  <a:srgbClr val="082C53"/>
                </a:solidFill>
                <a:latin typeface="Open Sans 1 Bold"/>
              </a:rPr>
              <a:t> млн долларов США</a:t>
            </a:r>
          </a:p>
          <a:p>
            <a:pPr algn="l" rtl="0"/>
            <a:r>
              <a:rPr lang="ru" sz="1000" dirty="0">
                <a:solidFill>
                  <a:srgbClr val="002060"/>
                </a:solidFill>
                <a:latin typeface="Open Sans 1"/>
              </a:rPr>
              <a:t>привлеченные иностранные инвест</a:t>
            </a:r>
            <a:r>
              <a:rPr lang="ru-RU" sz="1000" dirty="0">
                <a:solidFill>
                  <a:srgbClr val="002060"/>
                </a:solidFill>
                <a:latin typeface="Open Sans 1"/>
              </a:rPr>
              <a:t>иции</a:t>
            </a:r>
            <a:r>
              <a:rPr lang="ru" sz="1000" dirty="0">
                <a:solidFill>
                  <a:srgbClr val="002060"/>
                </a:solidFill>
                <a:latin typeface="Open Sans 1"/>
              </a:rPr>
              <a:t> в местные проекты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3019216" y="5100329"/>
            <a:ext cx="1817789" cy="179836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>
              <a:lnSpc>
                <a:spcPts val="1440"/>
              </a:lnSpc>
            </a:pPr>
            <a:r>
              <a:rPr lang="ru" sz="1200" dirty="0">
                <a:solidFill>
                  <a:srgbClr val="4A7CB2"/>
                </a:solidFill>
                <a:latin typeface="Calibri"/>
                <a:ea typeface="Open Sans 1 Bold"/>
              </a:rPr>
              <a:t>►</a:t>
            </a:r>
            <a:r>
              <a:rPr lang="ru" sz="1200" dirty="0">
                <a:solidFill>
                  <a:srgbClr val="0E131F"/>
                </a:solidFill>
                <a:latin typeface="Open Sans 1 Bold"/>
              </a:rPr>
              <a:t> Целевой клиент:</a:t>
            </a:r>
          </a:p>
        </p:txBody>
      </p:sp>
      <p:sp>
        <p:nvSpPr>
          <p:cNvPr id="52" name="TextBox 52"/>
          <p:cNvSpPr txBox="1"/>
          <p:nvPr/>
        </p:nvSpPr>
        <p:spPr>
          <a:xfrm>
            <a:off x="2646396" y="5426320"/>
            <a:ext cx="2109413" cy="349250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 algn="ctr">
              <a:lnSpc>
                <a:spcPts val="1440"/>
              </a:lnSpc>
            </a:pPr>
            <a:r>
              <a:rPr lang="ru" sz="1200" dirty="0">
                <a:solidFill>
                  <a:srgbClr val="082C53"/>
                </a:solidFill>
                <a:latin typeface="Open Sans 1 Bold"/>
              </a:rPr>
              <a:t>Субъекты предпринимательской деятельности, ориентированные на малый и средний бизнес</a:t>
            </a:r>
          </a:p>
        </p:txBody>
      </p:sp>
      <p:sp>
        <p:nvSpPr>
          <p:cNvPr id="612" name="TextBox 611">
            <a:extLst>
              <a:ext uri="{FF2B5EF4-FFF2-40B4-BE49-F238E27FC236}">
                <a16:creationId xmlns:a16="http://schemas.microsoft.com/office/drawing/2014/main" id="{43CB700E-971C-4E1F-9A61-43E85836AC23}"/>
              </a:ext>
            </a:extLst>
          </p:cNvPr>
          <p:cNvSpPr txBox="1"/>
          <p:nvPr/>
        </p:nvSpPr>
        <p:spPr>
          <a:xfrm>
            <a:off x="8070847" y="2919431"/>
            <a:ext cx="1809307" cy="8309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rtl="0">
              <a:buSzTx/>
            </a:pPr>
            <a:r>
              <a:rPr lang="ru" sz="2400" b="1" dirty="0">
                <a:solidFill>
                  <a:srgbClr val="082C53"/>
                </a:solidFill>
                <a:latin typeface="Open Sans "/>
              </a:rPr>
              <a:t>100%</a:t>
            </a:r>
          </a:p>
          <a:p>
            <a:pPr rtl="0">
              <a:buSzTx/>
            </a:pPr>
            <a:r>
              <a:rPr lang="ru" sz="1000" dirty="0">
                <a:solidFill>
                  <a:srgbClr val="002060"/>
                </a:solidFill>
                <a:latin typeface="Open Sans 1"/>
                <a:ea typeface="Open Sans 1"/>
                <a:cs typeface="Open Sans 1"/>
              </a:rPr>
              <a:t>инвестиций приходится на несырьевой сектор Казахстана</a:t>
            </a:r>
            <a:endParaRPr lang="ru-RU" sz="1000" dirty="0">
              <a:solidFill>
                <a:srgbClr val="002060"/>
              </a:solidFill>
              <a:latin typeface="Open Sans 1"/>
              <a:ea typeface="Open Sans 1"/>
              <a:cs typeface="Open Sans 1"/>
            </a:endParaRPr>
          </a:p>
        </p:txBody>
      </p:sp>
      <p:sp>
        <p:nvSpPr>
          <p:cNvPr id="613" name="TextBox 612">
            <a:extLst>
              <a:ext uri="{FF2B5EF4-FFF2-40B4-BE49-F238E27FC236}">
                <a16:creationId xmlns:a16="http://schemas.microsoft.com/office/drawing/2014/main" id="{1C52DF09-5928-4C63-A7F4-13FC40894639}"/>
              </a:ext>
            </a:extLst>
          </p:cNvPr>
          <p:cNvSpPr txBox="1"/>
          <p:nvPr/>
        </p:nvSpPr>
        <p:spPr>
          <a:xfrm>
            <a:off x="8071968" y="4018466"/>
            <a:ext cx="1870156" cy="6771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rtl="0">
              <a:buSzTx/>
            </a:pPr>
            <a:r>
              <a:rPr lang="ru" sz="2400" b="1">
                <a:solidFill>
                  <a:srgbClr val="082C53"/>
                </a:solidFill>
                <a:latin typeface="Open Sans "/>
              </a:rPr>
              <a:t>18</a:t>
            </a:r>
            <a:endParaRPr lang="en-GB" sz="2400" b="1">
              <a:solidFill>
                <a:srgbClr val="082C53"/>
              </a:solidFill>
              <a:latin typeface="Open Sans "/>
            </a:endParaRPr>
          </a:p>
          <a:p>
            <a:pPr rtl="0">
              <a:buSzTx/>
            </a:pPr>
            <a:r>
              <a:rPr lang="ru" sz="1000">
                <a:solidFill>
                  <a:srgbClr val="002060"/>
                </a:solidFill>
                <a:latin typeface="Open Sans 1"/>
                <a:ea typeface="Open Sans 1"/>
                <a:cs typeface="Open Sans 1"/>
              </a:rPr>
              <a:t>фондов прямых инвестиций, включая 3 кэптивных фонда</a:t>
            </a:r>
            <a:endParaRPr lang="ru-RU" sz="1000">
              <a:solidFill>
                <a:srgbClr val="002060"/>
              </a:solidFill>
              <a:latin typeface="Open Sans 1"/>
              <a:ea typeface="Open Sans 1" panose="020B0604020202020204" charset="0"/>
              <a:cs typeface="Open Sans 1" panose="020B0604020202020204" charset="0"/>
            </a:endParaRPr>
          </a:p>
        </p:txBody>
      </p:sp>
      <p:pic>
        <p:nvPicPr>
          <p:cNvPr id="614" name="Рисунок 613">
            <a:extLst>
              <a:ext uri="{FF2B5EF4-FFF2-40B4-BE49-F238E27FC236}">
                <a16:creationId xmlns:a16="http://schemas.microsoft.com/office/drawing/2014/main" id="{4E05274B-B453-407A-81B2-9C76CAC0308E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8492" y="342989"/>
            <a:ext cx="1048587" cy="376911"/>
          </a:xfrm>
          <a:prstGeom prst="rect">
            <a:avLst/>
          </a:prstGeom>
        </p:spPr>
      </p:pic>
      <p:sp>
        <p:nvSpPr>
          <p:cNvPr id="615" name="TextBox 614">
            <a:extLst>
              <a:ext uri="{FF2B5EF4-FFF2-40B4-BE49-F238E27FC236}">
                <a16:creationId xmlns:a16="http://schemas.microsoft.com/office/drawing/2014/main" id="{2809D011-BFFE-47CC-9D40-4150C5DD8CD3}"/>
              </a:ext>
            </a:extLst>
          </p:cNvPr>
          <p:cNvSpPr txBox="1"/>
          <p:nvPr/>
        </p:nvSpPr>
        <p:spPr>
          <a:xfrm>
            <a:off x="10448079" y="1418361"/>
            <a:ext cx="1286673" cy="9028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rtl="0">
              <a:buSzTx/>
            </a:pPr>
            <a:r>
              <a:rPr lang="ru" sz="2400" b="1">
                <a:solidFill>
                  <a:srgbClr val="082C53"/>
                </a:solidFill>
                <a:latin typeface="Open Sans "/>
              </a:rPr>
              <a:t>ВВВ-</a:t>
            </a:r>
            <a:r>
              <a:rPr lang="ru" sz="1600" b="1">
                <a:solidFill>
                  <a:srgbClr val="082C53"/>
                </a:solidFill>
                <a:latin typeface="Open Sans "/>
              </a:rPr>
              <a:t/>
            </a:r>
            <a:br>
              <a:rPr lang="ru" sz="1600" b="1">
                <a:solidFill>
                  <a:srgbClr val="082C53"/>
                </a:solidFill>
                <a:latin typeface="Open Sans "/>
              </a:rPr>
            </a:br>
            <a:r>
              <a:rPr lang="ru" sz="1200" b="1">
                <a:solidFill>
                  <a:srgbClr val="082C53"/>
                </a:solidFill>
                <a:latin typeface="Open Sans "/>
              </a:rPr>
              <a:t>Стабильный прогноз</a:t>
            </a:r>
          </a:p>
          <a:p>
            <a:pPr>
              <a:buSzTx/>
            </a:pPr>
            <a:endParaRPr lang="en-GB" sz="267" b="1">
              <a:solidFill>
                <a:srgbClr val="082C53"/>
              </a:solidFill>
              <a:latin typeface="Open Sans "/>
            </a:endParaRPr>
          </a:p>
          <a:p>
            <a:pPr rtl="0">
              <a:buSzTx/>
            </a:pPr>
            <a:r>
              <a:rPr lang="ru" sz="1000">
                <a:solidFill>
                  <a:srgbClr val="002060"/>
                </a:solidFill>
                <a:latin typeface="Open Sans"/>
                <a:ea typeface="Open Sans"/>
                <a:cs typeface="Open Sans"/>
              </a:rPr>
              <a:t>Рейтинг Fitch</a:t>
            </a:r>
            <a:endParaRPr lang="ru-RU" sz="1000">
              <a:solidFill>
                <a:srgbClr val="002060"/>
              </a:solidFill>
              <a:latin typeface="Open Sans"/>
              <a:ea typeface="Open Sans"/>
              <a:cs typeface="Open Sans"/>
            </a:endParaRPr>
          </a:p>
          <a:p>
            <a:pPr rtl="0">
              <a:buSzTx/>
            </a:pPr>
            <a:r>
              <a:rPr lang="ru" sz="1000">
                <a:solidFill>
                  <a:srgbClr val="002060"/>
                </a:solidFill>
                <a:latin typeface="Open Sans"/>
                <a:ea typeface="Open Sans"/>
                <a:cs typeface="Open Sans"/>
              </a:rPr>
              <a:t>(2023)</a:t>
            </a:r>
          </a:p>
        </p:txBody>
      </p:sp>
      <p:sp>
        <p:nvSpPr>
          <p:cNvPr id="616" name="TextBox 615">
            <a:extLst>
              <a:ext uri="{FF2B5EF4-FFF2-40B4-BE49-F238E27FC236}">
                <a16:creationId xmlns:a16="http://schemas.microsoft.com/office/drawing/2014/main" id="{DC2BE190-97E0-467D-A348-59669DAC0AE8}"/>
              </a:ext>
            </a:extLst>
          </p:cNvPr>
          <p:cNvSpPr txBox="1"/>
          <p:nvPr/>
        </p:nvSpPr>
        <p:spPr>
          <a:xfrm>
            <a:off x="9725744" y="5366115"/>
            <a:ext cx="2066993" cy="58477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 rtl="0"/>
            <a:r>
              <a:rPr lang="ru" sz="2400" b="1" dirty="0">
                <a:solidFill>
                  <a:srgbClr val="082C53"/>
                </a:solidFill>
                <a:latin typeface="Open Sans "/>
              </a:rPr>
              <a:t>23 000 </a:t>
            </a:r>
          </a:p>
          <a:p>
            <a:pPr algn="ctr" rtl="0"/>
            <a:r>
              <a:rPr lang="ru" sz="1200" b="1" dirty="0">
                <a:solidFill>
                  <a:srgbClr val="082C53"/>
                </a:solidFill>
                <a:latin typeface="Open Sans "/>
              </a:rPr>
              <a:t>рабочих мест</a:t>
            </a:r>
          </a:p>
          <a:p>
            <a:pPr rtl="0"/>
            <a:r>
              <a:rPr lang="ru" sz="1000" dirty="0">
                <a:solidFill>
                  <a:srgbClr val="002060"/>
                </a:solidFill>
                <a:latin typeface="Open Sans"/>
                <a:ea typeface="Open Sans"/>
                <a:cs typeface="Open Sans"/>
              </a:rPr>
              <a:t>созданных и поддерживаемых </a:t>
            </a:r>
          </a:p>
        </p:txBody>
      </p:sp>
      <p:sp>
        <p:nvSpPr>
          <p:cNvPr id="617" name="TextBox 616">
            <a:extLst>
              <a:ext uri="{FF2B5EF4-FFF2-40B4-BE49-F238E27FC236}">
                <a16:creationId xmlns:a16="http://schemas.microsoft.com/office/drawing/2014/main" id="{B79F0002-A5D7-4E3A-9A0D-BA493F263F88}"/>
              </a:ext>
            </a:extLst>
          </p:cNvPr>
          <p:cNvSpPr txBox="1"/>
          <p:nvPr/>
        </p:nvSpPr>
        <p:spPr>
          <a:xfrm>
            <a:off x="7936318" y="5320259"/>
            <a:ext cx="1832440" cy="892552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rtl="0"/>
            <a:r>
              <a:rPr lang="ru" sz="2400" b="1" dirty="0">
                <a:solidFill>
                  <a:srgbClr val="082C53"/>
                </a:solidFill>
                <a:latin typeface="Open Sans "/>
              </a:rPr>
              <a:t>55</a:t>
            </a:r>
            <a:r>
              <a:rPr lang="ru" sz="1200" dirty="0">
                <a:solidFill>
                  <a:srgbClr val="082C53"/>
                </a:solidFill>
                <a:latin typeface="Open Sans 1 Bold"/>
              </a:rPr>
              <a:t> </a:t>
            </a:r>
            <a:r>
              <a:rPr lang="ru-RU" sz="1200" dirty="0">
                <a:solidFill>
                  <a:srgbClr val="082C53"/>
                </a:solidFill>
                <a:latin typeface="Open Sans 1 Bold"/>
              </a:rPr>
              <a:t>млрд тенге</a:t>
            </a:r>
          </a:p>
          <a:p>
            <a:pPr rtl="0"/>
            <a:endParaRPr lang="ru-RU" sz="1200" dirty="0">
              <a:solidFill>
                <a:srgbClr val="082C53"/>
              </a:solidFill>
              <a:latin typeface="Open Sans 1 Bold"/>
              <a:ea typeface="Open Sans"/>
              <a:cs typeface="Open Sans"/>
            </a:endParaRPr>
          </a:p>
          <a:p>
            <a:pPr rtl="0"/>
            <a:r>
              <a:rPr lang="ru" sz="1000" dirty="0">
                <a:solidFill>
                  <a:srgbClr val="002060"/>
                </a:solidFill>
                <a:latin typeface="Open Sans"/>
                <a:ea typeface="Open Sans"/>
                <a:cs typeface="Open Sans"/>
              </a:rPr>
              <a:t>налоги, уплачиваемые в государственный бюджет проектными компаниями </a:t>
            </a:r>
          </a:p>
        </p:txBody>
      </p:sp>
      <p:sp>
        <p:nvSpPr>
          <p:cNvPr id="36" name="Номер слайда 35">
            <a:extLst>
              <a:ext uri="{FF2B5EF4-FFF2-40B4-BE49-F238E27FC236}">
                <a16:creationId xmlns:a16="http://schemas.microsoft.com/office/drawing/2014/main" id="{4B8A9BF9-AC3F-4EC2-8934-041454A4E09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336609" y="6496056"/>
            <a:ext cx="1422400" cy="243417"/>
          </a:xfrm>
        </p:spPr>
        <p:txBody>
          <a:bodyPr>
            <a:noAutofit/>
          </a:bodyPr>
          <a:lstStyle/>
          <a:p>
            <a:pPr rtl="0"/>
            <a:r>
              <a:rPr lang="ru" sz="1067" b="1">
                <a:latin typeface="Open Sans"/>
                <a:ea typeface="Open Sans"/>
                <a:cs typeface="Open Sans"/>
              </a:rPr>
              <a:t>3</a:t>
            </a:r>
            <a:endParaRPr lang="en-US" sz="1067" b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1362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5" name="Рисунок 644">
            <a:extLst>
              <a:ext uri="{FF2B5EF4-FFF2-40B4-BE49-F238E27FC236}">
                <a16:creationId xmlns:a16="http://schemas.microsoft.com/office/drawing/2014/main" id="{538C3674-2528-40C5-8B0A-98CF14A06F8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755" b="21247"/>
          <a:stretch/>
        </p:blipFill>
        <p:spPr>
          <a:xfrm>
            <a:off x="9104982" y="4001294"/>
            <a:ext cx="3087019" cy="2856706"/>
          </a:xfrm>
          <a:prstGeom prst="rect">
            <a:avLst/>
          </a:prstGeom>
        </p:spPr>
      </p:pic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41E597B0-8895-44F1-999E-A0C4DE025811}"/>
              </a:ext>
            </a:extLst>
          </p:cNvPr>
          <p:cNvCxnSpPr>
            <a:cxnSpLocks/>
          </p:cNvCxnSpPr>
          <p:nvPr/>
        </p:nvCxnSpPr>
        <p:spPr>
          <a:xfrm>
            <a:off x="320814" y="816926"/>
            <a:ext cx="11435261" cy="0"/>
          </a:xfrm>
          <a:prstGeom prst="line">
            <a:avLst/>
          </a:prstGeom>
          <a:ln w="19050">
            <a:solidFill>
              <a:srgbClr val="00397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Номер слайда 2">
            <a:extLst>
              <a:ext uri="{FF2B5EF4-FFF2-40B4-BE49-F238E27FC236}">
                <a16:creationId xmlns:a16="http://schemas.microsoft.com/office/drawing/2014/main" id="{F73BA790-9DBD-4BAD-9859-65A37C5BB3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9470" y="6453247"/>
            <a:ext cx="2743200" cy="365125"/>
          </a:xfrm>
        </p:spPr>
        <p:txBody>
          <a:bodyPr/>
          <a:lstStyle/>
          <a:p>
            <a:fld id="{0161DE72-5E33-4A0D-AE4E-E16E14FA4E9B}" type="slidenum">
              <a:rPr lang="en-GB" smtClean="0"/>
              <a:pPr/>
              <a:t>129</a:t>
            </a:fld>
            <a:endParaRPr lang="en-GB" dirty="0"/>
          </a:p>
        </p:txBody>
      </p:sp>
      <p:pic>
        <p:nvPicPr>
          <p:cNvPr id="644" name="Рисунок 643">
            <a:extLst>
              <a:ext uri="{FF2B5EF4-FFF2-40B4-BE49-F238E27FC236}">
                <a16:creationId xmlns:a16="http://schemas.microsoft.com/office/drawing/2014/main" id="{B836A406-774E-4E38-9D36-4434545B8CE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1283" y="157095"/>
            <a:ext cx="1572881" cy="565367"/>
          </a:xfrm>
          <a:prstGeom prst="rect">
            <a:avLst/>
          </a:prstGeom>
        </p:spPr>
      </p:pic>
      <p:sp>
        <p:nvSpPr>
          <p:cNvPr id="646" name="Заголовок 1">
            <a:extLst>
              <a:ext uri="{FF2B5EF4-FFF2-40B4-BE49-F238E27FC236}">
                <a16:creationId xmlns:a16="http://schemas.microsoft.com/office/drawing/2014/main" id="{BB151059-9524-4DA5-B9D7-F3039F1189FD}"/>
              </a:ext>
            </a:extLst>
          </p:cNvPr>
          <p:cNvSpPr txBox="1"/>
          <p:nvPr/>
        </p:nvSpPr>
        <p:spPr>
          <a:xfrm>
            <a:off x="347261" y="301622"/>
            <a:ext cx="8375469" cy="5057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18254F"/>
                </a:solidFill>
                <a:latin typeface="Open Sans 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rgbClr val="082C53"/>
                </a:solidFill>
              </a:rPr>
              <a:t>Инвестиции </a:t>
            </a:r>
            <a:r>
              <a:rPr lang="en-US" dirty="0">
                <a:solidFill>
                  <a:srgbClr val="082C53"/>
                </a:solidFill>
              </a:rPr>
              <a:t>QIC 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9B729D5-A103-487F-891F-DCD4343E08AE}"/>
              </a:ext>
            </a:extLst>
          </p:cNvPr>
          <p:cNvSpPr/>
          <p:nvPr/>
        </p:nvSpPr>
        <p:spPr>
          <a:xfrm>
            <a:off x="11007722" y="5495366"/>
            <a:ext cx="143436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0" name="Диаграмма 9">
            <a:extLst>
              <a:ext uri="{FF2B5EF4-FFF2-40B4-BE49-F238E27FC236}">
                <a16:creationId xmlns:a16="http://schemas.microsoft.com/office/drawing/2014/main" id="{8BE2AB23-28FB-485D-90E5-FC5902DDB9FD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347261" y="911391"/>
          <a:ext cx="11435261" cy="55022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939296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59A5E1A1-1B2E-49F0-A6C9-3578E9FD8F10}"/>
              </a:ext>
            </a:extLst>
          </p:cNvPr>
          <p:cNvSpPr/>
          <p:nvPr/>
        </p:nvSpPr>
        <p:spPr>
          <a:xfrm>
            <a:off x="341108" y="122647"/>
            <a:ext cx="1165395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u="sng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Этапы заключения Долгосрочного Договора </a:t>
            </a:r>
            <a:r>
              <a:rPr lang="ru-RU" b="1" u="sng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с поставщиками ОТП, </a:t>
            </a:r>
            <a:endParaRPr lang="ru-RU" b="1" u="sng" dirty="0" smtClean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  <a:p>
            <a:pPr algn="ctr"/>
            <a:r>
              <a:rPr lang="ru-RU" b="1" u="sng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имеющими </a:t>
            </a:r>
            <a:r>
              <a:rPr lang="ru-RU" b="1" u="sng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производство </a:t>
            </a:r>
            <a:r>
              <a:rPr lang="ru-RU" b="1" u="sng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МТ с Единым дистрибьютором</a:t>
            </a:r>
          </a:p>
          <a:p>
            <a:pPr algn="ctr"/>
            <a:r>
              <a:rPr lang="ru-RU" b="1" u="sng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согласно </a:t>
            </a:r>
            <a:r>
              <a:rPr lang="ru-RU" b="1" u="sng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Главы 8 Правил </a:t>
            </a:r>
            <a:r>
              <a:rPr lang="ru-RU" b="1" u="sng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110 </a:t>
            </a:r>
            <a:r>
              <a:rPr lang="en-US" b="1" u="sng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https://adilet.zan.kz/rus/docs/V2300032733#z2285 </a:t>
            </a:r>
            <a:endParaRPr lang="ru-RU" b="1" u="sng" dirty="0" smtClean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-14926" y="1445384"/>
            <a:ext cx="12166844" cy="5160002"/>
            <a:chOff x="-26369" y="843533"/>
            <a:chExt cx="12166844" cy="5160002"/>
          </a:xfrm>
        </p:grpSpPr>
        <p:cxnSp>
          <p:nvCxnSpPr>
            <p:cNvPr id="349" name="Straight Connector 34">
              <a:extLst>
                <a:ext uri="{FF2B5EF4-FFF2-40B4-BE49-F238E27FC236}">
                  <a16:creationId xmlns:a16="http://schemas.microsoft.com/office/drawing/2014/main" id="{F538115F-3709-4575-B34B-A1875AD23B2E}"/>
                </a:ext>
              </a:extLst>
            </p:cNvPr>
            <p:cNvCxnSpPr>
              <a:cxnSpLocks/>
              <a:endCxn id="81" idx="1"/>
            </p:cNvCxnSpPr>
            <p:nvPr/>
          </p:nvCxnSpPr>
          <p:spPr>
            <a:xfrm>
              <a:off x="1353307" y="5628899"/>
              <a:ext cx="5479185" cy="7714"/>
            </a:xfrm>
            <a:prstGeom prst="line">
              <a:avLst/>
            </a:prstGeom>
            <a:ln w="136525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1" name="Straight Connector 34">
              <a:extLst>
                <a:ext uri="{FF2B5EF4-FFF2-40B4-BE49-F238E27FC236}">
                  <a16:creationId xmlns:a16="http://schemas.microsoft.com/office/drawing/2014/main" id="{57A2C3ED-1B49-4670-BB3F-BEA8A145AA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66975" y="3846746"/>
              <a:ext cx="1547070" cy="607"/>
            </a:xfrm>
            <a:prstGeom prst="line">
              <a:avLst/>
            </a:prstGeom>
            <a:ln w="136525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3" name="Freeform 44"/>
            <p:cNvSpPr>
              <a:spLocks/>
            </p:cNvSpPr>
            <p:nvPr/>
          </p:nvSpPr>
          <p:spPr bwMode="auto">
            <a:xfrm>
              <a:off x="2261280" y="1374049"/>
              <a:ext cx="404813" cy="282575"/>
            </a:xfrm>
            <a:custGeom>
              <a:avLst/>
              <a:gdLst>
                <a:gd name="T0" fmla="*/ 129 w 255"/>
                <a:gd name="T1" fmla="*/ 0 h 178"/>
                <a:gd name="T2" fmla="*/ 0 w 255"/>
                <a:gd name="T3" fmla="*/ 173 h 178"/>
                <a:gd name="T4" fmla="*/ 8 w 255"/>
                <a:gd name="T5" fmla="*/ 178 h 178"/>
                <a:gd name="T6" fmla="*/ 46 w 255"/>
                <a:gd name="T7" fmla="*/ 148 h 178"/>
                <a:gd name="T8" fmla="*/ 86 w 255"/>
                <a:gd name="T9" fmla="*/ 178 h 178"/>
                <a:gd name="T10" fmla="*/ 124 w 255"/>
                <a:gd name="T11" fmla="*/ 148 h 178"/>
                <a:gd name="T12" fmla="*/ 164 w 255"/>
                <a:gd name="T13" fmla="*/ 178 h 178"/>
                <a:gd name="T14" fmla="*/ 202 w 255"/>
                <a:gd name="T15" fmla="*/ 148 h 178"/>
                <a:gd name="T16" fmla="*/ 242 w 255"/>
                <a:gd name="T17" fmla="*/ 178 h 178"/>
                <a:gd name="T18" fmla="*/ 255 w 255"/>
                <a:gd name="T19" fmla="*/ 169 h 178"/>
                <a:gd name="T20" fmla="*/ 129 w 255"/>
                <a:gd name="T21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5" h="178">
                  <a:moveTo>
                    <a:pt x="129" y="0"/>
                  </a:moveTo>
                  <a:lnTo>
                    <a:pt x="0" y="173"/>
                  </a:lnTo>
                  <a:lnTo>
                    <a:pt x="8" y="178"/>
                  </a:lnTo>
                  <a:lnTo>
                    <a:pt x="46" y="148"/>
                  </a:lnTo>
                  <a:lnTo>
                    <a:pt x="86" y="178"/>
                  </a:lnTo>
                  <a:lnTo>
                    <a:pt x="124" y="148"/>
                  </a:lnTo>
                  <a:lnTo>
                    <a:pt x="164" y="178"/>
                  </a:lnTo>
                  <a:lnTo>
                    <a:pt x="202" y="148"/>
                  </a:lnTo>
                  <a:lnTo>
                    <a:pt x="242" y="178"/>
                  </a:lnTo>
                  <a:lnTo>
                    <a:pt x="255" y="169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584" name="Freeform 45"/>
            <p:cNvSpPr>
              <a:spLocks noEditPoints="1"/>
            </p:cNvSpPr>
            <p:nvPr/>
          </p:nvSpPr>
          <p:spPr bwMode="auto">
            <a:xfrm>
              <a:off x="1735818" y="1400176"/>
              <a:ext cx="730250" cy="979488"/>
            </a:xfrm>
            <a:custGeom>
              <a:avLst/>
              <a:gdLst>
                <a:gd name="T0" fmla="*/ 27 w 460"/>
                <a:gd name="T1" fmla="*/ 583 h 617"/>
                <a:gd name="T2" fmla="*/ 27 w 460"/>
                <a:gd name="T3" fmla="*/ 583 h 617"/>
                <a:gd name="T4" fmla="*/ 0 w 460"/>
                <a:gd name="T5" fmla="*/ 617 h 617"/>
                <a:gd name="T6" fmla="*/ 27 w 460"/>
                <a:gd name="T7" fmla="*/ 583 h 617"/>
                <a:gd name="T8" fmla="*/ 460 w 460"/>
                <a:gd name="T9" fmla="*/ 0 h 617"/>
                <a:gd name="T10" fmla="*/ 212 w 460"/>
                <a:gd name="T11" fmla="*/ 333 h 617"/>
                <a:gd name="T12" fmla="*/ 212 w 460"/>
                <a:gd name="T13" fmla="*/ 333 h 617"/>
                <a:gd name="T14" fmla="*/ 460 w 460"/>
                <a:gd name="T15" fmla="*/ 0 h 617"/>
                <a:gd name="T16" fmla="*/ 460 w 460"/>
                <a:gd name="T17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0" h="617">
                  <a:moveTo>
                    <a:pt x="27" y="583"/>
                  </a:moveTo>
                  <a:lnTo>
                    <a:pt x="27" y="583"/>
                  </a:lnTo>
                  <a:lnTo>
                    <a:pt x="0" y="617"/>
                  </a:lnTo>
                  <a:lnTo>
                    <a:pt x="27" y="583"/>
                  </a:lnTo>
                  <a:close/>
                  <a:moveTo>
                    <a:pt x="460" y="0"/>
                  </a:moveTo>
                  <a:lnTo>
                    <a:pt x="212" y="333"/>
                  </a:lnTo>
                  <a:lnTo>
                    <a:pt x="212" y="333"/>
                  </a:lnTo>
                  <a:lnTo>
                    <a:pt x="460" y="0"/>
                  </a:lnTo>
                  <a:lnTo>
                    <a:pt x="460" y="0"/>
                  </a:lnTo>
                  <a:close/>
                </a:path>
              </a:pathLst>
            </a:custGeom>
            <a:solidFill>
              <a:srgbClr val="ABA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585" name="Freeform 46"/>
            <p:cNvSpPr>
              <a:spLocks noEditPoints="1"/>
            </p:cNvSpPr>
            <p:nvPr/>
          </p:nvSpPr>
          <p:spPr bwMode="auto">
            <a:xfrm>
              <a:off x="1735818" y="1400176"/>
              <a:ext cx="730250" cy="979488"/>
            </a:xfrm>
            <a:custGeom>
              <a:avLst/>
              <a:gdLst>
                <a:gd name="T0" fmla="*/ 27 w 460"/>
                <a:gd name="T1" fmla="*/ 583 h 617"/>
                <a:gd name="T2" fmla="*/ 27 w 460"/>
                <a:gd name="T3" fmla="*/ 583 h 617"/>
                <a:gd name="T4" fmla="*/ 0 w 460"/>
                <a:gd name="T5" fmla="*/ 617 h 617"/>
                <a:gd name="T6" fmla="*/ 27 w 460"/>
                <a:gd name="T7" fmla="*/ 583 h 617"/>
                <a:gd name="T8" fmla="*/ 460 w 460"/>
                <a:gd name="T9" fmla="*/ 0 h 617"/>
                <a:gd name="T10" fmla="*/ 212 w 460"/>
                <a:gd name="T11" fmla="*/ 333 h 617"/>
                <a:gd name="T12" fmla="*/ 212 w 460"/>
                <a:gd name="T13" fmla="*/ 333 h 617"/>
                <a:gd name="T14" fmla="*/ 460 w 460"/>
                <a:gd name="T15" fmla="*/ 0 h 617"/>
                <a:gd name="T16" fmla="*/ 460 w 460"/>
                <a:gd name="T17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0" h="617">
                  <a:moveTo>
                    <a:pt x="27" y="583"/>
                  </a:moveTo>
                  <a:lnTo>
                    <a:pt x="27" y="583"/>
                  </a:lnTo>
                  <a:lnTo>
                    <a:pt x="0" y="617"/>
                  </a:lnTo>
                  <a:lnTo>
                    <a:pt x="27" y="583"/>
                  </a:lnTo>
                  <a:moveTo>
                    <a:pt x="460" y="0"/>
                  </a:moveTo>
                  <a:lnTo>
                    <a:pt x="212" y="333"/>
                  </a:lnTo>
                  <a:lnTo>
                    <a:pt x="212" y="333"/>
                  </a:lnTo>
                  <a:lnTo>
                    <a:pt x="460" y="0"/>
                  </a:lnTo>
                  <a:lnTo>
                    <a:pt x="4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592" name="Freeform 50"/>
            <p:cNvSpPr>
              <a:spLocks/>
            </p:cNvSpPr>
            <p:nvPr/>
          </p:nvSpPr>
          <p:spPr bwMode="auto">
            <a:xfrm>
              <a:off x="2261280" y="1374049"/>
              <a:ext cx="206375" cy="282575"/>
            </a:xfrm>
            <a:custGeom>
              <a:avLst/>
              <a:gdLst>
                <a:gd name="T0" fmla="*/ 129 w 130"/>
                <a:gd name="T1" fmla="*/ 0 h 178"/>
                <a:gd name="T2" fmla="*/ 129 w 130"/>
                <a:gd name="T3" fmla="*/ 0 h 178"/>
                <a:gd name="T4" fmla="*/ 0 w 130"/>
                <a:gd name="T5" fmla="*/ 173 h 178"/>
                <a:gd name="T6" fmla="*/ 8 w 130"/>
                <a:gd name="T7" fmla="*/ 178 h 178"/>
                <a:gd name="T8" fmla="*/ 46 w 130"/>
                <a:gd name="T9" fmla="*/ 148 h 178"/>
                <a:gd name="T10" fmla="*/ 86 w 130"/>
                <a:gd name="T11" fmla="*/ 178 h 178"/>
                <a:gd name="T12" fmla="*/ 124 w 130"/>
                <a:gd name="T13" fmla="*/ 148 h 178"/>
                <a:gd name="T14" fmla="*/ 130 w 130"/>
                <a:gd name="T15" fmla="*/ 152 h 178"/>
                <a:gd name="T16" fmla="*/ 129 w 130"/>
                <a:gd name="T17" fmla="*/ 0 h 178"/>
                <a:gd name="T18" fmla="*/ 129 w 130"/>
                <a:gd name="T1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78">
                  <a:moveTo>
                    <a:pt x="129" y="0"/>
                  </a:moveTo>
                  <a:lnTo>
                    <a:pt x="129" y="0"/>
                  </a:lnTo>
                  <a:lnTo>
                    <a:pt x="0" y="173"/>
                  </a:lnTo>
                  <a:lnTo>
                    <a:pt x="8" y="178"/>
                  </a:lnTo>
                  <a:lnTo>
                    <a:pt x="46" y="148"/>
                  </a:lnTo>
                  <a:lnTo>
                    <a:pt x="86" y="178"/>
                  </a:lnTo>
                  <a:lnTo>
                    <a:pt x="124" y="148"/>
                  </a:lnTo>
                  <a:lnTo>
                    <a:pt x="130" y="152"/>
                  </a:lnTo>
                  <a:lnTo>
                    <a:pt x="129" y="0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896" name="TextBox 895"/>
            <p:cNvSpPr txBox="1"/>
            <p:nvPr/>
          </p:nvSpPr>
          <p:spPr>
            <a:xfrm>
              <a:off x="5780796" y="2760847"/>
              <a:ext cx="2063221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Прием заявок от ОТП на участие в конкурсе на веб-портале </a:t>
              </a:r>
              <a:r>
                <a:rPr lang="en-US" sz="1000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  <a:hlinkClick r:id="rId2"/>
                </a:rPr>
                <a:t>https://fms.ecc.kz</a:t>
              </a:r>
              <a:endParaRPr lang="ru-RU" sz="10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  <a:p>
              <a:pPr algn="ctr"/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(согласно п. </a:t>
              </a:r>
              <a:r>
                <a:rPr lang="en-US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372</a:t>
              </a:r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-</a:t>
              </a:r>
              <a:r>
                <a:rPr lang="en-US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376</a:t>
              </a:r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)</a:t>
              </a:r>
              <a:endParaRPr lang="id-ID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cxnSp>
          <p:nvCxnSpPr>
            <p:cNvPr id="152" name="Straight Connector 34">
              <a:extLst>
                <a:ext uri="{FF2B5EF4-FFF2-40B4-BE49-F238E27FC236}">
                  <a16:creationId xmlns:a16="http://schemas.microsoft.com/office/drawing/2014/main" id="{3DA4F0B6-38C2-495B-9418-291816027EE2}"/>
                </a:ext>
              </a:extLst>
            </p:cNvPr>
            <p:cNvCxnSpPr>
              <a:cxnSpLocks/>
              <a:endCxn id="54" idx="1"/>
            </p:cNvCxnSpPr>
            <p:nvPr/>
          </p:nvCxnSpPr>
          <p:spPr>
            <a:xfrm flipV="1">
              <a:off x="655377" y="2096062"/>
              <a:ext cx="6566645" cy="686"/>
            </a:xfrm>
            <a:prstGeom prst="line">
              <a:avLst/>
            </a:prstGeom>
            <a:ln w="136525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4" name="Дуга 933">
              <a:extLst>
                <a:ext uri="{FF2B5EF4-FFF2-40B4-BE49-F238E27FC236}">
                  <a16:creationId xmlns:a16="http://schemas.microsoft.com/office/drawing/2014/main" id="{4FF5526D-C05C-4B50-AD2C-623BD32DE0AC}"/>
                </a:ext>
              </a:extLst>
            </p:cNvPr>
            <p:cNvSpPr/>
            <p:nvPr/>
          </p:nvSpPr>
          <p:spPr>
            <a:xfrm flipH="1">
              <a:off x="8490940" y="2096063"/>
              <a:ext cx="1857537" cy="1759861"/>
            </a:xfrm>
            <a:prstGeom prst="arc">
              <a:avLst>
                <a:gd name="adj1" fmla="val 5449957"/>
                <a:gd name="adj2" fmla="val 16208867"/>
              </a:avLst>
            </a:prstGeom>
            <a:ln w="136525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cxnSp>
          <p:nvCxnSpPr>
            <p:cNvPr id="243" name="Straight Connector 34">
              <a:extLst>
                <a:ext uri="{FF2B5EF4-FFF2-40B4-BE49-F238E27FC236}">
                  <a16:creationId xmlns:a16="http://schemas.microsoft.com/office/drawing/2014/main" id="{B796F58A-1091-43E4-8E80-389EAD9E3F9A}"/>
                </a:ext>
              </a:extLst>
            </p:cNvPr>
            <p:cNvCxnSpPr>
              <a:cxnSpLocks/>
              <a:endCxn id="934" idx="0"/>
            </p:cNvCxnSpPr>
            <p:nvPr/>
          </p:nvCxnSpPr>
          <p:spPr>
            <a:xfrm flipV="1">
              <a:off x="7754664" y="3855850"/>
              <a:ext cx="1738317" cy="74"/>
            </a:xfrm>
            <a:prstGeom prst="line">
              <a:avLst/>
            </a:prstGeom>
            <a:ln w="136525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7" name="Прямоугольник 936">
              <a:extLst>
                <a:ext uri="{FF2B5EF4-FFF2-40B4-BE49-F238E27FC236}">
                  <a16:creationId xmlns:a16="http://schemas.microsoft.com/office/drawing/2014/main" id="{DC95A62B-54B7-4119-843E-A8CA9EF4BE3E}"/>
                </a:ext>
              </a:extLst>
            </p:cNvPr>
            <p:cNvSpPr/>
            <p:nvPr/>
          </p:nvSpPr>
          <p:spPr>
            <a:xfrm>
              <a:off x="3739516" y="871087"/>
              <a:ext cx="1901613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МЗ РК направляет перечень МТ в экспертную организацию для проведения экспертной оценки</a:t>
              </a:r>
              <a:endParaRPr lang="id-ID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281" name="Прямоугольник 280">
              <a:extLst>
                <a:ext uri="{FF2B5EF4-FFF2-40B4-BE49-F238E27FC236}">
                  <a16:creationId xmlns:a16="http://schemas.microsoft.com/office/drawing/2014/main" id="{0E16A89E-D1C9-4283-815F-E7AFDE5FA78B}"/>
                </a:ext>
              </a:extLst>
            </p:cNvPr>
            <p:cNvSpPr/>
            <p:nvPr/>
          </p:nvSpPr>
          <p:spPr>
            <a:xfrm>
              <a:off x="7741178" y="2654648"/>
              <a:ext cx="1876096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СК-Ф размещает объявление о проведении конкурса на </a:t>
              </a:r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веб-портале </a:t>
              </a:r>
              <a:r>
                <a:rPr lang="en-US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  <a:hlinkClick r:id="rId2"/>
                </a:rPr>
                <a:t>https://fms.ecc.kz</a:t>
              </a:r>
              <a:endParaRPr lang="ru-RU" sz="1000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  <a:p>
              <a:pPr algn="ctr"/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(</a:t>
              </a:r>
              <a:r>
                <a:rPr lang="ru-RU" sz="1000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согласно </a:t>
              </a:r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п.</a:t>
              </a:r>
              <a:r>
                <a:rPr lang="en-US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370</a:t>
              </a:r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-</a:t>
              </a:r>
              <a:r>
                <a:rPr lang="en-US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371</a:t>
              </a:r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)</a:t>
              </a:r>
              <a:endParaRPr lang="id-ID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307" name="Дуга 306">
              <a:extLst>
                <a:ext uri="{FF2B5EF4-FFF2-40B4-BE49-F238E27FC236}">
                  <a16:creationId xmlns:a16="http://schemas.microsoft.com/office/drawing/2014/main" id="{FEB9E3D5-0364-4B20-ADC8-6CEC960ED542}"/>
                </a:ext>
              </a:extLst>
            </p:cNvPr>
            <p:cNvSpPr/>
            <p:nvPr/>
          </p:nvSpPr>
          <p:spPr>
            <a:xfrm>
              <a:off x="378183" y="3865016"/>
              <a:ext cx="1978503" cy="1759861"/>
            </a:xfrm>
            <a:prstGeom prst="arc">
              <a:avLst>
                <a:gd name="adj1" fmla="val 5449957"/>
                <a:gd name="adj2" fmla="val 16208867"/>
              </a:avLst>
            </a:prstGeom>
            <a:ln w="136525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cxnSp>
          <p:nvCxnSpPr>
            <p:cNvPr id="310" name="Straight Connector 34">
              <a:extLst>
                <a:ext uri="{FF2B5EF4-FFF2-40B4-BE49-F238E27FC236}">
                  <a16:creationId xmlns:a16="http://schemas.microsoft.com/office/drawing/2014/main" id="{E968E0CA-B5F4-419A-99E3-350031FDE45D}"/>
                </a:ext>
              </a:extLst>
            </p:cNvPr>
            <p:cNvCxnSpPr>
              <a:cxnSpLocks/>
              <a:stCxn id="81" idx="1"/>
            </p:cNvCxnSpPr>
            <p:nvPr/>
          </p:nvCxnSpPr>
          <p:spPr>
            <a:xfrm flipV="1">
              <a:off x="6832492" y="5606936"/>
              <a:ext cx="5307983" cy="29677"/>
            </a:xfrm>
            <a:prstGeom prst="line">
              <a:avLst/>
            </a:prstGeom>
            <a:ln w="136525">
              <a:solidFill>
                <a:srgbClr val="01B0CC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1" name="TextBox 310">
              <a:extLst>
                <a:ext uri="{FF2B5EF4-FFF2-40B4-BE49-F238E27FC236}">
                  <a16:creationId xmlns:a16="http://schemas.microsoft.com/office/drawing/2014/main" id="{8842B776-FC89-4E0A-A2E1-69A28A069DE5}"/>
                </a:ext>
              </a:extLst>
            </p:cNvPr>
            <p:cNvSpPr txBox="1"/>
            <p:nvPr/>
          </p:nvSpPr>
          <p:spPr>
            <a:xfrm>
              <a:off x="416441" y="2651589"/>
              <a:ext cx="2036570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ОТП предоставляют дополнения к конкурсной </a:t>
              </a:r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заявке на веб-портале </a:t>
              </a:r>
              <a:r>
                <a:rPr lang="en-US" sz="1000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  <a:hlinkClick r:id="rId2"/>
                </a:rPr>
                <a:t>https://fms.ecc.kz</a:t>
              </a:r>
              <a:endParaRPr lang="ru-RU" sz="100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  <a:p>
              <a:pPr algn="ctr"/>
              <a:r>
                <a:rPr lang="ru-RU" sz="1000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(согласно п. </a:t>
              </a:r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381)</a:t>
              </a:r>
              <a:endParaRPr lang="ru-RU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313" name="TextBox 312">
              <a:extLst>
                <a:ext uri="{FF2B5EF4-FFF2-40B4-BE49-F238E27FC236}">
                  <a16:creationId xmlns:a16="http://schemas.microsoft.com/office/drawing/2014/main" id="{57F60FEB-F54C-4C41-8877-B964E5C845FA}"/>
                </a:ext>
              </a:extLst>
            </p:cNvPr>
            <p:cNvSpPr txBox="1"/>
            <p:nvPr/>
          </p:nvSpPr>
          <p:spPr>
            <a:xfrm>
              <a:off x="395459" y="4365742"/>
              <a:ext cx="1685154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Рассмотрение комиссией </a:t>
              </a:r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дополнений </a:t>
              </a:r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к конкурсным заявкам </a:t>
              </a:r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)</a:t>
              </a:r>
              <a:endParaRPr lang="ru-RU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315" name="TextBox 314">
              <a:extLst>
                <a:ext uri="{FF2B5EF4-FFF2-40B4-BE49-F238E27FC236}">
                  <a16:creationId xmlns:a16="http://schemas.microsoft.com/office/drawing/2014/main" id="{7AE17432-C100-40DE-B508-E6999621A293}"/>
                </a:ext>
              </a:extLst>
            </p:cNvPr>
            <p:cNvSpPr txBox="1"/>
            <p:nvPr/>
          </p:nvSpPr>
          <p:spPr>
            <a:xfrm>
              <a:off x="3598822" y="4398719"/>
              <a:ext cx="1704647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Определение наибольшей ценовой скидки на веб портале </a:t>
              </a:r>
              <a:r>
                <a:rPr lang="en-US" sz="1000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  <a:hlinkClick r:id="rId2"/>
                </a:rPr>
                <a:t>https://</a:t>
              </a:r>
              <a:r>
                <a:rPr lang="en-US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  <a:hlinkClick r:id="rId2"/>
                </a:rPr>
                <a:t>fms.ecc.kz</a:t>
              </a:r>
              <a:endParaRPr lang="ru-RU" sz="100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 </a:t>
              </a:r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(согласно п. 387-395)</a:t>
              </a:r>
              <a:endParaRPr lang="ru-RU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319" name="TextBox 318">
              <a:extLst>
                <a:ext uri="{FF2B5EF4-FFF2-40B4-BE49-F238E27FC236}">
                  <a16:creationId xmlns:a16="http://schemas.microsoft.com/office/drawing/2014/main" id="{D025EBBC-6E6E-45BC-9338-62CD5DF6E9B0}"/>
                </a:ext>
              </a:extLst>
            </p:cNvPr>
            <p:cNvSpPr txBox="1"/>
            <p:nvPr/>
          </p:nvSpPr>
          <p:spPr>
            <a:xfrm>
              <a:off x="6785536" y="4676412"/>
              <a:ext cx="1868602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СК-Ф подписывает долгосрочный договор</a:t>
              </a:r>
            </a:p>
            <a:p>
              <a:pPr algn="ctr"/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(согласно п. 398)</a:t>
              </a:r>
              <a:endParaRPr lang="ru-RU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FD433CF5-A1A1-4EAA-9989-030975A76603}"/>
                </a:ext>
              </a:extLst>
            </p:cNvPr>
            <p:cNvSpPr txBox="1"/>
            <p:nvPr/>
          </p:nvSpPr>
          <p:spPr>
            <a:xfrm>
              <a:off x="10511937" y="4566211"/>
              <a:ext cx="155119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МЗ РК вносит изменения в перечень ЕД</a:t>
              </a:r>
              <a:endParaRPr lang="ru-RU" sz="10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  <a:p>
              <a:pPr algn="ctr"/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(согласно п. 400)</a:t>
              </a:r>
              <a:endParaRPr lang="ru-RU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cxnSp>
          <p:nvCxnSpPr>
            <p:cNvPr id="337" name="Straight Connector 34">
              <a:extLst>
                <a:ext uri="{FF2B5EF4-FFF2-40B4-BE49-F238E27FC236}">
                  <a16:creationId xmlns:a16="http://schemas.microsoft.com/office/drawing/2014/main" id="{EC621C7F-0B7E-4EDF-991C-44069D7AE6E3}"/>
                </a:ext>
              </a:extLst>
            </p:cNvPr>
            <p:cNvCxnSpPr>
              <a:cxnSpLocks/>
            </p:cNvCxnSpPr>
            <p:nvPr/>
          </p:nvCxnSpPr>
          <p:spPr>
            <a:xfrm>
              <a:off x="7222022" y="2084233"/>
              <a:ext cx="2275343" cy="18054"/>
            </a:xfrm>
            <a:prstGeom prst="line">
              <a:avLst/>
            </a:prstGeom>
            <a:ln w="136525">
              <a:solidFill>
                <a:srgbClr val="DB8B5A"/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9" name="Straight Connector 34">
              <a:extLst>
                <a:ext uri="{FF2B5EF4-FFF2-40B4-BE49-F238E27FC236}">
                  <a16:creationId xmlns:a16="http://schemas.microsoft.com/office/drawing/2014/main" id="{1B1B0269-1B39-4A3F-834A-0C02F5B869FE}"/>
                </a:ext>
              </a:extLst>
            </p:cNvPr>
            <p:cNvCxnSpPr>
              <a:cxnSpLocks/>
            </p:cNvCxnSpPr>
            <p:nvPr/>
          </p:nvCxnSpPr>
          <p:spPr>
            <a:xfrm>
              <a:off x="5814046" y="3855886"/>
              <a:ext cx="2001582" cy="0"/>
            </a:xfrm>
            <a:prstGeom prst="line">
              <a:avLst/>
            </a:prstGeom>
            <a:ln w="136525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2" name="Straight Connector 34">
              <a:extLst>
                <a:ext uri="{FF2B5EF4-FFF2-40B4-BE49-F238E27FC236}">
                  <a16:creationId xmlns:a16="http://schemas.microsoft.com/office/drawing/2014/main" id="{2C3D5051-B8E2-4AE4-B186-E02C45385EA3}"/>
                </a:ext>
              </a:extLst>
            </p:cNvPr>
            <p:cNvCxnSpPr>
              <a:cxnSpLocks/>
            </p:cNvCxnSpPr>
            <p:nvPr/>
          </p:nvCxnSpPr>
          <p:spPr>
            <a:xfrm>
              <a:off x="1353307" y="3856662"/>
              <a:ext cx="2921633" cy="3499"/>
            </a:xfrm>
            <a:prstGeom prst="line">
              <a:avLst/>
            </a:prstGeom>
            <a:ln w="136525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5" name="Oval 19">
              <a:extLst>
                <a:ext uri="{FF2B5EF4-FFF2-40B4-BE49-F238E27FC236}">
                  <a16:creationId xmlns:a16="http://schemas.microsoft.com/office/drawing/2014/main" id="{92CF7CED-4202-4442-BE83-CF062CF0CCE3}"/>
                </a:ext>
              </a:extLst>
            </p:cNvPr>
            <p:cNvSpPr/>
            <p:nvPr/>
          </p:nvSpPr>
          <p:spPr>
            <a:xfrm>
              <a:off x="7873185" y="1693388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DB8A59"/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~</a:t>
              </a:r>
            </a:p>
          </p:txBody>
        </p:sp>
        <p:sp>
          <p:nvSpPr>
            <p:cNvPr id="326" name="Oval 19">
              <a:extLst>
                <a:ext uri="{FF2B5EF4-FFF2-40B4-BE49-F238E27FC236}">
                  <a16:creationId xmlns:a16="http://schemas.microsoft.com/office/drawing/2014/main" id="{AB3D7A92-7ADD-41CC-AFE7-60FFE6A3E278}"/>
                </a:ext>
              </a:extLst>
            </p:cNvPr>
            <p:cNvSpPr/>
            <p:nvPr/>
          </p:nvSpPr>
          <p:spPr>
            <a:xfrm>
              <a:off x="3940035" y="5295799"/>
              <a:ext cx="1028999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050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 </a:t>
              </a:r>
              <a:r>
                <a:rPr lang="ru-RU" sz="11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через </a:t>
              </a:r>
            </a:p>
            <a:p>
              <a:pPr algn="ctr"/>
              <a:r>
                <a:rPr lang="ru-RU" sz="11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1 </a:t>
              </a:r>
              <a:r>
                <a:rPr lang="ru-RU" sz="1100" dirty="0" err="1" smtClean="0">
                  <a:solidFill>
                    <a:srgbClr val="3F3F3F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р.д</a:t>
              </a:r>
              <a:endParaRPr lang="en-IN" sz="1100" dirty="0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327" name="Oval 19">
              <a:extLst>
                <a:ext uri="{FF2B5EF4-FFF2-40B4-BE49-F238E27FC236}">
                  <a16:creationId xmlns:a16="http://schemas.microsoft.com/office/drawing/2014/main" id="{362C4D8E-8A96-4D81-B28D-84A62A4EBB92}"/>
                </a:ext>
              </a:extLst>
            </p:cNvPr>
            <p:cNvSpPr/>
            <p:nvPr/>
          </p:nvSpPr>
          <p:spPr>
            <a:xfrm>
              <a:off x="7169599" y="5321802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1">
                  <a:lumMod val="60000"/>
                  <a:lumOff val="40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600" dirty="0" smtClean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  <a:p>
              <a:pPr algn="ctr"/>
              <a:endParaRPr lang="ru-RU" sz="1600" dirty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  <a:p>
              <a:pPr algn="ctr"/>
              <a:r>
                <a:rPr lang="ru-RU" sz="1600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5</a:t>
              </a:r>
              <a:endParaRPr lang="ru-RU" sz="1600" dirty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  <a:p>
              <a:pPr algn="ctr"/>
              <a:r>
                <a:rPr lang="ru-RU" sz="1100" dirty="0">
                  <a:solidFill>
                    <a:srgbClr val="3F3F3F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р.д.</a:t>
              </a:r>
              <a:endParaRPr lang="en-IN" sz="1100" dirty="0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  <a:p>
              <a:pPr algn="ctr"/>
              <a:r>
                <a:rPr lang="ru-RU" sz="3200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 </a:t>
              </a:r>
              <a:endParaRPr lang="en-IN" sz="5400" dirty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328" name="Oval 19">
              <a:extLst>
                <a:ext uri="{FF2B5EF4-FFF2-40B4-BE49-F238E27FC236}">
                  <a16:creationId xmlns:a16="http://schemas.microsoft.com/office/drawing/2014/main" id="{9284CFD9-491B-4618-BDA4-303A57CFCDD6}"/>
                </a:ext>
              </a:extLst>
            </p:cNvPr>
            <p:cNvSpPr/>
            <p:nvPr/>
          </p:nvSpPr>
          <p:spPr>
            <a:xfrm>
              <a:off x="10779203" y="5280436"/>
              <a:ext cx="1028997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1">
                  <a:lumMod val="60000"/>
                  <a:lumOff val="40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~</a:t>
              </a:r>
            </a:p>
          </p:txBody>
        </p:sp>
        <p:sp>
          <p:nvSpPr>
            <p:cNvPr id="280" name="Oval 19">
              <a:extLst>
                <a:ext uri="{FF2B5EF4-FFF2-40B4-BE49-F238E27FC236}">
                  <a16:creationId xmlns:a16="http://schemas.microsoft.com/office/drawing/2014/main" id="{893E5142-6E55-4A1D-A899-94C411BB60B0}"/>
                </a:ext>
              </a:extLst>
            </p:cNvPr>
            <p:cNvSpPr/>
            <p:nvPr/>
          </p:nvSpPr>
          <p:spPr>
            <a:xfrm>
              <a:off x="8125838" y="3540617"/>
              <a:ext cx="1028998" cy="628907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b="1" dirty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3</a:t>
              </a:r>
              <a:r>
                <a:rPr lang="ru-RU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 </a:t>
              </a:r>
            </a:p>
            <a:p>
              <a:pPr algn="ctr"/>
              <a:r>
                <a:rPr lang="ru-RU" sz="11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р.д</a:t>
              </a:r>
              <a:r>
                <a:rPr lang="ru-RU" sz="1100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.</a:t>
              </a:r>
              <a:endParaRPr lang="en-IN" sz="24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54" name="Стрелка: шеврон 53">
              <a:extLst>
                <a:ext uri="{FF2B5EF4-FFF2-40B4-BE49-F238E27FC236}">
                  <a16:creationId xmlns:a16="http://schemas.microsoft.com/office/drawing/2014/main" id="{39C05B9A-62E2-4979-B7B1-727A88726D8E}"/>
                </a:ext>
              </a:extLst>
            </p:cNvPr>
            <p:cNvSpPr/>
            <p:nvPr/>
          </p:nvSpPr>
          <p:spPr>
            <a:xfrm>
              <a:off x="7104513" y="1968869"/>
              <a:ext cx="235018" cy="254386"/>
            </a:xfrm>
            <a:prstGeom prst="chevron">
              <a:avLst/>
            </a:prstGeom>
            <a:solidFill>
              <a:schemeClr val="bg1"/>
            </a:solidFill>
            <a:ln w="12700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55" name="Стрелка: шеврон 54">
              <a:extLst>
                <a:ext uri="{FF2B5EF4-FFF2-40B4-BE49-F238E27FC236}">
                  <a16:creationId xmlns:a16="http://schemas.microsoft.com/office/drawing/2014/main" id="{F58E270B-32B8-4FE7-9940-25659A39F3EA}"/>
                </a:ext>
              </a:extLst>
            </p:cNvPr>
            <p:cNvSpPr/>
            <p:nvPr/>
          </p:nvSpPr>
          <p:spPr>
            <a:xfrm>
              <a:off x="9262347" y="1986923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DB8B5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56" name="Стрелка: шеврон 55">
              <a:extLst>
                <a:ext uri="{FF2B5EF4-FFF2-40B4-BE49-F238E27FC236}">
                  <a16:creationId xmlns:a16="http://schemas.microsoft.com/office/drawing/2014/main" id="{526A4892-B459-418C-B6FC-340ABE982615}"/>
                </a:ext>
              </a:extLst>
            </p:cNvPr>
            <p:cNvSpPr/>
            <p:nvPr/>
          </p:nvSpPr>
          <p:spPr>
            <a:xfrm rot="10354895">
              <a:off x="9391846" y="3721295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57" name="Стрелка: шеврон 56">
              <a:extLst>
                <a:ext uri="{FF2B5EF4-FFF2-40B4-BE49-F238E27FC236}">
                  <a16:creationId xmlns:a16="http://schemas.microsoft.com/office/drawing/2014/main" id="{219DA0A4-E780-4232-B30B-C1F2B41F79A7}"/>
                </a:ext>
              </a:extLst>
            </p:cNvPr>
            <p:cNvSpPr/>
            <p:nvPr/>
          </p:nvSpPr>
          <p:spPr>
            <a:xfrm rot="10800000">
              <a:off x="7646867" y="3747709"/>
              <a:ext cx="235018" cy="21624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62" name="Стрелка: шеврон 61">
              <a:extLst>
                <a:ext uri="{FF2B5EF4-FFF2-40B4-BE49-F238E27FC236}">
                  <a16:creationId xmlns:a16="http://schemas.microsoft.com/office/drawing/2014/main" id="{BD525210-F22A-47CA-8BCC-30BDBA9FC58C}"/>
                </a:ext>
              </a:extLst>
            </p:cNvPr>
            <p:cNvSpPr/>
            <p:nvPr/>
          </p:nvSpPr>
          <p:spPr>
            <a:xfrm flipH="1">
              <a:off x="4039922" y="3717971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63" name="Стрелка: шеврон 62">
              <a:extLst>
                <a:ext uri="{FF2B5EF4-FFF2-40B4-BE49-F238E27FC236}">
                  <a16:creationId xmlns:a16="http://schemas.microsoft.com/office/drawing/2014/main" id="{FFC8B245-F42B-44EE-B8B7-78E604E002E5}"/>
                </a:ext>
              </a:extLst>
            </p:cNvPr>
            <p:cNvSpPr/>
            <p:nvPr/>
          </p:nvSpPr>
          <p:spPr>
            <a:xfrm>
              <a:off x="3528347" y="5509420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64" name="Стрелка: шеврон 63">
              <a:extLst>
                <a:ext uri="{FF2B5EF4-FFF2-40B4-BE49-F238E27FC236}">
                  <a16:creationId xmlns:a16="http://schemas.microsoft.com/office/drawing/2014/main" id="{B2C0FC39-72A8-4D64-914C-09D2E26C1414}"/>
                </a:ext>
              </a:extLst>
            </p:cNvPr>
            <p:cNvSpPr/>
            <p:nvPr/>
          </p:nvSpPr>
          <p:spPr>
            <a:xfrm>
              <a:off x="8427776" y="5509420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65" name="Стрелка: шеврон 64">
              <a:extLst>
                <a:ext uri="{FF2B5EF4-FFF2-40B4-BE49-F238E27FC236}">
                  <a16:creationId xmlns:a16="http://schemas.microsoft.com/office/drawing/2014/main" id="{090B1585-C360-42D1-8B01-95B88B191235}"/>
                </a:ext>
              </a:extLst>
            </p:cNvPr>
            <p:cNvSpPr/>
            <p:nvPr/>
          </p:nvSpPr>
          <p:spPr>
            <a:xfrm>
              <a:off x="10255299" y="5488518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01B0CC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73" name="Прямоугольник 72">
              <a:extLst>
                <a:ext uri="{FF2B5EF4-FFF2-40B4-BE49-F238E27FC236}">
                  <a16:creationId xmlns:a16="http://schemas.microsoft.com/office/drawing/2014/main" id="{C37144B2-00A3-48A5-9D8A-160B06543371}"/>
                </a:ext>
              </a:extLst>
            </p:cNvPr>
            <p:cNvSpPr/>
            <p:nvPr/>
          </p:nvSpPr>
          <p:spPr>
            <a:xfrm>
              <a:off x="2338179" y="2743942"/>
              <a:ext cx="1885016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СК-Ф публикует протокол предварительного </a:t>
              </a:r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допуска на веб-портале</a:t>
              </a:r>
              <a:endParaRPr lang="ru-RU" sz="100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  <a:p>
              <a:pPr algn="ctr"/>
              <a:r>
                <a:rPr lang="en-US" sz="1000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  <a:hlinkClick r:id="rId3"/>
                </a:rPr>
                <a:t>https://fms.ecc.kz</a:t>
              </a:r>
            </a:p>
            <a:p>
              <a:pPr algn="ctr"/>
              <a:endParaRPr lang="ru-RU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75" name="Прямоугольник 74">
              <a:extLst>
                <a:ext uri="{FF2B5EF4-FFF2-40B4-BE49-F238E27FC236}">
                  <a16:creationId xmlns:a16="http://schemas.microsoft.com/office/drawing/2014/main" id="{570BE6D3-6415-4247-9785-91ED7817712B}"/>
                </a:ext>
              </a:extLst>
            </p:cNvPr>
            <p:cNvSpPr/>
            <p:nvPr/>
          </p:nvSpPr>
          <p:spPr>
            <a:xfrm>
              <a:off x="4045447" y="2817170"/>
              <a:ext cx="1852478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1 рассмотрение комиссией конкурсных заявок </a:t>
              </a:r>
              <a:r>
                <a:rPr lang="en-US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(</a:t>
              </a:r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согласно п. 380</a:t>
              </a:r>
              <a:r>
                <a:rPr lang="en-US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)</a:t>
              </a:r>
              <a:endParaRPr lang="ru-RU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76" name="Oval 19">
              <a:extLst>
                <a:ext uri="{FF2B5EF4-FFF2-40B4-BE49-F238E27FC236}">
                  <a16:creationId xmlns:a16="http://schemas.microsoft.com/office/drawing/2014/main" id="{FD08B64B-8298-4970-AB55-3C500F499F0B}"/>
                </a:ext>
              </a:extLst>
            </p:cNvPr>
            <p:cNvSpPr/>
            <p:nvPr/>
          </p:nvSpPr>
          <p:spPr>
            <a:xfrm>
              <a:off x="4496511" y="3486329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10</a:t>
              </a:r>
              <a:r>
                <a:rPr lang="ru-RU" b="1" dirty="0" smtClean="0">
                  <a:solidFill>
                    <a:srgbClr val="3F3F3F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 </a:t>
              </a:r>
              <a:r>
                <a:rPr lang="ru-RU" sz="1100" dirty="0">
                  <a:solidFill>
                    <a:srgbClr val="3F3F3F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р.д.</a:t>
              </a:r>
              <a:endParaRPr lang="en-IN" sz="11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83" name="Прямоугольник 82">
              <a:extLst>
                <a:ext uri="{FF2B5EF4-FFF2-40B4-BE49-F238E27FC236}">
                  <a16:creationId xmlns:a16="http://schemas.microsoft.com/office/drawing/2014/main" id="{AA29E86C-8648-49C2-9FA0-D98234235A42}"/>
                </a:ext>
              </a:extLst>
            </p:cNvPr>
            <p:cNvSpPr/>
            <p:nvPr/>
          </p:nvSpPr>
          <p:spPr>
            <a:xfrm>
              <a:off x="10546468" y="2466569"/>
              <a:ext cx="1573978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СК-Ф создает конкурсную комиссию на заключение ДД</a:t>
              </a:r>
              <a:endParaRPr lang="ru-RU" sz="10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  <a:p>
              <a:pPr algn="ctr"/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(согласно п. 353-359 )</a:t>
              </a:r>
              <a:endParaRPr lang="id-ID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70" name="Прямоугольник 69">
              <a:extLst>
                <a:ext uri="{FF2B5EF4-FFF2-40B4-BE49-F238E27FC236}">
                  <a16:creationId xmlns:a16="http://schemas.microsoft.com/office/drawing/2014/main" id="{AA29E86C-8648-49C2-9FA0-D98234235A42}"/>
                </a:ext>
              </a:extLst>
            </p:cNvPr>
            <p:cNvSpPr/>
            <p:nvPr/>
          </p:nvSpPr>
          <p:spPr>
            <a:xfrm>
              <a:off x="7470005" y="843533"/>
              <a:ext cx="1845350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МЗРК направляет  в СК-Ф </a:t>
              </a:r>
              <a:endParaRPr lang="ru-RU" sz="10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 согласованный перечень МТ подлежащей закупу по ДД </a:t>
              </a:r>
              <a:endParaRPr lang="ru-RU" sz="10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90662" y="5345110"/>
              <a:ext cx="658425" cy="658425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6644432">
              <a:off x="-26369" y="4432974"/>
              <a:ext cx="658425" cy="658425"/>
            </a:xfrm>
            <a:prstGeom prst="rect">
              <a:avLst/>
            </a:prstGeom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 rot="7122908">
              <a:off x="5367289" y="3376759"/>
              <a:ext cx="902286" cy="896190"/>
            </a:xfrm>
            <a:prstGeom prst="rect">
              <a:avLst/>
            </a:prstGeom>
          </p:spPr>
        </p:pic>
        <p:sp>
          <p:nvSpPr>
            <p:cNvPr id="60" name="Прямоугольник 59">
              <a:extLst>
                <a:ext uri="{FF2B5EF4-FFF2-40B4-BE49-F238E27FC236}">
                  <a16:creationId xmlns:a16="http://schemas.microsoft.com/office/drawing/2014/main" id="{DC95A62B-54B7-4119-843E-A8CA9EF4BE3E}"/>
                </a:ext>
              </a:extLst>
            </p:cNvPr>
            <p:cNvSpPr/>
            <p:nvPr/>
          </p:nvSpPr>
          <p:spPr>
            <a:xfrm>
              <a:off x="-153" y="1129515"/>
              <a:ext cx="195482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ОТП </a:t>
              </a:r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направляют </a:t>
              </a:r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заявку-намерение </a:t>
              </a:r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в СК-Ф</a:t>
              </a:r>
            </a:p>
          </p:txBody>
        </p:sp>
        <p:sp>
          <p:nvSpPr>
            <p:cNvPr id="61" name="Стрелка: шеврон 53">
              <a:extLst>
                <a:ext uri="{FF2B5EF4-FFF2-40B4-BE49-F238E27FC236}">
                  <a16:creationId xmlns:a16="http://schemas.microsoft.com/office/drawing/2014/main" id="{39C05B9A-62E2-4979-B7B1-727A88726D8E}"/>
                </a:ext>
              </a:extLst>
            </p:cNvPr>
            <p:cNvSpPr/>
            <p:nvPr/>
          </p:nvSpPr>
          <p:spPr>
            <a:xfrm>
              <a:off x="1591054" y="1960549"/>
              <a:ext cx="235018" cy="254386"/>
            </a:xfrm>
            <a:prstGeom prst="chevron">
              <a:avLst/>
            </a:prstGeom>
            <a:solidFill>
              <a:schemeClr val="bg1"/>
            </a:solidFill>
            <a:ln w="12700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79" name="Oval 19">
              <a:extLst>
                <a:ext uri="{FF2B5EF4-FFF2-40B4-BE49-F238E27FC236}">
                  <a16:creationId xmlns:a16="http://schemas.microsoft.com/office/drawing/2014/main" id="{AB3D7A92-7ADD-41CC-AFE7-60FFE6A3E278}"/>
                </a:ext>
              </a:extLst>
            </p:cNvPr>
            <p:cNvSpPr/>
            <p:nvPr/>
          </p:nvSpPr>
          <p:spPr>
            <a:xfrm>
              <a:off x="5459248" y="5310780"/>
              <a:ext cx="1165779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7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После определения наибольшей ценовой скидки</a:t>
              </a:r>
              <a:endParaRPr lang="en-IN" sz="3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4" name="Прямоугольник 3"/>
            <p:cNvSpPr/>
            <p:nvPr/>
          </p:nvSpPr>
          <p:spPr>
            <a:xfrm>
              <a:off x="5146994" y="4413840"/>
              <a:ext cx="1869281" cy="8617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Формирование и публикация протокола итогов </a:t>
              </a:r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на веб-портале </a:t>
              </a:r>
              <a:r>
                <a:rPr lang="en-US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  <a:hlinkClick r:id="rId2"/>
                </a:rPr>
                <a:t>https://</a:t>
              </a:r>
              <a:r>
                <a:rPr lang="en-US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  <a:hlinkClick r:id="rId2"/>
                </a:rPr>
                <a:t>fms.ecc.kz</a:t>
              </a:r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 </a:t>
              </a:r>
              <a:r>
                <a:rPr lang="en-US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 </a:t>
              </a:r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(согласно п. 396)</a:t>
              </a:r>
              <a:endParaRPr lang="ru-RU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81" name="Стрелка: шеврон 62">
              <a:extLst>
                <a:ext uri="{FF2B5EF4-FFF2-40B4-BE49-F238E27FC236}">
                  <a16:creationId xmlns:a16="http://schemas.microsoft.com/office/drawing/2014/main" id="{FFC8B245-F42B-44EE-B8B7-78E604E002E5}"/>
                </a:ext>
              </a:extLst>
            </p:cNvPr>
            <p:cNvSpPr/>
            <p:nvPr/>
          </p:nvSpPr>
          <p:spPr>
            <a:xfrm>
              <a:off x="6714983" y="5509420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77" name="Oval 19">
              <a:extLst>
                <a:ext uri="{FF2B5EF4-FFF2-40B4-BE49-F238E27FC236}">
                  <a16:creationId xmlns:a16="http://schemas.microsoft.com/office/drawing/2014/main" id="{92CF7CED-4202-4442-BE83-CF062CF0CCE3}"/>
                </a:ext>
              </a:extLst>
            </p:cNvPr>
            <p:cNvSpPr/>
            <p:nvPr/>
          </p:nvSpPr>
          <p:spPr>
            <a:xfrm>
              <a:off x="5834384" y="1726665"/>
              <a:ext cx="1111897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~</a:t>
              </a:r>
            </a:p>
          </p:txBody>
        </p:sp>
        <p:sp>
          <p:nvSpPr>
            <p:cNvPr id="82" name="Стрелка: шеврон 53">
              <a:extLst>
                <a:ext uri="{FF2B5EF4-FFF2-40B4-BE49-F238E27FC236}">
                  <a16:creationId xmlns:a16="http://schemas.microsoft.com/office/drawing/2014/main" id="{39C05B9A-62E2-4979-B7B1-727A88726D8E}"/>
                </a:ext>
              </a:extLst>
            </p:cNvPr>
            <p:cNvSpPr/>
            <p:nvPr/>
          </p:nvSpPr>
          <p:spPr>
            <a:xfrm>
              <a:off x="5367543" y="1957405"/>
              <a:ext cx="235018" cy="254386"/>
            </a:xfrm>
            <a:prstGeom prst="chevron">
              <a:avLst/>
            </a:prstGeom>
            <a:solidFill>
              <a:schemeClr val="bg1"/>
            </a:solidFill>
            <a:ln w="12700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84" name="Прямоугольник 83">
              <a:extLst>
                <a:ext uri="{FF2B5EF4-FFF2-40B4-BE49-F238E27FC236}">
                  <a16:creationId xmlns:a16="http://schemas.microsoft.com/office/drawing/2014/main" id="{DC95A62B-54B7-4119-843E-A8CA9EF4BE3E}"/>
                </a:ext>
              </a:extLst>
            </p:cNvPr>
            <p:cNvSpPr/>
            <p:nvPr/>
          </p:nvSpPr>
          <p:spPr>
            <a:xfrm>
              <a:off x="5483360" y="1056064"/>
              <a:ext cx="192693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Экспертная организация осуществляет экспертную оценку</a:t>
              </a:r>
              <a:endParaRPr lang="id-ID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85" name="Oval 19">
              <a:extLst>
                <a:ext uri="{FF2B5EF4-FFF2-40B4-BE49-F238E27FC236}">
                  <a16:creationId xmlns:a16="http://schemas.microsoft.com/office/drawing/2014/main" id="{92CF7CED-4202-4442-BE83-CF062CF0CCE3}"/>
                </a:ext>
              </a:extLst>
            </p:cNvPr>
            <p:cNvSpPr/>
            <p:nvPr/>
          </p:nvSpPr>
          <p:spPr>
            <a:xfrm>
              <a:off x="4092194" y="1713689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b="1" dirty="0" smtClean="0">
                  <a:solidFill>
                    <a:srgbClr val="3F3F3F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При поступле-нии заявки</a:t>
              </a:r>
              <a:endParaRPr lang="en-IN" sz="800" b="1" dirty="0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86" name="Oval 19">
              <a:extLst>
                <a:ext uri="{FF2B5EF4-FFF2-40B4-BE49-F238E27FC236}">
                  <a16:creationId xmlns:a16="http://schemas.microsoft.com/office/drawing/2014/main" id="{92CF7CED-4202-4442-BE83-CF062CF0CCE3}"/>
                </a:ext>
              </a:extLst>
            </p:cNvPr>
            <p:cNvSpPr/>
            <p:nvPr/>
          </p:nvSpPr>
          <p:spPr>
            <a:xfrm>
              <a:off x="398236" y="1695677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8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При необхо-димости</a:t>
              </a:r>
              <a:r>
                <a:rPr lang="ru-RU" sz="8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 </a:t>
              </a:r>
              <a:endParaRPr lang="en-IN" sz="800" dirty="0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87" name="Oval 19">
              <a:extLst>
                <a:ext uri="{FF2B5EF4-FFF2-40B4-BE49-F238E27FC236}">
                  <a16:creationId xmlns:a16="http://schemas.microsoft.com/office/drawing/2014/main" id="{92CF7CED-4202-4442-BE83-CF062CF0CCE3}"/>
                </a:ext>
              </a:extLst>
            </p:cNvPr>
            <p:cNvSpPr/>
            <p:nvPr/>
          </p:nvSpPr>
          <p:spPr>
            <a:xfrm>
              <a:off x="9753549" y="2570957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10 </a:t>
              </a:r>
            </a:p>
            <a:p>
              <a:pPr algn="ctr"/>
              <a:r>
                <a:rPr lang="ru-RU" sz="1100" dirty="0" smtClean="0">
                  <a:solidFill>
                    <a:srgbClr val="3F3F3F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 р.д</a:t>
              </a:r>
              <a:r>
                <a:rPr lang="ru-RU" sz="1100" dirty="0">
                  <a:solidFill>
                    <a:srgbClr val="3F3F3F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.</a:t>
              </a:r>
              <a:endParaRPr lang="en-IN" sz="800" dirty="0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88" name="Oval 19">
              <a:extLst>
                <a:ext uri="{FF2B5EF4-FFF2-40B4-BE49-F238E27FC236}">
                  <a16:creationId xmlns:a16="http://schemas.microsoft.com/office/drawing/2014/main" id="{893E5142-6E55-4A1D-A899-94C411BB60B0}"/>
                </a:ext>
              </a:extLst>
            </p:cNvPr>
            <p:cNvSpPr/>
            <p:nvPr/>
          </p:nvSpPr>
          <p:spPr>
            <a:xfrm>
              <a:off x="6332926" y="3532900"/>
              <a:ext cx="1028998" cy="628907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20 </a:t>
              </a:r>
            </a:p>
            <a:p>
              <a:pPr algn="ctr"/>
              <a:r>
                <a:rPr lang="ru-RU" sz="1100" dirty="0" err="1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к.д</a:t>
              </a:r>
              <a:r>
                <a:rPr lang="ru-RU" sz="1100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.</a:t>
              </a:r>
              <a:endParaRPr lang="en-IN" sz="24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89" name="Oval 19">
              <a:extLst>
                <a:ext uri="{FF2B5EF4-FFF2-40B4-BE49-F238E27FC236}">
                  <a16:creationId xmlns:a16="http://schemas.microsoft.com/office/drawing/2014/main" id="{FD08B64B-8298-4970-AB55-3C500F499F0B}"/>
                </a:ext>
              </a:extLst>
            </p:cNvPr>
            <p:cNvSpPr/>
            <p:nvPr/>
          </p:nvSpPr>
          <p:spPr>
            <a:xfrm>
              <a:off x="2638820" y="3539732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7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После рассмотрения конкурсных заявок</a:t>
              </a:r>
              <a:endParaRPr lang="en-IN" sz="3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90" name="Oval 19">
              <a:extLst>
                <a:ext uri="{FF2B5EF4-FFF2-40B4-BE49-F238E27FC236}">
                  <a16:creationId xmlns:a16="http://schemas.microsoft.com/office/drawing/2014/main" id="{FD08B64B-8298-4970-AB55-3C500F499F0B}"/>
                </a:ext>
              </a:extLst>
            </p:cNvPr>
            <p:cNvSpPr/>
            <p:nvPr/>
          </p:nvSpPr>
          <p:spPr>
            <a:xfrm>
              <a:off x="920543" y="3520702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3</a:t>
              </a:r>
              <a:r>
                <a:rPr lang="ru-RU" b="1" dirty="0" smtClean="0">
                  <a:solidFill>
                    <a:srgbClr val="3F3F3F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 </a:t>
              </a:r>
              <a:r>
                <a:rPr lang="ru-RU" sz="1100" dirty="0">
                  <a:solidFill>
                    <a:srgbClr val="3F3F3F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р.д.</a:t>
              </a:r>
              <a:endParaRPr lang="en-IN" sz="11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91" name="Oval 19">
              <a:extLst>
                <a:ext uri="{FF2B5EF4-FFF2-40B4-BE49-F238E27FC236}">
                  <a16:creationId xmlns:a16="http://schemas.microsoft.com/office/drawing/2014/main" id="{FD08B64B-8298-4970-AB55-3C500F499F0B}"/>
                </a:ext>
              </a:extLst>
            </p:cNvPr>
            <p:cNvSpPr/>
            <p:nvPr/>
          </p:nvSpPr>
          <p:spPr>
            <a:xfrm>
              <a:off x="557296" y="5249454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dirty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5</a:t>
              </a:r>
              <a:r>
                <a:rPr lang="ru-RU" b="1" dirty="0" smtClean="0">
                  <a:solidFill>
                    <a:srgbClr val="3F3F3F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 </a:t>
              </a:r>
              <a:r>
                <a:rPr lang="ru-RU" sz="1100" dirty="0">
                  <a:solidFill>
                    <a:srgbClr val="3F3F3F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р.д.</a:t>
              </a:r>
              <a:endParaRPr lang="en-IN" sz="11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</p:grp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DC95A62B-54B7-4119-843E-A8CA9EF4BE3E}"/>
              </a:ext>
            </a:extLst>
          </p:cNvPr>
          <p:cNvSpPr/>
          <p:nvPr/>
        </p:nvSpPr>
        <p:spPr>
          <a:xfrm>
            <a:off x="1981791" y="1466314"/>
            <a:ext cx="190161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СК-Ф </a:t>
            </a:r>
            <a:r>
              <a:rPr lang="ru-RU" sz="10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направляет предварительный перечень </a:t>
            </a:r>
            <a:r>
              <a:rPr lang="ru-RU" sz="100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МТ в </a:t>
            </a:r>
            <a:r>
              <a:rPr lang="ru-RU" sz="10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МЗ РК </a:t>
            </a:r>
            <a:r>
              <a:rPr lang="ru-RU" sz="100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для согласования</a:t>
            </a:r>
            <a:endParaRPr lang="ru-RU" sz="1000" b="1" dirty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67" name="Oval 19">
            <a:extLst>
              <a:ext uri="{FF2B5EF4-FFF2-40B4-BE49-F238E27FC236}">
                <a16:creationId xmlns:a16="http://schemas.microsoft.com/office/drawing/2014/main" id="{92CF7CED-4202-4442-BE83-CF062CF0CCE3}"/>
              </a:ext>
            </a:extLst>
          </p:cNvPr>
          <p:cNvSpPr/>
          <p:nvPr/>
        </p:nvSpPr>
        <p:spPr>
          <a:xfrm>
            <a:off x="2334469" y="2308916"/>
            <a:ext cx="1028998" cy="652999"/>
          </a:xfrm>
          <a:prstGeom prst="ellipse">
            <a:avLst/>
          </a:prstGeom>
          <a:solidFill>
            <a:schemeClr val="bg1"/>
          </a:solidFill>
          <a:ln w="57150">
            <a:solidFill>
              <a:srgbClr val="E3671B">
                <a:alpha val="65000"/>
              </a:srgb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b="1" dirty="0" smtClean="0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При поступле-нии заявки</a:t>
            </a:r>
            <a:endParaRPr lang="en-IN" sz="800" b="1" dirty="0">
              <a:solidFill>
                <a:srgbClr val="3F3F3F"/>
              </a:solidFill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68" name="Стрелка: шеврон 53">
            <a:extLst>
              <a:ext uri="{FF2B5EF4-FFF2-40B4-BE49-F238E27FC236}">
                <a16:creationId xmlns:a16="http://schemas.microsoft.com/office/drawing/2014/main" id="{39C05B9A-62E2-4979-B7B1-727A88726D8E}"/>
              </a:ext>
            </a:extLst>
          </p:cNvPr>
          <p:cNvSpPr/>
          <p:nvPr/>
        </p:nvSpPr>
        <p:spPr>
          <a:xfrm>
            <a:off x="3596568" y="2552631"/>
            <a:ext cx="235018" cy="254386"/>
          </a:xfrm>
          <a:prstGeom prst="chevron">
            <a:avLst/>
          </a:prstGeom>
          <a:solidFill>
            <a:schemeClr val="bg1"/>
          </a:solidFill>
          <a:ln w="12700">
            <a:solidFill>
              <a:srgbClr val="E3671B">
                <a:alpha val="65000"/>
              </a:srgb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3F3F3F"/>
              </a:solidFill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69" name="Стрелка: шеврон 62">
            <a:extLst>
              <a:ext uri="{FF2B5EF4-FFF2-40B4-BE49-F238E27FC236}">
                <a16:creationId xmlns:a16="http://schemas.microsoft.com/office/drawing/2014/main" id="{FFC8B245-F42B-44EE-B8B7-78E604E002E5}"/>
              </a:ext>
            </a:extLst>
          </p:cNvPr>
          <p:cNvSpPr/>
          <p:nvPr/>
        </p:nvSpPr>
        <p:spPr>
          <a:xfrm>
            <a:off x="5096916" y="6091389"/>
            <a:ext cx="235018" cy="254386"/>
          </a:xfrm>
          <a:prstGeom prst="chevron">
            <a:avLst/>
          </a:prstGeom>
          <a:solidFill>
            <a:schemeClr val="bg1"/>
          </a:solidFill>
          <a:ln w="19050">
            <a:solidFill>
              <a:srgbClr val="6E5BAA">
                <a:alpha val="65000"/>
              </a:srgb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3F3F3F"/>
              </a:solidFill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71" name="Oval 19">
            <a:extLst>
              <a:ext uri="{FF2B5EF4-FFF2-40B4-BE49-F238E27FC236}">
                <a16:creationId xmlns:a16="http://schemas.microsoft.com/office/drawing/2014/main" id="{FD08B64B-8298-4970-AB55-3C500F499F0B}"/>
              </a:ext>
            </a:extLst>
          </p:cNvPr>
          <p:cNvSpPr/>
          <p:nvPr/>
        </p:nvSpPr>
        <p:spPr>
          <a:xfrm>
            <a:off x="2258377" y="5910941"/>
            <a:ext cx="1164727" cy="652999"/>
          </a:xfrm>
          <a:prstGeom prst="ellipse">
            <a:avLst/>
          </a:prstGeom>
          <a:solidFill>
            <a:schemeClr val="bg1"/>
          </a:solidFill>
          <a:ln w="57150">
            <a:solidFill>
              <a:srgbClr val="6E5BAA">
                <a:alpha val="65000"/>
              </a:srgb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После рассмотрения </a:t>
            </a:r>
            <a:r>
              <a:rPr lang="ru-RU" sz="80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комиссией</a:t>
            </a:r>
            <a:endParaRPr lang="en-IN" sz="1100" dirty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57F60FEB-F54C-4C41-8877-B964E5C845FA}"/>
              </a:ext>
            </a:extLst>
          </p:cNvPr>
          <p:cNvSpPr txBox="1"/>
          <p:nvPr/>
        </p:nvSpPr>
        <p:spPr>
          <a:xfrm>
            <a:off x="1947769" y="4856205"/>
            <a:ext cx="168515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СК-Ф формирует протокол допуска </a:t>
            </a:r>
            <a:r>
              <a:rPr lang="ru-RU" sz="10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к </a:t>
            </a:r>
            <a:r>
              <a:rPr lang="ru-RU" sz="100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 </a:t>
            </a:r>
            <a:r>
              <a:rPr lang="ru-RU" sz="10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процедуре определения наибольшей скидки</a:t>
            </a:r>
            <a:endParaRPr lang="ru-RU" sz="1000" b="1" u="sng" dirty="0" smtClean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  <a:p>
            <a:pPr algn="ctr"/>
            <a:r>
              <a:rPr lang="ru-RU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(согласно п. </a:t>
            </a:r>
            <a:r>
              <a:rPr lang="ru-RU" sz="1000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383-384)</a:t>
            </a:r>
            <a:endParaRPr lang="ru-RU" sz="1000" dirty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78" name="Стрелка: шеврон 61">
            <a:extLst>
              <a:ext uri="{FF2B5EF4-FFF2-40B4-BE49-F238E27FC236}">
                <a16:creationId xmlns:a16="http://schemas.microsoft.com/office/drawing/2014/main" id="{BD525210-F22A-47CA-8BCC-30BDBA9FC58C}"/>
              </a:ext>
            </a:extLst>
          </p:cNvPr>
          <p:cNvSpPr/>
          <p:nvPr/>
        </p:nvSpPr>
        <p:spPr>
          <a:xfrm flipH="1">
            <a:off x="2176665" y="4299920"/>
            <a:ext cx="235018" cy="254386"/>
          </a:xfrm>
          <a:prstGeom prst="chevron">
            <a:avLst/>
          </a:prstGeom>
          <a:solidFill>
            <a:schemeClr val="bg1"/>
          </a:solidFill>
          <a:ln w="19050">
            <a:solidFill>
              <a:srgbClr val="6E5BAA">
                <a:alpha val="65000"/>
              </a:srgb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3F3F3F"/>
              </a:solidFill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FD433CF5-A1A1-4EAA-9989-030975A76603}"/>
              </a:ext>
            </a:extLst>
          </p:cNvPr>
          <p:cNvSpPr txBox="1"/>
          <p:nvPr/>
        </p:nvSpPr>
        <p:spPr>
          <a:xfrm>
            <a:off x="8608442" y="5121687"/>
            <a:ext cx="16637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СК-Ф направляет информацию о ДД в МЗ РК</a:t>
            </a:r>
          </a:p>
          <a:p>
            <a:pPr algn="ctr"/>
            <a:r>
              <a:rPr lang="ru-RU" sz="100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 </a:t>
            </a:r>
            <a:r>
              <a:rPr lang="ru-RU" sz="1000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(согласно п. 399)</a:t>
            </a:r>
            <a:endParaRPr lang="ru-RU" sz="1000" dirty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92" name="Oval 19">
            <a:extLst>
              <a:ext uri="{FF2B5EF4-FFF2-40B4-BE49-F238E27FC236}">
                <a16:creationId xmlns:a16="http://schemas.microsoft.com/office/drawing/2014/main" id="{9284CFD9-491B-4618-BDA4-303A57CFCDD6}"/>
              </a:ext>
            </a:extLst>
          </p:cNvPr>
          <p:cNvSpPr/>
          <p:nvPr/>
        </p:nvSpPr>
        <p:spPr>
          <a:xfrm>
            <a:off x="8955220" y="5915419"/>
            <a:ext cx="1028997" cy="652999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1">
                <a:lumMod val="60000"/>
                <a:lumOff val="4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 smtClean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5 </a:t>
            </a:r>
            <a:r>
              <a:rPr lang="ru-RU" sz="1100" dirty="0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р.д</a:t>
            </a:r>
            <a:r>
              <a:rPr lang="ru-RU" sz="800" dirty="0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.</a:t>
            </a:r>
            <a:endParaRPr lang="en-IN" dirty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2751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 rot="5717">
            <a:off x="311280" y="810576"/>
            <a:ext cx="11454326" cy="0"/>
          </a:xfrm>
          <a:prstGeom prst="line">
            <a:avLst/>
          </a:prstGeom>
          <a:ln w="19050" cap="rnd">
            <a:solidFill>
              <a:srgbClr val="003975"/>
            </a:solidFill>
            <a:prstDash val="solid"/>
            <a:headEnd type="none" w="sm" len="sm"/>
            <a:tailEnd type="none" w="sm" len="sm"/>
          </a:ln>
        </p:spPr>
        <p:txBody>
          <a:bodyPr>
            <a:noAutofit/>
          </a:bodyPr>
          <a:lstStyle/>
          <a:p>
            <a:endParaRPr sz="1200"/>
          </a:p>
        </p:txBody>
      </p:sp>
      <p:sp>
        <p:nvSpPr>
          <p:cNvPr id="3" name="Freeform 3"/>
          <p:cNvSpPr/>
          <p:nvPr/>
        </p:nvSpPr>
        <p:spPr>
          <a:xfrm>
            <a:off x="9104981" y="4001294"/>
            <a:ext cx="3087019" cy="2856706"/>
          </a:xfrm>
          <a:custGeom>
            <a:avLst/>
            <a:gdLst/>
            <a:ahLst/>
            <a:cxnLst/>
            <a:rect l="l" t="t" r="r" b="b"/>
            <a:pathLst>
              <a:path w="4630528" h="4285059">
                <a:moveTo>
                  <a:pt x="0" y="0"/>
                </a:moveTo>
                <a:lnTo>
                  <a:pt x="4630528" y="0"/>
                </a:lnTo>
                <a:lnTo>
                  <a:pt x="4630528" y="4285059"/>
                </a:lnTo>
                <a:lnTo>
                  <a:pt x="0" y="4285059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r="-17308" b="-26980"/>
            </a:stretch>
          </a:blipFill>
        </p:spPr>
        <p:txBody>
          <a:bodyPr>
            <a:noAutofit/>
          </a:bodyPr>
          <a:lstStyle/>
          <a:p>
            <a:endParaRPr sz="1200"/>
          </a:p>
        </p:txBody>
      </p:sp>
      <p:sp>
        <p:nvSpPr>
          <p:cNvPr id="4" name="TextBox 4"/>
          <p:cNvSpPr txBox="1"/>
          <p:nvPr/>
        </p:nvSpPr>
        <p:spPr>
          <a:xfrm>
            <a:off x="6761529" y="1194646"/>
            <a:ext cx="4968836" cy="213734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 algn="ctr">
              <a:lnSpc>
                <a:spcPts val="1680"/>
              </a:lnSpc>
            </a:pPr>
            <a:r>
              <a:rPr lang="ru" sz="1400">
                <a:solidFill>
                  <a:srgbClr val="002060"/>
                </a:solidFill>
                <a:latin typeface="Open Sans 1 Bold"/>
              </a:rPr>
              <a:t>Инвестиции в разбивке по странам*</a:t>
            </a:r>
          </a:p>
        </p:txBody>
      </p:sp>
      <p:sp>
        <p:nvSpPr>
          <p:cNvPr id="5" name="TextBox 5"/>
          <p:cNvSpPr txBox="1"/>
          <p:nvPr/>
        </p:nvSpPr>
        <p:spPr>
          <a:xfrm>
            <a:off x="1182931" y="1115264"/>
            <a:ext cx="4217084" cy="209550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 algn="ctr">
              <a:lnSpc>
                <a:spcPts val="1680"/>
              </a:lnSpc>
            </a:pPr>
            <a:r>
              <a:rPr lang="ru" sz="1400">
                <a:solidFill>
                  <a:srgbClr val="002060"/>
                </a:solidFill>
                <a:latin typeface="Open Sans 1 Bold"/>
              </a:rPr>
              <a:t>Инвестиции по отраслям*</a:t>
            </a:r>
          </a:p>
        </p:txBody>
      </p:sp>
      <p:sp>
        <p:nvSpPr>
          <p:cNvPr id="6" name="TextBox 6"/>
          <p:cNvSpPr txBox="1"/>
          <p:nvPr/>
        </p:nvSpPr>
        <p:spPr>
          <a:xfrm>
            <a:off x="408220" y="406026"/>
            <a:ext cx="3274480" cy="333425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>
              <a:lnSpc>
                <a:spcPts val="2592"/>
              </a:lnSpc>
            </a:pPr>
            <a:r>
              <a:rPr lang="ru" sz="2400" b="1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Структура портфеля</a:t>
            </a:r>
          </a:p>
        </p:txBody>
      </p:sp>
      <p:grpSp>
        <p:nvGrpSpPr>
          <p:cNvPr id="7" name="Group 7"/>
          <p:cNvGrpSpPr/>
          <p:nvPr/>
        </p:nvGrpSpPr>
        <p:grpSpPr>
          <a:xfrm>
            <a:off x="655964" y="4410682"/>
            <a:ext cx="5389206" cy="1181436"/>
            <a:chOff x="0" y="0"/>
            <a:chExt cx="10778412" cy="2362872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10778363" cy="2362835"/>
            </a:xfrm>
            <a:custGeom>
              <a:avLst/>
              <a:gdLst/>
              <a:ahLst/>
              <a:cxnLst/>
              <a:rect l="l" t="t" r="r" b="b"/>
              <a:pathLst>
                <a:path w="10778363" h="2362835">
                  <a:moveTo>
                    <a:pt x="0" y="0"/>
                  </a:moveTo>
                  <a:lnTo>
                    <a:pt x="10778363" y="0"/>
                  </a:lnTo>
                  <a:lnTo>
                    <a:pt x="10778363" y="2362835"/>
                  </a:lnTo>
                  <a:lnTo>
                    <a:pt x="0" y="2362835"/>
                  </a:lnTo>
                  <a:close/>
                </a:path>
              </a:pathLst>
            </a:custGeom>
            <a:solidFill>
              <a:srgbClr val="DEEBF7">
                <a:alpha val="49804"/>
              </a:srgbClr>
            </a:solidFill>
          </p:spPr>
          <p:txBody>
            <a:bodyPr>
              <a:noAutofit/>
            </a:bodyPr>
            <a:lstStyle/>
            <a:p>
              <a:endParaRPr sz="1200"/>
            </a:p>
          </p:txBody>
        </p:sp>
      </p:grpSp>
      <p:sp>
        <p:nvSpPr>
          <p:cNvPr id="9" name="TextBox 9"/>
          <p:cNvSpPr txBox="1"/>
          <p:nvPr/>
        </p:nvSpPr>
        <p:spPr>
          <a:xfrm>
            <a:off x="1919814" y="5255263"/>
            <a:ext cx="3684137" cy="258148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>
              <a:lnSpc>
                <a:spcPts val="2160"/>
              </a:lnSpc>
            </a:pPr>
            <a:r>
              <a:rPr lang="ru" sz="1600">
                <a:solidFill>
                  <a:srgbClr val="7D6850"/>
                </a:solidFill>
                <a:latin typeface="Open Sans 2 Bold"/>
              </a:rPr>
              <a:t>в текущем портфеле QIC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1919814" y="4474213"/>
            <a:ext cx="4078133" cy="787400"/>
          </a:xfrm>
          <a:prstGeom prst="rect">
            <a:avLst/>
          </a:prstGeom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ts val="2080"/>
              </a:lnSpc>
            </a:pPr>
            <a:r>
              <a:rPr lang="ru" sz="1600">
                <a:solidFill>
                  <a:srgbClr val="002060"/>
                </a:solidFill>
                <a:latin typeface="Open Sans 2 Bold"/>
              </a:rPr>
              <a:t>61 текущий проект</a:t>
            </a:r>
          </a:p>
          <a:p>
            <a:pPr>
              <a:lnSpc>
                <a:spcPts val="2080"/>
              </a:lnSpc>
            </a:pPr>
            <a:r>
              <a:rPr lang="ru" sz="1600">
                <a:solidFill>
                  <a:srgbClr val="002060"/>
                </a:solidFill>
                <a:latin typeface="Open Sans 2 Bold"/>
              </a:rPr>
              <a:t>(58 проектов в Республике Казахстан)</a:t>
            </a:r>
          </a:p>
        </p:txBody>
      </p:sp>
      <p:grpSp>
        <p:nvGrpSpPr>
          <p:cNvPr id="11" name="Group 11"/>
          <p:cNvGrpSpPr/>
          <p:nvPr/>
        </p:nvGrpSpPr>
        <p:grpSpPr>
          <a:xfrm>
            <a:off x="6376393" y="4410682"/>
            <a:ext cx="5389207" cy="1181436"/>
            <a:chOff x="0" y="0"/>
            <a:chExt cx="10778414" cy="2362872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10778363" cy="2362835"/>
            </a:xfrm>
            <a:custGeom>
              <a:avLst/>
              <a:gdLst/>
              <a:ahLst/>
              <a:cxnLst/>
              <a:rect l="l" t="t" r="r" b="b"/>
              <a:pathLst>
                <a:path w="10778363" h="2362835">
                  <a:moveTo>
                    <a:pt x="0" y="0"/>
                  </a:moveTo>
                  <a:lnTo>
                    <a:pt x="10778363" y="0"/>
                  </a:lnTo>
                  <a:lnTo>
                    <a:pt x="10778363" y="2362835"/>
                  </a:lnTo>
                  <a:lnTo>
                    <a:pt x="0" y="2362835"/>
                  </a:lnTo>
                  <a:close/>
                </a:path>
              </a:pathLst>
            </a:custGeom>
            <a:solidFill>
              <a:srgbClr val="DEEBF7">
                <a:alpha val="49804"/>
              </a:srgbClr>
            </a:solidFill>
          </p:spPr>
          <p:txBody>
            <a:bodyPr>
              <a:noAutofit/>
            </a:bodyPr>
            <a:lstStyle/>
            <a:p>
              <a:endParaRPr sz="1200"/>
            </a:p>
          </p:txBody>
        </p:sp>
      </p:grpSp>
      <p:sp>
        <p:nvSpPr>
          <p:cNvPr id="13" name="TextBox 13"/>
          <p:cNvSpPr txBox="1"/>
          <p:nvPr/>
        </p:nvSpPr>
        <p:spPr>
          <a:xfrm>
            <a:off x="7609518" y="4968959"/>
            <a:ext cx="3454073" cy="258148"/>
          </a:xfrm>
          <a:prstGeom prst="rect">
            <a:avLst/>
          </a:prstGeom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ts val="2160"/>
              </a:lnSpc>
            </a:pPr>
            <a:r>
              <a:rPr lang="ru" sz="1600">
                <a:solidFill>
                  <a:srgbClr val="7D6850"/>
                </a:solidFill>
                <a:latin typeface="Open Sans 2 Bold"/>
              </a:rPr>
              <a:t>средний размер транзакции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7609518" y="4638340"/>
            <a:ext cx="3869128" cy="283796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>
              <a:lnSpc>
                <a:spcPts val="2400"/>
              </a:lnSpc>
            </a:pPr>
            <a:r>
              <a:rPr lang="ru" sz="1600">
                <a:solidFill>
                  <a:srgbClr val="002060"/>
                </a:solidFill>
                <a:latin typeface="Open Sans 2 Bold"/>
              </a:rPr>
              <a:t>2 322 миллиона тенге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371074" y="6592317"/>
            <a:ext cx="1668955" cy="165100"/>
          </a:xfrm>
          <a:prstGeom prst="rect">
            <a:avLst/>
          </a:prstGeom>
        </p:spPr>
        <p:txBody>
          <a:bodyPr lIns="0" tIns="0" rIns="0" bIns="0" rtlCol="0" anchor="t">
            <a:noAutofit/>
          </a:bodyPr>
          <a:lstStyle/>
          <a:p>
            <a:pPr>
              <a:lnSpc>
                <a:spcPts val="1320"/>
              </a:lnSpc>
            </a:pPr>
            <a:r>
              <a:rPr lang="ru" sz="1067">
                <a:solidFill>
                  <a:srgbClr val="002060"/>
                </a:solidFill>
                <a:latin typeface="Open Sans 2 Italics"/>
              </a:rPr>
              <a:t>*исключая стартапы</a:t>
            </a:r>
          </a:p>
        </p:txBody>
      </p:sp>
      <p:sp>
        <p:nvSpPr>
          <p:cNvPr id="16" name="Freeform 16" descr="Портфель"/>
          <p:cNvSpPr/>
          <p:nvPr/>
        </p:nvSpPr>
        <p:spPr>
          <a:xfrm>
            <a:off x="826697" y="4511759"/>
            <a:ext cx="914400" cy="914400"/>
          </a:xfrm>
          <a:custGeom>
            <a:avLst/>
            <a:gdLst/>
            <a:ahLst/>
            <a:cxnLst/>
            <a:rect l="l" t="t" r="r" b="b"/>
            <a:pathLst>
              <a:path w="1371600" h="1371600">
                <a:moveTo>
                  <a:pt x="0" y="0"/>
                </a:moveTo>
                <a:lnTo>
                  <a:pt x="1371600" y="0"/>
                </a:lnTo>
                <a:lnTo>
                  <a:pt x="1371600" y="1371600"/>
                </a:lnTo>
                <a:lnTo>
                  <a:pt x="0" y="13716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/>
          <a:p>
            <a:endParaRPr sz="1200"/>
          </a:p>
        </p:txBody>
      </p:sp>
      <p:sp>
        <p:nvSpPr>
          <p:cNvPr id="17" name="Freeform 17" descr="Документ"/>
          <p:cNvSpPr/>
          <p:nvPr/>
        </p:nvSpPr>
        <p:spPr>
          <a:xfrm>
            <a:off x="6550886" y="4533806"/>
            <a:ext cx="914400" cy="914400"/>
          </a:xfrm>
          <a:custGeom>
            <a:avLst/>
            <a:gdLst/>
            <a:ahLst/>
            <a:cxnLst/>
            <a:rect l="l" t="t" r="r" b="b"/>
            <a:pathLst>
              <a:path w="1371600" h="1371600">
                <a:moveTo>
                  <a:pt x="0" y="0"/>
                </a:moveTo>
                <a:lnTo>
                  <a:pt x="1371600" y="0"/>
                </a:lnTo>
                <a:lnTo>
                  <a:pt x="1371600" y="1371600"/>
                </a:lnTo>
                <a:lnTo>
                  <a:pt x="0" y="1371600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/>
          <a:p>
            <a:endParaRPr sz="1200"/>
          </a:p>
        </p:txBody>
      </p:sp>
      <p:graphicFrame>
        <p:nvGraphicFramePr>
          <p:cNvPr id="31" name="Диаграмма 30">
            <a:extLst>
              <a:ext uri="{FF2B5EF4-FFF2-40B4-BE49-F238E27FC236}">
                <a16:creationId xmlns:a16="http://schemas.microsoft.com/office/drawing/2014/main" id="{D736176D-A926-4C68-8DC7-287FEC849D8C}"/>
              </a:ext>
            </a:extLst>
          </p:cNvPr>
          <p:cNvGraphicFramePr/>
          <p:nvPr/>
        </p:nvGraphicFramePr>
        <p:xfrm>
          <a:off x="408220" y="1285268"/>
          <a:ext cx="5251167" cy="26814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4" name="Диаграмма 33">
            <a:extLst>
              <a:ext uri="{FF2B5EF4-FFF2-40B4-BE49-F238E27FC236}">
                <a16:creationId xmlns:a16="http://schemas.microsoft.com/office/drawing/2014/main" id="{529E1409-F5D7-4435-B600-6F9133349271}"/>
              </a:ext>
            </a:extLst>
          </p:cNvPr>
          <p:cNvGraphicFramePr/>
          <p:nvPr/>
        </p:nvGraphicFramePr>
        <p:xfrm>
          <a:off x="6666506" y="1367782"/>
          <a:ext cx="4627372" cy="27842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E79ED65B-9040-4415-917F-861E41DBDE2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0065" y="375251"/>
            <a:ext cx="1048587" cy="376911"/>
          </a:xfrm>
          <a:prstGeom prst="rect">
            <a:avLst/>
          </a:prstGeom>
        </p:spPr>
      </p:pic>
      <p:sp>
        <p:nvSpPr>
          <p:cNvPr id="23" name="Номер слайда 35">
            <a:extLst>
              <a:ext uri="{FF2B5EF4-FFF2-40B4-BE49-F238E27FC236}">
                <a16:creationId xmlns:a16="http://schemas.microsoft.com/office/drawing/2014/main" id="{F7DADB03-6506-4D02-9D79-7689CB707174}"/>
              </a:ext>
            </a:extLst>
          </p:cNvPr>
          <p:cNvSpPr txBox="1"/>
          <p:nvPr/>
        </p:nvSpPr>
        <p:spPr>
          <a:xfrm>
            <a:off x="10336609" y="6496056"/>
            <a:ext cx="1422400" cy="243417"/>
          </a:xfrm>
          <a:prstGeom prst="rect">
            <a:avLst/>
          </a:prstGeom>
        </p:spPr>
        <p:txBody>
          <a:bodyPr vert="horz" lIns="60960" tIns="30480" rIns="60960" bIns="3048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ru" sz="1067" b="1">
                <a:latin typeface="Open Sans"/>
                <a:ea typeface="Open Sans"/>
                <a:cs typeface="Open Sans"/>
              </a:rPr>
              <a:t>5</a:t>
            </a:r>
            <a:endParaRPr lang="en-US" sz="1067" b="1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8261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Рисунок 6">
            <a:extLst>
              <a:ext uri="{FF2B5EF4-FFF2-40B4-BE49-F238E27FC236}">
                <a16:creationId xmlns:a16="http://schemas.microsoft.com/office/drawing/2014/main" id="{0E8968CE-850D-4D98-85C3-4FF09086A2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755" b="21246"/>
          <a:stretch>
            <a:fillRect/>
          </a:stretch>
        </p:blipFill>
        <p:spPr bwMode="auto">
          <a:xfrm>
            <a:off x="8718463" y="4263345"/>
            <a:ext cx="3087687" cy="285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40C45544-B904-444F-80BF-386B3ED81F9D}"/>
              </a:ext>
            </a:extLst>
          </p:cNvPr>
          <p:cNvSpPr txBox="1"/>
          <p:nvPr/>
        </p:nvSpPr>
        <p:spPr>
          <a:xfrm>
            <a:off x="275635" y="301622"/>
            <a:ext cx="8375469" cy="505732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18254F"/>
                </a:solidFill>
                <a:latin typeface="Open Sans 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dirty="0">
                <a:solidFill>
                  <a:srgbClr val="082C53"/>
                </a:solidFill>
                <a:highlight>
                  <a:srgbClr val="000000">
                    <a:alpha val="0"/>
                  </a:srgbClr>
                </a:highlight>
              </a:rPr>
              <a:t>Инвестиции в казахстанские проекты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1E98CF5-1F96-462F-8B2D-D7C1A6389402}"/>
              </a:ext>
            </a:extLst>
          </p:cNvPr>
          <p:cNvSpPr txBox="1"/>
          <p:nvPr/>
        </p:nvSpPr>
        <p:spPr>
          <a:xfrm>
            <a:off x="378207" y="3635960"/>
            <a:ext cx="5348879" cy="2223686"/>
          </a:xfrm>
          <a:prstGeom prst="rect">
            <a:avLst/>
          </a:prstGeom>
          <a:solidFill>
            <a:schemeClr val="bg1">
              <a:lumMod val="85000"/>
              <a:alpha val="23000"/>
            </a:schemeClr>
          </a:solidFill>
          <a:effectLst>
            <a:softEdge rad="31750"/>
          </a:effectLst>
        </p:spPr>
        <p:txBody>
          <a:bodyPr wrap="square" rtlCol="0">
            <a:spAutoFit/>
          </a:bodyPr>
          <a:lstStyle/>
          <a:p>
            <a:pPr algn="just">
              <a:spcAft>
                <a:spcPts val="300"/>
              </a:spcAft>
              <a:tabLst>
                <a:tab pos="630587" algn="l"/>
              </a:tabLst>
            </a:pPr>
            <a:r>
              <a:rPr lang="ru-RU" sz="1400" b="1" dirty="0">
                <a:solidFill>
                  <a:srgbClr val="082C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ребования к структуре проекта</a:t>
            </a:r>
            <a:r>
              <a:rPr lang="ru-RU" sz="1400" dirty="0">
                <a:solidFill>
                  <a:srgbClr val="082C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</a:t>
            </a:r>
            <a:endParaRPr lang="ru-KZ" sz="1400" dirty="0">
              <a:solidFill>
                <a:srgbClr val="082C53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17" algn="just">
              <a:spcAft>
                <a:spcPts val="300"/>
              </a:spcAft>
              <a:buFont typeface="Wingdings" panose="05000000000000000000" pitchFamily="2" charset="2"/>
              <a:buChar char=""/>
              <a:tabLst>
                <a:tab pos="630587" algn="l"/>
              </a:tabLst>
            </a:pPr>
            <a:r>
              <a:rPr lang="ru-RU" sz="1400" dirty="0">
                <a:solidFill>
                  <a:srgbClr val="082C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Проекты, реализуемые сильными командами, занимающими лидирующие позиции на рынке</a:t>
            </a:r>
          </a:p>
          <a:p>
            <a:pPr marL="342917" algn="just">
              <a:spcAft>
                <a:spcPts val="300"/>
              </a:spcAft>
              <a:buFont typeface="Wingdings" panose="05000000000000000000" pitchFamily="2" charset="2"/>
              <a:buChar char=""/>
              <a:tabLst>
                <a:tab pos="630587" algn="l"/>
              </a:tabLst>
            </a:pPr>
            <a:r>
              <a:rPr lang="ru-RU" sz="1400" dirty="0">
                <a:solidFill>
                  <a:srgbClr val="082C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400" dirty="0" err="1">
                <a:solidFill>
                  <a:srgbClr val="082C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Экспортоориентированные</a:t>
            </a:r>
            <a:r>
              <a:rPr lang="ru-RU" sz="1400" dirty="0">
                <a:solidFill>
                  <a:srgbClr val="082C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проекты</a:t>
            </a:r>
          </a:p>
          <a:p>
            <a:pPr marL="342917" algn="just">
              <a:spcAft>
                <a:spcPts val="300"/>
              </a:spcAft>
              <a:buFont typeface="Wingdings" panose="05000000000000000000" pitchFamily="2" charset="2"/>
              <a:buChar char=""/>
              <a:tabLst>
                <a:tab pos="630587" algn="l"/>
              </a:tabLst>
            </a:pPr>
            <a:r>
              <a:rPr lang="ru-RU" sz="1400" dirty="0">
                <a:solidFill>
                  <a:srgbClr val="082C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Проекты компаний, превосходящих среднеотраслевые значения по темпам роста выручки и уровням маржинальности</a:t>
            </a:r>
          </a:p>
          <a:p>
            <a:pPr marL="342917" algn="just">
              <a:spcAft>
                <a:spcPts val="300"/>
              </a:spcAft>
              <a:buFont typeface="Wingdings" panose="05000000000000000000" pitchFamily="2" charset="2"/>
              <a:buChar char=""/>
              <a:tabLst>
                <a:tab pos="630587" algn="l"/>
              </a:tabLst>
            </a:pPr>
            <a:r>
              <a:rPr lang="ru-RU" sz="1400" dirty="0">
                <a:solidFill>
                  <a:srgbClr val="082C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Высокая степень проработки проекта</a:t>
            </a:r>
          </a:p>
          <a:p>
            <a:pPr marL="342917" algn="just">
              <a:spcAft>
                <a:spcPts val="300"/>
              </a:spcAft>
              <a:buFont typeface="Wingdings" panose="05000000000000000000" pitchFamily="2" charset="2"/>
              <a:buChar char=""/>
              <a:tabLst>
                <a:tab pos="630587" algn="l"/>
              </a:tabLst>
            </a:pPr>
            <a:r>
              <a:rPr lang="ru-RU" sz="1400" dirty="0">
                <a:solidFill>
                  <a:srgbClr val="082C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Низкие риски по сбыту</a:t>
            </a:r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id="{154FA983-9B1E-41F5-8853-9C1CD183174C}"/>
              </a:ext>
            </a:extLst>
          </p:cNvPr>
          <p:cNvSpPr/>
          <p:nvPr/>
        </p:nvSpPr>
        <p:spPr>
          <a:xfrm>
            <a:off x="523210" y="1863566"/>
            <a:ext cx="3801534" cy="31162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rgbClr val="082C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сновное долговое финансирование (кредиты, пр.)</a:t>
            </a:r>
            <a:endParaRPr lang="ru-KZ" sz="1100" dirty="0">
              <a:solidFill>
                <a:srgbClr val="082C53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33EEB3D8-1FA8-46B7-BD4D-1BB1AAD6839F}"/>
              </a:ext>
            </a:extLst>
          </p:cNvPr>
          <p:cNvSpPr/>
          <p:nvPr/>
        </p:nvSpPr>
        <p:spPr>
          <a:xfrm>
            <a:off x="4324744" y="1863564"/>
            <a:ext cx="1195122" cy="311624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rgbClr val="082C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редства </a:t>
            </a:r>
            <a:r>
              <a:rPr lang="en-US" sz="1100" dirty="0">
                <a:solidFill>
                  <a:srgbClr val="082C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IC</a:t>
            </a:r>
            <a:endParaRPr lang="ru-KZ" sz="1100" dirty="0">
              <a:solidFill>
                <a:srgbClr val="082C53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Прямоугольник: скругленные углы 18">
            <a:extLst>
              <a:ext uri="{FF2B5EF4-FFF2-40B4-BE49-F238E27FC236}">
                <a16:creationId xmlns:a16="http://schemas.microsoft.com/office/drawing/2014/main" id="{199452C9-DD87-431D-B625-15DC9C33D7E8}"/>
              </a:ext>
            </a:extLst>
          </p:cNvPr>
          <p:cNvSpPr/>
          <p:nvPr/>
        </p:nvSpPr>
        <p:spPr>
          <a:xfrm>
            <a:off x="5519866" y="1863564"/>
            <a:ext cx="1236136" cy="311624"/>
          </a:xfrm>
          <a:prstGeom prst="roundRect">
            <a:avLst/>
          </a:prstGeom>
          <a:solidFill>
            <a:srgbClr val="082C5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редства инициаторов</a:t>
            </a:r>
            <a:endParaRPr lang="ru-KZ" sz="11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Правая фигурная скобка 15">
            <a:extLst>
              <a:ext uri="{FF2B5EF4-FFF2-40B4-BE49-F238E27FC236}">
                <a16:creationId xmlns:a16="http://schemas.microsoft.com/office/drawing/2014/main" id="{37A80721-5AD6-49D3-8BF0-8A5DE66CB5FF}"/>
              </a:ext>
            </a:extLst>
          </p:cNvPr>
          <p:cNvSpPr/>
          <p:nvPr/>
        </p:nvSpPr>
        <p:spPr>
          <a:xfrm rot="5400000">
            <a:off x="4812455" y="1721896"/>
            <a:ext cx="219696" cy="1195120"/>
          </a:xfrm>
          <a:prstGeom prst="rightBrac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9EC540D-7BEC-4F00-9CB9-620F96307F25}"/>
              </a:ext>
            </a:extLst>
          </p:cNvPr>
          <p:cNvSpPr txBox="1"/>
          <p:nvPr/>
        </p:nvSpPr>
        <p:spPr>
          <a:xfrm>
            <a:off x="4117521" y="2564013"/>
            <a:ext cx="16095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-30% финансирования</a:t>
            </a:r>
            <a:endParaRPr lang="ru-KZ" sz="1000" dirty="0">
              <a:solidFill>
                <a:schemeClr val="tx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38FE3AC-F16A-443A-88FA-583AC0C28399}"/>
              </a:ext>
            </a:extLst>
          </p:cNvPr>
          <p:cNvSpPr txBox="1"/>
          <p:nvPr/>
        </p:nvSpPr>
        <p:spPr>
          <a:xfrm>
            <a:off x="7027720" y="1920815"/>
            <a:ext cx="4705886" cy="830997"/>
          </a:xfrm>
          <a:prstGeom prst="rect">
            <a:avLst/>
          </a:prstGeom>
          <a:solidFill>
            <a:schemeClr val="bg1">
              <a:lumMod val="85000"/>
              <a:alpha val="23000"/>
            </a:schemeClr>
          </a:solidFill>
          <a:effectLst>
            <a:softEdge rad="31750"/>
          </a:effectLst>
        </p:spPr>
        <p:txBody>
          <a:bodyPr wrap="square" rtlCol="0">
            <a:spAutoFit/>
          </a:bodyPr>
          <a:lstStyle>
            <a:defPPr>
              <a:defRPr lang="ru-RU"/>
            </a:defPPr>
            <a:lvl1pPr algn="just">
              <a:spcAft>
                <a:spcPts val="100"/>
              </a:spcAft>
              <a:tabLst>
                <a:tab pos="630555" algn="l"/>
              </a:tabLst>
              <a:defRPr sz="1400">
                <a:solidFill>
                  <a:srgbClr val="264478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1200" b="1" dirty="0">
                <a:solidFill>
                  <a:srgbClr val="082C53"/>
                </a:solidFill>
              </a:rPr>
              <a:t>Инструменты QIC, формирующие собственное участие, позволяют увеличить финансовый рычаг компаний, обеспечивая мультипликативный эффект при привлечении фондирования проектами.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FFD84CAD-DC34-4BE5-BF7F-5A8D72C495B2}"/>
              </a:ext>
            </a:extLst>
          </p:cNvPr>
          <p:cNvSpPr/>
          <p:nvPr/>
        </p:nvSpPr>
        <p:spPr>
          <a:xfrm>
            <a:off x="400060" y="1695008"/>
            <a:ext cx="11391880" cy="1156978"/>
          </a:xfrm>
          <a:prstGeom prst="rect">
            <a:avLst/>
          </a:prstGeom>
          <a:noFill/>
          <a:ln>
            <a:solidFill>
              <a:srgbClr val="2644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FA28C40E-F989-4EA4-B428-1DB9D17A17CE}"/>
              </a:ext>
            </a:extLst>
          </p:cNvPr>
          <p:cNvSpPr/>
          <p:nvPr/>
        </p:nvSpPr>
        <p:spPr>
          <a:xfrm>
            <a:off x="402446" y="2932765"/>
            <a:ext cx="11403704" cy="354183"/>
          </a:xfrm>
          <a:prstGeom prst="rect">
            <a:avLst/>
          </a:prstGeom>
          <a:solidFill>
            <a:srgbClr val="26447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450238" algn="ctr">
              <a:lnSpc>
                <a:spcPct val="107000"/>
              </a:lnSpc>
              <a:spcAft>
                <a:spcPts val="800"/>
              </a:spcAft>
              <a:tabLst>
                <a:tab pos="630587" algn="l"/>
              </a:tabLst>
            </a:pPr>
            <a:r>
              <a:rPr lang="ru-RU" sz="16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жидаемое значение мультипликатора инструментов QIC для экономики страны - 6,7 (от 3 до 20).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F724C0FD-FA95-485D-8DB5-F8F53B631847}"/>
              </a:ext>
            </a:extLst>
          </p:cNvPr>
          <p:cNvSpPr/>
          <p:nvPr/>
        </p:nvSpPr>
        <p:spPr>
          <a:xfrm>
            <a:off x="166754" y="2676699"/>
            <a:ext cx="11420299" cy="1743237"/>
          </a:xfrm>
          <a:prstGeom prst="rect">
            <a:avLst/>
          </a:prstGeom>
        </p:spPr>
        <p:txBody>
          <a:bodyPr/>
          <a:lstStyle/>
          <a:p>
            <a:pPr marL="285764" indent="-285764" algn="just">
              <a:spcAft>
                <a:spcPts val="600"/>
              </a:spcAft>
              <a:buFont typeface="Wingdings" panose="05000000000000000000" pitchFamily="2" charset="2"/>
              <a:buChar char="v"/>
              <a:defRPr/>
            </a:pPr>
            <a:endParaRPr lang="ru-KZ" sz="1600" dirty="0">
              <a:solidFill>
                <a:schemeClr val="tx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64" indent="-285764" algn="just">
              <a:spcAft>
                <a:spcPts val="600"/>
              </a:spcAft>
              <a:buFont typeface="Wingdings" panose="05000000000000000000" pitchFamily="2" charset="2"/>
              <a:buChar char="v"/>
              <a:defRPr/>
            </a:pPr>
            <a:endParaRPr lang="ru" sz="1600" b="1" dirty="0">
              <a:solidFill>
                <a:srgbClr val="0F3966"/>
              </a:solidFill>
              <a:highlight>
                <a:srgbClr val="000000">
                  <a:alpha val="0"/>
                </a:srgbClr>
              </a:highlight>
              <a:latin typeface="Open Sans"/>
              <a:ea typeface="Open Sans"/>
              <a:cs typeface="Open Sans"/>
            </a:endParaRP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A7B79C73-5FAC-436D-87A4-52E051B4013B}"/>
              </a:ext>
            </a:extLst>
          </p:cNvPr>
          <p:cNvSpPr txBox="1"/>
          <p:nvPr/>
        </p:nvSpPr>
        <p:spPr>
          <a:xfrm>
            <a:off x="231631" y="948200"/>
            <a:ext cx="11457000" cy="637091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18254F"/>
                </a:solidFill>
                <a:latin typeface="Open Sans 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dirty="0">
                <a:solidFill>
                  <a:srgbClr val="082C53"/>
                </a:solidFill>
              </a:rPr>
              <a:t>Ниша </a:t>
            </a:r>
            <a:r>
              <a:rPr lang="en-US" sz="1600" dirty="0">
                <a:solidFill>
                  <a:srgbClr val="082C53"/>
                </a:solidFill>
              </a:rPr>
              <a:t>QIC – </a:t>
            </a:r>
            <a:r>
              <a:rPr lang="ru-RU" sz="1600" b="0" dirty="0">
                <a:solidFill>
                  <a:srgbClr val="082C53"/>
                </a:solidFill>
              </a:rPr>
              <a:t>финансировать проекты на территории РК через </a:t>
            </a:r>
            <a:r>
              <a:rPr lang="ru-RU" sz="1600" dirty="0">
                <a:solidFill>
                  <a:srgbClr val="082C53"/>
                </a:solidFill>
              </a:rPr>
              <a:t>инструменты, формирующие собственное участие</a:t>
            </a:r>
            <a:r>
              <a:rPr lang="ru-RU" sz="1600" b="0" dirty="0">
                <a:solidFill>
                  <a:srgbClr val="082C53"/>
                </a:solidFill>
              </a:rPr>
              <a:t> проектов: </a:t>
            </a:r>
            <a:r>
              <a:rPr lang="ru-RU" sz="1600" dirty="0">
                <a:solidFill>
                  <a:srgbClr val="082C53"/>
                </a:solidFill>
              </a:rPr>
              <a:t>собственный капитал</a:t>
            </a:r>
            <a:r>
              <a:rPr lang="ru-RU" sz="1600" b="0" dirty="0">
                <a:solidFill>
                  <a:srgbClr val="082C53"/>
                </a:solidFill>
              </a:rPr>
              <a:t> (в том числе с применением опционов) и </a:t>
            </a:r>
            <a:r>
              <a:rPr lang="ru-RU" sz="1600" dirty="0">
                <a:solidFill>
                  <a:srgbClr val="082C53"/>
                </a:solidFill>
              </a:rPr>
              <a:t>субординированный долг</a:t>
            </a:r>
            <a:r>
              <a:rPr lang="ru-RU" sz="1600" b="0" dirty="0">
                <a:solidFill>
                  <a:srgbClr val="082C53"/>
                </a:solidFill>
              </a:rPr>
              <a:t> (в том числе мезонинное финансирование)</a:t>
            </a:r>
            <a:endParaRPr lang="ru" sz="1600" b="0" dirty="0">
              <a:solidFill>
                <a:srgbClr val="082C53"/>
              </a:solidFill>
              <a:highlight>
                <a:srgbClr val="000000">
                  <a:alpha val="0"/>
                </a:srgbClr>
              </a:highlight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E24A86A-DAED-4BBF-A26E-95DB68567A11}"/>
              </a:ext>
            </a:extLst>
          </p:cNvPr>
          <p:cNvSpPr txBox="1"/>
          <p:nvPr/>
        </p:nvSpPr>
        <p:spPr>
          <a:xfrm>
            <a:off x="5960131" y="3655782"/>
            <a:ext cx="5728500" cy="2169761"/>
          </a:xfrm>
          <a:prstGeom prst="rect">
            <a:avLst/>
          </a:prstGeom>
          <a:solidFill>
            <a:schemeClr val="bg1">
              <a:lumMod val="85000"/>
              <a:alpha val="23000"/>
            </a:schemeClr>
          </a:solidFill>
          <a:effectLst>
            <a:softEdge rad="31750"/>
          </a:effectLst>
        </p:spPr>
        <p:txBody>
          <a:bodyPr wrap="square" rtlCol="0">
            <a:spAutoFit/>
          </a:bodyPr>
          <a:lstStyle/>
          <a:p>
            <a:pPr algn="just">
              <a:spcAft>
                <a:spcPts val="300"/>
              </a:spcAft>
              <a:tabLst>
                <a:tab pos="630587" algn="l"/>
              </a:tabLst>
            </a:pPr>
            <a:r>
              <a:rPr lang="ru-RU" sz="1400" b="1" dirty="0">
                <a:solidFill>
                  <a:srgbClr val="082C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еимущества инструментов </a:t>
            </a:r>
            <a:r>
              <a:rPr lang="en-US" sz="1400" b="1" dirty="0">
                <a:solidFill>
                  <a:srgbClr val="082C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IC</a:t>
            </a:r>
            <a:endParaRPr lang="ru-KZ" sz="1400" dirty="0">
              <a:solidFill>
                <a:srgbClr val="082C53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571529" indent="-228611" algn="just">
              <a:spcBef>
                <a:spcPts val="800"/>
              </a:spcBef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630587" algn="l"/>
              </a:tabLst>
            </a:pPr>
            <a:r>
              <a:rPr lang="ru-RU" sz="1400" dirty="0">
                <a:solidFill>
                  <a:srgbClr val="082C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533" dirty="0">
                <a:solidFill>
                  <a:srgbClr val="203864"/>
                </a:solidFill>
              </a:rPr>
              <a:t>доступ</a:t>
            </a:r>
            <a:r>
              <a:rPr lang="ru-RU" sz="1400" dirty="0">
                <a:solidFill>
                  <a:srgbClr val="082C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к долгосрочному финансированию</a:t>
            </a:r>
          </a:p>
          <a:p>
            <a:pPr marL="571529" indent="-228611" algn="just"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630587" algn="l"/>
              </a:tabLst>
            </a:pPr>
            <a:r>
              <a:rPr lang="ru-RU" sz="1400" dirty="0">
                <a:solidFill>
                  <a:srgbClr val="082C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гибкий подход к обеспечению</a:t>
            </a:r>
          </a:p>
          <a:p>
            <a:pPr marL="571529" indent="-228611" algn="just"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630587" algn="l"/>
              </a:tabLst>
            </a:pPr>
            <a:r>
              <a:rPr lang="ru-RU" sz="1400" dirty="0">
                <a:solidFill>
                  <a:srgbClr val="082C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повышение финансового рычага компании</a:t>
            </a:r>
          </a:p>
          <a:p>
            <a:pPr marL="571529" indent="-228611" algn="just"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630587" algn="l"/>
              </a:tabLst>
            </a:pPr>
            <a:r>
              <a:rPr lang="ru-RU" sz="1400" dirty="0">
                <a:solidFill>
                  <a:srgbClr val="082C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зделение рисков </a:t>
            </a:r>
          </a:p>
          <a:p>
            <a:pPr marL="571529" indent="-228611" algn="just">
              <a:spcAft>
                <a:spcPts val="300"/>
              </a:spcAft>
              <a:buFont typeface="Wingdings" panose="05000000000000000000" pitchFamily="2" charset="2"/>
              <a:buChar char="ü"/>
              <a:tabLst>
                <a:tab pos="630587" algn="l"/>
              </a:tabLst>
            </a:pPr>
            <a:r>
              <a:rPr lang="ru-RU" sz="1400" dirty="0">
                <a:solidFill>
                  <a:srgbClr val="082C53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лучение информации, экспертных знаний, внедрение передовых практик корпоративного управления</a:t>
            </a:r>
            <a:endParaRPr lang="en-US" sz="1400" dirty="0">
              <a:solidFill>
                <a:srgbClr val="082C53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17" algn="just">
              <a:spcAft>
                <a:spcPts val="300"/>
              </a:spcAft>
              <a:tabLst>
                <a:tab pos="630587" algn="l"/>
              </a:tabLst>
            </a:pPr>
            <a:endParaRPr lang="ru-RU" sz="1400" dirty="0">
              <a:solidFill>
                <a:srgbClr val="082C53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1323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Рисунок 6">
            <a:extLst>
              <a:ext uri="{FF2B5EF4-FFF2-40B4-BE49-F238E27FC236}">
                <a16:creationId xmlns:a16="http://schemas.microsoft.com/office/drawing/2014/main" id="{0E8968CE-850D-4D98-85C3-4FF09086A2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755" b="21246"/>
          <a:stretch>
            <a:fillRect/>
          </a:stretch>
        </p:blipFill>
        <p:spPr bwMode="auto">
          <a:xfrm>
            <a:off x="9104314" y="4002088"/>
            <a:ext cx="3087687" cy="285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2894A8F-5C44-4E58-8D7A-5493EA750E6E}"/>
              </a:ext>
            </a:extLst>
          </p:cNvPr>
          <p:cNvSpPr txBox="1"/>
          <p:nvPr/>
        </p:nvSpPr>
        <p:spPr>
          <a:xfrm>
            <a:off x="251535" y="919557"/>
            <a:ext cx="11403704" cy="1164220"/>
          </a:xfrm>
          <a:prstGeom prst="rect">
            <a:avLst/>
          </a:prstGeom>
          <a:noFill/>
        </p:spPr>
        <p:txBody>
          <a:bodyPr/>
          <a:lstStyle/>
          <a:p>
            <a:pPr algn="just">
              <a:defRPr/>
            </a:pPr>
            <a:r>
              <a:rPr lang="ru-RU" sz="1600" b="1" dirty="0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QIC как ведомство, обеспечивающее запуск проектов с иностранным участием </a:t>
            </a:r>
          </a:p>
          <a:p>
            <a:pPr algn="just">
              <a:defRPr/>
            </a:pPr>
            <a:r>
              <a:rPr lang="ru-RU" sz="1600" dirty="0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Подобный фокус будет способствовать тому, что QIC будет реализовывать именно продвинутые проекты с высоким индексом комплексности, развитыми технологиями, высокой производительностью труда</a:t>
            </a:r>
            <a:endParaRPr lang="en-US" sz="1600" b="1" dirty="0">
              <a:solidFill>
                <a:srgbClr val="082C53"/>
              </a:solidFill>
              <a:highlight>
                <a:srgbClr val="000000">
                  <a:alpha val="0"/>
                </a:srgbClr>
              </a:highlight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AAEB2DE6-3526-427F-8278-B7FEF8ACBFB7}"/>
              </a:ext>
            </a:extLst>
          </p:cNvPr>
          <p:cNvSpPr txBox="1"/>
          <p:nvPr/>
        </p:nvSpPr>
        <p:spPr>
          <a:xfrm>
            <a:off x="4148138" y="5851844"/>
            <a:ext cx="8374062" cy="504825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18254F"/>
                </a:solidFill>
                <a:latin typeface="Open Sans "/>
                <a:ea typeface="+mj-ea"/>
                <a:cs typeface="+mj-cs"/>
              </a:defRPr>
            </a:lvl1pPr>
          </a:lstStyle>
          <a:p>
            <a:pPr>
              <a:defRPr/>
            </a:pPr>
            <a:endParaRPr lang="en">
              <a:solidFill>
                <a:srgbClr val="082C53"/>
              </a:solidFill>
              <a:highlight>
                <a:srgbClr val="000000">
                  <a:alpha val="0"/>
                </a:srgbClr>
              </a:highlight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FED37EC-CE6C-4C70-84D5-56F6371BAEA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167356" y="6478948"/>
            <a:ext cx="2716412" cy="365125"/>
          </a:xfrm>
        </p:spPr>
        <p:txBody>
          <a:bodyPr rtlCol="0">
            <a:noAutofit/>
          </a:bodyPr>
          <a:lstStyle/>
          <a:p>
            <a:pPr>
              <a:defRPr/>
            </a:pPr>
            <a:r>
              <a:rPr lang="ru" dirty="0">
                <a:solidFill>
                  <a:schemeClr val="tx1">
                    <a:tint val="75000"/>
                  </a:schemeClr>
                </a:solidFill>
                <a:highlight>
                  <a:srgbClr val="000000">
                    <a:alpha val="0"/>
                  </a:srgbClr>
                </a:highlight>
                <a:latin typeface="Calibri"/>
                <a:cs typeface="+mn-cs"/>
              </a:rPr>
              <a:t>27</a:t>
            </a: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40C45544-B904-444F-80BF-386B3ED81F9D}"/>
              </a:ext>
            </a:extLst>
          </p:cNvPr>
          <p:cNvSpPr txBox="1"/>
          <p:nvPr/>
        </p:nvSpPr>
        <p:spPr>
          <a:xfrm>
            <a:off x="275635" y="301622"/>
            <a:ext cx="8375469" cy="505732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18254F"/>
                </a:solidFill>
                <a:latin typeface="Open Sans 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dirty="0">
                <a:solidFill>
                  <a:srgbClr val="082C53"/>
                </a:solidFill>
                <a:highlight>
                  <a:srgbClr val="000000">
                    <a:alpha val="0"/>
                  </a:srgbClr>
                </a:highlight>
              </a:rPr>
              <a:t>Особый фокус на проекты с иностранным участием</a:t>
            </a:r>
            <a:endParaRPr lang="ru" dirty="0">
              <a:solidFill>
                <a:srgbClr val="082C53"/>
              </a:solidFill>
              <a:highlight>
                <a:srgbClr val="000000">
                  <a:alpha val="0"/>
                </a:srgbClr>
              </a:highlight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59BCB2-9894-4691-8FFD-E857BFFB4510}"/>
              </a:ext>
            </a:extLst>
          </p:cNvPr>
          <p:cNvSpPr txBox="1"/>
          <p:nvPr/>
        </p:nvSpPr>
        <p:spPr>
          <a:xfrm>
            <a:off x="275634" y="3246120"/>
            <a:ext cx="11403704" cy="3282920"/>
          </a:xfrm>
          <a:prstGeom prst="rect">
            <a:avLst/>
          </a:prstGeom>
          <a:noFill/>
        </p:spPr>
        <p:txBody>
          <a:bodyPr/>
          <a:lstStyle/>
          <a:p>
            <a:pPr algn="just">
              <a:defRPr/>
            </a:pPr>
            <a:r>
              <a:rPr lang="ru-RU" sz="1600" dirty="0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QIC как профессиональный участник финансового рынка и институт развития является привлекательным казахстанским партнером для совместного участия в проекте в глазах иностранных инвесторов</a:t>
            </a:r>
            <a:endParaRPr lang="en-US" sz="1600" dirty="0">
              <a:solidFill>
                <a:srgbClr val="082C53"/>
              </a:solidFill>
              <a:latin typeface="Open Sans"/>
              <a:ea typeface="Open Sans"/>
              <a:cs typeface="Open Sans"/>
            </a:endParaRPr>
          </a:p>
          <a:p>
            <a:pPr algn="just">
              <a:defRPr/>
            </a:pPr>
            <a:endParaRPr lang="en-US" sz="1050" dirty="0">
              <a:solidFill>
                <a:srgbClr val="082C53"/>
              </a:solidFill>
              <a:latin typeface="Open Sans"/>
              <a:ea typeface="Open Sans"/>
              <a:cs typeface="Open Sans"/>
            </a:endParaRPr>
          </a:p>
          <a:p>
            <a:pPr algn="just">
              <a:spcAft>
                <a:spcPts val="600"/>
              </a:spcAft>
              <a:defRPr/>
            </a:pPr>
            <a:r>
              <a:rPr lang="ru-RU" sz="1600" dirty="0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Участие QIC в данной роли, помимо предоставления </a:t>
            </a:r>
            <a:r>
              <a:rPr lang="ru-RU" sz="1600" dirty="0" err="1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софинансирования</a:t>
            </a:r>
            <a:r>
              <a:rPr lang="ru-RU" sz="1600" dirty="0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, обеспечит:</a:t>
            </a:r>
            <a:endParaRPr lang="en-US" sz="1600" dirty="0">
              <a:solidFill>
                <a:srgbClr val="082C53"/>
              </a:solidFill>
              <a:highlight>
                <a:srgbClr val="000000">
                  <a:alpha val="0"/>
                </a:srgbClr>
              </a:highlight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800140" lvl="1" indent="-342917" algn="just">
              <a:spcAft>
                <a:spcPts val="600"/>
              </a:spcAft>
              <a:buFont typeface="+mj-lt"/>
              <a:buAutoNum type="arabicParenR"/>
              <a:defRPr/>
            </a:pPr>
            <a:r>
              <a:rPr lang="ru-RU" sz="1400" dirty="0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Позиционирование QIC в </a:t>
            </a:r>
            <a:r>
              <a:rPr lang="ru-RU" sz="1400" b="1" dirty="0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роли единого местного партнера</a:t>
            </a:r>
            <a:r>
              <a:rPr lang="ru-RU" sz="1400" dirty="0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 в части структурирования и управления проектом на территории Казахстана с составлением достоверного плана реализации проекта</a:t>
            </a:r>
          </a:p>
          <a:p>
            <a:pPr marL="800140" lvl="1" indent="-342917" algn="just">
              <a:spcAft>
                <a:spcPts val="600"/>
              </a:spcAft>
              <a:buFont typeface="+mj-lt"/>
              <a:buAutoNum type="arabicParenR"/>
              <a:defRPr/>
            </a:pPr>
            <a:r>
              <a:rPr lang="ru-RU" sz="1400" dirty="0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Содействие в </a:t>
            </a:r>
            <a:r>
              <a:rPr lang="ru-RU" sz="1400" b="1" dirty="0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снижении правовых и налоговых рисков</a:t>
            </a:r>
            <a:endParaRPr lang="ru-RU" sz="1400" dirty="0">
              <a:solidFill>
                <a:srgbClr val="082C53"/>
              </a:solidFill>
              <a:latin typeface="Open Sans"/>
              <a:ea typeface="Open Sans"/>
              <a:cs typeface="Open Sans"/>
            </a:endParaRPr>
          </a:p>
          <a:p>
            <a:pPr marL="800140" lvl="1" indent="-342917" algn="just">
              <a:spcAft>
                <a:spcPts val="600"/>
              </a:spcAft>
              <a:buFont typeface="+mj-lt"/>
              <a:buAutoNum type="arabicParenR"/>
              <a:defRPr/>
            </a:pPr>
            <a:r>
              <a:rPr lang="ru-RU" sz="1400" b="1" dirty="0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Вынесение, в том числе проблемных вопросов</a:t>
            </a:r>
            <a:r>
              <a:rPr lang="ru-RU" sz="1400" dirty="0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 на рассмотрение органов поддержки инвестиций на высоком уровне</a:t>
            </a:r>
          </a:p>
          <a:p>
            <a:pPr marL="800140" lvl="1" indent="-342917" algn="just">
              <a:spcAft>
                <a:spcPts val="600"/>
              </a:spcAft>
              <a:buFont typeface="+mj-lt"/>
              <a:buAutoNum type="arabicParenR"/>
              <a:defRPr/>
            </a:pPr>
            <a:r>
              <a:rPr lang="ru-RU" sz="1400" dirty="0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Повышение </a:t>
            </a:r>
            <a:r>
              <a:rPr lang="ru-RU" sz="1400" b="1" dirty="0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доступа к государственным мерам поддержки</a:t>
            </a:r>
            <a:r>
              <a:rPr lang="ru-RU" sz="1400" dirty="0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 и программам </a:t>
            </a:r>
          </a:p>
          <a:p>
            <a:pPr marL="800140" lvl="1" indent="-342917" algn="just">
              <a:spcAft>
                <a:spcPts val="600"/>
              </a:spcAft>
              <a:buFont typeface="+mj-lt"/>
              <a:buAutoNum type="arabicParenR"/>
              <a:defRPr/>
            </a:pPr>
            <a:r>
              <a:rPr lang="ru-RU" sz="1400" dirty="0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Выход на </a:t>
            </a:r>
            <a:r>
              <a:rPr lang="ru-RU" sz="1400" b="1" dirty="0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обширную сети бизнес контактов </a:t>
            </a:r>
            <a:r>
              <a:rPr lang="ru-RU" sz="1400" dirty="0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и наличие отраслевой информации</a:t>
            </a:r>
          </a:p>
          <a:p>
            <a:pPr lvl="1" algn="just">
              <a:defRPr/>
            </a:pPr>
            <a:endParaRPr lang="en-US" sz="1600" b="1" dirty="0">
              <a:solidFill>
                <a:srgbClr val="082C53"/>
              </a:solidFill>
              <a:highlight>
                <a:srgbClr val="000000">
                  <a:alpha val="0"/>
                </a:srgbClr>
              </a:highlight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BDC07F8-4EBB-478C-9C7A-A9953AA9712E}"/>
              </a:ext>
            </a:extLst>
          </p:cNvPr>
          <p:cNvSpPr txBox="1"/>
          <p:nvPr/>
        </p:nvSpPr>
        <p:spPr>
          <a:xfrm>
            <a:off x="251535" y="1816273"/>
            <a:ext cx="11403704" cy="1164220"/>
          </a:xfrm>
          <a:prstGeom prst="rect">
            <a:avLst/>
          </a:prstGeom>
          <a:noFill/>
        </p:spPr>
        <p:txBody>
          <a:bodyPr/>
          <a:lstStyle/>
          <a:p>
            <a:pPr algn="just">
              <a:defRPr/>
            </a:pPr>
            <a:r>
              <a:rPr lang="ru-RU" sz="1600" dirty="0">
                <a:solidFill>
                  <a:srgbClr val="082C53"/>
                </a:solidFill>
                <a:latin typeface="Open Sans"/>
                <a:ea typeface="Open Sans"/>
                <a:cs typeface="Open Sans"/>
              </a:rPr>
              <a:t>Некоторые решаемые проблемные аспекты</a:t>
            </a:r>
            <a:endParaRPr lang="en-US" sz="1600" b="1" dirty="0">
              <a:solidFill>
                <a:srgbClr val="082C53"/>
              </a:solidFill>
              <a:highlight>
                <a:srgbClr val="000000">
                  <a:alpha val="0"/>
                </a:srgbClr>
              </a:highlight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6BE1852-702F-4D9F-A422-5FAFD9367BED}"/>
              </a:ext>
            </a:extLst>
          </p:cNvPr>
          <p:cNvSpPr/>
          <p:nvPr/>
        </p:nvSpPr>
        <p:spPr>
          <a:xfrm>
            <a:off x="322938" y="2190733"/>
            <a:ext cx="2590931" cy="701685"/>
          </a:xfrm>
          <a:prstGeom prst="rect">
            <a:avLst/>
          </a:prstGeom>
          <a:solidFill>
            <a:srgbClr val="003975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Необходимость взаимодействия</a:t>
            </a:r>
            <a:r>
              <a:rPr lang="en-US" sz="1400" dirty="0"/>
              <a:t> </a:t>
            </a:r>
            <a:r>
              <a:rPr lang="ru-RU" sz="1400" dirty="0"/>
              <a:t> с множеством государственных ведомств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3280B257-4AA4-4FCA-A9D8-8312FA06531D}"/>
              </a:ext>
            </a:extLst>
          </p:cNvPr>
          <p:cNvSpPr/>
          <p:nvPr/>
        </p:nvSpPr>
        <p:spPr>
          <a:xfrm>
            <a:off x="3345086" y="2192647"/>
            <a:ext cx="2236565" cy="701684"/>
          </a:xfrm>
          <a:prstGeom prst="rect">
            <a:avLst/>
          </a:prstGeom>
          <a:solidFill>
            <a:srgbClr val="003975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Отсутствие прозрачности и понятных алгоритмов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C4ED384B-D73A-431A-8E03-D24F441F87D4}"/>
              </a:ext>
            </a:extLst>
          </p:cNvPr>
          <p:cNvSpPr/>
          <p:nvPr/>
        </p:nvSpPr>
        <p:spPr>
          <a:xfrm>
            <a:off x="6177280" y="2192648"/>
            <a:ext cx="2590931" cy="701683"/>
          </a:xfrm>
          <a:prstGeom prst="rect">
            <a:avLst/>
          </a:prstGeom>
          <a:solidFill>
            <a:srgbClr val="003975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Дублирование функций разными ведомствами</a:t>
            </a:r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967AD872-1EB5-49F0-8D53-75F5B5CD0FC7}"/>
              </a:ext>
            </a:extLst>
          </p:cNvPr>
          <p:cNvSpPr/>
          <p:nvPr/>
        </p:nvSpPr>
        <p:spPr>
          <a:xfrm>
            <a:off x="114300" y="1816274"/>
            <a:ext cx="11769468" cy="1214535"/>
          </a:xfrm>
          <a:prstGeom prst="round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471514ED-A719-452E-9A65-2B7BEA11E873}"/>
              </a:ext>
            </a:extLst>
          </p:cNvPr>
          <p:cNvSpPr/>
          <p:nvPr/>
        </p:nvSpPr>
        <p:spPr>
          <a:xfrm>
            <a:off x="9167356" y="2192648"/>
            <a:ext cx="2487883" cy="701683"/>
          </a:xfrm>
          <a:prstGeom prst="rect">
            <a:avLst/>
          </a:prstGeom>
          <a:solidFill>
            <a:srgbClr val="003975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Недостаточная координация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C15D11D-ED13-4DEF-A9EC-5A7A1269BB98}"/>
              </a:ext>
            </a:extLst>
          </p:cNvPr>
          <p:cNvSpPr/>
          <p:nvPr/>
        </p:nvSpPr>
        <p:spPr>
          <a:xfrm>
            <a:off x="512662" y="6091252"/>
            <a:ext cx="11927840" cy="6850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38">
              <a:lnSpc>
                <a:spcPct val="107000"/>
              </a:lnSpc>
              <a:spcAft>
                <a:spcPts val="600"/>
              </a:spcAft>
              <a:tabLst>
                <a:tab pos="630587" algn="l"/>
              </a:tabLst>
            </a:pPr>
            <a:r>
              <a:rPr lang="ru-RU" b="1" i="1" dirty="0">
                <a:solidFill>
                  <a:srgbClr val="003975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аким образом, участие </a:t>
            </a:r>
            <a:r>
              <a:rPr lang="en-US" b="1" i="1" dirty="0">
                <a:solidFill>
                  <a:srgbClr val="003975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QIC</a:t>
            </a:r>
            <a:r>
              <a:rPr lang="ru-RU" b="1" i="1" dirty="0">
                <a:solidFill>
                  <a:srgbClr val="003975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в проекте обеспечит более комфортную инвестиционную среду для иностранного инвестора и снизит риски срыва реализации проектов.</a:t>
            </a:r>
            <a:endParaRPr lang="ru-RU" sz="1600" dirty="0">
              <a:solidFill>
                <a:srgbClr val="003975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6915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Заголовок 1">
            <a:extLst>
              <a:ext uri="{FF2B5EF4-FFF2-40B4-BE49-F238E27FC236}">
                <a16:creationId xmlns:a16="http://schemas.microsoft.com/office/drawing/2014/main" id="{348D9E01-F808-4257-B197-2C01679C5438}"/>
              </a:ext>
            </a:extLst>
          </p:cNvPr>
          <p:cNvSpPr txBox="1"/>
          <p:nvPr/>
        </p:nvSpPr>
        <p:spPr>
          <a:xfrm>
            <a:off x="296534" y="239912"/>
            <a:ext cx="9369981" cy="5464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18254F"/>
                </a:solidFill>
                <a:latin typeface="Open Sans "/>
                <a:ea typeface="+mj-ea"/>
                <a:cs typeface="+mj-cs"/>
              </a:defRPr>
            </a:lvl1pPr>
          </a:lstStyle>
          <a:p>
            <a:pPr defTabSz="914446"/>
            <a:r>
              <a:rPr lang="ru-RU" dirty="0">
                <a:solidFill>
                  <a:srgbClr val="082C53"/>
                </a:solidFill>
              </a:rPr>
              <a:t>Преимущества инструментов финансирования </a:t>
            </a:r>
            <a:r>
              <a:rPr lang="en-US" dirty="0">
                <a:solidFill>
                  <a:srgbClr val="082C53"/>
                </a:solidFill>
              </a:rPr>
              <a:t>QIC </a:t>
            </a:r>
          </a:p>
        </p:txBody>
      </p:sp>
      <p:sp>
        <p:nvSpPr>
          <p:cNvPr id="54" name="Номер слайда 2">
            <a:extLst>
              <a:ext uri="{FF2B5EF4-FFF2-40B4-BE49-F238E27FC236}">
                <a16:creationId xmlns:a16="http://schemas.microsoft.com/office/drawing/2014/main" id="{A9232731-C003-4C15-BE11-82D5D18CB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9470" y="6453247"/>
            <a:ext cx="2743200" cy="365125"/>
          </a:xfrm>
        </p:spPr>
        <p:txBody>
          <a:bodyPr/>
          <a:lstStyle/>
          <a:p>
            <a:pPr defTabSz="914446">
              <a:defRPr/>
            </a:pPr>
            <a:fld id="{0161DE72-5E33-4A0D-AE4E-E16E14FA4E9B}" type="slidenum">
              <a:rPr lang="en-GB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914446">
                <a:defRPr/>
              </a:pPr>
              <a:t>133</a:t>
            </a:fld>
            <a:endParaRPr lang="en-GB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2E518B38-62F6-41D5-9B9E-10D12AA0710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755" b="21247"/>
          <a:stretch/>
        </p:blipFill>
        <p:spPr>
          <a:xfrm>
            <a:off x="9168127" y="4038158"/>
            <a:ext cx="3087019" cy="2856706"/>
          </a:xfrm>
          <a:prstGeom prst="rect">
            <a:avLst/>
          </a:prstGeom>
        </p:spPr>
      </p:pic>
      <p:sp>
        <p:nvSpPr>
          <p:cNvPr id="104" name="TextBox 103">
            <a:extLst>
              <a:ext uri="{FF2B5EF4-FFF2-40B4-BE49-F238E27FC236}">
                <a16:creationId xmlns:a16="http://schemas.microsoft.com/office/drawing/2014/main" id="{9C2014CA-FE16-439D-BB51-DAA1FE433583}"/>
              </a:ext>
            </a:extLst>
          </p:cNvPr>
          <p:cNvSpPr txBox="1"/>
          <p:nvPr/>
        </p:nvSpPr>
        <p:spPr>
          <a:xfrm>
            <a:off x="7958613" y="959454"/>
            <a:ext cx="341580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46"/>
            <a:r>
              <a:rPr lang="ru-RU" sz="1200" b="1" dirty="0">
                <a:solidFill>
                  <a:srgbClr val="44546A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СТРУКТУРА ФИНАНСИРОВАНИЯ</a:t>
            </a:r>
            <a:endParaRPr lang="ru-RU" sz="1200" b="1" dirty="0">
              <a:solidFill>
                <a:srgbClr val="44546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F499C040-B053-416B-B018-718FBFEC4175}"/>
              </a:ext>
            </a:extLst>
          </p:cNvPr>
          <p:cNvSpPr txBox="1"/>
          <p:nvPr/>
        </p:nvSpPr>
        <p:spPr>
          <a:xfrm>
            <a:off x="8266429" y="2075474"/>
            <a:ext cx="74808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6"/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en-US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08" name="Прямоугольник 26">
            <a:extLst>
              <a:ext uri="{FF2B5EF4-FFF2-40B4-BE49-F238E27FC236}">
                <a16:creationId xmlns:a16="http://schemas.microsoft.com/office/drawing/2014/main" id="{B39EFF12-76BD-4F37-A692-4223F1ED2588}"/>
              </a:ext>
            </a:extLst>
          </p:cNvPr>
          <p:cNvSpPr/>
          <p:nvPr/>
        </p:nvSpPr>
        <p:spPr>
          <a:xfrm>
            <a:off x="10552926" y="1379314"/>
            <a:ext cx="1118750" cy="712017"/>
          </a:xfrm>
          <a:prstGeom prst="rect">
            <a:avLst/>
          </a:prstGeom>
          <a:noFill/>
          <a:ln w="12700" cap="flat" cmpd="sng" algn="ctr">
            <a:solidFill>
              <a:srgbClr val="5B9BD5">
                <a:shade val="50000"/>
              </a:srgbClr>
            </a:solidFill>
            <a:prstDash val="dashDot"/>
            <a:miter lim="800000"/>
          </a:ln>
          <a:effectLst/>
        </p:spPr>
        <p:txBody>
          <a:bodyPr rtlCol="0" anchor="ctr"/>
          <a:lstStyle/>
          <a:p>
            <a:pPr algn="ctr" defTabSz="914446">
              <a:defRPr/>
            </a:pPr>
            <a:r>
              <a:rPr lang="ru-RU" sz="11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ники / Акционеры проекта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FC6DF666-E434-43D7-80EA-8B765B02D1C9}"/>
              </a:ext>
            </a:extLst>
          </p:cNvPr>
          <p:cNvSpPr txBox="1"/>
          <p:nvPr/>
        </p:nvSpPr>
        <p:spPr>
          <a:xfrm>
            <a:off x="8691191" y="2761382"/>
            <a:ext cx="22808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46"/>
            <a:r>
              <a:rPr lang="ru-RU" sz="9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знос в уставный/</a:t>
            </a:r>
            <a:endParaRPr lang="en-US" sz="9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914446"/>
            <a:r>
              <a:rPr lang="ru-RU" sz="9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ионерный капитал</a:t>
            </a:r>
          </a:p>
        </p:txBody>
      </p:sp>
      <p:sp>
        <p:nvSpPr>
          <p:cNvPr id="146" name="Скругленный прямоугольник 68">
            <a:extLst>
              <a:ext uri="{FF2B5EF4-FFF2-40B4-BE49-F238E27FC236}">
                <a16:creationId xmlns:a16="http://schemas.microsoft.com/office/drawing/2014/main" id="{FCB2A62F-4F1E-432E-BEAA-1A2D9D1300E9}"/>
              </a:ext>
            </a:extLst>
          </p:cNvPr>
          <p:cNvSpPr/>
          <p:nvPr/>
        </p:nvSpPr>
        <p:spPr>
          <a:xfrm>
            <a:off x="8061506" y="1360058"/>
            <a:ext cx="1259368" cy="717970"/>
          </a:xfrm>
          <a:prstGeom prst="roundRect">
            <a:avLst/>
          </a:prstGeom>
          <a:solidFill>
            <a:sysClr val="window" lastClr="FFFFFF"/>
          </a:solidFill>
          <a:ln w="28575" cap="flat" cmpd="dbl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46">
              <a:defRPr/>
            </a:pPr>
            <a:endParaRPr lang="ru-RU" kern="0" dirty="0">
              <a:solidFill>
                <a:srgbClr val="5B9BD5">
                  <a:lumMod val="75000"/>
                </a:srgbClr>
              </a:solidFill>
              <a:latin typeface="Calibri" panose="020F0502020204030204"/>
            </a:endParaRPr>
          </a:p>
        </p:txBody>
      </p:sp>
      <p:pic>
        <p:nvPicPr>
          <p:cNvPr id="151" name="Рисунок 150">
            <a:extLst>
              <a:ext uri="{FF2B5EF4-FFF2-40B4-BE49-F238E27FC236}">
                <a16:creationId xmlns:a16="http://schemas.microsoft.com/office/drawing/2014/main" id="{4F19D6E0-7EAB-41DB-9805-5D74402DBF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44835" y="1438268"/>
            <a:ext cx="1065295" cy="511501"/>
          </a:xfrm>
          <a:prstGeom prst="rect">
            <a:avLst/>
          </a:prstGeom>
        </p:spPr>
      </p:pic>
      <p:grpSp>
        <p:nvGrpSpPr>
          <p:cNvPr id="154" name="Группа 153">
            <a:extLst>
              <a:ext uri="{FF2B5EF4-FFF2-40B4-BE49-F238E27FC236}">
                <a16:creationId xmlns:a16="http://schemas.microsoft.com/office/drawing/2014/main" id="{C666146F-E273-4E86-8AA4-CFFD909BB180}"/>
              </a:ext>
            </a:extLst>
          </p:cNvPr>
          <p:cNvGrpSpPr/>
          <p:nvPr/>
        </p:nvGrpSpPr>
        <p:grpSpPr>
          <a:xfrm>
            <a:off x="9269151" y="4093584"/>
            <a:ext cx="1144370" cy="862886"/>
            <a:chOff x="10233647" y="2481407"/>
            <a:chExt cx="1144370" cy="862886"/>
          </a:xfrm>
        </p:grpSpPr>
        <p:sp>
          <p:nvSpPr>
            <p:cNvPr id="155" name="Скругленный прямоугольник 68">
              <a:extLst>
                <a:ext uri="{FF2B5EF4-FFF2-40B4-BE49-F238E27FC236}">
                  <a16:creationId xmlns:a16="http://schemas.microsoft.com/office/drawing/2014/main" id="{6ED67428-B498-49C0-AC78-F708007DDB1A}"/>
                </a:ext>
              </a:extLst>
            </p:cNvPr>
            <p:cNvSpPr/>
            <p:nvPr/>
          </p:nvSpPr>
          <p:spPr>
            <a:xfrm>
              <a:off x="10314161" y="2481407"/>
              <a:ext cx="1007050" cy="862886"/>
            </a:xfrm>
            <a:prstGeom prst="roundRect">
              <a:avLst/>
            </a:prstGeom>
            <a:solidFill>
              <a:sysClr val="window" lastClr="FFFFFF"/>
            </a:solidFill>
            <a:ln w="28575" cap="flat" cmpd="dbl" algn="ctr">
              <a:solidFill>
                <a:srgbClr val="7D685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446">
                <a:defRPr/>
              </a:pPr>
              <a:endParaRPr lang="ru-RU" sz="1400" kern="0" dirty="0">
                <a:solidFill>
                  <a:srgbClr val="5B9BD5">
                    <a:lumMod val="75000"/>
                  </a:srgbClr>
                </a:solidFill>
                <a:latin typeface="Calibri" panose="020F0502020204030204"/>
              </a:endParaRPr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8C6000A1-7595-41A1-B245-73042026F7C4}"/>
                </a:ext>
              </a:extLst>
            </p:cNvPr>
            <p:cNvSpPr txBox="1"/>
            <p:nvPr/>
          </p:nvSpPr>
          <p:spPr>
            <a:xfrm>
              <a:off x="10233647" y="2490625"/>
              <a:ext cx="1144370" cy="33855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36" tIns="45719" rIns="91436" bIns="45719" rtlCol="0">
              <a:spAutoFit/>
            </a:bodyPr>
            <a:lstStyle/>
            <a:p>
              <a:pPr algn="ctr" defTabSz="914446">
                <a:defRPr/>
              </a:pPr>
              <a:r>
                <a:rPr lang="ru-RU" sz="800" kern="0" dirty="0">
                  <a:solidFill>
                    <a:srgbClr val="4472C4">
                      <a:lumMod val="50000"/>
                    </a:srgbClr>
                  </a:solidFill>
                  <a:latin typeface="Arial Black" pitchFamily="34" charset="0"/>
                  <a:cs typeface="Arial" panose="020B0604020202020204" pitchFamily="34" charset="0"/>
                </a:rPr>
                <a:t>Проектная компания</a:t>
              </a:r>
            </a:p>
          </p:txBody>
        </p:sp>
      </p:grpSp>
      <p:pic>
        <p:nvPicPr>
          <p:cNvPr id="157" name="Рисунок 156">
            <a:extLst>
              <a:ext uri="{FF2B5EF4-FFF2-40B4-BE49-F238E27FC236}">
                <a16:creationId xmlns:a16="http://schemas.microsoft.com/office/drawing/2014/main" id="{F2A363F9-75BB-4E84-9190-B63F98D694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92390" y="4348563"/>
            <a:ext cx="603556" cy="597460"/>
          </a:xfrm>
          <a:prstGeom prst="rect">
            <a:avLst/>
          </a:prstGeom>
        </p:spPr>
      </p:pic>
      <p:cxnSp>
        <p:nvCxnSpPr>
          <p:cNvPr id="37" name="Соединительная линия уступом 41">
            <a:extLst>
              <a:ext uri="{FF2B5EF4-FFF2-40B4-BE49-F238E27FC236}">
                <a16:creationId xmlns:a16="http://schemas.microsoft.com/office/drawing/2014/main" id="{67292EBE-8426-43D6-8225-3EBBCC1A2485}"/>
              </a:ext>
            </a:extLst>
          </p:cNvPr>
          <p:cNvCxnSpPr>
            <a:cxnSpLocks/>
          </p:cNvCxnSpPr>
          <p:nvPr/>
        </p:nvCxnSpPr>
        <p:spPr>
          <a:xfrm rot="16200000" flipH="1">
            <a:off x="8468772" y="2735828"/>
            <a:ext cx="2012681" cy="706197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2CFC18D3-2DFC-496C-9440-C347A64506BF}"/>
              </a:ext>
            </a:extLst>
          </p:cNvPr>
          <p:cNvSpPr/>
          <p:nvPr/>
        </p:nvSpPr>
        <p:spPr>
          <a:xfrm>
            <a:off x="344784" y="889000"/>
            <a:ext cx="6261642" cy="3213801"/>
          </a:xfrm>
          <a:prstGeom prst="rect">
            <a:avLst/>
          </a:prstGeom>
          <a:noFill/>
          <a:ln w="19050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306" indent="-114306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533" b="1" dirty="0">
                <a:solidFill>
                  <a:srgbClr val="203864"/>
                </a:solidFill>
              </a:rPr>
              <a:t> </a:t>
            </a:r>
            <a:r>
              <a:rPr lang="ru-RU" sz="1533" b="1" dirty="0">
                <a:solidFill>
                  <a:srgbClr val="203864"/>
                </a:solidFill>
              </a:rPr>
              <a:t>доступ к долгосрочному финансированию</a:t>
            </a:r>
          </a:p>
          <a:p>
            <a:pPr marL="114306" indent="-114306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533" b="1" dirty="0">
                <a:solidFill>
                  <a:srgbClr val="203864"/>
                </a:solidFill>
              </a:rPr>
              <a:t> </a:t>
            </a:r>
            <a:r>
              <a:rPr lang="ru-RU" sz="1533" b="1" dirty="0">
                <a:solidFill>
                  <a:srgbClr val="203864"/>
                </a:solidFill>
              </a:rPr>
              <a:t>не требуется обеспечение</a:t>
            </a:r>
          </a:p>
          <a:p>
            <a:pPr marL="114306" indent="-114306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1533" b="1" dirty="0">
                <a:solidFill>
                  <a:srgbClr val="203864"/>
                </a:solidFill>
              </a:rPr>
              <a:t> </a:t>
            </a:r>
            <a:r>
              <a:rPr lang="ru-RU" sz="1533" b="1" dirty="0">
                <a:solidFill>
                  <a:srgbClr val="203864"/>
                </a:solidFill>
              </a:rPr>
              <a:t>повышение финансового рычага компании</a:t>
            </a:r>
          </a:p>
          <a:p>
            <a:pPr marL="114306" indent="-114306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533" b="1" dirty="0">
                <a:solidFill>
                  <a:srgbClr val="203864"/>
                </a:solidFill>
              </a:rPr>
              <a:t>разделение рисков </a:t>
            </a:r>
          </a:p>
          <a:p>
            <a:pPr marL="114306" indent="-114306" algn="just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533" b="1" dirty="0">
                <a:solidFill>
                  <a:srgbClr val="203864"/>
                </a:solidFill>
              </a:rPr>
              <a:t>получение информации, экспертных знаний, внедрение передовых практик корпоративного управления</a:t>
            </a:r>
          </a:p>
        </p:txBody>
      </p:sp>
      <p:cxnSp>
        <p:nvCxnSpPr>
          <p:cNvPr id="47" name="Соединительная линия уступом 41">
            <a:extLst>
              <a:ext uri="{FF2B5EF4-FFF2-40B4-BE49-F238E27FC236}">
                <a16:creationId xmlns:a16="http://schemas.microsoft.com/office/drawing/2014/main" id="{41E0AA12-6A4F-4B4D-A60F-64C322A8FE3D}"/>
              </a:ext>
            </a:extLst>
          </p:cNvPr>
          <p:cNvCxnSpPr>
            <a:cxnSpLocks/>
          </p:cNvCxnSpPr>
          <p:nvPr/>
        </p:nvCxnSpPr>
        <p:spPr>
          <a:xfrm rot="5400000">
            <a:off x="9263993" y="2660358"/>
            <a:ext cx="1982996" cy="854559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ysClr val="windowText" lastClr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FCD94F1-982A-4E1D-BC35-09BCC83C9B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91951" y="5536179"/>
            <a:ext cx="1211500" cy="696132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6774D85-6088-4AC1-9EB8-80AE43504F9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14688" y="5657863"/>
            <a:ext cx="971734" cy="473659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9EC3B3D-5C67-419B-943A-9B37B3DDBA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00352" y="4904048"/>
            <a:ext cx="138153" cy="62168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387BE68-73E0-40FB-A98E-FF772DA291F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65756" y="5089201"/>
            <a:ext cx="1063008" cy="408741"/>
          </a:xfrm>
          <a:prstGeom prst="rect">
            <a:avLst/>
          </a:prstGeom>
        </p:spPr>
      </p:pic>
      <p:graphicFrame>
        <p:nvGraphicFramePr>
          <p:cNvPr id="27" name="Таблица 26">
            <a:extLst>
              <a:ext uri="{FF2B5EF4-FFF2-40B4-BE49-F238E27FC236}">
                <a16:creationId xmlns:a16="http://schemas.microsoft.com/office/drawing/2014/main" id="{841C4ACB-5341-4E56-BFD8-A332144CEDE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40048" y="4647293"/>
          <a:ext cx="6511438" cy="1661199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481709">
                  <a:extLst>
                    <a:ext uri="{9D8B030D-6E8A-4147-A177-3AD203B41FA5}">
                      <a16:colId xmlns:a16="http://schemas.microsoft.com/office/drawing/2014/main" val="3088072629"/>
                    </a:ext>
                  </a:extLst>
                </a:gridCol>
                <a:gridCol w="4029729">
                  <a:extLst>
                    <a:ext uri="{9D8B030D-6E8A-4147-A177-3AD203B41FA5}">
                      <a16:colId xmlns:a16="http://schemas.microsoft.com/office/drawing/2014/main" val="762040866"/>
                    </a:ext>
                  </a:extLst>
                </a:gridCol>
              </a:tblGrid>
              <a:tr h="264160">
                <a:tc>
                  <a:txBody>
                    <a:bodyPr/>
                    <a:lstStyle/>
                    <a:p>
                      <a:pPr algn="l"/>
                      <a:r>
                        <a:rPr lang="ru-RU" sz="1300" b="1" dirty="0">
                          <a:solidFill>
                            <a:schemeClr val="tx1"/>
                          </a:solidFill>
                          <a:latin typeface="+mn-lt"/>
                        </a:rPr>
                        <a:t>Сумма инвестиций</a:t>
                      </a:r>
                    </a:p>
                  </a:txBody>
                  <a:tcPr marL="60960" marR="60960" marT="30480" marB="3048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3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т 1 до 10 млрд тенге</a:t>
                      </a:r>
                      <a:endParaRPr lang="ru-RU" sz="13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0960" marR="60960" marT="30480" marB="3048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69670975"/>
                  </a:ext>
                </a:extLst>
              </a:tr>
              <a:tr h="264160"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рок инвестирования</a:t>
                      </a:r>
                      <a:endParaRPr lang="ru-RU" sz="13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0960" marR="60960" marT="30480" marB="30480">
                    <a:lnT w="127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до 15 лет</a:t>
                      </a:r>
                      <a:endParaRPr lang="ru-RU" sz="13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0960" marR="60960" marT="30480" marB="30480">
                    <a:lnT w="12700" cmpd="sng">
                      <a:noFill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332398709"/>
                  </a:ext>
                </a:extLst>
              </a:tr>
              <a:tr h="467360"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Целевое назначение </a:t>
                      </a:r>
                      <a:endParaRPr lang="ru-RU" sz="13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Финансирование инвестиционных целей</a:t>
                      </a: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300" b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0960" marR="60960" marT="30480" marB="30480"/>
                </a:tc>
                <a:extLst>
                  <a:ext uri="{0D108BD9-81ED-4DB2-BD59-A6C34878D82A}">
                    <a16:rowId xmlns:a16="http://schemas.microsoft.com/office/drawing/2014/main" val="1566087692"/>
                  </a:ext>
                </a:extLst>
              </a:tr>
              <a:tr h="467360"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Доля участия ФПИ в капитале предприятий</a:t>
                      </a:r>
                    </a:p>
                  </a:txBody>
                  <a:tcPr marL="60960" marR="60960" marT="30480" marB="3048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dirty="0">
                          <a:solidFill>
                            <a:schemeClr val="tx1"/>
                          </a:solidFill>
                          <a:latin typeface="+mn-lt"/>
                        </a:rPr>
                        <a:t>До </a:t>
                      </a:r>
                      <a:r>
                        <a:rPr lang="en-US" sz="1300" b="0" dirty="0">
                          <a:solidFill>
                            <a:schemeClr val="tx1"/>
                          </a:solidFill>
                          <a:latin typeface="+mn-lt"/>
                        </a:rPr>
                        <a:t>50</a:t>
                      </a:r>
                      <a:r>
                        <a:rPr lang="ru-RU" sz="1300" b="0" dirty="0">
                          <a:solidFill>
                            <a:schemeClr val="tx1"/>
                          </a:solidFill>
                          <a:latin typeface="+mn-lt"/>
                        </a:rPr>
                        <a:t>%</a:t>
                      </a: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3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0960" marR="60960" marT="30480" marB="30480" anchor="ctr"/>
                </a:tc>
                <a:extLst>
                  <a:ext uri="{0D108BD9-81ED-4DB2-BD59-A6C34878D82A}">
                    <a16:rowId xmlns:a16="http://schemas.microsoft.com/office/drawing/2014/main" val="2636029473"/>
                  </a:ext>
                </a:extLst>
              </a:tr>
              <a:tr h="198159"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algn="ctr"/>
                      <a:endParaRPr lang="ru-RU" sz="8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960" marR="60960" marT="30480" marB="30480"/>
                </a:tc>
                <a:extLst>
                  <a:ext uri="{0D108BD9-81ED-4DB2-BD59-A6C34878D82A}">
                    <a16:rowId xmlns:a16="http://schemas.microsoft.com/office/drawing/2014/main" val="29274919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41177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Заголовок 1">
            <a:extLst>
              <a:ext uri="{FF2B5EF4-FFF2-40B4-BE49-F238E27FC236}">
                <a16:creationId xmlns:a16="http://schemas.microsoft.com/office/drawing/2014/main" id="{348D9E01-F808-4257-B197-2C01679C5438}"/>
              </a:ext>
            </a:extLst>
          </p:cNvPr>
          <p:cNvSpPr txBox="1"/>
          <p:nvPr/>
        </p:nvSpPr>
        <p:spPr>
          <a:xfrm>
            <a:off x="296534" y="239912"/>
            <a:ext cx="9369981" cy="5464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18254F"/>
                </a:solidFill>
                <a:latin typeface="Open Sans "/>
                <a:ea typeface="+mj-ea"/>
                <a:cs typeface="+mj-cs"/>
              </a:defRPr>
            </a:lvl1pPr>
          </a:lstStyle>
          <a:p>
            <a:pPr defTabSz="914446">
              <a:defRPr/>
            </a:pPr>
            <a:r>
              <a:rPr lang="ru-RU" dirty="0">
                <a:solidFill>
                  <a:srgbClr val="082C53"/>
                </a:solidFill>
              </a:rPr>
              <a:t>Отраслевые приоритеты</a:t>
            </a:r>
            <a:endParaRPr lang="en-US" dirty="0">
              <a:solidFill>
                <a:srgbClr val="082C53"/>
              </a:solidFill>
            </a:endParaRPr>
          </a:p>
        </p:txBody>
      </p:sp>
      <p:sp>
        <p:nvSpPr>
          <p:cNvPr id="54" name="Номер слайда 2">
            <a:extLst>
              <a:ext uri="{FF2B5EF4-FFF2-40B4-BE49-F238E27FC236}">
                <a16:creationId xmlns:a16="http://schemas.microsoft.com/office/drawing/2014/main" id="{A9232731-C003-4C15-BE11-82D5D18CB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39470" y="6453247"/>
            <a:ext cx="2743200" cy="365125"/>
          </a:xfrm>
        </p:spPr>
        <p:txBody>
          <a:bodyPr/>
          <a:lstStyle/>
          <a:p>
            <a:pPr defTabSz="914446">
              <a:defRPr/>
            </a:pPr>
            <a:fld id="{0161DE72-5E33-4A0D-AE4E-E16E14FA4E9B}" type="slidenum">
              <a:rPr lang="en-GB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914446">
                <a:defRPr/>
              </a:pPr>
              <a:t>134</a:t>
            </a:fld>
            <a:endParaRPr lang="en-GB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2E518B38-62F6-41D5-9B9E-10D12AA0710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755" b="21247"/>
          <a:stretch/>
        </p:blipFill>
        <p:spPr>
          <a:xfrm>
            <a:off x="9168127" y="4038158"/>
            <a:ext cx="3087019" cy="285670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4B9BD93-8BD2-4C0B-9FF7-EADB8F74F9E2}"/>
              </a:ext>
            </a:extLst>
          </p:cNvPr>
          <p:cNvSpPr txBox="1"/>
          <p:nvPr/>
        </p:nvSpPr>
        <p:spPr>
          <a:xfrm>
            <a:off x="296533" y="812750"/>
            <a:ext cx="11133467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90510" indent="-19051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203864"/>
                </a:solidFill>
              </a:rPr>
              <a:t>проекты средней и высокой переработки в металлургии</a:t>
            </a:r>
            <a:endParaRPr lang="en-US" sz="1600" b="1" dirty="0">
              <a:solidFill>
                <a:srgbClr val="203864"/>
              </a:solidFill>
            </a:endParaRPr>
          </a:p>
          <a:p>
            <a:endParaRPr lang="ru-RU" sz="1600" b="1" dirty="0">
              <a:solidFill>
                <a:srgbClr val="203864"/>
              </a:solidFill>
            </a:endParaRPr>
          </a:p>
          <a:p>
            <a:pPr marL="190510" indent="-19051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203864"/>
                </a:solidFill>
              </a:rPr>
              <a:t>проекты средней и высокой переработки в нефтехимии</a:t>
            </a:r>
            <a:endParaRPr lang="en-US" sz="1600" b="1" dirty="0">
              <a:solidFill>
                <a:srgbClr val="203864"/>
              </a:solidFill>
            </a:endParaRPr>
          </a:p>
          <a:p>
            <a:endParaRPr lang="ru-RU" sz="1600" b="1" dirty="0">
              <a:solidFill>
                <a:srgbClr val="203864"/>
              </a:solidFill>
            </a:endParaRPr>
          </a:p>
          <a:p>
            <a:pPr marL="190510" indent="-19051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203864"/>
                </a:solidFill>
              </a:rPr>
              <a:t>проекты переработки и проекты по укрупнению в агропромышленном комплексе (в рамках послания Президента РК от 01 сентября 2023 года)</a:t>
            </a:r>
            <a:endParaRPr lang="en-US" sz="1600" b="1" dirty="0">
              <a:solidFill>
                <a:srgbClr val="203864"/>
              </a:solidFill>
            </a:endParaRPr>
          </a:p>
          <a:p>
            <a:endParaRPr lang="ru-RU" sz="1600" b="1" dirty="0">
              <a:solidFill>
                <a:srgbClr val="203864"/>
              </a:solidFill>
            </a:endParaRPr>
          </a:p>
          <a:p>
            <a:pPr marL="190510" indent="-19051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203864"/>
                </a:solidFill>
              </a:rPr>
              <a:t>проекты средней и высокой переработки других видов сырья (в т.ч. в химической промышленности)</a:t>
            </a:r>
            <a:endParaRPr lang="en-US" sz="1600" b="1" dirty="0">
              <a:solidFill>
                <a:srgbClr val="203864"/>
              </a:solidFill>
            </a:endParaRPr>
          </a:p>
          <a:p>
            <a:endParaRPr lang="ru-RU" sz="1600" b="1" dirty="0">
              <a:solidFill>
                <a:srgbClr val="203864"/>
              </a:solidFill>
            </a:endParaRPr>
          </a:p>
          <a:p>
            <a:pPr marL="190510" indent="-19051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203864"/>
                </a:solidFill>
              </a:rPr>
              <a:t>проекты в обрабатывающей промышленности с уровнем производительности труда выше среднего уровня</a:t>
            </a:r>
            <a:endParaRPr lang="en-US" sz="1600" b="1" dirty="0">
              <a:solidFill>
                <a:srgbClr val="203864"/>
              </a:solidFill>
            </a:endParaRPr>
          </a:p>
          <a:p>
            <a:endParaRPr lang="ru-RU" sz="1600" b="1" dirty="0">
              <a:solidFill>
                <a:srgbClr val="203864"/>
              </a:solidFill>
            </a:endParaRPr>
          </a:p>
          <a:p>
            <a:pPr marL="190510" indent="-19051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203864"/>
                </a:solidFill>
              </a:rPr>
              <a:t>сельское хозяйство</a:t>
            </a:r>
            <a:endParaRPr lang="en-US" sz="1600" b="1" dirty="0">
              <a:solidFill>
                <a:srgbClr val="203864"/>
              </a:solidFill>
            </a:endParaRPr>
          </a:p>
          <a:p>
            <a:endParaRPr lang="ru-RU" sz="1600" b="1" dirty="0">
              <a:solidFill>
                <a:srgbClr val="203864"/>
              </a:solidFill>
            </a:endParaRPr>
          </a:p>
          <a:p>
            <a:pPr marL="190510" indent="-19051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203864"/>
                </a:solidFill>
              </a:rPr>
              <a:t>инфраструктура и энергетика</a:t>
            </a:r>
          </a:p>
        </p:txBody>
      </p:sp>
    </p:spTree>
    <p:extLst>
      <p:ext uri="{BB962C8B-B14F-4D97-AF65-F5344CB8AC3E}">
        <p14:creationId xmlns:p14="http://schemas.microsoft.com/office/powerpoint/2010/main" val="1247968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500160" y="185006"/>
            <a:ext cx="11616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 algn="ctr">
              <a:defRPr sz="2400" b="1" u="sng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defRPr>
            </a:lvl1pPr>
          </a:lstStyle>
          <a:p>
            <a:r>
              <a:rPr lang="ru-RU" dirty="0" smtClean="0"/>
              <a:t>СПРАВОЧНИК КОНТАКТОВ</a:t>
            </a:r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7599185"/>
              </p:ext>
            </p:extLst>
          </p:nvPr>
        </p:nvGraphicFramePr>
        <p:xfrm>
          <a:off x="147484" y="598911"/>
          <a:ext cx="11969077" cy="62363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95152">
                  <a:extLst>
                    <a:ext uri="{9D8B030D-6E8A-4147-A177-3AD203B41FA5}">
                      <a16:colId xmlns:a16="http://schemas.microsoft.com/office/drawing/2014/main" val="2969417463"/>
                    </a:ext>
                  </a:extLst>
                </a:gridCol>
                <a:gridCol w="5953782">
                  <a:extLst>
                    <a:ext uri="{9D8B030D-6E8A-4147-A177-3AD203B41FA5}">
                      <a16:colId xmlns:a16="http://schemas.microsoft.com/office/drawing/2014/main" val="469868999"/>
                    </a:ext>
                  </a:extLst>
                </a:gridCol>
                <a:gridCol w="2320143">
                  <a:extLst>
                    <a:ext uri="{9D8B030D-6E8A-4147-A177-3AD203B41FA5}">
                      <a16:colId xmlns:a16="http://schemas.microsoft.com/office/drawing/2014/main" val="240644814"/>
                    </a:ext>
                  </a:extLst>
                </a:gridCol>
              </a:tblGrid>
              <a:tr h="522212">
                <a:tc>
                  <a:txBody>
                    <a:bodyPr/>
                    <a:lstStyle/>
                    <a:p>
                      <a:pPr algn="ctr"/>
                      <a:r>
                        <a:rPr lang="ru-RU" sz="1400" b="1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Организация</a:t>
                      </a:r>
                      <a:endParaRPr lang="ru-RU" sz="1400" b="1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Контактный телефон, адрес</a:t>
                      </a:r>
                      <a:endParaRPr lang="ru-RU" sz="1400" b="1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Электронный</a:t>
                      </a:r>
                      <a:r>
                        <a:rPr lang="ru-RU" sz="1400" b="1" u="none" baseline="0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 адрес,</a:t>
                      </a:r>
                    </a:p>
                    <a:p>
                      <a:pPr algn="ctr"/>
                      <a:r>
                        <a:rPr lang="ru-RU" sz="1400" b="1" u="none" baseline="0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сайт</a:t>
                      </a:r>
                      <a:endParaRPr lang="ru-RU" sz="1400" b="1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2955757"/>
                  </a:ext>
                </a:extLst>
              </a:tr>
              <a:tr h="1260546">
                <a:tc>
                  <a:txBody>
                    <a:bodyPr/>
                    <a:lstStyle/>
                    <a:p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ТОО «СК-Фармация»</a:t>
                      </a:r>
                      <a:endParaRPr lang="ru-RU" sz="1200" b="0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+7 (7172) 95</a:t>
                      </a:r>
                      <a:r>
                        <a:rPr lang="en-US" sz="1200" b="0" i="0" u="none" kern="1200" baseline="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kern="1200" baseline="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98 06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 – начальник управления Инвестиционных проектов Кузина Н.А.</a:t>
                      </a:r>
                      <a:endParaRPr lang="ru-RU" sz="1200" b="0" i="0" u="none" kern="1200" baseline="0" dirty="0" smtClean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+7 (7172) 55 92 47 – начальник управления обеспечения медицинской техникой (Палинка Н.)</a:t>
                      </a:r>
                    </a:p>
                    <a:p>
                      <a:r>
                        <a:rPr lang="ru-RU" sz="1200" b="0" i="0" u="none" kern="1200" dirty="0" err="1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г.Нур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-Султан, ул. </a:t>
                      </a:r>
                      <a:r>
                        <a:rPr lang="ru-RU" sz="1200" b="0" i="0" u="none" kern="1200" dirty="0" err="1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Достык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 13/3</a:t>
                      </a:r>
                      <a:endParaRPr lang="ru-RU" sz="1200" b="0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 </a:t>
                      </a: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  <a:hlinkClick r:id="rId2"/>
                        </a:rPr>
                        <a:t>info@sk-pharmacy.kz</a:t>
                      </a:r>
                      <a:r>
                        <a:rPr lang="en-US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 </a:t>
                      </a:r>
                      <a:endParaRPr lang="ru-RU" sz="1200" b="0" i="0" u="none" kern="1200" dirty="0" smtClean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+mn-ea"/>
                        <a:cs typeface="+mn-cs"/>
                      </a:endParaRPr>
                    </a:p>
                    <a:p>
                      <a:r>
                        <a:rPr lang="en-US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  <a:hlinkClick r:id="rId3"/>
                        </a:rPr>
                        <a:t>https://sk-pharmacy.kz/</a:t>
                      </a:r>
                      <a:endParaRPr lang="ru-RU" sz="1200" b="0" u="none" dirty="0" smtClean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69605216"/>
                  </a:ext>
                </a:extLst>
              </a:tr>
              <a:tr h="460775">
                <a:tc>
                  <a:txBody>
                    <a:bodyPr/>
                    <a:lstStyle/>
                    <a:p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АО "Национальная компания "KAZAKH INVEST"</a:t>
                      </a:r>
                      <a:endParaRPr lang="ru-RU" sz="1200" b="0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+7 (7172) 620 620</a:t>
                      </a:r>
                    </a:p>
                    <a:p>
                      <a:r>
                        <a:rPr lang="ru-RU" sz="1200" b="0" i="0" u="none" kern="1200" dirty="0" err="1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г.Нур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-Султан, </a:t>
                      </a:r>
                      <a:r>
                        <a:rPr lang="ru-RU" sz="1200" b="0" i="0" u="none" kern="1200" dirty="0" err="1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Мәңгілік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 Ел дом 55/20, корпус С 4.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  <a:hlinkClick r:id="rId4"/>
                        </a:rPr>
                        <a:t>info@invest.gov.kz</a:t>
                      </a:r>
                      <a:endParaRPr lang="ru-RU" sz="1200" b="0" u="none" dirty="0" smtClean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  <a:p>
                      <a:r>
                        <a:rPr lang="en-US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  <a:hlinkClick r:id="rId5"/>
                        </a:rPr>
                        <a:t>https://invest.gov.kz/</a:t>
                      </a:r>
                      <a:endParaRPr lang="ru-RU" sz="1200" b="0" u="none" dirty="0" smtClean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44074512"/>
                  </a:ext>
                </a:extLst>
              </a:tr>
              <a:tr h="53493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АО «</a:t>
                      </a:r>
                      <a:r>
                        <a:rPr lang="en-US" sz="1200" b="0" i="0" u="none" kern="1200" dirty="0" err="1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Qazindustry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»</a:t>
                      </a:r>
                      <a:endParaRPr lang="ru-RU" sz="1200" b="0" i="0" u="none" kern="1200" dirty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+ 7 (7172) 793</a:t>
                      </a:r>
                      <a:r>
                        <a:rPr lang="en-US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399</a:t>
                      </a:r>
                      <a:endParaRPr lang="en-US" sz="1200" b="0" i="0" u="none" kern="1200" dirty="0" smtClean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n-US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+7 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701</a:t>
                      </a:r>
                      <a:r>
                        <a:rPr lang="en-US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521</a:t>
                      </a:r>
                      <a:r>
                        <a:rPr lang="en-US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99</a:t>
                      </a:r>
                      <a:r>
                        <a:rPr lang="en-US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88</a:t>
                      </a:r>
                    </a:p>
                    <a:p>
                      <a:pPr marL="0" algn="l" defTabSz="914400" rtl="0" eaLnBrk="1" latinLnBrk="0" hangingPunct="1"/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г. </a:t>
                      </a:r>
                      <a:r>
                        <a:rPr lang="ru-RU" sz="1200" b="0" i="0" u="none" kern="1200" dirty="0" err="1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Нур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-Султан, пр. пр. </a:t>
                      </a:r>
                      <a:r>
                        <a:rPr lang="ru-RU" sz="1200" b="0" i="0" u="none" kern="1200" dirty="0" err="1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Кабанбай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 батыра, 17,(Блок Е), 4-5 этажи</a:t>
                      </a:r>
                      <a:endParaRPr lang="ru-RU" sz="1200" b="0" i="0" u="none" kern="1200" dirty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  <a:hlinkClick r:id="rId6" tooltip="INFO@KIDI.GOV.KZ"/>
                        </a:rPr>
                        <a:t>info@qazindustry.gov.kz</a:t>
                      </a:r>
                      <a:endParaRPr lang="ru-RU" sz="12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+mn-ea"/>
                        <a:cs typeface="+mn-cs"/>
                      </a:endParaRPr>
                    </a:p>
                    <a:p>
                      <a:r>
                        <a:rPr lang="en-US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  <a:hlinkClick r:id="rId7"/>
                        </a:rPr>
                        <a:t>https://qazindustry.gov.kz/</a:t>
                      </a:r>
                      <a:endParaRPr lang="ru-RU" sz="1200" b="0" u="none" dirty="0" smtClean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  <a:p>
                      <a:endParaRPr lang="ru-RU" sz="1200" b="0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279002"/>
                  </a:ext>
                </a:extLst>
              </a:tr>
              <a:tr h="558534">
                <a:tc>
                  <a:txBody>
                    <a:bodyPr/>
                    <a:lstStyle/>
                    <a:p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Министерство индустрии и инфраструктурного развития</a:t>
                      </a:r>
                      <a:endParaRPr lang="ru-RU" sz="1200" b="0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+7 (7172) 983</a:t>
                      </a:r>
                      <a:r>
                        <a:rPr lang="en-US" sz="1200" b="0" i="0" u="none" kern="1200" baseline="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135</a:t>
                      </a:r>
                    </a:p>
                    <a:p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 г. </a:t>
                      </a:r>
                      <a:r>
                        <a:rPr lang="ru-RU" sz="1200" b="0" i="0" u="none" kern="1200" dirty="0" err="1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Нур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-Султан, пр. </a:t>
                      </a:r>
                      <a:r>
                        <a:rPr lang="ru-RU" sz="1200" b="0" i="0" u="none" kern="1200" dirty="0" err="1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Кабанбай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 Батыра, 32/1, вход со стороны ул. </a:t>
                      </a:r>
                      <a:r>
                        <a:rPr lang="ru-RU" sz="1200" b="0" i="0" u="none" kern="1200" dirty="0" err="1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Кунаева</a:t>
                      </a:r>
                      <a:endParaRPr lang="ru-RU" sz="1200" b="0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 sz="1200" b="0" u="none" dirty="0" smtClean="0">
                        <a:solidFill>
                          <a:schemeClr val="tx1"/>
                        </a:solidFill>
                        <a:latin typeface="Century" panose="02040604050505020304" pitchFamily="18" charset="0"/>
                        <a:hlinkClick r:id="rId8"/>
                      </a:endParaRPr>
                    </a:p>
                    <a:p>
                      <a:r>
                        <a:rPr lang="en-US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  <a:hlinkClick r:id="rId8"/>
                        </a:rPr>
                        <a:t>miid@miid.gov.kz</a:t>
                      </a:r>
                      <a:endParaRPr lang="ru-RU" sz="1200" b="0" u="none" dirty="0" smtClean="0">
                        <a:solidFill>
                          <a:schemeClr val="tx1"/>
                        </a:solidFill>
                        <a:latin typeface="Century" panose="02040604050505020304" pitchFamily="18" charset="0"/>
                        <a:hlinkClick r:id="rId8"/>
                      </a:endParaRPr>
                    </a:p>
                    <a:p>
                      <a:r>
                        <a:rPr lang="en-US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  <a:hlinkClick r:id="rId8"/>
                        </a:rPr>
                        <a:t>https://www.gov.kz/</a:t>
                      </a:r>
                      <a:endParaRPr lang="ru-RU" sz="1200" b="0" u="none" dirty="0" smtClean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69724907"/>
                  </a:ext>
                </a:extLst>
              </a:tr>
              <a:tr h="596880">
                <a:tc>
                  <a:txBody>
                    <a:bodyPr/>
                    <a:lstStyle/>
                    <a:p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РГП на ПХВ «Национальный центр экспертизы лекарственных средств и медицинских изделий» МЗРК</a:t>
                      </a:r>
                      <a:endParaRPr lang="ru-RU" sz="1200" b="0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+7 (7172) 789</a:t>
                      </a:r>
                      <a:r>
                        <a:rPr lang="en-US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 </a:t>
                      </a:r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907</a:t>
                      </a:r>
                    </a:p>
                    <a:p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г. </a:t>
                      </a:r>
                      <a:r>
                        <a:rPr lang="ru-RU" sz="1200" b="0" u="none" dirty="0" err="1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Нур</a:t>
                      </a:r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-Султан, 010000, пр. </a:t>
                      </a:r>
                      <a:r>
                        <a:rPr lang="ru-RU" sz="1200" b="0" u="none" dirty="0" err="1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Бауыржана</a:t>
                      </a:r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 </a:t>
                      </a:r>
                      <a:r>
                        <a:rPr lang="ru-RU" sz="1200" b="0" u="none" dirty="0" err="1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Момышұлы</a:t>
                      </a:r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 , 2/3</a:t>
                      </a:r>
                      <a:endParaRPr lang="ru-RU" sz="1200" b="0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  <a:hlinkClick r:id="rId9"/>
                        </a:rPr>
                        <a:t>https://www.ndda.kz/</a:t>
                      </a:r>
                      <a:endParaRPr lang="ru-RU" sz="1200" b="0" u="none" dirty="0" smtClean="0">
                        <a:solidFill>
                          <a:schemeClr val="tx1"/>
                        </a:solidFill>
                        <a:latin typeface="Century" panose="02040604050505020304" pitchFamily="18" charset="0"/>
                        <a:hlinkClick r:id="rId9"/>
                      </a:endParaRPr>
                    </a:p>
                    <a:p>
                      <a:r>
                        <a:rPr lang="en-US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  <a:hlinkClick r:id="rId9"/>
                        </a:rPr>
                        <a:t>farm@dari.kz</a:t>
                      </a:r>
                      <a:endParaRPr lang="ru-RU" sz="1200" b="0" u="none" dirty="0" smtClean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  <a:p>
                      <a:r>
                        <a:rPr lang="en-US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  <a:hlinkClick r:id="rId10"/>
                        </a:rPr>
                        <a:t>support@dari.kz</a:t>
                      </a:r>
                      <a:endParaRPr lang="ru-RU" sz="1200" b="0" u="none" dirty="0" smtClean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  <a:p>
                      <a:endParaRPr lang="ru-RU" sz="1200" b="0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0239109"/>
                  </a:ext>
                </a:extLst>
              </a:tr>
              <a:tr h="762062">
                <a:tc>
                  <a:txBody>
                    <a:bodyPr/>
                    <a:lstStyle/>
                    <a:p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Международный финансовый центр «Астана»</a:t>
                      </a:r>
                      <a:endParaRPr lang="ru-RU" sz="1200" b="0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+7 707 111 30 04</a:t>
                      </a:r>
                      <a:r>
                        <a:rPr lang="ru-RU" sz="1200" b="0" u="none" baseline="0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 - с</a:t>
                      </a:r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тарший менеджер Департамента по привлечению инвестиций (Е. Тэн)</a:t>
                      </a:r>
                      <a:r>
                        <a:rPr lang="ru-RU" sz="1200" b="0" u="none" baseline="0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 </a:t>
                      </a:r>
                      <a:endParaRPr lang="en-US" sz="1200" b="0" u="none" dirty="0" smtClean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  <a:p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г. </a:t>
                      </a:r>
                      <a:r>
                        <a:rPr lang="ru-RU" sz="1200" b="0" i="0" u="none" kern="1200" dirty="0" err="1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Нур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-Султан, пр. </a:t>
                      </a:r>
                      <a:r>
                        <a:rPr lang="ru-RU" sz="1200" b="0" i="0" u="none" kern="1200" dirty="0" err="1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Мәңгілік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 Ел, 55/18, павильон С-3.3</a:t>
                      </a:r>
                      <a:endParaRPr lang="ru-RU" sz="1200" b="0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  <a:hlinkClick r:id="rId11"/>
                        </a:rPr>
                        <a:t>https://aifc.kz/</a:t>
                      </a:r>
                      <a:endParaRPr lang="ru-RU" sz="1200" b="0" u="none" dirty="0" smtClean="0">
                        <a:solidFill>
                          <a:schemeClr val="tx1"/>
                        </a:solidFill>
                        <a:latin typeface="Century" panose="02040604050505020304" pitchFamily="18" charset="0"/>
                        <a:hlinkClick r:id="rId11"/>
                      </a:endParaRPr>
                    </a:p>
                    <a:p>
                      <a:r>
                        <a:rPr lang="en-US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  <a:hlinkClick r:id="rId11"/>
                        </a:rPr>
                        <a:t>info@aifc.kz</a:t>
                      </a:r>
                      <a:endParaRPr lang="ru-RU" sz="1200" b="0" u="none" dirty="0" smtClean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  <a:p>
                      <a:r>
                        <a:rPr lang="en-US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 </a:t>
                      </a:r>
                      <a:r>
                        <a:rPr lang="en-US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  <a:hlinkClick r:id="rId12"/>
                        </a:rPr>
                        <a:t>Ye.Ten@aifc.kz</a:t>
                      </a:r>
                      <a:endParaRPr lang="ru-RU" sz="1200" b="0" u="none" dirty="0" smtClean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  <a:p>
                      <a:endParaRPr lang="ru-RU" sz="1200" b="0" u="none" dirty="0" smtClean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  <a:p>
                      <a:endParaRPr lang="ru-RU" sz="1200" b="0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04221245"/>
                  </a:ext>
                </a:extLst>
              </a:tr>
              <a:tr h="883880">
                <a:tc>
                  <a:txBody>
                    <a:bodyPr/>
                    <a:lstStyle/>
                    <a:p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АО «НУХ» «</a:t>
                      </a:r>
                      <a:r>
                        <a:rPr lang="ru-RU" sz="1200" b="0" u="none" dirty="0" err="1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Байтерек</a:t>
                      </a:r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»</a:t>
                      </a:r>
                      <a:endParaRPr lang="ru-RU" sz="1200" b="0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+7 (7172) 907 800; 8 (7172) 919 111; +7 (7172) 919 110</a:t>
                      </a:r>
                    </a:p>
                    <a:p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+7 (7172)  270 416 (0416); +7</a:t>
                      </a:r>
                      <a:r>
                        <a:rPr lang="ru-RU" sz="1200" b="0" u="none" baseline="0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 </a:t>
                      </a:r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778 964 90 41 - директор департамента проектного финансирования (</a:t>
                      </a:r>
                      <a:r>
                        <a:rPr lang="ru-RU" sz="1200" b="0" u="none" dirty="0" err="1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Тажикенов</a:t>
                      </a:r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 А.Е). </a:t>
                      </a:r>
                    </a:p>
                    <a:p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г. </a:t>
                      </a:r>
                      <a:r>
                        <a:rPr lang="ru-RU" sz="1200" b="0" u="none" dirty="0" err="1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Нур</a:t>
                      </a:r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-Султан, район Есиль, пр. </a:t>
                      </a:r>
                      <a:r>
                        <a:rPr lang="ru-RU" sz="1200" b="0" u="none" dirty="0" err="1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Мангилик</a:t>
                      </a:r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 Ел, </a:t>
                      </a:r>
                      <a:r>
                        <a:rPr lang="ru-RU" sz="1200" b="0" u="none" dirty="0" err="1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зд</a:t>
                      </a:r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. 55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  <a:hlinkClick r:id="rId13"/>
                        </a:rPr>
                        <a:t>kense@baiterek.gov.kz</a:t>
                      </a:r>
                      <a:endParaRPr lang="ru-RU" sz="1200" b="0" u="none" dirty="0" smtClean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  <a:p>
                      <a:r>
                        <a:rPr lang="en-US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  <a:hlinkClick r:id="rId14"/>
                        </a:rPr>
                        <a:t>A.tazhikenov@baiterek.gov.kz</a:t>
                      </a:r>
                      <a:endParaRPr lang="ru-RU" sz="1200" b="0" u="none" dirty="0" smtClean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  <a:p>
                      <a:endParaRPr lang="ru-RU" sz="1200" b="0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033240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4246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500160" y="185006"/>
            <a:ext cx="11616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 algn="ctr">
              <a:defRPr sz="2400" b="1" u="sng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defRPr>
            </a:lvl1pPr>
          </a:lstStyle>
          <a:p>
            <a:r>
              <a:rPr lang="ru-RU" dirty="0" smtClean="0"/>
              <a:t>СПРАВОЧНИК КОНТАКТОВ</a:t>
            </a:r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4416600"/>
              </p:ext>
            </p:extLst>
          </p:nvPr>
        </p:nvGraphicFramePr>
        <p:xfrm>
          <a:off x="147484" y="598911"/>
          <a:ext cx="11969077" cy="33471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95152">
                  <a:extLst>
                    <a:ext uri="{9D8B030D-6E8A-4147-A177-3AD203B41FA5}">
                      <a16:colId xmlns:a16="http://schemas.microsoft.com/office/drawing/2014/main" val="2969417463"/>
                    </a:ext>
                  </a:extLst>
                </a:gridCol>
                <a:gridCol w="5953782">
                  <a:extLst>
                    <a:ext uri="{9D8B030D-6E8A-4147-A177-3AD203B41FA5}">
                      <a16:colId xmlns:a16="http://schemas.microsoft.com/office/drawing/2014/main" val="469868999"/>
                    </a:ext>
                  </a:extLst>
                </a:gridCol>
                <a:gridCol w="2320143">
                  <a:extLst>
                    <a:ext uri="{9D8B030D-6E8A-4147-A177-3AD203B41FA5}">
                      <a16:colId xmlns:a16="http://schemas.microsoft.com/office/drawing/2014/main" val="240644814"/>
                    </a:ext>
                  </a:extLst>
                </a:gridCol>
              </a:tblGrid>
              <a:tr h="522212">
                <a:tc>
                  <a:txBody>
                    <a:bodyPr/>
                    <a:lstStyle/>
                    <a:p>
                      <a:pPr algn="ctr"/>
                      <a:r>
                        <a:rPr lang="ru-RU" sz="1400" b="1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Организация</a:t>
                      </a:r>
                      <a:endParaRPr lang="ru-RU" sz="1400" b="1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Контактный телефон, адрес</a:t>
                      </a:r>
                      <a:endParaRPr lang="ru-RU" sz="1400" b="1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Электронный</a:t>
                      </a:r>
                      <a:r>
                        <a:rPr lang="ru-RU" sz="1400" b="1" u="none" baseline="0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 адрес,</a:t>
                      </a:r>
                    </a:p>
                    <a:p>
                      <a:pPr algn="ctr"/>
                      <a:r>
                        <a:rPr lang="ru-RU" sz="1400" b="1" u="none" baseline="0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сайт</a:t>
                      </a:r>
                      <a:endParaRPr lang="ru-RU" sz="1400" b="1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42955757"/>
                  </a:ext>
                </a:extLst>
              </a:tr>
              <a:tr h="1260546">
                <a:tc>
                  <a:txBody>
                    <a:bodyPr/>
                    <a:lstStyle/>
                    <a:p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АО</a:t>
                      </a:r>
                      <a:r>
                        <a:rPr lang="ru-RU" sz="1200" b="0" u="none" baseline="0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 «К</a:t>
                      </a:r>
                      <a:r>
                        <a:rPr lang="en-US" sz="1200" b="0" u="none" baseline="0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AZA</a:t>
                      </a:r>
                      <a:r>
                        <a:rPr lang="ru-RU" sz="1200" b="0" u="none" baseline="0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К</a:t>
                      </a:r>
                      <a:r>
                        <a:rPr lang="en-US" sz="1200" b="0" u="none" baseline="0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H EXPORT</a:t>
                      </a:r>
                      <a:r>
                        <a:rPr lang="ru-RU" sz="1200" b="0" u="none" baseline="0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»</a:t>
                      </a:r>
                      <a:endParaRPr lang="ru-RU" sz="1200" b="0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+7 (7172) 95 56 56</a:t>
                      </a:r>
                    </a:p>
                    <a:p>
                      <a:pPr marL="0" algn="l" defTabSz="914400" rtl="0" eaLnBrk="1" latinLnBrk="0" hangingPunct="1"/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Z05T3E2, г. Астана, </a:t>
                      </a:r>
                    </a:p>
                    <a:p>
                      <a:pPr marL="0" algn="l" defTabSz="914400" rtl="0" eaLnBrk="1" latinLnBrk="0" hangingPunct="1"/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пр. </a:t>
                      </a:r>
                      <a:r>
                        <a:rPr lang="ru-RU" sz="1200" b="0" i="0" u="none" kern="1200" dirty="0" err="1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Мәңгілік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 Ел 55 «A», 11 этаж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sng" strike="noStrike" kern="1200" dirty="0" smtClean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info@kazakhexport.kz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200" b="0" i="0" u="sng" strike="noStrike" kern="1200" dirty="0" smtClean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www.kazakhexport.kz</a:t>
                      </a:r>
                    </a:p>
                    <a:p>
                      <a:endParaRPr lang="ru-RU" sz="1200" b="0" i="0" u="sng" kern="1200" dirty="0" smtClean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Century" panose="020406040505050203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69605216"/>
                  </a:ext>
                </a:extLst>
              </a:tr>
              <a:tr h="460775">
                <a:tc>
                  <a:txBody>
                    <a:bodyPr/>
                    <a:lstStyle/>
                    <a:p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АО “</a:t>
                      </a:r>
                      <a:r>
                        <a:rPr lang="en-US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QAZ TRADE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"</a:t>
                      </a:r>
                      <a:endParaRPr lang="ru-RU" sz="1200" b="0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+7 7172 76 88 05</a:t>
                      </a:r>
                    </a:p>
                    <a:p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г. Астана, </a:t>
                      </a:r>
                      <a:r>
                        <a:rPr lang="ru-RU" sz="1200" b="0" i="0" u="none" kern="1200" dirty="0" err="1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Мәңгілік</a:t>
                      </a:r>
                      <a:r>
                        <a:rPr lang="ru-RU" sz="1200" b="0" i="0" u="none" kern="1200" dirty="0" smtClean="0">
                          <a:solidFill>
                            <a:schemeClr val="tx1"/>
                          </a:solidFill>
                          <a:effectLst/>
                          <a:latin typeface="Century" panose="02040604050505020304" pitchFamily="18" charset="0"/>
                          <a:ea typeface="+mn-ea"/>
                          <a:cs typeface="+mn-cs"/>
                        </a:rPr>
                        <a:t> Ел 8/2</a:t>
                      </a:r>
                    </a:p>
                    <a:p>
                      <a:endParaRPr lang="ru-RU" sz="1200" b="0" i="0" u="none" kern="1200" dirty="0" smtClean="0">
                        <a:solidFill>
                          <a:schemeClr val="tx1"/>
                        </a:solidFill>
                        <a:effectLst/>
                        <a:latin typeface="Century" panose="02040604050505020304" pitchFamily="18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b="0" u="sng" dirty="0" smtClean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Century" panose="02040604050505020304" pitchFamily="18" charset="0"/>
                        </a:rPr>
                        <a:t>kense@qaztrade.org.kz</a:t>
                      </a:r>
                    </a:p>
                    <a:p>
                      <a:r>
                        <a:rPr lang="ru-RU" sz="1200" b="0" u="sng" dirty="0" smtClean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Century" panose="02040604050505020304" pitchFamily="18" charset="0"/>
                        </a:rPr>
                        <a:t>www.export.gov.kz</a:t>
                      </a:r>
                    </a:p>
                    <a:p>
                      <a:r>
                        <a:rPr lang="ru-RU" sz="1200" b="0" u="sng" dirty="0" err="1" smtClean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Century" panose="02040604050505020304" pitchFamily="18" charset="0"/>
                        </a:rPr>
                        <a:t>Телеграм</a:t>
                      </a:r>
                      <a:r>
                        <a:rPr lang="ru-RU" sz="1200" b="0" u="sng" dirty="0" smtClean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Century" panose="02040604050505020304" pitchFamily="18" charset="0"/>
                        </a:rPr>
                        <a:t>-канал //t.me/</a:t>
                      </a:r>
                      <a:r>
                        <a:rPr lang="ru-RU" sz="1200" b="0" u="sng" dirty="0" err="1" smtClean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Century" panose="02040604050505020304" pitchFamily="18" charset="0"/>
                        </a:rPr>
                        <a:t>exportgov</a:t>
                      </a:r>
                      <a:endParaRPr lang="ru-RU" sz="1200" b="0" u="sng" dirty="0" smtClean="0">
                        <a:solidFill>
                          <a:schemeClr val="accent5">
                            <a:lumMod val="75000"/>
                          </a:schemeClr>
                        </a:solidFill>
                        <a:latin typeface="Century" panose="02040604050505020304" pitchFamily="18" charset="0"/>
                      </a:endParaRPr>
                    </a:p>
                    <a:p>
                      <a:endParaRPr lang="ru-RU" sz="1200" b="0" u="none" dirty="0" smtClean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44074512"/>
                  </a:ext>
                </a:extLst>
              </a:tr>
              <a:tr h="558534">
                <a:tc>
                  <a:txBody>
                    <a:bodyPr/>
                    <a:lstStyle/>
                    <a:p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АО «</a:t>
                      </a:r>
                      <a:r>
                        <a:rPr lang="en-US" sz="1200" b="0" u="none" dirty="0" err="1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Qazaqstan</a:t>
                      </a:r>
                      <a:r>
                        <a:rPr lang="en-US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 Investment Corporation</a:t>
                      </a:r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»</a:t>
                      </a:r>
                      <a:endParaRPr lang="ru-RU" sz="1200" b="0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+7 7172 554 222 (261)</a:t>
                      </a:r>
                    </a:p>
                    <a:p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Z05T2H3, город Астана, район Есиль, пр. </a:t>
                      </a:r>
                      <a:r>
                        <a:rPr lang="ru-RU" sz="1200" b="0" u="none" dirty="0" err="1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Мангилик</a:t>
                      </a:r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 Ел, </a:t>
                      </a:r>
                      <a:r>
                        <a:rPr lang="ru-RU" sz="1200" b="0" u="none" dirty="0" err="1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зд</a:t>
                      </a:r>
                      <a:r>
                        <a:rPr lang="ru-RU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</a:rPr>
                        <a:t>. 55А</a:t>
                      </a:r>
                      <a:endParaRPr lang="ru-RU" sz="1200" b="0" u="none" dirty="0">
                        <a:solidFill>
                          <a:schemeClr val="tx1"/>
                        </a:solidFill>
                        <a:latin typeface="Century" panose="020406040505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b="0" u="none" dirty="0" smtClean="0">
                          <a:solidFill>
                            <a:schemeClr val="tx1"/>
                          </a:solidFill>
                          <a:latin typeface="Century" panose="02040604050505020304" pitchFamily="18" charset="0"/>
                          <a:hlinkClick r:id="rId2"/>
                        </a:rPr>
                        <a:t>https://qic.kz/ru/</a:t>
                      </a:r>
                      <a:endParaRPr lang="ru-RU" sz="1200" b="0" u="none" dirty="0" smtClean="0">
                        <a:solidFill>
                          <a:schemeClr val="tx1"/>
                        </a:solidFill>
                        <a:latin typeface="Century" panose="02040604050505020304" pitchFamily="18" charset="0"/>
                        <a:hlinkClick r:id="rId2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697249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19703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TextBox 77">
            <a:extLst>
              <a:ext uri="{FF2B5EF4-FFF2-40B4-BE49-F238E27FC236}">
                <a16:creationId xmlns:a16="http://schemas.microsoft.com/office/drawing/2014/main" id="{3414089A-AC40-4C9D-ABF9-FE46517AA958}"/>
              </a:ext>
            </a:extLst>
          </p:cNvPr>
          <p:cNvSpPr txBox="1"/>
          <p:nvPr/>
        </p:nvSpPr>
        <p:spPr>
          <a:xfrm>
            <a:off x="764549" y="206951"/>
            <a:ext cx="1116440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ru-RU" sz="2400" b="1" u="sng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Состав </a:t>
            </a:r>
            <a:r>
              <a:rPr lang="ru-RU" sz="2400" b="1" u="sng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конкурсной комиссии на заключение </a:t>
            </a:r>
            <a:endParaRPr lang="ru-RU" sz="2400" b="1" u="sng" dirty="0" smtClean="0">
              <a:latin typeface="Century Gothic" panose="020B0502020202020204" pitchFamily="34" charset="0"/>
              <a:ea typeface="Noto Sans" panose="020B0502040504020204" pitchFamily="34"/>
              <a:cs typeface="Noto Sans" panose="020B0502040504020204" pitchFamily="34"/>
            </a:endParaRPr>
          </a:p>
          <a:p>
            <a:pPr lvl="0" algn="ctr">
              <a:defRPr/>
            </a:pPr>
            <a:r>
              <a:rPr lang="ru-RU" sz="2400" b="1" u="sng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Долгосрочных </a:t>
            </a:r>
            <a:r>
              <a:rPr lang="ru-RU" sz="2400" b="1" u="sng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договоров с поставщиками </a:t>
            </a:r>
            <a:r>
              <a:rPr lang="ru-RU" sz="2400" b="1" u="sng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ОТП, </a:t>
            </a:r>
            <a:r>
              <a:rPr lang="ru-RU" sz="2400" b="1" u="sng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имеющими </a:t>
            </a:r>
            <a:r>
              <a:rPr lang="ru-RU" sz="2400" b="1" u="sng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производство </a:t>
            </a:r>
            <a:r>
              <a:rPr lang="ru-RU" sz="2400" b="1" u="sng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МТ, </a:t>
            </a:r>
            <a:r>
              <a:rPr lang="ru-RU" sz="2400" b="1" u="sng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требующих сервисного обслуживания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2339508" y="1882186"/>
            <a:ext cx="7710504" cy="415498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Национальный центр экспертизы лекарственных средств МЗ РК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  <a:hlinkClick r:id="rId2"/>
              </a:rPr>
              <a:t>https://www.ndda.kz</a:t>
            </a:r>
            <a:r>
              <a:rPr lang="en-US" sz="16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  <a:hlinkClick r:id="rId2"/>
              </a:rPr>
              <a:t>/</a:t>
            </a:r>
            <a:endParaRPr lang="ru-RU" sz="1600" dirty="0" smtClean="0">
              <a:latin typeface="Century Gothic" panose="020B0502020202020204" pitchFamily="34" charset="0"/>
              <a:ea typeface="Noto Sans" panose="020B0502040504020204" pitchFamily="34"/>
              <a:cs typeface="Noto Sans" panose="020B0502040504020204" pitchFamily="34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ТОО «СК-Фармация» (Единый дистрибьютор)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  <a:hlinkClick r:id="rId3"/>
              </a:rPr>
              <a:t>https://</a:t>
            </a:r>
            <a:r>
              <a:rPr lang="en-US" sz="1600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  <a:hlinkClick r:id="rId3"/>
              </a:rPr>
              <a:t>sk-pharmacy.kz</a:t>
            </a:r>
            <a:endParaRPr lang="ru-RU" sz="1600" dirty="0" smtClean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 П</a:t>
            </a:r>
            <a:r>
              <a:rPr lang="ru-RU" sz="16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рофильные </a:t>
            </a:r>
            <a:r>
              <a:rPr lang="ru-RU" sz="1600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ассоциации по фармацевтической или медицинской промышленности</a:t>
            </a:r>
            <a:endParaRPr lang="ru-RU" sz="1600" dirty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НПП </a:t>
            </a:r>
            <a:r>
              <a:rPr lang="ru-RU" sz="1600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«Атамекен</a:t>
            </a:r>
            <a:r>
              <a:rPr lang="ru-RU" sz="16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»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  <a:hlinkClick r:id="rId4"/>
              </a:rPr>
              <a:t>https://atameken.kz</a:t>
            </a:r>
            <a:r>
              <a:rPr lang="en-US" sz="16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  <a:hlinkClick r:id="rId4"/>
              </a:rPr>
              <a:t>/</a:t>
            </a:r>
            <a:endParaRPr lang="ru-RU" sz="1600" dirty="0" smtClean="0">
              <a:latin typeface="Century Gothic" panose="020B0502020202020204" pitchFamily="34" charset="0"/>
              <a:ea typeface="Noto Sans" panose="020B0502040504020204" pitchFamily="34"/>
              <a:cs typeface="Noto Sans" panose="020B0502040504020204" pitchFamily="34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Неправительственные общественные объединения  </a:t>
            </a:r>
            <a:r>
              <a:rPr lang="ru-RU" sz="1600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и (или) </a:t>
            </a:r>
            <a:r>
              <a:rPr lang="ru-RU" sz="16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член </a:t>
            </a:r>
            <a:r>
              <a:rPr lang="ru-RU" sz="1600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специальных мониторинговых групп при уполномоченном органе по противодействию </a:t>
            </a:r>
            <a:r>
              <a:rPr lang="ru-RU" sz="16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коррупции</a:t>
            </a:r>
            <a:endParaRPr lang="ru-RU" sz="1600" dirty="0">
              <a:latin typeface="Century Gothic" panose="020B0502020202020204" pitchFamily="34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0711" y="2723606"/>
            <a:ext cx="945242" cy="3572006"/>
          </a:xfrm>
          <a:prstGeom prst="rect">
            <a:avLst/>
          </a:prstGeom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18053" y="1500271"/>
            <a:ext cx="1080683" cy="3524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692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59A5E1A1-1B2E-49F0-A6C9-3578E9FD8F10}"/>
              </a:ext>
            </a:extLst>
          </p:cNvPr>
          <p:cNvSpPr/>
          <p:nvPr/>
        </p:nvSpPr>
        <p:spPr>
          <a:xfrm>
            <a:off x="341108" y="122647"/>
            <a:ext cx="1165395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u="sng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СТАНДАРТ ГОСУДАРСТВЕННОЙ УСЛУГИ </a:t>
            </a:r>
            <a:endParaRPr lang="ru-RU" b="1" u="sng" dirty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  <a:p>
            <a:pPr algn="r"/>
            <a:r>
              <a:rPr lang="ru-RU" b="1" u="sng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"Государственная регистрация, перерегистрация и внесение изменений </a:t>
            </a:r>
          </a:p>
          <a:p>
            <a:pPr algn="r"/>
            <a:r>
              <a:rPr lang="ru-RU" b="1" u="sng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в регистрационное досье ЛС или МИ"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539224" y="1364481"/>
            <a:ext cx="11267132" cy="5246576"/>
            <a:chOff x="1281517" y="1248252"/>
            <a:chExt cx="9845517" cy="5246576"/>
          </a:xfrm>
        </p:grpSpPr>
        <p:cxnSp>
          <p:nvCxnSpPr>
            <p:cNvPr id="52" name="Straight Connector 34">
              <a:extLst>
                <a:ext uri="{FF2B5EF4-FFF2-40B4-BE49-F238E27FC236}">
                  <a16:creationId xmlns:a16="http://schemas.microsoft.com/office/drawing/2014/main" id="{F538115F-3709-4575-B34B-A1875AD23B2E}"/>
                </a:ext>
              </a:extLst>
            </p:cNvPr>
            <p:cNvCxnSpPr>
              <a:cxnSpLocks/>
              <a:stCxn id="89" idx="6"/>
              <a:endCxn id="91" idx="2"/>
            </p:cNvCxnSpPr>
            <p:nvPr/>
          </p:nvCxnSpPr>
          <p:spPr>
            <a:xfrm>
              <a:off x="2373353" y="6160935"/>
              <a:ext cx="4361433" cy="7394"/>
            </a:xfrm>
            <a:prstGeom prst="line">
              <a:avLst/>
            </a:prstGeom>
            <a:ln w="136525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9" name="Straight Connector 34">
              <a:extLst>
                <a:ext uri="{FF2B5EF4-FFF2-40B4-BE49-F238E27FC236}">
                  <a16:creationId xmlns:a16="http://schemas.microsoft.com/office/drawing/2014/main" id="{F538115F-3709-4575-B34B-A1875AD23B2E}"/>
                </a:ext>
              </a:extLst>
            </p:cNvPr>
            <p:cNvCxnSpPr>
              <a:cxnSpLocks/>
              <a:stCxn id="91" idx="6"/>
              <a:endCxn id="326" idx="6"/>
            </p:cNvCxnSpPr>
            <p:nvPr/>
          </p:nvCxnSpPr>
          <p:spPr>
            <a:xfrm flipV="1">
              <a:off x="7310630" y="6133030"/>
              <a:ext cx="2227383" cy="35299"/>
            </a:xfrm>
            <a:prstGeom prst="line">
              <a:avLst/>
            </a:prstGeom>
            <a:ln w="136525">
              <a:solidFill>
                <a:srgbClr val="002060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3" name="Freeform 44"/>
            <p:cNvSpPr>
              <a:spLocks/>
            </p:cNvSpPr>
            <p:nvPr/>
          </p:nvSpPr>
          <p:spPr bwMode="auto">
            <a:xfrm>
              <a:off x="3597452" y="1941949"/>
              <a:ext cx="404813" cy="282575"/>
            </a:xfrm>
            <a:custGeom>
              <a:avLst/>
              <a:gdLst>
                <a:gd name="T0" fmla="*/ 129 w 255"/>
                <a:gd name="T1" fmla="*/ 0 h 178"/>
                <a:gd name="T2" fmla="*/ 0 w 255"/>
                <a:gd name="T3" fmla="*/ 173 h 178"/>
                <a:gd name="T4" fmla="*/ 8 w 255"/>
                <a:gd name="T5" fmla="*/ 178 h 178"/>
                <a:gd name="T6" fmla="*/ 46 w 255"/>
                <a:gd name="T7" fmla="*/ 148 h 178"/>
                <a:gd name="T8" fmla="*/ 86 w 255"/>
                <a:gd name="T9" fmla="*/ 178 h 178"/>
                <a:gd name="T10" fmla="*/ 124 w 255"/>
                <a:gd name="T11" fmla="*/ 148 h 178"/>
                <a:gd name="T12" fmla="*/ 164 w 255"/>
                <a:gd name="T13" fmla="*/ 178 h 178"/>
                <a:gd name="T14" fmla="*/ 202 w 255"/>
                <a:gd name="T15" fmla="*/ 148 h 178"/>
                <a:gd name="T16" fmla="*/ 242 w 255"/>
                <a:gd name="T17" fmla="*/ 178 h 178"/>
                <a:gd name="T18" fmla="*/ 255 w 255"/>
                <a:gd name="T19" fmla="*/ 169 h 178"/>
                <a:gd name="T20" fmla="*/ 129 w 255"/>
                <a:gd name="T21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5" h="178">
                  <a:moveTo>
                    <a:pt x="129" y="0"/>
                  </a:moveTo>
                  <a:lnTo>
                    <a:pt x="0" y="173"/>
                  </a:lnTo>
                  <a:lnTo>
                    <a:pt x="8" y="178"/>
                  </a:lnTo>
                  <a:lnTo>
                    <a:pt x="46" y="148"/>
                  </a:lnTo>
                  <a:lnTo>
                    <a:pt x="86" y="178"/>
                  </a:lnTo>
                  <a:lnTo>
                    <a:pt x="124" y="148"/>
                  </a:lnTo>
                  <a:lnTo>
                    <a:pt x="164" y="178"/>
                  </a:lnTo>
                  <a:lnTo>
                    <a:pt x="202" y="148"/>
                  </a:lnTo>
                  <a:lnTo>
                    <a:pt x="242" y="178"/>
                  </a:lnTo>
                  <a:lnTo>
                    <a:pt x="255" y="169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584" name="Freeform 45"/>
            <p:cNvSpPr>
              <a:spLocks noEditPoints="1"/>
            </p:cNvSpPr>
            <p:nvPr/>
          </p:nvSpPr>
          <p:spPr bwMode="auto">
            <a:xfrm>
              <a:off x="3071990" y="1968076"/>
              <a:ext cx="730250" cy="979488"/>
            </a:xfrm>
            <a:custGeom>
              <a:avLst/>
              <a:gdLst>
                <a:gd name="T0" fmla="*/ 27 w 460"/>
                <a:gd name="T1" fmla="*/ 583 h 617"/>
                <a:gd name="T2" fmla="*/ 27 w 460"/>
                <a:gd name="T3" fmla="*/ 583 h 617"/>
                <a:gd name="T4" fmla="*/ 0 w 460"/>
                <a:gd name="T5" fmla="*/ 617 h 617"/>
                <a:gd name="T6" fmla="*/ 27 w 460"/>
                <a:gd name="T7" fmla="*/ 583 h 617"/>
                <a:gd name="T8" fmla="*/ 460 w 460"/>
                <a:gd name="T9" fmla="*/ 0 h 617"/>
                <a:gd name="T10" fmla="*/ 212 w 460"/>
                <a:gd name="T11" fmla="*/ 333 h 617"/>
                <a:gd name="T12" fmla="*/ 212 w 460"/>
                <a:gd name="T13" fmla="*/ 333 h 617"/>
                <a:gd name="T14" fmla="*/ 460 w 460"/>
                <a:gd name="T15" fmla="*/ 0 h 617"/>
                <a:gd name="T16" fmla="*/ 460 w 460"/>
                <a:gd name="T17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0" h="617">
                  <a:moveTo>
                    <a:pt x="27" y="583"/>
                  </a:moveTo>
                  <a:lnTo>
                    <a:pt x="27" y="583"/>
                  </a:lnTo>
                  <a:lnTo>
                    <a:pt x="0" y="617"/>
                  </a:lnTo>
                  <a:lnTo>
                    <a:pt x="27" y="583"/>
                  </a:lnTo>
                  <a:close/>
                  <a:moveTo>
                    <a:pt x="460" y="0"/>
                  </a:moveTo>
                  <a:lnTo>
                    <a:pt x="212" y="333"/>
                  </a:lnTo>
                  <a:lnTo>
                    <a:pt x="212" y="333"/>
                  </a:lnTo>
                  <a:lnTo>
                    <a:pt x="460" y="0"/>
                  </a:lnTo>
                  <a:lnTo>
                    <a:pt x="460" y="0"/>
                  </a:lnTo>
                  <a:close/>
                </a:path>
              </a:pathLst>
            </a:custGeom>
            <a:solidFill>
              <a:srgbClr val="ABA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585" name="Freeform 46"/>
            <p:cNvSpPr>
              <a:spLocks noEditPoints="1"/>
            </p:cNvSpPr>
            <p:nvPr/>
          </p:nvSpPr>
          <p:spPr bwMode="auto">
            <a:xfrm>
              <a:off x="3071990" y="1968076"/>
              <a:ext cx="730250" cy="979488"/>
            </a:xfrm>
            <a:custGeom>
              <a:avLst/>
              <a:gdLst>
                <a:gd name="T0" fmla="*/ 27 w 460"/>
                <a:gd name="T1" fmla="*/ 583 h 617"/>
                <a:gd name="T2" fmla="*/ 27 w 460"/>
                <a:gd name="T3" fmla="*/ 583 h 617"/>
                <a:gd name="T4" fmla="*/ 0 w 460"/>
                <a:gd name="T5" fmla="*/ 617 h 617"/>
                <a:gd name="T6" fmla="*/ 27 w 460"/>
                <a:gd name="T7" fmla="*/ 583 h 617"/>
                <a:gd name="T8" fmla="*/ 460 w 460"/>
                <a:gd name="T9" fmla="*/ 0 h 617"/>
                <a:gd name="T10" fmla="*/ 212 w 460"/>
                <a:gd name="T11" fmla="*/ 333 h 617"/>
                <a:gd name="T12" fmla="*/ 212 w 460"/>
                <a:gd name="T13" fmla="*/ 333 h 617"/>
                <a:gd name="T14" fmla="*/ 460 w 460"/>
                <a:gd name="T15" fmla="*/ 0 h 617"/>
                <a:gd name="T16" fmla="*/ 460 w 460"/>
                <a:gd name="T17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0" h="617">
                  <a:moveTo>
                    <a:pt x="27" y="583"/>
                  </a:moveTo>
                  <a:lnTo>
                    <a:pt x="27" y="583"/>
                  </a:lnTo>
                  <a:lnTo>
                    <a:pt x="0" y="617"/>
                  </a:lnTo>
                  <a:lnTo>
                    <a:pt x="27" y="583"/>
                  </a:lnTo>
                  <a:moveTo>
                    <a:pt x="460" y="0"/>
                  </a:moveTo>
                  <a:lnTo>
                    <a:pt x="212" y="333"/>
                  </a:lnTo>
                  <a:lnTo>
                    <a:pt x="212" y="333"/>
                  </a:lnTo>
                  <a:lnTo>
                    <a:pt x="460" y="0"/>
                  </a:lnTo>
                  <a:lnTo>
                    <a:pt x="4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592" name="Freeform 50"/>
            <p:cNvSpPr>
              <a:spLocks/>
            </p:cNvSpPr>
            <p:nvPr/>
          </p:nvSpPr>
          <p:spPr bwMode="auto">
            <a:xfrm>
              <a:off x="3597452" y="1941949"/>
              <a:ext cx="206375" cy="282575"/>
            </a:xfrm>
            <a:custGeom>
              <a:avLst/>
              <a:gdLst>
                <a:gd name="T0" fmla="*/ 129 w 130"/>
                <a:gd name="T1" fmla="*/ 0 h 178"/>
                <a:gd name="T2" fmla="*/ 129 w 130"/>
                <a:gd name="T3" fmla="*/ 0 h 178"/>
                <a:gd name="T4" fmla="*/ 0 w 130"/>
                <a:gd name="T5" fmla="*/ 173 h 178"/>
                <a:gd name="T6" fmla="*/ 8 w 130"/>
                <a:gd name="T7" fmla="*/ 178 h 178"/>
                <a:gd name="T8" fmla="*/ 46 w 130"/>
                <a:gd name="T9" fmla="*/ 148 h 178"/>
                <a:gd name="T10" fmla="*/ 86 w 130"/>
                <a:gd name="T11" fmla="*/ 178 h 178"/>
                <a:gd name="T12" fmla="*/ 124 w 130"/>
                <a:gd name="T13" fmla="*/ 148 h 178"/>
                <a:gd name="T14" fmla="*/ 130 w 130"/>
                <a:gd name="T15" fmla="*/ 152 h 178"/>
                <a:gd name="T16" fmla="*/ 129 w 130"/>
                <a:gd name="T17" fmla="*/ 0 h 178"/>
                <a:gd name="T18" fmla="*/ 129 w 130"/>
                <a:gd name="T1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78">
                  <a:moveTo>
                    <a:pt x="129" y="0"/>
                  </a:moveTo>
                  <a:lnTo>
                    <a:pt x="129" y="0"/>
                  </a:lnTo>
                  <a:lnTo>
                    <a:pt x="0" y="173"/>
                  </a:lnTo>
                  <a:lnTo>
                    <a:pt x="8" y="178"/>
                  </a:lnTo>
                  <a:lnTo>
                    <a:pt x="46" y="148"/>
                  </a:lnTo>
                  <a:lnTo>
                    <a:pt x="86" y="178"/>
                  </a:lnTo>
                  <a:lnTo>
                    <a:pt x="124" y="148"/>
                  </a:lnTo>
                  <a:lnTo>
                    <a:pt x="130" y="152"/>
                  </a:lnTo>
                  <a:lnTo>
                    <a:pt x="129" y="0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cxnSp>
          <p:nvCxnSpPr>
            <p:cNvPr id="152" name="Straight Connector 34">
              <a:extLst>
                <a:ext uri="{FF2B5EF4-FFF2-40B4-BE49-F238E27FC236}">
                  <a16:creationId xmlns:a16="http://schemas.microsoft.com/office/drawing/2014/main" id="{3DA4F0B6-38C2-495B-9418-291816027EE2}"/>
                </a:ext>
              </a:extLst>
            </p:cNvPr>
            <p:cNvCxnSpPr>
              <a:cxnSpLocks/>
              <a:stCxn id="86" idx="6"/>
              <a:endCxn id="77" idx="2"/>
            </p:cNvCxnSpPr>
            <p:nvPr/>
          </p:nvCxnSpPr>
          <p:spPr>
            <a:xfrm>
              <a:off x="2358385" y="2639900"/>
              <a:ext cx="4330008" cy="0"/>
            </a:xfrm>
            <a:prstGeom prst="line">
              <a:avLst/>
            </a:prstGeom>
            <a:ln w="136525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4" name="Дуга 933">
              <a:extLst>
                <a:ext uri="{FF2B5EF4-FFF2-40B4-BE49-F238E27FC236}">
                  <a16:creationId xmlns:a16="http://schemas.microsoft.com/office/drawing/2014/main" id="{4FF5526D-C05C-4B50-AD2C-623BD32DE0AC}"/>
                </a:ext>
              </a:extLst>
            </p:cNvPr>
            <p:cNvSpPr/>
            <p:nvPr/>
          </p:nvSpPr>
          <p:spPr>
            <a:xfrm rot="211741" flipH="1">
              <a:off x="7630045" y="2637208"/>
              <a:ext cx="1635806" cy="1774410"/>
            </a:xfrm>
            <a:prstGeom prst="arc">
              <a:avLst>
                <a:gd name="adj1" fmla="val 5449957"/>
                <a:gd name="adj2" fmla="val 16723699"/>
              </a:avLst>
            </a:prstGeom>
            <a:ln w="136525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cxnSp>
          <p:nvCxnSpPr>
            <p:cNvPr id="243" name="Straight Connector 34">
              <a:extLst>
                <a:ext uri="{FF2B5EF4-FFF2-40B4-BE49-F238E27FC236}">
                  <a16:creationId xmlns:a16="http://schemas.microsoft.com/office/drawing/2014/main" id="{B796F58A-1091-43E4-8E80-389EAD9E3F9A}"/>
                </a:ext>
              </a:extLst>
            </p:cNvPr>
            <p:cNvCxnSpPr>
              <a:cxnSpLocks/>
              <a:stCxn id="934" idx="0"/>
              <a:endCxn id="280" idx="6"/>
            </p:cNvCxnSpPr>
            <p:nvPr/>
          </p:nvCxnSpPr>
          <p:spPr>
            <a:xfrm flipH="1">
              <a:off x="7280981" y="4410645"/>
              <a:ext cx="1130496" cy="12158"/>
            </a:xfrm>
            <a:prstGeom prst="line">
              <a:avLst/>
            </a:prstGeom>
            <a:ln w="136525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7" name="Дуга 306">
              <a:extLst>
                <a:ext uri="{FF2B5EF4-FFF2-40B4-BE49-F238E27FC236}">
                  <a16:creationId xmlns:a16="http://schemas.microsoft.com/office/drawing/2014/main" id="{FEB9E3D5-0364-4B20-ADC8-6CEC960ED542}"/>
                </a:ext>
              </a:extLst>
            </p:cNvPr>
            <p:cNvSpPr/>
            <p:nvPr/>
          </p:nvSpPr>
          <p:spPr>
            <a:xfrm>
              <a:off x="1628133" y="4462900"/>
              <a:ext cx="1997336" cy="1698036"/>
            </a:xfrm>
            <a:prstGeom prst="arc">
              <a:avLst>
                <a:gd name="adj1" fmla="val 5446448"/>
                <a:gd name="adj2" fmla="val 16208867"/>
              </a:avLst>
            </a:prstGeom>
            <a:ln w="136525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311" name="TextBox 310">
              <a:extLst>
                <a:ext uri="{FF2B5EF4-FFF2-40B4-BE49-F238E27FC236}">
                  <a16:creationId xmlns:a16="http://schemas.microsoft.com/office/drawing/2014/main" id="{8842B776-FC89-4E0A-A2E1-69A28A069DE5}"/>
                </a:ext>
              </a:extLst>
            </p:cNvPr>
            <p:cNvSpPr txBox="1"/>
            <p:nvPr/>
          </p:nvSpPr>
          <p:spPr>
            <a:xfrm>
              <a:off x="3779105" y="5061211"/>
              <a:ext cx="1977752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Формирование на портале разрешительных документов, заверенных ЭЦП государственного органа</a:t>
              </a:r>
              <a:endParaRPr lang="ru-RU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313" name="TextBox 312">
              <a:extLst>
                <a:ext uri="{FF2B5EF4-FFF2-40B4-BE49-F238E27FC236}">
                  <a16:creationId xmlns:a16="http://schemas.microsoft.com/office/drawing/2014/main" id="{57F60FEB-F54C-4C41-8877-B964E5C845FA}"/>
                </a:ext>
              </a:extLst>
            </p:cNvPr>
            <p:cNvSpPr txBox="1"/>
            <p:nvPr/>
          </p:nvSpPr>
          <p:spPr>
            <a:xfrm>
              <a:off x="8401379" y="5161583"/>
              <a:ext cx="168515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Получение результата оказания государственной услуги</a:t>
              </a:r>
              <a:endParaRPr lang="ru-RU" sz="10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cxnSp>
          <p:nvCxnSpPr>
            <p:cNvPr id="337" name="Straight Connector 34">
              <a:extLst>
                <a:ext uri="{FF2B5EF4-FFF2-40B4-BE49-F238E27FC236}">
                  <a16:creationId xmlns:a16="http://schemas.microsoft.com/office/drawing/2014/main" id="{EC621C7F-0B7E-4EDF-991C-44069D7AE6E3}"/>
                </a:ext>
              </a:extLst>
            </p:cNvPr>
            <p:cNvCxnSpPr>
              <a:cxnSpLocks/>
              <a:stCxn id="77" idx="6"/>
              <a:endCxn id="55" idx="3"/>
            </p:cNvCxnSpPr>
            <p:nvPr/>
          </p:nvCxnSpPr>
          <p:spPr>
            <a:xfrm flipV="1">
              <a:off x="7310630" y="2638456"/>
              <a:ext cx="1153864" cy="1444"/>
            </a:xfrm>
            <a:prstGeom prst="line">
              <a:avLst/>
            </a:prstGeom>
            <a:ln w="136525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2" name="Straight Connector 34">
              <a:extLst>
                <a:ext uri="{FF2B5EF4-FFF2-40B4-BE49-F238E27FC236}">
                  <a16:creationId xmlns:a16="http://schemas.microsoft.com/office/drawing/2014/main" id="{2C3D5051-B8E2-4AE4-B186-E02C45385EA3}"/>
                </a:ext>
              </a:extLst>
            </p:cNvPr>
            <p:cNvCxnSpPr>
              <a:cxnSpLocks/>
              <a:stCxn id="307" idx="2"/>
              <a:endCxn id="280" idx="2"/>
            </p:cNvCxnSpPr>
            <p:nvPr/>
          </p:nvCxnSpPr>
          <p:spPr>
            <a:xfrm flipV="1">
              <a:off x="2628715" y="4422803"/>
              <a:ext cx="4076421" cy="40099"/>
            </a:xfrm>
            <a:prstGeom prst="line">
              <a:avLst/>
            </a:prstGeom>
            <a:ln w="136525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6" name="Oval 19">
              <a:extLst>
                <a:ext uri="{FF2B5EF4-FFF2-40B4-BE49-F238E27FC236}">
                  <a16:creationId xmlns:a16="http://schemas.microsoft.com/office/drawing/2014/main" id="{AB3D7A92-7ADD-41CC-AFE7-60FFE6A3E278}"/>
                </a:ext>
              </a:extLst>
            </p:cNvPr>
            <p:cNvSpPr/>
            <p:nvPr/>
          </p:nvSpPr>
          <p:spPr>
            <a:xfrm>
              <a:off x="8962167" y="5806530"/>
              <a:ext cx="575846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2060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600" b="1" dirty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11</a:t>
              </a:r>
              <a:endParaRPr lang="en-IN" sz="1600" b="1" dirty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280" name="Oval 19">
              <a:extLst>
                <a:ext uri="{FF2B5EF4-FFF2-40B4-BE49-F238E27FC236}">
                  <a16:creationId xmlns:a16="http://schemas.microsoft.com/office/drawing/2014/main" id="{893E5142-6E55-4A1D-A899-94C411BB60B0}"/>
                </a:ext>
              </a:extLst>
            </p:cNvPr>
            <p:cNvSpPr/>
            <p:nvPr/>
          </p:nvSpPr>
          <p:spPr>
            <a:xfrm>
              <a:off x="6705136" y="4108349"/>
              <a:ext cx="575845" cy="628907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6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5</a:t>
              </a:r>
              <a:endParaRPr lang="en-IN" sz="24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55" name="Стрелка: шеврон 54">
              <a:extLst>
                <a:ext uri="{FF2B5EF4-FFF2-40B4-BE49-F238E27FC236}">
                  <a16:creationId xmlns:a16="http://schemas.microsoft.com/office/drawing/2014/main" id="{F58E270B-32B8-4FE7-9940-25659A39F3EA}"/>
                </a:ext>
              </a:extLst>
            </p:cNvPr>
            <p:cNvSpPr/>
            <p:nvPr/>
          </p:nvSpPr>
          <p:spPr>
            <a:xfrm>
              <a:off x="8229476" y="2511263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D7A4C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56" name="Стрелка: шеврон 55">
              <a:extLst>
                <a:ext uri="{FF2B5EF4-FFF2-40B4-BE49-F238E27FC236}">
                  <a16:creationId xmlns:a16="http://schemas.microsoft.com/office/drawing/2014/main" id="{526A4892-B459-418C-B6FC-340ABE982615}"/>
                </a:ext>
              </a:extLst>
            </p:cNvPr>
            <p:cNvSpPr/>
            <p:nvPr/>
          </p:nvSpPr>
          <p:spPr>
            <a:xfrm rot="10800000">
              <a:off x="8247014" y="4295609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73" name="Прямоугольник 72">
              <a:extLst>
                <a:ext uri="{FF2B5EF4-FFF2-40B4-BE49-F238E27FC236}">
                  <a16:creationId xmlns:a16="http://schemas.microsoft.com/office/drawing/2014/main" id="{C37144B2-00A3-48A5-9D8A-160B06543371}"/>
                </a:ext>
              </a:extLst>
            </p:cNvPr>
            <p:cNvSpPr/>
            <p:nvPr/>
          </p:nvSpPr>
          <p:spPr>
            <a:xfrm>
              <a:off x="1800602" y="5045932"/>
              <a:ext cx="1885016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Регистрация сопроводительного </a:t>
              </a:r>
              <a:r>
                <a:rPr lang="ru-RU" sz="1000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письма и результата </a:t>
              </a:r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государственной </a:t>
              </a:r>
              <a:r>
                <a:rPr lang="ru-RU" sz="1000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услуги</a:t>
              </a:r>
            </a:p>
          </p:txBody>
        </p:sp>
        <p:sp>
          <p:nvSpPr>
            <p:cNvPr id="75" name="Прямоугольник 74">
              <a:extLst>
                <a:ext uri="{FF2B5EF4-FFF2-40B4-BE49-F238E27FC236}">
                  <a16:creationId xmlns:a16="http://schemas.microsoft.com/office/drawing/2014/main" id="{570BE6D3-6415-4247-9785-91ED7817712B}"/>
                </a:ext>
              </a:extLst>
            </p:cNvPr>
            <p:cNvSpPr/>
            <p:nvPr/>
          </p:nvSpPr>
          <p:spPr>
            <a:xfrm>
              <a:off x="1310366" y="3203856"/>
              <a:ext cx="1550129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Подписание сопроводительного письма и результата оказания государственной услуги</a:t>
              </a:r>
              <a:endParaRPr lang="ru-RU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76" name="Oval 19">
              <a:extLst>
                <a:ext uri="{FF2B5EF4-FFF2-40B4-BE49-F238E27FC236}">
                  <a16:creationId xmlns:a16="http://schemas.microsoft.com/office/drawing/2014/main" id="{FD08B64B-8298-4970-AB55-3C500F499F0B}"/>
                </a:ext>
              </a:extLst>
            </p:cNvPr>
            <p:cNvSpPr/>
            <p:nvPr/>
          </p:nvSpPr>
          <p:spPr>
            <a:xfrm>
              <a:off x="1805592" y="4096304"/>
              <a:ext cx="575845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6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7</a:t>
              </a:r>
              <a:endParaRPr lang="en-IN" sz="1600" b="1" dirty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61" name="Стрелка: шеврон 53">
              <a:extLst>
                <a:ext uri="{FF2B5EF4-FFF2-40B4-BE49-F238E27FC236}">
                  <a16:creationId xmlns:a16="http://schemas.microsoft.com/office/drawing/2014/main" id="{39C05B9A-62E2-4979-B7B1-727A88726D8E}"/>
                </a:ext>
              </a:extLst>
            </p:cNvPr>
            <p:cNvSpPr/>
            <p:nvPr/>
          </p:nvSpPr>
          <p:spPr>
            <a:xfrm>
              <a:off x="3141888" y="2511263"/>
              <a:ext cx="235018" cy="254386"/>
            </a:xfrm>
            <a:prstGeom prst="chevron">
              <a:avLst/>
            </a:prstGeom>
            <a:solidFill>
              <a:schemeClr val="bg1"/>
            </a:solidFill>
            <a:ln w="12700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77" name="Oval 19">
              <a:extLst>
                <a:ext uri="{FF2B5EF4-FFF2-40B4-BE49-F238E27FC236}">
                  <a16:creationId xmlns:a16="http://schemas.microsoft.com/office/drawing/2014/main" id="{92CF7CED-4202-4442-BE83-CF062CF0CCE3}"/>
                </a:ext>
              </a:extLst>
            </p:cNvPr>
            <p:cNvSpPr/>
            <p:nvPr/>
          </p:nvSpPr>
          <p:spPr>
            <a:xfrm>
              <a:off x="6688393" y="2313400"/>
              <a:ext cx="62223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6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3</a:t>
              </a:r>
              <a:endParaRPr lang="ru-RU" sz="11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82" name="Стрелка: шеврон 53">
              <a:extLst>
                <a:ext uri="{FF2B5EF4-FFF2-40B4-BE49-F238E27FC236}">
                  <a16:creationId xmlns:a16="http://schemas.microsoft.com/office/drawing/2014/main" id="{39C05B9A-62E2-4979-B7B1-727A88726D8E}"/>
                </a:ext>
              </a:extLst>
            </p:cNvPr>
            <p:cNvSpPr/>
            <p:nvPr/>
          </p:nvSpPr>
          <p:spPr>
            <a:xfrm>
              <a:off x="5587344" y="2520578"/>
              <a:ext cx="235018" cy="254386"/>
            </a:xfrm>
            <a:prstGeom prst="chevron">
              <a:avLst/>
            </a:prstGeom>
            <a:solidFill>
              <a:schemeClr val="bg1"/>
            </a:solidFill>
            <a:ln w="12700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85" name="Oval 19">
              <a:extLst>
                <a:ext uri="{FF2B5EF4-FFF2-40B4-BE49-F238E27FC236}">
                  <a16:creationId xmlns:a16="http://schemas.microsoft.com/office/drawing/2014/main" id="{92CF7CED-4202-4442-BE83-CF062CF0CCE3}"/>
                </a:ext>
              </a:extLst>
            </p:cNvPr>
            <p:cNvSpPr/>
            <p:nvPr/>
          </p:nvSpPr>
          <p:spPr>
            <a:xfrm>
              <a:off x="4145032" y="2272450"/>
              <a:ext cx="575845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6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2</a:t>
              </a:r>
              <a:endParaRPr lang="en-IN" sz="1600" b="1" dirty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86" name="Oval 19">
              <a:extLst>
                <a:ext uri="{FF2B5EF4-FFF2-40B4-BE49-F238E27FC236}">
                  <a16:creationId xmlns:a16="http://schemas.microsoft.com/office/drawing/2014/main" id="{92CF7CED-4202-4442-BE83-CF062CF0CCE3}"/>
                </a:ext>
              </a:extLst>
            </p:cNvPr>
            <p:cNvSpPr/>
            <p:nvPr/>
          </p:nvSpPr>
          <p:spPr>
            <a:xfrm>
              <a:off x="1782540" y="2313400"/>
              <a:ext cx="575845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6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1</a:t>
              </a:r>
              <a:endParaRPr lang="en-IN" sz="1600" b="1" dirty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87" name="Oval 19">
              <a:extLst>
                <a:ext uri="{FF2B5EF4-FFF2-40B4-BE49-F238E27FC236}">
                  <a16:creationId xmlns:a16="http://schemas.microsoft.com/office/drawing/2014/main" id="{92CF7CED-4202-4442-BE83-CF062CF0CCE3}"/>
                </a:ext>
              </a:extLst>
            </p:cNvPr>
            <p:cNvSpPr/>
            <p:nvPr/>
          </p:nvSpPr>
          <p:spPr>
            <a:xfrm>
              <a:off x="8935897" y="3219393"/>
              <a:ext cx="575845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6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4</a:t>
              </a:r>
              <a:endParaRPr lang="ru-RU" sz="16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88" name="Oval 19">
              <a:extLst>
                <a:ext uri="{FF2B5EF4-FFF2-40B4-BE49-F238E27FC236}">
                  <a16:creationId xmlns:a16="http://schemas.microsoft.com/office/drawing/2014/main" id="{893E5142-6E55-4A1D-A899-94C411BB60B0}"/>
                </a:ext>
              </a:extLst>
            </p:cNvPr>
            <p:cNvSpPr/>
            <p:nvPr/>
          </p:nvSpPr>
          <p:spPr>
            <a:xfrm>
              <a:off x="4145032" y="4088944"/>
              <a:ext cx="575845" cy="628907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6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6</a:t>
              </a:r>
              <a:endParaRPr lang="ru-RU" sz="1600" b="1" dirty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89" name="Oval 19">
              <a:extLst>
                <a:ext uri="{FF2B5EF4-FFF2-40B4-BE49-F238E27FC236}">
                  <a16:creationId xmlns:a16="http://schemas.microsoft.com/office/drawing/2014/main" id="{FD08B64B-8298-4970-AB55-3C500F499F0B}"/>
                </a:ext>
              </a:extLst>
            </p:cNvPr>
            <p:cNvSpPr/>
            <p:nvPr/>
          </p:nvSpPr>
          <p:spPr>
            <a:xfrm>
              <a:off x="1797509" y="5834435"/>
              <a:ext cx="575845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6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8</a:t>
              </a:r>
              <a:endParaRPr lang="en-IN" sz="1600" b="1" dirty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90" name="Oval 19">
              <a:extLst>
                <a:ext uri="{FF2B5EF4-FFF2-40B4-BE49-F238E27FC236}">
                  <a16:creationId xmlns:a16="http://schemas.microsoft.com/office/drawing/2014/main" id="{FD08B64B-8298-4970-AB55-3C500F499F0B}"/>
                </a:ext>
              </a:extLst>
            </p:cNvPr>
            <p:cNvSpPr/>
            <p:nvPr/>
          </p:nvSpPr>
          <p:spPr>
            <a:xfrm>
              <a:off x="4150456" y="5834435"/>
              <a:ext cx="575845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6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9</a:t>
              </a:r>
              <a:endParaRPr lang="en-IN" sz="1600" b="1" dirty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91" name="Oval 19">
              <a:extLst>
                <a:ext uri="{FF2B5EF4-FFF2-40B4-BE49-F238E27FC236}">
                  <a16:creationId xmlns:a16="http://schemas.microsoft.com/office/drawing/2014/main" id="{FD08B64B-8298-4970-AB55-3C500F499F0B}"/>
                </a:ext>
              </a:extLst>
            </p:cNvPr>
            <p:cNvSpPr/>
            <p:nvPr/>
          </p:nvSpPr>
          <p:spPr>
            <a:xfrm>
              <a:off x="6734786" y="5841829"/>
              <a:ext cx="575845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002060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600" b="1" dirty="0" smtClean="0">
                  <a:solidFill>
                    <a:srgbClr val="C00000"/>
                  </a:solidFill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10</a:t>
              </a:r>
              <a:endParaRPr lang="en-IN" sz="1600" b="1" dirty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3" name="Прямоугольник 2"/>
            <p:cNvSpPr/>
            <p:nvPr/>
          </p:nvSpPr>
          <p:spPr>
            <a:xfrm>
              <a:off x="3444536" y="1374300"/>
              <a:ext cx="1964278" cy="8617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00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Предоставление </a:t>
              </a:r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услугополучателем документов </a:t>
              </a:r>
              <a:r>
                <a:rPr lang="ru-RU" sz="1000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для получения государственной </a:t>
              </a:r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услуги через  </a:t>
              </a:r>
              <a:r>
                <a:rPr lang="ru-RU" sz="1000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www.egov.kz, www.elicense.kz</a:t>
              </a:r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.</a:t>
              </a:r>
              <a:endParaRPr lang="ru-RU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66" name="Прямоугольник 65">
              <a:extLst>
                <a:ext uri="{FF2B5EF4-FFF2-40B4-BE49-F238E27FC236}">
                  <a16:creationId xmlns:a16="http://schemas.microsoft.com/office/drawing/2014/main" id="{DC95A62B-54B7-4119-843E-A8CA9EF4BE3E}"/>
                </a:ext>
              </a:extLst>
            </p:cNvPr>
            <p:cNvSpPr/>
            <p:nvPr/>
          </p:nvSpPr>
          <p:spPr>
            <a:xfrm>
              <a:off x="1281517" y="1248252"/>
              <a:ext cx="1715817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Услугополучатель направляет заявление, удостоверенного ЭЦП, </a:t>
              </a:r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в </a:t>
              </a:r>
              <a:r>
                <a:rPr lang="ru-RU" sz="1000" b="1" dirty="0" err="1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КККБТУ</a:t>
              </a:r>
              <a:r>
                <a:rPr lang="ru-RU" sz="10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 через  </a:t>
              </a:r>
              <a:r>
                <a:rPr lang="ru-RU" sz="1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www.egov.kz, www.elicense.kz.</a:t>
              </a:r>
            </a:p>
          </p:txBody>
        </p:sp>
        <p:sp>
          <p:nvSpPr>
            <p:cNvPr id="67" name="Прямоугольник 66">
              <a:extLst>
                <a:ext uri="{FF2B5EF4-FFF2-40B4-BE49-F238E27FC236}">
                  <a16:creationId xmlns:a16="http://schemas.microsoft.com/office/drawing/2014/main" id="{DC95A62B-54B7-4119-843E-A8CA9EF4BE3E}"/>
                </a:ext>
              </a:extLst>
            </p:cNvPr>
            <p:cNvSpPr/>
            <p:nvPr/>
          </p:nvSpPr>
          <p:spPr>
            <a:xfrm>
              <a:off x="5886460" y="1388380"/>
              <a:ext cx="2226103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Прием материалов, предоставленных услугополучателем, ввод данных </a:t>
              </a:r>
              <a:r>
                <a:rPr lang="ru-RU" sz="1000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в ИС, в</a:t>
              </a:r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ыставление </a:t>
              </a:r>
              <a:r>
                <a:rPr lang="ru-RU" sz="1000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статуса об принятии </a:t>
              </a:r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запроса</a:t>
              </a:r>
              <a:endParaRPr lang="id-ID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69" name="Прямоугольник 68">
              <a:extLst>
                <a:ext uri="{FF2B5EF4-FFF2-40B4-BE49-F238E27FC236}">
                  <a16:creationId xmlns:a16="http://schemas.microsoft.com/office/drawing/2014/main" id="{DC95A62B-54B7-4119-843E-A8CA9EF4BE3E}"/>
                </a:ext>
              </a:extLst>
            </p:cNvPr>
            <p:cNvSpPr/>
            <p:nvPr/>
          </p:nvSpPr>
          <p:spPr>
            <a:xfrm>
              <a:off x="9540607" y="3172804"/>
              <a:ext cx="1586427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Принятие запроса в работу, проверка на полноту представленных документов</a:t>
              </a:r>
              <a:endParaRPr lang="id-ID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71" name="Прямоугольник 70">
              <a:extLst>
                <a:ext uri="{FF2B5EF4-FFF2-40B4-BE49-F238E27FC236}">
                  <a16:creationId xmlns:a16="http://schemas.microsoft.com/office/drawing/2014/main" id="{AA29E86C-8648-49C2-9FA0-D98234235A42}"/>
                </a:ext>
              </a:extLst>
            </p:cNvPr>
            <p:cNvSpPr/>
            <p:nvPr/>
          </p:nvSpPr>
          <p:spPr>
            <a:xfrm>
              <a:off x="6171739" y="3210210"/>
              <a:ext cx="1634127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Проведение экспертизы, ввод результатов экспертизы в информационную систему</a:t>
              </a:r>
              <a:endParaRPr lang="ru-RU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72" name="Прямоугольник 71">
              <a:extLst>
                <a:ext uri="{FF2B5EF4-FFF2-40B4-BE49-F238E27FC236}">
                  <a16:creationId xmlns:a16="http://schemas.microsoft.com/office/drawing/2014/main" id="{AA29E86C-8648-49C2-9FA0-D98234235A42}"/>
                </a:ext>
              </a:extLst>
            </p:cNvPr>
            <p:cNvSpPr/>
            <p:nvPr/>
          </p:nvSpPr>
          <p:spPr>
            <a:xfrm>
              <a:off x="3437114" y="3172804"/>
              <a:ext cx="1895480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Подготовка и согласование результатов оказания государственной услуги и сопроводительного письма </a:t>
              </a:r>
              <a:r>
                <a:rPr lang="ru-RU" sz="1000" dirty="0" err="1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услугополучателю</a:t>
              </a:r>
              <a:endParaRPr lang="ru-RU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8842B776-FC89-4E0A-A2E1-69A28A069DE5}"/>
                </a:ext>
              </a:extLst>
            </p:cNvPr>
            <p:cNvSpPr txBox="1"/>
            <p:nvPr/>
          </p:nvSpPr>
          <p:spPr>
            <a:xfrm>
              <a:off x="6593406" y="5217191"/>
              <a:ext cx="1475429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Выдача результата государственной услуги</a:t>
              </a:r>
              <a:endParaRPr lang="ru-RU" sz="10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94" name="Стрелка: шеврон 61">
              <a:extLst>
                <a:ext uri="{FF2B5EF4-FFF2-40B4-BE49-F238E27FC236}">
                  <a16:creationId xmlns:a16="http://schemas.microsoft.com/office/drawing/2014/main" id="{BD525210-F22A-47CA-8BCC-30BDBA9FC58C}"/>
                </a:ext>
              </a:extLst>
            </p:cNvPr>
            <p:cNvSpPr/>
            <p:nvPr/>
          </p:nvSpPr>
          <p:spPr>
            <a:xfrm rot="10800000" flipH="1">
              <a:off x="5587344" y="6033741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95" name="Стрелка: шеврон 61">
              <a:extLst>
                <a:ext uri="{FF2B5EF4-FFF2-40B4-BE49-F238E27FC236}">
                  <a16:creationId xmlns:a16="http://schemas.microsoft.com/office/drawing/2014/main" id="{BD525210-F22A-47CA-8BCC-30BDBA9FC58C}"/>
                </a:ext>
              </a:extLst>
            </p:cNvPr>
            <p:cNvSpPr/>
            <p:nvPr/>
          </p:nvSpPr>
          <p:spPr>
            <a:xfrm rot="10800000" flipH="1">
              <a:off x="8223054" y="6033741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002060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106" name="Стрелка: шеврон 55">
              <a:extLst>
                <a:ext uri="{FF2B5EF4-FFF2-40B4-BE49-F238E27FC236}">
                  <a16:creationId xmlns:a16="http://schemas.microsoft.com/office/drawing/2014/main" id="{526A4892-B459-418C-B6FC-340ABE982615}"/>
                </a:ext>
              </a:extLst>
            </p:cNvPr>
            <p:cNvSpPr/>
            <p:nvPr/>
          </p:nvSpPr>
          <p:spPr>
            <a:xfrm rot="6218755">
              <a:off x="1517203" y="5202186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107" name="Стрелка: шеврон 55">
              <a:extLst>
                <a:ext uri="{FF2B5EF4-FFF2-40B4-BE49-F238E27FC236}">
                  <a16:creationId xmlns:a16="http://schemas.microsoft.com/office/drawing/2014/main" id="{526A4892-B459-418C-B6FC-340ABE982615}"/>
                </a:ext>
              </a:extLst>
            </p:cNvPr>
            <p:cNvSpPr/>
            <p:nvPr/>
          </p:nvSpPr>
          <p:spPr>
            <a:xfrm rot="10800000">
              <a:off x="5566347" y="4314070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sp>
          <p:nvSpPr>
            <p:cNvPr id="108" name="Стрелка: шеврон 55">
              <a:extLst>
                <a:ext uri="{FF2B5EF4-FFF2-40B4-BE49-F238E27FC236}">
                  <a16:creationId xmlns:a16="http://schemas.microsoft.com/office/drawing/2014/main" id="{526A4892-B459-418C-B6FC-340ABE982615}"/>
                </a:ext>
              </a:extLst>
            </p:cNvPr>
            <p:cNvSpPr/>
            <p:nvPr/>
          </p:nvSpPr>
          <p:spPr>
            <a:xfrm rot="10800000">
              <a:off x="3114291" y="4314070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3F3F3F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9298836" y="1177882"/>
            <a:ext cx="2805665" cy="1193993"/>
            <a:chOff x="9189393" y="1186299"/>
            <a:chExt cx="2805665" cy="1193993"/>
          </a:xfrm>
        </p:grpSpPr>
        <p:sp>
          <p:nvSpPr>
            <p:cNvPr id="54" name="Прямоугольник 53">
              <a:extLst>
                <a:ext uri="{FF2B5EF4-FFF2-40B4-BE49-F238E27FC236}">
                  <a16:creationId xmlns:a16="http://schemas.microsoft.com/office/drawing/2014/main" id="{DC95A62B-54B7-4119-843E-A8CA9EF4BE3E}"/>
                </a:ext>
              </a:extLst>
            </p:cNvPr>
            <p:cNvSpPr/>
            <p:nvPr/>
          </p:nvSpPr>
          <p:spPr>
            <a:xfrm>
              <a:off x="9534927" y="1588752"/>
              <a:ext cx="2460131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b="1" dirty="0" smtClean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rPr>
                <a:t>Процессы услугодателя, осуществляющего экспертизу</a:t>
              </a:r>
              <a:endParaRPr lang="id-ID" sz="11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endParaRPr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9189393" y="1186299"/>
              <a:ext cx="2507520" cy="1193993"/>
              <a:chOff x="9189393" y="1128346"/>
              <a:chExt cx="2507520" cy="1193993"/>
            </a:xfrm>
          </p:grpSpPr>
          <p:sp>
            <p:nvSpPr>
              <p:cNvPr id="49" name="Прямоугольник 48">
                <a:extLst>
                  <a:ext uri="{FF2B5EF4-FFF2-40B4-BE49-F238E27FC236}">
                    <a16:creationId xmlns:a16="http://schemas.microsoft.com/office/drawing/2014/main" id="{DC95A62B-54B7-4119-843E-A8CA9EF4BE3E}"/>
                  </a:ext>
                </a:extLst>
              </p:cNvPr>
              <p:cNvSpPr/>
              <p:nvPr/>
            </p:nvSpPr>
            <p:spPr>
              <a:xfrm>
                <a:off x="9523996" y="1128346"/>
                <a:ext cx="2172917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100" b="1" dirty="0" smtClean="0">
                    <a:latin typeface="Century Gothic" panose="020B0502020202020204" pitchFamily="34" charset="0"/>
                    <a:ea typeface="Arial Unicode MS" panose="020B0604020202020204" pitchFamily="34" charset="-128"/>
                    <a:cs typeface="Segoe UI" panose="020B0502040204020203" pitchFamily="34" charset="0"/>
                  </a:rPr>
                  <a:t>Процессы услугополучателя</a:t>
                </a:r>
                <a:endParaRPr lang="id-ID" sz="11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endParaRPr>
              </a:p>
            </p:txBody>
          </p:sp>
          <p:sp>
            <p:nvSpPr>
              <p:cNvPr id="58" name="Oval 19">
                <a:extLst>
                  <a:ext uri="{FF2B5EF4-FFF2-40B4-BE49-F238E27FC236}">
                    <a16:creationId xmlns:a16="http://schemas.microsoft.com/office/drawing/2014/main" id="{92CF7CED-4202-4442-BE83-CF062CF0CCE3}"/>
                  </a:ext>
                </a:extLst>
              </p:cNvPr>
              <p:cNvSpPr/>
              <p:nvPr/>
            </p:nvSpPr>
            <p:spPr>
              <a:xfrm>
                <a:off x="9189393" y="2016598"/>
                <a:ext cx="309848" cy="305741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rgbClr val="002060">
                    <a:alpha val="65000"/>
                  </a:srgbClr>
                </a:solidFill>
              </a:ln>
              <a:effectLst>
                <a:outerShdw blurRad="1905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sz="2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endParaRPr>
              </a:p>
            </p:txBody>
          </p:sp>
          <p:sp>
            <p:nvSpPr>
              <p:cNvPr id="59" name="Прямоугольник 58">
                <a:extLst>
                  <a:ext uri="{FF2B5EF4-FFF2-40B4-BE49-F238E27FC236}">
                    <a16:creationId xmlns:a16="http://schemas.microsoft.com/office/drawing/2014/main" id="{DC95A62B-54B7-4119-843E-A8CA9EF4BE3E}"/>
                  </a:ext>
                </a:extLst>
              </p:cNvPr>
              <p:cNvSpPr/>
              <p:nvPr/>
            </p:nvSpPr>
            <p:spPr>
              <a:xfrm>
                <a:off x="9523996" y="2022568"/>
                <a:ext cx="2172917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100" b="1" dirty="0" smtClean="0">
                    <a:latin typeface="Century Gothic" panose="020B0502020202020204" pitchFamily="34" charset="0"/>
                    <a:ea typeface="Arial Unicode MS" panose="020B0604020202020204" pitchFamily="34" charset="-128"/>
                    <a:cs typeface="Segoe UI" panose="020B0502040204020203" pitchFamily="34" charset="0"/>
                  </a:rPr>
                  <a:t>Итоговые процессы</a:t>
                </a:r>
                <a:endParaRPr lang="id-ID" sz="11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endParaRPr>
              </a:p>
            </p:txBody>
          </p:sp>
          <p:sp>
            <p:nvSpPr>
              <p:cNvPr id="60" name="Oval 19">
                <a:extLst>
                  <a:ext uri="{FF2B5EF4-FFF2-40B4-BE49-F238E27FC236}">
                    <a16:creationId xmlns:a16="http://schemas.microsoft.com/office/drawing/2014/main" id="{92CF7CED-4202-4442-BE83-CF062CF0CCE3}"/>
                  </a:ext>
                </a:extLst>
              </p:cNvPr>
              <p:cNvSpPr/>
              <p:nvPr/>
            </p:nvSpPr>
            <p:spPr>
              <a:xfrm>
                <a:off x="9189393" y="1146464"/>
                <a:ext cx="309848" cy="305741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rgbClr val="DE8D5C"/>
                </a:solidFill>
              </a:ln>
              <a:effectLst>
                <a:outerShdw blurRad="1905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sz="2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endParaRPr>
              </a:p>
            </p:txBody>
          </p:sp>
          <p:sp>
            <p:nvSpPr>
              <p:cNvPr id="62" name="Oval 19">
                <a:extLst>
                  <a:ext uri="{FF2B5EF4-FFF2-40B4-BE49-F238E27FC236}">
                    <a16:creationId xmlns:a16="http://schemas.microsoft.com/office/drawing/2014/main" id="{92CF7CED-4202-4442-BE83-CF062CF0CCE3}"/>
                  </a:ext>
                </a:extLst>
              </p:cNvPr>
              <p:cNvSpPr/>
              <p:nvPr/>
            </p:nvSpPr>
            <p:spPr>
              <a:xfrm>
                <a:off x="9189393" y="1579763"/>
                <a:ext cx="309848" cy="305741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rgbClr val="D7A4C4"/>
                </a:solidFill>
              </a:ln>
              <a:effectLst>
                <a:outerShdw blurRad="1905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sz="2000" b="1" dirty="0">
                  <a:latin typeface="Century Gothic" panose="020B0502020202020204" pitchFamily="34" charset="0"/>
                  <a:ea typeface="Arial Unicode MS" panose="020B0604020202020204" pitchFamily="34" charset="-128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68" name="Стрелка: шеврон 61">
            <a:extLst>
              <a:ext uri="{FF2B5EF4-FFF2-40B4-BE49-F238E27FC236}">
                <a16:creationId xmlns:a16="http://schemas.microsoft.com/office/drawing/2014/main" id="{BD525210-F22A-47CA-8BCC-30BDBA9FC58C}"/>
              </a:ext>
            </a:extLst>
          </p:cNvPr>
          <p:cNvSpPr/>
          <p:nvPr/>
        </p:nvSpPr>
        <p:spPr>
          <a:xfrm rot="10800000" flipH="1">
            <a:off x="2132796" y="6049264"/>
            <a:ext cx="268953" cy="254386"/>
          </a:xfrm>
          <a:prstGeom prst="chevron">
            <a:avLst/>
          </a:prstGeom>
          <a:solidFill>
            <a:schemeClr val="bg1"/>
          </a:solidFill>
          <a:ln w="19050">
            <a:solidFill>
              <a:srgbClr val="C273A4">
                <a:alpha val="65000"/>
              </a:srgb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3F3F3F"/>
              </a:solidFill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877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Группа 30"/>
          <p:cNvGrpSpPr/>
          <p:nvPr/>
        </p:nvGrpSpPr>
        <p:grpSpPr>
          <a:xfrm>
            <a:off x="733857" y="734844"/>
            <a:ext cx="10795982" cy="827867"/>
            <a:chOff x="149177" y="4639515"/>
            <a:chExt cx="4380221" cy="664144"/>
          </a:xfrm>
        </p:grpSpPr>
        <p:sp>
          <p:nvSpPr>
            <p:cNvPr id="32" name="Прямоугольник 31"/>
            <p:cNvSpPr/>
            <p:nvPr/>
          </p:nvSpPr>
          <p:spPr>
            <a:xfrm>
              <a:off x="1171251" y="4639515"/>
              <a:ext cx="3358147" cy="664144"/>
            </a:xfrm>
            <a:prstGeom prst="rect">
              <a:avLst/>
            </a:prstGeom>
            <a:solidFill>
              <a:srgbClr val="596E97"/>
            </a:solidFill>
            <a:ln>
              <a:solidFill>
                <a:srgbClr val="596E9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ru-RU" b="1" dirty="0">
                  <a:latin typeface="Century Gothic" panose="020B0502020202020204" pitchFamily="34" charset="0"/>
                </a:rPr>
                <a:t>Заявка на включение/исключение ЛС и </a:t>
              </a:r>
              <a:r>
                <a:rPr lang="ru-RU" b="1" dirty="0" smtClean="0">
                  <a:latin typeface="Century Gothic" panose="020B0502020202020204" pitchFamily="34" charset="0"/>
                </a:rPr>
                <a:t>МИ </a:t>
              </a:r>
              <a:r>
                <a:rPr lang="ru-RU" b="1" dirty="0">
                  <a:latin typeface="Century Gothic" panose="020B0502020202020204" pitchFamily="34" charset="0"/>
                </a:rPr>
                <a:t>в Список закупа</a:t>
              </a:r>
            </a:p>
          </p:txBody>
        </p:sp>
        <p:sp>
          <p:nvSpPr>
            <p:cNvPr id="33" name="Параллелограмм 32"/>
            <p:cNvSpPr/>
            <p:nvPr/>
          </p:nvSpPr>
          <p:spPr>
            <a:xfrm>
              <a:off x="149177" y="4639515"/>
              <a:ext cx="1168137" cy="664144"/>
            </a:xfrm>
            <a:prstGeom prst="parallelogram">
              <a:avLst/>
            </a:prstGeom>
            <a:solidFill>
              <a:srgbClr val="D7A4C4"/>
            </a:solidFill>
            <a:ln>
              <a:solidFill>
                <a:srgbClr val="D7A4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ru-RU" b="1" dirty="0"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Заявитель </a:t>
              </a:r>
            </a:p>
          </p:txBody>
        </p:sp>
      </p:grpSp>
      <p:grpSp>
        <p:nvGrpSpPr>
          <p:cNvPr id="34" name="Группа 33"/>
          <p:cNvGrpSpPr/>
          <p:nvPr/>
        </p:nvGrpSpPr>
        <p:grpSpPr>
          <a:xfrm>
            <a:off x="733855" y="1728249"/>
            <a:ext cx="10795983" cy="855882"/>
            <a:chOff x="-1296374" y="1432912"/>
            <a:chExt cx="4248553" cy="664144"/>
          </a:xfrm>
        </p:grpSpPr>
        <p:sp>
          <p:nvSpPr>
            <p:cNvPr id="35" name="Прямоугольник 34"/>
            <p:cNvSpPr/>
            <p:nvPr/>
          </p:nvSpPr>
          <p:spPr>
            <a:xfrm>
              <a:off x="-278129" y="1432912"/>
              <a:ext cx="3230308" cy="664144"/>
            </a:xfrm>
            <a:prstGeom prst="rect">
              <a:avLst/>
            </a:prstGeom>
            <a:solidFill>
              <a:srgbClr val="596E97"/>
            </a:solidFill>
            <a:ln>
              <a:solidFill>
                <a:srgbClr val="596E9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ru-RU" b="1" dirty="0">
                  <a:latin typeface="Century Gothic" panose="020B0502020202020204" pitchFamily="34" charset="0"/>
                </a:rPr>
                <a:t>Письмо-поручение в</a:t>
              </a:r>
              <a:r>
                <a:rPr lang="ru-RU" b="1" dirty="0" smtClean="0">
                  <a:latin typeface="Century Gothic" panose="020B0502020202020204" pitchFamily="34" charset="0"/>
                </a:rPr>
                <a:t> </a:t>
              </a:r>
              <a:r>
                <a:rPr lang="ru-RU" b="1" dirty="0">
                  <a:latin typeface="Century Gothic" panose="020B0502020202020204" pitchFamily="34" charset="0"/>
                </a:rPr>
                <a:t>течение 30 дней</a:t>
              </a:r>
            </a:p>
          </p:txBody>
        </p:sp>
        <p:sp>
          <p:nvSpPr>
            <p:cNvPr id="36" name="Параллелограмм 35"/>
            <p:cNvSpPr/>
            <p:nvPr/>
          </p:nvSpPr>
          <p:spPr>
            <a:xfrm>
              <a:off x="-1296374" y="1432912"/>
              <a:ext cx="1133023" cy="664144"/>
            </a:xfrm>
            <a:prstGeom prst="parallelogram">
              <a:avLst/>
            </a:prstGeom>
            <a:solidFill>
              <a:srgbClr val="D7A4C4"/>
            </a:solidFill>
            <a:ln>
              <a:solidFill>
                <a:srgbClr val="D7A4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Комитета контроля медицинской и фармацевтической деятельности </a:t>
              </a: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733856" y="2756416"/>
            <a:ext cx="10795983" cy="862631"/>
            <a:chOff x="1333234" y="2977542"/>
            <a:chExt cx="4075947" cy="664144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2310110" y="2977542"/>
              <a:ext cx="3099071" cy="664144"/>
            </a:xfrm>
            <a:prstGeom prst="rect">
              <a:avLst/>
            </a:prstGeom>
            <a:solidFill>
              <a:srgbClr val="596E97"/>
            </a:solidFill>
            <a:ln>
              <a:solidFill>
                <a:srgbClr val="596E9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ru-RU" b="1" dirty="0">
                  <a:latin typeface="Century Gothic" panose="020B0502020202020204" pitchFamily="34" charset="0"/>
                </a:rPr>
                <a:t>Заключение (оценка клинической и экономической </a:t>
              </a:r>
              <a:r>
                <a:rPr lang="ru-RU" b="1" dirty="0" smtClean="0">
                  <a:latin typeface="Century Gothic" panose="020B0502020202020204" pitchFamily="34" charset="0"/>
                </a:rPr>
                <a:t>эффективности) в </a:t>
              </a:r>
              <a:r>
                <a:rPr lang="ru-RU" b="1" dirty="0">
                  <a:latin typeface="Century Gothic" panose="020B0502020202020204" pitchFamily="34" charset="0"/>
                </a:rPr>
                <a:t>течение 30 дней</a:t>
              </a:r>
            </a:p>
          </p:txBody>
        </p:sp>
        <p:sp>
          <p:nvSpPr>
            <p:cNvPr id="39" name="Параллелограмм 38"/>
            <p:cNvSpPr/>
            <p:nvPr/>
          </p:nvSpPr>
          <p:spPr>
            <a:xfrm>
              <a:off x="1333234" y="2977542"/>
              <a:ext cx="1086994" cy="664144"/>
            </a:xfrm>
            <a:prstGeom prst="parallelogram">
              <a:avLst/>
            </a:prstGeom>
            <a:solidFill>
              <a:srgbClr val="D7A4C4"/>
            </a:solidFill>
            <a:ln>
              <a:solidFill>
                <a:srgbClr val="D7A4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ru-RU" b="1" dirty="0"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РЦРЗ</a:t>
              </a:r>
            </a:p>
          </p:txBody>
        </p:sp>
      </p:grpSp>
      <p:grpSp>
        <p:nvGrpSpPr>
          <p:cNvPr id="40" name="Группа 39"/>
          <p:cNvGrpSpPr/>
          <p:nvPr/>
        </p:nvGrpSpPr>
        <p:grpSpPr>
          <a:xfrm>
            <a:off x="733857" y="3784584"/>
            <a:ext cx="10795982" cy="858783"/>
            <a:chOff x="1641924" y="2151242"/>
            <a:chExt cx="4288444" cy="664144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2669729" y="2151242"/>
              <a:ext cx="3260639" cy="664144"/>
            </a:xfrm>
            <a:prstGeom prst="rect">
              <a:avLst/>
            </a:prstGeom>
            <a:solidFill>
              <a:srgbClr val="596E97"/>
            </a:solidFill>
            <a:ln>
              <a:solidFill>
                <a:srgbClr val="596E9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ru-RU" b="1" dirty="0">
                  <a:latin typeface="Century Gothic" panose="020B0502020202020204" pitchFamily="34" charset="0"/>
                </a:rPr>
                <a:t>Одобрение (отказ во включения) в списки закупа ЛС и </a:t>
              </a:r>
              <a:r>
                <a:rPr lang="ru-RU" b="1" dirty="0" smtClean="0">
                  <a:latin typeface="Century Gothic" panose="020B0502020202020204" pitchFamily="34" charset="0"/>
                </a:rPr>
                <a:t>МИ</a:t>
              </a:r>
              <a:endParaRPr lang="ru-RU" b="1" dirty="0">
                <a:latin typeface="Century Gothic" panose="020B0502020202020204" pitchFamily="34" charset="0"/>
              </a:endParaRPr>
            </a:p>
            <a:p>
              <a:pPr lvl="0" algn="ctr"/>
              <a:r>
                <a:rPr lang="ru-RU" b="1" dirty="0">
                  <a:latin typeface="Century Gothic" panose="020B0502020202020204" pitchFamily="34" charset="0"/>
                </a:rPr>
                <a:t>Протокол Формулярной комиссии</a:t>
              </a:r>
            </a:p>
          </p:txBody>
        </p:sp>
        <p:sp>
          <p:nvSpPr>
            <p:cNvPr id="42" name="Параллелограмм 41"/>
            <p:cNvSpPr/>
            <p:nvPr/>
          </p:nvSpPr>
          <p:spPr>
            <a:xfrm>
              <a:off x="1641924" y="2151242"/>
              <a:ext cx="1143663" cy="664144"/>
            </a:xfrm>
            <a:prstGeom prst="parallelogram">
              <a:avLst/>
            </a:prstGeom>
            <a:solidFill>
              <a:srgbClr val="D7A4C4"/>
            </a:solidFill>
            <a:ln>
              <a:solidFill>
                <a:srgbClr val="D7A4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Формулярная комиссия</a:t>
              </a:r>
            </a:p>
          </p:txBody>
        </p:sp>
      </p:grpSp>
      <p:grpSp>
        <p:nvGrpSpPr>
          <p:cNvPr id="43" name="Группа 42"/>
          <p:cNvGrpSpPr/>
          <p:nvPr/>
        </p:nvGrpSpPr>
        <p:grpSpPr>
          <a:xfrm>
            <a:off x="733853" y="4808904"/>
            <a:ext cx="10795985" cy="827126"/>
            <a:chOff x="3808159" y="1216267"/>
            <a:chExt cx="4367386" cy="664145"/>
          </a:xfrm>
        </p:grpSpPr>
        <p:sp>
          <p:nvSpPr>
            <p:cNvPr id="44" name="Прямоугольник 43"/>
            <p:cNvSpPr/>
            <p:nvPr/>
          </p:nvSpPr>
          <p:spPr>
            <a:xfrm>
              <a:off x="4854884" y="1216267"/>
              <a:ext cx="3320661" cy="664143"/>
            </a:xfrm>
            <a:prstGeom prst="rect">
              <a:avLst/>
            </a:prstGeom>
            <a:solidFill>
              <a:srgbClr val="596E97"/>
            </a:solidFill>
            <a:ln>
              <a:solidFill>
                <a:srgbClr val="596E9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ru-RU" b="1" dirty="0" smtClean="0">
                  <a:latin typeface="Century Gothic" panose="020B0502020202020204" pitchFamily="34" charset="0"/>
                </a:rPr>
                <a:t>Включение (</a:t>
              </a:r>
              <a:r>
                <a:rPr lang="ru-RU" b="1" dirty="0">
                  <a:latin typeface="Century Gothic" panose="020B0502020202020204" pitchFamily="34" charset="0"/>
                </a:rPr>
                <a:t>исключение /отказ во включения) </a:t>
              </a:r>
              <a:endParaRPr lang="ru-RU" b="1" dirty="0" smtClean="0">
                <a:latin typeface="Century Gothic" panose="020B0502020202020204" pitchFamily="34" charset="0"/>
              </a:endParaRPr>
            </a:p>
            <a:p>
              <a:pPr lvl="0" algn="ctr"/>
              <a:r>
                <a:rPr lang="ru-RU" b="1" dirty="0" smtClean="0">
                  <a:latin typeface="Century Gothic" panose="020B0502020202020204" pitchFamily="34" charset="0"/>
                </a:rPr>
                <a:t>в </a:t>
              </a:r>
              <a:r>
                <a:rPr lang="ru-RU" b="1" dirty="0">
                  <a:latin typeface="Century Gothic" panose="020B0502020202020204" pitchFamily="34" charset="0"/>
                </a:rPr>
                <a:t>списки закупа ЛС и </a:t>
              </a:r>
              <a:r>
                <a:rPr lang="ru-RU" b="1" dirty="0" smtClean="0">
                  <a:latin typeface="Century Gothic" panose="020B0502020202020204" pitchFamily="34" charset="0"/>
                </a:rPr>
                <a:t>МИ, </a:t>
              </a:r>
              <a:endParaRPr lang="ru-RU" b="1" dirty="0">
                <a:latin typeface="Century Gothic" panose="020B0502020202020204" pitchFamily="34" charset="0"/>
              </a:endParaRPr>
            </a:p>
            <a:p>
              <a:pPr lvl="0" algn="ctr"/>
              <a:r>
                <a:rPr lang="ru-RU" b="1" dirty="0">
                  <a:latin typeface="Century Gothic" panose="020B0502020202020204" pitchFamily="34" charset="0"/>
                </a:rPr>
                <a:t>Протокол ОКК</a:t>
              </a:r>
            </a:p>
          </p:txBody>
        </p:sp>
        <p:sp>
          <p:nvSpPr>
            <p:cNvPr id="45" name="Параллелограмм 44"/>
            <p:cNvSpPr/>
            <p:nvPr/>
          </p:nvSpPr>
          <p:spPr>
            <a:xfrm>
              <a:off x="3808159" y="1216268"/>
              <a:ext cx="1164715" cy="664144"/>
            </a:xfrm>
            <a:prstGeom prst="parallelogram">
              <a:avLst/>
            </a:prstGeom>
            <a:solidFill>
              <a:srgbClr val="D7A4C4"/>
            </a:solidFill>
            <a:ln>
              <a:solidFill>
                <a:srgbClr val="D7A4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Объединенная комиссия по качеству</a:t>
              </a:r>
              <a:endParaRPr lang="ru-RU" sz="1200" b="1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7" name="Прямоугольник 46"/>
          <p:cNvSpPr/>
          <p:nvPr/>
        </p:nvSpPr>
        <p:spPr>
          <a:xfrm>
            <a:off x="2994468" y="5810386"/>
            <a:ext cx="8535369" cy="862766"/>
          </a:xfrm>
          <a:prstGeom prst="rect">
            <a:avLst/>
          </a:prstGeom>
          <a:solidFill>
            <a:srgbClr val="596E97"/>
          </a:solidFill>
          <a:ln>
            <a:solidFill>
              <a:srgbClr val="596E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b="1" dirty="0">
                <a:latin typeface="Century Gothic" panose="020B0502020202020204" pitchFamily="34" charset="0"/>
              </a:rPr>
              <a:t>Списки закупа ЛС и </a:t>
            </a:r>
            <a:r>
              <a:rPr lang="ru-RU" b="1" dirty="0" smtClean="0">
                <a:latin typeface="Century Gothic" panose="020B0502020202020204" pitchFamily="34" charset="0"/>
              </a:rPr>
              <a:t>МИ </a:t>
            </a:r>
            <a:r>
              <a:rPr lang="ru-RU" b="1" dirty="0">
                <a:latin typeface="Century Gothic" panose="020B0502020202020204" pitchFamily="34" charset="0"/>
              </a:rPr>
              <a:t>публикуются </a:t>
            </a:r>
            <a:endParaRPr lang="ru-RU" b="1" dirty="0" smtClean="0">
              <a:latin typeface="Century Gothic" panose="020B0502020202020204" pitchFamily="34" charset="0"/>
            </a:endParaRPr>
          </a:p>
          <a:p>
            <a:pPr lvl="0" algn="ctr"/>
            <a:r>
              <a:rPr lang="ru-RU" b="1" dirty="0" smtClean="0">
                <a:latin typeface="Century Gothic" panose="020B0502020202020204" pitchFamily="34" charset="0"/>
              </a:rPr>
              <a:t>на </a:t>
            </a:r>
            <a:r>
              <a:rPr lang="ru-RU" b="1" dirty="0">
                <a:latin typeface="Century Gothic" panose="020B0502020202020204" pitchFamily="34" charset="0"/>
              </a:rPr>
              <a:t>сайте МЗ РК через 10 дней после заседания ОКК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59A5E1A1-1B2E-49F0-A6C9-3578E9FD8F10}"/>
              </a:ext>
            </a:extLst>
          </p:cNvPr>
          <p:cNvSpPr/>
          <p:nvPr/>
        </p:nvSpPr>
        <p:spPr>
          <a:xfrm>
            <a:off x="341108" y="122647"/>
            <a:ext cx="116539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400" b="1" u="sng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Порядок формирования списков закупа ЛС и </a:t>
            </a:r>
            <a:r>
              <a:rPr lang="ru-RU" sz="2400" b="1" u="sng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МИ</a:t>
            </a:r>
            <a:endParaRPr lang="ru-RU" sz="2400" b="1" u="sng" dirty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24" name="Параллелограмм 23"/>
          <p:cNvSpPr/>
          <p:nvPr/>
        </p:nvSpPr>
        <p:spPr>
          <a:xfrm>
            <a:off x="733853" y="5810175"/>
            <a:ext cx="2879123" cy="862978"/>
          </a:xfrm>
          <a:prstGeom prst="parallelogram">
            <a:avLst/>
          </a:prstGeom>
          <a:solidFill>
            <a:srgbClr val="D7A4C4"/>
          </a:solidFill>
          <a:ln>
            <a:solidFill>
              <a:srgbClr val="D7A4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митета контроля медицинской и фармацевтической деятельности 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4313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99311" y="781387"/>
            <a:ext cx="11495747" cy="5940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dirty="0" smtClean="0">
                <a:latin typeface="Century Gothic" panose="020B0502020202020204" pitchFamily="34" charset="0"/>
              </a:rPr>
              <a:t>Кодекс </a:t>
            </a:r>
            <a:r>
              <a:rPr lang="ru-RU" sz="2000" dirty="0">
                <a:latin typeface="Century Gothic" panose="020B0502020202020204" pitchFamily="34" charset="0"/>
              </a:rPr>
              <a:t>Республики Казахстан «О здоровье народа и системе здравоохранения</a:t>
            </a:r>
            <a:r>
              <a:rPr lang="ru-RU" sz="2000" dirty="0" smtClean="0">
                <a:latin typeface="Century Gothic" panose="020B0502020202020204" pitchFamily="34" charset="0"/>
              </a:rPr>
              <a:t>»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dirty="0" smtClean="0">
                <a:latin typeface="Century Gothic" panose="020B0502020202020204" pitchFamily="34" charset="0"/>
              </a:rPr>
              <a:t>Закон </a:t>
            </a:r>
            <a:r>
              <a:rPr lang="ru-RU" sz="2000" dirty="0">
                <a:latin typeface="Century Gothic" panose="020B0502020202020204" pitchFamily="34" charset="0"/>
              </a:rPr>
              <a:t>Республики Казахстан «О государственных закупках</a:t>
            </a:r>
            <a:r>
              <a:rPr lang="ru-RU" sz="2000" dirty="0" smtClean="0">
                <a:latin typeface="Century Gothic" panose="020B0502020202020204" pitchFamily="34" charset="0"/>
              </a:rPr>
              <a:t>»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dirty="0" smtClean="0">
                <a:latin typeface="Century Gothic" panose="020B0502020202020204" pitchFamily="34" charset="0"/>
              </a:rPr>
              <a:t>Закон </a:t>
            </a:r>
            <a:r>
              <a:rPr lang="ru-RU" sz="2000" dirty="0">
                <a:latin typeface="Century Gothic" panose="020B0502020202020204" pitchFamily="34" charset="0"/>
              </a:rPr>
              <a:t>Республики Казахстан «Об обязательном социальном медицинском страховании</a:t>
            </a:r>
            <a:r>
              <a:rPr lang="ru-RU" sz="2000" dirty="0" smtClean="0">
                <a:latin typeface="Century Gothic" panose="020B0502020202020204" pitchFamily="34" charset="0"/>
              </a:rPr>
              <a:t>»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dirty="0" smtClean="0">
                <a:latin typeface="Century Gothic" panose="020B0502020202020204" pitchFamily="34" charset="0"/>
              </a:rPr>
              <a:t>Приказ Министра здравоохранения Республики </a:t>
            </a:r>
            <a:r>
              <a:rPr lang="ru-RU" sz="2000" dirty="0">
                <a:latin typeface="Century Gothic" panose="020B0502020202020204" pitchFamily="34" charset="0"/>
              </a:rPr>
              <a:t>Казахстан от </a:t>
            </a:r>
            <a:r>
              <a:rPr lang="ru-RU" sz="2000" dirty="0" smtClean="0">
                <a:latin typeface="Century Gothic" panose="020B0502020202020204" pitchFamily="34" charset="0"/>
              </a:rPr>
              <a:t>7 </a:t>
            </a:r>
            <a:r>
              <a:rPr lang="ru-RU" sz="2000" dirty="0">
                <a:latin typeface="Century Gothic" panose="020B0502020202020204" pitchFamily="34" charset="0"/>
              </a:rPr>
              <a:t>июня </a:t>
            </a:r>
            <a:r>
              <a:rPr lang="ru-RU" sz="2000" dirty="0" smtClean="0">
                <a:latin typeface="Century Gothic" panose="020B0502020202020204" pitchFamily="34" charset="0"/>
              </a:rPr>
              <a:t>2023 </a:t>
            </a:r>
            <a:r>
              <a:rPr lang="ru-RU" sz="2000" dirty="0">
                <a:latin typeface="Century Gothic" panose="020B0502020202020204" pitchFamily="34" charset="0"/>
              </a:rPr>
              <a:t>года № </a:t>
            </a:r>
            <a:r>
              <a:rPr lang="ru-RU" sz="2000" dirty="0" smtClean="0">
                <a:latin typeface="Century Gothic" panose="020B0502020202020204" pitchFamily="34" charset="0"/>
              </a:rPr>
              <a:t>110 </a:t>
            </a:r>
            <a:r>
              <a:rPr lang="ru-RU" sz="2000" dirty="0">
                <a:latin typeface="Century Gothic" panose="020B0502020202020204" pitchFamily="34" charset="0"/>
              </a:rPr>
              <a:t>«Об утверждении Правил организации и проведения закупа лекарственных средств, медицинских изделий и специализированных лечебных продуктов в рамках гарантированного объема бесплатной медицинской помощи и (или) в системе обязательного социального медицинского страхования, фармацевтических услуг»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dirty="0">
                <a:latin typeface="Century Gothic" panose="020B0502020202020204" pitchFamily="34" charset="0"/>
              </a:rPr>
              <a:t>Приказ Министра здравоохранения </a:t>
            </a:r>
            <a:r>
              <a:rPr lang="ru-RU" sz="2000" dirty="0" smtClean="0">
                <a:latin typeface="Century Gothic" panose="020B0502020202020204" pitchFamily="34" charset="0"/>
              </a:rPr>
              <a:t>Республики </a:t>
            </a:r>
            <a:r>
              <a:rPr lang="ru-RU" sz="2000" dirty="0">
                <a:latin typeface="Century Gothic" panose="020B0502020202020204" pitchFamily="34" charset="0"/>
              </a:rPr>
              <a:t>Казахстан от 11 июля 2023 года № 127 «Об утверждении Правил закупа услуг по хранению и транспортировке лекарственных средств и медицинских изделий, услуг по учету и реализации лекарственных средств и медицинских изделий единым дистрибьютором в рамках </a:t>
            </a:r>
            <a:r>
              <a:rPr lang="ru-RU" sz="2000" dirty="0" smtClean="0">
                <a:latin typeface="Century Gothic" panose="020B0502020202020204" pitchFamily="34" charset="0"/>
              </a:rPr>
              <a:t>ГОБМП, </a:t>
            </a:r>
            <a:r>
              <a:rPr lang="ru-RU" sz="2000" dirty="0">
                <a:latin typeface="Century Gothic" panose="020B0502020202020204" pitchFamily="34" charset="0"/>
              </a:rPr>
              <a:t>дополнительного объема медицинской помощи для лиц, содержащихся в следственных изоляторах и учреждениях уголовно-исполнительной (пенитенциарной) системы, за счет бюджетных средств и (или) в системе </a:t>
            </a:r>
            <a:r>
              <a:rPr lang="ru-RU" sz="2000" dirty="0" smtClean="0">
                <a:latin typeface="Century Gothic" panose="020B0502020202020204" pitchFamily="34" charset="0"/>
              </a:rPr>
              <a:t>ОСМС»;</a:t>
            </a:r>
            <a:endParaRPr lang="ru-RU" sz="2000" dirty="0">
              <a:latin typeface="Century Gothic" panose="020B0502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dirty="0">
                <a:latin typeface="Century Gothic" panose="020B0502020202020204" pitchFamily="34" charset="0"/>
              </a:rPr>
              <a:t>Приказ </a:t>
            </a:r>
            <a:r>
              <a:rPr lang="ru-RU" sz="2000" dirty="0" err="1" smtClean="0">
                <a:latin typeface="Century Gothic" panose="020B0502020202020204" pitchFamily="34" charset="0"/>
              </a:rPr>
              <a:t>и.о</a:t>
            </a:r>
            <a:r>
              <a:rPr lang="ru-RU" sz="2000" dirty="0" smtClean="0">
                <a:latin typeface="Century Gothic" panose="020B0502020202020204" pitchFamily="34" charset="0"/>
              </a:rPr>
              <a:t>. министра </a:t>
            </a:r>
            <a:r>
              <a:rPr lang="ru-RU" sz="2000" dirty="0">
                <a:latin typeface="Century Gothic" panose="020B0502020202020204" pitchFamily="34" charset="0"/>
              </a:rPr>
              <a:t>здравоохранения Республики Казахстан от </a:t>
            </a:r>
            <a:r>
              <a:rPr lang="ru-RU" sz="2000" dirty="0" smtClean="0">
                <a:latin typeface="Century Gothic" panose="020B0502020202020204" pitchFamily="34" charset="0"/>
              </a:rPr>
              <a:t>16 августа 2023 </a:t>
            </a:r>
            <a:r>
              <a:rPr lang="ru-RU" sz="2000" dirty="0">
                <a:latin typeface="Century Gothic" panose="020B0502020202020204" pitchFamily="34" charset="0"/>
              </a:rPr>
              <a:t>года № </a:t>
            </a:r>
            <a:r>
              <a:rPr lang="ru-RU" sz="2000" dirty="0" smtClean="0">
                <a:latin typeface="Century Gothic" panose="020B0502020202020204" pitchFamily="34" charset="0"/>
              </a:rPr>
              <a:t>488 «Об определении единого дистрибьютора». 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59A5E1A1-1B2E-49F0-A6C9-3578E9FD8F10}"/>
              </a:ext>
            </a:extLst>
          </p:cNvPr>
          <p:cNvSpPr/>
          <p:nvPr/>
        </p:nvSpPr>
        <p:spPr>
          <a:xfrm>
            <a:off x="-513471" y="261029"/>
            <a:ext cx="1165395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400" b="1" u="sng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Перечень нормативно правовых актов </a:t>
            </a:r>
            <a:r>
              <a:rPr lang="en-US" sz="2400" b="1" u="sng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  <a:hlinkClick r:id="rId2"/>
              </a:rPr>
              <a:t>http://adilet.zan.kz</a:t>
            </a:r>
            <a:r>
              <a:rPr lang="en-US" sz="2400" b="1" u="sng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  <a:hlinkClick r:id="rId2"/>
              </a:rPr>
              <a:t>/</a:t>
            </a:r>
            <a:endParaRPr lang="ru-RU" sz="2400" b="1" u="sng" dirty="0" smtClean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  <a:p>
            <a:pPr algn="r"/>
            <a:endParaRPr lang="ru-RU" sz="2400" b="1" u="sng" dirty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91677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59A5E1A1-1B2E-49F0-A6C9-3578E9FD8F10}"/>
              </a:ext>
            </a:extLst>
          </p:cNvPr>
          <p:cNvSpPr/>
          <p:nvPr/>
        </p:nvSpPr>
        <p:spPr>
          <a:xfrm>
            <a:off x="-658750" y="336292"/>
            <a:ext cx="1165395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400" b="1" u="sng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Перечень нормативно правовых актов </a:t>
            </a:r>
            <a:r>
              <a:rPr lang="en-US" sz="2400" b="1" u="sng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  <a:hlinkClick r:id="rId2"/>
              </a:rPr>
              <a:t>http://adilet.zan.kz</a:t>
            </a:r>
            <a:r>
              <a:rPr lang="en-US" sz="2400" b="1" u="sng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  <a:hlinkClick r:id="rId2"/>
              </a:rPr>
              <a:t>/</a:t>
            </a:r>
            <a:endParaRPr lang="ru-RU" sz="2400" b="1" u="sng" dirty="0" smtClean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  <a:p>
            <a:pPr algn="r"/>
            <a:endParaRPr lang="ru-RU" sz="2400" b="1" u="sng" dirty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93451" y="1006652"/>
            <a:ext cx="11149263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dirty="0" smtClean="0">
                <a:latin typeface="Century Gothic" panose="020B0502020202020204" pitchFamily="34" charset="0"/>
              </a:rPr>
              <a:t>Приказ Министра здравоохранения Республики Казахстан от </a:t>
            </a:r>
            <a:r>
              <a:rPr lang="ru-RU" sz="2000" dirty="0">
                <a:latin typeface="Century Gothic" panose="020B0502020202020204" pitchFamily="34" charset="0"/>
              </a:rPr>
              <a:t>18 мая 2021 года № ҚР ДСМ - 41 «Об утверждении Казахстанского национального лекарственного формуляра»;</a:t>
            </a:r>
            <a:endParaRPr lang="ru-RU" sz="2000" dirty="0" smtClean="0">
              <a:latin typeface="Century Gothic" panose="020B0502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dirty="0">
                <a:latin typeface="Century Gothic" panose="020B0502020202020204" pitchFamily="34" charset="0"/>
              </a:rPr>
              <a:t>Приказ Министра здравоохранения Республики Казахстан от 11 декабря 2020 года № ҚР ДСМ-247/2020 «Об утверждении правил регулирования, формирования предельных цен и наценки на лекарственные средства, а также медицинские изделия в рамках гарантированного объема бесплатной медицинской помощи и (или) в системе обязательного социального медицинского страхования</a:t>
            </a:r>
            <a:r>
              <a:rPr lang="ru-RU" sz="2000" dirty="0" smtClean="0">
                <a:latin typeface="Century Gothic" panose="020B0502020202020204" pitchFamily="34" charset="0"/>
              </a:rPr>
              <a:t>»;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6945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59A5E1A1-1B2E-49F0-A6C9-3578E9FD8F10}"/>
              </a:ext>
            </a:extLst>
          </p:cNvPr>
          <p:cNvSpPr/>
          <p:nvPr/>
        </p:nvSpPr>
        <p:spPr>
          <a:xfrm>
            <a:off x="-863849" y="330831"/>
            <a:ext cx="1165395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400" b="1" u="sng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Перечень нормативно правовых актов </a:t>
            </a:r>
            <a:r>
              <a:rPr lang="en-US" sz="2400" b="1" u="sng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  <a:hlinkClick r:id="rId2"/>
              </a:rPr>
              <a:t>http://adilet.zan.kz</a:t>
            </a:r>
            <a:r>
              <a:rPr lang="en-US" sz="2400" b="1" u="sng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  <a:hlinkClick r:id="rId2"/>
              </a:rPr>
              <a:t>/</a:t>
            </a:r>
            <a:endParaRPr lang="ru-RU" sz="2400" b="1" u="sng" dirty="0" smtClean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  <a:p>
            <a:pPr algn="r"/>
            <a:endParaRPr lang="ru-RU" sz="2400" b="1" u="sng" dirty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34191" y="1161828"/>
            <a:ext cx="10924674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dirty="0" smtClean="0">
                <a:latin typeface="Century Gothic" panose="020B0502020202020204" pitchFamily="34" charset="0"/>
              </a:rPr>
              <a:t>Приказ </a:t>
            </a:r>
            <a:r>
              <a:rPr lang="ru-RU" sz="2000" dirty="0">
                <a:latin typeface="Century Gothic" panose="020B0502020202020204" pitchFamily="34" charset="0"/>
              </a:rPr>
              <a:t>Министра здравоохранения Республики Казахстан </a:t>
            </a:r>
            <a:r>
              <a:rPr lang="ru-RU" sz="2000" dirty="0" smtClean="0">
                <a:latin typeface="Century Gothic" panose="020B0502020202020204" pitchFamily="34" charset="0"/>
              </a:rPr>
              <a:t>от </a:t>
            </a:r>
            <a:r>
              <a:rPr lang="ru-RU" sz="2000" dirty="0">
                <a:latin typeface="Century Gothic" panose="020B0502020202020204" pitchFamily="34" charset="0"/>
              </a:rPr>
              <a:t>20 августа 2021 года № ҚР </a:t>
            </a:r>
            <a:r>
              <a:rPr lang="ru-RU" sz="2000" dirty="0" smtClean="0">
                <a:latin typeface="Century Gothic" panose="020B0502020202020204" pitchFamily="34" charset="0"/>
              </a:rPr>
              <a:t>ДСМ-88 «Об </a:t>
            </a:r>
            <a:r>
              <a:rPr lang="ru-RU" sz="2000" dirty="0">
                <a:latin typeface="Century Gothic" panose="020B0502020202020204" pitchFamily="34" charset="0"/>
              </a:rPr>
              <a:t>определении перечня лекарственных средств и медицинских изделий, закупаемых у единого дистрибьютора</a:t>
            </a:r>
            <a:r>
              <a:rPr lang="ru-RU" sz="2000" dirty="0" smtClean="0">
                <a:latin typeface="Century Gothic" panose="020B0502020202020204" pitchFamily="34" charset="0"/>
              </a:rPr>
              <a:t>»»;</a:t>
            </a:r>
            <a:endParaRPr lang="ru-RU" sz="2000" dirty="0">
              <a:latin typeface="Century Gothic" panose="020B0502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dirty="0">
                <a:latin typeface="Century Gothic" panose="020B0502020202020204" pitchFamily="34" charset="0"/>
              </a:rPr>
              <a:t>Приказ Министра здравоохранения Республики Казахстан от 5 августа 2021 года № ҚР ДСМ </a:t>
            </a:r>
            <a:r>
              <a:rPr lang="ru-RU" sz="2000" dirty="0" smtClean="0">
                <a:latin typeface="Century Gothic" panose="020B0502020202020204" pitchFamily="34" charset="0"/>
              </a:rPr>
              <a:t>– </a:t>
            </a:r>
            <a:r>
              <a:rPr lang="ru-RU" sz="2000" dirty="0">
                <a:latin typeface="Century Gothic" panose="020B0502020202020204" pitchFamily="34" charset="0"/>
              </a:rPr>
              <a:t>75 «Об утверждении Перечня лекарственных средств и медицинских изделий для бесплатного и (или) льготного амбулаторного обеспечения отдельных категорий граждан Республики Казахстан с определенными заболеваниями (состояниями</a:t>
            </a:r>
            <a:r>
              <a:rPr lang="ru-RU" sz="2000" dirty="0" smtClean="0">
                <a:latin typeface="Century Gothic" panose="020B0502020202020204" pitchFamily="34" charset="0"/>
              </a:rPr>
              <a:t>)»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000" dirty="0">
                <a:latin typeface="Century Gothic" panose="020B0502020202020204" pitchFamily="34" charset="0"/>
              </a:rPr>
              <a:t>Приказ </a:t>
            </a:r>
            <a:r>
              <a:rPr lang="ru-RU" sz="2000" dirty="0" err="1">
                <a:latin typeface="Century Gothic" panose="020B0502020202020204" pitchFamily="34" charset="0"/>
              </a:rPr>
              <a:t>и.о</a:t>
            </a:r>
            <a:r>
              <a:rPr lang="ru-RU" sz="2000" dirty="0">
                <a:latin typeface="Century Gothic" panose="020B0502020202020204" pitchFamily="34" charset="0"/>
              </a:rPr>
              <a:t>. Министра здравоохранения Республики Казахстан от 4 февраля 2021 года № ҚР ДСМ-15 «Об утверждении надлежащих фармацевтических практик</a:t>
            </a:r>
            <a:r>
              <a:rPr lang="ru-RU" sz="2000" dirty="0" smtClean="0">
                <a:latin typeface="Century Gothic" panose="020B0502020202020204" pitchFamily="34" charset="0"/>
              </a:rPr>
              <a:t>»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dirty="0">
              <a:latin typeface="Century Gothic" panose="020B0502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5772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23825" y="1510145"/>
            <a:ext cx="11688561" cy="521133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1200" dirty="0">
                <a:latin typeface="Century Gothic" panose="020B0502020202020204" pitchFamily="34" charset="0"/>
              </a:rPr>
              <a:t>Процедуры закупа ЛС и МИ у отечественных производителей</a:t>
            </a:r>
            <a:r>
              <a:rPr lang="ru-RU" sz="1200" dirty="0" smtClean="0">
                <a:latin typeface="Century Gothic" panose="020B0502020202020204" pitchFamily="34" charset="0"/>
              </a:rPr>
              <a:t>;………………………………………………………………………..……………………….……….стр. </a:t>
            </a:r>
            <a:r>
              <a:rPr lang="en-US" sz="1200" dirty="0" smtClean="0">
                <a:latin typeface="Century Gothic" panose="020B0502020202020204" pitchFamily="34" charset="0"/>
              </a:rPr>
              <a:t>3</a:t>
            </a:r>
            <a:endParaRPr lang="ru-RU" sz="1200" dirty="0" smtClean="0">
              <a:latin typeface="Century Gothic" panose="020B0502020202020204" pitchFamily="34" charset="0"/>
            </a:endParaRPr>
          </a:p>
          <a:p>
            <a:pPr marL="0" indent="0">
              <a:buNone/>
            </a:pPr>
            <a:r>
              <a:rPr lang="ru-RU" sz="1200" dirty="0">
                <a:latin typeface="Century Gothic" panose="020B0502020202020204" pitchFamily="34" charset="0"/>
              </a:rPr>
              <a:t>С</a:t>
            </a:r>
            <a:r>
              <a:rPr lang="ru-RU" sz="1200" dirty="0" smtClean="0">
                <a:latin typeface="Century Gothic" panose="020B0502020202020204" pitchFamily="34" charset="0"/>
              </a:rPr>
              <a:t>тандарт государственной услуги регистрации </a:t>
            </a:r>
            <a:r>
              <a:rPr lang="ru-RU" sz="1200" dirty="0">
                <a:latin typeface="Century Gothic" panose="020B0502020202020204" pitchFamily="34" charset="0"/>
              </a:rPr>
              <a:t>ЛС и </a:t>
            </a:r>
            <a:r>
              <a:rPr lang="ru-RU" sz="1200" dirty="0" smtClean="0">
                <a:latin typeface="Century Gothic" panose="020B0502020202020204" pitchFamily="34" charset="0"/>
              </a:rPr>
              <a:t>МИ;…………………….………………………………………………..……………………………………...стр. 15</a:t>
            </a:r>
            <a:endParaRPr lang="ru-RU" sz="1200" dirty="0">
              <a:latin typeface="Century Gothic" panose="020B0502020202020204" pitchFamily="34" charset="0"/>
            </a:endParaRPr>
          </a:p>
          <a:p>
            <a:pPr marL="0" indent="0">
              <a:buNone/>
            </a:pPr>
            <a:r>
              <a:rPr lang="ru-RU" sz="1200" dirty="0">
                <a:latin typeface="Century Gothic" panose="020B0502020202020204" pitchFamily="34" charset="0"/>
              </a:rPr>
              <a:t>Перечень нормативно правовых </a:t>
            </a:r>
            <a:r>
              <a:rPr lang="ru-RU" sz="1200" dirty="0" smtClean="0">
                <a:latin typeface="Century Gothic" panose="020B0502020202020204" pitchFamily="34" charset="0"/>
              </a:rPr>
              <a:t>актов;……………………………………………………………………………………………………………………………………….стр. 17 </a:t>
            </a:r>
            <a:endParaRPr lang="en-US" sz="1200" dirty="0" smtClean="0">
              <a:latin typeface="Century Gothic" panose="020B0502020202020204" pitchFamily="34" charset="0"/>
            </a:endParaRPr>
          </a:p>
          <a:p>
            <a:pPr marL="0" indent="0">
              <a:buNone/>
            </a:pPr>
            <a:r>
              <a:rPr lang="ru-RU" sz="1200" dirty="0" smtClean="0">
                <a:latin typeface="Century Gothic" panose="020B0502020202020204" pitchFamily="34" charset="0"/>
              </a:rPr>
              <a:t>ПРИЛОЖЕНИЕ </a:t>
            </a:r>
            <a:r>
              <a:rPr lang="ru-RU" sz="1200" dirty="0">
                <a:latin typeface="Century Gothic" panose="020B0502020202020204" pitchFamily="34" charset="0"/>
              </a:rPr>
              <a:t>1 </a:t>
            </a:r>
            <a:r>
              <a:rPr lang="ru-RU" sz="1200" dirty="0" smtClean="0">
                <a:latin typeface="Century Gothic" panose="020B0502020202020204" pitchFamily="34" charset="0"/>
              </a:rPr>
              <a:t>Информационно-аналитический </a:t>
            </a:r>
            <a:r>
              <a:rPr lang="ru-RU" sz="1200" dirty="0">
                <a:latin typeface="Century Gothic" panose="020B0502020202020204" pitchFamily="34" charset="0"/>
              </a:rPr>
              <a:t>блок СК-Фармация</a:t>
            </a:r>
            <a:r>
              <a:rPr lang="ru-RU" sz="1200" dirty="0" smtClean="0">
                <a:latin typeface="Century Gothic" panose="020B0502020202020204" pitchFamily="34" charset="0"/>
              </a:rPr>
              <a:t>;…..…………………………..……………………………………………….…………...</a:t>
            </a:r>
            <a:r>
              <a:rPr lang="ru-RU" sz="1200" dirty="0">
                <a:latin typeface="Century Gothic" panose="020B0502020202020204" pitchFamily="34" charset="0"/>
              </a:rPr>
              <a:t>стр.</a:t>
            </a:r>
            <a:r>
              <a:rPr lang="en-US" sz="1200" dirty="0">
                <a:latin typeface="Century Gothic" panose="020B0502020202020204" pitchFamily="34" charset="0"/>
              </a:rPr>
              <a:t> </a:t>
            </a:r>
            <a:r>
              <a:rPr lang="ru-RU" sz="1200" dirty="0" smtClean="0">
                <a:latin typeface="Century Gothic" panose="020B0502020202020204" pitchFamily="34" charset="0"/>
              </a:rPr>
              <a:t>20</a:t>
            </a:r>
          </a:p>
          <a:p>
            <a:pPr marL="0" indent="0">
              <a:buNone/>
            </a:pPr>
            <a:r>
              <a:rPr lang="ru-RU" sz="1200" dirty="0" smtClean="0">
                <a:latin typeface="Century Gothic" panose="020B0502020202020204" pitchFamily="34" charset="0"/>
              </a:rPr>
              <a:t>ПРИЛОЖЕНИЕ 2 Перечень </a:t>
            </a:r>
            <a:r>
              <a:rPr lang="ru-RU" sz="1200" dirty="0">
                <a:latin typeface="Century Gothic" panose="020B0502020202020204" pitchFamily="34" charset="0"/>
              </a:rPr>
              <a:t>позиций Списка Единого </a:t>
            </a:r>
            <a:r>
              <a:rPr lang="ru-RU" sz="1200" dirty="0" smtClean="0">
                <a:latin typeface="Century Gothic" panose="020B0502020202020204" pitchFamily="34" charset="0"/>
              </a:rPr>
              <a:t>дистрибьютора на 2023 год, не </a:t>
            </a:r>
            <a:r>
              <a:rPr lang="ru-RU" sz="1200" dirty="0">
                <a:latin typeface="Century Gothic" panose="020B0502020202020204" pitchFamily="34" charset="0"/>
              </a:rPr>
              <a:t>заявленных </a:t>
            </a:r>
            <a:r>
              <a:rPr lang="ru-RU" sz="1200" dirty="0" smtClean="0">
                <a:latin typeface="Century Gothic" panose="020B0502020202020204" pitchFamily="34" charset="0"/>
              </a:rPr>
              <a:t>ОТП;………….……………………….……………...….</a:t>
            </a:r>
            <a:r>
              <a:rPr lang="ru-RU" sz="1200" dirty="0">
                <a:latin typeface="Century Gothic" panose="020B0502020202020204" pitchFamily="34" charset="0"/>
              </a:rPr>
              <a:t>стр. </a:t>
            </a:r>
            <a:r>
              <a:rPr lang="ru-RU" sz="1200" dirty="0" smtClean="0">
                <a:latin typeface="Century Gothic" panose="020B0502020202020204" pitchFamily="34" charset="0"/>
              </a:rPr>
              <a:t>23</a:t>
            </a:r>
            <a:endParaRPr lang="ru-RU" sz="1200" dirty="0">
              <a:latin typeface="Century Gothic" panose="020B0502020202020204" pitchFamily="34" charset="0"/>
            </a:endParaRPr>
          </a:p>
          <a:p>
            <a:pPr marL="0" indent="0">
              <a:buNone/>
            </a:pPr>
            <a:r>
              <a:rPr lang="ru-RU" sz="1200" dirty="0" smtClean="0">
                <a:latin typeface="Century Gothic" panose="020B0502020202020204" pitchFamily="34" charset="0"/>
              </a:rPr>
              <a:t>ПРИЛОЖЕНИЕ 3 </a:t>
            </a:r>
            <a:r>
              <a:rPr lang="ru-RU" sz="1200" dirty="0">
                <a:latin typeface="Century Gothic" panose="020B0502020202020204" pitchFamily="34" charset="0"/>
              </a:rPr>
              <a:t>Преференции для инвестиционных проектов АО </a:t>
            </a:r>
            <a:r>
              <a:rPr lang="ru-RU" sz="1200" dirty="0" smtClean="0">
                <a:latin typeface="Century Gothic" panose="020B0502020202020204" pitchFamily="34" charset="0"/>
              </a:rPr>
              <a:t>«НК «</a:t>
            </a:r>
            <a:r>
              <a:rPr lang="en-US" sz="1200" dirty="0" smtClean="0">
                <a:latin typeface="Century Gothic" panose="020B0502020202020204" pitchFamily="34" charset="0"/>
              </a:rPr>
              <a:t>KAZAKHINVEST»</a:t>
            </a:r>
            <a:r>
              <a:rPr lang="kk-KZ" sz="1200" dirty="0" smtClean="0">
                <a:latin typeface="Century Gothic" panose="020B0502020202020204" pitchFamily="34" charset="0"/>
              </a:rPr>
              <a:t>;.....</a:t>
            </a:r>
            <a:r>
              <a:rPr lang="ru-RU" sz="1200" dirty="0" smtClean="0">
                <a:latin typeface="Century Gothic" panose="020B0502020202020204" pitchFamily="34" charset="0"/>
              </a:rPr>
              <a:t>…………………………………………………………………….стр</a:t>
            </a:r>
            <a:r>
              <a:rPr lang="ru-RU" sz="1200" dirty="0">
                <a:latin typeface="Century Gothic" panose="020B0502020202020204" pitchFamily="34" charset="0"/>
              </a:rPr>
              <a:t>. </a:t>
            </a:r>
            <a:r>
              <a:rPr lang="ru-RU" sz="1200" dirty="0" smtClean="0">
                <a:latin typeface="Century Gothic" panose="020B0502020202020204" pitchFamily="34" charset="0"/>
              </a:rPr>
              <a:t>58</a:t>
            </a:r>
            <a:endParaRPr lang="ru-RU" sz="1200" dirty="0">
              <a:latin typeface="Century Gothic" panose="020B0502020202020204" pitchFamily="34" charset="0"/>
            </a:endParaRPr>
          </a:p>
          <a:p>
            <a:pPr marL="0" indent="0">
              <a:buNone/>
            </a:pPr>
            <a:r>
              <a:rPr lang="ru-RU" sz="1200" dirty="0" smtClean="0">
                <a:latin typeface="Century Gothic" panose="020B0502020202020204" pitchFamily="34" charset="0"/>
              </a:rPr>
              <a:t>ПРИЛОЖЕНИЕ </a:t>
            </a:r>
            <a:r>
              <a:rPr lang="ru-RU" sz="1200" dirty="0">
                <a:latin typeface="Century Gothic" panose="020B0502020202020204" pitchFamily="34" charset="0"/>
              </a:rPr>
              <a:t>4 </a:t>
            </a:r>
            <a:r>
              <a:rPr lang="ru-RU" sz="1200" dirty="0" smtClean="0">
                <a:latin typeface="Century Gothic" panose="020B0502020202020204" pitchFamily="34" charset="0"/>
              </a:rPr>
              <a:t>Государственная поддержка </a:t>
            </a:r>
            <a:r>
              <a:rPr lang="ru-RU" sz="1200" dirty="0">
                <a:latin typeface="Century Gothic" panose="020B0502020202020204" pitchFamily="34" charset="0"/>
              </a:rPr>
              <a:t>инвестиционной </a:t>
            </a:r>
            <a:r>
              <a:rPr lang="ru-RU" sz="1200" dirty="0" smtClean="0">
                <a:latin typeface="Century Gothic" panose="020B0502020202020204" pitchFamily="34" charset="0"/>
              </a:rPr>
              <a:t>деятельности АО «НК «</a:t>
            </a:r>
            <a:r>
              <a:rPr lang="en-US" sz="1200" dirty="0" smtClean="0">
                <a:latin typeface="Century Gothic" panose="020B0502020202020204" pitchFamily="34" charset="0"/>
              </a:rPr>
              <a:t>KAZAKHINVEST»</a:t>
            </a:r>
            <a:r>
              <a:rPr lang="ru-RU" sz="1200" dirty="0" smtClean="0">
                <a:latin typeface="Century Gothic" panose="020B0502020202020204" pitchFamily="34" charset="0"/>
              </a:rPr>
              <a:t>;……………………………………………….…...</a:t>
            </a:r>
            <a:r>
              <a:rPr lang="ru-RU" sz="1200" dirty="0">
                <a:latin typeface="Century Gothic" panose="020B0502020202020204" pitchFamily="34" charset="0"/>
              </a:rPr>
              <a:t>стр. </a:t>
            </a:r>
            <a:r>
              <a:rPr lang="ru-RU" sz="1200" dirty="0" smtClean="0">
                <a:latin typeface="Century Gothic" panose="020B0502020202020204" pitchFamily="34" charset="0"/>
              </a:rPr>
              <a:t>74</a:t>
            </a:r>
            <a:endParaRPr lang="ru-RU" sz="1200" dirty="0">
              <a:latin typeface="Century Gothic" panose="020B0502020202020204" pitchFamily="34" charset="0"/>
            </a:endParaRPr>
          </a:p>
          <a:p>
            <a:pPr marL="0" indent="0">
              <a:buNone/>
            </a:pPr>
            <a:r>
              <a:rPr lang="ru-RU" sz="1200" dirty="0" smtClean="0">
                <a:latin typeface="Century Gothic" panose="020B0502020202020204" pitchFamily="34" charset="0"/>
              </a:rPr>
              <a:t>ПРИЛОЖЕНИЕ 5 Развитие </a:t>
            </a:r>
            <a:r>
              <a:rPr lang="ru-RU" sz="1200" dirty="0">
                <a:latin typeface="Century Gothic" panose="020B0502020202020204" pitchFamily="34" charset="0"/>
              </a:rPr>
              <a:t>фармацевтической промышленности </a:t>
            </a:r>
            <a:r>
              <a:rPr lang="ru-RU" sz="1200" dirty="0" smtClean="0">
                <a:latin typeface="Century Gothic" panose="020B0502020202020204" pitchFamily="34" charset="0"/>
              </a:rPr>
              <a:t>в РК (МИИР);…….…………...……………………………………………….…...………......стр</a:t>
            </a:r>
            <a:r>
              <a:rPr lang="ru-RU" sz="1200" dirty="0">
                <a:latin typeface="Century Gothic" panose="020B0502020202020204" pitchFamily="34" charset="0"/>
              </a:rPr>
              <a:t>. </a:t>
            </a:r>
            <a:r>
              <a:rPr lang="ru-RU" sz="1200" dirty="0" smtClean="0">
                <a:latin typeface="Century Gothic" panose="020B0502020202020204" pitchFamily="34" charset="0"/>
              </a:rPr>
              <a:t>80</a:t>
            </a:r>
            <a:endParaRPr lang="ru-RU" sz="1200" dirty="0">
              <a:latin typeface="Century Gothic" panose="020B0502020202020204" pitchFamily="34" charset="0"/>
            </a:endParaRPr>
          </a:p>
          <a:p>
            <a:pPr marL="0" indent="0">
              <a:buNone/>
            </a:pPr>
            <a:r>
              <a:rPr lang="ru-RU" sz="1200" dirty="0" smtClean="0">
                <a:latin typeface="Century Gothic" panose="020B0502020202020204" pitchFamily="34" charset="0"/>
              </a:rPr>
              <a:t>ПРИЛОЖЕНИЕ 6 </a:t>
            </a:r>
            <a:r>
              <a:rPr lang="ru-RU" sz="1200" dirty="0">
                <a:latin typeface="Century Gothic" panose="020B0502020202020204" pitchFamily="34" charset="0"/>
              </a:rPr>
              <a:t>Меры государственного стимулирования, </a:t>
            </a:r>
            <a:r>
              <a:rPr lang="ru-RU" sz="1200" dirty="0" smtClean="0">
                <a:latin typeface="Century Gothic" panose="020B0502020202020204" pitchFamily="34" charset="0"/>
              </a:rPr>
              <a:t>направленные </a:t>
            </a:r>
            <a:r>
              <a:rPr lang="ru-RU" sz="1200" dirty="0">
                <a:latin typeface="Century Gothic" panose="020B0502020202020204" pitchFamily="34" charset="0"/>
              </a:rPr>
              <a:t>на повышение производительности </a:t>
            </a:r>
            <a:r>
              <a:rPr lang="ru-RU" sz="1200" dirty="0" smtClean="0">
                <a:latin typeface="Century Gothic" panose="020B0502020202020204" pitchFamily="34" charset="0"/>
              </a:rPr>
              <a:t>труда АО </a:t>
            </a:r>
            <a:r>
              <a:rPr lang="ru-RU" sz="1200" dirty="0">
                <a:latin typeface="Century Gothic" panose="020B0502020202020204" pitchFamily="34" charset="0"/>
              </a:rPr>
              <a:t>«</a:t>
            </a:r>
            <a:r>
              <a:rPr lang="en-US" sz="1200" dirty="0">
                <a:latin typeface="Century Gothic" panose="020B0502020202020204" pitchFamily="34" charset="0"/>
              </a:rPr>
              <a:t>QAZINDUSTRY»</a:t>
            </a:r>
            <a:r>
              <a:rPr lang="ru-RU" sz="1200" dirty="0" smtClean="0">
                <a:latin typeface="Century Gothic" panose="020B0502020202020204" pitchFamily="34" charset="0"/>
              </a:rPr>
              <a:t>; ….…</a:t>
            </a:r>
            <a:r>
              <a:rPr lang="ru-RU" sz="1200" dirty="0">
                <a:latin typeface="Century Gothic" panose="020B0502020202020204" pitchFamily="34" charset="0"/>
              </a:rPr>
              <a:t>стр. </a:t>
            </a:r>
            <a:r>
              <a:rPr lang="ru-RU" sz="1200" dirty="0" smtClean="0">
                <a:latin typeface="Century Gothic" panose="020B0502020202020204" pitchFamily="34" charset="0"/>
              </a:rPr>
              <a:t>85</a:t>
            </a:r>
          </a:p>
          <a:p>
            <a:pPr marL="0" indent="0">
              <a:buNone/>
            </a:pPr>
            <a:r>
              <a:rPr lang="ru-RU" sz="1200" dirty="0">
                <a:latin typeface="Century Gothic" panose="020B0502020202020204" pitchFamily="34" charset="0"/>
              </a:rPr>
              <a:t>ПРИЛОЖЕНИЕ </a:t>
            </a:r>
            <a:r>
              <a:rPr lang="ru-RU" sz="1200" dirty="0" smtClean="0">
                <a:latin typeface="Century Gothic" panose="020B0502020202020204" pitchFamily="34" charset="0"/>
              </a:rPr>
              <a:t>7 </a:t>
            </a:r>
            <a:r>
              <a:rPr lang="ru-RU" sz="1200" dirty="0">
                <a:latin typeface="Century Gothic" panose="020B0502020202020204" pitchFamily="34" charset="0"/>
              </a:rPr>
              <a:t>Меры поддержки </a:t>
            </a:r>
            <a:r>
              <a:rPr lang="en-US" sz="1200" dirty="0" smtClean="0">
                <a:latin typeface="Century Gothic" panose="020B0502020202020204" pitchFamily="34" charset="0"/>
              </a:rPr>
              <a:t>QAZTRADE</a:t>
            </a:r>
            <a:r>
              <a:rPr lang="ru-RU" sz="1200" dirty="0" smtClean="0">
                <a:latin typeface="Century Gothic" panose="020B0502020202020204" pitchFamily="34" charset="0"/>
              </a:rPr>
              <a:t> , АО </a:t>
            </a:r>
            <a:r>
              <a:rPr lang="ru-RU" sz="1200" dirty="0">
                <a:latin typeface="Century Gothic" panose="020B0502020202020204" pitchFamily="34" charset="0"/>
              </a:rPr>
              <a:t>«</a:t>
            </a:r>
            <a:r>
              <a:rPr lang="en-US" sz="1200" dirty="0" smtClean="0">
                <a:latin typeface="Century Gothic" panose="020B0502020202020204" pitchFamily="34" charset="0"/>
              </a:rPr>
              <a:t>QAZTRADE»</a:t>
            </a:r>
            <a:r>
              <a:rPr lang="ru-RU" sz="1200" dirty="0">
                <a:latin typeface="Century Gothic" panose="020B0502020202020204" pitchFamily="34" charset="0"/>
              </a:rPr>
              <a:t>; </a:t>
            </a:r>
            <a:r>
              <a:rPr lang="ru-RU" sz="1200" dirty="0" smtClean="0">
                <a:latin typeface="Century Gothic" panose="020B0502020202020204" pitchFamily="34" charset="0"/>
              </a:rPr>
              <a:t>……………………………………..………….…………...................................................……</a:t>
            </a:r>
            <a:r>
              <a:rPr lang="ru-RU" sz="1200" dirty="0">
                <a:latin typeface="Century Gothic" panose="020B0502020202020204" pitchFamily="34" charset="0"/>
              </a:rPr>
              <a:t>стр. </a:t>
            </a:r>
            <a:r>
              <a:rPr lang="ru-RU" sz="1200" dirty="0" smtClean="0">
                <a:latin typeface="Century Gothic" panose="020B0502020202020204" pitchFamily="34" charset="0"/>
              </a:rPr>
              <a:t>89</a:t>
            </a:r>
            <a:endParaRPr lang="ru-RU" sz="1200" dirty="0">
              <a:latin typeface="Century Gothic" panose="020B0502020202020204" pitchFamily="34" charset="0"/>
            </a:endParaRPr>
          </a:p>
          <a:p>
            <a:pPr marL="0" indent="0">
              <a:buNone/>
            </a:pPr>
            <a:r>
              <a:rPr lang="ru-RU" sz="1200" dirty="0" smtClean="0">
                <a:latin typeface="Century Gothic" panose="020B0502020202020204" pitchFamily="34" charset="0"/>
              </a:rPr>
              <a:t>ПРИЛОЖЕНИЕ 8 СЭЗ Парк инновационных технологий; ……………………………………..………….…………………………………………………..….....….…стр. 95</a:t>
            </a:r>
          </a:p>
          <a:p>
            <a:pPr marL="0" indent="0">
              <a:buNone/>
            </a:pPr>
            <a:r>
              <a:rPr lang="ru-RU" sz="1200" dirty="0">
                <a:latin typeface="Century Gothic" panose="020B0502020202020204" pitchFamily="34" charset="0"/>
              </a:rPr>
              <a:t>ПРИЛОЖЕНИЕ </a:t>
            </a:r>
            <a:r>
              <a:rPr lang="ru-RU" sz="1200" dirty="0" smtClean="0">
                <a:latin typeface="Century Gothic" panose="020B0502020202020204" pitchFamily="34" charset="0"/>
              </a:rPr>
              <a:t>9 Международный </a:t>
            </a:r>
            <a:r>
              <a:rPr lang="ru-RU" sz="1200" dirty="0">
                <a:latin typeface="Century Gothic" panose="020B0502020202020204" pitchFamily="34" charset="0"/>
              </a:rPr>
              <a:t>финансовый центр «Астана</a:t>
            </a:r>
            <a:r>
              <a:rPr lang="ru-RU" sz="1200" dirty="0" smtClean="0">
                <a:latin typeface="Century Gothic" panose="020B0502020202020204" pitchFamily="34" charset="0"/>
              </a:rPr>
              <a:t>»;………………………………..…………………………………………………………………….стр</a:t>
            </a:r>
            <a:r>
              <a:rPr lang="ru-RU" sz="1200" dirty="0">
                <a:latin typeface="Century Gothic" panose="020B0502020202020204" pitchFamily="34" charset="0"/>
              </a:rPr>
              <a:t>. </a:t>
            </a:r>
            <a:r>
              <a:rPr lang="ru-RU" sz="1200" dirty="0" smtClean="0">
                <a:latin typeface="Century Gothic" panose="020B0502020202020204" pitchFamily="34" charset="0"/>
              </a:rPr>
              <a:t>101</a:t>
            </a:r>
          </a:p>
          <a:p>
            <a:pPr marL="0" indent="0">
              <a:buNone/>
            </a:pPr>
            <a:r>
              <a:rPr lang="ru-RU" sz="1200" dirty="0">
                <a:latin typeface="Century Gothic" panose="020B0502020202020204" pitchFamily="34" charset="0"/>
              </a:rPr>
              <a:t>ПРИЛОЖЕНИЕ </a:t>
            </a:r>
            <a:r>
              <a:rPr lang="ru-RU" sz="1200" dirty="0" smtClean="0">
                <a:latin typeface="Century Gothic" panose="020B0502020202020204" pitchFamily="34" charset="0"/>
              </a:rPr>
              <a:t>10 Инструменты поддержки АО </a:t>
            </a:r>
            <a:r>
              <a:rPr lang="ru-RU" sz="1200" dirty="0">
                <a:latin typeface="Century Gothic" panose="020B0502020202020204" pitchFamily="34" charset="0"/>
              </a:rPr>
              <a:t>«НУХ» «</a:t>
            </a:r>
            <a:r>
              <a:rPr lang="ru-RU" sz="1200" dirty="0" smtClean="0">
                <a:latin typeface="Century Gothic" panose="020B0502020202020204" pitchFamily="34" charset="0"/>
              </a:rPr>
              <a:t>БАЙТЕРЕК»;………………………………………………………………………………………….…………стр</a:t>
            </a:r>
            <a:r>
              <a:rPr lang="ru-RU" sz="1200" dirty="0">
                <a:latin typeface="Century Gothic" panose="020B0502020202020204" pitchFamily="34" charset="0"/>
              </a:rPr>
              <a:t>. </a:t>
            </a:r>
            <a:r>
              <a:rPr lang="ru-RU" sz="1200" dirty="0" smtClean="0">
                <a:latin typeface="Century Gothic" panose="020B0502020202020204" pitchFamily="34" charset="0"/>
              </a:rPr>
              <a:t>106</a:t>
            </a:r>
            <a:endParaRPr lang="ru-RU" sz="1200" dirty="0">
              <a:latin typeface="Century Gothic" panose="020B0502020202020204" pitchFamily="34" charset="0"/>
            </a:endParaRPr>
          </a:p>
          <a:p>
            <a:pPr marL="0" indent="0">
              <a:buNone/>
            </a:pPr>
            <a:r>
              <a:rPr lang="ru-RU" sz="1200" dirty="0">
                <a:latin typeface="Century Gothic" panose="020B0502020202020204" pitchFamily="34" charset="0"/>
              </a:rPr>
              <a:t>ПРИЛОЖЕНИЕ 11 </a:t>
            </a:r>
            <a:r>
              <a:rPr lang="ru-RU" sz="1200" dirty="0" smtClean="0">
                <a:latin typeface="Century Gothic" panose="020B0502020202020204" pitchFamily="34" charset="0"/>
              </a:rPr>
              <a:t>Меры поддержки АО «</a:t>
            </a:r>
            <a:r>
              <a:rPr lang="en-US" sz="1200" dirty="0" smtClean="0">
                <a:latin typeface="Century Gothic" panose="020B0502020202020204" pitchFamily="34" charset="0"/>
              </a:rPr>
              <a:t>KAZAKHEXPORT</a:t>
            </a:r>
            <a:r>
              <a:rPr lang="ru-RU" sz="1200" dirty="0" smtClean="0">
                <a:latin typeface="Century Gothic" panose="020B0502020202020204" pitchFamily="34" charset="0"/>
              </a:rPr>
              <a:t>»; ……………………………………………………………………………………………………………….стр. 112</a:t>
            </a:r>
            <a:endParaRPr lang="en-US" sz="1200" dirty="0">
              <a:latin typeface="Century Gothic" panose="020B0502020202020204" pitchFamily="34" charset="0"/>
            </a:endParaRPr>
          </a:p>
          <a:p>
            <a:pPr marL="0" indent="0">
              <a:buNone/>
            </a:pPr>
            <a:r>
              <a:rPr lang="ru-RU" sz="1200" dirty="0">
                <a:latin typeface="Century Gothic" panose="020B0502020202020204" pitchFamily="34" charset="0"/>
              </a:rPr>
              <a:t>ПРИЛОЖЕНИЕ 12 АО «</a:t>
            </a:r>
            <a:r>
              <a:rPr lang="ru-RU" sz="1200" dirty="0" err="1">
                <a:latin typeface="Century Gothic" panose="020B0502020202020204" pitchFamily="34" charset="0"/>
              </a:rPr>
              <a:t>Qazaqstan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Investment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Corporation</a:t>
            </a:r>
            <a:r>
              <a:rPr lang="ru-RU" sz="1200" dirty="0">
                <a:latin typeface="Century Gothic" panose="020B0502020202020204" pitchFamily="34" charset="0"/>
              </a:rPr>
              <a:t>» - </a:t>
            </a:r>
            <a:r>
              <a:rPr lang="ru-RU" sz="1200" dirty="0" smtClean="0">
                <a:latin typeface="Century Gothic" panose="020B0502020202020204" pitchFamily="34" charset="0"/>
              </a:rPr>
              <a:t>фонд </a:t>
            </a:r>
            <a:r>
              <a:rPr lang="ru-RU" sz="1200" dirty="0">
                <a:latin typeface="Century Gothic" panose="020B0502020202020204" pitchFamily="34" charset="0"/>
              </a:rPr>
              <a:t>прямых инвестиций и их </a:t>
            </a:r>
            <a:r>
              <a:rPr lang="ru-RU" sz="1200" dirty="0" smtClean="0">
                <a:latin typeface="Century Gothic" panose="020B0502020202020204" pitchFamily="34" charset="0"/>
              </a:rPr>
              <a:t>привлечение; …………………………………………….….стр. 126</a:t>
            </a:r>
            <a:endParaRPr lang="ru-RU" sz="1200" dirty="0">
              <a:latin typeface="Century Gothic" panose="020B0502020202020204" pitchFamily="34" charset="0"/>
            </a:endParaRPr>
          </a:p>
          <a:p>
            <a:pPr marL="0" indent="0">
              <a:buNone/>
            </a:pPr>
            <a:endParaRPr lang="ru-RU" sz="1200" dirty="0">
              <a:latin typeface="Century Gothic" panose="020B0502020202020204" pitchFamily="34" charset="0"/>
            </a:endParaRPr>
          </a:p>
          <a:p>
            <a:pPr marL="0" indent="0">
              <a:buNone/>
            </a:pPr>
            <a:r>
              <a:rPr lang="ru-RU" sz="1200" dirty="0" smtClean="0">
                <a:latin typeface="Century Gothic" panose="020B0502020202020204" pitchFamily="34" charset="0"/>
              </a:rPr>
              <a:t>Справочник </a:t>
            </a:r>
            <a:r>
              <a:rPr lang="ru-RU" sz="1200" dirty="0">
                <a:latin typeface="Century Gothic" panose="020B0502020202020204" pitchFamily="34" charset="0"/>
              </a:rPr>
              <a:t>контактов</a:t>
            </a:r>
            <a:r>
              <a:rPr lang="ru-RU" sz="1200" dirty="0" smtClean="0">
                <a:latin typeface="Century Gothic" panose="020B0502020202020204" pitchFamily="34" charset="0"/>
              </a:rPr>
              <a:t>;…………………………………………………………………..…………………………………….………………………….………..……………..стр</a:t>
            </a:r>
            <a:r>
              <a:rPr lang="ru-RU" sz="1200" dirty="0">
                <a:latin typeface="Century Gothic" panose="020B0502020202020204" pitchFamily="34" charset="0"/>
              </a:rPr>
              <a:t>. </a:t>
            </a:r>
            <a:r>
              <a:rPr lang="ru-RU" sz="1200" dirty="0" smtClean="0">
                <a:latin typeface="Century Gothic" panose="020B0502020202020204" pitchFamily="34" charset="0"/>
              </a:rPr>
              <a:t>135</a:t>
            </a:r>
            <a:endParaRPr lang="ru-RU" sz="1200" dirty="0">
              <a:latin typeface="Century Gothic" panose="020B0502020202020204" pitchFamily="34" charset="0"/>
            </a:endParaRPr>
          </a:p>
          <a:p>
            <a:pPr marL="0" indent="0">
              <a:buNone/>
            </a:pPr>
            <a:endParaRPr lang="ru-RU" sz="1200" dirty="0">
              <a:latin typeface="Century Gothic" panose="020B0502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23825" y="116639"/>
            <a:ext cx="2133343" cy="83680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Содержание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0801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DC1EDD2-5156-4C78-B4CC-0F7C486904F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97" r="19473"/>
          <a:stretch/>
        </p:blipFill>
        <p:spPr>
          <a:xfrm>
            <a:off x="510746" y="1439665"/>
            <a:ext cx="3657600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501188AF-66C9-4AAA-A13A-44C37A9AA3C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24" r="34102"/>
          <a:stretch/>
        </p:blipFill>
        <p:spPr>
          <a:xfrm>
            <a:off x="3047997" y="1439665"/>
            <a:ext cx="3707027" cy="3978893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14C3997A-412B-4A32-BBDD-47C610D6C31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3" r="39982"/>
          <a:stretch/>
        </p:blipFill>
        <p:spPr>
          <a:xfrm>
            <a:off x="5560543" y="1439665"/>
            <a:ext cx="3731740" cy="3991430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13023DF2-4F41-434C-BFC2-4F97EF92A44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09" r="25508"/>
          <a:stretch/>
        </p:blipFill>
        <p:spPr>
          <a:xfrm>
            <a:off x="8079161" y="1439665"/>
            <a:ext cx="3690552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sp>
        <p:nvSpPr>
          <p:cNvPr id="6" name="Прямоугольник 5"/>
          <p:cNvSpPr/>
          <p:nvPr/>
        </p:nvSpPr>
        <p:spPr>
          <a:xfrm>
            <a:off x="1185331" y="2853267"/>
            <a:ext cx="9905999" cy="1202266"/>
          </a:xfrm>
          <a:custGeom>
            <a:avLst/>
            <a:gdLst>
              <a:gd name="connsiteX0" fmla="*/ 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0 w 9889066"/>
              <a:gd name="connsiteY4" fmla="*/ 0 h 1202266"/>
              <a:gd name="connsiteX0" fmla="*/ 35560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355600 w 9889066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905999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89467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89467 w 9905999"/>
              <a:gd name="connsiteY4" fmla="*/ 0 h 1202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5999" h="1202266">
                <a:moveTo>
                  <a:pt x="389467" y="0"/>
                </a:moveTo>
                <a:lnTo>
                  <a:pt x="9905999" y="0"/>
                </a:lnTo>
                <a:lnTo>
                  <a:pt x="9541933" y="1202266"/>
                </a:lnTo>
                <a:lnTo>
                  <a:pt x="0" y="1202266"/>
                </a:lnTo>
                <a:lnTo>
                  <a:pt x="38946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1912001" y="2995207"/>
            <a:ext cx="845265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Информационно-аналитический блок СК-Фармация</a:t>
            </a:r>
            <a:endParaRPr lang="ru-RU" sz="32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0419459" y="10025"/>
            <a:ext cx="1471448" cy="1358670"/>
          </a:xfrm>
          <a:prstGeom prst="rect">
            <a:avLst/>
          </a:prstGeom>
          <a:ln>
            <a:noFill/>
          </a:ln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20</a:t>
            </a:fld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1729474" y="813573"/>
            <a:ext cx="3338395" cy="714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ПРИЛОЖЕНИЕ 1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093436" y="5752982"/>
            <a:ext cx="3338395" cy="714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2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245836" y="5905382"/>
            <a:ext cx="3338395" cy="714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10.07.2024</a:t>
            </a:r>
            <a:endParaRPr lang="ru-RU" sz="32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6087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21</a:t>
            </a:fld>
            <a:endParaRPr lang="ru-RU"/>
          </a:p>
        </p:txBody>
      </p:sp>
      <p:sp>
        <p:nvSpPr>
          <p:cNvPr id="3" name="object 2"/>
          <p:cNvSpPr txBox="1">
            <a:spLocks/>
          </p:cNvSpPr>
          <p:nvPr/>
        </p:nvSpPr>
        <p:spPr>
          <a:xfrm>
            <a:off x="82721" y="6741"/>
            <a:ext cx="112636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 algn="ctr">
              <a:defRPr sz="2400" b="1" u="sng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defRPr>
            </a:lvl1pPr>
          </a:lstStyle>
          <a:p>
            <a:r>
              <a:rPr lang="ru-RU" dirty="0"/>
              <a:t>ФАРМАЦЕВТИЧЕСКАЯ ПРОМЫШЛЕННОСТЬ </a:t>
            </a:r>
            <a:r>
              <a:rPr lang="ru-RU" dirty="0" smtClean="0"/>
              <a:t>КАЗАХСТАНА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379B309-F190-455B-897F-1DAA77367879}"/>
              </a:ext>
            </a:extLst>
          </p:cNvPr>
          <p:cNvSpPr/>
          <p:nvPr/>
        </p:nvSpPr>
        <p:spPr>
          <a:xfrm>
            <a:off x="663836" y="6431042"/>
            <a:ext cx="4483278" cy="3452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000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- Данные </a:t>
            </a:r>
            <a:r>
              <a:rPr lang="ru-RU" sz="10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рынку, экспорту и импорту за январь-ноябрь 2021 г.</a:t>
            </a: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532227" y="1385071"/>
            <a:ext cx="1412119" cy="94579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 </a:t>
            </a:r>
            <a:r>
              <a:rPr lang="ru-RU" sz="3200" b="1" dirty="0" smtClean="0">
                <a:solidFill>
                  <a:srgbClr val="006FC0"/>
                </a:solidFill>
                <a:latin typeface="Arial"/>
                <a:cs typeface="Arial"/>
              </a:rPr>
              <a:t>456</a:t>
            </a:r>
            <a:r>
              <a:rPr lang="ru-RU" sz="3200" b="1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32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8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ru-RU" sz="18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200" cap="none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1281342" y="2799705"/>
            <a:ext cx="1616693" cy="774032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3,9%</a:t>
            </a:r>
            <a:r>
              <a:rPr lang="en-US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32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kk-KZ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ФО</a:t>
            </a:r>
            <a:endParaRPr lang="ru-RU" sz="1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203684" y="4038600"/>
            <a:ext cx="568863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/>
          <p:cNvSpPr txBox="1">
            <a:spLocks/>
          </p:cNvSpPr>
          <p:nvPr/>
        </p:nvSpPr>
        <p:spPr>
          <a:xfrm>
            <a:off x="291154" y="5750498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800" dirty="0">
                <a:solidFill>
                  <a:srgbClr val="00206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Экспорт</a:t>
            </a: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4538338" y="5752863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dirty="0">
                <a:solidFill>
                  <a:srgbClr val="00206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импорт</a:t>
            </a: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120614" y="4327575"/>
            <a:ext cx="1704464" cy="699714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ru-RU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1,1</a:t>
            </a:r>
            <a:r>
              <a:rPr lang="en-US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32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kk-KZ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endParaRPr lang="ru-RU" sz="1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4154419" y="4287659"/>
            <a:ext cx="1955168" cy="734099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ru-RU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51 </a:t>
            </a:r>
          </a:p>
          <a:p>
            <a:pPr algn="ctr"/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</a:t>
            </a:r>
            <a:r>
              <a:rPr lang="kk-KZ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endParaRPr lang="ru-RU" sz="1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3BDBF2B2-24FD-4AC2-9197-448995F74F5A}"/>
              </a:ext>
            </a:extLst>
          </p:cNvPr>
          <p:cNvGrpSpPr/>
          <p:nvPr/>
        </p:nvGrpSpPr>
        <p:grpSpPr>
          <a:xfrm>
            <a:off x="282035" y="4990089"/>
            <a:ext cx="1372927" cy="1073488"/>
            <a:chOff x="466102" y="3730661"/>
            <a:chExt cx="1372927" cy="1073488"/>
          </a:xfrm>
        </p:grpSpPr>
        <p:pic>
          <p:nvPicPr>
            <p:cNvPr id="13" name="Picture 32" descr="Картинки по запросу &quot;россия  флаг круглый без фона&quot;"/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12535" b="90282" l="9842" r="88574"/>
                      </a14:imgEffect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584" t="2817" r="1584" b="-2817"/>
            <a:stretch/>
          </p:blipFill>
          <p:spPr bwMode="auto">
            <a:xfrm>
              <a:off x="865585" y="3730661"/>
              <a:ext cx="537462" cy="537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2" descr="Картинки по запросу &quot;пьедестал 1-3 место белый фон png&quot;">
              <a:extLst>
                <a:ext uri="{FF2B5EF4-FFF2-40B4-BE49-F238E27FC236}">
                  <a16:creationId xmlns:a16="http://schemas.microsoft.com/office/drawing/2014/main" id="{F2771AAD-7491-463C-90E1-BF57595812D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46757" b="94084" l="10000" r="90000"/>
                      </a14:imgEffect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3161" t="40841" r="-144"/>
            <a:stretch/>
          </p:blipFill>
          <p:spPr bwMode="auto">
            <a:xfrm>
              <a:off x="466102" y="4168072"/>
              <a:ext cx="1372927" cy="6360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5" name="Picture 2" descr="Картинки по запросу &quot;пьедестал 1-3 место белый фон png&quot;">
            <a:extLst>
              <a:ext uri="{FF2B5EF4-FFF2-40B4-BE49-F238E27FC236}">
                <a16:creationId xmlns:a16="http://schemas.microsoft.com/office/drawing/2014/main" id="{2EA6AF33-BC09-4EBF-91B9-20B760E3C8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46757" b="94084" l="10000" r="90000"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3161" t="40841" r="-144"/>
          <a:stretch/>
        </p:blipFill>
        <p:spPr bwMode="auto">
          <a:xfrm>
            <a:off x="4394613" y="5455052"/>
            <a:ext cx="1372927" cy="636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5D74D543-85C3-46E0-8960-9A2180BD3528}"/>
              </a:ext>
            </a:extLst>
          </p:cNvPr>
          <p:cNvGrpSpPr/>
          <p:nvPr/>
        </p:nvGrpSpPr>
        <p:grpSpPr>
          <a:xfrm>
            <a:off x="1579505" y="4250886"/>
            <a:ext cx="2409168" cy="1715506"/>
            <a:chOff x="460038" y="2293788"/>
            <a:chExt cx="3277730" cy="2323272"/>
          </a:xfrm>
          <a:effectLst/>
        </p:grpSpPr>
        <p:sp>
          <p:nvSpPr>
            <p:cNvPr id="17" name="Halbbogen 101">
              <a:extLst>
                <a:ext uri="{FF2B5EF4-FFF2-40B4-BE49-F238E27FC236}">
                  <a16:creationId xmlns:a16="http://schemas.microsoft.com/office/drawing/2014/main" id="{5DA43406-419F-4E0D-A963-A67E976F48D2}"/>
                </a:ext>
              </a:extLst>
            </p:cNvPr>
            <p:cNvSpPr/>
            <p:nvPr/>
          </p:nvSpPr>
          <p:spPr bwMode="gray">
            <a:xfrm flipH="1">
              <a:off x="1457141" y="2396146"/>
              <a:ext cx="2280627" cy="2220914"/>
            </a:xfrm>
            <a:prstGeom prst="blockArc">
              <a:avLst>
                <a:gd name="adj1" fmla="val 20382810"/>
                <a:gd name="adj2" fmla="val 16356067"/>
                <a:gd name="adj3" fmla="val 14187"/>
              </a:avLst>
            </a:prstGeom>
            <a:solidFill>
              <a:srgbClr val="C00000"/>
            </a:solidFill>
            <a:ln w="76200">
              <a:noFill/>
              <a:round/>
              <a:headEnd/>
              <a:tailEnd/>
            </a:ln>
            <a:effectLst>
              <a:innerShdw blurRad="38100" dist="12700" dir="135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Halbbogen 99">
              <a:extLst>
                <a:ext uri="{FF2B5EF4-FFF2-40B4-BE49-F238E27FC236}">
                  <a16:creationId xmlns:a16="http://schemas.microsoft.com/office/drawing/2014/main" id="{F24E6880-030E-4447-A562-66DE047119A5}"/>
                </a:ext>
              </a:extLst>
            </p:cNvPr>
            <p:cNvSpPr/>
            <p:nvPr/>
          </p:nvSpPr>
          <p:spPr bwMode="gray">
            <a:xfrm rot="21429041" flipH="1">
              <a:off x="1751162" y="2677181"/>
              <a:ext cx="1595351" cy="1446800"/>
            </a:xfrm>
            <a:prstGeom prst="blockArc">
              <a:avLst>
                <a:gd name="adj1" fmla="val 13163319"/>
                <a:gd name="adj2" fmla="val 15971119"/>
                <a:gd name="adj3" fmla="val 16822"/>
              </a:avLst>
            </a:prstGeom>
            <a:solidFill>
              <a:schemeClr val="bg1">
                <a:lumMod val="75000"/>
              </a:schemeClr>
            </a:solidFill>
            <a:ln w="76200">
              <a:noFill/>
              <a:round/>
              <a:headEnd/>
              <a:tailEnd/>
            </a:ln>
            <a:effectLst>
              <a:innerShdw blurRad="38100" dist="12700" dir="135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Textfeld 633">
              <a:extLst>
                <a:ext uri="{FF2B5EF4-FFF2-40B4-BE49-F238E27FC236}">
                  <a16:creationId xmlns:a16="http://schemas.microsoft.com/office/drawing/2014/main" id="{1D26315B-B3F9-4719-B6C3-991902CAFDE9}"/>
                </a:ext>
              </a:extLst>
            </p:cNvPr>
            <p:cNvSpPr txBox="1"/>
            <p:nvPr/>
          </p:nvSpPr>
          <p:spPr bwMode="gray">
            <a:xfrm>
              <a:off x="1908726" y="3267665"/>
              <a:ext cx="1229822" cy="940315"/>
            </a:xfrm>
            <a:prstGeom prst="rect">
              <a:avLst/>
            </a:prstGeom>
            <a:noFill/>
          </p:spPr>
          <p:txBody>
            <a:bodyPr wrap="square" lIns="72000" tIns="0" rIns="0" bIns="0" rtlCol="0" anchor="t" anchorCtr="0">
              <a:noAutofit/>
            </a:bodyPr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383"/>
                </a:spcAft>
                <a:defRPr/>
              </a:pPr>
              <a:r>
                <a:rPr lang="en-US" sz="3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$</a:t>
              </a:r>
              <a:r>
                <a:rPr lang="ru-RU" sz="32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,9</a:t>
              </a:r>
              <a:r>
                <a:rPr lang="ru-RU" sz="1200" b="1" cap="all" dirty="0"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млрд</a:t>
              </a:r>
              <a:endParaRPr lang="de-DE" sz="1800" b="1" cap="all" dirty="0">
                <a:latin typeface="Arial" panose="020B0604020202020204" pitchFamily="34" charset="0"/>
                <a:ea typeface="+mj-ea"/>
                <a:cs typeface="Arial" panose="020B0604020202020204" pitchFamily="34" charset="0"/>
              </a:endParaRPr>
            </a:p>
          </p:txBody>
        </p:sp>
        <p:grpSp>
          <p:nvGrpSpPr>
            <p:cNvPr id="20" name="Gruppieren 98">
              <a:extLst>
                <a:ext uri="{FF2B5EF4-FFF2-40B4-BE49-F238E27FC236}">
                  <a16:creationId xmlns:a16="http://schemas.microsoft.com/office/drawing/2014/main" id="{87143035-C289-4E8D-BF7B-0FE8E8610A85}"/>
                </a:ext>
              </a:extLst>
            </p:cNvPr>
            <p:cNvGrpSpPr/>
            <p:nvPr/>
          </p:nvGrpSpPr>
          <p:grpSpPr bwMode="gray">
            <a:xfrm>
              <a:off x="460038" y="2293788"/>
              <a:ext cx="2107189" cy="807606"/>
              <a:chOff x="1172664" y="2016620"/>
              <a:chExt cx="1353100" cy="550902"/>
            </a:xfrm>
          </p:grpSpPr>
          <p:sp>
            <p:nvSpPr>
              <p:cNvPr id="21" name="Textfeld 103">
                <a:extLst>
                  <a:ext uri="{FF2B5EF4-FFF2-40B4-BE49-F238E27FC236}">
                    <a16:creationId xmlns:a16="http://schemas.microsoft.com/office/drawing/2014/main" id="{CA61E8EE-6452-4FA1-8471-47F3DF721487}"/>
                  </a:ext>
                </a:extLst>
              </p:cNvPr>
              <p:cNvSpPr txBox="1"/>
              <p:nvPr/>
            </p:nvSpPr>
            <p:spPr bwMode="gray">
              <a:xfrm>
                <a:off x="1172664" y="2283195"/>
                <a:ext cx="1353100" cy="28432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 anchorCtr="0">
                <a:spAutoFit/>
              </a:bodyPr>
              <a:lstStyle>
                <a:defPPr>
                  <a:defRPr lang="en-US"/>
                </a:defPPr>
                <a:lvl1pPr marL="0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9155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83113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7466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16622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45778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74933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040895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33245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defRPr/>
                </a:pPr>
                <a:r>
                  <a:rPr lang="ru-RU" sz="105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ОТП </a:t>
                </a:r>
                <a:r>
                  <a:rPr lang="ru-RU" sz="1400" b="1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4</a:t>
                </a:r>
                <a:r>
                  <a:rPr lang="de-DE" sz="1400" b="1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%</a:t>
                </a:r>
                <a:endParaRPr lang="de-DE" sz="105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" name="Textfeld 102">
                <a:extLst>
                  <a:ext uri="{FF2B5EF4-FFF2-40B4-BE49-F238E27FC236}">
                    <a16:creationId xmlns:a16="http://schemas.microsoft.com/office/drawing/2014/main" id="{0CC5AF80-0C46-4F14-9BAE-E31CB8173957}"/>
                  </a:ext>
                </a:extLst>
              </p:cNvPr>
              <p:cNvSpPr txBox="1"/>
              <p:nvPr/>
            </p:nvSpPr>
            <p:spPr bwMode="gray">
              <a:xfrm>
                <a:off x="1300809" y="2016620"/>
                <a:ext cx="1224955" cy="28432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 anchorCtr="0">
                <a:spAutoFit/>
              </a:bodyPr>
              <a:lstStyle>
                <a:defPPr>
                  <a:defRPr lang="en-US"/>
                </a:defPPr>
                <a:lvl1pPr marL="0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9155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83113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7466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16622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45778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74933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040895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33245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defRPr/>
                </a:pPr>
                <a:r>
                  <a:rPr lang="ru-RU" sz="105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Импорт</a:t>
                </a:r>
                <a:r>
                  <a:rPr lang="de-DE" sz="105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  </a:t>
                </a:r>
                <a:r>
                  <a:rPr lang="ru-RU" sz="1400" b="1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76</a:t>
                </a:r>
                <a:r>
                  <a:rPr lang="de-DE" sz="1400" b="1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%</a:t>
                </a:r>
                <a:endParaRPr lang="de-DE" sz="105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92D11628-858B-4B94-B151-9353759E8D3E}"/>
              </a:ext>
            </a:extLst>
          </p:cNvPr>
          <p:cNvSpPr txBox="1">
            <a:spLocks/>
          </p:cNvSpPr>
          <p:nvPr/>
        </p:nvSpPr>
        <p:spPr>
          <a:xfrm>
            <a:off x="2607941" y="5764751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 err="1">
                <a:solidFill>
                  <a:srgbClr val="00206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Р</a:t>
            </a:r>
            <a:r>
              <a:rPr lang="ru-RU" sz="1800" dirty="0">
                <a:solidFill>
                  <a:srgbClr val="00206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ЫНОК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F09B19C6-2A5C-4BA6-9A92-209F0E593805}"/>
              </a:ext>
            </a:extLst>
          </p:cNvPr>
          <p:cNvCxnSpPr>
            <a:cxnSpLocks/>
          </p:cNvCxnSpPr>
          <p:nvPr/>
        </p:nvCxnSpPr>
        <p:spPr>
          <a:xfrm flipH="1">
            <a:off x="1872340" y="4539581"/>
            <a:ext cx="5435" cy="163051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A45622AF-0166-4CCB-9BB4-3AEAA4464E89}"/>
              </a:ext>
            </a:extLst>
          </p:cNvPr>
          <p:cNvCxnSpPr>
            <a:cxnSpLocks/>
          </p:cNvCxnSpPr>
          <p:nvPr/>
        </p:nvCxnSpPr>
        <p:spPr>
          <a:xfrm flipH="1">
            <a:off x="4154419" y="4553654"/>
            <a:ext cx="5435" cy="163051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reeform 36">
            <a:extLst>
              <a:ext uri="{FF2B5EF4-FFF2-40B4-BE49-F238E27FC236}">
                <a16:creationId xmlns:a16="http://schemas.microsoft.com/office/drawing/2014/main" id="{11BC22F4-B9D1-47F5-AAC5-373C568FB4D8}"/>
              </a:ext>
            </a:extLst>
          </p:cNvPr>
          <p:cNvSpPr>
            <a:spLocks/>
          </p:cNvSpPr>
          <p:nvPr/>
        </p:nvSpPr>
        <p:spPr bwMode="auto">
          <a:xfrm>
            <a:off x="487885" y="2936070"/>
            <a:ext cx="703711" cy="345547"/>
          </a:xfrm>
          <a:custGeom>
            <a:avLst/>
            <a:gdLst>
              <a:gd name="T0" fmla="*/ 2147483646 w 256"/>
              <a:gd name="T1" fmla="*/ 2147483646 h 128"/>
              <a:gd name="T2" fmla="*/ 2147483646 w 256"/>
              <a:gd name="T3" fmla="*/ 2147483646 h 128"/>
              <a:gd name="T4" fmla="*/ 2147483646 w 256"/>
              <a:gd name="T5" fmla="*/ 2147483646 h 128"/>
              <a:gd name="T6" fmla="*/ 2147483646 w 256"/>
              <a:gd name="T7" fmla="*/ 2147483646 h 128"/>
              <a:gd name="T8" fmla="*/ 2147483646 w 256"/>
              <a:gd name="T9" fmla="*/ 2147483646 h 128"/>
              <a:gd name="T10" fmla="*/ 2147483646 w 256"/>
              <a:gd name="T11" fmla="*/ 2147483646 h 128"/>
              <a:gd name="T12" fmla="*/ 2147483646 w 256"/>
              <a:gd name="T13" fmla="*/ 2147483646 h 128"/>
              <a:gd name="T14" fmla="*/ 2147483646 w 256"/>
              <a:gd name="T15" fmla="*/ 2147483646 h 128"/>
              <a:gd name="T16" fmla="*/ 2147483646 w 256"/>
              <a:gd name="T17" fmla="*/ 2147483646 h 128"/>
              <a:gd name="T18" fmla="*/ 2147483646 w 256"/>
              <a:gd name="T19" fmla="*/ 2147483646 h 128"/>
              <a:gd name="T20" fmla="*/ 0 w 256"/>
              <a:gd name="T21" fmla="*/ 2147483646 h 128"/>
              <a:gd name="T22" fmla="*/ 2147483646 w 256"/>
              <a:gd name="T23" fmla="*/ 2147483646 h 128"/>
              <a:gd name="T24" fmla="*/ 2147483646 w 256"/>
              <a:gd name="T25" fmla="*/ 2147483646 h 128"/>
              <a:gd name="T26" fmla="*/ 2147483646 w 256"/>
              <a:gd name="T27" fmla="*/ 2147483646 h 128"/>
              <a:gd name="T28" fmla="*/ 2147483646 w 256"/>
              <a:gd name="T29" fmla="*/ 2147483646 h 128"/>
              <a:gd name="T30" fmla="*/ 2147483646 w 256"/>
              <a:gd name="T31" fmla="*/ 2147483646 h 128"/>
              <a:gd name="T32" fmla="*/ 2147483646 w 256"/>
              <a:gd name="T33" fmla="*/ 2147483646 h 128"/>
              <a:gd name="T34" fmla="*/ 2147483646 w 256"/>
              <a:gd name="T35" fmla="*/ 2147483646 h 128"/>
              <a:gd name="T36" fmla="*/ 2147483646 w 256"/>
              <a:gd name="T37" fmla="*/ 2147483646 h 128"/>
              <a:gd name="T38" fmla="*/ 2147483646 w 256"/>
              <a:gd name="T39" fmla="*/ 2147483646 h 128"/>
              <a:gd name="T40" fmla="*/ 2147483646 w 256"/>
              <a:gd name="T41" fmla="*/ 2147483646 h 128"/>
              <a:gd name="T42" fmla="*/ 2147483646 w 256"/>
              <a:gd name="T43" fmla="*/ 2147483646 h 128"/>
              <a:gd name="T44" fmla="*/ 2147483646 w 256"/>
              <a:gd name="T45" fmla="*/ 0 h 128"/>
              <a:gd name="T46" fmla="*/ 2147483646 w 256"/>
              <a:gd name="T47" fmla="*/ 0 h 128"/>
              <a:gd name="T48" fmla="*/ 2147483646 w 256"/>
              <a:gd name="T49" fmla="*/ 2147483646 h 128"/>
              <a:gd name="T50" fmla="*/ 2147483646 w 256"/>
              <a:gd name="T51" fmla="*/ 2147483646 h 128"/>
              <a:gd name="T52" fmla="*/ 2147483646 w 256"/>
              <a:gd name="T53" fmla="*/ 2147483646 h 128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56" h="128">
                <a:moveTo>
                  <a:pt x="244" y="72"/>
                </a:moveTo>
                <a:cubicBezTo>
                  <a:pt x="237" y="72"/>
                  <a:pt x="232" y="67"/>
                  <a:pt x="232" y="60"/>
                </a:cubicBezTo>
                <a:cubicBezTo>
                  <a:pt x="232" y="41"/>
                  <a:pt x="232" y="41"/>
                  <a:pt x="232" y="41"/>
                </a:cubicBezTo>
                <a:cubicBezTo>
                  <a:pt x="172" y="101"/>
                  <a:pt x="172" y="101"/>
                  <a:pt x="172" y="101"/>
                </a:cubicBezTo>
                <a:cubicBezTo>
                  <a:pt x="148" y="124"/>
                  <a:pt x="148" y="124"/>
                  <a:pt x="148" y="124"/>
                </a:cubicBezTo>
                <a:cubicBezTo>
                  <a:pt x="146" y="127"/>
                  <a:pt x="143" y="128"/>
                  <a:pt x="140" y="128"/>
                </a:cubicBezTo>
                <a:cubicBezTo>
                  <a:pt x="137" y="128"/>
                  <a:pt x="134" y="127"/>
                  <a:pt x="132" y="124"/>
                </a:cubicBezTo>
                <a:cubicBezTo>
                  <a:pt x="76" y="69"/>
                  <a:pt x="76" y="69"/>
                  <a:pt x="76" y="69"/>
                </a:cubicBezTo>
                <a:cubicBezTo>
                  <a:pt x="20" y="124"/>
                  <a:pt x="20" y="124"/>
                  <a:pt x="20" y="124"/>
                </a:cubicBezTo>
                <a:cubicBezTo>
                  <a:pt x="18" y="127"/>
                  <a:pt x="15" y="128"/>
                  <a:pt x="12" y="128"/>
                </a:cubicBezTo>
                <a:cubicBezTo>
                  <a:pt x="5" y="128"/>
                  <a:pt x="0" y="123"/>
                  <a:pt x="0" y="116"/>
                </a:cubicBezTo>
                <a:cubicBezTo>
                  <a:pt x="0" y="113"/>
                  <a:pt x="1" y="110"/>
                  <a:pt x="4" y="108"/>
                </a:cubicBezTo>
                <a:cubicBezTo>
                  <a:pt x="68" y="44"/>
                  <a:pt x="68" y="44"/>
                  <a:pt x="68" y="44"/>
                </a:cubicBezTo>
                <a:cubicBezTo>
                  <a:pt x="70" y="41"/>
                  <a:pt x="73" y="40"/>
                  <a:pt x="76" y="40"/>
                </a:cubicBezTo>
                <a:cubicBezTo>
                  <a:pt x="79" y="40"/>
                  <a:pt x="82" y="41"/>
                  <a:pt x="84" y="44"/>
                </a:cubicBezTo>
                <a:cubicBezTo>
                  <a:pt x="140" y="99"/>
                  <a:pt x="140" y="99"/>
                  <a:pt x="140" y="99"/>
                </a:cubicBezTo>
                <a:cubicBezTo>
                  <a:pt x="155" y="84"/>
                  <a:pt x="155" y="84"/>
                  <a:pt x="155" y="84"/>
                </a:cubicBezTo>
                <a:cubicBezTo>
                  <a:pt x="157" y="82"/>
                  <a:pt x="157" y="82"/>
                  <a:pt x="157" y="82"/>
                </a:cubicBezTo>
                <a:cubicBezTo>
                  <a:pt x="164" y="76"/>
                  <a:pt x="164" y="76"/>
                  <a:pt x="164" y="76"/>
                </a:cubicBezTo>
                <a:cubicBezTo>
                  <a:pt x="215" y="24"/>
                  <a:pt x="215" y="24"/>
                  <a:pt x="215" y="24"/>
                </a:cubicBezTo>
                <a:cubicBezTo>
                  <a:pt x="196" y="24"/>
                  <a:pt x="196" y="24"/>
                  <a:pt x="196" y="24"/>
                </a:cubicBezTo>
                <a:cubicBezTo>
                  <a:pt x="189" y="24"/>
                  <a:pt x="184" y="19"/>
                  <a:pt x="184" y="12"/>
                </a:cubicBezTo>
                <a:cubicBezTo>
                  <a:pt x="184" y="5"/>
                  <a:pt x="189" y="0"/>
                  <a:pt x="196" y="0"/>
                </a:cubicBezTo>
                <a:cubicBezTo>
                  <a:pt x="244" y="0"/>
                  <a:pt x="244" y="0"/>
                  <a:pt x="244" y="0"/>
                </a:cubicBezTo>
                <a:cubicBezTo>
                  <a:pt x="251" y="0"/>
                  <a:pt x="256" y="5"/>
                  <a:pt x="256" y="12"/>
                </a:cubicBezTo>
                <a:cubicBezTo>
                  <a:pt x="256" y="60"/>
                  <a:pt x="256" y="60"/>
                  <a:pt x="256" y="60"/>
                </a:cubicBezTo>
                <a:cubicBezTo>
                  <a:pt x="256" y="67"/>
                  <a:pt x="251" y="72"/>
                  <a:pt x="244" y="72"/>
                </a:cubicBezTo>
              </a:path>
            </a:pathLst>
          </a:custGeom>
          <a:solidFill>
            <a:srgbClr val="0070C0"/>
          </a:solidFill>
          <a:ln>
            <a:noFill/>
          </a:ln>
        </p:spPr>
        <p:txBody>
          <a:bodyPr/>
          <a:lstStyle/>
          <a:p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Picture 6" descr="Доставка личных грузов из Узбекистана в Россию, перевозка личных вещей в  Узбекистан">
            <a:extLst>
              <a:ext uri="{FF2B5EF4-FFF2-40B4-BE49-F238E27FC236}">
                <a16:creationId xmlns:a16="http://schemas.microsoft.com/office/drawing/2014/main" id="{F92175BA-2785-4DA6-BD8C-397E69917B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200" y="5130222"/>
            <a:ext cx="449234" cy="449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6" descr="Круглый флаг Германии. Иллюстрация вектора. Значок значок кнопки глянцевая  Иллюстрация вектора - иллюстрации насчитывающей иллюстрация, вектора:  193803536">
            <a:extLst>
              <a:ext uri="{FF2B5EF4-FFF2-40B4-BE49-F238E27FC236}">
                <a16:creationId xmlns:a16="http://schemas.microsoft.com/office/drawing/2014/main" id="{602F5BFF-603A-4FA8-A28F-59943097C1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4612" y="5028384"/>
            <a:ext cx="690400" cy="69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Freeform 101">
            <a:extLst>
              <a:ext uri="{FF2B5EF4-FFF2-40B4-BE49-F238E27FC236}">
                <a16:creationId xmlns:a16="http://schemas.microsoft.com/office/drawing/2014/main" id="{2C708288-F1FE-B34D-80F2-A0A79380342B}"/>
              </a:ext>
            </a:extLst>
          </p:cNvPr>
          <p:cNvSpPr>
            <a:spLocks noEditPoints="1"/>
          </p:cNvSpPr>
          <p:nvPr/>
        </p:nvSpPr>
        <p:spPr bwMode="auto">
          <a:xfrm>
            <a:off x="628693" y="1482660"/>
            <a:ext cx="703711" cy="619463"/>
          </a:xfrm>
          <a:custGeom>
            <a:avLst/>
            <a:gdLst>
              <a:gd name="T0" fmla="*/ 2147483646 w 68"/>
              <a:gd name="T1" fmla="*/ 2147483646 h 63"/>
              <a:gd name="T2" fmla="*/ 2147483646 w 68"/>
              <a:gd name="T3" fmla="*/ 2147483646 h 63"/>
              <a:gd name="T4" fmla="*/ 2147483646 w 68"/>
              <a:gd name="T5" fmla="*/ 2147483646 h 63"/>
              <a:gd name="T6" fmla="*/ 2147483646 w 68"/>
              <a:gd name="T7" fmla="*/ 2147483646 h 63"/>
              <a:gd name="T8" fmla="*/ 2147483646 w 68"/>
              <a:gd name="T9" fmla="*/ 2147483646 h 63"/>
              <a:gd name="T10" fmla="*/ 2147483646 w 68"/>
              <a:gd name="T11" fmla="*/ 2147483646 h 63"/>
              <a:gd name="T12" fmla="*/ 2147483646 w 68"/>
              <a:gd name="T13" fmla="*/ 2147483646 h 63"/>
              <a:gd name="T14" fmla="*/ 2147483646 w 68"/>
              <a:gd name="T15" fmla="*/ 2147483646 h 63"/>
              <a:gd name="T16" fmla="*/ 0 w 68"/>
              <a:gd name="T17" fmla="*/ 2147483646 h 63"/>
              <a:gd name="T18" fmla="*/ 2147483646 w 68"/>
              <a:gd name="T19" fmla="*/ 2147483646 h 63"/>
              <a:gd name="T20" fmla="*/ 2147483646 w 68"/>
              <a:gd name="T21" fmla="*/ 2147483646 h 63"/>
              <a:gd name="T22" fmla="*/ 2147483646 w 68"/>
              <a:gd name="T23" fmla="*/ 2147483646 h 63"/>
              <a:gd name="T24" fmla="*/ 2147483646 w 68"/>
              <a:gd name="T25" fmla="*/ 2147483646 h 63"/>
              <a:gd name="T26" fmla="*/ 2147483646 w 68"/>
              <a:gd name="T27" fmla="*/ 2147483646 h 63"/>
              <a:gd name="T28" fmla="*/ 2147483646 w 68"/>
              <a:gd name="T29" fmla="*/ 2147483646 h 63"/>
              <a:gd name="T30" fmla="*/ 2147483646 w 68"/>
              <a:gd name="T31" fmla="*/ 2147483646 h 63"/>
              <a:gd name="T32" fmla="*/ 2147483646 w 68"/>
              <a:gd name="T33" fmla="*/ 2147483646 h 63"/>
              <a:gd name="T34" fmla="*/ 2147483646 w 68"/>
              <a:gd name="T35" fmla="*/ 2147483646 h 63"/>
              <a:gd name="T36" fmla="*/ 2147483646 w 68"/>
              <a:gd name="T37" fmla="*/ 2147483646 h 63"/>
              <a:gd name="T38" fmla="*/ 2147483646 w 68"/>
              <a:gd name="T39" fmla="*/ 2147483646 h 63"/>
              <a:gd name="T40" fmla="*/ 2147483646 w 68"/>
              <a:gd name="T41" fmla="*/ 2147483646 h 63"/>
              <a:gd name="T42" fmla="*/ 2147483646 w 68"/>
              <a:gd name="T43" fmla="*/ 2147483646 h 63"/>
              <a:gd name="T44" fmla="*/ 2147483646 w 68"/>
              <a:gd name="T45" fmla="*/ 2147483646 h 63"/>
              <a:gd name="T46" fmla="*/ 2147483646 w 68"/>
              <a:gd name="T47" fmla="*/ 2147483646 h 63"/>
              <a:gd name="T48" fmla="*/ 2147483646 w 68"/>
              <a:gd name="T49" fmla="*/ 2147483646 h 63"/>
              <a:gd name="T50" fmla="*/ 2147483646 w 68"/>
              <a:gd name="T51" fmla="*/ 2147483646 h 63"/>
              <a:gd name="T52" fmla="*/ 2147483646 w 68"/>
              <a:gd name="T53" fmla="*/ 2147483646 h 63"/>
              <a:gd name="T54" fmla="*/ 2147483646 w 68"/>
              <a:gd name="T55" fmla="*/ 0 h 63"/>
              <a:gd name="T56" fmla="*/ 2147483646 w 68"/>
              <a:gd name="T57" fmla="*/ 2147483646 h 63"/>
              <a:gd name="T58" fmla="*/ 2147483646 w 68"/>
              <a:gd name="T59" fmla="*/ 2147483646 h 63"/>
              <a:gd name="T60" fmla="*/ 2147483646 w 68"/>
              <a:gd name="T61" fmla="*/ 2147483646 h 63"/>
              <a:gd name="T62" fmla="*/ 2147483646 w 68"/>
              <a:gd name="T63" fmla="*/ 2147483646 h 63"/>
              <a:gd name="T64" fmla="*/ 2147483646 w 68"/>
              <a:gd name="T65" fmla="*/ 2147483646 h 63"/>
              <a:gd name="T66" fmla="*/ 2147483646 w 68"/>
              <a:gd name="T67" fmla="*/ 2147483646 h 63"/>
              <a:gd name="T68" fmla="*/ 2147483646 w 68"/>
              <a:gd name="T69" fmla="*/ 2147483646 h 63"/>
              <a:gd name="T70" fmla="*/ 2147483646 w 68"/>
              <a:gd name="T71" fmla="*/ 2147483646 h 63"/>
              <a:gd name="T72" fmla="*/ 2147483646 w 68"/>
              <a:gd name="T73" fmla="*/ 2147483646 h 63"/>
              <a:gd name="T74" fmla="*/ 2147483646 w 68"/>
              <a:gd name="T75" fmla="*/ 2147483646 h 63"/>
              <a:gd name="T76" fmla="*/ 2147483646 w 68"/>
              <a:gd name="T77" fmla="*/ 2147483646 h 63"/>
              <a:gd name="T78" fmla="*/ 2147483646 w 68"/>
              <a:gd name="T79" fmla="*/ 2147483646 h 63"/>
              <a:gd name="T80" fmla="*/ 2147483646 w 68"/>
              <a:gd name="T81" fmla="*/ 2147483646 h 63"/>
              <a:gd name="T82" fmla="*/ 2147483646 w 68"/>
              <a:gd name="T83" fmla="*/ 2147483646 h 63"/>
              <a:gd name="T84" fmla="*/ 2147483646 w 68"/>
              <a:gd name="T85" fmla="*/ 2147483646 h 63"/>
              <a:gd name="T86" fmla="*/ 2147483646 w 68"/>
              <a:gd name="T87" fmla="*/ 2147483646 h 6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68" h="63">
                <a:moveTo>
                  <a:pt x="45" y="35"/>
                </a:moveTo>
                <a:cubicBezTo>
                  <a:pt x="45" y="35"/>
                  <a:pt x="45" y="36"/>
                  <a:pt x="45" y="36"/>
                </a:cubicBezTo>
                <a:cubicBezTo>
                  <a:pt x="39" y="36"/>
                  <a:pt x="39" y="36"/>
                  <a:pt x="39" y="36"/>
                </a:cubicBezTo>
                <a:cubicBezTo>
                  <a:pt x="39" y="37"/>
                  <a:pt x="38" y="38"/>
                  <a:pt x="38" y="39"/>
                </a:cubicBezTo>
                <a:cubicBezTo>
                  <a:pt x="39" y="41"/>
                  <a:pt x="40" y="42"/>
                  <a:pt x="41" y="43"/>
                </a:cubicBezTo>
                <a:cubicBezTo>
                  <a:pt x="41" y="43"/>
                  <a:pt x="41" y="44"/>
                  <a:pt x="41" y="44"/>
                </a:cubicBezTo>
                <a:cubicBezTo>
                  <a:pt x="41" y="44"/>
                  <a:pt x="41" y="44"/>
                  <a:pt x="41" y="45"/>
                </a:cubicBezTo>
                <a:cubicBezTo>
                  <a:pt x="40" y="46"/>
                  <a:pt x="36" y="50"/>
                  <a:pt x="35" y="50"/>
                </a:cubicBezTo>
                <a:cubicBezTo>
                  <a:pt x="35" y="50"/>
                  <a:pt x="35" y="50"/>
                  <a:pt x="35" y="50"/>
                </a:cubicBezTo>
                <a:cubicBezTo>
                  <a:pt x="31" y="47"/>
                  <a:pt x="31" y="47"/>
                  <a:pt x="31" y="47"/>
                </a:cubicBezTo>
                <a:cubicBezTo>
                  <a:pt x="30" y="47"/>
                  <a:pt x="29" y="47"/>
                  <a:pt x="28" y="48"/>
                </a:cubicBezTo>
                <a:cubicBezTo>
                  <a:pt x="28" y="49"/>
                  <a:pt x="27" y="51"/>
                  <a:pt x="27" y="53"/>
                </a:cubicBezTo>
                <a:cubicBezTo>
                  <a:pt x="27" y="54"/>
                  <a:pt x="26" y="54"/>
                  <a:pt x="26" y="54"/>
                </a:cubicBezTo>
                <a:cubicBezTo>
                  <a:pt x="19" y="54"/>
                  <a:pt x="19" y="54"/>
                  <a:pt x="19" y="54"/>
                </a:cubicBezTo>
                <a:cubicBezTo>
                  <a:pt x="19" y="54"/>
                  <a:pt x="18" y="54"/>
                  <a:pt x="18" y="53"/>
                </a:cubicBezTo>
                <a:cubicBezTo>
                  <a:pt x="17" y="48"/>
                  <a:pt x="17" y="48"/>
                  <a:pt x="17" y="48"/>
                </a:cubicBezTo>
                <a:cubicBezTo>
                  <a:pt x="16" y="47"/>
                  <a:pt x="16" y="47"/>
                  <a:pt x="15" y="47"/>
                </a:cubicBezTo>
                <a:cubicBezTo>
                  <a:pt x="11" y="50"/>
                  <a:pt x="11" y="50"/>
                  <a:pt x="11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10" y="50"/>
                  <a:pt x="9" y="50"/>
                  <a:pt x="9" y="50"/>
                </a:cubicBezTo>
                <a:cubicBezTo>
                  <a:pt x="8" y="49"/>
                  <a:pt x="4" y="45"/>
                  <a:pt x="4" y="44"/>
                </a:cubicBezTo>
                <a:cubicBezTo>
                  <a:pt x="4" y="44"/>
                  <a:pt x="4" y="44"/>
                  <a:pt x="4" y="43"/>
                </a:cubicBezTo>
                <a:cubicBezTo>
                  <a:pt x="5" y="42"/>
                  <a:pt x="6" y="41"/>
                  <a:pt x="7" y="39"/>
                </a:cubicBezTo>
                <a:cubicBezTo>
                  <a:pt x="7" y="38"/>
                  <a:pt x="6" y="37"/>
                  <a:pt x="6" y="36"/>
                </a:cubicBezTo>
                <a:cubicBezTo>
                  <a:pt x="1" y="35"/>
                  <a:pt x="1" y="35"/>
                  <a:pt x="1" y="35"/>
                </a:cubicBezTo>
                <a:cubicBezTo>
                  <a:pt x="0" y="35"/>
                  <a:pt x="0" y="35"/>
                  <a:pt x="0" y="3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7"/>
                  <a:pt x="0" y="27"/>
                  <a:pt x="1" y="27"/>
                </a:cubicBezTo>
                <a:cubicBezTo>
                  <a:pt x="6" y="26"/>
                  <a:pt x="6" y="26"/>
                  <a:pt x="6" y="26"/>
                </a:cubicBezTo>
                <a:cubicBezTo>
                  <a:pt x="6" y="25"/>
                  <a:pt x="7" y="24"/>
                  <a:pt x="7" y="23"/>
                </a:cubicBezTo>
                <a:cubicBezTo>
                  <a:pt x="6" y="22"/>
                  <a:pt x="5" y="20"/>
                  <a:pt x="4" y="19"/>
                </a:cubicBezTo>
                <a:cubicBezTo>
                  <a:pt x="4" y="19"/>
                  <a:pt x="4" y="19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5" y="17"/>
                  <a:pt x="9" y="12"/>
                  <a:pt x="10" y="12"/>
                </a:cubicBezTo>
                <a:cubicBezTo>
                  <a:pt x="10" y="12"/>
                  <a:pt x="10" y="12"/>
                  <a:pt x="11" y="13"/>
                </a:cubicBezTo>
                <a:cubicBezTo>
                  <a:pt x="15" y="16"/>
                  <a:pt x="15" y="16"/>
                  <a:pt x="15" y="16"/>
                </a:cubicBezTo>
                <a:cubicBezTo>
                  <a:pt x="16" y="15"/>
                  <a:pt x="16" y="15"/>
                  <a:pt x="17" y="15"/>
                </a:cubicBezTo>
                <a:cubicBezTo>
                  <a:pt x="18" y="13"/>
                  <a:pt x="18" y="11"/>
                  <a:pt x="18" y="9"/>
                </a:cubicBezTo>
                <a:cubicBezTo>
                  <a:pt x="18" y="9"/>
                  <a:pt x="19" y="8"/>
                  <a:pt x="19" y="8"/>
                </a:cubicBezTo>
                <a:cubicBezTo>
                  <a:pt x="26" y="8"/>
                  <a:pt x="26" y="8"/>
                  <a:pt x="26" y="8"/>
                </a:cubicBezTo>
                <a:cubicBezTo>
                  <a:pt x="26" y="8"/>
                  <a:pt x="27" y="9"/>
                  <a:pt x="27" y="9"/>
                </a:cubicBezTo>
                <a:cubicBezTo>
                  <a:pt x="28" y="15"/>
                  <a:pt x="28" y="15"/>
                  <a:pt x="28" y="15"/>
                </a:cubicBezTo>
                <a:cubicBezTo>
                  <a:pt x="29" y="15"/>
                  <a:pt x="30" y="15"/>
                  <a:pt x="31" y="16"/>
                </a:cubicBezTo>
                <a:cubicBezTo>
                  <a:pt x="35" y="13"/>
                  <a:pt x="35" y="13"/>
                  <a:pt x="35" y="13"/>
                </a:cubicBezTo>
                <a:cubicBezTo>
                  <a:pt x="35" y="12"/>
                  <a:pt x="35" y="12"/>
                  <a:pt x="35" y="12"/>
                </a:cubicBezTo>
                <a:cubicBezTo>
                  <a:pt x="36" y="12"/>
                  <a:pt x="36" y="12"/>
                  <a:pt x="36" y="13"/>
                </a:cubicBezTo>
                <a:cubicBezTo>
                  <a:pt x="37" y="13"/>
                  <a:pt x="41" y="17"/>
                  <a:pt x="41" y="18"/>
                </a:cubicBezTo>
                <a:cubicBezTo>
                  <a:pt x="41" y="19"/>
                  <a:pt x="41" y="19"/>
                  <a:pt x="41" y="19"/>
                </a:cubicBezTo>
                <a:cubicBezTo>
                  <a:pt x="40" y="20"/>
                  <a:pt x="39" y="22"/>
                  <a:pt x="38" y="23"/>
                </a:cubicBezTo>
                <a:cubicBezTo>
                  <a:pt x="38" y="24"/>
                  <a:pt x="39" y="25"/>
                  <a:pt x="39" y="26"/>
                </a:cubicBezTo>
                <a:cubicBezTo>
                  <a:pt x="45" y="27"/>
                  <a:pt x="45" y="27"/>
                  <a:pt x="45" y="27"/>
                </a:cubicBezTo>
                <a:cubicBezTo>
                  <a:pt x="45" y="27"/>
                  <a:pt x="45" y="27"/>
                  <a:pt x="45" y="28"/>
                </a:cubicBezTo>
                <a:lnTo>
                  <a:pt x="45" y="35"/>
                </a:lnTo>
                <a:close/>
                <a:moveTo>
                  <a:pt x="23" y="22"/>
                </a:moveTo>
                <a:cubicBezTo>
                  <a:pt x="18" y="22"/>
                  <a:pt x="13" y="26"/>
                  <a:pt x="13" y="31"/>
                </a:cubicBezTo>
                <a:cubicBezTo>
                  <a:pt x="13" y="36"/>
                  <a:pt x="18" y="40"/>
                  <a:pt x="23" y="40"/>
                </a:cubicBezTo>
                <a:cubicBezTo>
                  <a:pt x="28" y="40"/>
                  <a:pt x="32" y="36"/>
                  <a:pt x="32" y="31"/>
                </a:cubicBezTo>
                <a:cubicBezTo>
                  <a:pt x="32" y="26"/>
                  <a:pt x="28" y="22"/>
                  <a:pt x="23" y="22"/>
                </a:cubicBezTo>
                <a:close/>
                <a:moveTo>
                  <a:pt x="68" y="15"/>
                </a:moveTo>
                <a:cubicBezTo>
                  <a:pt x="68" y="16"/>
                  <a:pt x="64" y="16"/>
                  <a:pt x="63" y="16"/>
                </a:cubicBezTo>
                <a:cubicBezTo>
                  <a:pt x="63" y="17"/>
                  <a:pt x="62" y="18"/>
                  <a:pt x="62" y="18"/>
                </a:cubicBezTo>
                <a:cubicBezTo>
                  <a:pt x="62" y="19"/>
                  <a:pt x="64" y="23"/>
                  <a:pt x="64" y="23"/>
                </a:cubicBezTo>
                <a:cubicBezTo>
                  <a:pt x="64" y="23"/>
                  <a:pt x="64" y="23"/>
                  <a:pt x="64" y="24"/>
                </a:cubicBezTo>
                <a:cubicBezTo>
                  <a:pt x="63" y="24"/>
                  <a:pt x="59" y="26"/>
                  <a:pt x="59" y="26"/>
                </a:cubicBezTo>
                <a:cubicBezTo>
                  <a:pt x="59" y="26"/>
                  <a:pt x="56" y="22"/>
                  <a:pt x="56" y="22"/>
                </a:cubicBezTo>
                <a:cubicBezTo>
                  <a:pt x="55" y="22"/>
                  <a:pt x="55" y="22"/>
                  <a:pt x="55" y="22"/>
                </a:cubicBezTo>
                <a:cubicBezTo>
                  <a:pt x="54" y="22"/>
                  <a:pt x="54" y="22"/>
                  <a:pt x="54" y="22"/>
                </a:cubicBezTo>
                <a:cubicBezTo>
                  <a:pt x="53" y="22"/>
                  <a:pt x="50" y="26"/>
                  <a:pt x="50" y="26"/>
                </a:cubicBezTo>
                <a:cubicBezTo>
                  <a:pt x="50" y="26"/>
                  <a:pt x="46" y="24"/>
                  <a:pt x="46" y="24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7" y="19"/>
                  <a:pt x="47" y="18"/>
                </a:cubicBezTo>
                <a:cubicBezTo>
                  <a:pt x="47" y="18"/>
                  <a:pt x="46" y="17"/>
                  <a:pt x="46" y="16"/>
                </a:cubicBezTo>
                <a:cubicBezTo>
                  <a:pt x="45" y="16"/>
                  <a:pt x="41" y="16"/>
                  <a:pt x="41" y="15"/>
                </a:cubicBezTo>
                <a:cubicBezTo>
                  <a:pt x="41" y="10"/>
                  <a:pt x="41" y="10"/>
                  <a:pt x="41" y="10"/>
                </a:cubicBezTo>
                <a:cubicBezTo>
                  <a:pt x="41" y="10"/>
                  <a:pt x="45" y="9"/>
                  <a:pt x="46" y="9"/>
                </a:cubicBezTo>
                <a:cubicBezTo>
                  <a:pt x="46" y="9"/>
                  <a:pt x="47" y="8"/>
                  <a:pt x="47" y="7"/>
                </a:cubicBezTo>
                <a:cubicBezTo>
                  <a:pt x="47" y="7"/>
                  <a:pt x="45" y="3"/>
                  <a:pt x="45" y="2"/>
                </a:cubicBezTo>
                <a:cubicBezTo>
                  <a:pt x="45" y="2"/>
                  <a:pt x="45" y="2"/>
                  <a:pt x="46" y="2"/>
                </a:cubicBezTo>
                <a:cubicBezTo>
                  <a:pt x="46" y="2"/>
                  <a:pt x="50" y="0"/>
                  <a:pt x="50" y="0"/>
                </a:cubicBezTo>
                <a:cubicBezTo>
                  <a:pt x="50" y="0"/>
                  <a:pt x="53" y="3"/>
                  <a:pt x="54" y="4"/>
                </a:cubicBezTo>
                <a:cubicBezTo>
                  <a:pt x="54" y="4"/>
                  <a:pt x="54" y="4"/>
                  <a:pt x="55" y="4"/>
                </a:cubicBezTo>
                <a:cubicBezTo>
                  <a:pt x="55" y="4"/>
                  <a:pt x="55" y="4"/>
                  <a:pt x="56" y="4"/>
                </a:cubicBezTo>
                <a:cubicBezTo>
                  <a:pt x="57" y="2"/>
                  <a:pt x="58" y="1"/>
                  <a:pt x="59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59" y="0"/>
                  <a:pt x="63" y="2"/>
                  <a:pt x="64" y="2"/>
                </a:cubicBezTo>
                <a:cubicBezTo>
                  <a:pt x="64" y="2"/>
                  <a:pt x="64" y="2"/>
                  <a:pt x="64" y="2"/>
                </a:cubicBezTo>
                <a:cubicBezTo>
                  <a:pt x="64" y="3"/>
                  <a:pt x="62" y="7"/>
                  <a:pt x="62" y="7"/>
                </a:cubicBezTo>
                <a:cubicBezTo>
                  <a:pt x="62" y="8"/>
                  <a:pt x="63" y="9"/>
                  <a:pt x="63" y="9"/>
                </a:cubicBezTo>
                <a:cubicBezTo>
                  <a:pt x="64" y="9"/>
                  <a:pt x="68" y="10"/>
                  <a:pt x="68" y="10"/>
                </a:cubicBezTo>
                <a:lnTo>
                  <a:pt x="68" y="15"/>
                </a:lnTo>
                <a:close/>
                <a:moveTo>
                  <a:pt x="68" y="52"/>
                </a:moveTo>
                <a:cubicBezTo>
                  <a:pt x="68" y="52"/>
                  <a:pt x="64" y="53"/>
                  <a:pt x="63" y="53"/>
                </a:cubicBezTo>
                <a:cubicBezTo>
                  <a:pt x="63" y="54"/>
                  <a:pt x="62" y="54"/>
                  <a:pt x="62" y="55"/>
                </a:cubicBezTo>
                <a:cubicBezTo>
                  <a:pt x="62" y="56"/>
                  <a:pt x="64" y="59"/>
                  <a:pt x="64" y="60"/>
                </a:cubicBezTo>
                <a:cubicBezTo>
                  <a:pt x="64" y="60"/>
                  <a:pt x="64" y="60"/>
                  <a:pt x="64" y="60"/>
                </a:cubicBezTo>
                <a:cubicBezTo>
                  <a:pt x="63" y="60"/>
                  <a:pt x="59" y="63"/>
                  <a:pt x="59" y="63"/>
                </a:cubicBezTo>
                <a:cubicBezTo>
                  <a:pt x="59" y="63"/>
                  <a:pt x="56" y="59"/>
                  <a:pt x="56" y="59"/>
                </a:cubicBezTo>
                <a:cubicBezTo>
                  <a:pt x="55" y="59"/>
                  <a:pt x="55" y="59"/>
                  <a:pt x="55" y="59"/>
                </a:cubicBezTo>
                <a:cubicBezTo>
                  <a:pt x="54" y="59"/>
                  <a:pt x="54" y="59"/>
                  <a:pt x="54" y="59"/>
                </a:cubicBezTo>
                <a:cubicBezTo>
                  <a:pt x="53" y="59"/>
                  <a:pt x="50" y="63"/>
                  <a:pt x="50" y="63"/>
                </a:cubicBezTo>
                <a:cubicBezTo>
                  <a:pt x="50" y="63"/>
                  <a:pt x="46" y="60"/>
                  <a:pt x="46" y="60"/>
                </a:cubicBezTo>
                <a:cubicBezTo>
                  <a:pt x="45" y="60"/>
                  <a:pt x="45" y="60"/>
                  <a:pt x="45" y="60"/>
                </a:cubicBezTo>
                <a:cubicBezTo>
                  <a:pt x="45" y="59"/>
                  <a:pt x="47" y="56"/>
                  <a:pt x="47" y="55"/>
                </a:cubicBezTo>
                <a:cubicBezTo>
                  <a:pt x="47" y="54"/>
                  <a:pt x="46" y="54"/>
                  <a:pt x="46" y="53"/>
                </a:cubicBezTo>
                <a:cubicBezTo>
                  <a:pt x="45" y="53"/>
                  <a:pt x="41" y="52"/>
                  <a:pt x="41" y="52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6"/>
                  <a:pt x="45" y="46"/>
                  <a:pt x="46" y="46"/>
                </a:cubicBezTo>
                <a:cubicBezTo>
                  <a:pt x="46" y="45"/>
                  <a:pt x="47" y="45"/>
                  <a:pt x="47" y="44"/>
                </a:cubicBezTo>
                <a:cubicBezTo>
                  <a:pt x="47" y="43"/>
                  <a:pt x="45" y="40"/>
                  <a:pt x="45" y="39"/>
                </a:cubicBezTo>
                <a:cubicBezTo>
                  <a:pt x="45" y="39"/>
                  <a:pt x="45" y="39"/>
                  <a:pt x="46" y="39"/>
                </a:cubicBezTo>
                <a:cubicBezTo>
                  <a:pt x="46" y="39"/>
                  <a:pt x="50" y="36"/>
                  <a:pt x="50" y="36"/>
                </a:cubicBezTo>
                <a:cubicBezTo>
                  <a:pt x="50" y="36"/>
                  <a:pt x="53" y="40"/>
                  <a:pt x="54" y="40"/>
                </a:cubicBezTo>
                <a:cubicBezTo>
                  <a:pt x="54" y="40"/>
                  <a:pt x="54" y="40"/>
                  <a:pt x="55" y="40"/>
                </a:cubicBezTo>
                <a:cubicBezTo>
                  <a:pt x="55" y="40"/>
                  <a:pt x="55" y="40"/>
                  <a:pt x="56" y="40"/>
                </a:cubicBezTo>
                <a:cubicBezTo>
                  <a:pt x="57" y="39"/>
                  <a:pt x="58" y="38"/>
                  <a:pt x="59" y="36"/>
                </a:cubicBezTo>
                <a:cubicBezTo>
                  <a:pt x="59" y="36"/>
                  <a:pt x="59" y="36"/>
                  <a:pt x="59" y="36"/>
                </a:cubicBezTo>
                <a:cubicBezTo>
                  <a:pt x="59" y="36"/>
                  <a:pt x="63" y="39"/>
                  <a:pt x="64" y="39"/>
                </a:cubicBezTo>
                <a:cubicBezTo>
                  <a:pt x="64" y="39"/>
                  <a:pt x="64" y="39"/>
                  <a:pt x="64" y="39"/>
                </a:cubicBezTo>
                <a:cubicBezTo>
                  <a:pt x="64" y="40"/>
                  <a:pt x="62" y="43"/>
                  <a:pt x="62" y="44"/>
                </a:cubicBezTo>
                <a:cubicBezTo>
                  <a:pt x="62" y="45"/>
                  <a:pt x="63" y="45"/>
                  <a:pt x="63" y="46"/>
                </a:cubicBezTo>
                <a:cubicBezTo>
                  <a:pt x="64" y="46"/>
                  <a:pt x="68" y="46"/>
                  <a:pt x="68" y="47"/>
                </a:cubicBezTo>
                <a:lnTo>
                  <a:pt x="68" y="52"/>
                </a:lnTo>
                <a:close/>
                <a:moveTo>
                  <a:pt x="55" y="8"/>
                </a:moveTo>
                <a:cubicBezTo>
                  <a:pt x="52" y="8"/>
                  <a:pt x="50" y="10"/>
                  <a:pt x="50" y="13"/>
                </a:cubicBezTo>
                <a:cubicBezTo>
                  <a:pt x="50" y="15"/>
                  <a:pt x="52" y="17"/>
                  <a:pt x="55" y="17"/>
                </a:cubicBezTo>
                <a:cubicBezTo>
                  <a:pt x="57" y="17"/>
                  <a:pt x="59" y="15"/>
                  <a:pt x="59" y="13"/>
                </a:cubicBezTo>
                <a:cubicBezTo>
                  <a:pt x="59" y="10"/>
                  <a:pt x="57" y="8"/>
                  <a:pt x="55" y="8"/>
                </a:cubicBezTo>
                <a:close/>
                <a:moveTo>
                  <a:pt x="55" y="45"/>
                </a:moveTo>
                <a:cubicBezTo>
                  <a:pt x="52" y="45"/>
                  <a:pt x="50" y="47"/>
                  <a:pt x="50" y="49"/>
                </a:cubicBezTo>
                <a:cubicBezTo>
                  <a:pt x="50" y="52"/>
                  <a:pt x="52" y="54"/>
                  <a:pt x="55" y="54"/>
                </a:cubicBezTo>
                <a:cubicBezTo>
                  <a:pt x="57" y="54"/>
                  <a:pt x="59" y="52"/>
                  <a:pt x="59" y="49"/>
                </a:cubicBezTo>
                <a:cubicBezTo>
                  <a:pt x="59" y="47"/>
                  <a:pt x="57" y="45"/>
                  <a:pt x="55" y="45"/>
                </a:cubicBezTo>
                <a:close/>
              </a:path>
            </a:pathLst>
          </a:custGeom>
          <a:solidFill>
            <a:srgbClr val="0070C0"/>
          </a:solidFill>
          <a:ln>
            <a:noFill/>
          </a:ln>
        </p:spPr>
        <p:txBody>
          <a:bodyPr/>
          <a:lstStyle/>
          <a:p>
            <a:endParaRPr lang="ru-RU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: скругленные углы 4">
            <a:extLst>
              <a:ext uri="{FF2B5EF4-FFF2-40B4-BE49-F238E27FC236}">
                <a16:creationId xmlns:a16="http://schemas.microsoft.com/office/drawing/2014/main" id="{D4DBB740-9B3D-4131-A9F2-5A5E7AEF8F5B}"/>
              </a:ext>
            </a:extLst>
          </p:cNvPr>
          <p:cNvSpPr/>
          <p:nvPr/>
        </p:nvSpPr>
        <p:spPr>
          <a:xfrm>
            <a:off x="3379062" y="2718251"/>
            <a:ext cx="1646498" cy="86162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8 тонн</a:t>
            </a:r>
          </a:p>
          <a:p>
            <a:pPr algn="ctr"/>
            <a:r>
              <a:rPr lang="ru-RU" sz="1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18%</a:t>
            </a:r>
            <a:endParaRPr lang="en-US" sz="16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500" b="1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95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С, сод. гормоны</a:t>
            </a:r>
          </a:p>
          <a:p>
            <a:pPr algn="ctr"/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рямоугольник: скругленные углы 93">
            <a:extLst>
              <a:ext uri="{FF2B5EF4-FFF2-40B4-BE49-F238E27FC236}">
                <a16:creationId xmlns:a16="http://schemas.microsoft.com/office/drawing/2014/main" id="{7B51A938-B6F0-43C1-A00D-77B78C5F7CA2}"/>
              </a:ext>
            </a:extLst>
          </p:cNvPr>
          <p:cNvSpPr/>
          <p:nvPr/>
        </p:nvSpPr>
        <p:spPr>
          <a:xfrm>
            <a:off x="3379062" y="1805346"/>
            <a:ext cx="1646498" cy="86162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8 тыс. тонн</a:t>
            </a:r>
          </a:p>
          <a:p>
            <a:pPr algn="ctr"/>
            <a:r>
              <a:rPr lang="ru-RU" sz="1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18%</a:t>
            </a:r>
          </a:p>
          <a:p>
            <a:pPr algn="ctr"/>
            <a:endParaRPr lang="ru-RU" sz="500" b="1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95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С, сод. антибиотики</a:t>
            </a:r>
          </a:p>
          <a:p>
            <a:pPr algn="ctr"/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: скругленные углы 94">
            <a:extLst>
              <a:ext uri="{FF2B5EF4-FFF2-40B4-BE49-F238E27FC236}">
                <a16:creationId xmlns:a16="http://schemas.microsoft.com/office/drawing/2014/main" id="{5FA6E139-93C0-47CD-95F7-D5D03EA99BF6}"/>
              </a:ext>
            </a:extLst>
          </p:cNvPr>
          <p:cNvSpPr/>
          <p:nvPr/>
        </p:nvSpPr>
        <p:spPr>
          <a:xfrm>
            <a:off x="3384709" y="900111"/>
            <a:ext cx="1607367" cy="84675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5 тыс. тонн</a:t>
            </a:r>
          </a:p>
          <a:p>
            <a:pPr algn="ctr"/>
            <a:r>
              <a:rPr lang="ru-RU" sz="1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1% </a:t>
            </a:r>
          </a:p>
          <a:p>
            <a:pPr algn="ctr"/>
            <a:endParaRPr lang="ru-RU" sz="5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95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С, сод. алкалоиды</a:t>
            </a:r>
          </a:p>
          <a:p>
            <a:pPr algn="ctr"/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3" name="Прямая соединительная линия 32"/>
          <p:cNvCxnSpPr>
            <a:cxnSpLocks/>
          </p:cNvCxnSpPr>
          <p:nvPr/>
        </p:nvCxnSpPr>
        <p:spPr>
          <a:xfrm>
            <a:off x="9903092" y="1857966"/>
            <a:ext cx="2031361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 25"/>
          <p:cNvGrpSpPr>
            <a:grpSpLocks/>
          </p:cNvGrpSpPr>
          <p:nvPr/>
        </p:nvGrpSpPr>
        <p:grpSpPr bwMode="auto">
          <a:xfrm>
            <a:off x="6618121" y="1989714"/>
            <a:ext cx="5110705" cy="2876516"/>
            <a:chOff x="323528" y="1341312"/>
            <a:chExt cx="8104631" cy="4896000"/>
          </a:xfrm>
          <a:effectLst>
            <a:glow rad="127000">
              <a:schemeClr val="accent1">
                <a:alpha val="0"/>
              </a:schemeClr>
            </a:glow>
            <a:outerShdw blurRad="901700" dist="50800" dir="5400000" algn="ctr" rotWithShape="0">
              <a:srgbClr val="000000"/>
            </a:outerShdw>
            <a:reflection stA="0" endPos="65000" dist="50800" dir="5400000" sy="-100000" algn="bl" rotWithShape="0"/>
          </a:effectLst>
        </p:grpSpPr>
        <p:sp>
          <p:nvSpPr>
            <p:cNvPr id="35" name="Freeform 43"/>
            <p:cNvSpPr>
              <a:spLocks/>
            </p:cNvSpPr>
            <p:nvPr/>
          </p:nvSpPr>
          <p:spPr bwMode="auto">
            <a:xfrm>
              <a:off x="4907951" y="4439331"/>
              <a:ext cx="1388327" cy="1228907"/>
            </a:xfrm>
            <a:custGeom>
              <a:avLst/>
              <a:gdLst/>
              <a:ahLst/>
              <a:cxnLst>
                <a:cxn ang="0">
                  <a:pos x="6" y="56"/>
                </a:cxn>
                <a:cxn ang="0">
                  <a:pos x="22" y="84"/>
                </a:cxn>
                <a:cxn ang="0">
                  <a:pos x="34" y="123"/>
                </a:cxn>
                <a:cxn ang="0">
                  <a:pos x="56" y="162"/>
                </a:cxn>
                <a:cxn ang="0">
                  <a:pos x="73" y="224"/>
                </a:cxn>
                <a:cxn ang="0">
                  <a:pos x="84" y="269"/>
                </a:cxn>
                <a:cxn ang="0">
                  <a:pos x="95" y="314"/>
                </a:cxn>
                <a:cxn ang="0">
                  <a:pos x="95" y="359"/>
                </a:cxn>
                <a:cxn ang="0">
                  <a:pos x="95" y="409"/>
                </a:cxn>
                <a:cxn ang="0">
                  <a:pos x="78" y="454"/>
                </a:cxn>
                <a:cxn ang="0">
                  <a:pos x="62" y="493"/>
                </a:cxn>
                <a:cxn ang="0">
                  <a:pos x="78" y="515"/>
                </a:cxn>
                <a:cxn ang="0">
                  <a:pos x="106" y="538"/>
                </a:cxn>
                <a:cxn ang="0">
                  <a:pos x="129" y="555"/>
                </a:cxn>
                <a:cxn ang="0">
                  <a:pos x="145" y="577"/>
                </a:cxn>
                <a:cxn ang="0">
                  <a:pos x="157" y="600"/>
                </a:cxn>
                <a:cxn ang="0">
                  <a:pos x="168" y="633"/>
                </a:cxn>
                <a:cxn ang="0">
                  <a:pos x="179" y="667"/>
                </a:cxn>
                <a:cxn ang="0">
                  <a:pos x="196" y="678"/>
                </a:cxn>
                <a:cxn ang="0">
                  <a:pos x="218" y="689"/>
                </a:cxn>
                <a:cxn ang="0">
                  <a:pos x="229" y="695"/>
                </a:cxn>
                <a:cxn ang="0">
                  <a:pos x="241" y="717"/>
                </a:cxn>
                <a:cxn ang="0">
                  <a:pos x="246" y="734"/>
                </a:cxn>
                <a:cxn ang="0">
                  <a:pos x="325" y="555"/>
                </a:cxn>
                <a:cxn ang="0">
                  <a:pos x="631" y="510"/>
                </a:cxn>
                <a:cxn ang="0">
                  <a:pos x="804" y="470"/>
                </a:cxn>
                <a:cxn ang="0">
                  <a:pos x="884" y="521"/>
                </a:cxn>
                <a:cxn ang="0">
                  <a:pos x="884" y="487"/>
                </a:cxn>
                <a:cxn ang="0">
                  <a:pos x="867" y="459"/>
                </a:cxn>
                <a:cxn ang="0">
                  <a:pos x="856" y="437"/>
                </a:cxn>
                <a:cxn ang="0">
                  <a:pos x="845" y="398"/>
                </a:cxn>
                <a:cxn ang="0">
                  <a:pos x="822" y="342"/>
                </a:cxn>
                <a:cxn ang="0">
                  <a:pos x="817" y="319"/>
                </a:cxn>
                <a:cxn ang="0">
                  <a:pos x="794" y="303"/>
                </a:cxn>
                <a:cxn ang="0">
                  <a:pos x="778" y="297"/>
                </a:cxn>
                <a:cxn ang="0">
                  <a:pos x="739" y="286"/>
                </a:cxn>
                <a:cxn ang="0">
                  <a:pos x="694" y="224"/>
                </a:cxn>
                <a:cxn ang="0">
                  <a:pos x="660" y="179"/>
                </a:cxn>
                <a:cxn ang="0">
                  <a:pos x="638" y="146"/>
                </a:cxn>
                <a:cxn ang="0">
                  <a:pos x="627" y="118"/>
                </a:cxn>
                <a:cxn ang="0">
                  <a:pos x="621" y="84"/>
                </a:cxn>
                <a:cxn ang="0">
                  <a:pos x="615" y="50"/>
                </a:cxn>
                <a:cxn ang="0">
                  <a:pos x="615" y="11"/>
                </a:cxn>
                <a:cxn ang="0">
                  <a:pos x="537" y="11"/>
                </a:cxn>
                <a:cxn ang="0">
                  <a:pos x="431" y="22"/>
                </a:cxn>
                <a:cxn ang="0">
                  <a:pos x="313" y="34"/>
                </a:cxn>
                <a:cxn ang="0">
                  <a:pos x="201" y="39"/>
                </a:cxn>
                <a:cxn ang="0">
                  <a:pos x="78" y="39"/>
                </a:cxn>
              </a:cxnLst>
              <a:rect l="0" t="0" r="r" b="b"/>
              <a:pathLst>
                <a:path w="884" h="734">
                  <a:moveTo>
                    <a:pt x="0" y="39"/>
                  </a:moveTo>
                  <a:lnTo>
                    <a:pt x="0" y="45"/>
                  </a:lnTo>
                  <a:lnTo>
                    <a:pt x="6" y="56"/>
                  </a:lnTo>
                  <a:lnTo>
                    <a:pt x="11" y="62"/>
                  </a:lnTo>
                  <a:lnTo>
                    <a:pt x="17" y="73"/>
                  </a:lnTo>
                  <a:lnTo>
                    <a:pt x="22" y="84"/>
                  </a:lnTo>
                  <a:lnTo>
                    <a:pt x="28" y="101"/>
                  </a:lnTo>
                  <a:lnTo>
                    <a:pt x="34" y="112"/>
                  </a:lnTo>
                  <a:lnTo>
                    <a:pt x="34" y="123"/>
                  </a:lnTo>
                  <a:lnTo>
                    <a:pt x="39" y="140"/>
                  </a:lnTo>
                  <a:lnTo>
                    <a:pt x="50" y="151"/>
                  </a:lnTo>
                  <a:lnTo>
                    <a:pt x="56" y="162"/>
                  </a:lnTo>
                  <a:lnTo>
                    <a:pt x="67" y="196"/>
                  </a:lnTo>
                  <a:lnTo>
                    <a:pt x="67" y="207"/>
                  </a:lnTo>
                  <a:lnTo>
                    <a:pt x="73" y="224"/>
                  </a:lnTo>
                  <a:lnTo>
                    <a:pt x="78" y="241"/>
                  </a:lnTo>
                  <a:lnTo>
                    <a:pt x="78" y="252"/>
                  </a:lnTo>
                  <a:lnTo>
                    <a:pt x="84" y="269"/>
                  </a:lnTo>
                  <a:lnTo>
                    <a:pt x="84" y="286"/>
                  </a:lnTo>
                  <a:lnTo>
                    <a:pt x="95" y="303"/>
                  </a:lnTo>
                  <a:lnTo>
                    <a:pt x="95" y="314"/>
                  </a:lnTo>
                  <a:lnTo>
                    <a:pt x="95" y="331"/>
                  </a:lnTo>
                  <a:lnTo>
                    <a:pt x="95" y="347"/>
                  </a:lnTo>
                  <a:lnTo>
                    <a:pt x="95" y="359"/>
                  </a:lnTo>
                  <a:lnTo>
                    <a:pt x="95" y="381"/>
                  </a:lnTo>
                  <a:lnTo>
                    <a:pt x="95" y="392"/>
                  </a:lnTo>
                  <a:lnTo>
                    <a:pt x="95" y="409"/>
                  </a:lnTo>
                  <a:lnTo>
                    <a:pt x="84" y="426"/>
                  </a:lnTo>
                  <a:lnTo>
                    <a:pt x="84" y="437"/>
                  </a:lnTo>
                  <a:lnTo>
                    <a:pt x="78" y="454"/>
                  </a:lnTo>
                  <a:lnTo>
                    <a:pt x="73" y="465"/>
                  </a:lnTo>
                  <a:lnTo>
                    <a:pt x="73" y="482"/>
                  </a:lnTo>
                  <a:lnTo>
                    <a:pt x="62" y="493"/>
                  </a:lnTo>
                  <a:lnTo>
                    <a:pt x="67" y="499"/>
                  </a:lnTo>
                  <a:lnTo>
                    <a:pt x="73" y="504"/>
                  </a:lnTo>
                  <a:lnTo>
                    <a:pt x="78" y="515"/>
                  </a:lnTo>
                  <a:lnTo>
                    <a:pt x="84" y="521"/>
                  </a:lnTo>
                  <a:lnTo>
                    <a:pt x="95" y="527"/>
                  </a:lnTo>
                  <a:lnTo>
                    <a:pt x="106" y="538"/>
                  </a:lnTo>
                  <a:lnTo>
                    <a:pt x="117" y="543"/>
                  </a:lnTo>
                  <a:lnTo>
                    <a:pt x="123" y="549"/>
                  </a:lnTo>
                  <a:lnTo>
                    <a:pt x="129" y="555"/>
                  </a:lnTo>
                  <a:lnTo>
                    <a:pt x="134" y="566"/>
                  </a:lnTo>
                  <a:lnTo>
                    <a:pt x="145" y="572"/>
                  </a:lnTo>
                  <a:lnTo>
                    <a:pt x="145" y="577"/>
                  </a:lnTo>
                  <a:lnTo>
                    <a:pt x="151" y="583"/>
                  </a:lnTo>
                  <a:lnTo>
                    <a:pt x="151" y="588"/>
                  </a:lnTo>
                  <a:lnTo>
                    <a:pt x="157" y="600"/>
                  </a:lnTo>
                  <a:lnTo>
                    <a:pt x="162" y="616"/>
                  </a:lnTo>
                  <a:lnTo>
                    <a:pt x="162" y="622"/>
                  </a:lnTo>
                  <a:lnTo>
                    <a:pt x="168" y="633"/>
                  </a:lnTo>
                  <a:lnTo>
                    <a:pt x="173" y="644"/>
                  </a:lnTo>
                  <a:lnTo>
                    <a:pt x="173" y="650"/>
                  </a:lnTo>
                  <a:lnTo>
                    <a:pt x="179" y="667"/>
                  </a:lnTo>
                  <a:lnTo>
                    <a:pt x="179" y="672"/>
                  </a:lnTo>
                  <a:lnTo>
                    <a:pt x="190" y="672"/>
                  </a:lnTo>
                  <a:lnTo>
                    <a:pt x="196" y="678"/>
                  </a:lnTo>
                  <a:lnTo>
                    <a:pt x="201" y="678"/>
                  </a:lnTo>
                  <a:lnTo>
                    <a:pt x="207" y="684"/>
                  </a:lnTo>
                  <a:lnTo>
                    <a:pt x="218" y="689"/>
                  </a:lnTo>
                  <a:lnTo>
                    <a:pt x="224" y="689"/>
                  </a:lnTo>
                  <a:lnTo>
                    <a:pt x="224" y="695"/>
                  </a:lnTo>
                  <a:lnTo>
                    <a:pt x="229" y="695"/>
                  </a:lnTo>
                  <a:lnTo>
                    <a:pt x="229" y="706"/>
                  </a:lnTo>
                  <a:lnTo>
                    <a:pt x="241" y="712"/>
                  </a:lnTo>
                  <a:lnTo>
                    <a:pt x="241" y="717"/>
                  </a:lnTo>
                  <a:lnTo>
                    <a:pt x="246" y="723"/>
                  </a:lnTo>
                  <a:lnTo>
                    <a:pt x="246" y="728"/>
                  </a:lnTo>
                  <a:lnTo>
                    <a:pt x="246" y="734"/>
                  </a:lnTo>
                  <a:lnTo>
                    <a:pt x="246" y="734"/>
                  </a:lnTo>
                  <a:lnTo>
                    <a:pt x="252" y="734"/>
                  </a:lnTo>
                  <a:cubicBezTo>
                    <a:pt x="265" y="704"/>
                    <a:pt x="206" y="594"/>
                    <a:pt x="325" y="555"/>
                  </a:cubicBezTo>
                  <a:cubicBezTo>
                    <a:pt x="444" y="516"/>
                    <a:pt x="541" y="650"/>
                    <a:pt x="593" y="628"/>
                  </a:cubicBezTo>
                  <a:cubicBezTo>
                    <a:pt x="643" y="630"/>
                    <a:pt x="619" y="588"/>
                    <a:pt x="625" y="568"/>
                  </a:cubicBezTo>
                  <a:cubicBezTo>
                    <a:pt x="631" y="548"/>
                    <a:pt x="620" y="531"/>
                    <a:pt x="631" y="510"/>
                  </a:cubicBezTo>
                  <a:cubicBezTo>
                    <a:pt x="642" y="489"/>
                    <a:pt x="672" y="457"/>
                    <a:pt x="692" y="445"/>
                  </a:cubicBezTo>
                  <a:cubicBezTo>
                    <a:pt x="712" y="433"/>
                    <a:pt x="722" y="426"/>
                    <a:pt x="754" y="440"/>
                  </a:cubicBezTo>
                  <a:cubicBezTo>
                    <a:pt x="773" y="444"/>
                    <a:pt x="782" y="455"/>
                    <a:pt x="804" y="470"/>
                  </a:cubicBezTo>
                  <a:cubicBezTo>
                    <a:pt x="826" y="485"/>
                    <a:pt x="871" y="517"/>
                    <a:pt x="884" y="527"/>
                  </a:cubicBezTo>
                  <a:lnTo>
                    <a:pt x="884" y="527"/>
                  </a:lnTo>
                  <a:lnTo>
                    <a:pt x="884" y="521"/>
                  </a:lnTo>
                  <a:lnTo>
                    <a:pt x="884" y="504"/>
                  </a:lnTo>
                  <a:lnTo>
                    <a:pt x="884" y="493"/>
                  </a:lnTo>
                  <a:lnTo>
                    <a:pt x="884" y="487"/>
                  </a:lnTo>
                  <a:lnTo>
                    <a:pt x="878" y="482"/>
                  </a:lnTo>
                  <a:lnTo>
                    <a:pt x="873" y="465"/>
                  </a:lnTo>
                  <a:lnTo>
                    <a:pt x="867" y="459"/>
                  </a:lnTo>
                  <a:lnTo>
                    <a:pt x="867" y="454"/>
                  </a:lnTo>
                  <a:lnTo>
                    <a:pt x="862" y="448"/>
                  </a:lnTo>
                  <a:lnTo>
                    <a:pt x="856" y="437"/>
                  </a:lnTo>
                  <a:lnTo>
                    <a:pt x="856" y="431"/>
                  </a:lnTo>
                  <a:lnTo>
                    <a:pt x="850" y="415"/>
                  </a:lnTo>
                  <a:lnTo>
                    <a:pt x="845" y="398"/>
                  </a:lnTo>
                  <a:lnTo>
                    <a:pt x="834" y="381"/>
                  </a:lnTo>
                  <a:lnTo>
                    <a:pt x="828" y="359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17" y="331"/>
                  </a:lnTo>
                  <a:lnTo>
                    <a:pt x="817" y="319"/>
                  </a:lnTo>
                  <a:lnTo>
                    <a:pt x="811" y="314"/>
                  </a:lnTo>
                  <a:lnTo>
                    <a:pt x="806" y="308"/>
                  </a:lnTo>
                  <a:lnTo>
                    <a:pt x="794" y="303"/>
                  </a:lnTo>
                  <a:lnTo>
                    <a:pt x="789" y="303"/>
                  </a:lnTo>
                  <a:lnTo>
                    <a:pt x="783" y="297"/>
                  </a:lnTo>
                  <a:lnTo>
                    <a:pt x="778" y="297"/>
                  </a:lnTo>
                  <a:lnTo>
                    <a:pt x="767" y="291"/>
                  </a:lnTo>
                  <a:lnTo>
                    <a:pt x="755" y="291"/>
                  </a:lnTo>
                  <a:lnTo>
                    <a:pt x="739" y="286"/>
                  </a:lnTo>
                  <a:lnTo>
                    <a:pt x="727" y="269"/>
                  </a:lnTo>
                  <a:lnTo>
                    <a:pt x="716" y="258"/>
                  </a:lnTo>
                  <a:lnTo>
                    <a:pt x="694" y="224"/>
                  </a:lnTo>
                  <a:lnTo>
                    <a:pt x="683" y="213"/>
                  </a:lnTo>
                  <a:lnTo>
                    <a:pt x="671" y="202"/>
                  </a:lnTo>
                  <a:lnTo>
                    <a:pt x="660" y="179"/>
                  </a:lnTo>
                  <a:lnTo>
                    <a:pt x="649" y="168"/>
                  </a:lnTo>
                  <a:lnTo>
                    <a:pt x="638" y="151"/>
                  </a:lnTo>
                  <a:lnTo>
                    <a:pt x="638" y="146"/>
                  </a:lnTo>
                  <a:lnTo>
                    <a:pt x="632" y="129"/>
                  </a:lnTo>
                  <a:lnTo>
                    <a:pt x="632" y="123"/>
                  </a:lnTo>
                  <a:lnTo>
                    <a:pt x="627" y="118"/>
                  </a:lnTo>
                  <a:lnTo>
                    <a:pt x="621" y="106"/>
                  </a:lnTo>
                  <a:lnTo>
                    <a:pt x="621" y="95"/>
                  </a:lnTo>
                  <a:lnTo>
                    <a:pt x="621" y="84"/>
                  </a:lnTo>
                  <a:lnTo>
                    <a:pt x="615" y="73"/>
                  </a:lnTo>
                  <a:lnTo>
                    <a:pt x="615" y="62"/>
                  </a:lnTo>
                  <a:lnTo>
                    <a:pt x="615" y="50"/>
                  </a:lnTo>
                  <a:lnTo>
                    <a:pt x="615" y="34"/>
                  </a:lnTo>
                  <a:lnTo>
                    <a:pt x="615" y="22"/>
                  </a:lnTo>
                  <a:lnTo>
                    <a:pt x="615" y="11"/>
                  </a:lnTo>
                  <a:lnTo>
                    <a:pt x="615" y="0"/>
                  </a:lnTo>
                  <a:lnTo>
                    <a:pt x="576" y="6"/>
                  </a:lnTo>
                  <a:lnTo>
                    <a:pt x="537" y="11"/>
                  </a:lnTo>
                  <a:lnTo>
                    <a:pt x="504" y="17"/>
                  </a:lnTo>
                  <a:lnTo>
                    <a:pt x="470" y="17"/>
                  </a:lnTo>
                  <a:lnTo>
                    <a:pt x="431" y="22"/>
                  </a:lnTo>
                  <a:lnTo>
                    <a:pt x="392" y="22"/>
                  </a:lnTo>
                  <a:lnTo>
                    <a:pt x="352" y="28"/>
                  </a:lnTo>
                  <a:lnTo>
                    <a:pt x="313" y="34"/>
                  </a:lnTo>
                  <a:lnTo>
                    <a:pt x="280" y="34"/>
                  </a:lnTo>
                  <a:lnTo>
                    <a:pt x="241" y="34"/>
                  </a:lnTo>
                  <a:lnTo>
                    <a:pt x="201" y="39"/>
                  </a:lnTo>
                  <a:lnTo>
                    <a:pt x="162" y="39"/>
                  </a:lnTo>
                  <a:lnTo>
                    <a:pt x="117" y="39"/>
                  </a:lnTo>
                  <a:lnTo>
                    <a:pt x="78" y="39"/>
                  </a:lnTo>
                  <a:lnTo>
                    <a:pt x="39" y="39"/>
                  </a:lnTo>
                  <a:lnTo>
                    <a:pt x="0" y="39"/>
                  </a:lnTo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rgbClr val="356D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>
                <a:lnSpc>
                  <a:spcPct val="90000"/>
                </a:lnSpc>
                <a:buClr>
                  <a:srgbClr val="0563C1"/>
                </a:buClr>
                <a:buSzPct val="110000"/>
              </a:pPr>
              <a:endParaRPr lang="en-US" sz="1200" dirty="0">
                <a:solidFill>
                  <a:schemeClr val="tx1"/>
                </a:solidFill>
                <a:effectLst>
                  <a:glow rad="127000">
                    <a:schemeClr val="accent1"/>
                  </a:glo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6" name="Group 42"/>
            <p:cNvGrpSpPr>
              <a:grpSpLocks/>
            </p:cNvGrpSpPr>
            <p:nvPr/>
          </p:nvGrpSpPr>
          <p:grpSpPr bwMode="auto">
            <a:xfrm>
              <a:off x="323528" y="1341312"/>
              <a:ext cx="8104631" cy="4896000"/>
              <a:chOff x="323528" y="1341312"/>
              <a:chExt cx="8104631" cy="4896000"/>
            </a:xfrm>
          </p:grpSpPr>
          <p:sp>
            <p:nvSpPr>
              <p:cNvPr id="37" name="Freeform 3"/>
              <p:cNvSpPr>
                <a:spLocks noEditPoints="1"/>
              </p:cNvSpPr>
              <p:nvPr/>
            </p:nvSpPr>
            <p:spPr bwMode="auto">
              <a:xfrm>
                <a:off x="3132069" y="1586603"/>
                <a:ext cx="1496254" cy="2138934"/>
              </a:xfrm>
              <a:custGeom>
                <a:avLst/>
                <a:gdLst/>
                <a:ahLst/>
                <a:cxnLst>
                  <a:cxn ang="0">
                    <a:pos x="119" y="6"/>
                  </a:cxn>
                  <a:cxn ang="0">
                    <a:pos x="121" y="17"/>
                  </a:cxn>
                  <a:cxn ang="0">
                    <a:pos x="118" y="22"/>
                  </a:cxn>
                  <a:cxn ang="0">
                    <a:pos x="121" y="29"/>
                  </a:cxn>
                  <a:cxn ang="0">
                    <a:pos x="118" y="33"/>
                  </a:cxn>
                  <a:cxn ang="0">
                    <a:pos x="123" y="38"/>
                  </a:cxn>
                  <a:cxn ang="0">
                    <a:pos x="117" y="48"/>
                  </a:cxn>
                  <a:cxn ang="0">
                    <a:pos x="114" y="62"/>
                  </a:cxn>
                  <a:cxn ang="0">
                    <a:pos x="110" y="79"/>
                  </a:cxn>
                  <a:cxn ang="0">
                    <a:pos x="103" y="96"/>
                  </a:cxn>
                  <a:cxn ang="0">
                    <a:pos x="109" y="107"/>
                  </a:cxn>
                  <a:cxn ang="0">
                    <a:pos x="119" y="113"/>
                  </a:cxn>
                  <a:cxn ang="0">
                    <a:pos x="134" y="121"/>
                  </a:cxn>
                  <a:cxn ang="0">
                    <a:pos x="150" y="126"/>
                  </a:cxn>
                  <a:cxn ang="0">
                    <a:pos x="149" y="135"/>
                  </a:cxn>
                  <a:cxn ang="0">
                    <a:pos x="129" y="157"/>
                  </a:cxn>
                  <a:cxn ang="0">
                    <a:pos x="120" y="169"/>
                  </a:cxn>
                  <a:cxn ang="0">
                    <a:pos x="108" y="180"/>
                  </a:cxn>
                  <a:cxn ang="0">
                    <a:pos x="90" y="182"/>
                  </a:cxn>
                  <a:cxn ang="0">
                    <a:pos x="75" y="197"/>
                  </a:cxn>
                  <a:cxn ang="0">
                    <a:pos x="68" y="194"/>
                  </a:cxn>
                  <a:cxn ang="0">
                    <a:pos x="52" y="180"/>
                  </a:cxn>
                  <a:cxn ang="0">
                    <a:pos x="46" y="173"/>
                  </a:cxn>
                  <a:cxn ang="0">
                    <a:pos x="39" y="170"/>
                  </a:cxn>
                  <a:cxn ang="0">
                    <a:pos x="42" y="158"/>
                  </a:cxn>
                  <a:cxn ang="0">
                    <a:pos x="50" y="148"/>
                  </a:cxn>
                  <a:cxn ang="0">
                    <a:pos x="46" y="122"/>
                  </a:cxn>
                  <a:cxn ang="0">
                    <a:pos x="28" y="98"/>
                  </a:cxn>
                  <a:cxn ang="0">
                    <a:pos x="14" y="90"/>
                  </a:cxn>
                  <a:cxn ang="0">
                    <a:pos x="4" y="82"/>
                  </a:cxn>
                  <a:cxn ang="0">
                    <a:pos x="0" y="78"/>
                  </a:cxn>
                  <a:cxn ang="0">
                    <a:pos x="5" y="75"/>
                  </a:cxn>
                  <a:cxn ang="0">
                    <a:pos x="9" y="73"/>
                  </a:cxn>
                  <a:cxn ang="0">
                    <a:pos x="15" y="69"/>
                  </a:cxn>
                  <a:cxn ang="0">
                    <a:pos x="17" y="63"/>
                  </a:cxn>
                  <a:cxn ang="0">
                    <a:pos x="14" y="57"/>
                  </a:cxn>
                  <a:cxn ang="0">
                    <a:pos x="18" y="50"/>
                  </a:cxn>
                  <a:cxn ang="0">
                    <a:pos x="36" y="50"/>
                  </a:cxn>
                  <a:cxn ang="0">
                    <a:pos x="39" y="47"/>
                  </a:cxn>
                  <a:cxn ang="0">
                    <a:pos x="38" y="42"/>
                  </a:cxn>
                  <a:cxn ang="0">
                    <a:pos x="34" y="40"/>
                  </a:cxn>
                  <a:cxn ang="0">
                    <a:pos x="28" y="37"/>
                  </a:cxn>
                  <a:cxn ang="0">
                    <a:pos x="23" y="35"/>
                  </a:cxn>
                  <a:cxn ang="0">
                    <a:pos x="31" y="29"/>
                  </a:cxn>
                  <a:cxn ang="0">
                    <a:pos x="28" y="28"/>
                  </a:cxn>
                  <a:cxn ang="0">
                    <a:pos x="21" y="26"/>
                  </a:cxn>
                  <a:cxn ang="0">
                    <a:pos x="23" y="23"/>
                  </a:cxn>
                  <a:cxn ang="0">
                    <a:pos x="23" y="20"/>
                  </a:cxn>
                  <a:cxn ang="0">
                    <a:pos x="22" y="17"/>
                  </a:cxn>
                  <a:cxn ang="0">
                    <a:pos x="31" y="18"/>
                  </a:cxn>
                  <a:cxn ang="0">
                    <a:pos x="54" y="18"/>
                  </a:cxn>
                  <a:cxn ang="0">
                    <a:pos x="63" y="15"/>
                  </a:cxn>
                  <a:cxn ang="0">
                    <a:pos x="69" y="13"/>
                  </a:cxn>
                  <a:cxn ang="0">
                    <a:pos x="80" y="10"/>
                  </a:cxn>
                  <a:cxn ang="0">
                    <a:pos x="88" y="12"/>
                  </a:cxn>
                  <a:cxn ang="0">
                    <a:pos x="98" y="10"/>
                  </a:cxn>
                  <a:cxn ang="0">
                    <a:pos x="100" y="5"/>
                  </a:cxn>
                  <a:cxn ang="0">
                    <a:pos x="104" y="3"/>
                  </a:cxn>
                  <a:cxn ang="0">
                    <a:pos x="109" y="1"/>
                  </a:cxn>
                  <a:cxn ang="0">
                    <a:pos x="9" y="86"/>
                  </a:cxn>
                  <a:cxn ang="0">
                    <a:pos x="11" y="85"/>
                  </a:cxn>
                </a:cxnLst>
                <a:rect l="0" t="0" r="r" b="b"/>
                <a:pathLst>
                  <a:path w="151" h="199">
                    <a:moveTo>
                      <a:pt x="109" y="0"/>
                    </a:moveTo>
                    <a:lnTo>
                      <a:pt x="112" y="0"/>
                    </a:lnTo>
                    <a:lnTo>
                      <a:pt x="114" y="0"/>
                    </a:lnTo>
                    <a:lnTo>
                      <a:pt x="116" y="0"/>
                    </a:lnTo>
                    <a:lnTo>
                      <a:pt x="118" y="0"/>
                    </a:lnTo>
                    <a:lnTo>
                      <a:pt x="118" y="1"/>
                    </a:lnTo>
                    <a:lnTo>
                      <a:pt x="118" y="1"/>
                    </a:lnTo>
                    <a:lnTo>
                      <a:pt x="119" y="2"/>
                    </a:lnTo>
                    <a:lnTo>
                      <a:pt x="119" y="2"/>
                    </a:lnTo>
                    <a:lnTo>
                      <a:pt x="119" y="3"/>
                    </a:lnTo>
                    <a:lnTo>
                      <a:pt x="119" y="4"/>
                    </a:lnTo>
                    <a:lnTo>
                      <a:pt x="119" y="5"/>
                    </a:lnTo>
                    <a:lnTo>
                      <a:pt x="119" y="6"/>
                    </a:lnTo>
                    <a:lnTo>
                      <a:pt x="119" y="7"/>
                    </a:lnTo>
                    <a:lnTo>
                      <a:pt x="119" y="8"/>
                    </a:lnTo>
                    <a:lnTo>
                      <a:pt x="119" y="9"/>
                    </a:lnTo>
                    <a:lnTo>
                      <a:pt x="119" y="11"/>
                    </a:lnTo>
                    <a:lnTo>
                      <a:pt x="119" y="12"/>
                    </a:lnTo>
                    <a:lnTo>
                      <a:pt x="119" y="12"/>
                    </a:lnTo>
                    <a:lnTo>
                      <a:pt x="119" y="13"/>
                    </a:lnTo>
                    <a:lnTo>
                      <a:pt x="120" y="14"/>
                    </a:lnTo>
                    <a:lnTo>
                      <a:pt x="120" y="15"/>
                    </a:lnTo>
                    <a:lnTo>
                      <a:pt x="120" y="15"/>
                    </a:lnTo>
                    <a:lnTo>
                      <a:pt x="120" y="16"/>
                    </a:lnTo>
                    <a:lnTo>
                      <a:pt x="121" y="16"/>
                    </a:lnTo>
                    <a:lnTo>
                      <a:pt x="121" y="17"/>
                    </a:lnTo>
                    <a:lnTo>
                      <a:pt x="121" y="17"/>
                    </a:lnTo>
                    <a:lnTo>
                      <a:pt x="121" y="18"/>
                    </a:lnTo>
                    <a:lnTo>
                      <a:pt x="121" y="18"/>
                    </a:lnTo>
                    <a:lnTo>
                      <a:pt x="121" y="19"/>
                    </a:lnTo>
                    <a:lnTo>
                      <a:pt x="121" y="19"/>
                    </a:lnTo>
                    <a:lnTo>
                      <a:pt x="121" y="20"/>
                    </a:lnTo>
                    <a:lnTo>
                      <a:pt x="120" y="20"/>
                    </a:lnTo>
                    <a:lnTo>
                      <a:pt x="120" y="21"/>
                    </a:lnTo>
                    <a:lnTo>
                      <a:pt x="120" y="21"/>
                    </a:lnTo>
                    <a:lnTo>
                      <a:pt x="119" y="21"/>
                    </a:lnTo>
                    <a:lnTo>
                      <a:pt x="119" y="21"/>
                    </a:lnTo>
                    <a:lnTo>
                      <a:pt x="118" y="21"/>
                    </a:lnTo>
                    <a:lnTo>
                      <a:pt x="118" y="22"/>
                    </a:lnTo>
                    <a:lnTo>
                      <a:pt x="117" y="22"/>
                    </a:lnTo>
                    <a:lnTo>
                      <a:pt x="117" y="22"/>
                    </a:lnTo>
                    <a:lnTo>
                      <a:pt x="116" y="22"/>
                    </a:lnTo>
                    <a:lnTo>
                      <a:pt x="117" y="22"/>
                    </a:lnTo>
                    <a:lnTo>
                      <a:pt x="117" y="23"/>
                    </a:lnTo>
                    <a:lnTo>
                      <a:pt x="118" y="24"/>
                    </a:lnTo>
                    <a:lnTo>
                      <a:pt x="118" y="24"/>
                    </a:lnTo>
                    <a:lnTo>
                      <a:pt x="119" y="25"/>
                    </a:lnTo>
                    <a:lnTo>
                      <a:pt x="119" y="26"/>
                    </a:lnTo>
                    <a:lnTo>
                      <a:pt x="120" y="27"/>
                    </a:lnTo>
                    <a:lnTo>
                      <a:pt x="120" y="28"/>
                    </a:lnTo>
                    <a:lnTo>
                      <a:pt x="121" y="28"/>
                    </a:lnTo>
                    <a:lnTo>
                      <a:pt x="121" y="29"/>
                    </a:lnTo>
                    <a:lnTo>
                      <a:pt x="121" y="29"/>
                    </a:lnTo>
                    <a:lnTo>
                      <a:pt x="121" y="30"/>
                    </a:lnTo>
                    <a:lnTo>
                      <a:pt x="121" y="30"/>
                    </a:lnTo>
                    <a:lnTo>
                      <a:pt x="121" y="30"/>
                    </a:lnTo>
                    <a:lnTo>
                      <a:pt x="121" y="31"/>
                    </a:lnTo>
                    <a:lnTo>
                      <a:pt x="121" y="31"/>
                    </a:lnTo>
                    <a:lnTo>
                      <a:pt x="121" y="31"/>
                    </a:lnTo>
                    <a:lnTo>
                      <a:pt x="120" y="32"/>
                    </a:lnTo>
                    <a:lnTo>
                      <a:pt x="120" y="32"/>
                    </a:lnTo>
                    <a:lnTo>
                      <a:pt x="119" y="32"/>
                    </a:lnTo>
                    <a:lnTo>
                      <a:pt x="119" y="33"/>
                    </a:lnTo>
                    <a:lnTo>
                      <a:pt x="118" y="33"/>
                    </a:lnTo>
                    <a:lnTo>
                      <a:pt x="118" y="33"/>
                    </a:lnTo>
                    <a:lnTo>
                      <a:pt x="118" y="34"/>
                    </a:lnTo>
                    <a:lnTo>
                      <a:pt x="118" y="34"/>
                    </a:lnTo>
                    <a:lnTo>
                      <a:pt x="118" y="35"/>
                    </a:lnTo>
                    <a:lnTo>
                      <a:pt x="119" y="35"/>
                    </a:lnTo>
                    <a:lnTo>
                      <a:pt x="119" y="35"/>
                    </a:lnTo>
                    <a:lnTo>
                      <a:pt x="119" y="35"/>
                    </a:lnTo>
                    <a:lnTo>
                      <a:pt x="120" y="36"/>
                    </a:lnTo>
                    <a:lnTo>
                      <a:pt x="121" y="36"/>
                    </a:lnTo>
                    <a:lnTo>
                      <a:pt x="122" y="36"/>
                    </a:lnTo>
                    <a:lnTo>
                      <a:pt x="122" y="36"/>
                    </a:lnTo>
                    <a:lnTo>
                      <a:pt x="123" y="37"/>
                    </a:lnTo>
                    <a:lnTo>
                      <a:pt x="123" y="37"/>
                    </a:lnTo>
                    <a:lnTo>
                      <a:pt x="123" y="38"/>
                    </a:lnTo>
                    <a:lnTo>
                      <a:pt x="123" y="38"/>
                    </a:lnTo>
                    <a:lnTo>
                      <a:pt x="123" y="39"/>
                    </a:lnTo>
                    <a:lnTo>
                      <a:pt x="122" y="40"/>
                    </a:lnTo>
                    <a:lnTo>
                      <a:pt x="122" y="42"/>
                    </a:lnTo>
                    <a:lnTo>
                      <a:pt x="121" y="44"/>
                    </a:lnTo>
                    <a:lnTo>
                      <a:pt x="121" y="45"/>
                    </a:lnTo>
                    <a:lnTo>
                      <a:pt x="121" y="45"/>
                    </a:lnTo>
                    <a:lnTo>
                      <a:pt x="120" y="46"/>
                    </a:lnTo>
                    <a:lnTo>
                      <a:pt x="120" y="47"/>
                    </a:lnTo>
                    <a:lnTo>
                      <a:pt x="119" y="48"/>
                    </a:lnTo>
                    <a:lnTo>
                      <a:pt x="119" y="48"/>
                    </a:lnTo>
                    <a:lnTo>
                      <a:pt x="118" y="48"/>
                    </a:lnTo>
                    <a:lnTo>
                      <a:pt x="117" y="48"/>
                    </a:lnTo>
                    <a:lnTo>
                      <a:pt x="117" y="48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5" y="48"/>
                    </a:lnTo>
                    <a:lnTo>
                      <a:pt x="114" y="48"/>
                    </a:lnTo>
                    <a:lnTo>
                      <a:pt x="115" y="49"/>
                    </a:lnTo>
                    <a:lnTo>
                      <a:pt x="115" y="51"/>
                    </a:lnTo>
                    <a:lnTo>
                      <a:pt x="114" y="53"/>
                    </a:lnTo>
                    <a:lnTo>
                      <a:pt x="114" y="56"/>
                    </a:lnTo>
                    <a:lnTo>
                      <a:pt x="114" y="58"/>
                    </a:lnTo>
                    <a:lnTo>
                      <a:pt x="114" y="60"/>
                    </a:lnTo>
                    <a:lnTo>
                      <a:pt x="114" y="61"/>
                    </a:lnTo>
                    <a:lnTo>
                      <a:pt x="114" y="62"/>
                    </a:lnTo>
                    <a:lnTo>
                      <a:pt x="115" y="63"/>
                    </a:lnTo>
                    <a:lnTo>
                      <a:pt x="115" y="64"/>
                    </a:lnTo>
                    <a:lnTo>
                      <a:pt x="115" y="65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8"/>
                    </a:lnTo>
                    <a:lnTo>
                      <a:pt x="115" y="70"/>
                    </a:lnTo>
                    <a:lnTo>
                      <a:pt x="115" y="72"/>
                    </a:lnTo>
                    <a:lnTo>
                      <a:pt x="114" y="74"/>
                    </a:lnTo>
                    <a:lnTo>
                      <a:pt x="113" y="75"/>
                    </a:lnTo>
                    <a:lnTo>
                      <a:pt x="112" y="77"/>
                    </a:lnTo>
                    <a:lnTo>
                      <a:pt x="111" y="78"/>
                    </a:lnTo>
                    <a:lnTo>
                      <a:pt x="110" y="79"/>
                    </a:lnTo>
                    <a:lnTo>
                      <a:pt x="109" y="81"/>
                    </a:lnTo>
                    <a:lnTo>
                      <a:pt x="108" y="82"/>
                    </a:lnTo>
                    <a:lnTo>
                      <a:pt x="107" y="83"/>
                    </a:lnTo>
                    <a:lnTo>
                      <a:pt x="106" y="84"/>
                    </a:lnTo>
                    <a:lnTo>
                      <a:pt x="105" y="85"/>
                    </a:lnTo>
                    <a:lnTo>
                      <a:pt x="104" y="86"/>
                    </a:lnTo>
                    <a:lnTo>
                      <a:pt x="101" y="88"/>
                    </a:lnTo>
                    <a:lnTo>
                      <a:pt x="101" y="89"/>
                    </a:lnTo>
                    <a:lnTo>
                      <a:pt x="102" y="90"/>
                    </a:lnTo>
                    <a:lnTo>
                      <a:pt x="102" y="91"/>
                    </a:lnTo>
                    <a:lnTo>
                      <a:pt x="102" y="92"/>
                    </a:lnTo>
                    <a:lnTo>
                      <a:pt x="103" y="94"/>
                    </a:lnTo>
                    <a:lnTo>
                      <a:pt x="103" y="96"/>
                    </a:lnTo>
                    <a:lnTo>
                      <a:pt x="103" y="98"/>
                    </a:lnTo>
                    <a:lnTo>
                      <a:pt x="103" y="100"/>
                    </a:lnTo>
                    <a:lnTo>
                      <a:pt x="103" y="102"/>
                    </a:lnTo>
                    <a:lnTo>
                      <a:pt x="103" y="105"/>
                    </a:lnTo>
                    <a:lnTo>
                      <a:pt x="103" y="105"/>
                    </a:lnTo>
                    <a:lnTo>
                      <a:pt x="103" y="106"/>
                    </a:lnTo>
                    <a:lnTo>
                      <a:pt x="104" y="106"/>
                    </a:lnTo>
                    <a:lnTo>
                      <a:pt x="104" y="107"/>
                    </a:lnTo>
                    <a:lnTo>
                      <a:pt x="105" y="107"/>
                    </a:lnTo>
                    <a:lnTo>
                      <a:pt x="106" y="107"/>
                    </a:lnTo>
                    <a:lnTo>
                      <a:pt x="107" y="107"/>
                    </a:lnTo>
                    <a:lnTo>
                      <a:pt x="108" y="107"/>
                    </a:lnTo>
                    <a:lnTo>
                      <a:pt x="109" y="107"/>
                    </a:lnTo>
                    <a:lnTo>
                      <a:pt x="111" y="106"/>
                    </a:lnTo>
                    <a:lnTo>
                      <a:pt x="112" y="106"/>
                    </a:lnTo>
                    <a:lnTo>
                      <a:pt x="113" y="106"/>
                    </a:lnTo>
                    <a:lnTo>
                      <a:pt x="114" y="106"/>
                    </a:lnTo>
                    <a:lnTo>
                      <a:pt x="114" y="106"/>
                    </a:lnTo>
                    <a:lnTo>
                      <a:pt x="115" y="108"/>
                    </a:lnTo>
                    <a:lnTo>
                      <a:pt x="115" y="109"/>
                    </a:lnTo>
                    <a:lnTo>
                      <a:pt x="116" y="109"/>
                    </a:lnTo>
                    <a:lnTo>
                      <a:pt x="116" y="110"/>
                    </a:lnTo>
                    <a:lnTo>
                      <a:pt x="117" y="111"/>
                    </a:lnTo>
                    <a:lnTo>
                      <a:pt x="117" y="112"/>
                    </a:lnTo>
                    <a:lnTo>
                      <a:pt x="118" y="113"/>
                    </a:lnTo>
                    <a:lnTo>
                      <a:pt x="119" y="113"/>
                    </a:lnTo>
                    <a:lnTo>
                      <a:pt x="120" y="114"/>
                    </a:lnTo>
                    <a:lnTo>
                      <a:pt x="121" y="114"/>
                    </a:lnTo>
                    <a:lnTo>
                      <a:pt x="122" y="115"/>
                    </a:lnTo>
                    <a:lnTo>
                      <a:pt x="123" y="115"/>
                    </a:lnTo>
                    <a:lnTo>
                      <a:pt x="125" y="115"/>
                    </a:lnTo>
                    <a:lnTo>
                      <a:pt x="126" y="115"/>
                    </a:lnTo>
                    <a:lnTo>
                      <a:pt x="128" y="115"/>
                    </a:lnTo>
                    <a:lnTo>
                      <a:pt x="129" y="115"/>
                    </a:lnTo>
                    <a:lnTo>
                      <a:pt x="130" y="116"/>
                    </a:lnTo>
                    <a:lnTo>
                      <a:pt x="131" y="117"/>
                    </a:lnTo>
                    <a:lnTo>
                      <a:pt x="132" y="118"/>
                    </a:lnTo>
                    <a:lnTo>
                      <a:pt x="132" y="119"/>
                    </a:lnTo>
                    <a:lnTo>
                      <a:pt x="134" y="121"/>
                    </a:lnTo>
                    <a:lnTo>
                      <a:pt x="136" y="123"/>
                    </a:lnTo>
                    <a:lnTo>
                      <a:pt x="139" y="123"/>
                    </a:lnTo>
                    <a:lnTo>
                      <a:pt x="141" y="123"/>
                    </a:lnTo>
                    <a:lnTo>
                      <a:pt x="143" y="123"/>
                    </a:lnTo>
                    <a:lnTo>
                      <a:pt x="144" y="123"/>
                    </a:lnTo>
                    <a:lnTo>
                      <a:pt x="145" y="123"/>
                    </a:lnTo>
                    <a:lnTo>
                      <a:pt x="146" y="123"/>
                    </a:lnTo>
                    <a:lnTo>
                      <a:pt x="147" y="124"/>
                    </a:lnTo>
                    <a:lnTo>
                      <a:pt x="148" y="124"/>
                    </a:lnTo>
                    <a:lnTo>
                      <a:pt x="148" y="124"/>
                    </a:lnTo>
                    <a:lnTo>
                      <a:pt x="149" y="125"/>
                    </a:lnTo>
                    <a:lnTo>
                      <a:pt x="150" y="125"/>
                    </a:lnTo>
                    <a:lnTo>
                      <a:pt x="150" y="126"/>
                    </a:lnTo>
                    <a:lnTo>
                      <a:pt x="151" y="126"/>
                    </a:lnTo>
                    <a:lnTo>
                      <a:pt x="151" y="127"/>
                    </a:lnTo>
                    <a:lnTo>
                      <a:pt x="151" y="128"/>
                    </a:lnTo>
                    <a:lnTo>
                      <a:pt x="151" y="129"/>
                    </a:lnTo>
                    <a:lnTo>
                      <a:pt x="151" y="129"/>
                    </a:lnTo>
                    <a:lnTo>
                      <a:pt x="151" y="130"/>
                    </a:lnTo>
                    <a:lnTo>
                      <a:pt x="151" y="130"/>
                    </a:lnTo>
                    <a:lnTo>
                      <a:pt x="150" y="131"/>
                    </a:lnTo>
                    <a:lnTo>
                      <a:pt x="150" y="132"/>
                    </a:lnTo>
                    <a:lnTo>
                      <a:pt x="149" y="133"/>
                    </a:lnTo>
                    <a:lnTo>
                      <a:pt x="149" y="133"/>
                    </a:lnTo>
                    <a:lnTo>
                      <a:pt x="149" y="134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36"/>
                    </a:lnTo>
                    <a:lnTo>
                      <a:pt x="147" y="138"/>
                    </a:lnTo>
                    <a:lnTo>
                      <a:pt x="146" y="139"/>
                    </a:lnTo>
                    <a:lnTo>
                      <a:pt x="144" y="141"/>
                    </a:lnTo>
                    <a:lnTo>
                      <a:pt x="142" y="143"/>
                    </a:lnTo>
                    <a:lnTo>
                      <a:pt x="141" y="144"/>
                    </a:lnTo>
                    <a:lnTo>
                      <a:pt x="139" y="146"/>
                    </a:lnTo>
                    <a:lnTo>
                      <a:pt x="136" y="150"/>
                    </a:lnTo>
                    <a:lnTo>
                      <a:pt x="134" y="152"/>
                    </a:lnTo>
                    <a:lnTo>
                      <a:pt x="133" y="154"/>
                    </a:lnTo>
                    <a:lnTo>
                      <a:pt x="131" y="155"/>
                    </a:lnTo>
                    <a:lnTo>
                      <a:pt x="129" y="157"/>
                    </a:lnTo>
                    <a:lnTo>
                      <a:pt x="127" y="159"/>
                    </a:lnTo>
                    <a:lnTo>
                      <a:pt x="125" y="160"/>
                    </a:lnTo>
                    <a:lnTo>
                      <a:pt x="123" y="162"/>
                    </a:lnTo>
                    <a:lnTo>
                      <a:pt x="122" y="162"/>
                    </a:lnTo>
                    <a:lnTo>
                      <a:pt x="121" y="163"/>
                    </a:lnTo>
                    <a:lnTo>
                      <a:pt x="121" y="164"/>
                    </a:lnTo>
                    <a:lnTo>
                      <a:pt x="121" y="165"/>
                    </a:lnTo>
                    <a:lnTo>
                      <a:pt x="121" y="165"/>
                    </a:lnTo>
                    <a:lnTo>
                      <a:pt x="121" y="166"/>
                    </a:lnTo>
                    <a:lnTo>
                      <a:pt x="121" y="166"/>
                    </a:lnTo>
                    <a:lnTo>
                      <a:pt x="121" y="167"/>
                    </a:lnTo>
                    <a:lnTo>
                      <a:pt x="120" y="168"/>
                    </a:lnTo>
                    <a:lnTo>
                      <a:pt x="120" y="169"/>
                    </a:lnTo>
                    <a:lnTo>
                      <a:pt x="119" y="169"/>
                    </a:lnTo>
                    <a:lnTo>
                      <a:pt x="119" y="170"/>
                    </a:lnTo>
                    <a:lnTo>
                      <a:pt x="119" y="171"/>
                    </a:lnTo>
                    <a:lnTo>
                      <a:pt x="119" y="171"/>
                    </a:lnTo>
                    <a:lnTo>
                      <a:pt x="119" y="172"/>
                    </a:lnTo>
                    <a:lnTo>
                      <a:pt x="119" y="173"/>
                    </a:lnTo>
                    <a:lnTo>
                      <a:pt x="118" y="173"/>
                    </a:lnTo>
                    <a:lnTo>
                      <a:pt x="117" y="174"/>
                    </a:lnTo>
                    <a:lnTo>
                      <a:pt x="115" y="175"/>
                    </a:lnTo>
                    <a:lnTo>
                      <a:pt x="114" y="176"/>
                    </a:lnTo>
                    <a:lnTo>
                      <a:pt x="112" y="178"/>
                    </a:lnTo>
                    <a:lnTo>
                      <a:pt x="110" y="179"/>
                    </a:lnTo>
                    <a:lnTo>
                      <a:pt x="108" y="180"/>
                    </a:lnTo>
                    <a:lnTo>
                      <a:pt x="106" y="182"/>
                    </a:lnTo>
                    <a:lnTo>
                      <a:pt x="104" y="183"/>
                    </a:lnTo>
                    <a:lnTo>
                      <a:pt x="103" y="183"/>
                    </a:lnTo>
                    <a:lnTo>
                      <a:pt x="102" y="183"/>
                    </a:lnTo>
                    <a:lnTo>
                      <a:pt x="100" y="183"/>
                    </a:lnTo>
                    <a:lnTo>
                      <a:pt x="99" y="183"/>
                    </a:lnTo>
                    <a:lnTo>
                      <a:pt x="97" y="183"/>
                    </a:lnTo>
                    <a:lnTo>
                      <a:pt x="96" y="183"/>
                    </a:lnTo>
                    <a:lnTo>
                      <a:pt x="95" y="183"/>
                    </a:lnTo>
                    <a:lnTo>
                      <a:pt x="94" y="183"/>
                    </a:lnTo>
                    <a:lnTo>
                      <a:pt x="92" y="182"/>
                    </a:lnTo>
                    <a:lnTo>
                      <a:pt x="91" y="182"/>
                    </a:lnTo>
                    <a:lnTo>
                      <a:pt x="90" y="182"/>
                    </a:lnTo>
                    <a:lnTo>
                      <a:pt x="89" y="182"/>
                    </a:lnTo>
                    <a:lnTo>
                      <a:pt x="88" y="182"/>
                    </a:lnTo>
                    <a:lnTo>
                      <a:pt x="87" y="183"/>
                    </a:lnTo>
                    <a:lnTo>
                      <a:pt x="86" y="183"/>
                    </a:lnTo>
                    <a:lnTo>
                      <a:pt x="84" y="185"/>
                    </a:lnTo>
                    <a:lnTo>
                      <a:pt x="83" y="188"/>
                    </a:lnTo>
                    <a:lnTo>
                      <a:pt x="81" y="190"/>
                    </a:lnTo>
                    <a:lnTo>
                      <a:pt x="80" y="192"/>
                    </a:lnTo>
                    <a:lnTo>
                      <a:pt x="79" y="193"/>
                    </a:lnTo>
                    <a:lnTo>
                      <a:pt x="78" y="194"/>
                    </a:lnTo>
                    <a:lnTo>
                      <a:pt x="77" y="195"/>
                    </a:lnTo>
                    <a:lnTo>
                      <a:pt x="76" y="196"/>
                    </a:lnTo>
                    <a:lnTo>
                      <a:pt x="75" y="197"/>
                    </a:lnTo>
                    <a:lnTo>
                      <a:pt x="74" y="198"/>
                    </a:lnTo>
                    <a:lnTo>
                      <a:pt x="72" y="199"/>
                    </a:lnTo>
                    <a:lnTo>
                      <a:pt x="71" y="199"/>
                    </a:lnTo>
                    <a:lnTo>
                      <a:pt x="71" y="199"/>
                    </a:lnTo>
                    <a:lnTo>
                      <a:pt x="70" y="199"/>
                    </a:lnTo>
                    <a:lnTo>
                      <a:pt x="70" y="199"/>
                    </a:lnTo>
                    <a:lnTo>
                      <a:pt x="70" y="199"/>
                    </a:lnTo>
                    <a:lnTo>
                      <a:pt x="69" y="199"/>
                    </a:lnTo>
                    <a:lnTo>
                      <a:pt x="69" y="198"/>
                    </a:lnTo>
                    <a:lnTo>
                      <a:pt x="68" y="197"/>
                    </a:lnTo>
                    <a:lnTo>
                      <a:pt x="68" y="196"/>
                    </a:lnTo>
                    <a:lnTo>
                      <a:pt x="68" y="195"/>
                    </a:lnTo>
                    <a:lnTo>
                      <a:pt x="68" y="194"/>
                    </a:lnTo>
                    <a:lnTo>
                      <a:pt x="68" y="193"/>
                    </a:lnTo>
                    <a:lnTo>
                      <a:pt x="68" y="191"/>
                    </a:lnTo>
                    <a:lnTo>
                      <a:pt x="67" y="190"/>
                    </a:lnTo>
                    <a:lnTo>
                      <a:pt x="65" y="189"/>
                    </a:lnTo>
                    <a:lnTo>
                      <a:pt x="64" y="188"/>
                    </a:lnTo>
                    <a:lnTo>
                      <a:pt x="62" y="187"/>
                    </a:lnTo>
                    <a:lnTo>
                      <a:pt x="59" y="186"/>
                    </a:lnTo>
                    <a:lnTo>
                      <a:pt x="58" y="185"/>
                    </a:lnTo>
                    <a:lnTo>
                      <a:pt x="57" y="184"/>
                    </a:lnTo>
                    <a:lnTo>
                      <a:pt x="55" y="183"/>
                    </a:lnTo>
                    <a:lnTo>
                      <a:pt x="54" y="182"/>
                    </a:lnTo>
                    <a:lnTo>
                      <a:pt x="53" y="181"/>
                    </a:lnTo>
                    <a:lnTo>
                      <a:pt x="52" y="180"/>
                    </a:lnTo>
                    <a:lnTo>
                      <a:pt x="51" y="179"/>
                    </a:lnTo>
                    <a:lnTo>
                      <a:pt x="51" y="178"/>
                    </a:lnTo>
                    <a:lnTo>
                      <a:pt x="50" y="178"/>
                    </a:lnTo>
                    <a:lnTo>
                      <a:pt x="50" y="177"/>
                    </a:lnTo>
                    <a:lnTo>
                      <a:pt x="50" y="176"/>
                    </a:lnTo>
                    <a:lnTo>
                      <a:pt x="50" y="175"/>
                    </a:lnTo>
                    <a:lnTo>
                      <a:pt x="50" y="174"/>
                    </a:lnTo>
                    <a:lnTo>
                      <a:pt x="49" y="173"/>
                    </a:lnTo>
                    <a:lnTo>
                      <a:pt x="49" y="173"/>
                    </a:lnTo>
                    <a:lnTo>
                      <a:pt x="48" y="173"/>
                    </a:lnTo>
                    <a:lnTo>
                      <a:pt x="47" y="173"/>
                    </a:lnTo>
                    <a:lnTo>
                      <a:pt x="46" y="173"/>
                    </a:lnTo>
                    <a:lnTo>
                      <a:pt x="46" y="173"/>
                    </a:lnTo>
                    <a:lnTo>
                      <a:pt x="45" y="173"/>
                    </a:lnTo>
                    <a:lnTo>
                      <a:pt x="45" y="174"/>
                    </a:lnTo>
                    <a:lnTo>
                      <a:pt x="44" y="174"/>
                    </a:lnTo>
                    <a:lnTo>
                      <a:pt x="43" y="174"/>
                    </a:lnTo>
                    <a:lnTo>
                      <a:pt x="43" y="174"/>
                    </a:lnTo>
                    <a:lnTo>
                      <a:pt x="43" y="173"/>
                    </a:lnTo>
                    <a:lnTo>
                      <a:pt x="42" y="173"/>
                    </a:lnTo>
                    <a:lnTo>
                      <a:pt x="42" y="173"/>
                    </a:lnTo>
                    <a:lnTo>
                      <a:pt x="41" y="173"/>
                    </a:lnTo>
                    <a:lnTo>
                      <a:pt x="41" y="172"/>
                    </a:lnTo>
                    <a:lnTo>
                      <a:pt x="40" y="172"/>
                    </a:lnTo>
                    <a:lnTo>
                      <a:pt x="39" y="171"/>
                    </a:lnTo>
                    <a:lnTo>
                      <a:pt x="39" y="170"/>
                    </a:lnTo>
                    <a:lnTo>
                      <a:pt x="39" y="169"/>
                    </a:lnTo>
                    <a:lnTo>
                      <a:pt x="39" y="168"/>
                    </a:lnTo>
                    <a:lnTo>
                      <a:pt x="39" y="167"/>
                    </a:lnTo>
                    <a:lnTo>
                      <a:pt x="39" y="167"/>
                    </a:lnTo>
                    <a:lnTo>
                      <a:pt x="40" y="166"/>
                    </a:lnTo>
                    <a:lnTo>
                      <a:pt x="40" y="164"/>
                    </a:lnTo>
                    <a:lnTo>
                      <a:pt x="40" y="163"/>
                    </a:lnTo>
                    <a:lnTo>
                      <a:pt x="41" y="161"/>
                    </a:lnTo>
                    <a:lnTo>
                      <a:pt x="41" y="161"/>
                    </a:lnTo>
                    <a:lnTo>
                      <a:pt x="41" y="160"/>
                    </a:lnTo>
                    <a:lnTo>
                      <a:pt x="41" y="159"/>
                    </a:lnTo>
                    <a:lnTo>
                      <a:pt x="41" y="158"/>
                    </a:lnTo>
                    <a:lnTo>
                      <a:pt x="42" y="158"/>
                    </a:lnTo>
                    <a:lnTo>
                      <a:pt x="42" y="158"/>
                    </a:lnTo>
                    <a:lnTo>
                      <a:pt x="43" y="158"/>
                    </a:lnTo>
                    <a:lnTo>
                      <a:pt x="43" y="157"/>
                    </a:lnTo>
                    <a:lnTo>
                      <a:pt x="45" y="157"/>
                    </a:lnTo>
                    <a:lnTo>
                      <a:pt x="45" y="156"/>
                    </a:lnTo>
                    <a:lnTo>
                      <a:pt x="46" y="156"/>
                    </a:lnTo>
                    <a:lnTo>
                      <a:pt x="47" y="155"/>
                    </a:lnTo>
                    <a:lnTo>
                      <a:pt x="47" y="154"/>
                    </a:lnTo>
                    <a:lnTo>
                      <a:pt x="48" y="153"/>
                    </a:lnTo>
                    <a:lnTo>
                      <a:pt x="49" y="151"/>
                    </a:lnTo>
                    <a:lnTo>
                      <a:pt x="49" y="150"/>
                    </a:lnTo>
                    <a:lnTo>
                      <a:pt x="50" y="149"/>
                    </a:lnTo>
                    <a:lnTo>
                      <a:pt x="50" y="148"/>
                    </a:lnTo>
                    <a:lnTo>
                      <a:pt x="51" y="147"/>
                    </a:lnTo>
                    <a:lnTo>
                      <a:pt x="52" y="147"/>
                    </a:lnTo>
                    <a:lnTo>
                      <a:pt x="53" y="146"/>
                    </a:lnTo>
                    <a:lnTo>
                      <a:pt x="52" y="144"/>
                    </a:lnTo>
                    <a:lnTo>
                      <a:pt x="52" y="142"/>
                    </a:lnTo>
                    <a:lnTo>
                      <a:pt x="51" y="140"/>
                    </a:lnTo>
                    <a:lnTo>
                      <a:pt x="51" y="138"/>
                    </a:lnTo>
                    <a:lnTo>
                      <a:pt x="50" y="136"/>
                    </a:lnTo>
                    <a:lnTo>
                      <a:pt x="50" y="134"/>
                    </a:lnTo>
                    <a:lnTo>
                      <a:pt x="48" y="130"/>
                    </a:lnTo>
                    <a:lnTo>
                      <a:pt x="47" y="126"/>
                    </a:lnTo>
                    <a:lnTo>
                      <a:pt x="46" y="124"/>
                    </a:lnTo>
                    <a:lnTo>
                      <a:pt x="46" y="122"/>
                    </a:lnTo>
                    <a:lnTo>
                      <a:pt x="45" y="120"/>
                    </a:lnTo>
                    <a:lnTo>
                      <a:pt x="45" y="118"/>
                    </a:lnTo>
                    <a:lnTo>
                      <a:pt x="45" y="115"/>
                    </a:lnTo>
                    <a:lnTo>
                      <a:pt x="45" y="113"/>
                    </a:lnTo>
                    <a:lnTo>
                      <a:pt x="43" y="111"/>
                    </a:lnTo>
                    <a:lnTo>
                      <a:pt x="42" y="109"/>
                    </a:lnTo>
                    <a:lnTo>
                      <a:pt x="40" y="107"/>
                    </a:lnTo>
                    <a:lnTo>
                      <a:pt x="39" y="105"/>
                    </a:lnTo>
                    <a:lnTo>
                      <a:pt x="36" y="102"/>
                    </a:lnTo>
                    <a:lnTo>
                      <a:pt x="33" y="98"/>
                    </a:lnTo>
                    <a:lnTo>
                      <a:pt x="31" y="98"/>
                    </a:lnTo>
                    <a:lnTo>
                      <a:pt x="29" y="98"/>
                    </a:lnTo>
                    <a:lnTo>
                      <a:pt x="28" y="98"/>
                    </a:lnTo>
                    <a:lnTo>
                      <a:pt x="26" y="98"/>
                    </a:lnTo>
                    <a:lnTo>
                      <a:pt x="26" y="97"/>
                    </a:lnTo>
                    <a:lnTo>
                      <a:pt x="25" y="97"/>
                    </a:lnTo>
                    <a:lnTo>
                      <a:pt x="24" y="96"/>
                    </a:lnTo>
                    <a:lnTo>
                      <a:pt x="22" y="95"/>
                    </a:lnTo>
                    <a:lnTo>
                      <a:pt x="21" y="94"/>
                    </a:lnTo>
                    <a:lnTo>
                      <a:pt x="19" y="94"/>
                    </a:lnTo>
                    <a:lnTo>
                      <a:pt x="18" y="93"/>
                    </a:lnTo>
                    <a:lnTo>
                      <a:pt x="16" y="92"/>
                    </a:lnTo>
                    <a:lnTo>
                      <a:pt x="15" y="91"/>
                    </a:lnTo>
                    <a:lnTo>
                      <a:pt x="14" y="91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3" y="89"/>
                    </a:lnTo>
                    <a:lnTo>
                      <a:pt x="13" y="89"/>
                    </a:lnTo>
                    <a:lnTo>
                      <a:pt x="12" y="89"/>
                    </a:lnTo>
                    <a:lnTo>
                      <a:pt x="11" y="88"/>
                    </a:lnTo>
                    <a:lnTo>
                      <a:pt x="9" y="88"/>
                    </a:lnTo>
                    <a:lnTo>
                      <a:pt x="8" y="88"/>
                    </a:lnTo>
                    <a:lnTo>
                      <a:pt x="6" y="88"/>
                    </a:lnTo>
                    <a:lnTo>
                      <a:pt x="5" y="88"/>
                    </a:lnTo>
                    <a:lnTo>
                      <a:pt x="5" y="83"/>
                    </a:lnTo>
                    <a:lnTo>
                      <a:pt x="5" y="83"/>
                    </a:lnTo>
                    <a:lnTo>
                      <a:pt x="5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3" y="82"/>
                    </a:lnTo>
                    <a:lnTo>
                      <a:pt x="3" y="82"/>
                    </a:lnTo>
                    <a:lnTo>
                      <a:pt x="2" y="81"/>
                    </a:lnTo>
                    <a:lnTo>
                      <a:pt x="2" y="81"/>
                    </a:lnTo>
                    <a:lnTo>
                      <a:pt x="1" y="81"/>
                    </a:lnTo>
                    <a:lnTo>
                      <a:pt x="1" y="81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9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1" y="78"/>
                    </a:lnTo>
                    <a:lnTo>
                      <a:pt x="1" y="77"/>
                    </a:lnTo>
                    <a:lnTo>
                      <a:pt x="2" y="77"/>
                    </a:lnTo>
                    <a:lnTo>
                      <a:pt x="2" y="77"/>
                    </a:lnTo>
                    <a:lnTo>
                      <a:pt x="3" y="76"/>
                    </a:lnTo>
                    <a:lnTo>
                      <a:pt x="3" y="77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5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6" y="75"/>
                    </a:lnTo>
                    <a:lnTo>
                      <a:pt x="7" y="75"/>
                    </a:lnTo>
                    <a:lnTo>
                      <a:pt x="8" y="75"/>
                    </a:lnTo>
                    <a:lnTo>
                      <a:pt x="8" y="75"/>
                    </a:lnTo>
                    <a:lnTo>
                      <a:pt x="9" y="75"/>
                    </a:lnTo>
                    <a:lnTo>
                      <a:pt x="9" y="75"/>
                    </a:lnTo>
                    <a:lnTo>
                      <a:pt x="9" y="74"/>
                    </a:lnTo>
                    <a:lnTo>
                      <a:pt x="9" y="74"/>
                    </a:lnTo>
                    <a:lnTo>
                      <a:pt x="9" y="74"/>
                    </a:lnTo>
                    <a:lnTo>
                      <a:pt x="9" y="73"/>
                    </a:lnTo>
                    <a:lnTo>
                      <a:pt x="9" y="73"/>
                    </a:lnTo>
                    <a:lnTo>
                      <a:pt x="10" y="73"/>
                    </a:lnTo>
                    <a:lnTo>
                      <a:pt x="10" y="73"/>
                    </a:lnTo>
                    <a:lnTo>
                      <a:pt x="11" y="73"/>
                    </a:lnTo>
                    <a:lnTo>
                      <a:pt x="11" y="73"/>
                    </a:lnTo>
                    <a:lnTo>
                      <a:pt x="12" y="73"/>
                    </a:lnTo>
                    <a:lnTo>
                      <a:pt x="12" y="73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4" y="72"/>
                    </a:lnTo>
                    <a:lnTo>
                      <a:pt x="14" y="71"/>
                    </a:lnTo>
                    <a:lnTo>
                      <a:pt x="14" y="70"/>
                    </a:lnTo>
                    <a:lnTo>
                      <a:pt x="15" y="70"/>
                    </a:lnTo>
                    <a:lnTo>
                      <a:pt x="15" y="69"/>
                    </a:lnTo>
                    <a:lnTo>
                      <a:pt x="16" y="69"/>
                    </a:lnTo>
                    <a:lnTo>
                      <a:pt x="16" y="69"/>
                    </a:lnTo>
                    <a:lnTo>
                      <a:pt x="17" y="68"/>
                    </a:lnTo>
                    <a:lnTo>
                      <a:pt x="17" y="67"/>
                    </a:lnTo>
                    <a:lnTo>
                      <a:pt x="18" y="67"/>
                    </a:lnTo>
                    <a:lnTo>
                      <a:pt x="18" y="66"/>
                    </a:lnTo>
                    <a:lnTo>
                      <a:pt x="18" y="65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7" y="64"/>
                    </a:lnTo>
                    <a:lnTo>
                      <a:pt x="17" y="63"/>
                    </a:lnTo>
                    <a:lnTo>
                      <a:pt x="17" y="63"/>
                    </a:lnTo>
                    <a:lnTo>
                      <a:pt x="16" y="63"/>
                    </a:lnTo>
                    <a:lnTo>
                      <a:pt x="16" y="63"/>
                    </a:lnTo>
                    <a:lnTo>
                      <a:pt x="16" y="62"/>
                    </a:lnTo>
                    <a:lnTo>
                      <a:pt x="16" y="62"/>
                    </a:lnTo>
                    <a:lnTo>
                      <a:pt x="16" y="61"/>
                    </a:lnTo>
                    <a:lnTo>
                      <a:pt x="16" y="60"/>
                    </a:lnTo>
                    <a:lnTo>
                      <a:pt x="15" y="60"/>
                    </a:lnTo>
                    <a:lnTo>
                      <a:pt x="15" y="59"/>
                    </a:lnTo>
                    <a:lnTo>
                      <a:pt x="15" y="58"/>
                    </a:lnTo>
                    <a:lnTo>
                      <a:pt x="15" y="58"/>
                    </a:lnTo>
                    <a:lnTo>
                      <a:pt x="15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3" y="56"/>
                    </a:lnTo>
                    <a:lnTo>
                      <a:pt x="13" y="56"/>
                    </a:lnTo>
                    <a:lnTo>
                      <a:pt x="13" y="56"/>
                    </a:lnTo>
                    <a:lnTo>
                      <a:pt x="13" y="55"/>
                    </a:lnTo>
                    <a:lnTo>
                      <a:pt x="14" y="55"/>
                    </a:lnTo>
                    <a:lnTo>
                      <a:pt x="14" y="54"/>
                    </a:lnTo>
                    <a:lnTo>
                      <a:pt x="15" y="53"/>
                    </a:lnTo>
                    <a:lnTo>
                      <a:pt x="16" y="52"/>
                    </a:lnTo>
                    <a:lnTo>
                      <a:pt x="17" y="51"/>
                    </a:lnTo>
                    <a:lnTo>
                      <a:pt x="18" y="51"/>
                    </a:lnTo>
                    <a:lnTo>
                      <a:pt x="18" y="50"/>
                    </a:lnTo>
                    <a:lnTo>
                      <a:pt x="19" y="50"/>
                    </a:lnTo>
                    <a:lnTo>
                      <a:pt x="19" y="49"/>
                    </a:lnTo>
                    <a:lnTo>
                      <a:pt x="19" y="48"/>
                    </a:lnTo>
                    <a:lnTo>
                      <a:pt x="25" y="48"/>
                    </a:lnTo>
                    <a:lnTo>
                      <a:pt x="24" y="49"/>
                    </a:lnTo>
                    <a:lnTo>
                      <a:pt x="24" y="49"/>
                    </a:lnTo>
                    <a:lnTo>
                      <a:pt x="25" y="49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6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8" y="49"/>
                    </a:lnTo>
                    <a:lnTo>
                      <a:pt x="38" y="49"/>
                    </a:lnTo>
                    <a:lnTo>
                      <a:pt x="38" y="49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9" y="48"/>
                    </a:lnTo>
                    <a:lnTo>
                      <a:pt x="39" y="48"/>
                    </a:lnTo>
                    <a:lnTo>
                      <a:pt x="39" y="47"/>
                    </a:lnTo>
                    <a:lnTo>
                      <a:pt x="39" y="47"/>
                    </a:lnTo>
                    <a:lnTo>
                      <a:pt x="39" y="46"/>
                    </a:lnTo>
                    <a:lnTo>
                      <a:pt x="39" y="45"/>
                    </a:lnTo>
                    <a:lnTo>
                      <a:pt x="39" y="44"/>
                    </a:lnTo>
                    <a:lnTo>
                      <a:pt x="39" y="43"/>
                    </a:lnTo>
                    <a:lnTo>
                      <a:pt x="40" y="43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6" y="42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34" y="40"/>
                    </a:lnTo>
                    <a:lnTo>
                      <a:pt x="33" y="40"/>
                    </a:lnTo>
                    <a:lnTo>
                      <a:pt x="33" y="40"/>
                    </a:lnTo>
                    <a:lnTo>
                      <a:pt x="32" y="40"/>
                    </a:lnTo>
                    <a:lnTo>
                      <a:pt x="32" y="39"/>
                    </a:lnTo>
                    <a:lnTo>
                      <a:pt x="31" y="39"/>
                    </a:lnTo>
                    <a:lnTo>
                      <a:pt x="30" y="39"/>
                    </a:lnTo>
                    <a:lnTo>
                      <a:pt x="30" y="38"/>
                    </a:lnTo>
                    <a:lnTo>
                      <a:pt x="29" y="38"/>
                    </a:lnTo>
                    <a:lnTo>
                      <a:pt x="29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7"/>
                    </a:lnTo>
                    <a:lnTo>
                      <a:pt x="28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26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3" y="36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4" y="35"/>
                    </a:lnTo>
                    <a:lnTo>
                      <a:pt x="26" y="34"/>
                    </a:lnTo>
                    <a:lnTo>
                      <a:pt x="27" y="34"/>
                    </a:lnTo>
                    <a:lnTo>
                      <a:pt x="28" y="33"/>
                    </a:lnTo>
                    <a:lnTo>
                      <a:pt x="29" y="33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1" y="31"/>
                    </a:lnTo>
                    <a:lnTo>
                      <a:pt x="31" y="30"/>
                    </a:lnTo>
                    <a:lnTo>
                      <a:pt x="31" y="30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6" y="27"/>
                    </a:lnTo>
                    <a:lnTo>
                      <a:pt x="25" y="27"/>
                    </a:lnTo>
                    <a:lnTo>
                      <a:pt x="24" y="27"/>
                    </a:lnTo>
                    <a:lnTo>
                      <a:pt x="24" y="27"/>
                    </a:lnTo>
                    <a:lnTo>
                      <a:pt x="23" y="27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22" y="26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1" y="25"/>
                    </a:lnTo>
                    <a:lnTo>
                      <a:pt x="21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3" y="25"/>
                    </a:lnTo>
                    <a:lnTo>
                      <a:pt x="23" y="24"/>
                    </a:lnTo>
                    <a:lnTo>
                      <a:pt x="23" y="24"/>
                    </a:lnTo>
                    <a:lnTo>
                      <a:pt x="23" y="24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3" y="21"/>
                    </a:lnTo>
                    <a:lnTo>
                      <a:pt x="23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19"/>
                    </a:lnTo>
                    <a:lnTo>
                      <a:pt x="23" y="19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3" y="17"/>
                    </a:lnTo>
                    <a:lnTo>
                      <a:pt x="28" y="17"/>
                    </a:lnTo>
                    <a:lnTo>
                      <a:pt x="28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5" y="18"/>
                    </a:lnTo>
                    <a:lnTo>
                      <a:pt x="39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9" y="18"/>
                    </a:lnTo>
                    <a:lnTo>
                      <a:pt x="50" y="18"/>
                    </a:lnTo>
                    <a:lnTo>
                      <a:pt x="51" y="18"/>
                    </a:lnTo>
                    <a:lnTo>
                      <a:pt x="52" y="18"/>
                    </a:lnTo>
                    <a:lnTo>
                      <a:pt x="53" y="18"/>
                    </a:lnTo>
                    <a:lnTo>
                      <a:pt x="53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56" y="17"/>
                    </a:lnTo>
                    <a:lnTo>
                      <a:pt x="56" y="17"/>
                    </a:lnTo>
                    <a:lnTo>
                      <a:pt x="57" y="17"/>
                    </a:lnTo>
                    <a:lnTo>
                      <a:pt x="58" y="17"/>
                    </a:lnTo>
                    <a:lnTo>
                      <a:pt x="59" y="17"/>
                    </a:lnTo>
                    <a:lnTo>
                      <a:pt x="59" y="16"/>
                    </a:lnTo>
                    <a:lnTo>
                      <a:pt x="60" y="16"/>
                    </a:lnTo>
                    <a:lnTo>
                      <a:pt x="62" y="15"/>
                    </a:lnTo>
                    <a:lnTo>
                      <a:pt x="62" y="15"/>
                    </a:lnTo>
                    <a:lnTo>
                      <a:pt x="63" y="15"/>
                    </a:lnTo>
                    <a:lnTo>
                      <a:pt x="63" y="15"/>
                    </a:lnTo>
                    <a:lnTo>
                      <a:pt x="64" y="15"/>
                    </a:lnTo>
                    <a:lnTo>
                      <a:pt x="65" y="15"/>
                    </a:lnTo>
                    <a:lnTo>
                      <a:pt x="66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9" y="13"/>
                    </a:lnTo>
                    <a:lnTo>
                      <a:pt x="69" y="14"/>
                    </a:lnTo>
                    <a:lnTo>
                      <a:pt x="70" y="14"/>
                    </a:lnTo>
                    <a:lnTo>
                      <a:pt x="71" y="14"/>
                    </a:lnTo>
                    <a:lnTo>
                      <a:pt x="72" y="13"/>
                    </a:lnTo>
                    <a:lnTo>
                      <a:pt x="73" y="13"/>
                    </a:lnTo>
                    <a:lnTo>
                      <a:pt x="74" y="13"/>
                    </a:lnTo>
                    <a:lnTo>
                      <a:pt x="75" y="12"/>
                    </a:lnTo>
                    <a:lnTo>
                      <a:pt x="75" y="12"/>
                    </a:lnTo>
                    <a:lnTo>
                      <a:pt x="77" y="11"/>
                    </a:lnTo>
                    <a:lnTo>
                      <a:pt x="78" y="11"/>
                    </a:lnTo>
                    <a:lnTo>
                      <a:pt x="79" y="10"/>
                    </a:lnTo>
                    <a:lnTo>
                      <a:pt x="79" y="10"/>
                    </a:lnTo>
                    <a:lnTo>
                      <a:pt x="80" y="10"/>
                    </a:lnTo>
                    <a:lnTo>
                      <a:pt x="82" y="10"/>
                    </a:lnTo>
                    <a:lnTo>
                      <a:pt x="83" y="10"/>
                    </a:lnTo>
                    <a:lnTo>
                      <a:pt x="83" y="10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5" y="12"/>
                    </a:lnTo>
                    <a:lnTo>
                      <a:pt x="86" y="12"/>
                    </a:lnTo>
                    <a:lnTo>
                      <a:pt x="87" y="12"/>
                    </a:lnTo>
                    <a:lnTo>
                      <a:pt x="88" y="12"/>
                    </a:lnTo>
                    <a:lnTo>
                      <a:pt x="90" y="12"/>
                    </a:lnTo>
                    <a:lnTo>
                      <a:pt x="92" y="12"/>
                    </a:lnTo>
                    <a:lnTo>
                      <a:pt x="94" y="12"/>
                    </a:lnTo>
                    <a:lnTo>
                      <a:pt x="96" y="12"/>
                    </a:lnTo>
                    <a:lnTo>
                      <a:pt x="97" y="12"/>
                    </a:lnTo>
                    <a:lnTo>
                      <a:pt x="97" y="12"/>
                    </a:lnTo>
                    <a:lnTo>
                      <a:pt x="97" y="12"/>
                    </a:lnTo>
                    <a:lnTo>
                      <a:pt x="97" y="11"/>
                    </a:lnTo>
                    <a:lnTo>
                      <a:pt x="98" y="11"/>
                    </a:lnTo>
                    <a:lnTo>
                      <a:pt x="98" y="11"/>
                    </a:lnTo>
                    <a:lnTo>
                      <a:pt x="98" y="10"/>
                    </a:lnTo>
                    <a:lnTo>
                      <a:pt x="98" y="10"/>
                    </a:lnTo>
                    <a:lnTo>
                      <a:pt x="98" y="10"/>
                    </a:lnTo>
                    <a:lnTo>
                      <a:pt x="99" y="10"/>
                    </a:lnTo>
                    <a:lnTo>
                      <a:pt x="99" y="10"/>
                    </a:lnTo>
                    <a:lnTo>
                      <a:pt x="99" y="10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8"/>
                    </a:lnTo>
                    <a:lnTo>
                      <a:pt x="99" y="7"/>
                    </a:lnTo>
                    <a:lnTo>
                      <a:pt x="99" y="7"/>
                    </a:lnTo>
                    <a:lnTo>
                      <a:pt x="99" y="6"/>
                    </a:lnTo>
                    <a:lnTo>
                      <a:pt x="99" y="5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1" y="4"/>
                    </a:lnTo>
                    <a:lnTo>
                      <a:pt x="101" y="4"/>
                    </a:lnTo>
                    <a:lnTo>
                      <a:pt x="101" y="4"/>
                    </a:lnTo>
                    <a:lnTo>
                      <a:pt x="101" y="3"/>
                    </a:lnTo>
                    <a:lnTo>
                      <a:pt x="102" y="3"/>
                    </a:lnTo>
                    <a:lnTo>
                      <a:pt x="102" y="3"/>
                    </a:lnTo>
                    <a:lnTo>
                      <a:pt x="102" y="3"/>
                    </a:lnTo>
                    <a:lnTo>
                      <a:pt x="103" y="3"/>
                    </a:lnTo>
                    <a:lnTo>
                      <a:pt x="103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5" y="2"/>
                    </a:lnTo>
                    <a:lnTo>
                      <a:pt x="106" y="2"/>
                    </a:lnTo>
                    <a:lnTo>
                      <a:pt x="107" y="2"/>
                    </a:lnTo>
                    <a:lnTo>
                      <a:pt x="108" y="2"/>
                    </a:lnTo>
                    <a:lnTo>
                      <a:pt x="108" y="2"/>
                    </a:lnTo>
                    <a:lnTo>
                      <a:pt x="108" y="2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0"/>
                    </a:lnTo>
                    <a:lnTo>
                      <a:pt x="109" y="0"/>
                    </a:lnTo>
                    <a:lnTo>
                      <a:pt x="109" y="0"/>
                    </a:lnTo>
                    <a:moveTo>
                      <a:pt x="11" y="85"/>
                    </a:moveTo>
                    <a:lnTo>
                      <a:pt x="11" y="85"/>
                    </a:lnTo>
                    <a:lnTo>
                      <a:pt x="11" y="85"/>
                    </a:lnTo>
                    <a:lnTo>
                      <a:pt x="10" y="85"/>
                    </a:lnTo>
                    <a:lnTo>
                      <a:pt x="10" y="85"/>
                    </a:lnTo>
                    <a:lnTo>
                      <a:pt x="9" y="85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10" y="87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1" y="86"/>
                    </a:lnTo>
                    <a:lnTo>
                      <a:pt x="11" y="86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rgbClr val="356D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schemeClr val="tx1"/>
                  </a:solidFill>
                  <a:effectLst>
                    <a:glow rad="127000">
                      <a:schemeClr val="accent1"/>
                    </a:glow>
                  </a:effectLst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" name="Freeform 4"/>
              <p:cNvSpPr>
                <a:spLocks/>
              </p:cNvSpPr>
              <p:nvPr/>
            </p:nvSpPr>
            <p:spPr bwMode="auto">
              <a:xfrm>
                <a:off x="4132842" y="1866234"/>
                <a:ext cx="1648332" cy="1206830"/>
              </a:xfrm>
              <a:custGeom>
                <a:avLst/>
                <a:gdLst/>
                <a:ahLst/>
                <a:cxnLst>
                  <a:cxn ang="0">
                    <a:pos x="81" y="1"/>
                  </a:cxn>
                  <a:cxn ang="0">
                    <a:pos x="88" y="6"/>
                  </a:cxn>
                  <a:cxn ang="0">
                    <a:pos x="92" y="10"/>
                  </a:cxn>
                  <a:cxn ang="0">
                    <a:pos x="93" y="9"/>
                  </a:cxn>
                  <a:cxn ang="0">
                    <a:pos x="113" y="11"/>
                  </a:cxn>
                  <a:cxn ang="0">
                    <a:pos x="118" y="15"/>
                  </a:cxn>
                  <a:cxn ang="0">
                    <a:pos x="123" y="21"/>
                  </a:cxn>
                  <a:cxn ang="0">
                    <a:pos x="128" y="19"/>
                  </a:cxn>
                  <a:cxn ang="0">
                    <a:pos x="136" y="19"/>
                  </a:cxn>
                  <a:cxn ang="0">
                    <a:pos x="143" y="24"/>
                  </a:cxn>
                  <a:cxn ang="0">
                    <a:pos x="152" y="25"/>
                  </a:cxn>
                  <a:cxn ang="0">
                    <a:pos x="157" y="27"/>
                  </a:cxn>
                  <a:cxn ang="0">
                    <a:pos x="163" y="33"/>
                  </a:cxn>
                  <a:cxn ang="0">
                    <a:pos x="165" y="42"/>
                  </a:cxn>
                  <a:cxn ang="0">
                    <a:pos x="163" y="52"/>
                  </a:cxn>
                  <a:cxn ang="0">
                    <a:pos x="162" y="61"/>
                  </a:cxn>
                  <a:cxn ang="0">
                    <a:pos x="160" y="66"/>
                  </a:cxn>
                  <a:cxn ang="0">
                    <a:pos x="159" y="69"/>
                  </a:cxn>
                  <a:cxn ang="0">
                    <a:pos x="162" y="74"/>
                  </a:cxn>
                  <a:cxn ang="0">
                    <a:pos x="153" y="80"/>
                  </a:cxn>
                  <a:cxn ang="0">
                    <a:pos x="142" y="89"/>
                  </a:cxn>
                  <a:cxn ang="0">
                    <a:pos x="137" y="93"/>
                  </a:cxn>
                  <a:cxn ang="0">
                    <a:pos x="132" y="96"/>
                  </a:cxn>
                  <a:cxn ang="0">
                    <a:pos x="129" y="101"/>
                  </a:cxn>
                  <a:cxn ang="0">
                    <a:pos x="122" y="102"/>
                  </a:cxn>
                  <a:cxn ang="0">
                    <a:pos x="118" y="99"/>
                  </a:cxn>
                  <a:cxn ang="0">
                    <a:pos x="116" y="95"/>
                  </a:cxn>
                  <a:cxn ang="0">
                    <a:pos x="109" y="97"/>
                  </a:cxn>
                  <a:cxn ang="0">
                    <a:pos x="104" y="103"/>
                  </a:cxn>
                  <a:cxn ang="0">
                    <a:pos x="100" y="112"/>
                  </a:cxn>
                  <a:cxn ang="0">
                    <a:pos x="87" y="111"/>
                  </a:cxn>
                  <a:cxn ang="0">
                    <a:pos x="78" y="109"/>
                  </a:cxn>
                  <a:cxn ang="0">
                    <a:pos x="75" y="104"/>
                  </a:cxn>
                  <a:cxn ang="0">
                    <a:pos x="71" y="102"/>
                  </a:cxn>
                  <a:cxn ang="0">
                    <a:pos x="64" y="98"/>
                  </a:cxn>
                  <a:cxn ang="0">
                    <a:pos x="58" y="96"/>
                  </a:cxn>
                  <a:cxn ang="0">
                    <a:pos x="52" y="100"/>
                  </a:cxn>
                  <a:cxn ang="0">
                    <a:pos x="46" y="98"/>
                  </a:cxn>
                  <a:cxn ang="0">
                    <a:pos x="33" y="95"/>
                  </a:cxn>
                  <a:cxn ang="0">
                    <a:pos x="24" y="89"/>
                  </a:cxn>
                  <a:cxn ang="0">
                    <a:pos x="16" y="85"/>
                  </a:cxn>
                  <a:cxn ang="0">
                    <a:pos x="11" y="80"/>
                  </a:cxn>
                  <a:cxn ang="0">
                    <a:pos x="3" y="80"/>
                  </a:cxn>
                  <a:cxn ang="0">
                    <a:pos x="1" y="68"/>
                  </a:cxn>
                  <a:cxn ang="0">
                    <a:pos x="5" y="58"/>
                  </a:cxn>
                  <a:cxn ang="0">
                    <a:pos x="13" y="48"/>
                  </a:cxn>
                  <a:cxn ang="0">
                    <a:pos x="19" y="41"/>
                  </a:cxn>
                  <a:cxn ang="0">
                    <a:pos x="27" y="40"/>
                  </a:cxn>
                  <a:cxn ang="0">
                    <a:pos x="35" y="37"/>
                  </a:cxn>
                  <a:cxn ang="0">
                    <a:pos x="44" y="36"/>
                  </a:cxn>
                  <a:cxn ang="0">
                    <a:pos x="56" y="27"/>
                  </a:cxn>
                  <a:cxn ang="0">
                    <a:pos x="59" y="24"/>
                  </a:cxn>
                  <a:cxn ang="0">
                    <a:pos x="58" y="21"/>
                  </a:cxn>
                  <a:cxn ang="0">
                    <a:pos x="55" y="15"/>
                  </a:cxn>
                  <a:cxn ang="0">
                    <a:pos x="55" y="11"/>
                  </a:cxn>
                  <a:cxn ang="0">
                    <a:pos x="58" y="4"/>
                  </a:cxn>
                  <a:cxn ang="0">
                    <a:pos x="67" y="2"/>
                  </a:cxn>
                  <a:cxn ang="0">
                    <a:pos x="75" y="2"/>
                  </a:cxn>
                </a:cxnLst>
                <a:rect l="0" t="0" r="r" b="b"/>
                <a:pathLst>
                  <a:path w="166" h="112">
                    <a:moveTo>
                      <a:pt x="75" y="1"/>
                    </a:moveTo>
                    <a:lnTo>
                      <a:pt x="76" y="0"/>
                    </a:lnTo>
                    <a:lnTo>
                      <a:pt x="77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9" y="0"/>
                    </a:lnTo>
                    <a:lnTo>
                      <a:pt x="80" y="0"/>
                    </a:lnTo>
                    <a:lnTo>
                      <a:pt x="81" y="1"/>
                    </a:lnTo>
                    <a:lnTo>
                      <a:pt x="82" y="1"/>
                    </a:lnTo>
                    <a:lnTo>
                      <a:pt x="83" y="2"/>
                    </a:lnTo>
                    <a:lnTo>
                      <a:pt x="84" y="2"/>
                    </a:lnTo>
                    <a:lnTo>
                      <a:pt x="85" y="3"/>
                    </a:lnTo>
                    <a:lnTo>
                      <a:pt x="85" y="4"/>
                    </a:lnTo>
                    <a:lnTo>
                      <a:pt x="86" y="5"/>
                    </a:lnTo>
                    <a:lnTo>
                      <a:pt x="87" y="6"/>
                    </a:lnTo>
                    <a:lnTo>
                      <a:pt x="88" y="6"/>
                    </a:lnTo>
                    <a:lnTo>
                      <a:pt x="89" y="7"/>
                    </a:lnTo>
                    <a:lnTo>
                      <a:pt x="90" y="8"/>
                    </a:lnTo>
                    <a:lnTo>
                      <a:pt x="91" y="8"/>
                    </a:lnTo>
                    <a:lnTo>
                      <a:pt x="92" y="9"/>
                    </a:lnTo>
                    <a:lnTo>
                      <a:pt x="92" y="9"/>
                    </a:lnTo>
                    <a:lnTo>
                      <a:pt x="92" y="9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5" y="9"/>
                    </a:lnTo>
                    <a:lnTo>
                      <a:pt x="98" y="9"/>
                    </a:lnTo>
                    <a:lnTo>
                      <a:pt x="102" y="10"/>
                    </a:lnTo>
                    <a:lnTo>
                      <a:pt x="104" y="10"/>
                    </a:lnTo>
                    <a:lnTo>
                      <a:pt x="107" y="10"/>
                    </a:lnTo>
                    <a:lnTo>
                      <a:pt x="109" y="10"/>
                    </a:lnTo>
                    <a:lnTo>
                      <a:pt x="111" y="11"/>
                    </a:lnTo>
                    <a:lnTo>
                      <a:pt x="113" y="11"/>
                    </a:lnTo>
                    <a:lnTo>
                      <a:pt x="114" y="11"/>
                    </a:lnTo>
                    <a:lnTo>
                      <a:pt x="114" y="12"/>
                    </a:lnTo>
                    <a:lnTo>
                      <a:pt x="115" y="12"/>
                    </a:lnTo>
                    <a:lnTo>
                      <a:pt x="116" y="13"/>
                    </a:lnTo>
                    <a:lnTo>
                      <a:pt x="117" y="13"/>
                    </a:lnTo>
                    <a:lnTo>
                      <a:pt x="117" y="14"/>
                    </a:lnTo>
                    <a:lnTo>
                      <a:pt x="118" y="14"/>
                    </a:lnTo>
                    <a:lnTo>
                      <a:pt x="118" y="15"/>
                    </a:lnTo>
                    <a:lnTo>
                      <a:pt x="119" y="16"/>
                    </a:lnTo>
                    <a:lnTo>
                      <a:pt x="119" y="16"/>
                    </a:lnTo>
                    <a:lnTo>
                      <a:pt x="119" y="17"/>
                    </a:lnTo>
                    <a:lnTo>
                      <a:pt x="120" y="18"/>
                    </a:lnTo>
                    <a:lnTo>
                      <a:pt x="120" y="19"/>
                    </a:lnTo>
                    <a:lnTo>
                      <a:pt x="120" y="21"/>
                    </a:lnTo>
                    <a:lnTo>
                      <a:pt x="122" y="21"/>
                    </a:lnTo>
                    <a:lnTo>
                      <a:pt x="123" y="21"/>
                    </a:lnTo>
                    <a:lnTo>
                      <a:pt x="125" y="21"/>
                    </a:lnTo>
                    <a:lnTo>
                      <a:pt x="127" y="21"/>
                    </a:lnTo>
                    <a:lnTo>
                      <a:pt x="127" y="21"/>
                    </a:lnTo>
                    <a:lnTo>
                      <a:pt x="127" y="21"/>
                    </a:lnTo>
                    <a:lnTo>
                      <a:pt x="128" y="20"/>
                    </a:lnTo>
                    <a:lnTo>
                      <a:pt x="128" y="20"/>
                    </a:lnTo>
                    <a:lnTo>
                      <a:pt x="128" y="20"/>
                    </a:lnTo>
                    <a:lnTo>
                      <a:pt x="128" y="19"/>
                    </a:lnTo>
                    <a:lnTo>
                      <a:pt x="128" y="19"/>
                    </a:lnTo>
                    <a:lnTo>
                      <a:pt x="128" y="19"/>
                    </a:lnTo>
                    <a:lnTo>
                      <a:pt x="130" y="19"/>
                    </a:lnTo>
                    <a:lnTo>
                      <a:pt x="132" y="19"/>
                    </a:lnTo>
                    <a:lnTo>
                      <a:pt x="133" y="19"/>
                    </a:lnTo>
                    <a:lnTo>
                      <a:pt x="135" y="19"/>
                    </a:lnTo>
                    <a:lnTo>
                      <a:pt x="135" y="19"/>
                    </a:lnTo>
                    <a:lnTo>
                      <a:pt x="136" y="19"/>
                    </a:lnTo>
                    <a:lnTo>
                      <a:pt x="136" y="19"/>
                    </a:lnTo>
                    <a:lnTo>
                      <a:pt x="137" y="19"/>
                    </a:lnTo>
                    <a:lnTo>
                      <a:pt x="138" y="19"/>
                    </a:lnTo>
                    <a:lnTo>
                      <a:pt x="138" y="20"/>
                    </a:lnTo>
                    <a:lnTo>
                      <a:pt x="140" y="21"/>
                    </a:lnTo>
                    <a:lnTo>
                      <a:pt x="141" y="22"/>
                    </a:lnTo>
                    <a:lnTo>
                      <a:pt x="142" y="23"/>
                    </a:lnTo>
                    <a:lnTo>
                      <a:pt x="143" y="24"/>
                    </a:lnTo>
                    <a:lnTo>
                      <a:pt x="144" y="24"/>
                    </a:lnTo>
                    <a:lnTo>
                      <a:pt x="145" y="25"/>
                    </a:lnTo>
                    <a:lnTo>
                      <a:pt x="146" y="25"/>
                    </a:lnTo>
                    <a:lnTo>
                      <a:pt x="147" y="25"/>
                    </a:lnTo>
                    <a:lnTo>
                      <a:pt x="148" y="26"/>
                    </a:lnTo>
                    <a:lnTo>
                      <a:pt x="149" y="26"/>
                    </a:lnTo>
                    <a:lnTo>
                      <a:pt x="150" y="26"/>
                    </a:lnTo>
                    <a:lnTo>
                      <a:pt x="152" y="25"/>
                    </a:lnTo>
                    <a:lnTo>
                      <a:pt x="152" y="25"/>
                    </a:lnTo>
                    <a:lnTo>
                      <a:pt x="152" y="25"/>
                    </a:lnTo>
                    <a:lnTo>
                      <a:pt x="153" y="25"/>
                    </a:lnTo>
                    <a:lnTo>
                      <a:pt x="153" y="25"/>
                    </a:lnTo>
                    <a:lnTo>
                      <a:pt x="154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7" y="27"/>
                    </a:lnTo>
                    <a:lnTo>
                      <a:pt x="158" y="27"/>
                    </a:lnTo>
                    <a:lnTo>
                      <a:pt x="159" y="28"/>
                    </a:lnTo>
                    <a:lnTo>
                      <a:pt x="159" y="28"/>
                    </a:lnTo>
                    <a:lnTo>
                      <a:pt x="160" y="29"/>
                    </a:lnTo>
                    <a:lnTo>
                      <a:pt x="161" y="30"/>
                    </a:lnTo>
                    <a:lnTo>
                      <a:pt x="161" y="31"/>
                    </a:lnTo>
                    <a:lnTo>
                      <a:pt x="162" y="32"/>
                    </a:lnTo>
                    <a:lnTo>
                      <a:pt x="163" y="33"/>
                    </a:lnTo>
                    <a:lnTo>
                      <a:pt x="163" y="33"/>
                    </a:lnTo>
                    <a:lnTo>
                      <a:pt x="164" y="33"/>
                    </a:lnTo>
                    <a:lnTo>
                      <a:pt x="165" y="34"/>
                    </a:lnTo>
                    <a:lnTo>
                      <a:pt x="165" y="36"/>
                    </a:lnTo>
                    <a:lnTo>
                      <a:pt x="165" y="37"/>
                    </a:lnTo>
                    <a:lnTo>
                      <a:pt x="166" y="39"/>
                    </a:lnTo>
                    <a:lnTo>
                      <a:pt x="165" y="41"/>
                    </a:lnTo>
                    <a:lnTo>
                      <a:pt x="165" y="42"/>
                    </a:lnTo>
                    <a:lnTo>
                      <a:pt x="165" y="44"/>
                    </a:lnTo>
                    <a:lnTo>
                      <a:pt x="165" y="45"/>
                    </a:lnTo>
                    <a:lnTo>
                      <a:pt x="165" y="47"/>
                    </a:lnTo>
                    <a:lnTo>
                      <a:pt x="164" y="48"/>
                    </a:lnTo>
                    <a:lnTo>
                      <a:pt x="164" y="49"/>
                    </a:lnTo>
                    <a:lnTo>
                      <a:pt x="163" y="50"/>
                    </a:lnTo>
                    <a:lnTo>
                      <a:pt x="163" y="51"/>
                    </a:lnTo>
                    <a:lnTo>
                      <a:pt x="163" y="52"/>
                    </a:lnTo>
                    <a:lnTo>
                      <a:pt x="162" y="53"/>
                    </a:lnTo>
                    <a:lnTo>
                      <a:pt x="162" y="54"/>
                    </a:lnTo>
                    <a:lnTo>
                      <a:pt x="162" y="56"/>
                    </a:lnTo>
                    <a:lnTo>
                      <a:pt x="161" y="56"/>
                    </a:lnTo>
                    <a:lnTo>
                      <a:pt x="161" y="57"/>
                    </a:lnTo>
                    <a:lnTo>
                      <a:pt x="161" y="58"/>
                    </a:lnTo>
                    <a:lnTo>
                      <a:pt x="161" y="59"/>
                    </a:lnTo>
                    <a:lnTo>
                      <a:pt x="162" y="61"/>
                    </a:lnTo>
                    <a:lnTo>
                      <a:pt x="162" y="62"/>
                    </a:lnTo>
                    <a:lnTo>
                      <a:pt x="162" y="63"/>
                    </a:lnTo>
                    <a:lnTo>
                      <a:pt x="162" y="63"/>
                    </a:lnTo>
                    <a:lnTo>
                      <a:pt x="161" y="64"/>
                    </a:lnTo>
                    <a:lnTo>
                      <a:pt x="161" y="65"/>
                    </a:lnTo>
                    <a:lnTo>
                      <a:pt x="161" y="65"/>
                    </a:lnTo>
                    <a:lnTo>
                      <a:pt x="161" y="66"/>
                    </a:lnTo>
                    <a:lnTo>
                      <a:pt x="160" y="66"/>
                    </a:lnTo>
                    <a:lnTo>
                      <a:pt x="160" y="67"/>
                    </a:lnTo>
                    <a:lnTo>
                      <a:pt x="159" y="67"/>
                    </a:lnTo>
                    <a:lnTo>
                      <a:pt x="159" y="67"/>
                    </a:lnTo>
                    <a:lnTo>
                      <a:pt x="158" y="67"/>
                    </a:lnTo>
                    <a:lnTo>
                      <a:pt x="159" y="68"/>
                    </a:lnTo>
                    <a:lnTo>
                      <a:pt x="159" y="68"/>
                    </a:lnTo>
                    <a:lnTo>
                      <a:pt x="159" y="69"/>
                    </a:lnTo>
                    <a:lnTo>
                      <a:pt x="159" y="69"/>
                    </a:lnTo>
                    <a:lnTo>
                      <a:pt x="160" y="70"/>
                    </a:lnTo>
                    <a:lnTo>
                      <a:pt x="161" y="70"/>
                    </a:lnTo>
                    <a:lnTo>
                      <a:pt x="161" y="71"/>
                    </a:lnTo>
                    <a:lnTo>
                      <a:pt x="161" y="71"/>
                    </a:lnTo>
                    <a:lnTo>
                      <a:pt x="162" y="72"/>
                    </a:lnTo>
                    <a:lnTo>
                      <a:pt x="162" y="72"/>
                    </a:lnTo>
                    <a:lnTo>
                      <a:pt x="162" y="73"/>
                    </a:lnTo>
                    <a:lnTo>
                      <a:pt x="162" y="74"/>
                    </a:lnTo>
                    <a:lnTo>
                      <a:pt x="162" y="74"/>
                    </a:lnTo>
                    <a:lnTo>
                      <a:pt x="162" y="75"/>
                    </a:lnTo>
                    <a:lnTo>
                      <a:pt x="160" y="76"/>
                    </a:lnTo>
                    <a:lnTo>
                      <a:pt x="159" y="76"/>
                    </a:lnTo>
                    <a:lnTo>
                      <a:pt x="157" y="77"/>
                    </a:lnTo>
                    <a:lnTo>
                      <a:pt x="156" y="78"/>
                    </a:lnTo>
                    <a:lnTo>
                      <a:pt x="154" y="78"/>
                    </a:lnTo>
                    <a:lnTo>
                      <a:pt x="153" y="80"/>
                    </a:lnTo>
                    <a:lnTo>
                      <a:pt x="152" y="80"/>
                    </a:lnTo>
                    <a:lnTo>
                      <a:pt x="151" y="81"/>
                    </a:lnTo>
                    <a:lnTo>
                      <a:pt x="149" y="83"/>
                    </a:lnTo>
                    <a:lnTo>
                      <a:pt x="146" y="85"/>
                    </a:lnTo>
                    <a:lnTo>
                      <a:pt x="145" y="86"/>
                    </a:lnTo>
                    <a:lnTo>
                      <a:pt x="144" y="87"/>
                    </a:lnTo>
                    <a:lnTo>
                      <a:pt x="143" y="88"/>
                    </a:lnTo>
                    <a:lnTo>
                      <a:pt x="142" y="89"/>
                    </a:lnTo>
                    <a:lnTo>
                      <a:pt x="141" y="89"/>
                    </a:lnTo>
                    <a:lnTo>
                      <a:pt x="140" y="89"/>
                    </a:lnTo>
                    <a:lnTo>
                      <a:pt x="140" y="90"/>
                    </a:lnTo>
                    <a:lnTo>
                      <a:pt x="139" y="90"/>
                    </a:lnTo>
                    <a:lnTo>
                      <a:pt x="139" y="91"/>
                    </a:lnTo>
                    <a:lnTo>
                      <a:pt x="138" y="91"/>
                    </a:lnTo>
                    <a:lnTo>
                      <a:pt x="137" y="93"/>
                    </a:lnTo>
                    <a:lnTo>
                      <a:pt x="137" y="93"/>
                    </a:lnTo>
                    <a:lnTo>
                      <a:pt x="136" y="94"/>
                    </a:lnTo>
                    <a:lnTo>
                      <a:pt x="136" y="94"/>
                    </a:lnTo>
                    <a:lnTo>
                      <a:pt x="135" y="95"/>
                    </a:lnTo>
                    <a:lnTo>
                      <a:pt x="134" y="95"/>
                    </a:lnTo>
                    <a:lnTo>
                      <a:pt x="134" y="95"/>
                    </a:lnTo>
                    <a:lnTo>
                      <a:pt x="133" y="95"/>
                    </a:lnTo>
                    <a:lnTo>
                      <a:pt x="132" y="95"/>
                    </a:lnTo>
                    <a:lnTo>
                      <a:pt x="132" y="96"/>
                    </a:lnTo>
                    <a:lnTo>
                      <a:pt x="131" y="97"/>
                    </a:lnTo>
                    <a:lnTo>
                      <a:pt x="131" y="98"/>
                    </a:lnTo>
                    <a:lnTo>
                      <a:pt x="131" y="98"/>
                    </a:lnTo>
                    <a:lnTo>
                      <a:pt x="131" y="99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101"/>
                    </a:lnTo>
                    <a:lnTo>
                      <a:pt x="129" y="101"/>
                    </a:lnTo>
                    <a:lnTo>
                      <a:pt x="128" y="101"/>
                    </a:lnTo>
                    <a:lnTo>
                      <a:pt x="128" y="102"/>
                    </a:lnTo>
                    <a:lnTo>
                      <a:pt x="127" y="102"/>
                    </a:lnTo>
                    <a:lnTo>
                      <a:pt x="126" y="102"/>
                    </a:lnTo>
                    <a:lnTo>
                      <a:pt x="125" y="102"/>
                    </a:lnTo>
                    <a:lnTo>
                      <a:pt x="124" y="102"/>
                    </a:lnTo>
                    <a:lnTo>
                      <a:pt x="123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1" y="102"/>
                    </a:lnTo>
                    <a:lnTo>
                      <a:pt x="120" y="102"/>
                    </a:lnTo>
                    <a:lnTo>
                      <a:pt x="120" y="101"/>
                    </a:lnTo>
                    <a:lnTo>
                      <a:pt x="119" y="101"/>
                    </a:lnTo>
                    <a:lnTo>
                      <a:pt x="119" y="100"/>
                    </a:lnTo>
                    <a:lnTo>
                      <a:pt x="119" y="100"/>
                    </a:lnTo>
                    <a:lnTo>
                      <a:pt x="118" y="99"/>
                    </a:lnTo>
                    <a:lnTo>
                      <a:pt x="118" y="99"/>
                    </a:lnTo>
                    <a:lnTo>
                      <a:pt x="118" y="98"/>
                    </a:lnTo>
                    <a:lnTo>
                      <a:pt x="118" y="97"/>
                    </a:lnTo>
                    <a:lnTo>
                      <a:pt x="118" y="95"/>
                    </a:lnTo>
                    <a:lnTo>
                      <a:pt x="118" y="94"/>
                    </a:lnTo>
                    <a:lnTo>
                      <a:pt x="118" y="94"/>
                    </a:lnTo>
                    <a:lnTo>
                      <a:pt x="117" y="94"/>
                    </a:lnTo>
                    <a:lnTo>
                      <a:pt x="116" y="95"/>
                    </a:lnTo>
                    <a:lnTo>
                      <a:pt x="115" y="95"/>
                    </a:lnTo>
                    <a:lnTo>
                      <a:pt x="114" y="96"/>
                    </a:lnTo>
                    <a:lnTo>
                      <a:pt x="113" y="97"/>
                    </a:lnTo>
                    <a:lnTo>
                      <a:pt x="112" y="97"/>
                    </a:lnTo>
                    <a:lnTo>
                      <a:pt x="112" y="97"/>
                    </a:lnTo>
                    <a:lnTo>
                      <a:pt x="111" y="97"/>
                    </a:lnTo>
                    <a:lnTo>
                      <a:pt x="110" y="97"/>
                    </a:lnTo>
                    <a:lnTo>
                      <a:pt x="109" y="97"/>
                    </a:lnTo>
                    <a:lnTo>
                      <a:pt x="108" y="97"/>
                    </a:lnTo>
                    <a:lnTo>
                      <a:pt x="107" y="98"/>
                    </a:lnTo>
                    <a:lnTo>
                      <a:pt x="107" y="98"/>
                    </a:lnTo>
                    <a:lnTo>
                      <a:pt x="106" y="99"/>
                    </a:lnTo>
                    <a:lnTo>
                      <a:pt x="105" y="100"/>
                    </a:lnTo>
                    <a:lnTo>
                      <a:pt x="105" y="101"/>
                    </a:lnTo>
                    <a:lnTo>
                      <a:pt x="105" y="102"/>
                    </a:lnTo>
                    <a:lnTo>
                      <a:pt x="104" y="103"/>
                    </a:lnTo>
                    <a:lnTo>
                      <a:pt x="104" y="104"/>
                    </a:lnTo>
                    <a:lnTo>
                      <a:pt x="103" y="106"/>
                    </a:lnTo>
                    <a:lnTo>
                      <a:pt x="103" y="107"/>
                    </a:lnTo>
                    <a:lnTo>
                      <a:pt x="102" y="109"/>
                    </a:lnTo>
                    <a:lnTo>
                      <a:pt x="102" y="109"/>
                    </a:lnTo>
                    <a:lnTo>
                      <a:pt x="101" y="110"/>
                    </a:lnTo>
                    <a:lnTo>
                      <a:pt x="101" y="111"/>
                    </a:lnTo>
                    <a:lnTo>
                      <a:pt x="100" y="112"/>
                    </a:lnTo>
                    <a:lnTo>
                      <a:pt x="98" y="112"/>
                    </a:lnTo>
                    <a:lnTo>
                      <a:pt x="97" y="112"/>
                    </a:lnTo>
                    <a:lnTo>
                      <a:pt x="95" y="112"/>
                    </a:lnTo>
                    <a:lnTo>
                      <a:pt x="94" y="112"/>
                    </a:lnTo>
                    <a:lnTo>
                      <a:pt x="93" y="112"/>
                    </a:lnTo>
                    <a:lnTo>
                      <a:pt x="91" y="112"/>
                    </a:lnTo>
                    <a:lnTo>
                      <a:pt x="89" y="111"/>
                    </a:lnTo>
                    <a:lnTo>
                      <a:pt x="87" y="111"/>
                    </a:lnTo>
                    <a:lnTo>
                      <a:pt x="85" y="111"/>
                    </a:lnTo>
                    <a:lnTo>
                      <a:pt x="84" y="110"/>
                    </a:lnTo>
                    <a:lnTo>
                      <a:pt x="83" y="110"/>
                    </a:lnTo>
                    <a:lnTo>
                      <a:pt x="81" y="110"/>
                    </a:lnTo>
                    <a:lnTo>
                      <a:pt x="80" y="110"/>
                    </a:lnTo>
                    <a:lnTo>
                      <a:pt x="78" y="110"/>
                    </a:lnTo>
                    <a:lnTo>
                      <a:pt x="78" y="110"/>
                    </a:lnTo>
                    <a:lnTo>
                      <a:pt x="78" y="109"/>
                    </a:lnTo>
                    <a:lnTo>
                      <a:pt x="78" y="108"/>
                    </a:lnTo>
                    <a:lnTo>
                      <a:pt x="77" y="107"/>
                    </a:lnTo>
                    <a:lnTo>
                      <a:pt x="76" y="107"/>
                    </a:lnTo>
                    <a:lnTo>
                      <a:pt x="76" y="106"/>
                    </a:lnTo>
                    <a:lnTo>
                      <a:pt x="75" y="105"/>
                    </a:lnTo>
                    <a:lnTo>
                      <a:pt x="75" y="105"/>
                    </a:lnTo>
                    <a:lnTo>
                      <a:pt x="75" y="104"/>
                    </a:lnTo>
                    <a:lnTo>
                      <a:pt x="75" y="104"/>
                    </a:lnTo>
                    <a:lnTo>
                      <a:pt x="75" y="103"/>
                    </a:lnTo>
                    <a:lnTo>
                      <a:pt x="75" y="102"/>
                    </a:lnTo>
                    <a:lnTo>
                      <a:pt x="74" y="102"/>
                    </a:lnTo>
                    <a:lnTo>
                      <a:pt x="73" y="102"/>
                    </a:lnTo>
                    <a:lnTo>
                      <a:pt x="73" y="102"/>
                    </a:lnTo>
                    <a:lnTo>
                      <a:pt x="72" y="102"/>
                    </a:lnTo>
                    <a:lnTo>
                      <a:pt x="71" y="103"/>
                    </a:lnTo>
                    <a:lnTo>
                      <a:pt x="71" y="102"/>
                    </a:lnTo>
                    <a:lnTo>
                      <a:pt x="70" y="102"/>
                    </a:lnTo>
                    <a:lnTo>
                      <a:pt x="69" y="102"/>
                    </a:lnTo>
                    <a:lnTo>
                      <a:pt x="68" y="102"/>
                    </a:lnTo>
                    <a:lnTo>
                      <a:pt x="67" y="101"/>
                    </a:lnTo>
                    <a:lnTo>
                      <a:pt x="67" y="101"/>
                    </a:lnTo>
                    <a:lnTo>
                      <a:pt x="66" y="100"/>
                    </a:lnTo>
                    <a:lnTo>
                      <a:pt x="65" y="99"/>
                    </a:lnTo>
                    <a:lnTo>
                      <a:pt x="64" y="98"/>
                    </a:lnTo>
                    <a:lnTo>
                      <a:pt x="64" y="97"/>
                    </a:lnTo>
                    <a:lnTo>
                      <a:pt x="63" y="96"/>
                    </a:lnTo>
                    <a:lnTo>
                      <a:pt x="62" y="96"/>
                    </a:lnTo>
                    <a:lnTo>
                      <a:pt x="62" y="95"/>
                    </a:lnTo>
                    <a:lnTo>
                      <a:pt x="61" y="95"/>
                    </a:lnTo>
                    <a:lnTo>
                      <a:pt x="60" y="96"/>
                    </a:lnTo>
                    <a:lnTo>
                      <a:pt x="59" y="96"/>
                    </a:lnTo>
                    <a:lnTo>
                      <a:pt x="58" y="96"/>
                    </a:lnTo>
                    <a:lnTo>
                      <a:pt x="58" y="97"/>
                    </a:lnTo>
                    <a:lnTo>
                      <a:pt x="57" y="97"/>
                    </a:lnTo>
                    <a:lnTo>
                      <a:pt x="56" y="98"/>
                    </a:lnTo>
                    <a:lnTo>
                      <a:pt x="55" y="99"/>
                    </a:lnTo>
                    <a:lnTo>
                      <a:pt x="54" y="99"/>
                    </a:lnTo>
                    <a:lnTo>
                      <a:pt x="53" y="100"/>
                    </a:lnTo>
                    <a:lnTo>
                      <a:pt x="53" y="100"/>
                    </a:lnTo>
                    <a:lnTo>
                      <a:pt x="52" y="100"/>
                    </a:lnTo>
                    <a:lnTo>
                      <a:pt x="51" y="100"/>
                    </a:lnTo>
                    <a:lnTo>
                      <a:pt x="50" y="100"/>
                    </a:lnTo>
                    <a:lnTo>
                      <a:pt x="49" y="100"/>
                    </a:lnTo>
                    <a:lnTo>
                      <a:pt x="49" y="99"/>
                    </a:lnTo>
                    <a:lnTo>
                      <a:pt x="48" y="99"/>
                    </a:lnTo>
                    <a:lnTo>
                      <a:pt x="47" y="98"/>
                    </a:lnTo>
                    <a:lnTo>
                      <a:pt x="47" y="98"/>
                    </a:lnTo>
                    <a:lnTo>
                      <a:pt x="46" y="98"/>
                    </a:lnTo>
                    <a:lnTo>
                      <a:pt x="45" y="97"/>
                    </a:lnTo>
                    <a:lnTo>
                      <a:pt x="44" y="97"/>
                    </a:lnTo>
                    <a:lnTo>
                      <a:pt x="43" y="97"/>
                    </a:lnTo>
                    <a:lnTo>
                      <a:pt x="42" y="97"/>
                    </a:lnTo>
                    <a:lnTo>
                      <a:pt x="40" y="97"/>
                    </a:lnTo>
                    <a:lnTo>
                      <a:pt x="37" y="97"/>
                    </a:lnTo>
                    <a:lnTo>
                      <a:pt x="35" y="97"/>
                    </a:lnTo>
                    <a:lnTo>
                      <a:pt x="33" y="95"/>
                    </a:lnTo>
                    <a:lnTo>
                      <a:pt x="31" y="93"/>
                    </a:lnTo>
                    <a:lnTo>
                      <a:pt x="30" y="92"/>
                    </a:lnTo>
                    <a:lnTo>
                      <a:pt x="30" y="91"/>
                    </a:lnTo>
                    <a:lnTo>
                      <a:pt x="29" y="90"/>
                    </a:lnTo>
                    <a:lnTo>
                      <a:pt x="28" y="89"/>
                    </a:lnTo>
                    <a:lnTo>
                      <a:pt x="27" y="89"/>
                    </a:lnTo>
                    <a:lnTo>
                      <a:pt x="25" y="89"/>
                    </a:lnTo>
                    <a:lnTo>
                      <a:pt x="24" y="89"/>
                    </a:lnTo>
                    <a:lnTo>
                      <a:pt x="22" y="89"/>
                    </a:lnTo>
                    <a:lnTo>
                      <a:pt x="21" y="89"/>
                    </a:lnTo>
                    <a:lnTo>
                      <a:pt x="20" y="88"/>
                    </a:lnTo>
                    <a:lnTo>
                      <a:pt x="19" y="88"/>
                    </a:lnTo>
                    <a:lnTo>
                      <a:pt x="18" y="87"/>
                    </a:lnTo>
                    <a:lnTo>
                      <a:pt x="17" y="87"/>
                    </a:lnTo>
                    <a:lnTo>
                      <a:pt x="16" y="86"/>
                    </a:lnTo>
                    <a:lnTo>
                      <a:pt x="16" y="85"/>
                    </a:lnTo>
                    <a:lnTo>
                      <a:pt x="15" y="84"/>
                    </a:lnTo>
                    <a:lnTo>
                      <a:pt x="15" y="83"/>
                    </a:lnTo>
                    <a:lnTo>
                      <a:pt x="14" y="83"/>
                    </a:lnTo>
                    <a:lnTo>
                      <a:pt x="14" y="82"/>
                    </a:lnTo>
                    <a:lnTo>
                      <a:pt x="13" y="80"/>
                    </a:lnTo>
                    <a:lnTo>
                      <a:pt x="13" y="80"/>
                    </a:lnTo>
                    <a:lnTo>
                      <a:pt x="12" y="80"/>
                    </a:lnTo>
                    <a:lnTo>
                      <a:pt x="11" y="80"/>
                    </a:lnTo>
                    <a:lnTo>
                      <a:pt x="10" y="80"/>
                    </a:lnTo>
                    <a:lnTo>
                      <a:pt x="8" y="81"/>
                    </a:lnTo>
                    <a:lnTo>
                      <a:pt x="7" y="81"/>
                    </a:lnTo>
                    <a:lnTo>
                      <a:pt x="6" y="81"/>
                    </a:lnTo>
                    <a:lnTo>
                      <a:pt x="5" y="81"/>
                    </a:lnTo>
                    <a:lnTo>
                      <a:pt x="4" y="81"/>
                    </a:lnTo>
                    <a:lnTo>
                      <a:pt x="3" y="81"/>
                    </a:lnTo>
                    <a:lnTo>
                      <a:pt x="3" y="80"/>
                    </a:lnTo>
                    <a:lnTo>
                      <a:pt x="2" y="80"/>
                    </a:lnTo>
                    <a:lnTo>
                      <a:pt x="2" y="79"/>
                    </a:lnTo>
                    <a:lnTo>
                      <a:pt x="2" y="79"/>
                    </a:lnTo>
                    <a:lnTo>
                      <a:pt x="2" y="76"/>
                    </a:lnTo>
                    <a:lnTo>
                      <a:pt x="2" y="74"/>
                    </a:lnTo>
                    <a:lnTo>
                      <a:pt x="2" y="72"/>
                    </a:lnTo>
                    <a:lnTo>
                      <a:pt x="2" y="70"/>
                    </a:lnTo>
                    <a:lnTo>
                      <a:pt x="1" y="68"/>
                    </a:lnTo>
                    <a:lnTo>
                      <a:pt x="1" y="65"/>
                    </a:lnTo>
                    <a:lnTo>
                      <a:pt x="1" y="65"/>
                    </a:lnTo>
                    <a:lnTo>
                      <a:pt x="1" y="64"/>
                    </a:lnTo>
                    <a:lnTo>
                      <a:pt x="0" y="63"/>
                    </a:lnTo>
                    <a:lnTo>
                      <a:pt x="0" y="62"/>
                    </a:lnTo>
                    <a:lnTo>
                      <a:pt x="3" y="60"/>
                    </a:lnTo>
                    <a:lnTo>
                      <a:pt x="4" y="59"/>
                    </a:lnTo>
                    <a:lnTo>
                      <a:pt x="5" y="58"/>
                    </a:lnTo>
                    <a:lnTo>
                      <a:pt x="6" y="57"/>
                    </a:lnTo>
                    <a:lnTo>
                      <a:pt x="7" y="56"/>
                    </a:lnTo>
                    <a:lnTo>
                      <a:pt x="8" y="54"/>
                    </a:lnTo>
                    <a:lnTo>
                      <a:pt x="9" y="53"/>
                    </a:lnTo>
                    <a:lnTo>
                      <a:pt x="10" y="52"/>
                    </a:lnTo>
                    <a:lnTo>
                      <a:pt x="11" y="51"/>
                    </a:lnTo>
                    <a:lnTo>
                      <a:pt x="12" y="49"/>
                    </a:lnTo>
                    <a:lnTo>
                      <a:pt x="13" y="48"/>
                    </a:lnTo>
                    <a:lnTo>
                      <a:pt x="14" y="46"/>
                    </a:lnTo>
                    <a:lnTo>
                      <a:pt x="14" y="44"/>
                    </a:lnTo>
                    <a:lnTo>
                      <a:pt x="15" y="42"/>
                    </a:lnTo>
                    <a:lnTo>
                      <a:pt x="15" y="40"/>
                    </a:lnTo>
                    <a:lnTo>
                      <a:pt x="16" y="41"/>
                    </a:lnTo>
                    <a:lnTo>
                      <a:pt x="17" y="41"/>
                    </a:lnTo>
                    <a:lnTo>
                      <a:pt x="18" y="41"/>
                    </a:lnTo>
                    <a:lnTo>
                      <a:pt x="19" y="41"/>
                    </a:lnTo>
                    <a:lnTo>
                      <a:pt x="19" y="41"/>
                    </a:lnTo>
                    <a:lnTo>
                      <a:pt x="20" y="41"/>
                    </a:lnTo>
                    <a:lnTo>
                      <a:pt x="22" y="41"/>
                    </a:lnTo>
                    <a:lnTo>
                      <a:pt x="23" y="41"/>
                    </a:lnTo>
                    <a:lnTo>
                      <a:pt x="24" y="41"/>
                    </a:lnTo>
                    <a:lnTo>
                      <a:pt x="25" y="41"/>
                    </a:lnTo>
                    <a:lnTo>
                      <a:pt x="26" y="41"/>
                    </a:lnTo>
                    <a:lnTo>
                      <a:pt x="27" y="40"/>
                    </a:lnTo>
                    <a:lnTo>
                      <a:pt x="28" y="40"/>
                    </a:lnTo>
                    <a:lnTo>
                      <a:pt x="29" y="40"/>
                    </a:lnTo>
                    <a:lnTo>
                      <a:pt x="30" y="39"/>
                    </a:lnTo>
                    <a:lnTo>
                      <a:pt x="31" y="39"/>
                    </a:lnTo>
                    <a:lnTo>
                      <a:pt x="32" y="38"/>
                    </a:lnTo>
                    <a:lnTo>
                      <a:pt x="34" y="38"/>
                    </a:lnTo>
                    <a:lnTo>
                      <a:pt x="34" y="37"/>
                    </a:lnTo>
                    <a:lnTo>
                      <a:pt x="35" y="37"/>
                    </a:lnTo>
                    <a:lnTo>
                      <a:pt x="35" y="37"/>
                    </a:lnTo>
                    <a:lnTo>
                      <a:pt x="36" y="37"/>
                    </a:lnTo>
                    <a:lnTo>
                      <a:pt x="36" y="37"/>
                    </a:lnTo>
                    <a:lnTo>
                      <a:pt x="37" y="37"/>
                    </a:lnTo>
                    <a:lnTo>
                      <a:pt x="39" y="37"/>
                    </a:lnTo>
                    <a:lnTo>
                      <a:pt x="40" y="36"/>
                    </a:lnTo>
                    <a:lnTo>
                      <a:pt x="42" y="36"/>
                    </a:lnTo>
                    <a:lnTo>
                      <a:pt x="44" y="36"/>
                    </a:lnTo>
                    <a:lnTo>
                      <a:pt x="45" y="35"/>
                    </a:lnTo>
                    <a:lnTo>
                      <a:pt x="46" y="34"/>
                    </a:lnTo>
                    <a:lnTo>
                      <a:pt x="48" y="34"/>
                    </a:lnTo>
                    <a:lnTo>
                      <a:pt x="49" y="33"/>
                    </a:lnTo>
                    <a:lnTo>
                      <a:pt x="50" y="32"/>
                    </a:lnTo>
                    <a:lnTo>
                      <a:pt x="52" y="31"/>
                    </a:lnTo>
                    <a:lnTo>
                      <a:pt x="54" y="29"/>
                    </a:lnTo>
                    <a:lnTo>
                      <a:pt x="56" y="27"/>
                    </a:lnTo>
                    <a:lnTo>
                      <a:pt x="58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8" y="24"/>
                    </a:lnTo>
                    <a:lnTo>
                      <a:pt x="58" y="23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1"/>
                    </a:lnTo>
                    <a:lnTo>
                      <a:pt x="57" y="20"/>
                    </a:lnTo>
                    <a:lnTo>
                      <a:pt x="57" y="20"/>
                    </a:lnTo>
                    <a:lnTo>
                      <a:pt x="56" y="19"/>
                    </a:lnTo>
                    <a:lnTo>
                      <a:pt x="56" y="18"/>
                    </a:lnTo>
                    <a:lnTo>
                      <a:pt x="55" y="18"/>
                    </a:lnTo>
                    <a:lnTo>
                      <a:pt x="55" y="17"/>
                    </a:lnTo>
                    <a:lnTo>
                      <a:pt x="55" y="16"/>
                    </a:lnTo>
                    <a:lnTo>
                      <a:pt x="55" y="15"/>
                    </a:lnTo>
                    <a:lnTo>
                      <a:pt x="55" y="14"/>
                    </a:lnTo>
                    <a:lnTo>
                      <a:pt x="55" y="13"/>
                    </a:lnTo>
                    <a:lnTo>
                      <a:pt x="55" y="13"/>
                    </a:lnTo>
                    <a:lnTo>
                      <a:pt x="55" y="12"/>
                    </a:lnTo>
                    <a:lnTo>
                      <a:pt x="55" y="12"/>
                    </a:lnTo>
                    <a:lnTo>
                      <a:pt x="55" y="11"/>
                    </a:lnTo>
                    <a:lnTo>
                      <a:pt x="55" y="11"/>
                    </a:lnTo>
                    <a:lnTo>
                      <a:pt x="55" y="11"/>
                    </a:lnTo>
                    <a:lnTo>
                      <a:pt x="55" y="10"/>
                    </a:lnTo>
                    <a:lnTo>
                      <a:pt x="55" y="9"/>
                    </a:lnTo>
                    <a:lnTo>
                      <a:pt x="55" y="8"/>
                    </a:lnTo>
                    <a:lnTo>
                      <a:pt x="55" y="7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7" y="5"/>
                    </a:lnTo>
                    <a:lnTo>
                      <a:pt x="58" y="4"/>
                    </a:lnTo>
                    <a:lnTo>
                      <a:pt x="59" y="4"/>
                    </a:lnTo>
                    <a:lnTo>
                      <a:pt x="60" y="3"/>
                    </a:lnTo>
                    <a:lnTo>
                      <a:pt x="61" y="3"/>
                    </a:lnTo>
                    <a:lnTo>
                      <a:pt x="62" y="3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6" y="2"/>
                    </a:lnTo>
                    <a:lnTo>
                      <a:pt x="67" y="2"/>
                    </a:lnTo>
                    <a:lnTo>
                      <a:pt x="69" y="2"/>
                    </a:lnTo>
                    <a:lnTo>
                      <a:pt x="70" y="2"/>
                    </a:lnTo>
                    <a:lnTo>
                      <a:pt x="72" y="2"/>
                    </a:lnTo>
                    <a:lnTo>
                      <a:pt x="73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5" y="2"/>
                    </a:lnTo>
                    <a:lnTo>
                      <a:pt x="75" y="2"/>
                    </a:lnTo>
                    <a:lnTo>
                      <a:pt x="75" y="1"/>
                    </a:lnTo>
                    <a:lnTo>
                      <a:pt x="75" y="1"/>
                    </a:lnTo>
                    <a:lnTo>
                      <a:pt x="75" y="1"/>
                    </a:ln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9525">
                <a:solidFill>
                  <a:srgbClr val="356D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effectLst>
                    <a:glow rad="127000">
                      <a:schemeClr val="accent1"/>
                    </a:glow>
                  </a:effectLst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" name="Freeform 5"/>
              <p:cNvSpPr>
                <a:spLocks/>
              </p:cNvSpPr>
              <p:nvPr/>
            </p:nvSpPr>
            <p:spPr bwMode="auto">
              <a:xfrm>
                <a:off x="323528" y="2317569"/>
                <a:ext cx="1665500" cy="1040032"/>
              </a:xfrm>
              <a:custGeom>
                <a:avLst/>
                <a:gdLst/>
                <a:ahLst/>
                <a:cxnLst>
                  <a:cxn ang="0">
                    <a:pos x="110" y="1"/>
                  </a:cxn>
                  <a:cxn ang="0">
                    <a:pos x="111" y="5"/>
                  </a:cxn>
                  <a:cxn ang="0">
                    <a:pos x="113" y="8"/>
                  </a:cxn>
                  <a:cxn ang="0">
                    <a:pos x="122" y="9"/>
                  </a:cxn>
                  <a:cxn ang="0">
                    <a:pos x="126" y="5"/>
                  </a:cxn>
                  <a:cxn ang="0">
                    <a:pos x="131" y="4"/>
                  </a:cxn>
                  <a:cxn ang="0">
                    <a:pos x="133" y="9"/>
                  </a:cxn>
                  <a:cxn ang="0">
                    <a:pos x="135" y="12"/>
                  </a:cxn>
                  <a:cxn ang="0">
                    <a:pos x="139" y="13"/>
                  </a:cxn>
                  <a:cxn ang="0">
                    <a:pos x="148" y="15"/>
                  </a:cxn>
                  <a:cxn ang="0">
                    <a:pos x="153" y="19"/>
                  </a:cxn>
                  <a:cxn ang="0">
                    <a:pos x="157" y="25"/>
                  </a:cxn>
                  <a:cxn ang="0">
                    <a:pos x="162" y="31"/>
                  </a:cxn>
                  <a:cxn ang="0">
                    <a:pos x="166" y="38"/>
                  </a:cxn>
                  <a:cxn ang="0">
                    <a:pos x="164" y="43"/>
                  </a:cxn>
                  <a:cxn ang="0">
                    <a:pos x="166" y="46"/>
                  </a:cxn>
                  <a:cxn ang="0">
                    <a:pos x="168" y="49"/>
                  </a:cxn>
                  <a:cxn ang="0">
                    <a:pos x="168" y="55"/>
                  </a:cxn>
                  <a:cxn ang="0">
                    <a:pos x="162" y="71"/>
                  </a:cxn>
                  <a:cxn ang="0">
                    <a:pos x="145" y="79"/>
                  </a:cxn>
                  <a:cxn ang="0">
                    <a:pos x="138" y="83"/>
                  </a:cxn>
                  <a:cxn ang="0">
                    <a:pos x="128" y="86"/>
                  </a:cxn>
                  <a:cxn ang="0">
                    <a:pos x="121" y="95"/>
                  </a:cxn>
                  <a:cxn ang="0">
                    <a:pos x="111" y="90"/>
                  </a:cxn>
                  <a:cxn ang="0">
                    <a:pos x="105" y="85"/>
                  </a:cxn>
                  <a:cxn ang="0">
                    <a:pos x="90" y="87"/>
                  </a:cxn>
                  <a:cxn ang="0">
                    <a:pos x="72" y="91"/>
                  </a:cxn>
                  <a:cxn ang="0">
                    <a:pos x="61" y="97"/>
                  </a:cxn>
                  <a:cxn ang="0">
                    <a:pos x="43" y="91"/>
                  </a:cxn>
                  <a:cxn ang="0">
                    <a:pos x="26" y="88"/>
                  </a:cxn>
                  <a:cxn ang="0">
                    <a:pos x="18" y="87"/>
                  </a:cxn>
                  <a:cxn ang="0">
                    <a:pos x="5" y="79"/>
                  </a:cxn>
                  <a:cxn ang="0">
                    <a:pos x="0" y="74"/>
                  </a:cxn>
                  <a:cxn ang="0">
                    <a:pos x="3" y="69"/>
                  </a:cxn>
                  <a:cxn ang="0">
                    <a:pos x="6" y="65"/>
                  </a:cxn>
                  <a:cxn ang="0">
                    <a:pos x="11" y="62"/>
                  </a:cxn>
                  <a:cxn ang="0">
                    <a:pos x="16" y="57"/>
                  </a:cxn>
                  <a:cxn ang="0">
                    <a:pos x="14" y="50"/>
                  </a:cxn>
                  <a:cxn ang="0">
                    <a:pos x="14" y="46"/>
                  </a:cxn>
                  <a:cxn ang="0">
                    <a:pos x="16" y="42"/>
                  </a:cxn>
                  <a:cxn ang="0">
                    <a:pos x="17" y="37"/>
                  </a:cxn>
                  <a:cxn ang="0">
                    <a:pos x="23" y="35"/>
                  </a:cxn>
                  <a:cxn ang="0">
                    <a:pos x="28" y="32"/>
                  </a:cxn>
                  <a:cxn ang="0">
                    <a:pos x="30" y="24"/>
                  </a:cxn>
                  <a:cxn ang="0">
                    <a:pos x="36" y="27"/>
                  </a:cxn>
                  <a:cxn ang="0">
                    <a:pos x="38" y="31"/>
                  </a:cxn>
                  <a:cxn ang="0">
                    <a:pos x="39" y="39"/>
                  </a:cxn>
                  <a:cxn ang="0">
                    <a:pos x="41" y="43"/>
                  </a:cxn>
                  <a:cxn ang="0">
                    <a:pos x="50" y="45"/>
                  </a:cxn>
                  <a:cxn ang="0">
                    <a:pos x="57" y="44"/>
                  </a:cxn>
                  <a:cxn ang="0">
                    <a:pos x="59" y="44"/>
                  </a:cxn>
                  <a:cxn ang="0">
                    <a:pos x="58" y="40"/>
                  </a:cxn>
                  <a:cxn ang="0">
                    <a:pos x="59" y="37"/>
                  </a:cxn>
                  <a:cxn ang="0">
                    <a:pos x="57" y="34"/>
                  </a:cxn>
                  <a:cxn ang="0">
                    <a:pos x="61" y="23"/>
                  </a:cxn>
                  <a:cxn ang="0">
                    <a:pos x="69" y="20"/>
                  </a:cxn>
                  <a:cxn ang="0">
                    <a:pos x="74" y="19"/>
                  </a:cxn>
                  <a:cxn ang="0">
                    <a:pos x="77" y="12"/>
                  </a:cxn>
                  <a:cxn ang="0">
                    <a:pos x="82" y="13"/>
                  </a:cxn>
                  <a:cxn ang="0">
                    <a:pos x="86" y="10"/>
                  </a:cxn>
                  <a:cxn ang="0">
                    <a:pos x="94" y="8"/>
                  </a:cxn>
                  <a:cxn ang="0">
                    <a:pos x="101" y="2"/>
                  </a:cxn>
                </a:cxnLst>
                <a:rect l="0" t="0" r="r" b="b"/>
                <a:pathLst>
                  <a:path w="168" h="97">
                    <a:moveTo>
                      <a:pt x="101" y="2"/>
                    </a:moveTo>
                    <a:lnTo>
                      <a:pt x="102" y="2"/>
                    </a:lnTo>
                    <a:lnTo>
                      <a:pt x="102" y="2"/>
                    </a:lnTo>
                    <a:lnTo>
                      <a:pt x="103" y="2"/>
                    </a:lnTo>
                    <a:lnTo>
                      <a:pt x="103" y="1"/>
                    </a:lnTo>
                    <a:lnTo>
                      <a:pt x="104" y="1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09" y="0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10" y="1"/>
                    </a:lnTo>
                    <a:lnTo>
                      <a:pt x="110" y="2"/>
                    </a:lnTo>
                    <a:lnTo>
                      <a:pt x="110" y="2"/>
                    </a:lnTo>
                    <a:lnTo>
                      <a:pt x="110" y="2"/>
                    </a:lnTo>
                    <a:lnTo>
                      <a:pt x="111" y="2"/>
                    </a:lnTo>
                    <a:lnTo>
                      <a:pt x="111" y="2"/>
                    </a:lnTo>
                    <a:lnTo>
                      <a:pt x="111" y="2"/>
                    </a:lnTo>
                    <a:lnTo>
                      <a:pt x="111" y="3"/>
                    </a:lnTo>
                    <a:lnTo>
                      <a:pt x="111" y="3"/>
                    </a:lnTo>
                    <a:lnTo>
                      <a:pt x="111" y="4"/>
                    </a:lnTo>
                    <a:lnTo>
                      <a:pt x="111" y="4"/>
                    </a:lnTo>
                    <a:lnTo>
                      <a:pt x="111" y="5"/>
                    </a:lnTo>
                    <a:lnTo>
                      <a:pt x="111" y="5"/>
                    </a:lnTo>
                    <a:lnTo>
                      <a:pt x="111" y="5"/>
                    </a:lnTo>
                    <a:lnTo>
                      <a:pt x="112" y="5"/>
                    </a:lnTo>
                    <a:lnTo>
                      <a:pt x="112" y="5"/>
                    </a:lnTo>
                    <a:lnTo>
                      <a:pt x="112" y="5"/>
                    </a:lnTo>
                    <a:lnTo>
                      <a:pt x="113" y="5"/>
                    </a:lnTo>
                    <a:lnTo>
                      <a:pt x="113" y="6"/>
                    </a:lnTo>
                    <a:lnTo>
                      <a:pt x="113" y="6"/>
                    </a:lnTo>
                    <a:lnTo>
                      <a:pt x="113" y="7"/>
                    </a:lnTo>
                    <a:lnTo>
                      <a:pt x="113" y="7"/>
                    </a:lnTo>
                    <a:lnTo>
                      <a:pt x="113" y="7"/>
                    </a:lnTo>
                    <a:lnTo>
                      <a:pt x="113" y="8"/>
                    </a:lnTo>
                    <a:lnTo>
                      <a:pt x="113" y="8"/>
                    </a:lnTo>
                    <a:lnTo>
                      <a:pt x="113" y="8"/>
                    </a:lnTo>
                    <a:lnTo>
                      <a:pt x="113" y="8"/>
                    </a:lnTo>
                    <a:lnTo>
                      <a:pt x="114" y="9"/>
                    </a:lnTo>
                    <a:lnTo>
                      <a:pt x="114" y="9"/>
                    </a:lnTo>
                    <a:lnTo>
                      <a:pt x="114" y="9"/>
                    </a:lnTo>
                    <a:lnTo>
                      <a:pt x="116" y="9"/>
                    </a:lnTo>
                    <a:lnTo>
                      <a:pt x="118" y="9"/>
                    </a:lnTo>
                    <a:lnTo>
                      <a:pt x="119" y="9"/>
                    </a:lnTo>
                    <a:lnTo>
                      <a:pt x="121" y="9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8"/>
                    </a:lnTo>
                    <a:lnTo>
                      <a:pt x="123" y="8"/>
                    </a:lnTo>
                    <a:lnTo>
                      <a:pt x="123" y="8"/>
                    </a:lnTo>
                    <a:lnTo>
                      <a:pt x="123" y="7"/>
                    </a:lnTo>
                    <a:lnTo>
                      <a:pt x="123" y="7"/>
                    </a:lnTo>
                    <a:lnTo>
                      <a:pt x="123" y="7"/>
                    </a:lnTo>
                    <a:lnTo>
                      <a:pt x="124" y="7"/>
                    </a:lnTo>
                    <a:lnTo>
                      <a:pt x="124" y="7"/>
                    </a:lnTo>
                    <a:lnTo>
                      <a:pt x="125" y="6"/>
                    </a:lnTo>
                    <a:lnTo>
                      <a:pt x="125" y="6"/>
                    </a:lnTo>
                    <a:lnTo>
                      <a:pt x="126" y="6"/>
                    </a:lnTo>
                    <a:lnTo>
                      <a:pt x="126" y="5"/>
                    </a:lnTo>
                    <a:lnTo>
                      <a:pt x="126" y="5"/>
                    </a:lnTo>
                    <a:lnTo>
                      <a:pt x="127" y="5"/>
                    </a:lnTo>
                    <a:lnTo>
                      <a:pt x="127" y="5"/>
                    </a:lnTo>
                    <a:lnTo>
                      <a:pt x="127" y="5"/>
                    </a:lnTo>
                    <a:lnTo>
                      <a:pt x="128" y="5"/>
                    </a:lnTo>
                    <a:lnTo>
                      <a:pt x="128" y="4"/>
                    </a:lnTo>
                    <a:lnTo>
                      <a:pt x="128" y="4"/>
                    </a:lnTo>
                    <a:lnTo>
                      <a:pt x="128" y="4"/>
                    </a:lnTo>
                    <a:lnTo>
                      <a:pt x="129" y="4"/>
                    </a:lnTo>
                    <a:lnTo>
                      <a:pt x="129" y="4"/>
                    </a:lnTo>
                    <a:lnTo>
                      <a:pt x="130" y="4"/>
                    </a:lnTo>
                    <a:lnTo>
                      <a:pt x="131" y="4"/>
                    </a:lnTo>
                    <a:lnTo>
                      <a:pt x="131" y="4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2" y="5"/>
                    </a:lnTo>
                    <a:lnTo>
                      <a:pt x="132" y="5"/>
                    </a:lnTo>
                    <a:lnTo>
                      <a:pt x="132" y="5"/>
                    </a:lnTo>
                    <a:lnTo>
                      <a:pt x="133" y="5"/>
                    </a:lnTo>
                    <a:lnTo>
                      <a:pt x="133" y="6"/>
                    </a:lnTo>
                    <a:lnTo>
                      <a:pt x="133" y="7"/>
                    </a:lnTo>
                    <a:lnTo>
                      <a:pt x="133" y="8"/>
                    </a:lnTo>
                    <a:lnTo>
                      <a:pt x="133" y="9"/>
                    </a:lnTo>
                    <a:lnTo>
                      <a:pt x="133" y="9"/>
                    </a:lnTo>
                    <a:lnTo>
                      <a:pt x="133" y="9"/>
                    </a:lnTo>
                    <a:lnTo>
                      <a:pt x="133" y="10"/>
                    </a:lnTo>
                    <a:lnTo>
                      <a:pt x="133" y="10"/>
                    </a:lnTo>
                    <a:lnTo>
                      <a:pt x="133" y="10"/>
                    </a:lnTo>
                    <a:lnTo>
                      <a:pt x="134" y="10"/>
                    </a:lnTo>
                    <a:lnTo>
                      <a:pt x="134" y="10"/>
                    </a:lnTo>
                    <a:lnTo>
                      <a:pt x="134" y="10"/>
                    </a:lnTo>
                    <a:lnTo>
                      <a:pt x="134" y="11"/>
                    </a:lnTo>
                    <a:lnTo>
                      <a:pt x="135" y="11"/>
                    </a:lnTo>
                    <a:lnTo>
                      <a:pt x="135" y="11"/>
                    </a:lnTo>
                    <a:lnTo>
                      <a:pt x="135" y="12"/>
                    </a:lnTo>
                    <a:lnTo>
                      <a:pt x="135" y="12"/>
                    </a:lnTo>
                    <a:lnTo>
                      <a:pt x="135" y="12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36" y="13"/>
                    </a:lnTo>
                    <a:lnTo>
                      <a:pt x="137" y="13"/>
                    </a:lnTo>
                    <a:lnTo>
                      <a:pt x="137" y="13"/>
                    </a:lnTo>
                    <a:lnTo>
                      <a:pt x="138" y="13"/>
                    </a:lnTo>
                    <a:lnTo>
                      <a:pt x="138" y="13"/>
                    </a:lnTo>
                    <a:lnTo>
                      <a:pt x="139" y="13"/>
                    </a:lnTo>
                    <a:lnTo>
                      <a:pt x="139" y="14"/>
                    </a:lnTo>
                    <a:lnTo>
                      <a:pt x="141" y="14"/>
                    </a:lnTo>
                    <a:lnTo>
                      <a:pt x="143" y="14"/>
                    </a:lnTo>
                    <a:lnTo>
                      <a:pt x="144" y="14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7" y="15"/>
                    </a:lnTo>
                    <a:lnTo>
                      <a:pt x="147" y="15"/>
                    </a:lnTo>
                    <a:lnTo>
                      <a:pt x="148" y="15"/>
                    </a:lnTo>
                    <a:lnTo>
                      <a:pt x="148" y="15"/>
                    </a:lnTo>
                    <a:lnTo>
                      <a:pt x="149" y="15"/>
                    </a:lnTo>
                    <a:lnTo>
                      <a:pt x="149" y="15"/>
                    </a:lnTo>
                    <a:lnTo>
                      <a:pt x="150" y="15"/>
                    </a:lnTo>
                    <a:lnTo>
                      <a:pt x="150" y="15"/>
                    </a:lnTo>
                    <a:lnTo>
                      <a:pt x="151" y="15"/>
                    </a:lnTo>
                    <a:lnTo>
                      <a:pt x="151" y="15"/>
                    </a:lnTo>
                    <a:lnTo>
                      <a:pt x="151" y="16"/>
                    </a:lnTo>
                    <a:lnTo>
                      <a:pt x="152" y="16"/>
                    </a:lnTo>
                    <a:lnTo>
                      <a:pt x="152" y="17"/>
                    </a:lnTo>
                    <a:lnTo>
                      <a:pt x="152" y="18"/>
                    </a:lnTo>
                    <a:lnTo>
                      <a:pt x="152" y="19"/>
                    </a:lnTo>
                    <a:lnTo>
                      <a:pt x="153" y="19"/>
                    </a:lnTo>
                    <a:lnTo>
                      <a:pt x="153" y="21"/>
                    </a:lnTo>
                    <a:lnTo>
                      <a:pt x="153" y="22"/>
                    </a:lnTo>
                    <a:lnTo>
                      <a:pt x="153" y="23"/>
                    </a:lnTo>
                    <a:lnTo>
                      <a:pt x="153" y="23"/>
                    </a:lnTo>
                    <a:lnTo>
                      <a:pt x="153" y="24"/>
                    </a:lnTo>
                    <a:lnTo>
                      <a:pt x="154" y="25"/>
                    </a:lnTo>
                    <a:lnTo>
                      <a:pt x="155" y="25"/>
                    </a:lnTo>
                    <a:lnTo>
                      <a:pt x="155" y="25"/>
                    </a:lnTo>
                    <a:lnTo>
                      <a:pt x="156" y="25"/>
                    </a:lnTo>
                    <a:lnTo>
                      <a:pt x="156" y="25"/>
                    </a:lnTo>
                    <a:lnTo>
                      <a:pt x="156" y="25"/>
                    </a:lnTo>
                    <a:lnTo>
                      <a:pt x="157" y="25"/>
                    </a:lnTo>
                    <a:lnTo>
                      <a:pt x="157" y="25"/>
                    </a:lnTo>
                    <a:lnTo>
                      <a:pt x="158" y="25"/>
                    </a:lnTo>
                    <a:lnTo>
                      <a:pt x="158" y="26"/>
                    </a:lnTo>
                    <a:lnTo>
                      <a:pt x="159" y="27"/>
                    </a:lnTo>
                    <a:lnTo>
                      <a:pt x="159" y="28"/>
                    </a:lnTo>
                    <a:lnTo>
                      <a:pt x="160" y="28"/>
                    </a:lnTo>
                    <a:lnTo>
                      <a:pt x="160" y="29"/>
                    </a:lnTo>
                    <a:lnTo>
                      <a:pt x="161" y="30"/>
                    </a:lnTo>
                    <a:lnTo>
                      <a:pt x="162" y="30"/>
                    </a:lnTo>
                    <a:lnTo>
                      <a:pt x="163" y="30"/>
                    </a:lnTo>
                    <a:lnTo>
                      <a:pt x="163" y="31"/>
                    </a:lnTo>
                    <a:lnTo>
                      <a:pt x="162" y="31"/>
                    </a:lnTo>
                    <a:lnTo>
                      <a:pt x="162" y="32"/>
                    </a:lnTo>
                    <a:lnTo>
                      <a:pt x="162" y="33"/>
                    </a:lnTo>
                    <a:lnTo>
                      <a:pt x="163" y="34"/>
                    </a:lnTo>
                    <a:lnTo>
                      <a:pt x="163" y="34"/>
                    </a:lnTo>
                    <a:lnTo>
                      <a:pt x="163" y="35"/>
                    </a:lnTo>
                    <a:lnTo>
                      <a:pt x="164" y="35"/>
                    </a:lnTo>
                    <a:lnTo>
                      <a:pt x="164" y="36"/>
                    </a:lnTo>
                    <a:lnTo>
                      <a:pt x="165" y="36"/>
                    </a:lnTo>
                    <a:lnTo>
                      <a:pt x="165" y="37"/>
                    </a:lnTo>
                    <a:lnTo>
                      <a:pt x="166" y="37"/>
                    </a:lnTo>
                    <a:lnTo>
                      <a:pt x="166" y="38"/>
                    </a:lnTo>
                    <a:lnTo>
                      <a:pt x="166" y="38"/>
                    </a:lnTo>
                    <a:lnTo>
                      <a:pt x="166" y="39"/>
                    </a:lnTo>
                    <a:lnTo>
                      <a:pt x="166" y="40"/>
                    </a:lnTo>
                    <a:lnTo>
                      <a:pt x="166" y="40"/>
                    </a:lnTo>
                    <a:lnTo>
                      <a:pt x="165" y="40"/>
                    </a:lnTo>
                    <a:lnTo>
                      <a:pt x="165" y="40"/>
                    </a:lnTo>
                    <a:lnTo>
                      <a:pt x="165" y="41"/>
                    </a:lnTo>
                    <a:lnTo>
                      <a:pt x="165" y="41"/>
                    </a:lnTo>
                    <a:lnTo>
                      <a:pt x="164" y="41"/>
                    </a:lnTo>
                    <a:lnTo>
                      <a:pt x="164" y="42"/>
                    </a:lnTo>
                    <a:lnTo>
                      <a:pt x="164" y="42"/>
                    </a:lnTo>
                    <a:lnTo>
                      <a:pt x="164" y="42"/>
                    </a:lnTo>
                    <a:lnTo>
                      <a:pt x="164" y="43"/>
                    </a:lnTo>
                    <a:lnTo>
                      <a:pt x="164" y="43"/>
                    </a:lnTo>
                    <a:lnTo>
                      <a:pt x="164" y="44"/>
                    </a:lnTo>
                    <a:lnTo>
                      <a:pt x="164" y="44"/>
                    </a:lnTo>
                    <a:lnTo>
                      <a:pt x="164" y="44"/>
                    </a:lnTo>
                    <a:lnTo>
                      <a:pt x="164" y="45"/>
                    </a:lnTo>
                    <a:lnTo>
                      <a:pt x="165" y="45"/>
                    </a:lnTo>
                    <a:lnTo>
                      <a:pt x="165" y="45"/>
                    </a:lnTo>
                    <a:lnTo>
                      <a:pt x="165" y="45"/>
                    </a:lnTo>
                    <a:lnTo>
                      <a:pt x="166" y="45"/>
                    </a:lnTo>
                    <a:lnTo>
                      <a:pt x="166" y="45"/>
                    </a:lnTo>
                    <a:lnTo>
                      <a:pt x="166" y="46"/>
                    </a:lnTo>
                    <a:lnTo>
                      <a:pt x="166" y="46"/>
                    </a:lnTo>
                    <a:lnTo>
                      <a:pt x="166" y="47"/>
                    </a:lnTo>
                    <a:lnTo>
                      <a:pt x="166" y="47"/>
                    </a:lnTo>
                    <a:lnTo>
                      <a:pt x="166" y="47"/>
                    </a:lnTo>
                    <a:lnTo>
                      <a:pt x="166" y="48"/>
                    </a:lnTo>
                    <a:lnTo>
                      <a:pt x="166" y="48"/>
                    </a:lnTo>
                    <a:lnTo>
                      <a:pt x="166" y="48"/>
                    </a:lnTo>
                    <a:lnTo>
                      <a:pt x="167" y="48"/>
                    </a:lnTo>
                    <a:lnTo>
                      <a:pt x="167" y="48"/>
                    </a:lnTo>
                    <a:lnTo>
                      <a:pt x="167" y="49"/>
                    </a:lnTo>
                    <a:lnTo>
                      <a:pt x="168" y="49"/>
                    </a:lnTo>
                    <a:lnTo>
                      <a:pt x="168" y="49"/>
                    </a:lnTo>
                    <a:lnTo>
                      <a:pt x="168" y="49"/>
                    </a:lnTo>
                    <a:lnTo>
                      <a:pt x="168" y="50"/>
                    </a:lnTo>
                    <a:lnTo>
                      <a:pt x="168" y="50"/>
                    </a:lnTo>
                    <a:lnTo>
                      <a:pt x="168" y="50"/>
                    </a:lnTo>
                    <a:lnTo>
                      <a:pt x="167" y="50"/>
                    </a:lnTo>
                    <a:lnTo>
                      <a:pt x="167" y="51"/>
                    </a:lnTo>
                    <a:lnTo>
                      <a:pt x="167" y="51"/>
                    </a:lnTo>
                    <a:lnTo>
                      <a:pt x="167" y="52"/>
                    </a:lnTo>
                    <a:lnTo>
                      <a:pt x="167" y="52"/>
                    </a:lnTo>
                    <a:lnTo>
                      <a:pt x="167" y="53"/>
                    </a:lnTo>
                    <a:lnTo>
                      <a:pt x="167" y="54"/>
                    </a:lnTo>
                    <a:lnTo>
                      <a:pt x="167" y="55"/>
                    </a:lnTo>
                    <a:lnTo>
                      <a:pt x="168" y="55"/>
                    </a:lnTo>
                    <a:lnTo>
                      <a:pt x="168" y="56"/>
                    </a:lnTo>
                    <a:lnTo>
                      <a:pt x="168" y="57"/>
                    </a:lnTo>
                    <a:lnTo>
                      <a:pt x="168" y="58"/>
                    </a:lnTo>
                    <a:lnTo>
                      <a:pt x="168" y="59"/>
                    </a:lnTo>
                    <a:lnTo>
                      <a:pt x="168" y="60"/>
                    </a:lnTo>
                    <a:lnTo>
                      <a:pt x="168" y="61"/>
                    </a:lnTo>
                    <a:lnTo>
                      <a:pt x="168" y="62"/>
                    </a:lnTo>
                    <a:lnTo>
                      <a:pt x="166" y="65"/>
                    </a:lnTo>
                    <a:lnTo>
                      <a:pt x="164" y="67"/>
                    </a:lnTo>
                    <a:lnTo>
                      <a:pt x="164" y="68"/>
                    </a:lnTo>
                    <a:lnTo>
                      <a:pt x="163" y="70"/>
                    </a:lnTo>
                    <a:lnTo>
                      <a:pt x="162" y="71"/>
                    </a:lnTo>
                    <a:lnTo>
                      <a:pt x="161" y="72"/>
                    </a:lnTo>
                    <a:lnTo>
                      <a:pt x="158" y="72"/>
                    </a:lnTo>
                    <a:lnTo>
                      <a:pt x="155" y="72"/>
                    </a:lnTo>
                    <a:lnTo>
                      <a:pt x="152" y="72"/>
                    </a:lnTo>
                    <a:lnTo>
                      <a:pt x="149" y="72"/>
                    </a:lnTo>
                    <a:lnTo>
                      <a:pt x="149" y="73"/>
                    </a:lnTo>
                    <a:lnTo>
                      <a:pt x="149" y="73"/>
                    </a:lnTo>
                    <a:lnTo>
                      <a:pt x="148" y="74"/>
                    </a:lnTo>
                    <a:lnTo>
                      <a:pt x="148" y="75"/>
                    </a:lnTo>
                    <a:lnTo>
                      <a:pt x="147" y="76"/>
                    </a:lnTo>
                    <a:lnTo>
                      <a:pt x="146" y="77"/>
                    </a:lnTo>
                    <a:lnTo>
                      <a:pt x="145" y="79"/>
                    </a:lnTo>
                    <a:lnTo>
                      <a:pt x="144" y="79"/>
                    </a:lnTo>
                    <a:lnTo>
                      <a:pt x="144" y="80"/>
                    </a:lnTo>
                    <a:lnTo>
                      <a:pt x="144" y="81"/>
                    </a:lnTo>
                    <a:lnTo>
                      <a:pt x="143" y="82"/>
                    </a:lnTo>
                    <a:lnTo>
                      <a:pt x="143" y="83"/>
                    </a:lnTo>
                    <a:lnTo>
                      <a:pt x="143" y="83"/>
                    </a:lnTo>
                    <a:lnTo>
                      <a:pt x="142" y="84"/>
                    </a:lnTo>
                    <a:lnTo>
                      <a:pt x="141" y="84"/>
                    </a:lnTo>
                    <a:lnTo>
                      <a:pt x="140" y="84"/>
                    </a:lnTo>
                    <a:lnTo>
                      <a:pt x="139" y="84"/>
                    </a:lnTo>
                    <a:lnTo>
                      <a:pt x="138" y="84"/>
                    </a:lnTo>
                    <a:lnTo>
                      <a:pt x="138" y="83"/>
                    </a:lnTo>
                    <a:lnTo>
                      <a:pt x="136" y="83"/>
                    </a:lnTo>
                    <a:lnTo>
                      <a:pt x="135" y="83"/>
                    </a:lnTo>
                    <a:lnTo>
                      <a:pt x="134" y="82"/>
                    </a:lnTo>
                    <a:lnTo>
                      <a:pt x="132" y="82"/>
                    </a:lnTo>
                    <a:lnTo>
                      <a:pt x="131" y="82"/>
                    </a:lnTo>
                    <a:lnTo>
                      <a:pt x="130" y="82"/>
                    </a:lnTo>
                    <a:lnTo>
                      <a:pt x="130" y="83"/>
                    </a:lnTo>
                    <a:lnTo>
                      <a:pt x="129" y="83"/>
                    </a:lnTo>
                    <a:lnTo>
                      <a:pt x="129" y="84"/>
                    </a:lnTo>
                    <a:lnTo>
                      <a:pt x="128" y="84"/>
                    </a:lnTo>
                    <a:lnTo>
                      <a:pt x="128" y="85"/>
                    </a:lnTo>
                    <a:lnTo>
                      <a:pt x="128" y="86"/>
                    </a:lnTo>
                    <a:lnTo>
                      <a:pt x="128" y="87"/>
                    </a:lnTo>
                    <a:lnTo>
                      <a:pt x="127" y="87"/>
                    </a:lnTo>
                    <a:lnTo>
                      <a:pt x="127" y="87"/>
                    </a:lnTo>
                    <a:lnTo>
                      <a:pt x="127" y="87"/>
                    </a:lnTo>
                    <a:lnTo>
                      <a:pt x="126" y="87"/>
                    </a:lnTo>
                    <a:lnTo>
                      <a:pt x="126" y="88"/>
                    </a:lnTo>
                    <a:lnTo>
                      <a:pt x="126" y="88"/>
                    </a:lnTo>
                    <a:lnTo>
                      <a:pt x="126" y="88"/>
                    </a:lnTo>
                    <a:lnTo>
                      <a:pt x="126" y="89"/>
                    </a:lnTo>
                    <a:lnTo>
                      <a:pt x="125" y="91"/>
                    </a:lnTo>
                    <a:lnTo>
                      <a:pt x="123" y="93"/>
                    </a:lnTo>
                    <a:lnTo>
                      <a:pt x="121" y="95"/>
                    </a:lnTo>
                    <a:lnTo>
                      <a:pt x="119" y="97"/>
                    </a:lnTo>
                    <a:lnTo>
                      <a:pt x="119" y="97"/>
                    </a:lnTo>
                    <a:lnTo>
                      <a:pt x="119" y="97"/>
                    </a:lnTo>
                    <a:lnTo>
                      <a:pt x="118" y="97"/>
                    </a:lnTo>
                    <a:lnTo>
                      <a:pt x="118" y="97"/>
                    </a:lnTo>
                    <a:lnTo>
                      <a:pt x="117" y="96"/>
                    </a:lnTo>
                    <a:lnTo>
                      <a:pt x="116" y="96"/>
                    </a:lnTo>
                    <a:lnTo>
                      <a:pt x="115" y="95"/>
                    </a:lnTo>
                    <a:lnTo>
                      <a:pt x="115" y="94"/>
                    </a:lnTo>
                    <a:lnTo>
                      <a:pt x="113" y="93"/>
                    </a:lnTo>
                    <a:lnTo>
                      <a:pt x="112" y="92"/>
                    </a:lnTo>
                    <a:lnTo>
                      <a:pt x="111" y="90"/>
                    </a:lnTo>
                    <a:lnTo>
                      <a:pt x="109" y="89"/>
                    </a:lnTo>
                    <a:lnTo>
                      <a:pt x="109" y="88"/>
                    </a:lnTo>
                    <a:lnTo>
                      <a:pt x="108" y="88"/>
                    </a:lnTo>
                    <a:lnTo>
                      <a:pt x="107" y="87"/>
                    </a:lnTo>
                    <a:lnTo>
                      <a:pt x="106" y="87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5"/>
                    </a:lnTo>
                    <a:lnTo>
                      <a:pt x="105" y="85"/>
                    </a:lnTo>
                    <a:lnTo>
                      <a:pt x="105" y="85"/>
                    </a:lnTo>
                    <a:lnTo>
                      <a:pt x="105" y="85"/>
                    </a:lnTo>
                    <a:lnTo>
                      <a:pt x="104" y="85"/>
                    </a:lnTo>
                    <a:lnTo>
                      <a:pt x="103" y="85"/>
                    </a:lnTo>
                    <a:lnTo>
                      <a:pt x="101" y="85"/>
                    </a:lnTo>
                    <a:lnTo>
                      <a:pt x="100" y="85"/>
                    </a:lnTo>
                    <a:lnTo>
                      <a:pt x="98" y="85"/>
                    </a:lnTo>
                    <a:lnTo>
                      <a:pt x="97" y="85"/>
                    </a:lnTo>
                    <a:lnTo>
                      <a:pt x="96" y="85"/>
                    </a:lnTo>
                    <a:lnTo>
                      <a:pt x="94" y="85"/>
                    </a:lnTo>
                    <a:lnTo>
                      <a:pt x="93" y="86"/>
                    </a:lnTo>
                    <a:lnTo>
                      <a:pt x="92" y="86"/>
                    </a:lnTo>
                    <a:lnTo>
                      <a:pt x="91" y="86"/>
                    </a:lnTo>
                    <a:lnTo>
                      <a:pt x="90" y="87"/>
                    </a:lnTo>
                    <a:lnTo>
                      <a:pt x="89" y="88"/>
                    </a:lnTo>
                    <a:lnTo>
                      <a:pt x="88" y="88"/>
                    </a:lnTo>
                    <a:lnTo>
                      <a:pt x="88" y="89"/>
                    </a:lnTo>
                    <a:lnTo>
                      <a:pt x="87" y="89"/>
                    </a:lnTo>
                    <a:lnTo>
                      <a:pt x="86" y="90"/>
                    </a:lnTo>
                    <a:lnTo>
                      <a:pt x="83" y="90"/>
                    </a:lnTo>
                    <a:lnTo>
                      <a:pt x="80" y="90"/>
                    </a:lnTo>
                    <a:lnTo>
                      <a:pt x="77" y="90"/>
                    </a:lnTo>
                    <a:lnTo>
                      <a:pt x="74" y="90"/>
                    </a:lnTo>
                    <a:lnTo>
                      <a:pt x="73" y="90"/>
                    </a:lnTo>
                    <a:lnTo>
                      <a:pt x="72" y="91"/>
                    </a:lnTo>
                    <a:lnTo>
                      <a:pt x="72" y="91"/>
                    </a:lnTo>
                    <a:lnTo>
                      <a:pt x="71" y="91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68" y="93"/>
                    </a:lnTo>
                    <a:lnTo>
                      <a:pt x="67" y="94"/>
                    </a:lnTo>
                    <a:lnTo>
                      <a:pt x="67" y="95"/>
                    </a:lnTo>
                    <a:lnTo>
                      <a:pt x="66" y="95"/>
                    </a:lnTo>
                    <a:lnTo>
                      <a:pt x="65" y="96"/>
                    </a:lnTo>
                    <a:lnTo>
                      <a:pt x="65" y="96"/>
                    </a:lnTo>
                    <a:lnTo>
                      <a:pt x="64" y="97"/>
                    </a:lnTo>
                    <a:lnTo>
                      <a:pt x="63" y="97"/>
                    </a:lnTo>
                    <a:lnTo>
                      <a:pt x="61" y="97"/>
                    </a:lnTo>
                    <a:lnTo>
                      <a:pt x="60" y="97"/>
                    </a:lnTo>
                    <a:lnTo>
                      <a:pt x="59" y="97"/>
                    </a:lnTo>
                    <a:lnTo>
                      <a:pt x="57" y="97"/>
                    </a:lnTo>
                    <a:lnTo>
                      <a:pt x="56" y="96"/>
                    </a:lnTo>
                    <a:lnTo>
                      <a:pt x="55" y="96"/>
                    </a:lnTo>
                    <a:lnTo>
                      <a:pt x="54" y="96"/>
                    </a:lnTo>
                    <a:lnTo>
                      <a:pt x="53" y="96"/>
                    </a:lnTo>
                    <a:lnTo>
                      <a:pt x="50" y="95"/>
                    </a:lnTo>
                    <a:lnTo>
                      <a:pt x="49" y="94"/>
                    </a:lnTo>
                    <a:lnTo>
                      <a:pt x="47" y="93"/>
                    </a:lnTo>
                    <a:lnTo>
                      <a:pt x="45" y="92"/>
                    </a:lnTo>
                    <a:lnTo>
                      <a:pt x="43" y="91"/>
                    </a:lnTo>
                    <a:lnTo>
                      <a:pt x="41" y="91"/>
                    </a:lnTo>
                    <a:lnTo>
                      <a:pt x="39" y="90"/>
                    </a:lnTo>
                    <a:lnTo>
                      <a:pt x="37" y="89"/>
                    </a:lnTo>
                    <a:lnTo>
                      <a:pt x="36" y="89"/>
                    </a:lnTo>
                    <a:lnTo>
                      <a:pt x="34" y="89"/>
                    </a:lnTo>
                    <a:lnTo>
                      <a:pt x="33" y="88"/>
                    </a:lnTo>
                    <a:lnTo>
                      <a:pt x="32" y="88"/>
                    </a:lnTo>
                    <a:lnTo>
                      <a:pt x="31" y="88"/>
                    </a:lnTo>
                    <a:lnTo>
                      <a:pt x="29" y="88"/>
                    </a:lnTo>
                    <a:lnTo>
                      <a:pt x="28" y="88"/>
                    </a:lnTo>
                    <a:lnTo>
                      <a:pt x="26" y="89"/>
                    </a:lnTo>
                    <a:lnTo>
                      <a:pt x="26" y="88"/>
                    </a:lnTo>
                    <a:lnTo>
                      <a:pt x="26" y="87"/>
                    </a:lnTo>
                    <a:lnTo>
                      <a:pt x="26" y="87"/>
                    </a:lnTo>
                    <a:lnTo>
                      <a:pt x="25" y="87"/>
                    </a:lnTo>
                    <a:lnTo>
                      <a:pt x="25" y="87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3" y="86"/>
                    </a:lnTo>
                    <a:lnTo>
                      <a:pt x="22" y="87"/>
                    </a:lnTo>
                    <a:lnTo>
                      <a:pt x="20" y="87"/>
                    </a:lnTo>
                    <a:lnTo>
                      <a:pt x="19" y="87"/>
                    </a:lnTo>
                    <a:lnTo>
                      <a:pt x="19" y="87"/>
                    </a:lnTo>
                    <a:lnTo>
                      <a:pt x="18" y="87"/>
                    </a:lnTo>
                    <a:lnTo>
                      <a:pt x="18" y="87"/>
                    </a:lnTo>
                    <a:lnTo>
                      <a:pt x="8" y="87"/>
                    </a:lnTo>
                    <a:lnTo>
                      <a:pt x="8" y="86"/>
                    </a:lnTo>
                    <a:lnTo>
                      <a:pt x="8" y="85"/>
                    </a:lnTo>
                    <a:lnTo>
                      <a:pt x="8" y="84"/>
                    </a:lnTo>
                    <a:lnTo>
                      <a:pt x="8" y="83"/>
                    </a:lnTo>
                    <a:lnTo>
                      <a:pt x="7" y="83"/>
                    </a:lnTo>
                    <a:lnTo>
                      <a:pt x="7" y="82"/>
                    </a:lnTo>
                    <a:lnTo>
                      <a:pt x="6" y="81"/>
                    </a:lnTo>
                    <a:lnTo>
                      <a:pt x="6" y="80"/>
                    </a:lnTo>
                    <a:lnTo>
                      <a:pt x="5" y="80"/>
                    </a:lnTo>
                    <a:lnTo>
                      <a:pt x="5" y="79"/>
                    </a:lnTo>
                    <a:lnTo>
                      <a:pt x="4" y="79"/>
                    </a:lnTo>
                    <a:lnTo>
                      <a:pt x="3" y="79"/>
                    </a:lnTo>
                    <a:lnTo>
                      <a:pt x="2" y="78"/>
                    </a:lnTo>
                    <a:lnTo>
                      <a:pt x="2" y="78"/>
                    </a:lnTo>
                    <a:lnTo>
                      <a:pt x="1" y="78"/>
                    </a:lnTo>
                    <a:lnTo>
                      <a:pt x="1" y="77"/>
                    </a:lnTo>
                    <a:lnTo>
                      <a:pt x="1" y="77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3"/>
                    </a:lnTo>
                    <a:lnTo>
                      <a:pt x="1" y="73"/>
                    </a:lnTo>
                    <a:lnTo>
                      <a:pt x="1" y="72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1" y="71"/>
                    </a:lnTo>
                    <a:lnTo>
                      <a:pt x="2" y="70"/>
                    </a:lnTo>
                    <a:lnTo>
                      <a:pt x="2" y="70"/>
                    </a:lnTo>
                    <a:lnTo>
                      <a:pt x="2" y="69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4" y="69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7"/>
                    </a:lnTo>
                    <a:lnTo>
                      <a:pt x="4" y="67"/>
                    </a:lnTo>
                    <a:lnTo>
                      <a:pt x="5" y="66"/>
                    </a:lnTo>
                    <a:lnTo>
                      <a:pt x="5" y="66"/>
                    </a:lnTo>
                    <a:lnTo>
                      <a:pt x="5" y="65"/>
                    </a:lnTo>
                    <a:lnTo>
                      <a:pt x="6" y="65"/>
                    </a:lnTo>
                    <a:lnTo>
                      <a:pt x="6" y="64"/>
                    </a:lnTo>
                    <a:lnTo>
                      <a:pt x="7" y="64"/>
                    </a:lnTo>
                    <a:lnTo>
                      <a:pt x="7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9" y="64"/>
                    </a:lnTo>
                    <a:lnTo>
                      <a:pt x="10" y="64"/>
                    </a:lnTo>
                    <a:lnTo>
                      <a:pt x="10" y="63"/>
                    </a:lnTo>
                    <a:lnTo>
                      <a:pt x="11" y="63"/>
                    </a:lnTo>
                    <a:lnTo>
                      <a:pt x="11" y="63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2" y="62"/>
                    </a:lnTo>
                    <a:lnTo>
                      <a:pt x="12" y="61"/>
                    </a:lnTo>
                    <a:lnTo>
                      <a:pt x="13" y="61"/>
                    </a:lnTo>
                    <a:lnTo>
                      <a:pt x="13" y="61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5" y="58"/>
                    </a:lnTo>
                    <a:lnTo>
                      <a:pt x="15" y="58"/>
                    </a:lnTo>
                    <a:lnTo>
                      <a:pt x="16" y="58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6"/>
                    </a:lnTo>
                    <a:lnTo>
                      <a:pt x="17" y="55"/>
                    </a:lnTo>
                    <a:lnTo>
                      <a:pt x="16" y="55"/>
                    </a:lnTo>
                    <a:lnTo>
                      <a:pt x="16" y="54"/>
                    </a:lnTo>
                    <a:lnTo>
                      <a:pt x="16" y="53"/>
                    </a:lnTo>
                    <a:lnTo>
                      <a:pt x="16" y="53"/>
                    </a:lnTo>
                    <a:lnTo>
                      <a:pt x="15" y="52"/>
                    </a:lnTo>
                    <a:lnTo>
                      <a:pt x="15" y="51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3" y="48"/>
                    </a:lnTo>
                    <a:lnTo>
                      <a:pt x="13" y="48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4" y="47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3"/>
                    </a:lnTo>
                    <a:lnTo>
                      <a:pt x="14" y="43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39"/>
                    </a:lnTo>
                    <a:lnTo>
                      <a:pt x="16" y="39"/>
                    </a:lnTo>
                    <a:lnTo>
                      <a:pt x="16" y="38"/>
                    </a:lnTo>
                    <a:lnTo>
                      <a:pt x="17" y="38"/>
                    </a:lnTo>
                    <a:lnTo>
                      <a:pt x="17" y="37"/>
                    </a:lnTo>
                    <a:lnTo>
                      <a:pt x="17" y="37"/>
                    </a:lnTo>
                    <a:lnTo>
                      <a:pt x="17" y="37"/>
                    </a:lnTo>
                    <a:lnTo>
                      <a:pt x="18" y="37"/>
                    </a:lnTo>
                    <a:lnTo>
                      <a:pt x="19" y="37"/>
                    </a:lnTo>
                    <a:lnTo>
                      <a:pt x="20" y="37"/>
                    </a:lnTo>
                    <a:lnTo>
                      <a:pt x="20" y="37"/>
                    </a:lnTo>
                    <a:lnTo>
                      <a:pt x="21" y="37"/>
                    </a:lnTo>
                    <a:lnTo>
                      <a:pt x="22" y="37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4" y="35"/>
                    </a:lnTo>
                    <a:lnTo>
                      <a:pt x="24" y="35"/>
                    </a:lnTo>
                    <a:lnTo>
                      <a:pt x="24" y="35"/>
                    </a:lnTo>
                    <a:lnTo>
                      <a:pt x="25" y="35"/>
                    </a:lnTo>
                    <a:lnTo>
                      <a:pt x="26" y="35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7" y="34"/>
                    </a:lnTo>
                    <a:lnTo>
                      <a:pt x="27" y="33"/>
                    </a:lnTo>
                    <a:lnTo>
                      <a:pt x="27" y="33"/>
                    </a:lnTo>
                    <a:lnTo>
                      <a:pt x="28" y="32"/>
                    </a:lnTo>
                    <a:lnTo>
                      <a:pt x="28" y="30"/>
                    </a:lnTo>
                    <a:lnTo>
                      <a:pt x="28" y="29"/>
                    </a:lnTo>
                    <a:lnTo>
                      <a:pt x="28" y="28"/>
                    </a:lnTo>
                    <a:lnTo>
                      <a:pt x="28" y="27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5"/>
                    </a:lnTo>
                    <a:lnTo>
                      <a:pt x="29" y="25"/>
                    </a:lnTo>
                    <a:lnTo>
                      <a:pt x="29" y="24"/>
                    </a:lnTo>
                    <a:lnTo>
                      <a:pt x="29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1" y="24"/>
                    </a:lnTo>
                    <a:lnTo>
                      <a:pt x="32" y="24"/>
                    </a:lnTo>
                    <a:lnTo>
                      <a:pt x="33" y="24"/>
                    </a:lnTo>
                    <a:lnTo>
                      <a:pt x="33" y="24"/>
                    </a:lnTo>
                    <a:lnTo>
                      <a:pt x="34" y="24"/>
                    </a:lnTo>
                    <a:lnTo>
                      <a:pt x="35" y="25"/>
                    </a:lnTo>
                    <a:lnTo>
                      <a:pt x="36" y="25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7" y="28"/>
                    </a:lnTo>
                    <a:lnTo>
                      <a:pt x="37" y="29"/>
                    </a:lnTo>
                    <a:lnTo>
                      <a:pt x="37" y="29"/>
                    </a:lnTo>
                    <a:lnTo>
                      <a:pt x="38" y="29"/>
                    </a:lnTo>
                    <a:lnTo>
                      <a:pt x="38" y="29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1"/>
                    </a:lnTo>
                    <a:lnTo>
                      <a:pt x="38" y="31"/>
                    </a:lnTo>
                    <a:lnTo>
                      <a:pt x="38" y="31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9" y="32"/>
                    </a:lnTo>
                    <a:lnTo>
                      <a:pt x="39" y="32"/>
                    </a:lnTo>
                    <a:lnTo>
                      <a:pt x="39" y="32"/>
                    </a:lnTo>
                    <a:lnTo>
                      <a:pt x="39" y="34"/>
                    </a:lnTo>
                    <a:lnTo>
                      <a:pt x="39" y="35"/>
                    </a:lnTo>
                    <a:lnTo>
                      <a:pt x="39" y="37"/>
                    </a:lnTo>
                    <a:lnTo>
                      <a:pt x="39" y="39"/>
                    </a:lnTo>
                    <a:lnTo>
                      <a:pt x="39" y="39"/>
                    </a:lnTo>
                    <a:lnTo>
                      <a:pt x="39" y="39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1" y="40"/>
                    </a:lnTo>
                    <a:lnTo>
                      <a:pt x="41" y="40"/>
                    </a:lnTo>
                    <a:lnTo>
                      <a:pt x="41" y="41"/>
                    </a:lnTo>
                    <a:lnTo>
                      <a:pt x="41" y="41"/>
                    </a:lnTo>
                    <a:lnTo>
                      <a:pt x="41" y="42"/>
                    </a:lnTo>
                    <a:lnTo>
                      <a:pt x="41" y="42"/>
                    </a:lnTo>
                    <a:lnTo>
                      <a:pt x="41" y="43"/>
                    </a:lnTo>
                    <a:lnTo>
                      <a:pt x="41" y="43"/>
                    </a:lnTo>
                    <a:lnTo>
                      <a:pt x="41" y="43"/>
                    </a:lnTo>
                    <a:lnTo>
                      <a:pt x="42" y="44"/>
                    </a:lnTo>
                    <a:lnTo>
                      <a:pt x="42" y="44"/>
                    </a:lnTo>
                    <a:lnTo>
                      <a:pt x="43" y="45"/>
                    </a:lnTo>
                    <a:lnTo>
                      <a:pt x="43" y="45"/>
                    </a:lnTo>
                    <a:lnTo>
                      <a:pt x="43" y="45"/>
                    </a:lnTo>
                    <a:lnTo>
                      <a:pt x="44" y="45"/>
                    </a:lnTo>
                    <a:lnTo>
                      <a:pt x="44" y="45"/>
                    </a:lnTo>
                    <a:lnTo>
                      <a:pt x="45" y="45"/>
                    </a:lnTo>
                    <a:lnTo>
                      <a:pt x="49" y="45"/>
                    </a:lnTo>
                    <a:lnTo>
                      <a:pt x="50" y="45"/>
                    </a:lnTo>
                    <a:lnTo>
                      <a:pt x="51" y="45"/>
                    </a:lnTo>
                    <a:lnTo>
                      <a:pt x="52" y="45"/>
                    </a:lnTo>
                    <a:lnTo>
                      <a:pt x="53" y="45"/>
                    </a:lnTo>
                    <a:lnTo>
                      <a:pt x="53" y="45"/>
                    </a:lnTo>
                    <a:lnTo>
                      <a:pt x="54" y="45"/>
                    </a:lnTo>
                    <a:lnTo>
                      <a:pt x="54" y="45"/>
                    </a:lnTo>
                    <a:lnTo>
                      <a:pt x="54" y="44"/>
                    </a:lnTo>
                    <a:lnTo>
                      <a:pt x="54" y="44"/>
                    </a:lnTo>
                    <a:lnTo>
                      <a:pt x="55" y="44"/>
                    </a:lnTo>
                    <a:lnTo>
                      <a:pt x="55" y="44"/>
                    </a:lnTo>
                    <a:lnTo>
                      <a:pt x="56" y="44"/>
                    </a:lnTo>
                    <a:lnTo>
                      <a:pt x="57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5"/>
                    </a:lnTo>
                    <a:lnTo>
                      <a:pt x="58" y="45"/>
                    </a:lnTo>
                    <a:lnTo>
                      <a:pt x="59" y="45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60" y="43"/>
                    </a:lnTo>
                    <a:lnTo>
                      <a:pt x="59" y="43"/>
                    </a:lnTo>
                    <a:lnTo>
                      <a:pt x="59" y="43"/>
                    </a:lnTo>
                    <a:lnTo>
                      <a:pt x="59" y="42"/>
                    </a:lnTo>
                    <a:lnTo>
                      <a:pt x="59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1"/>
                    </a:lnTo>
                    <a:lnTo>
                      <a:pt x="58" y="41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9" y="40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59" y="38"/>
                    </a:lnTo>
                    <a:lnTo>
                      <a:pt x="59" y="38"/>
                    </a:lnTo>
                    <a:lnTo>
                      <a:pt x="59" y="38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58" y="37"/>
                    </a:lnTo>
                    <a:lnTo>
                      <a:pt x="58" y="37"/>
                    </a:lnTo>
                    <a:lnTo>
                      <a:pt x="58" y="37"/>
                    </a:lnTo>
                    <a:lnTo>
                      <a:pt x="58" y="37"/>
                    </a:lnTo>
                    <a:lnTo>
                      <a:pt x="58" y="36"/>
                    </a:lnTo>
                    <a:lnTo>
                      <a:pt x="58" y="36"/>
                    </a:lnTo>
                    <a:lnTo>
                      <a:pt x="58" y="35"/>
                    </a:lnTo>
                    <a:lnTo>
                      <a:pt x="58" y="35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7" y="34"/>
                    </a:lnTo>
                    <a:lnTo>
                      <a:pt x="57" y="34"/>
                    </a:lnTo>
                    <a:lnTo>
                      <a:pt x="57" y="34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24"/>
                    </a:lnTo>
                    <a:lnTo>
                      <a:pt x="57" y="24"/>
                    </a:lnTo>
                    <a:lnTo>
                      <a:pt x="58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60" y="24"/>
                    </a:lnTo>
                    <a:lnTo>
                      <a:pt x="60" y="23"/>
                    </a:lnTo>
                    <a:lnTo>
                      <a:pt x="61" y="23"/>
                    </a:lnTo>
                    <a:lnTo>
                      <a:pt x="61" y="23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1"/>
                    </a:lnTo>
                    <a:lnTo>
                      <a:pt x="64" y="21"/>
                    </a:lnTo>
                    <a:lnTo>
                      <a:pt x="64" y="21"/>
                    </a:lnTo>
                    <a:lnTo>
                      <a:pt x="64" y="20"/>
                    </a:lnTo>
                    <a:lnTo>
                      <a:pt x="69" y="20"/>
                    </a:lnTo>
                    <a:lnTo>
                      <a:pt x="70" y="20"/>
                    </a:lnTo>
                    <a:lnTo>
                      <a:pt x="70" y="20"/>
                    </a:lnTo>
                    <a:lnTo>
                      <a:pt x="71" y="20"/>
                    </a:lnTo>
                    <a:lnTo>
                      <a:pt x="71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3" y="20"/>
                    </a:lnTo>
                    <a:lnTo>
                      <a:pt x="73" y="20"/>
                    </a:lnTo>
                    <a:lnTo>
                      <a:pt x="73" y="20"/>
                    </a:lnTo>
                    <a:lnTo>
                      <a:pt x="74" y="19"/>
                    </a:lnTo>
                    <a:lnTo>
                      <a:pt x="74" y="19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7"/>
                    </a:lnTo>
                    <a:lnTo>
                      <a:pt x="74" y="15"/>
                    </a:lnTo>
                    <a:lnTo>
                      <a:pt x="74" y="14"/>
                    </a:lnTo>
                    <a:lnTo>
                      <a:pt x="74" y="14"/>
                    </a:lnTo>
                    <a:lnTo>
                      <a:pt x="75" y="13"/>
                    </a:lnTo>
                    <a:lnTo>
                      <a:pt x="75" y="13"/>
                    </a:lnTo>
                    <a:lnTo>
                      <a:pt x="75" y="12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77" y="12"/>
                    </a:lnTo>
                    <a:lnTo>
                      <a:pt x="78" y="12"/>
                    </a:lnTo>
                    <a:lnTo>
                      <a:pt x="79" y="12"/>
                    </a:lnTo>
                    <a:lnTo>
                      <a:pt x="79" y="12"/>
                    </a:lnTo>
                    <a:lnTo>
                      <a:pt x="80" y="12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2" y="13"/>
                    </a:lnTo>
                    <a:lnTo>
                      <a:pt x="82" y="13"/>
                    </a:lnTo>
                    <a:lnTo>
                      <a:pt x="82" y="13"/>
                    </a:lnTo>
                    <a:lnTo>
                      <a:pt x="82" y="13"/>
                    </a:lnTo>
                    <a:lnTo>
                      <a:pt x="83" y="13"/>
                    </a:lnTo>
                    <a:lnTo>
                      <a:pt x="83" y="12"/>
                    </a:lnTo>
                    <a:lnTo>
                      <a:pt x="83" y="12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5" y="10"/>
                    </a:lnTo>
                    <a:lnTo>
                      <a:pt x="86" y="10"/>
                    </a:lnTo>
                    <a:lnTo>
                      <a:pt x="88" y="10"/>
                    </a:lnTo>
                    <a:lnTo>
                      <a:pt x="89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1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4" y="8"/>
                    </a:lnTo>
                    <a:lnTo>
                      <a:pt x="94" y="8"/>
                    </a:lnTo>
                    <a:lnTo>
                      <a:pt x="95" y="7"/>
                    </a:lnTo>
                    <a:lnTo>
                      <a:pt x="96" y="7"/>
                    </a:lnTo>
                    <a:lnTo>
                      <a:pt x="96" y="6"/>
                    </a:lnTo>
                    <a:lnTo>
                      <a:pt x="97" y="5"/>
                    </a:lnTo>
                    <a:lnTo>
                      <a:pt x="97" y="5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9" y="3"/>
                    </a:lnTo>
                    <a:lnTo>
                      <a:pt x="99" y="3"/>
                    </a:lnTo>
                    <a:lnTo>
                      <a:pt x="100" y="3"/>
                    </a:lnTo>
                    <a:lnTo>
                      <a:pt x="100" y="2"/>
                    </a:lnTo>
                    <a:lnTo>
                      <a:pt x="101" y="2"/>
                    </a:lnTo>
                    <a:lnTo>
                      <a:pt x="101" y="2"/>
                    </a:ln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rgbClr val="356D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  <a:defRPr/>
                </a:pPr>
                <a:endParaRPr lang="en-US" sz="1200" dirty="0">
                  <a:solidFill>
                    <a:schemeClr val="tx1"/>
                  </a:solidFill>
                  <a:effectLst>
                    <a:glow rad="127000">
                      <a:schemeClr val="accent1"/>
                    </a:glow>
                  </a:effectLst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0" name="Freeform 6"/>
              <p:cNvSpPr>
                <a:spLocks/>
              </p:cNvSpPr>
              <p:nvPr/>
            </p:nvSpPr>
            <p:spPr bwMode="auto">
              <a:xfrm>
                <a:off x="6443784" y="2364327"/>
                <a:ext cx="1984375" cy="1842130"/>
              </a:xfrm>
              <a:custGeom>
                <a:avLst/>
                <a:gdLst/>
                <a:ahLst/>
                <a:cxnLst>
                  <a:cxn ang="0">
                    <a:pos x="25" y="46"/>
                  </a:cxn>
                  <a:cxn ang="0">
                    <a:pos x="15" y="28"/>
                  </a:cxn>
                  <a:cxn ang="0">
                    <a:pos x="19" y="11"/>
                  </a:cxn>
                  <a:cxn ang="0">
                    <a:pos x="33" y="2"/>
                  </a:cxn>
                  <a:cxn ang="0">
                    <a:pos x="37" y="9"/>
                  </a:cxn>
                  <a:cxn ang="0">
                    <a:pos x="42" y="15"/>
                  </a:cxn>
                  <a:cxn ang="0">
                    <a:pos x="46" y="22"/>
                  </a:cxn>
                  <a:cxn ang="0">
                    <a:pos x="51" y="28"/>
                  </a:cxn>
                  <a:cxn ang="0">
                    <a:pos x="61" y="20"/>
                  </a:cxn>
                  <a:cxn ang="0">
                    <a:pos x="61" y="13"/>
                  </a:cxn>
                  <a:cxn ang="0">
                    <a:pos x="65" y="11"/>
                  </a:cxn>
                  <a:cxn ang="0">
                    <a:pos x="70" y="13"/>
                  </a:cxn>
                  <a:cxn ang="0">
                    <a:pos x="72" y="18"/>
                  </a:cxn>
                  <a:cxn ang="0">
                    <a:pos x="77" y="21"/>
                  </a:cxn>
                  <a:cxn ang="0">
                    <a:pos x="83" y="24"/>
                  </a:cxn>
                  <a:cxn ang="0">
                    <a:pos x="92" y="21"/>
                  </a:cxn>
                  <a:cxn ang="0">
                    <a:pos x="104" y="16"/>
                  </a:cxn>
                  <a:cxn ang="0">
                    <a:pos x="111" y="14"/>
                  </a:cxn>
                  <a:cxn ang="0">
                    <a:pos x="114" y="11"/>
                  </a:cxn>
                  <a:cxn ang="0">
                    <a:pos x="124" y="12"/>
                  </a:cxn>
                  <a:cxn ang="0">
                    <a:pos x="131" y="18"/>
                  </a:cxn>
                  <a:cxn ang="0">
                    <a:pos x="134" y="23"/>
                  </a:cxn>
                  <a:cxn ang="0">
                    <a:pos x="137" y="28"/>
                  </a:cxn>
                  <a:cxn ang="0">
                    <a:pos x="146" y="30"/>
                  </a:cxn>
                  <a:cxn ang="0">
                    <a:pos x="152" y="33"/>
                  </a:cxn>
                  <a:cxn ang="0">
                    <a:pos x="155" y="38"/>
                  </a:cxn>
                  <a:cxn ang="0">
                    <a:pos x="160" y="41"/>
                  </a:cxn>
                  <a:cxn ang="0">
                    <a:pos x="176" y="43"/>
                  </a:cxn>
                  <a:cxn ang="0">
                    <a:pos x="183" y="41"/>
                  </a:cxn>
                  <a:cxn ang="0">
                    <a:pos x="189" y="34"/>
                  </a:cxn>
                  <a:cxn ang="0">
                    <a:pos x="192" y="39"/>
                  </a:cxn>
                  <a:cxn ang="0">
                    <a:pos x="200" y="46"/>
                  </a:cxn>
                  <a:cxn ang="0">
                    <a:pos x="194" y="53"/>
                  </a:cxn>
                  <a:cxn ang="0">
                    <a:pos x="193" y="68"/>
                  </a:cxn>
                  <a:cxn ang="0">
                    <a:pos x="180" y="99"/>
                  </a:cxn>
                  <a:cxn ang="0">
                    <a:pos x="183" y="103"/>
                  </a:cxn>
                  <a:cxn ang="0">
                    <a:pos x="186" y="107"/>
                  </a:cxn>
                  <a:cxn ang="0">
                    <a:pos x="179" y="119"/>
                  </a:cxn>
                  <a:cxn ang="0">
                    <a:pos x="175" y="123"/>
                  </a:cxn>
                  <a:cxn ang="0">
                    <a:pos x="169" y="124"/>
                  </a:cxn>
                  <a:cxn ang="0">
                    <a:pos x="162" y="122"/>
                  </a:cxn>
                  <a:cxn ang="0">
                    <a:pos x="157" y="125"/>
                  </a:cxn>
                  <a:cxn ang="0">
                    <a:pos x="144" y="125"/>
                  </a:cxn>
                  <a:cxn ang="0">
                    <a:pos x="132" y="124"/>
                  </a:cxn>
                  <a:cxn ang="0">
                    <a:pos x="131" y="138"/>
                  </a:cxn>
                  <a:cxn ang="0">
                    <a:pos x="129" y="159"/>
                  </a:cxn>
                  <a:cxn ang="0">
                    <a:pos x="124" y="169"/>
                  </a:cxn>
                  <a:cxn ang="0">
                    <a:pos x="110" y="150"/>
                  </a:cxn>
                  <a:cxn ang="0">
                    <a:pos x="93" y="146"/>
                  </a:cxn>
                  <a:cxn ang="0">
                    <a:pos x="70" y="140"/>
                  </a:cxn>
                  <a:cxn ang="0">
                    <a:pos x="64" y="143"/>
                  </a:cxn>
                  <a:cxn ang="0">
                    <a:pos x="39" y="138"/>
                  </a:cxn>
                  <a:cxn ang="0">
                    <a:pos x="20" y="143"/>
                  </a:cxn>
                  <a:cxn ang="0">
                    <a:pos x="9" y="147"/>
                  </a:cxn>
                  <a:cxn ang="0">
                    <a:pos x="12" y="125"/>
                  </a:cxn>
                  <a:cxn ang="0">
                    <a:pos x="8" y="114"/>
                  </a:cxn>
                  <a:cxn ang="0">
                    <a:pos x="9" y="103"/>
                  </a:cxn>
                  <a:cxn ang="0">
                    <a:pos x="9" y="97"/>
                  </a:cxn>
                  <a:cxn ang="0">
                    <a:pos x="6" y="80"/>
                  </a:cxn>
                  <a:cxn ang="0">
                    <a:pos x="0" y="67"/>
                  </a:cxn>
                  <a:cxn ang="0">
                    <a:pos x="5" y="59"/>
                  </a:cxn>
                </a:cxnLst>
                <a:rect l="0" t="0" r="r" b="b"/>
                <a:pathLst>
                  <a:path w="200" h="172">
                    <a:moveTo>
                      <a:pt x="11" y="52"/>
                    </a:moveTo>
                    <a:lnTo>
                      <a:pt x="12" y="52"/>
                    </a:lnTo>
                    <a:lnTo>
                      <a:pt x="14" y="52"/>
                    </a:lnTo>
                    <a:lnTo>
                      <a:pt x="15" y="52"/>
                    </a:lnTo>
                    <a:lnTo>
                      <a:pt x="16" y="52"/>
                    </a:lnTo>
                    <a:lnTo>
                      <a:pt x="18" y="52"/>
                    </a:lnTo>
                    <a:lnTo>
                      <a:pt x="19" y="51"/>
                    </a:lnTo>
                    <a:lnTo>
                      <a:pt x="20" y="51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22" y="49"/>
                    </a:lnTo>
                    <a:lnTo>
                      <a:pt x="23" y="48"/>
                    </a:lnTo>
                    <a:lnTo>
                      <a:pt x="24" y="48"/>
                    </a:lnTo>
                    <a:lnTo>
                      <a:pt x="24" y="47"/>
                    </a:lnTo>
                    <a:lnTo>
                      <a:pt x="25" y="46"/>
                    </a:lnTo>
                    <a:lnTo>
                      <a:pt x="25" y="45"/>
                    </a:lnTo>
                    <a:lnTo>
                      <a:pt x="26" y="44"/>
                    </a:lnTo>
                    <a:lnTo>
                      <a:pt x="26" y="43"/>
                    </a:lnTo>
                    <a:lnTo>
                      <a:pt x="25" y="42"/>
                    </a:lnTo>
                    <a:lnTo>
                      <a:pt x="25" y="40"/>
                    </a:lnTo>
                    <a:lnTo>
                      <a:pt x="25" y="39"/>
                    </a:lnTo>
                    <a:lnTo>
                      <a:pt x="24" y="38"/>
                    </a:lnTo>
                    <a:lnTo>
                      <a:pt x="23" y="37"/>
                    </a:lnTo>
                    <a:lnTo>
                      <a:pt x="23" y="35"/>
                    </a:lnTo>
                    <a:lnTo>
                      <a:pt x="22" y="34"/>
                    </a:lnTo>
                    <a:lnTo>
                      <a:pt x="21" y="33"/>
                    </a:lnTo>
                    <a:lnTo>
                      <a:pt x="19" y="31"/>
                    </a:lnTo>
                    <a:lnTo>
                      <a:pt x="17" y="30"/>
                    </a:lnTo>
                    <a:lnTo>
                      <a:pt x="16" y="29"/>
                    </a:lnTo>
                    <a:lnTo>
                      <a:pt x="15" y="28"/>
                    </a:lnTo>
                    <a:lnTo>
                      <a:pt x="15" y="27"/>
                    </a:lnTo>
                    <a:lnTo>
                      <a:pt x="14" y="25"/>
                    </a:lnTo>
                    <a:lnTo>
                      <a:pt x="14" y="24"/>
                    </a:lnTo>
                    <a:lnTo>
                      <a:pt x="14" y="23"/>
                    </a:lnTo>
                    <a:lnTo>
                      <a:pt x="14" y="22"/>
                    </a:lnTo>
                    <a:lnTo>
                      <a:pt x="14" y="21"/>
                    </a:lnTo>
                    <a:lnTo>
                      <a:pt x="14" y="19"/>
                    </a:lnTo>
                    <a:lnTo>
                      <a:pt x="14" y="18"/>
                    </a:lnTo>
                    <a:lnTo>
                      <a:pt x="15" y="17"/>
                    </a:lnTo>
                    <a:lnTo>
                      <a:pt x="15" y="17"/>
                    </a:lnTo>
                    <a:lnTo>
                      <a:pt x="15" y="16"/>
                    </a:lnTo>
                    <a:lnTo>
                      <a:pt x="16" y="15"/>
                    </a:lnTo>
                    <a:lnTo>
                      <a:pt x="17" y="13"/>
                    </a:lnTo>
                    <a:lnTo>
                      <a:pt x="18" y="12"/>
                    </a:lnTo>
                    <a:lnTo>
                      <a:pt x="19" y="11"/>
                    </a:lnTo>
                    <a:lnTo>
                      <a:pt x="20" y="9"/>
                    </a:lnTo>
                    <a:lnTo>
                      <a:pt x="21" y="8"/>
                    </a:lnTo>
                    <a:lnTo>
                      <a:pt x="22" y="7"/>
                    </a:lnTo>
                    <a:lnTo>
                      <a:pt x="24" y="5"/>
                    </a:lnTo>
                    <a:lnTo>
                      <a:pt x="25" y="4"/>
                    </a:lnTo>
                    <a:lnTo>
                      <a:pt x="26" y="3"/>
                    </a:lnTo>
                    <a:lnTo>
                      <a:pt x="28" y="2"/>
                    </a:lnTo>
                    <a:lnTo>
                      <a:pt x="29" y="1"/>
                    </a:lnTo>
                    <a:lnTo>
                      <a:pt x="30" y="0"/>
                    </a:lnTo>
                    <a:lnTo>
                      <a:pt x="31" y="0"/>
                    </a:lnTo>
                    <a:lnTo>
                      <a:pt x="31" y="1"/>
                    </a:lnTo>
                    <a:lnTo>
                      <a:pt x="32" y="1"/>
                    </a:lnTo>
                    <a:lnTo>
                      <a:pt x="32" y="1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33" y="3"/>
                    </a:lnTo>
                    <a:lnTo>
                      <a:pt x="34" y="4"/>
                    </a:lnTo>
                    <a:lnTo>
                      <a:pt x="34" y="5"/>
                    </a:lnTo>
                    <a:lnTo>
                      <a:pt x="35" y="6"/>
                    </a:lnTo>
                    <a:lnTo>
                      <a:pt x="35" y="7"/>
                    </a:lnTo>
                    <a:lnTo>
                      <a:pt x="36" y="7"/>
                    </a:lnTo>
                    <a:lnTo>
                      <a:pt x="36" y="7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1"/>
                    </a:lnTo>
                    <a:lnTo>
                      <a:pt x="39" y="11"/>
                    </a:lnTo>
                    <a:lnTo>
                      <a:pt x="39" y="12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41" y="14"/>
                    </a:lnTo>
                    <a:lnTo>
                      <a:pt x="40" y="14"/>
                    </a:lnTo>
                    <a:lnTo>
                      <a:pt x="40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3" y="17"/>
                    </a:lnTo>
                    <a:lnTo>
                      <a:pt x="43" y="18"/>
                    </a:lnTo>
                    <a:lnTo>
                      <a:pt x="44" y="18"/>
                    </a:lnTo>
                    <a:lnTo>
                      <a:pt x="44" y="19"/>
                    </a:lnTo>
                    <a:lnTo>
                      <a:pt x="45" y="19"/>
                    </a:lnTo>
                    <a:lnTo>
                      <a:pt x="45" y="20"/>
                    </a:lnTo>
                    <a:lnTo>
                      <a:pt x="46" y="20"/>
                    </a:lnTo>
                    <a:lnTo>
                      <a:pt x="45" y="21"/>
                    </a:lnTo>
                    <a:lnTo>
                      <a:pt x="45" y="21"/>
                    </a:lnTo>
                    <a:lnTo>
                      <a:pt x="46" y="21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7" y="22"/>
                    </a:lnTo>
                    <a:lnTo>
                      <a:pt x="47" y="22"/>
                    </a:lnTo>
                    <a:lnTo>
                      <a:pt x="47" y="23"/>
                    </a:lnTo>
                    <a:lnTo>
                      <a:pt x="48" y="23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9" y="25"/>
                    </a:lnTo>
                    <a:lnTo>
                      <a:pt x="49" y="25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1" y="27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1" y="28"/>
                    </a:lnTo>
                    <a:lnTo>
                      <a:pt x="51" y="28"/>
                    </a:lnTo>
                    <a:lnTo>
                      <a:pt x="51" y="29"/>
                    </a:lnTo>
                    <a:lnTo>
                      <a:pt x="51" y="29"/>
                    </a:lnTo>
                    <a:lnTo>
                      <a:pt x="52" y="29"/>
                    </a:lnTo>
                    <a:lnTo>
                      <a:pt x="52" y="29"/>
                    </a:lnTo>
                    <a:lnTo>
                      <a:pt x="53" y="28"/>
                    </a:lnTo>
                    <a:lnTo>
                      <a:pt x="55" y="27"/>
                    </a:lnTo>
                    <a:lnTo>
                      <a:pt x="56" y="26"/>
                    </a:lnTo>
                    <a:lnTo>
                      <a:pt x="57" y="25"/>
                    </a:lnTo>
                    <a:lnTo>
                      <a:pt x="58" y="24"/>
                    </a:lnTo>
                    <a:lnTo>
                      <a:pt x="59" y="23"/>
                    </a:lnTo>
                    <a:lnTo>
                      <a:pt x="60" y="22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2" y="20"/>
                    </a:lnTo>
                    <a:lnTo>
                      <a:pt x="62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8"/>
                    </a:lnTo>
                    <a:lnTo>
                      <a:pt x="61" y="17"/>
                    </a:lnTo>
                    <a:lnTo>
                      <a:pt x="60" y="16"/>
                    </a:lnTo>
                    <a:lnTo>
                      <a:pt x="60" y="15"/>
                    </a:lnTo>
                    <a:lnTo>
                      <a:pt x="61" y="14"/>
                    </a:lnTo>
                    <a:lnTo>
                      <a:pt x="61" y="13"/>
                    </a:lnTo>
                    <a:lnTo>
                      <a:pt x="61" y="13"/>
                    </a:lnTo>
                    <a:lnTo>
                      <a:pt x="61" y="13"/>
                    </a:lnTo>
                    <a:lnTo>
                      <a:pt x="61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3" y="12"/>
                    </a:lnTo>
                    <a:lnTo>
                      <a:pt x="63" y="12"/>
                    </a:lnTo>
                    <a:lnTo>
                      <a:pt x="63" y="12"/>
                    </a:lnTo>
                    <a:lnTo>
                      <a:pt x="64" y="12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5" y="11"/>
                    </a:lnTo>
                    <a:lnTo>
                      <a:pt x="65" y="11"/>
                    </a:lnTo>
                    <a:lnTo>
                      <a:pt x="66" y="11"/>
                    </a:lnTo>
                    <a:lnTo>
                      <a:pt x="65" y="11"/>
                    </a:lnTo>
                    <a:lnTo>
                      <a:pt x="65" y="11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7" y="12"/>
                    </a:lnTo>
                    <a:lnTo>
                      <a:pt x="67" y="12"/>
                    </a:lnTo>
                    <a:lnTo>
                      <a:pt x="68" y="12"/>
                    </a:lnTo>
                    <a:lnTo>
                      <a:pt x="69" y="12"/>
                    </a:lnTo>
                    <a:lnTo>
                      <a:pt x="69" y="12"/>
                    </a:lnTo>
                    <a:lnTo>
                      <a:pt x="70" y="13"/>
                    </a:lnTo>
                    <a:lnTo>
                      <a:pt x="70" y="13"/>
                    </a:lnTo>
                    <a:lnTo>
                      <a:pt x="70" y="13"/>
                    </a:lnTo>
                    <a:lnTo>
                      <a:pt x="71" y="14"/>
                    </a:lnTo>
                    <a:lnTo>
                      <a:pt x="71" y="14"/>
                    </a:lnTo>
                    <a:lnTo>
                      <a:pt x="71" y="14"/>
                    </a:lnTo>
                    <a:lnTo>
                      <a:pt x="71" y="15"/>
                    </a:lnTo>
                    <a:lnTo>
                      <a:pt x="71" y="15"/>
                    </a:lnTo>
                    <a:lnTo>
                      <a:pt x="71" y="16"/>
                    </a:lnTo>
                    <a:lnTo>
                      <a:pt x="71" y="16"/>
                    </a:lnTo>
                    <a:lnTo>
                      <a:pt x="71" y="16"/>
                    </a:lnTo>
                    <a:lnTo>
                      <a:pt x="71" y="17"/>
                    </a:lnTo>
                    <a:lnTo>
                      <a:pt x="71" y="17"/>
                    </a:lnTo>
                    <a:lnTo>
                      <a:pt x="71" y="17"/>
                    </a:lnTo>
                    <a:lnTo>
                      <a:pt x="72" y="17"/>
                    </a:lnTo>
                    <a:lnTo>
                      <a:pt x="72" y="17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3" y="19"/>
                    </a:lnTo>
                    <a:lnTo>
                      <a:pt x="74" y="19"/>
                    </a:lnTo>
                    <a:lnTo>
                      <a:pt x="75" y="19"/>
                    </a:lnTo>
                    <a:lnTo>
                      <a:pt x="75" y="19"/>
                    </a:lnTo>
                    <a:lnTo>
                      <a:pt x="76" y="19"/>
                    </a:lnTo>
                    <a:lnTo>
                      <a:pt x="76" y="19"/>
                    </a:lnTo>
                    <a:lnTo>
                      <a:pt x="77" y="19"/>
                    </a:lnTo>
                    <a:lnTo>
                      <a:pt x="77" y="20"/>
                    </a:lnTo>
                    <a:lnTo>
                      <a:pt x="77" y="20"/>
                    </a:lnTo>
                    <a:lnTo>
                      <a:pt x="77" y="20"/>
                    </a:lnTo>
                    <a:lnTo>
                      <a:pt x="77" y="21"/>
                    </a:lnTo>
                    <a:lnTo>
                      <a:pt x="77" y="21"/>
                    </a:lnTo>
                    <a:lnTo>
                      <a:pt x="77" y="21"/>
                    </a:lnTo>
                    <a:lnTo>
                      <a:pt x="77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9" y="22"/>
                    </a:lnTo>
                    <a:lnTo>
                      <a:pt x="79" y="22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80" y="24"/>
                    </a:lnTo>
                    <a:lnTo>
                      <a:pt x="81" y="24"/>
                    </a:lnTo>
                    <a:lnTo>
                      <a:pt x="82" y="24"/>
                    </a:lnTo>
                    <a:lnTo>
                      <a:pt x="83" y="24"/>
                    </a:lnTo>
                    <a:lnTo>
                      <a:pt x="83" y="24"/>
                    </a:lnTo>
                    <a:lnTo>
                      <a:pt x="84" y="24"/>
                    </a:lnTo>
                    <a:lnTo>
                      <a:pt x="85" y="24"/>
                    </a:lnTo>
                    <a:lnTo>
                      <a:pt x="86" y="24"/>
                    </a:lnTo>
                    <a:lnTo>
                      <a:pt x="87" y="24"/>
                    </a:lnTo>
                    <a:lnTo>
                      <a:pt x="88" y="23"/>
                    </a:lnTo>
                    <a:lnTo>
                      <a:pt x="89" y="23"/>
                    </a:lnTo>
                    <a:lnTo>
                      <a:pt x="90" y="23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1" y="22"/>
                    </a:lnTo>
                    <a:lnTo>
                      <a:pt x="91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1"/>
                    </a:lnTo>
                    <a:lnTo>
                      <a:pt x="92" y="21"/>
                    </a:lnTo>
                    <a:lnTo>
                      <a:pt x="92" y="21"/>
                    </a:lnTo>
                    <a:lnTo>
                      <a:pt x="92" y="20"/>
                    </a:lnTo>
                    <a:lnTo>
                      <a:pt x="94" y="21"/>
                    </a:lnTo>
                    <a:lnTo>
                      <a:pt x="95" y="21"/>
                    </a:lnTo>
                    <a:lnTo>
                      <a:pt x="96" y="21"/>
                    </a:lnTo>
                    <a:lnTo>
                      <a:pt x="97" y="21"/>
                    </a:lnTo>
                    <a:lnTo>
                      <a:pt x="98" y="20"/>
                    </a:lnTo>
                    <a:lnTo>
                      <a:pt x="99" y="20"/>
                    </a:lnTo>
                    <a:lnTo>
                      <a:pt x="100" y="20"/>
                    </a:lnTo>
                    <a:lnTo>
                      <a:pt x="100" y="19"/>
                    </a:lnTo>
                    <a:lnTo>
                      <a:pt x="101" y="19"/>
                    </a:lnTo>
                    <a:lnTo>
                      <a:pt x="102" y="18"/>
                    </a:lnTo>
                    <a:lnTo>
                      <a:pt x="103" y="17"/>
                    </a:lnTo>
                    <a:lnTo>
                      <a:pt x="104" y="16"/>
                    </a:lnTo>
                    <a:lnTo>
                      <a:pt x="105" y="16"/>
                    </a:lnTo>
                    <a:lnTo>
                      <a:pt x="106" y="15"/>
                    </a:lnTo>
                    <a:lnTo>
                      <a:pt x="106" y="16"/>
                    </a:lnTo>
                    <a:lnTo>
                      <a:pt x="107" y="16"/>
                    </a:lnTo>
                    <a:lnTo>
                      <a:pt x="107" y="15"/>
                    </a:lnTo>
                    <a:lnTo>
                      <a:pt x="108" y="15"/>
                    </a:lnTo>
                    <a:lnTo>
                      <a:pt x="108" y="15"/>
                    </a:lnTo>
                    <a:lnTo>
                      <a:pt x="108" y="15"/>
                    </a:lnTo>
                    <a:lnTo>
                      <a:pt x="109" y="14"/>
                    </a:lnTo>
                    <a:lnTo>
                      <a:pt x="109" y="14"/>
                    </a:lnTo>
                    <a:lnTo>
                      <a:pt x="109" y="14"/>
                    </a:lnTo>
                    <a:lnTo>
                      <a:pt x="110" y="14"/>
                    </a:lnTo>
                    <a:lnTo>
                      <a:pt x="110" y="14"/>
                    </a:lnTo>
                    <a:lnTo>
                      <a:pt x="111" y="14"/>
                    </a:lnTo>
                    <a:lnTo>
                      <a:pt x="111" y="14"/>
                    </a:lnTo>
                    <a:lnTo>
                      <a:pt x="111" y="14"/>
                    </a:lnTo>
                    <a:lnTo>
                      <a:pt x="112" y="14"/>
                    </a:lnTo>
                    <a:lnTo>
                      <a:pt x="112" y="13"/>
                    </a:lnTo>
                    <a:lnTo>
                      <a:pt x="112" y="13"/>
                    </a:lnTo>
                    <a:lnTo>
                      <a:pt x="112" y="13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1"/>
                    </a:lnTo>
                    <a:lnTo>
                      <a:pt x="112" y="11"/>
                    </a:lnTo>
                    <a:lnTo>
                      <a:pt x="112" y="11"/>
                    </a:lnTo>
                    <a:lnTo>
                      <a:pt x="113" y="11"/>
                    </a:lnTo>
                    <a:lnTo>
                      <a:pt x="113" y="10"/>
                    </a:lnTo>
                    <a:lnTo>
                      <a:pt x="113" y="10"/>
                    </a:lnTo>
                    <a:lnTo>
                      <a:pt x="114" y="11"/>
                    </a:lnTo>
                    <a:lnTo>
                      <a:pt x="116" y="11"/>
                    </a:lnTo>
                    <a:lnTo>
                      <a:pt x="119" y="11"/>
                    </a:lnTo>
                    <a:lnTo>
                      <a:pt x="119" y="11"/>
                    </a:lnTo>
                    <a:lnTo>
                      <a:pt x="120" y="11"/>
                    </a:lnTo>
                    <a:lnTo>
                      <a:pt x="120" y="11"/>
                    </a:lnTo>
                    <a:lnTo>
                      <a:pt x="121" y="11"/>
                    </a:lnTo>
                    <a:lnTo>
                      <a:pt x="122" y="11"/>
                    </a:lnTo>
                    <a:lnTo>
                      <a:pt x="122" y="11"/>
                    </a:lnTo>
                    <a:lnTo>
                      <a:pt x="122" y="11"/>
                    </a:lnTo>
                    <a:lnTo>
                      <a:pt x="122" y="12"/>
                    </a:lnTo>
                    <a:lnTo>
                      <a:pt x="122" y="12"/>
                    </a:lnTo>
                    <a:lnTo>
                      <a:pt x="123" y="12"/>
                    </a:lnTo>
                    <a:lnTo>
                      <a:pt x="123" y="12"/>
                    </a:lnTo>
                    <a:lnTo>
                      <a:pt x="123" y="12"/>
                    </a:lnTo>
                    <a:lnTo>
                      <a:pt x="124" y="12"/>
                    </a:lnTo>
                    <a:lnTo>
                      <a:pt x="125" y="12"/>
                    </a:lnTo>
                    <a:lnTo>
                      <a:pt x="125" y="12"/>
                    </a:lnTo>
                    <a:lnTo>
                      <a:pt x="126" y="12"/>
                    </a:lnTo>
                    <a:lnTo>
                      <a:pt x="126" y="12"/>
                    </a:lnTo>
                    <a:lnTo>
                      <a:pt x="127" y="13"/>
                    </a:lnTo>
                    <a:lnTo>
                      <a:pt x="127" y="13"/>
                    </a:lnTo>
                    <a:lnTo>
                      <a:pt x="128" y="13"/>
                    </a:lnTo>
                    <a:lnTo>
                      <a:pt x="128" y="14"/>
                    </a:lnTo>
                    <a:lnTo>
                      <a:pt x="129" y="14"/>
                    </a:lnTo>
                    <a:lnTo>
                      <a:pt x="129" y="15"/>
                    </a:lnTo>
                    <a:lnTo>
                      <a:pt x="130" y="16"/>
                    </a:lnTo>
                    <a:lnTo>
                      <a:pt x="131" y="17"/>
                    </a:lnTo>
                    <a:lnTo>
                      <a:pt x="130" y="18"/>
                    </a:lnTo>
                    <a:lnTo>
                      <a:pt x="130" y="18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1" y="19"/>
                    </a:lnTo>
                    <a:lnTo>
                      <a:pt x="131" y="19"/>
                    </a:lnTo>
                    <a:lnTo>
                      <a:pt x="132" y="19"/>
                    </a:lnTo>
                    <a:lnTo>
                      <a:pt x="132" y="19"/>
                    </a:lnTo>
                    <a:lnTo>
                      <a:pt x="132" y="19"/>
                    </a:lnTo>
                    <a:lnTo>
                      <a:pt x="132" y="20"/>
                    </a:lnTo>
                    <a:lnTo>
                      <a:pt x="133" y="20"/>
                    </a:lnTo>
                    <a:lnTo>
                      <a:pt x="133" y="20"/>
                    </a:lnTo>
                    <a:lnTo>
                      <a:pt x="133" y="21"/>
                    </a:lnTo>
                    <a:lnTo>
                      <a:pt x="134" y="22"/>
                    </a:lnTo>
                    <a:lnTo>
                      <a:pt x="134" y="22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4"/>
                    </a:lnTo>
                    <a:lnTo>
                      <a:pt x="135" y="24"/>
                    </a:lnTo>
                    <a:lnTo>
                      <a:pt x="135" y="24"/>
                    </a:lnTo>
                    <a:lnTo>
                      <a:pt x="136" y="24"/>
                    </a:lnTo>
                    <a:lnTo>
                      <a:pt x="136" y="24"/>
                    </a:lnTo>
                    <a:lnTo>
                      <a:pt x="136" y="25"/>
                    </a:lnTo>
                    <a:lnTo>
                      <a:pt x="136" y="25"/>
                    </a:lnTo>
                    <a:lnTo>
                      <a:pt x="136" y="26"/>
                    </a:lnTo>
                    <a:lnTo>
                      <a:pt x="137" y="26"/>
                    </a:lnTo>
                    <a:lnTo>
                      <a:pt x="137" y="27"/>
                    </a:lnTo>
                    <a:lnTo>
                      <a:pt x="137" y="27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8" y="29"/>
                    </a:lnTo>
                    <a:lnTo>
                      <a:pt x="138" y="29"/>
                    </a:lnTo>
                    <a:lnTo>
                      <a:pt x="138" y="29"/>
                    </a:lnTo>
                    <a:lnTo>
                      <a:pt x="139" y="29"/>
                    </a:lnTo>
                    <a:lnTo>
                      <a:pt x="140" y="29"/>
                    </a:lnTo>
                    <a:lnTo>
                      <a:pt x="142" y="29"/>
                    </a:lnTo>
                    <a:lnTo>
                      <a:pt x="144" y="29"/>
                    </a:lnTo>
                    <a:lnTo>
                      <a:pt x="145" y="29"/>
                    </a:lnTo>
                    <a:lnTo>
                      <a:pt x="145" y="29"/>
                    </a:lnTo>
                    <a:lnTo>
                      <a:pt x="145" y="29"/>
                    </a:lnTo>
                    <a:lnTo>
                      <a:pt x="145" y="30"/>
                    </a:lnTo>
                    <a:lnTo>
                      <a:pt x="146" y="30"/>
                    </a:lnTo>
                    <a:lnTo>
                      <a:pt x="146" y="30"/>
                    </a:lnTo>
                    <a:lnTo>
                      <a:pt x="146" y="30"/>
                    </a:lnTo>
                    <a:lnTo>
                      <a:pt x="147" y="30"/>
                    </a:lnTo>
                    <a:lnTo>
                      <a:pt x="147" y="30"/>
                    </a:lnTo>
                    <a:lnTo>
                      <a:pt x="148" y="30"/>
                    </a:lnTo>
                    <a:lnTo>
                      <a:pt x="149" y="30"/>
                    </a:lnTo>
                    <a:lnTo>
                      <a:pt x="150" y="30"/>
                    </a:lnTo>
                    <a:lnTo>
                      <a:pt x="151" y="30"/>
                    </a:lnTo>
                    <a:lnTo>
                      <a:pt x="150" y="31"/>
                    </a:lnTo>
                    <a:lnTo>
                      <a:pt x="150" y="31"/>
                    </a:lnTo>
                    <a:lnTo>
                      <a:pt x="151" y="31"/>
                    </a:lnTo>
                    <a:lnTo>
                      <a:pt x="151" y="32"/>
                    </a:lnTo>
                    <a:lnTo>
                      <a:pt x="151" y="32"/>
                    </a:lnTo>
                    <a:lnTo>
                      <a:pt x="151" y="32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2" y="33"/>
                    </a:lnTo>
                    <a:lnTo>
                      <a:pt x="152" y="33"/>
                    </a:lnTo>
                    <a:lnTo>
                      <a:pt x="153" y="33"/>
                    </a:lnTo>
                    <a:lnTo>
                      <a:pt x="153" y="34"/>
                    </a:lnTo>
                    <a:lnTo>
                      <a:pt x="153" y="35"/>
                    </a:lnTo>
                    <a:lnTo>
                      <a:pt x="154" y="35"/>
                    </a:lnTo>
                    <a:lnTo>
                      <a:pt x="154" y="35"/>
                    </a:lnTo>
                    <a:lnTo>
                      <a:pt x="154" y="36"/>
                    </a:lnTo>
                    <a:lnTo>
                      <a:pt x="154" y="36"/>
                    </a:lnTo>
                    <a:lnTo>
                      <a:pt x="154" y="37"/>
                    </a:lnTo>
                    <a:lnTo>
                      <a:pt x="154" y="37"/>
                    </a:lnTo>
                    <a:lnTo>
                      <a:pt x="154" y="37"/>
                    </a:lnTo>
                    <a:lnTo>
                      <a:pt x="155" y="37"/>
                    </a:lnTo>
                    <a:lnTo>
                      <a:pt x="155" y="37"/>
                    </a:lnTo>
                    <a:lnTo>
                      <a:pt x="155" y="37"/>
                    </a:lnTo>
                    <a:lnTo>
                      <a:pt x="155" y="38"/>
                    </a:lnTo>
                    <a:lnTo>
                      <a:pt x="156" y="38"/>
                    </a:lnTo>
                    <a:lnTo>
                      <a:pt x="156" y="38"/>
                    </a:lnTo>
                    <a:lnTo>
                      <a:pt x="156" y="39"/>
                    </a:lnTo>
                    <a:lnTo>
                      <a:pt x="156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40"/>
                    </a:lnTo>
                    <a:lnTo>
                      <a:pt x="157" y="40"/>
                    </a:lnTo>
                    <a:lnTo>
                      <a:pt x="158" y="40"/>
                    </a:lnTo>
                    <a:lnTo>
                      <a:pt x="158" y="40"/>
                    </a:lnTo>
                    <a:lnTo>
                      <a:pt x="158" y="40"/>
                    </a:lnTo>
                    <a:lnTo>
                      <a:pt x="159" y="40"/>
                    </a:lnTo>
                    <a:lnTo>
                      <a:pt x="160" y="41"/>
                    </a:lnTo>
                    <a:lnTo>
                      <a:pt x="160" y="41"/>
                    </a:lnTo>
                    <a:lnTo>
                      <a:pt x="161" y="42"/>
                    </a:lnTo>
                    <a:lnTo>
                      <a:pt x="162" y="42"/>
                    </a:lnTo>
                    <a:lnTo>
                      <a:pt x="163" y="42"/>
                    </a:lnTo>
                    <a:lnTo>
                      <a:pt x="164" y="42"/>
                    </a:lnTo>
                    <a:lnTo>
                      <a:pt x="165" y="42"/>
                    </a:lnTo>
                    <a:lnTo>
                      <a:pt x="166" y="42"/>
                    </a:lnTo>
                    <a:lnTo>
                      <a:pt x="168" y="42"/>
                    </a:lnTo>
                    <a:lnTo>
                      <a:pt x="171" y="42"/>
                    </a:lnTo>
                    <a:lnTo>
                      <a:pt x="173" y="42"/>
                    </a:lnTo>
                    <a:lnTo>
                      <a:pt x="174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7" y="43"/>
                    </a:lnTo>
                    <a:lnTo>
                      <a:pt x="177" y="43"/>
                    </a:lnTo>
                    <a:lnTo>
                      <a:pt x="177" y="42"/>
                    </a:lnTo>
                    <a:lnTo>
                      <a:pt x="177" y="42"/>
                    </a:lnTo>
                    <a:lnTo>
                      <a:pt x="178" y="42"/>
                    </a:lnTo>
                    <a:lnTo>
                      <a:pt x="179" y="42"/>
                    </a:lnTo>
                    <a:lnTo>
                      <a:pt x="180" y="42"/>
                    </a:lnTo>
                    <a:lnTo>
                      <a:pt x="181" y="42"/>
                    </a:lnTo>
                    <a:lnTo>
                      <a:pt x="182" y="42"/>
                    </a:lnTo>
                    <a:lnTo>
                      <a:pt x="182" y="41"/>
                    </a:lnTo>
                    <a:lnTo>
                      <a:pt x="183" y="41"/>
                    </a:lnTo>
                    <a:lnTo>
                      <a:pt x="184" y="40"/>
                    </a:lnTo>
                    <a:lnTo>
                      <a:pt x="184" y="40"/>
                    </a:lnTo>
                    <a:lnTo>
                      <a:pt x="185" y="39"/>
                    </a:lnTo>
                    <a:lnTo>
                      <a:pt x="185" y="38"/>
                    </a:lnTo>
                    <a:lnTo>
                      <a:pt x="186" y="37"/>
                    </a:lnTo>
                    <a:lnTo>
                      <a:pt x="187" y="35"/>
                    </a:lnTo>
                    <a:lnTo>
                      <a:pt x="188" y="36"/>
                    </a:lnTo>
                    <a:lnTo>
                      <a:pt x="188" y="35"/>
                    </a:lnTo>
                    <a:lnTo>
                      <a:pt x="188" y="35"/>
                    </a:lnTo>
                    <a:lnTo>
                      <a:pt x="188" y="35"/>
                    </a:lnTo>
                    <a:lnTo>
                      <a:pt x="189" y="35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90" y="34"/>
                    </a:lnTo>
                    <a:lnTo>
                      <a:pt x="190" y="34"/>
                    </a:lnTo>
                    <a:lnTo>
                      <a:pt x="190" y="35"/>
                    </a:lnTo>
                    <a:lnTo>
                      <a:pt x="190" y="35"/>
                    </a:lnTo>
                    <a:lnTo>
                      <a:pt x="190" y="36"/>
                    </a:lnTo>
                    <a:lnTo>
                      <a:pt x="190" y="36"/>
                    </a:lnTo>
                    <a:lnTo>
                      <a:pt x="190" y="37"/>
                    </a:lnTo>
                    <a:lnTo>
                      <a:pt x="190" y="38"/>
                    </a:lnTo>
                    <a:lnTo>
                      <a:pt x="190" y="38"/>
                    </a:lnTo>
                    <a:lnTo>
                      <a:pt x="190" y="38"/>
                    </a:lnTo>
                    <a:lnTo>
                      <a:pt x="191" y="38"/>
                    </a:lnTo>
                    <a:lnTo>
                      <a:pt x="191" y="39"/>
                    </a:lnTo>
                    <a:lnTo>
                      <a:pt x="191" y="39"/>
                    </a:lnTo>
                    <a:lnTo>
                      <a:pt x="192" y="39"/>
                    </a:lnTo>
                    <a:lnTo>
                      <a:pt x="192" y="39"/>
                    </a:lnTo>
                    <a:lnTo>
                      <a:pt x="193" y="39"/>
                    </a:lnTo>
                    <a:lnTo>
                      <a:pt x="193" y="39"/>
                    </a:lnTo>
                    <a:lnTo>
                      <a:pt x="194" y="39"/>
                    </a:lnTo>
                    <a:lnTo>
                      <a:pt x="194" y="39"/>
                    </a:lnTo>
                    <a:lnTo>
                      <a:pt x="195" y="40"/>
                    </a:lnTo>
                    <a:lnTo>
                      <a:pt x="196" y="41"/>
                    </a:lnTo>
                    <a:lnTo>
                      <a:pt x="197" y="41"/>
                    </a:lnTo>
                    <a:lnTo>
                      <a:pt x="197" y="42"/>
                    </a:lnTo>
                    <a:lnTo>
                      <a:pt x="198" y="43"/>
                    </a:lnTo>
                    <a:lnTo>
                      <a:pt x="199" y="44"/>
                    </a:lnTo>
                    <a:lnTo>
                      <a:pt x="199" y="44"/>
                    </a:lnTo>
                    <a:lnTo>
                      <a:pt x="199" y="45"/>
                    </a:lnTo>
                    <a:lnTo>
                      <a:pt x="199" y="45"/>
                    </a:lnTo>
                    <a:lnTo>
                      <a:pt x="199" y="45"/>
                    </a:lnTo>
                    <a:lnTo>
                      <a:pt x="200" y="46"/>
                    </a:lnTo>
                    <a:lnTo>
                      <a:pt x="200" y="47"/>
                    </a:lnTo>
                    <a:lnTo>
                      <a:pt x="200" y="47"/>
                    </a:lnTo>
                    <a:lnTo>
                      <a:pt x="200" y="47"/>
                    </a:lnTo>
                    <a:lnTo>
                      <a:pt x="199" y="47"/>
                    </a:lnTo>
                    <a:lnTo>
                      <a:pt x="198" y="47"/>
                    </a:lnTo>
                    <a:lnTo>
                      <a:pt x="198" y="47"/>
                    </a:lnTo>
                    <a:lnTo>
                      <a:pt x="197" y="48"/>
                    </a:lnTo>
                    <a:lnTo>
                      <a:pt x="197" y="48"/>
                    </a:lnTo>
                    <a:lnTo>
                      <a:pt x="196" y="48"/>
                    </a:lnTo>
                    <a:lnTo>
                      <a:pt x="196" y="48"/>
                    </a:lnTo>
                    <a:lnTo>
                      <a:pt x="195" y="49"/>
                    </a:lnTo>
                    <a:lnTo>
                      <a:pt x="195" y="50"/>
                    </a:lnTo>
                    <a:lnTo>
                      <a:pt x="194" y="51"/>
                    </a:lnTo>
                    <a:lnTo>
                      <a:pt x="194" y="52"/>
                    </a:lnTo>
                    <a:lnTo>
                      <a:pt x="194" y="53"/>
                    </a:lnTo>
                    <a:lnTo>
                      <a:pt x="194" y="54"/>
                    </a:lnTo>
                    <a:lnTo>
                      <a:pt x="194" y="54"/>
                    </a:lnTo>
                    <a:lnTo>
                      <a:pt x="195" y="55"/>
                    </a:lnTo>
                    <a:lnTo>
                      <a:pt x="196" y="56"/>
                    </a:lnTo>
                    <a:lnTo>
                      <a:pt x="196" y="58"/>
                    </a:lnTo>
                    <a:lnTo>
                      <a:pt x="197" y="58"/>
                    </a:lnTo>
                    <a:lnTo>
                      <a:pt x="197" y="59"/>
                    </a:lnTo>
                    <a:lnTo>
                      <a:pt x="197" y="60"/>
                    </a:lnTo>
                    <a:lnTo>
                      <a:pt x="197" y="61"/>
                    </a:lnTo>
                    <a:lnTo>
                      <a:pt x="198" y="62"/>
                    </a:lnTo>
                    <a:lnTo>
                      <a:pt x="198" y="63"/>
                    </a:lnTo>
                    <a:lnTo>
                      <a:pt x="197" y="64"/>
                    </a:lnTo>
                    <a:lnTo>
                      <a:pt x="197" y="65"/>
                    </a:lnTo>
                    <a:lnTo>
                      <a:pt x="195" y="67"/>
                    </a:lnTo>
                    <a:lnTo>
                      <a:pt x="193" y="68"/>
                    </a:lnTo>
                    <a:lnTo>
                      <a:pt x="188" y="71"/>
                    </a:lnTo>
                    <a:lnTo>
                      <a:pt x="186" y="72"/>
                    </a:lnTo>
                    <a:lnTo>
                      <a:pt x="184" y="73"/>
                    </a:lnTo>
                    <a:lnTo>
                      <a:pt x="181" y="74"/>
                    </a:lnTo>
                    <a:lnTo>
                      <a:pt x="179" y="75"/>
                    </a:lnTo>
                    <a:lnTo>
                      <a:pt x="179" y="79"/>
                    </a:lnTo>
                    <a:lnTo>
                      <a:pt x="179" y="82"/>
                    </a:lnTo>
                    <a:lnTo>
                      <a:pt x="179" y="85"/>
                    </a:lnTo>
                    <a:lnTo>
                      <a:pt x="179" y="88"/>
                    </a:lnTo>
                    <a:lnTo>
                      <a:pt x="179" y="91"/>
                    </a:lnTo>
                    <a:lnTo>
                      <a:pt x="179" y="93"/>
                    </a:lnTo>
                    <a:lnTo>
                      <a:pt x="180" y="96"/>
                    </a:lnTo>
                    <a:lnTo>
                      <a:pt x="181" y="99"/>
                    </a:lnTo>
                    <a:lnTo>
                      <a:pt x="180" y="99"/>
                    </a:lnTo>
                    <a:lnTo>
                      <a:pt x="180" y="99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2" y="100"/>
                    </a:lnTo>
                    <a:lnTo>
                      <a:pt x="182" y="100"/>
                    </a:lnTo>
                    <a:lnTo>
                      <a:pt x="182" y="101"/>
                    </a:lnTo>
                    <a:lnTo>
                      <a:pt x="182" y="101"/>
                    </a:lnTo>
                    <a:lnTo>
                      <a:pt x="182" y="102"/>
                    </a:lnTo>
                    <a:lnTo>
                      <a:pt x="182" y="102"/>
                    </a:lnTo>
                    <a:lnTo>
                      <a:pt x="182" y="102"/>
                    </a:lnTo>
                    <a:lnTo>
                      <a:pt x="182" y="103"/>
                    </a:lnTo>
                    <a:lnTo>
                      <a:pt x="182" y="103"/>
                    </a:lnTo>
                    <a:lnTo>
                      <a:pt x="182" y="103"/>
                    </a:lnTo>
                    <a:lnTo>
                      <a:pt x="183" y="103"/>
                    </a:lnTo>
                    <a:lnTo>
                      <a:pt x="183" y="103"/>
                    </a:lnTo>
                    <a:lnTo>
                      <a:pt x="183" y="104"/>
                    </a:lnTo>
                    <a:lnTo>
                      <a:pt x="184" y="104"/>
                    </a:lnTo>
                    <a:lnTo>
                      <a:pt x="184" y="104"/>
                    </a:lnTo>
                    <a:lnTo>
                      <a:pt x="184" y="104"/>
                    </a:lnTo>
                    <a:lnTo>
                      <a:pt x="184" y="105"/>
                    </a:lnTo>
                    <a:lnTo>
                      <a:pt x="184" y="105"/>
                    </a:lnTo>
                    <a:lnTo>
                      <a:pt x="184" y="106"/>
                    </a:lnTo>
                    <a:lnTo>
                      <a:pt x="184" y="106"/>
                    </a:lnTo>
                    <a:lnTo>
                      <a:pt x="184" y="106"/>
                    </a:lnTo>
                    <a:lnTo>
                      <a:pt x="184" y="107"/>
                    </a:lnTo>
                    <a:lnTo>
                      <a:pt x="184" y="107"/>
                    </a:lnTo>
                    <a:lnTo>
                      <a:pt x="185" y="107"/>
                    </a:lnTo>
                    <a:lnTo>
                      <a:pt x="185" y="107"/>
                    </a:lnTo>
                    <a:lnTo>
                      <a:pt x="186" y="107"/>
                    </a:lnTo>
                    <a:lnTo>
                      <a:pt x="186" y="109"/>
                    </a:lnTo>
                    <a:lnTo>
                      <a:pt x="186" y="111"/>
                    </a:lnTo>
                    <a:lnTo>
                      <a:pt x="186" y="113"/>
                    </a:lnTo>
                    <a:lnTo>
                      <a:pt x="186" y="115"/>
                    </a:lnTo>
                    <a:lnTo>
                      <a:pt x="185" y="115"/>
                    </a:lnTo>
                    <a:lnTo>
                      <a:pt x="184" y="116"/>
                    </a:lnTo>
                    <a:lnTo>
                      <a:pt x="184" y="116"/>
                    </a:lnTo>
                    <a:lnTo>
                      <a:pt x="183" y="116"/>
                    </a:lnTo>
                    <a:lnTo>
                      <a:pt x="183" y="117"/>
                    </a:lnTo>
                    <a:lnTo>
                      <a:pt x="183" y="117"/>
                    </a:lnTo>
                    <a:lnTo>
                      <a:pt x="183" y="118"/>
                    </a:lnTo>
                    <a:lnTo>
                      <a:pt x="182" y="119"/>
                    </a:lnTo>
                    <a:lnTo>
                      <a:pt x="181" y="119"/>
                    </a:lnTo>
                    <a:lnTo>
                      <a:pt x="180" y="119"/>
                    </a:lnTo>
                    <a:lnTo>
                      <a:pt x="179" y="119"/>
                    </a:lnTo>
                    <a:lnTo>
                      <a:pt x="179" y="119"/>
                    </a:lnTo>
                    <a:lnTo>
                      <a:pt x="179" y="119"/>
                    </a:lnTo>
                    <a:lnTo>
                      <a:pt x="178" y="119"/>
                    </a:lnTo>
                    <a:lnTo>
                      <a:pt x="178" y="119"/>
                    </a:lnTo>
                    <a:lnTo>
                      <a:pt x="178" y="119"/>
                    </a:lnTo>
                    <a:lnTo>
                      <a:pt x="177" y="119"/>
                    </a:lnTo>
                    <a:lnTo>
                      <a:pt x="177" y="119"/>
                    </a:lnTo>
                    <a:lnTo>
                      <a:pt x="177" y="119"/>
                    </a:lnTo>
                    <a:lnTo>
                      <a:pt x="177" y="120"/>
                    </a:lnTo>
                    <a:lnTo>
                      <a:pt x="177" y="120"/>
                    </a:lnTo>
                    <a:lnTo>
                      <a:pt x="177" y="121"/>
                    </a:lnTo>
                    <a:lnTo>
                      <a:pt x="177" y="121"/>
                    </a:lnTo>
                    <a:lnTo>
                      <a:pt x="176" y="122"/>
                    </a:lnTo>
                    <a:lnTo>
                      <a:pt x="176" y="122"/>
                    </a:lnTo>
                    <a:lnTo>
                      <a:pt x="175" y="123"/>
                    </a:lnTo>
                    <a:lnTo>
                      <a:pt x="175" y="123"/>
                    </a:lnTo>
                    <a:lnTo>
                      <a:pt x="174" y="124"/>
                    </a:lnTo>
                    <a:lnTo>
                      <a:pt x="174" y="125"/>
                    </a:lnTo>
                    <a:lnTo>
                      <a:pt x="174" y="125"/>
                    </a:lnTo>
                    <a:lnTo>
                      <a:pt x="174" y="125"/>
                    </a:lnTo>
                    <a:lnTo>
                      <a:pt x="173" y="125"/>
                    </a:lnTo>
                    <a:lnTo>
                      <a:pt x="173" y="125"/>
                    </a:lnTo>
                    <a:lnTo>
                      <a:pt x="173" y="125"/>
                    </a:lnTo>
                    <a:lnTo>
                      <a:pt x="172" y="125"/>
                    </a:lnTo>
                    <a:lnTo>
                      <a:pt x="172" y="125"/>
                    </a:lnTo>
                    <a:lnTo>
                      <a:pt x="171" y="125"/>
                    </a:lnTo>
                    <a:lnTo>
                      <a:pt x="171" y="125"/>
                    </a:lnTo>
                    <a:lnTo>
                      <a:pt x="170" y="125"/>
                    </a:lnTo>
                    <a:lnTo>
                      <a:pt x="170" y="124"/>
                    </a:lnTo>
                    <a:lnTo>
                      <a:pt x="169" y="124"/>
                    </a:lnTo>
                    <a:lnTo>
                      <a:pt x="169" y="124"/>
                    </a:lnTo>
                    <a:lnTo>
                      <a:pt x="169" y="123"/>
                    </a:lnTo>
                    <a:lnTo>
                      <a:pt x="169" y="123"/>
                    </a:lnTo>
                    <a:lnTo>
                      <a:pt x="168" y="123"/>
                    </a:lnTo>
                    <a:lnTo>
                      <a:pt x="168" y="122"/>
                    </a:lnTo>
                    <a:lnTo>
                      <a:pt x="168" y="122"/>
                    </a:lnTo>
                    <a:lnTo>
                      <a:pt x="167" y="122"/>
                    </a:lnTo>
                    <a:lnTo>
                      <a:pt x="166" y="122"/>
                    </a:lnTo>
                    <a:lnTo>
                      <a:pt x="165" y="122"/>
                    </a:lnTo>
                    <a:lnTo>
                      <a:pt x="164" y="122"/>
                    </a:lnTo>
                    <a:lnTo>
                      <a:pt x="163" y="122"/>
                    </a:lnTo>
                    <a:lnTo>
                      <a:pt x="163" y="122"/>
                    </a:lnTo>
                    <a:lnTo>
                      <a:pt x="163" y="122"/>
                    </a:lnTo>
                    <a:lnTo>
                      <a:pt x="162" y="122"/>
                    </a:lnTo>
                    <a:lnTo>
                      <a:pt x="162" y="122"/>
                    </a:lnTo>
                    <a:lnTo>
                      <a:pt x="162" y="123"/>
                    </a:lnTo>
                    <a:lnTo>
                      <a:pt x="162" y="123"/>
                    </a:lnTo>
                    <a:lnTo>
                      <a:pt x="162" y="124"/>
                    </a:lnTo>
                    <a:lnTo>
                      <a:pt x="161" y="124"/>
                    </a:lnTo>
                    <a:lnTo>
                      <a:pt x="160" y="124"/>
                    </a:lnTo>
                    <a:lnTo>
                      <a:pt x="160" y="124"/>
                    </a:lnTo>
                    <a:lnTo>
                      <a:pt x="159" y="124"/>
                    </a:lnTo>
                    <a:lnTo>
                      <a:pt x="158" y="123"/>
                    </a:lnTo>
                    <a:lnTo>
                      <a:pt x="158" y="123"/>
                    </a:lnTo>
                    <a:lnTo>
                      <a:pt x="158" y="124"/>
                    </a:lnTo>
                    <a:lnTo>
                      <a:pt x="157" y="124"/>
                    </a:lnTo>
                    <a:lnTo>
                      <a:pt x="157" y="124"/>
                    </a:lnTo>
                    <a:lnTo>
                      <a:pt x="157" y="124"/>
                    </a:lnTo>
                    <a:lnTo>
                      <a:pt x="157" y="125"/>
                    </a:lnTo>
                    <a:lnTo>
                      <a:pt x="157" y="125"/>
                    </a:lnTo>
                    <a:lnTo>
                      <a:pt x="156" y="125"/>
                    </a:lnTo>
                    <a:lnTo>
                      <a:pt x="155" y="125"/>
                    </a:lnTo>
                    <a:lnTo>
                      <a:pt x="155" y="125"/>
                    </a:lnTo>
                    <a:lnTo>
                      <a:pt x="154" y="125"/>
                    </a:lnTo>
                    <a:lnTo>
                      <a:pt x="154" y="125"/>
                    </a:lnTo>
                    <a:lnTo>
                      <a:pt x="153" y="125"/>
                    </a:lnTo>
                    <a:lnTo>
                      <a:pt x="152" y="125"/>
                    </a:lnTo>
                    <a:lnTo>
                      <a:pt x="151" y="125"/>
                    </a:lnTo>
                    <a:lnTo>
                      <a:pt x="151" y="125"/>
                    </a:lnTo>
                    <a:lnTo>
                      <a:pt x="149" y="125"/>
                    </a:lnTo>
                    <a:lnTo>
                      <a:pt x="148" y="126"/>
                    </a:lnTo>
                    <a:lnTo>
                      <a:pt x="147" y="126"/>
                    </a:lnTo>
                    <a:lnTo>
                      <a:pt x="146" y="125"/>
                    </a:lnTo>
                    <a:lnTo>
                      <a:pt x="145" y="125"/>
                    </a:lnTo>
                    <a:lnTo>
                      <a:pt x="144" y="125"/>
                    </a:lnTo>
                    <a:lnTo>
                      <a:pt x="143" y="125"/>
                    </a:lnTo>
                    <a:lnTo>
                      <a:pt x="142" y="124"/>
                    </a:lnTo>
                    <a:lnTo>
                      <a:pt x="141" y="124"/>
                    </a:lnTo>
                    <a:lnTo>
                      <a:pt x="139" y="123"/>
                    </a:lnTo>
                    <a:lnTo>
                      <a:pt x="138" y="123"/>
                    </a:lnTo>
                    <a:lnTo>
                      <a:pt x="137" y="122"/>
                    </a:lnTo>
                    <a:lnTo>
                      <a:pt x="137" y="122"/>
                    </a:lnTo>
                    <a:lnTo>
                      <a:pt x="136" y="122"/>
                    </a:lnTo>
                    <a:lnTo>
                      <a:pt x="135" y="122"/>
                    </a:lnTo>
                    <a:lnTo>
                      <a:pt x="135" y="122"/>
                    </a:lnTo>
                    <a:lnTo>
                      <a:pt x="134" y="122"/>
                    </a:lnTo>
                    <a:lnTo>
                      <a:pt x="134" y="122"/>
                    </a:lnTo>
                    <a:lnTo>
                      <a:pt x="133" y="123"/>
                    </a:lnTo>
                    <a:lnTo>
                      <a:pt x="133" y="124"/>
                    </a:lnTo>
                    <a:lnTo>
                      <a:pt x="132" y="124"/>
                    </a:lnTo>
                    <a:lnTo>
                      <a:pt x="132" y="125"/>
                    </a:lnTo>
                    <a:lnTo>
                      <a:pt x="132" y="126"/>
                    </a:lnTo>
                    <a:lnTo>
                      <a:pt x="132" y="127"/>
                    </a:lnTo>
                    <a:lnTo>
                      <a:pt x="132" y="129"/>
                    </a:lnTo>
                    <a:lnTo>
                      <a:pt x="132" y="130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32" y="135"/>
                    </a:lnTo>
                    <a:lnTo>
                      <a:pt x="132" y="136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31" y="137"/>
                    </a:lnTo>
                    <a:lnTo>
                      <a:pt x="131" y="138"/>
                    </a:lnTo>
                    <a:lnTo>
                      <a:pt x="131" y="138"/>
                    </a:lnTo>
                    <a:lnTo>
                      <a:pt x="131" y="139"/>
                    </a:lnTo>
                    <a:lnTo>
                      <a:pt x="131" y="139"/>
                    </a:lnTo>
                    <a:lnTo>
                      <a:pt x="131" y="140"/>
                    </a:lnTo>
                    <a:lnTo>
                      <a:pt x="131" y="140"/>
                    </a:lnTo>
                    <a:lnTo>
                      <a:pt x="131" y="144"/>
                    </a:lnTo>
                    <a:lnTo>
                      <a:pt x="131" y="149"/>
                    </a:lnTo>
                    <a:lnTo>
                      <a:pt x="131" y="153"/>
                    </a:lnTo>
                    <a:lnTo>
                      <a:pt x="131" y="157"/>
                    </a:lnTo>
                    <a:lnTo>
                      <a:pt x="130" y="157"/>
                    </a:lnTo>
                    <a:lnTo>
                      <a:pt x="130" y="157"/>
                    </a:lnTo>
                    <a:lnTo>
                      <a:pt x="130" y="157"/>
                    </a:lnTo>
                    <a:lnTo>
                      <a:pt x="129" y="158"/>
                    </a:lnTo>
                    <a:lnTo>
                      <a:pt x="129" y="158"/>
                    </a:lnTo>
                    <a:lnTo>
                      <a:pt x="129" y="159"/>
                    </a:lnTo>
                    <a:lnTo>
                      <a:pt x="129" y="159"/>
                    </a:lnTo>
                    <a:lnTo>
                      <a:pt x="129" y="160"/>
                    </a:lnTo>
                    <a:lnTo>
                      <a:pt x="129" y="160"/>
                    </a:lnTo>
                    <a:lnTo>
                      <a:pt x="129" y="162"/>
                    </a:lnTo>
                    <a:lnTo>
                      <a:pt x="129" y="163"/>
                    </a:lnTo>
                    <a:lnTo>
                      <a:pt x="129" y="166"/>
                    </a:lnTo>
                    <a:lnTo>
                      <a:pt x="129" y="169"/>
                    </a:lnTo>
                    <a:lnTo>
                      <a:pt x="129" y="170"/>
                    </a:lnTo>
                    <a:lnTo>
                      <a:pt x="129" y="172"/>
                    </a:lnTo>
                    <a:lnTo>
                      <a:pt x="128" y="172"/>
                    </a:lnTo>
                    <a:lnTo>
                      <a:pt x="127" y="172"/>
                    </a:lnTo>
                    <a:lnTo>
                      <a:pt x="126" y="171"/>
                    </a:lnTo>
                    <a:lnTo>
                      <a:pt x="125" y="171"/>
                    </a:lnTo>
                    <a:lnTo>
                      <a:pt x="125" y="170"/>
                    </a:lnTo>
                    <a:lnTo>
                      <a:pt x="125" y="170"/>
                    </a:lnTo>
                    <a:lnTo>
                      <a:pt x="124" y="169"/>
                    </a:lnTo>
                    <a:lnTo>
                      <a:pt x="124" y="169"/>
                    </a:lnTo>
                    <a:lnTo>
                      <a:pt x="124" y="168"/>
                    </a:lnTo>
                    <a:lnTo>
                      <a:pt x="124" y="168"/>
                    </a:lnTo>
                    <a:lnTo>
                      <a:pt x="124" y="167"/>
                    </a:lnTo>
                    <a:lnTo>
                      <a:pt x="123" y="167"/>
                    </a:lnTo>
                    <a:lnTo>
                      <a:pt x="123" y="167"/>
                    </a:lnTo>
                    <a:lnTo>
                      <a:pt x="123" y="167"/>
                    </a:lnTo>
                    <a:lnTo>
                      <a:pt x="122" y="167"/>
                    </a:lnTo>
                    <a:lnTo>
                      <a:pt x="122" y="167"/>
                    </a:lnTo>
                    <a:lnTo>
                      <a:pt x="120" y="164"/>
                    </a:lnTo>
                    <a:lnTo>
                      <a:pt x="118" y="162"/>
                    </a:lnTo>
                    <a:lnTo>
                      <a:pt x="116" y="159"/>
                    </a:lnTo>
                    <a:lnTo>
                      <a:pt x="114" y="156"/>
                    </a:lnTo>
                    <a:lnTo>
                      <a:pt x="112" y="153"/>
                    </a:lnTo>
                    <a:lnTo>
                      <a:pt x="110" y="150"/>
                    </a:lnTo>
                    <a:lnTo>
                      <a:pt x="109" y="148"/>
                    </a:lnTo>
                    <a:lnTo>
                      <a:pt x="109" y="147"/>
                    </a:lnTo>
                    <a:lnTo>
                      <a:pt x="108" y="145"/>
                    </a:lnTo>
                    <a:lnTo>
                      <a:pt x="107" y="144"/>
                    </a:lnTo>
                    <a:lnTo>
                      <a:pt x="106" y="144"/>
                    </a:lnTo>
                    <a:lnTo>
                      <a:pt x="105" y="144"/>
                    </a:lnTo>
                    <a:lnTo>
                      <a:pt x="104" y="145"/>
                    </a:lnTo>
                    <a:lnTo>
                      <a:pt x="103" y="145"/>
                    </a:lnTo>
                    <a:lnTo>
                      <a:pt x="102" y="145"/>
                    </a:lnTo>
                    <a:lnTo>
                      <a:pt x="101" y="145"/>
                    </a:lnTo>
                    <a:lnTo>
                      <a:pt x="100" y="146"/>
                    </a:lnTo>
                    <a:lnTo>
                      <a:pt x="99" y="146"/>
                    </a:lnTo>
                    <a:lnTo>
                      <a:pt x="97" y="146"/>
                    </a:lnTo>
                    <a:lnTo>
                      <a:pt x="95" y="146"/>
                    </a:lnTo>
                    <a:lnTo>
                      <a:pt x="93" y="146"/>
                    </a:lnTo>
                    <a:lnTo>
                      <a:pt x="90" y="145"/>
                    </a:lnTo>
                    <a:lnTo>
                      <a:pt x="88" y="145"/>
                    </a:lnTo>
                    <a:lnTo>
                      <a:pt x="86" y="144"/>
                    </a:lnTo>
                    <a:lnTo>
                      <a:pt x="84" y="144"/>
                    </a:lnTo>
                    <a:lnTo>
                      <a:pt x="82" y="143"/>
                    </a:lnTo>
                    <a:lnTo>
                      <a:pt x="80" y="143"/>
                    </a:lnTo>
                    <a:lnTo>
                      <a:pt x="78" y="142"/>
                    </a:lnTo>
                    <a:lnTo>
                      <a:pt x="74" y="140"/>
                    </a:lnTo>
                    <a:lnTo>
                      <a:pt x="73" y="140"/>
                    </a:lnTo>
                    <a:lnTo>
                      <a:pt x="72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0" y="140"/>
                    </a:lnTo>
                    <a:lnTo>
                      <a:pt x="70" y="140"/>
                    </a:lnTo>
                    <a:lnTo>
                      <a:pt x="69" y="140"/>
                    </a:lnTo>
                    <a:lnTo>
                      <a:pt x="69" y="140"/>
                    </a:lnTo>
                    <a:lnTo>
                      <a:pt x="69" y="141"/>
                    </a:lnTo>
                    <a:lnTo>
                      <a:pt x="69" y="141"/>
                    </a:lnTo>
                    <a:lnTo>
                      <a:pt x="69" y="141"/>
                    </a:lnTo>
                    <a:lnTo>
                      <a:pt x="69" y="142"/>
                    </a:lnTo>
                    <a:lnTo>
                      <a:pt x="68" y="142"/>
                    </a:lnTo>
                    <a:lnTo>
                      <a:pt x="67" y="142"/>
                    </a:lnTo>
                    <a:lnTo>
                      <a:pt x="67" y="142"/>
                    </a:lnTo>
                    <a:lnTo>
                      <a:pt x="66" y="142"/>
                    </a:lnTo>
                    <a:lnTo>
                      <a:pt x="65" y="142"/>
                    </a:lnTo>
                    <a:lnTo>
                      <a:pt x="65" y="142"/>
                    </a:lnTo>
                    <a:lnTo>
                      <a:pt x="65" y="142"/>
                    </a:lnTo>
                    <a:lnTo>
                      <a:pt x="64" y="143"/>
                    </a:lnTo>
                    <a:lnTo>
                      <a:pt x="64" y="143"/>
                    </a:lnTo>
                    <a:lnTo>
                      <a:pt x="63" y="143"/>
                    </a:lnTo>
                    <a:lnTo>
                      <a:pt x="63" y="143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1" y="144"/>
                    </a:lnTo>
                    <a:lnTo>
                      <a:pt x="61" y="144"/>
                    </a:lnTo>
                    <a:lnTo>
                      <a:pt x="58" y="143"/>
                    </a:lnTo>
                    <a:lnTo>
                      <a:pt x="55" y="142"/>
                    </a:lnTo>
                    <a:lnTo>
                      <a:pt x="53" y="141"/>
                    </a:lnTo>
                    <a:lnTo>
                      <a:pt x="50" y="140"/>
                    </a:lnTo>
                    <a:lnTo>
                      <a:pt x="47" y="140"/>
                    </a:lnTo>
                    <a:lnTo>
                      <a:pt x="44" y="139"/>
                    </a:lnTo>
                    <a:lnTo>
                      <a:pt x="42" y="138"/>
                    </a:lnTo>
                    <a:lnTo>
                      <a:pt x="40" y="138"/>
                    </a:lnTo>
                    <a:lnTo>
                      <a:pt x="39" y="138"/>
                    </a:lnTo>
                    <a:lnTo>
                      <a:pt x="37" y="138"/>
                    </a:lnTo>
                    <a:lnTo>
                      <a:pt x="36" y="138"/>
                    </a:lnTo>
                    <a:lnTo>
                      <a:pt x="35" y="138"/>
                    </a:lnTo>
                    <a:lnTo>
                      <a:pt x="33" y="138"/>
                    </a:lnTo>
                    <a:lnTo>
                      <a:pt x="32" y="138"/>
                    </a:lnTo>
                    <a:lnTo>
                      <a:pt x="31" y="138"/>
                    </a:lnTo>
                    <a:lnTo>
                      <a:pt x="29" y="138"/>
                    </a:lnTo>
                    <a:lnTo>
                      <a:pt x="28" y="139"/>
                    </a:lnTo>
                    <a:lnTo>
                      <a:pt x="27" y="139"/>
                    </a:lnTo>
                    <a:lnTo>
                      <a:pt x="26" y="139"/>
                    </a:lnTo>
                    <a:lnTo>
                      <a:pt x="25" y="140"/>
                    </a:lnTo>
                    <a:lnTo>
                      <a:pt x="23" y="140"/>
                    </a:lnTo>
                    <a:lnTo>
                      <a:pt x="22" y="141"/>
                    </a:lnTo>
                    <a:lnTo>
                      <a:pt x="21" y="142"/>
                    </a:lnTo>
                    <a:lnTo>
                      <a:pt x="20" y="143"/>
                    </a:lnTo>
                    <a:lnTo>
                      <a:pt x="19" y="144"/>
                    </a:lnTo>
                    <a:lnTo>
                      <a:pt x="18" y="143"/>
                    </a:lnTo>
                    <a:lnTo>
                      <a:pt x="18" y="143"/>
                    </a:lnTo>
                    <a:lnTo>
                      <a:pt x="17" y="143"/>
                    </a:lnTo>
                    <a:lnTo>
                      <a:pt x="16" y="143"/>
                    </a:lnTo>
                    <a:lnTo>
                      <a:pt x="15" y="143"/>
                    </a:lnTo>
                    <a:lnTo>
                      <a:pt x="14" y="143"/>
                    </a:lnTo>
                    <a:lnTo>
                      <a:pt x="14" y="144"/>
                    </a:lnTo>
                    <a:lnTo>
                      <a:pt x="13" y="144"/>
                    </a:lnTo>
                    <a:lnTo>
                      <a:pt x="12" y="144"/>
                    </a:lnTo>
                    <a:lnTo>
                      <a:pt x="11" y="145"/>
                    </a:lnTo>
                    <a:lnTo>
                      <a:pt x="11" y="146"/>
                    </a:lnTo>
                    <a:lnTo>
                      <a:pt x="10" y="146"/>
                    </a:lnTo>
                    <a:lnTo>
                      <a:pt x="10" y="146"/>
                    </a:lnTo>
                    <a:lnTo>
                      <a:pt x="9" y="147"/>
                    </a:lnTo>
                    <a:lnTo>
                      <a:pt x="8" y="147"/>
                    </a:lnTo>
                    <a:lnTo>
                      <a:pt x="7" y="147"/>
                    </a:lnTo>
                    <a:lnTo>
                      <a:pt x="7" y="137"/>
                    </a:lnTo>
                    <a:lnTo>
                      <a:pt x="7" y="127"/>
                    </a:lnTo>
                    <a:lnTo>
                      <a:pt x="8" y="127"/>
                    </a:lnTo>
                    <a:lnTo>
                      <a:pt x="8" y="127"/>
                    </a:lnTo>
                    <a:lnTo>
                      <a:pt x="8" y="127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5"/>
                    </a:lnTo>
                    <a:lnTo>
                      <a:pt x="10" y="125"/>
                    </a:lnTo>
                    <a:lnTo>
                      <a:pt x="11" y="125"/>
                    </a:lnTo>
                    <a:lnTo>
                      <a:pt x="12" y="125"/>
                    </a:lnTo>
                    <a:lnTo>
                      <a:pt x="12" y="124"/>
                    </a:lnTo>
                    <a:lnTo>
                      <a:pt x="13" y="124"/>
                    </a:lnTo>
                    <a:lnTo>
                      <a:pt x="13" y="123"/>
                    </a:lnTo>
                    <a:lnTo>
                      <a:pt x="14" y="123"/>
                    </a:lnTo>
                    <a:lnTo>
                      <a:pt x="14" y="122"/>
                    </a:lnTo>
                    <a:lnTo>
                      <a:pt x="14" y="121"/>
                    </a:lnTo>
                    <a:lnTo>
                      <a:pt x="14" y="120"/>
                    </a:lnTo>
                    <a:lnTo>
                      <a:pt x="13" y="119"/>
                    </a:lnTo>
                    <a:lnTo>
                      <a:pt x="13" y="118"/>
                    </a:lnTo>
                    <a:lnTo>
                      <a:pt x="12" y="117"/>
                    </a:lnTo>
                    <a:lnTo>
                      <a:pt x="11" y="117"/>
                    </a:lnTo>
                    <a:lnTo>
                      <a:pt x="11" y="116"/>
                    </a:lnTo>
                    <a:lnTo>
                      <a:pt x="10" y="115"/>
                    </a:lnTo>
                    <a:lnTo>
                      <a:pt x="9" y="114"/>
                    </a:lnTo>
                    <a:lnTo>
                      <a:pt x="8" y="114"/>
                    </a:lnTo>
                    <a:lnTo>
                      <a:pt x="8" y="113"/>
                    </a:lnTo>
                    <a:lnTo>
                      <a:pt x="7" y="113"/>
                    </a:lnTo>
                    <a:lnTo>
                      <a:pt x="6" y="112"/>
                    </a:lnTo>
                    <a:lnTo>
                      <a:pt x="6" y="111"/>
                    </a:lnTo>
                    <a:lnTo>
                      <a:pt x="6" y="110"/>
                    </a:lnTo>
                    <a:lnTo>
                      <a:pt x="6" y="109"/>
                    </a:lnTo>
                    <a:lnTo>
                      <a:pt x="6" y="109"/>
                    </a:lnTo>
                    <a:lnTo>
                      <a:pt x="6" y="108"/>
                    </a:lnTo>
                    <a:lnTo>
                      <a:pt x="6" y="107"/>
                    </a:lnTo>
                    <a:lnTo>
                      <a:pt x="7" y="107"/>
                    </a:lnTo>
                    <a:lnTo>
                      <a:pt x="7" y="106"/>
                    </a:lnTo>
                    <a:lnTo>
                      <a:pt x="8" y="105"/>
                    </a:lnTo>
                    <a:lnTo>
                      <a:pt x="8" y="105"/>
                    </a:lnTo>
                    <a:lnTo>
                      <a:pt x="8" y="104"/>
                    </a:lnTo>
                    <a:lnTo>
                      <a:pt x="9" y="103"/>
                    </a:lnTo>
                    <a:lnTo>
                      <a:pt x="9" y="103"/>
                    </a:lnTo>
                    <a:lnTo>
                      <a:pt x="9" y="102"/>
                    </a:lnTo>
                    <a:lnTo>
                      <a:pt x="9" y="101"/>
                    </a:lnTo>
                    <a:lnTo>
                      <a:pt x="9" y="100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7"/>
                    </a:lnTo>
                    <a:lnTo>
                      <a:pt x="9" y="97"/>
                    </a:lnTo>
                    <a:lnTo>
                      <a:pt x="9" y="97"/>
                    </a:lnTo>
                    <a:lnTo>
                      <a:pt x="9" y="97"/>
                    </a:lnTo>
                    <a:lnTo>
                      <a:pt x="8" y="96"/>
                    </a:lnTo>
                    <a:lnTo>
                      <a:pt x="8" y="95"/>
                    </a:lnTo>
                    <a:lnTo>
                      <a:pt x="8" y="94"/>
                    </a:lnTo>
                    <a:lnTo>
                      <a:pt x="7" y="93"/>
                    </a:lnTo>
                    <a:lnTo>
                      <a:pt x="7" y="92"/>
                    </a:lnTo>
                    <a:lnTo>
                      <a:pt x="7" y="91"/>
                    </a:lnTo>
                    <a:lnTo>
                      <a:pt x="6" y="90"/>
                    </a:lnTo>
                    <a:lnTo>
                      <a:pt x="6" y="90"/>
                    </a:lnTo>
                    <a:lnTo>
                      <a:pt x="6" y="88"/>
                    </a:lnTo>
                    <a:lnTo>
                      <a:pt x="6" y="86"/>
                    </a:lnTo>
                    <a:lnTo>
                      <a:pt x="6" y="84"/>
                    </a:lnTo>
                    <a:lnTo>
                      <a:pt x="6" y="82"/>
                    </a:lnTo>
                    <a:lnTo>
                      <a:pt x="6" y="80"/>
                    </a:lnTo>
                    <a:lnTo>
                      <a:pt x="6" y="78"/>
                    </a:lnTo>
                    <a:lnTo>
                      <a:pt x="6" y="77"/>
                    </a:lnTo>
                    <a:lnTo>
                      <a:pt x="6" y="76"/>
                    </a:lnTo>
                    <a:lnTo>
                      <a:pt x="5" y="75"/>
                    </a:lnTo>
                    <a:lnTo>
                      <a:pt x="5" y="74"/>
                    </a:lnTo>
                    <a:lnTo>
                      <a:pt x="5" y="74"/>
                    </a:lnTo>
                    <a:lnTo>
                      <a:pt x="4" y="73"/>
                    </a:lnTo>
                    <a:lnTo>
                      <a:pt x="4" y="72"/>
                    </a:lnTo>
                    <a:lnTo>
                      <a:pt x="4" y="71"/>
                    </a:lnTo>
                    <a:lnTo>
                      <a:pt x="3" y="71"/>
                    </a:lnTo>
                    <a:lnTo>
                      <a:pt x="2" y="70"/>
                    </a:lnTo>
                    <a:lnTo>
                      <a:pt x="1" y="69"/>
                    </a:lnTo>
                    <a:lnTo>
                      <a:pt x="1" y="69"/>
                    </a:lnTo>
                    <a:lnTo>
                      <a:pt x="0" y="68"/>
                    </a:lnTo>
                    <a:lnTo>
                      <a:pt x="0" y="67"/>
                    </a:lnTo>
                    <a:lnTo>
                      <a:pt x="0" y="67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5"/>
                    </a:lnTo>
                    <a:lnTo>
                      <a:pt x="0" y="65"/>
                    </a:lnTo>
                    <a:lnTo>
                      <a:pt x="1" y="65"/>
                    </a:lnTo>
                    <a:lnTo>
                      <a:pt x="1" y="64"/>
                    </a:lnTo>
                    <a:lnTo>
                      <a:pt x="2" y="64"/>
                    </a:lnTo>
                    <a:lnTo>
                      <a:pt x="2" y="63"/>
                    </a:lnTo>
                    <a:lnTo>
                      <a:pt x="3" y="63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1"/>
                    </a:lnTo>
                    <a:lnTo>
                      <a:pt x="5" y="61"/>
                    </a:lnTo>
                    <a:lnTo>
                      <a:pt x="5" y="59"/>
                    </a:lnTo>
                    <a:lnTo>
                      <a:pt x="6" y="58"/>
                    </a:lnTo>
                    <a:lnTo>
                      <a:pt x="7" y="56"/>
                    </a:lnTo>
                    <a:lnTo>
                      <a:pt x="7" y="55"/>
                    </a:lnTo>
                    <a:lnTo>
                      <a:pt x="8" y="55"/>
                    </a:lnTo>
                    <a:lnTo>
                      <a:pt x="8" y="54"/>
                    </a:lnTo>
                    <a:lnTo>
                      <a:pt x="9" y="54"/>
                    </a:lnTo>
                    <a:lnTo>
                      <a:pt x="9" y="53"/>
                    </a:lnTo>
                    <a:lnTo>
                      <a:pt x="10" y="52"/>
                    </a:lnTo>
                    <a:lnTo>
                      <a:pt x="11" y="52"/>
                    </a:ln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9525">
                <a:solidFill>
                  <a:srgbClr val="356D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  <a:defRPr/>
                </a:pPr>
                <a:endParaRPr lang="en-US" sz="1200" dirty="0">
                  <a:solidFill>
                    <a:schemeClr val="tx1"/>
                  </a:solidFill>
                  <a:effectLst>
                    <a:glow rad="127000">
                      <a:schemeClr val="accent1"/>
                    </a:glow>
                  </a:effectLst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" name="Freeform 7"/>
              <p:cNvSpPr>
                <a:spLocks/>
              </p:cNvSpPr>
              <p:nvPr/>
            </p:nvSpPr>
            <p:spPr bwMode="auto">
              <a:xfrm>
                <a:off x="1719213" y="2604558"/>
                <a:ext cx="2146266" cy="1959873"/>
              </a:xfrm>
              <a:custGeom>
                <a:avLst/>
                <a:gdLst/>
                <a:ahLst/>
                <a:cxnLst>
                  <a:cxn ang="0">
                    <a:pos x="29" y="12"/>
                  </a:cxn>
                  <a:cxn ang="0">
                    <a:pos x="28" y="0"/>
                  </a:cxn>
                  <a:cxn ang="0">
                    <a:pos x="38" y="4"/>
                  </a:cxn>
                  <a:cxn ang="0">
                    <a:pos x="48" y="16"/>
                  </a:cxn>
                  <a:cxn ang="0">
                    <a:pos x="58" y="12"/>
                  </a:cxn>
                  <a:cxn ang="0">
                    <a:pos x="65" y="7"/>
                  </a:cxn>
                  <a:cxn ang="0">
                    <a:pos x="71" y="3"/>
                  </a:cxn>
                  <a:cxn ang="0">
                    <a:pos x="75" y="5"/>
                  </a:cxn>
                  <a:cxn ang="0">
                    <a:pos x="81" y="7"/>
                  </a:cxn>
                  <a:cxn ang="0">
                    <a:pos x="87" y="11"/>
                  </a:cxn>
                  <a:cxn ang="0">
                    <a:pos x="98" y="6"/>
                  </a:cxn>
                  <a:cxn ang="0">
                    <a:pos x="109" y="18"/>
                  </a:cxn>
                  <a:cxn ang="0">
                    <a:pos x="119" y="23"/>
                  </a:cxn>
                  <a:cxn ang="0">
                    <a:pos x="130" y="27"/>
                  </a:cxn>
                  <a:cxn ang="0">
                    <a:pos x="134" y="19"/>
                  </a:cxn>
                  <a:cxn ang="0">
                    <a:pos x="138" y="22"/>
                  </a:cxn>
                  <a:cxn ang="0">
                    <a:pos x="153" y="23"/>
                  </a:cxn>
                  <a:cxn ang="0">
                    <a:pos x="165" y="16"/>
                  </a:cxn>
                  <a:cxn ang="0">
                    <a:pos x="173" y="3"/>
                  </a:cxn>
                  <a:cxn ang="0">
                    <a:pos x="187" y="25"/>
                  </a:cxn>
                  <a:cxn ang="0">
                    <a:pos x="194" y="49"/>
                  </a:cxn>
                  <a:cxn ang="0">
                    <a:pos x="189" y="60"/>
                  </a:cxn>
                  <a:cxn ang="0">
                    <a:pos x="183" y="65"/>
                  </a:cxn>
                  <a:cxn ang="0">
                    <a:pos x="181" y="75"/>
                  </a:cxn>
                  <a:cxn ang="0">
                    <a:pos x="186" y="79"/>
                  </a:cxn>
                  <a:cxn ang="0">
                    <a:pos x="192" y="80"/>
                  </a:cxn>
                  <a:cxn ang="0">
                    <a:pos x="198" y="89"/>
                  </a:cxn>
                  <a:cxn ang="0">
                    <a:pos x="210" y="100"/>
                  </a:cxn>
                  <a:cxn ang="0">
                    <a:pos x="213" y="105"/>
                  </a:cxn>
                  <a:cxn ang="0">
                    <a:pos x="215" y="113"/>
                  </a:cxn>
                  <a:cxn ang="0">
                    <a:pos x="213" y="123"/>
                  </a:cxn>
                  <a:cxn ang="0">
                    <a:pos x="196" y="134"/>
                  </a:cxn>
                  <a:cxn ang="0">
                    <a:pos x="188" y="141"/>
                  </a:cxn>
                  <a:cxn ang="0">
                    <a:pos x="179" y="135"/>
                  </a:cxn>
                  <a:cxn ang="0">
                    <a:pos x="167" y="120"/>
                  </a:cxn>
                  <a:cxn ang="0">
                    <a:pos x="155" y="117"/>
                  </a:cxn>
                  <a:cxn ang="0">
                    <a:pos x="146" y="131"/>
                  </a:cxn>
                  <a:cxn ang="0">
                    <a:pos x="139" y="136"/>
                  </a:cxn>
                  <a:cxn ang="0">
                    <a:pos x="132" y="137"/>
                  </a:cxn>
                  <a:cxn ang="0">
                    <a:pos x="116" y="151"/>
                  </a:cxn>
                  <a:cxn ang="0">
                    <a:pos x="105" y="163"/>
                  </a:cxn>
                  <a:cxn ang="0">
                    <a:pos x="94" y="170"/>
                  </a:cxn>
                  <a:cxn ang="0">
                    <a:pos x="89" y="176"/>
                  </a:cxn>
                  <a:cxn ang="0">
                    <a:pos x="63" y="180"/>
                  </a:cxn>
                  <a:cxn ang="0">
                    <a:pos x="43" y="178"/>
                  </a:cxn>
                  <a:cxn ang="0">
                    <a:pos x="43" y="158"/>
                  </a:cxn>
                  <a:cxn ang="0">
                    <a:pos x="45" y="147"/>
                  </a:cxn>
                  <a:cxn ang="0">
                    <a:pos x="36" y="135"/>
                  </a:cxn>
                  <a:cxn ang="0">
                    <a:pos x="23" y="123"/>
                  </a:cxn>
                  <a:cxn ang="0">
                    <a:pos x="24" y="104"/>
                  </a:cxn>
                  <a:cxn ang="0">
                    <a:pos x="29" y="97"/>
                  </a:cxn>
                  <a:cxn ang="0">
                    <a:pos x="25" y="91"/>
                  </a:cxn>
                  <a:cxn ang="0">
                    <a:pos x="25" y="79"/>
                  </a:cxn>
                  <a:cxn ang="0">
                    <a:pos x="26" y="67"/>
                  </a:cxn>
                  <a:cxn ang="0">
                    <a:pos x="16" y="65"/>
                  </a:cxn>
                  <a:cxn ang="0">
                    <a:pos x="10" y="60"/>
                  </a:cxn>
                  <a:cxn ang="0">
                    <a:pos x="2" y="52"/>
                  </a:cxn>
                  <a:cxn ang="0">
                    <a:pos x="1" y="46"/>
                  </a:cxn>
                  <a:cxn ang="0">
                    <a:pos x="10" y="38"/>
                  </a:cxn>
                  <a:cxn ang="0">
                    <a:pos x="25" y="27"/>
                  </a:cxn>
                  <a:cxn ang="0">
                    <a:pos x="24" y="18"/>
                  </a:cxn>
                </a:cxnLst>
                <a:rect l="0" t="0" r="r" b="b"/>
                <a:pathLst>
                  <a:path w="216" h="183">
                    <a:moveTo>
                      <a:pt x="25" y="16"/>
                    </a:moveTo>
                    <a:lnTo>
                      <a:pt x="26" y="16"/>
                    </a:lnTo>
                    <a:lnTo>
                      <a:pt x="26" y="16"/>
                    </a:lnTo>
                    <a:lnTo>
                      <a:pt x="27" y="16"/>
                    </a:lnTo>
                    <a:lnTo>
                      <a:pt x="27" y="16"/>
                    </a:lnTo>
                    <a:lnTo>
                      <a:pt x="27" y="15"/>
                    </a:lnTo>
                    <a:lnTo>
                      <a:pt x="28" y="15"/>
                    </a:lnTo>
                    <a:lnTo>
                      <a:pt x="29" y="14"/>
                    </a:lnTo>
                    <a:lnTo>
                      <a:pt x="29" y="13"/>
                    </a:lnTo>
                    <a:lnTo>
                      <a:pt x="29" y="12"/>
                    </a:lnTo>
                    <a:lnTo>
                      <a:pt x="30" y="11"/>
                    </a:lnTo>
                    <a:lnTo>
                      <a:pt x="30" y="10"/>
                    </a:lnTo>
                    <a:lnTo>
                      <a:pt x="30" y="8"/>
                    </a:lnTo>
                    <a:lnTo>
                      <a:pt x="30" y="7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29" y="3"/>
                    </a:lnTo>
                    <a:lnTo>
                      <a:pt x="29" y="2"/>
                    </a:lnTo>
                    <a:lnTo>
                      <a:pt x="29" y="1"/>
                    </a:lnTo>
                    <a:lnTo>
                      <a:pt x="28" y="0"/>
                    </a:lnTo>
                    <a:lnTo>
                      <a:pt x="29" y="0"/>
                    </a:lnTo>
                    <a:lnTo>
                      <a:pt x="30" y="0"/>
                    </a:lnTo>
                    <a:lnTo>
                      <a:pt x="31" y="0"/>
                    </a:lnTo>
                    <a:lnTo>
                      <a:pt x="32" y="0"/>
                    </a:lnTo>
                    <a:lnTo>
                      <a:pt x="33" y="1"/>
                    </a:lnTo>
                    <a:lnTo>
                      <a:pt x="34" y="1"/>
                    </a:lnTo>
                    <a:lnTo>
                      <a:pt x="34" y="2"/>
                    </a:lnTo>
                    <a:lnTo>
                      <a:pt x="35" y="2"/>
                    </a:lnTo>
                    <a:lnTo>
                      <a:pt x="36" y="3"/>
                    </a:lnTo>
                    <a:lnTo>
                      <a:pt x="38" y="4"/>
                    </a:lnTo>
                    <a:lnTo>
                      <a:pt x="39" y="5"/>
                    </a:lnTo>
                    <a:lnTo>
                      <a:pt x="39" y="7"/>
                    </a:lnTo>
                    <a:lnTo>
                      <a:pt x="41" y="9"/>
                    </a:lnTo>
                    <a:lnTo>
                      <a:pt x="42" y="11"/>
                    </a:lnTo>
                    <a:lnTo>
                      <a:pt x="43" y="12"/>
                    </a:lnTo>
                    <a:lnTo>
                      <a:pt x="44" y="14"/>
                    </a:lnTo>
                    <a:lnTo>
                      <a:pt x="46" y="15"/>
                    </a:lnTo>
                    <a:lnTo>
                      <a:pt x="46" y="15"/>
                    </a:lnTo>
                    <a:lnTo>
                      <a:pt x="47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0" y="16"/>
                    </a:lnTo>
                    <a:lnTo>
                      <a:pt x="52" y="15"/>
                    </a:lnTo>
                    <a:lnTo>
                      <a:pt x="54" y="14"/>
                    </a:lnTo>
                    <a:lnTo>
                      <a:pt x="55" y="14"/>
                    </a:lnTo>
                    <a:lnTo>
                      <a:pt x="56" y="14"/>
                    </a:lnTo>
                    <a:lnTo>
                      <a:pt x="56" y="13"/>
                    </a:lnTo>
                    <a:lnTo>
                      <a:pt x="57" y="13"/>
                    </a:lnTo>
                    <a:lnTo>
                      <a:pt x="58" y="12"/>
                    </a:lnTo>
                    <a:lnTo>
                      <a:pt x="58" y="12"/>
                    </a:lnTo>
                    <a:lnTo>
                      <a:pt x="59" y="11"/>
                    </a:lnTo>
                    <a:lnTo>
                      <a:pt x="59" y="10"/>
                    </a:lnTo>
                    <a:lnTo>
                      <a:pt x="60" y="9"/>
                    </a:lnTo>
                    <a:lnTo>
                      <a:pt x="60" y="8"/>
                    </a:lnTo>
                    <a:lnTo>
                      <a:pt x="61" y="8"/>
                    </a:lnTo>
                    <a:lnTo>
                      <a:pt x="62" y="8"/>
                    </a:lnTo>
                    <a:lnTo>
                      <a:pt x="63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5" y="7"/>
                    </a:lnTo>
                    <a:lnTo>
                      <a:pt x="65" y="7"/>
                    </a:lnTo>
                    <a:lnTo>
                      <a:pt x="66" y="6"/>
                    </a:lnTo>
                    <a:lnTo>
                      <a:pt x="67" y="5"/>
                    </a:lnTo>
                    <a:lnTo>
                      <a:pt x="67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3"/>
                    </a:lnTo>
                    <a:lnTo>
                      <a:pt x="70" y="3"/>
                    </a:lnTo>
                    <a:lnTo>
                      <a:pt x="70" y="3"/>
                    </a:lnTo>
                    <a:lnTo>
                      <a:pt x="71" y="3"/>
                    </a:lnTo>
                    <a:lnTo>
                      <a:pt x="71" y="3"/>
                    </a:lnTo>
                    <a:lnTo>
                      <a:pt x="72" y="3"/>
                    </a:lnTo>
                    <a:lnTo>
                      <a:pt x="72" y="3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3" y="4"/>
                    </a:lnTo>
                    <a:lnTo>
                      <a:pt x="73" y="5"/>
                    </a:lnTo>
                    <a:lnTo>
                      <a:pt x="74" y="5"/>
                    </a:lnTo>
                    <a:lnTo>
                      <a:pt x="75" y="5"/>
                    </a:lnTo>
                    <a:lnTo>
                      <a:pt x="76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8" y="5"/>
                    </a:lnTo>
                    <a:lnTo>
                      <a:pt x="78" y="5"/>
                    </a:lnTo>
                    <a:lnTo>
                      <a:pt x="79" y="5"/>
                    </a:lnTo>
                    <a:lnTo>
                      <a:pt x="79" y="6"/>
                    </a:lnTo>
                    <a:lnTo>
                      <a:pt x="80" y="6"/>
                    </a:lnTo>
                    <a:lnTo>
                      <a:pt x="80" y="6"/>
                    </a:lnTo>
                    <a:lnTo>
                      <a:pt x="81" y="7"/>
                    </a:lnTo>
                    <a:lnTo>
                      <a:pt x="81" y="8"/>
                    </a:lnTo>
                    <a:lnTo>
                      <a:pt x="81" y="9"/>
                    </a:lnTo>
                    <a:lnTo>
                      <a:pt x="82" y="9"/>
                    </a:lnTo>
                    <a:lnTo>
                      <a:pt x="82" y="10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6" y="11"/>
                    </a:lnTo>
                    <a:lnTo>
                      <a:pt x="87" y="11"/>
                    </a:lnTo>
                    <a:lnTo>
                      <a:pt x="88" y="10"/>
                    </a:lnTo>
                    <a:lnTo>
                      <a:pt x="89" y="9"/>
                    </a:lnTo>
                    <a:lnTo>
                      <a:pt x="91" y="8"/>
                    </a:lnTo>
                    <a:lnTo>
                      <a:pt x="92" y="8"/>
                    </a:lnTo>
                    <a:lnTo>
                      <a:pt x="92" y="7"/>
                    </a:lnTo>
                    <a:lnTo>
                      <a:pt x="93" y="7"/>
                    </a:lnTo>
                    <a:lnTo>
                      <a:pt x="95" y="6"/>
                    </a:lnTo>
                    <a:lnTo>
                      <a:pt x="96" y="6"/>
                    </a:lnTo>
                    <a:lnTo>
                      <a:pt x="97" y="6"/>
                    </a:lnTo>
                    <a:lnTo>
                      <a:pt x="98" y="6"/>
                    </a:lnTo>
                    <a:lnTo>
                      <a:pt x="100" y="6"/>
                    </a:lnTo>
                    <a:lnTo>
                      <a:pt x="101" y="6"/>
                    </a:lnTo>
                    <a:lnTo>
                      <a:pt x="102" y="6"/>
                    </a:lnTo>
                    <a:lnTo>
                      <a:pt x="103" y="6"/>
                    </a:lnTo>
                    <a:lnTo>
                      <a:pt x="104" y="8"/>
                    </a:lnTo>
                    <a:lnTo>
                      <a:pt x="105" y="11"/>
                    </a:lnTo>
                    <a:lnTo>
                      <a:pt x="106" y="13"/>
                    </a:lnTo>
                    <a:lnTo>
                      <a:pt x="108" y="15"/>
                    </a:lnTo>
                    <a:lnTo>
                      <a:pt x="109" y="17"/>
                    </a:lnTo>
                    <a:lnTo>
                      <a:pt x="109" y="18"/>
                    </a:lnTo>
                    <a:lnTo>
                      <a:pt x="110" y="19"/>
                    </a:lnTo>
                    <a:lnTo>
                      <a:pt x="111" y="20"/>
                    </a:lnTo>
                    <a:lnTo>
                      <a:pt x="112" y="21"/>
                    </a:lnTo>
                    <a:lnTo>
                      <a:pt x="112" y="22"/>
                    </a:lnTo>
                    <a:lnTo>
                      <a:pt x="113" y="23"/>
                    </a:lnTo>
                    <a:lnTo>
                      <a:pt x="115" y="23"/>
                    </a:lnTo>
                    <a:lnTo>
                      <a:pt x="116" y="23"/>
                    </a:lnTo>
                    <a:lnTo>
                      <a:pt x="117" y="23"/>
                    </a:lnTo>
                    <a:lnTo>
                      <a:pt x="118" y="23"/>
                    </a:lnTo>
                    <a:lnTo>
                      <a:pt x="119" y="23"/>
                    </a:lnTo>
                    <a:lnTo>
                      <a:pt x="120" y="23"/>
                    </a:lnTo>
                    <a:lnTo>
                      <a:pt x="121" y="24"/>
                    </a:lnTo>
                    <a:lnTo>
                      <a:pt x="122" y="24"/>
                    </a:lnTo>
                    <a:lnTo>
                      <a:pt x="123" y="24"/>
                    </a:lnTo>
                    <a:lnTo>
                      <a:pt x="124" y="25"/>
                    </a:lnTo>
                    <a:lnTo>
                      <a:pt x="125" y="26"/>
                    </a:lnTo>
                    <a:lnTo>
                      <a:pt x="127" y="27"/>
                    </a:lnTo>
                    <a:lnTo>
                      <a:pt x="128" y="28"/>
                    </a:lnTo>
                    <a:lnTo>
                      <a:pt x="129" y="28"/>
                    </a:lnTo>
                    <a:lnTo>
                      <a:pt x="130" y="27"/>
                    </a:lnTo>
                    <a:lnTo>
                      <a:pt x="130" y="27"/>
                    </a:lnTo>
                    <a:lnTo>
                      <a:pt x="131" y="27"/>
                    </a:lnTo>
                    <a:lnTo>
                      <a:pt x="131" y="26"/>
                    </a:lnTo>
                    <a:lnTo>
                      <a:pt x="132" y="25"/>
                    </a:lnTo>
                    <a:lnTo>
                      <a:pt x="132" y="25"/>
                    </a:lnTo>
                    <a:lnTo>
                      <a:pt x="133" y="24"/>
                    </a:lnTo>
                    <a:lnTo>
                      <a:pt x="133" y="23"/>
                    </a:lnTo>
                    <a:lnTo>
                      <a:pt x="134" y="21"/>
                    </a:lnTo>
                    <a:lnTo>
                      <a:pt x="134" y="19"/>
                    </a:lnTo>
                    <a:lnTo>
                      <a:pt x="134" y="19"/>
                    </a:lnTo>
                    <a:lnTo>
                      <a:pt x="135" y="18"/>
                    </a:lnTo>
                    <a:lnTo>
                      <a:pt x="135" y="18"/>
                    </a:lnTo>
                    <a:lnTo>
                      <a:pt x="136" y="18"/>
                    </a:lnTo>
                    <a:lnTo>
                      <a:pt x="136" y="18"/>
                    </a:lnTo>
                    <a:lnTo>
                      <a:pt x="137" y="19"/>
                    </a:lnTo>
                    <a:lnTo>
                      <a:pt x="137" y="19"/>
                    </a:lnTo>
                    <a:lnTo>
                      <a:pt x="137" y="19"/>
                    </a:lnTo>
                    <a:lnTo>
                      <a:pt x="137" y="20"/>
                    </a:lnTo>
                    <a:lnTo>
                      <a:pt x="138" y="21"/>
                    </a:lnTo>
                    <a:lnTo>
                      <a:pt x="138" y="22"/>
                    </a:lnTo>
                    <a:lnTo>
                      <a:pt x="138" y="22"/>
                    </a:lnTo>
                    <a:lnTo>
                      <a:pt x="138" y="23"/>
                    </a:lnTo>
                    <a:lnTo>
                      <a:pt x="139" y="23"/>
                    </a:lnTo>
                    <a:lnTo>
                      <a:pt x="139" y="23"/>
                    </a:lnTo>
                    <a:lnTo>
                      <a:pt x="140" y="23"/>
                    </a:lnTo>
                    <a:lnTo>
                      <a:pt x="144" y="23"/>
                    </a:lnTo>
                    <a:lnTo>
                      <a:pt x="147" y="23"/>
                    </a:lnTo>
                    <a:lnTo>
                      <a:pt x="149" y="23"/>
                    </a:lnTo>
                    <a:lnTo>
                      <a:pt x="151" y="23"/>
                    </a:lnTo>
                    <a:lnTo>
                      <a:pt x="153" y="23"/>
                    </a:lnTo>
                    <a:lnTo>
                      <a:pt x="155" y="23"/>
                    </a:lnTo>
                    <a:lnTo>
                      <a:pt x="156" y="23"/>
                    </a:lnTo>
                    <a:lnTo>
                      <a:pt x="158" y="22"/>
                    </a:lnTo>
                    <a:lnTo>
                      <a:pt x="159" y="22"/>
                    </a:lnTo>
                    <a:lnTo>
                      <a:pt x="160" y="21"/>
                    </a:lnTo>
                    <a:lnTo>
                      <a:pt x="162" y="20"/>
                    </a:lnTo>
                    <a:lnTo>
                      <a:pt x="163" y="20"/>
                    </a:lnTo>
                    <a:lnTo>
                      <a:pt x="164" y="19"/>
                    </a:lnTo>
                    <a:lnTo>
                      <a:pt x="165" y="18"/>
                    </a:lnTo>
                    <a:lnTo>
                      <a:pt x="165" y="16"/>
                    </a:lnTo>
                    <a:lnTo>
                      <a:pt x="165" y="14"/>
                    </a:lnTo>
                    <a:lnTo>
                      <a:pt x="166" y="12"/>
                    </a:lnTo>
                    <a:lnTo>
                      <a:pt x="166" y="10"/>
                    </a:lnTo>
                    <a:lnTo>
                      <a:pt x="166" y="8"/>
                    </a:lnTo>
                    <a:lnTo>
                      <a:pt x="167" y="6"/>
                    </a:lnTo>
                    <a:lnTo>
                      <a:pt x="167" y="5"/>
                    </a:lnTo>
                    <a:lnTo>
                      <a:pt x="168" y="3"/>
                    </a:lnTo>
                    <a:lnTo>
                      <a:pt x="170" y="3"/>
                    </a:lnTo>
                    <a:lnTo>
                      <a:pt x="171" y="3"/>
                    </a:lnTo>
                    <a:lnTo>
                      <a:pt x="173" y="3"/>
                    </a:lnTo>
                    <a:lnTo>
                      <a:pt x="175" y="3"/>
                    </a:lnTo>
                    <a:lnTo>
                      <a:pt x="178" y="7"/>
                    </a:lnTo>
                    <a:lnTo>
                      <a:pt x="181" y="10"/>
                    </a:lnTo>
                    <a:lnTo>
                      <a:pt x="182" y="12"/>
                    </a:lnTo>
                    <a:lnTo>
                      <a:pt x="184" y="14"/>
                    </a:lnTo>
                    <a:lnTo>
                      <a:pt x="185" y="16"/>
                    </a:lnTo>
                    <a:lnTo>
                      <a:pt x="187" y="18"/>
                    </a:lnTo>
                    <a:lnTo>
                      <a:pt x="187" y="20"/>
                    </a:lnTo>
                    <a:lnTo>
                      <a:pt x="187" y="23"/>
                    </a:lnTo>
                    <a:lnTo>
                      <a:pt x="187" y="25"/>
                    </a:lnTo>
                    <a:lnTo>
                      <a:pt x="188" y="27"/>
                    </a:lnTo>
                    <a:lnTo>
                      <a:pt x="188" y="29"/>
                    </a:lnTo>
                    <a:lnTo>
                      <a:pt x="189" y="31"/>
                    </a:lnTo>
                    <a:lnTo>
                      <a:pt x="190" y="35"/>
                    </a:lnTo>
                    <a:lnTo>
                      <a:pt x="192" y="39"/>
                    </a:lnTo>
                    <a:lnTo>
                      <a:pt x="192" y="41"/>
                    </a:lnTo>
                    <a:lnTo>
                      <a:pt x="193" y="43"/>
                    </a:lnTo>
                    <a:lnTo>
                      <a:pt x="193" y="45"/>
                    </a:lnTo>
                    <a:lnTo>
                      <a:pt x="194" y="47"/>
                    </a:lnTo>
                    <a:lnTo>
                      <a:pt x="194" y="49"/>
                    </a:lnTo>
                    <a:lnTo>
                      <a:pt x="195" y="51"/>
                    </a:lnTo>
                    <a:lnTo>
                      <a:pt x="194" y="52"/>
                    </a:lnTo>
                    <a:lnTo>
                      <a:pt x="193" y="53"/>
                    </a:lnTo>
                    <a:lnTo>
                      <a:pt x="192" y="53"/>
                    </a:lnTo>
                    <a:lnTo>
                      <a:pt x="192" y="54"/>
                    </a:lnTo>
                    <a:lnTo>
                      <a:pt x="191" y="55"/>
                    </a:lnTo>
                    <a:lnTo>
                      <a:pt x="191" y="56"/>
                    </a:lnTo>
                    <a:lnTo>
                      <a:pt x="190" y="58"/>
                    </a:lnTo>
                    <a:lnTo>
                      <a:pt x="189" y="59"/>
                    </a:lnTo>
                    <a:lnTo>
                      <a:pt x="189" y="60"/>
                    </a:lnTo>
                    <a:lnTo>
                      <a:pt x="188" y="61"/>
                    </a:lnTo>
                    <a:lnTo>
                      <a:pt x="187" y="61"/>
                    </a:lnTo>
                    <a:lnTo>
                      <a:pt x="186" y="62"/>
                    </a:lnTo>
                    <a:lnTo>
                      <a:pt x="185" y="62"/>
                    </a:lnTo>
                    <a:lnTo>
                      <a:pt x="185" y="63"/>
                    </a:lnTo>
                    <a:lnTo>
                      <a:pt x="184" y="63"/>
                    </a:lnTo>
                    <a:lnTo>
                      <a:pt x="184" y="63"/>
                    </a:lnTo>
                    <a:lnTo>
                      <a:pt x="183" y="63"/>
                    </a:lnTo>
                    <a:lnTo>
                      <a:pt x="183" y="64"/>
                    </a:lnTo>
                    <a:lnTo>
                      <a:pt x="183" y="65"/>
                    </a:lnTo>
                    <a:lnTo>
                      <a:pt x="183" y="66"/>
                    </a:lnTo>
                    <a:lnTo>
                      <a:pt x="183" y="66"/>
                    </a:lnTo>
                    <a:lnTo>
                      <a:pt x="182" y="68"/>
                    </a:lnTo>
                    <a:lnTo>
                      <a:pt x="182" y="69"/>
                    </a:lnTo>
                    <a:lnTo>
                      <a:pt x="182" y="71"/>
                    </a:lnTo>
                    <a:lnTo>
                      <a:pt x="181" y="72"/>
                    </a:lnTo>
                    <a:lnTo>
                      <a:pt x="181" y="72"/>
                    </a:lnTo>
                    <a:lnTo>
                      <a:pt x="181" y="73"/>
                    </a:lnTo>
                    <a:lnTo>
                      <a:pt x="181" y="74"/>
                    </a:lnTo>
                    <a:lnTo>
                      <a:pt x="181" y="75"/>
                    </a:lnTo>
                    <a:lnTo>
                      <a:pt x="181" y="76"/>
                    </a:lnTo>
                    <a:lnTo>
                      <a:pt x="182" y="77"/>
                    </a:lnTo>
                    <a:lnTo>
                      <a:pt x="183" y="77"/>
                    </a:lnTo>
                    <a:lnTo>
                      <a:pt x="183" y="78"/>
                    </a:lnTo>
                    <a:lnTo>
                      <a:pt x="184" y="78"/>
                    </a:lnTo>
                    <a:lnTo>
                      <a:pt x="184" y="78"/>
                    </a:lnTo>
                    <a:lnTo>
                      <a:pt x="185" y="78"/>
                    </a:lnTo>
                    <a:lnTo>
                      <a:pt x="185" y="79"/>
                    </a:lnTo>
                    <a:lnTo>
                      <a:pt x="185" y="79"/>
                    </a:lnTo>
                    <a:lnTo>
                      <a:pt x="186" y="79"/>
                    </a:lnTo>
                    <a:lnTo>
                      <a:pt x="187" y="79"/>
                    </a:lnTo>
                    <a:lnTo>
                      <a:pt x="187" y="79"/>
                    </a:lnTo>
                    <a:lnTo>
                      <a:pt x="188" y="78"/>
                    </a:lnTo>
                    <a:lnTo>
                      <a:pt x="188" y="78"/>
                    </a:lnTo>
                    <a:lnTo>
                      <a:pt x="189" y="78"/>
                    </a:lnTo>
                    <a:lnTo>
                      <a:pt x="190" y="78"/>
                    </a:lnTo>
                    <a:lnTo>
                      <a:pt x="191" y="78"/>
                    </a:lnTo>
                    <a:lnTo>
                      <a:pt x="191" y="78"/>
                    </a:lnTo>
                    <a:lnTo>
                      <a:pt x="192" y="79"/>
                    </a:lnTo>
                    <a:lnTo>
                      <a:pt x="192" y="80"/>
                    </a:lnTo>
                    <a:lnTo>
                      <a:pt x="192" y="81"/>
                    </a:lnTo>
                    <a:lnTo>
                      <a:pt x="192" y="82"/>
                    </a:lnTo>
                    <a:lnTo>
                      <a:pt x="192" y="83"/>
                    </a:lnTo>
                    <a:lnTo>
                      <a:pt x="193" y="84"/>
                    </a:lnTo>
                    <a:lnTo>
                      <a:pt x="193" y="84"/>
                    </a:lnTo>
                    <a:lnTo>
                      <a:pt x="194" y="85"/>
                    </a:lnTo>
                    <a:lnTo>
                      <a:pt x="195" y="86"/>
                    </a:lnTo>
                    <a:lnTo>
                      <a:pt x="196" y="87"/>
                    </a:lnTo>
                    <a:lnTo>
                      <a:pt x="197" y="88"/>
                    </a:lnTo>
                    <a:lnTo>
                      <a:pt x="198" y="89"/>
                    </a:lnTo>
                    <a:lnTo>
                      <a:pt x="200" y="90"/>
                    </a:lnTo>
                    <a:lnTo>
                      <a:pt x="201" y="91"/>
                    </a:lnTo>
                    <a:lnTo>
                      <a:pt x="204" y="92"/>
                    </a:lnTo>
                    <a:lnTo>
                      <a:pt x="206" y="93"/>
                    </a:lnTo>
                    <a:lnTo>
                      <a:pt x="207" y="94"/>
                    </a:lnTo>
                    <a:lnTo>
                      <a:pt x="209" y="95"/>
                    </a:lnTo>
                    <a:lnTo>
                      <a:pt x="210" y="96"/>
                    </a:lnTo>
                    <a:lnTo>
                      <a:pt x="210" y="98"/>
                    </a:lnTo>
                    <a:lnTo>
                      <a:pt x="210" y="99"/>
                    </a:lnTo>
                    <a:lnTo>
                      <a:pt x="210" y="100"/>
                    </a:lnTo>
                    <a:lnTo>
                      <a:pt x="210" y="101"/>
                    </a:lnTo>
                    <a:lnTo>
                      <a:pt x="210" y="102"/>
                    </a:lnTo>
                    <a:lnTo>
                      <a:pt x="211" y="103"/>
                    </a:lnTo>
                    <a:lnTo>
                      <a:pt x="211" y="104"/>
                    </a:lnTo>
                    <a:lnTo>
                      <a:pt x="211" y="105"/>
                    </a:lnTo>
                    <a:lnTo>
                      <a:pt x="212" y="105"/>
                    </a:lnTo>
                    <a:lnTo>
                      <a:pt x="212" y="105"/>
                    </a:lnTo>
                    <a:lnTo>
                      <a:pt x="213" y="105"/>
                    </a:lnTo>
                    <a:lnTo>
                      <a:pt x="213" y="105"/>
                    </a:lnTo>
                    <a:lnTo>
                      <a:pt x="213" y="105"/>
                    </a:lnTo>
                    <a:lnTo>
                      <a:pt x="214" y="106"/>
                    </a:lnTo>
                    <a:lnTo>
                      <a:pt x="214" y="106"/>
                    </a:lnTo>
                    <a:lnTo>
                      <a:pt x="214" y="107"/>
                    </a:lnTo>
                    <a:lnTo>
                      <a:pt x="214" y="107"/>
                    </a:lnTo>
                    <a:lnTo>
                      <a:pt x="214" y="108"/>
                    </a:lnTo>
                    <a:lnTo>
                      <a:pt x="215" y="110"/>
                    </a:lnTo>
                    <a:lnTo>
                      <a:pt x="215" y="111"/>
                    </a:lnTo>
                    <a:lnTo>
                      <a:pt x="215" y="112"/>
                    </a:lnTo>
                    <a:lnTo>
                      <a:pt x="215" y="112"/>
                    </a:lnTo>
                    <a:lnTo>
                      <a:pt x="215" y="113"/>
                    </a:lnTo>
                    <a:lnTo>
                      <a:pt x="216" y="114"/>
                    </a:lnTo>
                    <a:lnTo>
                      <a:pt x="216" y="114"/>
                    </a:lnTo>
                    <a:lnTo>
                      <a:pt x="216" y="115"/>
                    </a:lnTo>
                    <a:lnTo>
                      <a:pt x="216" y="116"/>
                    </a:lnTo>
                    <a:lnTo>
                      <a:pt x="216" y="117"/>
                    </a:lnTo>
                    <a:lnTo>
                      <a:pt x="215" y="118"/>
                    </a:lnTo>
                    <a:lnTo>
                      <a:pt x="215" y="120"/>
                    </a:lnTo>
                    <a:lnTo>
                      <a:pt x="214" y="121"/>
                    </a:lnTo>
                    <a:lnTo>
                      <a:pt x="213" y="122"/>
                    </a:lnTo>
                    <a:lnTo>
                      <a:pt x="213" y="123"/>
                    </a:lnTo>
                    <a:lnTo>
                      <a:pt x="212" y="123"/>
                    </a:lnTo>
                    <a:lnTo>
                      <a:pt x="211" y="124"/>
                    </a:lnTo>
                    <a:lnTo>
                      <a:pt x="210" y="125"/>
                    </a:lnTo>
                    <a:lnTo>
                      <a:pt x="208" y="126"/>
                    </a:lnTo>
                    <a:lnTo>
                      <a:pt x="206" y="128"/>
                    </a:lnTo>
                    <a:lnTo>
                      <a:pt x="204" y="129"/>
                    </a:lnTo>
                    <a:lnTo>
                      <a:pt x="202" y="130"/>
                    </a:lnTo>
                    <a:lnTo>
                      <a:pt x="200" y="131"/>
                    </a:lnTo>
                    <a:lnTo>
                      <a:pt x="198" y="133"/>
                    </a:lnTo>
                    <a:lnTo>
                      <a:pt x="196" y="134"/>
                    </a:lnTo>
                    <a:lnTo>
                      <a:pt x="195" y="135"/>
                    </a:lnTo>
                    <a:lnTo>
                      <a:pt x="194" y="136"/>
                    </a:lnTo>
                    <a:lnTo>
                      <a:pt x="193" y="136"/>
                    </a:lnTo>
                    <a:lnTo>
                      <a:pt x="192" y="137"/>
                    </a:lnTo>
                    <a:lnTo>
                      <a:pt x="192" y="138"/>
                    </a:lnTo>
                    <a:lnTo>
                      <a:pt x="191" y="139"/>
                    </a:lnTo>
                    <a:lnTo>
                      <a:pt x="190" y="140"/>
                    </a:lnTo>
                    <a:lnTo>
                      <a:pt x="190" y="141"/>
                    </a:lnTo>
                    <a:lnTo>
                      <a:pt x="189" y="141"/>
                    </a:lnTo>
                    <a:lnTo>
                      <a:pt x="188" y="141"/>
                    </a:lnTo>
                    <a:lnTo>
                      <a:pt x="187" y="141"/>
                    </a:lnTo>
                    <a:lnTo>
                      <a:pt x="187" y="141"/>
                    </a:lnTo>
                    <a:lnTo>
                      <a:pt x="185" y="141"/>
                    </a:lnTo>
                    <a:lnTo>
                      <a:pt x="184" y="140"/>
                    </a:lnTo>
                    <a:lnTo>
                      <a:pt x="183" y="139"/>
                    </a:lnTo>
                    <a:lnTo>
                      <a:pt x="182" y="139"/>
                    </a:lnTo>
                    <a:lnTo>
                      <a:pt x="181" y="138"/>
                    </a:lnTo>
                    <a:lnTo>
                      <a:pt x="180" y="137"/>
                    </a:lnTo>
                    <a:lnTo>
                      <a:pt x="179" y="136"/>
                    </a:lnTo>
                    <a:lnTo>
                      <a:pt x="179" y="135"/>
                    </a:lnTo>
                    <a:lnTo>
                      <a:pt x="177" y="133"/>
                    </a:lnTo>
                    <a:lnTo>
                      <a:pt x="176" y="131"/>
                    </a:lnTo>
                    <a:lnTo>
                      <a:pt x="174" y="129"/>
                    </a:lnTo>
                    <a:lnTo>
                      <a:pt x="173" y="127"/>
                    </a:lnTo>
                    <a:lnTo>
                      <a:pt x="171" y="125"/>
                    </a:lnTo>
                    <a:lnTo>
                      <a:pt x="170" y="123"/>
                    </a:lnTo>
                    <a:lnTo>
                      <a:pt x="169" y="122"/>
                    </a:lnTo>
                    <a:lnTo>
                      <a:pt x="168" y="121"/>
                    </a:lnTo>
                    <a:lnTo>
                      <a:pt x="167" y="121"/>
                    </a:lnTo>
                    <a:lnTo>
                      <a:pt x="167" y="120"/>
                    </a:lnTo>
                    <a:lnTo>
                      <a:pt x="166" y="119"/>
                    </a:lnTo>
                    <a:lnTo>
                      <a:pt x="165" y="119"/>
                    </a:lnTo>
                    <a:lnTo>
                      <a:pt x="163" y="118"/>
                    </a:lnTo>
                    <a:lnTo>
                      <a:pt x="162" y="117"/>
                    </a:lnTo>
                    <a:lnTo>
                      <a:pt x="161" y="117"/>
                    </a:lnTo>
                    <a:lnTo>
                      <a:pt x="159" y="117"/>
                    </a:lnTo>
                    <a:lnTo>
                      <a:pt x="158" y="116"/>
                    </a:lnTo>
                    <a:lnTo>
                      <a:pt x="157" y="116"/>
                    </a:lnTo>
                    <a:lnTo>
                      <a:pt x="156" y="117"/>
                    </a:lnTo>
                    <a:lnTo>
                      <a:pt x="155" y="117"/>
                    </a:lnTo>
                    <a:lnTo>
                      <a:pt x="154" y="118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1" y="121"/>
                    </a:lnTo>
                    <a:lnTo>
                      <a:pt x="150" y="123"/>
                    </a:lnTo>
                    <a:lnTo>
                      <a:pt x="149" y="124"/>
                    </a:lnTo>
                    <a:lnTo>
                      <a:pt x="149" y="125"/>
                    </a:lnTo>
                    <a:lnTo>
                      <a:pt x="148" y="128"/>
                    </a:lnTo>
                    <a:lnTo>
                      <a:pt x="147" y="130"/>
                    </a:lnTo>
                    <a:lnTo>
                      <a:pt x="146" y="131"/>
                    </a:lnTo>
                    <a:lnTo>
                      <a:pt x="146" y="133"/>
                    </a:lnTo>
                    <a:lnTo>
                      <a:pt x="145" y="134"/>
                    </a:lnTo>
                    <a:lnTo>
                      <a:pt x="144" y="135"/>
                    </a:lnTo>
                    <a:lnTo>
                      <a:pt x="143" y="136"/>
                    </a:lnTo>
                    <a:lnTo>
                      <a:pt x="142" y="136"/>
                    </a:lnTo>
                    <a:lnTo>
                      <a:pt x="142" y="136"/>
                    </a:lnTo>
                    <a:lnTo>
                      <a:pt x="141" y="136"/>
                    </a:lnTo>
                    <a:lnTo>
                      <a:pt x="140" y="136"/>
                    </a:lnTo>
                    <a:lnTo>
                      <a:pt x="140" y="136"/>
                    </a:lnTo>
                    <a:lnTo>
                      <a:pt x="139" y="136"/>
                    </a:lnTo>
                    <a:lnTo>
                      <a:pt x="138" y="135"/>
                    </a:lnTo>
                    <a:lnTo>
                      <a:pt x="137" y="135"/>
                    </a:lnTo>
                    <a:lnTo>
                      <a:pt x="137" y="135"/>
                    </a:lnTo>
                    <a:lnTo>
                      <a:pt x="136" y="134"/>
                    </a:lnTo>
                    <a:lnTo>
                      <a:pt x="136" y="134"/>
                    </a:lnTo>
                    <a:lnTo>
                      <a:pt x="135" y="134"/>
                    </a:lnTo>
                    <a:lnTo>
                      <a:pt x="134" y="134"/>
                    </a:lnTo>
                    <a:lnTo>
                      <a:pt x="133" y="135"/>
                    </a:lnTo>
                    <a:lnTo>
                      <a:pt x="133" y="136"/>
                    </a:lnTo>
                    <a:lnTo>
                      <a:pt x="132" y="137"/>
                    </a:lnTo>
                    <a:lnTo>
                      <a:pt x="131" y="138"/>
                    </a:lnTo>
                    <a:lnTo>
                      <a:pt x="131" y="139"/>
                    </a:lnTo>
                    <a:lnTo>
                      <a:pt x="129" y="141"/>
                    </a:lnTo>
                    <a:lnTo>
                      <a:pt x="127" y="142"/>
                    </a:lnTo>
                    <a:lnTo>
                      <a:pt x="125" y="144"/>
                    </a:lnTo>
                    <a:lnTo>
                      <a:pt x="123" y="145"/>
                    </a:lnTo>
                    <a:lnTo>
                      <a:pt x="122" y="147"/>
                    </a:lnTo>
                    <a:lnTo>
                      <a:pt x="120" y="148"/>
                    </a:lnTo>
                    <a:lnTo>
                      <a:pt x="118" y="150"/>
                    </a:lnTo>
                    <a:lnTo>
                      <a:pt x="116" y="151"/>
                    </a:lnTo>
                    <a:lnTo>
                      <a:pt x="114" y="153"/>
                    </a:lnTo>
                    <a:lnTo>
                      <a:pt x="112" y="155"/>
                    </a:lnTo>
                    <a:lnTo>
                      <a:pt x="111" y="157"/>
                    </a:lnTo>
                    <a:lnTo>
                      <a:pt x="110" y="157"/>
                    </a:lnTo>
                    <a:lnTo>
                      <a:pt x="109" y="158"/>
                    </a:lnTo>
                    <a:lnTo>
                      <a:pt x="108" y="159"/>
                    </a:lnTo>
                    <a:lnTo>
                      <a:pt x="108" y="161"/>
                    </a:lnTo>
                    <a:lnTo>
                      <a:pt x="107" y="162"/>
                    </a:lnTo>
                    <a:lnTo>
                      <a:pt x="106" y="163"/>
                    </a:lnTo>
                    <a:lnTo>
                      <a:pt x="105" y="163"/>
                    </a:lnTo>
                    <a:lnTo>
                      <a:pt x="104" y="163"/>
                    </a:lnTo>
                    <a:lnTo>
                      <a:pt x="102" y="164"/>
                    </a:lnTo>
                    <a:lnTo>
                      <a:pt x="101" y="165"/>
                    </a:lnTo>
                    <a:lnTo>
                      <a:pt x="100" y="165"/>
                    </a:lnTo>
                    <a:lnTo>
                      <a:pt x="99" y="166"/>
                    </a:lnTo>
                    <a:lnTo>
                      <a:pt x="98" y="167"/>
                    </a:lnTo>
                    <a:lnTo>
                      <a:pt x="97" y="167"/>
                    </a:lnTo>
                    <a:lnTo>
                      <a:pt x="96" y="168"/>
                    </a:lnTo>
                    <a:lnTo>
                      <a:pt x="95" y="169"/>
                    </a:lnTo>
                    <a:lnTo>
                      <a:pt x="94" y="170"/>
                    </a:lnTo>
                    <a:lnTo>
                      <a:pt x="94" y="171"/>
                    </a:lnTo>
                    <a:lnTo>
                      <a:pt x="93" y="172"/>
                    </a:lnTo>
                    <a:lnTo>
                      <a:pt x="93" y="174"/>
                    </a:lnTo>
                    <a:lnTo>
                      <a:pt x="92" y="175"/>
                    </a:lnTo>
                    <a:lnTo>
                      <a:pt x="92" y="176"/>
                    </a:lnTo>
                    <a:lnTo>
                      <a:pt x="91" y="176"/>
                    </a:lnTo>
                    <a:lnTo>
                      <a:pt x="91" y="176"/>
                    </a:lnTo>
                    <a:lnTo>
                      <a:pt x="90" y="176"/>
                    </a:lnTo>
                    <a:lnTo>
                      <a:pt x="90" y="176"/>
                    </a:lnTo>
                    <a:lnTo>
                      <a:pt x="89" y="176"/>
                    </a:lnTo>
                    <a:lnTo>
                      <a:pt x="87" y="176"/>
                    </a:lnTo>
                    <a:lnTo>
                      <a:pt x="86" y="176"/>
                    </a:lnTo>
                    <a:lnTo>
                      <a:pt x="85" y="176"/>
                    </a:lnTo>
                    <a:lnTo>
                      <a:pt x="82" y="176"/>
                    </a:lnTo>
                    <a:lnTo>
                      <a:pt x="80" y="176"/>
                    </a:lnTo>
                    <a:lnTo>
                      <a:pt x="77" y="177"/>
                    </a:lnTo>
                    <a:lnTo>
                      <a:pt x="74" y="177"/>
                    </a:lnTo>
                    <a:lnTo>
                      <a:pt x="71" y="178"/>
                    </a:lnTo>
                    <a:lnTo>
                      <a:pt x="69" y="179"/>
                    </a:lnTo>
                    <a:lnTo>
                      <a:pt x="63" y="180"/>
                    </a:lnTo>
                    <a:lnTo>
                      <a:pt x="60" y="181"/>
                    </a:lnTo>
                    <a:lnTo>
                      <a:pt x="57" y="181"/>
                    </a:lnTo>
                    <a:lnTo>
                      <a:pt x="54" y="182"/>
                    </a:lnTo>
                    <a:lnTo>
                      <a:pt x="51" y="182"/>
                    </a:lnTo>
                    <a:lnTo>
                      <a:pt x="48" y="183"/>
                    </a:lnTo>
                    <a:lnTo>
                      <a:pt x="45" y="183"/>
                    </a:lnTo>
                    <a:lnTo>
                      <a:pt x="44" y="182"/>
                    </a:lnTo>
                    <a:lnTo>
                      <a:pt x="44" y="181"/>
                    </a:lnTo>
                    <a:lnTo>
                      <a:pt x="44" y="179"/>
                    </a:lnTo>
                    <a:lnTo>
                      <a:pt x="43" y="178"/>
                    </a:lnTo>
                    <a:lnTo>
                      <a:pt x="43" y="176"/>
                    </a:lnTo>
                    <a:lnTo>
                      <a:pt x="43" y="175"/>
                    </a:lnTo>
                    <a:lnTo>
                      <a:pt x="43" y="173"/>
                    </a:lnTo>
                    <a:lnTo>
                      <a:pt x="43" y="171"/>
                    </a:lnTo>
                    <a:lnTo>
                      <a:pt x="43" y="168"/>
                    </a:lnTo>
                    <a:lnTo>
                      <a:pt x="43" y="164"/>
                    </a:lnTo>
                    <a:lnTo>
                      <a:pt x="43" y="163"/>
                    </a:lnTo>
                    <a:lnTo>
                      <a:pt x="43" y="161"/>
                    </a:lnTo>
                    <a:lnTo>
                      <a:pt x="43" y="159"/>
                    </a:lnTo>
                    <a:lnTo>
                      <a:pt x="43" y="158"/>
                    </a:lnTo>
                    <a:lnTo>
                      <a:pt x="44" y="157"/>
                    </a:lnTo>
                    <a:lnTo>
                      <a:pt x="44" y="157"/>
                    </a:lnTo>
                    <a:lnTo>
                      <a:pt x="45" y="156"/>
                    </a:lnTo>
                    <a:lnTo>
                      <a:pt x="45" y="155"/>
                    </a:lnTo>
                    <a:lnTo>
                      <a:pt x="45" y="154"/>
                    </a:lnTo>
                    <a:lnTo>
                      <a:pt x="45" y="153"/>
                    </a:lnTo>
                    <a:lnTo>
                      <a:pt x="45" y="152"/>
                    </a:lnTo>
                    <a:lnTo>
                      <a:pt x="45" y="151"/>
                    </a:lnTo>
                    <a:lnTo>
                      <a:pt x="45" y="149"/>
                    </a:lnTo>
                    <a:lnTo>
                      <a:pt x="45" y="147"/>
                    </a:lnTo>
                    <a:lnTo>
                      <a:pt x="45" y="145"/>
                    </a:lnTo>
                    <a:lnTo>
                      <a:pt x="45" y="144"/>
                    </a:lnTo>
                    <a:lnTo>
                      <a:pt x="45" y="143"/>
                    </a:lnTo>
                    <a:lnTo>
                      <a:pt x="44" y="142"/>
                    </a:lnTo>
                    <a:lnTo>
                      <a:pt x="43" y="140"/>
                    </a:lnTo>
                    <a:lnTo>
                      <a:pt x="42" y="139"/>
                    </a:lnTo>
                    <a:lnTo>
                      <a:pt x="41" y="138"/>
                    </a:lnTo>
                    <a:lnTo>
                      <a:pt x="39" y="137"/>
                    </a:lnTo>
                    <a:lnTo>
                      <a:pt x="38" y="136"/>
                    </a:lnTo>
                    <a:lnTo>
                      <a:pt x="36" y="135"/>
                    </a:lnTo>
                    <a:lnTo>
                      <a:pt x="35" y="135"/>
                    </a:lnTo>
                    <a:lnTo>
                      <a:pt x="32" y="133"/>
                    </a:lnTo>
                    <a:lnTo>
                      <a:pt x="30" y="132"/>
                    </a:lnTo>
                    <a:lnTo>
                      <a:pt x="29" y="132"/>
                    </a:lnTo>
                    <a:lnTo>
                      <a:pt x="27" y="131"/>
                    </a:lnTo>
                    <a:lnTo>
                      <a:pt x="26" y="130"/>
                    </a:lnTo>
                    <a:lnTo>
                      <a:pt x="25" y="129"/>
                    </a:lnTo>
                    <a:lnTo>
                      <a:pt x="23" y="128"/>
                    </a:lnTo>
                    <a:lnTo>
                      <a:pt x="23" y="125"/>
                    </a:lnTo>
                    <a:lnTo>
                      <a:pt x="23" y="123"/>
                    </a:lnTo>
                    <a:lnTo>
                      <a:pt x="23" y="120"/>
                    </a:lnTo>
                    <a:lnTo>
                      <a:pt x="23" y="118"/>
                    </a:lnTo>
                    <a:lnTo>
                      <a:pt x="23" y="116"/>
                    </a:lnTo>
                    <a:lnTo>
                      <a:pt x="23" y="114"/>
                    </a:lnTo>
                    <a:lnTo>
                      <a:pt x="23" y="112"/>
                    </a:lnTo>
                    <a:lnTo>
                      <a:pt x="23" y="110"/>
                    </a:lnTo>
                    <a:lnTo>
                      <a:pt x="23" y="109"/>
                    </a:lnTo>
                    <a:lnTo>
                      <a:pt x="23" y="107"/>
                    </a:lnTo>
                    <a:lnTo>
                      <a:pt x="24" y="106"/>
                    </a:lnTo>
                    <a:lnTo>
                      <a:pt x="24" y="104"/>
                    </a:lnTo>
                    <a:lnTo>
                      <a:pt x="25" y="103"/>
                    </a:lnTo>
                    <a:lnTo>
                      <a:pt x="25" y="102"/>
                    </a:lnTo>
                    <a:lnTo>
                      <a:pt x="25" y="102"/>
                    </a:lnTo>
                    <a:lnTo>
                      <a:pt x="26" y="101"/>
                    </a:lnTo>
                    <a:lnTo>
                      <a:pt x="26" y="100"/>
                    </a:lnTo>
                    <a:lnTo>
                      <a:pt x="27" y="99"/>
                    </a:lnTo>
                    <a:lnTo>
                      <a:pt x="28" y="99"/>
                    </a:lnTo>
                    <a:lnTo>
                      <a:pt x="28" y="98"/>
                    </a:lnTo>
                    <a:lnTo>
                      <a:pt x="29" y="97"/>
                    </a:lnTo>
                    <a:lnTo>
                      <a:pt x="29" y="97"/>
                    </a:lnTo>
                    <a:lnTo>
                      <a:pt x="29" y="96"/>
                    </a:lnTo>
                    <a:lnTo>
                      <a:pt x="29" y="96"/>
                    </a:lnTo>
                    <a:lnTo>
                      <a:pt x="29" y="95"/>
                    </a:lnTo>
                    <a:lnTo>
                      <a:pt x="28" y="95"/>
                    </a:lnTo>
                    <a:lnTo>
                      <a:pt x="28" y="94"/>
                    </a:lnTo>
                    <a:lnTo>
                      <a:pt x="28" y="94"/>
                    </a:lnTo>
                    <a:lnTo>
                      <a:pt x="27" y="93"/>
                    </a:lnTo>
                    <a:lnTo>
                      <a:pt x="26" y="92"/>
                    </a:lnTo>
                    <a:lnTo>
                      <a:pt x="26" y="91"/>
                    </a:lnTo>
                    <a:lnTo>
                      <a:pt x="25" y="91"/>
                    </a:lnTo>
                    <a:lnTo>
                      <a:pt x="25" y="90"/>
                    </a:lnTo>
                    <a:lnTo>
                      <a:pt x="25" y="90"/>
                    </a:lnTo>
                    <a:lnTo>
                      <a:pt x="25" y="88"/>
                    </a:lnTo>
                    <a:lnTo>
                      <a:pt x="25" y="87"/>
                    </a:lnTo>
                    <a:lnTo>
                      <a:pt x="24" y="85"/>
                    </a:lnTo>
                    <a:lnTo>
                      <a:pt x="24" y="84"/>
                    </a:lnTo>
                    <a:lnTo>
                      <a:pt x="24" y="83"/>
                    </a:lnTo>
                    <a:lnTo>
                      <a:pt x="25" y="82"/>
                    </a:lnTo>
                    <a:lnTo>
                      <a:pt x="25" y="80"/>
                    </a:lnTo>
                    <a:lnTo>
                      <a:pt x="25" y="79"/>
                    </a:lnTo>
                    <a:lnTo>
                      <a:pt x="25" y="78"/>
                    </a:lnTo>
                    <a:lnTo>
                      <a:pt x="26" y="76"/>
                    </a:lnTo>
                    <a:lnTo>
                      <a:pt x="26" y="74"/>
                    </a:lnTo>
                    <a:lnTo>
                      <a:pt x="27" y="72"/>
                    </a:lnTo>
                    <a:lnTo>
                      <a:pt x="28" y="70"/>
                    </a:lnTo>
                    <a:lnTo>
                      <a:pt x="28" y="69"/>
                    </a:lnTo>
                    <a:lnTo>
                      <a:pt x="28" y="69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26" y="67"/>
                    </a:lnTo>
                    <a:lnTo>
                      <a:pt x="25" y="67"/>
                    </a:lnTo>
                    <a:lnTo>
                      <a:pt x="24" y="66"/>
                    </a:lnTo>
                    <a:lnTo>
                      <a:pt x="23" y="66"/>
                    </a:lnTo>
                    <a:lnTo>
                      <a:pt x="22" y="65"/>
                    </a:lnTo>
                    <a:lnTo>
                      <a:pt x="21" y="65"/>
                    </a:lnTo>
                    <a:lnTo>
                      <a:pt x="20" y="65"/>
                    </a:lnTo>
                    <a:lnTo>
                      <a:pt x="19" y="65"/>
                    </a:lnTo>
                    <a:lnTo>
                      <a:pt x="18" y="65"/>
                    </a:lnTo>
                    <a:lnTo>
                      <a:pt x="17" y="65"/>
                    </a:lnTo>
                    <a:lnTo>
                      <a:pt x="16" y="65"/>
                    </a:lnTo>
                    <a:lnTo>
                      <a:pt x="16" y="66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4" y="66"/>
                    </a:lnTo>
                    <a:lnTo>
                      <a:pt x="14" y="66"/>
                    </a:lnTo>
                    <a:lnTo>
                      <a:pt x="13" y="65"/>
                    </a:lnTo>
                    <a:lnTo>
                      <a:pt x="12" y="64"/>
                    </a:lnTo>
                    <a:lnTo>
                      <a:pt x="11" y="63"/>
                    </a:lnTo>
                    <a:lnTo>
                      <a:pt x="10" y="62"/>
                    </a:lnTo>
                    <a:lnTo>
                      <a:pt x="10" y="60"/>
                    </a:lnTo>
                    <a:lnTo>
                      <a:pt x="8" y="58"/>
                    </a:lnTo>
                    <a:lnTo>
                      <a:pt x="8" y="57"/>
                    </a:lnTo>
                    <a:lnTo>
                      <a:pt x="7" y="55"/>
                    </a:lnTo>
                    <a:lnTo>
                      <a:pt x="6" y="54"/>
                    </a:lnTo>
                    <a:lnTo>
                      <a:pt x="5" y="54"/>
                    </a:lnTo>
                    <a:lnTo>
                      <a:pt x="4" y="53"/>
                    </a:lnTo>
                    <a:lnTo>
                      <a:pt x="4" y="52"/>
                    </a:lnTo>
                    <a:lnTo>
                      <a:pt x="3" y="52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1" y="51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9"/>
                    </a:lnTo>
                    <a:lnTo>
                      <a:pt x="0" y="48"/>
                    </a:lnTo>
                    <a:lnTo>
                      <a:pt x="1" y="47"/>
                    </a:lnTo>
                    <a:lnTo>
                      <a:pt x="1" y="46"/>
                    </a:lnTo>
                    <a:lnTo>
                      <a:pt x="2" y="46"/>
                    </a:lnTo>
                    <a:lnTo>
                      <a:pt x="2" y="45"/>
                    </a:lnTo>
                    <a:lnTo>
                      <a:pt x="3" y="43"/>
                    </a:lnTo>
                    <a:lnTo>
                      <a:pt x="4" y="42"/>
                    </a:lnTo>
                    <a:lnTo>
                      <a:pt x="5" y="41"/>
                    </a:lnTo>
                    <a:lnTo>
                      <a:pt x="5" y="40"/>
                    </a:lnTo>
                    <a:lnTo>
                      <a:pt x="6" y="40"/>
                    </a:lnTo>
                    <a:lnTo>
                      <a:pt x="6" y="39"/>
                    </a:lnTo>
                    <a:lnTo>
                      <a:pt x="7" y="38"/>
                    </a:lnTo>
                    <a:lnTo>
                      <a:pt x="10" y="38"/>
                    </a:lnTo>
                    <a:lnTo>
                      <a:pt x="12" y="38"/>
                    </a:lnTo>
                    <a:lnTo>
                      <a:pt x="15" y="38"/>
                    </a:lnTo>
                    <a:lnTo>
                      <a:pt x="18" y="38"/>
                    </a:lnTo>
                    <a:lnTo>
                      <a:pt x="19" y="37"/>
                    </a:lnTo>
                    <a:lnTo>
                      <a:pt x="20" y="36"/>
                    </a:lnTo>
                    <a:lnTo>
                      <a:pt x="21" y="35"/>
                    </a:lnTo>
                    <a:lnTo>
                      <a:pt x="22" y="33"/>
                    </a:lnTo>
                    <a:lnTo>
                      <a:pt x="23" y="31"/>
                    </a:lnTo>
                    <a:lnTo>
                      <a:pt x="25" y="28"/>
                    </a:lnTo>
                    <a:lnTo>
                      <a:pt x="25" y="27"/>
                    </a:lnTo>
                    <a:lnTo>
                      <a:pt x="25" y="26"/>
                    </a:lnTo>
                    <a:lnTo>
                      <a:pt x="25" y="25"/>
                    </a:lnTo>
                    <a:lnTo>
                      <a:pt x="25" y="24"/>
                    </a:lnTo>
                    <a:lnTo>
                      <a:pt x="25" y="23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4" y="21"/>
                    </a:lnTo>
                    <a:lnTo>
                      <a:pt x="24" y="20"/>
                    </a:lnTo>
                    <a:lnTo>
                      <a:pt x="24" y="19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5" y="17"/>
                    </a:lnTo>
                    <a:lnTo>
                      <a:pt x="25" y="16"/>
                    </a:lnTo>
                    <a:lnTo>
                      <a:pt x="25" y="16"/>
                    </a:ln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rgbClr val="356D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schemeClr val="tx1"/>
                  </a:solidFill>
                  <a:effectLst>
                    <a:glow rad="127000">
                      <a:schemeClr val="accent1"/>
                    </a:glow>
                  </a:effectLst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" name="Freeform 8"/>
              <p:cNvSpPr>
                <a:spLocks/>
              </p:cNvSpPr>
              <p:nvPr/>
            </p:nvSpPr>
            <p:spPr bwMode="auto">
              <a:xfrm>
                <a:off x="3607927" y="2670787"/>
                <a:ext cx="3017036" cy="1839679"/>
              </a:xfrm>
              <a:custGeom>
                <a:avLst/>
                <a:gdLst/>
                <a:ahLst/>
                <a:cxnLst>
                  <a:cxn ang="0">
                    <a:pos x="218" y="2"/>
                  </a:cxn>
                  <a:cxn ang="0">
                    <a:pos x="219" y="9"/>
                  </a:cxn>
                  <a:cxn ang="0">
                    <a:pos x="232" y="15"/>
                  </a:cxn>
                  <a:cxn ang="0">
                    <a:pos x="242" y="23"/>
                  </a:cxn>
                  <a:cxn ang="0">
                    <a:pos x="241" y="28"/>
                  </a:cxn>
                  <a:cxn ang="0">
                    <a:pos x="244" y="29"/>
                  </a:cxn>
                  <a:cxn ang="0">
                    <a:pos x="250" y="22"/>
                  </a:cxn>
                  <a:cxn ang="0">
                    <a:pos x="264" y="20"/>
                  </a:cxn>
                  <a:cxn ang="0">
                    <a:pos x="271" y="9"/>
                  </a:cxn>
                  <a:cxn ang="0">
                    <a:pos x="282" y="6"/>
                  </a:cxn>
                  <a:cxn ang="0">
                    <a:pos x="293" y="17"/>
                  </a:cxn>
                  <a:cxn ang="0">
                    <a:pos x="291" y="27"/>
                  </a:cxn>
                  <a:cxn ang="0">
                    <a:pos x="285" y="35"/>
                  </a:cxn>
                  <a:cxn ang="0">
                    <a:pos x="286" y="40"/>
                  </a:cxn>
                  <a:cxn ang="0">
                    <a:pos x="290" y="50"/>
                  </a:cxn>
                  <a:cxn ang="0">
                    <a:pos x="292" y="64"/>
                  </a:cxn>
                  <a:cxn ang="0">
                    <a:pos x="295" y="70"/>
                  </a:cxn>
                  <a:cxn ang="0">
                    <a:pos x="290" y="79"/>
                  </a:cxn>
                  <a:cxn ang="0">
                    <a:pos x="293" y="84"/>
                  </a:cxn>
                  <a:cxn ang="0">
                    <a:pos x="298" y="92"/>
                  </a:cxn>
                  <a:cxn ang="0">
                    <a:pos x="293" y="96"/>
                  </a:cxn>
                  <a:cxn ang="0">
                    <a:pos x="291" y="110"/>
                  </a:cxn>
                  <a:cxn ang="0">
                    <a:pos x="296" y="115"/>
                  </a:cxn>
                  <a:cxn ang="0">
                    <a:pos x="303" y="114"/>
                  </a:cxn>
                  <a:cxn ang="0">
                    <a:pos x="304" y="120"/>
                  </a:cxn>
                  <a:cxn ang="0">
                    <a:pos x="299" y="129"/>
                  </a:cxn>
                  <a:cxn ang="0">
                    <a:pos x="256" y="134"/>
                  </a:cxn>
                  <a:cxn ang="0">
                    <a:pos x="237" y="146"/>
                  </a:cxn>
                  <a:cxn ang="0">
                    <a:pos x="229" y="159"/>
                  </a:cxn>
                  <a:cxn ang="0">
                    <a:pos x="193" y="169"/>
                  </a:cxn>
                  <a:cxn ang="0">
                    <a:pos x="131" y="172"/>
                  </a:cxn>
                  <a:cxn ang="0">
                    <a:pos x="123" y="169"/>
                  </a:cxn>
                  <a:cxn ang="0">
                    <a:pos x="92" y="169"/>
                  </a:cxn>
                  <a:cxn ang="0">
                    <a:pos x="73" y="168"/>
                  </a:cxn>
                  <a:cxn ang="0">
                    <a:pos x="46" y="165"/>
                  </a:cxn>
                  <a:cxn ang="0">
                    <a:pos x="20" y="148"/>
                  </a:cxn>
                  <a:cxn ang="0">
                    <a:pos x="4" y="142"/>
                  </a:cxn>
                  <a:cxn ang="0">
                    <a:pos x="3" y="130"/>
                  </a:cxn>
                  <a:cxn ang="0">
                    <a:pos x="20" y="119"/>
                  </a:cxn>
                  <a:cxn ang="0">
                    <a:pos x="26" y="109"/>
                  </a:cxn>
                  <a:cxn ang="0">
                    <a:pos x="24" y="101"/>
                  </a:cxn>
                  <a:cxn ang="0">
                    <a:pos x="30" y="94"/>
                  </a:cxn>
                  <a:cxn ang="0">
                    <a:pos x="42" y="81"/>
                  </a:cxn>
                  <a:cxn ang="0">
                    <a:pos x="55" y="82"/>
                  </a:cxn>
                  <a:cxn ang="0">
                    <a:pos x="70" y="72"/>
                  </a:cxn>
                  <a:cxn ang="0">
                    <a:pos x="73" y="66"/>
                  </a:cxn>
                  <a:cxn ang="0">
                    <a:pos x="81" y="56"/>
                  </a:cxn>
                  <a:cxn ang="0">
                    <a:pos x="99" y="37"/>
                  </a:cxn>
                  <a:cxn ang="0">
                    <a:pos x="103" y="29"/>
                  </a:cxn>
                  <a:cxn ang="0">
                    <a:pos x="107" y="24"/>
                  </a:cxn>
                  <a:cxn ang="0">
                    <a:pos x="115" y="21"/>
                  </a:cxn>
                  <a:cxn ang="0">
                    <a:pos x="123" y="27"/>
                  </a:cxn>
                  <a:cxn ang="0">
                    <a:pos x="128" y="29"/>
                  </a:cxn>
                  <a:cxn ang="0">
                    <a:pos x="133" y="35"/>
                  </a:cxn>
                  <a:cxn ang="0">
                    <a:pos x="148" y="37"/>
                  </a:cxn>
                  <a:cxn ang="0">
                    <a:pos x="157" y="29"/>
                  </a:cxn>
                  <a:cxn ang="0">
                    <a:pos x="164" y="22"/>
                  </a:cxn>
                  <a:cxn ang="0">
                    <a:pos x="171" y="20"/>
                  </a:cxn>
                  <a:cxn ang="0">
                    <a:pos x="174" y="27"/>
                  </a:cxn>
                  <a:cxn ang="0">
                    <a:pos x="182" y="26"/>
                  </a:cxn>
                  <a:cxn ang="0">
                    <a:pos x="186" y="20"/>
                  </a:cxn>
                  <a:cxn ang="0">
                    <a:pos x="192" y="15"/>
                  </a:cxn>
                  <a:cxn ang="0">
                    <a:pos x="204" y="6"/>
                  </a:cxn>
                </a:cxnLst>
                <a:rect l="0" t="0" r="r" b="b"/>
                <a:pathLst>
                  <a:path w="304" h="172">
                    <a:moveTo>
                      <a:pt x="215" y="0"/>
                    </a:moveTo>
                    <a:lnTo>
                      <a:pt x="215" y="0"/>
                    </a:lnTo>
                    <a:lnTo>
                      <a:pt x="215" y="0"/>
                    </a:lnTo>
                    <a:lnTo>
                      <a:pt x="215" y="0"/>
                    </a:lnTo>
                    <a:lnTo>
                      <a:pt x="216" y="0"/>
                    </a:lnTo>
                    <a:lnTo>
                      <a:pt x="216" y="0"/>
                    </a:lnTo>
                    <a:lnTo>
                      <a:pt x="216" y="0"/>
                    </a:lnTo>
                    <a:lnTo>
                      <a:pt x="217" y="1"/>
                    </a:lnTo>
                    <a:lnTo>
                      <a:pt x="217" y="2"/>
                    </a:lnTo>
                    <a:lnTo>
                      <a:pt x="218" y="2"/>
                    </a:lnTo>
                    <a:lnTo>
                      <a:pt x="218" y="3"/>
                    </a:lnTo>
                    <a:lnTo>
                      <a:pt x="218" y="4"/>
                    </a:lnTo>
                    <a:lnTo>
                      <a:pt x="219" y="4"/>
                    </a:lnTo>
                    <a:lnTo>
                      <a:pt x="219" y="5"/>
                    </a:lnTo>
                    <a:lnTo>
                      <a:pt x="219" y="6"/>
                    </a:lnTo>
                    <a:lnTo>
                      <a:pt x="219" y="6"/>
                    </a:lnTo>
                    <a:lnTo>
                      <a:pt x="219" y="7"/>
                    </a:lnTo>
                    <a:lnTo>
                      <a:pt x="219" y="8"/>
                    </a:lnTo>
                    <a:lnTo>
                      <a:pt x="219" y="9"/>
                    </a:lnTo>
                    <a:lnTo>
                      <a:pt x="219" y="9"/>
                    </a:lnTo>
                    <a:lnTo>
                      <a:pt x="219" y="10"/>
                    </a:lnTo>
                    <a:lnTo>
                      <a:pt x="218" y="11"/>
                    </a:lnTo>
                    <a:lnTo>
                      <a:pt x="218" y="12"/>
                    </a:lnTo>
                    <a:lnTo>
                      <a:pt x="220" y="12"/>
                    </a:lnTo>
                    <a:lnTo>
                      <a:pt x="221" y="13"/>
                    </a:lnTo>
                    <a:lnTo>
                      <a:pt x="223" y="13"/>
                    </a:lnTo>
                    <a:lnTo>
                      <a:pt x="224" y="13"/>
                    </a:lnTo>
                    <a:lnTo>
                      <a:pt x="227" y="14"/>
                    </a:lnTo>
                    <a:lnTo>
                      <a:pt x="231" y="15"/>
                    </a:lnTo>
                    <a:lnTo>
                      <a:pt x="232" y="15"/>
                    </a:lnTo>
                    <a:lnTo>
                      <a:pt x="234" y="16"/>
                    </a:lnTo>
                    <a:lnTo>
                      <a:pt x="235" y="17"/>
                    </a:lnTo>
                    <a:lnTo>
                      <a:pt x="237" y="17"/>
                    </a:lnTo>
                    <a:lnTo>
                      <a:pt x="238" y="18"/>
                    </a:lnTo>
                    <a:lnTo>
                      <a:pt x="239" y="19"/>
                    </a:lnTo>
                    <a:lnTo>
                      <a:pt x="240" y="20"/>
                    </a:lnTo>
                    <a:lnTo>
                      <a:pt x="241" y="21"/>
                    </a:lnTo>
                    <a:lnTo>
                      <a:pt x="241" y="21"/>
                    </a:lnTo>
                    <a:lnTo>
                      <a:pt x="242" y="22"/>
                    </a:lnTo>
                    <a:lnTo>
                      <a:pt x="242" y="23"/>
                    </a:lnTo>
                    <a:lnTo>
                      <a:pt x="242" y="24"/>
                    </a:lnTo>
                    <a:lnTo>
                      <a:pt x="242" y="25"/>
                    </a:lnTo>
                    <a:lnTo>
                      <a:pt x="242" y="25"/>
                    </a:lnTo>
                    <a:lnTo>
                      <a:pt x="241" y="26"/>
                    </a:lnTo>
                    <a:lnTo>
                      <a:pt x="241" y="26"/>
                    </a:lnTo>
                    <a:lnTo>
                      <a:pt x="241" y="27"/>
                    </a:lnTo>
                    <a:lnTo>
                      <a:pt x="241" y="27"/>
                    </a:lnTo>
                    <a:lnTo>
                      <a:pt x="241" y="28"/>
                    </a:lnTo>
                    <a:lnTo>
                      <a:pt x="241" y="28"/>
                    </a:lnTo>
                    <a:lnTo>
                      <a:pt x="241" y="28"/>
                    </a:lnTo>
                    <a:lnTo>
                      <a:pt x="242" y="28"/>
                    </a:lnTo>
                    <a:lnTo>
                      <a:pt x="242" y="28"/>
                    </a:lnTo>
                    <a:lnTo>
                      <a:pt x="242" y="29"/>
                    </a:lnTo>
                    <a:lnTo>
                      <a:pt x="242" y="29"/>
                    </a:lnTo>
                    <a:lnTo>
                      <a:pt x="243" y="29"/>
                    </a:lnTo>
                    <a:lnTo>
                      <a:pt x="243" y="29"/>
                    </a:lnTo>
                    <a:lnTo>
                      <a:pt x="243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5" y="28"/>
                    </a:lnTo>
                    <a:lnTo>
                      <a:pt x="245" y="28"/>
                    </a:lnTo>
                    <a:lnTo>
                      <a:pt x="246" y="27"/>
                    </a:lnTo>
                    <a:lnTo>
                      <a:pt x="246" y="27"/>
                    </a:lnTo>
                    <a:lnTo>
                      <a:pt x="247" y="26"/>
                    </a:lnTo>
                    <a:lnTo>
                      <a:pt x="248" y="25"/>
                    </a:lnTo>
                    <a:lnTo>
                      <a:pt x="248" y="24"/>
                    </a:lnTo>
                    <a:lnTo>
                      <a:pt x="249" y="23"/>
                    </a:lnTo>
                    <a:lnTo>
                      <a:pt x="250" y="22"/>
                    </a:lnTo>
                    <a:lnTo>
                      <a:pt x="250" y="22"/>
                    </a:lnTo>
                    <a:lnTo>
                      <a:pt x="251" y="21"/>
                    </a:lnTo>
                    <a:lnTo>
                      <a:pt x="252" y="21"/>
                    </a:lnTo>
                    <a:lnTo>
                      <a:pt x="252" y="21"/>
                    </a:lnTo>
                    <a:lnTo>
                      <a:pt x="253" y="20"/>
                    </a:lnTo>
                    <a:lnTo>
                      <a:pt x="253" y="20"/>
                    </a:lnTo>
                    <a:lnTo>
                      <a:pt x="258" y="20"/>
                    </a:lnTo>
                    <a:lnTo>
                      <a:pt x="263" y="20"/>
                    </a:lnTo>
                    <a:lnTo>
                      <a:pt x="264" y="20"/>
                    </a:lnTo>
                    <a:lnTo>
                      <a:pt x="264" y="20"/>
                    </a:lnTo>
                    <a:lnTo>
                      <a:pt x="265" y="19"/>
                    </a:lnTo>
                    <a:lnTo>
                      <a:pt x="266" y="18"/>
                    </a:lnTo>
                    <a:lnTo>
                      <a:pt x="267" y="17"/>
                    </a:lnTo>
                    <a:lnTo>
                      <a:pt x="268" y="16"/>
                    </a:lnTo>
                    <a:lnTo>
                      <a:pt x="268" y="15"/>
                    </a:lnTo>
                    <a:lnTo>
                      <a:pt x="269" y="14"/>
                    </a:lnTo>
                    <a:lnTo>
                      <a:pt x="270" y="13"/>
                    </a:lnTo>
                    <a:lnTo>
                      <a:pt x="270" y="12"/>
                    </a:lnTo>
                    <a:lnTo>
                      <a:pt x="271" y="10"/>
                    </a:lnTo>
                    <a:lnTo>
                      <a:pt x="271" y="9"/>
                    </a:lnTo>
                    <a:lnTo>
                      <a:pt x="272" y="8"/>
                    </a:lnTo>
                    <a:lnTo>
                      <a:pt x="273" y="7"/>
                    </a:lnTo>
                    <a:lnTo>
                      <a:pt x="274" y="7"/>
                    </a:lnTo>
                    <a:lnTo>
                      <a:pt x="274" y="6"/>
                    </a:lnTo>
                    <a:lnTo>
                      <a:pt x="275" y="6"/>
                    </a:lnTo>
                    <a:lnTo>
                      <a:pt x="276" y="6"/>
                    </a:lnTo>
                    <a:lnTo>
                      <a:pt x="276" y="5"/>
                    </a:lnTo>
                    <a:lnTo>
                      <a:pt x="278" y="5"/>
                    </a:lnTo>
                    <a:lnTo>
                      <a:pt x="280" y="6"/>
                    </a:lnTo>
                    <a:lnTo>
                      <a:pt x="282" y="6"/>
                    </a:lnTo>
                    <a:lnTo>
                      <a:pt x="284" y="7"/>
                    </a:lnTo>
                    <a:lnTo>
                      <a:pt x="285" y="7"/>
                    </a:lnTo>
                    <a:lnTo>
                      <a:pt x="287" y="8"/>
                    </a:lnTo>
                    <a:lnTo>
                      <a:pt x="288" y="9"/>
                    </a:lnTo>
                    <a:lnTo>
                      <a:pt x="289" y="10"/>
                    </a:lnTo>
                    <a:lnTo>
                      <a:pt x="290" y="11"/>
                    </a:lnTo>
                    <a:lnTo>
                      <a:pt x="291" y="12"/>
                    </a:lnTo>
                    <a:lnTo>
                      <a:pt x="292" y="14"/>
                    </a:lnTo>
                    <a:lnTo>
                      <a:pt x="293" y="15"/>
                    </a:lnTo>
                    <a:lnTo>
                      <a:pt x="293" y="17"/>
                    </a:lnTo>
                    <a:lnTo>
                      <a:pt x="294" y="19"/>
                    </a:lnTo>
                    <a:lnTo>
                      <a:pt x="294" y="20"/>
                    </a:lnTo>
                    <a:lnTo>
                      <a:pt x="294" y="22"/>
                    </a:lnTo>
                    <a:lnTo>
                      <a:pt x="294" y="23"/>
                    </a:lnTo>
                    <a:lnTo>
                      <a:pt x="293" y="23"/>
                    </a:lnTo>
                    <a:lnTo>
                      <a:pt x="293" y="24"/>
                    </a:lnTo>
                    <a:lnTo>
                      <a:pt x="292" y="24"/>
                    </a:lnTo>
                    <a:lnTo>
                      <a:pt x="292" y="25"/>
                    </a:lnTo>
                    <a:lnTo>
                      <a:pt x="291" y="25"/>
                    </a:lnTo>
                    <a:lnTo>
                      <a:pt x="291" y="27"/>
                    </a:lnTo>
                    <a:lnTo>
                      <a:pt x="290" y="28"/>
                    </a:lnTo>
                    <a:lnTo>
                      <a:pt x="289" y="29"/>
                    </a:lnTo>
                    <a:lnTo>
                      <a:pt x="289" y="31"/>
                    </a:lnTo>
                    <a:lnTo>
                      <a:pt x="288" y="31"/>
                    </a:lnTo>
                    <a:lnTo>
                      <a:pt x="288" y="32"/>
                    </a:lnTo>
                    <a:lnTo>
                      <a:pt x="288" y="32"/>
                    </a:lnTo>
                    <a:lnTo>
                      <a:pt x="287" y="33"/>
                    </a:lnTo>
                    <a:lnTo>
                      <a:pt x="286" y="33"/>
                    </a:lnTo>
                    <a:lnTo>
                      <a:pt x="285" y="34"/>
                    </a:lnTo>
                    <a:lnTo>
                      <a:pt x="285" y="35"/>
                    </a:lnTo>
                    <a:lnTo>
                      <a:pt x="284" y="35"/>
                    </a:lnTo>
                    <a:lnTo>
                      <a:pt x="284" y="35"/>
                    </a:lnTo>
                    <a:lnTo>
                      <a:pt x="284" y="36"/>
                    </a:lnTo>
                    <a:lnTo>
                      <a:pt x="284" y="36"/>
                    </a:lnTo>
                    <a:lnTo>
                      <a:pt x="284" y="37"/>
                    </a:lnTo>
                    <a:lnTo>
                      <a:pt x="284" y="37"/>
                    </a:lnTo>
                    <a:lnTo>
                      <a:pt x="284" y="38"/>
                    </a:lnTo>
                    <a:lnTo>
                      <a:pt x="284" y="39"/>
                    </a:lnTo>
                    <a:lnTo>
                      <a:pt x="285" y="39"/>
                    </a:lnTo>
                    <a:lnTo>
                      <a:pt x="286" y="40"/>
                    </a:lnTo>
                    <a:lnTo>
                      <a:pt x="287" y="41"/>
                    </a:lnTo>
                    <a:lnTo>
                      <a:pt x="287" y="41"/>
                    </a:lnTo>
                    <a:lnTo>
                      <a:pt x="288" y="42"/>
                    </a:lnTo>
                    <a:lnTo>
                      <a:pt x="288" y="43"/>
                    </a:lnTo>
                    <a:lnTo>
                      <a:pt x="289" y="44"/>
                    </a:lnTo>
                    <a:lnTo>
                      <a:pt x="289" y="44"/>
                    </a:lnTo>
                    <a:lnTo>
                      <a:pt x="289" y="45"/>
                    </a:lnTo>
                    <a:lnTo>
                      <a:pt x="290" y="46"/>
                    </a:lnTo>
                    <a:lnTo>
                      <a:pt x="290" y="48"/>
                    </a:lnTo>
                    <a:lnTo>
                      <a:pt x="290" y="50"/>
                    </a:lnTo>
                    <a:lnTo>
                      <a:pt x="290" y="52"/>
                    </a:lnTo>
                    <a:lnTo>
                      <a:pt x="290" y="54"/>
                    </a:lnTo>
                    <a:lnTo>
                      <a:pt x="291" y="56"/>
                    </a:lnTo>
                    <a:lnTo>
                      <a:pt x="291" y="58"/>
                    </a:lnTo>
                    <a:lnTo>
                      <a:pt x="291" y="60"/>
                    </a:lnTo>
                    <a:lnTo>
                      <a:pt x="291" y="61"/>
                    </a:lnTo>
                    <a:lnTo>
                      <a:pt x="291" y="61"/>
                    </a:lnTo>
                    <a:lnTo>
                      <a:pt x="292" y="62"/>
                    </a:lnTo>
                    <a:lnTo>
                      <a:pt x="292" y="63"/>
                    </a:lnTo>
                    <a:lnTo>
                      <a:pt x="292" y="64"/>
                    </a:lnTo>
                    <a:lnTo>
                      <a:pt x="293" y="65"/>
                    </a:lnTo>
                    <a:lnTo>
                      <a:pt x="293" y="66"/>
                    </a:lnTo>
                    <a:lnTo>
                      <a:pt x="294" y="67"/>
                    </a:lnTo>
                    <a:lnTo>
                      <a:pt x="294" y="68"/>
                    </a:lnTo>
                    <a:lnTo>
                      <a:pt x="294" y="68"/>
                    </a:lnTo>
                    <a:lnTo>
                      <a:pt x="294" y="69"/>
                    </a:lnTo>
                    <a:lnTo>
                      <a:pt x="295" y="69"/>
                    </a:lnTo>
                    <a:lnTo>
                      <a:pt x="295" y="69"/>
                    </a:lnTo>
                    <a:lnTo>
                      <a:pt x="295" y="70"/>
                    </a:lnTo>
                    <a:lnTo>
                      <a:pt x="295" y="70"/>
                    </a:lnTo>
                    <a:lnTo>
                      <a:pt x="294" y="71"/>
                    </a:lnTo>
                    <a:lnTo>
                      <a:pt x="294" y="72"/>
                    </a:lnTo>
                    <a:lnTo>
                      <a:pt x="294" y="73"/>
                    </a:lnTo>
                    <a:lnTo>
                      <a:pt x="293" y="73"/>
                    </a:lnTo>
                    <a:lnTo>
                      <a:pt x="293" y="74"/>
                    </a:lnTo>
                    <a:lnTo>
                      <a:pt x="291" y="76"/>
                    </a:lnTo>
                    <a:lnTo>
                      <a:pt x="291" y="77"/>
                    </a:lnTo>
                    <a:lnTo>
                      <a:pt x="290" y="77"/>
                    </a:lnTo>
                    <a:lnTo>
                      <a:pt x="290" y="78"/>
                    </a:lnTo>
                    <a:lnTo>
                      <a:pt x="290" y="79"/>
                    </a:lnTo>
                    <a:lnTo>
                      <a:pt x="290" y="79"/>
                    </a:lnTo>
                    <a:lnTo>
                      <a:pt x="290" y="80"/>
                    </a:lnTo>
                    <a:lnTo>
                      <a:pt x="290" y="80"/>
                    </a:lnTo>
                    <a:lnTo>
                      <a:pt x="290" y="80"/>
                    </a:lnTo>
                    <a:lnTo>
                      <a:pt x="290" y="81"/>
                    </a:lnTo>
                    <a:lnTo>
                      <a:pt x="290" y="82"/>
                    </a:lnTo>
                    <a:lnTo>
                      <a:pt x="291" y="83"/>
                    </a:lnTo>
                    <a:lnTo>
                      <a:pt x="291" y="83"/>
                    </a:lnTo>
                    <a:lnTo>
                      <a:pt x="292" y="84"/>
                    </a:lnTo>
                    <a:lnTo>
                      <a:pt x="293" y="84"/>
                    </a:lnTo>
                    <a:lnTo>
                      <a:pt x="294" y="85"/>
                    </a:lnTo>
                    <a:lnTo>
                      <a:pt x="295" y="86"/>
                    </a:lnTo>
                    <a:lnTo>
                      <a:pt x="295" y="87"/>
                    </a:lnTo>
                    <a:lnTo>
                      <a:pt x="296" y="87"/>
                    </a:lnTo>
                    <a:lnTo>
                      <a:pt x="297" y="88"/>
                    </a:lnTo>
                    <a:lnTo>
                      <a:pt x="297" y="89"/>
                    </a:lnTo>
                    <a:lnTo>
                      <a:pt x="298" y="90"/>
                    </a:lnTo>
                    <a:lnTo>
                      <a:pt x="298" y="91"/>
                    </a:lnTo>
                    <a:lnTo>
                      <a:pt x="298" y="92"/>
                    </a:lnTo>
                    <a:lnTo>
                      <a:pt x="298" y="92"/>
                    </a:lnTo>
                    <a:lnTo>
                      <a:pt x="298" y="93"/>
                    </a:lnTo>
                    <a:lnTo>
                      <a:pt x="297" y="93"/>
                    </a:lnTo>
                    <a:lnTo>
                      <a:pt x="297" y="94"/>
                    </a:lnTo>
                    <a:lnTo>
                      <a:pt x="296" y="94"/>
                    </a:lnTo>
                    <a:lnTo>
                      <a:pt x="296" y="95"/>
                    </a:lnTo>
                    <a:lnTo>
                      <a:pt x="295" y="95"/>
                    </a:lnTo>
                    <a:lnTo>
                      <a:pt x="295" y="95"/>
                    </a:lnTo>
                    <a:lnTo>
                      <a:pt x="294" y="95"/>
                    </a:lnTo>
                    <a:lnTo>
                      <a:pt x="294" y="95"/>
                    </a:lnTo>
                    <a:lnTo>
                      <a:pt x="293" y="96"/>
                    </a:lnTo>
                    <a:lnTo>
                      <a:pt x="293" y="96"/>
                    </a:lnTo>
                    <a:lnTo>
                      <a:pt x="292" y="96"/>
                    </a:lnTo>
                    <a:lnTo>
                      <a:pt x="292" y="97"/>
                    </a:lnTo>
                    <a:lnTo>
                      <a:pt x="292" y="97"/>
                    </a:lnTo>
                    <a:lnTo>
                      <a:pt x="292" y="98"/>
                    </a:lnTo>
                    <a:lnTo>
                      <a:pt x="292" y="101"/>
                    </a:lnTo>
                    <a:lnTo>
                      <a:pt x="292" y="103"/>
                    </a:lnTo>
                    <a:lnTo>
                      <a:pt x="292" y="105"/>
                    </a:lnTo>
                    <a:lnTo>
                      <a:pt x="291" y="107"/>
                    </a:lnTo>
                    <a:lnTo>
                      <a:pt x="291" y="110"/>
                    </a:lnTo>
                    <a:lnTo>
                      <a:pt x="291" y="112"/>
                    </a:lnTo>
                    <a:lnTo>
                      <a:pt x="291" y="115"/>
                    </a:lnTo>
                    <a:lnTo>
                      <a:pt x="291" y="117"/>
                    </a:lnTo>
                    <a:lnTo>
                      <a:pt x="292" y="117"/>
                    </a:lnTo>
                    <a:lnTo>
                      <a:pt x="293" y="117"/>
                    </a:lnTo>
                    <a:lnTo>
                      <a:pt x="293" y="117"/>
                    </a:lnTo>
                    <a:lnTo>
                      <a:pt x="294" y="116"/>
                    </a:lnTo>
                    <a:lnTo>
                      <a:pt x="295" y="116"/>
                    </a:lnTo>
                    <a:lnTo>
                      <a:pt x="295" y="115"/>
                    </a:lnTo>
                    <a:lnTo>
                      <a:pt x="296" y="115"/>
                    </a:lnTo>
                    <a:lnTo>
                      <a:pt x="297" y="114"/>
                    </a:lnTo>
                    <a:lnTo>
                      <a:pt x="297" y="114"/>
                    </a:lnTo>
                    <a:lnTo>
                      <a:pt x="298" y="114"/>
                    </a:lnTo>
                    <a:lnTo>
                      <a:pt x="299" y="113"/>
                    </a:lnTo>
                    <a:lnTo>
                      <a:pt x="300" y="113"/>
                    </a:lnTo>
                    <a:lnTo>
                      <a:pt x="301" y="113"/>
                    </a:lnTo>
                    <a:lnTo>
                      <a:pt x="302" y="113"/>
                    </a:lnTo>
                    <a:lnTo>
                      <a:pt x="302" y="113"/>
                    </a:lnTo>
                    <a:lnTo>
                      <a:pt x="303" y="114"/>
                    </a:lnTo>
                    <a:lnTo>
                      <a:pt x="303" y="114"/>
                    </a:lnTo>
                    <a:lnTo>
                      <a:pt x="304" y="115"/>
                    </a:lnTo>
                    <a:lnTo>
                      <a:pt x="304" y="116"/>
                    </a:lnTo>
                    <a:lnTo>
                      <a:pt x="304" y="116"/>
                    </a:lnTo>
                    <a:lnTo>
                      <a:pt x="304" y="117"/>
                    </a:lnTo>
                    <a:lnTo>
                      <a:pt x="304" y="117"/>
                    </a:lnTo>
                    <a:lnTo>
                      <a:pt x="304" y="118"/>
                    </a:lnTo>
                    <a:lnTo>
                      <a:pt x="304" y="118"/>
                    </a:lnTo>
                    <a:lnTo>
                      <a:pt x="304" y="119"/>
                    </a:lnTo>
                    <a:lnTo>
                      <a:pt x="304" y="119"/>
                    </a:lnTo>
                    <a:lnTo>
                      <a:pt x="304" y="120"/>
                    </a:lnTo>
                    <a:lnTo>
                      <a:pt x="303" y="121"/>
                    </a:lnTo>
                    <a:lnTo>
                      <a:pt x="302" y="122"/>
                    </a:lnTo>
                    <a:lnTo>
                      <a:pt x="302" y="123"/>
                    </a:lnTo>
                    <a:lnTo>
                      <a:pt x="301" y="124"/>
                    </a:lnTo>
                    <a:lnTo>
                      <a:pt x="300" y="125"/>
                    </a:lnTo>
                    <a:lnTo>
                      <a:pt x="300" y="126"/>
                    </a:lnTo>
                    <a:lnTo>
                      <a:pt x="300" y="127"/>
                    </a:lnTo>
                    <a:lnTo>
                      <a:pt x="300" y="128"/>
                    </a:lnTo>
                    <a:lnTo>
                      <a:pt x="299" y="128"/>
                    </a:lnTo>
                    <a:lnTo>
                      <a:pt x="299" y="129"/>
                    </a:lnTo>
                    <a:lnTo>
                      <a:pt x="299" y="130"/>
                    </a:lnTo>
                    <a:lnTo>
                      <a:pt x="299" y="130"/>
                    </a:lnTo>
                    <a:lnTo>
                      <a:pt x="299" y="131"/>
                    </a:lnTo>
                    <a:lnTo>
                      <a:pt x="299" y="132"/>
                    </a:lnTo>
                    <a:lnTo>
                      <a:pt x="290" y="132"/>
                    </a:lnTo>
                    <a:lnTo>
                      <a:pt x="281" y="132"/>
                    </a:lnTo>
                    <a:lnTo>
                      <a:pt x="272" y="132"/>
                    </a:lnTo>
                    <a:lnTo>
                      <a:pt x="263" y="132"/>
                    </a:lnTo>
                    <a:lnTo>
                      <a:pt x="260" y="133"/>
                    </a:lnTo>
                    <a:lnTo>
                      <a:pt x="256" y="134"/>
                    </a:lnTo>
                    <a:lnTo>
                      <a:pt x="253" y="136"/>
                    </a:lnTo>
                    <a:lnTo>
                      <a:pt x="250" y="137"/>
                    </a:lnTo>
                    <a:lnTo>
                      <a:pt x="247" y="139"/>
                    </a:lnTo>
                    <a:lnTo>
                      <a:pt x="244" y="140"/>
                    </a:lnTo>
                    <a:lnTo>
                      <a:pt x="243" y="141"/>
                    </a:lnTo>
                    <a:lnTo>
                      <a:pt x="242" y="142"/>
                    </a:lnTo>
                    <a:lnTo>
                      <a:pt x="240" y="143"/>
                    </a:lnTo>
                    <a:lnTo>
                      <a:pt x="239" y="144"/>
                    </a:lnTo>
                    <a:lnTo>
                      <a:pt x="238" y="145"/>
                    </a:lnTo>
                    <a:lnTo>
                      <a:pt x="237" y="146"/>
                    </a:lnTo>
                    <a:lnTo>
                      <a:pt x="236" y="147"/>
                    </a:lnTo>
                    <a:lnTo>
                      <a:pt x="235" y="148"/>
                    </a:lnTo>
                    <a:lnTo>
                      <a:pt x="234" y="150"/>
                    </a:lnTo>
                    <a:lnTo>
                      <a:pt x="233" y="151"/>
                    </a:lnTo>
                    <a:lnTo>
                      <a:pt x="232" y="152"/>
                    </a:lnTo>
                    <a:lnTo>
                      <a:pt x="231" y="153"/>
                    </a:lnTo>
                    <a:lnTo>
                      <a:pt x="230" y="155"/>
                    </a:lnTo>
                    <a:lnTo>
                      <a:pt x="230" y="156"/>
                    </a:lnTo>
                    <a:lnTo>
                      <a:pt x="229" y="157"/>
                    </a:lnTo>
                    <a:lnTo>
                      <a:pt x="229" y="159"/>
                    </a:lnTo>
                    <a:lnTo>
                      <a:pt x="228" y="161"/>
                    </a:lnTo>
                    <a:lnTo>
                      <a:pt x="228" y="162"/>
                    </a:lnTo>
                    <a:lnTo>
                      <a:pt x="228" y="164"/>
                    </a:lnTo>
                    <a:lnTo>
                      <a:pt x="228" y="165"/>
                    </a:lnTo>
                    <a:lnTo>
                      <a:pt x="222" y="166"/>
                    </a:lnTo>
                    <a:lnTo>
                      <a:pt x="216" y="167"/>
                    </a:lnTo>
                    <a:lnTo>
                      <a:pt x="211" y="168"/>
                    </a:lnTo>
                    <a:lnTo>
                      <a:pt x="205" y="168"/>
                    </a:lnTo>
                    <a:lnTo>
                      <a:pt x="199" y="169"/>
                    </a:lnTo>
                    <a:lnTo>
                      <a:pt x="193" y="169"/>
                    </a:lnTo>
                    <a:lnTo>
                      <a:pt x="187" y="170"/>
                    </a:lnTo>
                    <a:lnTo>
                      <a:pt x="181" y="171"/>
                    </a:lnTo>
                    <a:lnTo>
                      <a:pt x="175" y="171"/>
                    </a:lnTo>
                    <a:lnTo>
                      <a:pt x="169" y="171"/>
                    </a:lnTo>
                    <a:lnTo>
                      <a:pt x="163" y="172"/>
                    </a:lnTo>
                    <a:lnTo>
                      <a:pt x="157" y="172"/>
                    </a:lnTo>
                    <a:lnTo>
                      <a:pt x="150" y="172"/>
                    </a:lnTo>
                    <a:lnTo>
                      <a:pt x="144" y="172"/>
                    </a:lnTo>
                    <a:lnTo>
                      <a:pt x="138" y="172"/>
                    </a:lnTo>
                    <a:lnTo>
                      <a:pt x="131" y="172"/>
                    </a:lnTo>
                    <a:lnTo>
                      <a:pt x="131" y="171"/>
                    </a:lnTo>
                    <a:lnTo>
                      <a:pt x="131" y="171"/>
                    </a:lnTo>
                    <a:lnTo>
                      <a:pt x="130" y="170"/>
                    </a:lnTo>
                    <a:lnTo>
                      <a:pt x="130" y="170"/>
                    </a:lnTo>
                    <a:lnTo>
                      <a:pt x="130" y="169"/>
                    </a:lnTo>
                    <a:lnTo>
                      <a:pt x="129" y="169"/>
                    </a:lnTo>
                    <a:lnTo>
                      <a:pt x="128" y="169"/>
                    </a:lnTo>
                    <a:lnTo>
                      <a:pt x="128" y="169"/>
                    </a:lnTo>
                    <a:lnTo>
                      <a:pt x="125" y="169"/>
                    </a:lnTo>
                    <a:lnTo>
                      <a:pt x="123" y="169"/>
                    </a:lnTo>
                    <a:lnTo>
                      <a:pt x="120" y="169"/>
                    </a:lnTo>
                    <a:lnTo>
                      <a:pt x="118" y="169"/>
                    </a:lnTo>
                    <a:lnTo>
                      <a:pt x="112" y="168"/>
                    </a:lnTo>
                    <a:lnTo>
                      <a:pt x="107" y="168"/>
                    </a:lnTo>
                    <a:lnTo>
                      <a:pt x="104" y="168"/>
                    </a:lnTo>
                    <a:lnTo>
                      <a:pt x="102" y="168"/>
                    </a:lnTo>
                    <a:lnTo>
                      <a:pt x="99" y="168"/>
                    </a:lnTo>
                    <a:lnTo>
                      <a:pt x="97" y="168"/>
                    </a:lnTo>
                    <a:lnTo>
                      <a:pt x="94" y="169"/>
                    </a:lnTo>
                    <a:lnTo>
                      <a:pt x="92" y="169"/>
                    </a:lnTo>
                    <a:lnTo>
                      <a:pt x="90" y="169"/>
                    </a:lnTo>
                    <a:lnTo>
                      <a:pt x="89" y="170"/>
                    </a:lnTo>
                    <a:lnTo>
                      <a:pt x="88" y="170"/>
                    </a:lnTo>
                    <a:lnTo>
                      <a:pt x="86" y="170"/>
                    </a:lnTo>
                    <a:lnTo>
                      <a:pt x="84" y="169"/>
                    </a:lnTo>
                    <a:lnTo>
                      <a:pt x="82" y="169"/>
                    </a:lnTo>
                    <a:lnTo>
                      <a:pt x="80" y="169"/>
                    </a:lnTo>
                    <a:lnTo>
                      <a:pt x="78" y="168"/>
                    </a:lnTo>
                    <a:lnTo>
                      <a:pt x="75" y="168"/>
                    </a:lnTo>
                    <a:lnTo>
                      <a:pt x="73" y="168"/>
                    </a:lnTo>
                    <a:lnTo>
                      <a:pt x="71" y="168"/>
                    </a:lnTo>
                    <a:lnTo>
                      <a:pt x="66" y="168"/>
                    </a:lnTo>
                    <a:lnTo>
                      <a:pt x="61" y="168"/>
                    </a:lnTo>
                    <a:lnTo>
                      <a:pt x="58" y="169"/>
                    </a:lnTo>
                    <a:lnTo>
                      <a:pt x="56" y="169"/>
                    </a:lnTo>
                    <a:lnTo>
                      <a:pt x="54" y="169"/>
                    </a:lnTo>
                    <a:lnTo>
                      <a:pt x="51" y="169"/>
                    </a:lnTo>
                    <a:lnTo>
                      <a:pt x="50" y="167"/>
                    </a:lnTo>
                    <a:lnTo>
                      <a:pt x="48" y="166"/>
                    </a:lnTo>
                    <a:lnTo>
                      <a:pt x="46" y="165"/>
                    </a:lnTo>
                    <a:lnTo>
                      <a:pt x="44" y="163"/>
                    </a:lnTo>
                    <a:lnTo>
                      <a:pt x="40" y="161"/>
                    </a:lnTo>
                    <a:lnTo>
                      <a:pt x="36" y="158"/>
                    </a:lnTo>
                    <a:lnTo>
                      <a:pt x="33" y="156"/>
                    </a:lnTo>
                    <a:lnTo>
                      <a:pt x="29" y="154"/>
                    </a:lnTo>
                    <a:lnTo>
                      <a:pt x="27" y="152"/>
                    </a:lnTo>
                    <a:lnTo>
                      <a:pt x="25" y="151"/>
                    </a:lnTo>
                    <a:lnTo>
                      <a:pt x="23" y="150"/>
                    </a:lnTo>
                    <a:lnTo>
                      <a:pt x="22" y="149"/>
                    </a:lnTo>
                    <a:lnTo>
                      <a:pt x="20" y="148"/>
                    </a:lnTo>
                    <a:lnTo>
                      <a:pt x="18" y="148"/>
                    </a:lnTo>
                    <a:lnTo>
                      <a:pt x="16" y="148"/>
                    </a:lnTo>
                    <a:lnTo>
                      <a:pt x="14" y="147"/>
                    </a:lnTo>
                    <a:lnTo>
                      <a:pt x="12" y="147"/>
                    </a:lnTo>
                    <a:lnTo>
                      <a:pt x="11" y="146"/>
                    </a:lnTo>
                    <a:lnTo>
                      <a:pt x="9" y="145"/>
                    </a:lnTo>
                    <a:lnTo>
                      <a:pt x="8" y="145"/>
                    </a:lnTo>
                    <a:lnTo>
                      <a:pt x="6" y="144"/>
                    </a:lnTo>
                    <a:lnTo>
                      <a:pt x="5" y="143"/>
                    </a:lnTo>
                    <a:lnTo>
                      <a:pt x="4" y="142"/>
                    </a:lnTo>
                    <a:lnTo>
                      <a:pt x="3" y="141"/>
                    </a:lnTo>
                    <a:lnTo>
                      <a:pt x="2" y="140"/>
                    </a:lnTo>
                    <a:lnTo>
                      <a:pt x="1" y="138"/>
                    </a:lnTo>
                    <a:lnTo>
                      <a:pt x="0" y="137"/>
                    </a:lnTo>
                    <a:lnTo>
                      <a:pt x="0" y="135"/>
                    </a:lnTo>
                    <a:lnTo>
                      <a:pt x="0" y="134"/>
                    </a:lnTo>
                    <a:lnTo>
                      <a:pt x="1" y="133"/>
                    </a:lnTo>
                    <a:lnTo>
                      <a:pt x="2" y="132"/>
                    </a:lnTo>
                    <a:lnTo>
                      <a:pt x="2" y="131"/>
                    </a:lnTo>
                    <a:lnTo>
                      <a:pt x="3" y="130"/>
                    </a:lnTo>
                    <a:lnTo>
                      <a:pt x="4" y="130"/>
                    </a:lnTo>
                    <a:lnTo>
                      <a:pt x="5" y="129"/>
                    </a:lnTo>
                    <a:lnTo>
                      <a:pt x="6" y="128"/>
                    </a:lnTo>
                    <a:lnTo>
                      <a:pt x="8" y="127"/>
                    </a:lnTo>
                    <a:lnTo>
                      <a:pt x="10" y="126"/>
                    </a:lnTo>
                    <a:lnTo>
                      <a:pt x="12" y="124"/>
                    </a:lnTo>
                    <a:lnTo>
                      <a:pt x="14" y="123"/>
                    </a:lnTo>
                    <a:lnTo>
                      <a:pt x="16" y="122"/>
                    </a:lnTo>
                    <a:lnTo>
                      <a:pt x="18" y="120"/>
                    </a:lnTo>
                    <a:lnTo>
                      <a:pt x="20" y="119"/>
                    </a:lnTo>
                    <a:lnTo>
                      <a:pt x="21" y="118"/>
                    </a:lnTo>
                    <a:lnTo>
                      <a:pt x="22" y="117"/>
                    </a:lnTo>
                    <a:lnTo>
                      <a:pt x="23" y="117"/>
                    </a:lnTo>
                    <a:lnTo>
                      <a:pt x="23" y="116"/>
                    </a:lnTo>
                    <a:lnTo>
                      <a:pt x="24" y="115"/>
                    </a:lnTo>
                    <a:lnTo>
                      <a:pt x="25" y="114"/>
                    </a:lnTo>
                    <a:lnTo>
                      <a:pt x="25" y="112"/>
                    </a:lnTo>
                    <a:lnTo>
                      <a:pt x="26" y="111"/>
                    </a:lnTo>
                    <a:lnTo>
                      <a:pt x="26" y="110"/>
                    </a:lnTo>
                    <a:lnTo>
                      <a:pt x="26" y="109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5" y="107"/>
                    </a:lnTo>
                    <a:lnTo>
                      <a:pt x="25" y="106"/>
                    </a:lnTo>
                    <a:lnTo>
                      <a:pt x="25" y="106"/>
                    </a:lnTo>
                    <a:lnTo>
                      <a:pt x="25" y="105"/>
                    </a:lnTo>
                    <a:lnTo>
                      <a:pt x="25" y="104"/>
                    </a:lnTo>
                    <a:lnTo>
                      <a:pt x="24" y="102"/>
                    </a:lnTo>
                    <a:lnTo>
                      <a:pt x="24" y="102"/>
                    </a:lnTo>
                    <a:lnTo>
                      <a:pt x="24" y="101"/>
                    </a:lnTo>
                    <a:lnTo>
                      <a:pt x="24" y="100"/>
                    </a:lnTo>
                    <a:lnTo>
                      <a:pt x="24" y="100"/>
                    </a:lnTo>
                    <a:lnTo>
                      <a:pt x="23" y="99"/>
                    </a:lnTo>
                    <a:lnTo>
                      <a:pt x="23" y="99"/>
                    </a:lnTo>
                    <a:lnTo>
                      <a:pt x="24" y="98"/>
                    </a:lnTo>
                    <a:lnTo>
                      <a:pt x="26" y="97"/>
                    </a:lnTo>
                    <a:lnTo>
                      <a:pt x="27" y="96"/>
                    </a:lnTo>
                    <a:lnTo>
                      <a:pt x="28" y="95"/>
                    </a:lnTo>
                    <a:lnTo>
                      <a:pt x="29" y="95"/>
                    </a:lnTo>
                    <a:lnTo>
                      <a:pt x="30" y="94"/>
                    </a:lnTo>
                    <a:lnTo>
                      <a:pt x="31" y="93"/>
                    </a:lnTo>
                    <a:lnTo>
                      <a:pt x="32" y="91"/>
                    </a:lnTo>
                    <a:lnTo>
                      <a:pt x="33" y="89"/>
                    </a:lnTo>
                    <a:lnTo>
                      <a:pt x="35" y="87"/>
                    </a:lnTo>
                    <a:lnTo>
                      <a:pt x="36" y="84"/>
                    </a:lnTo>
                    <a:lnTo>
                      <a:pt x="38" y="82"/>
                    </a:lnTo>
                    <a:lnTo>
                      <a:pt x="39" y="82"/>
                    </a:lnTo>
                    <a:lnTo>
                      <a:pt x="40" y="81"/>
                    </a:lnTo>
                    <a:lnTo>
                      <a:pt x="41" y="81"/>
                    </a:lnTo>
                    <a:lnTo>
                      <a:pt x="42" y="81"/>
                    </a:lnTo>
                    <a:lnTo>
                      <a:pt x="43" y="81"/>
                    </a:lnTo>
                    <a:lnTo>
                      <a:pt x="44" y="81"/>
                    </a:lnTo>
                    <a:lnTo>
                      <a:pt x="46" y="82"/>
                    </a:lnTo>
                    <a:lnTo>
                      <a:pt x="47" y="82"/>
                    </a:lnTo>
                    <a:lnTo>
                      <a:pt x="48" y="82"/>
                    </a:lnTo>
                    <a:lnTo>
                      <a:pt x="49" y="82"/>
                    </a:lnTo>
                    <a:lnTo>
                      <a:pt x="51" y="82"/>
                    </a:lnTo>
                    <a:lnTo>
                      <a:pt x="52" y="82"/>
                    </a:lnTo>
                    <a:lnTo>
                      <a:pt x="54" y="82"/>
                    </a:lnTo>
                    <a:lnTo>
                      <a:pt x="55" y="82"/>
                    </a:lnTo>
                    <a:lnTo>
                      <a:pt x="56" y="82"/>
                    </a:lnTo>
                    <a:lnTo>
                      <a:pt x="57" y="81"/>
                    </a:lnTo>
                    <a:lnTo>
                      <a:pt x="58" y="81"/>
                    </a:lnTo>
                    <a:lnTo>
                      <a:pt x="60" y="80"/>
                    </a:lnTo>
                    <a:lnTo>
                      <a:pt x="62" y="78"/>
                    </a:lnTo>
                    <a:lnTo>
                      <a:pt x="64" y="77"/>
                    </a:lnTo>
                    <a:lnTo>
                      <a:pt x="66" y="76"/>
                    </a:lnTo>
                    <a:lnTo>
                      <a:pt x="67" y="74"/>
                    </a:lnTo>
                    <a:lnTo>
                      <a:pt x="69" y="73"/>
                    </a:lnTo>
                    <a:lnTo>
                      <a:pt x="70" y="72"/>
                    </a:lnTo>
                    <a:lnTo>
                      <a:pt x="71" y="72"/>
                    </a:lnTo>
                    <a:lnTo>
                      <a:pt x="71" y="71"/>
                    </a:lnTo>
                    <a:lnTo>
                      <a:pt x="71" y="70"/>
                    </a:lnTo>
                    <a:lnTo>
                      <a:pt x="71" y="70"/>
                    </a:lnTo>
                    <a:lnTo>
                      <a:pt x="71" y="69"/>
                    </a:lnTo>
                    <a:lnTo>
                      <a:pt x="71" y="68"/>
                    </a:lnTo>
                    <a:lnTo>
                      <a:pt x="72" y="68"/>
                    </a:lnTo>
                    <a:lnTo>
                      <a:pt x="72" y="67"/>
                    </a:lnTo>
                    <a:lnTo>
                      <a:pt x="73" y="66"/>
                    </a:lnTo>
                    <a:lnTo>
                      <a:pt x="73" y="66"/>
                    </a:lnTo>
                    <a:lnTo>
                      <a:pt x="73" y="65"/>
                    </a:lnTo>
                    <a:lnTo>
                      <a:pt x="73" y="64"/>
                    </a:lnTo>
                    <a:lnTo>
                      <a:pt x="73" y="64"/>
                    </a:lnTo>
                    <a:lnTo>
                      <a:pt x="73" y="63"/>
                    </a:lnTo>
                    <a:lnTo>
                      <a:pt x="73" y="62"/>
                    </a:lnTo>
                    <a:lnTo>
                      <a:pt x="74" y="61"/>
                    </a:lnTo>
                    <a:lnTo>
                      <a:pt x="75" y="61"/>
                    </a:lnTo>
                    <a:lnTo>
                      <a:pt x="78" y="59"/>
                    </a:lnTo>
                    <a:lnTo>
                      <a:pt x="79" y="58"/>
                    </a:lnTo>
                    <a:lnTo>
                      <a:pt x="81" y="56"/>
                    </a:lnTo>
                    <a:lnTo>
                      <a:pt x="83" y="54"/>
                    </a:lnTo>
                    <a:lnTo>
                      <a:pt x="85" y="53"/>
                    </a:lnTo>
                    <a:lnTo>
                      <a:pt x="86" y="51"/>
                    </a:lnTo>
                    <a:lnTo>
                      <a:pt x="88" y="49"/>
                    </a:lnTo>
                    <a:lnTo>
                      <a:pt x="91" y="45"/>
                    </a:lnTo>
                    <a:lnTo>
                      <a:pt x="93" y="43"/>
                    </a:lnTo>
                    <a:lnTo>
                      <a:pt x="94" y="42"/>
                    </a:lnTo>
                    <a:lnTo>
                      <a:pt x="96" y="40"/>
                    </a:lnTo>
                    <a:lnTo>
                      <a:pt x="98" y="38"/>
                    </a:lnTo>
                    <a:lnTo>
                      <a:pt x="99" y="37"/>
                    </a:lnTo>
                    <a:lnTo>
                      <a:pt x="101" y="35"/>
                    </a:lnTo>
                    <a:lnTo>
                      <a:pt x="101" y="35"/>
                    </a:lnTo>
                    <a:lnTo>
                      <a:pt x="101" y="34"/>
                    </a:lnTo>
                    <a:lnTo>
                      <a:pt x="101" y="33"/>
                    </a:lnTo>
                    <a:lnTo>
                      <a:pt x="101" y="32"/>
                    </a:lnTo>
                    <a:lnTo>
                      <a:pt x="101" y="32"/>
                    </a:lnTo>
                    <a:lnTo>
                      <a:pt x="102" y="31"/>
                    </a:lnTo>
                    <a:lnTo>
                      <a:pt x="102" y="30"/>
                    </a:lnTo>
                    <a:lnTo>
                      <a:pt x="103" y="29"/>
                    </a:lnTo>
                    <a:lnTo>
                      <a:pt x="103" y="29"/>
                    </a:lnTo>
                    <a:lnTo>
                      <a:pt x="103" y="28"/>
                    </a:lnTo>
                    <a:lnTo>
                      <a:pt x="103" y="28"/>
                    </a:lnTo>
                    <a:lnTo>
                      <a:pt x="103" y="27"/>
                    </a:lnTo>
                    <a:lnTo>
                      <a:pt x="103" y="26"/>
                    </a:lnTo>
                    <a:lnTo>
                      <a:pt x="103" y="25"/>
                    </a:lnTo>
                    <a:lnTo>
                      <a:pt x="104" y="25"/>
                    </a:lnTo>
                    <a:lnTo>
                      <a:pt x="105" y="25"/>
                    </a:lnTo>
                    <a:lnTo>
                      <a:pt x="106" y="25"/>
                    </a:lnTo>
                    <a:lnTo>
                      <a:pt x="107" y="25"/>
                    </a:lnTo>
                    <a:lnTo>
                      <a:pt x="107" y="24"/>
                    </a:lnTo>
                    <a:lnTo>
                      <a:pt x="108" y="24"/>
                    </a:lnTo>
                    <a:lnTo>
                      <a:pt x="109" y="23"/>
                    </a:lnTo>
                    <a:lnTo>
                      <a:pt x="110" y="22"/>
                    </a:lnTo>
                    <a:lnTo>
                      <a:pt x="111" y="22"/>
                    </a:lnTo>
                    <a:lnTo>
                      <a:pt x="111" y="21"/>
                    </a:lnTo>
                    <a:lnTo>
                      <a:pt x="112" y="21"/>
                    </a:lnTo>
                    <a:lnTo>
                      <a:pt x="113" y="21"/>
                    </a:lnTo>
                    <a:lnTo>
                      <a:pt x="114" y="20"/>
                    </a:lnTo>
                    <a:lnTo>
                      <a:pt x="115" y="20"/>
                    </a:lnTo>
                    <a:lnTo>
                      <a:pt x="115" y="21"/>
                    </a:lnTo>
                    <a:lnTo>
                      <a:pt x="116" y="21"/>
                    </a:lnTo>
                    <a:lnTo>
                      <a:pt x="117" y="22"/>
                    </a:lnTo>
                    <a:lnTo>
                      <a:pt x="117" y="23"/>
                    </a:lnTo>
                    <a:lnTo>
                      <a:pt x="118" y="24"/>
                    </a:lnTo>
                    <a:lnTo>
                      <a:pt x="119" y="25"/>
                    </a:lnTo>
                    <a:lnTo>
                      <a:pt x="120" y="26"/>
                    </a:lnTo>
                    <a:lnTo>
                      <a:pt x="120" y="26"/>
                    </a:lnTo>
                    <a:lnTo>
                      <a:pt x="121" y="27"/>
                    </a:lnTo>
                    <a:lnTo>
                      <a:pt x="122" y="27"/>
                    </a:lnTo>
                    <a:lnTo>
                      <a:pt x="123" y="27"/>
                    </a:lnTo>
                    <a:lnTo>
                      <a:pt x="124" y="27"/>
                    </a:lnTo>
                    <a:lnTo>
                      <a:pt x="124" y="27"/>
                    </a:lnTo>
                    <a:lnTo>
                      <a:pt x="125" y="27"/>
                    </a:lnTo>
                    <a:lnTo>
                      <a:pt x="126" y="27"/>
                    </a:lnTo>
                    <a:lnTo>
                      <a:pt x="126" y="27"/>
                    </a:lnTo>
                    <a:lnTo>
                      <a:pt x="127" y="27"/>
                    </a:lnTo>
                    <a:lnTo>
                      <a:pt x="128" y="27"/>
                    </a:lnTo>
                    <a:lnTo>
                      <a:pt x="128" y="28"/>
                    </a:lnTo>
                    <a:lnTo>
                      <a:pt x="128" y="29"/>
                    </a:lnTo>
                    <a:lnTo>
                      <a:pt x="128" y="29"/>
                    </a:lnTo>
                    <a:lnTo>
                      <a:pt x="128" y="30"/>
                    </a:lnTo>
                    <a:lnTo>
                      <a:pt x="128" y="30"/>
                    </a:lnTo>
                    <a:lnTo>
                      <a:pt x="129" y="31"/>
                    </a:lnTo>
                    <a:lnTo>
                      <a:pt x="129" y="32"/>
                    </a:lnTo>
                    <a:lnTo>
                      <a:pt x="130" y="32"/>
                    </a:lnTo>
                    <a:lnTo>
                      <a:pt x="130" y="33"/>
                    </a:lnTo>
                    <a:lnTo>
                      <a:pt x="131" y="34"/>
                    </a:lnTo>
                    <a:lnTo>
                      <a:pt x="131" y="35"/>
                    </a:lnTo>
                    <a:lnTo>
                      <a:pt x="131" y="35"/>
                    </a:lnTo>
                    <a:lnTo>
                      <a:pt x="133" y="35"/>
                    </a:lnTo>
                    <a:lnTo>
                      <a:pt x="134" y="35"/>
                    </a:lnTo>
                    <a:lnTo>
                      <a:pt x="136" y="35"/>
                    </a:lnTo>
                    <a:lnTo>
                      <a:pt x="137" y="35"/>
                    </a:lnTo>
                    <a:lnTo>
                      <a:pt x="138" y="36"/>
                    </a:lnTo>
                    <a:lnTo>
                      <a:pt x="140" y="36"/>
                    </a:lnTo>
                    <a:lnTo>
                      <a:pt x="142" y="36"/>
                    </a:lnTo>
                    <a:lnTo>
                      <a:pt x="144" y="37"/>
                    </a:lnTo>
                    <a:lnTo>
                      <a:pt x="146" y="37"/>
                    </a:lnTo>
                    <a:lnTo>
                      <a:pt x="147" y="37"/>
                    </a:lnTo>
                    <a:lnTo>
                      <a:pt x="148" y="37"/>
                    </a:lnTo>
                    <a:lnTo>
                      <a:pt x="150" y="37"/>
                    </a:lnTo>
                    <a:lnTo>
                      <a:pt x="151" y="37"/>
                    </a:lnTo>
                    <a:lnTo>
                      <a:pt x="153" y="37"/>
                    </a:lnTo>
                    <a:lnTo>
                      <a:pt x="154" y="36"/>
                    </a:lnTo>
                    <a:lnTo>
                      <a:pt x="154" y="35"/>
                    </a:lnTo>
                    <a:lnTo>
                      <a:pt x="155" y="35"/>
                    </a:lnTo>
                    <a:lnTo>
                      <a:pt x="155" y="34"/>
                    </a:lnTo>
                    <a:lnTo>
                      <a:pt x="156" y="33"/>
                    </a:lnTo>
                    <a:lnTo>
                      <a:pt x="156" y="31"/>
                    </a:lnTo>
                    <a:lnTo>
                      <a:pt x="157" y="29"/>
                    </a:lnTo>
                    <a:lnTo>
                      <a:pt x="157" y="27"/>
                    </a:lnTo>
                    <a:lnTo>
                      <a:pt x="158" y="26"/>
                    </a:lnTo>
                    <a:lnTo>
                      <a:pt x="158" y="25"/>
                    </a:lnTo>
                    <a:lnTo>
                      <a:pt x="159" y="24"/>
                    </a:lnTo>
                    <a:lnTo>
                      <a:pt x="160" y="23"/>
                    </a:lnTo>
                    <a:lnTo>
                      <a:pt x="160" y="23"/>
                    </a:lnTo>
                    <a:lnTo>
                      <a:pt x="161" y="22"/>
                    </a:lnTo>
                    <a:lnTo>
                      <a:pt x="162" y="22"/>
                    </a:lnTo>
                    <a:lnTo>
                      <a:pt x="163" y="22"/>
                    </a:lnTo>
                    <a:lnTo>
                      <a:pt x="164" y="22"/>
                    </a:lnTo>
                    <a:lnTo>
                      <a:pt x="165" y="22"/>
                    </a:lnTo>
                    <a:lnTo>
                      <a:pt x="165" y="22"/>
                    </a:lnTo>
                    <a:lnTo>
                      <a:pt x="166" y="22"/>
                    </a:lnTo>
                    <a:lnTo>
                      <a:pt x="167" y="21"/>
                    </a:lnTo>
                    <a:lnTo>
                      <a:pt x="168" y="20"/>
                    </a:lnTo>
                    <a:lnTo>
                      <a:pt x="169" y="20"/>
                    </a:lnTo>
                    <a:lnTo>
                      <a:pt x="170" y="19"/>
                    </a:lnTo>
                    <a:lnTo>
                      <a:pt x="171" y="19"/>
                    </a:lnTo>
                    <a:lnTo>
                      <a:pt x="171" y="19"/>
                    </a:lnTo>
                    <a:lnTo>
                      <a:pt x="171" y="20"/>
                    </a:lnTo>
                    <a:lnTo>
                      <a:pt x="171" y="22"/>
                    </a:lnTo>
                    <a:lnTo>
                      <a:pt x="171" y="23"/>
                    </a:lnTo>
                    <a:lnTo>
                      <a:pt x="171" y="24"/>
                    </a:lnTo>
                    <a:lnTo>
                      <a:pt x="171" y="24"/>
                    </a:lnTo>
                    <a:lnTo>
                      <a:pt x="172" y="25"/>
                    </a:lnTo>
                    <a:lnTo>
                      <a:pt x="172" y="25"/>
                    </a:lnTo>
                    <a:lnTo>
                      <a:pt x="172" y="26"/>
                    </a:lnTo>
                    <a:lnTo>
                      <a:pt x="173" y="26"/>
                    </a:lnTo>
                    <a:lnTo>
                      <a:pt x="173" y="27"/>
                    </a:lnTo>
                    <a:lnTo>
                      <a:pt x="174" y="27"/>
                    </a:lnTo>
                    <a:lnTo>
                      <a:pt x="175" y="27"/>
                    </a:lnTo>
                    <a:lnTo>
                      <a:pt x="175" y="27"/>
                    </a:lnTo>
                    <a:lnTo>
                      <a:pt x="176" y="27"/>
                    </a:lnTo>
                    <a:lnTo>
                      <a:pt x="177" y="27"/>
                    </a:lnTo>
                    <a:lnTo>
                      <a:pt x="178" y="27"/>
                    </a:lnTo>
                    <a:lnTo>
                      <a:pt x="179" y="27"/>
                    </a:lnTo>
                    <a:lnTo>
                      <a:pt x="180" y="27"/>
                    </a:lnTo>
                    <a:lnTo>
                      <a:pt x="181" y="27"/>
                    </a:lnTo>
                    <a:lnTo>
                      <a:pt x="181" y="26"/>
                    </a:lnTo>
                    <a:lnTo>
                      <a:pt x="182" y="26"/>
                    </a:lnTo>
                    <a:lnTo>
                      <a:pt x="182" y="26"/>
                    </a:lnTo>
                    <a:lnTo>
                      <a:pt x="183" y="25"/>
                    </a:lnTo>
                    <a:lnTo>
                      <a:pt x="183" y="25"/>
                    </a:lnTo>
                    <a:lnTo>
                      <a:pt x="184" y="24"/>
                    </a:lnTo>
                    <a:lnTo>
                      <a:pt x="184" y="23"/>
                    </a:lnTo>
                    <a:lnTo>
                      <a:pt x="184" y="23"/>
                    </a:lnTo>
                    <a:lnTo>
                      <a:pt x="184" y="22"/>
                    </a:lnTo>
                    <a:lnTo>
                      <a:pt x="185" y="21"/>
                    </a:lnTo>
                    <a:lnTo>
                      <a:pt x="185" y="20"/>
                    </a:lnTo>
                    <a:lnTo>
                      <a:pt x="186" y="20"/>
                    </a:lnTo>
                    <a:lnTo>
                      <a:pt x="187" y="20"/>
                    </a:lnTo>
                    <a:lnTo>
                      <a:pt x="187" y="20"/>
                    </a:lnTo>
                    <a:lnTo>
                      <a:pt x="188" y="20"/>
                    </a:lnTo>
                    <a:lnTo>
                      <a:pt x="189" y="19"/>
                    </a:lnTo>
                    <a:lnTo>
                      <a:pt x="189" y="19"/>
                    </a:lnTo>
                    <a:lnTo>
                      <a:pt x="190" y="18"/>
                    </a:lnTo>
                    <a:lnTo>
                      <a:pt x="190" y="18"/>
                    </a:lnTo>
                    <a:lnTo>
                      <a:pt x="191" y="16"/>
                    </a:lnTo>
                    <a:lnTo>
                      <a:pt x="191" y="16"/>
                    </a:lnTo>
                    <a:lnTo>
                      <a:pt x="192" y="15"/>
                    </a:lnTo>
                    <a:lnTo>
                      <a:pt x="192" y="15"/>
                    </a:lnTo>
                    <a:lnTo>
                      <a:pt x="193" y="14"/>
                    </a:lnTo>
                    <a:lnTo>
                      <a:pt x="194" y="14"/>
                    </a:lnTo>
                    <a:lnTo>
                      <a:pt x="195" y="14"/>
                    </a:lnTo>
                    <a:lnTo>
                      <a:pt x="196" y="13"/>
                    </a:lnTo>
                    <a:lnTo>
                      <a:pt x="197" y="12"/>
                    </a:lnTo>
                    <a:lnTo>
                      <a:pt x="198" y="11"/>
                    </a:lnTo>
                    <a:lnTo>
                      <a:pt x="199" y="10"/>
                    </a:lnTo>
                    <a:lnTo>
                      <a:pt x="201" y="8"/>
                    </a:lnTo>
                    <a:lnTo>
                      <a:pt x="204" y="6"/>
                    </a:lnTo>
                    <a:lnTo>
                      <a:pt x="205" y="5"/>
                    </a:lnTo>
                    <a:lnTo>
                      <a:pt x="206" y="5"/>
                    </a:lnTo>
                    <a:lnTo>
                      <a:pt x="207" y="4"/>
                    </a:lnTo>
                    <a:lnTo>
                      <a:pt x="209" y="3"/>
                    </a:lnTo>
                    <a:lnTo>
                      <a:pt x="210" y="2"/>
                    </a:lnTo>
                    <a:lnTo>
                      <a:pt x="211" y="1"/>
                    </a:lnTo>
                    <a:lnTo>
                      <a:pt x="213" y="1"/>
                    </a:lnTo>
                    <a:lnTo>
                      <a:pt x="215" y="0"/>
                    </a:ln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9525">
                <a:solidFill>
                  <a:srgbClr val="356D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  <a:defRPr/>
                </a:pPr>
                <a:endParaRPr lang="en-US" sz="1200" dirty="0">
                  <a:solidFill>
                    <a:schemeClr val="tx1"/>
                  </a:solidFill>
                  <a:effectLst>
                    <a:glow rad="127000">
                      <a:schemeClr val="accent1"/>
                    </a:glow>
                  </a:effectLst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3" name="Freeform 9"/>
              <p:cNvSpPr>
                <a:spLocks/>
              </p:cNvSpPr>
              <p:nvPr/>
            </p:nvSpPr>
            <p:spPr bwMode="auto">
              <a:xfrm>
                <a:off x="335604" y="3099460"/>
                <a:ext cx="1815126" cy="1177394"/>
              </a:xfrm>
              <a:custGeom>
                <a:avLst/>
                <a:gdLst/>
                <a:ahLst/>
                <a:cxnLst>
                  <a:cxn ang="0">
                    <a:pos x="142" y="5"/>
                  </a:cxn>
                  <a:cxn ang="0">
                    <a:pos x="152" y="18"/>
                  </a:cxn>
                  <a:cxn ang="0">
                    <a:pos x="160" y="17"/>
                  </a:cxn>
                  <a:cxn ang="0">
                    <a:pos x="164" y="26"/>
                  </a:cxn>
                  <a:cxn ang="0">
                    <a:pos x="163" y="42"/>
                  </a:cxn>
                  <a:cxn ang="0">
                    <a:pos x="167" y="48"/>
                  </a:cxn>
                  <a:cxn ang="0">
                    <a:pos x="162" y="56"/>
                  </a:cxn>
                  <a:cxn ang="0">
                    <a:pos x="161" y="77"/>
                  </a:cxn>
                  <a:cxn ang="0">
                    <a:pos x="177" y="89"/>
                  </a:cxn>
                  <a:cxn ang="0">
                    <a:pos x="183" y="104"/>
                  </a:cxn>
                  <a:cxn ang="0">
                    <a:pos x="177" y="109"/>
                  </a:cxn>
                  <a:cxn ang="0">
                    <a:pos x="162" y="97"/>
                  </a:cxn>
                  <a:cxn ang="0">
                    <a:pos x="157" y="99"/>
                  </a:cxn>
                  <a:cxn ang="0">
                    <a:pos x="141" y="95"/>
                  </a:cxn>
                  <a:cxn ang="0">
                    <a:pos x="123" y="98"/>
                  </a:cxn>
                  <a:cxn ang="0">
                    <a:pos x="116" y="93"/>
                  </a:cxn>
                  <a:cxn ang="0">
                    <a:pos x="118" y="88"/>
                  </a:cxn>
                  <a:cxn ang="0">
                    <a:pos x="117" y="80"/>
                  </a:cxn>
                  <a:cxn ang="0">
                    <a:pos x="115" y="69"/>
                  </a:cxn>
                  <a:cxn ang="0">
                    <a:pos x="110" y="65"/>
                  </a:cxn>
                  <a:cxn ang="0">
                    <a:pos x="103" y="63"/>
                  </a:cxn>
                  <a:cxn ang="0">
                    <a:pos x="98" y="66"/>
                  </a:cxn>
                  <a:cxn ang="0">
                    <a:pos x="94" y="65"/>
                  </a:cxn>
                  <a:cxn ang="0">
                    <a:pos x="90" y="63"/>
                  </a:cxn>
                  <a:cxn ang="0">
                    <a:pos x="87" y="59"/>
                  </a:cxn>
                  <a:cxn ang="0">
                    <a:pos x="83" y="57"/>
                  </a:cxn>
                  <a:cxn ang="0">
                    <a:pos x="80" y="55"/>
                  </a:cxn>
                  <a:cxn ang="0">
                    <a:pos x="70" y="55"/>
                  </a:cxn>
                  <a:cxn ang="0">
                    <a:pos x="65" y="58"/>
                  </a:cxn>
                  <a:cxn ang="0">
                    <a:pos x="60" y="59"/>
                  </a:cxn>
                  <a:cxn ang="0">
                    <a:pos x="55" y="60"/>
                  </a:cxn>
                  <a:cxn ang="0">
                    <a:pos x="50" y="62"/>
                  </a:cxn>
                  <a:cxn ang="0">
                    <a:pos x="42" y="65"/>
                  </a:cxn>
                  <a:cxn ang="0">
                    <a:pos x="27" y="65"/>
                  </a:cxn>
                  <a:cxn ang="0">
                    <a:pos x="20" y="60"/>
                  </a:cxn>
                  <a:cxn ang="0">
                    <a:pos x="24" y="58"/>
                  </a:cxn>
                  <a:cxn ang="0">
                    <a:pos x="30" y="60"/>
                  </a:cxn>
                  <a:cxn ang="0">
                    <a:pos x="29" y="51"/>
                  </a:cxn>
                  <a:cxn ang="0">
                    <a:pos x="28" y="42"/>
                  </a:cxn>
                  <a:cxn ang="0">
                    <a:pos x="26" y="34"/>
                  </a:cxn>
                  <a:cxn ang="0">
                    <a:pos x="23" y="27"/>
                  </a:cxn>
                  <a:cxn ang="0">
                    <a:pos x="16" y="20"/>
                  </a:cxn>
                  <a:cxn ang="0">
                    <a:pos x="11" y="18"/>
                  </a:cxn>
                  <a:cxn ang="0">
                    <a:pos x="7" y="16"/>
                  </a:cxn>
                  <a:cxn ang="0">
                    <a:pos x="2" y="17"/>
                  </a:cxn>
                  <a:cxn ang="0">
                    <a:pos x="0" y="11"/>
                  </a:cxn>
                  <a:cxn ang="0">
                    <a:pos x="2" y="5"/>
                  </a:cxn>
                  <a:cxn ang="0">
                    <a:pos x="16" y="7"/>
                  </a:cxn>
                  <a:cxn ang="0">
                    <a:pos x="27" y="6"/>
                  </a:cxn>
                  <a:cxn ang="0">
                    <a:pos x="46" y="13"/>
                  </a:cxn>
                  <a:cxn ang="0">
                    <a:pos x="60" y="14"/>
                  </a:cxn>
                  <a:cxn ang="0">
                    <a:pos x="69" y="8"/>
                  </a:cxn>
                  <a:cxn ang="0">
                    <a:pos x="86" y="5"/>
                  </a:cxn>
                  <a:cxn ang="0">
                    <a:pos x="100" y="4"/>
                  </a:cxn>
                  <a:cxn ang="0">
                    <a:pos x="105" y="7"/>
                  </a:cxn>
                  <a:cxn ang="0">
                    <a:pos x="113" y="16"/>
                  </a:cxn>
                  <a:cxn ang="0">
                    <a:pos x="120" y="9"/>
                  </a:cxn>
                  <a:cxn ang="0">
                    <a:pos x="123" y="3"/>
                  </a:cxn>
                  <a:cxn ang="0">
                    <a:pos x="133" y="2"/>
                  </a:cxn>
                </a:cxnLst>
                <a:rect l="0" t="0" r="r" b="b"/>
                <a:pathLst>
                  <a:path w="183" h="110">
                    <a:moveTo>
                      <a:pt x="138" y="2"/>
                    </a:moveTo>
                    <a:lnTo>
                      <a:pt x="138" y="2"/>
                    </a:lnTo>
                    <a:lnTo>
                      <a:pt x="138" y="2"/>
                    </a:lnTo>
                    <a:lnTo>
                      <a:pt x="138" y="3"/>
                    </a:lnTo>
                    <a:lnTo>
                      <a:pt x="138" y="3"/>
                    </a:lnTo>
                    <a:lnTo>
                      <a:pt x="139" y="3"/>
                    </a:lnTo>
                    <a:lnTo>
                      <a:pt x="140" y="4"/>
                    </a:lnTo>
                    <a:lnTo>
                      <a:pt x="140" y="4"/>
                    </a:lnTo>
                    <a:lnTo>
                      <a:pt x="141" y="4"/>
                    </a:lnTo>
                    <a:lnTo>
                      <a:pt x="142" y="4"/>
                    </a:lnTo>
                    <a:lnTo>
                      <a:pt x="142" y="5"/>
                    </a:lnTo>
                    <a:lnTo>
                      <a:pt x="143" y="5"/>
                    </a:lnTo>
                    <a:lnTo>
                      <a:pt x="144" y="6"/>
                    </a:lnTo>
                    <a:lnTo>
                      <a:pt x="145" y="7"/>
                    </a:lnTo>
                    <a:lnTo>
                      <a:pt x="146" y="9"/>
                    </a:lnTo>
                    <a:lnTo>
                      <a:pt x="146" y="10"/>
                    </a:lnTo>
                    <a:lnTo>
                      <a:pt x="148" y="12"/>
                    </a:lnTo>
                    <a:lnTo>
                      <a:pt x="148" y="14"/>
                    </a:lnTo>
                    <a:lnTo>
                      <a:pt x="149" y="15"/>
                    </a:lnTo>
                    <a:lnTo>
                      <a:pt x="150" y="16"/>
                    </a:lnTo>
                    <a:lnTo>
                      <a:pt x="151" y="17"/>
                    </a:lnTo>
                    <a:lnTo>
                      <a:pt x="152" y="18"/>
                    </a:lnTo>
                    <a:lnTo>
                      <a:pt x="152" y="18"/>
                    </a:lnTo>
                    <a:lnTo>
                      <a:pt x="153" y="18"/>
                    </a:lnTo>
                    <a:lnTo>
                      <a:pt x="153" y="18"/>
                    </a:lnTo>
                    <a:lnTo>
                      <a:pt x="154" y="18"/>
                    </a:lnTo>
                    <a:lnTo>
                      <a:pt x="154" y="17"/>
                    </a:lnTo>
                    <a:lnTo>
                      <a:pt x="155" y="17"/>
                    </a:lnTo>
                    <a:lnTo>
                      <a:pt x="156" y="17"/>
                    </a:lnTo>
                    <a:lnTo>
                      <a:pt x="157" y="17"/>
                    </a:lnTo>
                    <a:lnTo>
                      <a:pt x="158" y="17"/>
                    </a:lnTo>
                    <a:lnTo>
                      <a:pt x="159" y="17"/>
                    </a:lnTo>
                    <a:lnTo>
                      <a:pt x="160" y="17"/>
                    </a:lnTo>
                    <a:lnTo>
                      <a:pt x="161" y="18"/>
                    </a:lnTo>
                    <a:lnTo>
                      <a:pt x="162" y="18"/>
                    </a:lnTo>
                    <a:lnTo>
                      <a:pt x="163" y="19"/>
                    </a:lnTo>
                    <a:lnTo>
                      <a:pt x="164" y="19"/>
                    </a:lnTo>
                    <a:lnTo>
                      <a:pt x="165" y="20"/>
                    </a:lnTo>
                    <a:lnTo>
                      <a:pt x="165" y="20"/>
                    </a:lnTo>
                    <a:lnTo>
                      <a:pt x="166" y="21"/>
                    </a:lnTo>
                    <a:lnTo>
                      <a:pt x="166" y="21"/>
                    </a:lnTo>
                    <a:lnTo>
                      <a:pt x="166" y="22"/>
                    </a:lnTo>
                    <a:lnTo>
                      <a:pt x="165" y="24"/>
                    </a:lnTo>
                    <a:lnTo>
                      <a:pt x="164" y="26"/>
                    </a:lnTo>
                    <a:lnTo>
                      <a:pt x="164" y="28"/>
                    </a:lnTo>
                    <a:lnTo>
                      <a:pt x="163" y="30"/>
                    </a:lnTo>
                    <a:lnTo>
                      <a:pt x="163" y="31"/>
                    </a:lnTo>
                    <a:lnTo>
                      <a:pt x="163" y="32"/>
                    </a:lnTo>
                    <a:lnTo>
                      <a:pt x="163" y="33"/>
                    </a:lnTo>
                    <a:lnTo>
                      <a:pt x="162" y="35"/>
                    </a:lnTo>
                    <a:lnTo>
                      <a:pt x="162" y="36"/>
                    </a:lnTo>
                    <a:lnTo>
                      <a:pt x="162" y="37"/>
                    </a:lnTo>
                    <a:lnTo>
                      <a:pt x="163" y="39"/>
                    </a:lnTo>
                    <a:lnTo>
                      <a:pt x="163" y="40"/>
                    </a:lnTo>
                    <a:lnTo>
                      <a:pt x="163" y="42"/>
                    </a:lnTo>
                    <a:lnTo>
                      <a:pt x="163" y="42"/>
                    </a:lnTo>
                    <a:lnTo>
                      <a:pt x="163" y="43"/>
                    </a:lnTo>
                    <a:lnTo>
                      <a:pt x="164" y="43"/>
                    </a:lnTo>
                    <a:lnTo>
                      <a:pt x="164" y="44"/>
                    </a:lnTo>
                    <a:lnTo>
                      <a:pt x="165" y="45"/>
                    </a:lnTo>
                    <a:lnTo>
                      <a:pt x="166" y="46"/>
                    </a:lnTo>
                    <a:lnTo>
                      <a:pt x="166" y="46"/>
                    </a:lnTo>
                    <a:lnTo>
                      <a:pt x="166" y="47"/>
                    </a:lnTo>
                    <a:lnTo>
                      <a:pt x="167" y="47"/>
                    </a:lnTo>
                    <a:lnTo>
                      <a:pt x="167" y="48"/>
                    </a:lnTo>
                    <a:lnTo>
                      <a:pt x="167" y="48"/>
                    </a:lnTo>
                    <a:lnTo>
                      <a:pt x="167" y="49"/>
                    </a:lnTo>
                    <a:lnTo>
                      <a:pt x="167" y="49"/>
                    </a:lnTo>
                    <a:lnTo>
                      <a:pt x="166" y="50"/>
                    </a:lnTo>
                    <a:lnTo>
                      <a:pt x="166" y="51"/>
                    </a:lnTo>
                    <a:lnTo>
                      <a:pt x="165" y="51"/>
                    </a:lnTo>
                    <a:lnTo>
                      <a:pt x="164" y="52"/>
                    </a:lnTo>
                    <a:lnTo>
                      <a:pt x="164" y="53"/>
                    </a:lnTo>
                    <a:lnTo>
                      <a:pt x="163" y="54"/>
                    </a:lnTo>
                    <a:lnTo>
                      <a:pt x="163" y="54"/>
                    </a:lnTo>
                    <a:lnTo>
                      <a:pt x="163" y="55"/>
                    </a:lnTo>
                    <a:lnTo>
                      <a:pt x="162" y="56"/>
                    </a:lnTo>
                    <a:lnTo>
                      <a:pt x="162" y="58"/>
                    </a:lnTo>
                    <a:lnTo>
                      <a:pt x="161" y="59"/>
                    </a:lnTo>
                    <a:lnTo>
                      <a:pt x="161" y="61"/>
                    </a:lnTo>
                    <a:lnTo>
                      <a:pt x="161" y="62"/>
                    </a:lnTo>
                    <a:lnTo>
                      <a:pt x="161" y="64"/>
                    </a:lnTo>
                    <a:lnTo>
                      <a:pt x="161" y="66"/>
                    </a:lnTo>
                    <a:lnTo>
                      <a:pt x="161" y="68"/>
                    </a:lnTo>
                    <a:lnTo>
                      <a:pt x="161" y="70"/>
                    </a:lnTo>
                    <a:lnTo>
                      <a:pt x="161" y="72"/>
                    </a:lnTo>
                    <a:lnTo>
                      <a:pt x="161" y="75"/>
                    </a:lnTo>
                    <a:lnTo>
                      <a:pt x="161" y="77"/>
                    </a:lnTo>
                    <a:lnTo>
                      <a:pt x="161" y="80"/>
                    </a:lnTo>
                    <a:lnTo>
                      <a:pt x="163" y="81"/>
                    </a:lnTo>
                    <a:lnTo>
                      <a:pt x="164" y="82"/>
                    </a:lnTo>
                    <a:lnTo>
                      <a:pt x="165" y="83"/>
                    </a:lnTo>
                    <a:lnTo>
                      <a:pt x="167" y="84"/>
                    </a:lnTo>
                    <a:lnTo>
                      <a:pt x="168" y="84"/>
                    </a:lnTo>
                    <a:lnTo>
                      <a:pt x="170" y="85"/>
                    </a:lnTo>
                    <a:lnTo>
                      <a:pt x="173" y="87"/>
                    </a:lnTo>
                    <a:lnTo>
                      <a:pt x="174" y="87"/>
                    </a:lnTo>
                    <a:lnTo>
                      <a:pt x="176" y="88"/>
                    </a:lnTo>
                    <a:lnTo>
                      <a:pt x="177" y="89"/>
                    </a:lnTo>
                    <a:lnTo>
                      <a:pt x="179" y="90"/>
                    </a:lnTo>
                    <a:lnTo>
                      <a:pt x="180" y="91"/>
                    </a:lnTo>
                    <a:lnTo>
                      <a:pt x="181" y="92"/>
                    </a:lnTo>
                    <a:lnTo>
                      <a:pt x="182" y="94"/>
                    </a:lnTo>
                    <a:lnTo>
                      <a:pt x="183" y="95"/>
                    </a:lnTo>
                    <a:lnTo>
                      <a:pt x="183" y="96"/>
                    </a:lnTo>
                    <a:lnTo>
                      <a:pt x="183" y="97"/>
                    </a:lnTo>
                    <a:lnTo>
                      <a:pt x="183" y="99"/>
                    </a:lnTo>
                    <a:lnTo>
                      <a:pt x="183" y="101"/>
                    </a:lnTo>
                    <a:lnTo>
                      <a:pt x="183" y="103"/>
                    </a:lnTo>
                    <a:lnTo>
                      <a:pt x="183" y="104"/>
                    </a:lnTo>
                    <a:lnTo>
                      <a:pt x="183" y="105"/>
                    </a:lnTo>
                    <a:lnTo>
                      <a:pt x="183" y="106"/>
                    </a:lnTo>
                    <a:lnTo>
                      <a:pt x="183" y="107"/>
                    </a:lnTo>
                    <a:lnTo>
                      <a:pt x="182" y="108"/>
                    </a:lnTo>
                    <a:lnTo>
                      <a:pt x="182" y="109"/>
                    </a:lnTo>
                    <a:lnTo>
                      <a:pt x="182" y="109"/>
                    </a:lnTo>
                    <a:lnTo>
                      <a:pt x="181" y="110"/>
                    </a:lnTo>
                    <a:lnTo>
                      <a:pt x="180" y="110"/>
                    </a:lnTo>
                    <a:lnTo>
                      <a:pt x="179" y="110"/>
                    </a:lnTo>
                    <a:lnTo>
                      <a:pt x="178" y="110"/>
                    </a:lnTo>
                    <a:lnTo>
                      <a:pt x="177" y="109"/>
                    </a:lnTo>
                    <a:lnTo>
                      <a:pt x="175" y="109"/>
                    </a:lnTo>
                    <a:lnTo>
                      <a:pt x="174" y="108"/>
                    </a:lnTo>
                    <a:lnTo>
                      <a:pt x="172" y="107"/>
                    </a:lnTo>
                    <a:lnTo>
                      <a:pt x="171" y="107"/>
                    </a:lnTo>
                    <a:lnTo>
                      <a:pt x="169" y="106"/>
                    </a:lnTo>
                    <a:lnTo>
                      <a:pt x="168" y="105"/>
                    </a:lnTo>
                    <a:lnTo>
                      <a:pt x="167" y="103"/>
                    </a:lnTo>
                    <a:lnTo>
                      <a:pt x="166" y="102"/>
                    </a:lnTo>
                    <a:lnTo>
                      <a:pt x="165" y="101"/>
                    </a:lnTo>
                    <a:lnTo>
                      <a:pt x="164" y="100"/>
                    </a:lnTo>
                    <a:lnTo>
                      <a:pt x="162" y="97"/>
                    </a:lnTo>
                    <a:lnTo>
                      <a:pt x="161" y="96"/>
                    </a:lnTo>
                    <a:lnTo>
                      <a:pt x="160" y="95"/>
                    </a:lnTo>
                    <a:lnTo>
                      <a:pt x="159" y="95"/>
                    </a:lnTo>
                    <a:lnTo>
                      <a:pt x="159" y="95"/>
                    </a:lnTo>
                    <a:lnTo>
                      <a:pt x="158" y="95"/>
                    </a:lnTo>
                    <a:lnTo>
                      <a:pt x="158" y="96"/>
                    </a:lnTo>
                    <a:lnTo>
                      <a:pt x="158" y="96"/>
                    </a:lnTo>
                    <a:lnTo>
                      <a:pt x="158" y="97"/>
                    </a:lnTo>
                    <a:lnTo>
                      <a:pt x="157" y="98"/>
                    </a:lnTo>
                    <a:lnTo>
                      <a:pt x="157" y="98"/>
                    </a:lnTo>
                    <a:lnTo>
                      <a:pt x="157" y="99"/>
                    </a:lnTo>
                    <a:lnTo>
                      <a:pt x="156" y="99"/>
                    </a:lnTo>
                    <a:lnTo>
                      <a:pt x="156" y="100"/>
                    </a:lnTo>
                    <a:lnTo>
                      <a:pt x="156" y="100"/>
                    </a:lnTo>
                    <a:lnTo>
                      <a:pt x="155" y="100"/>
                    </a:lnTo>
                    <a:lnTo>
                      <a:pt x="155" y="100"/>
                    </a:lnTo>
                    <a:lnTo>
                      <a:pt x="151" y="99"/>
                    </a:lnTo>
                    <a:lnTo>
                      <a:pt x="148" y="98"/>
                    </a:lnTo>
                    <a:lnTo>
                      <a:pt x="146" y="97"/>
                    </a:lnTo>
                    <a:lnTo>
                      <a:pt x="144" y="96"/>
                    </a:lnTo>
                    <a:lnTo>
                      <a:pt x="143" y="96"/>
                    </a:lnTo>
                    <a:lnTo>
                      <a:pt x="141" y="95"/>
                    </a:lnTo>
                    <a:lnTo>
                      <a:pt x="139" y="96"/>
                    </a:lnTo>
                    <a:lnTo>
                      <a:pt x="136" y="97"/>
                    </a:lnTo>
                    <a:lnTo>
                      <a:pt x="135" y="97"/>
                    </a:lnTo>
                    <a:lnTo>
                      <a:pt x="134" y="97"/>
                    </a:lnTo>
                    <a:lnTo>
                      <a:pt x="132" y="98"/>
                    </a:lnTo>
                    <a:lnTo>
                      <a:pt x="131" y="98"/>
                    </a:lnTo>
                    <a:lnTo>
                      <a:pt x="129" y="98"/>
                    </a:lnTo>
                    <a:lnTo>
                      <a:pt x="128" y="98"/>
                    </a:lnTo>
                    <a:lnTo>
                      <a:pt x="126" y="98"/>
                    </a:lnTo>
                    <a:lnTo>
                      <a:pt x="125" y="98"/>
                    </a:lnTo>
                    <a:lnTo>
                      <a:pt x="123" y="98"/>
                    </a:lnTo>
                    <a:lnTo>
                      <a:pt x="121" y="98"/>
                    </a:lnTo>
                    <a:lnTo>
                      <a:pt x="120" y="98"/>
                    </a:lnTo>
                    <a:lnTo>
                      <a:pt x="118" y="98"/>
                    </a:lnTo>
                    <a:lnTo>
                      <a:pt x="118" y="97"/>
                    </a:lnTo>
                    <a:lnTo>
                      <a:pt x="117" y="97"/>
                    </a:lnTo>
                    <a:lnTo>
                      <a:pt x="117" y="96"/>
                    </a:lnTo>
                    <a:lnTo>
                      <a:pt x="117" y="95"/>
                    </a:lnTo>
                    <a:lnTo>
                      <a:pt x="116" y="95"/>
                    </a:lnTo>
                    <a:lnTo>
                      <a:pt x="116" y="94"/>
                    </a:lnTo>
                    <a:lnTo>
                      <a:pt x="116" y="93"/>
                    </a:lnTo>
                    <a:lnTo>
                      <a:pt x="116" y="93"/>
                    </a:lnTo>
                    <a:lnTo>
                      <a:pt x="116" y="92"/>
                    </a:lnTo>
                    <a:lnTo>
                      <a:pt x="116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89"/>
                    </a:lnTo>
                    <a:lnTo>
                      <a:pt x="118" y="89"/>
                    </a:lnTo>
                    <a:lnTo>
                      <a:pt x="118" y="88"/>
                    </a:lnTo>
                    <a:lnTo>
                      <a:pt x="118" y="87"/>
                    </a:lnTo>
                    <a:lnTo>
                      <a:pt x="118" y="85"/>
                    </a:lnTo>
                    <a:lnTo>
                      <a:pt x="118" y="83"/>
                    </a:lnTo>
                    <a:lnTo>
                      <a:pt x="118" y="82"/>
                    </a:lnTo>
                    <a:lnTo>
                      <a:pt x="118" y="81"/>
                    </a:lnTo>
                    <a:lnTo>
                      <a:pt x="118" y="81"/>
                    </a:lnTo>
                    <a:lnTo>
                      <a:pt x="118" y="81"/>
                    </a:lnTo>
                    <a:lnTo>
                      <a:pt x="118" y="80"/>
                    </a:lnTo>
                    <a:lnTo>
                      <a:pt x="117" y="80"/>
                    </a:lnTo>
                    <a:lnTo>
                      <a:pt x="117" y="80"/>
                    </a:lnTo>
                    <a:lnTo>
                      <a:pt x="117" y="80"/>
                    </a:lnTo>
                    <a:lnTo>
                      <a:pt x="116" y="80"/>
                    </a:lnTo>
                    <a:lnTo>
                      <a:pt x="116" y="77"/>
                    </a:lnTo>
                    <a:lnTo>
                      <a:pt x="116" y="76"/>
                    </a:lnTo>
                    <a:lnTo>
                      <a:pt x="116" y="75"/>
                    </a:lnTo>
                    <a:lnTo>
                      <a:pt x="116" y="74"/>
                    </a:lnTo>
                    <a:lnTo>
                      <a:pt x="116" y="73"/>
                    </a:lnTo>
                    <a:lnTo>
                      <a:pt x="116" y="72"/>
                    </a:lnTo>
                    <a:lnTo>
                      <a:pt x="116" y="71"/>
                    </a:lnTo>
                    <a:lnTo>
                      <a:pt x="116" y="70"/>
                    </a:lnTo>
                    <a:lnTo>
                      <a:pt x="115" y="70"/>
                    </a:lnTo>
                    <a:lnTo>
                      <a:pt x="115" y="69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3" y="67"/>
                    </a:lnTo>
                    <a:lnTo>
                      <a:pt x="112" y="67"/>
                    </a:lnTo>
                    <a:lnTo>
                      <a:pt x="111" y="67"/>
                    </a:lnTo>
                    <a:lnTo>
                      <a:pt x="111" y="66"/>
                    </a:lnTo>
                    <a:lnTo>
                      <a:pt x="111" y="66"/>
                    </a:lnTo>
                    <a:lnTo>
                      <a:pt x="111" y="65"/>
                    </a:lnTo>
                    <a:lnTo>
                      <a:pt x="111" y="65"/>
                    </a:lnTo>
                    <a:lnTo>
                      <a:pt x="111" y="65"/>
                    </a:lnTo>
                    <a:lnTo>
                      <a:pt x="110" y="65"/>
                    </a:lnTo>
                    <a:lnTo>
                      <a:pt x="110" y="65"/>
                    </a:lnTo>
                    <a:lnTo>
                      <a:pt x="110" y="65"/>
                    </a:lnTo>
                    <a:lnTo>
                      <a:pt x="109" y="65"/>
                    </a:lnTo>
                    <a:lnTo>
                      <a:pt x="108" y="65"/>
                    </a:lnTo>
                    <a:lnTo>
                      <a:pt x="107" y="64"/>
                    </a:lnTo>
                    <a:lnTo>
                      <a:pt x="106" y="64"/>
                    </a:lnTo>
                    <a:lnTo>
                      <a:pt x="105" y="64"/>
                    </a:lnTo>
                    <a:lnTo>
                      <a:pt x="104" y="63"/>
                    </a:lnTo>
                    <a:lnTo>
                      <a:pt x="104" y="63"/>
                    </a:lnTo>
                    <a:lnTo>
                      <a:pt x="103" y="63"/>
                    </a:lnTo>
                    <a:lnTo>
                      <a:pt x="103" y="63"/>
                    </a:lnTo>
                    <a:lnTo>
                      <a:pt x="102" y="63"/>
                    </a:lnTo>
                    <a:lnTo>
                      <a:pt x="101" y="64"/>
                    </a:lnTo>
                    <a:lnTo>
                      <a:pt x="101" y="64"/>
                    </a:lnTo>
                    <a:lnTo>
                      <a:pt x="100" y="64"/>
                    </a:lnTo>
                    <a:lnTo>
                      <a:pt x="100" y="65"/>
                    </a:lnTo>
                    <a:lnTo>
                      <a:pt x="99" y="65"/>
                    </a:lnTo>
                    <a:lnTo>
                      <a:pt x="99" y="65"/>
                    </a:lnTo>
                    <a:lnTo>
                      <a:pt x="99" y="65"/>
                    </a:lnTo>
                    <a:lnTo>
                      <a:pt x="98" y="65"/>
                    </a:lnTo>
                    <a:lnTo>
                      <a:pt x="98" y="65"/>
                    </a:lnTo>
                    <a:lnTo>
                      <a:pt x="98" y="66"/>
                    </a:lnTo>
                    <a:lnTo>
                      <a:pt x="98" y="66"/>
                    </a:lnTo>
                    <a:lnTo>
                      <a:pt x="98" y="67"/>
                    </a:lnTo>
                    <a:lnTo>
                      <a:pt x="97" y="67"/>
                    </a:lnTo>
                    <a:lnTo>
                      <a:pt x="96" y="67"/>
                    </a:lnTo>
                    <a:lnTo>
                      <a:pt x="96" y="67"/>
                    </a:lnTo>
                    <a:lnTo>
                      <a:pt x="95" y="67"/>
                    </a:lnTo>
                    <a:lnTo>
                      <a:pt x="95" y="66"/>
                    </a:lnTo>
                    <a:lnTo>
                      <a:pt x="95" y="66"/>
                    </a:lnTo>
                    <a:lnTo>
                      <a:pt x="95" y="65"/>
                    </a:lnTo>
                    <a:lnTo>
                      <a:pt x="94" y="65"/>
                    </a:lnTo>
                    <a:lnTo>
                      <a:pt x="94" y="65"/>
                    </a:lnTo>
                    <a:lnTo>
                      <a:pt x="94" y="65"/>
                    </a:lnTo>
                    <a:lnTo>
                      <a:pt x="93" y="65"/>
                    </a:lnTo>
                    <a:lnTo>
                      <a:pt x="93" y="65"/>
                    </a:lnTo>
                    <a:lnTo>
                      <a:pt x="93" y="65"/>
                    </a:lnTo>
                    <a:lnTo>
                      <a:pt x="92" y="65"/>
                    </a:lnTo>
                    <a:lnTo>
                      <a:pt x="92" y="64"/>
                    </a:lnTo>
                    <a:lnTo>
                      <a:pt x="91" y="64"/>
                    </a:lnTo>
                    <a:lnTo>
                      <a:pt x="91" y="64"/>
                    </a:lnTo>
                    <a:lnTo>
                      <a:pt x="90" y="63"/>
                    </a:lnTo>
                    <a:lnTo>
                      <a:pt x="90" y="63"/>
                    </a:lnTo>
                    <a:lnTo>
                      <a:pt x="90" y="63"/>
                    </a:lnTo>
                    <a:lnTo>
                      <a:pt x="90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8" y="62"/>
                    </a:lnTo>
                    <a:lnTo>
                      <a:pt x="88" y="62"/>
                    </a:lnTo>
                    <a:lnTo>
                      <a:pt x="88" y="61"/>
                    </a:lnTo>
                    <a:lnTo>
                      <a:pt x="88" y="60"/>
                    </a:lnTo>
                    <a:lnTo>
                      <a:pt x="87" y="60"/>
                    </a:lnTo>
                    <a:lnTo>
                      <a:pt x="87" y="59"/>
                    </a:lnTo>
                    <a:lnTo>
                      <a:pt x="86" y="59"/>
                    </a:lnTo>
                    <a:lnTo>
                      <a:pt x="86" y="59"/>
                    </a:lnTo>
                    <a:lnTo>
                      <a:pt x="85" y="59"/>
                    </a:lnTo>
                    <a:lnTo>
                      <a:pt x="85" y="58"/>
                    </a:lnTo>
                    <a:lnTo>
                      <a:pt x="85" y="58"/>
                    </a:lnTo>
                    <a:lnTo>
                      <a:pt x="85" y="58"/>
                    </a:lnTo>
                    <a:lnTo>
                      <a:pt x="85" y="57"/>
                    </a:lnTo>
                    <a:lnTo>
                      <a:pt x="84" y="57"/>
                    </a:lnTo>
                    <a:lnTo>
                      <a:pt x="84" y="57"/>
                    </a:lnTo>
                    <a:lnTo>
                      <a:pt x="84" y="57"/>
                    </a:lnTo>
                    <a:lnTo>
                      <a:pt x="83" y="57"/>
                    </a:lnTo>
                    <a:lnTo>
                      <a:pt x="83" y="57"/>
                    </a:lnTo>
                    <a:lnTo>
                      <a:pt x="83" y="57"/>
                    </a:lnTo>
                    <a:lnTo>
                      <a:pt x="82" y="57"/>
                    </a:lnTo>
                    <a:lnTo>
                      <a:pt x="82" y="57"/>
                    </a:lnTo>
                    <a:lnTo>
                      <a:pt x="81" y="57"/>
                    </a:lnTo>
                    <a:lnTo>
                      <a:pt x="82" y="56"/>
                    </a:lnTo>
                    <a:lnTo>
                      <a:pt x="81" y="56"/>
                    </a:lnTo>
                    <a:lnTo>
                      <a:pt x="81" y="55"/>
                    </a:lnTo>
                    <a:lnTo>
                      <a:pt x="81" y="55"/>
                    </a:lnTo>
                    <a:lnTo>
                      <a:pt x="81" y="55"/>
                    </a:lnTo>
                    <a:lnTo>
                      <a:pt x="80" y="55"/>
                    </a:lnTo>
                    <a:lnTo>
                      <a:pt x="80" y="55"/>
                    </a:lnTo>
                    <a:lnTo>
                      <a:pt x="80" y="55"/>
                    </a:lnTo>
                    <a:lnTo>
                      <a:pt x="78" y="55"/>
                    </a:lnTo>
                    <a:lnTo>
                      <a:pt x="76" y="55"/>
                    </a:lnTo>
                    <a:lnTo>
                      <a:pt x="74" y="55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70" y="55"/>
                    </a:lnTo>
                    <a:lnTo>
                      <a:pt x="70" y="55"/>
                    </a:lnTo>
                    <a:lnTo>
                      <a:pt x="70" y="55"/>
                    </a:lnTo>
                    <a:lnTo>
                      <a:pt x="70" y="56"/>
                    </a:lnTo>
                    <a:lnTo>
                      <a:pt x="70" y="56"/>
                    </a:lnTo>
                    <a:lnTo>
                      <a:pt x="70" y="57"/>
                    </a:lnTo>
                    <a:lnTo>
                      <a:pt x="69" y="56"/>
                    </a:lnTo>
                    <a:lnTo>
                      <a:pt x="68" y="56"/>
                    </a:lnTo>
                    <a:lnTo>
                      <a:pt x="68" y="56"/>
                    </a:lnTo>
                    <a:lnTo>
                      <a:pt x="67" y="56"/>
                    </a:lnTo>
                    <a:lnTo>
                      <a:pt x="67" y="56"/>
                    </a:lnTo>
                    <a:lnTo>
                      <a:pt x="66" y="57"/>
                    </a:lnTo>
                    <a:lnTo>
                      <a:pt x="65" y="57"/>
                    </a:lnTo>
                    <a:lnTo>
                      <a:pt x="65" y="58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3" y="58"/>
                    </a:lnTo>
                    <a:lnTo>
                      <a:pt x="63" y="58"/>
                    </a:lnTo>
                    <a:lnTo>
                      <a:pt x="62" y="58"/>
                    </a:lnTo>
                    <a:lnTo>
                      <a:pt x="61" y="58"/>
                    </a:lnTo>
                    <a:lnTo>
                      <a:pt x="61" y="58"/>
                    </a:lnTo>
                    <a:lnTo>
                      <a:pt x="61" y="58"/>
                    </a:lnTo>
                    <a:lnTo>
                      <a:pt x="60" y="58"/>
                    </a:lnTo>
                    <a:lnTo>
                      <a:pt x="60" y="59"/>
                    </a:lnTo>
                    <a:lnTo>
                      <a:pt x="60" y="59"/>
                    </a:lnTo>
                    <a:lnTo>
                      <a:pt x="60" y="59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59" y="60"/>
                    </a:lnTo>
                    <a:lnTo>
                      <a:pt x="58" y="60"/>
                    </a:lnTo>
                    <a:lnTo>
                      <a:pt x="57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5" y="60"/>
                    </a:lnTo>
                    <a:lnTo>
                      <a:pt x="55" y="60"/>
                    </a:lnTo>
                    <a:lnTo>
                      <a:pt x="55" y="60"/>
                    </a:lnTo>
                    <a:lnTo>
                      <a:pt x="55" y="61"/>
                    </a:lnTo>
                    <a:lnTo>
                      <a:pt x="55" y="61"/>
                    </a:lnTo>
                    <a:lnTo>
                      <a:pt x="55" y="62"/>
                    </a:lnTo>
                    <a:lnTo>
                      <a:pt x="54" y="62"/>
                    </a:lnTo>
                    <a:lnTo>
                      <a:pt x="53" y="62"/>
                    </a:lnTo>
                    <a:lnTo>
                      <a:pt x="52" y="62"/>
                    </a:lnTo>
                    <a:lnTo>
                      <a:pt x="51" y="62"/>
                    </a:lnTo>
                    <a:lnTo>
                      <a:pt x="51" y="61"/>
                    </a:lnTo>
                    <a:lnTo>
                      <a:pt x="51" y="61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49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5" y="65"/>
                    </a:lnTo>
                    <a:lnTo>
                      <a:pt x="43" y="65"/>
                    </a:lnTo>
                    <a:lnTo>
                      <a:pt x="42" y="65"/>
                    </a:lnTo>
                    <a:lnTo>
                      <a:pt x="39" y="65"/>
                    </a:lnTo>
                    <a:lnTo>
                      <a:pt x="36" y="65"/>
                    </a:lnTo>
                    <a:lnTo>
                      <a:pt x="35" y="65"/>
                    </a:lnTo>
                    <a:lnTo>
                      <a:pt x="33" y="65"/>
                    </a:lnTo>
                    <a:lnTo>
                      <a:pt x="32" y="65"/>
                    </a:lnTo>
                    <a:lnTo>
                      <a:pt x="30" y="66"/>
                    </a:lnTo>
                    <a:lnTo>
                      <a:pt x="29" y="66"/>
                    </a:lnTo>
                    <a:lnTo>
                      <a:pt x="28" y="67"/>
                    </a:lnTo>
                    <a:lnTo>
                      <a:pt x="28" y="66"/>
                    </a:lnTo>
                    <a:lnTo>
                      <a:pt x="28" y="65"/>
                    </a:lnTo>
                    <a:lnTo>
                      <a:pt x="27" y="65"/>
                    </a:lnTo>
                    <a:lnTo>
                      <a:pt x="27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5" y="64"/>
                    </a:lnTo>
                    <a:lnTo>
                      <a:pt x="25" y="63"/>
                    </a:lnTo>
                    <a:lnTo>
                      <a:pt x="24" y="63"/>
                    </a:lnTo>
                    <a:lnTo>
                      <a:pt x="23" y="62"/>
                    </a:lnTo>
                    <a:lnTo>
                      <a:pt x="22" y="62"/>
                    </a:lnTo>
                    <a:lnTo>
                      <a:pt x="21" y="61"/>
                    </a:lnTo>
                    <a:lnTo>
                      <a:pt x="21" y="61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0" y="59"/>
                    </a:lnTo>
                    <a:lnTo>
                      <a:pt x="20" y="59"/>
                    </a:lnTo>
                    <a:lnTo>
                      <a:pt x="20" y="58"/>
                    </a:lnTo>
                    <a:lnTo>
                      <a:pt x="20" y="57"/>
                    </a:lnTo>
                    <a:lnTo>
                      <a:pt x="20" y="57"/>
                    </a:lnTo>
                    <a:lnTo>
                      <a:pt x="21" y="57"/>
                    </a:lnTo>
                    <a:lnTo>
                      <a:pt x="21" y="57"/>
                    </a:lnTo>
                    <a:lnTo>
                      <a:pt x="22" y="57"/>
                    </a:lnTo>
                    <a:lnTo>
                      <a:pt x="23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5" y="59"/>
                    </a:lnTo>
                    <a:lnTo>
                      <a:pt x="26" y="59"/>
                    </a:lnTo>
                    <a:lnTo>
                      <a:pt x="26" y="60"/>
                    </a:lnTo>
                    <a:lnTo>
                      <a:pt x="27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9" y="60"/>
                    </a:lnTo>
                    <a:lnTo>
                      <a:pt x="29" y="60"/>
                    </a:lnTo>
                    <a:lnTo>
                      <a:pt x="29" y="60"/>
                    </a:lnTo>
                    <a:lnTo>
                      <a:pt x="30" y="60"/>
                    </a:lnTo>
                    <a:lnTo>
                      <a:pt x="30" y="59"/>
                    </a:lnTo>
                    <a:lnTo>
                      <a:pt x="31" y="59"/>
                    </a:lnTo>
                    <a:lnTo>
                      <a:pt x="31" y="59"/>
                    </a:lnTo>
                    <a:lnTo>
                      <a:pt x="31" y="58"/>
                    </a:lnTo>
                    <a:lnTo>
                      <a:pt x="31" y="57"/>
                    </a:lnTo>
                    <a:lnTo>
                      <a:pt x="31" y="56"/>
                    </a:lnTo>
                    <a:lnTo>
                      <a:pt x="31" y="55"/>
                    </a:lnTo>
                    <a:lnTo>
                      <a:pt x="31" y="54"/>
                    </a:lnTo>
                    <a:lnTo>
                      <a:pt x="31" y="53"/>
                    </a:lnTo>
                    <a:lnTo>
                      <a:pt x="30" y="52"/>
                    </a:lnTo>
                    <a:lnTo>
                      <a:pt x="29" y="51"/>
                    </a:lnTo>
                    <a:lnTo>
                      <a:pt x="29" y="50"/>
                    </a:lnTo>
                    <a:lnTo>
                      <a:pt x="29" y="49"/>
                    </a:lnTo>
                    <a:lnTo>
                      <a:pt x="28" y="49"/>
                    </a:lnTo>
                    <a:lnTo>
                      <a:pt x="28" y="48"/>
                    </a:lnTo>
                    <a:lnTo>
                      <a:pt x="28" y="47"/>
                    </a:lnTo>
                    <a:lnTo>
                      <a:pt x="28" y="46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26" y="42"/>
                    </a:lnTo>
                    <a:lnTo>
                      <a:pt x="26" y="40"/>
                    </a:lnTo>
                    <a:lnTo>
                      <a:pt x="26" y="38"/>
                    </a:lnTo>
                    <a:lnTo>
                      <a:pt x="26" y="37"/>
                    </a:lnTo>
                    <a:lnTo>
                      <a:pt x="26" y="35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3"/>
                    </a:lnTo>
                    <a:lnTo>
                      <a:pt x="25" y="33"/>
                    </a:lnTo>
                    <a:lnTo>
                      <a:pt x="25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3" y="32"/>
                    </a:lnTo>
                    <a:lnTo>
                      <a:pt x="23" y="30"/>
                    </a:lnTo>
                    <a:lnTo>
                      <a:pt x="23" y="29"/>
                    </a:lnTo>
                    <a:lnTo>
                      <a:pt x="23" y="28"/>
                    </a:lnTo>
                    <a:lnTo>
                      <a:pt x="23" y="27"/>
                    </a:lnTo>
                    <a:lnTo>
                      <a:pt x="23" y="26"/>
                    </a:lnTo>
                    <a:lnTo>
                      <a:pt x="22" y="25"/>
                    </a:lnTo>
                    <a:lnTo>
                      <a:pt x="22" y="24"/>
                    </a:lnTo>
                    <a:lnTo>
                      <a:pt x="21" y="23"/>
                    </a:lnTo>
                    <a:lnTo>
                      <a:pt x="21" y="23"/>
                    </a:lnTo>
                    <a:lnTo>
                      <a:pt x="20" y="22"/>
                    </a:lnTo>
                    <a:lnTo>
                      <a:pt x="19" y="22"/>
                    </a:lnTo>
                    <a:lnTo>
                      <a:pt x="18" y="21"/>
                    </a:lnTo>
                    <a:lnTo>
                      <a:pt x="18" y="21"/>
                    </a:lnTo>
                    <a:lnTo>
                      <a:pt x="17" y="20"/>
                    </a:lnTo>
                    <a:lnTo>
                      <a:pt x="16" y="20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5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3" y="19"/>
                    </a:lnTo>
                    <a:lnTo>
                      <a:pt x="13" y="18"/>
                    </a:lnTo>
                    <a:lnTo>
                      <a:pt x="12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1" y="17"/>
                    </a:lnTo>
                    <a:lnTo>
                      <a:pt x="10" y="17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6" y="16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4" y="17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6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1" y="12"/>
                    </a:lnTo>
                    <a:lnTo>
                      <a:pt x="1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13" y="5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4" y="6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5" y="7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8" y="7"/>
                    </a:lnTo>
                    <a:lnTo>
                      <a:pt x="19" y="7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1" y="6"/>
                    </a:lnTo>
                    <a:lnTo>
                      <a:pt x="21" y="7"/>
                    </a:lnTo>
                    <a:lnTo>
                      <a:pt x="23" y="6"/>
                    </a:lnTo>
                    <a:lnTo>
                      <a:pt x="25" y="6"/>
                    </a:lnTo>
                    <a:lnTo>
                      <a:pt x="26" y="6"/>
                    </a:lnTo>
                    <a:lnTo>
                      <a:pt x="27" y="6"/>
                    </a:lnTo>
                    <a:lnTo>
                      <a:pt x="29" y="7"/>
                    </a:lnTo>
                    <a:lnTo>
                      <a:pt x="30" y="7"/>
                    </a:lnTo>
                    <a:lnTo>
                      <a:pt x="31" y="7"/>
                    </a:lnTo>
                    <a:lnTo>
                      <a:pt x="32" y="7"/>
                    </a:lnTo>
                    <a:lnTo>
                      <a:pt x="34" y="8"/>
                    </a:lnTo>
                    <a:lnTo>
                      <a:pt x="36" y="9"/>
                    </a:lnTo>
                    <a:lnTo>
                      <a:pt x="38" y="10"/>
                    </a:lnTo>
                    <a:lnTo>
                      <a:pt x="40" y="11"/>
                    </a:lnTo>
                    <a:lnTo>
                      <a:pt x="42" y="11"/>
                    </a:lnTo>
                    <a:lnTo>
                      <a:pt x="44" y="12"/>
                    </a:lnTo>
                    <a:lnTo>
                      <a:pt x="46" y="13"/>
                    </a:lnTo>
                    <a:lnTo>
                      <a:pt x="48" y="14"/>
                    </a:lnTo>
                    <a:lnTo>
                      <a:pt x="49" y="14"/>
                    </a:lnTo>
                    <a:lnTo>
                      <a:pt x="50" y="14"/>
                    </a:lnTo>
                    <a:lnTo>
                      <a:pt x="51" y="15"/>
                    </a:lnTo>
                    <a:lnTo>
                      <a:pt x="53" y="15"/>
                    </a:lnTo>
                    <a:lnTo>
                      <a:pt x="54" y="15"/>
                    </a:lnTo>
                    <a:lnTo>
                      <a:pt x="55" y="15"/>
                    </a:lnTo>
                    <a:lnTo>
                      <a:pt x="56" y="15"/>
                    </a:lnTo>
                    <a:lnTo>
                      <a:pt x="58" y="15"/>
                    </a:lnTo>
                    <a:lnTo>
                      <a:pt x="59" y="15"/>
                    </a:lnTo>
                    <a:lnTo>
                      <a:pt x="60" y="14"/>
                    </a:lnTo>
                    <a:lnTo>
                      <a:pt x="61" y="14"/>
                    </a:lnTo>
                    <a:lnTo>
                      <a:pt x="61" y="14"/>
                    </a:lnTo>
                    <a:lnTo>
                      <a:pt x="62" y="13"/>
                    </a:lnTo>
                    <a:lnTo>
                      <a:pt x="63" y="13"/>
                    </a:lnTo>
                    <a:lnTo>
                      <a:pt x="64" y="12"/>
                    </a:lnTo>
                    <a:lnTo>
                      <a:pt x="65" y="10"/>
                    </a:lnTo>
                    <a:lnTo>
                      <a:pt x="65" y="10"/>
                    </a:lnTo>
                    <a:lnTo>
                      <a:pt x="66" y="9"/>
                    </a:lnTo>
                    <a:lnTo>
                      <a:pt x="67" y="9"/>
                    </a:lnTo>
                    <a:lnTo>
                      <a:pt x="68" y="9"/>
                    </a:lnTo>
                    <a:lnTo>
                      <a:pt x="69" y="8"/>
                    </a:lnTo>
                    <a:lnTo>
                      <a:pt x="70" y="8"/>
                    </a:lnTo>
                    <a:lnTo>
                      <a:pt x="73" y="8"/>
                    </a:lnTo>
                    <a:lnTo>
                      <a:pt x="76" y="8"/>
                    </a:lnTo>
                    <a:lnTo>
                      <a:pt x="78" y="8"/>
                    </a:lnTo>
                    <a:lnTo>
                      <a:pt x="81" y="8"/>
                    </a:lnTo>
                    <a:lnTo>
                      <a:pt x="82" y="7"/>
                    </a:lnTo>
                    <a:lnTo>
                      <a:pt x="83" y="7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5" y="5"/>
                    </a:lnTo>
                    <a:lnTo>
                      <a:pt x="86" y="5"/>
                    </a:lnTo>
                    <a:lnTo>
                      <a:pt x="87" y="4"/>
                    </a:lnTo>
                    <a:lnTo>
                      <a:pt x="88" y="4"/>
                    </a:lnTo>
                    <a:lnTo>
                      <a:pt x="90" y="3"/>
                    </a:lnTo>
                    <a:lnTo>
                      <a:pt x="91" y="3"/>
                    </a:lnTo>
                    <a:lnTo>
                      <a:pt x="92" y="3"/>
                    </a:lnTo>
                    <a:lnTo>
                      <a:pt x="94" y="3"/>
                    </a:lnTo>
                    <a:lnTo>
                      <a:pt x="95" y="3"/>
                    </a:lnTo>
                    <a:lnTo>
                      <a:pt x="97" y="3"/>
                    </a:lnTo>
                    <a:lnTo>
                      <a:pt x="98" y="3"/>
                    </a:lnTo>
                    <a:lnTo>
                      <a:pt x="100" y="3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2" y="5"/>
                    </a:lnTo>
                    <a:lnTo>
                      <a:pt x="103" y="6"/>
                    </a:lnTo>
                    <a:lnTo>
                      <a:pt x="104" y="6"/>
                    </a:lnTo>
                    <a:lnTo>
                      <a:pt x="105" y="7"/>
                    </a:lnTo>
                    <a:lnTo>
                      <a:pt x="106" y="8"/>
                    </a:lnTo>
                    <a:lnTo>
                      <a:pt x="107" y="10"/>
                    </a:lnTo>
                    <a:lnTo>
                      <a:pt x="108" y="11"/>
                    </a:lnTo>
                    <a:lnTo>
                      <a:pt x="110" y="13"/>
                    </a:lnTo>
                    <a:lnTo>
                      <a:pt x="110" y="13"/>
                    </a:lnTo>
                    <a:lnTo>
                      <a:pt x="111" y="14"/>
                    </a:lnTo>
                    <a:lnTo>
                      <a:pt x="112" y="14"/>
                    </a:lnTo>
                    <a:lnTo>
                      <a:pt x="113" y="15"/>
                    </a:lnTo>
                    <a:lnTo>
                      <a:pt x="113" y="15"/>
                    </a:lnTo>
                    <a:lnTo>
                      <a:pt x="113" y="15"/>
                    </a:lnTo>
                    <a:lnTo>
                      <a:pt x="113" y="16"/>
                    </a:lnTo>
                    <a:lnTo>
                      <a:pt x="113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5" y="16"/>
                    </a:lnTo>
                    <a:lnTo>
                      <a:pt x="115" y="15"/>
                    </a:lnTo>
                    <a:lnTo>
                      <a:pt x="115" y="15"/>
                    </a:lnTo>
                    <a:lnTo>
                      <a:pt x="116" y="13"/>
                    </a:lnTo>
                    <a:lnTo>
                      <a:pt x="118" y="11"/>
                    </a:lnTo>
                    <a:lnTo>
                      <a:pt x="120" y="9"/>
                    </a:lnTo>
                    <a:lnTo>
                      <a:pt x="121" y="7"/>
                    </a:lnTo>
                    <a:lnTo>
                      <a:pt x="122" y="7"/>
                    </a:lnTo>
                    <a:lnTo>
                      <a:pt x="122" y="7"/>
                    </a:lnTo>
                    <a:lnTo>
                      <a:pt x="122" y="6"/>
                    </a:lnTo>
                    <a:lnTo>
                      <a:pt x="123" y="6"/>
                    </a:lnTo>
                    <a:lnTo>
                      <a:pt x="123" y="6"/>
                    </a:lnTo>
                    <a:lnTo>
                      <a:pt x="123" y="6"/>
                    </a:lnTo>
                    <a:lnTo>
                      <a:pt x="123" y="5"/>
                    </a:lnTo>
                    <a:lnTo>
                      <a:pt x="123" y="5"/>
                    </a:lnTo>
                    <a:lnTo>
                      <a:pt x="123" y="4"/>
                    </a:lnTo>
                    <a:lnTo>
                      <a:pt x="123" y="3"/>
                    </a:lnTo>
                    <a:lnTo>
                      <a:pt x="124" y="2"/>
                    </a:lnTo>
                    <a:lnTo>
                      <a:pt x="124" y="2"/>
                    </a:lnTo>
                    <a:lnTo>
                      <a:pt x="124" y="1"/>
                    </a:lnTo>
                    <a:lnTo>
                      <a:pt x="125" y="1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28" y="0"/>
                    </a:lnTo>
                    <a:lnTo>
                      <a:pt x="129" y="1"/>
                    </a:lnTo>
                    <a:lnTo>
                      <a:pt x="130" y="1"/>
                    </a:lnTo>
                    <a:lnTo>
                      <a:pt x="131" y="1"/>
                    </a:lnTo>
                    <a:lnTo>
                      <a:pt x="133" y="2"/>
                    </a:lnTo>
                    <a:lnTo>
                      <a:pt x="134" y="2"/>
                    </a:lnTo>
                    <a:lnTo>
                      <a:pt x="134" y="2"/>
                    </a:lnTo>
                    <a:lnTo>
                      <a:pt x="135" y="2"/>
                    </a:lnTo>
                    <a:lnTo>
                      <a:pt x="136" y="2"/>
                    </a:lnTo>
                    <a:lnTo>
                      <a:pt x="137" y="2"/>
                    </a:lnTo>
                    <a:lnTo>
                      <a:pt x="138" y="2"/>
                    </a:ln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9525">
                <a:solidFill>
                  <a:srgbClr val="356D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schemeClr val="tx1"/>
                  </a:solidFill>
                  <a:effectLst>
                    <a:glow rad="127000">
                      <a:schemeClr val="accent1"/>
                    </a:glow>
                  </a:effectLst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" name="Freeform 10"/>
              <p:cNvSpPr>
                <a:spLocks/>
              </p:cNvSpPr>
              <p:nvPr/>
            </p:nvSpPr>
            <p:spPr bwMode="auto">
              <a:xfrm>
                <a:off x="5869478" y="3826105"/>
                <a:ext cx="1905885" cy="1552690"/>
              </a:xfrm>
              <a:custGeom>
                <a:avLst/>
                <a:gdLst/>
                <a:ahLst/>
                <a:cxnLst>
                  <a:cxn ang="0">
                    <a:pos x="142" y="6"/>
                  </a:cxn>
                  <a:cxn ang="0">
                    <a:pos x="161" y="6"/>
                  </a:cxn>
                  <a:cxn ang="0">
                    <a:pos x="176" y="26"/>
                  </a:cxn>
                  <a:cxn ang="0">
                    <a:pos x="181" y="32"/>
                  </a:cxn>
                  <a:cxn ang="0">
                    <a:pos x="186" y="35"/>
                  </a:cxn>
                  <a:cxn ang="0">
                    <a:pos x="185" y="43"/>
                  </a:cxn>
                  <a:cxn ang="0">
                    <a:pos x="191" y="44"/>
                  </a:cxn>
                  <a:cxn ang="0">
                    <a:pos x="191" y="49"/>
                  </a:cxn>
                  <a:cxn ang="0">
                    <a:pos x="189" y="49"/>
                  </a:cxn>
                  <a:cxn ang="0">
                    <a:pos x="186" y="48"/>
                  </a:cxn>
                  <a:cxn ang="0">
                    <a:pos x="183" y="50"/>
                  </a:cxn>
                  <a:cxn ang="0">
                    <a:pos x="178" y="50"/>
                  </a:cxn>
                  <a:cxn ang="0">
                    <a:pos x="173" y="47"/>
                  </a:cxn>
                  <a:cxn ang="0">
                    <a:pos x="168" y="49"/>
                  </a:cxn>
                  <a:cxn ang="0">
                    <a:pos x="163" y="51"/>
                  </a:cxn>
                  <a:cxn ang="0">
                    <a:pos x="158" y="53"/>
                  </a:cxn>
                  <a:cxn ang="0">
                    <a:pos x="155" y="55"/>
                  </a:cxn>
                  <a:cxn ang="0">
                    <a:pos x="151" y="56"/>
                  </a:cxn>
                  <a:cxn ang="0">
                    <a:pos x="148" y="58"/>
                  </a:cxn>
                  <a:cxn ang="0">
                    <a:pos x="139" y="64"/>
                  </a:cxn>
                  <a:cxn ang="0">
                    <a:pos x="137" y="68"/>
                  </a:cxn>
                  <a:cxn ang="0">
                    <a:pos x="140" y="74"/>
                  </a:cxn>
                  <a:cxn ang="0">
                    <a:pos x="148" y="75"/>
                  </a:cxn>
                  <a:cxn ang="0">
                    <a:pos x="146" y="79"/>
                  </a:cxn>
                  <a:cxn ang="0">
                    <a:pos x="148" y="87"/>
                  </a:cxn>
                  <a:cxn ang="0">
                    <a:pos x="155" y="102"/>
                  </a:cxn>
                  <a:cxn ang="0">
                    <a:pos x="158" y="106"/>
                  </a:cxn>
                  <a:cxn ang="0">
                    <a:pos x="161" y="110"/>
                  </a:cxn>
                  <a:cxn ang="0">
                    <a:pos x="162" y="118"/>
                  </a:cxn>
                  <a:cxn ang="0">
                    <a:pos x="164" y="120"/>
                  </a:cxn>
                  <a:cxn ang="0">
                    <a:pos x="157" y="123"/>
                  </a:cxn>
                  <a:cxn ang="0">
                    <a:pos x="158" y="129"/>
                  </a:cxn>
                  <a:cxn ang="0">
                    <a:pos x="154" y="130"/>
                  </a:cxn>
                  <a:cxn ang="0">
                    <a:pos x="153" y="137"/>
                  </a:cxn>
                  <a:cxn ang="0">
                    <a:pos x="156" y="145"/>
                  </a:cxn>
                  <a:cxn ang="0">
                    <a:pos x="151" y="144"/>
                  </a:cxn>
                  <a:cxn ang="0">
                    <a:pos x="144" y="142"/>
                  </a:cxn>
                  <a:cxn ang="0">
                    <a:pos x="133" y="139"/>
                  </a:cxn>
                  <a:cxn ang="0">
                    <a:pos x="118" y="137"/>
                  </a:cxn>
                  <a:cxn ang="0">
                    <a:pos x="105" y="137"/>
                  </a:cxn>
                  <a:cxn ang="0">
                    <a:pos x="92" y="137"/>
                  </a:cxn>
                  <a:cxn ang="0">
                    <a:pos x="83" y="137"/>
                  </a:cxn>
                  <a:cxn ang="0">
                    <a:pos x="75" y="138"/>
                  </a:cxn>
                  <a:cxn ang="0">
                    <a:pos x="72" y="139"/>
                  </a:cxn>
                  <a:cxn ang="0">
                    <a:pos x="66" y="140"/>
                  </a:cxn>
                  <a:cxn ang="0">
                    <a:pos x="54" y="142"/>
                  </a:cxn>
                  <a:cxn ang="0">
                    <a:pos x="50" y="144"/>
                  </a:cxn>
                  <a:cxn ang="0">
                    <a:pos x="44" y="143"/>
                  </a:cxn>
                  <a:cxn ang="0">
                    <a:pos x="39" y="128"/>
                  </a:cxn>
                  <a:cxn ang="0">
                    <a:pos x="30" y="106"/>
                  </a:cxn>
                  <a:cxn ang="0">
                    <a:pos x="11" y="91"/>
                  </a:cxn>
                  <a:cxn ang="0">
                    <a:pos x="0" y="69"/>
                  </a:cxn>
                  <a:cxn ang="0">
                    <a:pos x="2" y="48"/>
                  </a:cxn>
                  <a:cxn ang="0">
                    <a:pos x="14" y="34"/>
                  </a:cxn>
                  <a:cxn ang="0">
                    <a:pos x="67" y="24"/>
                  </a:cxn>
                  <a:cxn ang="0">
                    <a:pos x="74" y="15"/>
                  </a:cxn>
                  <a:cxn ang="0">
                    <a:pos x="76" y="7"/>
                  </a:cxn>
                  <a:cxn ang="0">
                    <a:pos x="87" y="0"/>
                  </a:cxn>
                  <a:cxn ang="0">
                    <a:pos x="109" y="3"/>
                  </a:cxn>
                  <a:cxn ang="0">
                    <a:pos x="121" y="4"/>
                  </a:cxn>
                  <a:cxn ang="0">
                    <a:pos x="125" y="3"/>
                  </a:cxn>
                </a:cxnLst>
                <a:rect l="0" t="0" r="r" b="b"/>
                <a:pathLst>
                  <a:path w="192" h="145">
                    <a:moveTo>
                      <a:pt x="127" y="2"/>
                    </a:moveTo>
                    <a:lnTo>
                      <a:pt x="127" y="2"/>
                    </a:lnTo>
                    <a:lnTo>
                      <a:pt x="127" y="2"/>
                    </a:lnTo>
                    <a:lnTo>
                      <a:pt x="128" y="2"/>
                    </a:lnTo>
                    <a:lnTo>
                      <a:pt x="128" y="2"/>
                    </a:lnTo>
                    <a:lnTo>
                      <a:pt x="129" y="2"/>
                    </a:lnTo>
                    <a:lnTo>
                      <a:pt x="130" y="2"/>
                    </a:lnTo>
                    <a:lnTo>
                      <a:pt x="134" y="4"/>
                    </a:lnTo>
                    <a:lnTo>
                      <a:pt x="136" y="4"/>
                    </a:lnTo>
                    <a:lnTo>
                      <a:pt x="138" y="5"/>
                    </a:lnTo>
                    <a:lnTo>
                      <a:pt x="140" y="6"/>
                    </a:lnTo>
                    <a:lnTo>
                      <a:pt x="142" y="6"/>
                    </a:lnTo>
                    <a:lnTo>
                      <a:pt x="144" y="7"/>
                    </a:lnTo>
                    <a:lnTo>
                      <a:pt x="146" y="7"/>
                    </a:lnTo>
                    <a:lnTo>
                      <a:pt x="149" y="8"/>
                    </a:lnTo>
                    <a:lnTo>
                      <a:pt x="151" y="8"/>
                    </a:lnTo>
                    <a:lnTo>
                      <a:pt x="153" y="8"/>
                    </a:lnTo>
                    <a:lnTo>
                      <a:pt x="155" y="8"/>
                    </a:lnTo>
                    <a:lnTo>
                      <a:pt x="156" y="8"/>
                    </a:lnTo>
                    <a:lnTo>
                      <a:pt x="157" y="7"/>
                    </a:lnTo>
                    <a:lnTo>
                      <a:pt x="158" y="7"/>
                    </a:lnTo>
                    <a:lnTo>
                      <a:pt x="159" y="7"/>
                    </a:lnTo>
                    <a:lnTo>
                      <a:pt x="160" y="7"/>
                    </a:lnTo>
                    <a:lnTo>
                      <a:pt x="161" y="6"/>
                    </a:lnTo>
                    <a:lnTo>
                      <a:pt x="162" y="6"/>
                    </a:lnTo>
                    <a:lnTo>
                      <a:pt x="163" y="6"/>
                    </a:lnTo>
                    <a:lnTo>
                      <a:pt x="164" y="7"/>
                    </a:lnTo>
                    <a:lnTo>
                      <a:pt x="165" y="9"/>
                    </a:lnTo>
                    <a:lnTo>
                      <a:pt x="165" y="10"/>
                    </a:lnTo>
                    <a:lnTo>
                      <a:pt x="166" y="12"/>
                    </a:lnTo>
                    <a:lnTo>
                      <a:pt x="167" y="14"/>
                    </a:lnTo>
                    <a:lnTo>
                      <a:pt x="168" y="15"/>
                    </a:lnTo>
                    <a:lnTo>
                      <a:pt x="170" y="18"/>
                    </a:lnTo>
                    <a:lnTo>
                      <a:pt x="172" y="21"/>
                    </a:lnTo>
                    <a:lnTo>
                      <a:pt x="174" y="24"/>
                    </a:lnTo>
                    <a:lnTo>
                      <a:pt x="176" y="26"/>
                    </a:lnTo>
                    <a:lnTo>
                      <a:pt x="178" y="29"/>
                    </a:lnTo>
                    <a:lnTo>
                      <a:pt x="178" y="29"/>
                    </a:lnTo>
                    <a:lnTo>
                      <a:pt x="178" y="30"/>
                    </a:lnTo>
                    <a:lnTo>
                      <a:pt x="178" y="30"/>
                    </a:lnTo>
                    <a:lnTo>
                      <a:pt x="178" y="30"/>
                    </a:lnTo>
                    <a:lnTo>
                      <a:pt x="179" y="30"/>
                    </a:lnTo>
                    <a:lnTo>
                      <a:pt x="179" y="30"/>
                    </a:lnTo>
                    <a:lnTo>
                      <a:pt x="179" y="30"/>
                    </a:lnTo>
                    <a:lnTo>
                      <a:pt x="180" y="31"/>
                    </a:lnTo>
                    <a:lnTo>
                      <a:pt x="180" y="31"/>
                    </a:lnTo>
                    <a:lnTo>
                      <a:pt x="180" y="32"/>
                    </a:lnTo>
                    <a:lnTo>
                      <a:pt x="181" y="32"/>
                    </a:lnTo>
                    <a:lnTo>
                      <a:pt x="181" y="33"/>
                    </a:lnTo>
                    <a:lnTo>
                      <a:pt x="182" y="33"/>
                    </a:lnTo>
                    <a:lnTo>
                      <a:pt x="183" y="34"/>
                    </a:lnTo>
                    <a:lnTo>
                      <a:pt x="184" y="34"/>
                    </a:lnTo>
                    <a:lnTo>
                      <a:pt x="185" y="34"/>
                    </a:lnTo>
                    <a:lnTo>
                      <a:pt x="185" y="34"/>
                    </a:lnTo>
                    <a:lnTo>
                      <a:pt x="185" y="34"/>
                    </a:lnTo>
                    <a:lnTo>
                      <a:pt x="185" y="35"/>
                    </a:lnTo>
                    <a:lnTo>
                      <a:pt x="185" y="35"/>
                    </a:lnTo>
                    <a:lnTo>
                      <a:pt x="185" y="35"/>
                    </a:lnTo>
                    <a:lnTo>
                      <a:pt x="186" y="35"/>
                    </a:lnTo>
                    <a:lnTo>
                      <a:pt x="186" y="35"/>
                    </a:lnTo>
                    <a:lnTo>
                      <a:pt x="186" y="35"/>
                    </a:lnTo>
                    <a:lnTo>
                      <a:pt x="187" y="35"/>
                    </a:lnTo>
                    <a:lnTo>
                      <a:pt x="187" y="37"/>
                    </a:lnTo>
                    <a:lnTo>
                      <a:pt x="187" y="39"/>
                    </a:lnTo>
                    <a:lnTo>
                      <a:pt x="187" y="41"/>
                    </a:lnTo>
                    <a:lnTo>
                      <a:pt x="187" y="42"/>
                    </a:lnTo>
                    <a:lnTo>
                      <a:pt x="186" y="42"/>
                    </a:lnTo>
                    <a:lnTo>
                      <a:pt x="186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6" y="43"/>
                    </a:lnTo>
                    <a:lnTo>
                      <a:pt x="186" y="44"/>
                    </a:lnTo>
                    <a:lnTo>
                      <a:pt x="186" y="44"/>
                    </a:lnTo>
                    <a:lnTo>
                      <a:pt x="187" y="44"/>
                    </a:lnTo>
                    <a:lnTo>
                      <a:pt x="188" y="44"/>
                    </a:lnTo>
                    <a:lnTo>
                      <a:pt x="189" y="44"/>
                    </a:lnTo>
                    <a:lnTo>
                      <a:pt x="190" y="44"/>
                    </a:lnTo>
                    <a:lnTo>
                      <a:pt x="190" y="44"/>
                    </a:lnTo>
                    <a:lnTo>
                      <a:pt x="191" y="44"/>
                    </a:lnTo>
                    <a:lnTo>
                      <a:pt x="191" y="44"/>
                    </a:lnTo>
                    <a:lnTo>
                      <a:pt x="192" y="44"/>
                    </a:lnTo>
                    <a:lnTo>
                      <a:pt x="192" y="45"/>
                    </a:lnTo>
                    <a:lnTo>
                      <a:pt x="192" y="45"/>
                    </a:lnTo>
                    <a:lnTo>
                      <a:pt x="192" y="45"/>
                    </a:lnTo>
                    <a:lnTo>
                      <a:pt x="192" y="46"/>
                    </a:lnTo>
                    <a:lnTo>
                      <a:pt x="192" y="46"/>
                    </a:lnTo>
                    <a:lnTo>
                      <a:pt x="192" y="46"/>
                    </a:lnTo>
                    <a:lnTo>
                      <a:pt x="192" y="47"/>
                    </a:lnTo>
                    <a:lnTo>
                      <a:pt x="191" y="47"/>
                    </a:lnTo>
                    <a:lnTo>
                      <a:pt x="191" y="48"/>
                    </a:lnTo>
                    <a:lnTo>
                      <a:pt x="191" y="49"/>
                    </a:lnTo>
                    <a:lnTo>
                      <a:pt x="191" y="49"/>
                    </a:lnTo>
                    <a:lnTo>
                      <a:pt x="191" y="50"/>
                    </a:lnTo>
                    <a:lnTo>
                      <a:pt x="191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49"/>
                    </a:lnTo>
                    <a:lnTo>
                      <a:pt x="189" y="49"/>
                    </a:lnTo>
                    <a:lnTo>
                      <a:pt x="189" y="49"/>
                    </a:lnTo>
                    <a:lnTo>
                      <a:pt x="189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7" y="49"/>
                    </a:lnTo>
                    <a:lnTo>
                      <a:pt x="187" y="49"/>
                    </a:lnTo>
                    <a:lnTo>
                      <a:pt x="187" y="49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9"/>
                    </a:lnTo>
                    <a:lnTo>
                      <a:pt x="184" y="49"/>
                    </a:lnTo>
                    <a:lnTo>
                      <a:pt x="184" y="49"/>
                    </a:lnTo>
                    <a:lnTo>
                      <a:pt x="184" y="49"/>
                    </a:lnTo>
                    <a:lnTo>
                      <a:pt x="183" y="49"/>
                    </a:lnTo>
                    <a:lnTo>
                      <a:pt x="183" y="50"/>
                    </a:lnTo>
                    <a:lnTo>
                      <a:pt x="182" y="50"/>
                    </a:lnTo>
                    <a:lnTo>
                      <a:pt x="181" y="50"/>
                    </a:lnTo>
                    <a:lnTo>
                      <a:pt x="181" y="51"/>
                    </a:lnTo>
                    <a:lnTo>
                      <a:pt x="181" y="51"/>
                    </a:lnTo>
                    <a:lnTo>
                      <a:pt x="180" y="51"/>
                    </a:lnTo>
                    <a:lnTo>
                      <a:pt x="180" y="50"/>
                    </a:lnTo>
                    <a:lnTo>
                      <a:pt x="179" y="50"/>
                    </a:lnTo>
                    <a:lnTo>
                      <a:pt x="179" y="50"/>
                    </a:lnTo>
                    <a:lnTo>
                      <a:pt x="179" y="50"/>
                    </a:lnTo>
                    <a:lnTo>
                      <a:pt x="178" y="50"/>
                    </a:lnTo>
                    <a:lnTo>
                      <a:pt x="178" y="50"/>
                    </a:lnTo>
                    <a:lnTo>
                      <a:pt x="178" y="50"/>
                    </a:lnTo>
                    <a:lnTo>
                      <a:pt x="177" y="50"/>
                    </a:lnTo>
                    <a:lnTo>
                      <a:pt x="177" y="50"/>
                    </a:lnTo>
                    <a:lnTo>
                      <a:pt x="176" y="50"/>
                    </a:lnTo>
                    <a:lnTo>
                      <a:pt x="176" y="49"/>
                    </a:lnTo>
                    <a:lnTo>
                      <a:pt x="176" y="49"/>
                    </a:lnTo>
                    <a:lnTo>
                      <a:pt x="175" y="48"/>
                    </a:lnTo>
                    <a:lnTo>
                      <a:pt x="175" y="48"/>
                    </a:lnTo>
                    <a:lnTo>
                      <a:pt x="175" y="47"/>
                    </a:lnTo>
                    <a:lnTo>
                      <a:pt x="174" y="47"/>
                    </a:lnTo>
                    <a:lnTo>
                      <a:pt x="174" y="47"/>
                    </a:lnTo>
                    <a:lnTo>
                      <a:pt x="174" y="47"/>
                    </a:lnTo>
                    <a:lnTo>
                      <a:pt x="173" y="47"/>
                    </a:lnTo>
                    <a:lnTo>
                      <a:pt x="172" y="47"/>
                    </a:lnTo>
                    <a:lnTo>
                      <a:pt x="172" y="47"/>
                    </a:lnTo>
                    <a:lnTo>
                      <a:pt x="171" y="47"/>
                    </a:lnTo>
                    <a:lnTo>
                      <a:pt x="171" y="47"/>
                    </a:lnTo>
                    <a:lnTo>
                      <a:pt x="170" y="47"/>
                    </a:lnTo>
                    <a:lnTo>
                      <a:pt x="170" y="47"/>
                    </a:lnTo>
                    <a:lnTo>
                      <a:pt x="170" y="48"/>
                    </a:lnTo>
                    <a:lnTo>
                      <a:pt x="170" y="48"/>
                    </a:lnTo>
                    <a:lnTo>
                      <a:pt x="170" y="48"/>
                    </a:lnTo>
                    <a:lnTo>
                      <a:pt x="170" y="49"/>
                    </a:lnTo>
                    <a:lnTo>
                      <a:pt x="169" y="49"/>
                    </a:lnTo>
                    <a:lnTo>
                      <a:pt x="168" y="49"/>
                    </a:lnTo>
                    <a:lnTo>
                      <a:pt x="167" y="49"/>
                    </a:lnTo>
                    <a:lnTo>
                      <a:pt x="166" y="49"/>
                    </a:lnTo>
                    <a:lnTo>
                      <a:pt x="166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50"/>
                    </a:lnTo>
                    <a:lnTo>
                      <a:pt x="165" y="50"/>
                    </a:lnTo>
                    <a:lnTo>
                      <a:pt x="164" y="51"/>
                    </a:lnTo>
                    <a:lnTo>
                      <a:pt x="163" y="51"/>
                    </a:lnTo>
                    <a:lnTo>
                      <a:pt x="163" y="51"/>
                    </a:lnTo>
                    <a:lnTo>
                      <a:pt x="162" y="51"/>
                    </a:lnTo>
                    <a:lnTo>
                      <a:pt x="161" y="51"/>
                    </a:lnTo>
                    <a:lnTo>
                      <a:pt x="161" y="52"/>
                    </a:lnTo>
                    <a:lnTo>
                      <a:pt x="160" y="52"/>
                    </a:lnTo>
                    <a:lnTo>
                      <a:pt x="159" y="52"/>
                    </a:lnTo>
                    <a:lnTo>
                      <a:pt x="159" y="52"/>
                    </a:lnTo>
                    <a:lnTo>
                      <a:pt x="159" y="52"/>
                    </a:lnTo>
                    <a:lnTo>
                      <a:pt x="158" y="52"/>
                    </a:lnTo>
                    <a:lnTo>
                      <a:pt x="158" y="53"/>
                    </a:lnTo>
                    <a:lnTo>
                      <a:pt x="158" y="53"/>
                    </a:lnTo>
                    <a:lnTo>
                      <a:pt x="158" y="53"/>
                    </a:lnTo>
                    <a:lnTo>
                      <a:pt x="158" y="54"/>
                    </a:lnTo>
                    <a:lnTo>
                      <a:pt x="158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6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5"/>
                    </a:lnTo>
                    <a:lnTo>
                      <a:pt x="155" y="55"/>
                    </a:lnTo>
                    <a:lnTo>
                      <a:pt x="155" y="56"/>
                    </a:lnTo>
                    <a:lnTo>
                      <a:pt x="154" y="56"/>
                    </a:lnTo>
                    <a:lnTo>
                      <a:pt x="154" y="56"/>
                    </a:lnTo>
                    <a:lnTo>
                      <a:pt x="153" y="56"/>
                    </a:lnTo>
                    <a:lnTo>
                      <a:pt x="153" y="56"/>
                    </a:lnTo>
                    <a:lnTo>
                      <a:pt x="153" y="55"/>
                    </a:lnTo>
                    <a:lnTo>
                      <a:pt x="152" y="55"/>
                    </a:lnTo>
                    <a:lnTo>
                      <a:pt x="152" y="55"/>
                    </a:lnTo>
                    <a:lnTo>
                      <a:pt x="152" y="56"/>
                    </a:lnTo>
                    <a:lnTo>
                      <a:pt x="152" y="56"/>
                    </a:lnTo>
                    <a:lnTo>
                      <a:pt x="151" y="56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0" y="57"/>
                    </a:lnTo>
                    <a:lnTo>
                      <a:pt x="150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48" y="59"/>
                    </a:lnTo>
                    <a:lnTo>
                      <a:pt x="148" y="59"/>
                    </a:lnTo>
                    <a:lnTo>
                      <a:pt x="147" y="60"/>
                    </a:lnTo>
                    <a:lnTo>
                      <a:pt x="145" y="60"/>
                    </a:lnTo>
                    <a:lnTo>
                      <a:pt x="144" y="61"/>
                    </a:lnTo>
                    <a:lnTo>
                      <a:pt x="142" y="61"/>
                    </a:lnTo>
                    <a:lnTo>
                      <a:pt x="142" y="62"/>
                    </a:lnTo>
                    <a:lnTo>
                      <a:pt x="141" y="62"/>
                    </a:lnTo>
                    <a:lnTo>
                      <a:pt x="140" y="63"/>
                    </a:lnTo>
                    <a:lnTo>
                      <a:pt x="140" y="63"/>
                    </a:lnTo>
                    <a:lnTo>
                      <a:pt x="139" y="64"/>
                    </a:lnTo>
                    <a:lnTo>
                      <a:pt x="139" y="64"/>
                    </a:lnTo>
                    <a:lnTo>
                      <a:pt x="139" y="65"/>
                    </a:lnTo>
                    <a:lnTo>
                      <a:pt x="138" y="65"/>
                    </a:lnTo>
                    <a:lnTo>
                      <a:pt x="138" y="65"/>
                    </a:lnTo>
                    <a:lnTo>
                      <a:pt x="137" y="65"/>
                    </a:lnTo>
                    <a:lnTo>
                      <a:pt x="137" y="65"/>
                    </a:lnTo>
                    <a:lnTo>
                      <a:pt x="137" y="66"/>
                    </a:lnTo>
                    <a:lnTo>
                      <a:pt x="137" y="66"/>
                    </a:lnTo>
                    <a:lnTo>
                      <a:pt x="137" y="66"/>
                    </a:lnTo>
                    <a:lnTo>
                      <a:pt x="137" y="67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37" y="70"/>
                    </a:lnTo>
                    <a:lnTo>
                      <a:pt x="137" y="71"/>
                    </a:lnTo>
                    <a:lnTo>
                      <a:pt x="137" y="72"/>
                    </a:lnTo>
                    <a:lnTo>
                      <a:pt x="137" y="72"/>
                    </a:lnTo>
                    <a:lnTo>
                      <a:pt x="137" y="73"/>
                    </a:lnTo>
                    <a:lnTo>
                      <a:pt x="137" y="73"/>
                    </a:lnTo>
                    <a:lnTo>
                      <a:pt x="137" y="73"/>
                    </a:lnTo>
                    <a:lnTo>
                      <a:pt x="138" y="74"/>
                    </a:lnTo>
                    <a:lnTo>
                      <a:pt x="138" y="74"/>
                    </a:lnTo>
                    <a:lnTo>
                      <a:pt x="138" y="74"/>
                    </a:lnTo>
                    <a:lnTo>
                      <a:pt x="139" y="74"/>
                    </a:lnTo>
                    <a:lnTo>
                      <a:pt x="140" y="74"/>
                    </a:lnTo>
                    <a:lnTo>
                      <a:pt x="141" y="74"/>
                    </a:lnTo>
                    <a:lnTo>
                      <a:pt x="142" y="74"/>
                    </a:lnTo>
                    <a:lnTo>
                      <a:pt x="143" y="74"/>
                    </a:lnTo>
                    <a:lnTo>
                      <a:pt x="144" y="74"/>
                    </a:lnTo>
                    <a:lnTo>
                      <a:pt x="145" y="74"/>
                    </a:lnTo>
                    <a:lnTo>
                      <a:pt x="146" y="74"/>
                    </a:lnTo>
                    <a:lnTo>
                      <a:pt x="147" y="74"/>
                    </a:lnTo>
                    <a:lnTo>
                      <a:pt x="147" y="74"/>
                    </a:lnTo>
                    <a:lnTo>
                      <a:pt x="148" y="74"/>
                    </a:lnTo>
                    <a:lnTo>
                      <a:pt x="148" y="74"/>
                    </a:lnTo>
                    <a:lnTo>
                      <a:pt x="148" y="75"/>
                    </a:lnTo>
                    <a:lnTo>
                      <a:pt x="148" y="75"/>
                    </a:lnTo>
                    <a:lnTo>
                      <a:pt x="149" y="75"/>
                    </a:lnTo>
                    <a:lnTo>
                      <a:pt x="149" y="76"/>
                    </a:lnTo>
                    <a:lnTo>
                      <a:pt x="148" y="76"/>
                    </a:lnTo>
                    <a:lnTo>
                      <a:pt x="148" y="77"/>
                    </a:lnTo>
                    <a:lnTo>
                      <a:pt x="148" y="77"/>
                    </a:lnTo>
                    <a:lnTo>
                      <a:pt x="147" y="77"/>
                    </a:lnTo>
                    <a:lnTo>
                      <a:pt x="147" y="77"/>
                    </a:lnTo>
                    <a:lnTo>
                      <a:pt x="147" y="77"/>
                    </a:lnTo>
                    <a:lnTo>
                      <a:pt x="147" y="78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6" y="79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4"/>
                    </a:lnTo>
                    <a:lnTo>
                      <a:pt x="146" y="86"/>
                    </a:lnTo>
                    <a:lnTo>
                      <a:pt x="146" y="86"/>
                    </a:lnTo>
                    <a:lnTo>
                      <a:pt x="146" y="86"/>
                    </a:lnTo>
                    <a:lnTo>
                      <a:pt x="146" y="87"/>
                    </a:lnTo>
                    <a:lnTo>
                      <a:pt x="147" y="87"/>
                    </a:lnTo>
                    <a:lnTo>
                      <a:pt x="147" y="87"/>
                    </a:lnTo>
                    <a:lnTo>
                      <a:pt x="147" y="87"/>
                    </a:lnTo>
                    <a:lnTo>
                      <a:pt x="148" y="87"/>
                    </a:lnTo>
                    <a:lnTo>
                      <a:pt x="148" y="87"/>
                    </a:lnTo>
                    <a:lnTo>
                      <a:pt x="148" y="89"/>
                    </a:lnTo>
                    <a:lnTo>
                      <a:pt x="149" y="90"/>
                    </a:lnTo>
                    <a:lnTo>
                      <a:pt x="149" y="91"/>
                    </a:lnTo>
                    <a:lnTo>
                      <a:pt x="149" y="92"/>
                    </a:lnTo>
                    <a:lnTo>
                      <a:pt x="150" y="93"/>
                    </a:lnTo>
                    <a:lnTo>
                      <a:pt x="150" y="94"/>
                    </a:lnTo>
                    <a:lnTo>
                      <a:pt x="151" y="95"/>
                    </a:lnTo>
                    <a:lnTo>
                      <a:pt x="152" y="96"/>
                    </a:lnTo>
                    <a:lnTo>
                      <a:pt x="153" y="98"/>
                    </a:lnTo>
                    <a:lnTo>
                      <a:pt x="154" y="100"/>
                    </a:lnTo>
                    <a:lnTo>
                      <a:pt x="155" y="101"/>
                    </a:lnTo>
                    <a:lnTo>
                      <a:pt x="155" y="102"/>
                    </a:lnTo>
                    <a:lnTo>
                      <a:pt x="156" y="103"/>
                    </a:lnTo>
                    <a:lnTo>
                      <a:pt x="157" y="104"/>
                    </a:lnTo>
                    <a:lnTo>
                      <a:pt x="156" y="104"/>
                    </a:lnTo>
                    <a:lnTo>
                      <a:pt x="156" y="104"/>
                    </a:lnTo>
                    <a:lnTo>
                      <a:pt x="156" y="105"/>
                    </a:lnTo>
                    <a:lnTo>
                      <a:pt x="157" y="105"/>
                    </a:lnTo>
                    <a:lnTo>
                      <a:pt x="157" y="105"/>
                    </a:lnTo>
                    <a:lnTo>
                      <a:pt x="157" y="105"/>
                    </a:lnTo>
                    <a:lnTo>
                      <a:pt x="158" y="105"/>
                    </a:lnTo>
                    <a:lnTo>
                      <a:pt x="158" y="105"/>
                    </a:lnTo>
                    <a:lnTo>
                      <a:pt x="158" y="106"/>
                    </a:lnTo>
                    <a:lnTo>
                      <a:pt x="158" y="106"/>
                    </a:lnTo>
                    <a:lnTo>
                      <a:pt x="159" y="107"/>
                    </a:lnTo>
                    <a:lnTo>
                      <a:pt x="159" y="107"/>
                    </a:lnTo>
                    <a:lnTo>
                      <a:pt x="159" y="108"/>
                    </a:lnTo>
                    <a:lnTo>
                      <a:pt x="160" y="108"/>
                    </a:lnTo>
                    <a:lnTo>
                      <a:pt x="160" y="109"/>
                    </a:lnTo>
                    <a:lnTo>
                      <a:pt x="160" y="109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1" y="110"/>
                    </a:lnTo>
                    <a:lnTo>
                      <a:pt x="161" y="110"/>
                    </a:lnTo>
                    <a:lnTo>
                      <a:pt x="162" y="111"/>
                    </a:lnTo>
                    <a:lnTo>
                      <a:pt x="162" y="111"/>
                    </a:lnTo>
                    <a:lnTo>
                      <a:pt x="162" y="112"/>
                    </a:lnTo>
                    <a:lnTo>
                      <a:pt x="162" y="114"/>
                    </a:lnTo>
                    <a:lnTo>
                      <a:pt x="162" y="115"/>
                    </a:lnTo>
                    <a:lnTo>
                      <a:pt x="162" y="116"/>
                    </a:lnTo>
                    <a:lnTo>
                      <a:pt x="162" y="117"/>
                    </a:lnTo>
                    <a:lnTo>
                      <a:pt x="161" y="117"/>
                    </a:lnTo>
                    <a:lnTo>
                      <a:pt x="161" y="118"/>
                    </a:lnTo>
                    <a:lnTo>
                      <a:pt x="162" y="118"/>
                    </a:lnTo>
                    <a:lnTo>
                      <a:pt x="162" y="118"/>
                    </a:lnTo>
                    <a:lnTo>
                      <a:pt x="162" y="118"/>
                    </a:lnTo>
                    <a:lnTo>
                      <a:pt x="162" y="119"/>
                    </a:lnTo>
                    <a:lnTo>
                      <a:pt x="163" y="119"/>
                    </a:lnTo>
                    <a:lnTo>
                      <a:pt x="163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20"/>
                    </a:lnTo>
                    <a:lnTo>
                      <a:pt x="164" y="120"/>
                    </a:lnTo>
                    <a:lnTo>
                      <a:pt x="163" y="120"/>
                    </a:lnTo>
                    <a:lnTo>
                      <a:pt x="163" y="120"/>
                    </a:lnTo>
                    <a:lnTo>
                      <a:pt x="162" y="120"/>
                    </a:lnTo>
                    <a:lnTo>
                      <a:pt x="161" y="121"/>
                    </a:lnTo>
                    <a:lnTo>
                      <a:pt x="161" y="121"/>
                    </a:lnTo>
                    <a:lnTo>
                      <a:pt x="160" y="121"/>
                    </a:lnTo>
                    <a:lnTo>
                      <a:pt x="159" y="122"/>
                    </a:lnTo>
                    <a:lnTo>
                      <a:pt x="158" y="122"/>
                    </a:lnTo>
                    <a:lnTo>
                      <a:pt x="158" y="122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4"/>
                    </a:lnTo>
                    <a:lnTo>
                      <a:pt x="156" y="124"/>
                    </a:lnTo>
                    <a:lnTo>
                      <a:pt x="156" y="125"/>
                    </a:lnTo>
                    <a:lnTo>
                      <a:pt x="157" y="126"/>
                    </a:lnTo>
                    <a:lnTo>
                      <a:pt x="157" y="126"/>
                    </a:lnTo>
                    <a:lnTo>
                      <a:pt x="157" y="127"/>
                    </a:lnTo>
                    <a:lnTo>
                      <a:pt x="157" y="127"/>
                    </a:lnTo>
                    <a:lnTo>
                      <a:pt x="158" y="128"/>
                    </a:lnTo>
                    <a:lnTo>
                      <a:pt x="158" y="128"/>
                    </a:lnTo>
                    <a:lnTo>
                      <a:pt x="158" y="129"/>
                    </a:lnTo>
                    <a:lnTo>
                      <a:pt x="158" y="129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7" y="130"/>
                    </a:lnTo>
                    <a:lnTo>
                      <a:pt x="157" y="130"/>
                    </a:lnTo>
                    <a:lnTo>
                      <a:pt x="157" y="130"/>
                    </a:lnTo>
                    <a:lnTo>
                      <a:pt x="156" y="130"/>
                    </a:lnTo>
                    <a:lnTo>
                      <a:pt x="156" y="130"/>
                    </a:lnTo>
                    <a:lnTo>
                      <a:pt x="155" y="130"/>
                    </a:lnTo>
                    <a:lnTo>
                      <a:pt x="155" y="130"/>
                    </a:lnTo>
                    <a:lnTo>
                      <a:pt x="154" y="130"/>
                    </a:lnTo>
                    <a:lnTo>
                      <a:pt x="154" y="130"/>
                    </a:lnTo>
                    <a:lnTo>
                      <a:pt x="154" y="130"/>
                    </a:lnTo>
                    <a:lnTo>
                      <a:pt x="153" y="130"/>
                    </a:lnTo>
                    <a:lnTo>
                      <a:pt x="153" y="131"/>
                    </a:lnTo>
                    <a:lnTo>
                      <a:pt x="153" y="131"/>
                    </a:lnTo>
                    <a:lnTo>
                      <a:pt x="153" y="131"/>
                    </a:lnTo>
                    <a:lnTo>
                      <a:pt x="153" y="132"/>
                    </a:lnTo>
                    <a:lnTo>
                      <a:pt x="153" y="133"/>
                    </a:lnTo>
                    <a:lnTo>
                      <a:pt x="153" y="135"/>
                    </a:lnTo>
                    <a:lnTo>
                      <a:pt x="153" y="136"/>
                    </a:lnTo>
                    <a:lnTo>
                      <a:pt x="153" y="137"/>
                    </a:lnTo>
                    <a:lnTo>
                      <a:pt x="153" y="137"/>
                    </a:lnTo>
                    <a:lnTo>
                      <a:pt x="153" y="138"/>
                    </a:lnTo>
                    <a:lnTo>
                      <a:pt x="154" y="139"/>
                    </a:lnTo>
                    <a:lnTo>
                      <a:pt x="154" y="140"/>
                    </a:lnTo>
                    <a:lnTo>
                      <a:pt x="155" y="141"/>
                    </a:lnTo>
                    <a:lnTo>
                      <a:pt x="155" y="142"/>
                    </a:lnTo>
                    <a:lnTo>
                      <a:pt x="156" y="143"/>
                    </a:lnTo>
                    <a:lnTo>
                      <a:pt x="156" y="144"/>
                    </a:lnTo>
                    <a:lnTo>
                      <a:pt x="156" y="145"/>
                    </a:lnTo>
                    <a:lnTo>
                      <a:pt x="157" y="145"/>
                    </a:lnTo>
                    <a:lnTo>
                      <a:pt x="156" y="145"/>
                    </a:lnTo>
                    <a:lnTo>
                      <a:pt x="156" y="145"/>
                    </a:lnTo>
                    <a:lnTo>
                      <a:pt x="156" y="145"/>
                    </a:lnTo>
                    <a:lnTo>
                      <a:pt x="155" y="145"/>
                    </a:lnTo>
                    <a:lnTo>
                      <a:pt x="155" y="145"/>
                    </a:lnTo>
                    <a:lnTo>
                      <a:pt x="154" y="145"/>
                    </a:lnTo>
                    <a:lnTo>
                      <a:pt x="153" y="145"/>
                    </a:lnTo>
                    <a:lnTo>
                      <a:pt x="152" y="145"/>
                    </a:lnTo>
                    <a:lnTo>
                      <a:pt x="151" y="145"/>
                    </a:lnTo>
                    <a:lnTo>
                      <a:pt x="152" y="145"/>
                    </a:lnTo>
                    <a:lnTo>
                      <a:pt x="152" y="145"/>
                    </a:lnTo>
                    <a:lnTo>
                      <a:pt x="152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0" y="144"/>
                    </a:lnTo>
                    <a:lnTo>
                      <a:pt x="149" y="143"/>
                    </a:lnTo>
                    <a:lnTo>
                      <a:pt x="148" y="143"/>
                    </a:lnTo>
                    <a:lnTo>
                      <a:pt x="148" y="143"/>
                    </a:lnTo>
                    <a:lnTo>
                      <a:pt x="147" y="142"/>
                    </a:lnTo>
                    <a:lnTo>
                      <a:pt x="146" y="142"/>
                    </a:lnTo>
                    <a:lnTo>
                      <a:pt x="146" y="142"/>
                    </a:lnTo>
                    <a:lnTo>
                      <a:pt x="145" y="142"/>
                    </a:lnTo>
                    <a:lnTo>
                      <a:pt x="145" y="142"/>
                    </a:lnTo>
                    <a:lnTo>
                      <a:pt x="144" y="142"/>
                    </a:lnTo>
                    <a:lnTo>
                      <a:pt x="144" y="142"/>
                    </a:lnTo>
                    <a:lnTo>
                      <a:pt x="143" y="142"/>
                    </a:lnTo>
                    <a:lnTo>
                      <a:pt x="141" y="142"/>
                    </a:lnTo>
                    <a:lnTo>
                      <a:pt x="140" y="142"/>
                    </a:lnTo>
                    <a:lnTo>
                      <a:pt x="138" y="142"/>
                    </a:lnTo>
                    <a:lnTo>
                      <a:pt x="137" y="142"/>
                    </a:lnTo>
                    <a:lnTo>
                      <a:pt x="136" y="142"/>
                    </a:lnTo>
                    <a:lnTo>
                      <a:pt x="135" y="141"/>
                    </a:lnTo>
                    <a:lnTo>
                      <a:pt x="135" y="141"/>
                    </a:lnTo>
                    <a:lnTo>
                      <a:pt x="134" y="141"/>
                    </a:lnTo>
                    <a:lnTo>
                      <a:pt x="134" y="140"/>
                    </a:lnTo>
                    <a:lnTo>
                      <a:pt x="134" y="140"/>
                    </a:lnTo>
                    <a:lnTo>
                      <a:pt x="133" y="139"/>
                    </a:lnTo>
                    <a:lnTo>
                      <a:pt x="133" y="139"/>
                    </a:lnTo>
                    <a:lnTo>
                      <a:pt x="133" y="138"/>
                    </a:lnTo>
                    <a:lnTo>
                      <a:pt x="133" y="138"/>
                    </a:lnTo>
                    <a:lnTo>
                      <a:pt x="133" y="137"/>
                    </a:lnTo>
                    <a:lnTo>
                      <a:pt x="133" y="137"/>
                    </a:lnTo>
                    <a:lnTo>
                      <a:pt x="133" y="137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28" y="137"/>
                    </a:lnTo>
                    <a:lnTo>
                      <a:pt x="125" y="137"/>
                    </a:lnTo>
                    <a:lnTo>
                      <a:pt x="121" y="137"/>
                    </a:lnTo>
                    <a:lnTo>
                      <a:pt x="118" y="137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5"/>
                    </a:lnTo>
                    <a:lnTo>
                      <a:pt x="117" y="135"/>
                    </a:lnTo>
                    <a:lnTo>
                      <a:pt x="117" y="135"/>
                    </a:lnTo>
                    <a:lnTo>
                      <a:pt x="114" y="136"/>
                    </a:lnTo>
                    <a:lnTo>
                      <a:pt x="112" y="136"/>
                    </a:lnTo>
                    <a:lnTo>
                      <a:pt x="110" y="136"/>
                    </a:lnTo>
                    <a:lnTo>
                      <a:pt x="107" y="137"/>
                    </a:lnTo>
                    <a:lnTo>
                      <a:pt x="105" y="137"/>
                    </a:lnTo>
                    <a:lnTo>
                      <a:pt x="102" y="137"/>
                    </a:lnTo>
                    <a:lnTo>
                      <a:pt x="101" y="137"/>
                    </a:lnTo>
                    <a:lnTo>
                      <a:pt x="99" y="137"/>
                    </a:lnTo>
                    <a:lnTo>
                      <a:pt x="98" y="137"/>
                    </a:lnTo>
                    <a:lnTo>
                      <a:pt x="97" y="137"/>
                    </a:lnTo>
                    <a:lnTo>
                      <a:pt x="96" y="137"/>
                    </a:lnTo>
                    <a:lnTo>
                      <a:pt x="95" y="137"/>
                    </a:lnTo>
                    <a:lnTo>
                      <a:pt x="94" y="137"/>
                    </a:lnTo>
                    <a:lnTo>
                      <a:pt x="93" y="137"/>
                    </a:lnTo>
                    <a:lnTo>
                      <a:pt x="93" y="137"/>
                    </a:lnTo>
                    <a:lnTo>
                      <a:pt x="92" y="137"/>
                    </a:lnTo>
                    <a:lnTo>
                      <a:pt x="92" y="137"/>
                    </a:lnTo>
                    <a:lnTo>
                      <a:pt x="92" y="138"/>
                    </a:lnTo>
                    <a:lnTo>
                      <a:pt x="92" y="138"/>
                    </a:lnTo>
                    <a:lnTo>
                      <a:pt x="92" y="138"/>
                    </a:lnTo>
                    <a:lnTo>
                      <a:pt x="92" y="139"/>
                    </a:lnTo>
                    <a:lnTo>
                      <a:pt x="90" y="139"/>
                    </a:lnTo>
                    <a:lnTo>
                      <a:pt x="89" y="139"/>
                    </a:lnTo>
                    <a:lnTo>
                      <a:pt x="88" y="139"/>
                    </a:lnTo>
                    <a:lnTo>
                      <a:pt x="87" y="139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4" y="138"/>
                    </a:lnTo>
                    <a:lnTo>
                      <a:pt x="83" y="137"/>
                    </a:lnTo>
                    <a:lnTo>
                      <a:pt x="82" y="137"/>
                    </a:lnTo>
                    <a:lnTo>
                      <a:pt x="81" y="137"/>
                    </a:lnTo>
                    <a:lnTo>
                      <a:pt x="80" y="137"/>
                    </a:lnTo>
                    <a:lnTo>
                      <a:pt x="79" y="137"/>
                    </a:lnTo>
                    <a:lnTo>
                      <a:pt x="78" y="137"/>
                    </a:lnTo>
                    <a:lnTo>
                      <a:pt x="77" y="137"/>
                    </a:lnTo>
                    <a:lnTo>
                      <a:pt x="76" y="137"/>
                    </a:lnTo>
                    <a:lnTo>
                      <a:pt x="76" y="137"/>
                    </a:lnTo>
                    <a:lnTo>
                      <a:pt x="75" y="137"/>
                    </a:lnTo>
                    <a:lnTo>
                      <a:pt x="75" y="137"/>
                    </a:lnTo>
                    <a:lnTo>
                      <a:pt x="75" y="137"/>
                    </a:lnTo>
                    <a:lnTo>
                      <a:pt x="75" y="138"/>
                    </a:lnTo>
                    <a:lnTo>
                      <a:pt x="75" y="138"/>
                    </a:lnTo>
                    <a:lnTo>
                      <a:pt x="75" y="139"/>
                    </a:lnTo>
                    <a:lnTo>
                      <a:pt x="75" y="139"/>
                    </a:lnTo>
                    <a:lnTo>
                      <a:pt x="74" y="139"/>
                    </a:lnTo>
                    <a:lnTo>
                      <a:pt x="74" y="139"/>
                    </a:lnTo>
                    <a:lnTo>
                      <a:pt x="74" y="139"/>
                    </a:lnTo>
                    <a:lnTo>
                      <a:pt x="73" y="139"/>
                    </a:lnTo>
                    <a:lnTo>
                      <a:pt x="73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0" y="140"/>
                    </a:lnTo>
                    <a:lnTo>
                      <a:pt x="70" y="140"/>
                    </a:lnTo>
                    <a:lnTo>
                      <a:pt x="69" y="140"/>
                    </a:lnTo>
                    <a:lnTo>
                      <a:pt x="68" y="140"/>
                    </a:lnTo>
                    <a:lnTo>
                      <a:pt x="67" y="140"/>
                    </a:lnTo>
                    <a:lnTo>
                      <a:pt x="66" y="140"/>
                    </a:lnTo>
                    <a:lnTo>
                      <a:pt x="64" y="140"/>
                    </a:lnTo>
                    <a:lnTo>
                      <a:pt x="61" y="140"/>
                    </a:lnTo>
                    <a:lnTo>
                      <a:pt x="60" y="140"/>
                    </a:lnTo>
                    <a:lnTo>
                      <a:pt x="59" y="140"/>
                    </a:lnTo>
                    <a:lnTo>
                      <a:pt x="58" y="140"/>
                    </a:lnTo>
                    <a:lnTo>
                      <a:pt x="57" y="140"/>
                    </a:lnTo>
                    <a:lnTo>
                      <a:pt x="57" y="140"/>
                    </a:lnTo>
                    <a:lnTo>
                      <a:pt x="56" y="141"/>
                    </a:lnTo>
                    <a:lnTo>
                      <a:pt x="55" y="141"/>
                    </a:lnTo>
                    <a:lnTo>
                      <a:pt x="55" y="142"/>
                    </a:lnTo>
                    <a:lnTo>
                      <a:pt x="55" y="142"/>
                    </a:lnTo>
                    <a:lnTo>
                      <a:pt x="54" y="142"/>
                    </a:lnTo>
                    <a:lnTo>
                      <a:pt x="54" y="142"/>
                    </a:lnTo>
                    <a:lnTo>
                      <a:pt x="53" y="142"/>
                    </a:lnTo>
                    <a:lnTo>
                      <a:pt x="53" y="142"/>
                    </a:lnTo>
                    <a:lnTo>
                      <a:pt x="52" y="142"/>
                    </a:lnTo>
                    <a:lnTo>
                      <a:pt x="52" y="143"/>
                    </a:lnTo>
                    <a:lnTo>
                      <a:pt x="52" y="143"/>
                    </a:lnTo>
                    <a:lnTo>
                      <a:pt x="52" y="143"/>
                    </a:lnTo>
                    <a:lnTo>
                      <a:pt x="52" y="144"/>
                    </a:lnTo>
                    <a:lnTo>
                      <a:pt x="51" y="144"/>
                    </a:lnTo>
                    <a:lnTo>
                      <a:pt x="51" y="143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50" y="145"/>
                    </a:lnTo>
                    <a:lnTo>
                      <a:pt x="50" y="145"/>
                    </a:lnTo>
                    <a:lnTo>
                      <a:pt x="50" y="145"/>
                    </a:lnTo>
                    <a:lnTo>
                      <a:pt x="49" y="145"/>
                    </a:lnTo>
                    <a:lnTo>
                      <a:pt x="48" y="145"/>
                    </a:lnTo>
                    <a:lnTo>
                      <a:pt x="46" y="145"/>
                    </a:lnTo>
                    <a:lnTo>
                      <a:pt x="45" y="145"/>
                    </a:lnTo>
                    <a:lnTo>
                      <a:pt x="45" y="145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3"/>
                    </a:lnTo>
                    <a:lnTo>
                      <a:pt x="43" y="143"/>
                    </a:lnTo>
                    <a:lnTo>
                      <a:pt x="43" y="142"/>
                    </a:lnTo>
                    <a:lnTo>
                      <a:pt x="43" y="140"/>
                    </a:lnTo>
                    <a:lnTo>
                      <a:pt x="43" y="139"/>
                    </a:lnTo>
                    <a:lnTo>
                      <a:pt x="43" y="137"/>
                    </a:lnTo>
                    <a:lnTo>
                      <a:pt x="43" y="135"/>
                    </a:lnTo>
                    <a:lnTo>
                      <a:pt x="43" y="134"/>
                    </a:lnTo>
                    <a:lnTo>
                      <a:pt x="42" y="133"/>
                    </a:lnTo>
                    <a:lnTo>
                      <a:pt x="41" y="131"/>
                    </a:lnTo>
                    <a:lnTo>
                      <a:pt x="40" y="130"/>
                    </a:lnTo>
                    <a:lnTo>
                      <a:pt x="40" y="129"/>
                    </a:lnTo>
                    <a:lnTo>
                      <a:pt x="39" y="128"/>
                    </a:lnTo>
                    <a:lnTo>
                      <a:pt x="38" y="126"/>
                    </a:lnTo>
                    <a:lnTo>
                      <a:pt x="38" y="125"/>
                    </a:lnTo>
                    <a:lnTo>
                      <a:pt x="37" y="123"/>
                    </a:lnTo>
                    <a:lnTo>
                      <a:pt x="36" y="120"/>
                    </a:lnTo>
                    <a:lnTo>
                      <a:pt x="35" y="117"/>
                    </a:lnTo>
                    <a:lnTo>
                      <a:pt x="34" y="114"/>
                    </a:lnTo>
                    <a:lnTo>
                      <a:pt x="33" y="111"/>
                    </a:lnTo>
                    <a:lnTo>
                      <a:pt x="33" y="110"/>
                    </a:lnTo>
                    <a:lnTo>
                      <a:pt x="32" y="109"/>
                    </a:lnTo>
                    <a:lnTo>
                      <a:pt x="32" y="108"/>
                    </a:lnTo>
                    <a:lnTo>
                      <a:pt x="31" y="107"/>
                    </a:lnTo>
                    <a:lnTo>
                      <a:pt x="30" y="106"/>
                    </a:lnTo>
                    <a:lnTo>
                      <a:pt x="30" y="106"/>
                    </a:lnTo>
                    <a:lnTo>
                      <a:pt x="29" y="105"/>
                    </a:lnTo>
                    <a:lnTo>
                      <a:pt x="28" y="105"/>
                    </a:lnTo>
                    <a:lnTo>
                      <a:pt x="27" y="104"/>
                    </a:lnTo>
                    <a:lnTo>
                      <a:pt x="26" y="104"/>
                    </a:lnTo>
                    <a:lnTo>
                      <a:pt x="24" y="103"/>
                    </a:lnTo>
                    <a:lnTo>
                      <a:pt x="22" y="103"/>
                    </a:lnTo>
                    <a:lnTo>
                      <a:pt x="20" y="102"/>
                    </a:lnTo>
                    <a:lnTo>
                      <a:pt x="18" y="100"/>
                    </a:lnTo>
                    <a:lnTo>
                      <a:pt x="16" y="98"/>
                    </a:lnTo>
                    <a:lnTo>
                      <a:pt x="13" y="93"/>
                    </a:lnTo>
                    <a:lnTo>
                      <a:pt x="11" y="91"/>
                    </a:lnTo>
                    <a:lnTo>
                      <a:pt x="9" y="89"/>
                    </a:lnTo>
                    <a:lnTo>
                      <a:pt x="7" y="86"/>
                    </a:lnTo>
                    <a:lnTo>
                      <a:pt x="6" y="84"/>
                    </a:lnTo>
                    <a:lnTo>
                      <a:pt x="4" y="81"/>
                    </a:lnTo>
                    <a:lnTo>
                      <a:pt x="4" y="80"/>
                    </a:lnTo>
                    <a:lnTo>
                      <a:pt x="3" y="78"/>
                    </a:lnTo>
                    <a:lnTo>
                      <a:pt x="3" y="77"/>
                    </a:lnTo>
                    <a:lnTo>
                      <a:pt x="2" y="76"/>
                    </a:lnTo>
                    <a:lnTo>
                      <a:pt x="1" y="74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0" y="69"/>
                    </a:lnTo>
                    <a:lnTo>
                      <a:pt x="0" y="67"/>
                    </a:lnTo>
                    <a:lnTo>
                      <a:pt x="0" y="65"/>
                    </a:lnTo>
                    <a:lnTo>
                      <a:pt x="0" y="63"/>
                    </a:lnTo>
                    <a:lnTo>
                      <a:pt x="0" y="61"/>
                    </a:lnTo>
                    <a:lnTo>
                      <a:pt x="0" y="59"/>
                    </a:lnTo>
                    <a:lnTo>
                      <a:pt x="0" y="57"/>
                    </a:lnTo>
                    <a:lnTo>
                      <a:pt x="0" y="55"/>
                    </a:lnTo>
                    <a:lnTo>
                      <a:pt x="0" y="54"/>
                    </a:lnTo>
                    <a:lnTo>
                      <a:pt x="1" y="52"/>
                    </a:lnTo>
                    <a:lnTo>
                      <a:pt x="1" y="51"/>
                    </a:lnTo>
                    <a:lnTo>
                      <a:pt x="1" y="49"/>
                    </a:lnTo>
                    <a:lnTo>
                      <a:pt x="2" y="48"/>
                    </a:lnTo>
                    <a:lnTo>
                      <a:pt x="3" y="47"/>
                    </a:lnTo>
                    <a:lnTo>
                      <a:pt x="3" y="45"/>
                    </a:lnTo>
                    <a:lnTo>
                      <a:pt x="4" y="44"/>
                    </a:lnTo>
                    <a:lnTo>
                      <a:pt x="5" y="43"/>
                    </a:lnTo>
                    <a:lnTo>
                      <a:pt x="6" y="42"/>
                    </a:lnTo>
                    <a:lnTo>
                      <a:pt x="7" y="40"/>
                    </a:lnTo>
                    <a:lnTo>
                      <a:pt x="8" y="39"/>
                    </a:lnTo>
                    <a:lnTo>
                      <a:pt x="9" y="38"/>
                    </a:lnTo>
                    <a:lnTo>
                      <a:pt x="10" y="37"/>
                    </a:lnTo>
                    <a:lnTo>
                      <a:pt x="11" y="36"/>
                    </a:lnTo>
                    <a:lnTo>
                      <a:pt x="12" y="35"/>
                    </a:lnTo>
                    <a:lnTo>
                      <a:pt x="14" y="34"/>
                    </a:lnTo>
                    <a:lnTo>
                      <a:pt x="15" y="33"/>
                    </a:lnTo>
                    <a:lnTo>
                      <a:pt x="16" y="32"/>
                    </a:lnTo>
                    <a:lnTo>
                      <a:pt x="19" y="30"/>
                    </a:lnTo>
                    <a:lnTo>
                      <a:pt x="22" y="29"/>
                    </a:lnTo>
                    <a:lnTo>
                      <a:pt x="25" y="27"/>
                    </a:lnTo>
                    <a:lnTo>
                      <a:pt x="28" y="26"/>
                    </a:lnTo>
                    <a:lnTo>
                      <a:pt x="32" y="25"/>
                    </a:lnTo>
                    <a:lnTo>
                      <a:pt x="35" y="24"/>
                    </a:lnTo>
                    <a:lnTo>
                      <a:pt x="44" y="24"/>
                    </a:lnTo>
                    <a:lnTo>
                      <a:pt x="53" y="24"/>
                    </a:lnTo>
                    <a:lnTo>
                      <a:pt x="62" y="24"/>
                    </a:lnTo>
                    <a:lnTo>
                      <a:pt x="67" y="24"/>
                    </a:lnTo>
                    <a:lnTo>
                      <a:pt x="72" y="24"/>
                    </a:lnTo>
                    <a:lnTo>
                      <a:pt x="72" y="23"/>
                    </a:lnTo>
                    <a:lnTo>
                      <a:pt x="71" y="22"/>
                    </a:lnTo>
                    <a:lnTo>
                      <a:pt x="71" y="21"/>
                    </a:lnTo>
                    <a:lnTo>
                      <a:pt x="71" y="21"/>
                    </a:lnTo>
                    <a:lnTo>
                      <a:pt x="72" y="20"/>
                    </a:lnTo>
                    <a:lnTo>
                      <a:pt x="72" y="19"/>
                    </a:lnTo>
                    <a:lnTo>
                      <a:pt x="72" y="19"/>
                    </a:lnTo>
                    <a:lnTo>
                      <a:pt x="72" y="18"/>
                    </a:lnTo>
                    <a:lnTo>
                      <a:pt x="73" y="17"/>
                    </a:lnTo>
                    <a:lnTo>
                      <a:pt x="73" y="16"/>
                    </a:lnTo>
                    <a:lnTo>
                      <a:pt x="74" y="15"/>
                    </a:lnTo>
                    <a:lnTo>
                      <a:pt x="75" y="14"/>
                    </a:lnTo>
                    <a:lnTo>
                      <a:pt x="75" y="13"/>
                    </a:lnTo>
                    <a:lnTo>
                      <a:pt x="76" y="12"/>
                    </a:lnTo>
                    <a:lnTo>
                      <a:pt x="76" y="11"/>
                    </a:lnTo>
                    <a:lnTo>
                      <a:pt x="76" y="11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76" y="9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7"/>
                    </a:lnTo>
                    <a:lnTo>
                      <a:pt x="76" y="7"/>
                    </a:lnTo>
                    <a:lnTo>
                      <a:pt x="75" y="6"/>
                    </a:lnTo>
                    <a:lnTo>
                      <a:pt x="75" y="6"/>
                    </a:lnTo>
                    <a:lnTo>
                      <a:pt x="76" y="5"/>
                    </a:lnTo>
                    <a:lnTo>
                      <a:pt x="77" y="4"/>
                    </a:lnTo>
                    <a:lnTo>
                      <a:pt x="78" y="3"/>
                    </a:lnTo>
                    <a:lnTo>
                      <a:pt x="79" y="2"/>
                    </a:lnTo>
                    <a:lnTo>
                      <a:pt x="81" y="2"/>
                    </a:lnTo>
                    <a:lnTo>
                      <a:pt x="82" y="1"/>
                    </a:lnTo>
                    <a:lnTo>
                      <a:pt x="83" y="1"/>
                    </a:lnTo>
                    <a:lnTo>
                      <a:pt x="84" y="0"/>
                    </a:lnTo>
                    <a:lnTo>
                      <a:pt x="85" y="0"/>
                    </a:lnTo>
                    <a:lnTo>
                      <a:pt x="87" y="0"/>
                    </a:lnTo>
                    <a:lnTo>
                      <a:pt x="88" y="0"/>
                    </a:lnTo>
                    <a:lnTo>
                      <a:pt x="89" y="0"/>
                    </a:lnTo>
                    <a:lnTo>
                      <a:pt x="91" y="0"/>
                    </a:lnTo>
                    <a:lnTo>
                      <a:pt x="92" y="0"/>
                    </a:lnTo>
                    <a:lnTo>
                      <a:pt x="93" y="0"/>
                    </a:lnTo>
                    <a:lnTo>
                      <a:pt x="95" y="0"/>
                    </a:lnTo>
                    <a:lnTo>
                      <a:pt x="96" y="0"/>
                    </a:lnTo>
                    <a:lnTo>
                      <a:pt x="98" y="0"/>
                    </a:lnTo>
                    <a:lnTo>
                      <a:pt x="100" y="1"/>
                    </a:lnTo>
                    <a:lnTo>
                      <a:pt x="103" y="1"/>
                    </a:lnTo>
                    <a:lnTo>
                      <a:pt x="106" y="2"/>
                    </a:lnTo>
                    <a:lnTo>
                      <a:pt x="109" y="3"/>
                    </a:lnTo>
                    <a:lnTo>
                      <a:pt x="111" y="4"/>
                    </a:lnTo>
                    <a:lnTo>
                      <a:pt x="114" y="5"/>
                    </a:lnTo>
                    <a:lnTo>
                      <a:pt x="117" y="6"/>
                    </a:lnTo>
                    <a:lnTo>
                      <a:pt x="117" y="5"/>
                    </a:lnTo>
                    <a:lnTo>
                      <a:pt x="118" y="5"/>
                    </a:lnTo>
                    <a:lnTo>
                      <a:pt x="119" y="5"/>
                    </a:lnTo>
                    <a:lnTo>
                      <a:pt x="119" y="5"/>
                    </a:lnTo>
                    <a:lnTo>
                      <a:pt x="120" y="5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1" y="4"/>
                    </a:lnTo>
                    <a:lnTo>
                      <a:pt x="121" y="4"/>
                    </a:lnTo>
                    <a:lnTo>
                      <a:pt x="121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3" y="4"/>
                    </a:lnTo>
                    <a:lnTo>
                      <a:pt x="123" y="3"/>
                    </a:lnTo>
                    <a:lnTo>
                      <a:pt x="123" y="3"/>
                    </a:lnTo>
                    <a:lnTo>
                      <a:pt x="124" y="3"/>
                    </a:lnTo>
                    <a:lnTo>
                      <a:pt x="124" y="3"/>
                    </a:lnTo>
                    <a:lnTo>
                      <a:pt x="125" y="3"/>
                    </a:lnTo>
                    <a:lnTo>
                      <a:pt x="125" y="3"/>
                    </a:lnTo>
                    <a:lnTo>
                      <a:pt x="125" y="3"/>
                    </a:lnTo>
                    <a:lnTo>
                      <a:pt x="126" y="2"/>
                    </a:lnTo>
                    <a:lnTo>
                      <a:pt x="127" y="2"/>
                    </a:ln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rgbClr val="356D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  <a:defRPr/>
                </a:pPr>
                <a:endParaRPr lang="en-US" sz="1200" dirty="0">
                  <a:solidFill>
                    <a:schemeClr val="tx1"/>
                  </a:solidFill>
                  <a:effectLst>
                    <a:glow rad="127000">
                      <a:schemeClr val="accent1"/>
                    </a:glow>
                  </a:effectLst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>
                <a:off x="2634136" y="3848182"/>
                <a:ext cx="1967206" cy="1788168"/>
              </a:xfrm>
              <a:custGeom>
                <a:avLst/>
                <a:gdLst/>
                <a:ahLst/>
                <a:cxnLst>
                  <a:cxn ang="0">
                    <a:pos x="107" y="35"/>
                  </a:cxn>
                  <a:cxn ang="0">
                    <a:pos x="125" y="42"/>
                  </a:cxn>
                  <a:cxn ang="0">
                    <a:pos x="152" y="58"/>
                  </a:cxn>
                  <a:cxn ang="0">
                    <a:pos x="180" y="59"/>
                  </a:cxn>
                  <a:cxn ang="0">
                    <a:pos x="185" y="69"/>
                  </a:cxn>
                  <a:cxn ang="0">
                    <a:pos x="183" y="80"/>
                  </a:cxn>
                  <a:cxn ang="0">
                    <a:pos x="189" y="87"/>
                  </a:cxn>
                  <a:cxn ang="0">
                    <a:pos x="190" y="110"/>
                  </a:cxn>
                  <a:cxn ang="0">
                    <a:pos x="198" y="117"/>
                  </a:cxn>
                  <a:cxn ang="0">
                    <a:pos x="197" y="131"/>
                  </a:cxn>
                  <a:cxn ang="0">
                    <a:pos x="193" y="139"/>
                  </a:cxn>
                  <a:cxn ang="0">
                    <a:pos x="195" y="145"/>
                  </a:cxn>
                  <a:cxn ang="0">
                    <a:pos x="165" y="163"/>
                  </a:cxn>
                  <a:cxn ang="0">
                    <a:pos x="160" y="156"/>
                  </a:cxn>
                  <a:cxn ang="0">
                    <a:pos x="161" y="151"/>
                  </a:cxn>
                  <a:cxn ang="0">
                    <a:pos x="159" y="149"/>
                  </a:cxn>
                  <a:cxn ang="0">
                    <a:pos x="157" y="150"/>
                  </a:cxn>
                  <a:cxn ang="0">
                    <a:pos x="151" y="151"/>
                  </a:cxn>
                  <a:cxn ang="0">
                    <a:pos x="151" y="147"/>
                  </a:cxn>
                  <a:cxn ang="0">
                    <a:pos x="147" y="140"/>
                  </a:cxn>
                  <a:cxn ang="0">
                    <a:pos x="144" y="137"/>
                  </a:cxn>
                  <a:cxn ang="0">
                    <a:pos x="139" y="134"/>
                  </a:cxn>
                  <a:cxn ang="0">
                    <a:pos x="135" y="129"/>
                  </a:cxn>
                  <a:cxn ang="0">
                    <a:pos x="132" y="125"/>
                  </a:cxn>
                  <a:cxn ang="0">
                    <a:pos x="129" y="127"/>
                  </a:cxn>
                  <a:cxn ang="0">
                    <a:pos x="125" y="129"/>
                  </a:cxn>
                  <a:cxn ang="0">
                    <a:pos x="118" y="132"/>
                  </a:cxn>
                  <a:cxn ang="0">
                    <a:pos x="113" y="130"/>
                  </a:cxn>
                  <a:cxn ang="0">
                    <a:pos x="99" y="128"/>
                  </a:cxn>
                  <a:cxn ang="0">
                    <a:pos x="93" y="127"/>
                  </a:cxn>
                  <a:cxn ang="0">
                    <a:pos x="88" y="128"/>
                  </a:cxn>
                  <a:cxn ang="0">
                    <a:pos x="78" y="129"/>
                  </a:cxn>
                  <a:cxn ang="0">
                    <a:pos x="65" y="128"/>
                  </a:cxn>
                  <a:cxn ang="0">
                    <a:pos x="61" y="124"/>
                  </a:cxn>
                  <a:cxn ang="0">
                    <a:pos x="59" y="121"/>
                  </a:cxn>
                  <a:cxn ang="0">
                    <a:pos x="56" y="116"/>
                  </a:cxn>
                  <a:cxn ang="0">
                    <a:pos x="51" y="110"/>
                  </a:cxn>
                  <a:cxn ang="0">
                    <a:pos x="50" y="102"/>
                  </a:cxn>
                  <a:cxn ang="0">
                    <a:pos x="46" y="99"/>
                  </a:cxn>
                  <a:cxn ang="0">
                    <a:pos x="42" y="97"/>
                  </a:cxn>
                  <a:cxn ang="0">
                    <a:pos x="38" y="92"/>
                  </a:cxn>
                  <a:cxn ang="0">
                    <a:pos x="35" y="90"/>
                  </a:cxn>
                  <a:cxn ang="0">
                    <a:pos x="28" y="84"/>
                  </a:cxn>
                  <a:cxn ang="0">
                    <a:pos x="24" y="82"/>
                  </a:cxn>
                  <a:cxn ang="0">
                    <a:pos x="20" y="77"/>
                  </a:cxn>
                  <a:cxn ang="0">
                    <a:pos x="17" y="75"/>
                  </a:cxn>
                  <a:cxn ang="0">
                    <a:pos x="10" y="69"/>
                  </a:cxn>
                  <a:cxn ang="0">
                    <a:pos x="7" y="67"/>
                  </a:cxn>
                  <a:cxn ang="0">
                    <a:pos x="2" y="63"/>
                  </a:cxn>
                  <a:cxn ang="0">
                    <a:pos x="0" y="59"/>
                  </a:cxn>
                  <a:cxn ang="0">
                    <a:pos x="8" y="49"/>
                  </a:cxn>
                  <a:cxn ang="0">
                    <a:pos x="18" y="41"/>
                  </a:cxn>
                  <a:cxn ang="0">
                    <a:pos x="35" y="26"/>
                  </a:cxn>
                  <a:cxn ang="0">
                    <a:pos x="44" y="18"/>
                  </a:cxn>
                  <a:cxn ang="0">
                    <a:pos x="51" y="20"/>
                  </a:cxn>
                  <a:cxn ang="0">
                    <a:pos x="59" y="5"/>
                  </a:cxn>
                  <a:cxn ang="0">
                    <a:pos x="70" y="1"/>
                  </a:cxn>
                  <a:cxn ang="0">
                    <a:pos x="81" y="11"/>
                  </a:cxn>
                  <a:cxn ang="0">
                    <a:pos x="92" y="24"/>
                  </a:cxn>
                </a:cxnLst>
                <a:rect l="0" t="0" r="r" b="b"/>
                <a:pathLst>
                  <a:path w="198" h="167">
                    <a:moveTo>
                      <a:pt x="98" y="25"/>
                    </a:moveTo>
                    <a:lnTo>
                      <a:pt x="99" y="27"/>
                    </a:lnTo>
                    <a:lnTo>
                      <a:pt x="99" y="28"/>
                    </a:lnTo>
                    <a:lnTo>
                      <a:pt x="100" y="30"/>
                    </a:lnTo>
                    <a:lnTo>
                      <a:pt x="101" y="31"/>
                    </a:lnTo>
                    <a:lnTo>
                      <a:pt x="102" y="32"/>
                    </a:lnTo>
                    <a:lnTo>
                      <a:pt x="103" y="33"/>
                    </a:lnTo>
                    <a:lnTo>
                      <a:pt x="104" y="34"/>
                    </a:lnTo>
                    <a:lnTo>
                      <a:pt x="106" y="35"/>
                    </a:lnTo>
                    <a:lnTo>
                      <a:pt x="107" y="35"/>
                    </a:lnTo>
                    <a:lnTo>
                      <a:pt x="109" y="36"/>
                    </a:lnTo>
                    <a:lnTo>
                      <a:pt x="110" y="37"/>
                    </a:lnTo>
                    <a:lnTo>
                      <a:pt x="112" y="37"/>
                    </a:lnTo>
                    <a:lnTo>
                      <a:pt x="114" y="38"/>
                    </a:lnTo>
                    <a:lnTo>
                      <a:pt x="116" y="38"/>
                    </a:lnTo>
                    <a:lnTo>
                      <a:pt x="118" y="38"/>
                    </a:lnTo>
                    <a:lnTo>
                      <a:pt x="120" y="39"/>
                    </a:lnTo>
                    <a:lnTo>
                      <a:pt x="121" y="40"/>
                    </a:lnTo>
                    <a:lnTo>
                      <a:pt x="123" y="41"/>
                    </a:lnTo>
                    <a:lnTo>
                      <a:pt x="125" y="42"/>
                    </a:lnTo>
                    <a:lnTo>
                      <a:pt x="127" y="44"/>
                    </a:lnTo>
                    <a:lnTo>
                      <a:pt x="131" y="46"/>
                    </a:lnTo>
                    <a:lnTo>
                      <a:pt x="134" y="48"/>
                    </a:lnTo>
                    <a:lnTo>
                      <a:pt x="138" y="51"/>
                    </a:lnTo>
                    <a:lnTo>
                      <a:pt x="142" y="53"/>
                    </a:lnTo>
                    <a:lnTo>
                      <a:pt x="144" y="54"/>
                    </a:lnTo>
                    <a:lnTo>
                      <a:pt x="146" y="56"/>
                    </a:lnTo>
                    <a:lnTo>
                      <a:pt x="148" y="57"/>
                    </a:lnTo>
                    <a:lnTo>
                      <a:pt x="149" y="58"/>
                    </a:lnTo>
                    <a:lnTo>
                      <a:pt x="152" y="58"/>
                    </a:lnTo>
                    <a:lnTo>
                      <a:pt x="154" y="58"/>
                    </a:lnTo>
                    <a:lnTo>
                      <a:pt x="157" y="58"/>
                    </a:lnTo>
                    <a:lnTo>
                      <a:pt x="159" y="58"/>
                    </a:lnTo>
                    <a:lnTo>
                      <a:pt x="164" y="58"/>
                    </a:lnTo>
                    <a:lnTo>
                      <a:pt x="169" y="58"/>
                    </a:lnTo>
                    <a:lnTo>
                      <a:pt x="171" y="58"/>
                    </a:lnTo>
                    <a:lnTo>
                      <a:pt x="174" y="58"/>
                    </a:lnTo>
                    <a:lnTo>
                      <a:pt x="176" y="58"/>
                    </a:lnTo>
                    <a:lnTo>
                      <a:pt x="178" y="58"/>
                    </a:lnTo>
                    <a:lnTo>
                      <a:pt x="180" y="59"/>
                    </a:lnTo>
                    <a:lnTo>
                      <a:pt x="182" y="59"/>
                    </a:lnTo>
                    <a:lnTo>
                      <a:pt x="184" y="59"/>
                    </a:lnTo>
                    <a:lnTo>
                      <a:pt x="186" y="60"/>
                    </a:lnTo>
                    <a:lnTo>
                      <a:pt x="186" y="61"/>
                    </a:lnTo>
                    <a:lnTo>
                      <a:pt x="186" y="63"/>
                    </a:lnTo>
                    <a:lnTo>
                      <a:pt x="186" y="64"/>
                    </a:lnTo>
                    <a:lnTo>
                      <a:pt x="186" y="65"/>
                    </a:lnTo>
                    <a:lnTo>
                      <a:pt x="186" y="66"/>
                    </a:lnTo>
                    <a:lnTo>
                      <a:pt x="186" y="67"/>
                    </a:lnTo>
                    <a:lnTo>
                      <a:pt x="185" y="69"/>
                    </a:lnTo>
                    <a:lnTo>
                      <a:pt x="184" y="71"/>
                    </a:lnTo>
                    <a:lnTo>
                      <a:pt x="184" y="73"/>
                    </a:lnTo>
                    <a:lnTo>
                      <a:pt x="183" y="75"/>
                    </a:lnTo>
                    <a:lnTo>
                      <a:pt x="183" y="76"/>
                    </a:lnTo>
                    <a:lnTo>
                      <a:pt x="183" y="77"/>
                    </a:lnTo>
                    <a:lnTo>
                      <a:pt x="183" y="77"/>
                    </a:lnTo>
                    <a:lnTo>
                      <a:pt x="183" y="78"/>
                    </a:lnTo>
                    <a:lnTo>
                      <a:pt x="183" y="79"/>
                    </a:lnTo>
                    <a:lnTo>
                      <a:pt x="183" y="79"/>
                    </a:lnTo>
                    <a:lnTo>
                      <a:pt x="183" y="80"/>
                    </a:lnTo>
                    <a:lnTo>
                      <a:pt x="183" y="81"/>
                    </a:lnTo>
                    <a:lnTo>
                      <a:pt x="184" y="82"/>
                    </a:lnTo>
                    <a:lnTo>
                      <a:pt x="184" y="82"/>
                    </a:lnTo>
                    <a:lnTo>
                      <a:pt x="185" y="83"/>
                    </a:lnTo>
                    <a:lnTo>
                      <a:pt x="185" y="84"/>
                    </a:lnTo>
                    <a:lnTo>
                      <a:pt x="187" y="85"/>
                    </a:lnTo>
                    <a:lnTo>
                      <a:pt x="187" y="85"/>
                    </a:lnTo>
                    <a:lnTo>
                      <a:pt x="188" y="86"/>
                    </a:lnTo>
                    <a:lnTo>
                      <a:pt x="188" y="86"/>
                    </a:lnTo>
                    <a:lnTo>
                      <a:pt x="189" y="87"/>
                    </a:lnTo>
                    <a:lnTo>
                      <a:pt x="189" y="88"/>
                    </a:lnTo>
                    <a:lnTo>
                      <a:pt x="189" y="88"/>
                    </a:lnTo>
                    <a:lnTo>
                      <a:pt x="189" y="93"/>
                    </a:lnTo>
                    <a:lnTo>
                      <a:pt x="189" y="98"/>
                    </a:lnTo>
                    <a:lnTo>
                      <a:pt x="189" y="102"/>
                    </a:lnTo>
                    <a:lnTo>
                      <a:pt x="189" y="107"/>
                    </a:lnTo>
                    <a:lnTo>
                      <a:pt x="190" y="108"/>
                    </a:lnTo>
                    <a:lnTo>
                      <a:pt x="190" y="109"/>
                    </a:lnTo>
                    <a:lnTo>
                      <a:pt x="190" y="110"/>
                    </a:lnTo>
                    <a:lnTo>
                      <a:pt x="190" y="110"/>
                    </a:lnTo>
                    <a:lnTo>
                      <a:pt x="191" y="111"/>
                    </a:lnTo>
                    <a:lnTo>
                      <a:pt x="191" y="112"/>
                    </a:lnTo>
                    <a:lnTo>
                      <a:pt x="192" y="112"/>
                    </a:lnTo>
                    <a:lnTo>
                      <a:pt x="193" y="113"/>
                    </a:lnTo>
                    <a:lnTo>
                      <a:pt x="194" y="113"/>
                    </a:lnTo>
                    <a:lnTo>
                      <a:pt x="195" y="114"/>
                    </a:lnTo>
                    <a:lnTo>
                      <a:pt x="196" y="115"/>
                    </a:lnTo>
                    <a:lnTo>
                      <a:pt x="197" y="115"/>
                    </a:lnTo>
                    <a:lnTo>
                      <a:pt x="197" y="116"/>
                    </a:lnTo>
                    <a:lnTo>
                      <a:pt x="198" y="117"/>
                    </a:lnTo>
                    <a:lnTo>
                      <a:pt x="198" y="118"/>
                    </a:lnTo>
                    <a:lnTo>
                      <a:pt x="198" y="120"/>
                    </a:lnTo>
                    <a:lnTo>
                      <a:pt x="198" y="122"/>
                    </a:lnTo>
                    <a:lnTo>
                      <a:pt x="198" y="123"/>
                    </a:lnTo>
                    <a:lnTo>
                      <a:pt x="198" y="125"/>
                    </a:lnTo>
                    <a:lnTo>
                      <a:pt x="198" y="126"/>
                    </a:lnTo>
                    <a:lnTo>
                      <a:pt x="198" y="127"/>
                    </a:lnTo>
                    <a:lnTo>
                      <a:pt x="198" y="129"/>
                    </a:lnTo>
                    <a:lnTo>
                      <a:pt x="197" y="130"/>
                    </a:lnTo>
                    <a:lnTo>
                      <a:pt x="197" y="131"/>
                    </a:lnTo>
                    <a:lnTo>
                      <a:pt x="196" y="132"/>
                    </a:lnTo>
                    <a:lnTo>
                      <a:pt x="196" y="133"/>
                    </a:lnTo>
                    <a:lnTo>
                      <a:pt x="195" y="134"/>
                    </a:lnTo>
                    <a:lnTo>
                      <a:pt x="195" y="135"/>
                    </a:lnTo>
                    <a:lnTo>
                      <a:pt x="194" y="136"/>
                    </a:lnTo>
                    <a:lnTo>
                      <a:pt x="193" y="137"/>
                    </a:lnTo>
                    <a:lnTo>
                      <a:pt x="193" y="137"/>
                    </a:lnTo>
                    <a:lnTo>
                      <a:pt x="192" y="138"/>
                    </a:lnTo>
                    <a:lnTo>
                      <a:pt x="192" y="139"/>
                    </a:lnTo>
                    <a:lnTo>
                      <a:pt x="193" y="139"/>
                    </a:lnTo>
                    <a:lnTo>
                      <a:pt x="193" y="140"/>
                    </a:lnTo>
                    <a:lnTo>
                      <a:pt x="193" y="140"/>
                    </a:lnTo>
                    <a:lnTo>
                      <a:pt x="193" y="141"/>
                    </a:lnTo>
                    <a:lnTo>
                      <a:pt x="194" y="142"/>
                    </a:lnTo>
                    <a:lnTo>
                      <a:pt x="194" y="142"/>
                    </a:lnTo>
                    <a:lnTo>
                      <a:pt x="194" y="143"/>
                    </a:lnTo>
                    <a:lnTo>
                      <a:pt x="195" y="143"/>
                    </a:lnTo>
                    <a:lnTo>
                      <a:pt x="195" y="144"/>
                    </a:lnTo>
                    <a:lnTo>
                      <a:pt x="195" y="144"/>
                    </a:lnTo>
                    <a:lnTo>
                      <a:pt x="195" y="145"/>
                    </a:lnTo>
                    <a:lnTo>
                      <a:pt x="192" y="146"/>
                    </a:lnTo>
                    <a:lnTo>
                      <a:pt x="190" y="148"/>
                    </a:lnTo>
                    <a:lnTo>
                      <a:pt x="188" y="149"/>
                    </a:lnTo>
                    <a:lnTo>
                      <a:pt x="186" y="150"/>
                    </a:lnTo>
                    <a:lnTo>
                      <a:pt x="182" y="153"/>
                    </a:lnTo>
                    <a:lnTo>
                      <a:pt x="178" y="156"/>
                    </a:lnTo>
                    <a:lnTo>
                      <a:pt x="173" y="158"/>
                    </a:lnTo>
                    <a:lnTo>
                      <a:pt x="169" y="161"/>
                    </a:lnTo>
                    <a:lnTo>
                      <a:pt x="167" y="162"/>
                    </a:lnTo>
                    <a:lnTo>
                      <a:pt x="165" y="163"/>
                    </a:lnTo>
                    <a:lnTo>
                      <a:pt x="163" y="165"/>
                    </a:lnTo>
                    <a:lnTo>
                      <a:pt x="161" y="167"/>
                    </a:lnTo>
                    <a:lnTo>
                      <a:pt x="161" y="167"/>
                    </a:lnTo>
                    <a:lnTo>
                      <a:pt x="160" y="167"/>
                    </a:lnTo>
                    <a:lnTo>
                      <a:pt x="160" y="167"/>
                    </a:lnTo>
                    <a:lnTo>
                      <a:pt x="159" y="167"/>
                    </a:lnTo>
                    <a:lnTo>
                      <a:pt x="159" y="157"/>
                    </a:lnTo>
                    <a:lnTo>
                      <a:pt x="160" y="157"/>
                    </a:lnTo>
                    <a:lnTo>
                      <a:pt x="160" y="156"/>
                    </a:lnTo>
                    <a:lnTo>
                      <a:pt x="160" y="156"/>
                    </a:lnTo>
                    <a:lnTo>
                      <a:pt x="160" y="156"/>
                    </a:lnTo>
                    <a:lnTo>
                      <a:pt x="161" y="156"/>
                    </a:lnTo>
                    <a:lnTo>
                      <a:pt x="161" y="155"/>
                    </a:lnTo>
                    <a:lnTo>
                      <a:pt x="161" y="155"/>
                    </a:lnTo>
                    <a:lnTo>
                      <a:pt x="161" y="154"/>
                    </a:lnTo>
                    <a:lnTo>
                      <a:pt x="161" y="153"/>
                    </a:lnTo>
                    <a:lnTo>
                      <a:pt x="161" y="152"/>
                    </a:lnTo>
                    <a:lnTo>
                      <a:pt x="161" y="152"/>
                    </a:lnTo>
                    <a:lnTo>
                      <a:pt x="161" y="151"/>
                    </a:lnTo>
                    <a:lnTo>
                      <a:pt x="161" y="151"/>
                    </a:lnTo>
                    <a:lnTo>
                      <a:pt x="161" y="150"/>
                    </a:lnTo>
                    <a:lnTo>
                      <a:pt x="161" y="150"/>
                    </a:lnTo>
                    <a:lnTo>
                      <a:pt x="160" y="150"/>
                    </a:lnTo>
                    <a:lnTo>
                      <a:pt x="160" y="150"/>
                    </a:lnTo>
                    <a:lnTo>
                      <a:pt x="160" y="150"/>
                    </a:lnTo>
                    <a:lnTo>
                      <a:pt x="159" y="150"/>
                    </a:lnTo>
                    <a:lnTo>
                      <a:pt x="159" y="150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8" y="149"/>
                    </a:lnTo>
                    <a:lnTo>
                      <a:pt x="158" y="149"/>
                    </a:lnTo>
                    <a:lnTo>
                      <a:pt x="158" y="149"/>
                    </a:lnTo>
                    <a:lnTo>
                      <a:pt x="158" y="150"/>
                    </a:lnTo>
                    <a:lnTo>
                      <a:pt x="158" y="150"/>
                    </a:lnTo>
                    <a:lnTo>
                      <a:pt x="158" y="150"/>
                    </a:lnTo>
                    <a:lnTo>
                      <a:pt x="157" y="150"/>
                    </a:lnTo>
                    <a:lnTo>
                      <a:pt x="157" y="151"/>
                    </a:lnTo>
                    <a:lnTo>
                      <a:pt x="156" y="151"/>
                    </a:lnTo>
                    <a:lnTo>
                      <a:pt x="155" y="151"/>
                    </a:lnTo>
                    <a:lnTo>
                      <a:pt x="155" y="151"/>
                    </a:lnTo>
                    <a:lnTo>
                      <a:pt x="154" y="152"/>
                    </a:lnTo>
                    <a:lnTo>
                      <a:pt x="153" y="152"/>
                    </a:lnTo>
                    <a:lnTo>
                      <a:pt x="153" y="152"/>
                    </a:lnTo>
                    <a:lnTo>
                      <a:pt x="152" y="152"/>
                    </a:lnTo>
                    <a:lnTo>
                      <a:pt x="152" y="151"/>
                    </a:lnTo>
                    <a:lnTo>
                      <a:pt x="151" y="151"/>
                    </a:lnTo>
                    <a:lnTo>
                      <a:pt x="151" y="151"/>
                    </a:lnTo>
                    <a:lnTo>
                      <a:pt x="151" y="150"/>
                    </a:lnTo>
                    <a:lnTo>
                      <a:pt x="151" y="150"/>
                    </a:lnTo>
                    <a:lnTo>
                      <a:pt x="151" y="150"/>
                    </a:lnTo>
                    <a:lnTo>
                      <a:pt x="151" y="149"/>
                    </a:lnTo>
                    <a:lnTo>
                      <a:pt x="151" y="149"/>
                    </a:lnTo>
                    <a:lnTo>
                      <a:pt x="151" y="148"/>
                    </a:lnTo>
                    <a:lnTo>
                      <a:pt x="151" y="148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0" y="147"/>
                    </a:lnTo>
                    <a:lnTo>
                      <a:pt x="149" y="147"/>
                    </a:lnTo>
                    <a:lnTo>
                      <a:pt x="149" y="145"/>
                    </a:lnTo>
                    <a:lnTo>
                      <a:pt x="149" y="144"/>
                    </a:lnTo>
                    <a:lnTo>
                      <a:pt x="149" y="143"/>
                    </a:lnTo>
                    <a:lnTo>
                      <a:pt x="148" y="141"/>
                    </a:lnTo>
                    <a:lnTo>
                      <a:pt x="147" y="140"/>
                    </a:lnTo>
                    <a:lnTo>
                      <a:pt x="147" y="140"/>
                    </a:lnTo>
                    <a:lnTo>
                      <a:pt x="146" y="139"/>
                    </a:lnTo>
                    <a:lnTo>
                      <a:pt x="146" y="139"/>
                    </a:lnTo>
                    <a:lnTo>
                      <a:pt x="145" y="138"/>
                    </a:lnTo>
                    <a:lnTo>
                      <a:pt x="145" y="138"/>
                    </a:lnTo>
                    <a:lnTo>
                      <a:pt x="145" y="138"/>
                    </a:lnTo>
                    <a:lnTo>
                      <a:pt x="145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3" y="137"/>
                    </a:lnTo>
                    <a:lnTo>
                      <a:pt x="142" y="137"/>
                    </a:lnTo>
                    <a:lnTo>
                      <a:pt x="142" y="137"/>
                    </a:lnTo>
                    <a:lnTo>
                      <a:pt x="142" y="137"/>
                    </a:lnTo>
                    <a:lnTo>
                      <a:pt x="141" y="137"/>
                    </a:lnTo>
                    <a:lnTo>
                      <a:pt x="141" y="136"/>
                    </a:lnTo>
                    <a:lnTo>
                      <a:pt x="141" y="135"/>
                    </a:lnTo>
                    <a:lnTo>
                      <a:pt x="140" y="135"/>
                    </a:lnTo>
                    <a:lnTo>
                      <a:pt x="140" y="135"/>
                    </a:lnTo>
                    <a:lnTo>
                      <a:pt x="139" y="134"/>
                    </a:lnTo>
                    <a:lnTo>
                      <a:pt x="139" y="134"/>
                    </a:lnTo>
                    <a:lnTo>
                      <a:pt x="138" y="133"/>
                    </a:lnTo>
                    <a:lnTo>
                      <a:pt x="138" y="133"/>
                    </a:lnTo>
                    <a:lnTo>
                      <a:pt x="138" y="132"/>
                    </a:lnTo>
                    <a:lnTo>
                      <a:pt x="137" y="132"/>
                    </a:lnTo>
                    <a:lnTo>
                      <a:pt x="137" y="131"/>
                    </a:lnTo>
                    <a:lnTo>
                      <a:pt x="136" y="131"/>
                    </a:lnTo>
                    <a:lnTo>
                      <a:pt x="136" y="130"/>
                    </a:lnTo>
                    <a:lnTo>
                      <a:pt x="135" y="130"/>
                    </a:lnTo>
                    <a:lnTo>
                      <a:pt x="135" y="129"/>
                    </a:lnTo>
                    <a:lnTo>
                      <a:pt x="135" y="129"/>
                    </a:lnTo>
                    <a:lnTo>
                      <a:pt x="134" y="128"/>
                    </a:lnTo>
                    <a:lnTo>
                      <a:pt x="134" y="128"/>
                    </a:lnTo>
                    <a:lnTo>
                      <a:pt x="134" y="127"/>
                    </a:lnTo>
                    <a:lnTo>
                      <a:pt x="134" y="127"/>
                    </a:lnTo>
                    <a:lnTo>
                      <a:pt x="134" y="126"/>
                    </a:lnTo>
                    <a:lnTo>
                      <a:pt x="133" y="126"/>
                    </a:lnTo>
                    <a:lnTo>
                      <a:pt x="133" y="125"/>
                    </a:lnTo>
                    <a:lnTo>
                      <a:pt x="133" y="125"/>
                    </a:lnTo>
                    <a:lnTo>
                      <a:pt x="132" y="125"/>
                    </a:lnTo>
                    <a:lnTo>
                      <a:pt x="132" y="125"/>
                    </a:lnTo>
                    <a:lnTo>
                      <a:pt x="131" y="125"/>
                    </a:lnTo>
                    <a:lnTo>
                      <a:pt x="131" y="125"/>
                    </a:lnTo>
                    <a:lnTo>
                      <a:pt x="130" y="125"/>
                    </a:lnTo>
                    <a:lnTo>
                      <a:pt x="130" y="126"/>
                    </a:lnTo>
                    <a:lnTo>
                      <a:pt x="130" y="126"/>
                    </a:lnTo>
                    <a:lnTo>
                      <a:pt x="130" y="126"/>
                    </a:lnTo>
                    <a:lnTo>
                      <a:pt x="130" y="127"/>
                    </a:lnTo>
                    <a:lnTo>
                      <a:pt x="129" y="127"/>
                    </a:lnTo>
                    <a:lnTo>
                      <a:pt x="129" y="127"/>
                    </a:lnTo>
                    <a:lnTo>
                      <a:pt x="128" y="127"/>
                    </a:lnTo>
                    <a:lnTo>
                      <a:pt x="128" y="127"/>
                    </a:lnTo>
                    <a:lnTo>
                      <a:pt x="127" y="128"/>
                    </a:lnTo>
                    <a:lnTo>
                      <a:pt x="127" y="128"/>
                    </a:lnTo>
                    <a:lnTo>
                      <a:pt x="126" y="128"/>
                    </a:lnTo>
                    <a:lnTo>
                      <a:pt x="126" y="128"/>
                    </a:lnTo>
                    <a:lnTo>
                      <a:pt x="125" y="128"/>
                    </a:lnTo>
                    <a:lnTo>
                      <a:pt x="125" y="128"/>
                    </a:lnTo>
                    <a:lnTo>
                      <a:pt x="125" y="128"/>
                    </a:lnTo>
                    <a:lnTo>
                      <a:pt x="125" y="129"/>
                    </a:lnTo>
                    <a:lnTo>
                      <a:pt x="125" y="129"/>
                    </a:lnTo>
                    <a:lnTo>
                      <a:pt x="124" y="129"/>
                    </a:lnTo>
                    <a:lnTo>
                      <a:pt x="124" y="130"/>
                    </a:lnTo>
                    <a:lnTo>
                      <a:pt x="124" y="130"/>
                    </a:lnTo>
                    <a:lnTo>
                      <a:pt x="123" y="131"/>
                    </a:lnTo>
                    <a:lnTo>
                      <a:pt x="122" y="131"/>
                    </a:lnTo>
                    <a:lnTo>
                      <a:pt x="121" y="131"/>
                    </a:lnTo>
                    <a:lnTo>
                      <a:pt x="120" y="132"/>
                    </a:lnTo>
                    <a:lnTo>
                      <a:pt x="119" y="132"/>
                    </a:lnTo>
                    <a:lnTo>
                      <a:pt x="118" y="132"/>
                    </a:lnTo>
                    <a:lnTo>
                      <a:pt x="116" y="132"/>
                    </a:lnTo>
                    <a:lnTo>
                      <a:pt x="116" y="131"/>
                    </a:lnTo>
                    <a:lnTo>
                      <a:pt x="116" y="131"/>
                    </a:lnTo>
                    <a:lnTo>
                      <a:pt x="116" y="131"/>
                    </a:lnTo>
                    <a:lnTo>
                      <a:pt x="115" y="131"/>
                    </a:lnTo>
                    <a:lnTo>
                      <a:pt x="115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3" y="130"/>
                    </a:lnTo>
                    <a:lnTo>
                      <a:pt x="113" y="130"/>
                    </a:lnTo>
                    <a:lnTo>
                      <a:pt x="110" y="130"/>
                    </a:lnTo>
                    <a:lnTo>
                      <a:pt x="106" y="130"/>
                    </a:lnTo>
                    <a:lnTo>
                      <a:pt x="103" y="130"/>
                    </a:lnTo>
                    <a:lnTo>
                      <a:pt x="100" y="130"/>
                    </a:lnTo>
                    <a:lnTo>
                      <a:pt x="100" y="129"/>
                    </a:lnTo>
                    <a:lnTo>
                      <a:pt x="100" y="129"/>
                    </a:lnTo>
                    <a:lnTo>
                      <a:pt x="99" y="129"/>
                    </a:lnTo>
                    <a:lnTo>
                      <a:pt x="99" y="128"/>
                    </a:lnTo>
                    <a:lnTo>
                      <a:pt x="99" y="128"/>
                    </a:lnTo>
                    <a:lnTo>
                      <a:pt x="99" y="128"/>
                    </a:lnTo>
                    <a:lnTo>
                      <a:pt x="98" y="128"/>
                    </a:lnTo>
                    <a:lnTo>
                      <a:pt x="97" y="128"/>
                    </a:lnTo>
                    <a:lnTo>
                      <a:pt x="97" y="128"/>
                    </a:lnTo>
                    <a:lnTo>
                      <a:pt x="96" y="128"/>
                    </a:lnTo>
                    <a:lnTo>
                      <a:pt x="96" y="128"/>
                    </a:lnTo>
                    <a:lnTo>
                      <a:pt x="95" y="128"/>
                    </a:lnTo>
                    <a:lnTo>
                      <a:pt x="94" y="127"/>
                    </a:lnTo>
                    <a:lnTo>
                      <a:pt x="94" y="127"/>
                    </a:lnTo>
                    <a:lnTo>
                      <a:pt x="93" y="127"/>
                    </a:lnTo>
                    <a:lnTo>
                      <a:pt x="93" y="127"/>
                    </a:lnTo>
                    <a:lnTo>
                      <a:pt x="92" y="127"/>
                    </a:lnTo>
                    <a:lnTo>
                      <a:pt x="92" y="127"/>
                    </a:lnTo>
                    <a:lnTo>
                      <a:pt x="91" y="127"/>
                    </a:lnTo>
                    <a:lnTo>
                      <a:pt x="90" y="127"/>
                    </a:lnTo>
                    <a:lnTo>
                      <a:pt x="90" y="127"/>
                    </a:lnTo>
                    <a:lnTo>
                      <a:pt x="89" y="127"/>
                    </a:lnTo>
                    <a:lnTo>
                      <a:pt x="89" y="127"/>
                    </a:lnTo>
                    <a:lnTo>
                      <a:pt x="89" y="127"/>
                    </a:lnTo>
                    <a:lnTo>
                      <a:pt x="88" y="127"/>
                    </a:lnTo>
                    <a:lnTo>
                      <a:pt x="88" y="128"/>
                    </a:lnTo>
                    <a:lnTo>
                      <a:pt x="88" y="128"/>
                    </a:lnTo>
                    <a:lnTo>
                      <a:pt x="86" y="128"/>
                    </a:lnTo>
                    <a:lnTo>
                      <a:pt x="84" y="128"/>
                    </a:lnTo>
                    <a:lnTo>
                      <a:pt x="82" y="128"/>
                    </a:lnTo>
                    <a:lnTo>
                      <a:pt x="80" y="128"/>
                    </a:lnTo>
                    <a:lnTo>
                      <a:pt x="79" y="128"/>
                    </a:lnTo>
                    <a:lnTo>
                      <a:pt x="79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8" y="129"/>
                    </a:lnTo>
                    <a:lnTo>
                      <a:pt x="78" y="129"/>
                    </a:lnTo>
                    <a:lnTo>
                      <a:pt x="78" y="129"/>
                    </a:lnTo>
                    <a:lnTo>
                      <a:pt x="78" y="130"/>
                    </a:lnTo>
                    <a:lnTo>
                      <a:pt x="68" y="130"/>
                    </a:lnTo>
                    <a:lnTo>
                      <a:pt x="67" y="130"/>
                    </a:lnTo>
                    <a:lnTo>
                      <a:pt x="67" y="130"/>
                    </a:lnTo>
                    <a:lnTo>
                      <a:pt x="66" y="129"/>
                    </a:lnTo>
                    <a:lnTo>
                      <a:pt x="66" y="129"/>
                    </a:lnTo>
                    <a:lnTo>
                      <a:pt x="65" y="129"/>
                    </a:lnTo>
                    <a:lnTo>
                      <a:pt x="65" y="128"/>
                    </a:lnTo>
                    <a:lnTo>
                      <a:pt x="65" y="128"/>
                    </a:lnTo>
                    <a:lnTo>
                      <a:pt x="65" y="128"/>
                    </a:lnTo>
                    <a:lnTo>
                      <a:pt x="64" y="127"/>
                    </a:lnTo>
                    <a:lnTo>
                      <a:pt x="64" y="127"/>
                    </a:lnTo>
                    <a:lnTo>
                      <a:pt x="63" y="126"/>
                    </a:lnTo>
                    <a:lnTo>
                      <a:pt x="63" y="126"/>
                    </a:lnTo>
                    <a:lnTo>
                      <a:pt x="62" y="125"/>
                    </a:lnTo>
                    <a:lnTo>
                      <a:pt x="62" y="125"/>
                    </a:lnTo>
                    <a:lnTo>
                      <a:pt x="62" y="124"/>
                    </a:lnTo>
                    <a:lnTo>
                      <a:pt x="61" y="124"/>
                    </a:lnTo>
                    <a:lnTo>
                      <a:pt x="61" y="123"/>
                    </a:lnTo>
                    <a:lnTo>
                      <a:pt x="61" y="123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0" y="122"/>
                    </a:lnTo>
                    <a:lnTo>
                      <a:pt x="60" y="122"/>
                    </a:lnTo>
                    <a:lnTo>
                      <a:pt x="59" y="121"/>
                    </a:lnTo>
                    <a:lnTo>
                      <a:pt x="59" y="121"/>
                    </a:lnTo>
                    <a:lnTo>
                      <a:pt x="59" y="120"/>
                    </a:lnTo>
                    <a:lnTo>
                      <a:pt x="58" y="120"/>
                    </a:lnTo>
                    <a:lnTo>
                      <a:pt x="58" y="119"/>
                    </a:lnTo>
                    <a:lnTo>
                      <a:pt x="57" y="118"/>
                    </a:lnTo>
                    <a:lnTo>
                      <a:pt x="57" y="118"/>
                    </a:lnTo>
                    <a:lnTo>
                      <a:pt x="56" y="117"/>
                    </a:lnTo>
                    <a:lnTo>
                      <a:pt x="56" y="117"/>
                    </a:lnTo>
                    <a:lnTo>
                      <a:pt x="56" y="117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5"/>
                    </a:lnTo>
                    <a:lnTo>
                      <a:pt x="56" y="115"/>
                    </a:lnTo>
                    <a:lnTo>
                      <a:pt x="56" y="115"/>
                    </a:lnTo>
                    <a:lnTo>
                      <a:pt x="55" y="115"/>
                    </a:lnTo>
                    <a:lnTo>
                      <a:pt x="55" y="115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3" y="112"/>
                    </a:lnTo>
                    <a:lnTo>
                      <a:pt x="52" y="111"/>
                    </a:lnTo>
                    <a:lnTo>
                      <a:pt x="51" y="110"/>
                    </a:lnTo>
                    <a:lnTo>
                      <a:pt x="51" y="110"/>
                    </a:lnTo>
                    <a:lnTo>
                      <a:pt x="50" y="109"/>
                    </a:lnTo>
                    <a:lnTo>
                      <a:pt x="50" y="108"/>
                    </a:lnTo>
                    <a:lnTo>
                      <a:pt x="50" y="107"/>
                    </a:lnTo>
                    <a:lnTo>
                      <a:pt x="50" y="106"/>
                    </a:lnTo>
                    <a:lnTo>
                      <a:pt x="50" y="105"/>
                    </a:lnTo>
                    <a:lnTo>
                      <a:pt x="50" y="104"/>
                    </a:lnTo>
                    <a:lnTo>
                      <a:pt x="50" y="103"/>
                    </a:lnTo>
                    <a:lnTo>
                      <a:pt x="50" y="103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49" y="102"/>
                    </a:lnTo>
                    <a:lnTo>
                      <a:pt x="49" y="102"/>
                    </a:lnTo>
                    <a:lnTo>
                      <a:pt x="49" y="102"/>
                    </a:lnTo>
                    <a:lnTo>
                      <a:pt x="48" y="102"/>
                    </a:lnTo>
                    <a:lnTo>
                      <a:pt x="48" y="101"/>
                    </a:lnTo>
                    <a:lnTo>
                      <a:pt x="47" y="100"/>
                    </a:lnTo>
                    <a:lnTo>
                      <a:pt x="47" y="100"/>
                    </a:lnTo>
                    <a:lnTo>
                      <a:pt x="47" y="100"/>
                    </a:lnTo>
                    <a:lnTo>
                      <a:pt x="46" y="99"/>
                    </a:lnTo>
                    <a:lnTo>
                      <a:pt x="46" y="99"/>
                    </a:lnTo>
                    <a:lnTo>
                      <a:pt x="45" y="98"/>
                    </a:lnTo>
                    <a:lnTo>
                      <a:pt x="45" y="98"/>
                    </a:lnTo>
                    <a:lnTo>
                      <a:pt x="45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3" y="97"/>
                    </a:lnTo>
                    <a:lnTo>
                      <a:pt x="42" y="97"/>
                    </a:lnTo>
                    <a:lnTo>
                      <a:pt x="42" y="96"/>
                    </a:lnTo>
                    <a:lnTo>
                      <a:pt x="41" y="96"/>
                    </a:lnTo>
                    <a:lnTo>
                      <a:pt x="41" y="96"/>
                    </a:lnTo>
                    <a:lnTo>
                      <a:pt x="41" y="96"/>
                    </a:lnTo>
                    <a:lnTo>
                      <a:pt x="40" y="95"/>
                    </a:lnTo>
                    <a:lnTo>
                      <a:pt x="40" y="94"/>
                    </a:lnTo>
                    <a:lnTo>
                      <a:pt x="39" y="93"/>
                    </a:lnTo>
                    <a:lnTo>
                      <a:pt x="39" y="93"/>
                    </a:lnTo>
                    <a:lnTo>
                      <a:pt x="38" y="93"/>
                    </a:lnTo>
                    <a:lnTo>
                      <a:pt x="38" y="92"/>
                    </a:lnTo>
                    <a:lnTo>
                      <a:pt x="37" y="92"/>
                    </a:lnTo>
                    <a:lnTo>
                      <a:pt x="37" y="92"/>
                    </a:lnTo>
                    <a:lnTo>
                      <a:pt x="36" y="92"/>
                    </a:lnTo>
                    <a:lnTo>
                      <a:pt x="36" y="91"/>
                    </a:lnTo>
                    <a:lnTo>
                      <a:pt x="36" y="91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5" y="90"/>
                    </a:lnTo>
                    <a:lnTo>
                      <a:pt x="35" y="90"/>
                    </a:lnTo>
                    <a:lnTo>
                      <a:pt x="34" y="90"/>
                    </a:lnTo>
                    <a:lnTo>
                      <a:pt x="33" y="89"/>
                    </a:lnTo>
                    <a:lnTo>
                      <a:pt x="33" y="89"/>
                    </a:lnTo>
                    <a:lnTo>
                      <a:pt x="32" y="89"/>
                    </a:lnTo>
                    <a:lnTo>
                      <a:pt x="31" y="88"/>
                    </a:lnTo>
                    <a:lnTo>
                      <a:pt x="30" y="87"/>
                    </a:lnTo>
                    <a:lnTo>
                      <a:pt x="30" y="86"/>
                    </a:lnTo>
                    <a:lnTo>
                      <a:pt x="29" y="85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7" y="84"/>
                    </a:lnTo>
                    <a:lnTo>
                      <a:pt x="26" y="83"/>
                    </a:lnTo>
                    <a:lnTo>
                      <a:pt x="26" y="83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5" y="82"/>
                    </a:lnTo>
                    <a:lnTo>
                      <a:pt x="25" y="82"/>
                    </a:lnTo>
                    <a:lnTo>
                      <a:pt x="24" y="82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2" y="80"/>
                    </a:lnTo>
                    <a:lnTo>
                      <a:pt x="22" y="80"/>
                    </a:lnTo>
                    <a:lnTo>
                      <a:pt x="21" y="79"/>
                    </a:lnTo>
                    <a:lnTo>
                      <a:pt x="21" y="78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20" y="77"/>
                    </a:lnTo>
                    <a:lnTo>
                      <a:pt x="19" y="77"/>
                    </a:lnTo>
                    <a:lnTo>
                      <a:pt x="19" y="77"/>
                    </a:lnTo>
                    <a:lnTo>
                      <a:pt x="18" y="77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7" y="75"/>
                    </a:lnTo>
                    <a:lnTo>
                      <a:pt x="17" y="75"/>
                    </a:lnTo>
                    <a:lnTo>
                      <a:pt x="17" y="75"/>
                    </a:lnTo>
                    <a:lnTo>
                      <a:pt x="16" y="75"/>
                    </a:lnTo>
                    <a:lnTo>
                      <a:pt x="16" y="75"/>
                    </a:lnTo>
                    <a:lnTo>
                      <a:pt x="15" y="75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3" y="73"/>
                    </a:lnTo>
                    <a:lnTo>
                      <a:pt x="12" y="72"/>
                    </a:lnTo>
                    <a:lnTo>
                      <a:pt x="11" y="71"/>
                    </a:lnTo>
                    <a:lnTo>
                      <a:pt x="10" y="70"/>
                    </a:lnTo>
                    <a:lnTo>
                      <a:pt x="10" y="69"/>
                    </a:lnTo>
                    <a:lnTo>
                      <a:pt x="9" y="69"/>
                    </a:lnTo>
                    <a:lnTo>
                      <a:pt x="9" y="69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7"/>
                    </a:lnTo>
                    <a:lnTo>
                      <a:pt x="8" y="67"/>
                    </a:lnTo>
                    <a:lnTo>
                      <a:pt x="7" y="67"/>
                    </a:lnTo>
                    <a:lnTo>
                      <a:pt x="7" y="67"/>
                    </a:lnTo>
                    <a:lnTo>
                      <a:pt x="7" y="67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5" y="66"/>
                    </a:lnTo>
                    <a:lnTo>
                      <a:pt x="5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5"/>
                    </a:lnTo>
                    <a:lnTo>
                      <a:pt x="3" y="64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1" y="62"/>
                    </a:lnTo>
                    <a:lnTo>
                      <a:pt x="1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0"/>
                    </a:lnTo>
                    <a:lnTo>
                      <a:pt x="0" y="59"/>
                    </a:lnTo>
                    <a:lnTo>
                      <a:pt x="1" y="58"/>
                    </a:lnTo>
                    <a:lnTo>
                      <a:pt x="1" y="56"/>
                    </a:lnTo>
                    <a:lnTo>
                      <a:pt x="2" y="55"/>
                    </a:lnTo>
                    <a:lnTo>
                      <a:pt x="2" y="54"/>
                    </a:lnTo>
                    <a:lnTo>
                      <a:pt x="3" y="53"/>
                    </a:lnTo>
                    <a:lnTo>
                      <a:pt x="4" y="52"/>
                    </a:lnTo>
                    <a:lnTo>
                      <a:pt x="5" y="51"/>
                    </a:lnTo>
                    <a:lnTo>
                      <a:pt x="6" y="51"/>
                    </a:lnTo>
                    <a:lnTo>
                      <a:pt x="7" y="50"/>
                    </a:lnTo>
                    <a:lnTo>
                      <a:pt x="8" y="49"/>
                    </a:lnTo>
                    <a:lnTo>
                      <a:pt x="9" y="49"/>
                    </a:lnTo>
                    <a:lnTo>
                      <a:pt x="10" y="48"/>
                    </a:lnTo>
                    <a:lnTo>
                      <a:pt x="12" y="47"/>
                    </a:lnTo>
                    <a:lnTo>
                      <a:pt x="13" y="47"/>
                    </a:lnTo>
                    <a:lnTo>
                      <a:pt x="15" y="47"/>
                    </a:lnTo>
                    <a:lnTo>
                      <a:pt x="15" y="46"/>
                    </a:lnTo>
                    <a:lnTo>
                      <a:pt x="16" y="44"/>
                    </a:lnTo>
                    <a:lnTo>
                      <a:pt x="16" y="43"/>
                    </a:lnTo>
                    <a:lnTo>
                      <a:pt x="17" y="42"/>
                    </a:lnTo>
                    <a:lnTo>
                      <a:pt x="18" y="41"/>
                    </a:lnTo>
                    <a:lnTo>
                      <a:pt x="19" y="41"/>
                    </a:lnTo>
                    <a:lnTo>
                      <a:pt x="20" y="39"/>
                    </a:lnTo>
                    <a:lnTo>
                      <a:pt x="22" y="37"/>
                    </a:lnTo>
                    <a:lnTo>
                      <a:pt x="24" y="35"/>
                    </a:lnTo>
                    <a:lnTo>
                      <a:pt x="26" y="34"/>
                    </a:lnTo>
                    <a:lnTo>
                      <a:pt x="28" y="32"/>
                    </a:lnTo>
                    <a:lnTo>
                      <a:pt x="30" y="31"/>
                    </a:lnTo>
                    <a:lnTo>
                      <a:pt x="32" y="29"/>
                    </a:lnTo>
                    <a:lnTo>
                      <a:pt x="33" y="28"/>
                    </a:lnTo>
                    <a:lnTo>
                      <a:pt x="35" y="26"/>
                    </a:lnTo>
                    <a:lnTo>
                      <a:pt x="37" y="25"/>
                    </a:lnTo>
                    <a:lnTo>
                      <a:pt x="39" y="23"/>
                    </a:lnTo>
                    <a:lnTo>
                      <a:pt x="39" y="22"/>
                    </a:lnTo>
                    <a:lnTo>
                      <a:pt x="40" y="21"/>
                    </a:lnTo>
                    <a:lnTo>
                      <a:pt x="41" y="20"/>
                    </a:lnTo>
                    <a:lnTo>
                      <a:pt x="41" y="19"/>
                    </a:lnTo>
                    <a:lnTo>
                      <a:pt x="42" y="18"/>
                    </a:lnTo>
                    <a:lnTo>
                      <a:pt x="43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6" y="19"/>
                    </a:lnTo>
                    <a:lnTo>
                      <a:pt x="47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9" y="20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1" y="20"/>
                    </a:lnTo>
                    <a:lnTo>
                      <a:pt x="52" y="19"/>
                    </a:lnTo>
                    <a:lnTo>
                      <a:pt x="53" y="18"/>
                    </a:lnTo>
                    <a:lnTo>
                      <a:pt x="54" y="17"/>
                    </a:lnTo>
                    <a:lnTo>
                      <a:pt x="55" y="15"/>
                    </a:lnTo>
                    <a:lnTo>
                      <a:pt x="55" y="14"/>
                    </a:lnTo>
                    <a:lnTo>
                      <a:pt x="56" y="12"/>
                    </a:lnTo>
                    <a:lnTo>
                      <a:pt x="57" y="9"/>
                    </a:lnTo>
                    <a:lnTo>
                      <a:pt x="58" y="8"/>
                    </a:lnTo>
                    <a:lnTo>
                      <a:pt x="58" y="7"/>
                    </a:lnTo>
                    <a:lnTo>
                      <a:pt x="59" y="5"/>
                    </a:lnTo>
                    <a:lnTo>
                      <a:pt x="60" y="4"/>
                    </a:lnTo>
                    <a:lnTo>
                      <a:pt x="61" y="3"/>
                    </a:lnTo>
                    <a:lnTo>
                      <a:pt x="62" y="2"/>
                    </a:lnTo>
                    <a:lnTo>
                      <a:pt x="63" y="1"/>
                    </a:lnTo>
                    <a:lnTo>
                      <a:pt x="64" y="1"/>
                    </a:lnTo>
                    <a:lnTo>
                      <a:pt x="65" y="0"/>
                    </a:lnTo>
                    <a:lnTo>
                      <a:pt x="66" y="1"/>
                    </a:lnTo>
                    <a:lnTo>
                      <a:pt x="68" y="1"/>
                    </a:lnTo>
                    <a:lnTo>
                      <a:pt x="69" y="1"/>
                    </a:lnTo>
                    <a:lnTo>
                      <a:pt x="70" y="1"/>
                    </a:lnTo>
                    <a:lnTo>
                      <a:pt x="71" y="2"/>
                    </a:lnTo>
                    <a:lnTo>
                      <a:pt x="73" y="3"/>
                    </a:lnTo>
                    <a:lnTo>
                      <a:pt x="74" y="3"/>
                    </a:lnTo>
                    <a:lnTo>
                      <a:pt x="75" y="4"/>
                    </a:lnTo>
                    <a:lnTo>
                      <a:pt x="76" y="5"/>
                    </a:lnTo>
                    <a:lnTo>
                      <a:pt x="76" y="5"/>
                    </a:lnTo>
                    <a:lnTo>
                      <a:pt x="77" y="6"/>
                    </a:lnTo>
                    <a:lnTo>
                      <a:pt x="78" y="7"/>
                    </a:lnTo>
                    <a:lnTo>
                      <a:pt x="80" y="9"/>
                    </a:lnTo>
                    <a:lnTo>
                      <a:pt x="81" y="11"/>
                    </a:lnTo>
                    <a:lnTo>
                      <a:pt x="82" y="13"/>
                    </a:lnTo>
                    <a:lnTo>
                      <a:pt x="84" y="15"/>
                    </a:lnTo>
                    <a:lnTo>
                      <a:pt x="85" y="17"/>
                    </a:lnTo>
                    <a:lnTo>
                      <a:pt x="87" y="19"/>
                    </a:lnTo>
                    <a:lnTo>
                      <a:pt x="87" y="20"/>
                    </a:lnTo>
                    <a:lnTo>
                      <a:pt x="88" y="21"/>
                    </a:lnTo>
                    <a:lnTo>
                      <a:pt x="89" y="22"/>
                    </a:lnTo>
                    <a:lnTo>
                      <a:pt x="90" y="23"/>
                    </a:lnTo>
                    <a:lnTo>
                      <a:pt x="91" y="23"/>
                    </a:lnTo>
                    <a:lnTo>
                      <a:pt x="92" y="24"/>
                    </a:lnTo>
                    <a:lnTo>
                      <a:pt x="93" y="25"/>
                    </a:lnTo>
                    <a:lnTo>
                      <a:pt x="95" y="25"/>
                    </a:lnTo>
                    <a:lnTo>
                      <a:pt x="95" y="25"/>
                    </a:lnTo>
                    <a:lnTo>
                      <a:pt x="96" y="25"/>
                    </a:lnTo>
                    <a:lnTo>
                      <a:pt x="97" y="25"/>
                    </a:lnTo>
                    <a:lnTo>
                      <a:pt x="98" y="25"/>
                    </a:ln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rgbClr val="356D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schemeClr val="tx1"/>
                  </a:solidFill>
                  <a:effectLst>
                    <a:glow rad="127000">
                      <a:schemeClr val="accent1"/>
                    </a:glow>
                  </a:effectLst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6" name="Freeform 12"/>
              <p:cNvSpPr>
                <a:spLocks/>
              </p:cNvSpPr>
              <p:nvPr/>
            </p:nvSpPr>
            <p:spPr bwMode="auto">
              <a:xfrm>
                <a:off x="750328" y="4137625"/>
                <a:ext cx="1417762" cy="1670428"/>
              </a:xfrm>
              <a:custGeom>
                <a:avLst/>
                <a:gdLst/>
                <a:ahLst/>
                <a:cxnLst>
                  <a:cxn ang="0">
                    <a:pos x="141" y="28"/>
                  </a:cxn>
                  <a:cxn ang="0">
                    <a:pos x="142" y="39"/>
                  </a:cxn>
                  <a:cxn ang="0">
                    <a:pos x="134" y="42"/>
                  </a:cxn>
                  <a:cxn ang="0">
                    <a:pos x="125" y="45"/>
                  </a:cxn>
                  <a:cxn ang="0">
                    <a:pos x="112" y="143"/>
                  </a:cxn>
                  <a:cxn ang="0">
                    <a:pos x="96" y="149"/>
                  </a:cxn>
                  <a:cxn ang="0">
                    <a:pos x="92" y="138"/>
                  </a:cxn>
                  <a:cxn ang="0">
                    <a:pos x="87" y="129"/>
                  </a:cxn>
                  <a:cxn ang="0">
                    <a:pos x="75" y="118"/>
                  </a:cxn>
                  <a:cxn ang="0">
                    <a:pos x="47" y="120"/>
                  </a:cxn>
                  <a:cxn ang="0">
                    <a:pos x="38" y="125"/>
                  </a:cxn>
                  <a:cxn ang="0">
                    <a:pos x="34" y="124"/>
                  </a:cxn>
                  <a:cxn ang="0">
                    <a:pos x="35" y="118"/>
                  </a:cxn>
                  <a:cxn ang="0">
                    <a:pos x="41" y="110"/>
                  </a:cxn>
                  <a:cxn ang="0">
                    <a:pos x="43" y="104"/>
                  </a:cxn>
                  <a:cxn ang="0">
                    <a:pos x="42" y="98"/>
                  </a:cxn>
                  <a:cxn ang="0">
                    <a:pos x="34" y="93"/>
                  </a:cxn>
                  <a:cxn ang="0">
                    <a:pos x="25" y="86"/>
                  </a:cxn>
                  <a:cxn ang="0">
                    <a:pos x="21" y="81"/>
                  </a:cxn>
                  <a:cxn ang="0">
                    <a:pos x="16" y="81"/>
                  </a:cxn>
                  <a:cxn ang="0">
                    <a:pos x="16" y="71"/>
                  </a:cxn>
                  <a:cxn ang="0">
                    <a:pos x="12" y="55"/>
                  </a:cxn>
                  <a:cxn ang="0">
                    <a:pos x="11" y="46"/>
                  </a:cxn>
                  <a:cxn ang="0">
                    <a:pos x="6" y="42"/>
                  </a:cxn>
                  <a:cxn ang="0">
                    <a:pos x="0" y="39"/>
                  </a:cxn>
                  <a:cxn ang="0">
                    <a:pos x="0" y="36"/>
                  </a:cxn>
                  <a:cxn ang="0">
                    <a:pos x="3" y="33"/>
                  </a:cxn>
                  <a:cxn ang="0">
                    <a:pos x="12" y="35"/>
                  </a:cxn>
                  <a:cxn ang="0">
                    <a:pos x="14" y="37"/>
                  </a:cxn>
                  <a:cxn ang="0">
                    <a:pos x="16" y="39"/>
                  </a:cxn>
                  <a:cxn ang="0">
                    <a:pos x="24" y="40"/>
                  </a:cxn>
                  <a:cxn ang="0">
                    <a:pos x="29" y="39"/>
                  </a:cxn>
                  <a:cxn ang="0">
                    <a:pos x="22" y="32"/>
                  </a:cxn>
                  <a:cxn ang="0">
                    <a:pos x="20" y="26"/>
                  </a:cxn>
                  <a:cxn ang="0">
                    <a:pos x="23" y="25"/>
                  </a:cxn>
                  <a:cxn ang="0">
                    <a:pos x="28" y="19"/>
                  </a:cxn>
                  <a:cxn ang="0">
                    <a:pos x="33" y="16"/>
                  </a:cxn>
                  <a:cxn ang="0">
                    <a:pos x="39" y="16"/>
                  </a:cxn>
                  <a:cxn ang="0">
                    <a:pos x="50" y="21"/>
                  </a:cxn>
                  <a:cxn ang="0">
                    <a:pos x="59" y="25"/>
                  </a:cxn>
                  <a:cxn ang="0">
                    <a:pos x="78" y="30"/>
                  </a:cxn>
                  <a:cxn ang="0">
                    <a:pos x="85" y="32"/>
                  </a:cxn>
                  <a:cxn ang="0">
                    <a:pos x="80" y="34"/>
                  </a:cxn>
                  <a:cxn ang="0">
                    <a:pos x="80" y="37"/>
                  </a:cxn>
                  <a:cxn ang="0">
                    <a:pos x="86" y="39"/>
                  </a:cxn>
                  <a:cxn ang="0">
                    <a:pos x="93" y="38"/>
                  </a:cxn>
                  <a:cxn ang="0">
                    <a:pos x="92" y="30"/>
                  </a:cxn>
                  <a:cxn ang="0">
                    <a:pos x="91" y="22"/>
                  </a:cxn>
                  <a:cxn ang="0">
                    <a:pos x="88" y="20"/>
                  </a:cxn>
                  <a:cxn ang="0">
                    <a:pos x="84" y="21"/>
                  </a:cxn>
                  <a:cxn ang="0">
                    <a:pos x="80" y="23"/>
                  </a:cxn>
                  <a:cxn ang="0">
                    <a:pos x="75" y="23"/>
                  </a:cxn>
                  <a:cxn ang="0">
                    <a:pos x="70" y="19"/>
                  </a:cxn>
                  <a:cxn ang="0">
                    <a:pos x="68" y="12"/>
                  </a:cxn>
                  <a:cxn ang="0">
                    <a:pos x="72" y="6"/>
                  </a:cxn>
                  <a:cxn ang="0">
                    <a:pos x="83" y="3"/>
                  </a:cxn>
                  <a:cxn ang="0">
                    <a:pos x="94" y="2"/>
                  </a:cxn>
                  <a:cxn ang="0">
                    <a:pos x="106" y="2"/>
                  </a:cxn>
                  <a:cxn ang="0">
                    <a:pos x="116" y="4"/>
                  </a:cxn>
                  <a:cxn ang="0">
                    <a:pos x="118" y="0"/>
                  </a:cxn>
                  <a:cxn ang="0">
                    <a:pos x="125" y="6"/>
                  </a:cxn>
                  <a:cxn ang="0">
                    <a:pos x="134" y="13"/>
                  </a:cxn>
                </a:cxnLst>
                <a:rect l="0" t="0" r="r" b="b"/>
                <a:pathLst>
                  <a:path w="143" h="156">
                    <a:moveTo>
                      <a:pt x="141" y="15"/>
                    </a:moveTo>
                    <a:lnTo>
                      <a:pt x="141" y="16"/>
                    </a:lnTo>
                    <a:lnTo>
                      <a:pt x="141" y="18"/>
                    </a:lnTo>
                    <a:lnTo>
                      <a:pt x="141" y="20"/>
                    </a:lnTo>
                    <a:lnTo>
                      <a:pt x="141" y="21"/>
                    </a:lnTo>
                    <a:lnTo>
                      <a:pt x="141" y="25"/>
                    </a:lnTo>
                    <a:lnTo>
                      <a:pt x="141" y="28"/>
                    </a:lnTo>
                    <a:lnTo>
                      <a:pt x="141" y="30"/>
                    </a:lnTo>
                    <a:lnTo>
                      <a:pt x="141" y="32"/>
                    </a:lnTo>
                    <a:lnTo>
                      <a:pt x="141" y="33"/>
                    </a:lnTo>
                    <a:lnTo>
                      <a:pt x="141" y="35"/>
                    </a:lnTo>
                    <a:lnTo>
                      <a:pt x="142" y="36"/>
                    </a:lnTo>
                    <a:lnTo>
                      <a:pt x="142" y="38"/>
                    </a:lnTo>
                    <a:lnTo>
                      <a:pt x="142" y="39"/>
                    </a:lnTo>
                    <a:lnTo>
                      <a:pt x="143" y="40"/>
                    </a:lnTo>
                    <a:lnTo>
                      <a:pt x="142" y="40"/>
                    </a:lnTo>
                    <a:lnTo>
                      <a:pt x="141" y="41"/>
                    </a:lnTo>
                    <a:lnTo>
                      <a:pt x="140" y="41"/>
                    </a:lnTo>
                    <a:lnTo>
                      <a:pt x="139" y="41"/>
                    </a:lnTo>
                    <a:lnTo>
                      <a:pt x="136" y="42"/>
                    </a:lnTo>
                    <a:lnTo>
                      <a:pt x="134" y="42"/>
                    </a:lnTo>
                    <a:lnTo>
                      <a:pt x="131" y="43"/>
                    </a:lnTo>
                    <a:lnTo>
                      <a:pt x="130" y="43"/>
                    </a:lnTo>
                    <a:lnTo>
                      <a:pt x="129" y="43"/>
                    </a:lnTo>
                    <a:lnTo>
                      <a:pt x="127" y="43"/>
                    </a:lnTo>
                    <a:lnTo>
                      <a:pt x="126" y="44"/>
                    </a:lnTo>
                    <a:lnTo>
                      <a:pt x="125" y="44"/>
                    </a:lnTo>
                    <a:lnTo>
                      <a:pt x="125" y="45"/>
                    </a:lnTo>
                    <a:lnTo>
                      <a:pt x="123" y="59"/>
                    </a:lnTo>
                    <a:lnTo>
                      <a:pt x="121" y="73"/>
                    </a:lnTo>
                    <a:lnTo>
                      <a:pt x="120" y="87"/>
                    </a:lnTo>
                    <a:lnTo>
                      <a:pt x="118" y="101"/>
                    </a:lnTo>
                    <a:lnTo>
                      <a:pt x="116" y="115"/>
                    </a:lnTo>
                    <a:lnTo>
                      <a:pt x="114" y="129"/>
                    </a:lnTo>
                    <a:lnTo>
                      <a:pt x="112" y="143"/>
                    </a:lnTo>
                    <a:lnTo>
                      <a:pt x="110" y="156"/>
                    </a:lnTo>
                    <a:lnTo>
                      <a:pt x="100" y="156"/>
                    </a:lnTo>
                    <a:lnTo>
                      <a:pt x="99" y="155"/>
                    </a:lnTo>
                    <a:lnTo>
                      <a:pt x="99" y="154"/>
                    </a:lnTo>
                    <a:lnTo>
                      <a:pt x="98" y="152"/>
                    </a:lnTo>
                    <a:lnTo>
                      <a:pt x="97" y="151"/>
                    </a:lnTo>
                    <a:lnTo>
                      <a:pt x="96" y="149"/>
                    </a:lnTo>
                    <a:lnTo>
                      <a:pt x="94" y="146"/>
                    </a:lnTo>
                    <a:lnTo>
                      <a:pt x="94" y="145"/>
                    </a:lnTo>
                    <a:lnTo>
                      <a:pt x="93" y="144"/>
                    </a:lnTo>
                    <a:lnTo>
                      <a:pt x="93" y="143"/>
                    </a:lnTo>
                    <a:lnTo>
                      <a:pt x="92" y="141"/>
                    </a:lnTo>
                    <a:lnTo>
                      <a:pt x="92" y="140"/>
                    </a:lnTo>
                    <a:lnTo>
                      <a:pt x="92" y="138"/>
                    </a:lnTo>
                    <a:lnTo>
                      <a:pt x="91" y="136"/>
                    </a:lnTo>
                    <a:lnTo>
                      <a:pt x="91" y="135"/>
                    </a:lnTo>
                    <a:lnTo>
                      <a:pt x="90" y="133"/>
                    </a:lnTo>
                    <a:lnTo>
                      <a:pt x="90" y="132"/>
                    </a:lnTo>
                    <a:lnTo>
                      <a:pt x="89" y="131"/>
                    </a:lnTo>
                    <a:lnTo>
                      <a:pt x="88" y="130"/>
                    </a:lnTo>
                    <a:lnTo>
                      <a:pt x="87" y="129"/>
                    </a:lnTo>
                    <a:lnTo>
                      <a:pt x="86" y="128"/>
                    </a:lnTo>
                    <a:lnTo>
                      <a:pt x="84" y="126"/>
                    </a:lnTo>
                    <a:lnTo>
                      <a:pt x="81" y="124"/>
                    </a:lnTo>
                    <a:lnTo>
                      <a:pt x="79" y="122"/>
                    </a:lnTo>
                    <a:lnTo>
                      <a:pt x="77" y="120"/>
                    </a:lnTo>
                    <a:lnTo>
                      <a:pt x="76" y="119"/>
                    </a:lnTo>
                    <a:lnTo>
                      <a:pt x="75" y="118"/>
                    </a:lnTo>
                    <a:lnTo>
                      <a:pt x="69" y="118"/>
                    </a:lnTo>
                    <a:lnTo>
                      <a:pt x="63" y="118"/>
                    </a:lnTo>
                    <a:lnTo>
                      <a:pt x="57" y="118"/>
                    </a:lnTo>
                    <a:lnTo>
                      <a:pt x="51" y="118"/>
                    </a:lnTo>
                    <a:lnTo>
                      <a:pt x="50" y="119"/>
                    </a:lnTo>
                    <a:lnTo>
                      <a:pt x="49" y="119"/>
                    </a:lnTo>
                    <a:lnTo>
                      <a:pt x="47" y="120"/>
                    </a:lnTo>
                    <a:lnTo>
                      <a:pt x="45" y="121"/>
                    </a:lnTo>
                    <a:lnTo>
                      <a:pt x="43" y="122"/>
                    </a:lnTo>
                    <a:lnTo>
                      <a:pt x="42" y="123"/>
                    </a:lnTo>
                    <a:lnTo>
                      <a:pt x="41" y="123"/>
                    </a:lnTo>
                    <a:lnTo>
                      <a:pt x="40" y="124"/>
                    </a:lnTo>
                    <a:lnTo>
                      <a:pt x="39" y="124"/>
                    </a:lnTo>
                    <a:lnTo>
                      <a:pt x="38" y="125"/>
                    </a:lnTo>
                    <a:lnTo>
                      <a:pt x="37" y="126"/>
                    </a:lnTo>
                    <a:lnTo>
                      <a:pt x="37" y="127"/>
                    </a:lnTo>
                    <a:lnTo>
                      <a:pt x="36" y="128"/>
                    </a:lnTo>
                    <a:lnTo>
                      <a:pt x="36" y="127"/>
                    </a:lnTo>
                    <a:lnTo>
                      <a:pt x="35" y="126"/>
                    </a:lnTo>
                    <a:lnTo>
                      <a:pt x="35" y="125"/>
                    </a:lnTo>
                    <a:lnTo>
                      <a:pt x="34" y="124"/>
                    </a:lnTo>
                    <a:lnTo>
                      <a:pt x="34" y="123"/>
                    </a:lnTo>
                    <a:lnTo>
                      <a:pt x="34" y="122"/>
                    </a:lnTo>
                    <a:lnTo>
                      <a:pt x="34" y="121"/>
                    </a:lnTo>
                    <a:lnTo>
                      <a:pt x="34" y="120"/>
                    </a:lnTo>
                    <a:lnTo>
                      <a:pt x="35" y="120"/>
                    </a:lnTo>
                    <a:lnTo>
                      <a:pt x="35" y="119"/>
                    </a:lnTo>
                    <a:lnTo>
                      <a:pt x="35" y="118"/>
                    </a:lnTo>
                    <a:lnTo>
                      <a:pt x="36" y="117"/>
                    </a:lnTo>
                    <a:lnTo>
                      <a:pt x="36" y="117"/>
                    </a:lnTo>
                    <a:lnTo>
                      <a:pt x="36" y="116"/>
                    </a:lnTo>
                    <a:lnTo>
                      <a:pt x="37" y="114"/>
                    </a:lnTo>
                    <a:lnTo>
                      <a:pt x="38" y="113"/>
                    </a:lnTo>
                    <a:lnTo>
                      <a:pt x="40" y="112"/>
                    </a:lnTo>
                    <a:lnTo>
                      <a:pt x="41" y="110"/>
                    </a:lnTo>
                    <a:lnTo>
                      <a:pt x="41" y="110"/>
                    </a:lnTo>
                    <a:lnTo>
                      <a:pt x="42" y="109"/>
                    </a:lnTo>
                    <a:lnTo>
                      <a:pt x="42" y="108"/>
                    </a:lnTo>
                    <a:lnTo>
                      <a:pt x="42" y="107"/>
                    </a:lnTo>
                    <a:lnTo>
                      <a:pt x="43" y="106"/>
                    </a:lnTo>
                    <a:lnTo>
                      <a:pt x="43" y="105"/>
                    </a:lnTo>
                    <a:lnTo>
                      <a:pt x="43" y="104"/>
                    </a:lnTo>
                    <a:lnTo>
                      <a:pt x="43" y="104"/>
                    </a:lnTo>
                    <a:lnTo>
                      <a:pt x="43" y="102"/>
                    </a:lnTo>
                    <a:lnTo>
                      <a:pt x="43" y="101"/>
                    </a:lnTo>
                    <a:lnTo>
                      <a:pt x="43" y="101"/>
                    </a:lnTo>
                    <a:lnTo>
                      <a:pt x="43" y="100"/>
                    </a:lnTo>
                    <a:lnTo>
                      <a:pt x="42" y="99"/>
                    </a:lnTo>
                    <a:lnTo>
                      <a:pt x="42" y="98"/>
                    </a:lnTo>
                    <a:lnTo>
                      <a:pt x="41" y="97"/>
                    </a:lnTo>
                    <a:lnTo>
                      <a:pt x="40" y="96"/>
                    </a:lnTo>
                    <a:lnTo>
                      <a:pt x="39" y="95"/>
                    </a:lnTo>
                    <a:lnTo>
                      <a:pt x="38" y="95"/>
                    </a:lnTo>
                    <a:lnTo>
                      <a:pt x="37" y="94"/>
                    </a:lnTo>
                    <a:lnTo>
                      <a:pt x="36" y="94"/>
                    </a:lnTo>
                    <a:lnTo>
                      <a:pt x="34" y="93"/>
                    </a:lnTo>
                    <a:lnTo>
                      <a:pt x="33" y="93"/>
                    </a:lnTo>
                    <a:lnTo>
                      <a:pt x="32" y="93"/>
                    </a:lnTo>
                    <a:lnTo>
                      <a:pt x="29" y="92"/>
                    </a:lnTo>
                    <a:lnTo>
                      <a:pt x="26" y="91"/>
                    </a:lnTo>
                    <a:lnTo>
                      <a:pt x="26" y="89"/>
                    </a:lnTo>
                    <a:lnTo>
                      <a:pt x="25" y="87"/>
                    </a:lnTo>
                    <a:lnTo>
                      <a:pt x="25" y="86"/>
                    </a:lnTo>
                    <a:lnTo>
                      <a:pt x="25" y="85"/>
                    </a:lnTo>
                    <a:lnTo>
                      <a:pt x="25" y="84"/>
                    </a:lnTo>
                    <a:lnTo>
                      <a:pt x="24" y="84"/>
                    </a:lnTo>
                    <a:lnTo>
                      <a:pt x="24" y="83"/>
                    </a:lnTo>
                    <a:lnTo>
                      <a:pt x="23" y="82"/>
                    </a:lnTo>
                    <a:lnTo>
                      <a:pt x="22" y="82"/>
                    </a:lnTo>
                    <a:lnTo>
                      <a:pt x="21" y="81"/>
                    </a:lnTo>
                    <a:lnTo>
                      <a:pt x="20" y="81"/>
                    </a:lnTo>
                    <a:lnTo>
                      <a:pt x="20" y="81"/>
                    </a:lnTo>
                    <a:lnTo>
                      <a:pt x="19" y="81"/>
                    </a:lnTo>
                    <a:lnTo>
                      <a:pt x="19" y="81"/>
                    </a:lnTo>
                    <a:lnTo>
                      <a:pt x="18" y="81"/>
                    </a:lnTo>
                    <a:lnTo>
                      <a:pt x="17" y="81"/>
                    </a:lnTo>
                    <a:lnTo>
                      <a:pt x="16" y="81"/>
                    </a:lnTo>
                    <a:lnTo>
                      <a:pt x="16" y="80"/>
                    </a:lnTo>
                    <a:lnTo>
                      <a:pt x="17" y="79"/>
                    </a:lnTo>
                    <a:lnTo>
                      <a:pt x="17" y="77"/>
                    </a:lnTo>
                    <a:lnTo>
                      <a:pt x="17" y="76"/>
                    </a:lnTo>
                    <a:lnTo>
                      <a:pt x="17" y="75"/>
                    </a:lnTo>
                    <a:lnTo>
                      <a:pt x="17" y="74"/>
                    </a:lnTo>
                    <a:lnTo>
                      <a:pt x="16" y="71"/>
                    </a:lnTo>
                    <a:lnTo>
                      <a:pt x="16" y="69"/>
                    </a:lnTo>
                    <a:lnTo>
                      <a:pt x="15" y="67"/>
                    </a:lnTo>
                    <a:lnTo>
                      <a:pt x="15" y="65"/>
                    </a:lnTo>
                    <a:lnTo>
                      <a:pt x="14" y="63"/>
                    </a:lnTo>
                    <a:lnTo>
                      <a:pt x="13" y="60"/>
                    </a:lnTo>
                    <a:lnTo>
                      <a:pt x="13" y="58"/>
                    </a:lnTo>
                    <a:lnTo>
                      <a:pt x="12" y="55"/>
                    </a:lnTo>
                    <a:lnTo>
                      <a:pt x="12" y="53"/>
                    </a:lnTo>
                    <a:lnTo>
                      <a:pt x="11" y="51"/>
                    </a:lnTo>
                    <a:lnTo>
                      <a:pt x="11" y="49"/>
                    </a:lnTo>
                    <a:lnTo>
                      <a:pt x="11" y="48"/>
                    </a:lnTo>
                    <a:lnTo>
                      <a:pt x="11" y="47"/>
                    </a:lnTo>
                    <a:lnTo>
                      <a:pt x="11" y="46"/>
                    </a:lnTo>
                    <a:lnTo>
                      <a:pt x="11" y="46"/>
                    </a:lnTo>
                    <a:lnTo>
                      <a:pt x="11" y="45"/>
                    </a:lnTo>
                    <a:lnTo>
                      <a:pt x="10" y="45"/>
                    </a:lnTo>
                    <a:lnTo>
                      <a:pt x="10" y="44"/>
                    </a:lnTo>
                    <a:lnTo>
                      <a:pt x="9" y="43"/>
                    </a:lnTo>
                    <a:lnTo>
                      <a:pt x="8" y="43"/>
                    </a:lnTo>
                    <a:lnTo>
                      <a:pt x="7" y="42"/>
                    </a:lnTo>
                    <a:lnTo>
                      <a:pt x="6" y="42"/>
                    </a:lnTo>
                    <a:lnTo>
                      <a:pt x="5" y="42"/>
                    </a:lnTo>
                    <a:lnTo>
                      <a:pt x="4" y="41"/>
                    </a:lnTo>
                    <a:lnTo>
                      <a:pt x="3" y="41"/>
                    </a:lnTo>
                    <a:lnTo>
                      <a:pt x="2" y="41"/>
                    </a:lnTo>
                    <a:lnTo>
                      <a:pt x="1" y="40"/>
                    </a:lnTo>
                    <a:lnTo>
                      <a:pt x="1" y="39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5"/>
                    </a:lnTo>
                    <a:lnTo>
                      <a:pt x="1" y="35"/>
                    </a:lnTo>
                    <a:lnTo>
                      <a:pt x="1" y="34"/>
                    </a:lnTo>
                    <a:lnTo>
                      <a:pt x="1" y="34"/>
                    </a:lnTo>
                    <a:lnTo>
                      <a:pt x="2" y="34"/>
                    </a:lnTo>
                    <a:lnTo>
                      <a:pt x="3" y="34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5" y="33"/>
                    </a:lnTo>
                    <a:lnTo>
                      <a:pt x="6" y="34"/>
                    </a:lnTo>
                    <a:lnTo>
                      <a:pt x="7" y="34"/>
                    </a:lnTo>
                    <a:lnTo>
                      <a:pt x="9" y="34"/>
                    </a:lnTo>
                    <a:lnTo>
                      <a:pt x="11" y="35"/>
                    </a:lnTo>
                    <a:lnTo>
                      <a:pt x="12" y="35"/>
                    </a:lnTo>
                    <a:lnTo>
                      <a:pt x="13" y="35"/>
                    </a:lnTo>
                    <a:lnTo>
                      <a:pt x="13" y="35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7"/>
                    </a:lnTo>
                    <a:lnTo>
                      <a:pt x="15" y="37"/>
                    </a:lnTo>
                    <a:lnTo>
                      <a:pt x="16" y="37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9"/>
                    </a:lnTo>
                    <a:lnTo>
                      <a:pt x="16" y="39"/>
                    </a:lnTo>
                    <a:lnTo>
                      <a:pt x="16" y="40"/>
                    </a:lnTo>
                    <a:lnTo>
                      <a:pt x="17" y="40"/>
                    </a:lnTo>
                    <a:lnTo>
                      <a:pt x="18" y="40"/>
                    </a:lnTo>
                    <a:lnTo>
                      <a:pt x="19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4" y="40"/>
                    </a:lnTo>
                    <a:lnTo>
                      <a:pt x="25" y="40"/>
                    </a:lnTo>
                    <a:lnTo>
                      <a:pt x="27" y="41"/>
                    </a:lnTo>
                    <a:lnTo>
                      <a:pt x="28" y="41"/>
                    </a:lnTo>
                    <a:lnTo>
                      <a:pt x="30" y="41"/>
                    </a:lnTo>
                    <a:lnTo>
                      <a:pt x="30" y="41"/>
                    </a:lnTo>
                    <a:lnTo>
                      <a:pt x="29" y="40"/>
                    </a:lnTo>
                    <a:lnTo>
                      <a:pt x="29" y="39"/>
                    </a:lnTo>
                    <a:lnTo>
                      <a:pt x="28" y="38"/>
                    </a:lnTo>
                    <a:lnTo>
                      <a:pt x="27" y="37"/>
                    </a:lnTo>
                    <a:lnTo>
                      <a:pt x="27" y="36"/>
                    </a:lnTo>
                    <a:lnTo>
                      <a:pt x="26" y="35"/>
                    </a:lnTo>
                    <a:lnTo>
                      <a:pt x="24" y="34"/>
                    </a:lnTo>
                    <a:lnTo>
                      <a:pt x="23" y="33"/>
                    </a:lnTo>
                    <a:lnTo>
                      <a:pt x="22" y="32"/>
                    </a:lnTo>
                    <a:lnTo>
                      <a:pt x="22" y="31"/>
                    </a:lnTo>
                    <a:lnTo>
                      <a:pt x="21" y="30"/>
                    </a:lnTo>
                    <a:lnTo>
                      <a:pt x="20" y="29"/>
                    </a:lnTo>
                    <a:lnTo>
                      <a:pt x="20" y="28"/>
                    </a:lnTo>
                    <a:lnTo>
                      <a:pt x="20" y="27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5"/>
                    </a:lnTo>
                    <a:lnTo>
                      <a:pt x="20" y="25"/>
                    </a:lnTo>
                    <a:lnTo>
                      <a:pt x="21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3" y="25"/>
                    </a:lnTo>
                    <a:lnTo>
                      <a:pt x="23" y="25"/>
                    </a:lnTo>
                    <a:lnTo>
                      <a:pt x="24" y="25"/>
                    </a:lnTo>
                    <a:lnTo>
                      <a:pt x="25" y="24"/>
                    </a:lnTo>
                    <a:lnTo>
                      <a:pt x="26" y="23"/>
                    </a:lnTo>
                    <a:lnTo>
                      <a:pt x="26" y="23"/>
                    </a:lnTo>
                    <a:lnTo>
                      <a:pt x="27" y="22"/>
                    </a:lnTo>
                    <a:lnTo>
                      <a:pt x="28" y="20"/>
                    </a:lnTo>
                    <a:lnTo>
                      <a:pt x="28" y="19"/>
                    </a:lnTo>
                    <a:lnTo>
                      <a:pt x="29" y="19"/>
                    </a:lnTo>
                    <a:lnTo>
                      <a:pt x="29" y="18"/>
                    </a:lnTo>
                    <a:lnTo>
                      <a:pt x="30" y="17"/>
                    </a:lnTo>
                    <a:lnTo>
                      <a:pt x="30" y="17"/>
                    </a:lnTo>
                    <a:lnTo>
                      <a:pt x="31" y="17"/>
                    </a:lnTo>
                    <a:lnTo>
                      <a:pt x="32" y="16"/>
                    </a:lnTo>
                    <a:lnTo>
                      <a:pt x="33" y="16"/>
                    </a:lnTo>
                    <a:lnTo>
                      <a:pt x="34" y="16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6" y="15"/>
                    </a:lnTo>
                    <a:lnTo>
                      <a:pt x="37" y="15"/>
                    </a:lnTo>
                    <a:lnTo>
                      <a:pt x="38" y="16"/>
                    </a:lnTo>
                    <a:lnTo>
                      <a:pt x="39" y="16"/>
                    </a:lnTo>
                    <a:lnTo>
                      <a:pt x="41" y="16"/>
                    </a:lnTo>
                    <a:lnTo>
                      <a:pt x="42" y="17"/>
                    </a:lnTo>
                    <a:lnTo>
                      <a:pt x="43" y="17"/>
                    </a:lnTo>
                    <a:lnTo>
                      <a:pt x="45" y="18"/>
                    </a:lnTo>
                    <a:lnTo>
                      <a:pt x="46" y="19"/>
                    </a:lnTo>
                    <a:lnTo>
                      <a:pt x="49" y="20"/>
                    </a:lnTo>
                    <a:lnTo>
                      <a:pt x="50" y="21"/>
                    </a:lnTo>
                    <a:lnTo>
                      <a:pt x="52" y="22"/>
                    </a:lnTo>
                    <a:lnTo>
                      <a:pt x="53" y="23"/>
                    </a:lnTo>
                    <a:lnTo>
                      <a:pt x="55" y="23"/>
                    </a:lnTo>
                    <a:lnTo>
                      <a:pt x="56" y="24"/>
                    </a:lnTo>
                    <a:lnTo>
                      <a:pt x="57" y="24"/>
                    </a:lnTo>
                    <a:lnTo>
                      <a:pt x="58" y="24"/>
                    </a:lnTo>
                    <a:lnTo>
                      <a:pt x="59" y="25"/>
                    </a:lnTo>
                    <a:lnTo>
                      <a:pt x="62" y="26"/>
                    </a:lnTo>
                    <a:lnTo>
                      <a:pt x="65" y="27"/>
                    </a:lnTo>
                    <a:lnTo>
                      <a:pt x="67" y="27"/>
                    </a:lnTo>
                    <a:lnTo>
                      <a:pt x="70" y="28"/>
                    </a:lnTo>
                    <a:lnTo>
                      <a:pt x="73" y="29"/>
                    </a:lnTo>
                    <a:lnTo>
                      <a:pt x="75" y="29"/>
                    </a:lnTo>
                    <a:lnTo>
                      <a:pt x="78" y="30"/>
                    </a:lnTo>
                    <a:lnTo>
                      <a:pt x="81" y="30"/>
                    </a:lnTo>
                    <a:lnTo>
                      <a:pt x="83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1"/>
                    </a:lnTo>
                    <a:lnTo>
                      <a:pt x="85" y="31"/>
                    </a:lnTo>
                    <a:lnTo>
                      <a:pt x="85" y="32"/>
                    </a:lnTo>
                    <a:lnTo>
                      <a:pt x="84" y="32"/>
                    </a:lnTo>
                    <a:lnTo>
                      <a:pt x="84" y="32"/>
                    </a:lnTo>
                    <a:lnTo>
                      <a:pt x="82" y="32"/>
                    </a:lnTo>
                    <a:lnTo>
                      <a:pt x="82" y="32"/>
                    </a:lnTo>
                    <a:lnTo>
                      <a:pt x="81" y="33"/>
                    </a:lnTo>
                    <a:lnTo>
                      <a:pt x="80" y="33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79" y="35"/>
                    </a:lnTo>
                    <a:lnTo>
                      <a:pt x="79" y="35"/>
                    </a:lnTo>
                    <a:lnTo>
                      <a:pt x="79" y="36"/>
                    </a:lnTo>
                    <a:lnTo>
                      <a:pt x="79" y="36"/>
                    </a:lnTo>
                    <a:lnTo>
                      <a:pt x="80" y="37"/>
                    </a:lnTo>
                    <a:lnTo>
                      <a:pt x="80" y="37"/>
                    </a:lnTo>
                    <a:lnTo>
                      <a:pt x="81" y="38"/>
                    </a:lnTo>
                    <a:lnTo>
                      <a:pt x="82" y="38"/>
                    </a:lnTo>
                    <a:lnTo>
                      <a:pt x="82" y="39"/>
                    </a:lnTo>
                    <a:lnTo>
                      <a:pt x="83" y="39"/>
                    </a:lnTo>
                    <a:lnTo>
                      <a:pt x="84" y="39"/>
                    </a:lnTo>
                    <a:lnTo>
                      <a:pt x="85" y="39"/>
                    </a:lnTo>
                    <a:lnTo>
                      <a:pt x="86" y="39"/>
                    </a:lnTo>
                    <a:lnTo>
                      <a:pt x="87" y="39"/>
                    </a:lnTo>
                    <a:lnTo>
                      <a:pt x="88" y="39"/>
                    </a:lnTo>
                    <a:lnTo>
                      <a:pt x="90" y="39"/>
                    </a:lnTo>
                    <a:lnTo>
                      <a:pt x="91" y="39"/>
                    </a:lnTo>
                    <a:lnTo>
                      <a:pt x="91" y="38"/>
                    </a:lnTo>
                    <a:lnTo>
                      <a:pt x="92" y="38"/>
                    </a:lnTo>
                    <a:lnTo>
                      <a:pt x="93" y="38"/>
                    </a:lnTo>
                    <a:lnTo>
                      <a:pt x="93" y="37"/>
                    </a:lnTo>
                    <a:lnTo>
                      <a:pt x="92" y="37"/>
                    </a:lnTo>
                    <a:lnTo>
                      <a:pt x="92" y="35"/>
                    </a:lnTo>
                    <a:lnTo>
                      <a:pt x="92" y="34"/>
                    </a:lnTo>
                    <a:lnTo>
                      <a:pt x="92" y="33"/>
                    </a:lnTo>
                    <a:lnTo>
                      <a:pt x="92" y="31"/>
                    </a:lnTo>
                    <a:lnTo>
                      <a:pt x="92" y="30"/>
                    </a:lnTo>
                    <a:lnTo>
                      <a:pt x="92" y="29"/>
                    </a:lnTo>
                    <a:lnTo>
                      <a:pt x="92" y="28"/>
                    </a:lnTo>
                    <a:lnTo>
                      <a:pt x="92" y="26"/>
                    </a:lnTo>
                    <a:lnTo>
                      <a:pt x="92" y="25"/>
                    </a:lnTo>
                    <a:lnTo>
                      <a:pt x="92" y="24"/>
                    </a:lnTo>
                    <a:lnTo>
                      <a:pt x="92" y="23"/>
                    </a:lnTo>
                    <a:lnTo>
                      <a:pt x="91" y="22"/>
                    </a:lnTo>
                    <a:lnTo>
                      <a:pt x="91" y="21"/>
                    </a:lnTo>
                    <a:lnTo>
                      <a:pt x="91" y="21"/>
                    </a:lnTo>
                    <a:lnTo>
                      <a:pt x="90" y="21"/>
                    </a:lnTo>
                    <a:lnTo>
                      <a:pt x="90" y="20"/>
                    </a:lnTo>
                    <a:lnTo>
                      <a:pt x="90" y="20"/>
                    </a:lnTo>
                    <a:lnTo>
                      <a:pt x="89" y="20"/>
                    </a:lnTo>
                    <a:lnTo>
                      <a:pt x="88" y="20"/>
                    </a:lnTo>
                    <a:lnTo>
                      <a:pt x="88" y="20"/>
                    </a:lnTo>
                    <a:lnTo>
                      <a:pt x="87" y="20"/>
                    </a:lnTo>
                    <a:lnTo>
                      <a:pt x="87" y="20"/>
                    </a:lnTo>
                    <a:lnTo>
                      <a:pt x="86" y="20"/>
                    </a:lnTo>
                    <a:lnTo>
                      <a:pt x="85" y="20"/>
                    </a:lnTo>
                    <a:lnTo>
                      <a:pt x="85" y="21"/>
                    </a:lnTo>
                    <a:lnTo>
                      <a:pt x="84" y="21"/>
                    </a:lnTo>
                    <a:lnTo>
                      <a:pt x="84" y="22"/>
                    </a:lnTo>
                    <a:lnTo>
                      <a:pt x="83" y="22"/>
                    </a:lnTo>
                    <a:lnTo>
                      <a:pt x="83" y="22"/>
                    </a:lnTo>
                    <a:lnTo>
                      <a:pt x="82" y="23"/>
                    </a:lnTo>
                    <a:lnTo>
                      <a:pt x="82" y="23"/>
                    </a:lnTo>
                    <a:lnTo>
                      <a:pt x="81" y="23"/>
                    </a:lnTo>
                    <a:lnTo>
                      <a:pt x="80" y="23"/>
                    </a:lnTo>
                    <a:lnTo>
                      <a:pt x="80" y="23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78" y="23"/>
                    </a:lnTo>
                    <a:lnTo>
                      <a:pt x="77" y="23"/>
                    </a:lnTo>
                    <a:lnTo>
                      <a:pt x="76" y="23"/>
                    </a:lnTo>
                    <a:lnTo>
                      <a:pt x="75" y="23"/>
                    </a:lnTo>
                    <a:lnTo>
                      <a:pt x="75" y="22"/>
                    </a:lnTo>
                    <a:lnTo>
                      <a:pt x="74" y="22"/>
                    </a:lnTo>
                    <a:lnTo>
                      <a:pt x="73" y="22"/>
                    </a:lnTo>
                    <a:lnTo>
                      <a:pt x="73" y="21"/>
                    </a:lnTo>
                    <a:lnTo>
                      <a:pt x="72" y="21"/>
                    </a:lnTo>
                    <a:lnTo>
                      <a:pt x="71" y="20"/>
                    </a:lnTo>
                    <a:lnTo>
                      <a:pt x="70" y="19"/>
                    </a:lnTo>
                    <a:lnTo>
                      <a:pt x="69" y="17"/>
                    </a:lnTo>
                    <a:lnTo>
                      <a:pt x="69" y="17"/>
                    </a:lnTo>
                    <a:lnTo>
                      <a:pt x="68" y="17"/>
                    </a:lnTo>
                    <a:lnTo>
                      <a:pt x="68" y="15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8" y="12"/>
                    </a:lnTo>
                    <a:lnTo>
                      <a:pt x="69" y="11"/>
                    </a:lnTo>
                    <a:lnTo>
                      <a:pt x="69" y="11"/>
                    </a:lnTo>
                    <a:lnTo>
                      <a:pt x="69" y="10"/>
                    </a:lnTo>
                    <a:lnTo>
                      <a:pt x="70" y="9"/>
                    </a:lnTo>
                    <a:lnTo>
                      <a:pt x="71" y="8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2" y="5"/>
                    </a:lnTo>
                    <a:lnTo>
                      <a:pt x="73" y="4"/>
                    </a:lnTo>
                    <a:lnTo>
                      <a:pt x="73" y="3"/>
                    </a:lnTo>
                    <a:lnTo>
                      <a:pt x="78" y="3"/>
                    </a:lnTo>
                    <a:lnTo>
                      <a:pt x="80" y="3"/>
                    </a:lnTo>
                    <a:lnTo>
                      <a:pt x="81" y="3"/>
                    </a:lnTo>
                    <a:lnTo>
                      <a:pt x="83" y="3"/>
                    </a:lnTo>
                    <a:lnTo>
                      <a:pt x="85" y="3"/>
                    </a:lnTo>
                    <a:lnTo>
                      <a:pt x="86" y="3"/>
                    </a:lnTo>
                    <a:lnTo>
                      <a:pt x="88" y="3"/>
                    </a:lnTo>
                    <a:lnTo>
                      <a:pt x="89" y="3"/>
                    </a:lnTo>
                    <a:lnTo>
                      <a:pt x="91" y="3"/>
                    </a:lnTo>
                    <a:lnTo>
                      <a:pt x="92" y="3"/>
                    </a:lnTo>
                    <a:lnTo>
                      <a:pt x="94" y="2"/>
                    </a:lnTo>
                    <a:lnTo>
                      <a:pt x="95" y="2"/>
                    </a:lnTo>
                    <a:lnTo>
                      <a:pt x="96" y="2"/>
                    </a:lnTo>
                    <a:lnTo>
                      <a:pt x="99" y="1"/>
                    </a:lnTo>
                    <a:lnTo>
                      <a:pt x="101" y="0"/>
                    </a:lnTo>
                    <a:lnTo>
                      <a:pt x="103" y="1"/>
                    </a:lnTo>
                    <a:lnTo>
                      <a:pt x="104" y="1"/>
                    </a:lnTo>
                    <a:lnTo>
                      <a:pt x="106" y="2"/>
                    </a:lnTo>
                    <a:lnTo>
                      <a:pt x="108" y="3"/>
                    </a:lnTo>
                    <a:lnTo>
                      <a:pt x="111" y="4"/>
                    </a:lnTo>
                    <a:lnTo>
                      <a:pt x="115" y="5"/>
                    </a:lnTo>
                    <a:lnTo>
                      <a:pt x="115" y="5"/>
                    </a:lnTo>
                    <a:lnTo>
                      <a:pt x="116" y="5"/>
                    </a:lnTo>
                    <a:lnTo>
                      <a:pt x="116" y="5"/>
                    </a:lnTo>
                    <a:lnTo>
                      <a:pt x="116" y="4"/>
                    </a:lnTo>
                    <a:lnTo>
                      <a:pt x="117" y="4"/>
                    </a:lnTo>
                    <a:lnTo>
                      <a:pt x="117" y="3"/>
                    </a:lnTo>
                    <a:lnTo>
                      <a:pt x="117" y="3"/>
                    </a:lnTo>
                    <a:lnTo>
                      <a:pt x="118" y="2"/>
                    </a:lnTo>
                    <a:lnTo>
                      <a:pt x="118" y="1"/>
                    </a:lnTo>
                    <a:lnTo>
                      <a:pt x="118" y="1"/>
                    </a:lnTo>
                    <a:lnTo>
                      <a:pt x="118" y="0"/>
                    </a:lnTo>
                    <a:lnTo>
                      <a:pt x="119" y="0"/>
                    </a:lnTo>
                    <a:lnTo>
                      <a:pt x="119" y="0"/>
                    </a:lnTo>
                    <a:lnTo>
                      <a:pt x="120" y="0"/>
                    </a:lnTo>
                    <a:lnTo>
                      <a:pt x="121" y="1"/>
                    </a:lnTo>
                    <a:lnTo>
                      <a:pt x="122" y="2"/>
                    </a:lnTo>
                    <a:lnTo>
                      <a:pt x="124" y="5"/>
                    </a:lnTo>
                    <a:lnTo>
                      <a:pt x="125" y="6"/>
                    </a:lnTo>
                    <a:lnTo>
                      <a:pt x="126" y="7"/>
                    </a:lnTo>
                    <a:lnTo>
                      <a:pt x="127" y="8"/>
                    </a:lnTo>
                    <a:lnTo>
                      <a:pt x="128" y="10"/>
                    </a:lnTo>
                    <a:lnTo>
                      <a:pt x="129" y="11"/>
                    </a:lnTo>
                    <a:lnTo>
                      <a:pt x="131" y="12"/>
                    </a:lnTo>
                    <a:lnTo>
                      <a:pt x="132" y="12"/>
                    </a:lnTo>
                    <a:lnTo>
                      <a:pt x="134" y="13"/>
                    </a:lnTo>
                    <a:lnTo>
                      <a:pt x="135" y="14"/>
                    </a:lnTo>
                    <a:lnTo>
                      <a:pt x="137" y="14"/>
                    </a:lnTo>
                    <a:lnTo>
                      <a:pt x="138" y="15"/>
                    </a:lnTo>
                    <a:lnTo>
                      <a:pt x="139" y="15"/>
                    </a:lnTo>
                    <a:lnTo>
                      <a:pt x="140" y="15"/>
                    </a:lnTo>
                    <a:lnTo>
                      <a:pt x="141" y="15"/>
                    </a:ln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rgbClr val="356D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schemeClr val="tx1"/>
                  </a:solidFill>
                  <a:effectLst>
                    <a:glow rad="127000">
                      <a:schemeClr val="accent1"/>
                    </a:glow>
                  </a:effectLst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7" name="Freeform 13"/>
              <p:cNvSpPr>
                <a:spLocks/>
              </p:cNvSpPr>
              <p:nvPr/>
            </p:nvSpPr>
            <p:spPr bwMode="auto">
              <a:xfrm>
                <a:off x="4203976" y="4468766"/>
                <a:ext cx="1091529" cy="1768546"/>
              </a:xfrm>
              <a:custGeom>
                <a:avLst/>
                <a:gdLst/>
                <a:ahLst/>
                <a:cxnLst>
                  <a:cxn ang="0">
                    <a:pos x="77" y="17"/>
                  </a:cxn>
                  <a:cxn ang="0">
                    <a:pos x="84" y="37"/>
                  </a:cxn>
                  <a:cxn ang="0">
                    <a:pos x="86" y="57"/>
                  </a:cxn>
                  <a:cxn ang="0">
                    <a:pos x="81" y="75"/>
                  </a:cxn>
                  <a:cxn ang="0">
                    <a:pos x="91" y="84"/>
                  </a:cxn>
                  <a:cxn ang="0">
                    <a:pos x="97" y="94"/>
                  </a:cxn>
                  <a:cxn ang="0">
                    <a:pos x="102" y="104"/>
                  </a:cxn>
                  <a:cxn ang="0">
                    <a:pos x="109" y="109"/>
                  </a:cxn>
                  <a:cxn ang="0">
                    <a:pos x="109" y="115"/>
                  </a:cxn>
                  <a:cxn ang="0">
                    <a:pos x="108" y="117"/>
                  </a:cxn>
                  <a:cxn ang="0">
                    <a:pos x="106" y="119"/>
                  </a:cxn>
                  <a:cxn ang="0">
                    <a:pos x="102" y="120"/>
                  </a:cxn>
                  <a:cxn ang="0">
                    <a:pos x="101" y="119"/>
                  </a:cxn>
                  <a:cxn ang="0">
                    <a:pos x="98" y="121"/>
                  </a:cxn>
                  <a:cxn ang="0">
                    <a:pos x="94" y="125"/>
                  </a:cxn>
                  <a:cxn ang="0">
                    <a:pos x="93" y="128"/>
                  </a:cxn>
                  <a:cxn ang="0">
                    <a:pos x="88" y="130"/>
                  </a:cxn>
                  <a:cxn ang="0">
                    <a:pos x="85" y="132"/>
                  </a:cxn>
                  <a:cxn ang="0">
                    <a:pos x="83" y="134"/>
                  </a:cxn>
                  <a:cxn ang="0">
                    <a:pos x="78" y="136"/>
                  </a:cxn>
                  <a:cxn ang="0">
                    <a:pos x="72" y="140"/>
                  </a:cxn>
                  <a:cxn ang="0">
                    <a:pos x="70" y="144"/>
                  </a:cxn>
                  <a:cxn ang="0">
                    <a:pos x="66" y="148"/>
                  </a:cxn>
                  <a:cxn ang="0">
                    <a:pos x="63" y="151"/>
                  </a:cxn>
                  <a:cxn ang="0">
                    <a:pos x="59" y="158"/>
                  </a:cxn>
                  <a:cxn ang="0">
                    <a:pos x="54" y="165"/>
                  </a:cxn>
                  <a:cxn ang="0">
                    <a:pos x="51" y="162"/>
                  </a:cxn>
                  <a:cxn ang="0">
                    <a:pos x="49" y="160"/>
                  </a:cxn>
                  <a:cxn ang="0">
                    <a:pos x="50" y="157"/>
                  </a:cxn>
                  <a:cxn ang="0">
                    <a:pos x="47" y="152"/>
                  </a:cxn>
                  <a:cxn ang="0">
                    <a:pos x="43" y="148"/>
                  </a:cxn>
                  <a:cxn ang="0">
                    <a:pos x="40" y="147"/>
                  </a:cxn>
                  <a:cxn ang="0">
                    <a:pos x="37" y="148"/>
                  </a:cxn>
                  <a:cxn ang="0">
                    <a:pos x="24" y="149"/>
                  </a:cxn>
                  <a:cxn ang="0">
                    <a:pos x="17" y="146"/>
                  </a:cxn>
                  <a:cxn ang="0">
                    <a:pos x="15" y="139"/>
                  </a:cxn>
                  <a:cxn ang="0">
                    <a:pos x="13" y="135"/>
                  </a:cxn>
                  <a:cxn ang="0">
                    <a:pos x="11" y="129"/>
                  </a:cxn>
                  <a:cxn ang="0">
                    <a:pos x="9" y="123"/>
                  </a:cxn>
                  <a:cxn ang="0">
                    <a:pos x="3" y="122"/>
                  </a:cxn>
                  <a:cxn ang="0">
                    <a:pos x="1" y="118"/>
                  </a:cxn>
                  <a:cxn ang="0">
                    <a:pos x="0" y="110"/>
                  </a:cxn>
                  <a:cxn ang="0">
                    <a:pos x="1" y="109"/>
                  </a:cxn>
                  <a:cxn ang="0">
                    <a:pos x="11" y="103"/>
                  </a:cxn>
                  <a:cxn ang="0">
                    <a:pos x="36" y="87"/>
                  </a:cxn>
                  <a:cxn ang="0">
                    <a:pos x="35" y="82"/>
                  </a:cxn>
                  <a:cxn ang="0">
                    <a:pos x="36" y="77"/>
                  </a:cxn>
                  <a:cxn ang="0">
                    <a:pos x="40" y="68"/>
                  </a:cxn>
                  <a:cxn ang="0">
                    <a:pos x="39" y="57"/>
                  </a:cxn>
                  <a:cxn ang="0">
                    <a:pos x="32" y="52"/>
                  </a:cxn>
                  <a:cxn ang="0">
                    <a:pos x="31" y="31"/>
                  </a:cxn>
                  <a:cxn ang="0">
                    <a:pos x="27" y="25"/>
                  </a:cxn>
                  <a:cxn ang="0">
                    <a:pos x="25" y="20"/>
                  </a:cxn>
                  <a:cxn ang="0">
                    <a:pos x="28" y="8"/>
                  </a:cxn>
                  <a:cxn ang="0">
                    <a:pos x="34" y="1"/>
                  </a:cxn>
                  <a:cxn ang="0">
                    <a:pos x="60" y="1"/>
                  </a:cxn>
                  <a:cxn ang="0">
                    <a:pos x="70" y="2"/>
                  </a:cxn>
                </a:cxnLst>
                <a:rect l="0" t="0" r="r" b="b"/>
                <a:pathLst>
                  <a:path w="110" h="165">
                    <a:moveTo>
                      <a:pt x="71" y="4"/>
                    </a:moveTo>
                    <a:lnTo>
                      <a:pt x="72" y="6"/>
                    </a:lnTo>
                    <a:lnTo>
                      <a:pt x="73" y="7"/>
                    </a:lnTo>
                    <a:lnTo>
                      <a:pt x="74" y="9"/>
                    </a:lnTo>
                    <a:lnTo>
                      <a:pt x="75" y="11"/>
                    </a:lnTo>
                    <a:lnTo>
                      <a:pt x="76" y="13"/>
                    </a:lnTo>
                    <a:lnTo>
                      <a:pt x="77" y="15"/>
                    </a:lnTo>
                    <a:lnTo>
                      <a:pt x="77" y="17"/>
                    </a:lnTo>
                    <a:lnTo>
                      <a:pt x="78" y="19"/>
                    </a:lnTo>
                    <a:lnTo>
                      <a:pt x="79" y="21"/>
                    </a:lnTo>
                    <a:lnTo>
                      <a:pt x="80" y="23"/>
                    </a:lnTo>
                    <a:lnTo>
                      <a:pt x="82" y="28"/>
                    </a:lnTo>
                    <a:lnTo>
                      <a:pt x="82" y="30"/>
                    </a:lnTo>
                    <a:lnTo>
                      <a:pt x="83" y="33"/>
                    </a:lnTo>
                    <a:lnTo>
                      <a:pt x="84" y="35"/>
                    </a:lnTo>
                    <a:lnTo>
                      <a:pt x="84" y="37"/>
                    </a:lnTo>
                    <a:lnTo>
                      <a:pt x="85" y="40"/>
                    </a:lnTo>
                    <a:lnTo>
                      <a:pt x="85" y="42"/>
                    </a:lnTo>
                    <a:lnTo>
                      <a:pt x="86" y="45"/>
                    </a:lnTo>
                    <a:lnTo>
                      <a:pt x="86" y="47"/>
                    </a:lnTo>
                    <a:lnTo>
                      <a:pt x="86" y="49"/>
                    </a:lnTo>
                    <a:lnTo>
                      <a:pt x="86" y="52"/>
                    </a:lnTo>
                    <a:lnTo>
                      <a:pt x="86" y="54"/>
                    </a:lnTo>
                    <a:lnTo>
                      <a:pt x="86" y="57"/>
                    </a:lnTo>
                    <a:lnTo>
                      <a:pt x="86" y="59"/>
                    </a:lnTo>
                    <a:lnTo>
                      <a:pt x="86" y="62"/>
                    </a:lnTo>
                    <a:lnTo>
                      <a:pt x="85" y="64"/>
                    </a:lnTo>
                    <a:lnTo>
                      <a:pt x="85" y="66"/>
                    </a:lnTo>
                    <a:lnTo>
                      <a:pt x="84" y="69"/>
                    </a:lnTo>
                    <a:lnTo>
                      <a:pt x="83" y="71"/>
                    </a:lnTo>
                    <a:lnTo>
                      <a:pt x="83" y="73"/>
                    </a:lnTo>
                    <a:lnTo>
                      <a:pt x="81" y="75"/>
                    </a:lnTo>
                    <a:lnTo>
                      <a:pt x="82" y="76"/>
                    </a:lnTo>
                    <a:lnTo>
                      <a:pt x="83" y="77"/>
                    </a:lnTo>
                    <a:lnTo>
                      <a:pt x="84" y="78"/>
                    </a:lnTo>
                    <a:lnTo>
                      <a:pt x="85" y="79"/>
                    </a:lnTo>
                    <a:lnTo>
                      <a:pt x="86" y="80"/>
                    </a:lnTo>
                    <a:lnTo>
                      <a:pt x="88" y="82"/>
                    </a:lnTo>
                    <a:lnTo>
                      <a:pt x="90" y="83"/>
                    </a:lnTo>
                    <a:lnTo>
                      <a:pt x="91" y="84"/>
                    </a:lnTo>
                    <a:lnTo>
                      <a:pt x="92" y="85"/>
                    </a:lnTo>
                    <a:lnTo>
                      <a:pt x="93" y="86"/>
                    </a:lnTo>
                    <a:lnTo>
                      <a:pt x="94" y="87"/>
                    </a:lnTo>
                    <a:lnTo>
                      <a:pt x="94" y="88"/>
                    </a:lnTo>
                    <a:lnTo>
                      <a:pt x="95" y="89"/>
                    </a:lnTo>
                    <a:lnTo>
                      <a:pt x="95" y="90"/>
                    </a:lnTo>
                    <a:lnTo>
                      <a:pt x="96" y="92"/>
                    </a:lnTo>
                    <a:lnTo>
                      <a:pt x="97" y="94"/>
                    </a:lnTo>
                    <a:lnTo>
                      <a:pt x="97" y="95"/>
                    </a:lnTo>
                    <a:lnTo>
                      <a:pt x="98" y="97"/>
                    </a:lnTo>
                    <a:lnTo>
                      <a:pt x="99" y="99"/>
                    </a:lnTo>
                    <a:lnTo>
                      <a:pt x="99" y="100"/>
                    </a:lnTo>
                    <a:lnTo>
                      <a:pt x="100" y="102"/>
                    </a:lnTo>
                    <a:lnTo>
                      <a:pt x="100" y="103"/>
                    </a:lnTo>
                    <a:lnTo>
                      <a:pt x="101" y="103"/>
                    </a:lnTo>
                    <a:lnTo>
                      <a:pt x="102" y="104"/>
                    </a:lnTo>
                    <a:lnTo>
                      <a:pt x="103" y="104"/>
                    </a:lnTo>
                    <a:lnTo>
                      <a:pt x="104" y="105"/>
                    </a:lnTo>
                    <a:lnTo>
                      <a:pt x="106" y="106"/>
                    </a:lnTo>
                    <a:lnTo>
                      <a:pt x="107" y="106"/>
                    </a:lnTo>
                    <a:lnTo>
                      <a:pt x="107" y="107"/>
                    </a:lnTo>
                    <a:lnTo>
                      <a:pt x="108" y="107"/>
                    </a:lnTo>
                    <a:lnTo>
                      <a:pt x="108" y="108"/>
                    </a:lnTo>
                    <a:lnTo>
                      <a:pt x="109" y="109"/>
                    </a:lnTo>
                    <a:lnTo>
                      <a:pt x="109" y="110"/>
                    </a:lnTo>
                    <a:lnTo>
                      <a:pt x="110" y="111"/>
                    </a:lnTo>
                    <a:lnTo>
                      <a:pt x="110" y="112"/>
                    </a:lnTo>
                    <a:lnTo>
                      <a:pt x="110" y="113"/>
                    </a:lnTo>
                    <a:lnTo>
                      <a:pt x="110" y="114"/>
                    </a:lnTo>
                    <a:lnTo>
                      <a:pt x="110" y="114"/>
                    </a:lnTo>
                    <a:lnTo>
                      <a:pt x="110" y="115"/>
                    </a:lnTo>
                    <a:lnTo>
                      <a:pt x="109" y="115"/>
                    </a:lnTo>
                    <a:lnTo>
                      <a:pt x="109" y="115"/>
                    </a:lnTo>
                    <a:lnTo>
                      <a:pt x="108" y="115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8" y="117"/>
                    </a:lnTo>
                    <a:lnTo>
                      <a:pt x="108" y="117"/>
                    </a:lnTo>
                    <a:lnTo>
                      <a:pt x="108" y="117"/>
                    </a:lnTo>
                    <a:lnTo>
                      <a:pt x="107" y="117"/>
                    </a:lnTo>
                    <a:lnTo>
                      <a:pt x="107" y="117"/>
                    </a:lnTo>
                    <a:lnTo>
                      <a:pt x="107" y="117"/>
                    </a:lnTo>
                    <a:lnTo>
                      <a:pt x="106" y="117"/>
                    </a:lnTo>
                    <a:lnTo>
                      <a:pt x="106" y="118"/>
                    </a:lnTo>
                    <a:lnTo>
                      <a:pt x="106" y="118"/>
                    </a:lnTo>
                    <a:lnTo>
                      <a:pt x="106" y="119"/>
                    </a:lnTo>
                    <a:lnTo>
                      <a:pt x="106" y="119"/>
                    </a:lnTo>
                    <a:lnTo>
                      <a:pt x="105" y="119"/>
                    </a:lnTo>
                    <a:lnTo>
                      <a:pt x="105" y="119"/>
                    </a:lnTo>
                    <a:lnTo>
                      <a:pt x="105" y="119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3" y="120"/>
                    </a:lnTo>
                    <a:lnTo>
                      <a:pt x="103" y="120"/>
                    </a:lnTo>
                    <a:lnTo>
                      <a:pt x="102" y="120"/>
                    </a:lnTo>
                    <a:lnTo>
                      <a:pt x="102" y="120"/>
                    </a:lnTo>
                    <a:lnTo>
                      <a:pt x="101" y="120"/>
                    </a:lnTo>
                    <a:lnTo>
                      <a:pt x="101" y="120"/>
                    </a:lnTo>
                    <a:lnTo>
                      <a:pt x="101" y="120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0" y="119"/>
                    </a:lnTo>
                    <a:lnTo>
                      <a:pt x="100" y="119"/>
                    </a:lnTo>
                    <a:lnTo>
                      <a:pt x="100" y="119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99" y="121"/>
                    </a:lnTo>
                    <a:lnTo>
                      <a:pt x="98" y="121"/>
                    </a:lnTo>
                    <a:lnTo>
                      <a:pt x="97" y="122"/>
                    </a:lnTo>
                    <a:lnTo>
                      <a:pt x="97" y="122"/>
                    </a:lnTo>
                    <a:lnTo>
                      <a:pt x="96" y="123"/>
                    </a:lnTo>
                    <a:lnTo>
                      <a:pt x="96" y="124"/>
                    </a:lnTo>
                    <a:lnTo>
                      <a:pt x="95" y="124"/>
                    </a:lnTo>
                    <a:lnTo>
                      <a:pt x="95" y="125"/>
                    </a:lnTo>
                    <a:lnTo>
                      <a:pt x="94" y="125"/>
                    </a:lnTo>
                    <a:lnTo>
                      <a:pt x="94" y="125"/>
                    </a:lnTo>
                    <a:lnTo>
                      <a:pt x="94" y="125"/>
                    </a:lnTo>
                    <a:lnTo>
                      <a:pt x="93" y="126"/>
                    </a:lnTo>
                    <a:lnTo>
                      <a:pt x="93" y="126"/>
                    </a:lnTo>
                    <a:lnTo>
                      <a:pt x="93" y="126"/>
                    </a:lnTo>
                    <a:lnTo>
                      <a:pt x="93" y="127"/>
                    </a:lnTo>
                    <a:lnTo>
                      <a:pt x="93" y="127"/>
                    </a:lnTo>
                    <a:lnTo>
                      <a:pt x="93" y="128"/>
                    </a:lnTo>
                    <a:lnTo>
                      <a:pt x="93" y="128"/>
                    </a:lnTo>
                    <a:lnTo>
                      <a:pt x="92" y="128"/>
                    </a:lnTo>
                    <a:lnTo>
                      <a:pt x="92" y="129"/>
                    </a:lnTo>
                    <a:lnTo>
                      <a:pt x="91" y="130"/>
                    </a:lnTo>
                    <a:lnTo>
                      <a:pt x="90" y="130"/>
                    </a:lnTo>
                    <a:lnTo>
                      <a:pt x="89" y="130"/>
                    </a:lnTo>
                    <a:lnTo>
                      <a:pt x="89" y="130"/>
                    </a:lnTo>
                    <a:lnTo>
                      <a:pt x="88" y="130"/>
                    </a:lnTo>
                    <a:lnTo>
                      <a:pt x="88" y="130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8" y="132"/>
                    </a:lnTo>
                    <a:lnTo>
                      <a:pt x="87" y="132"/>
                    </a:lnTo>
                    <a:lnTo>
                      <a:pt x="86" y="132"/>
                    </a:lnTo>
                    <a:lnTo>
                      <a:pt x="86" y="132"/>
                    </a:lnTo>
                    <a:lnTo>
                      <a:pt x="85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3" y="132"/>
                    </a:lnTo>
                    <a:lnTo>
                      <a:pt x="83" y="132"/>
                    </a:lnTo>
                    <a:lnTo>
                      <a:pt x="83" y="133"/>
                    </a:lnTo>
                    <a:lnTo>
                      <a:pt x="83" y="133"/>
                    </a:lnTo>
                    <a:lnTo>
                      <a:pt x="83" y="134"/>
                    </a:lnTo>
                    <a:lnTo>
                      <a:pt x="82" y="134"/>
                    </a:lnTo>
                    <a:lnTo>
                      <a:pt x="81" y="134"/>
                    </a:lnTo>
                    <a:lnTo>
                      <a:pt x="80" y="134"/>
                    </a:lnTo>
                    <a:lnTo>
                      <a:pt x="80" y="134"/>
                    </a:lnTo>
                    <a:lnTo>
                      <a:pt x="79" y="135"/>
                    </a:lnTo>
                    <a:lnTo>
                      <a:pt x="78" y="135"/>
                    </a:lnTo>
                    <a:lnTo>
                      <a:pt x="78" y="136"/>
                    </a:lnTo>
                    <a:lnTo>
                      <a:pt x="78" y="136"/>
                    </a:lnTo>
                    <a:lnTo>
                      <a:pt x="77" y="138"/>
                    </a:lnTo>
                    <a:lnTo>
                      <a:pt x="76" y="138"/>
                    </a:lnTo>
                    <a:lnTo>
                      <a:pt x="76" y="139"/>
                    </a:lnTo>
                    <a:lnTo>
                      <a:pt x="75" y="139"/>
                    </a:lnTo>
                    <a:lnTo>
                      <a:pt x="75" y="140"/>
                    </a:lnTo>
                    <a:lnTo>
                      <a:pt x="74" y="140"/>
                    </a:lnTo>
                    <a:lnTo>
                      <a:pt x="73" y="140"/>
                    </a:lnTo>
                    <a:lnTo>
                      <a:pt x="72" y="140"/>
                    </a:lnTo>
                    <a:lnTo>
                      <a:pt x="72" y="141"/>
                    </a:lnTo>
                    <a:lnTo>
                      <a:pt x="71" y="141"/>
                    </a:lnTo>
                    <a:lnTo>
                      <a:pt x="71" y="141"/>
                    </a:lnTo>
                    <a:lnTo>
                      <a:pt x="71" y="142"/>
                    </a:lnTo>
                    <a:lnTo>
                      <a:pt x="70" y="142"/>
                    </a:lnTo>
                    <a:lnTo>
                      <a:pt x="70" y="143"/>
                    </a:lnTo>
                    <a:lnTo>
                      <a:pt x="70" y="144"/>
                    </a:lnTo>
                    <a:lnTo>
                      <a:pt x="70" y="144"/>
                    </a:lnTo>
                    <a:lnTo>
                      <a:pt x="69" y="145"/>
                    </a:lnTo>
                    <a:lnTo>
                      <a:pt x="69" y="145"/>
                    </a:lnTo>
                    <a:lnTo>
                      <a:pt x="69" y="146"/>
                    </a:lnTo>
                    <a:lnTo>
                      <a:pt x="68" y="146"/>
                    </a:lnTo>
                    <a:lnTo>
                      <a:pt x="67" y="147"/>
                    </a:lnTo>
                    <a:lnTo>
                      <a:pt x="67" y="147"/>
                    </a:lnTo>
                    <a:lnTo>
                      <a:pt x="67" y="148"/>
                    </a:lnTo>
                    <a:lnTo>
                      <a:pt x="66" y="148"/>
                    </a:lnTo>
                    <a:lnTo>
                      <a:pt x="66" y="149"/>
                    </a:lnTo>
                    <a:lnTo>
                      <a:pt x="66" y="149"/>
                    </a:lnTo>
                    <a:lnTo>
                      <a:pt x="65" y="149"/>
                    </a:lnTo>
                    <a:lnTo>
                      <a:pt x="65" y="149"/>
                    </a:lnTo>
                    <a:lnTo>
                      <a:pt x="64" y="150"/>
                    </a:lnTo>
                    <a:lnTo>
                      <a:pt x="64" y="150"/>
                    </a:lnTo>
                    <a:lnTo>
                      <a:pt x="64" y="151"/>
                    </a:lnTo>
                    <a:lnTo>
                      <a:pt x="63" y="151"/>
                    </a:lnTo>
                    <a:lnTo>
                      <a:pt x="63" y="152"/>
                    </a:lnTo>
                    <a:lnTo>
                      <a:pt x="62" y="152"/>
                    </a:lnTo>
                    <a:lnTo>
                      <a:pt x="62" y="153"/>
                    </a:lnTo>
                    <a:lnTo>
                      <a:pt x="61" y="154"/>
                    </a:lnTo>
                    <a:lnTo>
                      <a:pt x="61" y="154"/>
                    </a:lnTo>
                    <a:lnTo>
                      <a:pt x="60" y="155"/>
                    </a:lnTo>
                    <a:lnTo>
                      <a:pt x="60" y="156"/>
                    </a:lnTo>
                    <a:lnTo>
                      <a:pt x="59" y="158"/>
                    </a:lnTo>
                    <a:lnTo>
                      <a:pt x="58" y="160"/>
                    </a:lnTo>
                    <a:lnTo>
                      <a:pt x="58" y="162"/>
                    </a:lnTo>
                    <a:lnTo>
                      <a:pt x="57" y="163"/>
                    </a:lnTo>
                    <a:lnTo>
                      <a:pt x="56" y="165"/>
                    </a:lnTo>
                    <a:lnTo>
                      <a:pt x="56" y="165"/>
                    </a:lnTo>
                    <a:lnTo>
                      <a:pt x="55" y="165"/>
                    </a:lnTo>
                    <a:lnTo>
                      <a:pt x="54" y="165"/>
                    </a:lnTo>
                    <a:lnTo>
                      <a:pt x="54" y="165"/>
                    </a:lnTo>
                    <a:lnTo>
                      <a:pt x="53" y="165"/>
                    </a:lnTo>
                    <a:lnTo>
                      <a:pt x="53" y="165"/>
                    </a:lnTo>
                    <a:lnTo>
                      <a:pt x="53" y="164"/>
                    </a:lnTo>
                    <a:lnTo>
                      <a:pt x="53" y="164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1" y="162"/>
                    </a:lnTo>
                    <a:lnTo>
                      <a:pt x="51" y="162"/>
                    </a:lnTo>
                    <a:lnTo>
                      <a:pt x="50" y="162"/>
                    </a:lnTo>
                    <a:lnTo>
                      <a:pt x="50" y="162"/>
                    </a:lnTo>
                    <a:lnTo>
                      <a:pt x="50" y="161"/>
                    </a:lnTo>
                    <a:lnTo>
                      <a:pt x="50" y="161"/>
                    </a:lnTo>
                    <a:lnTo>
                      <a:pt x="50" y="161"/>
                    </a:lnTo>
                    <a:lnTo>
                      <a:pt x="49" y="160"/>
                    </a:lnTo>
                    <a:lnTo>
                      <a:pt x="49" y="160"/>
                    </a:lnTo>
                    <a:lnTo>
                      <a:pt x="49" y="160"/>
                    </a:lnTo>
                    <a:lnTo>
                      <a:pt x="48" y="160"/>
                    </a:lnTo>
                    <a:lnTo>
                      <a:pt x="48" y="160"/>
                    </a:lnTo>
                    <a:lnTo>
                      <a:pt x="49" y="159"/>
                    </a:lnTo>
                    <a:lnTo>
                      <a:pt x="49" y="159"/>
                    </a:lnTo>
                    <a:lnTo>
                      <a:pt x="49" y="158"/>
                    </a:lnTo>
                    <a:lnTo>
                      <a:pt x="49" y="158"/>
                    </a:lnTo>
                    <a:lnTo>
                      <a:pt x="50" y="157"/>
                    </a:lnTo>
                    <a:lnTo>
                      <a:pt x="50" y="157"/>
                    </a:lnTo>
                    <a:lnTo>
                      <a:pt x="50" y="157"/>
                    </a:lnTo>
                    <a:lnTo>
                      <a:pt x="50" y="156"/>
                    </a:lnTo>
                    <a:lnTo>
                      <a:pt x="49" y="155"/>
                    </a:lnTo>
                    <a:lnTo>
                      <a:pt x="49" y="154"/>
                    </a:lnTo>
                    <a:lnTo>
                      <a:pt x="49" y="153"/>
                    </a:lnTo>
                    <a:lnTo>
                      <a:pt x="48" y="152"/>
                    </a:lnTo>
                    <a:lnTo>
                      <a:pt x="47" y="152"/>
                    </a:lnTo>
                    <a:lnTo>
                      <a:pt x="47" y="151"/>
                    </a:lnTo>
                    <a:lnTo>
                      <a:pt x="46" y="150"/>
                    </a:lnTo>
                    <a:lnTo>
                      <a:pt x="45" y="150"/>
                    </a:lnTo>
                    <a:lnTo>
                      <a:pt x="44" y="149"/>
                    </a:lnTo>
                    <a:lnTo>
                      <a:pt x="44" y="149"/>
                    </a:lnTo>
                    <a:lnTo>
                      <a:pt x="43" y="149"/>
                    </a:lnTo>
                    <a:lnTo>
                      <a:pt x="43" y="148"/>
                    </a:lnTo>
                    <a:lnTo>
                      <a:pt x="43" y="148"/>
                    </a:lnTo>
                    <a:lnTo>
                      <a:pt x="43" y="147"/>
                    </a:lnTo>
                    <a:lnTo>
                      <a:pt x="43" y="147"/>
                    </a:lnTo>
                    <a:lnTo>
                      <a:pt x="42" y="147"/>
                    </a:lnTo>
                    <a:lnTo>
                      <a:pt x="42" y="147"/>
                    </a:lnTo>
                    <a:lnTo>
                      <a:pt x="41" y="147"/>
                    </a:lnTo>
                    <a:lnTo>
                      <a:pt x="41" y="147"/>
                    </a:lnTo>
                    <a:lnTo>
                      <a:pt x="41" y="147"/>
                    </a:lnTo>
                    <a:lnTo>
                      <a:pt x="40" y="147"/>
                    </a:lnTo>
                    <a:lnTo>
                      <a:pt x="40" y="147"/>
                    </a:lnTo>
                    <a:lnTo>
                      <a:pt x="39" y="147"/>
                    </a:lnTo>
                    <a:lnTo>
                      <a:pt x="38" y="147"/>
                    </a:lnTo>
                    <a:lnTo>
                      <a:pt x="38" y="147"/>
                    </a:lnTo>
                    <a:lnTo>
                      <a:pt x="37" y="147"/>
                    </a:lnTo>
                    <a:lnTo>
                      <a:pt x="37" y="147"/>
                    </a:lnTo>
                    <a:lnTo>
                      <a:pt x="37" y="148"/>
                    </a:lnTo>
                    <a:lnTo>
                      <a:pt x="37" y="148"/>
                    </a:lnTo>
                    <a:lnTo>
                      <a:pt x="36" y="149"/>
                    </a:lnTo>
                    <a:lnTo>
                      <a:pt x="35" y="148"/>
                    </a:lnTo>
                    <a:lnTo>
                      <a:pt x="34" y="148"/>
                    </a:lnTo>
                    <a:lnTo>
                      <a:pt x="32" y="148"/>
                    </a:lnTo>
                    <a:lnTo>
                      <a:pt x="31" y="148"/>
                    </a:lnTo>
                    <a:lnTo>
                      <a:pt x="28" y="149"/>
                    </a:lnTo>
                    <a:lnTo>
                      <a:pt x="25" y="149"/>
                    </a:lnTo>
                    <a:lnTo>
                      <a:pt x="24" y="149"/>
                    </a:lnTo>
                    <a:lnTo>
                      <a:pt x="22" y="149"/>
                    </a:lnTo>
                    <a:lnTo>
                      <a:pt x="21" y="149"/>
                    </a:lnTo>
                    <a:lnTo>
                      <a:pt x="20" y="149"/>
                    </a:lnTo>
                    <a:lnTo>
                      <a:pt x="19" y="148"/>
                    </a:lnTo>
                    <a:lnTo>
                      <a:pt x="18" y="148"/>
                    </a:lnTo>
                    <a:lnTo>
                      <a:pt x="17" y="148"/>
                    </a:lnTo>
                    <a:lnTo>
                      <a:pt x="16" y="147"/>
                    </a:lnTo>
                    <a:lnTo>
                      <a:pt x="17" y="146"/>
                    </a:lnTo>
                    <a:lnTo>
                      <a:pt x="17" y="146"/>
                    </a:lnTo>
                    <a:lnTo>
                      <a:pt x="16" y="145"/>
                    </a:lnTo>
                    <a:lnTo>
                      <a:pt x="16" y="145"/>
                    </a:lnTo>
                    <a:lnTo>
                      <a:pt x="16" y="144"/>
                    </a:lnTo>
                    <a:lnTo>
                      <a:pt x="16" y="144"/>
                    </a:lnTo>
                    <a:lnTo>
                      <a:pt x="15" y="144"/>
                    </a:lnTo>
                    <a:lnTo>
                      <a:pt x="15" y="144"/>
                    </a:lnTo>
                    <a:lnTo>
                      <a:pt x="15" y="139"/>
                    </a:lnTo>
                    <a:lnTo>
                      <a:pt x="15" y="138"/>
                    </a:lnTo>
                    <a:lnTo>
                      <a:pt x="15" y="137"/>
                    </a:lnTo>
                    <a:lnTo>
                      <a:pt x="15" y="137"/>
                    </a:lnTo>
                    <a:lnTo>
                      <a:pt x="15" y="136"/>
                    </a:lnTo>
                    <a:lnTo>
                      <a:pt x="14" y="136"/>
                    </a:lnTo>
                    <a:lnTo>
                      <a:pt x="14" y="136"/>
                    </a:lnTo>
                    <a:lnTo>
                      <a:pt x="13" y="135"/>
                    </a:lnTo>
                    <a:lnTo>
                      <a:pt x="13" y="135"/>
                    </a:lnTo>
                    <a:lnTo>
                      <a:pt x="13" y="130"/>
                    </a:lnTo>
                    <a:lnTo>
                      <a:pt x="13" y="130"/>
                    </a:lnTo>
                    <a:lnTo>
                      <a:pt x="13" y="129"/>
                    </a:lnTo>
                    <a:lnTo>
                      <a:pt x="13" y="129"/>
                    </a:lnTo>
                    <a:lnTo>
                      <a:pt x="13" y="129"/>
                    </a:lnTo>
                    <a:lnTo>
                      <a:pt x="12" y="129"/>
                    </a:lnTo>
                    <a:lnTo>
                      <a:pt x="12" y="129"/>
                    </a:lnTo>
                    <a:lnTo>
                      <a:pt x="11" y="129"/>
                    </a:lnTo>
                    <a:lnTo>
                      <a:pt x="11" y="124"/>
                    </a:lnTo>
                    <a:lnTo>
                      <a:pt x="11" y="124"/>
                    </a:lnTo>
                    <a:lnTo>
                      <a:pt x="11" y="124"/>
                    </a:lnTo>
                    <a:lnTo>
                      <a:pt x="10" y="124"/>
                    </a:lnTo>
                    <a:lnTo>
                      <a:pt x="10" y="124"/>
                    </a:lnTo>
                    <a:lnTo>
                      <a:pt x="10" y="123"/>
                    </a:lnTo>
                    <a:lnTo>
                      <a:pt x="9" y="123"/>
                    </a:lnTo>
                    <a:lnTo>
                      <a:pt x="9" y="123"/>
                    </a:lnTo>
                    <a:lnTo>
                      <a:pt x="9" y="123"/>
                    </a:lnTo>
                    <a:lnTo>
                      <a:pt x="9" y="122"/>
                    </a:lnTo>
                    <a:lnTo>
                      <a:pt x="8" y="122"/>
                    </a:lnTo>
                    <a:lnTo>
                      <a:pt x="7" y="122"/>
                    </a:lnTo>
                    <a:lnTo>
                      <a:pt x="6" y="122"/>
                    </a:lnTo>
                    <a:lnTo>
                      <a:pt x="5" y="122"/>
                    </a:lnTo>
                    <a:lnTo>
                      <a:pt x="4" y="122"/>
                    </a:lnTo>
                    <a:lnTo>
                      <a:pt x="3" y="122"/>
                    </a:lnTo>
                    <a:lnTo>
                      <a:pt x="2" y="122"/>
                    </a:lnTo>
                    <a:lnTo>
                      <a:pt x="1" y="122"/>
                    </a:lnTo>
                    <a:lnTo>
                      <a:pt x="1" y="121"/>
                    </a:lnTo>
                    <a:lnTo>
                      <a:pt x="1" y="120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1" y="118"/>
                    </a:lnTo>
                    <a:lnTo>
                      <a:pt x="1" y="118"/>
                    </a:lnTo>
                    <a:lnTo>
                      <a:pt x="1" y="117"/>
                    </a:lnTo>
                    <a:lnTo>
                      <a:pt x="1" y="116"/>
                    </a:lnTo>
                    <a:lnTo>
                      <a:pt x="1" y="116"/>
                    </a:lnTo>
                    <a:lnTo>
                      <a:pt x="1" y="116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09"/>
                    </a:lnTo>
                    <a:lnTo>
                      <a:pt x="1" y="109"/>
                    </a:lnTo>
                    <a:lnTo>
                      <a:pt x="2" y="109"/>
                    </a:lnTo>
                    <a:lnTo>
                      <a:pt x="2" y="109"/>
                    </a:lnTo>
                    <a:lnTo>
                      <a:pt x="3" y="109"/>
                    </a:lnTo>
                    <a:lnTo>
                      <a:pt x="3" y="109"/>
                    </a:lnTo>
                    <a:lnTo>
                      <a:pt x="5" y="107"/>
                    </a:lnTo>
                    <a:lnTo>
                      <a:pt x="7" y="106"/>
                    </a:lnTo>
                    <a:lnTo>
                      <a:pt x="9" y="104"/>
                    </a:lnTo>
                    <a:lnTo>
                      <a:pt x="11" y="103"/>
                    </a:lnTo>
                    <a:lnTo>
                      <a:pt x="15" y="100"/>
                    </a:lnTo>
                    <a:lnTo>
                      <a:pt x="20" y="98"/>
                    </a:lnTo>
                    <a:lnTo>
                      <a:pt x="24" y="95"/>
                    </a:lnTo>
                    <a:lnTo>
                      <a:pt x="28" y="93"/>
                    </a:lnTo>
                    <a:lnTo>
                      <a:pt x="30" y="91"/>
                    </a:lnTo>
                    <a:lnTo>
                      <a:pt x="32" y="90"/>
                    </a:lnTo>
                    <a:lnTo>
                      <a:pt x="34" y="89"/>
                    </a:lnTo>
                    <a:lnTo>
                      <a:pt x="36" y="87"/>
                    </a:lnTo>
                    <a:lnTo>
                      <a:pt x="37" y="86"/>
                    </a:lnTo>
                    <a:lnTo>
                      <a:pt x="37" y="86"/>
                    </a:lnTo>
                    <a:lnTo>
                      <a:pt x="37" y="85"/>
                    </a:lnTo>
                    <a:lnTo>
                      <a:pt x="36" y="85"/>
                    </a:lnTo>
                    <a:lnTo>
                      <a:pt x="36" y="84"/>
                    </a:lnTo>
                    <a:lnTo>
                      <a:pt x="36" y="84"/>
                    </a:lnTo>
                    <a:lnTo>
                      <a:pt x="35" y="83"/>
                    </a:lnTo>
                    <a:lnTo>
                      <a:pt x="35" y="82"/>
                    </a:lnTo>
                    <a:lnTo>
                      <a:pt x="35" y="82"/>
                    </a:lnTo>
                    <a:lnTo>
                      <a:pt x="35" y="81"/>
                    </a:lnTo>
                    <a:lnTo>
                      <a:pt x="34" y="81"/>
                    </a:lnTo>
                    <a:lnTo>
                      <a:pt x="34" y="80"/>
                    </a:lnTo>
                    <a:lnTo>
                      <a:pt x="34" y="80"/>
                    </a:lnTo>
                    <a:lnTo>
                      <a:pt x="35" y="79"/>
                    </a:lnTo>
                    <a:lnTo>
                      <a:pt x="36" y="78"/>
                    </a:lnTo>
                    <a:lnTo>
                      <a:pt x="36" y="77"/>
                    </a:lnTo>
                    <a:lnTo>
                      <a:pt x="37" y="76"/>
                    </a:lnTo>
                    <a:lnTo>
                      <a:pt x="38" y="76"/>
                    </a:lnTo>
                    <a:lnTo>
                      <a:pt x="38" y="75"/>
                    </a:lnTo>
                    <a:lnTo>
                      <a:pt x="39" y="73"/>
                    </a:lnTo>
                    <a:lnTo>
                      <a:pt x="39" y="72"/>
                    </a:lnTo>
                    <a:lnTo>
                      <a:pt x="39" y="71"/>
                    </a:lnTo>
                    <a:lnTo>
                      <a:pt x="40" y="70"/>
                    </a:lnTo>
                    <a:lnTo>
                      <a:pt x="40" y="68"/>
                    </a:lnTo>
                    <a:lnTo>
                      <a:pt x="40" y="67"/>
                    </a:lnTo>
                    <a:lnTo>
                      <a:pt x="40" y="65"/>
                    </a:lnTo>
                    <a:lnTo>
                      <a:pt x="40" y="64"/>
                    </a:lnTo>
                    <a:lnTo>
                      <a:pt x="40" y="62"/>
                    </a:lnTo>
                    <a:lnTo>
                      <a:pt x="40" y="60"/>
                    </a:lnTo>
                    <a:lnTo>
                      <a:pt x="40" y="59"/>
                    </a:lnTo>
                    <a:lnTo>
                      <a:pt x="39" y="58"/>
                    </a:lnTo>
                    <a:lnTo>
                      <a:pt x="39" y="57"/>
                    </a:lnTo>
                    <a:lnTo>
                      <a:pt x="38" y="57"/>
                    </a:lnTo>
                    <a:lnTo>
                      <a:pt x="37" y="56"/>
                    </a:lnTo>
                    <a:lnTo>
                      <a:pt x="36" y="56"/>
                    </a:lnTo>
                    <a:lnTo>
                      <a:pt x="35" y="55"/>
                    </a:lnTo>
                    <a:lnTo>
                      <a:pt x="34" y="54"/>
                    </a:lnTo>
                    <a:lnTo>
                      <a:pt x="33" y="54"/>
                    </a:lnTo>
                    <a:lnTo>
                      <a:pt x="33" y="53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1"/>
                    </a:lnTo>
                    <a:lnTo>
                      <a:pt x="31" y="50"/>
                    </a:lnTo>
                    <a:lnTo>
                      <a:pt x="31" y="49"/>
                    </a:lnTo>
                    <a:lnTo>
                      <a:pt x="31" y="44"/>
                    </a:lnTo>
                    <a:lnTo>
                      <a:pt x="31" y="40"/>
                    </a:lnTo>
                    <a:lnTo>
                      <a:pt x="31" y="35"/>
                    </a:lnTo>
                    <a:lnTo>
                      <a:pt x="31" y="31"/>
                    </a:lnTo>
                    <a:lnTo>
                      <a:pt x="31" y="30"/>
                    </a:lnTo>
                    <a:lnTo>
                      <a:pt x="31" y="29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9" y="27"/>
                    </a:lnTo>
                    <a:lnTo>
                      <a:pt x="28" y="27"/>
                    </a:lnTo>
                    <a:lnTo>
                      <a:pt x="27" y="26"/>
                    </a:lnTo>
                    <a:lnTo>
                      <a:pt x="27" y="25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5" y="23"/>
                    </a:lnTo>
                    <a:lnTo>
                      <a:pt x="25" y="22"/>
                    </a:lnTo>
                    <a:lnTo>
                      <a:pt x="25" y="21"/>
                    </a:lnTo>
                    <a:lnTo>
                      <a:pt x="24" y="21"/>
                    </a:lnTo>
                    <a:lnTo>
                      <a:pt x="25" y="20"/>
                    </a:lnTo>
                    <a:lnTo>
                      <a:pt x="25" y="20"/>
                    </a:lnTo>
                    <a:lnTo>
                      <a:pt x="25" y="19"/>
                    </a:lnTo>
                    <a:lnTo>
                      <a:pt x="25" y="18"/>
                    </a:lnTo>
                    <a:lnTo>
                      <a:pt x="25" y="17"/>
                    </a:lnTo>
                    <a:lnTo>
                      <a:pt x="26" y="15"/>
                    </a:lnTo>
                    <a:lnTo>
                      <a:pt x="26" y="13"/>
                    </a:lnTo>
                    <a:lnTo>
                      <a:pt x="27" y="11"/>
                    </a:lnTo>
                    <a:lnTo>
                      <a:pt x="27" y="9"/>
                    </a:lnTo>
                    <a:lnTo>
                      <a:pt x="28" y="8"/>
                    </a:lnTo>
                    <a:lnTo>
                      <a:pt x="28" y="7"/>
                    </a:lnTo>
                    <a:lnTo>
                      <a:pt x="28" y="6"/>
                    </a:lnTo>
                    <a:lnTo>
                      <a:pt x="28" y="5"/>
                    </a:lnTo>
                    <a:lnTo>
                      <a:pt x="28" y="4"/>
                    </a:lnTo>
                    <a:lnTo>
                      <a:pt x="28" y="2"/>
                    </a:lnTo>
                    <a:lnTo>
                      <a:pt x="30" y="2"/>
                    </a:lnTo>
                    <a:lnTo>
                      <a:pt x="32" y="1"/>
                    </a:lnTo>
                    <a:lnTo>
                      <a:pt x="34" y="1"/>
                    </a:lnTo>
                    <a:lnTo>
                      <a:pt x="37" y="0"/>
                    </a:lnTo>
                    <a:lnTo>
                      <a:pt x="39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7" y="0"/>
                    </a:lnTo>
                    <a:lnTo>
                      <a:pt x="52" y="0"/>
                    </a:lnTo>
                    <a:lnTo>
                      <a:pt x="58" y="1"/>
                    </a:lnTo>
                    <a:lnTo>
                      <a:pt x="60" y="1"/>
                    </a:lnTo>
                    <a:lnTo>
                      <a:pt x="63" y="1"/>
                    </a:lnTo>
                    <a:lnTo>
                      <a:pt x="66" y="1"/>
                    </a:lnTo>
                    <a:lnTo>
                      <a:pt x="68" y="0"/>
                    </a:lnTo>
                    <a:lnTo>
                      <a:pt x="69" y="1"/>
                    </a:lnTo>
                    <a:lnTo>
                      <a:pt x="69" y="1"/>
                    </a:lnTo>
                    <a:lnTo>
                      <a:pt x="70" y="1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1" y="3"/>
                    </a:lnTo>
                    <a:lnTo>
                      <a:pt x="71" y="3"/>
                    </a:lnTo>
                    <a:lnTo>
                      <a:pt x="71" y="4"/>
                    </a:ln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rgbClr val="356D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  <a:defRPr/>
                </a:pPr>
                <a:endParaRPr lang="en-US" sz="1200" dirty="0">
                  <a:solidFill>
                    <a:schemeClr val="tx1"/>
                  </a:solidFill>
                  <a:effectLst>
                    <a:glow rad="127000">
                      <a:schemeClr val="accent1"/>
                    </a:glow>
                  </a:effectLst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Freeform 14"/>
              <p:cNvSpPr>
                <a:spLocks/>
              </p:cNvSpPr>
              <p:nvPr/>
            </p:nvSpPr>
            <p:spPr bwMode="auto">
              <a:xfrm>
                <a:off x="5592303" y="1532639"/>
                <a:ext cx="1150398" cy="1447214"/>
              </a:xfrm>
              <a:custGeom>
                <a:avLst/>
                <a:gdLst/>
                <a:ahLst/>
                <a:cxnLst>
                  <a:cxn ang="0">
                    <a:pos x="111" y="79"/>
                  </a:cxn>
                  <a:cxn ang="0">
                    <a:pos x="102" y="88"/>
                  </a:cxn>
                  <a:cxn ang="0">
                    <a:pos x="98" y="95"/>
                  </a:cxn>
                  <a:cxn ang="0">
                    <a:pos x="99" y="104"/>
                  </a:cxn>
                  <a:cxn ang="0">
                    <a:pos x="107" y="113"/>
                  </a:cxn>
                  <a:cxn ang="0">
                    <a:pos x="109" y="121"/>
                  </a:cxn>
                  <a:cxn ang="0">
                    <a:pos x="105" y="126"/>
                  </a:cxn>
                  <a:cxn ang="0">
                    <a:pos x="96" y="128"/>
                  </a:cxn>
                  <a:cxn ang="0">
                    <a:pos x="91" y="118"/>
                  </a:cxn>
                  <a:cxn ang="0">
                    <a:pos x="82" y="112"/>
                  </a:cxn>
                  <a:cxn ang="0">
                    <a:pos x="74" y="113"/>
                  </a:cxn>
                  <a:cxn ang="0">
                    <a:pos x="69" y="120"/>
                  </a:cxn>
                  <a:cxn ang="0">
                    <a:pos x="64" y="126"/>
                  </a:cxn>
                  <a:cxn ang="0">
                    <a:pos x="50" y="128"/>
                  </a:cxn>
                  <a:cxn ang="0">
                    <a:pos x="45" y="133"/>
                  </a:cxn>
                  <a:cxn ang="0">
                    <a:pos x="43" y="135"/>
                  </a:cxn>
                  <a:cxn ang="0">
                    <a:pos x="41" y="130"/>
                  </a:cxn>
                  <a:cxn ang="0">
                    <a:pos x="40" y="126"/>
                  </a:cxn>
                  <a:cxn ang="0">
                    <a:pos x="34" y="122"/>
                  </a:cxn>
                  <a:cxn ang="0">
                    <a:pos x="21" y="119"/>
                  </a:cxn>
                  <a:cxn ang="0">
                    <a:pos x="19" y="113"/>
                  </a:cxn>
                  <a:cxn ang="0">
                    <a:pos x="18" y="108"/>
                  </a:cxn>
                  <a:cxn ang="0">
                    <a:pos x="15" y="106"/>
                  </a:cxn>
                  <a:cxn ang="0">
                    <a:pos x="14" y="102"/>
                  </a:cxn>
                  <a:cxn ang="0">
                    <a:pos x="11" y="98"/>
                  </a:cxn>
                  <a:cxn ang="0">
                    <a:pos x="14" y="96"/>
                  </a:cxn>
                  <a:cxn ang="0">
                    <a:pos x="14" y="89"/>
                  </a:cxn>
                  <a:cxn ang="0">
                    <a:pos x="16" y="82"/>
                  </a:cxn>
                  <a:cxn ang="0">
                    <a:pos x="18" y="73"/>
                  </a:cxn>
                  <a:cxn ang="0">
                    <a:pos x="16" y="64"/>
                  </a:cxn>
                  <a:cxn ang="0">
                    <a:pos x="12" y="59"/>
                  </a:cxn>
                  <a:cxn ang="0">
                    <a:pos x="6" y="56"/>
                  </a:cxn>
                  <a:cxn ang="0">
                    <a:pos x="5" y="55"/>
                  </a:cxn>
                  <a:cxn ang="0">
                    <a:pos x="4" y="50"/>
                  </a:cxn>
                  <a:cxn ang="0">
                    <a:pos x="0" y="48"/>
                  </a:cxn>
                  <a:cxn ang="0">
                    <a:pos x="1" y="43"/>
                  </a:cxn>
                  <a:cxn ang="0">
                    <a:pos x="3" y="38"/>
                  </a:cxn>
                  <a:cxn ang="0">
                    <a:pos x="2" y="35"/>
                  </a:cxn>
                  <a:cxn ang="0">
                    <a:pos x="4" y="32"/>
                  </a:cxn>
                  <a:cxn ang="0">
                    <a:pos x="10" y="30"/>
                  </a:cxn>
                  <a:cxn ang="0">
                    <a:pos x="14" y="32"/>
                  </a:cxn>
                  <a:cxn ang="0">
                    <a:pos x="18" y="30"/>
                  </a:cxn>
                  <a:cxn ang="0">
                    <a:pos x="24" y="24"/>
                  </a:cxn>
                  <a:cxn ang="0">
                    <a:pos x="33" y="19"/>
                  </a:cxn>
                  <a:cxn ang="0">
                    <a:pos x="36" y="13"/>
                  </a:cxn>
                  <a:cxn ang="0">
                    <a:pos x="44" y="10"/>
                  </a:cxn>
                  <a:cxn ang="0">
                    <a:pos x="48" y="4"/>
                  </a:cxn>
                  <a:cxn ang="0">
                    <a:pos x="54" y="3"/>
                  </a:cxn>
                  <a:cxn ang="0">
                    <a:pos x="59" y="0"/>
                  </a:cxn>
                  <a:cxn ang="0">
                    <a:pos x="61" y="6"/>
                  </a:cxn>
                  <a:cxn ang="0">
                    <a:pos x="58" y="10"/>
                  </a:cxn>
                  <a:cxn ang="0">
                    <a:pos x="55" y="13"/>
                  </a:cxn>
                  <a:cxn ang="0">
                    <a:pos x="60" y="17"/>
                  </a:cxn>
                  <a:cxn ang="0">
                    <a:pos x="70" y="22"/>
                  </a:cxn>
                  <a:cxn ang="0">
                    <a:pos x="77" y="26"/>
                  </a:cxn>
                  <a:cxn ang="0">
                    <a:pos x="101" y="54"/>
                  </a:cxn>
                </a:cxnLst>
                <a:rect l="0" t="0" r="r" b="b"/>
                <a:pathLst>
                  <a:path w="116" h="135">
                    <a:moveTo>
                      <a:pt x="116" y="77"/>
                    </a:moveTo>
                    <a:lnTo>
                      <a:pt x="115" y="77"/>
                    </a:lnTo>
                    <a:lnTo>
                      <a:pt x="115" y="76"/>
                    </a:lnTo>
                    <a:lnTo>
                      <a:pt x="114" y="76"/>
                    </a:lnTo>
                    <a:lnTo>
                      <a:pt x="113" y="77"/>
                    </a:lnTo>
                    <a:lnTo>
                      <a:pt x="112" y="78"/>
                    </a:lnTo>
                    <a:lnTo>
                      <a:pt x="111" y="79"/>
                    </a:lnTo>
                    <a:lnTo>
                      <a:pt x="109" y="80"/>
                    </a:lnTo>
                    <a:lnTo>
                      <a:pt x="108" y="81"/>
                    </a:lnTo>
                    <a:lnTo>
                      <a:pt x="106" y="83"/>
                    </a:lnTo>
                    <a:lnTo>
                      <a:pt x="105" y="84"/>
                    </a:lnTo>
                    <a:lnTo>
                      <a:pt x="104" y="85"/>
                    </a:lnTo>
                    <a:lnTo>
                      <a:pt x="103" y="87"/>
                    </a:lnTo>
                    <a:lnTo>
                      <a:pt x="102" y="88"/>
                    </a:lnTo>
                    <a:lnTo>
                      <a:pt x="101" y="89"/>
                    </a:lnTo>
                    <a:lnTo>
                      <a:pt x="100" y="91"/>
                    </a:lnTo>
                    <a:lnTo>
                      <a:pt x="99" y="92"/>
                    </a:lnTo>
                    <a:lnTo>
                      <a:pt x="99" y="93"/>
                    </a:lnTo>
                    <a:lnTo>
                      <a:pt x="99" y="94"/>
                    </a:lnTo>
                    <a:lnTo>
                      <a:pt x="98" y="94"/>
                    </a:lnTo>
                    <a:lnTo>
                      <a:pt x="98" y="95"/>
                    </a:lnTo>
                    <a:lnTo>
                      <a:pt x="98" y="97"/>
                    </a:lnTo>
                    <a:lnTo>
                      <a:pt x="98" y="98"/>
                    </a:lnTo>
                    <a:lnTo>
                      <a:pt x="98" y="99"/>
                    </a:lnTo>
                    <a:lnTo>
                      <a:pt x="98" y="100"/>
                    </a:lnTo>
                    <a:lnTo>
                      <a:pt x="98" y="101"/>
                    </a:lnTo>
                    <a:lnTo>
                      <a:pt x="99" y="103"/>
                    </a:lnTo>
                    <a:lnTo>
                      <a:pt x="99" y="104"/>
                    </a:lnTo>
                    <a:lnTo>
                      <a:pt x="100" y="105"/>
                    </a:lnTo>
                    <a:lnTo>
                      <a:pt x="101" y="106"/>
                    </a:lnTo>
                    <a:lnTo>
                      <a:pt x="103" y="107"/>
                    </a:lnTo>
                    <a:lnTo>
                      <a:pt x="105" y="109"/>
                    </a:lnTo>
                    <a:lnTo>
                      <a:pt x="106" y="110"/>
                    </a:lnTo>
                    <a:lnTo>
                      <a:pt x="107" y="111"/>
                    </a:lnTo>
                    <a:lnTo>
                      <a:pt x="107" y="113"/>
                    </a:lnTo>
                    <a:lnTo>
                      <a:pt x="108" y="114"/>
                    </a:lnTo>
                    <a:lnTo>
                      <a:pt x="109" y="115"/>
                    </a:lnTo>
                    <a:lnTo>
                      <a:pt x="109" y="116"/>
                    </a:lnTo>
                    <a:lnTo>
                      <a:pt x="110" y="118"/>
                    </a:lnTo>
                    <a:lnTo>
                      <a:pt x="110" y="119"/>
                    </a:lnTo>
                    <a:lnTo>
                      <a:pt x="110" y="120"/>
                    </a:lnTo>
                    <a:lnTo>
                      <a:pt x="109" y="121"/>
                    </a:lnTo>
                    <a:lnTo>
                      <a:pt x="109" y="122"/>
                    </a:lnTo>
                    <a:lnTo>
                      <a:pt x="108" y="123"/>
                    </a:lnTo>
                    <a:lnTo>
                      <a:pt x="108" y="124"/>
                    </a:lnTo>
                    <a:lnTo>
                      <a:pt x="107" y="124"/>
                    </a:lnTo>
                    <a:lnTo>
                      <a:pt x="106" y="125"/>
                    </a:lnTo>
                    <a:lnTo>
                      <a:pt x="105" y="126"/>
                    </a:lnTo>
                    <a:lnTo>
                      <a:pt x="105" y="126"/>
                    </a:lnTo>
                    <a:lnTo>
                      <a:pt x="104" y="127"/>
                    </a:lnTo>
                    <a:lnTo>
                      <a:pt x="103" y="127"/>
                    </a:lnTo>
                    <a:lnTo>
                      <a:pt x="102" y="128"/>
                    </a:lnTo>
                    <a:lnTo>
                      <a:pt x="100" y="128"/>
                    </a:lnTo>
                    <a:lnTo>
                      <a:pt x="99" y="128"/>
                    </a:lnTo>
                    <a:lnTo>
                      <a:pt x="98" y="128"/>
                    </a:lnTo>
                    <a:lnTo>
                      <a:pt x="96" y="128"/>
                    </a:lnTo>
                    <a:lnTo>
                      <a:pt x="95" y="128"/>
                    </a:lnTo>
                    <a:lnTo>
                      <a:pt x="94" y="126"/>
                    </a:lnTo>
                    <a:lnTo>
                      <a:pt x="94" y="125"/>
                    </a:lnTo>
                    <a:lnTo>
                      <a:pt x="93" y="123"/>
                    </a:lnTo>
                    <a:lnTo>
                      <a:pt x="93" y="121"/>
                    </a:lnTo>
                    <a:lnTo>
                      <a:pt x="92" y="120"/>
                    </a:lnTo>
                    <a:lnTo>
                      <a:pt x="91" y="118"/>
                    </a:lnTo>
                    <a:lnTo>
                      <a:pt x="90" y="117"/>
                    </a:lnTo>
                    <a:lnTo>
                      <a:pt x="89" y="116"/>
                    </a:lnTo>
                    <a:lnTo>
                      <a:pt x="88" y="115"/>
                    </a:lnTo>
                    <a:lnTo>
                      <a:pt x="87" y="114"/>
                    </a:lnTo>
                    <a:lnTo>
                      <a:pt x="85" y="113"/>
                    </a:lnTo>
                    <a:lnTo>
                      <a:pt x="84" y="113"/>
                    </a:lnTo>
                    <a:lnTo>
                      <a:pt x="82" y="112"/>
                    </a:lnTo>
                    <a:lnTo>
                      <a:pt x="80" y="112"/>
                    </a:lnTo>
                    <a:lnTo>
                      <a:pt x="78" y="112"/>
                    </a:lnTo>
                    <a:lnTo>
                      <a:pt x="76" y="111"/>
                    </a:lnTo>
                    <a:lnTo>
                      <a:pt x="76" y="112"/>
                    </a:lnTo>
                    <a:lnTo>
                      <a:pt x="75" y="112"/>
                    </a:lnTo>
                    <a:lnTo>
                      <a:pt x="75" y="112"/>
                    </a:lnTo>
                    <a:lnTo>
                      <a:pt x="74" y="113"/>
                    </a:lnTo>
                    <a:lnTo>
                      <a:pt x="73" y="113"/>
                    </a:lnTo>
                    <a:lnTo>
                      <a:pt x="72" y="114"/>
                    </a:lnTo>
                    <a:lnTo>
                      <a:pt x="71" y="115"/>
                    </a:lnTo>
                    <a:lnTo>
                      <a:pt x="71" y="116"/>
                    </a:lnTo>
                    <a:lnTo>
                      <a:pt x="70" y="118"/>
                    </a:lnTo>
                    <a:lnTo>
                      <a:pt x="70" y="119"/>
                    </a:lnTo>
                    <a:lnTo>
                      <a:pt x="69" y="120"/>
                    </a:lnTo>
                    <a:lnTo>
                      <a:pt x="68" y="121"/>
                    </a:lnTo>
                    <a:lnTo>
                      <a:pt x="68" y="122"/>
                    </a:lnTo>
                    <a:lnTo>
                      <a:pt x="67" y="123"/>
                    </a:lnTo>
                    <a:lnTo>
                      <a:pt x="66" y="124"/>
                    </a:lnTo>
                    <a:lnTo>
                      <a:pt x="65" y="125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3" y="126"/>
                    </a:lnTo>
                    <a:lnTo>
                      <a:pt x="53" y="126"/>
                    </a:lnTo>
                    <a:lnTo>
                      <a:pt x="53" y="126"/>
                    </a:lnTo>
                    <a:lnTo>
                      <a:pt x="52" y="127"/>
                    </a:lnTo>
                    <a:lnTo>
                      <a:pt x="52" y="127"/>
                    </a:lnTo>
                    <a:lnTo>
                      <a:pt x="51" y="127"/>
                    </a:lnTo>
                    <a:lnTo>
                      <a:pt x="50" y="128"/>
                    </a:lnTo>
                    <a:lnTo>
                      <a:pt x="50" y="128"/>
                    </a:lnTo>
                    <a:lnTo>
                      <a:pt x="49" y="129"/>
                    </a:lnTo>
                    <a:lnTo>
                      <a:pt x="48" y="130"/>
                    </a:lnTo>
                    <a:lnTo>
                      <a:pt x="47" y="131"/>
                    </a:lnTo>
                    <a:lnTo>
                      <a:pt x="47" y="132"/>
                    </a:lnTo>
                    <a:lnTo>
                      <a:pt x="46" y="133"/>
                    </a:lnTo>
                    <a:lnTo>
                      <a:pt x="45" y="133"/>
                    </a:lnTo>
                    <a:lnTo>
                      <a:pt x="44" y="134"/>
                    </a:lnTo>
                    <a:lnTo>
                      <a:pt x="44" y="135"/>
                    </a:lnTo>
                    <a:lnTo>
                      <a:pt x="44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2" y="135"/>
                    </a:lnTo>
                    <a:lnTo>
                      <a:pt x="42" y="135"/>
                    </a:lnTo>
                    <a:lnTo>
                      <a:pt x="42" y="135"/>
                    </a:lnTo>
                    <a:lnTo>
                      <a:pt x="41" y="135"/>
                    </a:lnTo>
                    <a:lnTo>
                      <a:pt x="41" y="133"/>
                    </a:lnTo>
                    <a:lnTo>
                      <a:pt x="41" y="131"/>
                    </a:lnTo>
                    <a:lnTo>
                      <a:pt x="41" y="130"/>
                    </a:lnTo>
                    <a:lnTo>
                      <a:pt x="41" y="128"/>
                    </a:lnTo>
                    <a:lnTo>
                      <a:pt x="42" y="128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39" y="125"/>
                    </a:lnTo>
                    <a:lnTo>
                      <a:pt x="38" y="125"/>
                    </a:lnTo>
                    <a:lnTo>
                      <a:pt x="37" y="124"/>
                    </a:lnTo>
                    <a:lnTo>
                      <a:pt x="35" y="123"/>
                    </a:lnTo>
                    <a:lnTo>
                      <a:pt x="34" y="122"/>
                    </a:lnTo>
                    <a:lnTo>
                      <a:pt x="33" y="122"/>
                    </a:lnTo>
                    <a:lnTo>
                      <a:pt x="32" y="121"/>
                    </a:lnTo>
                    <a:lnTo>
                      <a:pt x="30" y="121"/>
                    </a:lnTo>
                    <a:lnTo>
                      <a:pt x="29" y="120"/>
                    </a:lnTo>
                    <a:lnTo>
                      <a:pt x="27" y="120"/>
                    </a:lnTo>
                    <a:lnTo>
                      <a:pt x="24" y="119"/>
                    </a:lnTo>
                    <a:lnTo>
                      <a:pt x="21" y="119"/>
                    </a:lnTo>
                    <a:lnTo>
                      <a:pt x="18" y="118"/>
                    </a:lnTo>
                    <a:lnTo>
                      <a:pt x="18" y="117"/>
                    </a:lnTo>
                    <a:lnTo>
                      <a:pt x="19" y="116"/>
                    </a:lnTo>
                    <a:lnTo>
                      <a:pt x="19" y="115"/>
                    </a:lnTo>
                    <a:lnTo>
                      <a:pt x="19" y="115"/>
                    </a:lnTo>
                    <a:lnTo>
                      <a:pt x="19" y="114"/>
                    </a:lnTo>
                    <a:lnTo>
                      <a:pt x="19" y="113"/>
                    </a:lnTo>
                    <a:lnTo>
                      <a:pt x="19" y="112"/>
                    </a:lnTo>
                    <a:lnTo>
                      <a:pt x="19" y="112"/>
                    </a:lnTo>
                    <a:lnTo>
                      <a:pt x="19" y="111"/>
                    </a:lnTo>
                    <a:lnTo>
                      <a:pt x="19" y="110"/>
                    </a:lnTo>
                    <a:lnTo>
                      <a:pt x="19" y="109"/>
                    </a:lnTo>
                    <a:lnTo>
                      <a:pt x="18" y="109"/>
                    </a:lnTo>
                    <a:lnTo>
                      <a:pt x="18" y="108"/>
                    </a:lnTo>
                    <a:lnTo>
                      <a:pt x="17" y="108"/>
                    </a:lnTo>
                    <a:lnTo>
                      <a:pt x="17" y="107"/>
                    </a:lnTo>
                    <a:lnTo>
                      <a:pt x="16" y="106"/>
                    </a:lnTo>
                    <a:lnTo>
                      <a:pt x="16" y="106"/>
                    </a:lnTo>
                    <a:lnTo>
                      <a:pt x="15" y="106"/>
                    </a:lnTo>
                    <a:lnTo>
                      <a:pt x="15" y="106"/>
                    </a:lnTo>
                    <a:lnTo>
                      <a:pt x="15" y="106"/>
                    </a:lnTo>
                    <a:lnTo>
                      <a:pt x="15" y="105"/>
                    </a:lnTo>
                    <a:lnTo>
                      <a:pt x="15" y="105"/>
                    </a:lnTo>
                    <a:lnTo>
                      <a:pt x="15" y="104"/>
                    </a:lnTo>
                    <a:lnTo>
                      <a:pt x="15" y="103"/>
                    </a:lnTo>
                    <a:lnTo>
                      <a:pt x="15" y="103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3" y="101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99"/>
                    </a:lnTo>
                    <a:lnTo>
                      <a:pt x="12" y="99"/>
                    </a:lnTo>
                    <a:lnTo>
                      <a:pt x="11" y="98"/>
                    </a:lnTo>
                    <a:lnTo>
                      <a:pt x="12" y="98"/>
                    </a:lnTo>
                    <a:lnTo>
                      <a:pt x="12" y="98"/>
                    </a:lnTo>
                    <a:lnTo>
                      <a:pt x="13" y="98"/>
                    </a:lnTo>
                    <a:lnTo>
                      <a:pt x="13" y="97"/>
                    </a:lnTo>
                    <a:lnTo>
                      <a:pt x="14" y="97"/>
                    </a:lnTo>
                    <a:lnTo>
                      <a:pt x="14" y="96"/>
                    </a:lnTo>
                    <a:lnTo>
                      <a:pt x="14" y="96"/>
                    </a:lnTo>
                    <a:lnTo>
                      <a:pt x="14" y="95"/>
                    </a:lnTo>
                    <a:lnTo>
                      <a:pt x="15" y="94"/>
                    </a:lnTo>
                    <a:lnTo>
                      <a:pt x="15" y="94"/>
                    </a:lnTo>
                    <a:lnTo>
                      <a:pt x="15" y="93"/>
                    </a:lnTo>
                    <a:lnTo>
                      <a:pt x="14" y="92"/>
                    </a:lnTo>
                    <a:lnTo>
                      <a:pt x="14" y="90"/>
                    </a:lnTo>
                    <a:lnTo>
                      <a:pt x="14" y="89"/>
                    </a:lnTo>
                    <a:lnTo>
                      <a:pt x="14" y="88"/>
                    </a:lnTo>
                    <a:lnTo>
                      <a:pt x="14" y="87"/>
                    </a:lnTo>
                    <a:lnTo>
                      <a:pt x="15" y="87"/>
                    </a:lnTo>
                    <a:lnTo>
                      <a:pt x="15" y="85"/>
                    </a:lnTo>
                    <a:lnTo>
                      <a:pt x="15" y="84"/>
                    </a:lnTo>
                    <a:lnTo>
                      <a:pt x="16" y="83"/>
                    </a:lnTo>
                    <a:lnTo>
                      <a:pt x="16" y="82"/>
                    </a:lnTo>
                    <a:lnTo>
                      <a:pt x="16" y="81"/>
                    </a:lnTo>
                    <a:lnTo>
                      <a:pt x="17" y="80"/>
                    </a:lnTo>
                    <a:lnTo>
                      <a:pt x="17" y="79"/>
                    </a:lnTo>
                    <a:lnTo>
                      <a:pt x="18" y="78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8" y="73"/>
                    </a:lnTo>
                    <a:lnTo>
                      <a:pt x="18" y="72"/>
                    </a:lnTo>
                    <a:lnTo>
                      <a:pt x="19" y="70"/>
                    </a:lnTo>
                    <a:lnTo>
                      <a:pt x="18" y="68"/>
                    </a:lnTo>
                    <a:lnTo>
                      <a:pt x="18" y="67"/>
                    </a:lnTo>
                    <a:lnTo>
                      <a:pt x="18" y="65"/>
                    </a:lnTo>
                    <a:lnTo>
                      <a:pt x="17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5" y="63"/>
                    </a:lnTo>
                    <a:lnTo>
                      <a:pt x="14" y="62"/>
                    </a:lnTo>
                    <a:lnTo>
                      <a:pt x="14" y="61"/>
                    </a:lnTo>
                    <a:lnTo>
                      <a:pt x="13" y="60"/>
                    </a:lnTo>
                    <a:lnTo>
                      <a:pt x="12" y="59"/>
                    </a:lnTo>
                    <a:lnTo>
                      <a:pt x="12" y="59"/>
                    </a:lnTo>
                    <a:lnTo>
                      <a:pt x="11" y="58"/>
                    </a:lnTo>
                    <a:lnTo>
                      <a:pt x="10" y="58"/>
                    </a:lnTo>
                    <a:lnTo>
                      <a:pt x="9" y="57"/>
                    </a:lnTo>
                    <a:lnTo>
                      <a:pt x="9" y="57"/>
                    </a:lnTo>
                    <a:lnTo>
                      <a:pt x="7" y="57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5" y="54"/>
                    </a:lnTo>
                    <a:lnTo>
                      <a:pt x="5" y="53"/>
                    </a:lnTo>
                    <a:lnTo>
                      <a:pt x="5" y="52"/>
                    </a:lnTo>
                    <a:lnTo>
                      <a:pt x="5" y="52"/>
                    </a:lnTo>
                    <a:lnTo>
                      <a:pt x="5" y="51"/>
                    </a:lnTo>
                    <a:lnTo>
                      <a:pt x="4" y="51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3" y="50"/>
                    </a:lnTo>
                    <a:lnTo>
                      <a:pt x="3" y="49"/>
                    </a:lnTo>
                    <a:lnTo>
                      <a:pt x="2" y="49"/>
                    </a:lnTo>
                    <a:lnTo>
                      <a:pt x="1" y="49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7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5"/>
                    </a:lnTo>
                    <a:lnTo>
                      <a:pt x="0" y="44"/>
                    </a:lnTo>
                    <a:lnTo>
                      <a:pt x="1" y="43"/>
                    </a:lnTo>
                    <a:lnTo>
                      <a:pt x="1" y="43"/>
                    </a:lnTo>
                    <a:lnTo>
                      <a:pt x="1" y="42"/>
                    </a:lnTo>
                    <a:lnTo>
                      <a:pt x="2" y="41"/>
                    </a:lnTo>
                    <a:lnTo>
                      <a:pt x="2" y="41"/>
                    </a:lnTo>
                    <a:lnTo>
                      <a:pt x="3" y="40"/>
                    </a:lnTo>
                    <a:lnTo>
                      <a:pt x="3" y="39"/>
                    </a:lnTo>
                    <a:lnTo>
                      <a:pt x="3" y="39"/>
                    </a:lnTo>
                    <a:lnTo>
                      <a:pt x="3" y="38"/>
                    </a:lnTo>
                    <a:lnTo>
                      <a:pt x="3" y="38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5"/>
                    </a:lnTo>
                    <a:lnTo>
                      <a:pt x="1" y="35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4" y="33"/>
                    </a:lnTo>
                    <a:lnTo>
                      <a:pt x="4" y="32"/>
                    </a:lnTo>
                    <a:lnTo>
                      <a:pt x="5" y="32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7" y="31"/>
                    </a:lnTo>
                    <a:lnTo>
                      <a:pt x="8" y="30"/>
                    </a:lnTo>
                    <a:lnTo>
                      <a:pt x="9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1" y="30"/>
                    </a:lnTo>
                    <a:lnTo>
                      <a:pt x="12" y="30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4" y="31"/>
                    </a:lnTo>
                    <a:lnTo>
                      <a:pt x="14" y="32"/>
                    </a:lnTo>
                    <a:lnTo>
                      <a:pt x="15" y="32"/>
                    </a:lnTo>
                    <a:lnTo>
                      <a:pt x="16" y="33"/>
                    </a:lnTo>
                    <a:lnTo>
                      <a:pt x="16" y="33"/>
                    </a:lnTo>
                    <a:lnTo>
                      <a:pt x="17" y="32"/>
                    </a:lnTo>
                    <a:lnTo>
                      <a:pt x="17" y="31"/>
                    </a:lnTo>
                    <a:lnTo>
                      <a:pt x="17" y="31"/>
                    </a:lnTo>
                    <a:lnTo>
                      <a:pt x="18" y="30"/>
                    </a:lnTo>
                    <a:lnTo>
                      <a:pt x="18" y="29"/>
                    </a:lnTo>
                    <a:lnTo>
                      <a:pt x="19" y="29"/>
                    </a:lnTo>
                    <a:lnTo>
                      <a:pt x="20" y="28"/>
                    </a:lnTo>
                    <a:lnTo>
                      <a:pt x="20" y="27"/>
                    </a:lnTo>
                    <a:lnTo>
                      <a:pt x="21" y="26"/>
                    </a:lnTo>
                    <a:lnTo>
                      <a:pt x="23" y="25"/>
                    </a:lnTo>
                    <a:lnTo>
                      <a:pt x="24" y="24"/>
                    </a:lnTo>
                    <a:lnTo>
                      <a:pt x="26" y="24"/>
                    </a:lnTo>
                    <a:lnTo>
                      <a:pt x="27" y="23"/>
                    </a:lnTo>
                    <a:lnTo>
                      <a:pt x="29" y="22"/>
                    </a:lnTo>
                    <a:lnTo>
                      <a:pt x="30" y="21"/>
                    </a:lnTo>
                    <a:lnTo>
                      <a:pt x="32" y="20"/>
                    </a:lnTo>
                    <a:lnTo>
                      <a:pt x="32" y="19"/>
                    </a:lnTo>
                    <a:lnTo>
                      <a:pt x="33" y="19"/>
                    </a:lnTo>
                    <a:lnTo>
                      <a:pt x="33" y="18"/>
                    </a:lnTo>
                    <a:lnTo>
                      <a:pt x="34" y="17"/>
                    </a:lnTo>
                    <a:lnTo>
                      <a:pt x="34" y="16"/>
                    </a:lnTo>
                    <a:lnTo>
                      <a:pt x="34" y="15"/>
                    </a:lnTo>
                    <a:lnTo>
                      <a:pt x="35" y="14"/>
                    </a:lnTo>
                    <a:lnTo>
                      <a:pt x="35" y="13"/>
                    </a:lnTo>
                    <a:lnTo>
                      <a:pt x="36" y="13"/>
                    </a:lnTo>
                    <a:lnTo>
                      <a:pt x="37" y="13"/>
                    </a:lnTo>
                    <a:lnTo>
                      <a:pt x="38" y="13"/>
                    </a:lnTo>
                    <a:lnTo>
                      <a:pt x="40" y="12"/>
                    </a:lnTo>
                    <a:lnTo>
                      <a:pt x="41" y="12"/>
                    </a:lnTo>
                    <a:lnTo>
                      <a:pt x="42" y="11"/>
                    </a:lnTo>
                    <a:lnTo>
                      <a:pt x="43" y="11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5" y="9"/>
                    </a:lnTo>
                    <a:lnTo>
                      <a:pt x="46" y="8"/>
                    </a:lnTo>
                    <a:lnTo>
                      <a:pt x="46" y="7"/>
                    </a:lnTo>
                    <a:lnTo>
                      <a:pt x="47" y="6"/>
                    </a:lnTo>
                    <a:lnTo>
                      <a:pt x="47" y="5"/>
                    </a:lnTo>
                    <a:lnTo>
                      <a:pt x="48" y="4"/>
                    </a:lnTo>
                    <a:lnTo>
                      <a:pt x="48" y="3"/>
                    </a:lnTo>
                    <a:lnTo>
                      <a:pt x="49" y="3"/>
                    </a:lnTo>
                    <a:lnTo>
                      <a:pt x="50" y="3"/>
                    </a:lnTo>
                    <a:lnTo>
                      <a:pt x="51" y="3"/>
                    </a:lnTo>
                    <a:lnTo>
                      <a:pt x="52" y="3"/>
                    </a:lnTo>
                    <a:lnTo>
                      <a:pt x="53" y="3"/>
                    </a:lnTo>
                    <a:lnTo>
                      <a:pt x="54" y="3"/>
                    </a:lnTo>
                    <a:lnTo>
                      <a:pt x="55" y="2"/>
                    </a:lnTo>
                    <a:lnTo>
                      <a:pt x="55" y="2"/>
                    </a:lnTo>
                    <a:lnTo>
                      <a:pt x="57" y="1"/>
                    </a:lnTo>
                    <a:lnTo>
                      <a:pt x="57" y="1"/>
                    </a:lnTo>
                    <a:lnTo>
                      <a:pt x="58" y="1"/>
                    </a:lnTo>
                    <a:lnTo>
                      <a:pt x="59" y="0"/>
                    </a:lnTo>
                    <a:lnTo>
                      <a:pt x="59" y="0"/>
                    </a:lnTo>
                    <a:lnTo>
                      <a:pt x="60" y="0"/>
                    </a:lnTo>
                    <a:lnTo>
                      <a:pt x="61" y="0"/>
                    </a:lnTo>
                    <a:lnTo>
                      <a:pt x="61" y="2"/>
                    </a:lnTo>
                    <a:lnTo>
                      <a:pt x="61" y="3"/>
                    </a:lnTo>
                    <a:lnTo>
                      <a:pt x="61" y="4"/>
                    </a:lnTo>
                    <a:lnTo>
                      <a:pt x="61" y="5"/>
                    </a:lnTo>
                    <a:lnTo>
                      <a:pt x="61" y="6"/>
                    </a:lnTo>
                    <a:lnTo>
                      <a:pt x="61" y="7"/>
                    </a:lnTo>
                    <a:lnTo>
                      <a:pt x="61" y="8"/>
                    </a:lnTo>
                    <a:lnTo>
                      <a:pt x="60" y="8"/>
                    </a:lnTo>
                    <a:lnTo>
                      <a:pt x="60" y="9"/>
                    </a:lnTo>
                    <a:lnTo>
                      <a:pt x="59" y="9"/>
                    </a:lnTo>
                    <a:lnTo>
                      <a:pt x="59" y="10"/>
                    </a:lnTo>
                    <a:lnTo>
                      <a:pt x="58" y="10"/>
                    </a:lnTo>
                    <a:lnTo>
                      <a:pt x="57" y="10"/>
                    </a:lnTo>
                    <a:lnTo>
                      <a:pt x="56" y="10"/>
                    </a:lnTo>
                    <a:lnTo>
                      <a:pt x="55" y="10"/>
                    </a:lnTo>
                    <a:lnTo>
                      <a:pt x="55" y="10"/>
                    </a:lnTo>
                    <a:lnTo>
                      <a:pt x="55" y="11"/>
                    </a:lnTo>
                    <a:lnTo>
                      <a:pt x="55" y="12"/>
                    </a:lnTo>
                    <a:lnTo>
                      <a:pt x="55" y="13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7" y="15"/>
                    </a:lnTo>
                    <a:lnTo>
                      <a:pt x="58" y="16"/>
                    </a:lnTo>
                    <a:lnTo>
                      <a:pt x="58" y="16"/>
                    </a:lnTo>
                    <a:lnTo>
                      <a:pt x="59" y="17"/>
                    </a:lnTo>
                    <a:lnTo>
                      <a:pt x="60" y="17"/>
                    </a:lnTo>
                    <a:lnTo>
                      <a:pt x="61" y="18"/>
                    </a:lnTo>
                    <a:lnTo>
                      <a:pt x="63" y="19"/>
                    </a:lnTo>
                    <a:lnTo>
                      <a:pt x="65" y="20"/>
                    </a:lnTo>
                    <a:lnTo>
                      <a:pt x="66" y="20"/>
                    </a:lnTo>
                    <a:lnTo>
                      <a:pt x="66" y="21"/>
                    </a:lnTo>
                    <a:lnTo>
                      <a:pt x="68" y="21"/>
                    </a:lnTo>
                    <a:lnTo>
                      <a:pt x="70" y="22"/>
                    </a:lnTo>
                    <a:lnTo>
                      <a:pt x="71" y="23"/>
                    </a:lnTo>
                    <a:lnTo>
                      <a:pt x="72" y="24"/>
                    </a:lnTo>
                    <a:lnTo>
                      <a:pt x="73" y="25"/>
                    </a:lnTo>
                    <a:lnTo>
                      <a:pt x="74" y="25"/>
                    </a:lnTo>
                    <a:lnTo>
                      <a:pt x="75" y="26"/>
                    </a:lnTo>
                    <a:lnTo>
                      <a:pt x="76" y="26"/>
                    </a:lnTo>
                    <a:lnTo>
                      <a:pt x="77" y="26"/>
                    </a:lnTo>
                    <a:lnTo>
                      <a:pt x="78" y="26"/>
                    </a:lnTo>
                    <a:lnTo>
                      <a:pt x="82" y="31"/>
                    </a:lnTo>
                    <a:lnTo>
                      <a:pt x="86" y="35"/>
                    </a:lnTo>
                    <a:lnTo>
                      <a:pt x="90" y="40"/>
                    </a:lnTo>
                    <a:lnTo>
                      <a:pt x="93" y="44"/>
                    </a:lnTo>
                    <a:lnTo>
                      <a:pt x="97" y="49"/>
                    </a:lnTo>
                    <a:lnTo>
                      <a:pt x="101" y="54"/>
                    </a:lnTo>
                    <a:lnTo>
                      <a:pt x="104" y="58"/>
                    </a:lnTo>
                    <a:lnTo>
                      <a:pt x="108" y="63"/>
                    </a:lnTo>
                    <a:lnTo>
                      <a:pt x="115" y="73"/>
                    </a:lnTo>
                    <a:lnTo>
                      <a:pt x="116" y="77"/>
                    </a:ln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9525">
                <a:solidFill>
                  <a:srgbClr val="356D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  <a:defRPr/>
                </a:pPr>
                <a:endParaRPr lang="en-US" sz="1200" dirty="0">
                  <a:solidFill>
                    <a:schemeClr val="tx1"/>
                  </a:solidFill>
                  <a:effectLst>
                    <a:glow rad="127000">
                      <a:schemeClr val="accent1"/>
                    </a:glow>
                  </a:effectLst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Freeform 15"/>
              <p:cNvSpPr>
                <a:spLocks/>
              </p:cNvSpPr>
              <p:nvPr/>
            </p:nvSpPr>
            <p:spPr bwMode="auto">
              <a:xfrm>
                <a:off x="4260392" y="1341312"/>
                <a:ext cx="1383421" cy="963991"/>
              </a:xfrm>
              <a:custGeom>
                <a:avLst/>
                <a:gdLst/>
                <a:ahLst/>
                <a:cxnLst>
                  <a:cxn ang="0">
                    <a:pos x="134" y="44"/>
                  </a:cxn>
                  <a:cxn ang="0">
                    <a:pos x="132" y="48"/>
                  </a:cxn>
                  <a:cxn ang="0">
                    <a:pos x="131" y="53"/>
                  </a:cxn>
                  <a:cxn ang="0">
                    <a:pos x="136" y="54"/>
                  </a:cxn>
                  <a:cxn ang="0">
                    <a:pos x="135" y="60"/>
                  </a:cxn>
                  <a:cxn ang="0">
                    <a:pos x="137" y="67"/>
                  </a:cxn>
                  <a:cxn ang="0">
                    <a:pos x="139" y="74"/>
                  </a:cxn>
                  <a:cxn ang="0">
                    <a:pos x="128" y="71"/>
                  </a:cxn>
                  <a:cxn ang="0">
                    <a:pos x="123" y="67"/>
                  </a:cxn>
                  <a:cxn ang="0">
                    <a:pos x="114" y="68"/>
                  </a:cxn>
                  <a:cxn ang="0">
                    <a:pos x="106" y="65"/>
                  </a:cxn>
                  <a:cxn ang="0">
                    <a:pos x="94" y="59"/>
                  </a:cxn>
                  <a:cxn ang="0">
                    <a:pos x="76" y="56"/>
                  </a:cxn>
                  <a:cxn ang="0">
                    <a:pos x="65" y="49"/>
                  </a:cxn>
                  <a:cxn ang="0">
                    <a:pos x="59" y="51"/>
                  </a:cxn>
                  <a:cxn ang="0">
                    <a:pos x="44" y="54"/>
                  </a:cxn>
                  <a:cxn ang="0">
                    <a:pos x="41" y="60"/>
                  </a:cxn>
                  <a:cxn ang="0">
                    <a:pos x="42" y="65"/>
                  </a:cxn>
                  <a:cxn ang="0">
                    <a:pos x="45" y="73"/>
                  </a:cxn>
                  <a:cxn ang="0">
                    <a:pos x="31" y="85"/>
                  </a:cxn>
                  <a:cxn ang="0">
                    <a:pos x="23" y="85"/>
                  </a:cxn>
                  <a:cxn ang="0">
                    <a:pos x="14" y="89"/>
                  </a:cxn>
                  <a:cxn ang="0">
                    <a:pos x="2" y="89"/>
                  </a:cxn>
                  <a:cxn ang="0">
                    <a:pos x="1" y="72"/>
                  </a:cxn>
                  <a:cxn ang="0">
                    <a:pos x="7" y="68"/>
                  </a:cxn>
                  <a:cxn ang="0">
                    <a:pos x="7" y="59"/>
                  </a:cxn>
                  <a:cxn ang="0">
                    <a:pos x="6" y="55"/>
                  </a:cxn>
                  <a:cxn ang="0">
                    <a:pos x="6" y="50"/>
                  </a:cxn>
                  <a:cxn ang="0">
                    <a:pos x="5" y="44"/>
                  </a:cxn>
                  <a:cxn ang="0">
                    <a:pos x="7" y="39"/>
                  </a:cxn>
                  <a:cxn ang="0">
                    <a:pos x="5" y="29"/>
                  </a:cxn>
                  <a:cxn ang="0">
                    <a:pos x="10" y="23"/>
                  </a:cxn>
                  <a:cxn ang="0">
                    <a:pos x="15" y="21"/>
                  </a:cxn>
                  <a:cxn ang="0">
                    <a:pos x="20" y="18"/>
                  </a:cxn>
                  <a:cxn ang="0">
                    <a:pos x="24" y="17"/>
                  </a:cxn>
                  <a:cxn ang="0">
                    <a:pos x="30" y="15"/>
                  </a:cxn>
                  <a:cxn ang="0">
                    <a:pos x="37" y="13"/>
                  </a:cxn>
                  <a:cxn ang="0">
                    <a:pos x="42" y="8"/>
                  </a:cxn>
                  <a:cxn ang="0">
                    <a:pos x="48" y="3"/>
                  </a:cxn>
                  <a:cxn ang="0">
                    <a:pos x="53" y="0"/>
                  </a:cxn>
                  <a:cxn ang="0">
                    <a:pos x="57" y="1"/>
                  </a:cxn>
                  <a:cxn ang="0">
                    <a:pos x="62" y="3"/>
                  </a:cxn>
                  <a:cxn ang="0">
                    <a:pos x="70" y="6"/>
                  </a:cxn>
                  <a:cxn ang="0">
                    <a:pos x="73" y="7"/>
                  </a:cxn>
                  <a:cxn ang="0">
                    <a:pos x="78" y="3"/>
                  </a:cxn>
                  <a:cxn ang="0">
                    <a:pos x="82" y="1"/>
                  </a:cxn>
                  <a:cxn ang="0">
                    <a:pos x="85" y="5"/>
                  </a:cxn>
                  <a:cxn ang="0">
                    <a:pos x="86" y="12"/>
                  </a:cxn>
                  <a:cxn ang="0">
                    <a:pos x="89" y="19"/>
                  </a:cxn>
                  <a:cxn ang="0">
                    <a:pos x="88" y="30"/>
                  </a:cxn>
                  <a:cxn ang="0">
                    <a:pos x="92" y="37"/>
                  </a:cxn>
                  <a:cxn ang="0">
                    <a:pos x="103" y="36"/>
                  </a:cxn>
                  <a:cxn ang="0">
                    <a:pos x="107" y="33"/>
                  </a:cxn>
                  <a:cxn ang="0">
                    <a:pos x="110" y="31"/>
                  </a:cxn>
                  <a:cxn ang="0">
                    <a:pos x="114" y="41"/>
                  </a:cxn>
                  <a:cxn ang="0">
                    <a:pos x="119" y="42"/>
                  </a:cxn>
                  <a:cxn ang="0">
                    <a:pos x="121" y="38"/>
                  </a:cxn>
                  <a:cxn ang="0">
                    <a:pos x="127" y="38"/>
                  </a:cxn>
                  <a:cxn ang="0">
                    <a:pos x="131" y="41"/>
                  </a:cxn>
                  <a:cxn ang="0">
                    <a:pos x="135" y="40"/>
                  </a:cxn>
                  <a:cxn ang="0">
                    <a:pos x="139" y="39"/>
                  </a:cxn>
                </a:cxnLst>
                <a:rect l="0" t="0" r="r" b="b"/>
                <a:pathLst>
                  <a:path w="139" h="90">
                    <a:moveTo>
                      <a:pt x="139" y="40"/>
                    </a:moveTo>
                    <a:lnTo>
                      <a:pt x="139" y="40"/>
                    </a:lnTo>
                    <a:lnTo>
                      <a:pt x="139" y="40"/>
                    </a:lnTo>
                    <a:lnTo>
                      <a:pt x="139" y="41"/>
                    </a:lnTo>
                    <a:lnTo>
                      <a:pt x="139" y="41"/>
                    </a:lnTo>
                    <a:lnTo>
                      <a:pt x="138" y="41"/>
                    </a:lnTo>
                    <a:lnTo>
                      <a:pt x="137" y="41"/>
                    </a:lnTo>
                    <a:lnTo>
                      <a:pt x="136" y="42"/>
                    </a:lnTo>
                    <a:lnTo>
                      <a:pt x="135" y="42"/>
                    </a:lnTo>
                    <a:lnTo>
                      <a:pt x="135" y="43"/>
                    </a:lnTo>
                    <a:lnTo>
                      <a:pt x="134" y="43"/>
                    </a:lnTo>
                    <a:lnTo>
                      <a:pt x="134" y="44"/>
                    </a:lnTo>
                    <a:lnTo>
                      <a:pt x="134" y="44"/>
                    </a:lnTo>
                    <a:lnTo>
                      <a:pt x="133" y="44"/>
                    </a:lnTo>
                    <a:lnTo>
                      <a:pt x="133" y="44"/>
                    </a:lnTo>
                    <a:lnTo>
                      <a:pt x="133" y="45"/>
                    </a:lnTo>
                    <a:lnTo>
                      <a:pt x="132" y="45"/>
                    </a:lnTo>
                    <a:lnTo>
                      <a:pt x="132" y="45"/>
                    </a:lnTo>
                    <a:lnTo>
                      <a:pt x="132" y="46"/>
                    </a:lnTo>
                    <a:lnTo>
                      <a:pt x="132" y="46"/>
                    </a:lnTo>
                    <a:lnTo>
                      <a:pt x="132" y="47"/>
                    </a:lnTo>
                    <a:lnTo>
                      <a:pt x="132" y="47"/>
                    </a:lnTo>
                    <a:lnTo>
                      <a:pt x="132" y="48"/>
                    </a:lnTo>
                    <a:lnTo>
                      <a:pt x="132" y="48"/>
                    </a:lnTo>
                    <a:lnTo>
                      <a:pt x="132" y="48"/>
                    </a:lnTo>
                    <a:lnTo>
                      <a:pt x="131" y="48"/>
                    </a:lnTo>
                    <a:lnTo>
                      <a:pt x="131" y="48"/>
                    </a:lnTo>
                    <a:lnTo>
                      <a:pt x="131" y="48"/>
                    </a:lnTo>
                    <a:lnTo>
                      <a:pt x="131" y="49"/>
                    </a:lnTo>
                    <a:lnTo>
                      <a:pt x="130" y="49"/>
                    </a:lnTo>
                    <a:lnTo>
                      <a:pt x="130" y="50"/>
                    </a:lnTo>
                    <a:lnTo>
                      <a:pt x="130" y="50"/>
                    </a:lnTo>
                    <a:lnTo>
                      <a:pt x="131" y="51"/>
                    </a:lnTo>
                    <a:lnTo>
                      <a:pt x="131" y="52"/>
                    </a:lnTo>
                    <a:lnTo>
                      <a:pt x="131" y="52"/>
                    </a:lnTo>
                    <a:lnTo>
                      <a:pt x="131" y="53"/>
                    </a:lnTo>
                    <a:lnTo>
                      <a:pt x="132" y="53"/>
                    </a:lnTo>
                    <a:lnTo>
                      <a:pt x="132" y="53"/>
                    </a:lnTo>
                    <a:lnTo>
                      <a:pt x="132" y="53"/>
                    </a:lnTo>
                    <a:lnTo>
                      <a:pt x="133" y="53"/>
                    </a:lnTo>
                    <a:lnTo>
                      <a:pt x="133" y="53"/>
                    </a:lnTo>
                    <a:lnTo>
                      <a:pt x="134" y="53"/>
                    </a:lnTo>
                    <a:lnTo>
                      <a:pt x="134" y="53"/>
                    </a:lnTo>
                    <a:lnTo>
                      <a:pt x="135" y="53"/>
                    </a:lnTo>
                    <a:lnTo>
                      <a:pt x="135" y="53"/>
                    </a:lnTo>
                    <a:lnTo>
                      <a:pt x="135" y="53"/>
                    </a:lnTo>
                    <a:lnTo>
                      <a:pt x="136" y="53"/>
                    </a:lnTo>
                    <a:lnTo>
                      <a:pt x="136" y="54"/>
                    </a:lnTo>
                    <a:lnTo>
                      <a:pt x="136" y="54"/>
                    </a:lnTo>
                    <a:lnTo>
                      <a:pt x="137" y="55"/>
                    </a:lnTo>
                    <a:lnTo>
                      <a:pt x="137" y="55"/>
                    </a:lnTo>
                    <a:lnTo>
                      <a:pt x="137" y="55"/>
                    </a:lnTo>
                    <a:lnTo>
                      <a:pt x="137" y="56"/>
                    </a:lnTo>
                    <a:lnTo>
                      <a:pt x="137" y="56"/>
                    </a:lnTo>
                    <a:lnTo>
                      <a:pt x="137" y="57"/>
                    </a:lnTo>
                    <a:lnTo>
                      <a:pt x="137" y="57"/>
                    </a:lnTo>
                    <a:lnTo>
                      <a:pt x="137" y="58"/>
                    </a:lnTo>
                    <a:lnTo>
                      <a:pt x="136" y="59"/>
                    </a:lnTo>
                    <a:lnTo>
                      <a:pt x="136" y="59"/>
                    </a:lnTo>
                    <a:lnTo>
                      <a:pt x="135" y="60"/>
                    </a:lnTo>
                    <a:lnTo>
                      <a:pt x="135" y="61"/>
                    </a:lnTo>
                    <a:lnTo>
                      <a:pt x="135" y="61"/>
                    </a:lnTo>
                    <a:lnTo>
                      <a:pt x="134" y="62"/>
                    </a:lnTo>
                    <a:lnTo>
                      <a:pt x="134" y="63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4" y="65"/>
                    </a:lnTo>
                    <a:lnTo>
                      <a:pt x="134" y="66"/>
                    </a:lnTo>
                    <a:lnTo>
                      <a:pt x="134" y="66"/>
                    </a:lnTo>
                    <a:lnTo>
                      <a:pt x="135" y="67"/>
                    </a:lnTo>
                    <a:lnTo>
                      <a:pt x="136" y="67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38" y="68"/>
                    </a:lnTo>
                    <a:lnTo>
                      <a:pt x="138" y="68"/>
                    </a:lnTo>
                    <a:lnTo>
                      <a:pt x="138" y="69"/>
                    </a:lnTo>
                    <a:lnTo>
                      <a:pt x="139" y="69"/>
                    </a:lnTo>
                    <a:lnTo>
                      <a:pt x="139" y="70"/>
                    </a:lnTo>
                    <a:lnTo>
                      <a:pt x="139" y="70"/>
                    </a:lnTo>
                    <a:lnTo>
                      <a:pt x="139" y="71"/>
                    </a:lnTo>
                    <a:lnTo>
                      <a:pt x="139" y="72"/>
                    </a:lnTo>
                    <a:lnTo>
                      <a:pt x="139" y="73"/>
                    </a:lnTo>
                    <a:lnTo>
                      <a:pt x="139" y="73"/>
                    </a:lnTo>
                    <a:lnTo>
                      <a:pt x="139" y="74"/>
                    </a:lnTo>
                    <a:lnTo>
                      <a:pt x="139" y="74"/>
                    </a:lnTo>
                    <a:lnTo>
                      <a:pt x="139" y="74"/>
                    </a:lnTo>
                    <a:lnTo>
                      <a:pt x="137" y="75"/>
                    </a:lnTo>
                    <a:lnTo>
                      <a:pt x="136" y="75"/>
                    </a:lnTo>
                    <a:lnTo>
                      <a:pt x="135" y="75"/>
                    </a:lnTo>
                    <a:lnTo>
                      <a:pt x="134" y="74"/>
                    </a:lnTo>
                    <a:lnTo>
                      <a:pt x="133" y="74"/>
                    </a:lnTo>
                    <a:lnTo>
                      <a:pt x="132" y="74"/>
                    </a:lnTo>
                    <a:lnTo>
                      <a:pt x="131" y="73"/>
                    </a:lnTo>
                    <a:lnTo>
                      <a:pt x="130" y="73"/>
                    </a:lnTo>
                    <a:lnTo>
                      <a:pt x="129" y="72"/>
                    </a:lnTo>
                    <a:lnTo>
                      <a:pt x="128" y="71"/>
                    </a:lnTo>
                    <a:lnTo>
                      <a:pt x="127" y="70"/>
                    </a:lnTo>
                    <a:lnTo>
                      <a:pt x="125" y="69"/>
                    </a:lnTo>
                    <a:lnTo>
                      <a:pt x="125" y="68"/>
                    </a:lnTo>
                    <a:lnTo>
                      <a:pt x="124" y="68"/>
                    </a:lnTo>
                    <a:lnTo>
                      <a:pt x="124" y="67"/>
                    </a:lnTo>
                    <a:lnTo>
                      <a:pt x="124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2" y="67"/>
                    </a:lnTo>
                    <a:lnTo>
                      <a:pt x="122" y="67"/>
                    </a:lnTo>
                    <a:lnTo>
                      <a:pt x="122" y="68"/>
                    </a:lnTo>
                    <a:lnTo>
                      <a:pt x="120" y="68"/>
                    </a:lnTo>
                    <a:lnTo>
                      <a:pt x="119" y="68"/>
                    </a:lnTo>
                    <a:lnTo>
                      <a:pt x="117" y="68"/>
                    </a:lnTo>
                    <a:lnTo>
                      <a:pt x="115" y="68"/>
                    </a:lnTo>
                    <a:lnTo>
                      <a:pt x="115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9"/>
                    </a:lnTo>
                    <a:lnTo>
                      <a:pt x="114" y="70"/>
                    </a:lnTo>
                    <a:lnTo>
                      <a:pt x="112" y="70"/>
                    </a:lnTo>
                    <a:lnTo>
                      <a:pt x="110" y="70"/>
                    </a:lnTo>
                    <a:lnTo>
                      <a:pt x="109" y="70"/>
                    </a:lnTo>
                    <a:lnTo>
                      <a:pt x="107" y="70"/>
                    </a:lnTo>
                    <a:lnTo>
                      <a:pt x="107" y="68"/>
                    </a:lnTo>
                    <a:lnTo>
                      <a:pt x="107" y="67"/>
                    </a:lnTo>
                    <a:lnTo>
                      <a:pt x="107" y="66"/>
                    </a:lnTo>
                    <a:lnTo>
                      <a:pt x="106" y="65"/>
                    </a:lnTo>
                    <a:lnTo>
                      <a:pt x="106" y="65"/>
                    </a:lnTo>
                    <a:lnTo>
                      <a:pt x="105" y="64"/>
                    </a:lnTo>
                    <a:lnTo>
                      <a:pt x="105" y="63"/>
                    </a:lnTo>
                    <a:lnTo>
                      <a:pt x="104" y="63"/>
                    </a:lnTo>
                    <a:lnTo>
                      <a:pt x="104" y="62"/>
                    </a:lnTo>
                    <a:lnTo>
                      <a:pt x="103" y="62"/>
                    </a:lnTo>
                    <a:lnTo>
                      <a:pt x="102" y="61"/>
                    </a:lnTo>
                    <a:lnTo>
                      <a:pt x="101" y="61"/>
                    </a:lnTo>
                    <a:lnTo>
                      <a:pt x="101" y="60"/>
                    </a:lnTo>
                    <a:lnTo>
                      <a:pt x="100" y="60"/>
                    </a:lnTo>
                    <a:lnTo>
                      <a:pt x="98" y="60"/>
                    </a:lnTo>
                    <a:lnTo>
                      <a:pt x="96" y="59"/>
                    </a:lnTo>
                    <a:lnTo>
                      <a:pt x="94" y="59"/>
                    </a:lnTo>
                    <a:lnTo>
                      <a:pt x="92" y="59"/>
                    </a:lnTo>
                    <a:lnTo>
                      <a:pt x="89" y="59"/>
                    </a:lnTo>
                    <a:lnTo>
                      <a:pt x="85" y="58"/>
                    </a:lnTo>
                    <a:lnTo>
                      <a:pt x="83" y="58"/>
                    </a:lnTo>
                    <a:lnTo>
                      <a:pt x="80" y="58"/>
                    </a:lnTo>
                    <a:lnTo>
                      <a:pt x="80" y="58"/>
                    </a:lnTo>
                    <a:lnTo>
                      <a:pt x="80" y="58"/>
                    </a:lnTo>
                    <a:lnTo>
                      <a:pt x="79" y="58"/>
                    </a:lnTo>
                    <a:lnTo>
                      <a:pt x="79" y="58"/>
                    </a:lnTo>
                    <a:lnTo>
                      <a:pt x="78" y="57"/>
                    </a:lnTo>
                    <a:lnTo>
                      <a:pt x="77" y="57"/>
                    </a:lnTo>
                    <a:lnTo>
                      <a:pt x="76" y="56"/>
                    </a:lnTo>
                    <a:lnTo>
                      <a:pt x="75" y="55"/>
                    </a:lnTo>
                    <a:lnTo>
                      <a:pt x="74" y="55"/>
                    </a:lnTo>
                    <a:lnTo>
                      <a:pt x="73" y="54"/>
                    </a:lnTo>
                    <a:lnTo>
                      <a:pt x="72" y="53"/>
                    </a:lnTo>
                    <a:lnTo>
                      <a:pt x="72" y="52"/>
                    </a:lnTo>
                    <a:lnTo>
                      <a:pt x="71" y="52"/>
                    </a:lnTo>
                    <a:lnTo>
                      <a:pt x="70" y="51"/>
                    </a:lnTo>
                    <a:lnTo>
                      <a:pt x="69" y="50"/>
                    </a:lnTo>
                    <a:lnTo>
                      <a:pt x="68" y="50"/>
                    </a:lnTo>
                    <a:lnTo>
                      <a:pt x="67" y="50"/>
                    </a:lnTo>
                    <a:lnTo>
                      <a:pt x="66" y="49"/>
                    </a:lnTo>
                    <a:lnTo>
                      <a:pt x="65" y="49"/>
                    </a:lnTo>
                    <a:lnTo>
                      <a:pt x="65" y="49"/>
                    </a:lnTo>
                    <a:lnTo>
                      <a:pt x="64" y="49"/>
                    </a:lnTo>
                    <a:lnTo>
                      <a:pt x="63" y="49"/>
                    </a:lnTo>
                    <a:lnTo>
                      <a:pt x="62" y="50"/>
                    </a:lnTo>
                    <a:lnTo>
                      <a:pt x="62" y="49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0" y="51"/>
                    </a:lnTo>
                    <a:lnTo>
                      <a:pt x="60" y="51"/>
                    </a:lnTo>
                    <a:lnTo>
                      <a:pt x="59" y="51"/>
                    </a:lnTo>
                    <a:lnTo>
                      <a:pt x="57" y="51"/>
                    </a:lnTo>
                    <a:lnTo>
                      <a:pt x="56" y="51"/>
                    </a:lnTo>
                    <a:lnTo>
                      <a:pt x="54" y="51"/>
                    </a:lnTo>
                    <a:lnTo>
                      <a:pt x="53" y="51"/>
                    </a:lnTo>
                    <a:lnTo>
                      <a:pt x="52" y="51"/>
                    </a:lnTo>
                    <a:lnTo>
                      <a:pt x="50" y="51"/>
                    </a:lnTo>
                    <a:lnTo>
                      <a:pt x="49" y="52"/>
                    </a:lnTo>
                    <a:lnTo>
                      <a:pt x="48" y="52"/>
                    </a:lnTo>
                    <a:lnTo>
                      <a:pt x="47" y="52"/>
                    </a:lnTo>
                    <a:lnTo>
                      <a:pt x="46" y="53"/>
                    </a:lnTo>
                    <a:lnTo>
                      <a:pt x="45" y="53"/>
                    </a:lnTo>
                    <a:lnTo>
                      <a:pt x="44" y="54"/>
                    </a:lnTo>
                    <a:lnTo>
                      <a:pt x="44" y="55"/>
                    </a:lnTo>
                    <a:lnTo>
                      <a:pt x="43" y="55"/>
                    </a:lnTo>
                    <a:lnTo>
                      <a:pt x="42" y="56"/>
                    </a:lnTo>
                    <a:lnTo>
                      <a:pt x="42" y="57"/>
                    </a:lnTo>
                    <a:lnTo>
                      <a:pt x="42" y="58"/>
                    </a:lnTo>
                    <a:lnTo>
                      <a:pt x="42" y="59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1"/>
                    </a:lnTo>
                    <a:lnTo>
                      <a:pt x="41" y="61"/>
                    </a:lnTo>
                    <a:lnTo>
                      <a:pt x="42" y="61"/>
                    </a:lnTo>
                    <a:lnTo>
                      <a:pt x="42" y="61"/>
                    </a:lnTo>
                    <a:lnTo>
                      <a:pt x="42" y="61"/>
                    </a:lnTo>
                    <a:lnTo>
                      <a:pt x="42" y="62"/>
                    </a:lnTo>
                    <a:lnTo>
                      <a:pt x="42" y="62"/>
                    </a:lnTo>
                    <a:lnTo>
                      <a:pt x="42" y="63"/>
                    </a:lnTo>
                    <a:lnTo>
                      <a:pt x="42" y="64"/>
                    </a:lnTo>
                    <a:lnTo>
                      <a:pt x="42" y="65"/>
                    </a:lnTo>
                    <a:lnTo>
                      <a:pt x="42" y="66"/>
                    </a:lnTo>
                    <a:lnTo>
                      <a:pt x="42" y="67"/>
                    </a:lnTo>
                    <a:lnTo>
                      <a:pt x="43" y="67"/>
                    </a:lnTo>
                    <a:lnTo>
                      <a:pt x="43" y="68"/>
                    </a:lnTo>
                    <a:lnTo>
                      <a:pt x="44" y="69"/>
                    </a:lnTo>
                    <a:lnTo>
                      <a:pt x="44" y="69"/>
                    </a:lnTo>
                    <a:lnTo>
                      <a:pt x="45" y="70"/>
                    </a:lnTo>
                    <a:lnTo>
                      <a:pt x="45" y="71"/>
                    </a:lnTo>
                    <a:lnTo>
                      <a:pt x="45" y="71"/>
                    </a:lnTo>
                    <a:lnTo>
                      <a:pt x="45" y="72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5" y="74"/>
                    </a:lnTo>
                    <a:lnTo>
                      <a:pt x="45" y="74"/>
                    </a:lnTo>
                    <a:lnTo>
                      <a:pt x="45" y="74"/>
                    </a:lnTo>
                    <a:lnTo>
                      <a:pt x="43" y="76"/>
                    </a:lnTo>
                    <a:lnTo>
                      <a:pt x="41" y="78"/>
                    </a:lnTo>
                    <a:lnTo>
                      <a:pt x="39" y="80"/>
                    </a:lnTo>
                    <a:lnTo>
                      <a:pt x="37" y="81"/>
                    </a:lnTo>
                    <a:lnTo>
                      <a:pt x="36" y="82"/>
                    </a:lnTo>
                    <a:lnTo>
                      <a:pt x="35" y="83"/>
                    </a:lnTo>
                    <a:lnTo>
                      <a:pt x="34" y="83"/>
                    </a:lnTo>
                    <a:lnTo>
                      <a:pt x="32" y="84"/>
                    </a:lnTo>
                    <a:lnTo>
                      <a:pt x="31" y="85"/>
                    </a:lnTo>
                    <a:lnTo>
                      <a:pt x="29" y="85"/>
                    </a:lnTo>
                    <a:lnTo>
                      <a:pt x="27" y="85"/>
                    </a:lnTo>
                    <a:lnTo>
                      <a:pt x="26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85"/>
                    </a:lnTo>
                    <a:lnTo>
                      <a:pt x="24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2" y="85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1" y="86"/>
                    </a:lnTo>
                    <a:lnTo>
                      <a:pt x="21" y="87"/>
                    </a:lnTo>
                    <a:lnTo>
                      <a:pt x="19" y="87"/>
                    </a:lnTo>
                    <a:lnTo>
                      <a:pt x="18" y="88"/>
                    </a:lnTo>
                    <a:lnTo>
                      <a:pt x="17" y="88"/>
                    </a:lnTo>
                    <a:lnTo>
                      <a:pt x="16" y="89"/>
                    </a:lnTo>
                    <a:lnTo>
                      <a:pt x="15" y="89"/>
                    </a:lnTo>
                    <a:lnTo>
                      <a:pt x="14" y="89"/>
                    </a:lnTo>
                    <a:lnTo>
                      <a:pt x="13" y="90"/>
                    </a:lnTo>
                    <a:lnTo>
                      <a:pt x="12" y="90"/>
                    </a:lnTo>
                    <a:lnTo>
                      <a:pt x="11" y="90"/>
                    </a:lnTo>
                    <a:lnTo>
                      <a:pt x="10" y="90"/>
                    </a:lnTo>
                    <a:lnTo>
                      <a:pt x="9" y="90"/>
                    </a:lnTo>
                    <a:lnTo>
                      <a:pt x="7" y="90"/>
                    </a:lnTo>
                    <a:lnTo>
                      <a:pt x="7" y="90"/>
                    </a:lnTo>
                    <a:lnTo>
                      <a:pt x="6" y="90"/>
                    </a:lnTo>
                    <a:lnTo>
                      <a:pt x="5" y="90"/>
                    </a:lnTo>
                    <a:lnTo>
                      <a:pt x="4" y="90"/>
                    </a:lnTo>
                    <a:lnTo>
                      <a:pt x="3" y="90"/>
                    </a:lnTo>
                    <a:lnTo>
                      <a:pt x="2" y="89"/>
                    </a:lnTo>
                    <a:lnTo>
                      <a:pt x="2" y="89"/>
                    </a:lnTo>
                    <a:lnTo>
                      <a:pt x="1" y="88"/>
                    </a:lnTo>
                    <a:lnTo>
                      <a:pt x="1" y="87"/>
                    </a:lnTo>
                    <a:lnTo>
                      <a:pt x="1" y="86"/>
                    </a:lnTo>
                    <a:lnTo>
                      <a:pt x="0" y="85"/>
                    </a:lnTo>
                    <a:lnTo>
                      <a:pt x="0" y="84"/>
                    </a:lnTo>
                    <a:lnTo>
                      <a:pt x="0" y="82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1" y="76"/>
                    </a:lnTo>
                    <a:lnTo>
                      <a:pt x="1" y="74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1" y="71"/>
                    </a:lnTo>
                    <a:lnTo>
                      <a:pt x="2" y="71"/>
                    </a:lnTo>
                    <a:lnTo>
                      <a:pt x="2" y="71"/>
                    </a:lnTo>
                    <a:lnTo>
                      <a:pt x="3" y="71"/>
                    </a:lnTo>
                    <a:lnTo>
                      <a:pt x="3" y="71"/>
                    </a:lnTo>
                    <a:lnTo>
                      <a:pt x="4" y="71"/>
                    </a:lnTo>
                    <a:lnTo>
                      <a:pt x="5" y="71"/>
                    </a:lnTo>
                    <a:lnTo>
                      <a:pt x="5" y="71"/>
                    </a:lnTo>
                    <a:lnTo>
                      <a:pt x="6" y="70"/>
                    </a:lnTo>
                    <a:lnTo>
                      <a:pt x="6" y="69"/>
                    </a:lnTo>
                    <a:lnTo>
                      <a:pt x="7" y="68"/>
                    </a:lnTo>
                    <a:lnTo>
                      <a:pt x="7" y="68"/>
                    </a:lnTo>
                    <a:lnTo>
                      <a:pt x="7" y="67"/>
                    </a:lnTo>
                    <a:lnTo>
                      <a:pt x="8" y="65"/>
                    </a:lnTo>
                    <a:lnTo>
                      <a:pt x="8" y="63"/>
                    </a:lnTo>
                    <a:lnTo>
                      <a:pt x="9" y="62"/>
                    </a:lnTo>
                    <a:lnTo>
                      <a:pt x="9" y="61"/>
                    </a:lnTo>
                    <a:lnTo>
                      <a:pt x="9" y="61"/>
                    </a:lnTo>
                    <a:lnTo>
                      <a:pt x="9" y="60"/>
                    </a:lnTo>
                    <a:lnTo>
                      <a:pt x="9" y="60"/>
                    </a:lnTo>
                    <a:lnTo>
                      <a:pt x="8" y="59"/>
                    </a:lnTo>
                    <a:lnTo>
                      <a:pt x="8" y="59"/>
                    </a:lnTo>
                    <a:lnTo>
                      <a:pt x="7" y="59"/>
                    </a:lnTo>
                    <a:lnTo>
                      <a:pt x="6" y="59"/>
                    </a:lnTo>
                    <a:lnTo>
                      <a:pt x="5" y="58"/>
                    </a:lnTo>
                    <a:lnTo>
                      <a:pt x="5" y="58"/>
                    </a:lnTo>
                    <a:lnTo>
                      <a:pt x="5" y="58"/>
                    </a:lnTo>
                    <a:lnTo>
                      <a:pt x="4" y="58"/>
                    </a:lnTo>
                    <a:lnTo>
                      <a:pt x="4" y="57"/>
                    </a:lnTo>
                    <a:lnTo>
                      <a:pt x="4" y="57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7" y="53"/>
                    </a:lnTo>
                    <a:lnTo>
                      <a:pt x="7" y="53"/>
                    </a:lnTo>
                    <a:lnTo>
                      <a:pt x="7" y="53"/>
                    </a:lnTo>
                    <a:lnTo>
                      <a:pt x="7" y="52"/>
                    </a:lnTo>
                    <a:lnTo>
                      <a:pt x="7" y="52"/>
                    </a:lnTo>
                    <a:lnTo>
                      <a:pt x="7" y="51"/>
                    </a:lnTo>
                    <a:lnTo>
                      <a:pt x="7" y="51"/>
                    </a:lnTo>
                    <a:lnTo>
                      <a:pt x="6" y="50"/>
                    </a:lnTo>
                    <a:lnTo>
                      <a:pt x="6" y="49"/>
                    </a:lnTo>
                    <a:lnTo>
                      <a:pt x="5" y="48"/>
                    </a:lnTo>
                    <a:lnTo>
                      <a:pt x="4" y="47"/>
                    </a:lnTo>
                    <a:lnTo>
                      <a:pt x="4" y="47"/>
                    </a:lnTo>
                    <a:lnTo>
                      <a:pt x="3" y="46"/>
                    </a:lnTo>
                    <a:lnTo>
                      <a:pt x="3" y="45"/>
                    </a:lnTo>
                    <a:lnTo>
                      <a:pt x="2" y="44"/>
                    </a:lnTo>
                    <a:lnTo>
                      <a:pt x="3" y="45"/>
                    </a:lnTo>
                    <a:lnTo>
                      <a:pt x="3" y="45"/>
                    </a:lnTo>
                    <a:lnTo>
                      <a:pt x="4" y="44"/>
                    </a:lnTo>
                    <a:lnTo>
                      <a:pt x="5" y="44"/>
                    </a:lnTo>
                    <a:lnTo>
                      <a:pt x="5" y="44"/>
                    </a:lnTo>
                    <a:lnTo>
                      <a:pt x="5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3"/>
                    </a:lnTo>
                    <a:lnTo>
                      <a:pt x="7" y="43"/>
                    </a:lnTo>
                    <a:lnTo>
                      <a:pt x="7" y="42"/>
                    </a:lnTo>
                    <a:lnTo>
                      <a:pt x="7" y="42"/>
                    </a:lnTo>
                    <a:lnTo>
                      <a:pt x="7" y="41"/>
                    </a:lnTo>
                    <a:lnTo>
                      <a:pt x="7" y="41"/>
                    </a:lnTo>
                    <a:lnTo>
                      <a:pt x="7" y="40"/>
                    </a:lnTo>
                    <a:lnTo>
                      <a:pt x="7" y="40"/>
                    </a:lnTo>
                    <a:lnTo>
                      <a:pt x="7" y="39"/>
                    </a:lnTo>
                    <a:lnTo>
                      <a:pt x="6" y="39"/>
                    </a:lnTo>
                    <a:lnTo>
                      <a:pt x="6" y="38"/>
                    </a:lnTo>
                    <a:lnTo>
                      <a:pt x="6" y="37"/>
                    </a:lnTo>
                    <a:lnTo>
                      <a:pt x="6" y="37"/>
                    </a:lnTo>
                    <a:lnTo>
                      <a:pt x="5" y="36"/>
                    </a:lnTo>
                    <a:lnTo>
                      <a:pt x="5" y="35"/>
                    </a:lnTo>
                    <a:lnTo>
                      <a:pt x="5" y="34"/>
                    </a:lnTo>
                    <a:lnTo>
                      <a:pt x="5" y="33"/>
                    </a:lnTo>
                    <a:lnTo>
                      <a:pt x="5" y="32"/>
                    </a:lnTo>
                    <a:lnTo>
                      <a:pt x="5" y="31"/>
                    </a:lnTo>
                    <a:lnTo>
                      <a:pt x="5" y="30"/>
                    </a:lnTo>
                    <a:lnTo>
                      <a:pt x="5" y="29"/>
                    </a:lnTo>
                    <a:lnTo>
                      <a:pt x="5" y="28"/>
                    </a:lnTo>
                    <a:lnTo>
                      <a:pt x="5" y="27"/>
                    </a:lnTo>
                    <a:lnTo>
                      <a:pt x="5" y="26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1" y="22"/>
                    </a:lnTo>
                    <a:lnTo>
                      <a:pt x="11" y="21"/>
                    </a:lnTo>
                    <a:lnTo>
                      <a:pt x="11" y="21"/>
                    </a:lnTo>
                    <a:lnTo>
                      <a:pt x="12" y="21"/>
                    </a:lnTo>
                    <a:lnTo>
                      <a:pt x="13" y="21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7" y="20"/>
                    </a:lnTo>
                    <a:lnTo>
                      <a:pt x="17" y="19"/>
                    </a:lnTo>
                    <a:lnTo>
                      <a:pt x="18" y="19"/>
                    </a:lnTo>
                    <a:lnTo>
                      <a:pt x="19" y="19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1" y="18"/>
                    </a:lnTo>
                    <a:lnTo>
                      <a:pt x="21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5" y="16"/>
                    </a:lnTo>
                    <a:lnTo>
                      <a:pt x="25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7" y="15"/>
                    </a:lnTo>
                    <a:lnTo>
                      <a:pt x="28" y="15"/>
                    </a:lnTo>
                    <a:lnTo>
                      <a:pt x="29" y="15"/>
                    </a:lnTo>
                    <a:lnTo>
                      <a:pt x="29" y="15"/>
                    </a:lnTo>
                    <a:lnTo>
                      <a:pt x="29" y="15"/>
                    </a:lnTo>
                    <a:lnTo>
                      <a:pt x="30" y="15"/>
                    </a:lnTo>
                    <a:lnTo>
                      <a:pt x="31" y="15"/>
                    </a:lnTo>
                    <a:lnTo>
                      <a:pt x="32" y="15"/>
                    </a:lnTo>
                    <a:lnTo>
                      <a:pt x="33" y="15"/>
                    </a:lnTo>
                    <a:lnTo>
                      <a:pt x="34" y="15"/>
                    </a:lnTo>
                    <a:lnTo>
                      <a:pt x="35" y="15"/>
                    </a:lnTo>
                    <a:lnTo>
                      <a:pt x="36" y="15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7" y="14"/>
                    </a:lnTo>
                    <a:lnTo>
                      <a:pt x="37" y="14"/>
                    </a:lnTo>
                    <a:lnTo>
                      <a:pt x="37" y="13"/>
                    </a:lnTo>
                    <a:lnTo>
                      <a:pt x="37" y="13"/>
                    </a:lnTo>
                    <a:lnTo>
                      <a:pt x="38" y="13"/>
                    </a:lnTo>
                    <a:lnTo>
                      <a:pt x="38" y="13"/>
                    </a:lnTo>
                    <a:lnTo>
                      <a:pt x="38" y="12"/>
                    </a:lnTo>
                    <a:lnTo>
                      <a:pt x="39" y="12"/>
                    </a:lnTo>
                    <a:lnTo>
                      <a:pt x="39" y="12"/>
                    </a:lnTo>
                    <a:lnTo>
                      <a:pt x="39" y="11"/>
                    </a:lnTo>
                    <a:lnTo>
                      <a:pt x="39" y="10"/>
                    </a:lnTo>
                    <a:lnTo>
                      <a:pt x="39" y="10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1" y="8"/>
                    </a:lnTo>
                    <a:lnTo>
                      <a:pt x="42" y="8"/>
                    </a:lnTo>
                    <a:lnTo>
                      <a:pt x="43" y="7"/>
                    </a:lnTo>
                    <a:lnTo>
                      <a:pt x="43" y="6"/>
                    </a:lnTo>
                    <a:lnTo>
                      <a:pt x="43" y="6"/>
                    </a:lnTo>
                    <a:lnTo>
                      <a:pt x="44" y="5"/>
                    </a:lnTo>
                    <a:lnTo>
                      <a:pt x="44" y="5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6" y="4"/>
                    </a:lnTo>
                    <a:lnTo>
                      <a:pt x="46" y="3"/>
                    </a:lnTo>
                    <a:lnTo>
                      <a:pt x="47" y="3"/>
                    </a:lnTo>
                    <a:lnTo>
                      <a:pt x="47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9" y="2"/>
                    </a:lnTo>
                    <a:lnTo>
                      <a:pt x="49" y="2"/>
                    </a:lnTo>
                    <a:lnTo>
                      <a:pt x="49" y="2"/>
                    </a:lnTo>
                    <a:lnTo>
                      <a:pt x="49" y="1"/>
                    </a:lnTo>
                    <a:lnTo>
                      <a:pt x="50" y="1"/>
                    </a:lnTo>
                    <a:lnTo>
                      <a:pt x="50" y="1"/>
                    </a:lnTo>
                    <a:lnTo>
                      <a:pt x="51" y="0"/>
                    </a:lnTo>
                    <a:lnTo>
                      <a:pt x="52" y="0"/>
                    </a:lnTo>
                    <a:lnTo>
                      <a:pt x="53" y="0"/>
                    </a:lnTo>
                    <a:lnTo>
                      <a:pt x="53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55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7" y="1"/>
                    </a:lnTo>
                    <a:lnTo>
                      <a:pt x="57" y="1"/>
                    </a:lnTo>
                    <a:lnTo>
                      <a:pt x="58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1" y="3"/>
                    </a:lnTo>
                    <a:lnTo>
                      <a:pt x="61" y="3"/>
                    </a:lnTo>
                    <a:lnTo>
                      <a:pt x="61" y="3"/>
                    </a:lnTo>
                    <a:lnTo>
                      <a:pt x="62" y="3"/>
                    </a:lnTo>
                    <a:lnTo>
                      <a:pt x="62" y="3"/>
                    </a:lnTo>
                    <a:lnTo>
                      <a:pt x="63" y="3"/>
                    </a:lnTo>
                    <a:lnTo>
                      <a:pt x="64" y="3"/>
                    </a:lnTo>
                    <a:lnTo>
                      <a:pt x="65" y="3"/>
                    </a:lnTo>
                    <a:lnTo>
                      <a:pt x="65" y="3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7" y="5"/>
                    </a:lnTo>
                    <a:lnTo>
                      <a:pt x="68" y="5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1" y="6"/>
                    </a:lnTo>
                    <a:lnTo>
                      <a:pt x="72" y="6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4" y="7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5" y="6"/>
                    </a:lnTo>
                    <a:lnTo>
                      <a:pt x="75" y="6"/>
                    </a:lnTo>
                    <a:lnTo>
                      <a:pt x="76" y="5"/>
                    </a:lnTo>
                    <a:lnTo>
                      <a:pt x="76" y="5"/>
                    </a:lnTo>
                    <a:lnTo>
                      <a:pt x="77" y="4"/>
                    </a:lnTo>
                    <a:lnTo>
                      <a:pt x="78" y="4"/>
                    </a:lnTo>
                    <a:lnTo>
                      <a:pt x="78" y="3"/>
                    </a:lnTo>
                    <a:lnTo>
                      <a:pt x="78" y="3"/>
                    </a:lnTo>
                    <a:lnTo>
                      <a:pt x="79" y="3"/>
                    </a:lnTo>
                    <a:lnTo>
                      <a:pt x="79" y="3"/>
                    </a:lnTo>
                    <a:lnTo>
                      <a:pt x="80" y="3"/>
                    </a:lnTo>
                    <a:lnTo>
                      <a:pt x="80" y="3"/>
                    </a:lnTo>
                    <a:lnTo>
                      <a:pt x="80" y="3"/>
                    </a:lnTo>
                    <a:lnTo>
                      <a:pt x="80" y="2"/>
                    </a:lnTo>
                    <a:lnTo>
                      <a:pt x="80" y="2"/>
                    </a:lnTo>
                    <a:lnTo>
                      <a:pt x="80" y="2"/>
                    </a:lnTo>
                    <a:lnTo>
                      <a:pt x="80" y="1"/>
                    </a:lnTo>
                    <a:lnTo>
                      <a:pt x="81" y="1"/>
                    </a:lnTo>
                    <a:lnTo>
                      <a:pt x="81" y="1"/>
                    </a:lnTo>
                    <a:lnTo>
                      <a:pt x="82" y="1"/>
                    </a:lnTo>
                    <a:lnTo>
                      <a:pt x="82" y="1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3"/>
                    </a:lnTo>
                    <a:lnTo>
                      <a:pt x="83" y="3"/>
                    </a:lnTo>
                    <a:lnTo>
                      <a:pt x="83" y="3"/>
                    </a:lnTo>
                    <a:lnTo>
                      <a:pt x="83" y="3"/>
                    </a:lnTo>
                    <a:lnTo>
                      <a:pt x="84" y="3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5" y="5"/>
                    </a:lnTo>
                    <a:lnTo>
                      <a:pt x="85" y="6"/>
                    </a:lnTo>
                    <a:lnTo>
                      <a:pt x="85" y="7"/>
                    </a:lnTo>
                    <a:lnTo>
                      <a:pt x="85" y="7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5" y="9"/>
                    </a:lnTo>
                    <a:lnTo>
                      <a:pt x="85" y="10"/>
                    </a:lnTo>
                    <a:lnTo>
                      <a:pt x="85" y="10"/>
                    </a:lnTo>
                    <a:lnTo>
                      <a:pt x="85" y="11"/>
                    </a:lnTo>
                    <a:lnTo>
                      <a:pt x="85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3"/>
                    </a:lnTo>
                    <a:lnTo>
                      <a:pt x="87" y="13"/>
                    </a:lnTo>
                    <a:lnTo>
                      <a:pt x="87" y="13"/>
                    </a:lnTo>
                    <a:lnTo>
                      <a:pt x="87" y="14"/>
                    </a:lnTo>
                    <a:lnTo>
                      <a:pt x="87" y="15"/>
                    </a:lnTo>
                    <a:lnTo>
                      <a:pt x="87" y="15"/>
                    </a:lnTo>
                    <a:lnTo>
                      <a:pt x="87" y="16"/>
                    </a:lnTo>
                    <a:lnTo>
                      <a:pt x="87" y="17"/>
                    </a:lnTo>
                    <a:lnTo>
                      <a:pt x="88" y="17"/>
                    </a:lnTo>
                    <a:lnTo>
                      <a:pt x="88" y="18"/>
                    </a:lnTo>
                    <a:lnTo>
                      <a:pt x="88" y="18"/>
                    </a:lnTo>
                    <a:lnTo>
                      <a:pt x="89" y="19"/>
                    </a:lnTo>
                    <a:lnTo>
                      <a:pt x="89" y="19"/>
                    </a:lnTo>
                    <a:lnTo>
                      <a:pt x="90" y="19"/>
                    </a:lnTo>
                    <a:lnTo>
                      <a:pt x="90" y="20"/>
                    </a:lnTo>
                    <a:lnTo>
                      <a:pt x="90" y="22"/>
                    </a:lnTo>
                    <a:lnTo>
                      <a:pt x="90" y="24"/>
                    </a:lnTo>
                    <a:lnTo>
                      <a:pt x="90" y="26"/>
                    </a:lnTo>
                    <a:lnTo>
                      <a:pt x="90" y="28"/>
                    </a:lnTo>
                    <a:lnTo>
                      <a:pt x="90" y="28"/>
                    </a:lnTo>
                    <a:lnTo>
                      <a:pt x="89" y="28"/>
                    </a:lnTo>
                    <a:lnTo>
                      <a:pt x="89" y="29"/>
                    </a:lnTo>
                    <a:lnTo>
                      <a:pt x="88" y="29"/>
                    </a:lnTo>
                    <a:lnTo>
                      <a:pt x="88" y="30"/>
                    </a:lnTo>
                    <a:lnTo>
                      <a:pt x="88" y="30"/>
                    </a:lnTo>
                    <a:lnTo>
                      <a:pt x="87" y="31"/>
                    </a:lnTo>
                    <a:lnTo>
                      <a:pt x="87" y="31"/>
                    </a:lnTo>
                    <a:lnTo>
                      <a:pt x="87" y="32"/>
                    </a:lnTo>
                    <a:lnTo>
                      <a:pt x="87" y="33"/>
                    </a:lnTo>
                    <a:lnTo>
                      <a:pt x="87" y="34"/>
                    </a:lnTo>
                    <a:lnTo>
                      <a:pt x="87" y="35"/>
                    </a:lnTo>
                    <a:lnTo>
                      <a:pt x="88" y="35"/>
                    </a:lnTo>
                    <a:lnTo>
                      <a:pt x="89" y="36"/>
                    </a:lnTo>
                    <a:lnTo>
                      <a:pt x="90" y="36"/>
                    </a:lnTo>
                    <a:lnTo>
                      <a:pt x="91" y="37"/>
                    </a:lnTo>
                    <a:lnTo>
                      <a:pt x="92" y="37"/>
                    </a:lnTo>
                    <a:lnTo>
                      <a:pt x="93" y="37"/>
                    </a:lnTo>
                    <a:lnTo>
                      <a:pt x="93" y="38"/>
                    </a:lnTo>
                    <a:lnTo>
                      <a:pt x="94" y="38"/>
                    </a:lnTo>
                    <a:lnTo>
                      <a:pt x="95" y="38"/>
                    </a:lnTo>
                    <a:lnTo>
                      <a:pt x="96" y="38"/>
                    </a:lnTo>
                    <a:lnTo>
                      <a:pt x="97" y="37"/>
                    </a:lnTo>
                    <a:lnTo>
                      <a:pt x="98" y="37"/>
                    </a:lnTo>
                    <a:lnTo>
                      <a:pt x="99" y="37"/>
                    </a:lnTo>
                    <a:lnTo>
                      <a:pt x="100" y="37"/>
                    </a:lnTo>
                    <a:lnTo>
                      <a:pt x="102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4" y="36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5" y="34"/>
                    </a:lnTo>
                    <a:lnTo>
                      <a:pt x="105" y="34"/>
                    </a:lnTo>
                    <a:lnTo>
                      <a:pt x="106" y="34"/>
                    </a:lnTo>
                    <a:lnTo>
                      <a:pt x="106" y="33"/>
                    </a:lnTo>
                    <a:lnTo>
                      <a:pt x="107" y="33"/>
                    </a:lnTo>
                    <a:lnTo>
                      <a:pt x="107" y="33"/>
                    </a:lnTo>
                    <a:lnTo>
                      <a:pt x="107" y="33"/>
                    </a:lnTo>
                    <a:lnTo>
                      <a:pt x="108" y="33"/>
                    </a:lnTo>
                    <a:lnTo>
                      <a:pt x="108" y="33"/>
                    </a:lnTo>
                    <a:lnTo>
                      <a:pt x="108" y="32"/>
                    </a:lnTo>
                    <a:lnTo>
                      <a:pt x="109" y="32"/>
                    </a:lnTo>
                    <a:lnTo>
                      <a:pt x="109" y="32"/>
                    </a:lnTo>
                    <a:lnTo>
                      <a:pt x="109" y="32"/>
                    </a:lnTo>
                    <a:lnTo>
                      <a:pt x="109" y="31"/>
                    </a:lnTo>
                    <a:lnTo>
                      <a:pt x="109" y="31"/>
                    </a:lnTo>
                    <a:lnTo>
                      <a:pt x="110" y="31"/>
                    </a:lnTo>
                    <a:lnTo>
                      <a:pt x="110" y="31"/>
                    </a:lnTo>
                    <a:lnTo>
                      <a:pt x="111" y="32"/>
                    </a:lnTo>
                    <a:lnTo>
                      <a:pt x="111" y="32"/>
                    </a:lnTo>
                    <a:lnTo>
                      <a:pt x="111" y="32"/>
                    </a:lnTo>
                    <a:lnTo>
                      <a:pt x="112" y="33"/>
                    </a:lnTo>
                    <a:lnTo>
                      <a:pt x="112" y="34"/>
                    </a:lnTo>
                    <a:lnTo>
                      <a:pt x="113" y="35"/>
                    </a:lnTo>
                    <a:lnTo>
                      <a:pt x="113" y="36"/>
                    </a:lnTo>
                    <a:lnTo>
                      <a:pt x="113" y="37"/>
                    </a:lnTo>
                    <a:lnTo>
                      <a:pt x="113" y="38"/>
                    </a:lnTo>
                    <a:lnTo>
                      <a:pt x="114" y="39"/>
                    </a:lnTo>
                    <a:lnTo>
                      <a:pt x="114" y="40"/>
                    </a:lnTo>
                    <a:lnTo>
                      <a:pt x="114" y="41"/>
                    </a:lnTo>
                    <a:lnTo>
                      <a:pt x="115" y="41"/>
                    </a:lnTo>
                    <a:lnTo>
                      <a:pt x="115" y="42"/>
                    </a:lnTo>
                    <a:lnTo>
                      <a:pt x="116" y="42"/>
                    </a:lnTo>
                    <a:lnTo>
                      <a:pt x="116" y="43"/>
                    </a:lnTo>
                    <a:lnTo>
                      <a:pt x="117" y="43"/>
                    </a:lnTo>
                    <a:lnTo>
                      <a:pt x="117" y="43"/>
                    </a:lnTo>
                    <a:lnTo>
                      <a:pt x="117" y="43"/>
                    </a:lnTo>
                    <a:lnTo>
                      <a:pt x="118" y="43"/>
                    </a:lnTo>
                    <a:lnTo>
                      <a:pt x="118" y="43"/>
                    </a:lnTo>
                    <a:lnTo>
                      <a:pt x="118" y="42"/>
                    </a:lnTo>
                    <a:lnTo>
                      <a:pt x="118" y="42"/>
                    </a:lnTo>
                    <a:lnTo>
                      <a:pt x="119" y="42"/>
                    </a:lnTo>
                    <a:lnTo>
                      <a:pt x="119" y="42"/>
                    </a:lnTo>
                    <a:lnTo>
                      <a:pt x="119" y="41"/>
                    </a:lnTo>
                    <a:lnTo>
                      <a:pt x="119" y="41"/>
                    </a:lnTo>
                    <a:lnTo>
                      <a:pt x="120" y="41"/>
                    </a:lnTo>
                    <a:lnTo>
                      <a:pt x="120" y="41"/>
                    </a:lnTo>
                    <a:lnTo>
                      <a:pt x="120" y="40"/>
                    </a:lnTo>
                    <a:lnTo>
                      <a:pt x="120" y="40"/>
                    </a:lnTo>
                    <a:lnTo>
                      <a:pt x="120" y="39"/>
                    </a:lnTo>
                    <a:lnTo>
                      <a:pt x="120" y="39"/>
                    </a:lnTo>
                    <a:lnTo>
                      <a:pt x="120" y="38"/>
                    </a:lnTo>
                    <a:lnTo>
                      <a:pt x="121" y="38"/>
                    </a:lnTo>
                    <a:lnTo>
                      <a:pt x="121" y="38"/>
                    </a:lnTo>
                    <a:lnTo>
                      <a:pt x="122" y="38"/>
                    </a:lnTo>
                    <a:lnTo>
                      <a:pt x="122" y="37"/>
                    </a:lnTo>
                    <a:lnTo>
                      <a:pt x="123" y="37"/>
                    </a:lnTo>
                    <a:lnTo>
                      <a:pt x="123" y="36"/>
                    </a:lnTo>
                    <a:lnTo>
                      <a:pt x="124" y="36"/>
                    </a:lnTo>
                    <a:lnTo>
                      <a:pt x="124" y="36"/>
                    </a:lnTo>
                    <a:lnTo>
                      <a:pt x="125" y="36"/>
                    </a:lnTo>
                    <a:lnTo>
                      <a:pt x="125" y="37"/>
                    </a:lnTo>
                    <a:lnTo>
                      <a:pt x="126" y="37"/>
                    </a:lnTo>
                    <a:lnTo>
                      <a:pt x="126" y="37"/>
                    </a:lnTo>
                    <a:lnTo>
                      <a:pt x="126" y="38"/>
                    </a:lnTo>
                    <a:lnTo>
                      <a:pt x="127" y="38"/>
                    </a:lnTo>
                    <a:lnTo>
                      <a:pt x="127" y="39"/>
                    </a:lnTo>
                    <a:lnTo>
                      <a:pt x="127" y="39"/>
                    </a:lnTo>
                    <a:lnTo>
                      <a:pt x="127" y="39"/>
                    </a:lnTo>
                    <a:lnTo>
                      <a:pt x="128" y="40"/>
                    </a:lnTo>
                    <a:lnTo>
                      <a:pt x="128" y="40"/>
                    </a:lnTo>
                    <a:lnTo>
                      <a:pt x="129" y="40"/>
                    </a:lnTo>
                    <a:lnTo>
                      <a:pt x="130" y="40"/>
                    </a:lnTo>
                    <a:lnTo>
                      <a:pt x="130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1"/>
                    </a:lnTo>
                    <a:lnTo>
                      <a:pt x="132" y="41"/>
                    </a:lnTo>
                    <a:lnTo>
                      <a:pt x="132" y="41"/>
                    </a:lnTo>
                    <a:lnTo>
                      <a:pt x="133" y="41"/>
                    </a:lnTo>
                    <a:lnTo>
                      <a:pt x="133" y="41"/>
                    </a:lnTo>
                    <a:lnTo>
                      <a:pt x="134" y="41"/>
                    </a:lnTo>
                    <a:lnTo>
                      <a:pt x="134" y="41"/>
                    </a:lnTo>
                    <a:lnTo>
                      <a:pt x="134" y="41"/>
                    </a:lnTo>
                    <a:lnTo>
                      <a:pt x="135" y="41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6" y="40"/>
                    </a:lnTo>
                    <a:lnTo>
                      <a:pt x="136" y="39"/>
                    </a:lnTo>
                    <a:lnTo>
                      <a:pt x="136" y="39"/>
                    </a:lnTo>
                    <a:lnTo>
                      <a:pt x="137" y="39"/>
                    </a:lnTo>
                    <a:lnTo>
                      <a:pt x="137" y="39"/>
                    </a:lnTo>
                    <a:lnTo>
                      <a:pt x="138" y="39"/>
                    </a:lnTo>
                    <a:lnTo>
                      <a:pt x="138" y="38"/>
                    </a:lnTo>
                    <a:lnTo>
                      <a:pt x="138" y="38"/>
                    </a:lnTo>
                    <a:lnTo>
                      <a:pt x="138" y="39"/>
                    </a:lnTo>
                    <a:lnTo>
                      <a:pt x="138" y="39"/>
                    </a:lnTo>
                    <a:lnTo>
                      <a:pt x="138" y="39"/>
                    </a:lnTo>
                    <a:lnTo>
                      <a:pt x="139" y="39"/>
                    </a:lnTo>
                    <a:lnTo>
                      <a:pt x="139" y="40"/>
                    </a:lnTo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rgbClr val="356D9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schemeClr val="tx1"/>
                  </a:solidFill>
                  <a:effectLst>
                    <a:glow rad="127000">
                      <a:schemeClr val="accent1"/>
                    </a:glow>
                  </a:effectLst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CA5EE847-0A79-446D-B1AE-188C89BF85AC}"/>
              </a:ext>
            </a:extLst>
          </p:cNvPr>
          <p:cNvSpPr txBox="1">
            <a:spLocks/>
          </p:cNvSpPr>
          <p:nvPr/>
        </p:nvSpPr>
        <p:spPr>
          <a:xfrm>
            <a:off x="9047918" y="1268070"/>
            <a:ext cx="2991592" cy="578959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sz="1800" b="1" dirty="0">
                <a:solidFill>
                  <a:schemeClr val="tx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ТОП-Производители регионы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4E61D99-C8F0-EA42-9DB2-4694610CE864}"/>
              </a:ext>
            </a:extLst>
          </p:cNvPr>
          <p:cNvSpPr txBox="1"/>
          <p:nvPr/>
        </p:nvSpPr>
        <p:spPr>
          <a:xfrm>
            <a:off x="6076693" y="4796617"/>
            <a:ext cx="14479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г. Шымкент</a:t>
            </a:r>
          </a:p>
          <a:p>
            <a:pPr algn="r"/>
            <a:r>
              <a:rPr lang="ru-RU" sz="1200" b="1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51,3</a:t>
            </a:r>
            <a:r>
              <a:rPr lang="ru-RU" sz="1200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млрд тенге</a:t>
            </a:r>
            <a:endParaRPr lang="ru-RU" sz="1200" dirty="0">
              <a:latin typeface="Helvetica Neue Light" panose="02000403000000020004" pitchFamily="2" charset="0"/>
              <a:ea typeface="Helvetica Neue Light" panose="02000403000000020004" pitchFamily="2" charset="0"/>
              <a:cs typeface="Arial" panose="020B0604020202020204" pitchFamily="34" charset="0"/>
            </a:endParaRPr>
          </a:p>
          <a:p>
            <a:pPr algn="r"/>
            <a:r>
              <a:rPr lang="ru-RU" sz="1000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доля</a:t>
            </a:r>
            <a:r>
              <a:rPr lang="ru-RU" sz="1200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25,8% </a:t>
            </a:r>
            <a:endParaRPr lang="en-KZ" sz="1200" b="1" dirty="0">
              <a:latin typeface="Helvetica Neue Light" panose="02000403000000020004" pitchFamily="2" charset="0"/>
              <a:ea typeface="Helvetica Neue Light" panose="02000403000000020004" pitchFamily="2" charset="0"/>
              <a:cs typeface="Arial" panose="020B0604020202020204" pitchFamily="34" charset="0"/>
            </a:endParaRPr>
          </a:p>
        </p:txBody>
      </p:sp>
      <p:sp>
        <p:nvSpPr>
          <p:cNvPr id="52" name="Овал 62">
            <a:extLst>
              <a:ext uri="{FF2B5EF4-FFF2-40B4-BE49-F238E27FC236}">
                <a16:creationId xmlns:a16="http://schemas.microsoft.com/office/drawing/2014/main" id="{CE1E1101-AE62-054A-BDDA-5A789644C003}"/>
              </a:ext>
            </a:extLst>
          </p:cNvPr>
          <p:cNvSpPr/>
          <p:nvPr/>
        </p:nvSpPr>
        <p:spPr>
          <a:xfrm>
            <a:off x="9409249" y="4596076"/>
            <a:ext cx="73576" cy="69527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9517A41-E40E-D340-A992-46012141433C}"/>
              </a:ext>
            </a:extLst>
          </p:cNvPr>
          <p:cNvSpPr txBox="1"/>
          <p:nvPr/>
        </p:nvSpPr>
        <p:spPr>
          <a:xfrm>
            <a:off x="6311335" y="1410458"/>
            <a:ext cx="18277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Карагандинская обл.</a:t>
            </a:r>
          </a:p>
          <a:p>
            <a:r>
              <a:rPr lang="ru-RU" sz="1400" b="1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79,9 </a:t>
            </a:r>
            <a:r>
              <a:rPr lang="ru-RU" sz="1100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млрд тенге</a:t>
            </a:r>
            <a:endParaRPr lang="ru-RU" sz="1400" dirty="0">
              <a:latin typeface="Helvetica Neue Light" panose="02000403000000020004" pitchFamily="2" charset="0"/>
              <a:ea typeface="Helvetica Neue Light" panose="02000403000000020004" pitchFamily="2" charset="0"/>
              <a:cs typeface="Arial" panose="020B0604020202020204" pitchFamily="34" charset="0"/>
            </a:endParaRPr>
          </a:p>
          <a:p>
            <a:r>
              <a:rPr lang="ru-RU" sz="1050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доля</a:t>
            </a:r>
            <a:r>
              <a:rPr lang="ru-RU" sz="1400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40,2% </a:t>
            </a:r>
            <a:endParaRPr lang="en-KZ" sz="1400" b="1" dirty="0">
              <a:latin typeface="HELVETICA NEUE LIGHT" panose="02000403000000020004" pitchFamily="2" charset="0"/>
              <a:ea typeface="HELVETICA NEUE LIGHT" panose="02000403000000020004" pitchFamily="2" charset="0"/>
              <a:cs typeface="Arial" panose="020B0604020202020204" pitchFamily="34" charset="0"/>
            </a:endParaRPr>
          </a:p>
        </p:txBody>
      </p:sp>
      <p:sp>
        <p:nvSpPr>
          <p:cNvPr id="54" name="Овал 62">
            <a:extLst>
              <a:ext uri="{FF2B5EF4-FFF2-40B4-BE49-F238E27FC236}">
                <a16:creationId xmlns:a16="http://schemas.microsoft.com/office/drawing/2014/main" id="{EDC3A1D4-B6F2-9A4F-9764-DA8D7402869E}"/>
              </a:ext>
            </a:extLst>
          </p:cNvPr>
          <p:cNvSpPr/>
          <p:nvPr/>
        </p:nvSpPr>
        <p:spPr>
          <a:xfrm>
            <a:off x="9554206" y="3213030"/>
            <a:ext cx="73576" cy="69527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5" name="Соединитель: изогнутый 13">
            <a:extLst>
              <a:ext uri="{FF2B5EF4-FFF2-40B4-BE49-F238E27FC236}">
                <a16:creationId xmlns:a16="http://schemas.microsoft.com/office/drawing/2014/main" id="{90BA734A-70BC-4E38-92FA-7ABA83989ECF}"/>
              </a:ext>
            </a:extLst>
          </p:cNvPr>
          <p:cNvCxnSpPr>
            <a:cxnSpLocks/>
            <a:stCxn id="53" idx="3"/>
            <a:endCxn id="54" idx="1"/>
          </p:cNvCxnSpPr>
          <p:nvPr/>
        </p:nvCxnSpPr>
        <p:spPr>
          <a:xfrm>
            <a:off x="8139088" y="1764401"/>
            <a:ext cx="1425893" cy="1458811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Соединитель: изогнутый 16">
            <a:extLst>
              <a:ext uri="{FF2B5EF4-FFF2-40B4-BE49-F238E27FC236}">
                <a16:creationId xmlns:a16="http://schemas.microsoft.com/office/drawing/2014/main" id="{AEF0172B-E5C9-4BF9-8EE4-8B8C83BB5C4D}"/>
              </a:ext>
            </a:extLst>
          </p:cNvPr>
          <p:cNvCxnSpPr>
            <a:cxnSpLocks/>
            <a:stCxn id="51" idx="3"/>
            <a:endCxn id="52" idx="4"/>
          </p:cNvCxnSpPr>
          <p:nvPr/>
        </p:nvCxnSpPr>
        <p:spPr>
          <a:xfrm flipV="1">
            <a:off x="7524648" y="4665603"/>
            <a:ext cx="1921389" cy="454180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F289F46F-BEBC-4382-AAE0-67FA5CB32DF4}"/>
              </a:ext>
            </a:extLst>
          </p:cNvPr>
          <p:cNvSpPr txBox="1"/>
          <p:nvPr/>
        </p:nvSpPr>
        <p:spPr>
          <a:xfrm>
            <a:off x="7691760" y="5472663"/>
            <a:ext cx="16036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г. Алматы</a:t>
            </a:r>
          </a:p>
          <a:p>
            <a:pPr algn="r"/>
            <a:r>
              <a:rPr lang="ru-RU" sz="1200" b="1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23,3</a:t>
            </a:r>
            <a:r>
              <a:rPr lang="ru-RU" sz="1200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 </a:t>
            </a:r>
            <a:r>
              <a:rPr lang="ru-RU" sz="1000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млрд тенге</a:t>
            </a:r>
            <a:endParaRPr lang="ru-RU" sz="1200" dirty="0">
              <a:latin typeface="Helvetica Neue Light" panose="02000403000000020004" pitchFamily="2" charset="0"/>
              <a:ea typeface="Helvetica Neue Light" panose="02000403000000020004" pitchFamily="2" charset="0"/>
              <a:cs typeface="Arial" panose="020B0604020202020204" pitchFamily="34" charset="0"/>
            </a:endParaRPr>
          </a:p>
          <a:p>
            <a:pPr algn="r"/>
            <a:r>
              <a:rPr lang="ru-RU" sz="1000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доля</a:t>
            </a:r>
            <a:r>
              <a:rPr lang="ru-RU" sz="1200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11,7%</a:t>
            </a:r>
            <a:r>
              <a:rPr lang="ru-RU" sz="1200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 </a:t>
            </a:r>
            <a:endParaRPr lang="en-KZ" sz="1200" dirty="0">
              <a:latin typeface="Helvetica Neue Light" panose="02000403000000020004" pitchFamily="2" charset="0"/>
              <a:ea typeface="Helvetica Neue Light" panose="02000403000000020004" pitchFamily="2" charset="0"/>
              <a:cs typeface="Arial" panose="020B0604020202020204" pitchFamily="34" charset="0"/>
            </a:endParaRPr>
          </a:p>
        </p:txBody>
      </p:sp>
      <p:sp>
        <p:nvSpPr>
          <p:cNvPr id="58" name="Овал 62">
            <a:extLst>
              <a:ext uri="{FF2B5EF4-FFF2-40B4-BE49-F238E27FC236}">
                <a16:creationId xmlns:a16="http://schemas.microsoft.com/office/drawing/2014/main" id="{7E2C6BB9-0C4C-4AF4-9E60-980069B83A24}"/>
              </a:ext>
            </a:extLst>
          </p:cNvPr>
          <p:cNvSpPr/>
          <p:nvPr/>
        </p:nvSpPr>
        <p:spPr>
          <a:xfrm>
            <a:off x="10446300" y="4157013"/>
            <a:ext cx="73576" cy="69527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9" name="Соединитель: изогнутый 22">
            <a:extLst>
              <a:ext uri="{FF2B5EF4-FFF2-40B4-BE49-F238E27FC236}">
                <a16:creationId xmlns:a16="http://schemas.microsoft.com/office/drawing/2014/main" id="{912045F1-7348-4025-BED4-5F35F233397B}"/>
              </a:ext>
            </a:extLst>
          </p:cNvPr>
          <p:cNvCxnSpPr>
            <a:cxnSpLocks/>
            <a:stCxn id="57" idx="3"/>
            <a:endCxn id="58" idx="4"/>
          </p:cNvCxnSpPr>
          <p:nvPr/>
        </p:nvCxnSpPr>
        <p:spPr>
          <a:xfrm flipV="1">
            <a:off x="9295387" y="4226540"/>
            <a:ext cx="1187701" cy="1569289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A7A40DDA-594B-4D41-9621-97727606D336}"/>
              </a:ext>
            </a:extLst>
          </p:cNvPr>
          <p:cNvSpPr txBox="1"/>
          <p:nvPr/>
        </p:nvSpPr>
        <p:spPr>
          <a:xfrm>
            <a:off x="9915369" y="5180642"/>
            <a:ext cx="20991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Алматинская обл.</a:t>
            </a:r>
          </a:p>
          <a:p>
            <a:pPr algn="r"/>
            <a:r>
              <a:rPr lang="ru-RU" sz="1200" b="1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33,7 </a:t>
            </a:r>
            <a:r>
              <a:rPr lang="ru-RU" sz="1000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млрд тенге</a:t>
            </a:r>
            <a:endParaRPr lang="ru-RU" sz="1200" dirty="0">
              <a:latin typeface="Helvetica Neue Light" panose="02000403000000020004" pitchFamily="2" charset="0"/>
              <a:ea typeface="Helvetica Neue Light" panose="02000403000000020004" pitchFamily="2" charset="0"/>
              <a:cs typeface="Arial" panose="020B0604020202020204" pitchFamily="34" charset="0"/>
            </a:endParaRPr>
          </a:p>
          <a:p>
            <a:pPr algn="r"/>
            <a:r>
              <a:rPr lang="ru-RU" sz="1000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доля</a:t>
            </a:r>
            <a:r>
              <a:rPr lang="ru-RU" sz="1200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 </a:t>
            </a:r>
            <a:r>
              <a:rPr lang="en-US" sz="1200" b="1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17</a:t>
            </a:r>
            <a:r>
              <a:rPr lang="ru-RU" sz="1200" b="1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%</a:t>
            </a:r>
            <a:r>
              <a:rPr lang="ru-RU" sz="1200" dirty="0">
                <a:latin typeface="Helvetica Neue Light" panose="02000403000000020004" pitchFamily="2" charset="0"/>
                <a:ea typeface="Helvetica Neue Light" panose="02000403000000020004" pitchFamily="2" charset="0"/>
                <a:cs typeface="Arial" panose="020B0604020202020204" pitchFamily="34" charset="0"/>
              </a:rPr>
              <a:t> </a:t>
            </a:r>
            <a:endParaRPr lang="en-KZ" sz="1200" dirty="0">
              <a:latin typeface="Helvetica Neue Light" panose="02000403000000020004" pitchFamily="2" charset="0"/>
              <a:ea typeface="Helvetica Neue Light" panose="02000403000000020004" pitchFamily="2" charset="0"/>
              <a:cs typeface="Arial" panose="020B0604020202020204" pitchFamily="34" charset="0"/>
            </a:endParaRPr>
          </a:p>
        </p:txBody>
      </p:sp>
      <p:sp>
        <p:nvSpPr>
          <p:cNvPr id="61" name="Овал 62">
            <a:extLst>
              <a:ext uri="{FF2B5EF4-FFF2-40B4-BE49-F238E27FC236}">
                <a16:creationId xmlns:a16="http://schemas.microsoft.com/office/drawing/2014/main" id="{512472ED-C288-4399-BAEF-3827A0F8CB67}"/>
              </a:ext>
            </a:extLst>
          </p:cNvPr>
          <p:cNvSpPr/>
          <p:nvPr/>
        </p:nvSpPr>
        <p:spPr>
          <a:xfrm>
            <a:off x="10706707" y="3816903"/>
            <a:ext cx="73576" cy="69527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2" name="Соединитель: изогнутый 29">
            <a:extLst>
              <a:ext uri="{FF2B5EF4-FFF2-40B4-BE49-F238E27FC236}">
                <a16:creationId xmlns:a16="http://schemas.microsoft.com/office/drawing/2014/main" id="{437CC33B-AF35-4314-942C-02CDF93410E9}"/>
              </a:ext>
            </a:extLst>
          </p:cNvPr>
          <p:cNvCxnSpPr>
            <a:cxnSpLocks/>
            <a:stCxn id="60" idx="0"/>
            <a:endCxn id="61" idx="6"/>
          </p:cNvCxnSpPr>
          <p:nvPr/>
        </p:nvCxnSpPr>
        <p:spPr>
          <a:xfrm rot="16200000" flipV="1">
            <a:off x="10208132" y="4423819"/>
            <a:ext cx="1328975" cy="184672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02D53475-A272-42C3-B47C-5B5C60DDF48E}"/>
              </a:ext>
            </a:extLst>
          </p:cNvPr>
          <p:cNvSpPr/>
          <p:nvPr/>
        </p:nvSpPr>
        <p:spPr>
          <a:xfrm>
            <a:off x="2386416" y="3572043"/>
            <a:ext cx="2816062" cy="3452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т к аналогичному периоду 2020 года</a:t>
            </a:r>
          </a:p>
        </p:txBody>
      </p:sp>
      <p:pic>
        <p:nvPicPr>
          <p:cNvPr id="64" name="Picture 32" descr="Картинки по запросу &quot;россия  флаг круглый без фона&quot;">
            <a:extLst>
              <a:ext uri="{FF2B5EF4-FFF2-40B4-BE49-F238E27FC236}">
                <a16:creationId xmlns:a16="http://schemas.microsoft.com/office/drawing/2014/main" id="{72C6802D-85DE-42B1-860F-069589B07E7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2535" b="90282" l="9842" r="88574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1584" t="2817" r="1584" b="-2817"/>
          <a:stretch/>
        </p:blipFill>
        <p:spPr bwMode="auto">
          <a:xfrm>
            <a:off x="4812345" y="5033398"/>
            <a:ext cx="537462" cy="537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18" descr="Кнопка флага франции. | Премиум векторы">
            <a:extLst>
              <a:ext uri="{FF2B5EF4-FFF2-40B4-BE49-F238E27FC236}">
                <a16:creationId xmlns:a16="http://schemas.microsoft.com/office/drawing/2014/main" id="{6424D3D9-0F08-4091-A5D8-CF2AA20CFB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9676" y="5194436"/>
            <a:ext cx="580646" cy="499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4" descr="Значок флага Кыргызстана круглый яркий на белой предпосылке Иллюстрация  штока - иллюстрации насчитывающей яркий, круглый: 142946765">
            <a:extLst>
              <a:ext uri="{FF2B5EF4-FFF2-40B4-BE49-F238E27FC236}">
                <a16:creationId xmlns:a16="http://schemas.microsoft.com/office/drawing/2014/main" id="{E5F23649-F1C6-478E-9F66-A693EC6F80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50" y="5161273"/>
            <a:ext cx="521458" cy="484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Прямоугольник 66"/>
          <p:cNvSpPr/>
          <p:nvPr/>
        </p:nvSpPr>
        <p:spPr>
          <a:xfrm>
            <a:off x="894450" y="2220962"/>
            <a:ext cx="175060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cap="all" dirty="0" smtClean="0">
                <a:solidFill>
                  <a:srgbClr val="0070C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УММА ОТП</a:t>
            </a:r>
            <a:endParaRPr lang="ru-RU" sz="2000" b="1" cap="all" dirty="0">
              <a:solidFill>
                <a:srgbClr val="0070C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6522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/>
          <p:cNvSpPr txBox="1"/>
          <p:nvPr/>
        </p:nvSpPr>
        <p:spPr>
          <a:xfrm>
            <a:off x="3381514" y="4569580"/>
            <a:ext cx="8464987" cy="212551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9999"/>
            </a:solidFill>
            <a:prstDash val="dash"/>
          </a:ln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3pPr>
            <a:lvl4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200" u="sng" dirty="0" smtClean="0">
                <a:solidFill>
                  <a:schemeClr val="tx1"/>
                </a:solidFill>
              </a:rPr>
              <a:t>Закуп через СК-Фармация за 10 лет: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300" dirty="0" smtClean="0">
              <a:solidFill>
                <a:schemeClr val="tx1"/>
              </a:solidFill>
            </a:endParaRPr>
          </a:p>
          <a:p>
            <a:pPr marL="342900" indent="-342900" algn="l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1200" dirty="0" smtClean="0">
                <a:solidFill>
                  <a:schemeClr val="tx1"/>
                </a:solidFill>
              </a:rPr>
              <a:t>Рост </a:t>
            </a:r>
            <a:r>
              <a:rPr lang="ru-RU" sz="1200" dirty="0">
                <a:solidFill>
                  <a:schemeClr val="tx1"/>
                </a:solidFill>
              </a:rPr>
              <a:t>объем ОТП </a:t>
            </a:r>
            <a:r>
              <a:rPr lang="ru-RU" sz="1200" b="0" dirty="0">
                <a:solidFill>
                  <a:schemeClr val="tx1"/>
                </a:solidFill>
              </a:rPr>
              <a:t>на рынке Казахстана в денежном выражении на </a:t>
            </a:r>
            <a:r>
              <a:rPr lang="ru-RU" sz="1200" dirty="0" smtClean="0">
                <a:solidFill>
                  <a:schemeClr val="tx1"/>
                </a:solidFill>
              </a:rPr>
              <a:t>41% (с учетом КВИ)</a:t>
            </a:r>
            <a:endParaRPr lang="ru-RU" sz="1200" dirty="0">
              <a:solidFill>
                <a:schemeClr val="tx1"/>
              </a:solidFill>
            </a:endParaRPr>
          </a:p>
          <a:p>
            <a:pPr marL="342900" indent="-342900" algn="l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1200" dirty="0" smtClean="0">
                <a:solidFill>
                  <a:schemeClr val="tx1"/>
                </a:solidFill>
              </a:rPr>
              <a:t>Увеличение </a:t>
            </a:r>
            <a:r>
              <a:rPr lang="ru-RU" sz="1200" b="0" dirty="0" smtClean="0">
                <a:solidFill>
                  <a:schemeClr val="tx1"/>
                </a:solidFill>
              </a:rPr>
              <a:t>количества </a:t>
            </a:r>
            <a:r>
              <a:rPr lang="ru-RU" sz="1200" b="0" dirty="0">
                <a:solidFill>
                  <a:schemeClr val="tx1"/>
                </a:solidFill>
              </a:rPr>
              <a:t>производимых </a:t>
            </a:r>
            <a:r>
              <a:rPr lang="ru-RU" sz="1200" dirty="0">
                <a:solidFill>
                  <a:schemeClr val="tx1"/>
                </a:solidFill>
              </a:rPr>
              <a:t>позиций ОТП в </a:t>
            </a:r>
            <a:r>
              <a:rPr lang="ru-RU" sz="1200" dirty="0" smtClean="0">
                <a:solidFill>
                  <a:schemeClr val="tx1"/>
                </a:solidFill>
              </a:rPr>
              <a:t>25 раз </a:t>
            </a:r>
            <a:endParaRPr lang="ru-RU" sz="1200" dirty="0">
              <a:solidFill>
                <a:schemeClr val="tx1"/>
              </a:solidFill>
            </a:endParaRPr>
          </a:p>
          <a:p>
            <a:pPr marL="342900" indent="-342900" algn="l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1200" dirty="0" smtClean="0">
                <a:solidFill>
                  <a:schemeClr val="tx1"/>
                </a:solidFill>
              </a:rPr>
              <a:t>Общий </a:t>
            </a:r>
            <a:r>
              <a:rPr lang="ru-RU" sz="1200" b="0" dirty="0">
                <a:solidFill>
                  <a:schemeClr val="tx1"/>
                </a:solidFill>
              </a:rPr>
              <a:t>совокупный </a:t>
            </a:r>
            <a:r>
              <a:rPr lang="ru-RU" sz="1200" dirty="0">
                <a:solidFill>
                  <a:schemeClr val="tx1"/>
                </a:solidFill>
              </a:rPr>
              <a:t>объем закупа ЛС и МИ у ОТП </a:t>
            </a:r>
            <a:r>
              <a:rPr lang="ru-RU" sz="1200" b="0" dirty="0">
                <a:solidFill>
                  <a:schemeClr val="tx1"/>
                </a:solidFill>
              </a:rPr>
              <a:t>составил </a:t>
            </a:r>
            <a:r>
              <a:rPr lang="ru-RU" sz="1200" dirty="0" smtClean="0">
                <a:solidFill>
                  <a:schemeClr val="tx1"/>
                </a:solidFill>
              </a:rPr>
              <a:t>500,3 </a:t>
            </a:r>
            <a:r>
              <a:rPr lang="ru-RU" sz="1200" dirty="0">
                <a:solidFill>
                  <a:schemeClr val="tx1"/>
                </a:solidFill>
              </a:rPr>
              <a:t>млрд .</a:t>
            </a:r>
            <a:r>
              <a:rPr lang="ru-RU" sz="1200" dirty="0" err="1">
                <a:solidFill>
                  <a:schemeClr val="tx1"/>
                </a:solidFill>
              </a:rPr>
              <a:t>тг</a:t>
            </a:r>
            <a:r>
              <a:rPr lang="ru-RU" sz="1200" dirty="0" smtClean="0">
                <a:solidFill>
                  <a:schemeClr val="tx1"/>
                </a:solidFill>
              </a:rPr>
              <a:t>. (</a:t>
            </a:r>
            <a:r>
              <a:rPr lang="ru-RU" sz="1200" dirty="0">
                <a:solidFill>
                  <a:schemeClr val="tx1"/>
                </a:solidFill>
              </a:rPr>
              <a:t>с учетом КВИ)</a:t>
            </a:r>
          </a:p>
          <a:p>
            <a:pPr marL="342900" indent="-342900" algn="l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</a:pPr>
            <a:endParaRPr lang="ru-RU" sz="1200" dirty="0" smtClean="0">
              <a:solidFill>
                <a:schemeClr val="tx1"/>
              </a:solidFill>
            </a:endParaRPr>
          </a:p>
          <a:p>
            <a:pPr algn="l">
              <a:lnSpc>
                <a:spcPct val="100000"/>
              </a:lnSpc>
              <a:spcBef>
                <a:spcPts val="0"/>
              </a:spcBef>
            </a:pPr>
            <a:endParaRPr lang="ru-RU" sz="600" dirty="0" smtClean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200" u="sng" dirty="0" smtClean="0">
                <a:solidFill>
                  <a:schemeClr val="tx1"/>
                </a:solidFill>
              </a:rPr>
              <a:t>Закуп в рамках </a:t>
            </a:r>
            <a:r>
              <a:rPr lang="en-US" sz="1200" u="sng" dirty="0" smtClean="0">
                <a:solidFill>
                  <a:schemeClr val="tx1"/>
                </a:solidFill>
              </a:rPr>
              <a:t>COVID-19</a:t>
            </a:r>
            <a:endParaRPr lang="ru-RU" sz="1200" u="sng" dirty="0" smtClean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sz="300" u="sng" dirty="0" smtClean="0">
              <a:solidFill>
                <a:schemeClr val="tx1"/>
              </a:solidFill>
            </a:endParaRPr>
          </a:p>
          <a:p>
            <a:pPr marL="342900" indent="-342900" algn="l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1200" dirty="0" smtClean="0">
                <a:solidFill>
                  <a:schemeClr val="tx1"/>
                </a:solidFill>
              </a:rPr>
              <a:t>48</a:t>
            </a:r>
            <a:r>
              <a:rPr lang="ru-RU" sz="1200" dirty="0">
                <a:solidFill>
                  <a:schemeClr val="tx1"/>
                </a:solidFill>
              </a:rPr>
              <a:t>% </a:t>
            </a:r>
            <a:r>
              <a:rPr lang="ru-RU" sz="1200" b="0" dirty="0">
                <a:solidFill>
                  <a:schemeClr val="tx1"/>
                </a:solidFill>
              </a:rPr>
              <a:t>ЛС по </a:t>
            </a:r>
            <a:r>
              <a:rPr lang="en-US" sz="1200" b="0" dirty="0">
                <a:solidFill>
                  <a:schemeClr val="tx1"/>
                </a:solidFill>
              </a:rPr>
              <a:t>COVID-19 </a:t>
            </a:r>
            <a:r>
              <a:rPr lang="ru-RU" sz="1200" b="0" dirty="0">
                <a:solidFill>
                  <a:schemeClr val="tx1"/>
                </a:solidFill>
              </a:rPr>
              <a:t>производства </a:t>
            </a:r>
            <a:r>
              <a:rPr lang="ru-RU" sz="1200" dirty="0" smtClean="0">
                <a:solidFill>
                  <a:schemeClr val="tx1"/>
                </a:solidFill>
              </a:rPr>
              <a:t>ОТП, оперативное </a:t>
            </a:r>
            <a:r>
              <a:rPr lang="ru-RU" sz="1200" b="0" dirty="0" smtClean="0">
                <a:solidFill>
                  <a:schemeClr val="tx1"/>
                </a:solidFill>
              </a:rPr>
              <a:t>закрытие потребности регионов </a:t>
            </a:r>
            <a:endParaRPr lang="en-US" sz="1200" dirty="0">
              <a:solidFill>
                <a:schemeClr val="tx1"/>
              </a:solidFill>
            </a:endParaRPr>
          </a:p>
          <a:p>
            <a:pPr marL="342900" indent="-342900" algn="l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1200" dirty="0" smtClean="0">
                <a:solidFill>
                  <a:schemeClr val="tx1"/>
                </a:solidFill>
              </a:rPr>
              <a:t>Объем </a:t>
            </a:r>
            <a:r>
              <a:rPr lang="ru-RU" sz="1200" b="0" dirty="0" smtClean="0">
                <a:solidFill>
                  <a:schemeClr val="tx1"/>
                </a:solidFill>
              </a:rPr>
              <a:t>закупа медицинских масок для розничной сети </a:t>
            </a:r>
            <a:r>
              <a:rPr lang="ru-RU" sz="1200" dirty="0" smtClean="0">
                <a:solidFill>
                  <a:schemeClr val="tx1"/>
                </a:solidFill>
              </a:rPr>
              <a:t>на сумму около 5 млрд. тенге</a:t>
            </a:r>
          </a:p>
          <a:p>
            <a:pPr marL="342900" indent="-342900" algn="l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</a:pPr>
            <a:r>
              <a:rPr lang="ru-RU" sz="1200" dirty="0" smtClean="0">
                <a:solidFill>
                  <a:schemeClr val="tx1"/>
                </a:solidFill>
              </a:rPr>
              <a:t>Увеличение </a:t>
            </a:r>
            <a:r>
              <a:rPr lang="ru-RU" sz="1200" b="0" dirty="0" smtClean="0">
                <a:solidFill>
                  <a:schemeClr val="tx1"/>
                </a:solidFill>
              </a:rPr>
              <a:t>ЛС </a:t>
            </a:r>
            <a:r>
              <a:rPr lang="ru-RU" sz="1200" b="0" dirty="0">
                <a:solidFill>
                  <a:schemeClr val="tx1"/>
                </a:solidFill>
              </a:rPr>
              <a:t>по </a:t>
            </a:r>
            <a:r>
              <a:rPr lang="en-US" sz="1200" b="0" dirty="0">
                <a:solidFill>
                  <a:schemeClr val="tx1"/>
                </a:solidFill>
              </a:rPr>
              <a:t>COVID-19 </a:t>
            </a:r>
            <a:r>
              <a:rPr lang="ru-RU" sz="1200" b="0" dirty="0">
                <a:solidFill>
                  <a:schemeClr val="tx1"/>
                </a:solidFill>
              </a:rPr>
              <a:t>производства </a:t>
            </a:r>
            <a:r>
              <a:rPr lang="ru-RU" sz="1200" dirty="0" smtClean="0">
                <a:solidFill>
                  <a:schemeClr val="tx1"/>
                </a:solidFill>
              </a:rPr>
              <a:t>ОТП </a:t>
            </a:r>
            <a:r>
              <a:rPr lang="ru-RU" sz="1200" b="0" dirty="0" smtClean="0">
                <a:solidFill>
                  <a:schemeClr val="tx1"/>
                </a:solidFill>
              </a:rPr>
              <a:t>с производством собственной вакцины против КВИ</a:t>
            </a: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-5573" y="3580905"/>
            <a:ext cx="12191999" cy="52322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spcAft>
                <a:spcPts val="180"/>
              </a:spcAft>
            </a:pPr>
            <a:r>
              <a:rPr lang="ru-RU" sz="1400" dirty="0">
                <a:latin typeface="Century Gothic" panose="020B0502020202020204" pitchFamily="34" charset="0"/>
              </a:rPr>
              <a:t>Рост доли отечественного производства фармацевтических препаратов связан с запуском новых производств и модернизацией имеющихся мощностей, а также увеличением номенклатуры выпускаемой продукции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728238" y="549976"/>
            <a:ext cx="4951047" cy="276999"/>
          </a:xfrm>
          <a:prstGeom prst="rect">
            <a:avLst/>
          </a:prstGeom>
          <a:noFill/>
        </p:spPr>
        <p:txBody>
          <a:bodyPr vert="horz" wrap="square" lIns="82296" tIns="41148" rIns="82296" bIns="41148" rtlCol="0" anchor="ctr">
            <a:spAutoFit/>
          </a:bodyPr>
          <a:lstStyle/>
          <a:p>
            <a:pPr algn="ctr"/>
            <a:r>
              <a:rPr lang="ru-RU" sz="1200" b="1" u="sng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Всего закуп у ОТП за 2010-2020 годы – </a:t>
            </a:r>
            <a:r>
              <a:rPr lang="ru-RU" sz="1200" b="1" u="sng" dirty="0" smtClean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312,4 </a:t>
            </a:r>
            <a:r>
              <a:rPr lang="ru-RU" sz="1200" b="1" u="sng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млрд </a:t>
            </a:r>
            <a:r>
              <a:rPr lang="ru-RU" sz="1200" b="1" u="sng" dirty="0" err="1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тг</a:t>
            </a:r>
            <a:r>
              <a:rPr lang="en-US" sz="1200" b="1" u="sng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 </a:t>
            </a:r>
            <a:endParaRPr lang="ru-RU" sz="1200" b="1" u="sng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473058" y="948583"/>
            <a:ext cx="171685" cy="15689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latin typeface="Century Gothic" panose="020B0502020202020204" pitchFamily="34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709460" y="901954"/>
            <a:ext cx="1213302" cy="2687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chemeClr val="tx1"/>
                </a:solidFill>
                <a:latin typeface="Century Gothic" panose="020B0502020202020204" pitchFamily="34" charset="0"/>
              </a:rPr>
              <a:t>сумма закупа, </a:t>
            </a:r>
            <a:r>
              <a:rPr lang="ru-RU" sz="10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млрд.тг</a:t>
            </a:r>
            <a:r>
              <a:rPr lang="ru-RU" sz="1000" dirty="0">
                <a:solidFill>
                  <a:schemeClr val="tx1"/>
                </a:solidFill>
                <a:latin typeface="Century Gothic" panose="020B0502020202020204" pitchFamily="34" charset="0"/>
              </a:rPr>
              <a:t>.</a:t>
            </a:r>
          </a:p>
        </p:txBody>
      </p:sp>
      <p:cxnSp>
        <p:nvCxnSpPr>
          <p:cNvPr id="72" name="Прямая соединительная линия 71"/>
          <p:cNvCxnSpPr/>
          <p:nvPr/>
        </p:nvCxnSpPr>
        <p:spPr>
          <a:xfrm flipV="1">
            <a:off x="3203761" y="1018165"/>
            <a:ext cx="180518" cy="1418"/>
          </a:xfrm>
          <a:prstGeom prst="line">
            <a:avLst/>
          </a:prstGeom>
          <a:ln w="28575">
            <a:solidFill>
              <a:srgbClr val="CB1B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Прямоугольник 72"/>
          <p:cNvSpPr/>
          <p:nvPr/>
        </p:nvSpPr>
        <p:spPr>
          <a:xfrm>
            <a:off x="3282667" y="868270"/>
            <a:ext cx="1886001" cy="3361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>
                <a:solidFill>
                  <a:schemeClr val="tx1"/>
                </a:solidFill>
                <a:latin typeface="Century Gothic" panose="020B0502020202020204" pitchFamily="34" charset="0"/>
              </a:rPr>
              <a:t>доля закупа у ОТП от общей суммы закупа КД</a:t>
            </a:r>
          </a:p>
        </p:txBody>
      </p:sp>
      <p:sp>
        <p:nvSpPr>
          <p:cNvPr id="24" name="Заголовок 1"/>
          <p:cNvSpPr txBox="1">
            <a:spLocks/>
          </p:cNvSpPr>
          <p:nvPr/>
        </p:nvSpPr>
        <p:spPr>
          <a:xfrm>
            <a:off x="282228" y="-21468"/>
            <a:ext cx="11616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 algn="ctr">
              <a:defRPr sz="2400" b="1" u="sng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defRPr>
            </a:lvl1pPr>
          </a:lstStyle>
          <a:p>
            <a:r>
              <a:rPr lang="ru-RU" dirty="0" smtClean="0"/>
              <a:t>Анализ закупок в рамках Долгосрочных Договоров</a:t>
            </a:r>
            <a:endParaRPr lang="ru-RU" dirty="0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22</a:t>
            </a:fld>
            <a:endParaRPr lang="ru-RU"/>
          </a:p>
        </p:txBody>
      </p:sp>
      <p:graphicFrame>
        <p:nvGraphicFramePr>
          <p:cNvPr id="30" name="Диаграмма 29"/>
          <p:cNvGraphicFramePr/>
          <p:nvPr>
            <p:extLst/>
          </p:nvPr>
        </p:nvGraphicFramePr>
        <p:xfrm>
          <a:off x="142089" y="1101243"/>
          <a:ext cx="6123344" cy="17504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1914589" y="939340"/>
            <a:ext cx="162949" cy="174294"/>
          </a:xfrm>
          <a:prstGeom prst="rect">
            <a:avLst/>
          </a:prstGeom>
          <a:solidFill>
            <a:srgbClr val="DCE6F2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2108092" y="828591"/>
            <a:ext cx="94802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i="1" dirty="0" smtClean="0">
                <a:latin typeface="Arial Narrow" panose="020B0606020202030204" pitchFamily="34" charset="0"/>
              </a:rPr>
              <a:t>Вакцина КВИ, в </a:t>
            </a:r>
            <a:r>
              <a:rPr lang="ru-RU" sz="1050" i="1" dirty="0" err="1" smtClean="0">
                <a:latin typeface="Arial Narrow" panose="020B0606020202030204" pitchFamily="34" charset="0"/>
              </a:rPr>
              <a:t>млрд.тг</a:t>
            </a:r>
            <a:r>
              <a:rPr lang="ru-RU" sz="1050" i="1" dirty="0" smtClean="0">
                <a:latin typeface="Arial Narrow" panose="020B0606020202030204" pitchFamily="34" charset="0"/>
              </a:rPr>
              <a:t>.</a:t>
            </a:r>
            <a:endParaRPr lang="ru-RU" sz="1050" i="1" dirty="0"/>
          </a:p>
        </p:txBody>
      </p:sp>
      <p:sp>
        <p:nvSpPr>
          <p:cNvPr id="33" name="TextBox 32"/>
          <p:cNvSpPr txBox="1"/>
          <p:nvPr/>
        </p:nvSpPr>
        <p:spPr>
          <a:xfrm>
            <a:off x="142089" y="2826909"/>
            <a:ext cx="6260686" cy="577081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050" dirty="0" smtClean="0">
                <a:latin typeface="Arial Narrow" panose="020B0606020202030204" pitchFamily="34" charset="0"/>
              </a:rPr>
              <a:t>В целях </a:t>
            </a:r>
            <a:r>
              <a:rPr lang="ru-RU" sz="1050" dirty="0">
                <a:latin typeface="Arial Narrow" panose="020B0606020202030204" pitchFamily="34" charset="0"/>
              </a:rPr>
              <a:t>обеспечения массовой вакцинации населения </a:t>
            </a:r>
            <a:r>
              <a:rPr lang="ru-RU" sz="1050" dirty="0" smtClean="0">
                <a:latin typeface="Arial Narrow" panose="020B0606020202030204" pitchFamily="34" charset="0"/>
              </a:rPr>
              <a:t>РК с 01.0221 г. закуплена </a:t>
            </a:r>
            <a:r>
              <a:rPr lang="ru-RU" sz="1050" dirty="0">
                <a:latin typeface="Arial Narrow" panose="020B0606020202030204" pitchFamily="34" charset="0"/>
              </a:rPr>
              <a:t>вакцина против </a:t>
            </a:r>
            <a:r>
              <a:rPr lang="ru-RU" sz="1050" dirty="0" smtClean="0">
                <a:latin typeface="Arial Narrow" panose="020B0606020202030204" pitchFamily="34" charset="0"/>
              </a:rPr>
              <a:t>КВИ «Спутник </a:t>
            </a:r>
            <a:r>
              <a:rPr lang="ru-RU" sz="1050" dirty="0">
                <a:latin typeface="Arial Narrow" panose="020B0606020202030204" pitchFamily="34" charset="0"/>
              </a:rPr>
              <a:t>V» производства ТОО </a:t>
            </a:r>
            <a:r>
              <a:rPr lang="ru-RU" sz="1050" dirty="0" smtClean="0">
                <a:latin typeface="Arial Narrow" panose="020B0606020202030204" pitchFamily="34" charset="0"/>
              </a:rPr>
              <a:t>«КФКФ» </a:t>
            </a:r>
            <a:r>
              <a:rPr lang="ru-RU" sz="1050" dirty="0">
                <a:latin typeface="Arial Narrow" panose="020B0606020202030204" pitchFamily="34" charset="0"/>
              </a:rPr>
              <a:t>и </a:t>
            </a:r>
            <a:r>
              <a:rPr lang="ru-RU" sz="1050" dirty="0" err="1">
                <a:latin typeface="Arial Narrow" panose="020B0606020202030204" pitchFamily="34" charset="0"/>
              </a:rPr>
              <a:t>Qaz-Covid-in</a:t>
            </a:r>
            <a:r>
              <a:rPr lang="ru-RU" sz="1050" dirty="0">
                <a:latin typeface="Arial Narrow" panose="020B0606020202030204" pitchFamily="34" charset="0"/>
              </a:rPr>
              <a:t> производства </a:t>
            </a:r>
            <a:r>
              <a:rPr lang="ru-RU" sz="1050" dirty="0" smtClean="0">
                <a:latin typeface="Arial Narrow" panose="020B0606020202030204" pitchFamily="34" charset="0"/>
              </a:rPr>
              <a:t>НИИПББ МОН РК </a:t>
            </a:r>
            <a:r>
              <a:rPr lang="ru-RU" sz="1050" dirty="0">
                <a:latin typeface="Arial Narrow" panose="020B0606020202030204" pitchFamily="34" charset="0"/>
              </a:rPr>
              <a:t>на сумму </a:t>
            </a:r>
            <a:r>
              <a:rPr lang="ru-RU" sz="1050" dirty="0" smtClean="0">
                <a:latin typeface="Arial Narrow" panose="020B0606020202030204" pitchFamily="34" charset="0"/>
              </a:rPr>
              <a:t>68,6 </a:t>
            </a:r>
            <a:r>
              <a:rPr lang="ru-RU" sz="1050" dirty="0">
                <a:latin typeface="Arial Narrow" panose="020B0606020202030204" pitchFamily="34" charset="0"/>
              </a:rPr>
              <a:t>млрд. тенге. Таким образом, </a:t>
            </a:r>
            <a:r>
              <a:rPr lang="ru-RU" sz="1050" dirty="0" smtClean="0">
                <a:latin typeface="Arial Narrow" panose="020B0606020202030204" pitchFamily="34" charset="0"/>
              </a:rPr>
              <a:t/>
            </a:r>
            <a:br>
              <a:rPr lang="ru-RU" sz="1050" dirty="0" smtClean="0">
                <a:latin typeface="Arial Narrow" panose="020B0606020202030204" pitchFamily="34" charset="0"/>
              </a:rPr>
            </a:br>
            <a:r>
              <a:rPr lang="ru-RU" sz="1050" b="1" dirty="0" smtClean="0">
                <a:latin typeface="Arial Narrow" panose="020B0606020202030204" pitchFamily="34" charset="0"/>
              </a:rPr>
              <a:t>с </a:t>
            </a:r>
            <a:r>
              <a:rPr lang="ru-RU" sz="1050" b="1" dirty="0">
                <a:latin typeface="Arial Narrow" panose="020B0606020202030204" pitchFamily="34" charset="0"/>
              </a:rPr>
              <a:t>учетом закупа вакцины доля ОТП в общем объема закупа составляет </a:t>
            </a:r>
            <a:r>
              <a:rPr lang="ru-RU" sz="1050" b="1" dirty="0" smtClean="0">
                <a:latin typeface="Arial Narrow" panose="020B0606020202030204" pitchFamily="34" charset="0"/>
              </a:rPr>
              <a:t>41%.</a:t>
            </a:r>
            <a:endParaRPr lang="ru-RU" sz="1050" b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4" name="Диаграмма 33"/>
          <p:cNvGraphicFramePr/>
          <p:nvPr>
            <p:extLst/>
          </p:nvPr>
        </p:nvGraphicFramePr>
        <p:xfrm>
          <a:off x="6402775" y="730759"/>
          <a:ext cx="5693976" cy="27273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5" name="Прямоугольник 34"/>
          <p:cNvSpPr/>
          <p:nvPr/>
        </p:nvSpPr>
        <p:spPr>
          <a:xfrm>
            <a:off x="6521807" y="378734"/>
            <a:ext cx="5756332" cy="52322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anchor="ctr">
            <a:spAutoFit/>
          </a:bodyPr>
          <a:lstStyle/>
          <a:p>
            <a:pPr algn="ctr">
              <a:spcBef>
                <a:spcPct val="0"/>
              </a:spcBef>
            </a:pPr>
            <a:r>
              <a:rPr lang="kk-KZ" sz="2800" b="1" dirty="0" smtClean="0">
                <a:ln/>
                <a:solidFill>
                  <a:srgbClr val="002060"/>
                </a:solidFill>
                <a:latin typeface="Arial Narrow" panose="020B0606020202030204" pitchFamily="34" charset="0"/>
              </a:rPr>
              <a:t>ТОП 10 ОТП</a:t>
            </a:r>
            <a:endParaRPr lang="ru-RU" sz="2800" b="1" dirty="0">
              <a:ln/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9" name="Текст 4"/>
          <p:cNvSpPr txBox="1">
            <a:spLocks/>
          </p:cNvSpPr>
          <p:nvPr/>
        </p:nvSpPr>
        <p:spPr>
          <a:xfrm>
            <a:off x="7915275" y="4199130"/>
            <a:ext cx="3974285" cy="184043"/>
          </a:xfrm>
          <a:prstGeom prst="rect">
            <a:avLst/>
          </a:prstGeom>
          <a:solidFill>
            <a:srgbClr val="002060"/>
          </a:solidFill>
          <a:ln w="9525">
            <a:noFill/>
            <a:prstDash val="dash"/>
          </a:ln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ИВНОСТЬ</a:t>
            </a:r>
          </a:p>
        </p:txBody>
      </p:sp>
      <p:sp>
        <p:nvSpPr>
          <p:cNvPr id="41" name="Стрелка вниз 40"/>
          <p:cNvSpPr/>
          <p:nvPr/>
        </p:nvSpPr>
        <p:spPr>
          <a:xfrm>
            <a:off x="7599359" y="4353532"/>
            <a:ext cx="1260231" cy="168417"/>
          </a:xfrm>
          <a:prstGeom prst="downArrow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TextBox 41"/>
          <p:cNvSpPr txBox="1"/>
          <p:nvPr/>
        </p:nvSpPr>
        <p:spPr>
          <a:xfrm>
            <a:off x="142089" y="5524027"/>
            <a:ext cx="17707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 smtClean="0">
                <a:solidFill>
                  <a:srgbClr val="002060"/>
                </a:solidFill>
              </a:rPr>
              <a:t>613 </a:t>
            </a:r>
            <a:r>
              <a:rPr lang="ru-RU" sz="3600" b="1" dirty="0">
                <a:solidFill>
                  <a:srgbClr val="002060"/>
                </a:solidFill>
              </a:rPr>
              <a:t>ЛС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42089" y="4047748"/>
            <a:ext cx="15507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 smtClean="0">
                <a:solidFill>
                  <a:srgbClr val="002060"/>
                </a:solidFill>
              </a:rPr>
              <a:t>94 </a:t>
            </a:r>
            <a:r>
              <a:rPr lang="ru-RU" sz="3600" b="1" dirty="0">
                <a:solidFill>
                  <a:srgbClr val="002060"/>
                </a:solidFill>
              </a:rPr>
              <a:t>ДД</a:t>
            </a:r>
          </a:p>
        </p:txBody>
      </p:sp>
      <p:pic>
        <p:nvPicPr>
          <p:cNvPr id="44" name="Picture 2" descr="Договор – Бесплатные иконки: бизнес и финансы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115" y="4150947"/>
            <a:ext cx="543132" cy="543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Прямоугольник 44"/>
          <p:cNvSpPr/>
          <p:nvPr/>
        </p:nvSpPr>
        <p:spPr>
          <a:xfrm>
            <a:off x="142089" y="4677095"/>
            <a:ext cx="264160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i="1" dirty="0">
                <a:solidFill>
                  <a:schemeClr val="bg1">
                    <a:lumMod val="50000"/>
                  </a:schemeClr>
                </a:solidFill>
              </a:rPr>
              <a:t>заключено с Единым дистрибьютором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142089" y="4850354"/>
            <a:ext cx="18649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 smtClean="0">
                <a:solidFill>
                  <a:srgbClr val="002060"/>
                </a:solidFill>
              </a:rPr>
              <a:t>35 </a:t>
            </a:r>
            <a:r>
              <a:rPr lang="ru-RU" sz="3600" b="1" dirty="0">
                <a:solidFill>
                  <a:srgbClr val="002060"/>
                </a:solidFill>
              </a:rPr>
              <a:t>ОТП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42089" y="5381269"/>
            <a:ext cx="250959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i="1" dirty="0">
                <a:solidFill>
                  <a:schemeClr val="bg1">
                    <a:lumMod val="50000"/>
                  </a:schemeClr>
                </a:solidFill>
              </a:rPr>
              <a:t>на поставку</a:t>
            </a:r>
          </a:p>
        </p:txBody>
      </p:sp>
      <p:pic>
        <p:nvPicPr>
          <p:cNvPr id="48" name="Picture 6" descr="Face mask free icon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0989" y="6112696"/>
            <a:ext cx="712985" cy="712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TextBox 48"/>
          <p:cNvSpPr txBox="1"/>
          <p:nvPr/>
        </p:nvSpPr>
        <p:spPr>
          <a:xfrm>
            <a:off x="142089" y="6195001"/>
            <a:ext cx="21181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 smtClean="0">
                <a:solidFill>
                  <a:srgbClr val="002060"/>
                </a:solidFill>
              </a:rPr>
              <a:t>3334 </a:t>
            </a:r>
            <a:r>
              <a:rPr lang="kk-KZ" sz="3600" b="1" dirty="0" smtClean="0">
                <a:solidFill>
                  <a:srgbClr val="002060"/>
                </a:solidFill>
              </a:rPr>
              <a:t>МИ</a:t>
            </a:r>
            <a:endParaRPr lang="ru-RU" sz="3600" b="1" dirty="0">
              <a:solidFill>
                <a:srgbClr val="002060"/>
              </a:solidFill>
            </a:endParaRPr>
          </a:p>
        </p:txBody>
      </p:sp>
      <p:pic>
        <p:nvPicPr>
          <p:cNvPr id="50" name="Рисунок 49"/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0881" y="5566459"/>
            <a:ext cx="461938" cy="461938"/>
          </a:xfrm>
          <a:prstGeom prst="rect">
            <a:avLst/>
          </a:prstGeom>
        </p:spPr>
      </p:pic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B04509BF-6B1A-3CC6-E20C-B0C987F6314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alphaModFix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5000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4572" y="4921676"/>
            <a:ext cx="679402" cy="479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912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DC1EDD2-5156-4C78-B4CC-0F7C486904F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97" r="19473"/>
          <a:stretch/>
        </p:blipFill>
        <p:spPr>
          <a:xfrm>
            <a:off x="510746" y="1439665"/>
            <a:ext cx="3657600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501188AF-66C9-4AAA-A13A-44C37A9AA3C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24" r="34102"/>
          <a:stretch/>
        </p:blipFill>
        <p:spPr>
          <a:xfrm>
            <a:off x="3047997" y="1439665"/>
            <a:ext cx="3707027" cy="3978893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14C3997A-412B-4A32-BBDD-47C610D6C31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3" r="39982"/>
          <a:stretch/>
        </p:blipFill>
        <p:spPr>
          <a:xfrm>
            <a:off x="5560543" y="1439665"/>
            <a:ext cx="3731740" cy="3991430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13023DF2-4F41-434C-BFC2-4F97EF92A44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09" r="25508"/>
          <a:stretch/>
        </p:blipFill>
        <p:spPr>
          <a:xfrm>
            <a:off x="8079161" y="1439665"/>
            <a:ext cx="3690552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sp>
        <p:nvSpPr>
          <p:cNvPr id="6" name="Прямоугольник 5"/>
          <p:cNvSpPr/>
          <p:nvPr/>
        </p:nvSpPr>
        <p:spPr>
          <a:xfrm>
            <a:off x="1185331" y="2853267"/>
            <a:ext cx="9905999" cy="1202266"/>
          </a:xfrm>
          <a:custGeom>
            <a:avLst/>
            <a:gdLst>
              <a:gd name="connsiteX0" fmla="*/ 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0 w 9889066"/>
              <a:gd name="connsiteY4" fmla="*/ 0 h 1202266"/>
              <a:gd name="connsiteX0" fmla="*/ 35560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355600 w 9889066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905999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89467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89467 w 9905999"/>
              <a:gd name="connsiteY4" fmla="*/ 0 h 1202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5999" h="1202266">
                <a:moveTo>
                  <a:pt x="389467" y="0"/>
                </a:moveTo>
                <a:lnTo>
                  <a:pt x="9905999" y="0"/>
                </a:lnTo>
                <a:lnTo>
                  <a:pt x="9541933" y="1202266"/>
                </a:lnTo>
                <a:lnTo>
                  <a:pt x="0" y="1202266"/>
                </a:lnTo>
                <a:lnTo>
                  <a:pt x="38946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1185331" y="2863417"/>
            <a:ext cx="1055577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Перечень позиций Списка Единого дистрибьютора </a:t>
            </a:r>
          </a:p>
          <a:p>
            <a:pPr algn="ctr"/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на 2024 год, не заявленных </a:t>
            </a:r>
          </a:p>
          <a:p>
            <a:pPr algn="ctr"/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отечественными производителями</a:t>
            </a:r>
            <a:endParaRPr lang="ru-RU" sz="24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0720552" y="53529"/>
            <a:ext cx="1471448" cy="1358670"/>
          </a:xfrm>
          <a:prstGeom prst="rect">
            <a:avLst/>
          </a:prstGeom>
          <a:ln>
            <a:noFill/>
          </a:ln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23</a:t>
            </a:fld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1729474" y="813573"/>
            <a:ext cx="3338395" cy="714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ПРИЛОЖЕНИЕ </a:t>
            </a:r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2</a:t>
            </a:r>
            <a:endParaRPr lang="ru-RU" sz="32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093436" y="5752982"/>
            <a:ext cx="3338395" cy="714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2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245836" y="5905382"/>
            <a:ext cx="3338395" cy="714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10.07.2024</a:t>
            </a:r>
            <a:endParaRPr lang="ru-RU" sz="32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2494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1905668" y="257073"/>
            <a:ext cx="8164532" cy="236058"/>
          </a:xfrm>
          <a:prstGeom prst="rect">
            <a:avLst/>
          </a:prstGeom>
        </p:spPr>
        <p:txBody>
          <a:bodyPr vert="horz" wrap="square" lIns="0" tIns="12668" rIns="0" bIns="0" rtlCol="0">
            <a:spAutoFit/>
          </a:bodyPr>
          <a:lstStyle/>
          <a:p>
            <a:pPr marL="11516" algn="ctr">
              <a:spcBef>
                <a:spcPts val="100"/>
              </a:spcBef>
            </a:pPr>
            <a:r>
              <a:rPr lang="kk-KZ" sz="1451" b="1" spc="-5" dirty="0" smtClean="0">
                <a:latin typeface="Times New Roman"/>
                <a:cs typeface="Times New Roman"/>
              </a:rPr>
              <a:t>Список свободных позиций из Перечня ЕД на 2024 год</a:t>
            </a:r>
            <a:endParaRPr sz="1451" dirty="0">
              <a:latin typeface="Times New Roman"/>
              <a:cs typeface="Times New Roman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448886" y="606831"/>
          <a:ext cx="11421689" cy="607371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10616">
                  <a:extLst>
                    <a:ext uri="{9D8B030D-6E8A-4147-A177-3AD203B41FA5}">
                      <a16:colId xmlns:a16="http://schemas.microsoft.com/office/drawing/2014/main" val="1532898912"/>
                    </a:ext>
                  </a:extLst>
                </a:gridCol>
                <a:gridCol w="1184363">
                  <a:extLst>
                    <a:ext uri="{9D8B030D-6E8A-4147-A177-3AD203B41FA5}">
                      <a16:colId xmlns:a16="http://schemas.microsoft.com/office/drawing/2014/main" val="2374647077"/>
                    </a:ext>
                  </a:extLst>
                </a:gridCol>
                <a:gridCol w="814250">
                  <a:extLst>
                    <a:ext uri="{9D8B030D-6E8A-4147-A177-3AD203B41FA5}">
                      <a16:colId xmlns:a16="http://schemas.microsoft.com/office/drawing/2014/main" val="2029625750"/>
                    </a:ext>
                  </a:extLst>
                </a:gridCol>
                <a:gridCol w="1421236">
                  <a:extLst>
                    <a:ext uri="{9D8B030D-6E8A-4147-A177-3AD203B41FA5}">
                      <a16:colId xmlns:a16="http://schemas.microsoft.com/office/drawing/2014/main" val="3415429158"/>
                    </a:ext>
                  </a:extLst>
                </a:gridCol>
                <a:gridCol w="2798054">
                  <a:extLst>
                    <a:ext uri="{9D8B030D-6E8A-4147-A177-3AD203B41FA5}">
                      <a16:colId xmlns:a16="http://schemas.microsoft.com/office/drawing/2014/main" val="1597945747"/>
                    </a:ext>
                  </a:extLst>
                </a:gridCol>
                <a:gridCol w="917879">
                  <a:extLst>
                    <a:ext uri="{9D8B030D-6E8A-4147-A177-3AD203B41FA5}">
                      <a16:colId xmlns:a16="http://schemas.microsoft.com/office/drawing/2014/main" val="1429377282"/>
                    </a:ext>
                  </a:extLst>
                </a:gridCol>
                <a:gridCol w="1454544">
                  <a:extLst>
                    <a:ext uri="{9D8B030D-6E8A-4147-A177-3AD203B41FA5}">
                      <a16:colId xmlns:a16="http://schemas.microsoft.com/office/drawing/2014/main" val="4040038671"/>
                    </a:ext>
                  </a:extLst>
                </a:gridCol>
                <a:gridCol w="2120747">
                  <a:extLst>
                    <a:ext uri="{9D8B030D-6E8A-4147-A177-3AD203B41FA5}">
                      <a16:colId xmlns:a16="http://schemas.microsoft.com/office/drawing/2014/main" val="3518474745"/>
                    </a:ext>
                  </a:extLst>
                </a:gridCol>
              </a:tblGrid>
              <a:tr h="6650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3519247"/>
                  </a:ext>
                </a:extLst>
              </a:tr>
              <a:tr h="6154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бакавир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риема внутрь 20 мг/мл, 240 мл (дети, состоящие на диспансерном учете, принимают лекарственные препараты одного производителя по достижении 18 лет)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 348,45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8,00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5121766"/>
                  </a:ext>
                </a:extLst>
              </a:tr>
              <a:tr h="7385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бакави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риема внутрь 20 мг/мл, 240 мл (пациенты из очага Туркестанской области и г. Шымкент с ВИЧ-инфекцией принимают лекарственные препараты одного производителя на протяжении всей жизни)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 348,45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031270"/>
                  </a:ext>
                </a:extLst>
              </a:tr>
              <a:tr h="3403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биратерон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50 мг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967,00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60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221963"/>
                  </a:ext>
                </a:extLst>
              </a:tr>
              <a:tr h="24856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галзидаза</a:t>
                      </a:r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альфа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центрат для приготовления раствора для </a:t>
                      </a:r>
                      <a:r>
                        <a:rPr lang="ru-RU" sz="105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узий</a:t>
                      </a:r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 мг/мл 3,5 мл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2 381,30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24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0005039"/>
                  </a:ext>
                </a:extLst>
              </a:tr>
              <a:tr h="3692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галзидаза бета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</a:t>
                      </a:r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приготовления концентрата для приготовления раствора для </a:t>
                      </a:r>
                      <a:r>
                        <a:rPr lang="ru-RU" sz="105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узий</a:t>
                      </a:r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35 мг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220 566,00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8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2750632"/>
                  </a:ext>
                </a:extLst>
              </a:tr>
              <a:tr h="24856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алимумаб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одкожного введения, 40 мг/ 0,4 мл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2 550,10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498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251676"/>
                  </a:ext>
                </a:extLst>
              </a:tr>
              <a:tr h="11078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сорбированная коклюшно-дифтерийно-столбнячная вакцина, содержащая бесклеточный коклюшный компонент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кцина адсорбированная бесклеточная коклюшно-дифтерийно-столбнячная жидкая, 1 дозная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а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411,13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3021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4138133"/>
                  </a:ext>
                </a:extLst>
              </a:tr>
              <a:tr h="1279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затиоприн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5,77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247100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8802678"/>
                  </a:ext>
                </a:extLst>
              </a:tr>
              <a:tr h="3692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зацитидин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 для приготовления суспензии для подкожного введения 100мг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6 077,80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77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1957251"/>
                  </a:ext>
                </a:extLst>
              </a:tr>
              <a:tr h="1279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глиптин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2,5 мг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9,55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60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5442925"/>
                  </a:ext>
                </a:extLst>
              </a:tr>
              <a:tr h="1279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глиптин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5 мг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4,55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52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1268834"/>
                  </a:ext>
                </a:extLst>
              </a:tr>
              <a:tr h="3692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простадил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/концентрат для приготовления раствора для инфузий 20 мкг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856,83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315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8176744"/>
                  </a:ext>
                </a:extLst>
              </a:tr>
              <a:tr h="1279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ьбумин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фузий 10% 50 мл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284,57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633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2277787"/>
                  </a:ext>
                </a:extLst>
              </a:tr>
              <a:tr h="1279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ьбумин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фузий 20% 100 мл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 602,84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0894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51876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4688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299259" y="290944"/>
          <a:ext cx="11479875" cy="607995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14238">
                  <a:extLst>
                    <a:ext uri="{9D8B030D-6E8A-4147-A177-3AD203B41FA5}">
                      <a16:colId xmlns:a16="http://schemas.microsoft.com/office/drawing/2014/main" val="88126435"/>
                    </a:ext>
                  </a:extLst>
                </a:gridCol>
                <a:gridCol w="1190397">
                  <a:extLst>
                    <a:ext uri="{9D8B030D-6E8A-4147-A177-3AD203B41FA5}">
                      <a16:colId xmlns:a16="http://schemas.microsoft.com/office/drawing/2014/main" val="2931571306"/>
                    </a:ext>
                  </a:extLst>
                </a:gridCol>
                <a:gridCol w="818396">
                  <a:extLst>
                    <a:ext uri="{9D8B030D-6E8A-4147-A177-3AD203B41FA5}">
                      <a16:colId xmlns:a16="http://schemas.microsoft.com/office/drawing/2014/main" val="3257249768"/>
                    </a:ext>
                  </a:extLst>
                </a:gridCol>
                <a:gridCol w="1428474">
                  <a:extLst>
                    <a:ext uri="{9D8B030D-6E8A-4147-A177-3AD203B41FA5}">
                      <a16:colId xmlns:a16="http://schemas.microsoft.com/office/drawing/2014/main" val="927918591"/>
                    </a:ext>
                  </a:extLst>
                </a:gridCol>
                <a:gridCol w="2812308">
                  <a:extLst>
                    <a:ext uri="{9D8B030D-6E8A-4147-A177-3AD203B41FA5}">
                      <a16:colId xmlns:a16="http://schemas.microsoft.com/office/drawing/2014/main" val="4048514830"/>
                    </a:ext>
                  </a:extLst>
                </a:gridCol>
                <a:gridCol w="922557">
                  <a:extLst>
                    <a:ext uri="{9D8B030D-6E8A-4147-A177-3AD203B41FA5}">
                      <a16:colId xmlns:a16="http://schemas.microsoft.com/office/drawing/2014/main" val="1058710045"/>
                    </a:ext>
                  </a:extLst>
                </a:gridCol>
                <a:gridCol w="1461953">
                  <a:extLst>
                    <a:ext uri="{9D8B030D-6E8A-4147-A177-3AD203B41FA5}">
                      <a16:colId xmlns:a16="http://schemas.microsoft.com/office/drawing/2014/main" val="804068805"/>
                    </a:ext>
                  </a:extLst>
                </a:gridCol>
                <a:gridCol w="2131552">
                  <a:extLst>
                    <a:ext uri="{9D8B030D-6E8A-4147-A177-3AD203B41FA5}">
                      <a16:colId xmlns:a16="http://schemas.microsoft.com/office/drawing/2014/main" val="2963145525"/>
                    </a:ext>
                  </a:extLst>
                </a:gridCol>
              </a:tblGrid>
              <a:tr h="6567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711216"/>
                  </a:ext>
                </a:extLst>
              </a:tr>
              <a:tr h="1550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иодарон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00 мг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,69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61451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580597"/>
                  </a:ext>
                </a:extLst>
              </a:tr>
              <a:tr h="1550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исульприд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00 мг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0,25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0660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3105707"/>
                  </a:ext>
                </a:extLst>
              </a:tr>
              <a:tr h="1550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исульприд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400 мг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9,57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6470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3790704"/>
                  </a:ext>
                </a:extLst>
              </a:tr>
              <a:tr h="3014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оксициллин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/капсула 1000 мг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/капсула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5,40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6537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8826359"/>
                  </a:ext>
                </a:extLst>
              </a:tr>
              <a:tr h="3014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оксициллин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/капсула 250 мг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/капсула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,52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2154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9732288"/>
                  </a:ext>
                </a:extLst>
              </a:tr>
              <a:tr h="3014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оксициллин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/капсула 500 мг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/капсула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,62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0852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407854"/>
                  </a:ext>
                </a:extLst>
              </a:tr>
              <a:tr h="3014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оксициллин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суспензии для приема внутрь 250 мг/5 мл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70,44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7390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7041470"/>
                  </a:ext>
                </a:extLst>
              </a:tr>
              <a:tr h="4478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оксициллин и клавулановая кислота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раствора для инъекций, 600 мг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64,24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9731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3372009"/>
                  </a:ext>
                </a:extLst>
              </a:tr>
              <a:tr h="4478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оксициллин и клавулановая кислота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пероральной суспензии 457 мг/5 мл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094,85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631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9850785"/>
                  </a:ext>
                </a:extLst>
              </a:tr>
              <a:tr h="4478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оксициллин и клавулановая кислота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покрытая пленочной оболочкой 1000 мг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7,15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1562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8744471"/>
                  </a:ext>
                </a:extLst>
              </a:tr>
              <a:tr h="4478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оксициллин и клавулановая кислота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100 мл пероральной суспензии 156,25 мг/5 мл или 156 мг/5 мл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63,69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6840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930570"/>
                  </a:ext>
                </a:extLst>
              </a:tr>
              <a:tr h="4478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оксициллин и клавулановая кислота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суспензии для приема внутрь 200мг/28,5мг/5мл 70мл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321,77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959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6186409"/>
                  </a:ext>
                </a:extLst>
              </a:tr>
              <a:tr h="3014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ициллин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раствора для инъекций 500 мг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,80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69890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722275"/>
                  </a:ext>
                </a:extLst>
              </a:tr>
              <a:tr h="887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фотерицин В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концентрата для приготовления дисперсии для инфузий 50 мг/концентрат (липидный комплекс) для приготовления раствора для внутривенного введения, 50 мг/10 мл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 082,60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17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78853"/>
                  </a:ext>
                </a:extLst>
              </a:tr>
              <a:tr h="1550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настрозол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 мг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2,80</a:t>
                      </a:r>
                      <a:endParaRPr lang="ru-RU" sz="105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73630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61" marR="6261" marT="626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24396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4246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448888" y="299262"/>
          <a:ext cx="11446627" cy="61917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12170">
                  <a:extLst>
                    <a:ext uri="{9D8B030D-6E8A-4147-A177-3AD203B41FA5}">
                      <a16:colId xmlns:a16="http://schemas.microsoft.com/office/drawing/2014/main" val="3268942275"/>
                    </a:ext>
                  </a:extLst>
                </a:gridCol>
                <a:gridCol w="1186949">
                  <a:extLst>
                    <a:ext uri="{9D8B030D-6E8A-4147-A177-3AD203B41FA5}">
                      <a16:colId xmlns:a16="http://schemas.microsoft.com/office/drawing/2014/main" val="1142610849"/>
                    </a:ext>
                  </a:extLst>
                </a:gridCol>
                <a:gridCol w="816025">
                  <a:extLst>
                    <a:ext uri="{9D8B030D-6E8A-4147-A177-3AD203B41FA5}">
                      <a16:colId xmlns:a16="http://schemas.microsoft.com/office/drawing/2014/main" val="1284219774"/>
                    </a:ext>
                  </a:extLst>
                </a:gridCol>
                <a:gridCol w="1424337">
                  <a:extLst>
                    <a:ext uri="{9D8B030D-6E8A-4147-A177-3AD203B41FA5}">
                      <a16:colId xmlns:a16="http://schemas.microsoft.com/office/drawing/2014/main" val="788328369"/>
                    </a:ext>
                  </a:extLst>
                </a:gridCol>
                <a:gridCol w="2804163">
                  <a:extLst>
                    <a:ext uri="{9D8B030D-6E8A-4147-A177-3AD203B41FA5}">
                      <a16:colId xmlns:a16="http://schemas.microsoft.com/office/drawing/2014/main" val="1663818742"/>
                    </a:ext>
                  </a:extLst>
                </a:gridCol>
                <a:gridCol w="919885">
                  <a:extLst>
                    <a:ext uri="{9D8B030D-6E8A-4147-A177-3AD203B41FA5}">
                      <a16:colId xmlns:a16="http://schemas.microsoft.com/office/drawing/2014/main" val="1924283383"/>
                    </a:ext>
                  </a:extLst>
                </a:gridCol>
                <a:gridCol w="1457720">
                  <a:extLst>
                    <a:ext uri="{9D8B030D-6E8A-4147-A177-3AD203B41FA5}">
                      <a16:colId xmlns:a16="http://schemas.microsoft.com/office/drawing/2014/main" val="1282365920"/>
                    </a:ext>
                  </a:extLst>
                </a:gridCol>
                <a:gridCol w="2125378">
                  <a:extLst>
                    <a:ext uri="{9D8B030D-6E8A-4147-A177-3AD203B41FA5}">
                      <a16:colId xmlns:a16="http://schemas.microsoft.com/office/drawing/2014/main" val="3449614997"/>
                    </a:ext>
                  </a:extLst>
                </a:gridCol>
              </a:tblGrid>
              <a:tr h="73982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1333269"/>
                  </a:ext>
                </a:extLst>
              </a:tr>
              <a:tr h="44139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нтиингибиторны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агулянтны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комплек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 для приготовления раствора для инфузий 500 Е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1 078,7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0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0349912"/>
                  </a:ext>
                </a:extLst>
              </a:tr>
              <a:tr h="44139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нтиингибиторный коагулянтный комплек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 для приготовления раствора для инфузий 1000 Е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4 612,3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0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7200414"/>
                  </a:ext>
                </a:extLst>
              </a:tr>
              <a:tr h="10299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нтирабическая вакцина, концентрированная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кцина антирабическая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ультуральная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чищенная концентрированная инактивированная,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порошок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ированны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 ампулах или флаконах по 1 прививочной дозе. К каждой ампуле или флакону вакцины прилагается растворитель.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/ ампул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811,9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947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5775899"/>
                  </a:ext>
                </a:extLst>
              </a:tr>
              <a:tr h="5885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нтирабическая сыворо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зрачная или слабо опалесцирующая жидкость бесцветной или слабо желтой окраски. Форма выпуска – ампулы или флаконы по 5 или 10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т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54 492,0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8,0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6747206"/>
                  </a:ext>
                </a:extLst>
              </a:tr>
              <a:tr h="1471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репитан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8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376,9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59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008780"/>
                  </a:ext>
                </a:extLst>
              </a:tr>
              <a:tr h="1471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репитан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125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 870,9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39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3434616"/>
                  </a:ext>
                </a:extLst>
              </a:tr>
              <a:tr h="1471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ротин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фузий 10 000 КИЕ/мл 10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337,3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576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6098789"/>
                  </a:ext>
                </a:extLst>
              </a:tr>
              <a:tr h="2942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скорбиновая кислот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ли для приема внутрь 100 мг/мл 30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1,9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56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2210002"/>
                  </a:ext>
                </a:extLst>
              </a:tr>
              <a:tr h="44139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спарагиназ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 для приготовления раствора для внутривенного и внутримышечного введения 5000 МЕ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 484,7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5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9233050"/>
                  </a:ext>
                </a:extLst>
              </a:tr>
              <a:tr h="2942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талуре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анулы для приготовления суспензии для приема внутрь 10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кетик-саше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0 442,7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5949123"/>
                  </a:ext>
                </a:extLst>
              </a:tr>
              <a:tr h="2942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талуре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анулы для приготовления суспензии для приема внутрь 25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кетик-саше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 396,9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32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8603327"/>
                  </a:ext>
                </a:extLst>
              </a:tr>
              <a:tr h="2942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талуре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анулы для приготовления суспензии для приема внутрь 12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кетик-саше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 836,9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07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0875098"/>
                  </a:ext>
                </a:extLst>
              </a:tr>
              <a:tr h="1471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то</a:t>
                      </a:r>
                      <a:r>
                        <a:rPr lang="en-US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</a:t>
                      </a:r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ба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7,5 мг/мл 0,9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 009,5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1644268"/>
                  </a:ext>
                </a:extLst>
              </a:tr>
              <a:tr h="2942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то</a:t>
                      </a:r>
                      <a:r>
                        <a:rPr lang="en-US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</a:t>
                      </a:r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ба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центрат для приготовления раствора для инфузий 7,5 мг/мл 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 758,3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2229320"/>
                  </a:ext>
                </a:extLst>
              </a:tr>
              <a:tr h="1471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тракурий безила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25 мг/2,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4,9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193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0007013"/>
                  </a:ext>
                </a:extLst>
              </a:tr>
              <a:tr h="1471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фатини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4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 988,2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39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06921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9204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374072" y="174563"/>
          <a:ext cx="11396749" cy="647294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09065">
                  <a:extLst>
                    <a:ext uri="{9D8B030D-6E8A-4147-A177-3AD203B41FA5}">
                      <a16:colId xmlns:a16="http://schemas.microsoft.com/office/drawing/2014/main" val="3933492169"/>
                    </a:ext>
                  </a:extLst>
                </a:gridCol>
                <a:gridCol w="1181778">
                  <a:extLst>
                    <a:ext uri="{9D8B030D-6E8A-4147-A177-3AD203B41FA5}">
                      <a16:colId xmlns:a16="http://schemas.microsoft.com/office/drawing/2014/main" val="3133872493"/>
                    </a:ext>
                  </a:extLst>
                </a:gridCol>
                <a:gridCol w="812469">
                  <a:extLst>
                    <a:ext uri="{9D8B030D-6E8A-4147-A177-3AD203B41FA5}">
                      <a16:colId xmlns:a16="http://schemas.microsoft.com/office/drawing/2014/main" val="3884919971"/>
                    </a:ext>
                  </a:extLst>
                </a:gridCol>
                <a:gridCol w="1418131">
                  <a:extLst>
                    <a:ext uri="{9D8B030D-6E8A-4147-A177-3AD203B41FA5}">
                      <a16:colId xmlns:a16="http://schemas.microsoft.com/office/drawing/2014/main" val="1009465487"/>
                    </a:ext>
                  </a:extLst>
                </a:gridCol>
                <a:gridCol w="2791945">
                  <a:extLst>
                    <a:ext uri="{9D8B030D-6E8A-4147-A177-3AD203B41FA5}">
                      <a16:colId xmlns:a16="http://schemas.microsoft.com/office/drawing/2014/main" val="3457612673"/>
                    </a:ext>
                  </a:extLst>
                </a:gridCol>
                <a:gridCol w="915876">
                  <a:extLst>
                    <a:ext uri="{9D8B030D-6E8A-4147-A177-3AD203B41FA5}">
                      <a16:colId xmlns:a16="http://schemas.microsoft.com/office/drawing/2014/main" val="320609932"/>
                    </a:ext>
                  </a:extLst>
                </a:gridCol>
                <a:gridCol w="1451367">
                  <a:extLst>
                    <a:ext uri="{9D8B030D-6E8A-4147-A177-3AD203B41FA5}">
                      <a16:colId xmlns:a16="http://schemas.microsoft.com/office/drawing/2014/main" val="2610135375"/>
                    </a:ext>
                  </a:extLst>
                </a:gridCol>
                <a:gridCol w="2116118">
                  <a:extLst>
                    <a:ext uri="{9D8B030D-6E8A-4147-A177-3AD203B41FA5}">
                      <a16:colId xmlns:a16="http://schemas.microsoft.com/office/drawing/2014/main" val="3124376728"/>
                    </a:ext>
                  </a:extLst>
                </a:gridCol>
              </a:tblGrid>
              <a:tr h="5569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0027540"/>
                  </a:ext>
                </a:extLst>
              </a:tr>
              <a:tr h="1253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фатини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0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 720,6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8941282"/>
                  </a:ext>
                </a:extLst>
              </a:tr>
              <a:tr h="1253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фатини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3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 035,3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0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3295437"/>
                  </a:ext>
                </a:extLst>
              </a:tr>
              <a:tr h="1253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клофен 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и 1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,7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930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0257502"/>
                  </a:ext>
                </a:extLst>
              </a:tr>
              <a:tr h="1253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клофен 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и 2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,7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025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9889897"/>
                  </a:ext>
                </a:extLst>
              </a:tr>
              <a:tr h="7518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ктерии живые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льметта-Герена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БЦЖ) (Туберкулезная живая ослабленная вакцина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живая, лиофильно высушенная. Форма выпуска-ампула или флакон по 20 доз для внутрикожного введения. Производство по выпуску вакцины должно быть сертифицировано ВОЗ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4,2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8732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9174336"/>
                  </a:ext>
                </a:extLst>
              </a:tr>
              <a:tr h="1253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даквил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096,1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6183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1659514"/>
                  </a:ext>
                </a:extLst>
              </a:tr>
              <a:tr h="2506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клометаз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рей дозированный назальный 50 мкг/доза 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/ балл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469,1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1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3679583"/>
                  </a:ext>
                </a:extLst>
              </a:tr>
              <a:tr h="3759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клометаз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эрозоль дозированный для ингаляций 250 мкг/доза, 200 доз, активируемый вдохом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лончик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524,6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39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7779801"/>
                  </a:ext>
                </a:extLst>
              </a:tr>
              <a:tr h="3759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клометаз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эрозоль дозированный для ингаляций 100 мкг/доза, 200 доз, активируемый вдохом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лончик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688,4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0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4067008"/>
                  </a:ext>
                </a:extLst>
              </a:tr>
              <a:tr h="2506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нзилпеницилл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раствора для инъекций 1 000 000 Е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,9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517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965073"/>
                  </a:ext>
                </a:extLst>
              </a:tr>
              <a:tr h="6265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таметаз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ем 0,05% 30 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уб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332,9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0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5222497"/>
                  </a:ext>
                </a:extLst>
              </a:tr>
              <a:tr h="2506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таметаз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спензия для инъекций 1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/ 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71,2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35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7687489"/>
                  </a:ext>
                </a:extLst>
              </a:tr>
              <a:tr h="6265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таметаз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ем 0,05% 15 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уб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78,1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1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2755345"/>
                  </a:ext>
                </a:extLst>
              </a:tr>
              <a:tr h="1253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икалута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5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7,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547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6968745"/>
                  </a:ext>
                </a:extLst>
              </a:tr>
              <a:tr h="2506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исакоди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ппозиторий ректальный 1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ппозиторий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,6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66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7630587"/>
                  </a:ext>
                </a:extLst>
              </a:tr>
              <a:tr h="3759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ортезоми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 для приготовления раствора для внутривенного и подкожного введения, 3,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 557,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8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7905297"/>
                  </a:ext>
                </a:extLst>
              </a:tr>
              <a:tr h="2506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рентуксимаб ведот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концентрата для раствора для инфузий 5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335 781,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9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1148329"/>
                  </a:ext>
                </a:extLst>
              </a:tr>
              <a:tr h="1253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ромокрипт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,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8,1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758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9719861"/>
                  </a:ext>
                </a:extLst>
              </a:tr>
              <a:tr h="2506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десон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спензия для ингаляций дозированная 0,25 мг/мл 2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69,7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2853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86706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078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473826" y="374071"/>
          <a:ext cx="11263744" cy="58227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00790">
                  <a:extLst>
                    <a:ext uri="{9D8B030D-6E8A-4147-A177-3AD203B41FA5}">
                      <a16:colId xmlns:a16="http://schemas.microsoft.com/office/drawing/2014/main" val="3167417732"/>
                    </a:ext>
                  </a:extLst>
                </a:gridCol>
                <a:gridCol w="1167985">
                  <a:extLst>
                    <a:ext uri="{9D8B030D-6E8A-4147-A177-3AD203B41FA5}">
                      <a16:colId xmlns:a16="http://schemas.microsoft.com/office/drawing/2014/main" val="2282089198"/>
                    </a:ext>
                  </a:extLst>
                </a:gridCol>
                <a:gridCol w="802987">
                  <a:extLst>
                    <a:ext uri="{9D8B030D-6E8A-4147-A177-3AD203B41FA5}">
                      <a16:colId xmlns:a16="http://schemas.microsoft.com/office/drawing/2014/main" val="3773966368"/>
                    </a:ext>
                  </a:extLst>
                </a:gridCol>
                <a:gridCol w="1401581">
                  <a:extLst>
                    <a:ext uri="{9D8B030D-6E8A-4147-A177-3AD203B41FA5}">
                      <a16:colId xmlns:a16="http://schemas.microsoft.com/office/drawing/2014/main" val="840583326"/>
                    </a:ext>
                  </a:extLst>
                </a:gridCol>
                <a:gridCol w="2759361">
                  <a:extLst>
                    <a:ext uri="{9D8B030D-6E8A-4147-A177-3AD203B41FA5}">
                      <a16:colId xmlns:a16="http://schemas.microsoft.com/office/drawing/2014/main" val="504883219"/>
                    </a:ext>
                  </a:extLst>
                </a:gridCol>
                <a:gridCol w="905188">
                  <a:extLst>
                    <a:ext uri="{9D8B030D-6E8A-4147-A177-3AD203B41FA5}">
                      <a16:colId xmlns:a16="http://schemas.microsoft.com/office/drawing/2014/main" val="3710879714"/>
                    </a:ext>
                  </a:extLst>
                </a:gridCol>
                <a:gridCol w="1434432">
                  <a:extLst>
                    <a:ext uri="{9D8B030D-6E8A-4147-A177-3AD203B41FA5}">
                      <a16:colId xmlns:a16="http://schemas.microsoft.com/office/drawing/2014/main" val="1317184617"/>
                    </a:ext>
                  </a:extLst>
                </a:gridCol>
                <a:gridCol w="2091420">
                  <a:extLst>
                    <a:ext uri="{9D8B030D-6E8A-4147-A177-3AD203B41FA5}">
                      <a16:colId xmlns:a16="http://schemas.microsoft.com/office/drawing/2014/main" val="4105715098"/>
                    </a:ext>
                  </a:extLst>
                </a:gridCol>
              </a:tblGrid>
              <a:tr h="4743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9851230"/>
                  </a:ext>
                </a:extLst>
              </a:tr>
              <a:tr h="1378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десон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спензия для ингаляций дозированная 0,5 мг/мл 2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5,4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2373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4332122"/>
                  </a:ext>
                </a:extLst>
              </a:tr>
              <a:tr h="2067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ЦЖ вакцина (Бактерии живые Кальметта-Герена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суспензии для интравезикального введения в комплекте растворителем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1 830,5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4108990"/>
                  </a:ext>
                </a:extLst>
              </a:tr>
              <a:tr h="10339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кцина дифтерийно-столбнячная-бесклеточная коклюшная, комбинированная с вакциной против гепатита В рекомбинантной, вакциной против полиомиелита инактивированной и вакциной против гемофильной инфекции типа b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бинированная, в составе вакцин: дифтерийно-столбнячный с бесклеточным коклюшным компонентом, вирусный гепатит В, полиомиелит инактивированный, гемофильная инфекция типа b, по 1 дозе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 454,1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141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348210"/>
                  </a:ext>
                </a:extLst>
              </a:tr>
              <a:tr h="82713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кцина дифтерийно-столбнячная-бесклеточная коклюшная, комбинированная с вакциной против полиомиелита инактивированной и вакциной против гемофильной инфекции типа b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бинированная, в составе вакцин: дифтерийно-столбнячный с бесклеточным коклюшным компонентом, полиомиелит инактивированный, гемофильная инфекция типа b, по 1 дозе.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 169,5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6099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7465614"/>
                  </a:ext>
                </a:extLst>
              </a:tr>
              <a:tr h="4135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кцина для профилактики грипп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активированная вакцина для детей и взрослых, состав штаммов должен соответствовать рекомендациям ВОЗ с учетом циркуляции вирусов гриппа в предстоящий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пидсезон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Суспензия для инъекций в шприце 1 доза/0,5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а/шприц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86,1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3794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880" marR="2880" marT="288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23077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6516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390699" y="199505"/>
          <a:ext cx="11380122" cy="651053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08031">
                  <a:extLst>
                    <a:ext uri="{9D8B030D-6E8A-4147-A177-3AD203B41FA5}">
                      <a16:colId xmlns:a16="http://schemas.microsoft.com/office/drawing/2014/main" val="527459312"/>
                    </a:ext>
                  </a:extLst>
                </a:gridCol>
                <a:gridCol w="1180052">
                  <a:extLst>
                    <a:ext uri="{9D8B030D-6E8A-4147-A177-3AD203B41FA5}">
                      <a16:colId xmlns:a16="http://schemas.microsoft.com/office/drawing/2014/main" val="3079507159"/>
                    </a:ext>
                  </a:extLst>
                </a:gridCol>
                <a:gridCol w="811284">
                  <a:extLst>
                    <a:ext uri="{9D8B030D-6E8A-4147-A177-3AD203B41FA5}">
                      <a16:colId xmlns:a16="http://schemas.microsoft.com/office/drawing/2014/main" val="3206708639"/>
                    </a:ext>
                  </a:extLst>
                </a:gridCol>
                <a:gridCol w="1416062">
                  <a:extLst>
                    <a:ext uri="{9D8B030D-6E8A-4147-A177-3AD203B41FA5}">
                      <a16:colId xmlns:a16="http://schemas.microsoft.com/office/drawing/2014/main" val="3362092112"/>
                    </a:ext>
                  </a:extLst>
                </a:gridCol>
                <a:gridCol w="2787872">
                  <a:extLst>
                    <a:ext uri="{9D8B030D-6E8A-4147-A177-3AD203B41FA5}">
                      <a16:colId xmlns:a16="http://schemas.microsoft.com/office/drawing/2014/main" val="3837691030"/>
                    </a:ext>
                  </a:extLst>
                </a:gridCol>
                <a:gridCol w="914540">
                  <a:extLst>
                    <a:ext uri="{9D8B030D-6E8A-4147-A177-3AD203B41FA5}">
                      <a16:colId xmlns:a16="http://schemas.microsoft.com/office/drawing/2014/main" val="233864083"/>
                    </a:ext>
                  </a:extLst>
                </a:gridCol>
                <a:gridCol w="1449249">
                  <a:extLst>
                    <a:ext uri="{9D8B030D-6E8A-4147-A177-3AD203B41FA5}">
                      <a16:colId xmlns:a16="http://schemas.microsoft.com/office/drawing/2014/main" val="439061231"/>
                    </a:ext>
                  </a:extLst>
                </a:gridCol>
                <a:gridCol w="2113032">
                  <a:extLst>
                    <a:ext uri="{9D8B030D-6E8A-4147-A177-3AD203B41FA5}">
                      <a16:colId xmlns:a16="http://schemas.microsoft.com/office/drawing/2014/main" val="2385787060"/>
                    </a:ext>
                  </a:extLst>
                </a:gridCol>
              </a:tblGrid>
              <a:tr h="6234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1691060"/>
                  </a:ext>
                </a:extLst>
              </a:tr>
              <a:tr h="6175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кцина полиомиелитная оральная двухвалентная 1 и 3 типов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живая оральная, содержит аттенуированные штаммы вирусов полиомиелита иммунологических типов во флаконах в комплекте с капельницей или в пластмассовом флаконе-пипетке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2,1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46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9154490"/>
                  </a:ext>
                </a:extLst>
              </a:tr>
              <a:tr h="2470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кцина против брюшного тифа**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кцина, обогащенная ВИ-антигеном, в ампулах или флаконах по 1; 5 или 10 доз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157,4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25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0017084"/>
                  </a:ext>
                </a:extLst>
              </a:tr>
              <a:tr h="86456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кцина против вирусного гепатита В (ВГВ), рекомбинантная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спензия для внутримышечного введения во флаконе, выпускается по 1,0 мл или 2 детские дозы во флаконе. Производство по выпуску вакцины должно быть сертифицировано Всемирной организации здравоохранения (далее - ВОЗ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7,1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394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8566730"/>
                  </a:ext>
                </a:extLst>
              </a:tr>
              <a:tr h="6175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кцина против клещевого энцефалита - инактивированный цельный виру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спензия для внутримышечного введения 0,5 мл/доз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 157,1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97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57334"/>
                  </a:ext>
                </a:extLst>
              </a:tr>
              <a:tr h="86456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кцина против кори, эпидемического паротита и краснух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ированная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акцина, которая состоит из живых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ттенуированных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штаммов вирусов кори, паротита и краснухи. Форма выпуска - флакон по 1 дозе в комплекте с растворителем. Производство по выпуску вакцины сертифицировано ВОЗ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046,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9195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281321"/>
                  </a:ext>
                </a:extLst>
              </a:tr>
              <a:tr h="86456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кцина против пневмококковой инфекци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кцина полисахаридная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ьюгированная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адсорбированная инактивированная жидкая, содержащая 13 серотипов пневмококка. Форма выпуска - по 1 дозе. Производство по выпуску вакцины должно быть сертифицировано ВОЗ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/ доз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 434,0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622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3414407"/>
                  </a:ext>
                </a:extLst>
              </a:tr>
              <a:tr h="86456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кцина против пневмококковой инфекци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кцина полисахаридная конъюгированная адсорбированная инактивированная жидкая, содержащая 10 серотипов пневмококка, суспензия для внутримышечного введения 0,5 мл/доза. Производство по выпуску вакцины должно быть сертифицировано ВОЗ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/ доз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213,8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3854340"/>
                  </a:ext>
                </a:extLst>
              </a:tr>
              <a:tr h="1235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льпроевая кислот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ли оральные по 100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712,0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78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6676297"/>
                  </a:ext>
                </a:extLst>
              </a:tr>
              <a:tr h="2470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нкомиц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/лиофилизат для приготовления раствора для инфузий 10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817,8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474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8310798"/>
                  </a:ext>
                </a:extLst>
              </a:tr>
              <a:tr h="1235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рфар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,9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804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87144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9619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DC1EDD2-5156-4C78-B4CC-0F7C486904F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97" r="19473"/>
          <a:stretch/>
        </p:blipFill>
        <p:spPr>
          <a:xfrm>
            <a:off x="510746" y="1439665"/>
            <a:ext cx="3657600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501188AF-66C9-4AAA-A13A-44C37A9AA3C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24" r="34102"/>
          <a:stretch/>
        </p:blipFill>
        <p:spPr>
          <a:xfrm>
            <a:off x="3047997" y="1439665"/>
            <a:ext cx="3707027" cy="3978893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14C3997A-412B-4A32-BBDD-47C610D6C31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3" r="39982"/>
          <a:stretch/>
        </p:blipFill>
        <p:spPr>
          <a:xfrm>
            <a:off x="5560543" y="1439665"/>
            <a:ext cx="3731740" cy="3991430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13023DF2-4F41-434C-BFC2-4F97EF92A44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09" r="25508"/>
          <a:stretch/>
        </p:blipFill>
        <p:spPr>
          <a:xfrm>
            <a:off x="8079161" y="1439665"/>
            <a:ext cx="3690552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sp>
        <p:nvSpPr>
          <p:cNvPr id="6" name="Прямоугольник 5"/>
          <p:cNvSpPr/>
          <p:nvPr/>
        </p:nvSpPr>
        <p:spPr>
          <a:xfrm>
            <a:off x="1185331" y="2853267"/>
            <a:ext cx="9905999" cy="1202266"/>
          </a:xfrm>
          <a:custGeom>
            <a:avLst/>
            <a:gdLst>
              <a:gd name="connsiteX0" fmla="*/ 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0 w 9889066"/>
              <a:gd name="connsiteY4" fmla="*/ 0 h 1202266"/>
              <a:gd name="connsiteX0" fmla="*/ 35560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355600 w 9889066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905999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89467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89467 w 9905999"/>
              <a:gd name="connsiteY4" fmla="*/ 0 h 1202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5999" h="1202266">
                <a:moveTo>
                  <a:pt x="389467" y="0"/>
                </a:moveTo>
                <a:lnTo>
                  <a:pt x="9905999" y="0"/>
                </a:lnTo>
                <a:lnTo>
                  <a:pt x="9541933" y="1202266"/>
                </a:lnTo>
                <a:lnTo>
                  <a:pt x="0" y="1202266"/>
                </a:lnTo>
                <a:lnTo>
                  <a:pt x="38946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2730112" y="2840506"/>
            <a:ext cx="75194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Процедуры </a:t>
            </a:r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закупа ЛС и МИ </a:t>
            </a:r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у отечественных </a:t>
            </a:r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производителей </a:t>
            </a:r>
            <a:endParaRPr lang="ru-RU" sz="32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15614" y="64103"/>
            <a:ext cx="1471448" cy="1358670"/>
          </a:xfrm>
          <a:prstGeom prst="rect">
            <a:avLst/>
          </a:prstGeom>
          <a:ln>
            <a:noFill/>
          </a:ln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3</a:t>
            </a:fld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4093436" y="5752982"/>
            <a:ext cx="3338395" cy="714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10.07.2024</a:t>
            </a:r>
            <a:endParaRPr lang="ru-RU" sz="32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5577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399011" y="349136"/>
          <a:ext cx="11446626" cy="608581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12169">
                  <a:extLst>
                    <a:ext uri="{9D8B030D-6E8A-4147-A177-3AD203B41FA5}">
                      <a16:colId xmlns:a16="http://schemas.microsoft.com/office/drawing/2014/main" val="1505235050"/>
                    </a:ext>
                  </a:extLst>
                </a:gridCol>
                <a:gridCol w="1186948">
                  <a:extLst>
                    <a:ext uri="{9D8B030D-6E8A-4147-A177-3AD203B41FA5}">
                      <a16:colId xmlns:a16="http://schemas.microsoft.com/office/drawing/2014/main" val="2277120788"/>
                    </a:ext>
                  </a:extLst>
                </a:gridCol>
                <a:gridCol w="816027">
                  <a:extLst>
                    <a:ext uri="{9D8B030D-6E8A-4147-A177-3AD203B41FA5}">
                      <a16:colId xmlns:a16="http://schemas.microsoft.com/office/drawing/2014/main" val="2138632389"/>
                    </a:ext>
                  </a:extLst>
                </a:gridCol>
                <a:gridCol w="1424338">
                  <a:extLst>
                    <a:ext uri="{9D8B030D-6E8A-4147-A177-3AD203B41FA5}">
                      <a16:colId xmlns:a16="http://schemas.microsoft.com/office/drawing/2014/main" val="2041119587"/>
                    </a:ext>
                  </a:extLst>
                </a:gridCol>
                <a:gridCol w="2804163">
                  <a:extLst>
                    <a:ext uri="{9D8B030D-6E8A-4147-A177-3AD203B41FA5}">
                      <a16:colId xmlns:a16="http://schemas.microsoft.com/office/drawing/2014/main" val="2149483067"/>
                    </a:ext>
                  </a:extLst>
                </a:gridCol>
                <a:gridCol w="919884">
                  <a:extLst>
                    <a:ext uri="{9D8B030D-6E8A-4147-A177-3AD203B41FA5}">
                      <a16:colId xmlns:a16="http://schemas.microsoft.com/office/drawing/2014/main" val="4011858307"/>
                    </a:ext>
                  </a:extLst>
                </a:gridCol>
                <a:gridCol w="1457719">
                  <a:extLst>
                    <a:ext uri="{9D8B030D-6E8A-4147-A177-3AD203B41FA5}">
                      <a16:colId xmlns:a16="http://schemas.microsoft.com/office/drawing/2014/main" val="1906435804"/>
                    </a:ext>
                  </a:extLst>
                </a:gridCol>
                <a:gridCol w="2125378">
                  <a:extLst>
                    <a:ext uri="{9D8B030D-6E8A-4147-A177-3AD203B41FA5}">
                      <a16:colId xmlns:a16="http://schemas.microsoft.com/office/drawing/2014/main" val="137734840"/>
                    </a:ext>
                  </a:extLst>
                </a:gridCol>
              </a:tblGrid>
              <a:tr h="8478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3590539"/>
                  </a:ext>
                </a:extLst>
              </a:tr>
              <a:tr h="1689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мурафени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4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 636,9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91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2883156"/>
                  </a:ext>
                </a:extLst>
              </a:tr>
              <a:tr h="1689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рапами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40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,9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335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8806766"/>
                  </a:ext>
                </a:extLst>
              </a:tr>
              <a:tr h="1689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игабатр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 5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4,9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057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934696"/>
                  </a:ext>
                </a:extLst>
              </a:tr>
              <a:tr h="3379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игабатр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суспензии для приема внутрь 5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ке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9,1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5533266"/>
                  </a:ext>
                </a:extLst>
              </a:tr>
              <a:tr h="5068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илантерол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меклидиния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бромид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ингаляций дозированный, 22 мкг/55 мк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тейне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 451,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21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3903184"/>
                  </a:ext>
                </a:extLst>
              </a:tr>
              <a:tr h="3379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илантерол и Флутиказона фуроа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ингаляций дозированный, 92 мкг/22 мк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тейне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 172,5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9779699"/>
                  </a:ext>
                </a:extLst>
              </a:tr>
              <a:tr h="3379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инбласт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приготовления раствора 5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747,0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2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1051194"/>
                  </a:ext>
                </a:extLst>
              </a:tr>
              <a:tr h="3379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адобутр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внутривенного введения 1 ммоль/мл 7,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 921,4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27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445196"/>
                  </a:ext>
                </a:extLst>
              </a:tr>
              <a:tr h="3379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адобутр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внутривенного введения 1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моль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мл 15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 545,1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17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5185137"/>
                  </a:ext>
                </a:extLst>
              </a:tr>
              <a:tr h="1689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алантам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2,5 мг/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1,9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28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5609193"/>
                  </a:ext>
                </a:extLst>
              </a:tr>
              <a:tr h="1689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алантам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5 мг/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0,9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63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1390487"/>
                  </a:ext>
                </a:extLst>
              </a:tr>
              <a:tr h="1689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алантам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,1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01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2998726"/>
                  </a:ext>
                </a:extLst>
              </a:tr>
              <a:tr h="1689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алантам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10 мг/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1,7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38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2440198"/>
                  </a:ext>
                </a:extLst>
              </a:tr>
              <a:tr h="1689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алоперид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5 мг/мл 1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9,6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53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9787293"/>
                  </a:ext>
                </a:extLst>
              </a:tr>
              <a:tr h="3379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алоперид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сляный раствор для инъекций 50мг/мл 1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3,3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514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870844"/>
                  </a:ext>
                </a:extLst>
              </a:tr>
              <a:tr h="1689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алоперид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5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,5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7417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1496212"/>
                  </a:ext>
                </a:extLst>
              </a:tr>
              <a:tr h="3379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алота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жидкость для ингаляционного наркоза 250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 273,5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8932232"/>
                  </a:ext>
                </a:extLst>
              </a:tr>
              <a:tr h="3379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идрокортиз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спензия (микрокристаллическая) для инъекций 2,5% 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85,2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41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5583351"/>
                  </a:ext>
                </a:extLst>
              </a:tr>
              <a:tr h="1689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идрокортиз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зь 1%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уб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5,8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59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7634993"/>
                  </a:ext>
                </a:extLst>
              </a:tr>
              <a:tr h="1689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идроксикарба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5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7,4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1693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0116791"/>
                  </a:ext>
                </a:extLst>
              </a:tr>
              <a:tr h="1689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идроксихлорох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2,0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8908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7" marR="6757" marT="675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04406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7132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324196" y="216136"/>
          <a:ext cx="11463251" cy="647754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13204">
                  <a:extLst>
                    <a:ext uri="{9D8B030D-6E8A-4147-A177-3AD203B41FA5}">
                      <a16:colId xmlns:a16="http://schemas.microsoft.com/office/drawing/2014/main" val="4091607346"/>
                    </a:ext>
                  </a:extLst>
                </a:gridCol>
                <a:gridCol w="1188671">
                  <a:extLst>
                    <a:ext uri="{9D8B030D-6E8A-4147-A177-3AD203B41FA5}">
                      <a16:colId xmlns:a16="http://schemas.microsoft.com/office/drawing/2014/main" val="2266780392"/>
                    </a:ext>
                  </a:extLst>
                </a:gridCol>
                <a:gridCol w="817212">
                  <a:extLst>
                    <a:ext uri="{9D8B030D-6E8A-4147-A177-3AD203B41FA5}">
                      <a16:colId xmlns:a16="http://schemas.microsoft.com/office/drawing/2014/main" val="3316627900"/>
                    </a:ext>
                  </a:extLst>
                </a:gridCol>
                <a:gridCol w="1426405">
                  <a:extLst>
                    <a:ext uri="{9D8B030D-6E8A-4147-A177-3AD203B41FA5}">
                      <a16:colId xmlns:a16="http://schemas.microsoft.com/office/drawing/2014/main" val="3057317041"/>
                    </a:ext>
                  </a:extLst>
                </a:gridCol>
                <a:gridCol w="2808237">
                  <a:extLst>
                    <a:ext uri="{9D8B030D-6E8A-4147-A177-3AD203B41FA5}">
                      <a16:colId xmlns:a16="http://schemas.microsoft.com/office/drawing/2014/main" val="2434710209"/>
                    </a:ext>
                  </a:extLst>
                </a:gridCol>
                <a:gridCol w="921221">
                  <a:extLst>
                    <a:ext uri="{9D8B030D-6E8A-4147-A177-3AD203B41FA5}">
                      <a16:colId xmlns:a16="http://schemas.microsoft.com/office/drawing/2014/main" val="606515234"/>
                    </a:ext>
                  </a:extLst>
                </a:gridCol>
                <a:gridCol w="1459835">
                  <a:extLst>
                    <a:ext uri="{9D8B030D-6E8A-4147-A177-3AD203B41FA5}">
                      <a16:colId xmlns:a16="http://schemas.microsoft.com/office/drawing/2014/main" val="2161956097"/>
                    </a:ext>
                  </a:extLst>
                </a:gridCol>
                <a:gridCol w="2128466">
                  <a:extLst>
                    <a:ext uri="{9D8B030D-6E8A-4147-A177-3AD203B41FA5}">
                      <a16:colId xmlns:a16="http://schemas.microsoft.com/office/drawing/2014/main" val="3696998935"/>
                    </a:ext>
                  </a:extLst>
                </a:gridCol>
              </a:tblGrid>
              <a:tr h="5818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8996374"/>
                  </a:ext>
                </a:extLst>
              </a:tr>
              <a:tr h="1578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идрохлоротиаз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5,2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5308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4679396"/>
                  </a:ext>
                </a:extLst>
              </a:tr>
              <a:tr h="2308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латирамера ацета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одкожного введения 20 мг/1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 194,9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23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8653431"/>
                  </a:ext>
                </a:extLst>
              </a:tr>
              <a:tr h="3462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люкаг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 для приготовления раствора для инъекций в комплекте с растворителем 1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640,5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1633918"/>
                  </a:ext>
                </a:extLst>
              </a:tr>
              <a:tr h="3109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зерели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плантат пролонгированного действия для подкожного введения 3,6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- аппликато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 198,4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8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0241421"/>
                  </a:ext>
                </a:extLst>
              </a:tr>
              <a:tr h="3109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зерел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плантат для подкожного введения пролонгированного действия, 10,8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- аппликато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2 549,8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7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0559199"/>
                  </a:ext>
                </a:extLst>
              </a:tr>
              <a:tr h="2475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лодирсе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внутривенного введения 50 мг/мл 2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430 150,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5928543"/>
                  </a:ext>
                </a:extLst>
              </a:tr>
              <a:tr h="4520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убка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емостатическая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одержащая фибриноген и тромби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держащая, фибриноген, тромбин, размер 4,8*4,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тука 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 035,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92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6842212"/>
                  </a:ext>
                </a:extLst>
              </a:tr>
              <a:tr h="4889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убка гемостатическая содержащая фибриноген и тромб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держащая, фибриноген, тромбин, размер 9,5*4,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ту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5 537,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86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8940245"/>
                  </a:ext>
                </a:extLst>
              </a:tr>
              <a:tr h="4738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убка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емостатическая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одержащая фибриноген и тромби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держащая, фибриноген, тромбин, размер 2,5*3,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ту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 793,7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20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9409441"/>
                  </a:ext>
                </a:extLst>
              </a:tr>
              <a:tr h="2308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бигатрана этексила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15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4,8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596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4470587"/>
                  </a:ext>
                </a:extLst>
              </a:tr>
              <a:tr h="2308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бигатрана этексила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11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4,0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0433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7235926"/>
                  </a:ext>
                </a:extLst>
              </a:tr>
              <a:tr h="1578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брафени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ы, 7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 150,7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988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198062"/>
                  </a:ext>
                </a:extLst>
              </a:tr>
              <a:tr h="3109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карбаз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/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приготовления раствора для инъекций и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узи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20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086,4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4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0546998"/>
                  </a:ext>
                </a:extLst>
              </a:tr>
              <a:tr h="3109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карбаз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/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приготовления раствора для инъекций и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узи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50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940,8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5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1693605"/>
                  </a:ext>
                </a:extLst>
              </a:tr>
              <a:tr h="3109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ратумума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центрат для приготовления раствора для инфузий 100 мг / 5 мл, 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6 464,6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5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5350909"/>
                  </a:ext>
                </a:extLst>
              </a:tr>
              <a:tr h="3109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ратумума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центрат для приготовления раствора для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узи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400мг/20 мл, 20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13 531,7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2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0396631"/>
                  </a:ext>
                </a:extLst>
              </a:tr>
              <a:tr h="3462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рбэпоэтин альф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30 мкг в предварительно наполненных шприцах 0,3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 857,3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5053977"/>
                  </a:ext>
                </a:extLst>
              </a:tr>
              <a:tr h="3462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рбэпоэтин альф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20 мкг, в предварительно наполненных шприцах 0,5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 386,2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6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3332202"/>
                  </a:ext>
                </a:extLst>
              </a:tr>
              <a:tr h="3109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унорубиц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раствора для инфузий, 2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465,7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8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1542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3076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374074" y="257688"/>
          <a:ext cx="11513125" cy="6242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16306">
                  <a:extLst>
                    <a:ext uri="{9D8B030D-6E8A-4147-A177-3AD203B41FA5}">
                      <a16:colId xmlns:a16="http://schemas.microsoft.com/office/drawing/2014/main" val="2517448934"/>
                    </a:ext>
                  </a:extLst>
                </a:gridCol>
                <a:gridCol w="1193843">
                  <a:extLst>
                    <a:ext uri="{9D8B030D-6E8A-4147-A177-3AD203B41FA5}">
                      <a16:colId xmlns:a16="http://schemas.microsoft.com/office/drawing/2014/main" val="153975419"/>
                    </a:ext>
                  </a:extLst>
                </a:gridCol>
                <a:gridCol w="820767">
                  <a:extLst>
                    <a:ext uri="{9D8B030D-6E8A-4147-A177-3AD203B41FA5}">
                      <a16:colId xmlns:a16="http://schemas.microsoft.com/office/drawing/2014/main" val="1207955895"/>
                    </a:ext>
                  </a:extLst>
                </a:gridCol>
                <a:gridCol w="1432611">
                  <a:extLst>
                    <a:ext uri="{9D8B030D-6E8A-4147-A177-3AD203B41FA5}">
                      <a16:colId xmlns:a16="http://schemas.microsoft.com/office/drawing/2014/main" val="3293939659"/>
                    </a:ext>
                  </a:extLst>
                </a:gridCol>
                <a:gridCol w="2820455">
                  <a:extLst>
                    <a:ext uri="{9D8B030D-6E8A-4147-A177-3AD203B41FA5}">
                      <a16:colId xmlns:a16="http://schemas.microsoft.com/office/drawing/2014/main" val="2059373635"/>
                    </a:ext>
                  </a:extLst>
                </a:gridCol>
                <a:gridCol w="925228">
                  <a:extLst>
                    <a:ext uri="{9D8B030D-6E8A-4147-A177-3AD203B41FA5}">
                      <a16:colId xmlns:a16="http://schemas.microsoft.com/office/drawing/2014/main" val="1721165218"/>
                    </a:ext>
                  </a:extLst>
                </a:gridCol>
                <a:gridCol w="1466189">
                  <a:extLst>
                    <a:ext uri="{9D8B030D-6E8A-4147-A177-3AD203B41FA5}">
                      <a16:colId xmlns:a16="http://schemas.microsoft.com/office/drawing/2014/main" val="1206063310"/>
                    </a:ext>
                  </a:extLst>
                </a:gridCol>
                <a:gridCol w="2137726">
                  <a:extLst>
                    <a:ext uri="{9D8B030D-6E8A-4147-A177-3AD203B41FA5}">
                      <a16:colId xmlns:a16="http://schemas.microsoft.com/office/drawing/2014/main" val="3199643742"/>
                    </a:ext>
                  </a:extLst>
                </a:gridCol>
              </a:tblGrid>
              <a:tr h="4327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450750"/>
                  </a:ext>
                </a:extLst>
              </a:tr>
              <a:tr h="4807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гарелик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лиофилизированный для приготовления раствора для инъекций в комплекте с растворителем, 12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 669,5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5298332"/>
                  </a:ext>
                </a:extLst>
              </a:tr>
              <a:tr h="4807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гарелик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лиофилизированный для приготовления раствора для инъекций в комплекте с растворителем, 8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 734,3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2718123"/>
                  </a:ext>
                </a:extLst>
              </a:tr>
              <a:tr h="1633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ксаметаз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0,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,1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791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4123758"/>
                  </a:ext>
                </a:extLst>
              </a:tr>
              <a:tr h="1633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ламан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5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303,2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8045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5450986"/>
                  </a:ext>
                </a:extLst>
              </a:tr>
              <a:tr h="2350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нозума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одкожного введения 60 мг/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6 094,5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2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6065142"/>
                  </a:ext>
                </a:extLst>
              </a:tr>
              <a:tr h="3492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смопресси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ероральный 60 мк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 пероральный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5,0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48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3239230"/>
                  </a:ext>
                </a:extLst>
              </a:tr>
              <a:tr h="1633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смопресс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0,2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0,6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62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691709"/>
                  </a:ext>
                </a:extLst>
              </a:tr>
              <a:tr h="3492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смопресс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ероральный 240 мк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 пероральный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105,3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50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2729558"/>
                  </a:ext>
                </a:extLst>
              </a:tr>
              <a:tr h="3492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смопресс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ероральный 120 мк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 пероральный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1,3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5493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7844576"/>
                  </a:ext>
                </a:extLst>
              </a:tr>
              <a:tr h="1633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флазакор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 3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7,7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31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4224230"/>
                  </a:ext>
                </a:extLst>
              </a:tr>
              <a:tr h="1633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флазакор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 6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5,8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670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1800705"/>
                  </a:ext>
                </a:extLst>
              </a:tr>
              <a:tr h="32203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цитаб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приготовления раствора для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узи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5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6 548,8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0610246"/>
                  </a:ext>
                </a:extLst>
              </a:tr>
              <a:tr h="32203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азепам (У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утримышеч-ного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внутривенного применения 5мг/мл 2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0,8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721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787107"/>
                  </a:ext>
                </a:extLst>
              </a:tr>
              <a:tr h="1633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азепам (У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5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,4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927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5842983"/>
                  </a:ext>
                </a:extLst>
              </a:tr>
              <a:tr h="1633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клофенак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5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,0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533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3361434"/>
                  </a:ext>
                </a:extLst>
              </a:tr>
              <a:tr h="1633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клофенак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5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,6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98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0676720"/>
                  </a:ext>
                </a:extLst>
              </a:tr>
              <a:tr h="1633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клофенак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0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,9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84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9257416"/>
                  </a:ext>
                </a:extLst>
              </a:tr>
              <a:tr h="1633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сазоз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4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9,0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68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1435804"/>
                  </a:ext>
                </a:extLst>
              </a:tr>
              <a:tr h="1633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сазоз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8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9,4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7304953"/>
                  </a:ext>
                </a:extLst>
              </a:tr>
              <a:tr h="1633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сазоз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7,1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0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5318430"/>
                  </a:ext>
                </a:extLst>
              </a:tr>
              <a:tr h="6393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сорубиц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лиофилизированный для приготовления раствора для инъекций, 50 мг/ Концентрат для приготовления раствора для инфузий, 2 мг/мл, 2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994,1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58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603350"/>
                  </a:ext>
                </a:extLst>
              </a:tr>
              <a:tr h="32203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сорубицин (пегилированный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центрат для приготовления раствора для инфузий 2 мг/мл, 10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8 952,7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3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00" marR="4500" marT="45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47151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0822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523704" y="212120"/>
          <a:ext cx="11321933" cy="65124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04411">
                  <a:extLst>
                    <a:ext uri="{9D8B030D-6E8A-4147-A177-3AD203B41FA5}">
                      <a16:colId xmlns:a16="http://schemas.microsoft.com/office/drawing/2014/main" val="236880351"/>
                    </a:ext>
                  </a:extLst>
                </a:gridCol>
                <a:gridCol w="1174019">
                  <a:extLst>
                    <a:ext uri="{9D8B030D-6E8A-4147-A177-3AD203B41FA5}">
                      <a16:colId xmlns:a16="http://schemas.microsoft.com/office/drawing/2014/main" val="3465228919"/>
                    </a:ext>
                  </a:extLst>
                </a:gridCol>
                <a:gridCol w="807137">
                  <a:extLst>
                    <a:ext uri="{9D8B030D-6E8A-4147-A177-3AD203B41FA5}">
                      <a16:colId xmlns:a16="http://schemas.microsoft.com/office/drawing/2014/main" val="606987612"/>
                    </a:ext>
                  </a:extLst>
                </a:gridCol>
                <a:gridCol w="1408821">
                  <a:extLst>
                    <a:ext uri="{9D8B030D-6E8A-4147-A177-3AD203B41FA5}">
                      <a16:colId xmlns:a16="http://schemas.microsoft.com/office/drawing/2014/main" val="71003932"/>
                    </a:ext>
                  </a:extLst>
                </a:gridCol>
                <a:gridCol w="2773616">
                  <a:extLst>
                    <a:ext uri="{9D8B030D-6E8A-4147-A177-3AD203B41FA5}">
                      <a16:colId xmlns:a16="http://schemas.microsoft.com/office/drawing/2014/main" val="4080465055"/>
                    </a:ext>
                  </a:extLst>
                </a:gridCol>
                <a:gridCol w="909863">
                  <a:extLst>
                    <a:ext uri="{9D8B030D-6E8A-4147-A177-3AD203B41FA5}">
                      <a16:colId xmlns:a16="http://schemas.microsoft.com/office/drawing/2014/main" val="3155549830"/>
                    </a:ext>
                  </a:extLst>
                </a:gridCol>
                <a:gridCol w="1441841">
                  <a:extLst>
                    <a:ext uri="{9D8B030D-6E8A-4147-A177-3AD203B41FA5}">
                      <a16:colId xmlns:a16="http://schemas.microsoft.com/office/drawing/2014/main" val="2321354195"/>
                    </a:ext>
                  </a:extLst>
                </a:gridCol>
                <a:gridCol w="2102225">
                  <a:extLst>
                    <a:ext uri="{9D8B030D-6E8A-4147-A177-3AD203B41FA5}">
                      <a16:colId xmlns:a16="http://schemas.microsoft.com/office/drawing/2014/main" val="1612499180"/>
                    </a:ext>
                  </a:extLst>
                </a:gridCol>
              </a:tblGrid>
              <a:tr h="62345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164265"/>
                  </a:ext>
                </a:extLst>
              </a:tr>
              <a:tr h="62746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лутеграви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0 мг  (пациенты из очага Туркестанской области и г. Шымкент с ВИЧ-инфекцией принимают лекарственные препараты одного производителя на протяжении всей жизни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285,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4180859"/>
                  </a:ext>
                </a:extLst>
              </a:tr>
              <a:tr h="2536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рипенем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раствора для инфузий 5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431,4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14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2108069"/>
                  </a:ext>
                </a:extLst>
              </a:tr>
              <a:tr h="1268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рназа-Альф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галяций 2,5 мг/2,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942,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76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5879211"/>
                  </a:ext>
                </a:extLst>
              </a:tr>
              <a:tr h="2536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улаглут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одкожного введения 1,5 мг/0,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-руч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 684,3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044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2878638"/>
                  </a:ext>
                </a:extLst>
              </a:tr>
              <a:tr h="2536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улаглут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одкожного введения 0,75 мг/0,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-руч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 943,7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945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6298701"/>
                  </a:ext>
                </a:extLst>
              </a:tr>
              <a:tr h="1268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утастер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0,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4,2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584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3184077"/>
                  </a:ext>
                </a:extLst>
              </a:tr>
              <a:tr h="1268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Железа сульфа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не менее 1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,7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961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3106053"/>
                  </a:ext>
                </a:extLst>
              </a:tr>
              <a:tr h="55518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идовуди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риема внутрь с дозирующим устройством 10 мг/мл (50 мг/5 мл) 200 мл (дети, состоящие на диспансерном учете, принимают лекарственные препараты одного производителя по достижении 18 лет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109,0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7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1574541"/>
                  </a:ext>
                </a:extLst>
              </a:tr>
              <a:tr h="1268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ониса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1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8,3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29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0021503"/>
                  </a:ext>
                </a:extLst>
              </a:tr>
              <a:tr h="1268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ониса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5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7,0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50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3652456"/>
                  </a:ext>
                </a:extLst>
              </a:tr>
              <a:tr h="1268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ониса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2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6,3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84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5256784"/>
                  </a:ext>
                </a:extLst>
              </a:tr>
              <a:tr h="1268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брутини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14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 287,2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606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2985502"/>
                  </a:ext>
                </a:extLst>
              </a:tr>
              <a:tr h="3804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дурсульфаз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центрат для приготовления раствора для инъекций 6 мг/3 мл с возможностью применения у детей 2-х ле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124 666,0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1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7720702"/>
                  </a:ext>
                </a:extLst>
              </a:tr>
              <a:tr h="2536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дурсульфаза бет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центрат для приготовления раствора для инфузий, 2 мг/мл 3 мл 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132 291,0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2626644"/>
                  </a:ext>
                </a:extLst>
              </a:tr>
              <a:tr h="1268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ониаз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10%, 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9,7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37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6938579"/>
                  </a:ext>
                </a:extLst>
              </a:tr>
              <a:tr h="1268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ониаз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роп 100 мг/5 мл 200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224,9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30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727722"/>
                  </a:ext>
                </a:extLst>
              </a:tr>
              <a:tr h="1268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ониаз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3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,8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5156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8226842"/>
                  </a:ext>
                </a:extLst>
              </a:tr>
              <a:tr h="1268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ониаз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8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4349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6821563"/>
                  </a:ext>
                </a:extLst>
              </a:tr>
              <a:tr h="2536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осорбида динитра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4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,3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7186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1637231"/>
                  </a:ext>
                </a:extLst>
              </a:tr>
              <a:tr h="2536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осорбида динитра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пролонгированного действия 6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,5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390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402553"/>
                  </a:ext>
                </a:extLst>
              </a:tr>
              <a:tr h="2536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осорбида динитра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эрозоль/спрей 1,25 мг/1 доза, 300 доз 1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078,4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684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9027997"/>
                  </a:ext>
                </a:extLst>
              </a:tr>
              <a:tr h="2536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осорбида динитра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,7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5469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6452572"/>
                  </a:ext>
                </a:extLst>
              </a:tr>
              <a:tr h="1268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отретино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16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4,4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5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344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6900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523702" y="232758"/>
          <a:ext cx="11421686" cy="64688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10616">
                  <a:extLst>
                    <a:ext uri="{9D8B030D-6E8A-4147-A177-3AD203B41FA5}">
                      <a16:colId xmlns:a16="http://schemas.microsoft.com/office/drawing/2014/main" val="3410149187"/>
                    </a:ext>
                  </a:extLst>
                </a:gridCol>
                <a:gridCol w="1184363">
                  <a:extLst>
                    <a:ext uri="{9D8B030D-6E8A-4147-A177-3AD203B41FA5}">
                      <a16:colId xmlns:a16="http://schemas.microsoft.com/office/drawing/2014/main" val="3285436367"/>
                    </a:ext>
                  </a:extLst>
                </a:gridCol>
                <a:gridCol w="814249">
                  <a:extLst>
                    <a:ext uri="{9D8B030D-6E8A-4147-A177-3AD203B41FA5}">
                      <a16:colId xmlns:a16="http://schemas.microsoft.com/office/drawing/2014/main" val="3587340400"/>
                    </a:ext>
                  </a:extLst>
                </a:gridCol>
                <a:gridCol w="1421233">
                  <a:extLst>
                    <a:ext uri="{9D8B030D-6E8A-4147-A177-3AD203B41FA5}">
                      <a16:colId xmlns:a16="http://schemas.microsoft.com/office/drawing/2014/main" val="2730140278"/>
                    </a:ext>
                  </a:extLst>
                </a:gridCol>
                <a:gridCol w="2798053">
                  <a:extLst>
                    <a:ext uri="{9D8B030D-6E8A-4147-A177-3AD203B41FA5}">
                      <a16:colId xmlns:a16="http://schemas.microsoft.com/office/drawing/2014/main" val="1344841843"/>
                    </a:ext>
                  </a:extLst>
                </a:gridCol>
                <a:gridCol w="917880">
                  <a:extLst>
                    <a:ext uri="{9D8B030D-6E8A-4147-A177-3AD203B41FA5}">
                      <a16:colId xmlns:a16="http://schemas.microsoft.com/office/drawing/2014/main" val="2268122992"/>
                    </a:ext>
                  </a:extLst>
                </a:gridCol>
                <a:gridCol w="1454544">
                  <a:extLst>
                    <a:ext uri="{9D8B030D-6E8A-4147-A177-3AD203B41FA5}">
                      <a16:colId xmlns:a16="http://schemas.microsoft.com/office/drawing/2014/main" val="3708471093"/>
                    </a:ext>
                  </a:extLst>
                </a:gridCol>
                <a:gridCol w="2120748">
                  <a:extLst>
                    <a:ext uri="{9D8B030D-6E8A-4147-A177-3AD203B41FA5}">
                      <a16:colId xmlns:a16="http://schemas.microsoft.com/office/drawing/2014/main" val="2990493023"/>
                    </a:ext>
                  </a:extLst>
                </a:gridCol>
              </a:tblGrid>
              <a:tr h="58189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1912945"/>
                  </a:ext>
                </a:extLst>
              </a:tr>
              <a:tr h="1715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отретино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8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3,5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6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7491388"/>
                  </a:ext>
                </a:extLst>
              </a:tr>
              <a:tr h="2642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офлура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жидкость для ингаляционного наркоза 100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 131,3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0808442"/>
                  </a:ext>
                </a:extLst>
              </a:tr>
              <a:tr h="2642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офлура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жидкость для ингаляционного наркоза 250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 793,8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4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914464"/>
                  </a:ext>
                </a:extLst>
              </a:tr>
              <a:tr h="50396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муноглобулин (для внесосудистого введения) ****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одкожной инъекций 165 мг/мл 10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,7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694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8407177"/>
                  </a:ext>
                </a:extLst>
              </a:tr>
              <a:tr h="50396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муноглобулин (для внесосудистого введения) ****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одкожной инъекций 200 мг/мл 50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,7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10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6736604"/>
                  </a:ext>
                </a:extLst>
              </a:tr>
              <a:tr h="50396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муноглобулин (для внесосудистого введения) ****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одкожной инъекций 200 мг/мл 5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,7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00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6774505"/>
                  </a:ext>
                </a:extLst>
              </a:tr>
              <a:tr h="50396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муноглобулин (для внесосудистого введения) ****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одкожной инъекций 200 мг/мл 40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,7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120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1340133"/>
                  </a:ext>
                </a:extLst>
              </a:tr>
              <a:tr h="50396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муноглобулин (для внесосудистого введения) ****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одкожной инъекций 200 мг/мл 20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,7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49714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3215388"/>
                  </a:ext>
                </a:extLst>
              </a:tr>
              <a:tr h="50396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муноглобулин (для внесосудистого введения) ****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одкожной инъекций 200 мг/мл 10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,7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415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029122"/>
                  </a:ext>
                </a:extLst>
              </a:tr>
              <a:tr h="50396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муноглобулин (для внесосудистого введения) ****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одкожной инъекций 165 мг/мл 20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,7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21383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5901205"/>
                  </a:ext>
                </a:extLst>
              </a:tr>
              <a:tr h="3964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муноглобулин (для внутривенного введения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% раствор для инфузий 50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0 482,9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76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582083"/>
                  </a:ext>
                </a:extLst>
              </a:tr>
              <a:tr h="3964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муноглобулин (для внутривенного введения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% раствор для инфузий 100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0 222,3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6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931740"/>
                  </a:ext>
                </a:extLst>
              </a:tr>
              <a:tr h="3377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муноглобулин антитимоцитарный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 для приготовления раствора для инфузий 2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6 391,7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4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8390834"/>
                  </a:ext>
                </a:extLst>
              </a:tr>
              <a:tr h="5285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муноглобулин против клещевого энцефалит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товится из сыворотки крови лошадей,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ипериммунизированных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ирусом клещевого энцефалита или из сыворотки доноров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т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285 410,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2,5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51" marR="4851" marT="485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65810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9820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315885" y="315888"/>
          <a:ext cx="11629504" cy="62537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3547">
                  <a:extLst>
                    <a:ext uri="{9D8B030D-6E8A-4147-A177-3AD203B41FA5}">
                      <a16:colId xmlns:a16="http://schemas.microsoft.com/office/drawing/2014/main" val="357544749"/>
                    </a:ext>
                  </a:extLst>
                </a:gridCol>
                <a:gridCol w="1205911">
                  <a:extLst>
                    <a:ext uri="{9D8B030D-6E8A-4147-A177-3AD203B41FA5}">
                      <a16:colId xmlns:a16="http://schemas.microsoft.com/office/drawing/2014/main" val="2613484918"/>
                    </a:ext>
                  </a:extLst>
                </a:gridCol>
                <a:gridCol w="829065">
                  <a:extLst>
                    <a:ext uri="{9D8B030D-6E8A-4147-A177-3AD203B41FA5}">
                      <a16:colId xmlns:a16="http://schemas.microsoft.com/office/drawing/2014/main" val="2930008432"/>
                    </a:ext>
                  </a:extLst>
                </a:gridCol>
                <a:gridCol w="1447093">
                  <a:extLst>
                    <a:ext uri="{9D8B030D-6E8A-4147-A177-3AD203B41FA5}">
                      <a16:colId xmlns:a16="http://schemas.microsoft.com/office/drawing/2014/main" val="18731349"/>
                    </a:ext>
                  </a:extLst>
                </a:gridCol>
                <a:gridCol w="2848963">
                  <a:extLst>
                    <a:ext uri="{9D8B030D-6E8A-4147-A177-3AD203B41FA5}">
                      <a16:colId xmlns:a16="http://schemas.microsoft.com/office/drawing/2014/main" val="444031938"/>
                    </a:ext>
                  </a:extLst>
                </a:gridCol>
                <a:gridCol w="934581">
                  <a:extLst>
                    <a:ext uri="{9D8B030D-6E8A-4147-A177-3AD203B41FA5}">
                      <a16:colId xmlns:a16="http://schemas.microsoft.com/office/drawing/2014/main" val="1296880666"/>
                    </a:ext>
                  </a:extLst>
                </a:gridCol>
                <a:gridCol w="1481009">
                  <a:extLst>
                    <a:ext uri="{9D8B030D-6E8A-4147-A177-3AD203B41FA5}">
                      <a16:colId xmlns:a16="http://schemas.microsoft.com/office/drawing/2014/main" val="1327500142"/>
                    </a:ext>
                  </a:extLst>
                </a:gridCol>
                <a:gridCol w="2159335">
                  <a:extLst>
                    <a:ext uri="{9D8B030D-6E8A-4147-A177-3AD203B41FA5}">
                      <a16:colId xmlns:a16="http://schemas.microsoft.com/office/drawing/2014/main" val="1562569238"/>
                    </a:ext>
                  </a:extLst>
                </a:gridCol>
              </a:tblGrid>
              <a:tr h="4904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6572964"/>
                  </a:ext>
                </a:extLst>
              </a:tr>
              <a:tr h="7980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активированная вакцина против гепатита А. Производство по выпуску вакцины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квалифицировано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ОЗ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спензия для инъекций во флаконе/шприце 1 доза/0,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/шприц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498,8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9306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0443079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акатеро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ингаляций 150мк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9,9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6090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4129888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акатеро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ингаляций 300мк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0,1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860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4748240"/>
                  </a:ext>
                </a:extLst>
              </a:tr>
              <a:tr h="1200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ометац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,7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567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6735120"/>
                  </a:ext>
                </a:extLst>
              </a:tr>
              <a:tr h="3600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сулин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спарт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одкожного введения 100 ЕД/мл, 3 мл, предварительно заполненных шприц-ручках 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- руч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533,8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496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411672"/>
                  </a:ext>
                </a:extLst>
              </a:tr>
              <a:tr h="6000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сулин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спарт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одкожного введения 100 ЕД/мл, 3 мл, в комплекте со шприц-ручками из расчета на 50 картриджей 1 шприц-ручка с шагом 1 ЕД</a:t>
                      </a:r>
                      <a:b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ридж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533,8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2454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1306445"/>
                  </a:ext>
                </a:extLst>
              </a:tr>
              <a:tr h="12000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сулин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спарт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вухфазный в комбинации с инсулином средней продолжительности (смесь аналогов инсулина короткого и средней продолжительности действия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бинированный, суспензия 100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мл в картриджах по 3 мл в комплекте со шприц-ручками из расчета на 50 картриджей 1 шприц-ручка с шагом 1 ЕД. Возможны поставки не в картриджах, а в уже заправленных шприц - ручках, в этом случае шприц - ручки к инсулину не нужны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ридж/ шприц- руч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902,4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898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4189181"/>
                  </a:ext>
                </a:extLst>
              </a:tr>
              <a:tr h="3600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сулин глулиз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100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мл по 3 мл в заправленных шприц-ручках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ридж/ шприц- руч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659,4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7787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2324029"/>
                  </a:ext>
                </a:extLst>
              </a:tr>
              <a:tr h="3600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сулин двухфазный человеческий генно-инженерный (30/70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бинированный, суспензия 100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мл во флаконах,10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151,9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2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1041601"/>
                  </a:ext>
                </a:extLst>
              </a:tr>
              <a:tr h="9600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сулин двухфазный человеческий генно-инженерный (30/70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бинированный, суспензия 100 ед/мл в картриджах по 3 мл в комплекте со шприц-ручками из расчета на 50 картриджей 1 шприц-ручка с шагом 1 ЕД. Возможны поставки не в картриджах, а в уже заправленных шприц - ручках, в этом случае шприц - ручки к инсулину не нужны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ридж/ шприц-руч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020,8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197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2688211"/>
                  </a:ext>
                </a:extLst>
              </a:tr>
              <a:tr h="3600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сулин деглудек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100 ЕД/мл, 3 мл, предварительно заполненных шприц-ручках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-руч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794,9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448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93581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4359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332508" y="91440"/>
          <a:ext cx="11679382" cy="66375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6651">
                  <a:extLst>
                    <a:ext uri="{9D8B030D-6E8A-4147-A177-3AD203B41FA5}">
                      <a16:colId xmlns:a16="http://schemas.microsoft.com/office/drawing/2014/main" val="597087180"/>
                    </a:ext>
                  </a:extLst>
                </a:gridCol>
                <a:gridCol w="1211085">
                  <a:extLst>
                    <a:ext uri="{9D8B030D-6E8A-4147-A177-3AD203B41FA5}">
                      <a16:colId xmlns:a16="http://schemas.microsoft.com/office/drawing/2014/main" val="2998244457"/>
                    </a:ext>
                  </a:extLst>
                </a:gridCol>
                <a:gridCol w="832617">
                  <a:extLst>
                    <a:ext uri="{9D8B030D-6E8A-4147-A177-3AD203B41FA5}">
                      <a16:colId xmlns:a16="http://schemas.microsoft.com/office/drawing/2014/main" val="753154686"/>
                    </a:ext>
                  </a:extLst>
                </a:gridCol>
                <a:gridCol w="1453299">
                  <a:extLst>
                    <a:ext uri="{9D8B030D-6E8A-4147-A177-3AD203B41FA5}">
                      <a16:colId xmlns:a16="http://schemas.microsoft.com/office/drawing/2014/main" val="1211961159"/>
                    </a:ext>
                  </a:extLst>
                </a:gridCol>
                <a:gridCol w="2861183">
                  <a:extLst>
                    <a:ext uri="{9D8B030D-6E8A-4147-A177-3AD203B41FA5}">
                      <a16:colId xmlns:a16="http://schemas.microsoft.com/office/drawing/2014/main" val="1395306826"/>
                    </a:ext>
                  </a:extLst>
                </a:gridCol>
                <a:gridCol w="938590">
                  <a:extLst>
                    <a:ext uri="{9D8B030D-6E8A-4147-A177-3AD203B41FA5}">
                      <a16:colId xmlns:a16="http://schemas.microsoft.com/office/drawing/2014/main" val="2038787208"/>
                    </a:ext>
                  </a:extLst>
                </a:gridCol>
                <a:gridCol w="1487362">
                  <a:extLst>
                    <a:ext uri="{9D8B030D-6E8A-4147-A177-3AD203B41FA5}">
                      <a16:colId xmlns:a16="http://schemas.microsoft.com/office/drawing/2014/main" val="1190761754"/>
                    </a:ext>
                  </a:extLst>
                </a:gridCol>
                <a:gridCol w="2168595">
                  <a:extLst>
                    <a:ext uri="{9D8B030D-6E8A-4147-A177-3AD203B41FA5}">
                      <a16:colId xmlns:a16="http://schemas.microsoft.com/office/drawing/2014/main" val="2291770159"/>
                    </a:ext>
                  </a:extLst>
                </a:gridCol>
              </a:tblGrid>
              <a:tr h="6650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4686567"/>
                  </a:ext>
                </a:extLst>
              </a:tr>
              <a:tr h="1015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сулин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зпро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100 МЕ/мл, 10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982,8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22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8136824"/>
                  </a:ext>
                </a:extLst>
              </a:tr>
              <a:tr h="7108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сулин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зпро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100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мл в картриджах по 3 мл в комплекте со шприц-ручками из расчета на 50 картриджей 1 шприц-ручка с шагом 1 ЕД. Возможны поставки не в картриджах, а в уже заправленных шприц - ручках, в этом случае шприц - ручки к инсулину не нужны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ридж/ шприц-руч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259,9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900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0011463"/>
                  </a:ext>
                </a:extLst>
              </a:tr>
              <a:tr h="4062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сулин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зпро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100 ед/мл в картриджах по 3 мл в комплекте со шприц-ручками из расчета на 50 картриджей 1 шприц-ручка с шагом 0,5 Е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ридж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259,9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312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4135737"/>
                  </a:ext>
                </a:extLst>
              </a:tr>
              <a:tr h="10155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сулин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зпро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вухфазный в комбинации с инсулином средней продолжительности (смесь аналогов инсулина короткого и средней продолжительности действия 25/75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бинированный, раствор/суспензия 100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мл в картриджах по 3 мл в комплекте со шприц-ручками из расчета на 50 картриджей 1 шприц-ручка с шагом 1 ЕД. Возможны поставки не в картриджах, а в уже заправленных шприц-ручках, в этом случае шприц-ручки к инсулину не нужны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ридж/ шприц-руч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562,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215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9234978"/>
                  </a:ext>
                </a:extLst>
              </a:tr>
              <a:tr h="10155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сулин лизпро двухфазный в комбинации с инсулином средней продолжительности (смесь аналогов инсулина короткого и средней продолжительности действия 50/50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бинированный, раствор/суспензия 100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мл в картриджах по 3 мл в комплекте со шприц-ручками из расчета на 50 картриджей 1 шприц-ручка с шагом 1 ЕД. Возможны поставки не в картриджах, а в уже заправленных шприц-ручках, в этом случае шприц-ручки к инсулину не нужны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ридж/ шприц-руч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045,8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477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920324"/>
                  </a:ext>
                </a:extLst>
              </a:tr>
              <a:tr h="8124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сулин человека рекомбинантный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спензия 100 ед/мл в картриджах по 3 мл в комплекте со шприц-ручками из расчета на 50 картриджей 1 шприц-ручка с шагом 1 ЕД. Возможны поставки не в картриджах, а в уже заправленных шприц - ручках, в этом случае шприц - ручки к инсулину не нужны, суточного действия (средний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ридж/ шприц-руч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46,7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248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1537968"/>
                  </a:ext>
                </a:extLst>
              </a:tr>
              <a:tr h="4062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сулин человека рекомбинантный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спензия 100 ед/мл в картриджах по 3 мл в комплекте со шприц-ручками из расчета на 50 картриджей 1 шприц-ручка с шагом 0,5 ЕД, суточного действия (средний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ридж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46,7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98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36" marR="4136" marT="41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10274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554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399011" y="266006"/>
          <a:ext cx="11521439" cy="629235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16824">
                  <a:extLst>
                    <a:ext uri="{9D8B030D-6E8A-4147-A177-3AD203B41FA5}">
                      <a16:colId xmlns:a16="http://schemas.microsoft.com/office/drawing/2014/main" val="3093012638"/>
                    </a:ext>
                  </a:extLst>
                </a:gridCol>
                <a:gridCol w="1194706">
                  <a:extLst>
                    <a:ext uri="{9D8B030D-6E8A-4147-A177-3AD203B41FA5}">
                      <a16:colId xmlns:a16="http://schemas.microsoft.com/office/drawing/2014/main" val="3853175492"/>
                    </a:ext>
                  </a:extLst>
                </a:gridCol>
                <a:gridCol w="821358">
                  <a:extLst>
                    <a:ext uri="{9D8B030D-6E8A-4147-A177-3AD203B41FA5}">
                      <a16:colId xmlns:a16="http://schemas.microsoft.com/office/drawing/2014/main" val="1032632010"/>
                    </a:ext>
                  </a:extLst>
                </a:gridCol>
                <a:gridCol w="1433647">
                  <a:extLst>
                    <a:ext uri="{9D8B030D-6E8A-4147-A177-3AD203B41FA5}">
                      <a16:colId xmlns:a16="http://schemas.microsoft.com/office/drawing/2014/main" val="4222602880"/>
                    </a:ext>
                  </a:extLst>
                </a:gridCol>
                <a:gridCol w="2822490">
                  <a:extLst>
                    <a:ext uri="{9D8B030D-6E8A-4147-A177-3AD203B41FA5}">
                      <a16:colId xmlns:a16="http://schemas.microsoft.com/office/drawing/2014/main" val="2301864881"/>
                    </a:ext>
                  </a:extLst>
                </a:gridCol>
                <a:gridCol w="925897">
                  <a:extLst>
                    <a:ext uri="{9D8B030D-6E8A-4147-A177-3AD203B41FA5}">
                      <a16:colId xmlns:a16="http://schemas.microsoft.com/office/drawing/2014/main" val="502944977"/>
                    </a:ext>
                  </a:extLst>
                </a:gridCol>
                <a:gridCol w="1467248">
                  <a:extLst>
                    <a:ext uri="{9D8B030D-6E8A-4147-A177-3AD203B41FA5}">
                      <a16:colId xmlns:a16="http://schemas.microsoft.com/office/drawing/2014/main" val="4260567075"/>
                    </a:ext>
                  </a:extLst>
                </a:gridCol>
                <a:gridCol w="2139269">
                  <a:extLst>
                    <a:ext uri="{9D8B030D-6E8A-4147-A177-3AD203B41FA5}">
                      <a16:colId xmlns:a16="http://schemas.microsoft.com/office/drawing/2014/main" val="3088033694"/>
                    </a:ext>
                  </a:extLst>
                </a:gridCol>
              </a:tblGrid>
              <a:tr h="76477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1405534"/>
                  </a:ext>
                </a:extLst>
              </a:tr>
              <a:tr h="2946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сулин человека рекомбинантный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спензия 100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мл во флаконах 10 мл, суточного действия (средний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027,7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7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7012804"/>
                  </a:ext>
                </a:extLst>
              </a:tr>
              <a:tr h="10312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сулин человеческий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100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мл в картриджах по 3 мл в комплекте со шприц-ручками из расчета на 50 картриджей 1 шприц-ручка с шагом 1 ЕД. Возможны поставки не в картриджах, а в уже заправленных шприц - ручках, в этом случае шприц - ручки к инсулину не нужны, короткого действия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ридж/ шприц-руч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0,6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343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535002"/>
                  </a:ext>
                </a:extLst>
              </a:tr>
              <a:tr h="2946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сулин человеческий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100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мл во флаконах, 10 мл, короткого действия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43,8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15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6218458"/>
                  </a:ext>
                </a:extLst>
              </a:tr>
              <a:tr h="5893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сулин человеческий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100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мл в картриджах по 3 мл в комплекте со шприц-ручками из расчета на 50 картриджей 1 шприц-ручка с шагом 0,5 ЕД, короткого действия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ридж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0,6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60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6148760"/>
                  </a:ext>
                </a:extLst>
              </a:tr>
              <a:tr h="14732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терферон бета -1</a:t>
                      </a:r>
                      <a:r>
                        <a:rPr lang="en-US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44 мкг/0,5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 770,5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53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2047045"/>
                  </a:ext>
                </a:extLst>
              </a:tr>
              <a:tr h="5893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терферон бета-1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внутримышечных инъекций/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приготовления раствора для внутримышечного введения 30 мкг (6 млн. ME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/шприц-руч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8 910,3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6158261"/>
                  </a:ext>
                </a:extLst>
              </a:tr>
              <a:tr h="8839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терферон-альфа 2</a:t>
                      </a:r>
                      <a:r>
                        <a:rPr lang="en-US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ированны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приготовления инъекционного раствора/раствор для инъекций во флаконах/ампулах доза не более 3 млн. МЕ; в шприц-тюбике, в шприц - ручке возможная доза более или равно 3млн.МЕ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млн МЕ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769,6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579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9557472"/>
                  </a:ext>
                </a:extLst>
              </a:tr>
              <a:tr h="2946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ринотека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центрат для приготовления раствора для инфузий 300 мг/1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 851,9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8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2566470"/>
                  </a:ext>
                </a:extLst>
              </a:tr>
              <a:tr h="2946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фосфа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раствора для инъекций 20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 215,4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9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4292369"/>
                  </a:ext>
                </a:extLst>
              </a:tr>
              <a:tr h="2946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фосфа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раствора для инъекций 10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 596,9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4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3035806"/>
                  </a:ext>
                </a:extLst>
              </a:tr>
              <a:tr h="2946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фосфа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раствора для внутривенного введения 5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203,6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24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2958733"/>
                  </a:ext>
                </a:extLst>
              </a:tr>
              <a:tr h="14732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наглифлоз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5,5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1172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1896486"/>
                  </a:ext>
                </a:extLst>
              </a:tr>
              <a:tr h="14732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ецитаб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5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5,6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741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1443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83970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399011" y="415634"/>
          <a:ext cx="11421687" cy="61431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10615">
                  <a:extLst>
                    <a:ext uri="{9D8B030D-6E8A-4147-A177-3AD203B41FA5}">
                      <a16:colId xmlns:a16="http://schemas.microsoft.com/office/drawing/2014/main" val="3736155914"/>
                    </a:ext>
                  </a:extLst>
                </a:gridCol>
                <a:gridCol w="1184362">
                  <a:extLst>
                    <a:ext uri="{9D8B030D-6E8A-4147-A177-3AD203B41FA5}">
                      <a16:colId xmlns:a16="http://schemas.microsoft.com/office/drawing/2014/main" val="1678661375"/>
                    </a:ext>
                  </a:extLst>
                </a:gridCol>
                <a:gridCol w="814249">
                  <a:extLst>
                    <a:ext uri="{9D8B030D-6E8A-4147-A177-3AD203B41FA5}">
                      <a16:colId xmlns:a16="http://schemas.microsoft.com/office/drawing/2014/main" val="2148375689"/>
                    </a:ext>
                  </a:extLst>
                </a:gridCol>
                <a:gridCol w="1421234">
                  <a:extLst>
                    <a:ext uri="{9D8B030D-6E8A-4147-A177-3AD203B41FA5}">
                      <a16:colId xmlns:a16="http://schemas.microsoft.com/office/drawing/2014/main" val="408642610"/>
                    </a:ext>
                  </a:extLst>
                </a:gridCol>
                <a:gridCol w="2798053">
                  <a:extLst>
                    <a:ext uri="{9D8B030D-6E8A-4147-A177-3AD203B41FA5}">
                      <a16:colId xmlns:a16="http://schemas.microsoft.com/office/drawing/2014/main" val="1653399967"/>
                    </a:ext>
                  </a:extLst>
                </a:gridCol>
                <a:gridCol w="917882">
                  <a:extLst>
                    <a:ext uri="{9D8B030D-6E8A-4147-A177-3AD203B41FA5}">
                      <a16:colId xmlns:a16="http://schemas.microsoft.com/office/drawing/2014/main" val="2612448816"/>
                    </a:ext>
                  </a:extLst>
                </a:gridCol>
                <a:gridCol w="1454544">
                  <a:extLst>
                    <a:ext uri="{9D8B030D-6E8A-4147-A177-3AD203B41FA5}">
                      <a16:colId xmlns:a16="http://schemas.microsoft.com/office/drawing/2014/main" val="1815492717"/>
                    </a:ext>
                  </a:extLst>
                </a:gridCol>
                <a:gridCol w="2120748">
                  <a:extLst>
                    <a:ext uri="{9D8B030D-6E8A-4147-A177-3AD203B41FA5}">
                      <a16:colId xmlns:a16="http://schemas.microsoft.com/office/drawing/2014/main" val="3453650041"/>
                    </a:ext>
                  </a:extLst>
                </a:gridCol>
              </a:tblGrid>
              <a:tr h="7499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138659"/>
                  </a:ext>
                </a:extLst>
              </a:tr>
              <a:tr h="1642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ведил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6,2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,6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7157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8352156"/>
                  </a:ext>
                </a:extLst>
              </a:tr>
              <a:tr h="3222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спофунги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 для приготовления раствора для инфузий 5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8 543,4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5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692079"/>
                  </a:ext>
                </a:extLst>
              </a:tr>
              <a:tr h="1674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ветиап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2,4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41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2956931"/>
                  </a:ext>
                </a:extLst>
              </a:tr>
              <a:tr h="1642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ветиап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3,7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5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5334499"/>
                  </a:ext>
                </a:extLst>
              </a:tr>
              <a:tr h="2846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етопрофе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ппозиторий 100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ппозиторий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8,7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31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3636522"/>
                  </a:ext>
                </a:extLst>
              </a:tr>
              <a:tr h="4270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ритромиц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лиофилизированный для приготовления раствора для инфузий 5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733,5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5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1847734"/>
                  </a:ext>
                </a:extLst>
              </a:tr>
              <a:tr h="1642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обазам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 1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,3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28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1361745"/>
                  </a:ext>
                </a:extLst>
              </a:tr>
              <a:tr h="1642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отримазо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зь/крем 1%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уб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7,2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77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367343"/>
                  </a:ext>
                </a:extLst>
              </a:tr>
              <a:tr h="2846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екальциферо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ли для приема внутрь 2800 МЕ/мл 1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5,7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42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7241710"/>
                  </a:ext>
                </a:extLst>
              </a:tr>
              <a:tr h="3222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стин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стиметат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раствора для инъекций или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узи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 000 000 ЕД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086,6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23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5148335"/>
                  </a:ext>
                </a:extLst>
              </a:tr>
              <a:tr h="3222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стин (Колистиметат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раствора для ингаляций 1 000 000 ЕД (80 мг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682,5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5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2478681"/>
                  </a:ext>
                </a:extLst>
              </a:tr>
              <a:tr h="85403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плекс аминокисло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мульсия для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узи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содержащая смесь оливкового и соевого масел в соотношении 80:20, раствор аминокислот с электролитами, раствор декстрозы, с общей калорийностью 910 ккал 1 500 мл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ехсекционны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контейне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тейне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 328,4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57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7091742"/>
                  </a:ext>
                </a:extLst>
              </a:tr>
              <a:tr h="85403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плекс аминокисло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мульсия для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узи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содержащая смесь оливкового и соевого масел в соотношении 80:20, раствор аминокислот с электролитами, раствор декстрозы, с общей калорийностью 1800 ккал 1 500 мл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ехсекционны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контейне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тейне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 157,8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30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6224493"/>
                  </a:ext>
                </a:extLst>
              </a:tr>
              <a:tr h="5693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плекс ботулинический токсин типа а-гемаглютин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 для приготовления раствора для внутримышечного и подкожного введения 500 Е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9 879,8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7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6055937"/>
                  </a:ext>
                </a:extLst>
              </a:tr>
              <a:tr h="1642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изотини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2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 460,7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2665522"/>
                  </a:ext>
                </a:extLst>
              </a:tr>
              <a:tr h="1642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изотини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25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 820,0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46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44" marR="5944" marT="59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796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7539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482140" y="266008"/>
          <a:ext cx="11338558" cy="628310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05445">
                  <a:extLst>
                    <a:ext uri="{9D8B030D-6E8A-4147-A177-3AD203B41FA5}">
                      <a16:colId xmlns:a16="http://schemas.microsoft.com/office/drawing/2014/main" val="2615391134"/>
                    </a:ext>
                  </a:extLst>
                </a:gridCol>
                <a:gridCol w="1175742">
                  <a:extLst>
                    <a:ext uri="{9D8B030D-6E8A-4147-A177-3AD203B41FA5}">
                      <a16:colId xmlns:a16="http://schemas.microsoft.com/office/drawing/2014/main" val="4150646426"/>
                    </a:ext>
                  </a:extLst>
                </a:gridCol>
                <a:gridCol w="808322">
                  <a:extLst>
                    <a:ext uri="{9D8B030D-6E8A-4147-A177-3AD203B41FA5}">
                      <a16:colId xmlns:a16="http://schemas.microsoft.com/office/drawing/2014/main" val="3147508488"/>
                    </a:ext>
                  </a:extLst>
                </a:gridCol>
                <a:gridCol w="1410889">
                  <a:extLst>
                    <a:ext uri="{9D8B030D-6E8A-4147-A177-3AD203B41FA5}">
                      <a16:colId xmlns:a16="http://schemas.microsoft.com/office/drawing/2014/main" val="2354904948"/>
                    </a:ext>
                  </a:extLst>
                </a:gridCol>
                <a:gridCol w="2777689">
                  <a:extLst>
                    <a:ext uri="{9D8B030D-6E8A-4147-A177-3AD203B41FA5}">
                      <a16:colId xmlns:a16="http://schemas.microsoft.com/office/drawing/2014/main" val="2928058546"/>
                    </a:ext>
                  </a:extLst>
                </a:gridCol>
                <a:gridCol w="911200">
                  <a:extLst>
                    <a:ext uri="{9D8B030D-6E8A-4147-A177-3AD203B41FA5}">
                      <a16:colId xmlns:a16="http://schemas.microsoft.com/office/drawing/2014/main" val="1093488304"/>
                    </a:ext>
                  </a:extLst>
                </a:gridCol>
                <a:gridCol w="1443958">
                  <a:extLst>
                    <a:ext uri="{9D8B030D-6E8A-4147-A177-3AD203B41FA5}">
                      <a16:colId xmlns:a16="http://schemas.microsoft.com/office/drawing/2014/main" val="2724630562"/>
                    </a:ext>
                  </a:extLst>
                </a:gridCol>
                <a:gridCol w="2105313">
                  <a:extLst>
                    <a:ext uri="{9D8B030D-6E8A-4147-A177-3AD203B41FA5}">
                      <a16:colId xmlns:a16="http://schemas.microsoft.com/office/drawing/2014/main" val="1032642776"/>
                    </a:ext>
                  </a:extLst>
                </a:gridCol>
              </a:tblGrid>
              <a:tr h="6733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9526475"/>
                  </a:ext>
                </a:extLst>
              </a:tr>
              <a:tr h="1222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акоса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2,2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883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2328267"/>
                  </a:ext>
                </a:extLst>
              </a:tr>
              <a:tr h="1222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акоса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риема внутрь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 736,1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0789217"/>
                  </a:ext>
                </a:extLst>
              </a:tr>
              <a:tr h="6112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амивуд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риема внутрь 5 мг/мл 240 мл (дети, состоящие на диспансерном учете, принимают лекарственные препараты одного производителя по достижении 18 лет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476,0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4420473"/>
                  </a:ext>
                </a:extLst>
              </a:tr>
              <a:tr h="2445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амивудин и Абакави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300 мг/6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018,4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52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081962"/>
                  </a:ext>
                </a:extLst>
              </a:tr>
              <a:tr h="9780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амивудин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бакави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300 мг/600 мг (пациенты из очага Туркестанской области и г. Шымкент с ВИЧ-инфекцией принимают лекарственные препараты одного производителя на протяжении всей жизни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022,1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08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2574083"/>
                  </a:ext>
                </a:extLst>
              </a:tr>
              <a:tr h="73349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амивудин и Абакави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300 мг/600 мг (дети, состоящие на диспансерном учете, принимают лекарственные препараты одного производителя по достижении 18 лет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022,1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1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5213229"/>
                  </a:ext>
                </a:extLst>
              </a:tr>
              <a:tr h="9780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амивудин, Абакавир и Долутеграви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, 300 мг/600 мг/50 мг (пациенты из очага Туркестанской области и г. Шымкент с ВИЧ-инфекцией принимают лекарственные препараты одного производителя на протяжении всей жизни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431,6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7577326"/>
                  </a:ext>
                </a:extLst>
              </a:tr>
              <a:tr h="85574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амивудин, Абакавир и Долутеграви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, 300 мг/600 мг/50 мг (дети, состоящие на диспансерном учете, принимают лекарственные препараты одного производителя по достижении 18 лет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431,6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8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5198721"/>
                  </a:ext>
                </a:extLst>
              </a:tr>
              <a:tr h="3667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амотридж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5,6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369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2972345"/>
                  </a:ext>
                </a:extLst>
              </a:tr>
              <a:tr h="1222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амотридж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жевательная 5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,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32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2645002"/>
                  </a:ext>
                </a:extLst>
              </a:tr>
              <a:tr h="3667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анреот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пролонгированного высвобождения 9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1 797,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933" marR="4933" marT="49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86591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734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с двумя усеченными противолежащими углами 17">
            <a:extLst>
              <a:ext uri="{FF2B5EF4-FFF2-40B4-BE49-F238E27FC236}">
                <a16:creationId xmlns:a16="http://schemas.microsoft.com/office/drawing/2014/main" id="{59A5E1A1-1B2E-49F0-A6C9-3578E9FD8F10}"/>
              </a:ext>
            </a:extLst>
          </p:cNvPr>
          <p:cNvSpPr/>
          <p:nvPr/>
        </p:nvSpPr>
        <p:spPr>
          <a:xfrm>
            <a:off x="329729" y="70385"/>
            <a:ext cx="11514339" cy="514231"/>
          </a:xfrm>
          <a:prstGeom prst="snip2DiagRect">
            <a:avLst/>
          </a:prstGeom>
          <a:ln w="1905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100" b="1" u="sng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роцедура заключения Долгосрочного Договора между ОТП и Единым дистрибьютором на поставку ЛС и МИ в рамках ГОБМП и ОСМС </a:t>
            </a:r>
          </a:p>
          <a:p>
            <a:pPr algn="ctr"/>
            <a:r>
              <a:rPr lang="ru-RU" sz="1100" b="1" u="sng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согласно Главы 6 (параграф 1) Правил 110 </a:t>
            </a:r>
            <a:r>
              <a:rPr lang="en-US" sz="1100" b="1" u="sng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https://adilet.zan.kz/rus/docs/V2300032733#z2285</a:t>
            </a:r>
            <a:endParaRPr lang="ru-RU" sz="1100" b="1" u="sng" dirty="0" smtClean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573024" y="548154"/>
            <a:ext cx="10752453" cy="3563971"/>
            <a:chOff x="6883" y="834934"/>
            <a:chExt cx="12158443" cy="5168601"/>
          </a:xfrm>
        </p:grpSpPr>
        <p:cxnSp>
          <p:nvCxnSpPr>
            <p:cNvPr id="349" name="Straight Connector 34">
              <a:extLst>
                <a:ext uri="{FF2B5EF4-FFF2-40B4-BE49-F238E27FC236}">
                  <a16:creationId xmlns:a16="http://schemas.microsoft.com/office/drawing/2014/main" id="{F538115F-3709-4575-B34B-A1875AD23B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53307" y="5627904"/>
              <a:ext cx="6887174" cy="994"/>
            </a:xfrm>
            <a:prstGeom prst="line">
              <a:avLst/>
            </a:prstGeom>
            <a:ln w="136525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1" name="Straight Connector 34">
              <a:extLst>
                <a:ext uri="{FF2B5EF4-FFF2-40B4-BE49-F238E27FC236}">
                  <a16:creationId xmlns:a16="http://schemas.microsoft.com/office/drawing/2014/main" id="{57A2C3ED-1B49-4670-BB3F-BEA8A145AA8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441370" y="3846745"/>
              <a:ext cx="1372675" cy="9087"/>
            </a:xfrm>
            <a:prstGeom prst="line">
              <a:avLst/>
            </a:prstGeom>
            <a:ln w="136525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3" name="Freeform 44"/>
            <p:cNvSpPr>
              <a:spLocks/>
            </p:cNvSpPr>
            <p:nvPr/>
          </p:nvSpPr>
          <p:spPr bwMode="auto">
            <a:xfrm>
              <a:off x="2261280" y="1374049"/>
              <a:ext cx="404813" cy="282575"/>
            </a:xfrm>
            <a:custGeom>
              <a:avLst/>
              <a:gdLst>
                <a:gd name="T0" fmla="*/ 129 w 255"/>
                <a:gd name="T1" fmla="*/ 0 h 178"/>
                <a:gd name="T2" fmla="*/ 0 w 255"/>
                <a:gd name="T3" fmla="*/ 173 h 178"/>
                <a:gd name="T4" fmla="*/ 8 w 255"/>
                <a:gd name="T5" fmla="*/ 178 h 178"/>
                <a:gd name="T6" fmla="*/ 46 w 255"/>
                <a:gd name="T7" fmla="*/ 148 h 178"/>
                <a:gd name="T8" fmla="*/ 86 w 255"/>
                <a:gd name="T9" fmla="*/ 178 h 178"/>
                <a:gd name="T10" fmla="*/ 124 w 255"/>
                <a:gd name="T11" fmla="*/ 148 h 178"/>
                <a:gd name="T12" fmla="*/ 164 w 255"/>
                <a:gd name="T13" fmla="*/ 178 h 178"/>
                <a:gd name="T14" fmla="*/ 202 w 255"/>
                <a:gd name="T15" fmla="*/ 148 h 178"/>
                <a:gd name="T16" fmla="*/ 242 w 255"/>
                <a:gd name="T17" fmla="*/ 178 h 178"/>
                <a:gd name="T18" fmla="*/ 255 w 255"/>
                <a:gd name="T19" fmla="*/ 169 h 178"/>
                <a:gd name="T20" fmla="*/ 129 w 255"/>
                <a:gd name="T21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5" h="178">
                  <a:moveTo>
                    <a:pt x="129" y="0"/>
                  </a:moveTo>
                  <a:lnTo>
                    <a:pt x="0" y="173"/>
                  </a:lnTo>
                  <a:lnTo>
                    <a:pt x="8" y="178"/>
                  </a:lnTo>
                  <a:lnTo>
                    <a:pt x="46" y="148"/>
                  </a:lnTo>
                  <a:lnTo>
                    <a:pt x="86" y="178"/>
                  </a:lnTo>
                  <a:lnTo>
                    <a:pt x="124" y="148"/>
                  </a:lnTo>
                  <a:lnTo>
                    <a:pt x="164" y="178"/>
                  </a:lnTo>
                  <a:lnTo>
                    <a:pt x="202" y="148"/>
                  </a:lnTo>
                  <a:lnTo>
                    <a:pt x="242" y="178"/>
                  </a:lnTo>
                  <a:lnTo>
                    <a:pt x="255" y="169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584" name="Freeform 45"/>
            <p:cNvSpPr>
              <a:spLocks noEditPoints="1"/>
            </p:cNvSpPr>
            <p:nvPr/>
          </p:nvSpPr>
          <p:spPr bwMode="auto">
            <a:xfrm>
              <a:off x="1735818" y="1400176"/>
              <a:ext cx="730250" cy="979488"/>
            </a:xfrm>
            <a:custGeom>
              <a:avLst/>
              <a:gdLst>
                <a:gd name="T0" fmla="*/ 27 w 460"/>
                <a:gd name="T1" fmla="*/ 583 h 617"/>
                <a:gd name="T2" fmla="*/ 27 w 460"/>
                <a:gd name="T3" fmla="*/ 583 h 617"/>
                <a:gd name="T4" fmla="*/ 0 w 460"/>
                <a:gd name="T5" fmla="*/ 617 h 617"/>
                <a:gd name="T6" fmla="*/ 27 w 460"/>
                <a:gd name="T7" fmla="*/ 583 h 617"/>
                <a:gd name="T8" fmla="*/ 460 w 460"/>
                <a:gd name="T9" fmla="*/ 0 h 617"/>
                <a:gd name="T10" fmla="*/ 212 w 460"/>
                <a:gd name="T11" fmla="*/ 333 h 617"/>
                <a:gd name="T12" fmla="*/ 212 w 460"/>
                <a:gd name="T13" fmla="*/ 333 h 617"/>
                <a:gd name="T14" fmla="*/ 460 w 460"/>
                <a:gd name="T15" fmla="*/ 0 h 617"/>
                <a:gd name="T16" fmla="*/ 460 w 460"/>
                <a:gd name="T17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0" h="617">
                  <a:moveTo>
                    <a:pt x="27" y="583"/>
                  </a:moveTo>
                  <a:lnTo>
                    <a:pt x="27" y="583"/>
                  </a:lnTo>
                  <a:lnTo>
                    <a:pt x="0" y="617"/>
                  </a:lnTo>
                  <a:lnTo>
                    <a:pt x="27" y="583"/>
                  </a:lnTo>
                  <a:close/>
                  <a:moveTo>
                    <a:pt x="460" y="0"/>
                  </a:moveTo>
                  <a:lnTo>
                    <a:pt x="212" y="333"/>
                  </a:lnTo>
                  <a:lnTo>
                    <a:pt x="212" y="333"/>
                  </a:lnTo>
                  <a:lnTo>
                    <a:pt x="460" y="0"/>
                  </a:lnTo>
                  <a:lnTo>
                    <a:pt x="460" y="0"/>
                  </a:lnTo>
                  <a:close/>
                </a:path>
              </a:pathLst>
            </a:custGeom>
            <a:solidFill>
              <a:srgbClr val="ABA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585" name="Freeform 46"/>
            <p:cNvSpPr>
              <a:spLocks noEditPoints="1"/>
            </p:cNvSpPr>
            <p:nvPr/>
          </p:nvSpPr>
          <p:spPr bwMode="auto">
            <a:xfrm>
              <a:off x="1735818" y="1400176"/>
              <a:ext cx="730250" cy="979488"/>
            </a:xfrm>
            <a:custGeom>
              <a:avLst/>
              <a:gdLst>
                <a:gd name="T0" fmla="*/ 27 w 460"/>
                <a:gd name="T1" fmla="*/ 583 h 617"/>
                <a:gd name="T2" fmla="*/ 27 w 460"/>
                <a:gd name="T3" fmla="*/ 583 h 617"/>
                <a:gd name="T4" fmla="*/ 0 w 460"/>
                <a:gd name="T5" fmla="*/ 617 h 617"/>
                <a:gd name="T6" fmla="*/ 27 w 460"/>
                <a:gd name="T7" fmla="*/ 583 h 617"/>
                <a:gd name="T8" fmla="*/ 460 w 460"/>
                <a:gd name="T9" fmla="*/ 0 h 617"/>
                <a:gd name="T10" fmla="*/ 212 w 460"/>
                <a:gd name="T11" fmla="*/ 333 h 617"/>
                <a:gd name="T12" fmla="*/ 212 w 460"/>
                <a:gd name="T13" fmla="*/ 333 h 617"/>
                <a:gd name="T14" fmla="*/ 460 w 460"/>
                <a:gd name="T15" fmla="*/ 0 h 617"/>
                <a:gd name="T16" fmla="*/ 460 w 460"/>
                <a:gd name="T17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0" h="617">
                  <a:moveTo>
                    <a:pt x="27" y="583"/>
                  </a:moveTo>
                  <a:lnTo>
                    <a:pt x="27" y="583"/>
                  </a:lnTo>
                  <a:lnTo>
                    <a:pt x="0" y="617"/>
                  </a:lnTo>
                  <a:lnTo>
                    <a:pt x="27" y="583"/>
                  </a:lnTo>
                  <a:moveTo>
                    <a:pt x="460" y="0"/>
                  </a:moveTo>
                  <a:lnTo>
                    <a:pt x="212" y="333"/>
                  </a:lnTo>
                  <a:lnTo>
                    <a:pt x="212" y="333"/>
                  </a:lnTo>
                  <a:lnTo>
                    <a:pt x="460" y="0"/>
                  </a:lnTo>
                  <a:lnTo>
                    <a:pt x="4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592" name="Freeform 50"/>
            <p:cNvSpPr>
              <a:spLocks/>
            </p:cNvSpPr>
            <p:nvPr/>
          </p:nvSpPr>
          <p:spPr bwMode="auto">
            <a:xfrm>
              <a:off x="2261280" y="1374049"/>
              <a:ext cx="206375" cy="282575"/>
            </a:xfrm>
            <a:custGeom>
              <a:avLst/>
              <a:gdLst>
                <a:gd name="T0" fmla="*/ 129 w 130"/>
                <a:gd name="T1" fmla="*/ 0 h 178"/>
                <a:gd name="T2" fmla="*/ 129 w 130"/>
                <a:gd name="T3" fmla="*/ 0 h 178"/>
                <a:gd name="T4" fmla="*/ 0 w 130"/>
                <a:gd name="T5" fmla="*/ 173 h 178"/>
                <a:gd name="T6" fmla="*/ 8 w 130"/>
                <a:gd name="T7" fmla="*/ 178 h 178"/>
                <a:gd name="T8" fmla="*/ 46 w 130"/>
                <a:gd name="T9" fmla="*/ 148 h 178"/>
                <a:gd name="T10" fmla="*/ 86 w 130"/>
                <a:gd name="T11" fmla="*/ 178 h 178"/>
                <a:gd name="T12" fmla="*/ 124 w 130"/>
                <a:gd name="T13" fmla="*/ 148 h 178"/>
                <a:gd name="T14" fmla="*/ 130 w 130"/>
                <a:gd name="T15" fmla="*/ 152 h 178"/>
                <a:gd name="T16" fmla="*/ 129 w 130"/>
                <a:gd name="T17" fmla="*/ 0 h 178"/>
                <a:gd name="T18" fmla="*/ 129 w 130"/>
                <a:gd name="T1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0" h="178">
                  <a:moveTo>
                    <a:pt x="129" y="0"/>
                  </a:moveTo>
                  <a:lnTo>
                    <a:pt x="129" y="0"/>
                  </a:lnTo>
                  <a:lnTo>
                    <a:pt x="0" y="173"/>
                  </a:lnTo>
                  <a:lnTo>
                    <a:pt x="8" y="178"/>
                  </a:lnTo>
                  <a:lnTo>
                    <a:pt x="46" y="148"/>
                  </a:lnTo>
                  <a:lnTo>
                    <a:pt x="86" y="178"/>
                  </a:lnTo>
                  <a:lnTo>
                    <a:pt x="124" y="148"/>
                  </a:lnTo>
                  <a:lnTo>
                    <a:pt x="130" y="152"/>
                  </a:lnTo>
                  <a:lnTo>
                    <a:pt x="129" y="0"/>
                  </a:lnTo>
                  <a:lnTo>
                    <a:pt x="12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80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152" name="Straight Connector 34">
              <a:extLst>
                <a:ext uri="{FF2B5EF4-FFF2-40B4-BE49-F238E27FC236}">
                  <a16:creationId xmlns:a16="http://schemas.microsoft.com/office/drawing/2014/main" id="{3DA4F0B6-38C2-495B-9418-291816027EE2}"/>
                </a:ext>
              </a:extLst>
            </p:cNvPr>
            <p:cNvCxnSpPr>
              <a:cxnSpLocks/>
            </p:cNvCxnSpPr>
            <p:nvPr/>
          </p:nvCxnSpPr>
          <p:spPr>
            <a:xfrm>
              <a:off x="655377" y="2096748"/>
              <a:ext cx="6208211" cy="8549"/>
            </a:xfrm>
            <a:prstGeom prst="line">
              <a:avLst/>
            </a:prstGeom>
            <a:ln w="136525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4" name="Дуга 933">
              <a:extLst>
                <a:ext uri="{FF2B5EF4-FFF2-40B4-BE49-F238E27FC236}">
                  <a16:creationId xmlns:a16="http://schemas.microsoft.com/office/drawing/2014/main" id="{4FF5526D-C05C-4B50-AD2C-623BD32DE0AC}"/>
                </a:ext>
              </a:extLst>
            </p:cNvPr>
            <p:cNvSpPr/>
            <p:nvPr/>
          </p:nvSpPr>
          <p:spPr>
            <a:xfrm flipH="1">
              <a:off x="8490940" y="2096063"/>
              <a:ext cx="1531994" cy="1759861"/>
            </a:xfrm>
            <a:prstGeom prst="arc">
              <a:avLst>
                <a:gd name="adj1" fmla="val 5449957"/>
                <a:gd name="adj2" fmla="val 16208867"/>
              </a:avLst>
            </a:prstGeom>
            <a:ln w="136525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80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243" name="Straight Connector 34">
              <a:extLst>
                <a:ext uri="{FF2B5EF4-FFF2-40B4-BE49-F238E27FC236}">
                  <a16:creationId xmlns:a16="http://schemas.microsoft.com/office/drawing/2014/main" id="{B796F58A-1091-43E4-8E80-389EAD9E3F9A}"/>
                </a:ext>
              </a:extLst>
            </p:cNvPr>
            <p:cNvCxnSpPr>
              <a:cxnSpLocks/>
              <a:endCxn id="934" idx="0"/>
            </p:cNvCxnSpPr>
            <p:nvPr/>
          </p:nvCxnSpPr>
          <p:spPr>
            <a:xfrm flipV="1">
              <a:off x="7754664" y="3855801"/>
              <a:ext cx="1515059" cy="124"/>
            </a:xfrm>
            <a:prstGeom prst="line">
              <a:avLst/>
            </a:prstGeom>
            <a:ln w="136525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7" name="Прямоугольник 936">
              <a:extLst>
                <a:ext uri="{FF2B5EF4-FFF2-40B4-BE49-F238E27FC236}">
                  <a16:creationId xmlns:a16="http://schemas.microsoft.com/office/drawing/2014/main" id="{DC95A62B-54B7-4119-843E-A8CA9EF4BE3E}"/>
                </a:ext>
              </a:extLst>
            </p:cNvPr>
            <p:cNvSpPr/>
            <p:nvPr/>
          </p:nvSpPr>
          <p:spPr>
            <a:xfrm>
              <a:off x="2187374" y="834934"/>
              <a:ext cx="2162755" cy="8718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СК-Ф формирует предварительную номенклатуру ЛС и </a:t>
              </a:r>
              <a:r>
                <a:rPr lang="ru-RU" sz="800" b="1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МИ на рассмотрение формулярной комиссии </a:t>
              </a:r>
            </a:p>
          </p:txBody>
        </p:sp>
        <p:sp>
          <p:nvSpPr>
            <p:cNvPr id="307" name="Дуга 306">
              <a:extLst>
                <a:ext uri="{FF2B5EF4-FFF2-40B4-BE49-F238E27FC236}">
                  <a16:creationId xmlns:a16="http://schemas.microsoft.com/office/drawing/2014/main" id="{FEB9E3D5-0364-4B20-ADC8-6CEC960ED542}"/>
                </a:ext>
              </a:extLst>
            </p:cNvPr>
            <p:cNvSpPr/>
            <p:nvPr/>
          </p:nvSpPr>
          <p:spPr>
            <a:xfrm>
              <a:off x="378183" y="3865016"/>
              <a:ext cx="1978503" cy="1759861"/>
            </a:xfrm>
            <a:prstGeom prst="arc">
              <a:avLst>
                <a:gd name="adj1" fmla="val 5449957"/>
                <a:gd name="adj2" fmla="val 16208867"/>
              </a:avLst>
            </a:prstGeom>
            <a:ln w="136525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80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310" name="Straight Connector 34">
              <a:extLst>
                <a:ext uri="{FF2B5EF4-FFF2-40B4-BE49-F238E27FC236}">
                  <a16:creationId xmlns:a16="http://schemas.microsoft.com/office/drawing/2014/main" id="{E968E0CA-B5F4-419A-99E3-350031FDE4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27210" y="5606936"/>
              <a:ext cx="3913265" cy="15362"/>
            </a:xfrm>
            <a:prstGeom prst="line">
              <a:avLst/>
            </a:prstGeom>
            <a:ln w="136525">
              <a:solidFill>
                <a:srgbClr val="01B0CC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1" name="TextBox 310">
              <a:extLst>
                <a:ext uri="{FF2B5EF4-FFF2-40B4-BE49-F238E27FC236}">
                  <a16:creationId xmlns:a16="http://schemas.microsoft.com/office/drawing/2014/main" id="{8842B776-FC89-4E0A-A2E1-69A28A069DE5}"/>
                </a:ext>
              </a:extLst>
            </p:cNvPr>
            <p:cNvSpPr txBox="1"/>
            <p:nvPr/>
          </p:nvSpPr>
          <p:spPr>
            <a:xfrm>
              <a:off x="358256" y="4445679"/>
              <a:ext cx="1698954" cy="7202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МЗРК предоставляет отраслевое заключение в СК-Ф</a:t>
              </a:r>
            </a:p>
            <a:p>
              <a:pPr algn="ctr"/>
              <a:r>
                <a:rPr lang="en-US" sz="800" dirty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  <a:hlinkClick r:id="rId2"/>
                </a:rPr>
                <a:t>https://</a:t>
              </a:r>
              <a:r>
                <a:rPr lang="en-US" sz="800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  <a:hlinkClick r:id="rId2"/>
                </a:rPr>
                <a:t>fms.ecc.kz</a:t>
              </a:r>
              <a:endParaRPr lang="en-US" sz="8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313" name="TextBox 312">
              <a:extLst>
                <a:ext uri="{FF2B5EF4-FFF2-40B4-BE49-F238E27FC236}">
                  <a16:creationId xmlns:a16="http://schemas.microsoft.com/office/drawing/2014/main" id="{57F60FEB-F54C-4C41-8877-B964E5C845FA}"/>
                </a:ext>
              </a:extLst>
            </p:cNvPr>
            <p:cNvSpPr txBox="1"/>
            <p:nvPr/>
          </p:nvSpPr>
          <p:spPr>
            <a:xfrm>
              <a:off x="1908483" y="4123721"/>
              <a:ext cx="2172716" cy="12051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Заявки на веб-портале являются открытыми и подлежат рассмотрению комиссией </a:t>
              </a:r>
              <a:r>
                <a:rPr lang="ru-RU" sz="800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(протокол </a:t>
              </a:r>
              <a:r>
                <a:rPr lang="ru-RU" sz="800" dirty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предварительного </a:t>
              </a:r>
              <a:r>
                <a:rPr lang="ru-RU" sz="800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допуска)</a:t>
              </a:r>
              <a:endParaRPr lang="en-US" sz="8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  <a:p>
              <a:pPr algn="ctr"/>
              <a:r>
                <a:rPr lang="en-US" sz="800" dirty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  <a:hlinkClick r:id="rId2"/>
                </a:rPr>
                <a:t>https://</a:t>
              </a:r>
              <a:r>
                <a:rPr lang="en-US" sz="800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  <a:hlinkClick r:id="rId2"/>
                </a:rPr>
                <a:t>fms.ecc.kz</a:t>
              </a:r>
              <a:endParaRPr lang="en-US" sz="8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315" name="TextBox 314">
              <a:extLst>
                <a:ext uri="{FF2B5EF4-FFF2-40B4-BE49-F238E27FC236}">
                  <a16:creationId xmlns:a16="http://schemas.microsoft.com/office/drawing/2014/main" id="{7AE17432-C100-40DE-B508-E6999621A293}"/>
                </a:ext>
              </a:extLst>
            </p:cNvPr>
            <p:cNvSpPr txBox="1"/>
            <p:nvPr/>
          </p:nvSpPr>
          <p:spPr>
            <a:xfrm>
              <a:off x="4262013" y="4269724"/>
              <a:ext cx="1704647" cy="8718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Приведение заявок потенциальных поставщиков  </a:t>
              </a:r>
              <a:r>
                <a:rPr lang="ru-RU" sz="800" b="1" dirty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в </a:t>
              </a:r>
              <a:r>
                <a:rPr lang="ru-RU" sz="800" b="1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соответствие</a:t>
              </a:r>
            </a:p>
            <a:p>
              <a:pPr algn="ctr"/>
              <a:r>
                <a:rPr lang="en-US" sz="800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  <a:hlinkClick r:id="rId2"/>
                </a:rPr>
                <a:t>https</a:t>
              </a:r>
              <a:r>
                <a:rPr lang="en-US" sz="800" dirty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  <a:hlinkClick r:id="rId2"/>
                </a:rPr>
                <a:t>://</a:t>
              </a:r>
              <a:r>
                <a:rPr lang="en-US" sz="800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  <a:hlinkClick r:id="rId2"/>
                </a:rPr>
                <a:t>fms.ecc.kz</a:t>
              </a:r>
              <a:endParaRPr lang="en-US" sz="8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319" name="TextBox 318">
              <a:extLst>
                <a:ext uri="{FF2B5EF4-FFF2-40B4-BE49-F238E27FC236}">
                  <a16:creationId xmlns:a16="http://schemas.microsoft.com/office/drawing/2014/main" id="{D025EBBC-6E6E-45BC-9338-62CD5DF6E9B0}"/>
                </a:ext>
              </a:extLst>
            </p:cNvPr>
            <p:cNvSpPr txBox="1"/>
            <p:nvPr/>
          </p:nvSpPr>
          <p:spPr>
            <a:xfrm>
              <a:off x="8536940" y="4301909"/>
              <a:ext cx="1646902" cy="8718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Проведение аукциона на веб-портале и публикация протокола итогов</a:t>
              </a:r>
            </a:p>
            <a:p>
              <a:pPr algn="ctr"/>
              <a:r>
                <a:rPr lang="en-US" sz="800" dirty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  <a:hlinkClick r:id="rId2"/>
                </a:rPr>
                <a:t>https://</a:t>
              </a:r>
              <a:r>
                <a:rPr lang="en-US" sz="800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  <a:hlinkClick r:id="rId2"/>
                </a:rPr>
                <a:t>fms.ecc.kz</a:t>
              </a:r>
              <a:endParaRPr lang="en-US" sz="8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FD433CF5-A1A1-4EAA-9989-030975A76603}"/>
                </a:ext>
              </a:extLst>
            </p:cNvPr>
            <p:cNvSpPr txBox="1"/>
            <p:nvPr/>
          </p:nvSpPr>
          <p:spPr>
            <a:xfrm>
              <a:off x="10501590" y="4528338"/>
              <a:ext cx="1663736" cy="568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Заключение ДД на основании протокола итогов</a:t>
              </a:r>
              <a:endParaRPr lang="ru-RU" sz="8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cxnSp>
          <p:nvCxnSpPr>
            <p:cNvPr id="337" name="Straight Connector 34">
              <a:extLst>
                <a:ext uri="{FF2B5EF4-FFF2-40B4-BE49-F238E27FC236}">
                  <a16:creationId xmlns:a16="http://schemas.microsoft.com/office/drawing/2014/main" id="{EC621C7F-0B7E-4EDF-991C-44069D7AE6E3}"/>
                </a:ext>
              </a:extLst>
            </p:cNvPr>
            <p:cNvCxnSpPr>
              <a:cxnSpLocks/>
              <a:stCxn id="54" idx="1"/>
            </p:cNvCxnSpPr>
            <p:nvPr/>
          </p:nvCxnSpPr>
          <p:spPr>
            <a:xfrm>
              <a:off x="6721343" y="2096062"/>
              <a:ext cx="2829030" cy="6639"/>
            </a:xfrm>
            <a:prstGeom prst="line">
              <a:avLst/>
            </a:prstGeom>
            <a:ln w="136525">
              <a:solidFill>
                <a:srgbClr val="DB8B5A"/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9" name="Straight Connector 34">
              <a:extLst>
                <a:ext uri="{FF2B5EF4-FFF2-40B4-BE49-F238E27FC236}">
                  <a16:creationId xmlns:a16="http://schemas.microsoft.com/office/drawing/2014/main" id="{1B1B0269-1B39-4A3F-834A-0C02F5B869FE}"/>
                </a:ext>
              </a:extLst>
            </p:cNvPr>
            <p:cNvCxnSpPr>
              <a:cxnSpLocks/>
            </p:cNvCxnSpPr>
            <p:nvPr/>
          </p:nvCxnSpPr>
          <p:spPr>
            <a:xfrm>
              <a:off x="5814046" y="3855886"/>
              <a:ext cx="2001582" cy="0"/>
            </a:xfrm>
            <a:prstGeom prst="line">
              <a:avLst/>
            </a:prstGeom>
            <a:ln w="136525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2" name="Straight Connector 34">
              <a:extLst>
                <a:ext uri="{FF2B5EF4-FFF2-40B4-BE49-F238E27FC236}">
                  <a16:creationId xmlns:a16="http://schemas.microsoft.com/office/drawing/2014/main" id="{2C3D5051-B8E2-4AE4-B186-E02C45385EA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53307" y="3855850"/>
              <a:ext cx="3095264" cy="812"/>
            </a:xfrm>
            <a:prstGeom prst="line">
              <a:avLst/>
            </a:prstGeom>
            <a:ln w="136525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5" name="Oval 19">
              <a:extLst>
                <a:ext uri="{FF2B5EF4-FFF2-40B4-BE49-F238E27FC236}">
                  <a16:creationId xmlns:a16="http://schemas.microsoft.com/office/drawing/2014/main" id="{92CF7CED-4202-4442-BE83-CF062CF0CCE3}"/>
                </a:ext>
              </a:extLst>
            </p:cNvPr>
            <p:cNvSpPr/>
            <p:nvPr/>
          </p:nvSpPr>
          <p:spPr>
            <a:xfrm>
              <a:off x="7528631" y="1693388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DB8A59"/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>
                  <a:solidFill>
                    <a:srgbClr val="C00000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~</a:t>
              </a:r>
              <a:endParaRPr lang="en-IN" sz="800" dirty="0">
                <a:solidFill>
                  <a:srgbClr val="C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326" name="Oval 19">
              <a:extLst>
                <a:ext uri="{FF2B5EF4-FFF2-40B4-BE49-F238E27FC236}">
                  <a16:creationId xmlns:a16="http://schemas.microsoft.com/office/drawing/2014/main" id="{AB3D7A92-7ADD-41CC-AFE7-60FFE6A3E278}"/>
                </a:ext>
              </a:extLst>
            </p:cNvPr>
            <p:cNvSpPr/>
            <p:nvPr/>
          </p:nvSpPr>
          <p:spPr>
            <a:xfrm>
              <a:off x="4615873" y="5295799"/>
              <a:ext cx="1028999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600" dirty="0" smtClean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3</a:t>
              </a:r>
              <a:endParaRPr lang="ru-RU" sz="600" dirty="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  <a:p>
              <a:pPr algn="ctr"/>
              <a:r>
                <a:rPr lang="ru-RU" sz="600" dirty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р.д</a:t>
              </a:r>
              <a:endParaRPr lang="en-IN" sz="600" dirty="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327" name="Oval 19">
              <a:extLst>
                <a:ext uri="{FF2B5EF4-FFF2-40B4-BE49-F238E27FC236}">
                  <a16:creationId xmlns:a16="http://schemas.microsoft.com/office/drawing/2014/main" id="{362C4D8E-8A96-4D81-B28D-84A62A4EBB92}"/>
                </a:ext>
              </a:extLst>
            </p:cNvPr>
            <p:cNvSpPr/>
            <p:nvPr/>
          </p:nvSpPr>
          <p:spPr>
            <a:xfrm>
              <a:off x="8865855" y="5321802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600" dirty="0" smtClean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Через 1 </a:t>
              </a:r>
              <a:r>
                <a:rPr lang="ru-RU" sz="600" dirty="0" err="1" smtClean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р.д</a:t>
              </a:r>
              <a:r>
                <a:rPr lang="ru-RU" sz="600" dirty="0" smtClean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.</a:t>
              </a:r>
              <a:endParaRPr lang="en-IN" sz="600" dirty="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328" name="Oval 19">
              <a:extLst>
                <a:ext uri="{FF2B5EF4-FFF2-40B4-BE49-F238E27FC236}">
                  <a16:creationId xmlns:a16="http://schemas.microsoft.com/office/drawing/2014/main" id="{9284CFD9-491B-4618-BDA4-303A57CFCDD6}"/>
                </a:ext>
              </a:extLst>
            </p:cNvPr>
            <p:cNvSpPr/>
            <p:nvPr/>
          </p:nvSpPr>
          <p:spPr>
            <a:xfrm>
              <a:off x="10818959" y="5280436"/>
              <a:ext cx="1028997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600" dirty="0" smtClean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7 </a:t>
              </a:r>
              <a:r>
                <a:rPr lang="ru-RU" sz="600" dirty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р.д</a:t>
              </a:r>
              <a:r>
                <a:rPr lang="ru-RU" sz="800" dirty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.</a:t>
              </a:r>
              <a:endParaRPr lang="en-IN" sz="800" dirty="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280" name="Oval 19">
              <a:extLst>
                <a:ext uri="{FF2B5EF4-FFF2-40B4-BE49-F238E27FC236}">
                  <a16:creationId xmlns:a16="http://schemas.microsoft.com/office/drawing/2014/main" id="{893E5142-6E55-4A1D-A899-94C411BB60B0}"/>
                </a:ext>
              </a:extLst>
            </p:cNvPr>
            <p:cNvSpPr/>
            <p:nvPr/>
          </p:nvSpPr>
          <p:spPr>
            <a:xfrm>
              <a:off x="7529498" y="3540617"/>
              <a:ext cx="1028998" cy="628907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600" dirty="0" smtClean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В течении </a:t>
              </a:r>
              <a:r>
                <a:rPr lang="en-US" sz="600" dirty="0" smtClean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3</a:t>
              </a:r>
              <a:r>
                <a:rPr lang="ru-RU" sz="600" dirty="0" smtClean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 </a:t>
              </a:r>
              <a:r>
                <a:rPr lang="ru-RU" sz="600" dirty="0" err="1" smtClean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р.д</a:t>
              </a:r>
              <a:r>
                <a:rPr lang="ru-RU" sz="600" dirty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.</a:t>
              </a:r>
              <a:endParaRPr lang="en-IN" sz="600" dirty="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54" name="Стрелка: шеврон 53">
              <a:extLst>
                <a:ext uri="{FF2B5EF4-FFF2-40B4-BE49-F238E27FC236}">
                  <a16:creationId xmlns:a16="http://schemas.microsoft.com/office/drawing/2014/main" id="{39C05B9A-62E2-4979-B7B1-727A88726D8E}"/>
                </a:ext>
              </a:extLst>
            </p:cNvPr>
            <p:cNvSpPr/>
            <p:nvPr/>
          </p:nvSpPr>
          <p:spPr>
            <a:xfrm>
              <a:off x="6746709" y="1968869"/>
              <a:ext cx="235018" cy="254386"/>
            </a:xfrm>
            <a:prstGeom prst="chevron">
              <a:avLst/>
            </a:prstGeom>
            <a:solidFill>
              <a:schemeClr val="bg1"/>
            </a:solidFill>
            <a:ln w="12700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80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55" name="Стрелка: шеврон 54">
              <a:extLst>
                <a:ext uri="{FF2B5EF4-FFF2-40B4-BE49-F238E27FC236}">
                  <a16:creationId xmlns:a16="http://schemas.microsoft.com/office/drawing/2014/main" id="{F58E270B-32B8-4FE7-9940-25659A39F3EA}"/>
                </a:ext>
              </a:extLst>
            </p:cNvPr>
            <p:cNvSpPr/>
            <p:nvPr/>
          </p:nvSpPr>
          <p:spPr>
            <a:xfrm>
              <a:off x="9315355" y="1986923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DB8B5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80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56" name="Стрелка: шеврон 55">
              <a:extLst>
                <a:ext uri="{FF2B5EF4-FFF2-40B4-BE49-F238E27FC236}">
                  <a16:creationId xmlns:a16="http://schemas.microsoft.com/office/drawing/2014/main" id="{526A4892-B459-418C-B6FC-340ABE982615}"/>
                </a:ext>
              </a:extLst>
            </p:cNvPr>
            <p:cNvSpPr/>
            <p:nvPr/>
          </p:nvSpPr>
          <p:spPr>
            <a:xfrm rot="10354895">
              <a:off x="9352090" y="3721295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80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57" name="Стрелка: шеврон 56">
              <a:extLst>
                <a:ext uri="{FF2B5EF4-FFF2-40B4-BE49-F238E27FC236}">
                  <a16:creationId xmlns:a16="http://schemas.microsoft.com/office/drawing/2014/main" id="{219DA0A4-E780-4232-B30B-C1F2B41F79A7}"/>
                </a:ext>
              </a:extLst>
            </p:cNvPr>
            <p:cNvSpPr/>
            <p:nvPr/>
          </p:nvSpPr>
          <p:spPr>
            <a:xfrm rot="10800000">
              <a:off x="6785487" y="3747709"/>
              <a:ext cx="235018" cy="21624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80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62" name="Стрелка: шеврон 61">
              <a:extLst>
                <a:ext uri="{FF2B5EF4-FFF2-40B4-BE49-F238E27FC236}">
                  <a16:creationId xmlns:a16="http://schemas.microsoft.com/office/drawing/2014/main" id="{BD525210-F22A-47CA-8BCC-30BDBA9FC58C}"/>
                </a:ext>
              </a:extLst>
            </p:cNvPr>
            <p:cNvSpPr/>
            <p:nvPr/>
          </p:nvSpPr>
          <p:spPr>
            <a:xfrm flipH="1">
              <a:off x="1906295" y="3729607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80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63" name="Стрелка: шеврон 62">
              <a:extLst>
                <a:ext uri="{FF2B5EF4-FFF2-40B4-BE49-F238E27FC236}">
                  <a16:creationId xmlns:a16="http://schemas.microsoft.com/office/drawing/2014/main" id="{FFC8B245-F42B-44EE-B8B7-78E604E002E5}"/>
                </a:ext>
              </a:extLst>
            </p:cNvPr>
            <p:cNvSpPr/>
            <p:nvPr/>
          </p:nvSpPr>
          <p:spPr>
            <a:xfrm>
              <a:off x="3952411" y="5509420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80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64" name="Стрелка: шеврон 63">
              <a:extLst>
                <a:ext uri="{FF2B5EF4-FFF2-40B4-BE49-F238E27FC236}">
                  <a16:creationId xmlns:a16="http://schemas.microsoft.com/office/drawing/2014/main" id="{B2C0FC39-72A8-4D64-914C-09D2E26C1414}"/>
                </a:ext>
              </a:extLst>
            </p:cNvPr>
            <p:cNvSpPr/>
            <p:nvPr/>
          </p:nvSpPr>
          <p:spPr>
            <a:xfrm>
              <a:off x="8122972" y="5509420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80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65" name="Стрелка: шеврон 64">
              <a:extLst>
                <a:ext uri="{FF2B5EF4-FFF2-40B4-BE49-F238E27FC236}">
                  <a16:creationId xmlns:a16="http://schemas.microsoft.com/office/drawing/2014/main" id="{090B1585-C360-42D1-8B01-95B88B191235}"/>
                </a:ext>
              </a:extLst>
            </p:cNvPr>
            <p:cNvSpPr/>
            <p:nvPr/>
          </p:nvSpPr>
          <p:spPr>
            <a:xfrm>
              <a:off x="10281803" y="5488518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01B0CC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80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73" name="Прямоугольник 72">
              <a:extLst>
                <a:ext uri="{FF2B5EF4-FFF2-40B4-BE49-F238E27FC236}">
                  <a16:creationId xmlns:a16="http://schemas.microsoft.com/office/drawing/2014/main" id="{C37144B2-00A3-48A5-9D8A-160B06543371}"/>
                </a:ext>
              </a:extLst>
            </p:cNvPr>
            <p:cNvSpPr/>
            <p:nvPr/>
          </p:nvSpPr>
          <p:spPr>
            <a:xfrm>
              <a:off x="83416" y="2644928"/>
              <a:ext cx="1853241" cy="7202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СК-Ф </a:t>
              </a:r>
              <a:r>
                <a:rPr lang="ru-RU" sz="800" b="1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направляет заявки в МЗРК для получения отраслевого заключения</a:t>
              </a:r>
            </a:p>
            <a:p>
              <a:pPr algn="ctr"/>
              <a:r>
                <a:rPr lang="en-US" sz="800" dirty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  <a:hlinkClick r:id="rId2"/>
                </a:rPr>
                <a:t>https://</a:t>
              </a:r>
              <a:r>
                <a:rPr lang="en-US" sz="800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  <a:hlinkClick r:id="rId2"/>
                </a:rPr>
                <a:t>fms.ecc.kz</a:t>
              </a:r>
              <a:endParaRPr lang="en-US" sz="8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75" name="Прямоугольник 74">
              <a:extLst>
                <a:ext uri="{FF2B5EF4-FFF2-40B4-BE49-F238E27FC236}">
                  <a16:creationId xmlns:a16="http://schemas.microsoft.com/office/drawing/2014/main" id="{570BE6D3-6415-4247-9785-91ED7817712B}"/>
                </a:ext>
              </a:extLst>
            </p:cNvPr>
            <p:cNvSpPr/>
            <p:nvPr/>
          </p:nvSpPr>
          <p:spPr>
            <a:xfrm>
              <a:off x="2461775" y="2641484"/>
              <a:ext cx="1550129" cy="8718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СК-Ф публикует протокол вскрытия заявок на веб-портале</a:t>
              </a:r>
            </a:p>
            <a:p>
              <a:pPr algn="ctr"/>
              <a:r>
                <a:rPr lang="en-US" sz="800" dirty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  <a:hlinkClick r:id="rId2"/>
                </a:rPr>
                <a:t>https://</a:t>
              </a:r>
              <a:r>
                <a:rPr lang="en-US" sz="800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  <a:hlinkClick r:id="rId2"/>
                </a:rPr>
                <a:t>fms.ecc.kz</a:t>
              </a:r>
              <a:endParaRPr lang="en-US" sz="8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76" name="Oval 19">
              <a:extLst>
                <a:ext uri="{FF2B5EF4-FFF2-40B4-BE49-F238E27FC236}">
                  <a16:creationId xmlns:a16="http://schemas.microsoft.com/office/drawing/2014/main" id="{FD08B64B-8298-4970-AB55-3C500F499F0B}"/>
                </a:ext>
              </a:extLst>
            </p:cNvPr>
            <p:cNvSpPr/>
            <p:nvPr/>
          </p:nvSpPr>
          <p:spPr>
            <a:xfrm>
              <a:off x="2419505" y="3523761"/>
              <a:ext cx="156708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600" dirty="0" smtClean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По истечении срока приема заявок </a:t>
              </a:r>
              <a:endParaRPr lang="en-IN" sz="600" dirty="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83" name="Прямоугольник 82">
              <a:extLst>
                <a:ext uri="{FF2B5EF4-FFF2-40B4-BE49-F238E27FC236}">
                  <a16:creationId xmlns:a16="http://schemas.microsoft.com/office/drawing/2014/main" id="{AA29E86C-8648-49C2-9FA0-D98234235A42}"/>
                </a:ext>
              </a:extLst>
            </p:cNvPr>
            <p:cNvSpPr/>
            <p:nvPr/>
          </p:nvSpPr>
          <p:spPr>
            <a:xfrm>
              <a:off x="4836900" y="2680425"/>
              <a:ext cx="1721669" cy="7202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Регистрация потенциальных поставщиков и подача заявки на веб-портале</a:t>
              </a:r>
              <a:endParaRPr lang="ru-RU" sz="800" b="1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70" name="Прямоугольник 69">
              <a:extLst>
                <a:ext uri="{FF2B5EF4-FFF2-40B4-BE49-F238E27FC236}">
                  <a16:creationId xmlns:a16="http://schemas.microsoft.com/office/drawing/2014/main" id="{AA29E86C-8648-49C2-9FA0-D98234235A42}"/>
                </a:ext>
              </a:extLst>
            </p:cNvPr>
            <p:cNvSpPr/>
            <p:nvPr/>
          </p:nvSpPr>
          <p:spPr>
            <a:xfrm>
              <a:off x="7150945" y="875067"/>
              <a:ext cx="1864852" cy="7202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Заседание формулярной комиссии, согласование МЗРК проекта номенклатуры</a:t>
              </a:r>
              <a:endParaRPr lang="ru-RU" sz="800" b="1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643670" y="5345110"/>
              <a:ext cx="658425" cy="658425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6644432">
              <a:off x="6883" y="4424661"/>
              <a:ext cx="658425" cy="658425"/>
            </a:xfrm>
            <a:prstGeom prst="rect">
              <a:avLst/>
            </a:prstGeom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7122908">
              <a:off x="3922821" y="3376759"/>
              <a:ext cx="902286" cy="896190"/>
            </a:xfrm>
            <a:prstGeom prst="rect">
              <a:avLst/>
            </a:prstGeom>
          </p:spPr>
        </p:pic>
        <p:sp>
          <p:nvSpPr>
            <p:cNvPr id="60" name="Прямоугольник 59">
              <a:extLst>
                <a:ext uri="{FF2B5EF4-FFF2-40B4-BE49-F238E27FC236}">
                  <a16:creationId xmlns:a16="http://schemas.microsoft.com/office/drawing/2014/main" id="{DC95A62B-54B7-4119-843E-A8CA9EF4BE3E}"/>
                </a:ext>
              </a:extLst>
            </p:cNvPr>
            <p:cNvSpPr/>
            <p:nvPr/>
          </p:nvSpPr>
          <p:spPr>
            <a:xfrm>
              <a:off x="120773" y="1018751"/>
              <a:ext cx="1654206" cy="4909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ОТП </a:t>
              </a:r>
              <a:r>
                <a:rPr lang="ru-RU" sz="800" b="1" dirty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направляют </a:t>
              </a:r>
              <a:r>
                <a:rPr lang="ru-RU" sz="800" b="1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заявку-намерение </a:t>
              </a:r>
              <a:r>
                <a:rPr lang="ru-RU" sz="800" b="1" dirty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в СК-Ф </a:t>
              </a:r>
              <a:endParaRPr lang="ru-RU" sz="800" b="1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61" name="Стрелка: шеврон 53">
              <a:extLst>
                <a:ext uri="{FF2B5EF4-FFF2-40B4-BE49-F238E27FC236}">
                  <a16:creationId xmlns:a16="http://schemas.microsoft.com/office/drawing/2014/main" id="{39C05B9A-62E2-4979-B7B1-727A88726D8E}"/>
                </a:ext>
              </a:extLst>
            </p:cNvPr>
            <p:cNvSpPr/>
            <p:nvPr/>
          </p:nvSpPr>
          <p:spPr>
            <a:xfrm>
              <a:off x="1922358" y="1960549"/>
              <a:ext cx="235018" cy="254386"/>
            </a:xfrm>
            <a:prstGeom prst="chevron">
              <a:avLst/>
            </a:prstGeom>
            <a:solidFill>
              <a:schemeClr val="bg1"/>
            </a:solidFill>
            <a:ln w="12700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80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79" name="Oval 19">
              <a:extLst>
                <a:ext uri="{FF2B5EF4-FFF2-40B4-BE49-F238E27FC236}">
                  <a16:creationId xmlns:a16="http://schemas.microsoft.com/office/drawing/2014/main" id="{AB3D7A92-7ADD-41CC-AFE7-60FFE6A3E278}"/>
                </a:ext>
              </a:extLst>
            </p:cNvPr>
            <p:cNvSpPr/>
            <p:nvPr/>
          </p:nvSpPr>
          <p:spPr>
            <a:xfrm>
              <a:off x="6638677" y="5350536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600" dirty="0" smtClean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5</a:t>
              </a:r>
              <a:endParaRPr lang="ru-RU" sz="600" dirty="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  <a:p>
              <a:pPr algn="ctr"/>
              <a:r>
                <a:rPr lang="ru-RU" sz="600" dirty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р.д.</a:t>
              </a:r>
              <a:endParaRPr lang="en-IN" sz="600" dirty="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4" name="Прямоугольник 3"/>
            <p:cNvSpPr/>
            <p:nvPr/>
          </p:nvSpPr>
          <p:spPr>
            <a:xfrm>
              <a:off x="6219999" y="4491648"/>
              <a:ext cx="1861889" cy="7202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800" b="1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Рассмотрение комиссией дополнений </a:t>
              </a:r>
              <a:r>
                <a:rPr lang="ru-RU" sz="800" b="1" dirty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к заявкам </a:t>
              </a:r>
              <a:r>
                <a:rPr lang="ru-RU" sz="800" dirty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(протокол допуска</a:t>
              </a:r>
              <a:r>
                <a:rPr lang="ru-RU" sz="800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)</a:t>
              </a:r>
            </a:p>
            <a:p>
              <a:pPr algn="ctr"/>
              <a:r>
                <a:rPr lang="en-US" sz="800" dirty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  <a:hlinkClick r:id="rId2"/>
                </a:rPr>
                <a:t>https://</a:t>
              </a:r>
              <a:r>
                <a:rPr lang="en-US" sz="800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  <a:hlinkClick r:id="rId2"/>
                </a:rPr>
                <a:t>fms.ecc.kz</a:t>
              </a:r>
              <a:endParaRPr lang="en-US" sz="8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81" name="Стрелка: шеврон 62">
              <a:extLst>
                <a:ext uri="{FF2B5EF4-FFF2-40B4-BE49-F238E27FC236}">
                  <a16:creationId xmlns:a16="http://schemas.microsoft.com/office/drawing/2014/main" id="{FFC8B245-F42B-44EE-B8B7-78E604E002E5}"/>
                </a:ext>
              </a:extLst>
            </p:cNvPr>
            <p:cNvSpPr/>
            <p:nvPr/>
          </p:nvSpPr>
          <p:spPr>
            <a:xfrm>
              <a:off x="6039131" y="5509420"/>
              <a:ext cx="235018" cy="254386"/>
            </a:xfrm>
            <a:prstGeom prst="chevron">
              <a:avLst/>
            </a:prstGeom>
            <a:solidFill>
              <a:schemeClr val="bg1"/>
            </a:solidFill>
            <a:ln w="190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80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77" name="Oval 19">
              <a:extLst>
                <a:ext uri="{FF2B5EF4-FFF2-40B4-BE49-F238E27FC236}">
                  <a16:creationId xmlns:a16="http://schemas.microsoft.com/office/drawing/2014/main" id="{92CF7CED-4202-4442-BE83-CF062CF0CCE3}"/>
                </a:ext>
              </a:extLst>
            </p:cNvPr>
            <p:cNvSpPr/>
            <p:nvPr/>
          </p:nvSpPr>
          <p:spPr>
            <a:xfrm>
              <a:off x="5162251" y="1734105"/>
              <a:ext cx="1111897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600" dirty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До 1 марта</a:t>
              </a:r>
              <a:endParaRPr lang="en-IN" sz="600" dirty="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82" name="Стрелка: шеврон 53">
              <a:extLst>
                <a:ext uri="{FF2B5EF4-FFF2-40B4-BE49-F238E27FC236}">
                  <a16:creationId xmlns:a16="http://schemas.microsoft.com/office/drawing/2014/main" id="{39C05B9A-62E2-4979-B7B1-727A88726D8E}"/>
                </a:ext>
              </a:extLst>
            </p:cNvPr>
            <p:cNvSpPr/>
            <p:nvPr/>
          </p:nvSpPr>
          <p:spPr>
            <a:xfrm>
              <a:off x="4339231" y="1960549"/>
              <a:ext cx="235018" cy="254386"/>
            </a:xfrm>
            <a:prstGeom prst="chevron">
              <a:avLst/>
            </a:prstGeom>
            <a:solidFill>
              <a:schemeClr val="bg1"/>
            </a:solidFill>
            <a:ln w="12700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80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84" name="Прямоугольник 83">
              <a:extLst>
                <a:ext uri="{FF2B5EF4-FFF2-40B4-BE49-F238E27FC236}">
                  <a16:creationId xmlns:a16="http://schemas.microsoft.com/office/drawing/2014/main" id="{DC95A62B-54B7-4119-843E-A8CA9EF4BE3E}"/>
                </a:ext>
              </a:extLst>
            </p:cNvPr>
            <p:cNvSpPr/>
            <p:nvPr/>
          </p:nvSpPr>
          <p:spPr>
            <a:xfrm>
              <a:off x="4637485" y="876599"/>
              <a:ext cx="2226103" cy="7202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800" b="1" dirty="0" smtClean="0"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СК-Ф направляет проект номенклатуры ЛС и МИ для одобрения формулярной комиссией</a:t>
              </a:r>
              <a:endParaRPr lang="id-ID" sz="8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85" name="Oval 19">
              <a:extLst>
                <a:ext uri="{FF2B5EF4-FFF2-40B4-BE49-F238E27FC236}">
                  <a16:creationId xmlns:a16="http://schemas.microsoft.com/office/drawing/2014/main" id="{92CF7CED-4202-4442-BE83-CF062CF0CCE3}"/>
                </a:ext>
              </a:extLst>
            </p:cNvPr>
            <p:cNvSpPr/>
            <p:nvPr/>
          </p:nvSpPr>
          <p:spPr>
            <a:xfrm>
              <a:off x="2685360" y="1724864"/>
              <a:ext cx="1222406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600" dirty="0" smtClean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До 31 декабря</a:t>
              </a:r>
              <a:endParaRPr lang="en-IN" sz="600" dirty="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86" name="Oval 19">
              <a:extLst>
                <a:ext uri="{FF2B5EF4-FFF2-40B4-BE49-F238E27FC236}">
                  <a16:creationId xmlns:a16="http://schemas.microsoft.com/office/drawing/2014/main" id="{92CF7CED-4202-4442-BE83-CF062CF0CCE3}"/>
                </a:ext>
              </a:extLst>
            </p:cNvPr>
            <p:cNvSpPr/>
            <p:nvPr/>
          </p:nvSpPr>
          <p:spPr>
            <a:xfrm>
              <a:off x="358258" y="1761431"/>
              <a:ext cx="1177537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E3671B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600" dirty="0" smtClean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При необходимости</a:t>
              </a:r>
              <a:endParaRPr lang="en-IN" sz="600" dirty="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87" name="Oval 19">
              <a:extLst>
                <a:ext uri="{FF2B5EF4-FFF2-40B4-BE49-F238E27FC236}">
                  <a16:creationId xmlns:a16="http://schemas.microsoft.com/office/drawing/2014/main" id="{92CF7CED-4202-4442-BE83-CF062CF0CCE3}"/>
                </a:ext>
              </a:extLst>
            </p:cNvPr>
            <p:cNvSpPr/>
            <p:nvPr/>
          </p:nvSpPr>
          <p:spPr>
            <a:xfrm>
              <a:off x="9439775" y="2550399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00" dirty="0">
                  <a:solidFill>
                    <a:srgbClr val="C00000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~</a:t>
              </a:r>
              <a:endParaRPr lang="en-IN" sz="800" dirty="0">
                <a:solidFill>
                  <a:srgbClr val="C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88" name="Oval 19">
              <a:extLst>
                <a:ext uri="{FF2B5EF4-FFF2-40B4-BE49-F238E27FC236}">
                  <a16:creationId xmlns:a16="http://schemas.microsoft.com/office/drawing/2014/main" id="{893E5142-6E55-4A1D-A899-94C411BB60B0}"/>
                </a:ext>
              </a:extLst>
            </p:cNvPr>
            <p:cNvSpPr/>
            <p:nvPr/>
          </p:nvSpPr>
          <p:spPr>
            <a:xfrm>
              <a:off x="5153491" y="3532900"/>
              <a:ext cx="1028998" cy="628907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C273A4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600" dirty="0" smtClean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В течении 20 </a:t>
              </a:r>
              <a:r>
                <a:rPr lang="ru-RU" sz="600" dirty="0" err="1" smtClean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к.д</a:t>
              </a:r>
              <a:r>
                <a:rPr lang="ru-RU" sz="600" dirty="0" smtClean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.</a:t>
              </a:r>
              <a:endParaRPr lang="en-IN" sz="600" dirty="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89" name="Oval 19">
              <a:extLst>
                <a:ext uri="{FF2B5EF4-FFF2-40B4-BE49-F238E27FC236}">
                  <a16:creationId xmlns:a16="http://schemas.microsoft.com/office/drawing/2014/main" id="{FD08B64B-8298-4970-AB55-3C500F499F0B}"/>
                </a:ext>
              </a:extLst>
            </p:cNvPr>
            <p:cNvSpPr/>
            <p:nvPr/>
          </p:nvSpPr>
          <p:spPr>
            <a:xfrm>
              <a:off x="385973" y="3566236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600" dirty="0" smtClean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В течении 2 </a:t>
              </a:r>
              <a:r>
                <a:rPr lang="ru-RU" sz="600" dirty="0" err="1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р.д</a:t>
              </a:r>
              <a:r>
                <a:rPr lang="ru-RU" sz="600" dirty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.</a:t>
              </a:r>
              <a:endParaRPr lang="en-IN" sz="600" dirty="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90" name="Oval 19">
              <a:extLst>
                <a:ext uri="{FF2B5EF4-FFF2-40B4-BE49-F238E27FC236}">
                  <a16:creationId xmlns:a16="http://schemas.microsoft.com/office/drawing/2014/main" id="{FD08B64B-8298-4970-AB55-3C500F499F0B}"/>
                </a:ext>
              </a:extLst>
            </p:cNvPr>
            <p:cNvSpPr/>
            <p:nvPr/>
          </p:nvSpPr>
          <p:spPr>
            <a:xfrm>
              <a:off x="420008" y="5295799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600" dirty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В течении </a:t>
              </a:r>
              <a:r>
                <a:rPr lang="ru-RU" sz="600" dirty="0" smtClean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20 </a:t>
              </a:r>
              <a:r>
                <a:rPr lang="ru-RU" sz="600" dirty="0" err="1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р.д</a:t>
              </a:r>
              <a:r>
                <a:rPr lang="ru-RU" sz="600" dirty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.</a:t>
              </a:r>
              <a:endParaRPr lang="en-IN" sz="600" dirty="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91" name="Oval 19">
              <a:extLst>
                <a:ext uri="{FF2B5EF4-FFF2-40B4-BE49-F238E27FC236}">
                  <a16:creationId xmlns:a16="http://schemas.microsoft.com/office/drawing/2014/main" id="{FD08B64B-8298-4970-AB55-3C500F499F0B}"/>
                </a:ext>
              </a:extLst>
            </p:cNvPr>
            <p:cNvSpPr/>
            <p:nvPr/>
          </p:nvSpPr>
          <p:spPr>
            <a:xfrm>
              <a:off x="2452344" y="5302462"/>
              <a:ext cx="1028998" cy="652999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6E5BAA">
                  <a:alpha val="65000"/>
                </a:srgbClr>
              </a:solidFill>
            </a:ln>
            <a:effectLst>
              <a:outerShdw blurRad="1905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600" dirty="0" smtClean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В течении 10 </a:t>
              </a:r>
              <a:r>
                <a:rPr lang="ru-RU" sz="600" dirty="0" err="1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р.д</a:t>
              </a:r>
              <a:r>
                <a:rPr lang="ru-RU" sz="600" dirty="0">
                  <a:solidFill>
                    <a:srgbClr val="3F3F3F"/>
                  </a:solidFill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.</a:t>
              </a:r>
              <a:endParaRPr lang="en-IN" sz="600" dirty="0">
                <a:solidFill>
                  <a:srgbClr val="3F3F3F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</p:grp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0E16A89E-D1C9-4283-815F-E7AFDE5FA78B}"/>
              </a:ext>
            </a:extLst>
          </p:cNvPr>
          <p:cNvSpPr/>
          <p:nvPr/>
        </p:nvSpPr>
        <p:spPr>
          <a:xfrm>
            <a:off x="9822375" y="1567958"/>
            <a:ext cx="14525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СК-Ф утверждает номенклатуру ЛС и МИ на заключение ДД и формирует комиссию по проведению конкурса на заключение ДД</a:t>
            </a:r>
            <a:endParaRPr lang="ru-RU" sz="800" dirty="0" smtClean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AA29E86C-8648-49C2-9FA0-D98234235A42}"/>
              </a:ext>
            </a:extLst>
          </p:cNvPr>
          <p:cNvSpPr/>
          <p:nvPr/>
        </p:nvSpPr>
        <p:spPr>
          <a:xfrm>
            <a:off x="6699672" y="1853285"/>
            <a:ext cx="19681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СК-Ф публикует объявление о проведении конкурса на заключение ДД на веб-портале</a:t>
            </a:r>
            <a:endParaRPr lang="en-US" sz="800" b="1" dirty="0" smtClean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algn="ctr"/>
            <a:r>
              <a:rPr lang="en-US" sz="8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  <a:hlinkClick r:id="rId2"/>
              </a:rPr>
              <a:t>https://</a:t>
            </a:r>
            <a:r>
              <a:rPr lang="en-US" sz="8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  <a:hlinkClick r:id="rId2"/>
              </a:rPr>
              <a:t>fms.ecc.kz</a:t>
            </a:r>
            <a:endParaRPr lang="en-US" sz="800" dirty="0" smtClean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100" name="Freeform 44"/>
          <p:cNvSpPr>
            <a:spLocks/>
          </p:cNvSpPr>
          <p:nvPr/>
        </p:nvSpPr>
        <p:spPr bwMode="auto">
          <a:xfrm>
            <a:off x="2328742" y="6015360"/>
            <a:ext cx="404813" cy="282575"/>
          </a:xfrm>
          <a:custGeom>
            <a:avLst/>
            <a:gdLst>
              <a:gd name="T0" fmla="*/ 129 w 255"/>
              <a:gd name="T1" fmla="*/ 0 h 178"/>
              <a:gd name="T2" fmla="*/ 0 w 255"/>
              <a:gd name="T3" fmla="*/ 173 h 178"/>
              <a:gd name="T4" fmla="*/ 8 w 255"/>
              <a:gd name="T5" fmla="*/ 178 h 178"/>
              <a:gd name="T6" fmla="*/ 46 w 255"/>
              <a:gd name="T7" fmla="*/ 148 h 178"/>
              <a:gd name="T8" fmla="*/ 86 w 255"/>
              <a:gd name="T9" fmla="*/ 178 h 178"/>
              <a:gd name="T10" fmla="*/ 124 w 255"/>
              <a:gd name="T11" fmla="*/ 148 h 178"/>
              <a:gd name="T12" fmla="*/ 164 w 255"/>
              <a:gd name="T13" fmla="*/ 178 h 178"/>
              <a:gd name="T14" fmla="*/ 202 w 255"/>
              <a:gd name="T15" fmla="*/ 148 h 178"/>
              <a:gd name="T16" fmla="*/ 242 w 255"/>
              <a:gd name="T17" fmla="*/ 178 h 178"/>
              <a:gd name="T18" fmla="*/ 255 w 255"/>
              <a:gd name="T19" fmla="*/ 169 h 178"/>
              <a:gd name="T20" fmla="*/ 129 w 255"/>
              <a:gd name="T21" fmla="*/ 0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55" h="178">
                <a:moveTo>
                  <a:pt x="129" y="0"/>
                </a:moveTo>
                <a:lnTo>
                  <a:pt x="0" y="173"/>
                </a:lnTo>
                <a:lnTo>
                  <a:pt x="8" y="178"/>
                </a:lnTo>
                <a:lnTo>
                  <a:pt x="46" y="148"/>
                </a:lnTo>
                <a:lnTo>
                  <a:pt x="86" y="178"/>
                </a:lnTo>
                <a:lnTo>
                  <a:pt x="124" y="148"/>
                </a:lnTo>
                <a:lnTo>
                  <a:pt x="164" y="178"/>
                </a:lnTo>
                <a:lnTo>
                  <a:pt x="202" y="148"/>
                </a:lnTo>
                <a:lnTo>
                  <a:pt x="242" y="178"/>
                </a:lnTo>
                <a:lnTo>
                  <a:pt x="255" y="169"/>
                </a:lnTo>
                <a:lnTo>
                  <a:pt x="129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101" name="Freeform 50"/>
          <p:cNvSpPr>
            <a:spLocks/>
          </p:cNvSpPr>
          <p:nvPr/>
        </p:nvSpPr>
        <p:spPr bwMode="auto">
          <a:xfrm>
            <a:off x="2328742" y="6015360"/>
            <a:ext cx="206375" cy="282575"/>
          </a:xfrm>
          <a:custGeom>
            <a:avLst/>
            <a:gdLst>
              <a:gd name="T0" fmla="*/ 129 w 130"/>
              <a:gd name="T1" fmla="*/ 0 h 178"/>
              <a:gd name="T2" fmla="*/ 129 w 130"/>
              <a:gd name="T3" fmla="*/ 0 h 178"/>
              <a:gd name="T4" fmla="*/ 0 w 130"/>
              <a:gd name="T5" fmla="*/ 173 h 178"/>
              <a:gd name="T6" fmla="*/ 8 w 130"/>
              <a:gd name="T7" fmla="*/ 178 h 178"/>
              <a:gd name="T8" fmla="*/ 46 w 130"/>
              <a:gd name="T9" fmla="*/ 148 h 178"/>
              <a:gd name="T10" fmla="*/ 86 w 130"/>
              <a:gd name="T11" fmla="*/ 178 h 178"/>
              <a:gd name="T12" fmla="*/ 124 w 130"/>
              <a:gd name="T13" fmla="*/ 148 h 178"/>
              <a:gd name="T14" fmla="*/ 130 w 130"/>
              <a:gd name="T15" fmla="*/ 152 h 178"/>
              <a:gd name="T16" fmla="*/ 129 w 130"/>
              <a:gd name="T17" fmla="*/ 0 h 178"/>
              <a:gd name="T18" fmla="*/ 129 w 130"/>
              <a:gd name="T19" fmla="*/ 0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0" h="178">
                <a:moveTo>
                  <a:pt x="129" y="0"/>
                </a:moveTo>
                <a:lnTo>
                  <a:pt x="129" y="0"/>
                </a:lnTo>
                <a:lnTo>
                  <a:pt x="0" y="173"/>
                </a:lnTo>
                <a:lnTo>
                  <a:pt x="8" y="178"/>
                </a:lnTo>
                <a:lnTo>
                  <a:pt x="46" y="148"/>
                </a:lnTo>
                <a:lnTo>
                  <a:pt x="86" y="178"/>
                </a:lnTo>
                <a:lnTo>
                  <a:pt x="124" y="148"/>
                </a:lnTo>
                <a:lnTo>
                  <a:pt x="130" y="152"/>
                </a:lnTo>
                <a:lnTo>
                  <a:pt x="129" y="0"/>
                </a:lnTo>
                <a:lnTo>
                  <a:pt x="129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cxnSp>
        <p:nvCxnSpPr>
          <p:cNvPr id="102" name="Straight Connector 34">
            <a:extLst>
              <a:ext uri="{FF2B5EF4-FFF2-40B4-BE49-F238E27FC236}">
                <a16:creationId xmlns:a16="http://schemas.microsoft.com/office/drawing/2014/main" id="{3DA4F0B6-38C2-495B-9418-291816027EE2}"/>
              </a:ext>
            </a:extLst>
          </p:cNvPr>
          <p:cNvCxnSpPr>
            <a:cxnSpLocks/>
          </p:cNvCxnSpPr>
          <p:nvPr/>
        </p:nvCxnSpPr>
        <p:spPr>
          <a:xfrm>
            <a:off x="1495008" y="6260907"/>
            <a:ext cx="7184173" cy="8549"/>
          </a:xfrm>
          <a:prstGeom prst="line">
            <a:avLst/>
          </a:prstGeom>
          <a:ln w="136525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Прямоугольник 102">
            <a:extLst>
              <a:ext uri="{FF2B5EF4-FFF2-40B4-BE49-F238E27FC236}">
                <a16:creationId xmlns:a16="http://schemas.microsoft.com/office/drawing/2014/main" id="{DC95A62B-54B7-4119-843E-A8CA9EF4BE3E}"/>
              </a:ext>
            </a:extLst>
          </p:cNvPr>
          <p:cNvSpPr/>
          <p:nvPr/>
        </p:nvSpPr>
        <p:spPr>
          <a:xfrm>
            <a:off x="3133433" y="5196960"/>
            <a:ext cx="192108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СК-Ф </a:t>
            </a:r>
            <a:r>
              <a:rPr lang="ru-RU" sz="100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направляет приглашение на участие в заключении ДД</a:t>
            </a:r>
            <a:endParaRPr lang="id-ID" sz="1000" dirty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cxnSp>
        <p:nvCxnSpPr>
          <p:cNvPr id="104" name="Straight Connector 34">
            <a:extLst>
              <a:ext uri="{FF2B5EF4-FFF2-40B4-BE49-F238E27FC236}">
                <a16:creationId xmlns:a16="http://schemas.microsoft.com/office/drawing/2014/main" id="{EC621C7F-0B7E-4EDF-991C-44069D7AE6E3}"/>
              </a:ext>
            </a:extLst>
          </p:cNvPr>
          <p:cNvCxnSpPr>
            <a:cxnSpLocks/>
          </p:cNvCxnSpPr>
          <p:nvPr/>
        </p:nvCxnSpPr>
        <p:spPr>
          <a:xfrm flipV="1">
            <a:off x="8637584" y="6243650"/>
            <a:ext cx="3096869" cy="27071"/>
          </a:xfrm>
          <a:prstGeom prst="line">
            <a:avLst/>
          </a:prstGeom>
          <a:ln w="136525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Стрелка: шеврон 53">
            <a:extLst>
              <a:ext uri="{FF2B5EF4-FFF2-40B4-BE49-F238E27FC236}">
                <a16:creationId xmlns:a16="http://schemas.microsoft.com/office/drawing/2014/main" id="{39C05B9A-62E2-4979-B7B1-727A88726D8E}"/>
              </a:ext>
            </a:extLst>
          </p:cNvPr>
          <p:cNvSpPr/>
          <p:nvPr/>
        </p:nvSpPr>
        <p:spPr>
          <a:xfrm>
            <a:off x="8543382" y="6135331"/>
            <a:ext cx="235018" cy="254386"/>
          </a:xfrm>
          <a:prstGeom prst="chevron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3F3F3F"/>
              </a:solidFill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106" name="Прямоугольник 105">
            <a:extLst>
              <a:ext uri="{FF2B5EF4-FFF2-40B4-BE49-F238E27FC236}">
                <a16:creationId xmlns:a16="http://schemas.microsoft.com/office/drawing/2014/main" id="{AA29E86C-8648-49C2-9FA0-D98234235A42}"/>
              </a:ext>
            </a:extLst>
          </p:cNvPr>
          <p:cNvSpPr/>
          <p:nvPr/>
        </p:nvSpPr>
        <p:spPr>
          <a:xfrm>
            <a:off x="9339020" y="5276414"/>
            <a:ext cx="226078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СК-Ф заключает ДД с ЗКП (заказчик контрактного производства)</a:t>
            </a:r>
            <a:endParaRPr lang="ru-RU" sz="1000" b="1" dirty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107" name="Прямоугольник 106">
            <a:extLst>
              <a:ext uri="{FF2B5EF4-FFF2-40B4-BE49-F238E27FC236}">
                <a16:creationId xmlns:a16="http://schemas.microsoft.com/office/drawing/2014/main" id="{DC95A62B-54B7-4119-843E-A8CA9EF4BE3E}"/>
              </a:ext>
            </a:extLst>
          </p:cNvPr>
          <p:cNvSpPr/>
          <p:nvPr/>
        </p:nvSpPr>
        <p:spPr>
          <a:xfrm>
            <a:off x="1" y="5248591"/>
            <a:ext cx="2859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b="1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ЗКП уведомляет </a:t>
            </a:r>
            <a:r>
              <a:rPr lang="ru-RU" sz="900" b="1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в СК-Ф о </a:t>
            </a:r>
            <a:r>
              <a:rPr lang="ru-RU" sz="900" b="1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намерении заключения ДД</a:t>
            </a:r>
          </a:p>
          <a:p>
            <a:pPr algn="ctr"/>
            <a:r>
              <a:rPr lang="ru-RU" sz="900" b="1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с </a:t>
            </a:r>
            <a:r>
              <a:rPr lang="ru-RU" sz="900" b="1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риложением  заключений </a:t>
            </a:r>
            <a:r>
              <a:rPr lang="ru-RU" sz="900" b="1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экспертных организаций</a:t>
            </a:r>
          </a:p>
        </p:txBody>
      </p:sp>
      <p:sp>
        <p:nvSpPr>
          <p:cNvPr id="108" name="Стрелка: шеврон 53">
            <a:extLst>
              <a:ext uri="{FF2B5EF4-FFF2-40B4-BE49-F238E27FC236}">
                <a16:creationId xmlns:a16="http://schemas.microsoft.com/office/drawing/2014/main" id="{39C05B9A-62E2-4979-B7B1-727A88726D8E}"/>
              </a:ext>
            </a:extLst>
          </p:cNvPr>
          <p:cNvSpPr/>
          <p:nvPr/>
        </p:nvSpPr>
        <p:spPr>
          <a:xfrm>
            <a:off x="2544174" y="6132152"/>
            <a:ext cx="235018" cy="254386"/>
          </a:xfrm>
          <a:prstGeom prst="chevron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3F3F3F"/>
              </a:solidFill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109" name="Oval 19">
            <a:extLst>
              <a:ext uri="{FF2B5EF4-FFF2-40B4-BE49-F238E27FC236}">
                <a16:creationId xmlns:a16="http://schemas.microsoft.com/office/drawing/2014/main" id="{92CF7CED-4202-4442-BE83-CF062CF0CCE3}"/>
              </a:ext>
            </a:extLst>
          </p:cNvPr>
          <p:cNvSpPr/>
          <p:nvPr/>
        </p:nvSpPr>
        <p:spPr>
          <a:xfrm>
            <a:off x="6315283" y="5921007"/>
            <a:ext cx="1603701" cy="652999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b="1" dirty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~</a:t>
            </a:r>
          </a:p>
        </p:txBody>
      </p:sp>
      <p:sp>
        <p:nvSpPr>
          <p:cNvPr id="110" name="Стрелка: шеврон 53">
            <a:extLst>
              <a:ext uri="{FF2B5EF4-FFF2-40B4-BE49-F238E27FC236}">
                <a16:creationId xmlns:a16="http://schemas.microsoft.com/office/drawing/2014/main" id="{39C05B9A-62E2-4979-B7B1-727A88726D8E}"/>
              </a:ext>
            </a:extLst>
          </p:cNvPr>
          <p:cNvSpPr/>
          <p:nvPr/>
        </p:nvSpPr>
        <p:spPr>
          <a:xfrm>
            <a:off x="5474849" y="6125889"/>
            <a:ext cx="235018" cy="254386"/>
          </a:xfrm>
          <a:prstGeom prst="chevron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3F3F3F"/>
              </a:solidFill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111" name="Прямоугольник 110">
            <a:extLst>
              <a:ext uri="{FF2B5EF4-FFF2-40B4-BE49-F238E27FC236}">
                <a16:creationId xmlns:a16="http://schemas.microsoft.com/office/drawing/2014/main" id="{DC95A62B-54B7-4119-843E-A8CA9EF4BE3E}"/>
              </a:ext>
            </a:extLst>
          </p:cNvPr>
          <p:cNvSpPr/>
          <p:nvPr/>
        </p:nvSpPr>
        <p:spPr>
          <a:xfrm>
            <a:off x="5826608" y="5137278"/>
            <a:ext cx="274032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ЗКП предоставляет нотариально заверенную копию договора на контрактное производство на территории РК</a:t>
            </a:r>
            <a:endParaRPr lang="ru-RU" sz="1000" b="1" dirty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112" name="Oval 19">
            <a:extLst>
              <a:ext uri="{FF2B5EF4-FFF2-40B4-BE49-F238E27FC236}">
                <a16:creationId xmlns:a16="http://schemas.microsoft.com/office/drawing/2014/main" id="{92CF7CED-4202-4442-BE83-CF062CF0CCE3}"/>
              </a:ext>
            </a:extLst>
          </p:cNvPr>
          <p:cNvSpPr/>
          <p:nvPr/>
        </p:nvSpPr>
        <p:spPr>
          <a:xfrm>
            <a:off x="633239" y="5932846"/>
            <a:ext cx="1275049" cy="652999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700" dirty="0" smtClean="0">
                <a:solidFill>
                  <a:srgbClr val="C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ри необходимости</a:t>
            </a:r>
          </a:p>
        </p:txBody>
      </p:sp>
      <p:sp>
        <p:nvSpPr>
          <p:cNvPr id="113" name="Oval 19">
            <a:extLst>
              <a:ext uri="{FF2B5EF4-FFF2-40B4-BE49-F238E27FC236}">
                <a16:creationId xmlns:a16="http://schemas.microsoft.com/office/drawing/2014/main" id="{92CF7CED-4202-4442-BE83-CF062CF0CCE3}"/>
              </a:ext>
            </a:extLst>
          </p:cNvPr>
          <p:cNvSpPr/>
          <p:nvPr/>
        </p:nvSpPr>
        <p:spPr>
          <a:xfrm>
            <a:off x="9597081" y="5915683"/>
            <a:ext cx="1863811" cy="652999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700" dirty="0" smtClean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При соблюдении п.371-374 Правил 110</a:t>
            </a:r>
          </a:p>
        </p:txBody>
      </p:sp>
      <p:sp>
        <p:nvSpPr>
          <p:cNvPr id="114" name="Oval 19">
            <a:extLst>
              <a:ext uri="{FF2B5EF4-FFF2-40B4-BE49-F238E27FC236}">
                <a16:creationId xmlns:a16="http://schemas.microsoft.com/office/drawing/2014/main" id="{92CF7CED-4202-4442-BE83-CF062CF0CCE3}"/>
              </a:ext>
            </a:extLst>
          </p:cNvPr>
          <p:cNvSpPr/>
          <p:nvPr/>
        </p:nvSpPr>
        <p:spPr>
          <a:xfrm>
            <a:off x="3328607" y="5913083"/>
            <a:ext cx="1530738" cy="692976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700" dirty="0" smtClean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В течение 3 (трех) рабочих дней</a:t>
            </a:r>
          </a:p>
        </p:txBody>
      </p:sp>
      <p:sp>
        <p:nvSpPr>
          <p:cNvPr id="115" name="Прямоугольник с двумя усеченными противолежащими углами 114">
            <a:extLst>
              <a:ext uri="{FF2B5EF4-FFF2-40B4-BE49-F238E27FC236}">
                <a16:creationId xmlns:a16="http://schemas.microsoft.com/office/drawing/2014/main" id="{59A5E1A1-1B2E-49F0-A6C9-3578E9FD8F10}"/>
              </a:ext>
            </a:extLst>
          </p:cNvPr>
          <p:cNvSpPr/>
          <p:nvPr/>
        </p:nvSpPr>
        <p:spPr>
          <a:xfrm>
            <a:off x="329730" y="4507208"/>
            <a:ext cx="11409517" cy="514231"/>
          </a:xfrm>
          <a:prstGeom prst="snip2DiagRect">
            <a:avLst/>
          </a:prstGeom>
          <a:ln w="1905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100" b="1" u="sng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орядок заключения ДД поставки оригинальных ЛС и МИ с заказчиками контрактного производства согласно Главы 7 Правил 110 https://adilet.zan.kz/rus/docs/V2300032733#z2285 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305173" y="4246282"/>
            <a:ext cx="11412912" cy="17860"/>
          </a:xfrm>
          <a:prstGeom prst="line">
            <a:avLst/>
          </a:prstGeom>
          <a:ln w="1905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1239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482138" y="224442"/>
          <a:ext cx="11471564" cy="65003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13721">
                  <a:extLst>
                    <a:ext uri="{9D8B030D-6E8A-4147-A177-3AD203B41FA5}">
                      <a16:colId xmlns:a16="http://schemas.microsoft.com/office/drawing/2014/main" val="1310574909"/>
                    </a:ext>
                  </a:extLst>
                </a:gridCol>
                <a:gridCol w="1189533">
                  <a:extLst>
                    <a:ext uri="{9D8B030D-6E8A-4147-A177-3AD203B41FA5}">
                      <a16:colId xmlns:a16="http://schemas.microsoft.com/office/drawing/2014/main" val="1338449076"/>
                    </a:ext>
                  </a:extLst>
                </a:gridCol>
                <a:gridCol w="817804">
                  <a:extLst>
                    <a:ext uri="{9D8B030D-6E8A-4147-A177-3AD203B41FA5}">
                      <a16:colId xmlns:a16="http://schemas.microsoft.com/office/drawing/2014/main" val="44163547"/>
                    </a:ext>
                  </a:extLst>
                </a:gridCol>
                <a:gridCol w="1427441">
                  <a:extLst>
                    <a:ext uri="{9D8B030D-6E8A-4147-A177-3AD203B41FA5}">
                      <a16:colId xmlns:a16="http://schemas.microsoft.com/office/drawing/2014/main" val="3999988055"/>
                    </a:ext>
                  </a:extLst>
                </a:gridCol>
                <a:gridCol w="2810273">
                  <a:extLst>
                    <a:ext uri="{9D8B030D-6E8A-4147-A177-3AD203B41FA5}">
                      <a16:colId xmlns:a16="http://schemas.microsoft.com/office/drawing/2014/main" val="1129003534"/>
                    </a:ext>
                  </a:extLst>
                </a:gridCol>
                <a:gridCol w="921888">
                  <a:extLst>
                    <a:ext uri="{9D8B030D-6E8A-4147-A177-3AD203B41FA5}">
                      <a16:colId xmlns:a16="http://schemas.microsoft.com/office/drawing/2014/main" val="2947671638"/>
                    </a:ext>
                  </a:extLst>
                </a:gridCol>
                <a:gridCol w="1460895">
                  <a:extLst>
                    <a:ext uri="{9D8B030D-6E8A-4147-A177-3AD203B41FA5}">
                      <a16:colId xmlns:a16="http://schemas.microsoft.com/office/drawing/2014/main" val="1775593947"/>
                    </a:ext>
                  </a:extLst>
                </a:gridCol>
                <a:gridCol w="2130009">
                  <a:extLst>
                    <a:ext uri="{9D8B030D-6E8A-4147-A177-3AD203B41FA5}">
                      <a16:colId xmlns:a16="http://schemas.microsoft.com/office/drawing/2014/main" val="3289814155"/>
                    </a:ext>
                  </a:extLst>
                </a:gridCol>
              </a:tblGrid>
              <a:tr h="5569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1335379"/>
                  </a:ext>
                </a:extLst>
              </a:tr>
              <a:tr h="39282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анреот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 для приготовления суспензии для внутримышечного введения пролонгированного действия 3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1 800,0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0210473"/>
                  </a:ext>
                </a:extLst>
              </a:tr>
              <a:tr h="1309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апатини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5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348,9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137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0387588"/>
                  </a:ext>
                </a:extLst>
              </a:tr>
              <a:tr h="1309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атанопрос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ли глазные 0,005%, 2,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825,5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755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8247707"/>
                  </a:ext>
                </a:extLst>
              </a:tr>
              <a:tr h="2618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ветирацетам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орального применения 100 мг/мл 300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 783,9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71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5722802"/>
                  </a:ext>
                </a:extLst>
              </a:tr>
              <a:tr h="1309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вомепромаз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25 мг/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8,9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758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990005"/>
                  </a:ext>
                </a:extLst>
              </a:tr>
              <a:tr h="1309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воноргестре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0,7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0,4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2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5161103"/>
                  </a:ext>
                </a:extLst>
              </a:tr>
              <a:tr h="39282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восименда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центрат для приготовления раствора для инфузий 2,5 мг/мл 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8 495,3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3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4325748"/>
                  </a:ext>
                </a:extLst>
              </a:tr>
              <a:tr h="2618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вотироксин натрия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5 мк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,2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0033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4532554"/>
                  </a:ext>
                </a:extLst>
              </a:tr>
              <a:tr h="2618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вотироксин натрия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25 мк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,5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7537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2698879"/>
                  </a:ext>
                </a:extLst>
              </a:tr>
              <a:tr h="2618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вотироксин натрия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00 мк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,1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7152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81561987"/>
                  </a:ext>
                </a:extLst>
              </a:tr>
              <a:tr h="2618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вотироксин натрия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75 мк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,4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203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4502727"/>
                  </a:ext>
                </a:extLst>
              </a:tr>
              <a:tr h="2618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вотироксин натрия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50 мк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,6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7565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602295"/>
                  </a:ext>
                </a:extLst>
              </a:tr>
              <a:tr h="39282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йпрорел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приготовления раствора для подкожного введения в комплекте с растворителем 45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0 238,7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7718578"/>
                  </a:ext>
                </a:extLst>
              </a:tr>
              <a:tr h="39282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йпрорел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 для приготовления раствора для подкожного введения в комплекте с растворителем 22,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6 734,0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7694004"/>
                  </a:ext>
                </a:extLst>
              </a:tr>
              <a:tr h="1309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налидо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1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 736,8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66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4876539"/>
                  </a:ext>
                </a:extLst>
              </a:tr>
              <a:tr h="1309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налидо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1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3 436,6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9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0987744"/>
                  </a:ext>
                </a:extLst>
              </a:tr>
              <a:tr h="1309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налидо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2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7 097,6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80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7024361"/>
                  </a:ext>
                </a:extLst>
              </a:tr>
              <a:tr h="52377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нограстим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 для приготовления раствора для подкожного и внутривенного введения, 33,6 млн. ME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 461,2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15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3497687"/>
                  </a:ext>
                </a:extLst>
              </a:tr>
              <a:tr h="9166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опинавир и Ритонавир 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риема внутрь, 60 мл (дети, состоящие на диспансерном учете, принимают лекарственные препараты одного производителя по достижении 18 лет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887,6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2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77662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4809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565266" y="266009"/>
          <a:ext cx="11163992" cy="63636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94585">
                  <a:extLst>
                    <a:ext uri="{9D8B030D-6E8A-4147-A177-3AD203B41FA5}">
                      <a16:colId xmlns:a16="http://schemas.microsoft.com/office/drawing/2014/main" val="3251381132"/>
                    </a:ext>
                  </a:extLst>
                </a:gridCol>
                <a:gridCol w="1157639">
                  <a:extLst>
                    <a:ext uri="{9D8B030D-6E8A-4147-A177-3AD203B41FA5}">
                      <a16:colId xmlns:a16="http://schemas.microsoft.com/office/drawing/2014/main" val="1024809746"/>
                    </a:ext>
                  </a:extLst>
                </a:gridCol>
                <a:gridCol w="795877">
                  <a:extLst>
                    <a:ext uri="{9D8B030D-6E8A-4147-A177-3AD203B41FA5}">
                      <a16:colId xmlns:a16="http://schemas.microsoft.com/office/drawing/2014/main" val="216087246"/>
                    </a:ext>
                  </a:extLst>
                </a:gridCol>
                <a:gridCol w="1389169">
                  <a:extLst>
                    <a:ext uri="{9D8B030D-6E8A-4147-A177-3AD203B41FA5}">
                      <a16:colId xmlns:a16="http://schemas.microsoft.com/office/drawing/2014/main" val="2931543442"/>
                    </a:ext>
                  </a:extLst>
                </a:gridCol>
                <a:gridCol w="2734925">
                  <a:extLst>
                    <a:ext uri="{9D8B030D-6E8A-4147-A177-3AD203B41FA5}">
                      <a16:colId xmlns:a16="http://schemas.microsoft.com/office/drawing/2014/main" val="2930527343"/>
                    </a:ext>
                  </a:extLst>
                </a:gridCol>
                <a:gridCol w="897171">
                  <a:extLst>
                    <a:ext uri="{9D8B030D-6E8A-4147-A177-3AD203B41FA5}">
                      <a16:colId xmlns:a16="http://schemas.microsoft.com/office/drawing/2014/main" val="3603118582"/>
                    </a:ext>
                  </a:extLst>
                </a:gridCol>
                <a:gridCol w="1421726">
                  <a:extLst>
                    <a:ext uri="{9D8B030D-6E8A-4147-A177-3AD203B41FA5}">
                      <a16:colId xmlns:a16="http://schemas.microsoft.com/office/drawing/2014/main" val="1053847295"/>
                    </a:ext>
                  </a:extLst>
                </a:gridCol>
                <a:gridCol w="2072900">
                  <a:extLst>
                    <a:ext uri="{9D8B030D-6E8A-4147-A177-3AD203B41FA5}">
                      <a16:colId xmlns:a16="http://schemas.microsoft.com/office/drawing/2014/main" val="384462594"/>
                    </a:ext>
                  </a:extLst>
                </a:gridCol>
              </a:tblGrid>
              <a:tr h="6400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5483468"/>
                  </a:ext>
                </a:extLst>
              </a:tr>
              <a:tr h="7805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опинавир и Ритонавир 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00 мг/50 мг (пациенты из очага Туркестанской области и г. Шымкент с ВИЧ-инфекцией принимают лекарственные препараты одного производителя на протяжении всей жизни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1,4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0078021"/>
                  </a:ext>
                </a:extLst>
              </a:tr>
              <a:tr h="7805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опинавир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итонавир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00 мг/50 мг (дети, состоящие на диспансерном учете, принимают лекарственные препараты одного производителя по достижении 18 лет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1,4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8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9006025"/>
                  </a:ext>
                </a:extLst>
              </a:tr>
              <a:tr h="13009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оратади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роп не менее 100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1,2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8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6528154"/>
                  </a:ext>
                </a:extLst>
              </a:tr>
              <a:tr h="6504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орноксикам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приготовления раствора для внутривенного и внутримышечного введения 8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02,1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4218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2813304"/>
                  </a:ext>
                </a:extLst>
              </a:tr>
              <a:tr h="13009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бендаз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5,9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11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8088499"/>
                  </a:ext>
                </a:extLst>
              </a:tr>
              <a:tr h="3902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лфала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лиофилизи-рованный для приготовления раствора для инъекций 5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9 818,5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6888756"/>
                  </a:ext>
                </a:extLst>
              </a:tr>
              <a:tr h="13009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ркаптопур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5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,8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403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6607140"/>
                  </a:ext>
                </a:extLst>
              </a:tr>
              <a:tr h="3902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салаз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анулы с пролонгированным высвобождением 2 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кетик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73,1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9260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205886"/>
                  </a:ext>
                </a:extLst>
              </a:tr>
              <a:tr h="26018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салаз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спензия ректальная 1 г/100 мл 1 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464,6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18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8514565"/>
                  </a:ext>
                </a:extLst>
              </a:tr>
              <a:tr h="13009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салаз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ппозитории ректальные 1 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ту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80,1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6485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4552137"/>
                  </a:ext>
                </a:extLst>
              </a:tr>
              <a:tr h="3902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сн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внутривенного введения в ампулах 400 мг/4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08,2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69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8990788"/>
                  </a:ext>
                </a:extLst>
              </a:tr>
              <a:tr h="5203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илпреднизол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лиофилизированный для приготовления раствора для инъекций 25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777,3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36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9997713"/>
                  </a:ext>
                </a:extLst>
              </a:tr>
              <a:tr h="13009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клопра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,5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56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7355985"/>
                  </a:ext>
                </a:extLst>
              </a:tr>
              <a:tr h="3902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кси полиэтиленгликоль-эпоэтина бет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внутривенных и подкожных инъекций 50мкг/0,3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-тюбик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 557,0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6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7967179"/>
                  </a:ext>
                </a:extLst>
              </a:tr>
              <a:tr h="26018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трекса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, 50 мг/мл, 22,5 мг/0,4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/шприц-руч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034,5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36" marR="5236" marT="52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26353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5110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232755" y="249380"/>
          <a:ext cx="11696008" cy="63774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7684">
                  <a:extLst>
                    <a:ext uri="{9D8B030D-6E8A-4147-A177-3AD203B41FA5}">
                      <a16:colId xmlns:a16="http://schemas.microsoft.com/office/drawing/2014/main" val="586473450"/>
                    </a:ext>
                  </a:extLst>
                </a:gridCol>
                <a:gridCol w="1212809">
                  <a:extLst>
                    <a:ext uri="{9D8B030D-6E8A-4147-A177-3AD203B41FA5}">
                      <a16:colId xmlns:a16="http://schemas.microsoft.com/office/drawing/2014/main" val="3144381629"/>
                    </a:ext>
                  </a:extLst>
                </a:gridCol>
                <a:gridCol w="833803">
                  <a:extLst>
                    <a:ext uri="{9D8B030D-6E8A-4147-A177-3AD203B41FA5}">
                      <a16:colId xmlns:a16="http://schemas.microsoft.com/office/drawing/2014/main" val="2987245046"/>
                    </a:ext>
                  </a:extLst>
                </a:gridCol>
                <a:gridCol w="1455368">
                  <a:extLst>
                    <a:ext uri="{9D8B030D-6E8A-4147-A177-3AD203B41FA5}">
                      <a16:colId xmlns:a16="http://schemas.microsoft.com/office/drawing/2014/main" val="1872541054"/>
                    </a:ext>
                  </a:extLst>
                </a:gridCol>
                <a:gridCol w="2865257">
                  <a:extLst>
                    <a:ext uri="{9D8B030D-6E8A-4147-A177-3AD203B41FA5}">
                      <a16:colId xmlns:a16="http://schemas.microsoft.com/office/drawing/2014/main" val="1540075963"/>
                    </a:ext>
                  </a:extLst>
                </a:gridCol>
                <a:gridCol w="939927">
                  <a:extLst>
                    <a:ext uri="{9D8B030D-6E8A-4147-A177-3AD203B41FA5}">
                      <a16:colId xmlns:a16="http://schemas.microsoft.com/office/drawing/2014/main" val="112063028"/>
                    </a:ext>
                  </a:extLst>
                </a:gridCol>
                <a:gridCol w="1489478">
                  <a:extLst>
                    <a:ext uri="{9D8B030D-6E8A-4147-A177-3AD203B41FA5}">
                      <a16:colId xmlns:a16="http://schemas.microsoft.com/office/drawing/2014/main" val="1544634480"/>
                    </a:ext>
                  </a:extLst>
                </a:gridCol>
                <a:gridCol w="2171682">
                  <a:extLst>
                    <a:ext uri="{9D8B030D-6E8A-4147-A177-3AD203B41FA5}">
                      <a16:colId xmlns:a16="http://schemas.microsoft.com/office/drawing/2014/main" val="3292574132"/>
                    </a:ext>
                  </a:extLst>
                </a:gridCol>
              </a:tblGrid>
              <a:tr h="60683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0369520"/>
                  </a:ext>
                </a:extLst>
              </a:tr>
              <a:tr h="2335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трексат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, 50 мг/мл, 17,5 мг/0,3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/шприц-руч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778,1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11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4995859"/>
                  </a:ext>
                </a:extLst>
              </a:tr>
              <a:tr h="2335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трексат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, 50 мг/мл, 20 мг/0,4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/шприц-руч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790,8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46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9117811"/>
                  </a:ext>
                </a:extLst>
              </a:tr>
              <a:tr h="2335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трексат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, 50 мг/мл, 7,5 мг/0,15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/шприц-руч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389,3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34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64182"/>
                  </a:ext>
                </a:extLst>
              </a:tr>
              <a:tr h="2335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трексат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, 50 мг/мл, 15 мг/0,3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/шприц-руч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766,5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563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8543790"/>
                  </a:ext>
                </a:extLst>
              </a:tr>
              <a:tr h="2335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трекса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, 50 мг/мл, 25 мг/0,50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/шприц-руч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034,5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9048411"/>
                  </a:ext>
                </a:extLst>
              </a:tr>
              <a:tr h="2335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трексат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, 50 мг/мл, 30 мг/0,60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/шприц-руч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790,8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1317376"/>
                  </a:ext>
                </a:extLst>
              </a:tr>
              <a:tr h="2335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трекса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, 50 мг/мл, 10 мг/0,2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/шприц-руч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790,8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739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715462"/>
                  </a:ext>
                </a:extLst>
              </a:tr>
              <a:tr h="1170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трекса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10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 881,4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7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0062836"/>
                  </a:ext>
                </a:extLst>
              </a:tr>
              <a:tr h="2335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отрекса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, 50 мг/мл, 12,5 мг/0,2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/шприц-руч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595,9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509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4060401"/>
                  </a:ext>
                </a:extLst>
              </a:tr>
              <a:tr h="3503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релепт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лиофилизированный для приготовления раствора для инъекций 11,3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18 146,1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3154383"/>
                  </a:ext>
                </a:extLst>
              </a:tr>
              <a:tr h="3503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релепт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лиофилизированный для приготовления раствора для инъекций 5,8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9 297,6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972768"/>
                  </a:ext>
                </a:extLst>
              </a:tr>
              <a:tr h="3503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релепт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лиофилизированный для приготовления раствора для инъекций 3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9 875,8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4402654"/>
                  </a:ext>
                </a:extLst>
              </a:tr>
              <a:tr h="1170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декамиц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4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4,3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51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987924"/>
                  </a:ext>
                </a:extLst>
              </a:tr>
              <a:tr h="2335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декамиц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анулы для приготовления суспензии для приема внутрь 175 мг/5 мл, 20 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150,8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6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7047737"/>
                  </a:ext>
                </a:extLst>
              </a:tr>
              <a:tr h="1170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зопрост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0,2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2,9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105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0869383"/>
                  </a:ext>
                </a:extLst>
              </a:tr>
              <a:tr h="2335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кофеноловая кислот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360 мг 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36,5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55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6042519"/>
                  </a:ext>
                </a:extLst>
              </a:tr>
              <a:tr h="5838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кофеноловая кислот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80 мг (для больных принимающих лекарственные препараты одного производителя на протяжений всей жизни, перенесших пересадку органов и тканей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0,5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9278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3023082"/>
                  </a:ext>
                </a:extLst>
              </a:tr>
              <a:tr h="5838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кофеноловая кислот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360 мг (для больных принимающих лекарственные препараты одного производителя на протяжений всей жизни, перенесших пересадку органов и тканей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36,5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36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50" marR="4750" marT="47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88755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45013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482138" y="232758"/>
          <a:ext cx="11213870" cy="653251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97688">
                  <a:extLst>
                    <a:ext uri="{9D8B030D-6E8A-4147-A177-3AD203B41FA5}">
                      <a16:colId xmlns:a16="http://schemas.microsoft.com/office/drawing/2014/main" val="2393060011"/>
                    </a:ext>
                  </a:extLst>
                </a:gridCol>
                <a:gridCol w="1162813">
                  <a:extLst>
                    <a:ext uri="{9D8B030D-6E8A-4147-A177-3AD203B41FA5}">
                      <a16:colId xmlns:a16="http://schemas.microsoft.com/office/drawing/2014/main" val="4187273279"/>
                    </a:ext>
                  </a:extLst>
                </a:gridCol>
                <a:gridCol w="799432">
                  <a:extLst>
                    <a:ext uri="{9D8B030D-6E8A-4147-A177-3AD203B41FA5}">
                      <a16:colId xmlns:a16="http://schemas.microsoft.com/office/drawing/2014/main" val="1736907351"/>
                    </a:ext>
                  </a:extLst>
                </a:gridCol>
                <a:gridCol w="1395374">
                  <a:extLst>
                    <a:ext uri="{9D8B030D-6E8A-4147-A177-3AD203B41FA5}">
                      <a16:colId xmlns:a16="http://schemas.microsoft.com/office/drawing/2014/main" val="177873023"/>
                    </a:ext>
                  </a:extLst>
                </a:gridCol>
                <a:gridCol w="2747143">
                  <a:extLst>
                    <a:ext uri="{9D8B030D-6E8A-4147-A177-3AD203B41FA5}">
                      <a16:colId xmlns:a16="http://schemas.microsoft.com/office/drawing/2014/main" val="67812080"/>
                    </a:ext>
                  </a:extLst>
                </a:gridCol>
                <a:gridCol w="901180">
                  <a:extLst>
                    <a:ext uri="{9D8B030D-6E8A-4147-A177-3AD203B41FA5}">
                      <a16:colId xmlns:a16="http://schemas.microsoft.com/office/drawing/2014/main" val="2715720365"/>
                    </a:ext>
                  </a:extLst>
                </a:gridCol>
                <a:gridCol w="1428078">
                  <a:extLst>
                    <a:ext uri="{9D8B030D-6E8A-4147-A177-3AD203B41FA5}">
                      <a16:colId xmlns:a16="http://schemas.microsoft.com/office/drawing/2014/main" val="570508475"/>
                    </a:ext>
                  </a:extLst>
                </a:gridCol>
                <a:gridCol w="2082162">
                  <a:extLst>
                    <a:ext uri="{9D8B030D-6E8A-4147-A177-3AD203B41FA5}">
                      <a16:colId xmlns:a16="http://schemas.microsoft.com/office/drawing/2014/main" val="540712305"/>
                    </a:ext>
                  </a:extLst>
                </a:gridCol>
              </a:tblGrid>
              <a:tr h="84328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2296928"/>
                  </a:ext>
                </a:extLst>
              </a:tr>
              <a:tr h="61264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кофеноловая кислот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360 мг (для больных принимающих лекарственные препараты одного производителя на протяжений всей жизни, перенесших пересадку органов и тканей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36,5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856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3366031"/>
                  </a:ext>
                </a:extLst>
              </a:tr>
              <a:tr h="3675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токсантр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центрат для приготовления раствора для инфузий или раствор для инъекций, 10 мг/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 053,0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8682712"/>
                  </a:ext>
                </a:extLst>
              </a:tr>
              <a:tr h="1225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метаз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зь 0,1%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уб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658,1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85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1650137"/>
                  </a:ext>
                </a:extLst>
              </a:tr>
              <a:tr h="1225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метаз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ем 0,1%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уб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128,9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90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5937503"/>
                  </a:ext>
                </a:extLst>
              </a:tr>
              <a:tr h="2450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нтелукас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анулы 4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анула/паке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7,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66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4907484"/>
                  </a:ext>
                </a:extLst>
              </a:tr>
              <a:tr h="3675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льтиферменты (панкреатин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в кишечнорастворимой оболочке, содержащая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микросферы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5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6,9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2806993"/>
                  </a:ext>
                </a:extLst>
              </a:tr>
              <a:tr h="3675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льтиферменты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панкреатин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в кишечнорастворимой оболочке, содержащая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микросферы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5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6,9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7344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3202977"/>
                  </a:ext>
                </a:extLst>
              </a:tr>
              <a:tr h="3675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льтиферменты (панкреатин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в кишечнорастворимой оболочке, содержащая минимикросферы 15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6,9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8797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3632421"/>
                  </a:ext>
                </a:extLst>
              </a:tr>
              <a:tr h="61264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льтиферменты (панкреатин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, содержащая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таблетки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покрытая кишечнорастворимой оболочкой 25000 ЕД/ капсула в кишечно-растворимой оболочке, содержащая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микросферы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30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8,7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1046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8299400"/>
                  </a:ext>
                </a:extLst>
              </a:tr>
              <a:tr h="3675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дропарин кальция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в предварительно наполненных шприцах 7600 ME анти-Ха/0,8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300,9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7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3122950"/>
                  </a:ext>
                </a:extLst>
              </a:tr>
              <a:tr h="2450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дропарин кальция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в шприцах 3800 ME анти-Ха/0,4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891,2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533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6275842"/>
                  </a:ext>
                </a:extLst>
              </a:tr>
              <a:tr h="3675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дропарин кальция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в предварительно наполненных шприцах 2850 ME анти-Ха/0,3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643,4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808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2880418"/>
                  </a:ext>
                </a:extLst>
              </a:tr>
              <a:tr h="3675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дропарин кальция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в предварительно наполненных шприцах 5700 ME анти-Ха/0,6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043,6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96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7484662"/>
                  </a:ext>
                </a:extLst>
              </a:tr>
              <a:tr h="3675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лтрекс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суспензии пролонгированного действия для внутримышечного введения, 38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1 726,1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0179835"/>
                  </a:ext>
                </a:extLst>
              </a:tr>
              <a:tr h="2450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ндрол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масляный для инъекций 50 мг/мл 1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160,1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1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2690670"/>
                  </a:ext>
                </a:extLst>
              </a:tr>
              <a:tr h="2450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тализума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центрат для приготовления раствора для инфузий 300 мг/1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3 040,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1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35845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2304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390700" y="191196"/>
          <a:ext cx="11571314" cy="658459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19925">
                  <a:extLst>
                    <a:ext uri="{9D8B030D-6E8A-4147-A177-3AD203B41FA5}">
                      <a16:colId xmlns:a16="http://schemas.microsoft.com/office/drawing/2014/main" val="2212272041"/>
                    </a:ext>
                  </a:extLst>
                </a:gridCol>
                <a:gridCol w="1199879">
                  <a:extLst>
                    <a:ext uri="{9D8B030D-6E8A-4147-A177-3AD203B41FA5}">
                      <a16:colId xmlns:a16="http://schemas.microsoft.com/office/drawing/2014/main" val="425536913"/>
                    </a:ext>
                  </a:extLst>
                </a:gridCol>
                <a:gridCol w="824914">
                  <a:extLst>
                    <a:ext uri="{9D8B030D-6E8A-4147-A177-3AD203B41FA5}">
                      <a16:colId xmlns:a16="http://schemas.microsoft.com/office/drawing/2014/main" val="396904264"/>
                    </a:ext>
                  </a:extLst>
                </a:gridCol>
                <a:gridCol w="1439852">
                  <a:extLst>
                    <a:ext uri="{9D8B030D-6E8A-4147-A177-3AD203B41FA5}">
                      <a16:colId xmlns:a16="http://schemas.microsoft.com/office/drawing/2014/main" val="1631717810"/>
                    </a:ext>
                  </a:extLst>
                </a:gridCol>
                <a:gridCol w="2834709">
                  <a:extLst>
                    <a:ext uri="{9D8B030D-6E8A-4147-A177-3AD203B41FA5}">
                      <a16:colId xmlns:a16="http://schemas.microsoft.com/office/drawing/2014/main" val="2902750166"/>
                    </a:ext>
                  </a:extLst>
                </a:gridCol>
                <a:gridCol w="929906">
                  <a:extLst>
                    <a:ext uri="{9D8B030D-6E8A-4147-A177-3AD203B41FA5}">
                      <a16:colId xmlns:a16="http://schemas.microsoft.com/office/drawing/2014/main" val="2329810508"/>
                    </a:ext>
                  </a:extLst>
                </a:gridCol>
                <a:gridCol w="1473600">
                  <a:extLst>
                    <a:ext uri="{9D8B030D-6E8A-4147-A177-3AD203B41FA5}">
                      <a16:colId xmlns:a16="http://schemas.microsoft.com/office/drawing/2014/main" val="771879666"/>
                    </a:ext>
                  </a:extLst>
                </a:gridCol>
                <a:gridCol w="2148529">
                  <a:extLst>
                    <a:ext uri="{9D8B030D-6E8A-4147-A177-3AD203B41FA5}">
                      <a16:colId xmlns:a16="http://schemas.microsoft.com/office/drawing/2014/main" val="3645201167"/>
                    </a:ext>
                  </a:extLst>
                </a:gridCol>
              </a:tblGrid>
              <a:tr h="52369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0291454"/>
                  </a:ext>
                </a:extLst>
              </a:tr>
              <a:tr h="26452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трия хлор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0,9% 10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/ 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,4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26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62309863"/>
                  </a:ext>
                </a:extLst>
              </a:tr>
              <a:tr h="26452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остигми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в ампулах 0,05% 1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,1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51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6628480"/>
                  </a:ext>
                </a:extLst>
              </a:tr>
              <a:tr h="1360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модипи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3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9,8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981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0514051"/>
                  </a:ext>
                </a:extLst>
              </a:tr>
              <a:tr h="39303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модип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узи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 комплекте с соединительной трубкой для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узомата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0 мг /50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041,3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739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6151987"/>
                  </a:ext>
                </a:extLst>
              </a:tr>
              <a:tr h="1360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нтедани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мягкая 1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418,9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6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2118553"/>
                  </a:ext>
                </a:extLst>
              </a:tr>
              <a:tr h="1360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троглицер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подъязычная 0,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,6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927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9958619"/>
                  </a:ext>
                </a:extLst>
              </a:tr>
              <a:tr h="1360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троглицери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эрозоль 10 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248,1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62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4821256"/>
                  </a:ext>
                </a:extLst>
              </a:tr>
              <a:tr h="1360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трофурантои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5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3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320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9047651"/>
                  </a:ext>
                </a:extLst>
              </a:tr>
              <a:tr h="26452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усинерсе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тратекального введения 2,4 мг/мл 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 247 748,7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68270"/>
                  </a:ext>
                </a:extLst>
              </a:tr>
              <a:tr h="26452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инутузума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центрат для приготовления инфузионного раствора 1000 мг/40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584 230,0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1151252"/>
                  </a:ext>
                </a:extLst>
              </a:tr>
              <a:tr h="89953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ие фосфолипиды+ Двунасыщенный фосфатидилхолин (</a:t>
                      </a:r>
                      <a:r>
                        <a:rPr lang="en-US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SPC)+ </a:t>
                      </a:r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вободные жирные кислоты (</a:t>
                      </a:r>
                      <a:r>
                        <a:rPr lang="en-US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FA)+</a:t>
                      </a:r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иглицериды (</a:t>
                      </a:r>
                      <a:r>
                        <a:rPr lang="en-US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G)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спензия для интратрахеального введения 25 мг/мл, 4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2 730,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9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5758415"/>
                  </a:ext>
                </a:extLst>
              </a:tr>
              <a:tr h="26452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крелизума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центрат для приготовления раствора для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узи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300мг/10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564 103,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0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9252487"/>
                  </a:ext>
                </a:extLst>
              </a:tr>
              <a:tr h="1360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кситоц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5 ЕД/мл 1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3,1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3091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0747891"/>
                  </a:ext>
                </a:extLst>
              </a:tr>
              <a:tr h="39303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ктреот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кросферы/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приготовления суспензий для инъекций 2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1 386,7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5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7679511"/>
                  </a:ext>
                </a:extLst>
              </a:tr>
              <a:tr h="1360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ктреот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, 0,1 мг/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01,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830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3914442"/>
                  </a:ext>
                </a:extLst>
              </a:tr>
              <a:tr h="39303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лодатерол и тиотропия бро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галяций в комплекте с ингалятором 2,5 мкг+2,5 мкг/1 ингаляция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ридж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 727,9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12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241733"/>
                  </a:ext>
                </a:extLst>
              </a:tr>
              <a:tr h="1360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епраз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1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,9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163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9367222"/>
                  </a:ext>
                </a:extLst>
              </a:tr>
              <a:tr h="39303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епраз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лиофилизированный для приготовления раствора для инъекций 4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91,4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9228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0189861"/>
                  </a:ext>
                </a:extLst>
              </a:tr>
              <a:tr h="1360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имертини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8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 134,4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22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9230170"/>
                  </a:ext>
                </a:extLst>
              </a:tr>
              <a:tr h="1360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имертини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4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 131,8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0973101"/>
                  </a:ext>
                </a:extLst>
              </a:tr>
              <a:tr h="26452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фатумума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центрат для приготовления раствора для инфузий 1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5 784,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46" marR="5346" marT="5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105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977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399011" y="199503"/>
          <a:ext cx="11587942" cy="63735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0960">
                  <a:extLst>
                    <a:ext uri="{9D8B030D-6E8A-4147-A177-3AD203B41FA5}">
                      <a16:colId xmlns:a16="http://schemas.microsoft.com/office/drawing/2014/main" val="1531833557"/>
                    </a:ext>
                  </a:extLst>
                </a:gridCol>
                <a:gridCol w="1201603">
                  <a:extLst>
                    <a:ext uri="{9D8B030D-6E8A-4147-A177-3AD203B41FA5}">
                      <a16:colId xmlns:a16="http://schemas.microsoft.com/office/drawing/2014/main" val="3441125752"/>
                    </a:ext>
                  </a:extLst>
                </a:gridCol>
                <a:gridCol w="826100">
                  <a:extLst>
                    <a:ext uri="{9D8B030D-6E8A-4147-A177-3AD203B41FA5}">
                      <a16:colId xmlns:a16="http://schemas.microsoft.com/office/drawing/2014/main" val="783495573"/>
                    </a:ext>
                  </a:extLst>
                </a:gridCol>
                <a:gridCol w="1441922">
                  <a:extLst>
                    <a:ext uri="{9D8B030D-6E8A-4147-A177-3AD203B41FA5}">
                      <a16:colId xmlns:a16="http://schemas.microsoft.com/office/drawing/2014/main" val="3521731068"/>
                    </a:ext>
                  </a:extLst>
                </a:gridCol>
                <a:gridCol w="2838782">
                  <a:extLst>
                    <a:ext uri="{9D8B030D-6E8A-4147-A177-3AD203B41FA5}">
                      <a16:colId xmlns:a16="http://schemas.microsoft.com/office/drawing/2014/main" val="3271403523"/>
                    </a:ext>
                  </a:extLst>
                </a:gridCol>
                <a:gridCol w="931241">
                  <a:extLst>
                    <a:ext uri="{9D8B030D-6E8A-4147-A177-3AD203B41FA5}">
                      <a16:colId xmlns:a16="http://schemas.microsoft.com/office/drawing/2014/main" val="2238523266"/>
                    </a:ext>
                  </a:extLst>
                </a:gridCol>
                <a:gridCol w="1475716">
                  <a:extLst>
                    <a:ext uri="{9D8B030D-6E8A-4147-A177-3AD203B41FA5}">
                      <a16:colId xmlns:a16="http://schemas.microsoft.com/office/drawing/2014/main" val="1867990264"/>
                    </a:ext>
                  </a:extLst>
                </a:gridCol>
                <a:gridCol w="2151618">
                  <a:extLst>
                    <a:ext uri="{9D8B030D-6E8A-4147-A177-3AD203B41FA5}">
                      <a16:colId xmlns:a16="http://schemas.microsoft.com/office/drawing/2014/main" val="2651092070"/>
                    </a:ext>
                  </a:extLst>
                </a:gridCol>
              </a:tblGrid>
              <a:tr h="88946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2213303"/>
                  </a:ext>
                </a:extLst>
              </a:tr>
              <a:tr h="1530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зопани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4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 325,7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2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7814701"/>
                  </a:ext>
                </a:extLst>
              </a:tr>
              <a:tr h="1530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зопаниб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 315,2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7407468"/>
                  </a:ext>
                </a:extLst>
              </a:tr>
              <a:tr h="1530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лбоцикли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1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 677,3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72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2517034"/>
                  </a:ext>
                </a:extLst>
              </a:tr>
              <a:tr h="1530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лбоцикли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12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 677,3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61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8627927"/>
                  </a:ext>
                </a:extLst>
              </a:tr>
              <a:tr h="1530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лбоцикли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7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 677,3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2312458"/>
                  </a:ext>
                </a:extLst>
              </a:tr>
              <a:tr h="4590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липерид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спензия для внутримышечного введения пролонгированного действия 525 мг/2,62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8 917,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089705"/>
                  </a:ext>
                </a:extLst>
              </a:tr>
              <a:tr h="1530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липерид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9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816,4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29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6714440"/>
                  </a:ext>
                </a:extLst>
              </a:tr>
              <a:tr h="4590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липерид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спензия для внутримышечного введения пролонгированного действия 350 мг/1,7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6 622,8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6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5969701"/>
                  </a:ext>
                </a:extLst>
              </a:tr>
              <a:tr h="3060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нитумума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центрат для приготовления раствора для инфузий 20 мг/мл (100 мг/5 мл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2 503,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4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0453187"/>
                  </a:ext>
                </a:extLst>
              </a:tr>
              <a:tr h="1530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рацетам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8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02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4860893"/>
                  </a:ext>
                </a:extLst>
              </a:tr>
              <a:tr h="3060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рацетам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ппозиторий ректальный 250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ппозиторий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,6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374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3229418"/>
                  </a:ext>
                </a:extLst>
              </a:tr>
              <a:tr h="3060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рацетамол 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орального применения не мнеее 24 мг/мл не менее 90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606,3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0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2484755"/>
                  </a:ext>
                </a:extLst>
              </a:tr>
              <a:tr h="9181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гинтерферон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- альфа 2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180 мкг/0,5 мл во флаконах/шприц-тюбиках для однократного применения 0,5 мл. С каждой единицей препарата дополнительно предоставляется 42 таблеток/капсул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ибавирина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0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/ шприц-тюбик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 461,8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4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0740293"/>
                  </a:ext>
                </a:extLst>
              </a:tr>
              <a:tr h="4590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мбролизума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внутривенных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узи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концентрат для приготовления раствора для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узи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5 мг/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503 810,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7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3946561"/>
                  </a:ext>
                </a:extLst>
              </a:tr>
              <a:tr h="3060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нициллам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/капсула 25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/ 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3,7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188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2415858"/>
                  </a:ext>
                </a:extLst>
              </a:tr>
              <a:tr h="1530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ампане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 1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549,7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441835"/>
                  </a:ext>
                </a:extLst>
              </a:tr>
              <a:tr h="1530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ампане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 4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071,0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1362628"/>
                  </a:ext>
                </a:extLst>
              </a:tr>
              <a:tr h="1530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ампане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 2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52,7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5051605"/>
                  </a:ext>
                </a:extLst>
              </a:tr>
              <a:tr h="2063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ампане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 8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411,5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6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8244866"/>
                  </a:ext>
                </a:extLst>
              </a:tr>
              <a:tr h="1530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ампане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 12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549,7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2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111" marR="6111" marT="611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553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9158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390698" y="332514"/>
          <a:ext cx="11546380" cy="635528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18375">
                  <a:extLst>
                    <a:ext uri="{9D8B030D-6E8A-4147-A177-3AD203B41FA5}">
                      <a16:colId xmlns:a16="http://schemas.microsoft.com/office/drawing/2014/main" val="1256082073"/>
                    </a:ext>
                  </a:extLst>
                </a:gridCol>
                <a:gridCol w="1197292">
                  <a:extLst>
                    <a:ext uri="{9D8B030D-6E8A-4147-A177-3AD203B41FA5}">
                      <a16:colId xmlns:a16="http://schemas.microsoft.com/office/drawing/2014/main" val="3620829648"/>
                    </a:ext>
                  </a:extLst>
                </a:gridCol>
                <a:gridCol w="823138">
                  <a:extLst>
                    <a:ext uri="{9D8B030D-6E8A-4147-A177-3AD203B41FA5}">
                      <a16:colId xmlns:a16="http://schemas.microsoft.com/office/drawing/2014/main" val="60046156"/>
                    </a:ext>
                  </a:extLst>
                </a:gridCol>
                <a:gridCol w="1436750">
                  <a:extLst>
                    <a:ext uri="{9D8B030D-6E8A-4147-A177-3AD203B41FA5}">
                      <a16:colId xmlns:a16="http://schemas.microsoft.com/office/drawing/2014/main" val="3499962328"/>
                    </a:ext>
                  </a:extLst>
                </a:gridCol>
                <a:gridCol w="2828600">
                  <a:extLst>
                    <a:ext uri="{9D8B030D-6E8A-4147-A177-3AD203B41FA5}">
                      <a16:colId xmlns:a16="http://schemas.microsoft.com/office/drawing/2014/main" val="665000831"/>
                    </a:ext>
                  </a:extLst>
                </a:gridCol>
                <a:gridCol w="927901">
                  <a:extLst>
                    <a:ext uri="{9D8B030D-6E8A-4147-A177-3AD203B41FA5}">
                      <a16:colId xmlns:a16="http://schemas.microsoft.com/office/drawing/2014/main" val="1441179643"/>
                    </a:ext>
                  </a:extLst>
                </a:gridCol>
                <a:gridCol w="1470424">
                  <a:extLst>
                    <a:ext uri="{9D8B030D-6E8A-4147-A177-3AD203B41FA5}">
                      <a16:colId xmlns:a16="http://schemas.microsoft.com/office/drawing/2014/main" val="3831057276"/>
                    </a:ext>
                  </a:extLst>
                </a:gridCol>
                <a:gridCol w="2143900">
                  <a:extLst>
                    <a:ext uri="{9D8B030D-6E8A-4147-A177-3AD203B41FA5}">
                      <a16:colId xmlns:a16="http://schemas.microsoft.com/office/drawing/2014/main" val="1981960422"/>
                    </a:ext>
                  </a:extLst>
                </a:gridCol>
              </a:tblGrid>
              <a:tr h="7065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4168925"/>
                  </a:ext>
                </a:extLst>
              </a:tr>
              <a:tr h="1409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ампане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 6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263,4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2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7021989"/>
                  </a:ext>
                </a:extLst>
              </a:tr>
              <a:tr h="2813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тузумаб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центрат для приготовления инфузионного раствора 420 мг/14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075 296,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6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6136437"/>
                  </a:ext>
                </a:extLst>
              </a:tr>
              <a:tr h="2813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ипекурония бро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лиофилизированный для инъекций 4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/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78,2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840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3475910"/>
                  </a:ext>
                </a:extLst>
              </a:tr>
              <a:tr h="1409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натини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 4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7 226,4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4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7790145"/>
                  </a:ext>
                </a:extLst>
              </a:tr>
              <a:tr h="1409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натини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 3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4 841,2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2195957"/>
                  </a:ext>
                </a:extLst>
              </a:tr>
              <a:tr h="1409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натини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 1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 287,5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0457843"/>
                  </a:ext>
                </a:extLst>
              </a:tr>
              <a:tr h="2813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амипексо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пролонгированного действия 1,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7,4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1895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4723136"/>
                  </a:ext>
                </a:extLst>
              </a:tr>
              <a:tr h="2813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амипексо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пролонгированного действия 0,7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1,8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1100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2456263"/>
                  </a:ext>
                </a:extLst>
              </a:tr>
              <a:tr h="1409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низол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5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,9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4079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7276827"/>
                  </a:ext>
                </a:extLst>
              </a:tr>
              <a:tr h="1409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низол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30 мг/мл 1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0,5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5029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37403"/>
                  </a:ext>
                </a:extLst>
              </a:tr>
              <a:tr h="562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параты железа (III) для парентерального применения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внутримышечного введения 100 мг/2 мл с наличием терапевтического показания к лечению анемии у детей и подростков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9,2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32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947002"/>
                  </a:ext>
                </a:extLst>
              </a:tr>
              <a:tr h="70349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родные фосфолипиды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приготовления суспензии для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ндотрахеального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ведения в комплекте с растворителем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по 2,4 мл растворителя в шприце 45 мг/мл 108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/ флак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3 254,6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0204686"/>
                  </a:ext>
                </a:extLst>
              </a:tr>
              <a:tr h="5627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родные фосфолипиды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ированны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рошок для приготовления суспензии для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ндотрахеального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ведения 45 мг/мл в комплекте с растворителем 1,2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/ флак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 406,3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6813580"/>
                  </a:ext>
                </a:extLst>
              </a:tr>
              <a:tr h="4220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родные фосфолипиды (Порактант альфа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спензия для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ндотрахеального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ведения 80 мг/мл, 1,5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6 599,3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06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2710169"/>
                  </a:ext>
                </a:extLst>
              </a:tr>
              <a:tr h="1409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метаз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25 мг/ мл 2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7,5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3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9015572"/>
                  </a:ext>
                </a:extLst>
              </a:tr>
              <a:tr h="1409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пафен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5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,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809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7838408"/>
                  </a:ext>
                </a:extLst>
              </a:tr>
              <a:tr h="1409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пафен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3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5,7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939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292662"/>
                  </a:ext>
                </a:extLst>
              </a:tr>
              <a:tr h="2813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поф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мульсия для внутривенного введения 10 мг/мл 50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014,7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432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9331450"/>
                  </a:ext>
                </a:extLst>
              </a:tr>
              <a:tr h="2813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поф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мульсия для внутривенного введения 10 мг/мл 20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/ 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67,8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749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1243178"/>
                  </a:ext>
                </a:extLst>
              </a:tr>
              <a:tr h="1409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пранол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риема внутрь, 3,75 мг/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4 973,4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3" marR="5703" marT="570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17974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087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390699" y="232757"/>
          <a:ext cx="11629505" cy="639270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3546">
                  <a:extLst>
                    <a:ext uri="{9D8B030D-6E8A-4147-A177-3AD203B41FA5}">
                      <a16:colId xmlns:a16="http://schemas.microsoft.com/office/drawing/2014/main" val="2235045618"/>
                    </a:ext>
                  </a:extLst>
                </a:gridCol>
                <a:gridCol w="1205912">
                  <a:extLst>
                    <a:ext uri="{9D8B030D-6E8A-4147-A177-3AD203B41FA5}">
                      <a16:colId xmlns:a16="http://schemas.microsoft.com/office/drawing/2014/main" val="3199796044"/>
                    </a:ext>
                  </a:extLst>
                </a:gridCol>
                <a:gridCol w="829062">
                  <a:extLst>
                    <a:ext uri="{9D8B030D-6E8A-4147-A177-3AD203B41FA5}">
                      <a16:colId xmlns:a16="http://schemas.microsoft.com/office/drawing/2014/main" val="1482643993"/>
                    </a:ext>
                  </a:extLst>
                </a:gridCol>
                <a:gridCol w="1447093">
                  <a:extLst>
                    <a:ext uri="{9D8B030D-6E8A-4147-A177-3AD203B41FA5}">
                      <a16:colId xmlns:a16="http://schemas.microsoft.com/office/drawing/2014/main" val="331342302"/>
                    </a:ext>
                  </a:extLst>
                </a:gridCol>
                <a:gridCol w="2848965">
                  <a:extLst>
                    <a:ext uri="{9D8B030D-6E8A-4147-A177-3AD203B41FA5}">
                      <a16:colId xmlns:a16="http://schemas.microsoft.com/office/drawing/2014/main" val="739959382"/>
                    </a:ext>
                  </a:extLst>
                </a:gridCol>
                <a:gridCol w="934582">
                  <a:extLst>
                    <a:ext uri="{9D8B030D-6E8A-4147-A177-3AD203B41FA5}">
                      <a16:colId xmlns:a16="http://schemas.microsoft.com/office/drawing/2014/main" val="3445578848"/>
                    </a:ext>
                  </a:extLst>
                </a:gridCol>
                <a:gridCol w="1481009">
                  <a:extLst>
                    <a:ext uri="{9D8B030D-6E8A-4147-A177-3AD203B41FA5}">
                      <a16:colId xmlns:a16="http://schemas.microsoft.com/office/drawing/2014/main" val="2545798385"/>
                    </a:ext>
                  </a:extLst>
                </a:gridCol>
                <a:gridCol w="2159336">
                  <a:extLst>
                    <a:ext uri="{9D8B030D-6E8A-4147-A177-3AD203B41FA5}">
                      <a16:colId xmlns:a16="http://schemas.microsoft.com/office/drawing/2014/main" val="2250629735"/>
                    </a:ext>
                  </a:extLst>
                </a:gridCol>
              </a:tblGrid>
              <a:tr h="4738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2482517"/>
                  </a:ext>
                </a:extLst>
              </a:tr>
              <a:tr h="2135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е аллергены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внутрикожного введения по 3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 969,0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3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8695973"/>
                  </a:ext>
                </a:extLst>
              </a:tr>
              <a:tr h="446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эгаспаргаз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 для приготовления раствора для внутримышечного введения и инфузий, 750 МЕ/мл, 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2 263,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885606"/>
                  </a:ext>
                </a:extLst>
              </a:tr>
              <a:tr h="2135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эгинтерферон бета-1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63 мкг/0,5 мл и 94 мкг/0,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-руч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6 747,7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8092223"/>
                  </a:ext>
                </a:extLst>
              </a:tr>
              <a:tr h="2135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эгинтерферон бета-1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125 мкг/0,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-руч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0 460,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09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3596138"/>
                  </a:ext>
                </a:extLst>
              </a:tr>
              <a:tr h="2989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эгфилграстим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одкожного введения 6 мг/0,6 мл предварительно заполненном шприце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7 313,9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7437816"/>
                  </a:ext>
                </a:extLst>
              </a:tr>
              <a:tr h="1519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лтеграви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4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229,8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7510799"/>
                  </a:ext>
                </a:extLst>
              </a:tr>
              <a:tr h="32027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ифампици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лиофилизированный для приготовления раствора для инъекций, 0,15 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8,7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54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9988602"/>
                  </a:ext>
                </a:extLst>
              </a:tr>
              <a:tr h="2135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ифампицин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ониазид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50 мг/7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,5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7393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8781371"/>
                  </a:ext>
                </a:extLst>
              </a:tr>
              <a:tr h="1519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флумиласт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0,5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7,2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087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6042540"/>
                  </a:ext>
                </a:extLst>
              </a:tr>
              <a:tr h="1519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ксолитини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5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 276,8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557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771278"/>
                  </a:ext>
                </a:extLst>
              </a:tr>
              <a:tr h="1519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ксолитини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 071,3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2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540748"/>
                  </a:ext>
                </a:extLst>
              </a:tr>
              <a:tr h="1519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ксолитини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5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 481,5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7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4112816"/>
                  </a:ext>
                </a:extLst>
              </a:tr>
              <a:tr h="1519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фина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 20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1,9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8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5090774"/>
                  </a:ext>
                </a:extLst>
              </a:tr>
              <a:tr h="1519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фина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 40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51,3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5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7721403"/>
                  </a:ext>
                </a:extLst>
              </a:tr>
              <a:tr h="1519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фина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 10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5,9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67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0857938"/>
                  </a:ext>
                </a:extLst>
              </a:tr>
              <a:tr h="2135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льбутам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булайзера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5мг/мл объем 20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22,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881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6804249"/>
                  </a:ext>
                </a:extLst>
              </a:tr>
              <a:tr h="2135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льбутам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эрозоль 100 мкг/доза 200 доз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/ балл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71,5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508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041983"/>
                  </a:ext>
                </a:extLst>
              </a:tr>
              <a:tr h="2989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льметерол и Флутиказ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ингаляций 50 мкг/250 мкг 60 доз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галято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063,2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578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2294839"/>
                  </a:ext>
                </a:extLst>
              </a:tr>
              <a:tr h="2989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льметерол и Флутиказ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эрозоль 25/250 мкг 120 доз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/ балл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994,9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185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4288121"/>
                  </a:ext>
                </a:extLst>
              </a:tr>
              <a:tr h="2989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льметерол и Флутиказ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ингаляций 50 мкг/100 мкг 60 доз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галято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545,3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04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8802142"/>
                  </a:ext>
                </a:extLst>
              </a:tr>
              <a:tr h="2989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льметерол и Флутиказ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эрозоль 25/50 мкг 120 доз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/ балл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226,6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47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5812243"/>
                  </a:ext>
                </a:extLst>
              </a:tr>
              <a:tr h="2989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льметерол и Флутиказ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эрозоль 25/125 мкг 120 доз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/ балл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227,6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36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3888152"/>
                  </a:ext>
                </a:extLst>
              </a:tr>
              <a:tr h="2989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льметерол и Флутиказ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ингаляций 50 мкг/500 мкг 60 доз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галято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 037,9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402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9382681"/>
                  </a:ext>
                </a:extLst>
              </a:tr>
              <a:tr h="2135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ликоны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мульсия для приема внутрь 66.66 мг/мл 30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нка/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319,5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3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1183960"/>
                  </a:ext>
                </a:extLst>
              </a:tr>
              <a:tr h="2135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ликоны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спензия оральная, 40 мг/мл 30 мл;  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нка/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179,1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5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30" marR="5030" marT="503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8712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4125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290946" y="307570"/>
          <a:ext cx="11795759" cy="61943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3890">
                  <a:extLst>
                    <a:ext uri="{9D8B030D-6E8A-4147-A177-3AD203B41FA5}">
                      <a16:colId xmlns:a16="http://schemas.microsoft.com/office/drawing/2014/main" val="3255978477"/>
                    </a:ext>
                  </a:extLst>
                </a:gridCol>
                <a:gridCol w="1223150">
                  <a:extLst>
                    <a:ext uri="{9D8B030D-6E8A-4147-A177-3AD203B41FA5}">
                      <a16:colId xmlns:a16="http://schemas.microsoft.com/office/drawing/2014/main" val="2839177757"/>
                    </a:ext>
                  </a:extLst>
                </a:gridCol>
                <a:gridCol w="840915">
                  <a:extLst>
                    <a:ext uri="{9D8B030D-6E8A-4147-A177-3AD203B41FA5}">
                      <a16:colId xmlns:a16="http://schemas.microsoft.com/office/drawing/2014/main" val="2016026996"/>
                    </a:ext>
                  </a:extLst>
                </a:gridCol>
                <a:gridCol w="1467780">
                  <a:extLst>
                    <a:ext uri="{9D8B030D-6E8A-4147-A177-3AD203B41FA5}">
                      <a16:colId xmlns:a16="http://schemas.microsoft.com/office/drawing/2014/main" val="3407269292"/>
                    </a:ext>
                  </a:extLst>
                </a:gridCol>
                <a:gridCol w="2889694">
                  <a:extLst>
                    <a:ext uri="{9D8B030D-6E8A-4147-A177-3AD203B41FA5}">
                      <a16:colId xmlns:a16="http://schemas.microsoft.com/office/drawing/2014/main" val="2282530383"/>
                    </a:ext>
                  </a:extLst>
                </a:gridCol>
                <a:gridCol w="947943">
                  <a:extLst>
                    <a:ext uri="{9D8B030D-6E8A-4147-A177-3AD203B41FA5}">
                      <a16:colId xmlns:a16="http://schemas.microsoft.com/office/drawing/2014/main" val="3852110744"/>
                    </a:ext>
                  </a:extLst>
                </a:gridCol>
                <a:gridCol w="1502182">
                  <a:extLst>
                    <a:ext uri="{9D8B030D-6E8A-4147-A177-3AD203B41FA5}">
                      <a16:colId xmlns:a16="http://schemas.microsoft.com/office/drawing/2014/main" val="1461374860"/>
                    </a:ext>
                  </a:extLst>
                </a:gridCol>
                <a:gridCol w="2190205">
                  <a:extLst>
                    <a:ext uri="{9D8B030D-6E8A-4147-A177-3AD203B41FA5}">
                      <a16:colId xmlns:a16="http://schemas.microsoft.com/office/drawing/2014/main" val="2014273831"/>
                    </a:ext>
                  </a:extLst>
                </a:gridCol>
              </a:tblGrid>
              <a:tr h="56526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6653986"/>
                  </a:ext>
                </a:extLst>
              </a:tr>
              <a:tr h="22981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ликоны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ли для приема внутрь (эмульсия) 4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нка/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502,7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7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5501904"/>
                  </a:ext>
                </a:extLst>
              </a:tr>
              <a:tr h="1171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мвастат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,0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231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632965"/>
                  </a:ext>
                </a:extLst>
              </a:tr>
              <a:tr h="1171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мвастат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,2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653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4050459"/>
                  </a:ext>
                </a:extLst>
              </a:tr>
              <a:tr h="1171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мвастат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4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6,4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96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9627671"/>
                  </a:ext>
                </a:extLst>
              </a:tr>
              <a:tr h="3447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матропин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****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/ порошок лиофилизированный для приготовления раствора для инъекций 2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 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 693,7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295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5526620"/>
                  </a:ext>
                </a:extLst>
              </a:tr>
              <a:tr h="3447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матропин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****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/ порошок лиофилизированный для приготовления раствора для инъекций 4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 693,7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1939797"/>
                  </a:ext>
                </a:extLst>
              </a:tr>
              <a:tr h="3447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матропин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****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/ порошок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ированны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приготовления раствора для инъекций 8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 693,7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12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277288"/>
                  </a:ext>
                </a:extLst>
              </a:tr>
              <a:tr h="3447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матропин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****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/ порошок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ированны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приготовления раствора для инъекций 1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 693,7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400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4853791"/>
                  </a:ext>
                </a:extLst>
              </a:tr>
              <a:tr h="3447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матропин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****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/ порошок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ированны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приготовления раствора для инъекций 6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 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 693,7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69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0945077"/>
                  </a:ext>
                </a:extLst>
              </a:tr>
              <a:tr h="3447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матропин****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/ порошок лиофилизированный для приготовления раствора для инъекций 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 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 693,7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1743162"/>
                  </a:ext>
                </a:extLst>
              </a:tr>
              <a:tr h="3447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матропин****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/ порошок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ированны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приготовления раствора для инъекций 3,33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 693,7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063141"/>
                  </a:ext>
                </a:extLst>
              </a:tr>
              <a:tr h="3447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матропин****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/ порошок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ированны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приготовления раствора для инъекций 15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 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 693,7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6972998"/>
                  </a:ext>
                </a:extLst>
              </a:tr>
              <a:tr h="3447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матропин****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/ порошок лиофилизированный для приготовления раствора для инъекций 12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 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 693,7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422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5962835"/>
                  </a:ext>
                </a:extLst>
              </a:tr>
              <a:tr h="3447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фосбуви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, с каждой единицей препарата дополнительно предоставляется 1 таблетка Даклатасвир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536,0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9360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1139090"/>
                  </a:ext>
                </a:extLst>
              </a:tr>
              <a:tr h="22981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ирипент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суспензии для приема внутрь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428,1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64" marR="4664" marT="466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84285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1074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49</a:t>
            </a:fld>
            <a:endParaRPr lang="ru-RU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423948" y="141313"/>
          <a:ext cx="11371813" cy="65651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07514">
                  <a:extLst>
                    <a:ext uri="{9D8B030D-6E8A-4147-A177-3AD203B41FA5}">
                      <a16:colId xmlns:a16="http://schemas.microsoft.com/office/drawing/2014/main" val="3951668238"/>
                    </a:ext>
                  </a:extLst>
                </a:gridCol>
                <a:gridCol w="1179190">
                  <a:extLst>
                    <a:ext uri="{9D8B030D-6E8A-4147-A177-3AD203B41FA5}">
                      <a16:colId xmlns:a16="http://schemas.microsoft.com/office/drawing/2014/main" val="778966695"/>
                    </a:ext>
                  </a:extLst>
                </a:gridCol>
                <a:gridCol w="810692">
                  <a:extLst>
                    <a:ext uri="{9D8B030D-6E8A-4147-A177-3AD203B41FA5}">
                      <a16:colId xmlns:a16="http://schemas.microsoft.com/office/drawing/2014/main" val="2726107576"/>
                    </a:ext>
                  </a:extLst>
                </a:gridCol>
                <a:gridCol w="1415028">
                  <a:extLst>
                    <a:ext uri="{9D8B030D-6E8A-4147-A177-3AD203B41FA5}">
                      <a16:colId xmlns:a16="http://schemas.microsoft.com/office/drawing/2014/main" val="3380497115"/>
                    </a:ext>
                  </a:extLst>
                </a:gridCol>
                <a:gridCol w="2785836">
                  <a:extLst>
                    <a:ext uri="{9D8B030D-6E8A-4147-A177-3AD203B41FA5}">
                      <a16:colId xmlns:a16="http://schemas.microsoft.com/office/drawing/2014/main" val="710765007"/>
                    </a:ext>
                  </a:extLst>
                </a:gridCol>
                <a:gridCol w="913872">
                  <a:extLst>
                    <a:ext uri="{9D8B030D-6E8A-4147-A177-3AD203B41FA5}">
                      <a16:colId xmlns:a16="http://schemas.microsoft.com/office/drawing/2014/main" val="4158778000"/>
                    </a:ext>
                  </a:extLst>
                </a:gridCol>
                <a:gridCol w="1448193">
                  <a:extLst>
                    <a:ext uri="{9D8B030D-6E8A-4147-A177-3AD203B41FA5}">
                      <a16:colId xmlns:a16="http://schemas.microsoft.com/office/drawing/2014/main" val="3769111354"/>
                    </a:ext>
                  </a:extLst>
                </a:gridCol>
                <a:gridCol w="2111488">
                  <a:extLst>
                    <a:ext uri="{9D8B030D-6E8A-4147-A177-3AD203B41FA5}">
                      <a16:colId xmlns:a16="http://schemas.microsoft.com/office/drawing/2014/main" val="3196919796"/>
                    </a:ext>
                  </a:extLst>
                </a:gridCol>
              </a:tblGrid>
              <a:tr h="6816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9269269"/>
                  </a:ext>
                </a:extLst>
              </a:tr>
              <a:tr h="1363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ирипент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 670,1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182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9492252"/>
                  </a:ext>
                </a:extLst>
              </a:tr>
              <a:tr h="65317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олбнячный анатоксин в комбинации с дифтерийным анатоксином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фтерийно-столбнячный анатоксин очищенный с уменьшенным содержанием антигенов, жидкий, суспензия для инъекций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0,4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3439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8292962"/>
                  </a:ext>
                </a:extLst>
              </a:tr>
              <a:tr h="2650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гаммадек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внутривенного введения 100 мг/мл 2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 931,3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8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3406002"/>
                  </a:ext>
                </a:extLst>
              </a:tr>
              <a:tr h="2650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кцинилированный желат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фузий 4% 500,0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624,1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075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9503279"/>
                  </a:ext>
                </a:extLst>
              </a:tr>
              <a:tr h="1363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льпир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5,8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51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8999532"/>
                  </a:ext>
                </a:extLst>
              </a:tr>
              <a:tr h="1363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льтиам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 2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2,9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71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8229110"/>
                  </a:ext>
                </a:extLst>
              </a:tr>
              <a:tr h="1363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льтиам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 5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6,3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4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0514550"/>
                  </a:ext>
                </a:extLst>
              </a:tr>
              <a:tr h="2650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льфаметоксазол и Триметоприм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20 мг 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,2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03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4842494"/>
                  </a:ext>
                </a:extLst>
              </a:tr>
              <a:tr h="78380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ыворотка противодифтерийная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парат, полученный из крови лошадей, подвергшихся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ипериммунизации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ифтерийным анатоксином. Сыворотка представляет собой прозрачную или незначительно опалесцирующую жидкость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31,1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3070842"/>
                  </a:ext>
                </a:extLst>
              </a:tr>
              <a:tr h="77989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кролиму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пролонгированного действия 0,5 мг (для больных принимающих лекарственные препараты одного производителя на протяжений всей жизни, перенесших пересадку органов и тканей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8,9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87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1812542"/>
                  </a:ext>
                </a:extLst>
              </a:tr>
              <a:tr h="77989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кролиму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пролонгированного действия 1 мг (для больных принимающих лекарственные препараты одного производителя на протяжений всей жизни, перенесших пересадку органов и тканей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44,3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623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0862268"/>
                  </a:ext>
                </a:extLst>
              </a:tr>
              <a:tr h="1363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лидо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5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818,3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14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8174085"/>
                  </a:ext>
                </a:extLst>
              </a:tr>
              <a:tr h="1363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гафу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4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3,1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25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2420816"/>
                  </a:ext>
                </a:extLst>
              </a:tr>
              <a:tr h="3937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нофовира дизопроксил и Эмтрицитаб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300 мг/2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1,1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2974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8290272"/>
                  </a:ext>
                </a:extLst>
              </a:tr>
              <a:tr h="5225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нофовира дизопроксил и Эмтрицитаб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300 мг/200 мг (дети, состоящие на диспансерном учете, принимают лекарственные препараты одного производителя по достижении 18 лет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17,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72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460" marR="5460" marT="546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13518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8355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TextBox 77">
            <a:extLst>
              <a:ext uri="{FF2B5EF4-FFF2-40B4-BE49-F238E27FC236}">
                <a16:creationId xmlns:a16="http://schemas.microsoft.com/office/drawing/2014/main" id="{3414089A-AC40-4C9D-ABF9-FE46517AA958}"/>
              </a:ext>
            </a:extLst>
          </p:cNvPr>
          <p:cNvSpPr txBox="1"/>
          <p:nvPr/>
        </p:nvSpPr>
        <p:spPr>
          <a:xfrm>
            <a:off x="764549" y="274063"/>
            <a:ext cx="111644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ru-RU" sz="2400" b="1" u="sng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Межведомственный состав конкурсной комиссии на заключение Долгосрочных договоров на поставку ЛС и МИ 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2190742" y="1869602"/>
            <a:ext cx="8956171" cy="415498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Министерство Здравоохранения Республики Казахстан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  <a:hlinkClick r:id="rId2"/>
              </a:rPr>
              <a:t>https://</a:t>
            </a:r>
            <a:r>
              <a:rPr lang="en-US" sz="16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  <a:hlinkClick r:id="rId2"/>
              </a:rPr>
              <a:t>www.gov.kz/memleket/entities/dsm?lang=kk</a:t>
            </a:r>
            <a:endParaRPr lang="kk-KZ" sz="1600" dirty="0" smtClean="0">
              <a:latin typeface="Century Gothic" panose="020B0502020202020204" pitchFamily="34" charset="0"/>
              <a:ea typeface="Noto Sans" panose="020B0502040504020204" pitchFamily="34"/>
              <a:cs typeface="Noto Sans" panose="020B0502040504020204" pitchFamily="34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 Комитет </a:t>
            </a:r>
            <a:r>
              <a:rPr lang="ru-RU" sz="1600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по инвестициям Министерства иностранных дел Республики </a:t>
            </a:r>
            <a:r>
              <a:rPr lang="ru-RU" sz="16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Казахстан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  <a:hlinkClick r:id="rId3"/>
              </a:rPr>
              <a:t>https://</a:t>
            </a:r>
            <a:r>
              <a:rPr lang="en-US" sz="16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  <a:hlinkClick r:id="rId3"/>
              </a:rPr>
              <a:t>www.gov.kz/memleket/entities/invest?lang=kk</a:t>
            </a:r>
            <a:r>
              <a:rPr lang="kk-KZ" sz="16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 </a:t>
            </a:r>
            <a:endParaRPr lang="ru-RU" sz="1600" dirty="0" smtClean="0">
              <a:latin typeface="Century Gothic" panose="020B0502020202020204" pitchFamily="34" charset="0"/>
              <a:ea typeface="Noto Sans" panose="020B0502040504020204" pitchFamily="34"/>
              <a:cs typeface="Noto Sans" panose="020B0502040504020204" pitchFamily="34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Национальный центр экспертизы лекарственных средств МЗ РК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  <a:hlinkClick r:id="rId4"/>
              </a:rPr>
              <a:t>https://www.ndda.kz</a:t>
            </a:r>
            <a:r>
              <a:rPr lang="en-US" sz="16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  <a:hlinkClick r:id="rId4"/>
              </a:rPr>
              <a:t>/</a:t>
            </a:r>
            <a:endParaRPr lang="ru-RU" sz="1600" dirty="0" smtClean="0">
              <a:latin typeface="Century Gothic" panose="020B0502020202020204" pitchFamily="34" charset="0"/>
              <a:ea typeface="Noto Sans" panose="020B0502040504020204" pitchFamily="34"/>
              <a:cs typeface="Noto Sans" panose="020B0502040504020204" pitchFamily="34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ТОО «СК-Фармация» (Единый дистрибьютор)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  <a:hlinkClick r:id="rId5"/>
              </a:rPr>
              <a:t>https://sk-pharmacy.kz</a:t>
            </a:r>
            <a:endParaRPr lang="ru-RU" sz="1600" dirty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НПП </a:t>
            </a:r>
            <a:r>
              <a:rPr lang="ru-RU" sz="1600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«</a:t>
            </a:r>
            <a:r>
              <a:rPr lang="ru-RU" sz="1600" dirty="0" err="1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Атамекен</a:t>
            </a:r>
            <a:r>
              <a:rPr lang="ru-RU" sz="16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»</a:t>
            </a:r>
          </a:p>
          <a:p>
            <a:pPr>
              <a:lnSpc>
                <a:spcPct val="150000"/>
              </a:lnSpc>
            </a:pPr>
            <a:r>
              <a:rPr lang="en-US" sz="1600" dirty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  <a:hlinkClick r:id="rId6"/>
              </a:rPr>
              <a:t>https://atameken.kz</a:t>
            </a:r>
            <a:r>
              <a:rPr lang="en-US" sz="16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  <a:hlinkClick r:id="rId6"/>
              </a:rPr>
              <a:t>/</a:t>
            </a:r>
            <a:endParaRPr lang="ru-RU" sz="1600" dirty="0" smtClean="0">
              <a:latin typeface="Century Gothic" panose="020B0502020202020204" pitchFamily="34" charset="0"/>
              <a:ea typeface="Noto Sans" panose="020B0502040504020204" pitchFamily="34"/>
              <a:cs typeface="Noto Sans" panose="020B0502040504020204" pitchFamily="34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  <a:t>Неправительственные организации</a:t>
            </a:r>
            <a:endParaRPr lang="ru-RU" sz="1600" dirty="0">
              <a:latin typeface="Century Gothic" panose="020B0502020202020204" pitchFamily="34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6471" y="2958497"/>
            <a:ext cx="945242" cy="3572006"/>
          </a:xfrm>
          <a:prstGeom prst="rect">
            <a:avLst/>
          </a:prstGeom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18053" y="1500271"/>
            <a:ext cx="1080683" cy="3524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7863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50</a:t>
            </a:fld>
            <a:endParaRPr lang="ru-RU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490450" y="232756"/>
          <a:ext cx="11263746" cy="65410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00792">
                  <a:extLst>
                    <a:ext uri="{9D8B030D-6E8A-4147-A177-3AD203B41FA5}">
                      <a16:colId xmlns:a16="http://schemas.microsoft.com/office/drawing/2014/main" val="368057150"/>
                    </a:ext>
                  </a:extLst>
                </a:gridCol>
                <a:gridCol w="1167984">
                  <a:extLst>
                    <a:ext uri="{9D8B030D-6E8A-4147-A177-3AD203B41FA5}">
                      <a16:colId xmlns:a16="http://schemas.microsoft.com/office/drawing/2014/main" val="683229838"/>
                    </a:ext>
                  </a:extLst>
                </a:gridCol>
                <a:gridCol w="802989">
                  <a:extLst>
                    <a:ext uri="{9D8B030D-6E8A-4147-A177-3AD203B41FA5}">
                      <a16:colId xmlns:a16="http://schemas.microsoft.com/office/drawing/2014/main" val="1753248153"/>
                    </a:ext>
                  </a:extLst>
                </a:gridCol>
                <a:gridCol w="1401581">
                  <a:extLst>
                    <a:ext uri="{9D8B030D-6E8A-4147-A177-3AD203B41FA5}">
                      <a16:colId xmlns:a16="http://schemas.microsoft.com/office/drawing/2014/main" val="503086108"/>
                    </a:ext>
                  </a:extLst>
                </a:gridCol>
                <a:gridCol w="2759362">
                  <a:extLst>
                    <a:ext uri="{9D8B030D-6E8A-4147-A177-3AD203B41FA5}">
                      <a16:colId xmlns:a16="http://schemas.microsoft.com/office/drawing/2014/main" val="674024119"/>
                    </a:ext>
                  </a:extLst>
                </a:gridCol>
                <a:gridCol w="905188">
                  <a:extLst>
                    <a:ext uri="{9D8B030D-6E8A-4147-A177-3AD203B41FA5}">
                      <a16:colId xmlns:a16="http://schemas.microsoft.com/office/drawing/2014/main" val="305614855"/>
                    </a:ext>
                  </a:extLst>
                </a:gridCol>
                <a:gridCol w="1434430">
                  <a:extLst>
                    <a:ext uri="{9D8B030D-6E8A-4147-A177-3AD203B41FA5}">
                      <a16:colId xmlns:a16="http://schemas.microsoft.com/office/drawing/2014/main" val="3945253649"/>
                    </a:ext>
                  </a:extLst>
                </a:gridCol>
                <a:gridCol w="2091420">
                  <a:extLst>
                    <a:ext uri="{9D8B030D-6E8A-4147-A177-3AD203B41FA5}">
                      <a16:colId xmlns:a16="http://schemas.microsoft.com/office/drawing/2014/main" val="2491886959"/>
                    </a:ext>
                  </a:extLst>
                </a:gridCol>
              </a:tblGrid>
              <a:tr h="7065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2327591"/>
                  </a:ext>
                </a:extLst>
              </a:tr>
              <a:tr h="6911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нофовира дизопроксил и Эмтрицитаб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300 мг/200 мг (для больных из очага Туркестанской области и г. Шымкент, принимающих лекарственные препараты одного производителя на протяжении всей жизни 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17,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3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5263355"/>
                  </a:ext>
                </a:extLst>
              </a:tr>
              <a:tr h="2764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рипарат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одкожного введения 250 мкг/мл 2,4 мл картридж в шприц-ручке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-руч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0 799,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1858761"/>
                  </a:ext>
                </a:extLst>
              </a:tr>
              <a:tr h="1414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рлипресс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0,1 мг/мл 2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527,6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22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3115369"/>
                  </a:ext>
                </a:extLst>
              </a:tr>
              <a:tr h="1414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тракозакт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спензия для инъекций 1 мг/мл 1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7 944,5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4920067"/>
                  </a:ext>
                </a:extLst>
              </a:tr>
              <a:tr h="4146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опентал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натрия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лиофилизированный для приготовления раствора для инъекций 10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77,5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7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6247609"/>
                  </a:ext>
                </a:extLst>
              </a:tr>
              <a:tr h="2764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отропия бро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галяций в комплекте с ингалятором, 2,5 мкг/ингаляция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тридж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 426,6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715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8489644"/>
                  </a:ext>
                </a:extLst>
              </a:tr>
              <a:tr h="4146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отропия бро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ы с порошком для ингаляций в комплекте с ингалятором с доставляемой дозой не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неее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0 мк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3,1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5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2585128"/>
                  </a:ext>
                </a:extLst>
              </a:tr>
              <a:tr h="2764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брамици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галяций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була/контейне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 941,3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1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7915487"/>
                  </a:ext>
                </a:extLst>
              </a:tr>
              <a:tr h="1414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брамиц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ли глазные 0,3%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54,5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46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9799942"/>
                  </a:ext>
                </a:extLst>
              </a:tr>
              <a:tr h="4146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брамиц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ингаляций в капсулах 28 мг (на каждые 56 капсул прилагается 1 ингалятор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984,6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88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0729281"/>
                  </a:ext>
                </a:extLst>
              </a:tr>
              <a:tr h="1414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брамиц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зь глазная 0,3% 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уб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172,0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3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7474773"/>
                  </a:ext>
                </a:extLst>
              </a:tr>
              <a:tr h="1414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пирама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25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1,2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5826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386883"/>
                  </a:ext>
                </a:extLst>
              </a:tr>
              <a:tr h="1414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пирама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5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3,5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7405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7781876"/>
                  </a:ext>
                </a:extLst>
              </a:tr>
              <a:tr h="2764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цилизума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центрат для приготовления инфузионного раствора 20 мг/ мл, 10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8 329,5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4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7599883"/>
                  </a:ext>
                </a:extLst>
              </a:tr>
              <a:tr h="4146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цилизума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одкожных инъекций 162 мг/0,9 мл (на каждые 8 инъекций 4 бесплатно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9 744,1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86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6521064"/>
                  </a:ext>
                </a:extLst>
              </a:tr>
              <a:tr h="2764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цилизума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центрат для приготовления инфузионного раствора 20 мг/мл, 4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 426,1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0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2694488"/>
                  </a:ext>
                </a:extLst>
              </a:tr>
              <a:tr h="2764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абектед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 для приготовления раствора для инфузий, 1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30 502,3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0581779"/>
                  </a:ext>
                </a:extLst>
              </a:tr>
              <a:tr h="2764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еосульфа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раствора для инфузий 10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6 994,1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2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0690500"/>
                  </a:ext>
                </a:extLst>
              </a:tr>
              <a:tr h="1414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иамцинол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зь 0,1% 15 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уб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75,0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2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7073875"/>
                  </a:ext>
                </a:extLst>
              </a:tr>
              <a:tr h="1414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ифлуопераз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,3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2890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79" marR="5579" marT="557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04178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4726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51</a:t>
            </a:fld>
            <a:endParaRPr lang="ru-RU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374072" y="116379"/>
          <a:ext cx="11646132" cy="663920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4583">
                  <a:extLst>
                    <a:ext uri="{9D8B030D-6E8A-4147-A177-3AD203B41FA5}">
                      <a16:colId xmlns:a16="http://schemas.microsoft.com/office/drawing/2014/main" val="3571776017"/>
                    </a:ext>
                  </a:extLst>
                </a:gridCol>
                <a:gridCol w="1207637">
                  <a:extLst>
                    <a:ext uri="{9D8B030D-6E8A-4147-A177-3AD203B41FA5}">
                      <a16:colId xmlns:a16="http://schemas.microsoft.com/office/drawing/2014/main" val="375151426"/>
                    </a:ext>
                  </a:extLst>
                </a:gridCol>
                <a:gridCol w="830250">
                  <a:extLst>
                    <a:ext uri="{9D8B030D-6E8A-4147-A177-3AD203B41FA5}">
                      <a16:colId xmlns:a16="http://schemas.microsoft.com/office/drawing/2014/main" val="869028226"/>
                    </a:ext>
                  </a:extLst>
                </a:gridCol>
                <a:gridCol w="1801218">
                  <a:extLst>
                    <a:ext uri="{9D8B030D-6E8A-4147-A177-3AD203B41FA5}">
                      <a16:colId xmlns:a16="http://schemas.microsoft.com/office/drawing/2014/main" val="776573982"/>
                    </a:ext>
                  </a:extLst>
                </a:gridCol>
                <a:gridCol w="3316778">
                  <a:extLst>
                    <a:ext uri="{9D8B030D-6E8A-4147-A177-3AD203B41FA5}">
                      <a16:colId xmlns:a16="http://schemas.microsoft.com/office/drawing/2014/main" val="715625415"/>
                    </a:ext>
                  </a:extLst>
                </a:gridCol>
                <a:gridCol w="931026">
                  <a:extLst>
                    <a:ext uri="{9D8B030D-6E8A-4147-A177-3AD203B41FA5}">
                      <a16:colId xmlns:a16="http://schemas.microsoft.com/office/drawing/2014/main" val="1012061588"/>
                    </a:ext>
                  </a:extLst>
                </a:gridCol>
                <a:gridCol w="997527">
                  <a:extLst>
                    <a:ext uri="{9D8B030D-6E8A-4147-A177-3AD203B41FA5}">
                      <a16:colId xmlns:a16="http://schemas.microsoft.com/office/drawing/2014/main" val="1286095955"/>
                    </a:ext>
                  </a:extLst>
                </a:gridCol>
                <a:gridCol w="1837113">
                  <a:extLst>
                    <a:ext uri="{9D8B030D-6E8A-4147-A177-3AD203B41FA5}">
                      <a16:colId xmlns:a16="http://schemas.microsoft.com/office/drawing/2014/main" val="3429750554"/>
                    </a:ext>
                  </a:extLst>
                </a:gridCol>
              </a:tblGrid>
              <a:tr h="4073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9496767"/>
                  </a:ext>
                </a:extLst>
              </a:tr>
              <a:tr h="899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ифлуопераз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0,2% 1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,8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97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7140648"/>
                  </a:ext>
                </a:extLst>
              </a:tr>
              <a:tr h="4391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уберкул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, содержащий 2 туберкулиновые единицы (ТЕ) в 0,1 мл, имеющий вид бесцветной прозрачной жидкости или слегка опалесцирующей, не содержащий осадка и посторонних примесей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т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136 424,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0,9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2696929"/>
                  </a:ext>
                </a:extLst>
              </a:tr>
              <a:tr h="3512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актор свертывания крови IX плазменный ***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 для приготовления раствора для инфузий или для внутривенного введения в комплекте с растворителем (вода для инъекций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8,6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4844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6694222"/>
                  </a:ext>
                </a:extLst>
              </a:tr>
              <a:tr h="3512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актор свертывания крови IX рекомбинантный ***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ированный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инъекций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3,0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195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0662477"/>
                  </a:ext>
                </a:extLst>
              </a:tr>
              <a:tr h="52694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актор свертывания крови VIII плазменный без показания лечения болезни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иллебранда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***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приготовления раствор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,7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506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5189814"/>
                  </a:ext>
                </a:extLst>
              </a:tr>
              <a:tr h="8782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актор свертывания крови VIII плазменный без показания лечения болезни Виллебранда с ограничением применения у детей младшего возраста (до 12 лет) ***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приготовления раствор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,5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000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1175062"/>
                  </a:ext>
                </a:extLst>
              </a:tr>
              <a:tr h="95306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актор свертывания крови VIII плазменный с показанием лечения болезни Виллебранда с ограничением применения у детей младшего возраста (до 6 лет) ***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приготовления раствор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3,0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292685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6688252"/>
                  </a:ext>
                </a:extLst>
              </a:tr>
              <a:tr h="7904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актор свертывания крови VIII плазменный с показанием лечения болезни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иллебранда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без возрастного ограничения в применении ***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 для приготовления раствор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6,4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000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8084165"/>
                  </a:ext>
                </a:extLst>
              </a:tr>
              <a:tr h="1141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актор свертывания крови VIII плазменный, для пациентов детского возраста с ингибиторной формой гемофилии А ***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 для приготовления раствора для внутривенного введения во флаконе в комплекте с растворителем и набором для введения, прошедший двойную вирусную инактивацию, в том числе сольвент-детергентным методом, без содержания альбумина, сахарозы и полиэтиленгликоля, с возможностью хранения при температурах до 25оС в течение всего срока годности, в том числе для лечения ингибиторной формы гемофилии методом индукции иммунной толерантност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4,4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01975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6" marR="3716" marT="371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68857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629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>
          <a:xfrm>
            <a:off x="8610600" y="6323099"/>
            <a:ext cx="2743200" cy="365125"/>
          </a:xfrm>
        </p:spPr>
        <p:txBody>
          <a:bodyPr/>
          <a:lstStyle/>
          <a:p>
            <a:fld id="{B6F15528-21DE-4FAA-801E-634DDDAF4B2B}" type="slidenum">
              <a:rPr lang="ru-RU" smtClean="0"/>
              <a:t>52</a:t>
            </a:fld>
            <a:endParaRPr lang="ru-RU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498765" y="182877"/>
          <a:ext cx="11346871" cy="64400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05962">
                  <a:extLst>
                    <a:ext uri="{9D8B030D-6E8A-4147-A177-3AD203B41FA5}">
                      <a16:colId xmlns:a16="http://schemas.microsoft.com/office/drawing/2014/main" val="965666745"/>
                    </a:ext>
                  </a:extLst>
                </a:gridCol>
                <a:gridCol w="1176605">
                  <a:extLst>
                    <a:ext uri="{9D8B030D-6E8A-4147-A177-3AD203B41FA5}">
                      <a16:colId xmlns:a16="http://schemas.microsoft.com/office/drawing/2014/main" val="4121752086"/>
                    </a:ext>
                  </a:extLst>
                </a:gridCol>
                <a:gridCol w="677751">
                  <a:extLst>
                    <a:ext uri="{9D8B030D-6E8A-4147-A177-3AD203B41FA5}">
                      <a16:colId xmlns:a16="http://schemas.microsoft.com/office/drawing/2014/main" val="3379314359"/>
                    </a:ext>
                  </a:extLst>
                </a:gridCol>
                <a:gridCol w="1845426">
                  <a:extLst>
                    <a:ext uri="{9D8B030D-6E8A-4147-A177-3AD203B41FA5}">
                      <a16:colId xmlns:a16="http://schemas.microsoft.com/office/drawing/2014/main" val="2441611086"/>
                    </a:ext>
                  </a:extLst>
                </a:gridCol>
                <a:gridCol w="2901142">
                  <a:extLst>
                    <a:ext uri="{9D8B030D-6E8A-4147-A177-3AD203B41FA5}">
                      <a16:colId xmlns:a16="http://schemas.microsoft.com/office/drawing/2014/main" val="571706775"/>
                    </a:ext>
                  </a:extLst>
                </a:gridCol>
                <a:gridCol w="831273">
                  <a:extLst>
                    <a:ext uri="{9D8B030D-6E8A-4147-A177-3AD203B41FA5}">
                      <a16:colId xmlns:a16="http://schemas.microsoft.com/office/drawing/2014/main" val="3061228872"/>
                    </a:ext>
                  </a:extLst>
                </a:gridCol>
                <a:gridCol w="1438101">
                  <a:extLst>
                    <a:ext uri="{9D8B030D-6E8A-4147-A177-3AD203B41FA5}">
                      <a16:colId xmlns:a16="http://schemas.microsoft.com/office/drawing/2014/main" val="2547830786"/>
                    </a:ext>
                  </a:extLst>
                </a:gridCol>
                <a:gridCol w="1770611">
                  <a:extLst>
                    <a:ext uri="{9D8B030D-6E8A-4147-A177-3AD203B41FA5}">
                      <a16:colId xmlns:a16="http://schemas.microsoft.com/office/drawing/2014/main" val="1818466336"/>
                    </a:ext>
                  </a:extLst>
                </a:gridCol>
              </a:tblGrid>
              <a:tr h="6483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7911277"/>
                  </a:ext>
                </a:extLst>
              </a:tr>
              <a:tr h="7549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актор свертывания крови VIII рекомбинантный с возможностью применения у детей до 12 лет ***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лиофилизированный для инъекций/лиофилизат для приготовления раствора для инъекций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,8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4803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0531535"/>
                  </a:ext>
                </a:extLst>
              </a:tr>
              <a:tr h="2516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нитои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/капсула 1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/ 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,7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9425547"/>
                  </a:ext>
                </a:extLst>
              </a:tr>
              <a:tr h="2516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нотерол и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пратропия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бромид 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эрозоль для ингаляций дозированный 200доз (10мл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744,3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8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9568920"/>
                  </a:ext>
                </a:extLst>
              </a:tr>
              <a:tr h="2516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нотерол и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пратропия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бромид 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галяций 500 мкг/250 мкг/мл, 20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363,8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198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0806138"/>
                  </a:ext>
                </a:extLst>
              </a:tr>
              <a:tr h="2516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нтанил (У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стема терапевтическая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ансдермальная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5 мкг/ч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ту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525,8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6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2059555"/>
                  </a:ext>
                </a:extLst>
              </a:tr>
              <a:tr h="2516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нтанил (У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стема терапевтическая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ансдермальная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75 мкг/ч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ту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472,1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24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5645913"/>
                  </a:ext>
                </a:extLst>
              </a:tr>
              <a:tr h="2516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нтанил (У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стема терапевтическая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ансдермальная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50мкг/ч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ту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662,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75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9766309"/>
                  </a:ext>
                </a:extLst>
              </a:tr>
              <a:tr h="3774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лграстим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0,3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-тюбик/ флак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 088,4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17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632097"/>
                  </a:ext>
                </a:extLst>
              </a:tr>
              <a:tr h="1258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удараби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365,4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7282691"/>
                  </a:ext>
                </a:extLst>
              </a:tr>
              <a:tr h="2516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утиказ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эрозоль дозированный для ингаляций 50 мкг/доза, 120 доз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/балл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625,5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2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539755"/>
                  </a:ext>
                </a:extLst>
              </a:tr>
              <a:tr h="2516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утиказ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эрозоль дозированный для ингаляций 125 мкг/доза, 60 доз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/балл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340,7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55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0277481"/>
                  </a:ext>
                </a:extLst>
              </a:tr>
              <a:tr h="2516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утиказ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эрозоль дозированный для ингаляций 250 мкг/доза, 120 доз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/балл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673,4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83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5867"/>
                  </a:ext>
                </a:extLst>
              </a:tr>
              <a:tr h="37745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ндапаринукс натрия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одкожного введения в предварительно наполненных шприцах 2,5 мг/0,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687,4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088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1840939"/>
                  </a:ext>
                </a:extLst>
              </a:tr>
              <a:tr h="62909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отерол и Будесон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ингаляций 4,5/160 мкг 120 доз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лон/ингалятор/капсулы в комплекте с ингалятором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 263,5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24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9791381"/>
                  </a:ext>
                </a:extLst>
              </a:tr>
              <a:tr h="2516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отерол и Будесон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эрозоль для ингаляций, дозированный 4,5/80 мкг/доза 120 доз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тейне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 795,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36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1753045"/>
                  </a:ext>
                </a:extLst>
              </a:tr>
              <a:tr h="62909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отерол и Будесон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ингаляций 4,5/160 мкг 60 доз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лон/ингалятор/капсулы в комплекте с ингалятором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278,3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31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46128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4073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53</a:t>
            </a:fld>
            <a:endParaRPr lang="ru-RU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390697" y="224449"/>
          <a:ext cx="11413376" cy="65302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10100">
                  <a:extLst>
                    <a:ext uri="{9D8B030D-6E8A-4147-A177-3AD203B41FA5}">
                      <a16:colId xmlns:a16="http://schemas.microsoft.com/office/drawing/2014/main" val="587841124"/>
                    </a:ext>
                  </a:extLst>
                </a:gridCol>
                <a:gridCol w="1183501">
                  <a:extLst>
                    <a:ext uri="{9D8B030D-6E8A-4147-A177-3AD203B41FA5}">
                      <a16:colId xmlns:a16="http://schemas.microsoft.com/office/drawing/2014/main" val="4133798604"/>
                    </a:ext>
                  </a:extLst>
                </a:gridCol>
                <a:gridCol w="813656">
                  <a:extLst>
                    <a:ext uri="{9D8B030D-6E8A-4147-A177-3AD203B41FA5}">
                      <a16:colId xmlns:a16="http://schemas.microsoft.com/office/drawing/2014/main" val="2768406203"/>
                    </a:ext>
                  </a:extLst>
                </a:gridCol>
                <a:gridCol w="1420199">
                  <a:extLst>
                    <a:ext uri="{9D8B030D-6E8A-4147-A177-3AD203B41FA5}">
                      <a16:colId xmlns:a16="http://schemas.microsoft.com/office/drawing/2014/main" val="1762182147"/>
                    </a:ext>
                  </a:extLst>
                </a:gridCol>
                <a:gridCol w="2796017">
                  <a:extLst>
                    <a:ext uri="{9D8B030D-6E8A-4147-A177-3AD203B41FA5}">
                      <a16:colId xmlns:a16="http://schemas.microsoft.com/office/drawing/2014/main" val="4259074933"/>
                    </a:ext>
                  </a:extLst>
                </a:gridCol>
                <a:gridCol w="917212">
                  <a:extLst>
                    <a:ext uri="{9D8B030D-6E8A-4147-A177-3AD203B41FA5}">
                      <a16:colId xmlns:a16="http://schemas.microsoft.com/office/drawing/2014/main" val="3326742916"/>
                    </a:ext>
                  </a:extLst>
                </a:gridCol>
                <a:gridCol w="1453486">
                  <a:extLst>
                    <a:ext uri="{9D8B030D-6E8A-4147-A177-3AD203B41FA5}">
                      <a16:colId xmlns:a16="http://schemas.microsoft.com/office/drawing/2014/main" val="751878062"/>
                    </a:ext>
                  </a:extLst>
                </a:gridCol>
                <a:gridCol w="2119205">
                  <a:extLst>
                    <a:ext uri="{9D8B030D-6E8A-4147-A177-3AD203B41FA5}">
                      <a16:colId xmlns:a16="http://schemas.microsoft.com/office/drawing/2014/main" val="3592478072"/>
                    </a:ext>
                  </a:extLst>
                </a:gridCol>
              </a:tblGrid>
              <a:tr h="54863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0747650"/>
                  </a:ext>
                </a:extLst>
              </a:tr>
              <a:tr h="2463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отерол и Будесон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эрозоль для ингаляций, дозированный 4,5 /160 мкг/доза 120 доз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тейне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 912,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178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669621"/>
                  </a:ext>
                </a:extLst>
              </a:tr>
              <a:tr h="6157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отерол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десонид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ингаляций 9/320 мкг 60 доз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лон/ингалятор/капсулы в комплекте с ингалятором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 088,8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83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2724733"/>
                  </a:ext>
                </a:extLst>
              </a:tr>
              <a:tr h="6157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отерол и Будесонид 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ингаляций дозированный 4,5/80  мкг/доза 60доз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лон/ингалятор/капсулы в комплекте с ингалятором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 880,2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7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9259921"/>
                  </a:ext>
                </a:extLst>
              </a:tr>
              <a:tr h="6157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отерол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десонид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ингаляций дозированный 4,5/80 мкг/доза 120доз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лон/ингалятор/капсулы в комплекте с ингалятором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 656,3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58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8608774"/>
                  </a:ext>
                </a:extLst>
              </a:tr>
              <a:tr h="1231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лорамбуци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0,5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82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451337"/>
                  </a:ext>
                </a:extLst>
              </a:tr>
              <a:tr h="2463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лорамфеник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раствора для инъекций 10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5,5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0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0247797"/>
                  </a:ext>
                </a:extLst>
              </a:tr>
              <a:tr h="1231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лорпромаз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2,5% 2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,7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253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4641899"/>
                  </a:ext>
                </a:extLst>
              </a:tr>
              <a:tr h="1231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лорпромаз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5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5,2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6553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1255957"/>
                  </a:ext>
                </a:extLst>
              </a:tr>
              <a:tr h="1231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лорпромаз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0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7,1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2641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1673296"/>
                  </a:ext>
                </a:extLst>
              </a:tr>
              <a:tr h="1231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тириз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оральный 120 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тыл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96,6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7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3742453"/>
                  </a:ext>
                </a:extLst>
              </a:tr>
              <a:tr h="2463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фиксим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анулы/порошок для приготовления суспензии для приема внутрь 100 мг/5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350,1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3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8053401"/>
                  </a:ext>
                </a:extLst>
              </a:tr>
              <a:tr h="1231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фиксим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40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070,5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3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3072610"/>
                  </a:ext>
                </a:extLst>
              </a:tr>
              <a:tr h="2463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фуроксим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анулы для приготовления суспензии для приема внутрь 125 мг/5мл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234,0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79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6020910"/>
                  </a:ext>
                </a:extLst>
              </a:tr>
              <a:tr h="1231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иклезон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эрозоль для ингаляций 80 мкг/доза 60 доз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854,2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57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258775"/>
                  </a:ext>
                </a:extLst>
              </a:tr>
              <a:tr h="2463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иклезон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эрозоль для ингаляций 160 мкг/доза 60 доз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043,5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0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3874057"/>
                  </a:ext>
                </a:extLst>
              </a:tr>
              <a:tr h="1231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иклоспор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2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7,7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911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2648198"/>
                  </a:ext>
                </a:extLst>
              </a:tr>
              <a:tr h="49260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иклоспор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25 мг (для больных принимающих лекарственные препараты одного производителя на протяжений всей жизни, перенесших пересадку органов и тканей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7,7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930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7389964"/>
                  </a:ext>
                </a:extLst>
              </a:tr>
              <a:tr h="1231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иклоспор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риема внутрь 100 мг/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 828,1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7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2963676"/>
                  </a:ext>
                </a:extLst>
              </a:tr>
              <a:tr h="6157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иклоспор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100 мг (для больных принимающих лекарственные препараты одного производителя на протяжений всей жизни, перенесших пересадку органов и тканей)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68,2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2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7386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703220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54</a:t>
            </a:fld>
            <a:endParaRPr lang="ru-RU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465514" y="205406"/>
          <a:ext cx="11064238" cy="63335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88377">
                  <a:extLst>
                    <a:ext uri="{9D8B030D-6E8A-4147-A177-3AD203B41FA5}">
                      <a16:colId xmlns:a16="http://schemas.microsoft.com/office/drawing/2014/main" val="2204267753"/>
                    </a:ext>
                  </a:extLst>
                </a:gridCol>
                <a:gridCol w="1147297">
                  <a:extLst>
                    <a:ext uri="{9D8B030D-6E8A-4147-A177-3AD203B41FA5}">
                      <a16:colId xmlns:a16="http://schemas.microsoft.com/office/drawing/2014/main" val="1006099401"/>
                    </a:ext>
                  </a:extLst>
                </a:gridCol>
                <a:gridCol w="788766">
                  <a:extLst>
                    <a:ext uri="{9D8B030D-6E8A-4147-A177-3AD203B41FA5}">
                      <a16:colId xmlns:a16="http://schemas.microsoft.com/office/drawing/2014/main" val="163410006"/>
                    </a:ext>
                  </a:extLst>
                </a:gridCol>
                <a:gridCol w="1376756">
                  <a:extLst>
                    <a:ext uri="{9D8B030D-6E8A-4147-A177-3AD203B41FA5}">
                      <a16:colId xmlns:a16="http://schemas.microsoft.com/office/drawing/2014/main" val="350676190"/>
                    </a:ext>
                  </a:extLst>
                </a:gridCol>
                <a:gridCol w="2710488">
                  <a:extLst>
                    <a:ext uri="{9D8B030D-6E8A-4147-A177-3AD203B41FA5}">
                      <a16:colId xmlns:a16="http://schemas.microsoft.com/office/drawing/2014/main" val="1902717474"/>
                    </a:ext>
                  </a:extLst>
                </a:gridCol>
                <a:gridCol w="889154">
                  <a:extLst>
                    <a:ext uri="{9D8B030D-6E8A-4147-A177-3AD203B41FA5}">
                      <a16:colId xmlns:a16="http://schemas.microsoft.com/office/drawing/2014/main" val="3195144857"/>
                    </a:ext>
                  </a:extLst>
                </a:gridCol>
                <a:gridCol w="1409023">
                  <a:extLst>
                    <a:ext uri="{9D8B030D-6E8A-4147-A177-3AD203B41FA5}">
                      <a16:colId xmlns:a16="http://schemas.microsoft.com/office/drawing/2014/main" val="1204347635"/>
                    </a:ext>
                  </a:extLst>
                </a:gridCol>
                <a:gridCol w="2054377">
                  <a:extLst>
                    <a:ext uri="{9D8B030D-6E8A-4147-A177-3AD203B41FA5}">
                      <a16:colId xmlns:a16="http://schemas.microsoft.com/office/drawing/2014/main" val="1057923573"/>
                    </a:ext>
                  </a:extLst>
                </a:gridCol>
              </a:tblGrid>
              <a:tr h="5830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6428284"/>
                  </a:ext>
                </a:extLst>
              </a:tr>
              <a:tr h="6349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иклоспори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100 мг (для больных принимающих лекарственные препараты одного производителя на протяжений всей жизни, перенесших пересадку органов и тканей)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68,2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9368187"/>
                  </a:ext>
                </a:extLst>
              </a:tr>
              <a:tr h="1269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иклоспор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5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1,3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392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5922886"/>
                  </a:ext>
                </a:extLst>
              </a:tr>
              <a:tr h="6349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иклоспори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50 мг (для больных принимающих лекарственные препараты одного производителя на протяжений всей жизни, перенесших пересадку органов и тканей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5,8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140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76759411"/>
                  </a:ext>
                </a:extLst>
              </a:tr>
              <a:tr h="1269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иклоспор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1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6,9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14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3570879"/>
                  </a:ext>
                </a:extLst>
              </a:tr>
              <a:tr h="6349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иклоспори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100 мг (для больных принимающих лекарственные препараты одного производителя на протяжений всей жизни, перенесших пересадку органов и тканей)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68,2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961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6830006"/>
                  </a:ext>
                </a:extLst>
              </a:tr>
              <a:tr h="6349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иклоспор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50 мг (для больных принимающих лекарственные препараты одного производителя на протяжений всей жизни, перенесших пересадку органов и тканей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5,8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5200618"/>
                  </a:ext>
                </a:extLst>
              </a:tr>
              <a:tr h="6349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иклоспор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25 мг (для больных принимающих лекарственные препараты одного производителя на протяжений всей жизни, перенесших пересадку органов и тканей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7,7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58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102774"/>
                  </a:ext>
                </a:extLst>
              </a:tr>
              <a:tr h="1269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иклофосфа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5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7,8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0102544"/>
                  </a:ext>
                </a:extLst>
              </a:tr>
              <a:tr h="2539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иклофосфа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раствора для инъекций, 5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260,1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60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3449306"/>
                  </a:ext>
                </a:extLst>
              </a:tr>
              <a:tr h="2539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иклофосфа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ошок для приготовления раствора для инъекций, 10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501,8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82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8807422"/>
                  </a:ext>
                </a:extLst>
              </a:tr>
              <a:tr h="2539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ипротер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сляный раствор для внутримышечных инъекций 300 мг/3 мл 3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267,8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2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8464842"/>
                  </a:ext>
                </a:extLst>
              </a:tr>
              <a:tr h="5079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итараб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и инфузий 100 мг/ порошок лиофилизированный для приготовления раствора для инъекций 1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79,6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29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5872646"/>
                  </a:ext>
                </a:extLst>
              </a:tr>
              <a:tr h="5079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итараб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и инфузий 1000 мг/ порошок лиофилизированный для приготовления раствора для инъекций 10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916,1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6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506281"/>
                  </a:ext>
                </a:extLst>
              </a:tr>
              <a:tr h="1269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веролиму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0,2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65,6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97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31" marR="5131" marT="513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21282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8548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>
          <a:xfrm>
            <a:off x="7962950" y="6270646"/>
            <a:ext cx="3749683" cy="462663"/>
          </a:xfrm>
        </p:spPr>
        <p:txBody>
          <a:bodyPr/>
          <a:lstStyle/>
          <a:p>
            <a:fld id="{B6F15528-21DE-4FAA-801E-634DDDAF4B2B}" type="slidenum">
              <a:rPr lang="ru-RU" smtClean="0"/>
              <a:t>55</a:t>
            </a:fld>
            <a:endParaRPr lang="ru-RU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556953" y="129245"/>
          <a:ext cx="11155680" cy="66040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94067">
                  <a:extLst>
                    <a:ext uri="{9D8B030D-6E8A-4147-A177-3AD203B41FA5}">
                      <a16:colId xmlns:a16="http://schemas.microsoft.com/office/drawing/2014/main" val="1435585972"/>
                    </a:ext>
                  </a:extLst>
                </a:gridCol>
                <a:gridCol w="1156779">
                  <a:extLst>
                    <a:ext uri="{9D8B030D-6E8A-4147-A177-3AD203B41FA5}">
                      <a16:colId xmlns:a16="http://schemas.microsoft.com/office/drawing/2014/main" val="1055812061"/>
                    </a:ext>
                  </a:extLst>
                </a:gridCol>
                <a:gridCol w="795284">
                  <a:extLst>
                    <a:ext uri="{9D8B030D-6E8A-4147-A177-3AD203B41FA5}">
                      <a16:colId xmlns:a16="http://schemas.microsoft.com/office/drawing/2014/main" val="1583432053"/>
                    </a:ext>
                  </a:extLst>
                </a:gridCol>
                <a:gridCol w="1388134">
                  <a:extLst>
                    <a:ext uri="{9D8B030D-6E8A-4147-A177-3AD203B41FA5}">
                      <a16:colId xmlns:a16="http://schemas.microsoft.com/office/drawing/2014/main" val="3567773093"/>
                    </a:ext>
                  </a:extLst>
                </a:gridCol>
                <a:gridCol w="2732889">
                  <a:extLst>
                    <a:ext uri="{9D8B030D-6E8A-4147-A177-3AD203B41FA5}">
                      <a16:colId xmlns:a16="http://schemas.microsoft.com/office/drawing/2014/main" val="2068100501"/>
                    </a:ext>
                  </a:extLst>
                </a:gridCol>
                <a:gridCol w="896503">
                  <a:extLst>
                    <a:ext uri="{9D8B030D-6E8A-4147-A177-3AD203B41FA5}">
                      <a16:colId xmlns:a16="http://schemas.microsoft.com/office/drawing/2014/main" val="4015481627"/>
                    </a:ext>
                  </a:extLst>
                </a:gridCol>
                <a:gridCol w="1420667">
                  <a:extLst>
                    <a:ext uri="{9D8B030D-6E8A-4147-A177-3AD203B41FA5}">
                      <a16:colId xmlns:a16="http://schemas.microsoft.com/office/drawing/2014/main" val="1010455046"/>
                    </a:ext>
                  </a:extLst>
                </a:gridCol>
                <a:gridCol w="2071357">
                  <a:extLst>
                    <a:ext uri="{9D8B030D-6E8A-4147-A177-3AD203B41FA5}">
                      <a16:colId xmlns:a16="http://schemas.microsoft.com/office/drawing/2014/main" val="2930079901"/>
                    </a:ext>
                  </a:extLst>
                </a:gridCol>
              </a:tblGrid>
              <a:tr h="9830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6849495"/>
                  </a:ext>
                </a:extLst>
              </a:tr>
              <a:tr h="142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веролиму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0,7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407,2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19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438657"/>
                  </a:ext>
                </a:extLst>
              </a:tr>
              <a:tr h="142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веролиму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 536,9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8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7105924"/>
                  </a:ext>
                </a:extLst>
              </a:tr>
              <a:tr h="142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веролиму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 823,6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745957"/>
                  </a:ext>
                </a:extLst>
              </a:tr>
              <a:tr h="2856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зомепраз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 для приготовления раствора для внутривенного введения 4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342,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009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904665"/>
                  </a:ext>
                </a:extLst>
              </a:tr>
              <a:tr h="2856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лосульфаза альф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центрат для приготовления раствора для инфузий 1 мг/мл 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3 208,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3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2455876"/>
                  </a:ext>
                </a:extLst>
              </a:tr>
              <a:tr h="142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мицизума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150 мг/1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771 050,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0162877"/>
                  </a:ext>
                </a:extLst>
              </a:tr>
              <a:tr h="142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мицизума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60 мг/0,4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908 420,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7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8884746"/>
                  </a:ext>
                </a:extLst>
              </a:tr>
              <a:tr h="142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мицизумаб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105 мг/0,7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339 735,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7557233"/>
                  </a:ext>
                </a:extLst>
              </a:tr>
              <a:tr h="142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мицизумаб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30 мг/1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54 210,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7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945268"/>
                  </a:ext>
                </a:extLst>
              </a:tr>
              <a:tr h="5713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мтрицитабин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нофовира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зопроксил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илпивири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00 мг/300 мг/25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516,8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94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1672375"/>
                  </a:ext>
                </a:extLst>
              </a:tr>
              <a:tr h="85699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мтрицитабин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нофовира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зопроксил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илпивири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00 мг/300 мг/25 мг (пациенты из очага Туркестанской области и г. Шымкент с ВИЧ-инфекцией принимают лекарственные препараты одного производителя на протяжении всей жизни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516,8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5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117279"/>
                  </a:ext>
                </a:extLst>
              </a:tr>
              <a:tr h="7141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мтрицитабин, Тенофовира дизопроксил и Рилпивир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00 мг/300 мг/25 мг (дети, состоящие на диспансерном учете, принимают лекарственные препараты одного производителя по достижении 18 лет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516,8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3693479"/>
                  </a:ext>
                </a:extLst>
              </a:tr>
              <a:tr h="5713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мтрицитабин, Тенофовира дизопроксил и Эфавиренз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00 мг/300 мг/600 мг 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8,2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543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3217137"/>
                  </a:ext>
                </a:extLst>
              </a:tr>
              <a:tr h="142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нзалута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4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 534,0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426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0723509"/>
                  </a:ext>
                </a:extLst>
              </a:tr>
              <a:tr h="2856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ноксапар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в шприцах 4000 анти-Ха МЕ/0,4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010,3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967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4387803"/>
                  </a:ext>
                </a:extLst>
              </a:tr>
              <a:tr h="2856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ноксапар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в шприцах 8000 анти-Ха МЕ/0,8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736,8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84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1211603"/>
                  </a:ext>
                </a:extLst>
              </a:tr>
              <a:tr h="2856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ноксапар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в шприцах 6000 анти-Ха МЕ/0,6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529,2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201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33" marR="5833" marT="583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32814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580546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56</a:t>
            </a:fld>
            <a:endParaRPr lang="ru-RU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282634" y="182880"/>
          <a:ext cx="11421686" cy="65314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10616">
                  <a:extLst>
                    <a:ext uri="{9D8B030D-6E8A-4147-A177-3AD203B41FA5}">
                      <a16:colId xmlns:a16="http://schemas.microsoft.com/office/drawing/2014/main" val="1672541246"/>
                    </a:ext>
                  </a:extLst>
                </a:gridCol>
                <a:gridCol w="1184363">
                  <a:extLst>
                    <a:ext uri="{9D8B030D-6E8A-4147-A177-3AD203B41FA5}">
                      <a16:colId xmlns:a16="http://schemas.microsoft.com/office/drawing/2014/main" val="887554084"/>
                    </a:ext>
                  </a:extLst>
                </a:gridCol>
                <a:gridCol w="814248">
                  <a:extLst>
                    <a:ext uri="{9D8B030D-6E8A-4147-A177-3AD203B41FA5}">
                      <a16:colId xmlns:a16="http://schemas.microsoft.com/office/drawing/2014/main" val="4020568772"/>
                    </a:ext>
                  </a:extLst>
                </a:gridCol>
                <a:gridCol w="1421234">
                  <a:extLst>
                    <a:ext uri="{9D8B030D-6E8A-4147-A177-3AD203B41FA5}">
                      <a16:colId xmlns:a16="http://schemas.microsoft.com/office/drawing/2014/main" val="817630637"/>
                    </a:ext>
                  </a:extLst>
                </a:gridCol>
                <a:gridCol w="2798053">
                  <a:extLst>
                    <a:ext uri="{9D8B030D-6E8A-4147-A177-3AD203B41FA5}">
                      <a16:colId xmlns:a16="http://schemas.microsoft.com/office/drawing/2014/main" val="3263346667"/>
                    </a:ext>
                  </a:extLst>
                </a:gridCol>
                <a:gridCol w="917881">
                  <a:extLst>
                    <a:ext uri="{9D8B030D-6E8A-4147-A177-3AD203B41FA5}">
                      <a16:colId xmlns:a16="http://schemas.microsoft.com/office/drawing/2014/main" val="676281961"/>
                    </a:ext>
                  </a:extLst>
                </a:gridCol>
                <a:gridCol w="1454543">
                  <a:extLst>
                    <a:ext uri="{9D8B030D-6E8A-4147-A177-3AD203B41FA5}">
                      <a16:colId xmlns:a16="http://schemas.microsoft.com/office/drawing/2014/main" val="1375154772"/>
                    </a:ext>
                  </a:extLst>
                </a:gridCol>
                <a:gridCol w="2120748">
                  <a:extLst>
                    <a:ext uri="{9D8B030D-6E8A-4147-A177-3AD203B41FA5}">
                      <a16:colId xmlns:a16="http://schemas.microsoft.com/office/drawing/2014/main" val="2971320085"/>
                    </a:ext>
                  </a:extLst>
                </a:gridCol>
              </a:tblGrid>
              <a:tr h="103129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5106258"/>
                  </a:ext>
                </a:extLst>
              </a:tr>
              <a:tr h="1498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пинефр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0,18 % 1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2,1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221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8552614"/>
                  </a:ext>
                </a:extLst>
              </a:tr>
              <a:tr h="44953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поэтин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альф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в готовых к употреблению шприцах 2000 МЕ/0,5 Биосимиля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549,7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71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0834348"/>
                  </a:ext>
                </a:extLst>
              </a:tr>
              <a:tr h="5993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поэтин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альф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в готовых к употреблению шприцах 40000 МЕ/1,0 мл с возможностью применения в период беременности и лактаци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 057,4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9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7749577"/>
                  </a:ext>
                </a:extLst>
              </a:tr>
              <a:tr h="5993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поэтин альф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в готовых к употреблению шприцах 2000 МЕ/0,5 мл с возможностью применения в период беременности и лактаци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754,3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2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0141049"/>
                  </a:ext>
                </a:extLst>
              </a:tr>
              <a:tr h="44953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поэтин альф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в готовых к употреблению шприцах 40000 МЕ/1,0 мл </a:t>
                      </a:r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иосимиля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 057,4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4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1269027"/>
                  </a:ext>
                </a:extLst>
              </a:tr>
              <a:tr h="1498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поэтин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зет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, 40000 МЕ/1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 905,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84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4568428"/>
                  </a:ext>
                </a:extLst>
              </a:tr>
              <a:tr h="1498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поэтин зет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, 2000 МЕ/0,6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приц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956,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033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4797214"/>
                  </a:ext>
                </a:extLst>
              </a:tr>
              <a:tr h="1498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просарта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6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7,1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8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3809533"/>
                  </a:ext>
                </a:extLst>
              </a:tr>
              <a:tr h="29969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ргокальцифер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масляный для приема внутрь 0,125% 10мл/ капл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5,3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86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331980"/>
                  </a:ext>
                </a:extLst>
              </a:tr>
              <a:tr h="44953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ртапенем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офилизат</a:t>
                      </a:r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приготовления раствора для внутривенных и внутримышечных инъекций 100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 599,1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24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8727482"/>
                  </a:ext>
                </a:extLst>
              </a:tr>
              <a:tr h="1498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тамбут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инъекций 10% 20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513,0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873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6571956"/>
                  </a:ext>
                </a:extLst>
              </a:tr>
              <a:tr h="5993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танерцеп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одкожного введения/ порошок лиофилизированный для приготовления раствора для инъекций в комплекте с растворителем 25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 177,7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61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9259838"/>
                  </a:ext>
                </a:extLst>
              </a:tr>
              <a:tr h="44953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танерцепт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подкожного введения/ раствор для инъекций в предвари тельно наполненных шприц-ручках 5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/шприц-руч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 109,3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6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7429002"/>
                  </a:ext>
                </a:extLst>
              </a:tr>
              <a:tr h="1498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тосукси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 25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6,6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76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459457"/>
                  </a:ext>
                </a:extLst>
              </a:tr>
              <a:tr h="5993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травир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00 мг  (дети, состоящие на диспансерном учете, принимают лекарственные препараты одного производителя по достижении 18 лет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22,14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40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969" marR="5969" marT="596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10931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1858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57</a:t>
            </a:fld>
            <a:endParaRPr lang="ru-RU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432262" y="382384"/>
          <a:ext cx="11413375" cy="60008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10101">
                  <a:extLst>
                    <a:ext uri="{9D8B030D-6E8A-4147-A177-3AD203B41FA5}">
                      <a16:colId xmlns:a16="http://schemas.microsoft.com/office/drawing/2014/main" val="827732872"/>
                    </a:ext>
                  </a:extLst>
                </a:gridCol>
                <a:gridCol w="1183500">
                  <a:extLst>
                    <a:ext uri="{9D8B030D-6E8A-4147-A177-3AD203B41FA5}">
                      <a16:colId xmlns:a16="http://schemas.microsoft.com/office/drawing/2014/main" val="443889519"/>
                    </a:ext>
                  </a:extLst>
                </a:gridCol>
                <a:gridCol w="813655">
                  <a:extLst>
                    <a:ext uri="{9D8B030D-6E8A-4147-A177-3AD203B41FA5}">
                      <a16:colId xmlns:a16="http://schemas.microsoft.com/office/drawing/2014/main" val="1169951013"/>
                    </a:ext>
                  </a:extLst>
                </a:gridCol>
                <a:gridCol w="1420200">
                  <a:extLst>
                    <a:ext uri="{9D8B030D-6E8A-4147-A177-3AD203B41FA5}">
                      <a16:colId xmlns:a16="http://schemas.microsoft.com/office/drawing/2014/main" val="4070193489"/>
                    </a:ext>
                  </a:extLst>
                </a:gridCol>
                <a:gridCol w="2796017">
                  <a:extLst>
                    <a:ext uri="{9D8B030D-6E8A-4147-A177-3AD203B41FA5}">
                      <a16:colId xmlns:a16="http://schemas.microsoft.com/office/drawing/2014/main" val="1351009432"/>
                    </a:ext>
                  </a:extLst>
                </a:gridCol>
                <a:gridCol w="917213">
                  <a:extLst>
                    <a:ext uri="{9D8B030D-6E8A-4147-A177-3AD203B41FA5}">
                      <a16:colId xmlns:a16="http://schemas.microsoft.com/office/drawing/2014/main" val="1593604922"/>
                    </a:ext>
                  </a:extLst>
                </a:gridCol>
                <a:gridCol w="1453485">
                  <a:extLst>
                    <a:ext uri="{9D8B030D-6E8A-4147-A177-3AD203B41FA5}">
                      <a16:colId xmlns:a16="http://schemas.microsoft.com/office/drawing/2014/main" val="3533078295"/>
                    </a:ext>
                  </a:extLst>
                </a:gridCol>
                <a:gridCol w="2119204">
                  <a:extLst>
                    <a:ext uri="{9D8B030D-6E8A-4147-A177-3AD203B41FA5}">
                      <a16:colId xmlns:a16="http://schemas.microsoft.com/office/drawing/2014/main" val="1989505397"/>
                    </a:ext>
                  </a:extLst>
                </a:gridCol>
              </a:tblGrid>
              <a:tr h="8811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а мед.  помощи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позиции  приказа ЕД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НН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карственная  форм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д.изм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ельная  цена МЗ РК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2024 года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3917102"/>
                  </a:ext>
                </a:extLst>
              </a:tr>
              <a:tr h="6382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травир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00 мг (дети, состоящие на диспансерном учете, принимают лекарственные препараты одного производителя по достижении 18 лет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644,2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0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1054719"/>
                  </a:ext>
                </a:extLst>
              </a:tr>
              <a:tr h="9574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травири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00 мг (пациенты из очага Туркестанской области и г. Шымкент с ВИЧ-инфекцией принимают лекарственные препараты одного производителя на протяжении всей жизни)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644,2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8786325"/>
                  </a:ext>
                </a:extLst>
              </a:tr>
              <a:tr h="7978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кцина против клещевого энцефалита - инактивированный цельный виру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спензия для внутримышечного введения 0,25 мл/доз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з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313,9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8809021"/>
                  </a:ext>
                </a:extLst>
              </a:tr>
              <a:tr h="31913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муноглобулин Анти-</a:t>
                      </a:r>
                      <a:r>
                        <a:rPr lang="en-US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(Rh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внутримышечных инъекций 625 МЕ/мл по 2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п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444,8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5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7265117"/>
                  </a:ext>
                </a:extLst>
              </a:tr>
              <a:tr h="6382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амивудин, тенофовира дизопроксил и долутеграви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50мг/300мг/300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09,6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69702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4453211"/>
                  </a:ext>
                </a:extLst>
              </a:tr>
              <a:tr h="1614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федипин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2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,4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1696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6791405"/>
                  </a:ext>
                </a:extLst>
              </a:tr>
              <a:tr h="1614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пранол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и 4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1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237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5286680"/>
                  </a:ext>
                </a:extLst>
              </a:tr>
              <a:tr h="1614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пранол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и 1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7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450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5360678"/>
                  </a:ext>
                </a:extLst>
              </a:tr>
              <a:tr h="31913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фосбувир и велпатасви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400 мг/100 мг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0153,5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629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9938797"/>
                  </a:ext>
                </a:extLst>
              </a:tr>
              <a:tr h="1614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нобарбита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0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,9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91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1488449"/>
                  </a:ext>
                </a:extLst>
              </a:tr>
              <a:tr h="1614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лиевая кислот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1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6798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935476"/>
                  </a:ext>
                </a:extLst>
              </a:tr>
              <a:tr h="31913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торураци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твор для внутривенного введения 50 мг/мл, 5 м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лакон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8,1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843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5128925"/>
                  </a:ext>
                </a:extLst>
              </a:tr>
              <a:tr h="1614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уросемид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 40 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етк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0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971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64778"/>
                  </a:ext>
                </a:extLst>
              </a:tr>
              <a:tr h="1614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О; Стационар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С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ирипентол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сула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 909,35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потребност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583" marR="6583" marT="658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62123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7393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DC1EDD2-5156-4C78-B4CC-0F7C486904F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97" r="19473"/>
          <a:stretch/>
        </p:blipFill>
        <p:spPr>
          <a:xfrm>
            <a:off x="510746" y="1439665"/>
            <a:ext cx="3657600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501188AF-66C9-4AAA-A13A-44C37A9AA3C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24" r="34102"/>
          <a:stretch/>
        </p:blipFill>
        <p:spPr>
          <a:xfrm>
            <a:off x="3047997" y="1439665"/>
            <a:ext cx="3707027" cy="3978893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14C3997A-412B-4A32-BBDD-47C610D6C31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3" r="39982"/>
          <a:stretch/>
        </p:blipFill>
        <p:spPr>
          <a:xfrm>
            <a:off x="5560543" y="1439665"/>
            <a:ext cx="3731740" cy="3991430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13023DF2-4F41-434C-BFC2-4F97EF92A44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09" r="25508"/>
          <a:stretch/>
        </p:blipFill>
        <p:spPr>
          <a:xfrm>
            <a:off x="8079161" y="1439665"/>
            <a:ext cx="3690552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sp>
        <p:nvSpPr>
          <p:cNvPr id="6" name="Прямоугольник 5"/>
          <p:cNvSpPr/>
          <p:nvPr/>
        </p:nvSpPr>
        <p:spPr>
          <a:xfrm>
            <a:off x="1185331" y="2853267"/>
            <a:ext cx="9905999" cy="1202266"/>
          </a:xfrm>
          <a:custGeom>
            <a:avLst/>
            <a:gdLst>
              <a:gd name="connsiteX0" fmla="*/ 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0 w 9889066"/>
              <a:gd name="connsiteY4" fmla="*/ 0 h 1202266"/>
              <a:gd name="connsiteX0" fmla="*/ 35560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355600 w 9889066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905999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89467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89467 w 9905999"/>
              <a:gd name="connsiteY4" fmla="*/ 0 h 1202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5999" h="1202266">
                <a:moveTo>
                  <a:pt x="389467" y="0"/>
                </a:moveTo>
                <a:lnTo>
                  <a:pt x="9905999" y="0"/>
                </a:lnTo>
                <a:lnTo>
                  <a:pt x="9541933" y="1202266"/>
                </a:lnTo>
                <a:lnTo>
                  <a:pt x="0" y="1202266"/>
                </a:lnTo>
                <a:lnTo>
                  <a:pt x="38946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2731666" y="2840506"/>
            <a:ext cx="75194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Преференции для инвестиционных проектов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58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1587062" y="5612068"/>
            <a:ext cx="8664085" cy="1013615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3pPr>
            <a:lvl4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endParaRPr lang="ru-RU" sz="20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АО </a:t>
            </a:r>
            <a:r>
              <a:rPr lang="en-US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ru-RU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«НК «</a:t>
            </a:r>
            <a:r>
              <a:rPr lang="en-US" sz="2000" b="0" dirty="0">
                <a:solidFill>
                  <a:schemeClr val="tx2"/>
                </a:solidFill>
                <a:latin typeface="Century Gothic" panose="020B0502020202020204" pitchFamily="34" charset="0"/>
              </a:rPr>
              <a:t>KAZAKH </a:t>
            </a:r>
            <a:r>
              <a:rPr lang="en-US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INVEST</a:t>
            </a:r>
            <a:r>
              <a:rPr lang="ru-RU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»,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2024 год </a:t>
            </a:r>
            <a:endParaRPr lang="ru-RU" sz="2000" b="0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20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2" name="Picture 5" descr="C:\Users\admin\Desktop\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036" y="319576"/>
            <a:ext cx="3978327" cy="847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1729474" y="813573"/>
            <a:ext cx="3338395" cy="714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ПРИЛОЖЕНИЕ </a:t>
            </a:r>
            <a:r>
              <a:rPr lang="kk-KZ" sz="3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3</a:t>
            </a:r>
            <a:endParaRPr lang="ru-RU" sz="32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4859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Заголовок 2"/>
          <p:cNvSpPr txBox="1">
            <a:spLocks/>
          </p:cNvSpPr>
          <p:nvPr/>
        </p:nvSpPr>
        <p:spPr>
          <a:xfrm>
            <a:off x="417874" y="1329328"/>
            <a:ext cx="7200000" cy="720000"/>
          </a:xfrm>
          <a:prstGeom prst="rect">
            <a:avLst/>
          </a:prstGeom>
        </p:spPr>
        <p:txBody>
          <a:bodyPr/>
          <a:lstStyle>
            <a:lvl1pPr algn="l" defTabSz="91449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rgbClr val="0A73A3"/>
                </a:solidFill>
                <a:latin typeface="Franklin Gothic Medium Cond" panose="020B0606030402020204" pitchFamily="34" charset="0"/>
                <a:ea typeface="+mj-ea"/>
                <a:cs typeface="+mj-cs"/>
              </a:defRPr>
            </a:lvl1pPr>
          </a:lstStyle>
          <a:p>
            <a:endParaRPr lang="en-US" b="1" dirty="0">
              <a:solidFill>
                <a:srgbClr val="0A73A3">
                  <a:lumMod val="75000"/>
                </a:srgbClr>
              </a:solidFill>
              <a:latin typeface="Cambria" panose="02040503050406030204" pitchFamily="18" charset="0"/>
            </a:endParaRPr>
          </a:p>
        </p:txBody>
      </p:sp>
      <p:sp>
        <p:nvSpPr>
          <p:cNvPr id="83" name="Заголовок 2"/>
          <p:cNvSpPr txBox="1">
            <a:spLocks/>
          </p:cNvSpPr>
          <p:nvPr/>
        </p:nvSpPr>
        <p:spPr>
          <a:xfrm>
            <a:off x="-1" y="370239"/>
            <a:ext cx="12261926" cy="525693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defTabSz="914492">
              <a:lnSpc>
                <a:spcPct val="100000"/>
              </a:lnSpc>
              <a:spcBef>
                <a:spcPct val="0"/>
              </a:spcBef>
              <a:buNone/>
              <a:defRPr sz="2800">
                <a:solidFill>
                  <a:srgbClr val="0A73A3"/>
                </a:solidFill>
                <a:latin typeface="Franklin Gothic Medium Cond" panose="020B06060304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200" b="1" dirty="0">
                <a:solidFill>
                  <a:srgbClr val="074A75"/>
                </a:solidFill>
                <a:latin typeface="Cambria" pitchFamily="18" charset="0"/>
                <a:ea typeface="+mn-ea"/>
                <a:cs typeface="+mn-cs"/>
              </a:rPr>
              <a:t>KAZAKH INVEST – </a:t>
            </a:r>
            <a:r>
              <a:rPr lang="ru-RU" sz="2200" b="1" dirty="0">
                <a:solidFill>
                  <a:srgbClr val="074A75"/>
                </a:solidFill>
                <a:latin typeface="Cambria" pitchFamily="18" charset="0"/>
                <a:ea typeface="+mn-ea"/>
                <a:cs typeface="+mn-cs"/>
              </a:rPr>
              <a:t>НАЦИОНАЛЬНЫЙ ОПЕРАТОР ПО ПРИВЛЕЧЕНИЮ ИНВЕСТИЦИЙ</a:t>
            </a:r>
            <a:endParaRPr lang="en-US" sz="2200" b="1" dirty="0">
              <a:solidFill>
                <a:srgbClr val="074A75"/>
              </a:solidFill>
              <a:latin typeface="Cambria" pitchFamily="18" charset="0"/>
              <a:ea typeface="+mn-ea"/>
              <a:cs typeface="+mn-cs"/>
            </a:endParaRPr>
          </a:p>
        </p:txBody>
      </p:sp>
      <p:sp>
        <p:nvSpPr>
          <p:cNvPr id="56" name="resume"/>
          <p:cNvSpPr txBox="1">
            <a:spLocks/>
          </p:cNvSpPr>
          <p:nvPr/>
        </p:nvSpPr>
        <p:spPr>
          <a:xfrm>
            <a:off x="4785298" y="3223246"/>
            <a:ext cx="2729544" cy="1141738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2352" tIns="22352" rIns="22352" bIns="22352" anchor="ctr"/>
          <a:lstStyle>
            <a:lvl1pPr marL="0" marR="0" indent="0" algn="ctr" defTabSz="36322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 i="0" u="none" strike="noStrike" cap="all" spc="40" baseline="-5555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1pPr>
            <a:lvl2pPr marL="0" marR="0" indent="100584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2pPr>
            <a:lvl3pPr marL="0" marR="0" indent="201168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3pPr>
            <a:lvl4pPr marL="0" marR="0" indent="301752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4pPr>
            <a:lvl5pPr marL="0" marR="0" indent="402336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5pPr>
            <a:lvl6pPr marL="0" marR="0" indent="502920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6pPr>
            <a:lvl7pPr marL="0" marR="0" indent="603504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7pPr>
            <a:lvl8pPr marL="0" marR="0" indent="704088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8pPr>
            <a:lvl9pPr marL="0" marR="0" indent="804672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9pPr>
          </a:lstStyle>
          <a:p>
            <a:pPr>
              <a:lnSpc>
                <a:spcPct val="80000"/>
              </a:lnSpc>
            </a:pPr>
            <a:r>
              <a:rPr lang="ru-RU" sz="2000" b="1" kern="0" dirty="0" smtClean="0">
                <a:solidFill>
                  <a:srgbClr val="253471"/>
                </a:solidFill>
                <a:latin typeface="Cambria" panose="02040503050406030204" pitchFamily="18" charset="0"/>
                <a:cs typeface="Arial" pitchFamily="34" charset="0"/>
              </a:rPr>
              <a:t>открытое </a:t>
            </a:r>
            <a:endParaRPr lang="en-US" sz="2000" b="1" kern="0" dirty="0" smtClean="0">
              <a:solidFill>
                <a:srgbClr val="253471"/>
              </a:solidFill>
              <a:latin typeface="Cambria" panose="02040503050406030204" pitchFamily="18" charset="0"/>
              <a:cs typeface="Arial" pitchFamily="34" charset="0"/>
            </a:endParaRPr>
          </a:p>
          <a:p>
            <a:pPr>
              <a:lnSpc>
                <a:spcPct val="80000"/>
              </a:lnSpc>
            </a:pPr>
            <a:r>
              <a:rPr lang="ru-RU" sz="2000" b="1" kern="0" dirty="0" smtClean="0">
                <a:solidFill>
                  <a:srgbClr val="253471"/>
                </a:solidFill>
                <a:latin typeface="Cambria" panose="02040503050406030204" pitchFamily="18" charset="0"/>
                <a:cs typeface="Arial" pitchFamily="34" charset="0"/>
              </a:rPr>
              <a:t>диалоговое окно </a:t>
            </a:r>
            <a:endParaRPr lang="en-US" sz="2000" b="1" kern="0" dirty="0" smtClean="0">
              <a:solidFill>
                <a:srgbClr val="253471"/>
              </a:solidFill>
              <a:latin typeface="Cambria" panose="02040503050406030204" pitchFamily="18" charset="0"/>
              <a:cs typeface="Arial" pitchFamily="34" charset="0"/>
            </a:endParaRPr>
          </a:p>
          <a:p>
            <a:pPr>
              <a:lnSpc>
                <a:spcPct val="80000"/>
              </a:lnSpc>
            </a:pPr>
            <a:r>
              <a:rPr lang="ru-RU" sz="2000" b="1" kern="0" dirty="0" smtClean="0">
                <a:solidFill>
                  <a:srgbClr val="253471"/>
                </a:solidFill>
                <a:latin typeface="Cambria" panose="02040503050406030204" pitchFamily="18" charset="0"/>
                <a:cs typeface="Arial" pitchFamily="34" charset="0"/>
              </a:rPr>
              <a:t>между инвесторами,</a:t>
            </a:r>
            <a:endParaRPr lang="en-US" sz="2000" b="1" kern="0" dirty="0" smtClean="0">
              <a:solidFill>
                <a:srgbClr val="253471"/>
              </a:solidFill>
              <a:latin typeface="Cambria" panose="02040503050406030204" pitchFamily="18" charset="0"/>
              <a:cs typeface="Arial" pitchFamily="34" charset="0"/>
            </a:endParaRPr>
          </a:p>
          <a:p>
            <a:pPr>
              <a:lnSpc>
                <a:spcPct val="80000"/>
              </a:lnSpc>
            </a:pPr>
            <a:r>
              <a:rPr lang="ru-RU" sz="2000" b="1" kern="0" dirty="0" smtClean="0">
                <a:solidFill>
                  <a:srgbClr val="253471"/>
                </a:solidFill>
                <a:latin typeface="Cambria" panose="02040503050406030204" pitchFamily="18" charset="0"/>
                <a:cs typeface="Arial" pitchFamily="34" charset="0"/>
              </a:rPr>
              <a:t> бизнес-кругами и государственными</a:t>
            </a:r>
            <a:endParaRPr lang="en-US" sz="2000" b="1" kern="0" dirty="0" smtClean="0">
              <a:solidFill>
                <a:srgbClr val="253471"/>
              </a:solidFill>
              <a:latin typeface="Cambria" panose="02040503050406030204" pitchFamily="18" charset="0"/>
              <a:cs typeface="Arial" pitchFamily="34" charset="0"/>
            </a:endParaRPr>
          </a:p>
          <a:p>
            <a:pPr>
              <a:lnSpc>
                <a:spcPct val="80000"/>
              </a:lnSpc>
            </a:pPr>
            <a:r>
              <a:rPr lang="ru-RU" sz="2000" b="1" kern="0" dirty="0" smtClean="0">
                <a:solidFill>
                  <a:srgbClr val="253471"/>
                </a:solidFill>
                <a:latin typeface="Cambria" panose="02040503050406030204" pitchFamily="18" charset="0"/>
                <a:cs typeface="Arial" pitchFamily="34" charset="0"/>
              </a:rPr>
              <a:t> органами</a:t>
            </a:r>
            <a:endParaRPr lang="en-US" sz="2000" b="1" kern="0" dirty="0">
              <a:solidFill>
                <a:srgbClr val="253471"/>
              </a:solidFill>
              <a:latin typeface="Cambria" panose="02040503050406030204" pitchFamily="18" charset="0"/>
              <a:cs typeface="Arial" pitchFamily="34" charset="0"/>
            </a:endParaRPr>
          </a:p>
        </p:txBody>
      </p:sp>
      <p:sp>
        <p:nvSpPr>
          <p:cNvPr id="59" name="Linkedin"/>
          <p:cNvSpPr txBox="1">
            <a:spLocks/>
          </p:cNvSpPr>
          <p:nvPr/>
        </p:nvSpPr>
        <p:spPr>
          <a:xfrm>
            <a:off x="1683805" y="5100536"/>
            <a:ext cx="4065385" cy="553877"/>
          </a:xfrm>
          <a:prstGeom prst="rect">
            <a:avLst/>
          </a:prstGeom>
          <a:solidFill>
            <a:srgbClr val="69B3C4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2352" tIns="22352" rIns="22352" bIns="22352" anchor="ctr"/>
          <a:lstStyle>
            <a:defPPr>
              <a:defRPr lang="ru-RU"/>
            </a:defPPr>
            <a:lvl1pPr marL="150876" marR="0" indent="-150876" algn="ctr" defTabSz="36322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1" i="0" u="none" strike="noStrike" kern="0" cap="all" spc="40" baseline="-5555">
                <a:ln>
                  <a:noFill/>
                </a:ln>
                <a:solidFill>
                  <a:srgbClr val="253471"/>
                </a:solidFill>
                <a:uFillTx/>
                <a:latin typeface="Cambria" panose="02040503050406030204" pitchFamily="18" charset="0"/>
                <a:cs typeface="Arial" pitchFamily="34" charset="0"/>
              </a:defRPr>
            </a:lvl1pPr>
            <a:lvl2pPr marL="0" marR="0" indent="100584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2pPr>
            <a:lvl3pPr marL="0" marR="0" indent="201168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3pPr>
            <a:lvl4pPr marL="0" marR="0" indent="301752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4pPr>
            <a:lvl5pPr marL="0" marR="0" indent="402336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5pPr>
            <a:lvl6pPr marL="0" marR="0" indent="502920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6pPr>
            <a:lvl7pPr marL="0" marR="0" indent="603504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7pPr>
            <a:lvl8pPr marL="0" marR="0" indent="704088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8pPr>
            <a:lvl9pPr marL="0" marR="0" indent="804672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9pPr>
          </a:lstStyle>
          <a:p>
            <a:pPr marL="0" indent="0"/>
            <a:r>
              <a:rPr lang="ru-RU" dirty="0" smtClean="0">
                <a:solidFill>
                  <a:prstClr val="white"/>
                </a:solidFill>
              </a:rPr>
              <a:t>ПОДПИСАНИЕ </a:t>
            </a:r>
            <a:endParaRPr lang="en-US" dirty="0" smtClean="0">
              <a:solidFill>
                <a:prstClr val="white"/>
              </a:solidFill>
            </a:endParaRPr>
          </a:p>
          <a:p>
            <a:pPr marL="0" indent="0"/>
            <a:r>
              <a:rPr lang="ru-RU" baseline="0" dirty="0" smtClean="0">
                <a:solidFill>
                  <a:prstClr val="white"/>
                </a:solidFill>
              </a:rPr>
              <a:t>ИНВЕСТИЦИОННОГО </a:t>
            </a:r>
            <a:r>
              <a:rPr lang="ru-RU" baseline="0" dirty="0">
                <a:solidFill>
                  <a:prstClr val="white"/>
                </a:solidFill>
              </a:rPr>
              <a:t>КОНТРАКТА</a:t>
            </a:r>
            <a:endParaRPr lang="kk-KZ" baseline="0" dirty="0">
              <a:solidFill>
                <a:prstClr val="white"/>
              </a:solidFill>
            </a:endParaRPr>
          </a:p>
        </p:txBody>
      </p:sp>
      <p:sp>
        <p:nvSpPr>
          <p:cNvPr id="63" name="Skills"/>
          <p:cNvSpPr txBox="1">
            <a:spLocks/>
          </p:cNvSpPr>
          <p:nvPr/>
        </p:nvSpPr>
        <p:spPr>
          <a:xfrm>
            <a:off x="7938063" y="2659890"/>
            <a:ext cx="3549385" cy="1390483"/>
          </a:xfrm>
          <a:prstGeom prst="rect">
            <a:avLst/>
          </a:prstGeom>
          <a:solidFill>
            <a:srgbClr val="69B3C4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2352" tIns="22352" rIns="22352" bIns="22352" anchor="ctr"/>
          <a:lstStyle>
            <a:lvl1pPr marL="0" marR="0" indent="0" algn="ctr" defTabSz="36322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 i="0" u="none" strike="noStrike" cap="all" spc="40" baseline="-5555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1pPr>
            <a:lvl2pPr marL="0" marR="0" indent="100584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2pPr>
            <a:lvl3pPr marL="0" marR="0" indent="201168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3pPr>
            <a:lvl4pPr marL="0" marR="0" indent="301752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4pPr>
            <a:lvl5pPr marL="0" marR="0" indent="402336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5pPr>
            <a:lvl6pPr marL="0" marR="0" indent="502920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6pPr>
            <a:lvl7pPr marL="0" marR="0" indent="603504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7pPr>
            <a:lvl8pPr marL="0" marR="0" indent="704088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8pPr>
            <a:lvl9pPr marL="0" marR="0" indent="804672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9pPr>
          </a:lstStyle>
          <a:p>
            <a:pPr marL="150876" indent="-150876"/>
            <a:r>
              <a:rPr lang="ru-RU" sz="1800" b="1" kern="0" dirty="0">
                <a:solidFill>
                  <a:prstClr val="white"/>
                </a:solidFill>
                <a:latin typeface="Cambria" panose="02040503050406030204" pitchFamily="18" charset="0"/>
                <a:cs typeface="Arial" pitchFamily="34" charset="0"/>
              </a:rPr>
              <a:t>ИМИДЖЕВАЯ ИНФОРМАЦИЯ</a:t>
            </a:r>
            <a:r>
              <a:rPr lang="ru-RU" sz="1800" b="1" kern="0" dirty="0" smtClean="0">
                <a:solidFill>
                  <a:prstClr val="white"/>
                </a:solidFill>
                <a:latin typeface="Cambria" panose="02040503050406030204" pitchFamily="18" charset="0"/>
                <a:cs typeface="Arial" pitchFamily="34" charset="0"/>
              </a:rPr>
              <a:t>, </a:t>
            </a:r>
            <a:r>
              <a:rPr lang="ru-RU" sz="1800" b="1" kern="0" baseline="0" dirty="0">
                <a:solidFill>
                  <a:prstClr val="white"/>
                </a:solidFill>
                <a:latin typeface="Cambria" panose="02040503050406030204" pitchFamily="18" charset="0"/>
                <a:cs typeface="Arial" pitchFamily="34" charset="0"/>
              </a:rPr>
              <a:t>ПЕРЕГОВОРЫ </a:t>
            </a:r>
            <a:endParaRPr lang="en-US" sz="1800" b="1" kern="0" baseline="0" dirty="0" smtClean="0">
              <a:solidFill>
                <a:prstClr val="white"/>
              </a:solidFill>
              <a:latin typeface="Cambria" panose="02040503050406030204" pitchFamily="18" charset="0"/>
              <a:cs typeface="Arial" pitchFamily="34" charset="0"/>
            </a:endParaRPr>
          </a:p>
          <a:p>
            <a:pPr marL="150876" indent="-150876"/>
            <a:r>
              <a:rPr lang="ru-RU" sz="1800" b="1" kern="0" baseline="0" dirty="0" smtClean="0">
                <a:solidFill>
                  <a:prstClr val="white"/>
                </a:solidFill>
                <a:latin typeface="Cambria" panose="02040503050406030204" pitchFamily="18" charset="0"/>
                <a:cs typeface="Arial" pitchFamily="34" charset="0"/>
              </a:rPr>
              <a:t>С ИНВЕСТОРАМИ</a:t>
            </a:r>
            <a:r>
              <a:rPr lang="en-US" sz="1800" b="1" kern="0" baseline="0" dirty="0" smtClean="0">
                <a:solidFill>
                  <a:prstClr val="white"/>
                </a:solidFill>
                <a:latin typeface="Cambria" panose="02040503050406030204" pitchFamily="18" charset="0"/>
                <a:cs typeface="Arial" pitchFamily="34" charset="0"/>
              </a:rPr>
              <a:t>,</a:t>
            </a:r>
          </a:p>
          <a:p>
            <a:pPr marL="150876" indent="-150876"/>
            <a:r>
              <a:rPr lang="ru-RU" sz="1800" b="1" kern="0" dirty="0" smtClean="0">
                <a:solidFill>
                  <a:prstClr val="white"/>
                </a:solidFill>
                <a:latin typeface="Cambria" panose="02040503050406030204" pitchFamily="18" charset="0"/>
                <a:cs typeface="Arial" pitchFamily="34" charset="0"/>
              </a:rPr>
              <a:t>ОРГАНИЗАЦИЯ </a:t>
            </a:r>
            <a:r>
              <a:rPr lang="ru-RU" sz="1800" b="1" kern="0" dirty="0">
                <a:solidFill>
                  <a:prstClr val="white"/>
                </a:solidFill>
                <a:latin typeface="Cambria" panose="02040503050406030204" pitchFamily="18" charset="0"/>
                <a:cs typeface="Arial" pitchFamily="34" charset="0"/>
              </a:rPr>
              <a:t>ВИЗИТОВ</a:t>
            </a:r>
            <a:endParaRPr lang="en-US" sz="1800" b="1" kern="0" dirty="0">
              <a:solidFill>
                <a:prstClr val="white"/>
              </a:solidFill>
              <a:latin typeface="Cambria" panose="02040503050406030204" pitchFamily="18" charset="0"/>
              <a:cs typeface="Arial" pitchFamily="34" charset="0"/>
            </a:endParaRPr>
          </a:p>
        </p:txBody>
      </p:sp>
      <p:sp>
        <p:nvSpPr>
          <p:cNvPr id="69" name="History"/>
          <p:cNvSpPr txBox="1">
            <a:spLocks/>
          </p:cNvSpPr>
          <p:nvPr/>
        </p:nvSpPr>
        <p:spPr>
          <a:xfrm>
            <a:off x="1091766" y="1160677"/>
            <a:ext cx="4124177" cy="839005"/>
          </a:xfrm>
          <a:prstGeom prst="rect">
            <a:avLst/>
          </a:prstGeom>
          <a:solidFill>
            <a:srgbClr val="69B3C4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2352" tIns="22352" rIns="22352" bIns="22352" anchor="ctr"/>
          <a:lstStyle>
            <a:defPPr>
              <a:defRPr lang="ru-RU"/>
            </a:defPPr>
            <a:lvl1pPr marR="0" indent="0" algn="ctr" defTabSz="36322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1" i="0" u="none" strike="noStrike" kern="0" cap="all" spc="40" baseline="-5555">
                <a:ln>
                  <a:noFill/>
                </a:ln>
                <a:solidFill>
                  <a:srgbClr val="253471"/>
                </a:solidFill>
                <a:uFillTx/>
                <a:latin typeface="Cambria" panose="02040503050406030204" pitchFamily="18" charset="0"/>
                <a:cs typeface="Arial" pitchFamily="34" charset="0"/>
              </a:defRPr>
            </a:lvl1pPr>
            <a:lvl2pPr marL="0" marR="0" indent="100584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2pPr>
            <a:lvl3pPr marL="0" marR="0" indent="201168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3pPr>
            <a:lvl4pPr marL="0" marR="0" indent="301752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4pPr>
            <a:lvl5pPr marL="0" marR="0" indent="402336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5pPr>
            <a:lvl6pPr marL="0" marR="0" indent="502920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6pPr>
            <a:lvl7pPr marL="0" marR="0" indent="603504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7pPr>
            <a:lvl8pPr marL="0" marR="0" indent="704088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8pPr>
            <a:lvl9pPr marL="0" marR="0" indent="804672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9pPr>
          </a:lstStyle>
          <a:p>
            <a:r>
              <a:rPr lang="ru-RU" baseline="0" dirty="0">
                <a:solidFill>
                  <a:prstClr val="white"/>
                </a:solidFill>
              </a:rPr>
              <a:t>единый канал доступа</a:t>
            </a:r>
            <a:r>
              <a:rPr lang="ru-RU" dirty="0">
                <a:solidFill>
                  <a:prstClr val="white"/>
                </a:solidFill>
              </a:rPr>
              <a:t> </a:t>
            </a:r>
            <a:endParaRPr lang="ru-RU" dirty="0" smtClean="0">
              <a:solidFill>
                <a:prstClr val="white"/>
              </a:solidFill>
            </a:endParaRPr>
          </a:p>
          <a:p>
            <a:r>
              <a:rPr lang="ru-RU" dirty="0" smtClean="0">
                <a:solidFill>
                  <a:prstClr val="white"/>
                </a:solidFill>
              </a:rPr>
              <a:t>к </a:t>
            </a:r>
            <a:r>
              <a:rPr lang="ru-RU" dirty="0">
                <a:solidFill>
                  <a:prstClr val="white"/>
                </a:solidFill>
              </a:rPr>
              <a:t>системе государственных услуг</a:t>
            </a:r>
            <a:r>
              <a:rPr lang="ru-RU" dirty="0" smtClean="0">
                <a:solidFill>
                  <a:prstClr val="white"/>
                </a:solidFill>
              </a:rPr>
              <a:t>, РЕАЛИЗАЦИИ</a:t>
            </a:r>
            <a:r>
              <a:rPr lang="ru-RU" baseline="0" dirty="0" smtClean="0">
                <a:solidFill>
                  <a:prstClr val="white"/>
                </a:solidFill>
              </a:rPr>
              <a:t> </a:t>
            </a:r>
            <a:r>
              <a:rPr lang="ru-RU" dirty="0">
                <a:solidFill>
                  <a:prstClr val="white"/>
                </a:solidFill>
              </a:rPr>
              <a:t>ИНВЕСТИЦИОННЫХ ПРОЕКТОВ</a:t>
            </a:r>
            <a:endParaRPr lang="kk-KZ" dirty="0">
              <a:solidFill>
                <a:prstClr val="white"/>
              </a:solidFill>
            </a:endParaRPr>
          </a:p>
        </p:txBody>
      </p:sp>
      <p:sp>
        <p:nvSpPr>
          <p:cNvPr id="70" name="Skills"/>
          <p:cNvSpPr txBox="1">
            <a:spLocks/>
          </p:cNvSpPr>
          <p:nvPr/>
        </p:nvSpPr>
        <p:spPr>
          <a:xfrm>
            <a:off x="659555" y="2659890"/>
            <a:ext cx="3524143" cy="810653"/>
          </a:xfrm>
          <a:prstGeom prst="rect">
            <a:avLst/>
          </a:prstGeom>
          <a:solidFill>
            <a:srgbClr val="69B3C4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2352" tIns="22352" rIns="22352" bIns="22352" anchor="ctr"/>
          <a:lstStyle>
            <a:defPPr>
              <a:defRPr lang="ru-RU"/>
            </a:defPPr>
            <a:lvl1pPr marL="150876" marR="0" indent="-150876" algn="ctr" defTabSz="36322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1" i="0" u="none" strike="noStrike" kern="0" cap="all" spc="40" baseline="-5555">
                <a:ln>
                  <a:noFill/>
                </a:ln>
                <a:solidFill>
                  <a:srgbClr val="253471"/>
                </a:solidFill>
                <a:uFillTx/>
                <a:latin typeface="Cambria" panose="02040503050406030204" pitchFamily="18" charset="0"/>
                <a:cs typeface="Arial" pitchFamily="34" charset="0"/>
              </a:defRPr>
            </a:lvl1pPr>
            <a:lvl2pPr marL="0" marR="0" indent="100584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2pPr>
            <a:lvl3pPr marL="0" marR="0" indent="201168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3pPr>
            <a:lvl4pPr marL="0" marR="0" indent="301752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4pPr>
            <a:lvl5pPr marL="0" marR="0" indent="402336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5pPr>
            <a:lvl6pPr marL="0" marR="0" indent="502920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6pPr>
            <a:lvl7pPr marL="0" marR="0" indent="603504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7pPr>
            <a:lvl8pPr marL="0" marR="0" indent="704088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8pPr>
            <a:lvl9pPr marL="0" marR="0" indent="804672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9pPr>
          </a:lstStyle>
          <a:p>
            <a:r>
              <a:rPr lang="ru-RU" dirty="0" smtClean="0">
                <a:solidFill>
                  <a:prstClr val="white"/>
                </a:solidFill>
              </a:rPr>
              <a:t>РЕШЕНИЕ</a:t>
            </a:r>
            <a:r>
              <a:rPr lang="ru-RU" baseline="0" dirty="0" smtClean="0">
                <a:solidFill>
                  <a:prstClr val="white"/>
                </a:solidFill>
              </a:rPr>
              <a:t> </a:t>
            </a:r>
            <a:endParaRPr lang="en-US" baseline="0" dirty="0" smtClean="0">
              <a:solidFill>
                <a:prstClr val="white"/>
              </a:solidFill>
            </a:endParaRPr>
          </a:p>
          <a:p>
            <a:r>
              <a:rPr lang="ru-RU" baseline="0" dirty="0" smtClean="0">
                <a:solidFill>
                  <a:prstClr val="white"/>
                </a:solidFill>
              </a:rPr>
              <a:t>ПРОБЛЕМНЫХ ВОПРОСОВ инвесторов</a:t>
            </a:r>
            <a:endParaRPr lang="kk-KZ" dirty="0">
              <a:solidFill>
                <a:prstClr val="white"/>
              </a:solidFill>
            </a:endParaRPr>
          </a:p>
        </p:txBody>
      </p:sp>
      <p:sp>
        <p:nvSpPr>
          <p:cNvPr id="71" name="Vissions"/>
          <p:cNvSpPr txBox="1">
            <a:spLocks/>
          </p:cNvSpPr>
          <p:nvPr/>
        </p:nvSpPr>
        <p:spPr>
          <a:xfrm>
            <a:off x="6864439" y="1133944"/>
            <a:ext cx="4233239" cy="865737"/>
          </a:xfrm>
          <a:prstGeom prst="rect">
            <a:avLst/>
          </a:prstGeom>
          <a:solidFill>
            <a:srgbClr val="69B3C4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2352" tIns="22352" rIns="22352" bIns="22352" anchor="ctr"/>
          <a:lstStyle>
            <a:defPPr>
              <a:defRPr lang="ru-RU"/>
            </a:defPPr>
            <a:lvl1pPr marL="150876" marR="0" indent="-150876" algn="ctr" defTabSz="36322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1" i="0" u="none" strike="noStrike" kern="0" cap="all" spc="40" baseline="-5555">
                <a:ln>
                  <a:noFill/>
                </a:ln>
                <a:solidFill>
                  <a:srgbClr val="253471"/>
                </a:solidFill>
                <a:uFillTx/>
                <a:latin typeface="Cambria" panose="02040503050406030204" pitchFamily="18" charset="0"/>
                <a:cs typeface="Arial" pitchFamily="34" charset="0"/>
              </a:defRPr>
            </a:lvl1pPr>
            <a:lvl2pPr marL="0" marR="0" indent="100584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2pPr>
            <a:lvl3pPr marL="0" marR="0" indent="201168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3pPr>
            <a:lvl4pPr marL="0" marR="0" indent="301752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4pPr>
            <a:lvl5pPr marL="0" marR="0" indent="402336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5pPr>
            <a:lvl6pPr marL="0" marR="0" indent="502920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6pPr>
            <a:lvl7pPr marL="0" marR="0" indent="603504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7pPr>
            <a:lvl8pPr marL="0" marR="0" indent="704088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8pPr>
            <a:lvl9pPr marL="0" marR="0" indent="804672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9pPr>
          </a:lstStyle>
          <a:p>
            <a:r>
              <a:rPr lang="ru-RU" baseline="0" dirty="0">
                <a:solidFill>
                  <a:prstClr val="white"/>
                </a:solidFill>
              </a:rPr>
              <a:t>ЕДИНЫЙ ПЕРЕГОВОРЩИК </a:t>
            </a:r>
            <a:endParaRPr lang="ru-RU" baseline="0" dirty="0" smtClean="0">
              <a:solidFill>
                <a:prstClr val="white"/>
              </a:solidFill>
            </a:endParaRPr>
          </a:p>
          <a:p>
            <a:r>
              <a:rPr lang="ru-RU" dirty="0">
                <a:solidFill>
                  <a:prstClr val="white"/>
                </a:solidFill>
              </a:rPr>
              <a:t>ОТ ИМЕНИ ПРАВИТЕЛЬСТВА РЕСПУБЛИКИ КАЗАХСТАН</a:t>
            </a:r>
          </a:p>
        </p:txBody>
      </p:sp>
      <p:sp>
        <p:nvSpPr>
          <p:cNvPr id="72" name="Vissions"/>
          <p:cNvSpPr txBox="1">
            <a:spLocks/>
          </p:cNvSpPr>
          <p:nvPr/>
        </p:nvSpPr>
        <p:spPr>
          <a:xfrm rot="10800000" flipV="1">
            <a:off x="6392237" y="5100535"/>
            <a:ext cx="4065385" cy="553877"/>
          </a:xfrm>
          <a:prstGeom prst="rect">
            <a:avLst/>
          </a:prstGeom>
          <a:solidFill>
            <a:srgbClr val="69B3C4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2352" tIns="22352" rIns="22352" bIns="22352" anchor="ctr"/>
          <a:lstStyle>
            <a:defPPr>
              <a:defRPr lang="ru-RU"/>
            </a:defPPr>
            <a:lvl1pPr marL="150876" marR="0" indent="-150876" algn="ctr" defTabSz="36322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1" i="0" u="none" strike="noStrike" kern="0" cap="all" spc="40" baseline="-5555">
                <a:ln>
                  <a:noFill/>
                </a:ln>
                <a:solidFill>
                  <a:srgbClr val="253471"/>
                </a:solidFill>
                <a:uFillTx/>
                <a:latin typeface="Cambria" panose="02040503050406030204" pitchFamily="18" charset="0"/>
                <a:cs typeface="Arial" pitchFamily="34" charset="0"/>
              </a:defRPr>
            </a:lvl1pPr>
            <a:lvl2pPr marL="0" marR="0" indent="100584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2pPr>
            <a:lvl3pPr marL="0" marR="0" indent="201168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3pPr>
            <a:lvl4pPr marL="0" marR="0" indent="301752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4pPr>
            <a:lvl5pPr marL="0" marR="0" indent="402336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5pPr>
            <a:lvl6pPr marL="0" marR="0" indent="502920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6pPr>
            <a:lvl7pPr marL="0" marR="0" indent="603504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7pPr>
            <a:lvl8pPr marL="0" marR="0" indent="704088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8pPr>
            <a:lvl9pPr marL="0" marR="0" indent="804672" defTabSz="36322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</a:defRPr>
            </a:lvl9pPr>
          </a:lstStyle>
          <a:p>
            <a:pPr marL="0" indent="0"/>
            <a:r>
              <a:rPr lang="ru-RU" baseline="0" dirty="0">
                <a:solidFill>
                  <a:prstClr val="white"/>
                </a:solidFill>
                <a:sym typeface="Helvetica"/>
              </a:rPr>
              <a:t>Сопровождение инвесторов</a:t>
            </a:r>
          </a:p>
        </p:txBody>
      </p:sp>
      <p:sp>
        <p:nvSpPr>
          <p:cNvPr id="73" name="Vissions"/>
          <p:cNvSpPr txBox="1">
            <a:spLocks/>
          </p:cNvSpPr>
          <p:nvPr/>
        </p:nvSpPr>
        <p:spPr>
          <a:xfrm rot="10800000" flipV="1">
            <a:off x="659555" y="3586943"/>
            <a:ext cx="3539497" cy="476612"/>
          </a:xfrm>
          <a:prstGeom prst="rect">
            <a:avLst/>
          </a:prstGeom>
          <a:solidFill>
            <a:srgbClr val="69B3C4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2352" tIns="22352" rIns="22352" bIns="22352" anchor="ctr"/>
          <a:lstStyle>
            <a:lvl1pPr marL="0" marR="0" indent="0" algn="ctr" defTabSz="36322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 i="0" u="none" strike="noStrike" cap="all" spc="40" baseline="-5555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1pPr>
            <a:lvl2pPr marL="0" marR="0" indent="100584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2pPr>
            <a:lvl3pPr marL="0" marR="0" indent="201168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3pPr>
            <a:lvl4pPr marL="0" marR="0" indent="301752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4pPr>
            <a:lvl5pPr marL="0" marR="0" indent="402336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5pPr>
            <a:lvl6pPr marL="0" marR="0" indent="502920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6pPr>
            <a:lvl7pPr marL="0" marR="0" indent="603504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7pPr>
            <a:lvl8pPr marL="0" marR="0" indent="704088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8pPr>
            <a:lvl9pPr marL="0" marR="0" indent="804672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9pPr>
          </a:lstStyle>
          <a:p>
            <a:pPr marL="150876" indent="-150876"/>
            <a:r>
              <a:rPr lang="ru-RU" sz="1800" b="1" kern="0" dirty="0" smtClean="0">
                <a:solidFill>
                  <a:srgbClr val="FF0000"/>
                </a:solidFill>
                <a:latin typeface="Cambria" panose="02040503050406030204" pitchFamily="18" charset="0"/>
                <a:cs typeface="Arial" pitchFamily="34" charset="0"/>
              </a:rPr>
              <a:t>РЕАЛИЗАЦИЯ ИНВЕСТИЦИОННОГО ПРОЕКТА</a:t>
            </a:r>
            <a:endParaRPr lang="ru-RU" sz="1800" b="1" kern="0" dirty="0">
              <a:solidFill>
                <a:srgbClr val="FF0000"/>
              </a:solidFill>
              <a:latin typeface="Cambria" panose="02040503050406030204" pitchFamily="18" charset="0"/>
              <a:cs typeface="Arial" pitchFamily="34" charset="0"/>
            </a:endParaRPr>
          </a:p>
        </p:txBody>
      </p:sp>
      <p:sp>
        <p:nvSpPr>
          <p:cNvPr id="75" name="Фигура"/>
          <p:cNvSpPr/>
          <p:nvPr/>
        </p:nvSpPr>
        <p:spPr>
          <a:xfrm>
            <a:off x="5715592" y="1278566"/>
            <a:ext cx="649197" cy="50601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907" y="14380"/>
                </a:moveTo>
                <a:cubicBezTo>
                  <a:pt x="12819" y="14469"/>
                  <a:pt x="12764" y="14592"/>
                  <a:pt x="12764" y="14727"/>
                </a:cubicBezTo>
                <a:cubicBezTo>
                  <a:pt x="12764" y="14999"/>
                  <a:pt x="12984" y="15218"/>
                  <a:pt x="13255" y="15218"/>
                </a:cubicBezTo>
                <a:cubicBezTo>
                  <a:pt x="13390" y="15218"/>
                  <a:pt x="13513" y="15164"/>
                  <a:pt x="13602" y="15074"/>
                </a:cubicBezTo>
                <a:lnTo>
                  <a:pt x="17529" y="11147"/>
                </a:lnTo>
                <a:cubicBezTo>
                  <a:pt x="17618" y="11058"/>
                  <a:pt x="17673" y="10936"/>
                  <a:pt x="17673" y="10800"/>
                </a:cubicBezTo>
                <a:cubicBezTo>
                  <a:pt x="17673" y="10665"/>
                  <a:pt x="17618" y="10542"/>
                  <a:pt x="17529" y="10453"/>
                </a:cubicBezTo>
                <a:lnTo>
                  <a:pt x="13602" y="6526"/>
                </a:lnTo>
                <a:cubicBezTo>
                  <a:pt x="13513" y="6437"/>
                  <a:pt x="13390" y="6382"/>
                  <a:pt x="13255" y="6382"/>
                </a:cubicBezTo>
                <a:cubicBezTo>
                  <a:pt x="12984" y="6382"/>
                  <a:pt x="12764" y="6601"/>
                  <a:pt x="12764" y="6873"/>
                </a:cubicBezTo>
                <a:cubicBezTo>
                  <a:pt x="12764" y="7008"/>
                  <a:pt x="12819" y="7131"/>
                  <a:pt x="12907" y="7220"/>
                </a:cubicBezTo>
                <a:lnTo>
                  <a:pt x="15997" y="10309"/>
                </a:lnTo>
                <a:lnTo>
                  <a:pt x="491" y="10309"/>
                </a:lnTo>
                <a:cubicBezTo>
                  <a:pt x="220" y="10309"/>
                  <a:pt x="0" y="10529"/>
                  <a:pt x="0" y="10800"/>
                </a:cubicBezTo>
                <a:cubicBezTo>
                  <a:pt x="0" y="11071"/>
                  <a:pt x="220" y="11291"/>
                  <a:pt x="491" y="11291"/>
                </a:cubicBezTo>
                <a:lnTo>
                  <a:pt x="15997" y="11291"/>
                </a:lnTo>
                <a:cubicBezTo>
                  <a:pt x="15997" y="11291"/>
                  <a:pt x="12907" y="14380"/>
                  <a:pt x="12907" y="14380"/>
                </a:cubicBezTo>
                <a:close/>
                <a:moveTo>
                  <a:pt x="21109" y="0"/>
                </a:moveTo>
                <a:lnTo>
                  <a:pt x="3436" y="0"/>
                </a:lnTo>
                <a:cubicBezTo>
                  <a:pt x="3166" y="0"/>
                  <a:pt x="2945" y="220"/>
                  <a:pt x="2945" y="491"/>
                </a:cubicBezTo>
                <a:lnTo>
                  <a:pt x="2945" y="7855"/>
                </a:lnTo>
                <a:cubicBezTo>
                  <a:pt x="2945" y="8126"/>
                  <a:pt x="3166" y="8345"/>
                  <a:pt x="3436" y="8345"/>
                </a:cubicBezTo>
                <a:cubicBezTo>
                  <a:pt x="3707" y="8345"/>
                  <a:pt x="3927" y="8126"/>
                  <a:pt x="3927" y="7855"/>
                </a:cubicBezTo>
                <a:lnTo>
                  <a:pt x="3927" y="982"/>
                </a:lnTo>
                <a:lnTo>
                  <a:pt x="20618" y="982"/>
                </a:lnTo>
                <a:lnTo>
                  <a:pt x="20618" y="20618"/>
                </a:lnTo>
                <a:lnTo>
                  <a:pt x="3927" y="20618"/>
                </a:lnTo>
                <a:lnTo>
                  <a:pt x="3927" y="13745"/>
                </a:lnTo>
                <a:cubicBezTo>
                  <a:pt x="3927" y="13475"/>
                  <a:pt x="3707" y="13255"/>
                  <a:pt x="3436" y="13255"/>
                </a:cubicBezTo>
                <a:cubicBezTo>
                  <a:pt x="3166" y="13255"/>
                  <a:pt x="2945" y="13475"/>
                  <a:pt x="2945" y="13745"/>
                </a:cubicBezTo>
                <a:lnTo>
                  <a:pt x="2945" y="21109"/>
                </a:lnTo>
                <a:cubicBezTo>
                  <a:pt x="2945" y="21380"/>
                  <a:pt x="3166" y="21600"/>
                  <a:pt x="3436" y="21600"/>
                </a:cubicBezTo>
                <a:lnTo>
                  <a:pt x="21109" y="21600"/>
                </a:lnTo>
                <a:cubicBezTo>
                  <a:pt x="21380" y="21600"/>
                  <a:pt x="21600" y="21380"/>
                  <a:pt x="21600" y="21109"/>
                </a:cubicBezTo>
                <a:lnTo>
                  <a:pt x="21600" y="491"/>
                </a:lnTo>
                <a:cubicBezTo>
                  <a:pt x="21600" y="220"/>
                  <a:pt x="21380" y="0"/>
                  <a:pt x="21109" y="0"/>
                </a:cubicBezTo>
              </a:path>
            </a:pathLst>
          </a:custGeom>
          <a:noFill/>
          <a:ln w="12700">
            <a:solidFill>
              <a:schemeClr val="accent5">
                <a:lumMod val="75000"/>
              </a:schemeClr>
            </a:solidFill>
            <a:miter lim="400000"/>
          </a:ln>
        </p:spPr>
        <p:txBody>
          <a:bodyPr lIns="16764" tIns="16764" rIns="16764" bIns="16764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0" marR="0" indent="22860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marR="0" indent="45720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marR="0" indent="68580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marR="0" indent="91440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0" marR="0" indent="114300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0" marR="0" indent="137160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0" marR="0" indent="160020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0" marR="0" indent="182880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defTabSz="201168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300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Cambria" panose="02040503050406030204" pitchFamily="18" charset="0"/>
              <a:ea typeface="Gill Sans"/>
              <a:cs typeface="Gill Sans"/>
              <a:sym typeface="Gill Sans"/>
            </a:endParaRPr>
          </a:p>
        </p:txBody>
      </p:sp>
      <p:sp>
        <p:nvSpPr>
          <p:cNvPr id="77" name="Фигура"/>
          <p:cNvSpPr/>
          <p:nvPr/>
        </p:nvSpPr>
        <p:spPr>
          <a:xfrm rot="1173361">
            <a:off x="11227519" y="1612990"/>
            <a:ext cx="799946" cy="10191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20383"/>
                </a:moveTo>
                <a:lnTo>
                  <a:pt x="11424" y="15709"/>
                </a:lnTo>
                <a:lnTo>
                  <a:pt x="13255" y="15709"/>
                </a:lnTo>
                <a:cubicBezTo>
                  <a:pt x="13525" y="15709"/>
                  <a:pt x="13745" y="15490"/>
                  <a:pt x="13745" y="15218"/>
                </a:cubicBezTo>
                <a:lnTo>
                  <a:pt x="13745" y="14727"/>
                </a:lnTo>
                <a:cubicBezTo>
                  <a:pt x="13635" y="12724"/>
                  <a:pt x="12844" y="5590"/>
                  <a:pt x="7448" y="1949"/>
                </a:cubicBezTo>
                <a:cubicBezTo>
                  <a:pt x="16407" y="4809"/>
                  <a:pt x="17536" y="12588"/>
                  <a:pt x="17673" y="14727"/>
                </a:cubicBezTo>
                <a:lnTo>
                  <a:pt x="17673" y="15218"/>
                </a:lnTo>
                <a:cubicBezTo>
                  <a:pt x="17673" y="15490"/>
                  <a:pt x="17893" y="15709"/>
                  <a:pt x="18164" y="15709"/>
                </a:cubicBezTo>
                <a:lnTo>
                  <a:pt x="19994" y="15709"/>
                </a:lnTo>
                <a:cubicBezTo>
                  <a:pt x="19994" y="15709"/>
                  <a:pt x="15709" y="20383"/>
                  <a:pt x="15709" y="20383"/>
                </a:cubicBezTo>
                <a:close/>
                <a:moveTo>
                  <a:pt x="21109" y="14727"/>
                </a:moveTo>
                <a:lnTo>
                  <a:pt x="18658" y="14727"/>
                </a:lnTo>
                <a:cubicBezTo>
                  <a:pt x="18450" y="12130"/>
                  <a:pt x="16610" y="0"/>
                  <a:pt x="491" y="0"/>
                </a:cubicBezTo>
                <a:cubicBezTo>
                  <a:pt x="219" y="0"/>
                  <a:pt x="0" y="220"/>
                  <a:pt x="0" y="491"/>
                </a:cubicBezTo>
                <a:cubicBezTo>
                  <a:pt x="0" y="762"/>
                  <a:pt x="219" y="982"/>
                  <a:pt x="491" y="982"/>
                </a:cubicBezTo>
                <a:cubicBezTo>
                  <a:pt x="5558" y="982"/>
                  <a:pt x="9160" y="3417"/>
                  <a:pt x="11196" y="8250"/>
                </a:cubicBezTo>
                <a:cubicBezTo>
                  <a:pt x="12394" y="11093"/>
                  <a:pt x="12657" y="13684"/>
                  <a:pt x="12715" y="14727"/>
                </a:cubicBezTo>
                <a:lnTo>
                  <a:pt x="10309" y="14727"/>
                </a:lnTo>
                <a:cubicBezTo>
                  <a:pt x="10038" y="14727"/>
                  <a:pt x="9818" y="14947"/>
                  <a:pt x="9818" y="15218"/>
                </a:cubicBezTo>
                <a:cubicBezTo>
                  <a:pt x="9818" y="15354"/>
                  <a:pt x="9873" y="15477"/>
                  <a:pt x="9962" y="15566"/>
                </a:cubicBezTo>
                <a:lnTo>
                  <a:pt x="15362" y="21456"/>
                </a:lnTo>
                <a:cubicBezTo>
                  <a:pt x="15450" y="21545"/>
                  <a:pt x="15574" y="21600"/>
                  <a:pt x="15709" y="21600"/>
                </a:cubicBezTo>
                <a:cubicBezTo>
                  <a:pt x="15845" y="21600"/>
                  <a:pt x="15967" y="21545"/>
                  <a:pt x="16056" y="21456"/>
                </a:cubicBezTo>
                <a:lnTo>
                  <a:pt x="21456" y="15566"/>
                </a:lnTo>
                <a:cubicBezTo>
                  <a:pt x="21545" y="15477"/>
                  <a:pt x="21600" y="15354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</a:path>
            </a:pathLst>
          </a:custGeom>
          <a:noFill/>
          <a:ln w="12700">
            <a:solidFill>
              <a:schemeClr val="accent5">
                <a:lumMod val="75000"/>
              </a:schemeClr>
            </a:solidFill>
            <a:miter lim="400000"/>
          </a:ln>
        </p:spPr>
        <p:txBody>
          <a:bodyPr lIns="16764" tIns="16764" rIns="16764" bIns="16764" anchor="ctr"/>
          <a:lstStyle/>
          <a:p>
            <a:pPr algn="ctr" defTabSz="201168" hangingPunct="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3000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Cambria" panose="02040503050406030204" pitchFamily="18" charset="0"/>
              <a:ea typeface="Gill Sans"/>
              <a:cs typeface="Gill Sans"/>
              <a:sym typeface="Gill Sans"/>
            </a:endParaRPr>
          </a:p>
        </p:txBody>
      </p:sp>
      <p:sp>
        <p:nvSpPr>
          <p:cNvPr id="78" name="Фигура"/>
          <p:cNvSpPr/>
          <p:nvPr/>
        </p:nvSpPr>
        <p:spPr>
          <a:xfrm rot="3763283">
            <a:off x="10705267" y="4430895"/>
            <a:ext cx="852544" cy="9401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20383"/>
                </a:moveTo>
                <a:lnTo>
                  <a:pt x="11424" y="15709"/>
                </a:lnTo>
                <a:lnTo>
                  <a:pt x="13255" y="15709"/>
                </a:lnTo>
                <a:cubicBezTo>
                  <a:pt x="13525" y="15709"/>
                  <a:pt x="13745" y="15490"/>
                  <a:pt x="13745" y="15218"/>
                </a:cubicBezTo>
                <a:lnTo>
                  <a:pt x="13745" y="14727"/>
                </a:lnTo>
                <a:cubicBezTo>
                  <a:pt x="13635" y="12724"/>
                  <a:pt x="12844" y="5590"/>
                  <a:pt x="7448" y="1949"/>
                </a:cubicBezTo>
                <a:cubicBezTo>
                  <a:pt x="16407" y="4809"/>
                  <a:pt x="17536" y="12588"/>
                  <a:pt x="17673" y="14727"/>
                </a:cubicBezTo>
                <a:lnTo>
                  <a:pt x="17673" y="15218"/>
                </a:lnTo>
                <a:cubicBezTo>
                  <a:pt x="17673" y="15490"/>
                  <a:pt x="17893" y="15709"/>
                  <a:pt x="18164" y="15709"/>
                </a:cubicBezTo>
                <a:lnTo>
                  <a:pt x="19994" y="15709"/>
                </a:lnTo>
                <a:cubicBezTo>
                  <a:pt x="19994" y="15709"/>
                  <a:pt x="15709" y="20383"/>
                  <a:pt x="15709" y="20383"/>
                </a:cubicBezTo>
                <a:close/>
                <a:moveTo>
                  <a:pt x="21109" y="14727"/>
                </a:moveTo>
                <a:lnTo>
                  <a:pt x="18658" y="14727"/>
                </a:lnTo>
                <a:cubicBezTo>
                  <a:pt x="18450" y="12130"/>
                  <a:pt x="16610" y="0"/>
                  <a:pt x="491" y="0"/>
                </a:cubicBezTo>
                <a:cubicBezTo>
                  <a:pt x="219" y="0"/>
                  <a:pt x="0" y="220"/>
                  <a:pt x="0" y="491"/>
                </a:cubicBezTo>
                <a:cubicBezTo>
                  <a:pt x="0" y="762"/>
                  <a:pt x="219" y="982"/>
                  <a:pt x="491" y="982"/>
                </a:cubicBezTo>
                <a:cubicBezTo>
                  <a:pt x="5558" y="982"/>
                  <a:pt x="9160" y="3417"/>
                  <a:pt x="11196" y="8250"/>
                </a:cubicBezTo>
                <a:cubicBezTo>
                  <a:pt x="12394" y="11093"/>
                  <a:pt x="12657" y="13684"/>
                  <a:pt x="12715" y="14727"/>
                </a:cubicBezTo>
                <a:lnTo>
                  <a:pt x="10309" y="14727"/>
                </a:lnTo>
                <a:cubicBezTo>
                  <a:pt x="10038" y="14727"/>
                  <a:pt x="9818" y="14947"/>
                  <a:pt x="9818" y="15218"/>
                </a:cubicBezTo>
                <a:cubicBezTo>
                  <a:pt x="9818" y="15354"/>
                  <a:pt x="9873" y="15477"/>
                  <a:pt x="9962" y="15566"/>
                </a:cubicBezTo>
                <a:lnTo>
                  <a:pt x="15362" y="21456"/>
                </a:lnTo>
                <a:cubicBezTo>
                  <a:pt x="15450" y="21545"/>
                  <a:pt x="15574" y="21600"/>
                  <a:pt x="15709" y="21600"/>
                </a:cubicBezTo>
                <a:cubicBezTo>
                  <a:pt x="15845" y="21600"/>
                  <a:pt x="15967" y="21545"/>
                  <a:pt x="16056" y="21456"/>
                </a:cubicBezTo>
                <a:lnTo>
                  <a:pt x="21456" y="15566"/>
                </a:lnTo>
                <a:cubicBezTo>
                  <a:pt x="21545" y="15477"/>
                  <a:pt x="21600" y="15354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</a:path>
            </a:pathLst>
          </a:custGeom>
          <a:noFill/>
          <a:ln w="12700">
            <a:solidFill>
              <a:schemeClr val="accent5">
                <a:lumMod val="75000"/>
              </a:schemeClr>
            </a:solidFill>
            <a:miter lim="400000"/>
          </a:ln>
        </p:spPr>
        <p:txBody>
          <a:bodyPr lIns="16764" tIns="16764" rIns="16764" bIns="16764" anchor="ctr"/>
          <a:lstStyle/>
          <a:p>
            <a:pPr algn="ctr" defTabSz="201168" hangingPunct="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300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Cambria" panose="02040503050406030204" pitchFamily="18" charset="0"/>
              <a:ea typeface="Gill Sans"/>
              <a:cs typeface="Gill Sans"/>
              <a:sym typeface="Gill Sans"/>
            </a:endParaRPr>
          </a:p>
        </p:txBody>
      </p:sp>
      <p:sp>
        <p:nvSpPr>
          <p:cNvPr id="79" name="Фигура"/>
          <p:cNvSpPr/>
          <p:nvPr/>
        </p:nvSpPr>
        <p:spPr>
          <a:xfrm rot="11273252">
            <a:off x="725369" y="4273865"/>
            <a:ext cx="869517" cy="10191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20383"/>
                </a:moveTo>
                <a:lnTo>
                  <a:pt x="11424" y="15709"/>
                </a:lnTo>
                <a:lnTo>
                  <a:pt x="13255" y="15709"/>
                </a:lnTo>
                <a:cubicBezTo>
                  <a:pt x="13525" y="15709"/>
                  <a:pt x="13745" y="15490"/>
                  <a:pt x="13745" y="15218"/>
                </a:cubicBezTo>
                <a:lnTo>
                  <a:pt x="13745" y="14727"/>
                </a:lnTo>
                <a:cubicBezTo>
                  <a:pt x="13635" y="12724"/>
                  <a:pt x="12844" y="5590"/>
                  <a:pt x="7448" y="1949"/>
                </a:cubicBezTo>
                <a:cubicBezTo>
                  <a:pt x="16407" y="4809"/>
                  <a:pt x="17536" y="12588"/>
                  <a:pt x="17673" y="14727"/>
                </a:cubicBezTo>
                <a:lnTo>
                  <a:pt x="17673" y="15218"/>
                </a:lnTo>
                <a:cubicBezTo>
                  <a:pt x="17673" y="15490"/>
                  <a:pt x="17893" y="15709"/>
                  <a:pt x="18164" y="15709"/>
                </a:cubicBezTo>
                <a:lnTo>
                  <a:pt x="19994" y="15709"/>
                </a:lnTo>
                <a:cubicBezTo>
                  <a:pt x="19994" y="15709"/>
                  <a:pt x="15709" y="20383"/>
                  <a:pt x="15709" y="20383"/>
                </a:cubicBezTo>
                <a:close/>
                <a:moveTo>
                  <a:pt x="21109" y="14727"/>
                </a:moveTo>
                <a:lnTo>
                  <a:pt x="18658" y="14727"/>
                </a:lnTo>
                <a:cubicBezTo>
                  <a:pt x="18450" y="12130"/>
                  <a:pt x="16610" y="0"/>
                  <a:pt x="491" y="0"/>
                </a:cubicBezTo>
                <a:cubicBezTo>
                  <a:pt x="219" y="0"/>
                  <a:pt x="0" y="220"/>
                  <a:pt x="0" y="491"/>
                </a:cubicBezTo>
                <a:cubicBezTo>
                  <a:pt x="0" y="762"/>
                  <a:pt x="219" y="982"/>
                  <a:pt x="491" y="982"/>
                </a:cubicBezTo>
                <a:cubicBezTo>
                  <a:pt x="5558" y="982"/>
                  <a:pt x="9160" y="3417"/>
                  <a:pt x="11196" y="8250"/>
                </a:cubicBezTo>
                <a:cubicBezTo>
                  <a:pt x="12394" y="11093"/>
                  <a:pt x="12657" y="13684"/>
                  <a:pt x="12715" y="14727"/>
                </a:cubicBezTo>
                <a:lnTo>
                  <a:pt x="10309" y="14727"/>
                </a:lnTo>
                <a:cubicBezTo>
                  <a:pt x="10038" y="14727"/>
                  <a:pt x="9818" y="14947"/>
                  <a:pt x="9818" y="15218"/>
                </a:cubicBezTo>
                <a:cubicBezTo>
                  <a:pt x="9818" y="15354"/>
                  <a:pt x="9873" y="15477"/>
                  <a:pt x="9962" y="15566"/>
                </a:cubicBezTo>
                <a:lnTo>
                  <a:pt x="15362" y="21456"/>
                </a:lnTo>
                <a:cubicBezTo>
                  <a:pt x="15450" y="21545"/>
                  <a:pt x="15574" y="21600"/>
                  <a:pt x="15709" y="21600"/>
                </a:cubicBezTo>
                <a:cubicBezTo>
                  <a:pt x="15845" y="21600"/>
                  <a:pt x="15967" y="21545"/>
                  <a:pt x="16056" y="21456"/>
                </a:cubicBezTo>
                <a:lnTo>
                  <a:pt x="21456" y="15566"/>
                </a:lnTo>
                <a:cubicBezTo>
                  <a:pt x="21545" y="15477"/>
                  <a:pt x="21600" y="15354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</a:path>
            </a:pathLst>
          </a:custGeom>
          <a:noFill/>
          <a:ln w="12700">
            <a:solidFill>
              <a:schemeClr val="accent5">
                <a:lumMod val="75000"/>
              </a:schemeClr>
            </a:solidFill>
            <a:miter lim="400000"/>
          </a:ln>
        </p:spPr>
        <p:txBody>
          <a:bodyPr lIns="16764" tIns="16764" rIns="16764" bIns="16764" anchor="ctr"/>
          <a:lstStyle/>
          <a:p>
            <a:pPr algn="ctr" defTabSz="201168" hangingPunct="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300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Cambria" panose="02040503050406030204" pitchFamily="18" charset="0"/>
              <a:ea typeface="Gill Sans"/>
              <a:cs typeface="Gill Sans"/>
              <a:sym typeface="Gill Sans"/>
            </a:endParaRPr>
          </a:p>
        </p:txBody>
      </p:sp>
      <p:sp>
        <p:nvSpPr>
          <p:cNvPr id="80" name="Фигура"/>
          <p:cNvSpPr/>
          <p:nvPr/>
        </p:nvSpPr>
        <p:spPr>
          <a:xfrm rot="14773389">
            <a:off x="128636" y="1659522"/>
            <a:ext cx="838597" cy="8280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709" y="20383"/>
                </a:moveTo>
                <a:lnTo>
                  <a:pt x="11424" y="15709"/>
                </a:lnTo>
                <a:lnTo>
                  <a:pt x="13255" y="15709"/>
                </a:lnTo>
                <a:cubicBezTo>
                  <a:pt x="13525" y="15709"/>
                  <a:pt x="13745" y="15490"/>
                  <a:pt x="13745" y="15218"/>
                </a:cubicBezTo>
                <a:lnTo>
                  <a:pt x="13745" y="14727"/>
                </a:lnTo>
                <a:cubicBezTo>
                  <a:pt x="13635" y="12724"/>
                  <a:pt x="12844" y="5590"/>
                  <a:pt x="7448" y="1949"/>
                </a:cubicBezTo>
                <a:cubicBezTo>
                  <a:pt x="16407" y="4809"/>
                  <a:pt x="17536" y="12588"/>
                  <a:pt x="17673" y="14727"/>
                </a:cubicBezTo>
                <a:lnTo>
                  <a:pt x="17673" y="15218"/>
                </a:lnTo>
                <a:cubicBezTo>
                  <a:pt x="17673" y="15490"/>
                  <a:pt x="17893" y="15709"/>
                  <a:pt x="18164" y="15709"/>
                </a:cubicBezTo>
                <a:lnTo>
                  <a:pt x="19994" y="15709"/>
                </a:lnTo>
                <a:cubicBezTo>
                  <a:pt x="19994" y="15709"/>
                  <a:pt x="15709" y="20383"/>
                  <a:pt x="15709" y="20383"/>
                </a:cubicBezTo>
                <a:close/>
                <a:moveTo>
                  <a:pt x="21109" y="14727"/>
                </a:moveTo>
                <a:lnTo>
                  <a:pt x="18658" y="14727"/>
                </a:lnTo>
                <a:cubicBezTo>
                  <a:pt x="18450" y="12130"/>
                  <a:pt x="16610" y="0"/>
                  <a:pt x="491" y="0"/>
                </a:cubicBezTo>
                <a:cubicBezTo>
                  <a:pt x="219" y="0"/>
                  <a:pt x="0" y="220"/>
                  <a:pt x="0" y="491"/>
                </a:cubicBezTo>
                <a:cubicBezTo>
                  <a:pt x="0" y="762"/>
                  <a:pt x="219" y="982"/>
                  <a:pt x="491" y="982"/>
                </a:cubicBezTo>
                <a:cubicBezTo>
                  <a:pt x="5558" y="982"/>
                  <a:pt x="9160" y="3417"/>
                  <a:pt x="11196" y="8250"/>
                </a:cubicBezTo>
                <a:cubicBezTo>
                  <a:pt x="12394" y="11093"/>
                  <a:pt x="12657" y="13684"/>
                  <a:pt x="12715" y="14727"/>
                </a:cubicBezTo>
                <a:lnTo>
                  <a:pt x="10309" y="14727"/>
                </a:lnTo>
                <a:cubicBezTo>
                  <a:pt x="10038" y="14727"/>
                  <a:pt x="9818" y="14947"/>
                  <a:pt x="9818" y="15218"/>
                </a:cubicBezTo>
                <a:cubicBezTo>
                  <a:pt x="9818" y="15354"/>
                  <a:pt x="9873" y="15477"/>
                  <a:pt x="9962" y="15566"/>
                </a:cubicBezTo>
                <a:lnTo>
                  <a:pt x="15362" y="21456"/>
                </a:lnTo>
                <a:cubicBezTo>
                  <a:pt x="15450" y="21545"/>
                  <a:pt x="15574" y="21600"/>
                  <a:pt x="15709" y="21600"/>
                </a:cubicBezTo>
                <a:cubicBezTo>
                  <a:pt x="15845" y="21600"/>
                  <a:pt x="15967" y="21545"/>
                  <a:pt x="16056" y="21456"/>
                </a:cubicBezTo>
                <a:lnTo>
                  <a:pt x="21456" y="15566"/>
                </a:lnTo>
                <a:cubicBezTo>
                  <a:pt x="21545" y="15477"/>
                  <a:pt x="21600" y="15354"/>
                  <a:pt x="21600" y="15218"/>
                </a:cubicBezTo>
                <a:cubicBezTo>
                  <a:pt x="21600" y="14947"/>
                  <a:pt x="21380" y="14727"/>
                  <a:pt x="21109" y="14727"/>
                </a:cubicBezTo>
              </a:path>
            </a:pathLst>
          </a:custGeom>
          <a:noFill/>
          <a:ln w="12700">
            <a:solidFill>
              <a:schemeClr val="accent5">
                <a:lumMod val="75000"/>
              </a:schemeClr>
            </a:solidFill>
            <a:miter lim="400000"/>
          </a:ln>
        </p:spPr>
        <p:txBody>
          <a:bodyPr lIns="16764" tIns="16764" rIns="16764" bIns="16764" anchor="ctr"/>
          <a:lstStyle/>
          <a:p>
            <a:pPr algn="ctr" defTabSz="201168" hangingPunct="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300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Cambria" panose="02040503050406030204" pitchFamily="18" charset="0"/>
              <a:ea typeface="Gill Sans"/>
              <a:cs typeface="Gill Sans"/>
              <a:sym typeface="Gill Sans"/>
            </a:endParaRPr>
          </a:p>
        </p:txBody>
      </p:sp>
      <p:sp>
        <p:nvSpPr>
          <p:cNvPr id="81" name="Овал 80"/>
          <p:cNvSpPr/>
          <p:nvPr/>
        </p:nvSpPr>
        <p:spPr>
          <a:xfrm>
            <a:off x="4740091" y="2202625"/>
            <a:ext cx="2877783" cy="2694968"/>
          </a:xfrm>
          <a:prstGeom prst="ellipse">
            <a:avLst/>
          </a:prstGeom>
          <a:noFill/>
          <a:ln w="28575" cap="flat">
            <a:solidFill>
              <a:srgbClr val="0365C0">
                <a:lumMod val="50000"/>
              </a:srgbClr>
            </a:solidFill>
            <a:prstDash val="sysDash"/>
            <a:miter lim="400000"/>
          </a:ln>
          <a:effectLst/>
          <a:sp3d/>
        </p:spPr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825500" hangingPunct="0">
              <a:defRPr/>
            </a:pPr>
            <a:endParaRPr lang="ru-RU" sz="3200" b="1" kern="0" dirty="0">
              <a:solidFill>
                <a:srgbClr val="000000"/>
              </a:solidFill>
              <a:latin typeface="Cambria" panose="02040503050406030204" pitchFamily="18" charset="0"/>
              <a:cs typeface="Helvetica"/>
              <a:sym typeface="Helvetica"/>
            </a:endParaRPr>
          </a:p>
        </p:txBody>
      </p:sp>
      <p:sp>
        <p:nvSpPr>
          <p:cNvPr id="82" name="Vissions"/>
          <p:cNvSpPr txBox="1">
            <a:spLocks/>
          </p:cNvSpPr>
          <p:nvPr/>
        </p:nvSpPr>
        <p:spPr>
          <a:xfrm>
            <a:off x="199621" y="5849912"/>
            <a:ext cx="11681138" cy="443259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2352" tIns="22352" rIns="22352" bIns="22352" anchor="ctr"/>
          <a:lstStyle>
            <a:lvl1pPr marL="0" marR="0" indent="0" algn="ctr" defTabSz="36322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 i="0" u="none" strike="noStrike" cap="all" spc="40" baseline="-5555">
                <a:ln>
                  <a:noFill/>
                </a:ln>
                <a:solidFill>
                  <a:srgbClr val="FFFFF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1pPr>
            <a:lvl2pPr marL="0" marR="0" indent="100584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2pPr>
            <a:lvl3pPr marL="0" marR="0" indent="201168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3pPr>
            <a:lvl4pPr marL="0" marR="0" indent="301752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4pPr>
            <a:lvl5pPr marL="0" marR="0" indent="402336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5pPr>
            <a:lvl6pPr marL="0" marR="0" indent="502920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6pPr>
            <a:lvl7pPr marL="0" marR="0" indent="603504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7pPr>
            <a:lvl8pPr marL="0" marR="0" indent="704088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8pPr>
            <a:lvl9pPr marL="0" marR="0" indent="804672" algn="l" defTabSz="36322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u="none" strike="noStrike" cap="none" spc="0" baseline="0">
                <a:ln>
                  <a:noFill/>
                </a:ln>
                <a:solidFill>
                  <a:srgbClr val="53585F"/>
                </a:solidFill>
                <a:uFillTx/>
                <a:latin typeface="+mn-lt"/>
                <a:ea typeface="+mn-ea"/>
                <a:cs typeface="+mn-cs"/>
                <a:sym typeface="Helvetica"/>
              </a:defRPr>
            </a:lvl9pPr>
          </a:lstStyle>
          <a:p>
            <a:pPr indent="-150876"/>
            <a:r>
              <a:rPr lang="ru-RU" sz="1600" b="1" i="1" kern="0" dirty="0" smtClean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Работа с </a:t>
            </a:r>
            <a:r>
              <a:rPr lang="ru-RU" sz="1600" b="1" i="1" kern="0" dirty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потенциальными инвесторами в странах их присутствия </a:t>
            </a:r>
            <a:r>
              <a:rPr lang="ru-RU" sz="1600" b="1" i="1" kern="0" dirty="0" smtClean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через </a:t>
            </a:r>
            <a:r>
              <a:rPr lang="ru-RU" sz="2000" b="1" i="1" u="sng" kern="0" dirty="0" smtClean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зарубежных представителей </a:t>
            </a:r>
            <a:endParaRPr lang="en-US" sz="1600" b="1" i="1" u="sng" kern="0" dirty="0" smtClean="0">
              <a:solidFill>
                <a:srgbClr val="000000"/>
              </a:solidFill>
              <a:latin typeface="Cambria" panose="02040503050406030204" pitchFamily="18" charset="0"/>
              <a:cs typeface="Helvetica"/>
            </a:endParaRPr>
          </a:p>
          <a:p>
            <a:pPr indent="-150876"/>
            <a:r>
              <a:rPr lang="ru-RU" sz="1600" b="1" i="1" kern="0" dirty="0" smtClean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и </a:t>
            </a:r>
            <a:r>
              <a:rPr lang="ru-RU" sz="1600" b="1" i="1" kern="0" dirty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содействие в регионах через </a:t>
            </a:r>
            <a:r>
              <a:rPr lang="ru-RU" sz="2000" b="1" i="1" u="sng" kern="0" dirty="0">
                <a:solidFill>
                  <a:srgbClr val="000000"/>
                </a:solidFill>
                <a:latin typeface="Cambria" panose="02040503050406030204" pitchFamily="18" charset="0"/>
                <a:cs typeface="Helvetica"/>
              </a:rPr>
              <a:t>региональные представительства</a:t>
            </a:r>
            <a:endParaRPr lang="en-US" sz="2000" b="1" i="1" u="sng" kern="0" dirty="0">
              <a:solidFill>
                <a:srgbClr val="000000"/>
              </a:solidFill>
              <a:latin typeface="Cambria" panose="02040503050406030204" pitchFamily="18" charset="0"/>
              <a:cs typeface="Helvetica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1791465" y="6492875"/>
            <a:ext cx="470460" cy="365125"/>
          </a:xfrm>
        </p:spPr>
        <p:txBody>
          <a:bodyPr/>
          <a:lstStyle/>
          <a:p>
            <a:fld id="{2B5A0A54-BA48-4B93-B2E5-9850B9E65965}" type="slidenum">
              <a:rPr sz="1800" b="1">
                <a:solidFill>
                  <a:srgbClr val="52BDF1"/>
                </a:solidFill>
                <a:latin typeface="Cambria" panose="02040503050406030204" pitchFamily="18" charset="0"/>
              </a:rPr>
              <a:pPr/>
              <a:t>59</a:t>
            </a:fld>
            <a:endParaRPr sz="1800" b="1" dirty="0">
              <a:solidFill>
                <a:srgbClr val="52BDF1"/>
              </a:solidFill>
              <a:latin typeface="Cambria" panose="02040503050406030204" pitchFamily="18" charset="0"/>
            </a:endParaRPr>
          </a:p>
        </p:txBody>
      </p:sp>
      <p:pic>
        <p:nvPicPr>
          <p:cNvPr id="24" name="Picture 5" descr="C:\Users\admin\Desktop\LOG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4081" y="6354727"/>
            <a:ext cx="2006856" cy="427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Рисунок 21" descr="https://drive.google.com/a/tagmedia.kz/uc?id=1lmdMWRt_9EeW58w45RPBHFY24lKJoDmY&amp;export=download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84"/>
          <a:stretch/>
        </p:blipFill>
        <p:spPr bwMode="auto">
          <a:xfrm>
            <a:off x="5558118" y="2270927"/>
            <a:ext cx="1306321" cy="103925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4210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500160" y="276446"/>
            <a:ext cx="116164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 algn="ctr">
              <a:defRPr sz="2400" b="1" u="sng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defRPr>
            </a:lvl1pPr>
          </a:lstStyle>
          <a:p>
            <a:r>
              <a:rPr lang="ru-RU" dirty="0" smtClean="0"/>
              <a:t>Критерии оценки к заявкам потенциальных поставщиков ОТП </a:t>
            </a:r>
            <a:r>
              <a:rPr lang="ru-RU" dirty="0"/>
              <a:t>имеющих намерение на создание производства лекарственных средств и (или) медицинских изделий</a:t>
            </a:r>
          </a:p>
        </p:txBody>
      </p:sp>
      <p:grpSp>
        <p:nvGrpSpPr>
          <p:cNvPr id="41" name="Группа 40"/>
          <p:cNvGrpSpPr/>
          <p:nvPr/>
        </p:nvGrpSpPr>
        <p:grpSpPr>
          <a:xfrm>
            <a:off x="500160" y="1446930"/>
            <a:ext cx="11303587" cy="4933859"/>
            <a:chOff x="579686" y="1010994"/>
            <a:chExt cx="11303587" cy="493385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5996702" y="4846849"/>
              <a:ext cx="1804312" cy="109800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9CAFD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entury Gothic" panose="020B0502020202020204" pitchFamily="34" charset="0"/>
              </a:endParaRP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589681" y="2983229"/>
              <a:ext cx="1602844" cy="1169551"/>
            </a:xfrm>
            <a:prstGeom prst="rect">
              <a:avLst/>
            </a:prstGeom>
            <a:ln>
              <a:noFill/>
              <a:prstDash val="sysDot"/>
            </a:ln>
          </p:spPr>
          <p:txBody>
            <a:bodyPr wrap="square">
              <a:spAutoFit/>
            </a:bodyPr>
            <a:lstStyle/>
            <a:p>
              <a:pPr>
                <a:buClr>
                  <a:schemeClr val="accent6"/>
                </a:buClr>
                <a:buSzPct val="120000"/>
                <a:defRPr/>
              </a:pPr>
              <a:r>
                <a:rPr lang="ru-RU" sz="1400" dirty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Наличие финансовых средств (собственные и привлекаемые)</a:t>
              </a:r>
            </a:p>
          </p:txBody>
        </p:sp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714479" y="1307530"/>
              <a:ext cx="1374544" cy="1303538"/>
            </a:xfrm>
            <a:prstGeom prst="rect">
              <a:avLst/>
            </a:prstGeom>
          </p:spPr>
        </p:pic>
        <p:sp>
          <p:nvSpPr>
            <p:cNvPr id="13" name="Прямоугольник 12"/>
            <p:cNvSpPr/>
            <p:nvPr/>
          </p:nvSpPr>
          <p:spPr>
            <a:xfrm>
              <a:off x="579686" y="1010994"/>
              <a:ext cx="1652731" cy="3733531"/>
            </a:xfrm>
            <a:prstGeom prst="rect">
              <a:avLst/>
            </a:prstGeom>
            <a:noFill/>
            <a:ln>
              <a:solidFill>
                <a:srgbClr val="9CAFD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3524733" y="1148391"/>
              <a:ext cx="459765" cy="436014"/>
            </a:xfrm>
            <a:prstGeom prst="rect">
              <a:avLst/>
            </a:prstGeom>
          </p:spPr>
        </p:pic>
        <p:sp>
          <p:nvSpPr>
            <p:cNvPr id="21" name="Прямоугольник 20"/>
            <p:cNvSpPr/>
            <p:nvPr/>
          </p:nvSpPr>
          <p:spPr>
            <a:xfrm>
              <a:off x="2367226" y="1025917"/>
              <a:ext cx="1704958" cy="3733531"/>
            </a:xfrm>
            <a:prstGeom prst="rect">
              <a:avLst/>
            </a:prstGeom>
            <a:noFill/>
            <a:ln>
              <a:solidFill>
                <a:srgbClr val="9CAFD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4250716" y="2710579"/>
              <a:ext cx="1571595" cy="1384995"/>
            </a:xfrm>
            <a:prstGeom prst="rect">
              <a:avLst/>
            </a:prstGeom>
            <a:ln>
              <a:noFill/>
              <a:prstDash val="sysDot"/>
            </a:ln>
          </p:spPr>
          <p:txBody>
            <a:bodyPr wrap="square">
              <a:spAutoFit/>
            </a:bodyPr>
            <a:lstStyle/>
            <a:p>
              <a:pPr>
                <a:buClr>
                  <a:schemeClr val="accent6"/>
                </a:buClr>
                <a:buSzPct val="120000"/>
                <a:defRPr/>
              </a:pPr>
              <a:r>
                <a:rPr lang="ru-RU" sz="1400" dirty="0" smtClean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Наличие </a:t>
              </a:r>
              <a:r>
                <a:rPr lang="ru-RU" sz="1400" dirty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заключения государственной экспертизы </a:t>
              </a:r>
              <a:r>
                <a:rPr lang="ru-RU" sz="1400" dirty="0" smtClean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ПСД на строительство</a:t>
              </a:r>
              <a:endParaRPr lang="ru-RU" sz="1400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281522" y="1089523"/>
              <a:ext cx="459764" cy="436014"/>
            </a:xfrm>
            <a:prstGeom prst="rect">
              <a:avLst/>
            </a:prstGeom>
          </p:spPr>
        </p:pic>
        <p:sp>
          <p:nvSpPr>
            <p:cNvPr id="22" name="Прямоугольник 21"/>
            <p:cNvSpPr/>
            <p:nvPr/>
          </p:nvSpPr>
          <p:spPr>
            <a:xfrm>
              <a:off x="4206675" y="1010994"/>
              <a:ext cx="1665299" cy="3733531"/>
            </a:xfrm>
            <a:prstGeom prst="rect">
              <a:avLst/>
            </a:prstGeom>
            <a:noFill/>
            <a:ln>
              <a:solidFill>
                <a:srgbClr val="9CAFD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9881733" y="2267397"/>
              <a:ext cx="2001540" cy="2462213"/>
            </a:xfrm>
            <a:prstGeom prst="rect">
              <a:avLst/>
            </a:prstGeom>
            <a:ln>
              <a:noFill/>
              <a:prstDash val="sysDot"/>
            </a:ln>
          </p:spPr>
          <p:txBody>
            <a:bodyPr wrap="square">
              <a:spAutoFit/>
            </a:bodyPr>
            <a:lstStyle/>
            <a:p>
              <a:pPr>
                <a:buClr>
                  <a:schemeClr val="accent6"/>
                </a:buClr>
                <a:buSzPct val="120000"/>
                <a:defRPr/>
              </a:pPr>
              <a:r>
                <a:rPr lang="ru-RU" sz="1400" dirty="0" smtClean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Наличие </a:t>
              </a:r>
              <a:r>
                <a:rPr lang="ru-RU" sz="1400" dirty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соглашения и (или) меморандума с научно-исследовательскими институтами, </a:t>
              </a:r>
              <a:r>
                <a:rPr lang="ru-RU" sz="1400" dirty="0" smtClean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лабораториями, АО «</a:t>
              </a:r>
              <a:r>
                <a:rPr lang="ru-RU" sz="1400" dirty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Фонд науки, на совместные разработки и (или) подготовку кадров  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9902808" y="1010997"/>
              <a:ext cx="1945740" cy="3733531"/>
            </a:xfrm>
            <a:prstGeom prst="rect">
              <a:avLst/>
            </a:prstGeom>
            <a:noFill/>
            <a:ln>
              <a:solidFill>
                <a:srgbClr val="9CAFD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588288" y="4829914"/>
              <a:ext cx="1639608" cy="108509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9CAFD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entury Gothic" panose="020B0502020202020204" pitchFamily="34" charset="0"/>
              </a:endParaRP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2367226" y="4829914"/>
              <a:ext cx="1704958" cy="109800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9CAFD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entury Gothic" panose="020B0502020202020204" pitchFamily="34" charset="0"/>
              </a:endParaRP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4211517" y="4835273"/>
              <a:ext cx="1660458" cy="109800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9CAFD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entury Gothic" panose="020B0502020202020204" pitchFamily="34" charset="0"/>
              </a:endParaRP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902808" y="4841488"/>
              <a:ext cx="1945740" cy="109800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9CAFD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entury Gothic" panose="020B0502020202020204" pitchFamily="34" charset="0"/>
              </a:endParaRP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595092" y="4914843"/>
              <a:ext cx="1592023" cy="83099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ru-RU" sz="1200" b="1" dirty="0" smtClean="0">
                  <a:solidFill>
                    <a:srgbClr val="000000"/>
                  </a:solidFill>
                  <a:latin typeface="Century Gothic" panose="020B0502020202020204" pitchFamily="34" charset="0"/>
                  <a:ea typeface="Times New Roman" panose="02020603050405020304" pitchFamily="18" charset="0"/>
                </a:rPr>
                <a:t>2 балла (собственные)/</a:t>
              </a:r>
            </a:p>
            <a:p>
              <a:pPr algn="ctr"/>
              <a:r>
                <a:rPr lang="ru-RU" sz="1200" b="1" dirty="0" smtClean="0">
                  <a:solidFill>
                    <a:srgbClr val="000000"/>
                  </a:solidFill>
                  <a:latin typeface="Century Gothic" panose="020B0502020202020204" pitchFamily="34" charset="0"/>
                  <a:ea typeface="Times New Roman" panose="02020603050405020304" pitchFamily="18" charset="0"/>
                </a:rPr>
                <a:t>1 балл (привлекаемые)</a:t>
              </a:r>
              <a:endParaRPr lang="ru-RU" sz="1200" b="1" dirty="0">
                <a:latin typeface="Century Gothic" panose="020B0502020202020204" pitchFamily="34" charset="0"/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4416488" y="5013480"/>
              <a:ext cx="1245671" cy="64633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000000"/>
                  </a:solidFill>
                  <a:latin typeface="Century Gothic" panose="020B0502020202020204" pitchFamily="34" charset="0"/>
                  <a:ea typeface="Times New Roman" panose="02020603050405020304" pitchFamily="18" charset="0"/>
                </a:rPr>
                <a:t>1 </a:t>
              </a:r>
            </a:p>
            <a:p>
              <a:pPr algn="ctr"/>
              <a:r>
                <a:rPr lang="ru-RU" b="1" dirty="0" smtClean="0">
                  <a:solidFill>
                    <a:srgbClr val="000000"/>
                  </a:solidFill>
                  <a:latin typeface="Century Gothic" panose="020B0502020202020204" pitchFamily="34" charset="0"/>
                  <a:ea typeface="Times New Roman" panose="02020603050405020304" pitchFamily="18" charset="0"/>
                </a:rPr>
                <a:t>балл</a:t>
              </a:r>
              <a:endParaRPr lang="ru-RU" b="1" dirty="0">
                <a:latin typeface="Century Gothic" panose="020B0502020202020204" pitchFamily="34" charset="0"/>
              </a:endParaRP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2514432" y="4924305"/>
              <a:ext cx="1355389" cy="83099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ru-RU" sz="1200" b="1" dirty="0">
                  <a:solidFill>
                    <a:srgbClr val="000000"/>
                  </a:solidFill>
                  <a:latin typeface="Century Gothic" panose="020B0502020202020204" pitchFamily="34" charset="0"/>
                  <a:ea typeface="Times New Roman" panose="02020603050405020304" pitchFamily="18" charset="0"/>
                </a:rPr>
                <a:t>2 </a:t>
              </a:r>
              <a:r>
                <a:rPr lang="ru-RU" sz="1200" b="1" dirty="0" smtClean="0">
                  <a:solidFill>
                    <a:srgbClr val="000000"/>
                  </a:solidFill>
                  <a:latin typeface="Century Gothic" panose="020B0502020202020204" pitchFamily="34" charset="0"/>
                  <a:ea typeface="Times New Roman" panose="02020603050405020304" pitchFamily="18" charset="0"/>
                </a:rPr>
                <a:t>балла (собственный) / 1 балл (аренда)</a:t>
              </a:r>
              <a:endParaRPr lang="ru-RU" sz="1200" b="1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6046442" y="2978652"/>
              <a:ext cx="1785894" cy="1169551"/>
            </a:xfrm>
            <a:prstGeom prst="rect">
              <a:avLst/>
            </a:prstGeom>
            <a:ln>
              <a:noFill/>
              <a:prstDash val="sysDot"/>
            </a:ln>
          </p:spPr>
          <p:txBody>
            <a:bodyPr wrap="square">
              <a:spAutoFit/>
            </a:bodyPr>
            <a:lstStyle/>
            <a:p>
              <a:pPr>
                <a:buClr>
                  <a:schemeClr val="accent6"/>
                </a:buClr>
                <a:buSzPct val="120000"/>
                <a:defRPr/>
              </a:pPr>
              <a:r>
                <a:rPr lang="ru-RU" sz="1400" dirty="0" smtClean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Наличие </a:t>
              </a:r>
              <a:r>
                <a:rPr lang="ru-RU" sz="1400" dirty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технологического оборудования для производства </a:t>
              </a:r>
              <a:r>
                <a:rPr lang="ru-RU" sz="1400" dirty="0" smtClean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ЛС и МИ</a:t>
              </a:r>
              <a:endParaRPr lang="ru-RU" sz="1200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6001223" y="1025916"/>
              <a:ext cx="1799790" cy="3733531"/>
            </a:xfrm>
            <a:prstGeom prst="rect">
              <a:avLst/>
            </a:prstGeom>
            <a:noFill/>
            <a:ln>
              <a:solidFill>
                <a:srgbClr val="9CAFD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6428151" y="5016639"/>
              <a:ext cx="901718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000000"/>
                  </a:solidFill>
                  <a:latin typeface="Century Gothic" panose="020B0502020202020204" pitchFamily="34" charset="0"/>
                  <a:ea typeface="Times New Roman" panose="02020603050405020304" pitchFamily="18" charset="0"/>
                </a:rPr>
                <a:t>2</a:t>
              </a:r>
            </a:p>
            <a:p>
              <a:r>
                <a:rPr lang="ru-RU" b="1" dirty="0" smtClean="0">
                  <a:solidFill>
                    <a:srgbClr val="000000"/>
                  </a:solidFill>
                  <a:latin typeface="Century Gothic" panose="020B0502020202020204" pitchFamily="34" charset="0"/>
                  <a:ea typeface="Times New Roman" panose="02020603050405020304" pitchFamily="18" charset="0"/>
                </a:rPr>
                <a:t>балла</a:t>
              </a:r>
              <a:endParaRPr lang="ru-RU" b="1" dirty="0">
                <a:latin typeface="Century Gothic" panose="020B0502020202020204" pitchFamily="34" charset="0"/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10251620" y="5041608"/>
              <a:ext cx="1216091" cy="64633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000000"/>
                  </a:solidFill>
                  <a:latin typeface="Century Gothic" panose="020B0502020202020204" pitchFamily="34" charset="0"/>
                  <a:ea typeface="Times New Roman" panose="02020603050405020304" pitchFamily="18" charset="0"/>
                </a:rPr>
                <a:t>1 </a:t>
              </a:r>
            </a:p>
            <a:p>
              <a:pPr algn="ctr"/>
              <a:r>
                <a:rPr lang="ru-RU" b="1" dirty="0" smtClean="0">
                  <a:solidFill>
                    <a:srgbClr val="000000"/>
                  </a:solidFill>
                  <a:latin typeface="Century Gothic" panose="020B0502020202020204" pitchFamily="34" charset="0"/>
                  <a:ea typeface="Times New Roman" panose="02020603050405020304" pitchFamily="18" charset="0"/>
                </a:rPr>
                <a:t>балл</a:t>
              </a:r>
              <a:endParaRPr lang="ru-RU" b="1" dirty="0">
                <a:latin typeface="Century Gothic" panose="020B0502020202020204" pitchFamily="34" charset="0"/>
              </a:endParaRPr>
            </a:p>
          </p:txBody>
        </p:sp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7304579" y="1054623"/>
              <a:ext cx="459764" cy="436014"/>
            </a:xfrm>
            <a:prstGeom prst="rect">
              <a:avLst/>
            </a:prstGeom>
          </p:spPr>
        </p:pic>
      </p:grpSp>
      <p:sp>
        <p:nvSpPr>
          <p:cNvPr id="32" name="Прямоугольник 31"/>
          <p:cNvSpPr/>
          <p:nvPr/>
        </p:nvSpPr>
        <p:spPr>
          <a:xfrm>
            <a:off x="2246537" y="2884041"/>
            <a:ext cx="1840720" cy="1962076"/>
          </a:xfrm>
          <a:prstGeom prst="rect">
            <a:avLst/>
          </a:prstGeom>
          <a:ln>
            <a:noFill/>
            <a:prstDash val="sysDot"/>
          </a:ln>
        </p:spPr>
        <p:txBody>
          <a:bodyPr wrap="square">
            <a:spAutoFit/>
          </a:bodyPr>
          <a:lstStyle/>
          <a:p>
            <a:pPr>
              <a:buClr>
                <a:schemeClr val="accent6"/>
              </a:buClr>
              <a:buSzPct val="120000"/>
              <a:defRPr/>
            </a:pPr>
            <a:r>
              <a:rPr lang="ru-RU" sz="1350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личие земельного участка в собственности или в аренде (в </a:t>
            </a:r>
            <a:r>
              <a:rPr lang="ru-RU" sz="1350" dirty="0" err="1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.ч</a:t>
            </a:r>
            <a:r>
              <a:rPr lang="ru-RU" sz="1350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 доверительном управлении, временном землепользовании</a:t>
            </a:r>
            <a:endParaRPr lang="ru-RU" sz="135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121203" y="1590673"/>
            <a:ext cx="1124837" cy="1124837"/>
          </a:xfrm>
          <a:prstGeom prst="rect">
            <a:avLst/>
          </a:prstGeom>
        </p:spPr>
      </p:pic>
      <p:sp>
        <p:nvSpPr>
          <p:cNvPr id="36" name="Прямоугольник 35"/>
          <p:cNvSpPr/>
          <p:nvPr/>
        </p:nvSpPr>
        <p:spPr>
          <a:xfrm>
            <a:off x="7802473" y="1446933"/>
            <a:ext cx="1890121" cy="3733531"/>
          </a:xfrm>
          <a:prstGeom prst="rect">
            <a:avLst/>
          </a:prstGeom>
          <a:noFill/>
          <a:ln>
            <a:solidFill>
              <a:srgbClr val="9CAFD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38" name="Прямоугольник 37"/>
          <p:cNvSpPr/>
          <p:nvPr/>
        </p:nvSpPr>
        <p:spPr>
          <a:xfrm>
            <a:off x="7802473" y="5282784"/>
            <a:ext cx="1890121" cy="10980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9CAFD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7907955" y="2963177"/>
            <a:ext cx="1783115" cy="2031325"/>
          </a:xfrm>
          <a:prstGeom prst="rect">
            <a:avLst/>
          </a:prstGeom>
          <a:ln>
            <a:noFill/>
            <a:prstDash val="sysDot"/>
          </a:ln>
        </p:spPr>
        <p:txBody>
          <a:bodyPr wrap="square">
            <a:spAutoFit/>
          </a:bodyPr>
          <a:lstStyle/>
          <a:p>
            <a:pPr>
              <a:buClr>
                <a:schemeClr val="accent6"/>
              </a:buClr>
              <a:buSzPct val="120000"/>
              <a:defRPr/>
            </a:pPr>
            <a:r>
              <a:rPr lang="ru-RU" sz="1400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личие научно-технологической </a:t>
            </a:r>
            <a:r>
              <a:rPr lang="ru-RU" sz="1400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инициативы </a:t>
            </a:r>
            <a:r>
              <a:rPr lang="ru-RU" sz="1400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трансфер </a:t>
            </a:r>
            <a:r>
              <a:rPr lang="ru-RU" sz="1400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хнологий </a:t>
            </a:r>
            <a:r>
              <a:rPr lang="ru-RU" sz="1400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для ЛС и МИ</a:t>
            </a:r>
            <a:r>
              <a:rPr lang="ru-RU" sz="1400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/ собственные разработки </a:t>
            </a:r>
            <a:r>
              <a:rPr lang="ru-RU" sz="1400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ЛС и МИ)</a:t>
            </a:r>
            <a:endParaRPr lang="ru-RU" sz="1400" dirty="0">
              <a:solidFill>
                <a:schemeClr val="tx2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7784571" y="5427862"/>
            <a:ext cx="197562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2 балла (трансфер технологий)/</a:t>
            </a:r>
          </a:p>
          <a:p>
            <a:pPr algn="ctr"/>
            <a:r>
              <a:rPr lang="ru-RU" sz="1200" b="1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3 </a:t>
            </a:r>
            <a:r>
              <a:rPr lang="ru-RU" sz="1200" b="1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балла (собственные </a:t>
            </a:r>
            <a:r>
              <a:rPr lang="ru-RU" sz="1200" b="1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разработки)</a:t>
            </a:r>
            <a:endParaRPr lang="ru-RU" sz="1200" b="1" dirty="0">
              <a:latin typeface="Century Gothic" panose="020B0502020202020204" pitchFamily="34" charset="0"/>
            </a:endParaRPr>
          </a:p>
        </p:txBody>
      </p:sp>
      <p:pic>
        <p:nvPicPr>
          <p:cNvPr id="47" name="Рисунок 46"/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877361" y="1570656"/>
            <a:ext cx="1124837" cy="1124837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013425" y="1554382"/>
            <a:ext cx="459764" cy="436014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1071032" y="1524989"/>
            <a:ext cx="459764" cy="436014"/>
          </a:xfrm>
          <a:prstGeom prst="rect">
            <a:avLst/>
          </a:prstGeom>
        </p:spPr>
      </p:pic>
      <p:pic>
        <p:nvPicPr>
          <p:cNvPr id="51" name="Picture 4" descr="Составление договоров купли-продажи недвижимости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7406" y="1546108"/>
            <a:ext cx="1178901" cy="117890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Internet. 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3438" b="95938" l="0" r="100000">
                        <a14:foregroundMark x1="22188" y1="10938" x2="22188" y2="10938"/>
                        <a14:foregroundMark x1="28125" y1="37813" x2="28125" y2="37813"/>
                        <a14:foregroundMark x1="70938" y1="19688" x2="70938" y2="19688"/>
                        <a14:foregroundMark x1="63438" y1="34375" x2="63438" y2="343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9464" y="1759005"/>
            <a:ext cx="1125035" cy="112503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889" b="96444" l="0" r="100000">
                        <a14:foregroundMark x1="57778" y1="33778" x2="57778" y2="3377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405463" y="1682292"/>
            <a:ext cx="1218092" cy="1218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087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500160" y="185006"/>
            <a:ext cx="11616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 algn="ctr">
              <a:defRPr sz="2400" b="1" u="sng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defRPr>
            </a:lvl1pPr>
          </a:lstStyle>
          <a:p>
            <a:r>
              <a:rPr lang="ru-RU" dirty="0" smtClean="0"/>
              <a:t>Преференции для инвестиционных проектов</a:t>
            </a:r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3640594"/>
              </p:ext>
            </p:extLst>
          </p:nvPr>
        </p:nvGraphicFramePr>
        <p:xfrm>
          <a:off x="349136" y="731520"/>
          <a:ext cx="11471562" cy="567550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38260">
                  <a:extLst>
                    <a:ext uri="{9D8B030D-6E8A-4147-A177-3AD203B41FA5}">
                      <a16:colId xmlns:a16="http://schemas.microsoft.com/office/drawing/2014/main" val="3878558135"/>
                    </a:ext>
                  </a:extLst>
                </a:gridCol>
                <a:gridCol w="2148929">
                  <a:extLst>
                    <a:ext uri="{9D8B030D-6E8A-4147-A177-3AD203B41FA5}">
                      <a16:colId xmlns:a16="http://schemas.microsoft.com/office/drawing/2014/main" val="2627308498"/>
                    </a:ext>
                  </a:extLst>
                </a:gridCol>
                <a:gridCol w="2148929">
                  <a:extLst>
                    <a:ext uri="{9D8B030D-6E8A-4147-A177-3AD203B41FA5}">
                      <a16:colId xmlns:a16="http://schemas.microsoft.com/office/drawing/2014/main" val="655048528"/>
                    </a:ext>
                  </a:extLst>
                </a:gridCol>
                <a:gridCol w="2341458">
                  <a:extLst>
                    <a:ext uri="{9D8B030D-6E8A-4147-A177-3AD203B41FA5}">
                      <a16:colId xmlns:a16="http://schemas.microsoft.com/office/drawing/2014/main" val="754304224"/>
                    </a:ext>
                  </a:extLst>
                </a:gridCol>
                <a:gridCol w="2793986">
                  <a:extLst>
                    <a:ext uri="{9D8B030D-6E8A-4147-A177-3AD203B41FA5}">
                      <a16:colId xmlns:a16="http://schemas.microsoft.com/office/drawing/2014/main" val="1883772826"/>
                    </a:ext>
                  </a:extLst>
                </a:gridCol>
              </a:tblGrid>
              <a:tr h="19855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Преференции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Инвестиционный проект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Инвестиционный приоритетный проект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Специальный инвестиционный проект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extLst>
                  <a:ext uri="{0D108BD9-81ED-4DB2-BD59-A6C34878D82A}">
                    <a16:rowId xmlns:a16="http://schemas.microsoft.com/office/drawing/2014/main" val="1643100552"/>
                  </a:ext>
                </a:extLst>
              </a:tr>
              <a:tr h="54608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СОЗДАНИЕ НОВЫХ ПРОИЗВОДСТВ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(ФАБРИКА, ЗАВОД, ЦЕХ)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РАСШИРЕНИЕ ИЛИ ОБНОВЛЕНИЕ ДЕЙСТВУЮЩИХ ПРОИЗВОДСТВ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(РЕНОВАЦИЯ, РЕКОНСТРУКЦИЯ, МОДЕРНИЗАЦИЯ)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extLst>
                  <a:ext uri="{0D108BD9-81ED-4DB2-BD59-A6C34878D82A}">
                    <a16:rowId xmlns:a16="http://schemas.microsoft.com/office/drawing/2014/main" val="3386642063"/>
                  </a:ext>
                </a:extLst>
              </a:tr>
              <a:tr h="31204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1200">
                          <a:effectLst/>
                          <a:latin typeface="Century Gothic" panose="020B0502020202020204" pitchFamily="34" charset="0"/>
                        </a:rPr>
                        <a:t>ОСВОБОЖДЕНИЕ ОТ ОБЛОЖЕНИЯ ТАМОЖЕННЫМИ ПОШЛИНАМИ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+/ 5 лет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+/5 лет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+/5 лет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+/15 лет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extLst>
                  <a:ext uri="{0D108BD9-81ED-4DB2-BD59-A6C34878D82A}">
                    <a16:rowId xmlns:a16="http://schemas.microsoft.com/office/drawing/2014/main" val="671466090"/>
                  </a:ext>
                </a:extLst>
              </a:tr>
              <a:tr h="31204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1200">
                          <a:effectLst/>
                          <a:latin typeface="Century Gothic" panose="020B0502020202020204" pitchFamily="34" charset="0"/>
                        </a:rPr>
                        <a:t>ГОСУДАРСТВЕННЫЕ НАТУРНЫЕ ГРАНТЫ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+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Максимальный размер: 30% от объема инвестиций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+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Максимальный размер: 30% от объема инвестиций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+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Максимальный размер: 30% от объема инвестиций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______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extLst>
                  <a:ext uri="{0D108BD9-81ED-4DB2-BD59-A6C34878D82A}">
                    <a16:rowId xmlns:a16="http://schemas.microsoft.com/office/drawing/2014/main" val="2850740528"/>
                  </a:ext>
                </a:extLst>
              </a:tr>
              <a:tr h="170218">
                <a:tc grid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Налоговые </a:t>
                      </a:r>
                      <a:r>
                        <a:rPr lang="ru-RU" sz="1200" dirty="0" smtClean="0">
                          <a:effectLst/>
                          <a:latin typeface="Century Gothic" panose="020B0502020202020204" pitchFamily="34" charset="0"/>
                        </a:rPr>
                        <a:t>преференции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extLst>
                  <a:ext uri="{0D108BD9-81ED-4DB2-BD59-A6C34878D82A}">
                    <a16:rowId xmlns:a16="http://schemas.microsoft.com/office/drawing/2014/main" val="2555386728"/>
                  </a:ext>
                </a:extLst>
              </a:tr>
              <a:tr h="15602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Освобождение импорта от НДС 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+/5 лет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76225" algn="l"/>
                        </a:tabLs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____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____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19100" algn="l"/>
                        </a:tabLs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+/ Срок действия специального инвестиционного контракта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extLst>
                  <a:ext uri="{0D108BD9-81ED-4DB2-BD59-A6C34878D82A}">
                    <a16:rowId xmlns:a16="http://schemas.microsoft.com/office/drawing/2014/main" val="1725094884"/>
                  </a:ext>
                </a:extLst>
              </a:tr>
              <a:tr h="8896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КПН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________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76225" algn="l"/>
                        </a:tabLs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+/10 лет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+/3 года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19100" algn="l"/>
                        </a:tabLs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________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extLst>
                  <a:ext uri="{0D108BD9-81ED-4DB2-BD59-A6C34878D82A}">
                    <a16:rowId xmlns:a16="http://schemas.microsoft.com/office/drawing/2014/main" val="2295170206"/>
                  </a:ext>
                </a:extLst>
              </a:tr>
              <a:tr h="8896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Земельный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________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76225" algn="l"/>
                        </a:tabLs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+/10 лет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______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19100" algn="l"/>
                        </a:tabLs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________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extLst>
                  <a:ext uri="{0D108BD9-81ED-4DB2-BD59-A6C34878D82A}">
                    <a16:rowId xmlns:a16="http://schemas.microsoft.com/office/drawing/2014/main" val="4144795834"/>
                  </a:ext>
                </a:extLst>
              </a:tr>
              <a:tr h="8896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Налог на имущество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________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76225" algn="l"/>
                        </a:tabLs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+/ 8 лет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_______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19100" algn="l"/>
                        </a:tabLs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________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extLst>
                  <a:ext uri="{0D108BD9-81ED-4DB2-BD59-A6C34878D82A}">
                    <a16:rowId xmlns:a16="http://schemas.microsoft.com/office/drawing/2014/main" val="3965617673"/>
                  </a:ext>
                </a:extLst>
              </a:tr>
              <a:tr h="6028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1200">
                          <a:effectLst/>
                          <a:latin typeface="Century Gothic" panose="020B0502020202020204" pitchFamily="34" charset="0"/>
                        </a:rPr>
                        <a:t>ИНВЕСТИЦИОННАЯ СУБСИДИЯ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Объем инвестиций не менее 5 </a:t>
                      </a:r>
                      <a:r>
                        <a:rPr lang="kk-KZ" sz="1200">
                          <a:effectLst/>
                          <a:latin typeface="Century Gothic" panose="020B0502020202020204" pitchFamily="34" charset="0"/>
                        </a:rPr>
                        <a:t>млн.</a:t>
                      </a: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 МРП (на 2020 год примерно USD 32, млн. при курсе </a:t>
                      </a:r>
                      <a:r>
                        <a:rPr lang="kk-KZ" sz="1200">
                          <a:effectLst/>
                          <a:latin typeface="Century Gothic" panose="020B0502020202020204" pitchFamily="34" charset="0"/>
                        </a:rPr>
                        <a:t>430</a:t>
                      </a:r>
                      <a:r>
                        <a:rPr lang="ru-RU" sz="1200">
                          <a:effectLst/>
                          <a:latin typeface="Century Gothic" panose="020B0502020202020204" pitchFamily="34" charset="0"/>
                        </a:rPr>
                        <a:t>)  и реализация проекта по видам деятельности в части 3 Постановления от 14.01.2016 № 13</a:t>
                      </a:r>
                      <a:endParaRPr lang="ru-RU" sz="120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_______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extLst>
                  <a:ext uri="{0D108BD9-81ED-4DB2-BD59-A6C34878D82A}">
                    <a16:rowId xmlns:a16="http://schemas.microsoft.com/office/drawing/2014/main" val="561599059"/>
                  </a:ext>
                </a:extLst>
              </a:tr>
            </a:tbl>
          </a:graphicData>
        </a:graphic>
      </p:graphicFrame>
      <p:sp>
        <p:nvSpPr>
          <p:cNvPr id="4" name="Текст 3"/>
          <p:cNvSpPr txBox="1">
            <a:spLocks/>
          </p:cNvSpPr>
          <p:nvPr/>
        </p:nvSpPr>
        <p:spPr bwMode="auto">
          <a:xfrm>
            <a:off x="234296" y="6526761"/>
            <a:ext cx="1444875" cy="205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4889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889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8895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889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8895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889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889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889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889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ts val="217"/>
              </a:spcBef>
              <a:buClr>
                <a:srgbClr val="376092"/>
              </a:buClr>
              <a:buNone/>
            </a:pPr>
            <a:endParaRPr lang="ru-RU" altLang="ru-RU" sz="667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spcBef>
                <a:spcPts val="217"/>
              </a:spcBef>
              <a:buClr>
                <a:srgbClr val="376092"/>
              </a:buClr>
              <a:buNone/>
            </a:pPr>
            <a:r>
              <a:rPr lang="ru-RU" altLang="ru-RU" sz="667" dirty="0" smtClean="0">
                <a:solidFill>
                  <a:srgbClr val="000000"/>
                </a:solidFill>
                <a:latin typeface="Arial" panose="020B0604020202020204" pitchFamily="34" charset="0"/>
              </a:rPr>
              <a:t>Источник</a:t>
            </a:r>
            <a:r>
              <a:rPr lang="en-US" altLang="ru-RU" sz="667" dirty="0" smtClean="0">
                <a:solidFill>
                  <a:srgbClr val="000000"/>
                </a:solidFill>
                <a:latin typeface="Arial" panose="020B0604020202020204" pitchFamily="34" charset="0"/>
              </a:rPr>
              <a:t>: KAZAKH INVEST</a:t>
            </a:r>
            <a:endParaRPr lang="ru-RU" altLang="ru-RU" sz="667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8605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575600" y="76941"/>
            <a:ext cx="11616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 algn="ctr">
              <a:defRPr sz="2400" b="1" u="sng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defRPr>
            </a:lvl1pPr>
          </a:lstStyle>
          <a:p>
            <a:r>
              <a:rPr lang="ru-RU" dirty="0" smtClean="0"/>
              <a:t>Преференции для инвестиционных проектов (продолжение)</a:t>
            </a:r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9758171"/>
              </p:ext>
            </p:extLst>
          </p:nvPr>
        </p:nvGraphicFramePr>
        <p:xfrm>
          <a:off x="309110" y="536885"/>
          <a:ext cx="11471562" cy="626186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04355">
                  <a:extLst>
                    <a:ext uri="{9D8B030D-6E8A-4147-A177-3AD203B41FA5}">
                      <a16:colId xmlns:a16="http://schemas.microsoft.com/office/drawing/2014/main" val="3878558135"/>
                    </a:ext>
                  </a:extLst>
                </a:gridCol>
                <a:gridCol w="2161309">
                  <a:extLst>
                    <a:ext uri="{9D8B030D-6E8A-4147-A177-3AD203B41FA5}">
                      <a16:colId xmlns:a16="http://schemas.microsoft.com/office/drawing/2014/main" val="2627308498"/>
                    </a:ext>
                  </a:extLst>
                </a:gridCol>
                <a:gridCol w="5527964">
                  <a:extLst>
                    <a:ext uri="{9D8B030D-6E8A-4147-A177-3AD203B41FA5}">
                      <a16:colId xmlns:a16="http://schemas.microsoft.com/office/drawing/2014/main" val="655048528"/>
                    </a:ext>
                  </a:extLst>
                </a:gridCol>
                <a:gridCol w="2177934">
                  <a:extLst>
                    <a:ext uri="{9D8B030D-6E8A-4147-A177-3AD203B41FA5}">
                      <a16:colId xmlns:a16="http://schemas.microsoft.com/office/drawing/2014/main" val="1883772826"/>
                    </a:ext>
                  </a:extLst>
                </a:gridCol>
              </a:tblGrid>
              <a:tr h="19855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Преференции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Инвестиционный проект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Инвестиционный приоритетный проект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Специальный инвестиционный проект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 anchor="ctr"/>
                </a:tc>
                <a:extLst>
                  <a:ext uri="{0D108BD9-81ED-4DB2-BD59-A6C34878D82A}">
                    <a16:rowId xmlns:a16="http://schemas.microsoft.com/office/drawing/2014/main" val="1643100552"/>
                  </a:ext>
                </a:extLst>
              </a:tr>
              <a:tr h="340389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УСЛОВИЯ ПРЕДОСТАВЛЕНИЯ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/>
                </a:tc>
                <a:tc>
                  <a:txBody>
                    <a:bodyPr/>
                    <a:lstStyle/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arenR"/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Получатель: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Юридическое лицо Республики Казахстан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arenR"/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Виды деятельности: Части 1 и 2 перечня Постановления от 14.01.2016 № 13 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/>
                </a:tc>
                <a:tc>
                  <a:txBody>
                    <a:bodyPr/>
                    <a:lstStyle/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arenR"/>
                      </a:pPr>
                      <a:r>
                        <a:rPr lang="ru-RU" sz="1000" dirty="0">
                          <a:effectLst/>
                          <a:latin typeface="Century Gothic" panose="020B0502020202020204" pitchFamily="34" charset="0"/>
                        </a:rPr>
                        <a:t>ПОЛУЧАТЕЛЬ: Юридическое лицо РК;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arenR"/>
                      </a:pPr>
                      <a:r>
                        <a:rPr lang="ru-RU" sz="1000" dirty="0">
                          <a:effectLst/>
                          <a:latin typeface="Century Gothic" panose="020B0502020202020204" pitchFamily="34" charset="0"/>
                        </a:rPr>
                        <a:t>ВИДЫ ДЕЯТЕЛЬНОСТИ: </a:t>
                      </a:r>
                      <a:r>
                        <a:rPr lang="kk-KZ" sz="1000" dirty="0">
                          <a:effectLst/>
                          <a:latin typeface="Century Gothic" panose="020B0502020202020204" pitchFamily="34" charset="0"/>
                        </a:rPr>
                        <a:t>Часть 1 и 2 Перечня приор.видов деятельности</a:t>
                      </a:r>
                      <a:r>
                        <a:rPr lang="ru-RU" sz="1000" dirty="0">
                          <a:effectLst/>
                          <a:latin typeface="Century Gothic" panose="020B0502020202020204" pitchFamily="34" charset="0"/>
                        </a:rPr>
                        <a:t>;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arenR"/>
                      </a:pPr>
                      <a:r>
                        <a:rPr lang="ru-RU" sz="1000" dirty="0">
                          <a:effectLst/>
                          <a:latin typeface="Century Gothic" panose="020B0502020202020204" pitchFamily="34" charset="0"/>
                        </a:rPr>
                        <a:t>ОБЪЕМ ИНВЕСТИЦИЙ: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dirty="0">
                          <a:effectLst/>
                          <a:latin typeface="Century Gothic" panose="020B0502020202020204" pitchFamily="34" charset="0"/>
                        </a:rPr>
                        <a:t>2 МЛН.МРП (на 2020 год 5,</a:t>
                      </a:r>
                      <a:r>
                        <a:rPr lang="kk-KZ" sz="1000" dirty="0">
                          <a:effectLst/>
                          <a:latin typeface="Century Gothic" panose="020B0502020202020204" pitchFamily="34" charset="0"/>
                        </a:rPr>
                        <a:t>около</a:t>
                      </a:r>
                      <a:r>
                        <a:rPr lang="ru-RU" sz="1000" dirty="0">
                          <a:effectLst/>
                          <a:latin typeface="Century Gothic" panose="020B0502020202020204" pitchFamily="34" charset="0"/>
                        </a:rPr>
                        <a:t> USD 13,000 млн. при курсе 4</a:t>
                      </a:r>
                      <a:r>
                        <a:rPr lang="kk-KZ" sz="1000" dirty="0">
                          <a:effectLst/>
                          <a:latin typeface="Century Gothic" panose="020B0502020202020204" pitchFamily="34" charset="0"/>
                        </a:rPr>
                        <a:t>30</a:t>
                      </a:r>
                      <a:r>
                        <a:rPr lang="ru-RU" sz="1000" dirty="0">
                          <a:effectLst/>
                          <a:latin typeface="Century Gothic" panose="020B0502020202020204" pitchFamily="34" charset="0"/>
                        </a:rPr>
                        <a:t>)) для создания новых производств или 5 МЛН.МРП (на 2020 год </a:t>
                      </a:r>
                      <a:r>
                        <a:rPr lang="kk-KZ" sz="1000" dirty="0">
                          <a:effectLst/>
                          <a:latin typeface="Century Gothic" panose="020B0502020202020204" pitchFamily="34" charset="0"/>
                        </a:rPr>
                        <a:t>около</a:t>
                      </a:r>
                      <a:r>
                        <a:rPr lang="ru-RU" sz="1000" dirty="0">
                          <a:effectLst/>
                          <a:latin typeface="Century Gothic" panose="020B0502020202020204" pitchFamily="34" charset="0"/>
                        </a:rPr>
                        <a:t> USD 32,</a:t>
                      </a:r>
                      <a:r>
                        <a:rPr lang="kk-KZ" sz="1000" dirty="0">
                          <a:effectLst/>
                          <a:latin typeface="Century Gothic" panose="020B0502020202020204" pitchFamily="34" charset="0"/>
                        </a:rPr>
                        <a:t>000</a:t>
                      </a:r>
                      <a:r>
                        <a:rPr lang="ru-RU" sz="1000" dirty="0">
                          <a:effectLst/>
                          <a:latin typeface="Century Gothic" panose="020B0502020202020204" pitchFamily="34" charset="0"/>
                        </a:rPr>
                        <a:t> млн. при курсе 430) для расширения и (или) обновления действующих производств) размера месячного расчетного показателя, установленного законом о республиканском бюджете и действующего на дату подачи заявки на предоставление инвестиционных преференций;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dirty="0">
                          <a:effectLst/>
                          <a:latin typeface="Century Gothic" panose="020B0502020202020204" pitchFamily="34" charset="0"/>
                        </a:rPr>
                        <a:t>юридическое лицо не является: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ru-RU" sz="1000" dirty="0">
                          <a:effectLst/>
                          <a:latin typeface="Century Gothic" panose="020B0502020202020204" pitchFamily="34" charset="0"/>
                        </a:rPr>
                        <a:t>автономной организацией образования в соответствии с налоговым законодательством РК и законодательством РК  об образовании;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Courier New" panose="02070309020205020404" pitchFamily="49" charset="0"/>
                        <a:buChar char="o"/>
                      </a:pPr>
                      <a:r>
                        <a:rPr lang="ru-RU" sz="1000" dirty="0">
                          <a:effectLst/>
                          <a:latin typeface="Century Gothic" panose="020B0502020202020204" pitchFamily="34" charset="0"/>
                        </a:rPr>
                        <a:t>организацией, осуществляющей деятельность на территории специальной экономической зоны;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arenR"/>
                      </a:pPr>
                      <a:r>
                        <a:rPr lang="ru-RU" sz="1000" dirty="0">
                          <a:effectLst/>
                          <a:latin typeface="Century Gothic" panose="020B0502020202020204" pitchFamily="34" charset="0"/>
                        </a:rPr>
                        <a:t>Состав участников: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Century Gothic" panose="020B0502020202020204" pitchFamily="34" charset="0"/>
                        </a:rPr>
                        <a:t>1. ДОЛЯ УЧАСТИЯ ГОСУДАРСТВА ИЛИ СУБЪЕКТА КВАЗИГОСУДАРСТВЕННОГО СЕКТОРА в качестве учредителя или акционера;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Century Gothic" panose="020B0502020202020204" pitchFamily="34" charset="0"/>
                        </a:rPr>
                        <a:t> - - не более 50% для инвестиционных приоритетных проектов в отрасли машиностроения, включая литейное производство и проектов по добыче метана угольных пластов;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Century Gothic" panose="020B0502020202020204" pitchFamily="34" charset="0"/>
                        </a:rPr>
                        <a:t> - не более 26% в отношении всех остальных проектов в качестве учредителя и (или) участника (акционера) юридического лица РК.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Century Gothic" panose="020B0502020202020204" pitchFamily="34" charset="0"/>
                        </a:rPr>
                        <a:t>2. СРОК УЧАСТИЯ в качестве учредителя либо акционера: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dirty="0">
                          <a:effectLst/>
                          <a:latin typeface="Century Gothic" panose="020B0502020202020204" pitchFamily="34" charset="0"/>
                        </a:rPr>
                        <a:t>не более 20 лет для инвестиционных приоритетных проектов в отрасли машиностроения, включая производство литейной продукции, с даты регистрации инвестиционного контракта;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ru-RU" sz="1000" dirty="0">
                          <a:effectLst/>
                          <a:latin typeface="Century Gothic" panose="020B0502020202020204" pitchFamily="34" charset="0"/>
                        </a:rPr>
                        <a:t>не более 5 лет с даты регистрации инвестиционного контракта  в отношении всех остальных проектов, за исключением инвестиционных приоритетных проектов  по добыче метана угольных пластов.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Century Gothic" panose="020B0502020202020204" pitchFamily="34" charset="0"/>
                        </a:rPr>
                        <a:t>В случае нарушения условий выхода из состава участников в течении указанного периода, применение инвестиционных преференций приостанавливается до его (их) полного выхода из состава учредителей и (или) участников (акционеров) юридического РК, но не более одного года.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arenR"/>
                      </a:pPr>
                      <a:r>
                        <a:rPr lang="ru-RU" sz="1000" dirty="0">
                          <a:effectLst/>
                          <a:latin typeface="Century Gothic" panose="020B0502020202020204" pitchFamily="34" charset="0"/>
                        </a:rPr>
                        <a:t>Договор ГЧП: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Century Gothic" panose="020B0502020202020204" pitchFamily="34" charset="0"/>
                        </a:rPr>
                        <a:t>инвестиционная деятельность осуществляется не в рамках договора </a:t>
                      </a:r>
                      <a:r>
                        <a:rPr lang="ru-RU" sz="1000" dirty="0" smtClean="0">
                          <a:effectLst/>
                          <a:latin typeface="Century Gothic" panose="020B0502020202020204" pitchFamily="34" charset="0"/>
                        </a:rPr>
                        <a:t>государственно-частного партнерства, </a:t>
                      </a:r>
                      <a:r>
                        <a:rPr lang="ru-RU" sz="1000" dirty="0">
                          <a:effectLst/>
                          <a:latin typeface="Century Gothic" panose="020B0502020202020204" pitchFamily="34" charset="0"/>
                        </a:rPr>
                        <a:t>в том числе договора концессии.</a:t>
                      </a:r>
                      <a:endParaRPr lang="ru-RU" sz="10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200" b="1" dirty="0">
                          <a:effectLst/>
                          <a:latin typeface="Century Gothic" panose="020B0502020202020204" pitchFamily="34" charset="0"/>
                        </a:rPr>
                        <a:t>Получатель: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1) юридическое лицо </a:t>
                      </a:r>
                      <a:r>
                        <a:rPr lang="kk-KZ" sz="1200" dirty="0">
                          <a:effectLst/>
                          <a:latin typeface="Century Gothic" panose="020B0502020202020204" pitchFamily="34" charset="0"/>
                        </a:rPr>
                        <a:t>РК</a:t>
                      </a: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 зарегистрировано в качестве участника </a:t>
                      </a:r>
                      <a:r>
                        <a:rPr lang="kk-KZ" sz="1200" dirty="0">
                          <a:effectLst/>
                          <a:latin typeface="Century Gothic" panose="020B0502020202020204" pitchFamily="34" charset="0"/>
                        </a:rPr>
                        <a:t>СЭЗ</a:t>
                      </a: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;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2) юридическое лицо </a:t>
                      </a:r>
                      <a:r>
                        <a:rPr lang="kk-KZ" sz="1200" dirty="0">
                          <a:effectLst/>
                          <a:latin typeface="Century Gothic" panose="020B0502020202020204" pitchFamily="34" charset="0"/>
                        </a:rPr>
                        <a:t>РК</a:t>
                      </a: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 зарегистрировано в качестве владельца свободного склада в соответствии с таможенным законодательством Республики Казахстан;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3)Производители транспортных средств и (или) их компонентов, а также сельскохозяйственной техники и (или) ее компонентов - при наличии соответствующего соглашения о промышленной сборке.;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RU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1863" marR="21863" marT="0" marB="0"/>
                </a:tc>
                <a:extLst>
                  <a:ext uri="{0D108BD9-81ED-4DB2-BD59-A6C34878D82A}">
                    <a16:rowId xmlns:a16="http://schemas.microsoft.com/office/drawing/2014/main" val="2295175331"/>
                  </a:ext>
                </a:extLst>
              </a:tr>
            </a:tbl>
          </a:graphicData>
        </a:graphic>
      </p:graphicFrame>
      <p:sp>
        <p:nvSpPr>
          <p:cNvPr id="26" name="Текст 3"/>
          <p:cNvSpPr txBox="1">
            <a:spLocks/>
          </p:cNvSpPr>
          <p:nvPr/>
        </p:nvSpPr>
        <p:spPr bwMode="auto">
          <a:xfrm>
            <a:off x="408863" y="6460259"/>
            <a:ext cx="1444875" cy="205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4889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889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8895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889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8895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889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889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889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889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ts val="217"/>
              </a:spcBef>
              <a:buClr>
                <a:srgbClr val="376092"/>
              </a:buClr>
              <a:buNone/>
            </a:pPr>
            <a:endParaRPr lang="ru-RU" altLang="ru-RU" sz="667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spcBef>
                <a:spcPts val="217"/>
              </a:spcBef>
              <a:buClr>
                <a:srgbClr val="376092"/>
              </a:buClr>
              <a:buNone/>
            </a:pPr>
            <a:r>
              <a:rPr lang="ru-RU" altLang="ru-RU" sz="667" dirty="0" smtClean="0">
                <a:solidFill>
                  <a:srgbClr val="000000"/>
                </a:solidFill>
                <a:latin typeface="Arial" panose="020B0604020202020204" pitchFamily="34" charset="0"/>
              </a:rPr>
              <a:t>Источник</a:t>
            </a:r>
            <a:r>
              <a:rPr lang="en-US" altLang="ru-RU" sz="667" dirty="0" smtClean="0">
                <a:solidFill>
                  <a:srgbClr val="000000"/>
                </a:solidFill>
                <a:latin typeface="Arial" panose="020B0604020202020204" pitchFamily="34" charset="0"/>
              </a:rPr>
              <a:t>: KAZAKH INVEST</a:t>
            </a:r>
            <a:endParaRPr lang="ru-RU" altLang="ru-RU" sz="667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9505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2111" y="818138"/>
            <a:ext cx="12131154" cy="557513"/>
          </a:xfrm>
        </p:spPr>
        <p:txBody>
          <a:bodyPr>
            <a:normAutofit fontScale="90000"/>
          </a:bodyPr>
          <a:lstStyle/>
          <a:p>
            <a:pPr algn="ctr"/>
            <a:r>
              <a:rPr lang="ru-RU" b="1" kern="0" spc="200" dirty="0">
                <a:solidFill>
                  <a:srgbClr val="002060"/>
                </a:solidFill>
                <a:latin typeface="+mn-lt"/>
              </a:rPr>
              <a:t>ПОНЯТИЯ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532758" y="1471846"/>
            <a:ext cx="9126486" cy="5170154"/>
          </a:xfrm>
        </p:spPr>
        <p:txBody>
          <a:bodyPr>
            <a:normAutofit fontScale="25000" lnSpcReduction="20000"/>
          </a:bodyPr>
          <a:lstStyle/>
          <a:p>
            <a:pPr marL="0" indent="0" algn="just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ru-RU" sz="14400" b="1" dirty="0">
                <a:solidFill>
                  <a:schemeClr val="accent1">
                    <a:lumMod val="50000"/>
                  </a:schemeClr>
                </a:solidFill>
              </a:rPr>
              <a:t>	</a:t>
            </a:r>
            <a:r>
              <a:rPr lang="ru-RU" sz="14400" b="1" i="1" dirty="0">
                <a:solidFill>
                  <a:schemeClr val="accent1">
                    <a:lumMod val="50000"/>
                  </a:schemeClr>
                </a:solidFill>
              </a:rPr>
              <a:t>Инвестиции</a:t>
            </a:r>
            <a:r>
              <a:rPr lang="ru-RU" sz="14400" b="1" dirty="0">
                <a:solidFill>
                  <a:schemeClr val="accent1">
                    <a:lumMod val="50000"/>
                  </a:schemeClr>
                </a:solidFill>
              </a:rPr>
              <a:t> -  </a:t>
            </a:r>
            <a:r>
              <a:rPr lang="ru-RU" sz="9600" b="1" i="1" dirty="0">
                <a:solidFill>
                  <a:schemeClr val="accent1">
                    <a:lumMod val="50000"/>
                  </a:schemeClr>
                </a:solidFill>
              </a:rPr>
              <a:t>все виды имущества </a:t>
            </a:r>
            <a:r>
              <a:rPr lang="ru-RU" sz="9600" i="1" dirty="0">
                <a:solidFill>
                  <a:schemeClr val="accent1">
                    <a:lumMod val="50000"/>
                  </a:schemeClr>
                </a:solidFill>
              </a:rPr>
              <a:t>(кроме товаров, предназначенных для личного потребления), включая предметы финансового лизинга с момента заключения договора лизинга, а также права на них, вкладываемые инвестором в уставный капитал юридического лица или увеличение фиксированных активов, используемых для предпринимательской деятельности, а также для </a:t>
            </a:r>
            <a:r>
              <a:rPr lang="ru-RU" sz="9600" b="1" i="1" dirty="0">
                <a:solidFill>
                  <a:schemeClr val="accent1">
                    <a:lumMod val="50000"/>
                  </a:schemeClr>
                </a:solidFill>
              </a:rPr>
              <a:t>реализации проекта государственно-частного партнерства, в том числе концессионного проекта</a:t>
            </a:r>
            <a:r>
              <a:rPr lang="ru-RU" sz="9600" i="1" dirty="0">
                <a:solidFill>
                  <a:schemeClr val="accent1">
                    <a:lumMod val="50000"/>
                  </a:schemeClr>
                </a:solidFill>
              </a:rPr>
              <a:t>. </a:t>
            </a:r>
            <a:r>
              <a:rPr lang="ru-RU" sz="3200" i="1" dirty="0">
                <a:solidFill>
                  <a:schemeClr val="accent1">
                    <a:lumMod val="50000"/>
                  </a:schemeClr>
                </a:solidFill>
              </a:rPr>
              <a:t>(пункт 1 статьи 274 Предпринимательского Кодекса Республики Казахстан </a:t>
            </a:r>
            <a:r>
              <a:rPr lang="ru-RU" sz="3200" b="1" i="1" dirty="0">
                <a:solidFill>
                  <a:schemeClr val="accent1">
                    <a:lumMod val="50000"/>
                  </a:schemeClr>
                </a:solidFill>
              </a:rPr>
              <a:t>(ПК РК))</a:t>
            </a:r>
          </a:p>
          <a:p>
            <a:pPr marL="0" indent="0" algn="just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ru-RU" sz="9600" b="1" i="1" dirty="0">
                <a:solidFill>
                  <a:schemeClr val="accent1">
                    <a:lumMod val="50000"/>
                  </a:schemeClr>
                </a:solidFill>
              </a:rPr>
              <a:t>	</a:t>
            </a:r>
            <a:r>
              <a:rPr lang="ru-RU" sz="14400" b="1" i="1" dirty="0">
                <a:solidFill>
                  <a:schemeClr val="accent1">
                    <a:lumMod val="50000"/>
                  </a:schemeClr>
                </a:solidFill>
              </a:rPr>
              <a:t>Инвесторы</a:t>
            </a:r>
            <a:r>
              <a:rPr lang="ru-RU" sz="9600" b="1" i="1" dirty="0">
                <a:solidFill>
                  <a:schemeClr val="accent1">
                    <a:lumMod val="50000"/>
                  </a:schemeClr>
                </a:solidFill>
              </a:rPr>
              <a:t> - физические и юридические лица</a:t>
            </a:r>
            <a:r>
              <a:rPr lang="ru-RU" sz="9600" i="1" dirty="0">
                <a:solidFill>
                  <a:schemeClr val="accent1">
                    <a:lumMod val="50000"/>
                  </a:schemeClr>
                </a:solidFill>
              </a:rPr>
              <a:t>, осуществляющие инвестиции в Республике Казахстан.</a:t>
            </a:r>
            <a:r>
              <a:rPr lang="ru-RU" sz="96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3200" i="1" dirty="0">
                <a:solidFill>
                  <a:srgbClr val="5B9BD5">
                    <a:lumMod val="50000"/>
                  </a:srgbClr>
                </a:solidFill>
              </a:rPr>
              <a:t>(пункт 2 статьи  274 ПК РК)</a:t>
            </a:r>
          </a:p>
          <a:p>
            <a:pPr marL="0" indent="0" algn="just">
              <a:buNone/>
            </a:pPr>
            <a:endParaRPr lang="ru-RU" sz="12800" dirty="0">
              <a:solidFill>
                <a:schemeClr val="accent1">
                  <a:lumMod val="50000"/>
                </a:schemeClr>
              </a:solidFill>
            </a:endParaRPr>
          </a:p>
          <a:p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448800" y="6492877"/>
            <a:ext cx="2743200" cy="365125"/>
          </a:xfrm>
        </p:spPr>
        <p:txBody>
          <a:bodyPr/>
          <a:lstStyle/>
          <a:p>
            <a:fld id="{06690157-0765-4A7F-B34E-AEA284B34A45}" type="slidenum">
              <a:rPr lang="ru-RU" smtClean="0"/>
              <a:t>62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" y="-1"/>
            <a:ext cx="12192000" cy="370419"/>
          </a:xfrm>
          <a:prstGeom prst="rect">
            <a:avLst/>
          </a:prstGeom>
          <a:solidFill>
            <a:srgbClr val="253471">
              <a:alpha val="80000"/>
            </a:srgb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/>
            </a:pPr>
            <a:endParaRPr lang="ru-RU" sz="1600" b="1" kern="0" spc="45" dirty="0">
              <a:solidFill>
                <a:srgbClr val="FFFFFF"/>
              </a:solidFill>
              <a:latin typeface="+mj-lt"/>
              <a:cs typeface="Arial" pitchFamily="34" charset="0"/>
              <a:sym typeface="Helvetica Light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" y="6426000"/>
            <a:ext cx="12192000" cy="432000"/>
          </a:xfrm>
          <a:prstGeom prst="rect">
            <a:avLst/>
          </a:prstGeom>
          <a:solidFill>
            <a:srgbClr val="253471">
              <a:alpha val="80000"/>
            </a:srgb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/>
            </a:pPr>
            <a:endParaRPr lang="ru-RU" sz="1600" b="1" kern="0" spc="45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921872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9960" y="738534"/>
            <a:ext cx="12192000" cy="557513"/>
          </a:xfrm>
        </p:spPr>
        <p:txBody>
          <a:bodyPr>
            <a:normAutofit fontScale="90000"/>
          </a:bodyPr>
          <a:lstStyle/>
          <a:p>
            <a:pPr algn="ctr"/>
            <a:r>
              <a:rPr lang="ru-RU" b="1" kern="0" spc="200" dirty="0">
                <a:solidFill>
                  <a:srgbClr val="002060"/>
                </a:solidFill>
                <a:latin typeface="+mn-lt"/>
              </a:rPr>
              <a:t>ПОНЯТИЯ</a:t>
            </a:r>
            <a:endParaRPr lang="ru-RU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340616" y="1521213"/>
            <a:ext cx="9110135" cy="449580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	</a:t>
            </a:r>
            <a:r>
              <a:rPr lang="ru-RU" sz="2400" b="1" i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Инвестиционная деятельность - </a:t>
            </a:r>
            <a:r>
              <a:rPr lang="ru-RU" sz="2400" i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деятельность физических и юридических лиц по участию в уставном капитале коммерческих организаций либо созданию или увеличению фиксированных активов, используемых для предпринимательской деятельности, </a:t>
            </a:r>
            <a:r>
              <a:rPr lang="ru-RU" sz="2400" b="1" i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а также для реализации проекта государственно-частного партнерства (ГЧП), в том числе концессионного проекта,</a:t>
            </a:r>
            <a:r>
              <a:rPr lang="ru-RU" sz="2400" i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 признается инвестиционной деятельностью. </a:t>
            </a:r>
            <a:r>
              <a:rPr lang="ru-RU" sz="2400" i="1" dirty="0">
                <a:solidFill>
                  <a:srgbClr val="5B9BD5">
                    <a:lumMod val="50000"/>
                  </a:srgbClr>
                </a:solidFill>
                <a:latin typeface="+mj-lt"/>
              </a:rPr>
              <a:t>(пункт 3 статьи 274 ПК РК)</a:t>
            </a:r>
            <a:endParaRPr lang="ru-RU" sz="2400" i="1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marL="0" indent="0" algn="just">
              <a:buNone/>
            </a:pPr>
            <a:r>
              <a:rPr lang="ru-RU" sz="2400" b="1" i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	Крупный инвестор - </a:t>
            </a:r>
            <a:r>
              <a:rPr lang="ru-RU" sz="2400" i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физическое или юридическое лицо, осуществляющее инвестиции в Республике Казахстан в размере не менее </a:t>
            </a:r>
            <a:r>
              <a:rPr lang="ru-RU" sz="2400" i="1" dirty="0" err="1">
                <a:solidFill>
                  <a:schemeClr val="accent1">
                    <a:lumMod val="50000"/>
                  </a:schemeClr>
                </a:solidFill>
                <a:latin typeface="+mj-lt"/>
              </a:rPr>
              <a:t>двухмиллионнократного</a:t>
            </a:r>
            <a:r>
              <a:rPr lang="ru-RU" sz="2400" i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 размера </a:t>
            </a:r>
            <a:r>
              <a:rPr lang="ru-RU" sz="2400" i="1" dirty="0">
                <a:solidFill>
                  <a:schemeClr val="accent1">
                    <a:lumMod val="50000"/>
                  </a:schemeClr>
                </a:solidFill>
                <a:latin typeface="+mj-lt"/>
                <a:hlinkClick r:id="rId2" tooltip="МЗП, МРП и прожиточный минимум (на 1995 - 2017 годы)"/>
              </a:rPr>
              <a:t>месячного расчетного показателя</a:t>
            </a:r>
            <a:r>
              <a:rPr lang="ru-RU" sz="2400" i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.</a:t>
            </a:r>
            <a:r>
              <a:rPr lang="ru-RU" i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 (</a:t>
            </a:r>
            <a:r>
              <a:rPr lang="ru-RU" i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2</a:t>
            </a:r>
            <a:r>
              <a:rPr lang="kk-KZ" i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778 </a:t>
            </a:r>
            <a:r>
              <a:rPr lang="ru-RU" i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тенге </a:t>
            </a:r>
            <a:r>
              <a:rPr lang="ru-RU" i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на </a:t>
            </a:r>
            <a:r>
              <a:rPr lang="en-US" i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2020</a:t>
            </a:r>
            <a:r>
              <a:rPr lang="ru-RU" i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 </a:t>
            </a:r>
            <a:r>
              <a:rPr lang="ru-RU" i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год).</a:t>
            </a:r>
            <a:r>
              <a:rPr lang="ru-RU" sz="1100" i="1" dirty="0">
                <a:solidFill>
                  <a:srgbClr val="5B9BD5">
                    <a:lumMod val="50000"/>
                  </a:srgbClr>
                </a:solidFill>
                <a:latin typeface="+mj-lt"/>
              </a:rPr>
              <a:t> </a:t>
            </a:r>
            <a:r>
              <a:rPr lang="ru-RU" sz="800" i="1" dirty="0">
                <a:solidFill>
                  <a:srgbClr val="5B9BD5">
                    <a:lumMod val="50000"/>
                  </a:srgbClr>
                </a:solidFill>
                <a:latin typeface="+mj-lt"/>
              </a:rPr>
              <a:t>(пункт 4 статьи  274 ПК РК; статья 7 Закона  Республики Казахстан «О республиканском бюджете на 2017-2019  годы»)</a:t>
            </a:r>
          </a:p>
          <a:p>
            <a:pPr marL="0" indent="0" algn="just">
              <a:buNone/>
            </a:pPr>
            <a:endParaRPr lang="ru-RU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endParaRPr lang="ru-RU" dirty="0">
              <a:latin typeface="+mj-lt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448800" y="6492876"/>
            <a:ext cx="2743200" cy="365125"/>
          </a:xfrm>
        </p:spPr>
        <p:txBody>
          <a:bodyPr/>
          <a:lstStyle/>
          <a:p>
            <a:fld id="{06690157-0765-4A7F-B34E-AEA284B34A45}" type="slidenum">
              <a:rPr lang="ru-RU" smtClean="0"/>
              <a:t>63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" y="-1"/>
            <a:ext cx="12192000" cy="370419"/>
          </a:xfrm>
          <a:prstGeom prst="rect">
            <a:avLst/>
          </a:prstGeom>
          <a:solidFill>
            <a:srgbClr val="253471">
              <a:alpha val="80000"/>
            </a:srgb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/>
            </a:pPr>
            <a:endParaRPr lang="ru-RU" sz="1600" b="1" kern="0" spc="45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Helvetica Light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0" y="6426000"/>
            <a:ext cx="12192000" cy="432000"/>
          </a:xfrm>
          <a:prstGeom prst="rect">
            <a:avLst/>
          </a:prstGeom>
          <a:solidFill>
            <a:srgbClr val="253471">
              <a:alpha val="80000"/>
            </a:srgb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/>
            </a:pPr>
            <a:endParaRPr lang="ru-RU" sz="1600" b="1" kern="0" spc="45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172550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" y="403856"/>
            <a:ext cx="12191999" cy="744272"/>
          </a:xfrm>
        </p:spPr>
        <p:txBody>
          <a:bodyPr>
            <a:noAutofit/>
          </a:bodyPr>
          <a:lstStyle/>
          <a:p>
            <a:pPr algn="ctr"/>
            <a:r>
              <a:rPr lang="ru-RU" sz="4800" b="1" spc="200" dirty="0">
                <a:solidFill>
                  <a:srgbClr val="002060"/>
                </a:solidFill>
              </a:rPr>
              <a:t>ОГРАНИЧЕНИЯ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157514" y="1113023"/>
            <a:ext cx="10200767" cy="5117448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ЗАПРЕЩАЕТСЯ :</a:t>
            </a:r>
          </a:p>
          <a:p>
            <a:pPr lvl="1" algn="just">
              <a:spcBef>
                <a:spcPts val="0"/>
              </a:spcBef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иностранным физическим и юридическим лицам, а также лицам без гражданства прямо и (или) косвенно владеть, пользоваться, распоряжаться и (или) управлять более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20 процентами акций (долей, паев) юридического лица - собственника средства массовой информации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в Республике Казахстан или осуществляющего деятельность в этой сфере.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Данное положение не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распространяется на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</a:rPr>
              <a:t>интернет-ресурсы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, предназначенные для электронной коммерции </a:t>
            </a:r>
            <a:r>
              <a:rPr lang="ru-RU" sz="800" i="1" dirty="0">
                <a:solidFill>
                  <a:schemeClr val="accent1">
                    <a:lumMod val="50000"/>
                  </a:schemeClr>
                </a:solidFill>
              </a:rPr>
              <a:t>(подпункт 3 ) пункта 6  статьи 23 Закона РК «О национальной безопасности Республики Казахстан»)</a:t>
            </a:r>
            <a:endParaRPr lang="ru-RU" sz="800" dirty="0">
              <a:solidFill>
                <a:schemeClr val="accent1">
                  <a:lumMod val="50000"/>
                </a:schemeClr>
              </a:solidFill>
            </a:endParaRPr>
          </a:p>
          <a:p>
            <a:pPr lvl="1" algn="just">
              <a:spcBef>
                <a:spcPts val="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управление или эксплуатация магистральными линиями связи иностранцами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, лицами без гражданства и иностранными юридическими лицами без создания юридического лица на территории Республики Казахстан; 			</a:t>
            </a:r>
          </a:p>
          <a:p>
            <a:pPr lvl="1" algn="just">
              <a:spcBef>
                <a:spcPts val="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создание и эксплуатация на территории Республики Казахстан сетей связи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, центр управления которыми расположен за ее пределами; </a:t>
            </a:r>
            <a:r>
              <a:rPr lang="ru-RU" sz="800" i="1" dirty="0">
                <a:solidFill>
                  <a:schemeClr val="accent1">
                    <a:lumMod val="50000"/>
                  </a:schemeClr>
                </a:solidFill>
              </a:rPr>
              <a:t>(подпункты 4), 5)  пункта 6  статьи 23 Закона РК «О национальной безопасности») </a:t>
            </a:r>
          </a:p>
          <a:p>
            <a:pPr marL="0" indent="0" algn="just">
              <a:spcBef>
                <a:spcPts val="0"/>
              </a:spcBef>
              <a:buNone/>
            </a:pPr>
            <a:r>
              <a:rPr lang="ru-RU" sz="800" i="1" dirty="0">
                <a:solidFill>
                  <a:schemeClr val="accent1">
                    <a:lumMod val="50000"/>
                  </a:schemeClr>
                </a:solidFill>
              </a:rPr>
              <a:t>	</a:t>
            </a:r>
          </a:p>
          <a:p>
            <a:pPr marL="0" indent="0" algn="just">
              <a:buNone/>
            </a:pPr>
            <a:endParaRPr lang="ru-RU" sz="1400" dirty="0"/>
          </a:p>
          <a:p>
            <a:pPr lvl="1" algn="just"/>
            <a:endParaRPr lang="ru-RU" sz="1600" dirty="0"/>
          </a:p>
          <a:p>
            <a:pPr lvl="1" algn="just"/>
            <a:endParaRPr lang="ru-RU" sz="1600" dirty="0"/>
          </a:p>
          <a:p>
            <a:pPr marL="0" indent="0">
              <a:buNone/>
            </a:pPr>
            <a:endParaRPr lang="ru-RU" sz="1400" dirty="0"/>
          </a:p>
          <a:p>
            <a:endParaRPr lang="ru-RU" sz="140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448800" y="6492877"/>
            <a:ext cx="2743200" cy="365125"/>
          </a:xfrm>
        </p:spPr>
        <p:txBody>
          <a:bodyPr/>
          <a:lstStyle/>
          <a:p>
            <a:fld id="{06690157-0765-4A7F-B34E-AEA284B34A45}" type="slidenum">
              <a:rPr lang="ru-RU" smtClean="0"/>
              <a:t>64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" y="-1"/>
            <a:ext cx="12192000" cy="370419"/>
          </a:xfrm>
          <a:prstGeom prst="rect">
            <a:avLst/>
          </a:prstGeom>
          <a:solidFill>
            <a:srgbClr val="253471">
              <a:alpha val="80000"/>
            </a:srgb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/>
            </a:pPr>
            <a:endParaRPr lang="ru-RU" sz="1600" b="1" kern="0" spc="45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Helvetica Light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" y="6459439"/>
            <a:ext cx="12192000" cy="432000"/>
          </a:xfrm>
          <a:prstGeom prst="rect">
            <a:avLst/>
          </a:prstGeom>
          <a:solidFill>
            <a:srgbClr val="253471">
              <a:alpha val="80000"/>
            </a:srgb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/>
            </a:pPr>
            <a:endParaRPr lang="ru-RU" sz="1600" b="1" kern="0" spc="45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544861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498713"/>
            <a:ext cx="12096750" cy="748867"/>
          </a:xfrm>
        </p:spPr>
        <p:txBody>
          <a:bodyPr>
            <a:normAutofit fontScale="90000"/>
          </a:bodyPr>
          <a:lstStyle/>
          <a:p>
            <a:pPr algn="ctr"/>
            <a:r>
              <a:rPr lang="ru-RU" sz="4800" b="1" spc="200" dirty="0">
                <a:solidFill>
                  <a:srgbClr val="002060"/>
                </a:solidFill>
              </a:rPr>
              <a:t>ОГРАНИЧЕНИЯ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489075" y="1247580"/>
            <a:ext cx="9118600" cy="4939096"/>
          </a:xfrm>
        </p:spPr>
        <p:txBody>
          <a:bodyPr>
            <a:noAutofit/>
          </a:bodyPr>
          <a:lstStyle/>
          <a:p>
            <a:pPr algn="just">
              <a:spcBef>
                <a:spcPts val="0"/>
              </a:spcBef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приобретение или иное получение в собственность физическими и юридическими лицами самостоятельно или в составе группы лиц более 10 процентов голосующих акций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</a:rPr>
              <a:t>, а также долей, паев организации, владеющей и (или) осуществляющей деятельность по управлению или эксплуатации линии связи в качестве оператора междугородной и (или) международной связи, без согласия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hlinkClick r:id="rId2"/>
              </a:rPr>
              <a:t>уполномоченного органа в области связи и информации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</a:rPr>
              <a:t>, а также органов национальной безопасности;</a:t>
            </a:r>
          </a:p>
          <a:p>
            <a:pPr algn="just"/>
            <a:r>
              <a:rPr lang="ru-RU" sz="2000" dirty="0">
                <a:solidFill>
                  <a:schemeClr val="accent1">
                    <a:lumMod val="50000"/>
                  </a:schemeClr>
                </a:solidFill>
              </a:rPr>
              <a:t>иностранцам, лицам без гражданства и иностранным юридическим лицам прямо и (или) косвенно владеть, пользоваться, распоряжаться и (или) управлять в совокупности более чем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49 процентами голосующих акций,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</a:rPr>
              <a:t>а также долей, паев юридического лица, осуществляющего деятельность в области телекоммуникаций в качестве оператора междугородной и (или) международной связи, владеющего наземными (кабельными, в том числе волоконно-оптическими, радиорелейными) линиями связи без положительного решения Правительства Республики Казахстан, основанного на заключении уполномоченного органа в области связи и информации, согласованного с органами национальной безопасности.</a:t>
            </a:r>
          </a:p>
          <a:p>
            <a:pPr marL="0" indent="0" algn="just">
              <a:buNone/>
            </a:pPr>
            <a:r>
              <a:rPr lang="ru-RU" sz="800" i="1" dirty="0">
                <a:solidFill>
                  <a:schemeClr val="accent1">
                    <a:lumMod val="50000"/>
                  </a:schemeClr>
                </a:solidFill>
              </a:rPr>
              <a:t>(подпункты 6),7) пункта 6 статьи 23  Закона РК «О национальной безопасности»)</a:t>
            </a:r>
          </a:p>
          <a:p>
            <a:pPr marL="0" indent="0" algn="just">
              <a:buNone/>
            </a:pPr>
            <a:endParaRPr lang="ru-RU" sz="1400" dirty="0"/>
          </a:p>
          <a:p>
            <a:pPr lvl="1" algn="just"/>
            <a:endParaRPr lang="ru-RU" sz="1600" dirty="0"/>
          </a:p>
          <a:p>
            <a:pPr lvl="1" algn="just"/>
            <a:endParaRPr lang="ru-RU" sz="1600" dirty="0"/>
          </a:p>
          <a:p>
            <a:pPr marL="0" indent="0">
              <a:buNone/>
            </a:pPr>
            <a:endParaRPr lang="ru-RU" sz="1400" dirty="0"/>
          </a:p>
          <a:p>
            <a:endParaRPr lang="ru-RU" sz="140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448800" y="6492877"/>
            <a:ext cx="2743200" cy="365125"/>
          </a:xfrm>
        </p:spPr>
        <p:txBody>
          <a:bodyPr/>
          <a:lstStyle/>
          <a:p>
            <a:fld id="{06690157-0765-4A7F-B34E-AEA284B34A45}" type="slidenum">
              <a:rPr lang="ru-RU" smtClean="0"/>
              <a:t>65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0" y="-189"/>
            <a:ext cx="12192000" cy="370419"/>
          </a:xfrm>
          <a:prstGeom prst="rect">
            <a:avLst/>
          </a:prstGeom>
          <a:solidFill>
            <a:srgbClr val="253471">
              <a:alpha val="80000"/>
            </a:srgb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/>
            </a:pPr>
            <a:endParaRPr lang="ru-RU" sz="1600" b="1" kern="0" spc="45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Helvetica Light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6492877"/>
            <a:ext cx="12192000" cy="432000"/>
          </a:xfrm>
          <a:prstGeom prst="rect">
            <a:avLst/>
          </a:prstGeom>
          <a:solidFill>
            <a:srgbClr val="253471">
              <a:alpha val="80000"/>
            </a:srgb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/>
            </a:pPr>
            <a:endParaRPr lang="ru-RU" sz="1600" b="1" kern="0" spc="45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759508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376" y="633169"/>
            <a:ext cx="12048624" cy="573988"/>
          </a:xfrm>
        </p:spPr>
        <p:txBody>
          <a:bodyPr>
            <a:normAutofit fontScale="90000"/>
          </a:bodyPr>
          <a:lstStyle/>
          <a:p>
            <a:pPr algn="ctr"/>
            <a:r>
              <a:rPr lang="ru-RU" b="1" spc="200" dirty="0">
                <a:solidFill>
                  <a:srgbClr val="002060"/>
                </a:solidFill>
              </a:rPr>
              <a:t>ГАРАНТИИ ЗАЩИТЫ ПРАВ ИНВЕСТОРОВ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318554" y="1314194"/>
            <a:ext cx="9203267" cy="5007542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ru-RU" sz="2400" i="1" dirty="0">
                <a:solidFill>
                  <a:schemeClr val="accent1">
                    <a:lumMod val="50000"/>
                  </a:schemeClr>
                </a:solidFill>
              </a:rPr>
              <a:t>Республика Казахстан гарантирует стабильность условий договоров, заключенных между инвесторами и государственными органами Республики Казахстан, за исключением случаев, когда изменения в договоры вносятся по соглашению сторон. Настоящие гарантии не распространяются на:</a:t>
            </a:r>
          </a:p>
          <a:p>
            <a:pPr algn="just"/>
            <a:r>
              <a:rPr lang="ru-RU" sz="2400" i="1" dirty="0">
                <a:solidFill>
                  <a:schemeClr val="accent1">
                    <a:lumMod val="50000"/>
                  </a:schemeClr>
                </a:solidFill>
              </a:rPr>
              <a:t>1) изменения в законодательстве Республики Казахстан и (или) вступление в силу и (или) изменения международных договоров Республики Казахстан, которыми изменяются п</a:t>
            </a:r>
            <a:r>
              <a:rPr lang="ru-RU" sz="2400" b="1" i="1" dirty="0">
                <a:solidFill>
                  <a:schemeClr val="accent1">
                    <a:lumMod val="50000"/>
                  </a:schemeClr>
                </a:solidFill>
              </a:rPr>
              <a:t>орядок и условия импорта, производства, реализации подакцизных товаров</a:t>
            </a:r>
            <a:r>
              <a:rPr lang="ru-RU" sz="2400" i="1" dirty="0">
                <a:solidFill>
                  <a:schemeClr val="accent1">
                    <a:lumMod val="50000"/>
                  </a:schemeClr>
                </a:solidFill>
              </a:rPr>
              <a:t>;</a:t>
            </a:r>
          </a:p>
          <a:p>
            <a:pPr algn="just"/>
            <a:r>
              <a:rPr lang="ru-RU" sz="2400" i="1" dirty="0">
                <a:solidFill>
                  <a:schemeClr val="accent1">
                    <a:lumMod val="50000"/>
                  </a:schemeClr>
                </a:solidFill>
              </a:rPr>
              <a:t>2) изменения и дополнения, которые вносятся в законы Республики Казахстан </a:t>
            </a:r>
            <a:r>
              <a:rPr lang="ru-RU" sz="2400" b="1" i="1" dirty="0">
                <a:solidFill>
                  <a:schemeClr val="accent1">
                    <a:lumMod val="50000"/>
                  </a:schemeClr>
                </a:solidFill>
              </a:rPr>
              <a:t>в целях обеспечения национальной безопасности</a:t>
            </a:r>
            <a:r>
              <a:rPr lang="ru-RU" sz="2400" i="1" dirty="0">
                <a:solidFill>
                  <a:schemeClr val="accent1">
                    <a:lumMod val="50000"/>
                  </a:schemeClr>
                </a:solidFill>
              </a:rPr>
              <a:t>, общественного порядка, охраны здоровья и нравственности населения. </a:t>
            </a:r>
            <a:r>
              <a:rPr lang="ru-RU" sz="800" i="1" dirty="0">
                <a:solidFill>
                  <a:schemeClr val="accent1">
                    <a:lumMod val="50000"/>
                  </a:schemeClr>
                </a:solidFill>
              </a:rPr>
              <a:t>(пункт 3 статьи 276  ПК РК)</a:t>
            </a:r>
          </a:p>
          <a:p>
            <a:pPr algn="just"/>
            <a:endParaRPr lang="ru-RU" dirty="0"/>
          </a:p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448800" y="6456415"/>
            <a:ext cx="2743200" cy="365125"/>
          </a:xfrm>
        </p:spPr>
        <p:txBody>
          <a:bodyPr/>
          <a:lstStyle/>
          <a:p>
            <a:fld id="{06690157-0765-4A7F-B34E-AEA284B34A45}" type="slidenum">
              <a:rPr lang="ru-RU" smtClean="0"/>
              <a:t>66</a:t>
            </a:fld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12701" y="6428773"/>
            <a:ext cx="12192000" cy="432000"/>
          </a:xfrm>
          <a:prstGeom prst="rect">
            <a:avLst/>
          </a:prstGeom>
          <a:solidFill>
            <a:srgbClr val="253471">
              <a:alpha val="80000"/>
            </a:srgb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/>
            </a:pPr>
            <a:endParaRPr lang="ru-RU" sz="1600" b="1" kern="0" spc="45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Helvetica Light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0" y="0"/>
            <a:ext cx="12192000" cy="432000"/>
          </a:xfrm>
          <a:prstGeom prst="rect">
            <a:avLst/>
          </a:prstGeom>
          <a:solidFill>
            <a:srgbClr val="253471">
              <a:alpha val="80000"/>
            </a:srgb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/>
            </a:pPr>
            <a:endParaRPr lang="ru-RU" sz="1600" b="1" kern="0" spc="45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167186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866460"/>
            <a:ext cx="11999672" cy="573988"/>
          </a:xfrm>
        </p:spPr>
        <p:txBody>
          <a:bodyPr>
            <a:normAutofit fontScale="90000"/>
          </a:bodyPr>
          <a:lstStyle/>
          <a:p>
            <a:pPr algn="ctr"/>
            <a:r>
              <a:rPr lang="ru-RU" b="1" spc="200" dirty="0">
                <a:solidFill>
                  <a:srgbClr val="002060"/>
                </a:solidFill>
              </a:rPr>
              <a:t>ГАРАНТИИ ЗАЩИТЫ ПРАВ ИНВЕСТОРОВ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482869" y="1650476"/>
            <a:ext cx="9033934" cy="4185308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ru-RU" sz="3600" dirty="0">
                <a:solidFill>
                  <a:schemeClr val="accent1">
                    <a:lumMod val="50000"/>
                  </a:schemeClr>
                </a:solidFill>
              </a:rPr>
              <a:t>	</a:t>
            </a:r>
            <a:r>
              <a:rPr lang="ru-RU" sz="2400" i="1" dirty="0">
                <a:solidFill>
                  <a:schemeClr val="accent1">
                    <a:lumMod val="50000"/>
                  </a:schemeClr>
                </a:solidFill>
              </a:rPr>
              <a:t>Инвесторы вправе:</a:t>
            </a:r>
          </a:p>
          <a:p>
            <a:pPr algn="just"/>
            <a:r>
              <a:rPr lang="ru-RU" sz="2400" i="1" dirty="0">
                <a:solidFill>
                  <a:schemeClr val="accent1">
                    <a:lumMod val="50000"/>
                  </a:schemeClr>
                </a:solidFill>
              </a:rPr>
              <a:t>1) по своему усмотрению использовать доходы, полученные от своей деятельности, после уплаты налогов и других обязательных платежей в бюджет, в соответствии с законодательством Республики Казахстан;</a:t>
            </a:r>
          </a:p>
          <a:p>
            <a:pPr algn="just"/>
            <a:r>
              <a:rPr lang="ru-RU" sz="2400" i="1" dirty="0">
                <a:solidFill>
                  <a:schemeClr val="accent1">
                    <a:lumMod val="50000"/>
                  </a:schemeClr>
                </a:solidFill>
              </a:rPr>
              <a:t>2) открывать в банках на территории Республики Казахстан банковские счета в национальной валюте и (или) иностранной валюте в соответствии c </a:t>
            </a:r>
            <a:r>
              <a:rPr lang="ru-RU" sz="2400" i="1" dirty="0">
                <a:solidFill>
                  <a:schemeClr val="accent1">
                    <a:lumMod val="50000"/>
                  </a:schemeClr>
                </a:solidFill>
                <a:hlinkClick r:id="rId2" tooltip="Закон Республики Казахстан от 30 марта 1995 года № 2155 «О Национальном Банке Республики Казахстан» (с изменениями и дополнениями по состоянию на 26.07.2016 г.)"/>
              </a:rPr>
              <a:t>банковским</a:t>
            </a:r>
            <a:r>
              <a:rPr lang="ru-RU" sz="2400" i="1" dirty="0">
                <a:solidFill>
                  <a:schemeClr val="accent1">
                    <a:lumMod val="50000"/>
                  </a:schemeClr>
                </a:solidFill>
              </a:rPr>
              <a:t> и </a:t>
            </a:r>
            <a:r>
              <a:rPr lang="ru-RU" sz="2400" i="1" dirty="0">
                <a:solidFill>
                  <a:schemeClr val="accent1">
                    <a:lumMod val="50000"/>
                  </a:schemeClr>
                </a:solidFill>
                <a:hlinkClick r:id="rId3" tooltip="Закон Республики Казахстан от 13 июня 2005 года № 57-III «О валютном регулировании и валютном контроле» (с изменениями и дополнениями по состоянию на 26.07.2016 г.)"/>
              </a:rPr>
              <a:t>валютным</a:t>
            </a:r>
            <a:r>
              <a:rPr lang="ru-RU" sz="2400" i="1" dirty="0">
                <a:solidFill>
                  <a:schemeClr val="accent1">
                    <a:lumMod val="50000"/>
                  </a:schemeClr>
                </a:solidFill>
              </a:rPr>
              <a:t> законодательством Республики Казахстан.</a:t>
            </a:r>
          </a:p>
          <a:p>
            <a:pPr marL="0" indent="0" algn="just">
              <a:buNone/>
            </a:pPr>
            <a:r>
              <a:rPr lang="ru-RU" sz="800" i="1" dirty="0">
                <a:solidFill>
                  <a:schemeClr val="accent1">
                    <a:lumMod val="50000"/>
                  </a:schemeClr>
                </a:solidFill>
              </a:rPr>
              <a:t>(Статья 277 ПК РК)</a:t>
            </a:r>
          </a:p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448800" y="6492877"/>
            <a:ext cx="2743200" cy="365125"/>
          </a:xfrm>
        </p:spPr>
        <p:txBody>
          <a:bodyPr/>
          <a:lstStyle/>
          <a:p>
            <a:fld id="{06690157-0765-4A7F-B34E-AEA284B34A45}" type="slidenum">
              <a:rPr lang="ru-RU" smtClean="0"/>
              <a:t>67</a:t>
            </a:fld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0" y="6426002"/>
            <a:ext cx="12192000" cy="432000"/>
          </a:xfrm>
          <a:prstGeom prst="rect">
            <a:avLst/>
          </a:prstGeom>
          <a:solidFill>
            <a:srgbClr val="253471">
              <a:alpha val="80000"/>
            </a:srgb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/>
            </a:pPr>
            <a:endParaRPr lang="ru-RU" sz="1600" b="1" kern="0" spc="45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Helvetica Ligh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0"/>
            <a:ext cx="12192000" cy="432000"/>
          </a:xfrm>
          <a:prstGeom prst="rect">
            <a:avLst/>
          </a:prstGeom>
          <a:solidFill>
            <a:srgbClr val="253471">
              <a:alpha val="80000"/>
            </a:srgb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/>
            </a:pPr>
            <a:endParaRPr lang="ru-RU" sz="1600" b="1" kern="0" spc="45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00744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" y="644772"/>
            <a:ext cx="11965020" cy="973860"/>
          </a:xfrm>
        </p:spPr>
        <p:txBody>
          <a:bodyPr>
            <a:normAutofit fontScale="90000"/>
          </a:bodyPr>
          <a:lstStyle/>
          <a:p>
            <a:pPr algn="ctr"/>
            <a:r>
              <a:rPr lang="ru-RU" sz="4000" b="1" spc="200" dirty="0">
                <a:solidFill>
                  <a:srgbClr val="002060"/>
                </a:solidFill>
              </a:rPr>
              <a:t/>
            </a:r>
            <a:br>
              <a:rPr lang="ru-RU" sz="4000" b="1" spc="200" dirty="0">
                <a:solidFill>
                  <a:srgbClr val="002060"/>
                </a:solidFill>
              </a:rPr>
            </a:br>
            <a:r>
              <a:rPr lang="ru-RU" sz="4000" b="1" spc="200" dirty="0">
                <a:solidFill>
                  <a:srgbClr val="002060"/>
                </a:solidFill>
              </a:rPr>
              <a:t>ГАРАНТИИ ЗАЩИТЫ ПРАВ ИНВЕСТОРОВ</a:t>
            </a:r>
            <a:br>
              <a:rPr lang="ru-RU" sz="4000" b="1" spc="200" dirty="0">
                <a:solidFill>
                  <a:srgbClr val="002060"/>
                </a:solidFill>
              </a:rPr>
            </a:b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idx="1"/>
          </p:nvPr>
        </p:nvSpPr>
        <p:spPr>
          <a:xfrm>
            <a:off x="851803" y="1549593"/>
            <a:ext cx="5157787" cy="518340"/>
          </a:xfrm>
        </p:spPr>
        <p:txBody>
          <a:bodyPr/>
          <a:lstStyle/>
          <a:p>
            <a:pPr algn="ctr"/>
            <a:r>
              <a:rPr lang="ru-RU" dirty="0">
                <a:solidFill>
                  <a:srgbClr val="002060"/>
                </a:solidFill>
              </a:rPr>
              <a:t>Реквизиция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2"/>
          </p:nvPr>
        </p:nvSpPr>
        <p:spPr>
          <a:xfrm>
            <a:off x="839788" y="2199502"/>
            <a:ext cx="5157787" cy="4423719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ru-RU" sz="2000" dirty="0">
                <a:solidFill>
                  <a:schemeClr val="accent1">
                    <a:lumMod val="50000"/>
                  </a:schemeClr>
                </a:solidFill>
              </a:rPr>
              <a:t>Реквизиция имущества инвестора осуществляется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с выплатой ему рыночной стоимости имущества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</a:rPr>
              <a:t>. Рыночная стоимость имущества определяется в порядке, установленном законодательством. Оценка, по которой собственнику была возмещена стоимость реквизированного имущества, может быть оспорена им в судебном порядке. При прекращении действия обстоятельств, в связи с которыми произведена реквизиция, инвестор вправе требовать возврата сохранившегося имущества, но при этом обязан возвратить полученную им сумму компенсации с учетом потерь от снижения стоимости имущества.</a:t>
            </a:r>
          </a:p>
          <a:p>
            <a:endParaRPr lang="ru-RU" sz="2000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4606" y="1482294"/>
            <a:ext cx="5183188" cy="518339"/>
          </a:xfrm>
        </p:spPr>
        <p:txBody>
          <a:bodyPr/>
          <a:lstStyle/>
          <a:p>
            <a:pPr algn="ctr"/>
            <a:r>
              <a:rPr lang="ru-RU" dirty="0">
                <a:solidFill>
                  <a:srgbClr val="002060"/>
                </a:solidFill>
              </a:rPr>
              <a:t>Национализация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349481" y="2199502"/>
            <a:ext cx="5183188" cy="3932495"/>
          </a:xfrm>
        </p:spPr>
        <p:txBody>
          <a:bodyPr>
            <a:normAutofit fontScale="70000" lnSpcReduction="20000"/>
          </a:bodyPr>
          <a:lstStyle/>
          <a:p>
            <a:pPr algn="just"/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При национализации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инвестору возмещаются Республикой Казахстан в полном объеме убытки*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, причиненные ему в результате издания законодательных актов Республики Казахстан о национализации. (*Под </a:t>
            </a:r>
            <a:r>
              <a:rPr lang="ru-RU" b="1" i="1" dirty="0">
                <a:solidFill>
                  <a:schemeClr val="accent1">
                    <a:lumMod val="50000"/>
                  </a:schemeClr>
                </a:solidFill>
              </a:rPr>
              <a:t>убытками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подразумеваются </a:t>
            </a:r>
            <a:r>
              <a:rPr lang="ru-RU" i="1" dirty="0">
                <a:solidFill>
                  <a:schemeClr val="accent1">
                    <a:lumMod val="50000"/>
                  </a:schemeClr>
                </a:solidFill>
              </a:rPr>
              <a:t>расходы, которые произведены или должны быть произведены лицом, право которого нарушено, утрата или повреждение его имущества (реальный ущерб)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ru-RU" i="1" dirty="0">
                <a:solidFill>
                  <a:schemeClr val="accent1">
                    <a:lumMod val="50000"/>
                  </a:schemeClr>
                </a:solidFill>
              </a:rPr>
              <a:t>а также неполученные доходы, которые это лицо получило бы при обычных условиях оборота, если бы его право не было нарушено (упущенная выгода) </a:t>
            </a:r>
            <a:r>
              <a:rPr lang="ru-RU" sz="1100" i="1" dirty="0">
                <a:solidFill>
                  <a:schemeClr val="accent1">
                    <a:lumMod val="50000"/>
                  </a:schemeClr>
                </a:solidFill>
              </a:rPr>
              <a:t>(пункт 4 статьи 9 Гражданского Кодекса РК (Общая часть). </a:t>
            </a:r>
          </a:p>
          <a:p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6126101" y="6412863"/>
            <a:ext cx="107433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800" i="1" dirty="0">
                <a:solidFill>
                  <a:schemeClr val="accent1">
                    <a:lumMod val="50000"/>
                  </a:schemeClr>
                </a:solidFill>
              </a:rPr>
              <a:t>(статья 279  ПК РК)</a:t>
            </a: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9448800" y="6492877"/>
            <a:ext cx="2743200" cy="365125"/>
          </a:xfrm>
        </p:spPr>
        <p:txBody>
          <a:bodyPr/>
          <a:lstStyle/>
          <a:p>
            <a:fld id="{06690157-0765-4A7F-B34E-AEA284B34A45}" type="slidenum">
              <a:rPr lang="ru-RU" smtClean="0"/>
              <a:t>68</a:t>
            </a:fld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12701" y="-121665"/>
            <a:ext cx="12192000" cy="370419"/>
          </a:xfrm>
          <a:prstGeom prst="rect">
            <a:avLst/>
          </a:prstGeom>
          <a:solidFill>
            <a:srgbClr val="253471">
              <a:alpha val="80000"/>
            </a:srgb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/>
            </a:pPr>
            <a:endParaRPr lang="ru-RU" sz="1600" b="1" kern="0" spc="45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Helvetica Ligh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2701" y="6426000"/>
            <a:ext cx="12192000" cy="432000"/>
          </a:xfrm>
          <a:prstGeom prst="rect">
            <a:avLst/>
          </a:prstGeom>
          <a:solidFill>
            <a:srgbClr val="253471">
              <a:alpha val="80000"/>
            </a:srgb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/>
            </a:pPr>
            <a:endParaRPr lang="ru-RU" sz="1600" b="1" kern="0" spc="45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943803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07324" y="457200"/>
            <a:ext cx="4364701" cy="3840480"/>
          </a:xfrm>
        </p:spPr>
        <p:txBody>
          <a:bodyPr>
            <a:noAutofit/>
          </a:bodyPr>
          <a:lstStyle/>
          <a:p>
            <a:r>
              <a:rPr lang="ru-RU" sz="3600" b="1" spc="200" dirty="0">
                <a:solidFill>
                  <a:srgbClr val="002060"/>
                </a:solidFill>
                <a:latin typeface="+mn-lt"/>
              </a:rPr>
              <a:t>НПА для заключения Специального инвестиционного контракт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79349" y="1328247"/>
            <a:ext cx="6172200" cy="4873625"/>
          </a:xfrm>
        </p:spPr>
        <p:txBody>
          <a:bodyPr>
            <a:normAutofit/>
          </a:bodyPr>
          <a:lstStyle/>
          <a:p>
            <a:pPr algn="just"/>
            <a:r>
              <a:rPr lang="ru-RU" sz="1800" dirty="0">
                <a:solidFill>
                  <a:schemeClr val="accent1">
                    <a:lumMod val="50000"/>
                  </a:schemeClr>
                </a:solidFill>
              </a:rPr>
              <a:t>Об утверждении типового специального инвестиционного 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</a:rPr>
              <a:t>контракта. Приказ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</a:rPr>
              <a:t>Министра по инвестициям и развитию Республики Казахстан от 7 февраля 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</a:rPr>
              <a:t>2017 года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</a:rPr>
              <a:t>№ 75. Зарегистрирован в Министерстве юстиции Республики Казахстан 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</a:rPr>
              <a:t>15февраля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</a:rPr>
              <a:t>2017 года № 14806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</a:rPr>
              <a:t>.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  <a:p>
            <a:pPr algn="just"/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</a:rPr>
              <a:t>Об утверждении Правил и условий заключения и расторжения специального инвестиционного контракта. Приказ </a:t>
            </a:r>
            <a:r>
              <a:rPr lang="ru-RU" sz="1800" dirty="0" err="1">
                <a:solidFill>
                  <a:schemeClr val="accent1">
                    <a:lumMod val="50000"/>
                  </a:schemeClr>
                </a:solidFill>
              </a:rPr>
              <a:t>и.о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</a:rPr>
              <a:t>. Министра по инвестициям и развитию Республики Казахстан от 8 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</a:rPr>
              <a:t>февраля 2017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</a:rPr>
              <a:t>года № 85. Зарегистрирован в Министерстве юстиции Республики Казахстан 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</a:rPr>
              <a:t>14 февраля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</a:rPr>
              <a:t>2017 года № 14801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</a:rPr>
              <a:t>.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  <a:p>
            <a:pPr algn="just"/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</a:rPr>
              <a:t>Об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</a:rPr>
              <a:t>утверждении формы заявки на предоставление инвестиционных преференций 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</a:rPr>
              <a:t>в рамках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</a:rPr>
              <a:t>реализации специального инвестиционного проекта и правил ее приема 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</a:rPr>
              <a:t>и регистрации. Приказ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</a:rPr>
              <a:t>Министра по инвестициям и развитию Республики Казахстан от 6 февраля 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</a:rPr>
              <a:t>2017 года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</a:rPr>
              <a:t>№ 74. Зарегистрирован в Министерстве юстиции Республики Казахстан </a:t>
            </a:r>
            <a:r>
              <a:rPr lang="ru-RU" sz="1800" dirty="0" smtClean="0">
                <a:solidFill>
                  <a:schemeClr val="accent1">
                    <a:lumMod val="50000"/>
                  </a:schemeClr>
                </a:solidFill>
              </a:rPr>
              <a:t>14 февраля 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</a:rPr>
              <a:t>2017 года № 14800.</a:t>
            </a: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0" y="505737"/>
            <a:ext cx="12191999" cy="56409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10000"/>
              </a:lnSpc>
            </a:pPr>
            <a:r>
              <a:rPr lang="ru-RU" sz="3600" b="1" spc="200" dirty="0" smtClean="0">
                <a:solidFill>
                  <a:srgbClr val="002060"/>
                </a:solidFill>
                <a:latin typeface="+mn-lt"/>
              </a:rPr>
              <a:t>ИНВЕСТИЦИОННЫЕ ПРОЕКТЫ</a:t>
            </a:r>
            <a:endParaRPr lang="ru-RU" sz="3600" b="1" spc="2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2701" y="69526"/>
            <a:ext cx="12192000" cy="370419"/>
          </a:xfrm>
          <a:prstGeom prst="rect">
            <a:avLst/>
          </a:prstGeom>
          <a:solidFill>
            <a:srgbClr val="253471">
              <a:alpha val="80000"/>
            </a:srgb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/>
            </a:pPr>
            <a:endParaRPr lang="ru-RU" sz="1600" b="1" kern="0" spc="45" dirty="0">
              <a:solidFill>
                <a:srgbClr val="FFFFFF"/>
              </a:solidFill>
              <a:cs typeface="Arial" pitchFamily="34" charset="0"/>
              <a:sym typeface="Helvetica Ligh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6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949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500160" y="276446"/>
            <a:ext cx="116164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 algn="ctr">
              <a:defRPr sz="2400" b="1" u="sng"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defRPr>
            </a:lvl1pPr>
          </a:lstStyle>
          <a:p>
            <a:r>
              <a:rPr lang="ru-RU" dirty="0" smtClean="0"/>
              <a:t>Критерии оценки к заявкам потенциальных поставщиков ОТП </a:t>
            </a:r>
            <a:r>
              <a:rPr lang="ru-RU" dirty="0"/>
              <a:t>имеющих намерение на модернизацию производства лекарственных средств и (или) медицинских изделий</a:t>
            </a:r>
          </a:p>
        </p:txBody>
      </p:sp>
      <p:grpSp>
        <p:nvGrpSpPr>
          <p:cNvPr id="41" name="Группа 40"/>
          <p:cNvGrpSpPr/>
          <p:nvPr/>
        </p:nvGrpSpPr>
        <p:grpSpPr>
          <a:xfrm>
            <a:off x="372835" y="1422556"/>
            <a:ext cx="5518436" cy="4958233"/>
            <a:chOff x="579686" y="986620"/>
            <a:chExt cx="5518436" cy="4958233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4723130" y="4846849"/>
              <a:ext cx="1374992" cy="109800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9CAFD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entury Gothic" panose="020B0502020202020204" pitchFamily="34" charset="0"/>
              </a:endParaRP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589681" y="2983229"/>
              <a:ext cx="1249197" cy="1600438"/>
            </a:xfrm>
            <a:prstGeom prst="rect">
              <a:avLst/>
            </a:prstGeom>
            <a:ln>
              <a:noFill/>
              <a:prstDash val="sysDot"/>
            </a:ln>
          </p:spPr>
          <p:txBody>
            <a:bodyPr wrap="square">
              <a:spAutoFit/>
            </a:bodyPr>
            <a:lstStyle/>
            <a:p>
              <a:pPr>
                <a:buClr>
                  <a:schemeClr val="accent6"/>
                </a:buClr>
                <a:buSzPct val="120000"/>
                <a:defRPr/>
              </a:pPr>
              <a:r>
                <a:rPr lang="ru-RU" sz="1400" dirty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Наличие финансовых средств (собственные и привлекаемые)</a:t>
              </a:r>
            </a:p>
          </p:txBody>
        </p:sp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21289" y="1336453"/>
              <a:ext cx="1172206" cy="1111652"/>
            </a:xfrm>
            <a:prstGeom prst="rect">
              <a:avLst/>
            </a:prstGeom>
          </p:spPr>
        </p:pic>
        <p:sp>
          <p:nvSpPr>
            <p:cNvPr id="13" name="Прямоугольник 12"/>
            <p:cNvSpPr/>
            <p:nvPr/>
          </p:nvSpPr>
          <p:spPr>
            <a:xfrm>
              <a:off x="579686" y="986620"/>
              <a:ext cx="1259192" cy="3733531"/>
            </a:xfrm>
            <a:prstGeom prst="rect">
              <a:avLst/>
            </a:prstGeom>
            <a:noFill/>
            <a:ln>
              <a:solidFill>
                <a:srgbClr val="9CAFD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1918324" y="990122"/>
              <a:ext cx="1309516" cy="3733531"/>
            </a:xfrm>
            <a:prstGeom prst="rect">
              <a:avLst/>
            </a:prstGeom>
            <a:noFill/>
            <a:ln>
              <a:solidFill>
                <a:srgbClr val="9CAFD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3351479" y="2895547"/>
              <a:ext cx="1234260" cy="1600438"/>
            </a:xfrm>
            <a:prstGeom prst="rect">
              <a:avLst/>
            </a:prstGeom>
            <a:ln>
              <a:noFill/>
              <a:prstDash val="sysDot"/>
            </a:ln>
          </p:spPr>
          <p:txBody>
            <a:bodyPr wrap="square">
              <a:spAutoFit/>
            </a:bodyPr>
            <a:lstStyle/>
            <a:p>
              <a:pPr>
                <a:buClr>
                  <a:schemeClr val="accent6"/>
                </a:buClr>
                <a:buSzPct val="120000"/>
                <a:defRPr/>
              </a:pPr>
              <a:r>
                <a:rPr lang="ru-RU" sz="1400" dirty="0" smtClean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Наличие </a:t>
              </a:r>
              <a:r>
                <a:rPr lang="ru-RU" sz="1400" dirty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действующего индустриального сертификата</a:t>
              </a: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149101" y="1033378"/>
              <a:ext cx="459764" cy="436014"/>
            </a:xfrm>
            <a:prstGeom prst="rect">
              <a:avLst/>
            </a:prstGeom>
          </p:spPr>
        </p:pic>
        <p:sp>
          <p:nvSpPr>
            <p:cNvPr id="22" name="Прямоугольник 21"/>
            <p:cNvSpPr/>
            <p:nvPr/>
          </p:nvSpPr>
          <p:spPr>
            <a:xfrm>
              <a:off x="3327587" y="990121"/>
              <a:ext cx="1309932" cy="3733531"/>
            </a:xfrm>
            <a:prstGeom prst="rect">
              <a:avLst/>
            </a:prstGeom>
            <a:noFill/>
            <a:ln>
              <a:solidFill>
                <a:srgbClr val="9CAFD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588288" y="4829914"/>
              <a:ext cx="1250590" cy="108509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9CAFD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entury Gothic" panose="020B0502020202020204" pitchFamily="34" charset="0"/>
              </a:endParaRP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1899500" y="4829913"/>
              <a:ext cx="1328340" cy="109800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9CAFD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entury Gothic" panose="020B0502020202020204" pitchFamily="34" charset="0"/>
              </a:endParaRP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3318872" y="4846849"/>
              <a:ext cx="1313226" cy="1098004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9CAFD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entury Gothic" panose="020B0502020202020204" pitchFamily="34" charset="0"/>
              </a:endParaRP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595092" y="4776343"/>
              <a:ext cx="1261688" cy="110799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ru-RU" sz="1100" b="1" dirty="0" smtClean="0">
                  <a:solidFill>
                    <a:srgbClr val="000000"/>
                  </a:solidFill>
                  <a:latin typeface="Century Gothic" panose="020B0502020202020204" pitchFamily="34" charset="0"/>
                  <a:ea typeface="Times New Roman" panose="02020603050405020304" pitchFamily="18" charset="0"/>
                </a:rPr>
                <a:t>2 балла (собственные)/</a:t>
              </a:r>
            </a:p>
            <a:p>
              <a:pPr algn="ctr"/>
              <a:r>
                <a:rPr lang="ru-RU" sz="1100" b="1" dirty="0" smtClean="0">
                  <a:solidFill>
                    <a:srgbClr val="000000"/>
                  </a:solidFill>
                  <a:latin typeface="Century Gothic" panose="020B0502020202020204" pitchFamily="34" charset="0"/>
                  <a:ea typeface="Times New Roman" panose="02020603050405020304" pitchFamily="18" charset="0"/>
                </a:rPr>
                <a:t>1 балл (привлекаемые)</a:t>
              </a:r>
              <a:endParaRPr lang="ru-RU" sz="1100" b="1" dirty="0">
                <a:latin typeface="Century Gothic" panose="020B0502020202020204" pitchFamily="34" charset="0"/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3365212" y="5015209"/>
              <a:ext cx="1245671" cy="64633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000000"/>
                  </a:solidFill>
                  <a:latin typeface="Century Gothic" panose="020B0502020202020204" pitchFamily="34" charset="0"/>
                  <a:ea typeface="Times New Roman" panose="02020603050405020304" pitchFamily="18" charset="0"/>
                </a:rPr>
                <a:t>0,5 </a:t>
              </a:r>
            </a:p>
            <a:p>
              <a:pPr algn="ctr"/>
              <a:r>
                <a:rPr lang="ru-RU" b="1" dirty="0" smtClean="0">
                  <a:solidFill>
                    <a:srgbClr val="000000"/>
                  </a:solidFill>
                  <a:latin typeface="Century Gothic" panose="020B0502020202020204" pitchFamily="34" charset="0"/>
                  <a:ea typeface="Times New Roman" panose="02020603050405020304" pitchFamily="18" charset="0"/>
                </a:rPr>
                <a:t>балла</a:t>
              </a:r>
              <a:endParaRPr lang="ru-RU" b="1" dirty="0">
                <a:latin typeface="Century Gothic" panose="020B0502020202020204" pitchFamily="34" charset="0"/>
              </a:endParaRP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1981507" y="5016639"/>
              <a:ext cx="1137447" cy="64633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000000"/>
                  </a:solidFill>
                  <a:latin typeface="Century Gothic" panose="020B0502020202020204" pitchFamily="34" charset="0"/>
                  <a:ea typeface="Times New Roman" panose="02020603050405020304" pitchFamily="18" charset="0"/>
                </a:rPr>
                <a:t>1 </a:t>
              </a:r>
            </a:p>
            <a:p>
              <a:pPr algn="ctr"/>
              <a:r>
                <a:rPr lang="ru-RU" b="1" dirty="0" smtClean="0">
                  <a:solidFill>
                    <a:srgbClr val="000000"/>
                  </a:solidFill>
                  <a:latin typeface="Century Gothic" panose="020B0502020202020204" pitchFamily="34" charset="0"/>
                  <a:ea typeface="Times New Roman" panose="02020603050405020304" pitchFamily="18" charset="0"/>
                </a:rPr>
                <a:t>балл</a:t>
              </a:r>
              <a:endParaRPr lang="ru-RU" b="1" dirty="0">
                <a:latin typeface="Century Gothic" panose="020B0502020202020204" pitchFamily="34" charset="0"/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4670720" y="2603883"/>
              <a:ext cx="1358436" cy="1938992"/>
            </a:xfrm>
            <a:prstGeom prst="rect">
              <a:avLst/>
            </a:prstGeom>
            <a:ln>
              <a:noFill/>
              <a:prstDash val="sysDot"/>
            </a:ln>
          </p:spPr>
          <p:txBody>
            <a:bodyPr wrap="square">
              <a:spAutoFit/>
            </a:bodyPr>
            <a:lstStyle/>
            <a:p>
              <a:pPr>
                <a:buClr>
                  <a:schemeClr val="accent6"/>
                </a:buClr>
                <a:buSzPct val="120000"/>
                <a:defRPr/>
              </a:pPr>
              <a:r>
                <a:rPr lang="ru-RU" sz="1200" dirty="0" smtClean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Наличие </a:t>
              </a:r>
              <a:r>
                <a:rPr lang="ru-RU" sz="1200" dirty="0">
                  <a:solidFill>
                    <a:schemeClr val="tx2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сертификата GMP (для лекарственных средств), ISO 13485 (для медицинских изделий 1-2а класса, нестерильные)</a:t>
              </a:r>
              <a:endParaRPr lang="ru-RU" sz="1100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4715450" y="1001662"/>
              <a:ext cx="1382672" cy="3733531"/>
            </a:xfrm>
            <a:prstGeom prst="rect">
              <a:avLst/>
            </a:prstGeom>
            <a:noFill/>
            <a:ln>
              <a:solidFill>
                <a:srgbClr val="9CAFD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pic>
          <p:nvPicPr>
            <p:cNvPr id="33" name="Рисунок 32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628415" y="1273044"/>
              <a:ext cx="1124837" cy="1124837"/>
            </a:xfrm>
            <a:prstGeom prst="rect">
              <a:avLst/>
            </a:prstGeom>
          </p:spPr>
        </p:pic>
        <p:sp>
          <p:nvSpPr>
            <p:cNvPr id="44" name="Прямоугольник 43"/>
            <p:cNvSpPr/>
            <p:nvPr/>
          </p:nvSpPr>
          <p:spPr>
            <a:xfrm>
              <a:off x="4969335" y="5027007"/>
              <a:ext cx="901718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000000"/>
                  </a:solidFill>
                  <a:latin typeface="Century Gothic" panose="020B0502020202020204" pitchFamily="34" charset="0"/>
                  <a:ea typeface="Times New Roman" panose="02020603050405020304" pitchFamily="18" charset="0"/>
                </a:rPr>
                <a:t>0,5</a:t>
              </a:r>
            </a:p>
            <a:p>
              <a:r>
                <a:rPr lang="ru-RU" b="1" dirty="0" smtClean="0">
                  <a:solidFill>
                    <a:srgbClr val="000000"/>
                  </a:solidFill>
                  <a:latin typeface="Century Gothic" panose="020B0502020202020204" pitchFamily="34" charset="0"/>
                  <a:ea typeface="Times New Roman" panose="02020603050405020304" pitchFamily="18" charset="0"/>
                </a:rPr>
                <a:t>балла</a:t>
              </a:r>
              <a:endParaRPr lang="ru-RU" b="1" dirty="0">
                <a:latin typeface="Century Gothic" panose="020B0502020202020204" pitchFamily="34" charset="0"/>
              </a:endParaRPr>
            </a:p>
          </p:txBody>
        </p:sp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582245" y="1030727"/>
              <a:ext cx="459764" cy="436014"/>
            </a:xfrm>
            <a:prstGeom prst="rect">
              <a:avLst/>
            </a:prstGeom>
          </p:spPr>
        </p:pic>
      </p:grpSp>
      <p:sp>
        <p:nvSpPr>
          <p:cNvPr id="32" name="Прямоугольник 31"/>
          <p:cNvSpPr/>
          <p:nvPr/>
        </p:nvSpPr>
        <p:spPr>
          <a:xfrm>
            <a:off x="1659273" y="3163389"/>
            <a:ext cx="1428262" cy="1962076"/>
          </a:xfrm>
          <a:prstGeom prst="rect">
            <a:avLst/>
          </a:prstGeom>
          <a:ln>
            <a:noFill/>
            <a:prstDash val="sysDot"/>
          </a:ln>
        </p:spPr>
        <p:txBody>
          <a:bodyPr wrap="square">
            <a:spAutoFit/>
          </a:bodyPr>
          <a:lstStyle/>
          <a:p>
            <a:pPr>
              <a:buClr>
                <a:schemeClr val="accent6"/>
              </a:buClr>
              <a:buSzPct val="120000"/>
              <a:defRPr/>
            </a:pPr>
            <a:r>
              <a:rPr lang="ru-RU" sz="1350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пыт </a:t>
            </a:r>
            <a:r>
              <a:rPr lang="ru-RU" sz="1350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фармацевтического производства на территории Республики Казахстан более </a:t>
            </a:r>
            <a:r>
              <a:rPr lang="ru-RU" sz="1350" dirty="0" smtClean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5 </a:t>
            </a:r>
            <a:r>
              <a:rPr lang="ru-RU" sz="1350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лет </a:t>
            </a: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078864" y="1736432"/>
            <a:ext cx="1124837" cy="1124837"/>
          </a:xfrm>
          <a:prstGeom prst="rect">
            <a:avLst/>
          </a:prstGeom>
        </p:spPr>
      </p:pic>
      <p:sp>
        <p:nvSpPr>
          <p:cNvPr id="36" name="Прямоугольник 35"/>
          <p:cNvSpPr/>
          <p:nvPr/>
        </p:nvSpPr>
        <p:spPr>
          <a:xfrm>
            <a:off x="5989836" y="1434130"/>
            <a:ext cx="1365895" cy="3733531"/>
          </a:xfrm>
          <a:prstGeom prst="rect">
            <a:avLst/>
          </a:prstGeom>
          <a:noFill/>
          <a:ln>
            <a:solidFill>
              <a:srgbClr val="9CAFD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38" name="Прямоугольник 37"/>
          <p:cNvSpPr/>
          <p:nvPr/>
        </p:nvSpPr>
        <p:spPr>
          <a:xfrm>
            <a:off x="5989836" y="5267335"/>
            <a:ext cx="1365895" cy="10980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9CAFD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5970430" y="3559350"/>
            <a:ext cx="1392297" cy="1169551"/>
          </a:xfrm>
          <a:prstGeom prst="rect">
            <a:avLst/>
          </a:prstGeom>
          <a:ln>
            <a:noFill/>
            <a:prstDash val="sysDot"/>
          </a:ln>
        </p:spPr>
        <p:txBody>
          <a:bodyPr wrap="square">
            <a:spAutoFit/>
          </a:bodyPr>
          <a:lstStyle/>
          <a:p>
            <a:pPr>
              <a:buClr>
                <a:schemeClr val="accent6"/>
              </a:buClr>
              <a:buSzPct val="120000"/>
              <a:defRPr/>
            </a:pPr>
            <a:r>
              <a:rPr lang="ru-RU" sz="1400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личие регистрационного удостоверения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6077890" y="5442859"/>
            <a:ext cx="11171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1</a:t>
            </a:r>
          </a:p>
          <a:p>
            <a:pPr algn="ctr"/>
            <a:r>
              <a:rPr lang="ru-RU" b="1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балл</a:t>
            </a:r>
            <a:endParaRPr lang="ru-RU" b="1" dirty="0">
              <a:latin typeface="Century Gothic" panose="020B0502020202020204" pitchFamily="34" charset="0"/>
            </a:endParaRPr>
          </a:p>
        </p:txBody>
      </p:sp>
      <p:pic>
        <p:nvPicPr>
          <p:cNvPr id="47" name="Рисунок 46"/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886731" y="1720555"/>
            <a:ext cx="1124837" cy="1124837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875687" y="1458508"/>
            <a:ext cx="459764" cy="436014"/>
          </a:xfrm>
          <a:prstGeom prst="rect">
            <a:avLst/>
          </a:prstGeom>
        </p:spPr>
      </p:pic>
      <p:sp>
        <p:nvSpPr>
          <p:cNvPr id="51" name="Прямоугольник 50"/>
          <p:cNvSpPr/>
          <p:nvPr/>
        </p:nvSpPr>
        <p:spPr>
          <a:xfrm>
            <a:off x="7443088" y="1449173"/>
            <a:ext cx="1345389" cy="3733531"/>
          </a:xfrm>
          <a:prstGeom prst="rect">
            <a:avLst/>
          </a:prstGeom>
          <a:noFill/>
          <a:ln>
            <a:solidFill>
              <a:srgbClr val="9CAFD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52" name="Прямоугольник 51"/>
          <p:cNvSpPr/>
          <p:nvPr/>
        </p:nvSpPr>
        <p:spPr>
          <a:xfrm>
            <a:off x="7443088" y="5268089"/>
            <a:ext cx="1345389" cy="10980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9CAFD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8860430" y="1442050"/>
            <a:ext cx="1345389" cy="3733531"/>
          </a:xfrm>
          <a:prstGeom prst="rect">
            <a:avLst/>
          </a:prstGeom>
          <a:noFill/>
          <a:ln>
            <a:solidFill>
              <a:srgbClr val="9CAFD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54" name="Прямоугольник 53"/>
          <p:cNvSpPr/>
          <p:nvPr/>
        </p:nvSpPr>
        <p:spPr>
          <a:xfrm>
            <a:off x="8860430" y="5260966"/>
            <a:ext cx="1345389" cy="10980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9CAFD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10318449" y="1458508"/>
            <a:ext cx="1545602" cy="3733531"/>
          </a:xfrm>
          <a:prstGeom prst="rect">
            <a:avLst/>
          </a:prstGeom>
          <a:noFill/>
          <a:ln>
            <a:solidFill>
              <a:srgbClr val="9CAFD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56" name="Прямоугольник 55"/>
          <p:cNvSpPr/>
          <p:nvPr/>
        </p:nvSpPr>
        <p:spPr>
          <a:xfrm>
            <a:off x="10318449" y="5277424"/>
            <a:ext cx="1545602" cy="10980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9CAFD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7440048" y="3007990"/>
            <a:ext cx="1402849" cy="2031325"/>
          </a:xfrm>
          <a:prstGeom prst="rect">
            <a:avLst/>
          </a:prstGeom>
          <a:ln>
            <a:noFill/>
            <a:prstDash val="sysDot"/>
          </a:ln>
        </p:spPr>
        <p:txBody>
          <a:bodyPr wrap="square">
            <a:spAutoFit/>
          </a:bodyPr>
          <a:lstStyle/>
          <a:p>
            <a:pPr>
              <a:buClr>
                <a:schemeClr val="accent6"/>
              </a:buClr>
              <a:buSzPct val="120000"/>
              <a:defRPr/>
            </a:pPr>
            <a:r>
              <a:rPr lang="ru-RU" sz="1400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личие исполненных контрактов на экспорт лекарственных средств и (или) медицинских изделий 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8828874" y="3051762"/>
            <a:ext cx="1429222" cy="2092881"/>
          </a:xfrm>
          <a:prstGeom prst="rect">
            <a:avLst/>
          </a:prstGeom>
          <a:ln>
            <a:noFill/>
            <a:prstDash val="sysDot"/>
          </a:ln>
        </p:spPr>
        <p:txBody>
          <a:bodyPr wrap="square">
            <a:spAutoFit/>
          </a:bodyPr>
          <a:lstStyle/>
          <a:p>
            <a:pPr>
              <a:buClr>
                <a:schemeClr val="accent6"/>
              </a:buClr>
              <a:buSzPct val="120000"/>
              <a:defRPr/>
            </a:pPr>
            <a:r>
              <a:rPr lang="ru-RU" sz="1300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личие научно-технологической инициативы (трансфер технологий для ЛС и МИ/ собственные разработки ЛС и МИ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246216" y="3091961"/>
            <a:ext cx="1698196" cy="2123658"/>
          </a:xfrm>
          <a:prstGeom prst="rect">
            <a:avLst/>
          </a:prstGeom>
          <a:ln>
            <a:noFill/>
            <a:prstDash val="sysDot"/>
          </a:ln>
        </p:spPr>
        <p:txBody>
          <a:bodyPr wrap="square">
            <a:spAutoFit/>
          </a:bodyPr>
          <a:lstStyle/>
          <a:p>
            <a:pPr>
              <a:buClr>
                <a:schemeClr val="accent6"/>
              </a:buClr>
              <a:buSzPct val="120000"/>
              <a:defRPr/>
            </a:pPr>
            <a:r>
              <a:rPr lang="ru-RU" sz="1200" dirty="0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аличие соглашения и (или) меморандума с научно-исследовательскими институтами, лабораториями, АО «Фонд науки, на совместные разработки и (или) подготовку кадров 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7555009" y="5455221"/>
            <a:ext cx="11171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1</a:t>
            </a:r>
          </a:p>
          <a:p>
            <a:pPr algn="ctr"/>
            <a:r>
              <a:rPr lang="ru-RU" b="1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балл</a:t>
            </a:r>
            <a:endParaRPr lang="ru-RU" b="1" dirty="0">
              <a:latin typeface="Century Gothic" panose="020B050202020202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8860430" y="5223854"/>
            <a:ext cx="132913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2 балла (трансфер технологий)/</a:t>
            </a:r>
          </a:p>
          <a:p>
            <a:pPr algn="ctr"/>
            <a:r>
              <a:rPr lang="ru-RU" sz="1200" b="1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3 балла (собственные разработки)</a:t>
            </a:r>
            <a:endParaRPr lang="ru-RU" sz="1200" b="1" dirty="0">
              <a:latin typeface="Century Gothic" panose="020B0502020202020204" pitchFamily="34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10425198" y="5478372"/>
            <a:ext cx="12834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1</a:t>
            </a:r>
          </a:p>
          <a:p>
            <a:pPr algn="ctr"/>
            <a:r>
              <a:rPr lang="ru-RU" b="1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 балл</a:t>
            </a:r>
            <a:endParaRPr lang="ru-RU" b="1" dirty="0">
              <a:latin typeface="Century Gothic" panose="020B0502020202020204" pitchFamily="34" charset="0"/>
            </a:endParaRP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>
          <a:blip r:embed="rId5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752867" y="2152095"/>
            <a:ext cx="1223780" cy="628891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490806" y="1513574"/>
            <a:ext cx="459765" cy="436014"/>
          </a:xfrm>
          <a:prstGeom prst="rect">
            <a:avLst/>
          </a:prstGeom>
        </p:spPr>
      </p:pic>
      <p:pic>
        <p:nvPicPr>
          <p:cNvPr id="85" name="Рисунок 84"/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789231" y="1776799"/>
            <a:ext cx="1124837" cy="1124837"/>
          </a:xfrm>
          <a:prstGeom prst="rect">
            <a:avLst/>
          </a:prstGeom>
        </p:spPr>
      </p:pic>
      <p:pic>
        <p:nvPicPr>
          <p:cNvPr id="86" name="Рисунок 85"/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715741" y="1490973"/>
            <a:ext cx="459765" cy="436014"/>
          </a:xfrm>
          <a:prstGeom prst="rect">
            <a:avLst/>
          </a:prstGeom>
        </p:spPr>
      </p:pic>
      <p:pic>
        <p:nvPicPr>
          <p:cNvPr id="88" name="Рисунок 87"/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1349699" y="1481328"/>
            <a:ext cx="459765" cy="436014"/>
          </a:xfrm>
          <a:prstGeom prst="rect">
            <a:avLst/>
          </a:prstGeom>
        </p:spPr>
      </p:pic>
      <p:pic>
        <p:nvPicPr>
          <p:cNvPr id="89" name="Picture 4" descr="Составление договоров купли-продажи недвижимости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4292" y="1764559"/>
            <a:ext cx="1178901" cy="117890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35200" y1="18131" x2="35200" y2="18131"/>
                        <a14:foregroundMark x1="42900" y1="30518" x2="42900" y2="30518"/>
                        <a14:foregroundMark x1="42100" y1="36824" x2="42100" y2="36824"/>
                        <a14:foregroundMark x1="54200" y1="36824" x2="54200" y2="36824"/>
                        <a14:foregroundMark x1="61500" y1="31532" x2="61500" y2="31532"/>
                        <a14:foregroundMark x1="43500" y1="42568" x2="43500" y2="42568"/>
                        <a14:foregroundMark x1="36600" y1="49437" x2="36600" y2="49437"/>
                        <a14:foregroundMark x1="44800" y1="51239" x2="44800" y2="51239"/>
                        <a14:foregroundMark x1="70500" y1="67568" x2="70500" y2="67568"/>
                      </a14:backgroundRemoval>
                    </a14:imgEffect>
                  </a14:imgLayer>
                </a14:imgProps>
              </a:ext>
            </a:extLst>
          </a:blip>
          <a:srcRect l="23506" t="12627" r="20546" b="20276"/>
          <a:stretch/>
        </p:blipFill>
        <p:spPr>
          <a:xfrm>
            <a:off x="7577182" y="1708980"/>
            <a:ext cx="1113576" cy="1185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63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35" y="460826"/>
            <a:ext cx="12192000" cy="476216"/>
          </a:xfrm>
        </p:spPr>
        <p:txBody>
          <a:bodyPr>
            <a:noAutofit/>
          </a:bodyPr>
          <a:lstStyle/>
          <a:p>
            <a:pPr algn="ctr"/>
            <a:r>
              <a:rPr lang="ru-RU" sz="3600" b="1" dirty="0">
                <a:solidFill>
                  <a:srgbClr val="002060"/>
                </a:solidFill>
                <a:latin typeface="+mn-lt"/>
              </a:rPr>
              <a:t>ИНВЕСТИЦИОННЫЕ ПРЕФЕРЕНЦИИ</a:t>
            </a:r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5552188" y="1237340"/>
            <a:ext cx="6496435" cy="5620660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ru-RU" sz="1600" b="1" dirty="0">
                <a:solidFill>
                  <a:srgbClr val="002060"/>
                </a:solidFill>
                <a:cs typeface="Times New Roman" panose="02020603050405020304" pitchFamily="18" charset="0"/>
              </a:rPr>
              <a:t>ПОЛУЧАТЕЛЬ</a:t>
            </a:r>
            <a:r>
              <a:rPr lang="ru-RU" sz="1600" dirty="0">
                <a:solidFill>
                  <a:srgbClr val="002060"/>
                </a:solidFill>
                <a:cs typeface="Times New Roman" panose="02020603050405020304" pitchFamily="18" charset="0"/>
              </a:rPr>
              <a:t>: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1) Юридическое лицо Республики Казахстан, реализующее инвестиционный проект в рамках: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ru-RU" sz="1600" i="1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инвестиционного контракта 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ru-RU" sz="1600" i="1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инвестиционного приоритетного контракта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при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импорте технологического оборудования, комплектующих и запасных частей к нему, сырья и (или) материалов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в соответствии с законодательством Таможенного союза и (или) законодательством Республики Казахстан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2) В рамках специального инвестиционного контракта 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участники специальных экономических зон на пятнадцатилетний срок, но не более срока действия специальных экономических зон;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владельцы свободных складов на срок не более пятнадцати лет с момента регистрации специального инвестиционного контракта;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юридические лица Республики Казахстан, заключившим соглашение о промышленной сборке моторных транспортных средств, на срок не более пятнадцати лет с момента регистрации специального инвестиционного контракта.</a:t>
            </a:r>
          </a:p>
          <a:p>
            <a:pPr marL="0"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3) Юридическое лицо - Лизинговая компания при импорте технологического оборудования, поставляемого в рамках реализации инвестиционного проекта на основании договора финансового лизинга для юридического лица Республики Казахстан, реализующего инвестиционный проект.</a:t>
            </a:r>
          </a:p>
          <a:p>
            <a:pPr marL="457200" indent="-457200" algn="just">
              <a:buFont typeface="Arial" panose="020B0604020202020204" pitchFamily="34" charset="0"/>
              <a:buAutoNum type="arabicParenR"/>
            </a:pP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 algn="just">
              <a:buNone/>
            </a:pP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 algn="just">
              <a:buNone/>
            </a:pP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690157-0765-4A7F-B34E-AEA284B34A45}" type="slidenum">
              <a:rPr lang="ru-RU" smtClean="0"/>
              <a:t>70</a:t>
            </a:fld>
            <a:endParaRPr lang="ru-RU" dirty="0"/>
          </a:p>
        </p:txBody>
      </p:sp>
      <p:sp>
        <p:nvSpPr>
          <p:cNvPr id="8" name="Объект 7"/>
          <p:cNvSpPr>
            <a:spLocks noGrp="1"/>
          </p:cNvSpPr>
          <p:nvPr>
            <p:ph sz="quarter" idx="4294967295"/>
          </p:nvPr>
        </p:nvSpPr>
        <p:spPr>
          <a:xfrm>
            <a:off x="529697" y="1292184"/>
            <a:ext cx="4735322" cy="4978037"/>
          </a:xfrm>
        </p:spPr>
        <p:txBody>
          <a:bodyPr>
            <a:normAutofit fontScale="25000" lnSpcReduction="20000"/>
          </a:bodyPr>
          <a:lstStyle/>
          <a:p>
            <a:pPr algn="just"/>
            <a:r>
              <a:rPr lang="ru-RU" sz="6400" dirty="0">
                <a:solidFill>
                  <a:schemeClr val="accent1">
                    <a:lumMod val="50000"/>
                  </a:schemeClr>
                </a:solidFill>
              </a:rPr>
              <a:t>Технологическое  оборудование  - товары, предназначенные для использования в технологическом процессе инвестиционного проекта.</a:t>
            </a:r>
          </a:p>
          <a:p>
            <a:pPr algn="just"/>
            <a:r>
              <a:rPr lang="ru-RU" sz="6400" dirty="0">
                <a:solidFill>
                  <a:schemeClr val="accent1">
                    <a:lumMod val="50000"/>
                  </a:schemeClr>
                </a:solidFill>
              </a:rPr>
              <a:t>Комплектующие  - составные части, в совокупности составляющие конструктивную целостность технологического оборудования и включенные в соответствующий перечень товаров, составленный Комиссией Таможенного союза.</a:t>
            </a:r>
          </a:p>
          <a:p>
            <a:pPr algn="just"/>
            <a:r>
              <a:rPr lang="ru-RU" sz="6400" dirty="0">
                <a:solidFill>
                  <a:schemeClr val="accent1">
                    <a:lumMod val="50000"/>
                  </a:schemeClr>
                </a:solidFill>
              </a:rPr>
              <a:t>Сырье и (или) материалы  - любое полезное ископаемое, компонент, деталь или иной товар, используемый для получения готовой продукции посредством технологического процесса инвестиционного проекта при условии отсутствия производства данного сырья и (или) материалов на территории Республики Казахстан.</a:t>
            </a:r>
          </a:p>
          <a:p>
            <a:pPr algn="just"/>
            <a:r>
              <a:rPr lang="ru-RU" sz="6400" dirty="0">
                <a:solidFill>
                  <a:schemeClr val="accent1">
                    <a:lumMod val="50000"/>
                  </a:schemeClr>
                </a:solidFill>
              </a:rPr>
              <a:t>Освобождение от обложения таможенными пошлинами при импорте технологического оборудования и комплектующих к нему предоставляется на срок действия инвестиционного контракта, но не более пяти лет с момента регистрации инвестиционного контракта. Уведомление о решении направляется уполномоченным органом по инвестициям в течение пяти рабочих дней таможенному органу.</a:t>
            </a:r>
            <a:r>
              <a:rPr lang="ru-RU" sz="6600" i="1" dirty="0">
                <a:solidFill>
                  <a:srgbClr val="5B9BD5">
                    <a:lumMod val="50000"/>
                  </a:srgbClr>
                </a:solidFill>
              </a:rPr>
              <a:t> (статья 287 ПК РК)</a:t>
            </a:r>
          </a:p>
          <a:p>
            <a:pPr algn="just"/>
            <a:endParaRPr lang="ru-RU" sz="6400" dirty="0">
              <a:solidFill>
                <a:schemeClr val="accent1">
                  <a:lumMod val="50000"/>
                </a:schemeClr>
              </a:solidFill>
            </a:endParaRPr>
          </a:p>
          <a:p>
            <a:endParaRPr lang="ru-RU" dirty="0"/>
          </a:p>
          <a:p>
            <a:pPr marL="0" indent="0">
              <a:buNone/>
            </a:pPr>
            <a:endParaRPr lang="ru-RU" sz="800" dirty="0">
              <a:solidFill>
                <a:srgbClr val="5B9BD5">
                  <a:lumMod val="50000"/>
                </a:srgbClr>
              </a:solidFill>
            </a:endParaRPr>
          </a:p>
          <a:p>
            <a:pPr marL="0" indent="0">
              <a:buNone/>
            </a:pPr>
            <a:endParaRPr lang="ru-RU" sz="800" dirty="0">
              <a:solidFill>
                <a:srgbClr val="5B9BD5">
                  <a:lumMod val="50000"/>
                </a:srgbClr>
              </a:solidFill>
            </a:endParaRP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9" name="Текст 2"/>
          <p:cNvSpPr>
            <a:spLocks noGrp="1"/>
          </p:cNvSpPr>
          <p:nvPr>
            <p:ph type="body" idx="1"/>
          </p:nvPr>
        </p:nvSpPr>
        <p:spPr>
          <a:xfrm>
            <a:off x="35027" y="815968"/>
            <a:ext cx="12179299" cy="456742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ru-RU" sz="2800" dirty="0">
                <a:solidFill>
                  <a:srgbClr val="002060"/>
                </a:solidFill>
              </a:rPr>
              <a:t>Освобождение от обложения таможенными пошлинам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0" y="0"/>
            <a:ext cx="12192000" cy="370419"/>
          </a:xfrm>
          <a:prstGeom prst="rect">
            <a:avLst/>
          </a:prstGeom>
          <a:solidFill>
            <a:srgbClr val="253471">
              <a:alpha val="80000"/>
            </a:srgb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/>
            </a:pPr>
            <a:endParaRPr lang="ru-RU" sz="1600" b="1" kern="0" spc="45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Helvetica Ligh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2701" y="6827527"/>
            <a:ext cx="12192000" cy="432000"/>
          </a:xfrm>
          <a:prstGeom prst="rect">
            <a:avLst/>
          </a:prstGeom>
          <a:solidFill>
            <a:srgbClr val="253471">
              <a:alpha val="80000"/>
            </a:srgb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/>
            </a:pPr>
            <a:endParaRPr lang="ru-RU" sz="1600" b="1" kern="0" spc="45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048102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2"/>
          <p:cNvSpPr txBox="1">
            <a:spLocks/>
          </p:cNvSpPr>
          <p:nvPr/>
        </p:nvSpPr>
        <p:spPr>
          <a:xfrm>
            <a:off x="12700" y="840886"/>
            <a:ext cx="12035923" cy="528428"/>
          </a:xfrm>
          <a:prstGeom prst="rect">
            <a:avLst/>
          </a:prstGeom>
        </p:spPr>
        <p:txBody>
          <a:bodyPr/>
          <a:lstStyle>
            <a:lvl1pPr algn="l" defTabSz="91449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rgbClr val="0A73A3"/>
                </a:solidFill>
                <a:latin typeface="Franklin Gothic Medium Cond" panose="020B06060304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dirty="0">
                <a:solidFill>
                  <a:srgbClr val="002060"/>
                </a:solidFill>
                <a:latin typeface="+mn-lt"/>
              </a:rPr>
              <a:t>Государственный натурный грант</a:t>
            </a:r>
            <a:endParaRPr lang="en-US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85" name="TextBox 384"/>
          <p:cNvSpPr txBox="1"/>
          <p:nvPr/>
        </p:nvSpPr>
        <p:spPr>
          <a:xfrm>
            <a:off x="181568" y="1592488"/>
            <a:ext cx="4351931" cy="38749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ru-RU" sz="2800" dirty="0">
                <a:solidFill>
                  <a:srgbClr val="0A73A3"/>
                </a:solidFill>
                <a:ea typeface="+mj-ea"/>
                <a:cs typeface="+mj-cs"/>
              </a:rPr>
              <a:t>Содержание</a:t>
            </a:r>
          </a:p>
          <a:p>
            <a:pPr algn="just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ru-RU" b="1" i="1" dirty="0">
                <a:solidFill>
                  <a:srgbClr val="147597"/>
                </a:solidFill>
              </a:rPr>
              <a:t>Земельные участки, здания, сооружения, машины и оборудование, вычислительная техника, измерительные и регулирующие приборы и устройства, транспортные средства (за исключением легкового автотранспорта), производственный и хозяйственный инвентарь </a:t>
            </a:r>
            <a:endParaRPr lang="ru-RU" i="1" dirty="0">
              <a:solidFill>
                <a:srgbClr val="242852"/>
              </a:solidFill>
            </a:endParaRPr>
          </a:p>
          <a:p>
            <a:pPr algn="just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ru-RU" i="1" dirty="0">
                <a:solidFill>
                  <a:srgbClr val="242852"/>
                </a:solidFill>
              </a:rPr>
              <a:t>Оценка государственных натурных грантов осуществляется по их рыночной стоимости в порядке, установленном законодательством Республики Казахстан.</a:t>
            </a:r>
          </a:p>
        </p:txBody>
      </p:sp>
      <p:sp>
        <p:nvSpPr>
          <p:cNvPr id="387" name="Прямоугольник 6"/>
          <p:cNvSpPr/>
          <p:nvPr/>
        </p:nvSpPr>
        <p:spPr>
          <a:xfrm>
            <a:off x="4963573" y="1592488"/>
            <a:ext cx="3350694" cy="44627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53222">
              <a:spcBef>
                <a:spcPct val="0"/>
              </a:spcBef>
            </a:pPr>
            <a:r>
              <a:rPr lang="ru-RU" sz="2800" dirty="0">
                <a:solidFill>
                  <a:srgbClr val="0A73A3"/>
                </a:solidFill>
                <a:ea typeface="+mj-ea"/>
                <a:cs typeface="+mj-cs"/>
              </a:rPr>
              <a:t>Размер</a:t>
            </a:r>
          </a:p>
          <a:p>
            <a:pPr algn="just" defTabSz="653222">
              <a:spcBef>
                <a:spcPct val="0"/>
              </a:spcBef>
            </a:pPr>
            <a:r>
              <a:rPr lang="ru-RU" i="1" dirty="0">
                <a:solidFill>
                  <a:srgbClr val="242852"/>
                </a:solidFill>
              </a:rPr>
              <a:t>Максимальный размер государственного натурного гранта составляет не более 30 (тридцати) процентов от объема инвестиций в фиксированные активы юридического лица Республики Казахстан.</a:t>
            </a:r>
            <a:r>
              <a:rPr lang="ru-RU" sz="2000" dirty="0">
                <a:solidFill>
                  <a:srgbClr val="0A73A3"/>
                </a:solidFill>
                <a:ea typeface="+mj-ea"/>
                <a:cs typeface="+mj-cs"/>
              </a:rPr>
              <a:t> </a:t>
            </a:r>
          </a:p>
          <a:p>
            <a:pPr algn="just" defTabSz="653222">
              <a:spcBef>
                <a:spcPct val="0"/>
              </a:spcBef>
            </a:pPr>
            <a:r>
              <a:rPr lang="ru-RU" i="1" dirty="0">
                <a:solidFill>
                  <a:srgbClr val="242852"/>
                </a:solidFill>
              </a:rPr>
              <a:t>Документы, подтверждающие размер (стоимость) государственного натурного гранта, должны быть приложены к заявке</a:t>
            </a:r>
          </a:p>
          <a:p>
            <a:pPr algn="just" defTabSz="653222">
              <a:spcBef>
                <a:spcPct val="0"/>
              </a:spcBef>
            </a:pPr>
            <a:endParaRPr lang="en-US" sz="2000" dirty="0">
              <a:solidFill>
                <a:srgbClr val="0A73A3"/>
              </a:solidFill>
              <a:ea typeface="+mj-ea"/>
              <a:cs typeface="+mj-cs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5A0A54-BA48-4B93-B2E5-9850B9E65965}" type="slidenum">
              <a:rPr lang="ru-RU" smtClean="0"/>
              <a:pPr/>
              <a:t>71</a:t>
            </a:fld>
            <a:endParaRPr lang="ru-RU"/>
          </a:p>
        </p:txBody>
      </p:sp>
      <p:sp>
        <p:nvSpPr>
          <p:cNvPr id="8" name="Заголовок 12"/>
          <p:cNvSpPr txBox="1">
            <a:spLocks/>
          </p:cNvSpPr>
          <p:nvPr/>
        </p:nvSpPr>
        <p:spPr>
          <a:xfrm>
            <a:off x="0" y="396286"/>
            <a:ext cx="12192000" cy="501147"/>
          </a:xfrm>
          <a:prstGeom prst="rect">
            <a:avLst/>
          </a:prstGeom>
        </p:spPr>
        <p:txBody>
          <a:bodyPr>
            <a:normAutofit fontScale="8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b="1" dirty="0">
                <a:solidFill>
                  <a:srgbClr val="002060"/>
                </a:solidFill>
                <a:latin typeface="+mn-lt"/>
              </a:rPr>
              <a:t>ИНВЕСТИЦИОННЫЕ ПРЕФЕРЕНЦИИ</a:t>
            </a:r>
            <a:endParaRPr lang="ru-RU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0" name="Прямоугольник 6"/>
          <p:cNvSpPr/>
          <p:nvPr/>
        </p:nvSpPr>
        <p:spPr>
          <a:xfrm>
            <a:off x="8422105" y="1529136"/>
            <a:ext cx="3599849" cy="44319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53222">
              <a:spcBef>
                <a:spcPct val="0"/>
              </a:spcBef>
            </a:pPr>
            <a:r>
              <a:rPr lang="ru-RU" sz="2400" dirty="0">
                <a:solidFill>
                  <a:srgbClr val="0A73A3"/>
                </a:solidFill>
                <a:ea typeface="+mj-ea"/>
                <a:cs typeface="+mj-cs"/>
              </a:rPr>
              <a:t>Предварительное согласие</a:t>
            </a:r>
          </a:p>
          <a:p>
            <a:pPr algn="just"/>
            <a:r>
              <a:rPr lang="ru-RU" i="1" dirty="0">
                <a:solidFill>
                  <a:srgbClr val="242852"/>
                </a:solidFill>
              </a:rPr>
              <a:t>В соответствии с пунктом 14 Заявки на получение</a:t>
            </a:r>
            <a:r>
              <a:rPr lang="en-US" i="1" dirty="0">
                <a:solidFill>
                  <a:srgbClr val="242852"/>
                </a:solidFill>
              </a:rPr>
              <a:t> </a:t>
            </a:r>
            <a:r>
              <a:rPr lang="ru-RU" i="1" dirty="0">
                <a:solidFill>
                  <a:srgbClr val="242852"/>
                </a:solidFill>
              </a:rPr>
              <a:t>преференций, утвержденной Приказом Министра по инвестициям и развитию Республики Казахстан от 30 ноября 2015 года № 1133, для получения государственного натурного гранта требуется документ, подтверждающий </a:t>
            </a:r>
            <a:r>
              <a:rPr lang="ru-RU" b="1" i="1" dirty="0">
                <a:solidFill>
                  <a:srgbClr val="147597"/>
                </a:solidFill>
              </a:rPr>
              <a:t>предварительное согласие местного исполнительного органа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2701" y="-121665"/>
            <a:ext cx="12192000" cy="370419"/>
          </a:xfrm>
          <a:prstGeom prst="rect">
            <a:avLst/>
          </a:prstGeom>
          <a:solidFill>
            <a:srgbClr val="253471">
              <a:alpha val="80000"/>
            </a:srgb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/>
            </a:pPr>
            <a:endParaRPr lang="ru-RU" sz="1600" b="1" kern="0" spc="45" dirty="0">
              <a:solidFill>
                <a:srgbClr val="FFFFFF"/>
              </a:solidFill>
              <a:cs typeface="Arial" pitchFamily="34" charset="0"/>
              <a:sym typeface="Helvetica Ligh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2701" y="6426000"/>
            <a:ext cx="12192000" cy="432000"/>
          </a:xfrm>
          <a:prstGeom prst="rect">
            <a:avLst/>
          </a:prstGeom>
          <a:solidFill>
            <a:srgbClr val="253471">
              <a:alpha val="80000"/>
            </a:srgb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/>
            </a:pPr>
            <a:endParaRPr lang="ru-RU" sz="1600" b="1" kern="0" spc="45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246799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701" y="320944"/>
            <a:ext cx="12179297" cy="372709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b="1" dirty="0">
                <a:solidFill>
                  <a:srgbClr val="002060"/>
                </a:solidFill>
                <a:latin typeface="+mn-lt"/>
              </a:rPr>
              <a:t>ИНВЕСТИЦИОННЫЕ ПРЕФЕРЕНЦИИ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idx="1"/>
          </p:nvPr>
        </p:nvSpPr>
        <p:spPr>
          <a:xfrm>
            <a:off x="0" y="628442"/>
            <a:ext cx="11867817" cy="592674"/>
          </a:xfrm>
        </p:spPr>
        <p:txBody>
          <a:bodyPr>
            <a:normAutofit fontScale="25000" lnSpcReduction="20000"/>
          </a:bodyPr>
          <a:lstStyle/>
          <a:p>
            <a:endParaRPr lang="ru-RU" dirty="0">
              <a:solidFill>
                <a:srgbClr val="002060"/>
              </a:solidFill>
            </a:endParaRPr>
          </a:p>
          <a:p>
            <a:pPr algn="ctr"/>
            <a:endParaRPr lang="ru-RU" sz="4000" dirty="0">
              <a:solidFill>
                <a:srgbClr val="C00000"/>
              </a:solidFill>
            </a:endParaRPr>
          </a:p>
          <a:p>
            <a:pPr algn="ctr"/>
            <a:r>
              <a:rPr lang="ru-RU" sz="14400" dirty="0">
                <a:solidFill>
                  <a:srgbClr val="002060"/>
                </a:solidFill>
              </a:rPr>
              <a:t>Инвестиционная субсидия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88493" y="1293307"/>
            <a:ext cx="6693569" cy="5408061"/>
          </a:xfrm>
        </p:spPr>
        <p:txBody>
          <a:bodyPr>
            <a:normAutofit fontScale="25000" lnSpcReduction="20000"/>
          </a:bodyPr>
          <a:lstStyle/>
          <a:p>
            <a:pPr marL="0" indent="0" algn="ctr">
              <a:buNone/>
            </a:pPr>
            <a:r>
              <a:rPr lang="ru-RU" sz="7200" b="1" dirty="0">
                <a:solidFill>
                  <a:srgbClr val="002060"/>
                </a:solidFill>
              </a:rPr>
              <a:t>ОБЪЕМ ИНВЕСТИЦИЙ</a:t>
            </a:r>
          </a:p>
          <a:p>
            <a:pPr marL="0" indent="0" algn="just">
              <a:buNone/>
            </a:pPr>
            <a:r>
              <a:rPr lang="ru-RU" sz="800" dirty="0"/>
              <a:t>1</a:t>
            </a:r>
            <a:r>
              <a:rPr lang="ru-RU" sz="7200" dirty="0">
                <a:solidFill>
                  <a:schemeClr val="accent1">
                    <a:lumMod val="50000"/>
                  </a:schemeClr>
                </a:solidFill>
              </a:rPr>
              <a:t>Инвестиционной субсидией является вид бюджетной субсидии, предоставляемой в качестве инвестиционной преференции на безвозмездной и безвозвратной основе юридическому лицу Республики Казахстан, заключившему инвестиционный контракт, предусматривающий осуществление инвестиций в размере </a:t>
            </a:r>
            <a:r>
              <a:rPr lang="ru-RU" sz="7200" dirty="0">
                <a:solidFill>
                  <a:srgbClr val="FF0000"/>
                </a:solidFill>
              </a:rPr>
              <a:t>не менее </a:t>
            </a:r>
            <a:r>
              <a:rPr lang="ru-RU" sz="7200" dirty="0" err="1">
                <a:solidFill>
                  <a:srgbClr val="FF0000"/>
                </a:solidFill>
              </a:rPr>
              <a:t>пятимиллионнократного</a:t>
            </a:r>
            <a:r>
              <a:rPr lang="ru-RU" sz="7200" dirty="0">
                <a:solidFill>
                  <a:srgbClr val="FF0000"/>
                </a:solidFill>
              </a:rPr>
              <a:t> размера месячного расчетного показателя .</a:t>
            </a:r>
          </a:p>
          <a:p>
            <a:pPr marL="0" indent="0" algn="ctr">
              <a:buNone/>
            </a:pPr>
            <a:r>
              <a:rPr lang="ru-RU" sz="7200" b="1" dirty="0">
                <a:solidFill>
                  <a:srgbClr val="002060"/>
                </a:solidFill>
              </a:rPr>
              <a:t>РЕШЕНИЕ ПРАВИТЕЛЬСТВА</a:t>
            </a:r>
          </a:p>
          <a:p>
            <a:pPr marL="0" indent="0" algn="just">
              <a:buNone/>
            </a:pPr>
            <a:r>
              <a:rPr lang="ru-RU" sz="7200" dirty="0">
                <a:solidFill>
                  <a:schemeClr val="accent1">
                    <a:lumMod val="50000"/>
                  </a:schemeClr>
                </a:solidFill>
              </a:rPr>
              <a:t>В целях содействия региональному развитию инвестиционная субсидия предоставляется на основании решения Правительства Республики Казахстан инвестору, реализующему инвестиционный приоритетный проект.</a:t>
            </a:r>
          </a:p>
          <a:p>
            <a:pPr marL="0" indent="0" algn="ctr">
              <a:buNone/>
            </a:pPr>
            <a:r>
              <a:rPr lang="ru-RU" sz="7200" b="1" dirty="0">
                <a:solidFill>
                  <a:srgbClr val="002060"/>
                </a:solidFill>
              </a:rPr>
              <a:t>РАЗМЕР</a:t>
            </a:r>
          </a:p>
          <a:p>
            <a:pPr marL="0" marR="0" indent="252095" algn="just">
              <a:spcBef>
                <a:spcPts val="0"/>
              </a:spcBef>
              <a:spcAft>
                <a:spcPts val="0"/>
              </a:spcAft>
            </a:pPr>
            <a:r>
              <a:rPr lang="ru-RU" sz="7200" dirty="0">
                <a:solidFill>
                  <a:schemeClr val="accent1">
                    <a:lumMod val="50000"/>
                  </a:schemeClr>
                </a:solidFill>
              </a:rPr>
              <a:t>Инвестиционная субсидия предоставляется </a:t>
            </a:r>
            <a:r>
              <a:rPr lang="ru-RU" sz="7200" dirty="0">
                <a:solidFill>
                  <a:srgbClr val="002060"/>
                </a:solidFill>
              </a:rPr>
              <a:t>путем возмещения до тридцати процентов стоимости строительно-монтажных работ и приобретения оборудования без учета налога на добавленную стоимость и акцизов, предусмотренных рабочей программой инвестиционного контракта.</a:t>
            </a:r>
          </a:p>
          <a:p>
            <a:pPr marL="0" marR="0" indent="252095" algn="just">
              <a:spcBef>
                <a:spcPts val="0"/>
              </a:spcBef>
              <a:spcAft>
                <a:spcPts val="0"/>
              </a:spcAft>
            </a:pPr>
            <a:r>
              <a:rPr lang="ru-RU" sz="7200" dirty="0">
                <a:solidFill>
                  <a:schemeClr val="accent1">
                    <a:lumMod val="50000"/>
                  </a:schemeClr>
                </a:solidFill>
              </a:rPr>
              <a:t>Выплата инвестиционной субсидии по фактическим затратам строительно-монтажных работ и приобретения оборудования осуществляется на основании подтверждающих документов, но не превышает стоимость затрат, предусмотренных </a:t>
            </a:r>
            <a:r>
              <a:rPr lang="ru-RU" sz="7200" dirty="0" err="1">
                <a:solidFill>
                  <a:schemeClr val="accent1">
                    <a:lumMod val="50000"/>
                  </a:schemeClr>
                </a:solidFill>
                <a:hlinkClick r:id="rId2" action="ppaction://hlinkfile" tooltip="Закон Республики Казахстан от 16 июля 2001 года № 242-II «Об архитектурной, градостроительной и строительной деятельности в Республике Казахстан» (с изменениями и дополнениями по состоянию на 25.12.2017 г.)"/>
              </a:rPr>
              <a:t>предпроектной</a:t>
            </a:r>
            <a:r>
              <a:rPr lang="ru-RU" sz="7200" dirty="0">
                <a:solidFill>
                  <a:schemeClr val="accent1">
                    <a:lumMod val="50000"/>
                  </a:schemeClr>
                </a:solidFill>
                <a:hlinkClick r:id="rId2" action="ppaction://hlinkfile" tooltip="Закон Республики Казахстан от 16 июля 2001 года № 242-II «Об архитектурной, градостроительной и строительной деятельности в Республике Казахстан» (с изменениями и дополнениями по состоянию на 25.12.2017 г.)"/>
              </a:rPr>
              <a:t> документацией</a:t>
            </a:r>
            <a:r>
              <a:rPr lang="ru-RU" sz="7200" dirty="0">
                <a:solidFill>
                  <a:schemeClr val="accent1">
                    <a:lumMod val="50000"/>
                  </a:schemeClr>
                </a:solidFill>
              </a:rPr>
              <a:t>, имеющей заключение государственной экспертизы в порядке, определенном </a:t>
            </a:r>
            <a:r>
              <a:rPr lang="ru-RU" sz="7200" dirty="0">
                <a:solidFill>
                  <a:schemeClr val="accent1">
                    <a:lumMod val="50000"/>
                  </a:schemeClr>
                </a:solidFill>
                <a:hlinkClick r:id="rId3" action="ppaction://hlinkfile" tooltip="Закон Республики Казахстан от 16 июля 2001 года № 242-II «Об архитектурной, градостроительной и строительной деятельности в Республике Казахстан» (с изменениями и дополнениями по состоянию на 25.12.2017 г.)"/>
              </a:rPr>
              <a:t>законодательством</a:t>
            </a:r>
            <a:r>
              <a:rPr lang="ru-RU" sz="7200" dirty="0">
                <a:solidFill>
                  <a:schemeClr val="accent1">
                    <a:lumMod val="50000"/>
                  </a:schemeClr>
                </a:solidFill>
              </a:rPr>
              <a:t> Республики Казахстан.</a:t>
            </a:r>
          </a:p>
          <a:p>
            <a:pPr marL="0" indent="0" algn="just">
              <a:buNone/>
            </a:pPr>
            <a:endParaRPr lang="ru-RU" sz="7200" dirty="0"/>
          </a:p>
          <a:p>
            <a:pPr marL="0" indent="0" algn="just">
              <a:buNone/>
            </a:pPr>
            <a:endParaRPr lang="ru-RU" sz="2400" dirty="0"/>
          </a:p>
          <a:p>
            <a:pPr marL="0" indent="0">
              <a:buNone/>
            </a:pPr>
            <a:endParaRPr lang="ru-RU" sz="4400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4"/>
          </p:nvPr>
        </p:nvSpPr>
        <p:spPr>
          <a:xfrm>
            <a:off x="7135564" y="1293307"/>
            <a:ext cx="4897638" cy="1799852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ru-RU" sz="1800" b="1" dirty="0">
                <a:solidFill>
                  <a:srgbClr val="002060"/>
                </a:solidFill>
              </a:rPr>
              <a:t>ПРИОРИТЕТНЫЕ ВИДЫ ДЕЯТЕЛЬНОСТИ</a:t>
            </a:r>
          </a:p>
          <a:p>
            <a:pPr algn="just"/>
            <a:r>
              <a:rPr lang="ru-RU" sz="1800" dirty="0">
                <a:solidFill>
                  <a:schemeClr val="accent1">
                    <a:lumMod val="50000"/>
                  </a:schemeClr>
                </a:solidFill>
              </a:rPr>
              <a:t>Инвестиционная субсидия предоставляется </a:t>
            </a:r>
            <a:r>
              <a:rPr lang="ru-RU" sz="1800" dirty="0">
                <a:solidFill>
                  <a:srgbClr val="002060"/>
                </a:solidFill>
              </a:rPr>
              <a:t>по </a:t>
            </a:r>
            <a:r>
              <a:rPr lang="ru-RU" sz="1800" b="1" u="sng" dirty="0">
                <a:solidFill>
                  <a:srgbClr val="002060"/>
                </a:solidFill>
              </a:rPr>
              <a:t>приоритетным видам деятельности</a:t>
            </a:r>
            <a:r>
              <a:rPr lang="ru-RU" sz="1800" dirty="0">
                <a:solidFill>
                  <a:srgbClr val="002060"/>
                </a:solidFill>
              </a:rPr>
              <a:t>, определенным Правительством Республики Казахстан для предоставления инвестиционной субсидии. (</a:t>
            </a:r>
            <a:r>
              <a:rPr lang="ru-RU" sz="1200" dirty="0">
                <a:solidFill>
                  <a:srgbClr val="002060"/>
                </a:solidFill>
              </a:rPr>
              <a:t>часть  3 Постановления от 14.01.2016 № 13</a:t>
            </a:r>
            <a:r>
              <a:rPr lang="ru-RU" sz="1800" dirty="0">
                <a:solidFill>
                  <a:srgbClr val="002060"/>
                </a:solidFill>
              </a:rPr>
              <a:t>)</a:t>
            </a:r>
          </a:p>
        </p:txBody>
      </p:sp>
      <p:sp>
        <p:nvSpPr>
          <p:cNvPr id="9" name="Объект 4"/>
          <p:cNvSpPr txBox="1">
            <a:spLocks/>
          </p:cNvSpPr>
          <p:nvPr/>
        </p:nvSpPr>
        <p:spPr>
          <a:xfrm>
            <a:off x="7239820" y="3078310"/>
            <a:ext cx="4793382" cy="3707501"/>
          </a:xfrm>
          <a:prstGeom prst="rect">
            <a:avLst/>
          </a:prstGeom>
        </p:spPr>
        <p:txBody>
          <a:bodyPr vert="horz" lIns="91440" tIns="45720" rIns="91440" bIns="45720" rtlCol="0"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ru-RU" sz="7200" b="1" dirty="0">
                <a:solidFill>
                  <a:srgbClr val="002060"/>
                </a:solidFill>
              </a:rPr>
              <a:t>ДОКУМЕНТЫ</a:t>
            </a:r>
          </a:p>
          <a:p>
            <a:pPr algn="just"/>
            <a:r>
              <a:rPr lang="ru-RU" sz="4800" dirty="0">
                <a:solidFill>
                  <a:schemeClr val="accent1">
                    <a:lumMod val="50000"/>
                  </a:schemeClr>
                </a:solidFill>
              </a:rPr>
              <a:t>1) первичные учетные документы, оформленные в соответствии с </a:t>
            </a:r>
            <a:r>
              <a:rPr lang="ru-RU" sz="4800" dirty="0">
                <a:solidFill>
                  <a:schemeClr val="accent1">
                    <a:lumMod val="50000"/>
                  </a:schemeClr>
                </a:solidFill>
                <a:hlinkClick r:id="rId4" action="ppaction://hlinkfile"/>
              </a:rPr>
              <a:t>законодательством</a:t>
            </a:r>
            <a:r>
              <a:rPr lang="ru-RU" sz="4800" dirty="0">
                <a:solidFill>
                  <a:schemeClr val="accent1">
                    <a:lumMod val="50000"/>
                  </a:schemeClr>
                </a:solidFill>
              </a:rPr>
              <a:t> Республики Казахстан о бухгалтерском учете и финансовой отчетности;</a:t>
            </a:r>
          </a:p>
          <a:p>
            <a:pPr algn="just"/>
            <a:r>
              <a:rPr lang="ru-RU" sz="4800" dirty="0">
                <a:solidFill>
                  <a:schemeClr val="accent1">
                    <a:lumMod val="50000"/>
                  </a:schemeClr>
                </a:solidFill>
              </a:rPr>
              <a:t>2) счета-фактуры, оформленные в соответствии с </a:t>
            </a:r>
            <a:r>
              <a:rPr lang="ru-RU" sz="4800" dirty="0">
                <a:solidFill>
                  <a:schemeClr val="accent1">
                    <a:lumMod val="50000"/>
                  </a:schemeClr>
                </a:solidFill>
                <a:hlinkClick r:id="rId5" action="ppaction://hlinkfile" tooltip="Кодекс Республики Казахстан от 25 декабря 2017 года № 120-VI «О налогах и других обязательных платежах в бюджет (Налоговый кодекс)»"/>
              </a:rPr>
              <a:t>налоговым законодательством</a:t>
            </a:r>
            <a:r>
              <a:rPr lang="ru-RU" sz="4800" dirty="0">
                <a:solidFill>
                  <a:schemeClr val="accent1">
                    <a:lumMod val="50000"/>
                  </a:schemeClr>
                </a:solidFill>
              </a:rPr>
              <a:t> Республики Казахстан;</a:t>
            </a:r>
          </a:p>
          <a:p>
            <a:pPr algn="just"/>
            <a:r>
              <a:rPr lang="ru-RU" sz="4800" dirty="0">
                <a:solidFill>
                  <a:schemeClr val="accent1">
                    <a:lumMod val="50000"/>
                  </a:schemeClr>
                </a:solidFill>
              </a:rPr>
              <a:t>3) таможенные декларации, оформленные в соответствии с </a:t>
            </a:r>
            <a:r>
              <a:rPr lang="ru-RU" sz="4800" dirty="0">
                <a:solidFill>
                  <a:schemeClr val="accent1">
                    <a:lumMod val="50000"/>
                  </a:schemeClr>
                </a:solidFill>
                <a:hlinkClick r:id="rId6" action="ppaction://hlinkfile" tooltip="Кодекс Республики Казахстан от 26 декабря 2017 года № 123-VI «О таможенном регулировании в Республике Казахстан»"/>
              </a:rPr>
              <a:t>таможенным законодательством</a:t>
            </a:r>
            <a:r>
              <a:rPr lang="ru-RU" sz="4800" dirty="0">
                <a:solidFill>
                  <a:schemeClr val="accent1">
                    <a:lumMod val="50000"/>
                  </a:schemeClr>
                </a:solidFill>
              </a:rPr>
              <a:t> Республики Казахстан.</a:t>
            </a:r>
          </a:p>
          <a:p>
            <a:pPr algn="just"/>
            <a:r>
              <a:rPr lang="ru-RU" sz="4800" dirty="0">
                <a:solidFill>
                  <a:schemeClr val="accent1">
                    <a:lumMod val="50000"/>
                  </a:schemeClr>
                </a:solidFill>
              </a:rPr>
              <a:t>5. График и годовые объемы выплат инвестиционной субсидии устанавливаются в рамках инвестиционного контракта путем распределения инвестиционной субсидии равными долями на период не менее трех лет, но не более срока действия инвестиционного контракта.</a:t>
            </a:r>
          </a:p>
          <a:p>
            <a:pPr algn="just"/>
            <a:r>
              <a:rPr lang="ru-RU" sz="4800" dirty="0">
                <a:solidFill>
                  <a:schemeClr val="accent1">
                    <a:lumMod val="50000"/>
                  </a:schemeClr>
                </a:solidFill>
              </a:rPr>
              <a:t>6. Выплата инвестиционной субсидии осуществляется по согласованию с местным исполнительным органом области, города республиканского значения и столицы по месту реализации проекта после ввода производства в эксплуатацию в полном объеме при условии выполнения производственных показателей, установленных инвестиционным контрактом.</a:t>
            </a:r>
          </a:p>
          <a:p>
            <a:pPr algn="just"/>
            <a:r>
              <a:rPr lang="ru-RU" sz="4800" dirty="0">
                <a:solidFill>
                  <a:schemeClr val="accent1">
                    <a:lumMod val="50000"/>
                  </a:schemeClr>
                </a:solidFill>
              </a:rPr>
              <a:t>7. </a:t>
            </a:r>
            <a:r>
              <a:rPr lang="ru-RU" sz="4800" dirty="0">
                <a:solidFill>
                  <a:schemeClr val="accent1">
                    <a:lumMod val="50000"/>
                  </a:schemeClr>
                </a:solidFill>
                <a:hlinkClick r:id="rId7" action="ppaction://hlinkfile" tooltip="Постановление Правительства Республики Казахстан от 29 декабря 2015 года № 1120 «Об утверждении Правил предоставления инвестиционной субсидии»"/>
              </a:rPr>
              <a:t>Правила</a:t>
            </a:r>
            <a:r>
              <a:rPr lang="ru-RU" sz="4800" dirty="0">
                <a:solidFill>
                  <a:schemeClr val="accent1">
                    <a:lumMod val="50000"/>
                  </a:schemeClr>
                </a:solidFill>
              </a:rPr>
              <a:t> предоставления инвестиционной субсидии утверждаются Правительством Республики Казахстан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2701" y="-121665"/>
            <a:ext cx="12192000" cy="370419"/>
          </a:xfrm>
          <a:prstGeom prst="rect">
            <a:avLst/>
          </a:prstGeom>
          <a:solidFill>
            <a:srgbClr val="253471">
              <a:alpha val="80000"/>
            </a:srgb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/>
            </a:pPr>
            <a:endParaRPr lang="ru-RU" sz="1600" b="1" kern="0" spc="45" dirty="0">
              <a:solidFill>
                <a:srgbClr val="FFFFFF"/>
              </a:solidFill>
              <a:cs typeface="Arial" pitchFamily="34" charset="0"/>
              <a:sym typeface="Helvetica Light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7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2228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Гарантии стабильности при изменении законодательства Республики Казахстан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8" name="Объект 7"/>
          <p:cNvSpPr>
            <a:spLocks noGrp="1"/>
          </p:cNvSpPr>
          <p:nvPr>
            <p:ph idx="1"/>
          </p:nvPr>
        </p:nvSpPr>
        <p:spPr>
          <a:xfrm>
            <a:off x="1100667" y="1954741"/>
            <a:ext cx="9990667" cy="4351338"/>
          </a:xfrm>
        </p:spPr>
        <p:txBody>
          <a:bodyPr>
            <a:normAutofit fontScale="92500" lnSpcReduction="20000"/>
          </a:bodyPr>
          <a:lstStyle/>
          <a:p>
            <a:pPr marL="0" indent="0" algn="just">
              <a:buNone/>
            </a:pPr>
            <a:r>
              <a:rPr lang="ru-RU" sz="2600" i="1" dirty="0">
                <a:solidFill>
                  <a:schemeClr val="accent1">
                    <a:lumMod val="50000"/>
                  </a:schemeClr>
                </a:solidFill>
              </a:rPr>
              <a:t>Юридическим лицам, реализующим инвестиционные приоритетные проекты, а также реализующим специальные инвестиционные проекты </a:t>
            </a:r>
            <a:r>
              <a:rPr lang="ru-RU" sz="2600" i="1" dirty="0" smtClean="0">
                <a:solidFill>
                  <a:schemeClr val="accent1">
                    <a:lumMod val="50000"/>
                  </a:schemeClr>
                </a:solidFill>
              </a:rPr>
              <a:t>и </a:t>
            </a:r>
            <a:r>
              <a:rPr lang="ru-RU" sz="2600" i="1" dirty="0">
                <a:solidFill>
                  <a:schemeClr val="accent1">
                    <a:lumMod val="50000"/>
                  </a:schemeClr>
                </a:solidFill>
              </a:rPr>
              <a:t>стратегические </a:t>
            </a:r>
            <a:r>
              <a:rPr lang="ru-RU" sz="2600" i="1" dirty="0" smtClean="0">
                <a:solidFill>
                  <a:schemeClr val="accent1">
                    <a:lumMod val="50000"/>
                  </a:schemeClr>
                </a:solidFill>
              </a:rPr>
              <a:t>проекты </a:t>
            </a:r>
            <a:r>
              <a:rPr lang="ru-RU" sz="2600" i="1" dirty="0">
                <a:solidFill>
                  <a:schemeClr val="accent1">
                    <a:lumMod val="50000"/>
                  </a:schemeClr>
                </a:solidFill>
              </a:rPr>
              <a:t>по инвестиционным контрактам, заключенным до 1 января 2015 </a:t>
            </a:r>
            <a:r>
              <a:rPr lang="ru-RU" sz="2600" i="1" dirty="0" smtClean="0">
                <a:solidFill>
                  <a:schemeClr val="accent1">
                    <a:lumMod val="50000"/>
                  </a:schemeClr>
                </a:solidFill>
              </a:rPr>
              <a:t>года гарантируется </a:t>
            </a:r>
            <a:r>
              <a:rPr lang="ru-RU" sz="2600" i="1" dirty="0">
                <a:solidFill>
                  <a:schemeClr val="accent1">
                    <a:lumMod val="50000"/>
                  </a:schemeClr>
                </a:solidFill>
              </a:rPr>
              <a:t>стабильность при изменении: </a:t>
            </a:r>
          </a:p>
          <a:p>
            <a:pPr algn="just"/>
            <a:r>
              <a:rPr lang="ru-RU" sz="2600" i="1" dirty="0">
                <a:solidFill>
                  <a:schemeClr val="accent1">
                    <a:lumMod val="50000"/>
                  </a:schemeClr>
                </a:solidFill>
              </a:rPr>
              <a:t>налогового законодательства Республики Казахстан в соответствии с Кодексом Республики Казахстан «О налогах и других обязательных платежах в бюджет» </a:t>
            </a:r>
            <a:r>
              <a:rPr lang="ru-RU" sz="900" i="1" dirty="0">
                <a:solidFill>
                  <a:schemeClr val="accent1">
                    <a:lumMod val="50000"/>
                  </a:schemeClr>
                </a:solidFill>
              </a:rPr>
              <a:t>(Налоговый кодекс)</a:t>
            </a:r>
            <a:r>
              <a:rPr lang="ru-RU" sz="2600" i="1" dirty="0">
                <a:solidFill>
                  <a:schemeClr val="accent1">
                    <a:lumMod val="50000"/>
                  </a:schemeClr>
                </a:solidFill>
              </a:rPr>
              <a:t>;</a:t>
            </a:r>
          </a:p>
          <a:p>
            <a:pPr algn="just"/>
            <a:r>
              <a:rPr lang="ru-RU" sz="2600" i="1" dirty="0">
                <a:solidFill>
                  <a:schemeClr val="accent1">
                    <a:lumMod val="50000"/>
                  </a:schemeClr>
                </a:solidFill>
              </a:rPr>
              <a:t>законодательства Республики Казахстан о занятости населения в сфере привлечения иностранной рабочей силы.</a:t>
            </a:r>
          </a:p>
          <a:p>
            <a:pPr marL="0" indent="0" algn="just">
              <a:buNone/>
            </a:pPr>
            <a:r>
              <a:rPr lang="ru-RU" sz="2600" i="1" dirty="0">
                <a:solidFill>
                  <a:schemeClr val="accent1">
                    <a:lumMod val="50000"/>
                  </a:schemeClr>
                </a:solidFill>
              </a:rPr>
              <a:t>Применение гарантии стабильности законодательства Республики Казахстан аннулируется в случае досрочного прекращения действия инвестиционного контракта в порядке, установленном настоящим Кодексом.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900" i="1" dirty="0">
                <a:solidFill>
                  <a:schemeClr val="accent1">
                    <a:lumMod val="50000"/>
                  </a:schemeClr>
                </a:solidFill>
              </a:rPr>
              <a:t>(статья 289 ПК РК)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567334" y="6570135"/>
            <a:ext cx="2624667" cy="287867"/>
          </a:xfrm>
        </p:spPr>
        <p:txBody>
          <a:bodyPr/>
          <a:lstStyle/>
          <a:p>
            <a:fld id="{06690157-0765-4A7F-B34E-AEA284B34A45}" type="slidenum">
              <a:rPr lang="ru-RU" smtClean="0"/>
              <a:t>73</a:t>
            </a:fld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2701" y="-121665"/>
            <a:ext cx="12192000" cy="370419"/>
          </a:xfrm>
          <a:prstGeom prst="rect">
            <a:avLst/>
          </a:prstGeom>
          <a:solidFill>
            <a:srgbClr val="253471">
              <a:alpha val="80000"/>
            </a:srgb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/>
            </a:pPr>
            <a:endParaRPr lang="ru-RU" sz="1600" b="1" kern="0" spc="45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Helvetica Ligh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2701" y="6426000"/>
            <a:ext cx="12192000" cy="432000"/>
          </a:xfrm>
          <a:prstGeom prst="rect">
            <a:avLst/>
          </a:prstGeom>
          <a:solidFill>
            <a:srgbClr val="253471">
              <a:alpha val="80000"/>
            </a:srgbClr>
          </a:solidFill>
          <a:ln w="12700">
            <a:miter lim="400000"/>
          </a:ln>
        </p:spPr>
        <p:txBody>
          <a:bodyPr lIns="19050" tIns="19050" rIns="19050" bIns="19050" anchor="ctr"/>
          <a:lstStyle/>
          <a:p>
            <a:pPr algn="ctr" defTabSz="309563">
              <a:defRPr/>
            </a:pPr>
            <a:endParaRPr lang="ru-RU" sz="1600" b="1" kern="0" spc="45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505753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DC1EDD2-5156-4C78-B4CC-0F7C486904F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97" r="19473"/>
          <a:stretch/>
        </p:blipFill>
        <p:spPr>
          <a:xfrm>
            <a:off x="510746" y="1439665"/>
            <a:ext cx="3657600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501188AF-66C9-4AAA-A13A-44C37A9AA3C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24" r="34102"/>
          <a:stretch/>
        </p:blipFill>
        <p:spPr>
          <a:xfrm>
            <a:off x="3047997" y="1439665"/>
            <a:ext cx="3707027" cy="3978893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14C3997A-412B-4A32-BBDD-47C610D6C31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3" r="39982"/>
          <a:stretch/>
        </p:blipFill>
        <p:spPr>
          <a:xfrm>
            <a:off x="5560543" y="1439665"/>
            <a:ext cx="3731740" cy="3991430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13023DF2-4F41-434C-BFC2-4F97EF92A44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09" r="25508"/>
          <a:stretch/>
        </p:blipFill>
        <p:spPr>
          <a:xfrm>
            <a:off x="8079161" y="1439665"/>
            <a:ext cx="3690552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sp>
        <p:nvSpPr>
          <p:cNvPr id="6" name="Прямоугольник 5"/>
          <p:cNvSpPr/>
          <p:nvPr/>
        </p:nvSpPr>
        <p:spPr>
          <a:xfrm>
            <a:off x="1185331" y="2853267"/>
            <a:ext cx="9905999" cy="1202266"/>
          </a:xfrm>
          <a:custGeom>
            <a:avLst/>
            <a:gdLst>
              <a:gd name="connsiteX0" fmla="*/ 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0 w 9889066"/>
              <a:gd name="connsiteY4" fmla="*/ 0 h 1202266"/>
              <a:gd name="connsiteX0" fmla="*/ 35560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355600 w 9889066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905999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89467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89467 w 9905999"/>
              <a:gd name="connsiteY4" fmla="*/ 0 h 1202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5999" h="1202266">
                <a:moveTo>
                  <a:pt x="389467" y="0"/>
                </a:moveTo>
                <a:lnTo>
                  <a:pt x="9905999" y="0"/>
                </a:lnTo>
                <a:lnTo>
                  <a:pt x="9541933" y="1202266"/>
                </a:lnTo>
                <a:lnTo>
                  <a:pt x="0" y="1202266"/>
                </a:lnTo>
                <a:lnTo>
                  <a:pt x="38946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74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1228500" y="5542413"/>
            <a:ext cx="8664085" cy="1013615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3pPr>
            <a:lvl4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endParaRPr lang="ru-RU" sz="2000" b="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АО «НК «</a:t>
            </a:r>
            <a:r>
              <a:rPr lang="en-US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KAZAKH INVEST</a:t>
            </a:r>
            <a:r>
              <a:rPr lang="ru-RU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»</a:t>
            </a:r>
            <a:r>
              <a:rPr lang="en-US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/>
            </a:r>
            <a:br>
              <a:rPr lang="en-US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</a:br>
            <a:r>
              <a:rPr lang="en-US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2024 </a:t>
            </a:r>
            <a:r>
              <a:rPr lang="kk-KZ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год</a:t>
            </a:r>
            <a:endParaRPr lang="ru-RU" sz="2000" b="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85331" y="2977346"/>
            <a:ext cx="946300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ГОСУДАРСТВЕННАЯ ПОДДЕРЖКА ИНВЕСТИЦИОННОЙ ДЕЯТЕЛЬНОСТИ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729474" y="813573"/>
            <a:ext cx="3338395" cy="714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ПРИЛОЖЕНИЕ 4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79161" y="323603"/>
            <a:ext cx="3517471" cy="847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708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75</a:t>
            </a:fld>
            <a:endParaRPr lang="ru-RU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BC2ECB6-CA94-4F91-976F-A36AFF85765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96050"/>
            <a:ext cx="3895725" cy="3895725"/>
          </a:xfrm>
          <a:prstGeom prst="rect">
            <a:avLst/>
          </a:prstGeom>
        </p:spPr>
      </p:pic>
      <p:cxnSp>
        <p:nvCxnSpPr>
          <p:cNvPr id="4" name="Straight Connector 13">
            <a:extLst>
              <a:ext uri="{FF2B5EF4-FFF2-40B4-BE49-F238E27FC236}">
                <a16:creationId xmlns:a16="http://schemas.microsoft.com/office/drawing/2014/main" id="{A845682B-1DD7-470A-B453-7D50AFC6D178}"/>
              </a:ext>
            </a:extLst>
          </p:cNvPr>
          <p:cNvCxnSpPr>
            <a:cxnSpLocks/>
          </p:cNvCxnSpPr>
          <p:nvPr/>
        </p:nvCxnSpPr>
        <p:spPr>
          <a:xfrm>
            <a:off x="5358163" y="1848012"/>
            <a:ext cx="10511" cy="289146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5C4DE5C3-07C9-42FD-83E3-71CBDD42D604}"/>
              </a:ext>
            </a:extLst>
          </p:cNvPr>
          <p:cNvSpPr txBox="1"/>
          <p:nvPr/>
        </p:nvSpPr>
        <p:spPr>
          <a:xfrm>
            <a:off x="334692" y="2401240"/>
            <a:ext cx="485775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сударственная поддержка инвестиций</a:t>
            </a:r>
          </a:p>
        </p:txBody>
      </p:sp>
      <p:sp>
        <p:nvSpPr>
          <p:cNvPr id="6" name="Прямоугольник 4">
            <a:extLst>
              <a:ext uri="{FF2B5EF4-FFF2-40B4-BE49-F238E27FC236}">
                <a16:creationId xmlns:a16="http://schemas.microsoft.com/office/drawing/2014/main" id="{D923E12D-617C-45E2-B2F3-E8BA0353C54E}"/>
              </a:ext>
            </a:extLst>
          </p:cNvPr>
          <p:cNvSpPr/>
          <p:nvPr/>
        </p:nvSpPr>
        <p:spPr>
          <a:xfrm>
            <a:off x="5716196" y="1683172"/>
            <a:ext cx="6615504" cy="3762560"/>
          </a:xfrm>
          <a:prstGeom prst="rect">
            <a:avLst/>
          </a:prstGeom>
          <a:ln>
            <a:noFill/>
          </a:ln>
        </p:spPr>
        <p:txBody>
          <a:bodyPr wrap="square" lIns="68573" tIns="34286" rIns="68573" bIns="34286">
            <a:spAutoFit/>
          </a:bodyPr>
          <a:lstStyle/>
          <a:p>
            <a:pPr lvl="0" defTabSz="920705">
              <a:defRPr/>
            </a:pPr>
            <a:r>
              <a:rPr lang="ru-RU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ИЦИОННЫЙ КОНТРАКТ</a:t>
            </a:r>
            <a:endParaRPr lang="en-US" sz="2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defTabSz="92070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920705">
              <a:defRPr/>
            </a:pPr>
            <a:r>
              <a:rPr lang="ru-RU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ЕЦИАЛЬНЫЙ ИНВЕСТИЦИОННЫЙ КОНТРАКТ</a:t>
            </a:r>
          </a:p>
          <a:p>
            <a:pPr defTabSz="92070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920705">
              <a:defRPr/>
            </a:pPr>
            <a:r>
              <a:rPr lang="ru-RU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ГЛАШЕНИЕ ОБ ИНВЕСТИЦИЯХ</a:t>
            </a:r>
          </a:p>
          <a:p>
            <a:pPr defTabSz="92070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920705">
              <a:defRPr/>
            </a:pPr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ИЦИОННЫЙ </a:t>
            </a:r>
            <a:r>
              <a:rPr lang="ru-RU" sz="2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ЛОГОВЫЙ КРЕДИТ</a:t>
            </a:r>
          </a:p>
          <a:p>
            <a:pPr defTabSz="920705">
              <a:defRPr/>
            </a:pPr>
            <a:endParaRPr lang="ru-RU" sz="2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B0F0C2E7-0681-4D23-B360-EB675B38355D}"/>
              </a:ext>
            </a:extLst>
          </p:cNvPr>
          <p:cNvGrpSpPr/>
          <p:nvPr/>
        </p:nvGrpSpPr>
        <p:grpSpPr>
          <a:xfrm>
            <a:off x="5080115" y="1569964"/>
            <a:ext cx="556097" cy="556097"/>
            <a:chOff x="12532117" y="1278582"/>
            <a:chExt cx="556097" cy="556097"/>
          </a:xfrm>
        </p:grpSpPr>
        <p:sp>
          <p:nvSpPr>
            <p:cNvPr id="8" name="Овал 7">
              <a:extLst>
                <a:ext uri="{FF2B5EF4-FFF2-40B4-BE49-F238E27FC236}">
                  <a16:creationId xmlns:a16="http://schemas.microsoft.com/office/drawing/2014/main" id="{B3FF5E23-BCC8-4809-AC04-A98EC6583B88}"/>
                </a:ext>
              </a:extLst>
            </p:cNvPr>
            <p:cNvSpPr/>
            <p:nvPr/>
          </p:nvSpPr>
          <p:spPr>
            <a:xfrm>
              <a:off x="12532117" y="1278582"/>
              <a:ext cx="556097" cy="556097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9" name="Picture 43">
              <a:extLst>
                <a:ext uri="{FF2B5EF4-FFF2-40B4-BE49-F238E27FC236}">
                  <a16:creationId xmlns:a16="http://schemas.microsoft.com/office/drawing/2014/main" id="{FCF2A94A-1E13-41D5-B5E8-7AAF1D3BA2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100000" contras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2655288" y="1403755"/>
              <a:ext cx="309755" cy="309755"/>
            </a:xfrm>
            <a:prstGeom prst="rect">
              <a:avLst/>
            </a:prstGeom>
          </p:spPr>
        </p:pic>
      </p:grpSp>
      <p:sp>
        <p:nvSpPr>
          <p:cNvPr id="10" name="Овал 9">
            <a:extLst>
              <a:ext uri="{FF2B5EF4-FFF2-40B4-BE49-F238E27FC236}">
                <a16:creationId xmlns:a16="http://schemas.microsoft.com/office/drawing/2014/main" id="{C288D6C4-D4EA-44D1-BAF3-3316837169B1}"/>
              </a:ext>
            </a:extLst>
          </p:cNvPr>
          <p:cNvSpPr/>
          <p:nvPr/>
        </p:nvSpPr>
        <p:spPr>
          <a:xfrm>
            <a:off x="5080115" y="2496160"/>
            <a:ext cx="556097" cy="556097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74D4369D-9EB4-49C5-933C-8110B16261B9}"/>
              </a:ext>
            </a:extLst>
          </p:cNvPr>
          <p:cNvSpPr/>
          <p:nvPr/>
        </p:nvSpPr>
        <p:spPr>
          <a:xfrm>
            <a:off x="5080115" y="3511591"/>
            <a:ext cx="556097" cy="556097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67337973-4974-4768-8952-BF0A2358E6EB}"/>
              </a:ext>
            </a:extLst>
          </p:cNvPr>
          <p:cNvCxnSpPr>
            <a:cxnSpLocks/>
          </p:cNvCxnSpPr>
          <p:nvPr/>
        </p:nvCxnSpPr>
        <p:spPr>
          <a:xfrm>
            <a:off x="11481952" y="6375804"/>
            <a:ext cx="0" cy="2190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D98FE350-99E3-4E9A-8ED7-3446D00F8E4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9021" y="0"/>
            <a:ext cx="1712979" cy="1395987"/>
          </a:xfrm>
          <a:prstGeom prst="rect">
            <a:avLst/>
          </a:prstGeom>
        </p:spPr>
      </p:pic>
      <p:sp>
        <p:nvSpPr>
          <p:cNvPr id="15" name="Овал 14">
            <a:extLst>
              <a:ext uri="{FF2B5EF4-FFF2-40B4-BE49-F238E27FC236}">
                <a16:creationId xmlns:a16="http://schemas.microsoft.com/office/drawing/2014/main" id="{D8442E45-7910-43CF-B05F-7D415C3299F7}"/>
              </a:ext>
            </a:extLst>
          </p:cNvPr>
          <p:cNvSpPr/>
          <p:nvPr/>
        </p:nvSpPr>
        <p:spPr>
          <a:xfrm>
            <a:off x="5080115" y="4376897"/>
            <a:ext cx="556097" cy="556097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6" name="Group 314">
            <a:extLst>
              <a:ext uri="{FF2B5EF4-FFF2-40B4-BE49-F238E27FC236}">
                <a16:creationId xmlns:a16="http://schemas.microsoft.com/office/drawing/2014/main" id="{A2615578-9C47-4096-ABDC-E964A0B4E46A}"/>
              </a:ext>
            </a:extLst>
          </p:cNvPr>
          <p:cNvGrpSpPr/>
          <p:nvPr/>
        </p:nvGrpSpPr>
        <p:grpSpPr>
          <a:xfrm>
            <a:off x="5128374" y="2552495"/>
            <a:ext cx="460200" cy="372827"/>
            <a:chOff x="113572" y="3059144"/>
            <a:chExt cx="2324346" cy="984385"/>
          </a:xfrm>
          <a:solidFill>
            <a:schemeClr val="bg1"/>
          </a:solidFill>
        </p:grpSpPr>
        <p:sp>
          <p:nvSpPr>
            <p:cNvPr id="17" name="Freeform: Shape 315">
              <a:extLst>
                <a:ext uri="{FF2B5EF4-FFF2-40B4-BE49-F238E27FC236}">
                  <a16:creationId xmlns:a16="http://schemas.microsoft.com/office/drawing/2014/main" id="{198744E0-4E6A-4844-9DC6-DE83B22A6296}"/>
                </a:ext>
              </a:extLst>
            </p:cNvPr>
            <p:cNvSpPr/>
            <p:nvPr/>
          </p:nvSpPr>
          <p:spPr>
            <a:xfrm>
              <a:off x="327442" y="3059144"/>
              <a:ext cx="1805774" cy="551413"/>
            </a:xfrm>
            <a:custGeom>
              <a:avLst/>
              <a:gdLst>
                <a:gd name="connsiteX0" fmla="*/ 64619 w 8543357"/>
                <a:gd name="connsiteY0" fmla="*/ 1683850 h 2608811"/>
                <a:gd name="connsiteX1" fmla="*/ 64619 w 8543357"/>
                <a:gd name="connsiteY1" fmla="*/ 1922096 h 2608811"/>
                <a:gd name="connsiteX2" fmla="*/ 148706 w 8543357"/>
                <a:gd name="connsiteY2" fmla="*/ 2006183 h 2608811"/>
                <a:gd name="connsiteX3" fmla="*/ 520093 w 8543357"/>
                <a:gd name="connsiteY3" fmla="*/ 2006183 h 2608811"/>
                <a:gd name="connsiteX4" fmla="*/ 562136 w 8543357"/>
                <a:gd name="connsiteY4" fmla="*/ 1978154 h 2608811"/>
                <a:gd name="connsiteX5" fmla="*/ 667241 w 8543357"/>
                <a:gd name="connsiteY5" fmla="*/ 1831006 h 2608811"/>
                <a:gd name="connsiteX6" fmla="*/ 625197 w 8543357"/>
                <a:gd name="connsiteY6" fmla="*/ 1683850 h 2608811"/>
                <a:gd name="connsiteX7" fmla="*/ 64619 w 8543357"/>
                <a:gd name="connsiteY7" fmla="*/ 1683850 h 2608811"/>
                <a:gd name="connsiteX8" fmla="*/ 4556251 w 8543357"/>
                <a:gd name="connsiteY8" fmla="*/ 1270428 h 2608811"/>
                <a:gd name="connsiteX9" fmla="*/ 4514208 w 8543357"/>
                <a:gd name="connsiteY9" fmla="*/ 1284443 h 2608811"/>
                <a:gd name="connsiteX10" fmla="*/ 4514208 w 8543357"/>
                <a:gd name="connsiteY10" fmla="*/ 2195382 h 2608811"/>
                <a:gd name="connsiteX11" fmla="*/ 4556251 w 8543357"/>
                <a:gd name="connsiteY11" fmla="*/ 2209396 h 2608811"/>
                <a:gd name="connsiteX12" fmla="*/ 4598295 w 8543357"/>
                <a:gd name="connsiteY12" fmla="*/ 2195382 h 2608811"/>
                <a:gd name="connsiteX13" fmla="*/ 4598295 w 8543357"/>
                <a:gd name="connsiteY13" fmla="*/ 1284443 h 2608811"/>
                <a:gd name="connsiteX14" fmla="*/ 4556251 w 8543357"/>
                <a:gd name="connsiteY14" fmla="*/ 1270428 h 2608811"/>
                <a:gd name="connsiteX15" fmla="*/ 8153579 w 8543357"/>
                <a:gd name="connsiteY15" fmla="*/ 1033056 h 2608811"/>
                <a:gd name="connsiteX16" fmla="*/ 8038838 w 8543357"/>
                <a:gd name="connsiteY16" fmla="*/ 1067215 h 2608811"/>
                <a:gd name="connsiteX17" fmla="*/ 7814607 w 8543357"/>
                <a:gd name="connsiteY17" fmla="*/ 1417576 h 2608811"/>
                <a:gd name="connsiteX18" fmla="*/ 7912708 w 8543357"/>
                <a:gd name="connsiteY18" fmla="*/ 1557721 h 2608811"/>
                <a:gd name="connsiteX19" fmla="*/ 8087884 w 8543357"/>
                <a:gd name="connsiteY19" fmla="*/ 1557721 h 2608811"/>
                <a:gd name="connsiteX20" fmla="*/ 8221025 w 8543357"/>
                <a:gd name="connsiteY20" fmla="*/ 1403562 h 2608811"/>
                <a:gd name="connsiteX21" fmla="*/ 8221025 w 8543357"/>
                <a:gd name="connsiteY21" fmla="*/ 1109258 h 2608811"/>
                <a:gd name="connsiteX22" fmla="*/ 8153579 w 8543357"/>
                <a:gd name="connsiteY22" fmla="*/ 1033056 h 2608811"/>
                <a:gd name="connsiteX23" fmla="*/ 2916554 w 8543357"/>
                <a:gd name="connsiteY23" fmla="*/ 587330 h 2608811"/>
                <a:gd name="connsiteX24" fmla="*/ 2866084 w 8543357"/>
                <a:gd name="connsiteY24" fmla="*/ 616567 h 2608811"/>
                <a:gd name="connsiteX25" fmla="*/ 2580210 w 8543357"/>
                <a:gd name="connsiteY25" fmla="*/ 807951 h 2608811"/>
                <a:gd name="connsiteX26" fmla="*/ 2545176 w 8543357"/>
                <a:gd name="connsiteY26" fmla="*/ 955106 h 2608811"/>
                <a:gd name="connsiteX27" fmla="*/ 2916554 w 8543357"/>
                <a:gd name="connsiteY27" fmla="*/ 955106 h 2608811"/>
                <a:gd name="connsiteX28" fmla="*/ 6483234 w 8543357"/>
                <a:gd name="connsiteY28" fmla="*/ 379721 h 2608811"/>
                <a:gd name="connsiteX29" fmla="*/ 6483234 w 8543357"/>
                <a:gd name="connsiteY29" fmla="*/ 955106 h 2608811"/>
                <a:gd name="connsiteX30" fmla="*/ 7169941 w 8543357"/>
                <a:gd name="connsiteY30" fmla="*/ 955106 h 2608811"/>
                <a:gd name="connsiteX31" fmla="*/ 7120887 w 8543357"/>
                <a:gd name="connsiteY31" fmla="*/ 674818 h 2608811"/>
                <a:gd name="connsiteX32" fmla="*/ 6653454 w 8543357"/>
                <a:gd name="connsiteY32" fmla="*/ 426535 h 2608811"/>
                <a:gd name="connsiteX33" fmla="*/ 4514208 w 8543357"/>
                <a:gd name="connsiteY33" fmla="*/ 213698 h 2608811"/>
                <a:gd name="connsiteX34" fmla="*/ 4374787 w 8543357"/>
                <a:gd name="connsiteY34" fmla="*/ 218539 h 2608811"/>
                <a:gd name="connsiteX35" fmla="*/ 4226908 w 8543357"/>
                <a:gd name="connsiteY35" fmla="*/ 226355 h 2608811"/>
                <a:gd name="connsiteX36" fmla="*/ 3034107 w 8543357"/>
                <a:gd name="connsiteY36" fmla="*/ 519233 h 2608811"/>
                <a:gd name="connsiteX37" fmla="*/ 3000641 w 8543357"/>
                <a:gd name="connsiteY37" fmla="*/ 538620 h 2608811"/>
                <a:gd name="connsiteX38" fmla="*/ 3000641 w 8543357"/>
                <a:gd name="connsiteY38" fmla="*/ 955106 h 2608811"/>
                <a:gd name="connsiteX39" fmla="*/ 4514208 w 8543357"/>
                <a:gd name="connsiteY39" fmla="*/ 955106 h 2608811"/>
                <a:gd name="connsiteX40" fmla="*/ 4761218 w 8543357"/>
                <a:gd name="connsiteY40" fmla="*/ 208991 h 2608811"/>
                <a:gd name="connsiteX41" fmla="*/ 4598295 w 8543357"/>
                <a:gd name="connsiteY41" fmla="*/ 211751 h 2608811"/>
                <a:gd name="connsiteX42" fmla="*/ 4598295 w 8543357"/>
                <a:gd name="connsiteY42" fmla="*/ 955106 h 2608811"/>
                <a:gd name="connsiteX43" fmla="*/ 6399147 w 8543357"/>
                <a:gd name="connsiteY43" fmla="*/ 955106 h 2608811"/>
                <a:gd name="connsiteX44" fmla="*/ 6399147 w 8543357"/>
                <a:gd name="connsiteY44" fmla="*/ 356596 h 2608811"/>
                <a:gd name="connsiteX45" fmla="*/ 6353426 w 8543357"/>
                <a:gd name="connsiteY45" fmla="*/ 344022 h 2608811"/>
                <a:gd name="connsiteX46" fmla="*/ 4761218 w 8543357"/>
                <a:gd name="connsiteY46" fmla="*/ 208991 h 2608811"/>
                <a:gd name="connsiteX47" fmla="*/ 4770242 w 8543357"/>
                <a:gd name="connsiteY47" fmla="*/ 2 h 2608811"/>
                <a:gd name="connsiteX48" fmla="*/ 7534317 w 8543357"/>
                <a:gd name="connsiteY48" fmla="*/ 681821 h 2608811"/>
                <a:gd name="connsiteX49" fmla="*/ 7688476 w 8543357"/>
                <a:gd name="connsiteY49" fmla="*/ 737879 h 2608811"/>
                <a:gd name="connsiteX50" fmla="*/ 8192996 w 8543357"/>
                <a:gd name="connsiteY50" fmla="*/ 737879 h 2608811"/>
                <a:gd name="connsiteX51" fmla="*/ 8305111 w 8543357"/>
                <a:gd name="connsiteY51" fmla="*/ 849994 h 2608811"/>
                <a:gd name="connsiteX52" fmla="*/ 8305111 w 8543357"/>
                <a:gd name="connsiteY52" fmla="*/ 1557727 h 2608811"/>
                <a:gd name="connsiteX53" fmla="*/ 8543357 w 8543357"/>
                <a:gd name="connsiteY53" fmla="*/ 1767944 h 2608811"/>
                <a:gd name="connsiteX54" fmla="*/ 8543357 w 8543357"/>
                <a:gd name="connsiteY54" fmla="*/ 2370565 h 2608811"/>
                <a:gd name="connsiteX55" fmla="*/ 7975776 w 8543357"/>
                <a:gd name="connsiteY55" fmla="*/ 2608811 h 2608811"/>
                <a:gd name="connsiteX56" fmla="*/ 7625415 w 8543357"/>
                <a:gd name="connsiteY56" fmla="*/ 2608811 h 2608811"/>
                <a:gd name="connsiteX57" fmla="*/ 6917682 w 8543357"/>
                <a:gd name="connsiteY57" fmla="*/ 1901078 h 2608811"/>
                <a:gd name="connsiteX58" fmla="*/ 6209949 w 8543357"/>
                <a:gd name="connsiteY58" fmla="*/ 2608811 h 2608811"/>
                <a:gd name="connsiteX59" fmla="*/ 2299928 w 8543357"/>
                <a:gd name="connsiteY59" fmla="*/ 2608811 h 2608811"/>
                <a:gd name="connsiteX60" fmla="*/ 2299928 w 8543357"/>
                <a:gd name="connsiteY60" fmla="*/ 2594796 h 2608811"/>
                <a:gd name="connsiteX61" fmla="*/ 1592193 w 8543357"/>
                <a:gd name="connsiteY61" fmla="*/ 1887063 h 2608811"/>
                <a:gd name="connsiteX62" fmla="*/ 884460 w 8543357"/>
                <a:gd name="connsiteY62" fmla="*/ 2594796 h 2608811"/>
                <a:gd name="connsiteX63" fmla="*/ 884460 w 8543357"/>
                <a:gd name="connsiteY63" fmla="*/ 2608811 h 2608811"/>
                <a:gd name="connsiteX64" fmla="*/ 225789 w 8543357"/>
                <a:gd name="connsiteY64" fmla="*/ 2608811 h 2608811"/>
                <a:gd name="connsiteX65" fmla="*/ 1558 w 8543357"/>
                <a:gd name="connsiteY65" fmla="*/ 2391583 h 2608811"/>
                <a:gd name="connsiteX66" fmla="*/ 1558 w 8543357"/>
                <a:gd name="connsiteY66" fmla="*/ 1774948 h 2608811"/>
                <a:gd name="connsiteX67" fmla="*/ 506078 w 8543357"/>
                <a:gd name="connsiteY67" fmla="*/ 1333496 h 2608811"/>
                <a:gd name="connsiteX68" fmla="*/ 1991609 w 8543357"/>
                <a:gd name="connsiteY68" fmla="*/ 990139 h 2608811"/>
                <a:gd name="connsiteX69" fmla="*/ 2306931 w 8543357"/>
                <a:gd name="connsiteY69" fmla="*/ 786933 h 2608811"/>
                <a:gd name="connsiteX70" fmla="*/ 4268952 w 8543357"/>
                <a:gd name="connsiteY70" fmla="*/ 2124 h 2608811"/>
                <a:gd name="connsiteX71" fmla="*/ 4770242 w 8543357"/>
                <a:gd name="connsiteY71" fmla="*/ 2 h 2608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8543357" h="2608811">
                  <a:moveTo>
                    <a:pt x="64619" y="1683850"/>
                  </a:moveTo>
                  <a:cubicBezTo>
                    <a:pt x="64619" y="1732905"/>
                    <a:pt x="64619" y="1831006"/>
                    <a:pt x="64619" y="1922096"/>
                  </a:cubicBezTo>
                  <a:cubicBezTo>
                    <a:pt x="64619" y="1971150"/>
                    <a:pt x="99659" y="2006183"/>
                    <a:pt x="148706" y="2006183"/>
                  </a:cubicBezTo>
                  <a:lnTo>
                    <a:pt x="520093" y="2006183"/>
                  </a:lnTo>
                  <a:cubicBezTo>
                    <a:pt x="534100" y="2006183"/>
                    <a:pt x="548114" y="1999179"/>
                    <a:pt x="562136" y="1978154"/>
                  </a:cubicBezTo>
                  <a:lnTo>
                    <a:pt x="667241" y="1831006"/>
                  </a:lnTo>
                  <a:cubicBezTo>
                    <a:pt x="702281" y="1774948"/>
                    <a:pt x="681255" y="1683850"/>
                    <a:pt x="625197" y="1683850"/>
                  </a:cubicBezTo>
                  <a:cubicBezTo>
                    <a:pt x="625197" y="1683850"/>
                    <a:pt x="78634" y="1683850"/>
                    <a:pt x="64619" y="1683850"/>
                  </a:cubicBezTo>
                  <a:close/>
                  <a:moveTo>
                    <a:pt x="4556251" y="1270428"/>
                  </a:moveTo>
                  <a:cubicBezTo>
                    <a:pt x="4535226" y="1270428"/>
                    <a:pt x="4514208" y="1277439"/>
                    <a:pt x="4514208" y="1284443"/>
                  </a:cubicBezTo>
                  <a:lnTo>
                    <a:pt x="4514208" y="2195382"/>
                  </a:lnTo>
                  <a:cubicBezTo>
                    <a:pt x="4514208" y="2202385"/>
                    <a:pt x="4535226" y="2209396"/>
                    <a:pt x="4556251" y="2209396"/>
                  </a:cubicBezTo>
                  <a:cubicBezTo>
                    <a:pt x="4577269" y="2209396"/>
                    <a:pt x="4591291" y="2202385"/>
                    <a:pt x="4598295" y="2195382"/>
                  </a:cubicBezTo>
                  <a:lnTo>
                    <a:pt x="4598295" y="1284443"/>
                  </a:lnTo>
                  <a:cubicBezTo>
                    <a:pt x="4598295" y="1277439"/>
                    <a:pt x="4577269" y="1270428"/>
                    <a:pt x="4556251" y="1270428"/>
                  </a:cubicBezTo>
                  <a:close/>
                  <a:moveTo>
                    <a:pt x="8153579" y="1033056"/>
                  </a:moveTo>
                  <a:cubicBezTo>
                    <a:pt x="8115915" y="1025173"/>
                    <a:pt x="8070368" y="1035684"/>
                    <a:pt x="8038838" y="1067215"/>
                  </a:cubicBezTo>
                  <a:cubicBezTo>
                    <a:pt x="7912708" y="1179330"/>
                    <a:pt x="7863661" y="1291446"/>
                    <a:pt x="7814607" y="1417576"/>
                  </a:cubicBezTo>
                  <a:cubicBezTo>
                    <a:pt x="7786578" y="1487649"/>
                    <a:pt x="7835632" y="1557721"/>
                    <a:pt x="7912708" y="1557721"/>
                  </a:cubicBezTo>
                  <a:lnTo>
                    <a:pt x="8087884" y="1557721"/>
                  </a:lnTo>
                  <a:cubicBezTo>
                    <a:pt x="8178982" y="1564732"/>
                    <a:pt x="8221025" y="1487649"/>
                    <a:pt x="8221025" y="1403562"/>
                  </a:cubicBezTo>
                  <a:lnTo>
                    <a:pt x="8221025" y="1109258"/>
                  </a:lnTo>
                  <a:cubicBezTo>
                    <a:pt x="8221025" y="1067215"/>
                    <a:pt x="8191243" y="1040939"/>
                    <a:pt x="8153579" y="1033056"/>
                  </a:cubicBezTo>
                  <a:close/>
                  <a:moveTo>
                    <a:pt x="2916554" y="587330"/>
                  </a:moveTo>
                  <a:lnTo>
                    <a:pt x="2866084" y="616567"/>
                  </a:lnTo>
                  <a:cubicBezTo>
                    <a:pt x="2760209" y="682260"/>
                    <a:pt x="2666049" y="748390"/>
                    <a:pt x="2580210" y="807951"/>
                  </a:cubicBezTo>
                  <a:cubicBezTo>
                    <a:pt x="2545176" y="835980"/>
                    <a:pt x="2482107" y="955106"/>
                    <a:pt x="2545176" y="955106"/>
                  </a:cubicBezTo>
                  <a:lnTo>
                    <a:pt x="2916554" y="955106"/>
                  </a:lnTo>
                  <a:close/>
                  <a:moveTo>
                    <a:pt x="6483234" y="379721"/>
                  </a:moveTo>
                  <a:lnTo>
                    <a:pt x="6483234" y="955106"/>
                  </a:lnTo>
                  <a:lnTo>
                    <a:pt x="7169941" y="955106"/>
                  </a:lnTo>
                  <a:cubicBezTo>
                    <a:pt x="7254028" y="955106"/>
                    <a:pt x="7261031" y="800948"/>
                    <a:pt x="7120887" y="674818"/>
                  </a:cubicBezTo>
                  <a:cubicBezTo>
                    <a:pt x="7004065" y="571243"/>
                    <a:pt x="6841909" y="490023"/>
                    <a:pt x="6653454" y="426535"/>
                  </a:cubicBezTo>
                  <a:close/>
                  <a:moveTo>
                    <a:pt x="4514208" y="213698"/>
                  </a:moveTo>
                  <a:lnTo>
                    <a:pt x="4374787" y="218539"/>
                  </a:lnTo>
                  <a:cubicBezTo>
                    <a:pt x="4280968" y="222592"/>
                    <a:pt x="4226908" y="226355"/>
                    <a:pt x="4226908" y="226355"/>
                  </a:cubicBezTo>
                  <a:cubicBezTo>
                    <a:pt x="3710128" y="226355"/>
                    <a:pt x="3330204" y="360477"/>
                    <a:pt x="3034107" y="519233"/>
                  </a:cubicBezTo>
                  <a:lnTo>
                    <a:pt x="3000641" y="538620"/>
                  </a:lnTo>
                  <a:lnTo>
                    <a:pt x="3000641" y="955106"/>
                  </a:lnTo>
                  <a:lnTo>
                    <a:pt x="4514208" y="955106"/>
                  </a:lnTo>
                  <a:close/>
                  <a:moveTo>
                    <a:pt x="4761218" y="208991"/>
                  </a:moveTo>
                  <a:lnTo>
                    <a:pt x="4598295" y="211751"/>
                  </a:lnTo>
                  <a:lnTo>
                    <a:pt x="4598295" y="955106"/>
                  </a:lnTo>
                  <a:lnTo>
                    <a:pt x="6399147" y="955106"/>
                  </a:lnTo>
                  <a:lnTo>
                    <a:pt x="6399147" y="356596"/>
                  </a:lnTo>
                  <a:lnTo>
                    <a:pt x="6353426" y="344022"/>
                  </a:lnTo>
                  <a:cubicBezTo>
                    <a:pt x="5828439" y="226736"/>
                    <a:pt x="5198565" y="205816"/>
                    <a:pt x="4761218" y="208991"/>
                  </a:cubicBezTo>
                  <a:close/>
                  <a:moveTo>
                    <a:pt x="4770242" y="2"/>
                  </a:moveTo>
                  <a:cubicBezTo>
                    <a:pt x="5907985" y="-288"/>
                    <a:pt x="6823084" y="56427"/>
                    <a:pt x="7534317" y="681821"/>
                  </a:cubicBezTo>
                  <a:cubicBezTo>
                    <a:pt x="7576361" y="716861"/>
                    <a:pt x="7632418" y="737879"/>
                    <a:pt x="7688476" y="737879"/>
                  </a:cubicBezTo>
                  <a:lnTo>
                    <a:pt x="8192996" y="737879"/>
                  </a:lnTo>
                  <a:cubicBezTo>
                    <a:pt x="8256065" y="737879"/>
                    <a:pt x="8305111" y="786933"/>
                    <a:pt x="8305111" y="849994"/>
                  </a:cubicBezTo>
                  <a:lnTo>
                    <a:pt x="8305111" y="1557727"/>
                  </a:lnTo>
                  <a:cubicBezTo>
                    <a:pt x="8431241" y="1557727"/>
                    <a:pt x="8536353" y="1655829"/>
                    <a:pt x="8543357" y="1767944"/>
                  </a:cubicBezTo>
                  <a:lnTo>
                    <a:pt x="8543357" y="2370565"/>
                  </a:lnTo>
                  <a:lnTo>
                    <a:pt x="7975776" y="2608811"/>
                  </a:lnTo>
                  <a:lnTo>
                    <a:pt x="7625415" y="2608811"/>
                  </a:lnTo>
                  <a:cubicBezTo>
                    <a:pt x="7625415" y="2216406"/>
                    <a:pt x="7310086" y="1901078"/>
                    <a:pt x="6917682" y="1901078"/>
                  </a:cubicBezTo>
                  <a:cubicBezTo>
                    <a:pt x="6525277" y="1901078"/>
                    <a:pt x="6209949" y="2216406"/>
                    <a:pt x="6209949" y="2608811"/>
                  </a:cubicBezTo>
                  <a:lnTo>
                    <a:pt x="2299928" y="2608811"/>
                  </a:lnTo>
                  <a:cubicBezTo>
                    <a:pt x="2299928" y="2608811"/>
                    <a:pt x="2299928" y="2601800"/>
                    <a:pt x="2299928" y="2594796"/>
                  </a:cubicBezTo>
                  <a:cubicBezTo>
                    <a:pt x="2299928" y="2202392"/>
                    <a:pt x="1984598" y="1887063"/>
                    <a:pt x="1592193" y="1887063"/>
                  </a:cubicBezTo>
                  <a:cubicBezTo>
                    <a:pt x="1199789" y="1887063"/>
                    <a:pt x="884460" y="2202392"/>
                    <a:pt x="884460" y="2594796"/>
                  </a:cubicBezTo>
                  <a:cubicBezTo>
                    <a:pt x="884460" y="2594796"/>
                    <a:pt x="884460" y="2601800"/>
                    <a:pt x="884460" y="2608811"/>
                  </a:cubicBezTo>
                  <a:lnTo>
                    <a:pt x="225789" y="2608811"/>
                  </a:lnTo>
                  <a:cubicBezTo>
                    <a:pt x="106662" y="2608811"/>
                    <a:pt x="1558" y="2510710"/>
                    <a:pt x="1558" y="2391583"/>
                  </a:cubicBezTo>
                  <a:lnTo>
                    <a:pt x="1558" y="1774948"/>
                  </a:lnTo>
                  <a:cubicBezTo>
                    <a:pt x="1558" y="1774948"/>
                    <a:pt x="-54500" y="1480644"/>
                    <a:pt x="506078" y="1333496"/>
                  </a:cubicBezTo>
                  <a:cubicBezTo>
                    <a:pt x="912497" y="1228384"/>
                    <a:pt x="1592193" y="1095251"/>
                    <a:pt x="1991609" y="990139"/>
                  </a:cubicBezTo>
                  <a:cubicBezTo>
                    <a:pt x="2159782" y="948095"/>
                    <a:pt x="2215835" y="864009"/>
                    <a:pt x="2306931" y="786933"/>
                  </a:cubicBezTo>
                  <a:cubicBezTo>
                    <a:pt x="2573206" y="555691"/>
                    <a:pt x="3365024" y="9128"/>
                    <a:pt x="4268952" y="2124"/>
                  </a:cubicBezTo>
                  <a:cubicBezTo>
                    <a:pt x="4440629" y="1248"/>
                    <a:pt x="4607708" y="43"/>
                    <a:pt x="4770242" y="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8" name="Freeform: Shape 316">
              <a:extLst>
                <a:ext uri="{FF2B5EF4-FFF2-40B4-BE49-F238E27FC236}">
                  <a16:creationId xmlns:a16="http://schemas.microsoft.com/office/drawing/2014/main" id="{EB4B204C-DB1B-41E9-8FCA-AB1679F511E5}"/>
                </a:ext>
              </a:extLst>
            </p:cNvPr>
            <p:cNvSpPr/>
            <p:nvPr/>
          </p:nvSpPr>
          <p:spPr>
            <a:xfrm>
              <a:off x="113572" y="3679475"/>
              <a:ext cx="2324346" cy="364054"/>
            </a:xfrm>
            <a:custGeom>
              <a:avLst/>
              <a:gdLst>
                <a:gd name="connsiteX0" fmla="*/ 2123188 w 2324346"/>
                <a:gd name="connsiteY0" fmla="*/ 127749 h 364054"/>
                <a:gd name="connsiteX1" fmla="*/ 2067056 w 2324346"/>
                <a:gd name="connsiteY1" fmla="*/ 183881 h 364054"/>
                <a:gd name="connsiteX2" fmla="*/ 2123188 w 2324346"/>
                <a:gd name="connsiteY2" fmla="*/ 240013 h 364054"/>
                <a:gd name="connsiteX3" fmla="*/ 2179320 w 2324346"/>
                <a:gd name="connsiteY3" fmla="*/ 183881 h 364054"/>
                <a:gd name="connsiteX4" fmla="*/ 2123188 w 2324346"/>
                <a:gd name="connsiteY4" fmla="*/ 127749 h 364054"/>
                <a:gd name="connsiteX5" fmla="*/ 1803836 w 2324346"/>
                <a:gd name="connsiteY5" fmla="*/ 127749 h 364054"/>
                <a:gd name="connsiteX6" fmla="*/ 1747704 w 2324346"/>
                <a:gd name="connsiteY6" fmla="*/ 183881 h 364054"/>
                <a:gd name="connsiteX7" fmla="*/ 1803836 w 2324346"/>
                <a:gd name="connsiteY7" fmla="*/ 240013 h 364054"/>
                <a:gd name="connsiteX8" fmla="*/ 1859968 w 2324346"/>
                <a:gd name="connsiteY8" fmla="*/ 183881 h 364054"/>
                <a:gd name="connsiteX9" fmla="*/ 1803836 w 2324346"/>
                <a:gd name="connsiteY9" fmla="*/ 127749 h 364054"/>
                <a:gd name="connsiteX10" fmla="*/ 1484484 w 2324346"/>
                <a:gd name="connsiteY10" fmla="*/ 127749 h 364054"/>
                <a:gd name="connsiteX11" fmla="*/ 1428352 w 2324346"/>
                <a:gd name="connsiteY11" fmla="*/ 183881 h 364054"/>
                <a:gd name="connsiteX12" fmla="*/ 1484484 w 2324346"/>
                <a:gd name="connsiteY12" fmla="*/ 240013 h 364054"/>
                <a:gd name="connsiteX13" fmla="*/ 1540616 w 2324346"/>
                <a:gd name="connsiteY13" fmla="*/ 183881 h 364054"/>
                <a:gd name="connsiteX14" fmla="*/ 1484484 w 2324346"/>
                <a:gd name="connsiteY14" fmla="*/ 127749 h 364054"/>
                <a:gd name="connsiteX15" fmla="*/ 1165131 w 2324346"/>
                <a:gd name="connsiteY15" fmla="*/ 127749 h 364054"/>
                <a:gd name="connsiteX16" fmla="*/ 1108999 w 2324346"/>
                <a:gd name="connsiteY16" fmla="*/ 183881 h 364054"/>
                <a:gd name="connsiteX17" fmla="*/ 1165131 w 2324346"/>
                <a:gd name="connsiteY17" fmla="*/ 240013 h 364054"/>
                <a:gd name="connsiteX18" fmla="*/ 1221263 w 2324346"/>
                <a:gd name="connsiteY18" fmla="*/ 183881 h 364054"/>
                <a:gd name="connsiteX19" fmla="*/ 1165131 w 2324346"/>
                <a:gd name="connsiteY19" fmla="*/ 127749 h 364054"/>
                <a:gd name="connsiteX20" fmla="*/ 845779 w 2324346"/>
                <a:gd name="connsiteY20" fmla="*/ 127749 h 364054"/>
                <a:gd name="connsiteX21" fmla="*/ 789647 w 2324346"/>
                <a:gd name="connsiteY21" fmla="*/ 183881 h 364054"/>
                <a:gd name="connsiteX22" fmla="*/ 845779 w 2324346"/>
                <a:gd name="connsiteY22" fmla="*/ 240013 h 364054"/>
                <a:gd name="connsiteX23" fmla="*/ 901911 w 2324346"/>
                <a:gd name="connsiteY23" fmla="*/ 183881 h 364054"/>
                <a:gd name="connsiteX24" fmla="*/ 845779 w 2324346"/>
                <a:gd name="connsiteY24" fmla="*/ 127749 h 364054"/>
                <a:gd name="connsiteX25" fmla="*/ 526427 w 2324346"/>
                <a:gd name="connsiteY25" fmla="*/ 127749 h 364054"/>
                <a:gd name="connsiteX26" fmla="*/ 470295 w 2324346"/>
                <a:gd name="connsiteY26" fmla="*/ 183881 h 364054"/>
                <a:gd name="connsiteX27" fmla="*/ 526427 w 2324346"/>
                <a:gd name="connsiteY27" fmla="*/ 240013 h 364054"/>
                <a:gd name="connsiteX28" fmla="*/ 582559 w 2324346"/>
                <a:gd name="connsiteY28" fmla="*/ 183881 h 364054"/>
                <a:gd name="connsiteX29" fmla="*/ 526427 w 2324346"/>
                <a:gd name="connsiteY29" fmla="*/ 127749 h 364054"/>
                <a:gd name="connsiteX30" fmla="*/ 207075 w 2324346"/>
                <a:gd name="connsiteY30" fmla="*/ 127749 h 364054"/>
                <a:gd name="connsiteX31" fmla="*/ 150943 w 2324346"/>
                <a:gd name="connsiteY31" fmla="*/ 183881 h 364054"/>
                <a:gd name="connsiteX32" fmla="*/ 207075 w 2324346"/>
                <a:gd name="connsiteY32" fmla="*/ 240013 h 364054"/>
                <a:gd name="connsiteX33" fmla="*/ 263207 w 2324346"/>
                <a:gd name="connsiteY33" fmla="*/ 183881 h 364054"/>
                <a:gd name="connsiteX34" fmla="*/ 207075 w 2324346"/>
                <a:gd name="connsiteY34" fmla="*/ 127749 h 364054"/>
                <a:gd name="connsiteX35" fmla="*/ 2123188 w 2324346"/>
                <a:gd name="connsiteY35" fmla="*/ 71617 h 364054"/>
                <a:gd name="connsiteX36" fmla="*/ 2235452 w 2324346"/>
                <a:gd name="connsiteY36" fmla="*/ 183881 h 364054"/>
                <a:gd name="connsiteX37" fmla="*/ 2123188 w 2324346"/>
                <a:gd name="connsiteY37" fmla="*/ 296145 h 364054"/>
                <a:gd name="connsiteX38" fmla="*/ 2010924 w 2324346"/>
                <a:gd name="connsiteY38" fmla="*/ 183881 h 364054"/>
                <a:gd name="connsiteX39" fmla="*/ 2123188 w 2324346"/>
                <a:gd name="connsiteY39" fmla="*/ 71617 h 364054"/>
                <a:gd name="connsiteX40" fmla="*/ 1803836 w 2324346"/>
                <a:gd name="connsiteY40" fmla="*/ 71617 h 364054"/>
                <a:gd name="connsiteX41" fmla="*/ 1916100 w 2324346"/>
                <a:gd name="connsiteY41" fmla="*/ 183881 h 364054"/>
                <a:gd name="connsiteX42" fmla="*/ 1803836 w 2324346"/>
                <a:gd name="connsiteY42" fmla="*/ 296145 h 364054"/>
                <a:gd name="connsiteX43" fmla="*/ 1691572 w 2324346"/>
                <a:gd name="connsiteY43" fmla="*/ 183881 h 364054"/>
                <a:gd name="connsiteX44" fmla="*/ 1803836 w 2324346"/>
                <a:gd name="connsiteY44" fmla="*/ 71617 h 364054"/>
                <a:gd name="connsiteX45" fmla="*/ 1484484 w 2324346"/>
                <a:gd name="connsiteY45" fmla="*/ 71617 h 364054"/>
                <a:gd name="connsiteX46" fmla="*/ 1596748 w 2324346"/>
                <a:gd name="connsiteY46" fmla="*/ 183881 h 364054"/>
                <a:gd name="connsiteX47" fmla="*/ 1484484 w 2324346"/>
                <a:gd name="connsiteY47" fmla="*/ 296145 h 364054"/>
                <a:gd name="connsiteX48" fmla="*/ 1372220 w 2324346"/>
                <a:gd name="connsiteY48" fmla="*/ 183881 h 364054"/>
                <a:gd name="connsiteX49" fmla="*/ 1484484 w 2324346"/>
                <a:gd name="connsiteY49" fmla="*/ 71617 h 364054"/>
                <a:gd name="connsiteX50" fmla="*/ 1165131 w 2324346"/>
                <a:gd name="connsiteY50" fmla="*/ 71617 h 364054"/>
                <a:gd name="connsiteX51" fmla="*/ 1277395 w 2324346"/>
                <a:gd name="connsiteY51" fmla="*/ 183881 h 364054"/>
                <a:gd name="connsiteX52" fmla="*/ 1165131 w 2324346"/>
                <a:gd name="connsiteY52" fmla="*/ 296145 h 364054"/>
                <a:gd name="connsiteX53" fmla="*/ 1052867 w 2324346"/>
                <a:gd name="connsiteY53" fmla="*/ 183881 h 364054"/>
                <a:gd name="connsiteX54" fmla="*/ 1165131 w 2324346"/>
                <a:gd name="connsiteY54" fmla="*/ 71617 h 364054"/>
                <a:gd name="connsiteX55" fmla="*/ 845779 w 2324346"/>
                <a:gd name="connsiteY55" fmla="*/ 71617 h 364054"/>
                <a:gd name="connsiteX56" fmla="*/ 958043 w 2324346"/>
                <a:gd name="connsiteY56" fmla="*/ 183881 h 364054"/>
                <a:gd name="connsiteX57" fmla="*/ 845779 w 2324346"/>
                <a:gd name="connsiteY57" fmla="*/ 296145 h 364054"/>
                <a:gd name="connsiteX58" fmla="*/ 733515 w 2324346"/>
                <a:gd name="connsiteY58" fmla="*/ 183881 h 364054"/>
                <a:gd name="connsiteX59" fmla="*/ 845779 w 2324346"/>
                <a:gd name="connsiteY59" fmla="*/ 71617 h 364054"/>
                <a:gd name="connsiteX60" fmla="*/ 526427 w 2324346"/>
                <a:gd name="connsiteY60" fmla="*/ 71617 h 364054"/>
                <a:gd name="connsiteX61" fmla="*/ 638691 w 2324346"/>
                <a:gd name="connsiteY61" fmla="*/ 183881 h 364054"/>
                <a:gd name="connsiteX62" fmla="*/ 526427 w 2324346"/>
                <a:gd name="connsiteY62" fmla="*/ 296145 h 364054"/>
                <a:gd name="connsiteX63" fmla="*/ 414163 w 2324346"/>
                <a:gd name="connsiteY63" fmla="*/ 183881 h 364054"/>
                <a:gd name="connsiteX64" fmla="*/ 526427 w 2324346"/>
                <a:gd name="connsiteY64" fmla="*/ 71617 h 364054"/>
                <a:gd name="connsiteX65" fmla="*/ 207075 w 2324346"/>
                <a:gd name="connsiteY65" fmla="*/ 71617 h 364054"/>
                <a:gd name="connsiteX66" fmla="*/ 319339 w 2324346"/>
                <a:gd name="connsiteY66" fmla="*/ 183881 h 364054"/>
                <a:gd name="connsiteX67" fmla="*/ 207075 w 2324346"/>
                <a:gd name="connsiteY67" fmla="*/ 296145 h 364054"/>
                <a:gd name="connsiteX68" fmla="*/ 94811 w 2324346"/>
                <a:gd name="connsiteY68" fmla="*/ 183881 h 364054"/>
                <a:gd name="connsiteX69" fmla="*/ 207075 w 2324346"/>
                <a:gd name="connsiteY69" fmla="*/ 71617 h 364054"/>
                <a:gd name="connsiteX70" fmla="*/ 182844 w 2324346"/>
                <a:gd name="connsiteY70" fmla="*/ 45713 h 364054"/>
                <a:gd name="connsiteX71" fmla="*/ 46530 w 2324346"/>
                <a:gd name="connsiteY71" fmla="*/ 182027 h 364054"/>
                <a:gd name="connsiteX72" fmla="*/ 182844 w 2324346"/>
                <a:gd name="connsiteY72" fmla="*/ 318341 h 364054"/>
                <a:gd name="connsiteX73" fmla="*/ 2141502 w 2324346"/>
                <a:gd name="connsiteY73" fmla="*/ 318341 h 364054"/>
                <a:gd name="connsiteX74" fmla="*/ 2277816 w 2324346"/>
                <a:gd name="connsiteY74" fmla="*/ 182027 h 364054"/>
                <a:gd name="connsiteX75" fmla="*/ 2141502 w 2324346"/>
                <a:gd name="connsiteY75" fmla="*/ 45713 h 364054"/>
                <a:gd name="connsiteX76" fmla="*/ 182027 w 2324346"/>
                <a:gd name="connsiteY76" fmla="*/ 0 h 364054"/>
                <a:gd name="connsiteX77" fmla="*/ 2142319 w 2324346"/>
                <a:gd name="connsiteY77" fmla="*/ 0 h 364054"/>
                <a:gd name="connsiteX78" fmla="*/ 2324346 w 2324346"/>
                <a:gd name="connsiteY78" fmla="*/ 182027 h 364054"/>
                <a:gd name="connsiteX79" fmla="*/ 2142319 w 2324346"/>
                <a:gd name="connsiteY79" fmla="*/ 364054 h 364054"/>
                <a:gd name="connsiteX80" fmla="*/ 182027 w 2324346"/>
                <a:gd name="connsiteY80" fmla="*/ 364054 h 364054"/>
                <a:gd name="connsiteX81" fmla="*/ 0 w 2324346"/>
                <a:gd name="connsiteY81" fmla="*/ 182027 h 364054"/>
                <a:gd name="connsiteX82" fmla="*/ 182027 w 2324346"/>
                <a:gd name="connsiteY82" fmla="*/ 0 h 364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324346" h="364054">
                  <a:moveTo>
                    <a:pt x="2123188" y="127749"/>
                  </a:moveTo>
                  <a:cubicBezTo>
                    <a:pt x="2092187" y="127749"/>
                    <a:pt x="2067056" y="152880"/>
                    <a:pt x="2067056" y="183881"/>
                  </a:cubicBezTo>
                  <a:cubicBezTo>
                    <a:pt x="2067056" y="214882"/>
                    <a:pt x="2092187" y="240013"/>
                    <a:pt x="2123188" y="240013"/>
                  </a:cubicBezTo>
                  <a:cubicBezTo>
                    <a:pt x="2154189" y="240013"/>
                    <a:pt x="2179320" y="214882"/>
                    <a:pt x="2179320" y="183881"/>
                  </a:cubicBezTo>
                  <a:cubicBezTo>
                    <a:pt x="2179320" y="152880"/>
                    <a:pt x="2154189" y="127749"/>
                    <a:pt x="2123188" y="127749"/>
                  </a:cubicBezTo>
                  <a:close/>
                  <a:moveTo>
                    <a:pt x="1803836" y="127749"/>
                  </a:moveTo>
                  <a:cubicBezTo>
                    <a:pt x="1772835" y="127749"/>
                    <a:pt x="1747704" y="152880"/>
                    <a:pt x="1747704" y="183881"/>
                  </a:cubicBezTo>
                  <a:cubicBezTo>
                    <a:pt x="1747704" y="214882"/>
                    <a:pt x="1772835" y="240013"/>
                    <a:pt x="1803836" y="240013"/>
                  </a:cubicBezTo>
                  <a:cubicBezTo>
                    <a:pt x="1834837" y="240013"/>
                    <a:pt x="1859968" y="214882"/>
                    <a:pt x="1859968" y="183881"/>
                  </a:cubicBezTo>
                  <a:cubicBezTo>
                    <a:pt x="1859968" y="152880"/>
                    <a:pt x="1834837" y="127749"/>
                    <a:pt x="1803836" y="127749"/>
                  </a:cubicBezTo>
                  <a:close/>
                  <a:moveTo>
                    <a:pt x="1484484" y="127749"/>
                  </a:moveTo>
                  <a:cubicBezTo>
                    <a:pt x="1453483" y="127749"/>
                    <a:pt x="1428352" y="152880"/>
                    <a:pt x="1428352" y="183881"/>
                  </a:cubicBezTo>
                  <a:cubicBezTo>
                    <a:pt x="1428352" y="214882"/>
                    <a:pt x="1453483" y="240013"/>
                    <a:pt x="1484484" y="240013"/>
                  </a:cubicBezTo>
                  <a:cubicBezTo>
                    <a:pt x="1515485" y="240013"/>
                    <a:pt x="1540616" y="214882"/>
                    <a:pt x="1540616" y="183881"/>
                  </a:cubicBezTo>
                  <a:cubicBezTo>
                    <a:pt x="1540616" y="152880"/>
                    <a:pt x="1515485" y="127749"/>
                    <a:pt x="1484484" y="127749"/>
                  </a:cubicBezTo>
                  <a:close/>
                  <a:moveTo>
                    <a:pt x="1165131" y="127749"/>
                  </a:moveTo>
                  <a:cubicBezTo>
                    <a:pt x="1134130" y="127749"/>
                    <a:pt x="1108999" y="152880"/>
                    <a:pt x="1108999" y="183881"/>
                  </a:cubicBezTo>
                  <a:cubicBezTo>
                    <a:pt x="1108999" y="214882"/>
                    <a:pt x="1134130" y="240013"/>
                    <a:pt x="1165131" y="240013"/>
                  </a:cubicBezTo>
                  <a:cubicBezTo>
                    <a:pt x="1196132" y="240013"/>
                    <a:pt x="1221263" y="214882"/>
                    <a:pt x="1221263" y="183881"/>
                  </a:cubicBezTo>
                  <a:cubicBezTo>
                    <a:pt x="1221263" y="152880"/>
                    <a:pt x="1196132" y="127749"/>
                    <a:pt x="1165131" y="127749"/>
                  </a:cubicBezTo>
                  <a:close/>
                  <a:moveTo>
                    <a:pt x="845779" y="127749"/>
                  </a:moveTo>
                  <a:cubicBezTo>
                    <a:pt x="814778" y="127749"/>
                    <a:pt x="789647" y="152880"/>
                    <a:pt x="789647" y="183881"/>
                  </a:cubicBezTo>
                  <a:cubicBezTo>
                    <a:pt x="789647" y="214882"/>
                    <a:pt x="814778" y="240013"/>
                    <a:pt x="845779" y="240013"/>
                  </a:cubicBezTo>
                  <a:cubicBezTo>
                    <a:pt x="876780" y="240013"/>
                    <a:pt x="901911" y="214882"/>
                    <a:pt x="901911" y="183881"/>
                  </a:cubicBezTo>
                  <a:cubicBezTo>
                    <a:pt x="901911" y="152880"/>
                    <a:pt x="876780" y="127749"/>
                    <a:pt x="845779" y="127749"/>
                  </a:cubicBezTo>
                  <a:close/>
                  <a:moveTo>
                    <a:pt x="526427" y="127749"/>
                  </a:moveTo>
                  <a:cubicBezTo>
                    <a:pt x="495426" y="127749"/>
                    <a:pt x="470295" y="152880"/>
                    <a:pt x="470295" y="183881"/>
                  </a:cubicBezTo>
                  <a:cubicBezTo>
                    <a:pt x="470295" y="214882"/>
                    <a:pt x="495426" y="240013"/>
                    <a:pt x="526427" y="240013"/>
                  </a:cubicBezTo>
                  <a:cubicBezTo>
                    <a:pt x="557428" y="240013"/>
                    <a:pt x="582559" y="214882"/>
                    <a:pt x="582559" y="183881"/>
                  </a:cubicBezTo>
                  <a:cubicBezTo>
                    <a:pt x="582559" y="152880"/>
                    <a:pt x="557428" y="127749"/>
                    <a:pt x="526427" y="127749"/>
                  </a:cubicBezTo>
                  <a:close/>
                  <a:moveTo>
                    <a:pt x="207075" y="127749"/>
                  </a:moveTo>
                  <a:cubicBezTo>
                    <a:pt x="176074" y="127749"/>
                    <a:pt x="150943" y="152880"/>
                    <a:pt x="150943" y="183881"/>
                  </a:cubicBezTo>
                  <a:cubicBezTo>
                    <a:pt x="150943" y="214882"/>
                    <a:pt x="176074" y="240013"/>
                    <a:pt x="207075" y="240013"/>
                  </a:cubicBezTo>
                  <a:cubicBezTo>
                    <a:pt x="238076" y="240013"/>
                    <a:pt x="263207" y="214882"/>
                    <a:pt x="263207" y="183881"/>
                  </a:cubicBezTo>
                  <a:cubicBezTo>
                    <a:pt x="263207" y="152880"/>
                    <a:pt x="238076" y="127749"/>
                    <a:pt x="207075" y="127749"/>
                  </a:cubicBezTo>
                  <a:close/>
                  <a:moveTo>
                    <a:pt x="2123188" y="71617"/>
                  </a:moveTo>
                  <a:cubicBezTo>
                    <a:pt x="2185190" y="71617"/>
                    <a:pt x="2235452" y="121879"/>
                    <a:pt x="2235452" y="183881"/>
                  </a:cubicBezTo>
                  <a:cubicBezTo>
                    <a:pt x="2235452" y="245883"/>
                    <a:pt x="2185190" y="296145"/>
                    <a:pt x="2123188" y="296145"/>
                  </a:cubicBezTo>
                  <a:cubicBezTo>
                    <a:pt x="2061186" y="296145"/>
                    <a:pt x="2010924" y="245883"/>
                    <a:pt x="2010924" y="183881"/>
                  </a:cubicBezTo>
                  <a:cubicBezTo>
                    <a:pt x="2010924" y="121879"/>
                    <a:pt x="2061186" y="71617"/>
                    <a:pt x="2123188" y="71617"/>
                  </a:cubicBezTo>
                  <a:close/>
                  <a:moveTo>
                    <a:pt x="1803836" y="71617"/>
                  </a:moveTo>
                  <a:cubicBezTo>
                    <a:pt x="1865838" y="71617"/>
                    <a:pt x="1916100" y="121879"/>
                    <a:pt x="1916100" y="183881"/>
                  </a:cubicBezTo>
                  <a:cubicBezTo>
                    <a:pt x="1916100" y="245883"/>
                    <a:pt x="1865838" y="296145"/>
                    <a:pt x="1803836" y="296145"/>
                  </a:cubicBezTo>
                  <a:cubicBezTo>
                    <a:pt x="1741834" y="296145"/>
                    <a:pt x="1691572" y="245883"/>
                    <a:pt x="1691572" y="183881"/>
                  </a:cubicBezTo>
                  <a:cubicBezTo>
                    <a:pt x="1691572" y="121879"/>
                    <a:pt x="1741834" y="71617"/>
                    <a:pt x="1803836" y="71617"/>
                  </a:cubicBezTo>
                  <a:close/>
                  <a:moveTo>
                    <a:pt x="1484484" y="71617"/>
                  </a:moveTo>
                  <a:cubicBezTo>
                    <a:pt x="1546486" y="71617"/>
                    <a:pt x="1596748" y="121879"/>
                    <a:pt x="1596748" y="183881"/>
                  </a:cubicBezTo>
                  <a:cubicBezTo>
                    <a:pt x="1596748" y="245883"/>
                    <a:pt x="1546486" y="296145"/>
                    <a:pt x="1484484" y="296145"/>
                  </a:cubicBezTo>
                  <a:cubicBezTo>
                    <a:pt x="1422482" y="296145"/>
                    <a:pt x="1372220" y="245883"/>
                    <a:pt x="1372220" y="183881"/>
                  </a:cubicBezTo>
                  <a:cubicBezTo>
                    <a:pt x="1372220" y="121879"/>
                    <a:pt x="1422482" y="71617"/>
                    <a:pt x="1484484" y="71617"/>
                  </a:cubicBezTo>
                  <a:close/>
                  <a:moveTo>
                    <a:pt x="1165131" y="71617"/>
                  </a:moveTo>
                  <a:cubicBezTo>
                    <a:pt x="1227133" y="71617"/>
                    <a:pt x="1277395" y="121879"/>
                    <a:pt x="1277395" y="183881"/>
                  </a:cubicBezTo>
                  <a:cubicBezTo>
                    <a:pt x="1277395" y="245883"/>
                    <a:pt x="1227133" y="296145"/>
                    <a:pt x="1165131" y="296145"/>
                  </a:cubicBezTo>
                  <a:cubicBezTo>
                    <a:pt x="1103129" y="296145"/>
                    <a:pt x="1052867" y="245883"/>
                    <a:pt x="1052867" y="183881"/>
                  </a:cubicBezTo>
                  <a:cubicBezTo>
                    <a:pt x="1052867" y="121879"/>
                    <a:pt x="1103129" y="71617"/>
                    <a:pt x="1165131" y="71617"/>
                  </a:cubicBezTo>
                  <a:close/>
                  <a:moveTo>
                    <a:pt x="845779" y="71617"/>
                  </a:moveTo>
                  <a:cubicBezTo>
                    <a:pt x="907781" y="71617"/>
                    <a:pt x="958043" y="121879"/>
                    <a:pt x="958043" y="183881"/>
                  </a:cubicBezTo>
                  <a:cubicBezTo>
                    <a:pt x="958043" y="245883"/>
                    <a:pt x="907781" y="296145"/>
                    <a:pt x="845779" y="296145"/>
                  </a:cubicBezTo>
                  <a:cubicBezTo>
                    <a:pt x="783777" y="296145"/>
                    <a:pt x="733515" y="245883"/>
                    <a:pt x="733515" y="183881"/>
                  </a:cubicBezTo>
                  <a:cubicBezTo>
                    <a:pt x="733515" y="121879"/>
                    <a:pt x="783777" y="71617"/>
                    <a:pt x="845779" y="71617"/>
                  </a:cubicBezTo>
                  <a:close/>
                  <a:moveTo>
                    <a:pt x="526427" y="71617"/>
                  </a:moveTo>
                  <a:cubicBezTo>
                    <a:pt x="588429" y="71617"/>
                    <a:pt x="638691" y="121879"/>
                    <a:pt x="638691" y="183881"/>
                  </a:cubicBezTo>
                  <a:cubicBezTo>
                    <a:pt x="638691" y="245883"/>
                    <a:pt x="588429" y="296145"/>
                    <a:pt x="526427" y="296145"/>
                  </a:cubicBezTo>
                  <a:cubicBezTo>
                    <a:pt x="464425" y="296145"/>
                    <a:pt x="414163" y="245883"/>
                    <a:pt x="414163" y="183881"/>
                  </a:cubicBezTo>
                  <a:cubicBezTo>
                    <a:pt x="414163" y="121879"/>
                    <a:pt x="464425" y="71617"/>
                    <a:pt x="526427" y="71617"/>
                  </a:cubicBezTo>
                  <a:close/>
                  <a:moveTo>
                    <a:pt x="207075" y="71617"/>
                  </a:moveTo>
                  <a:cubicBezTo>
                    <a:pt x="269077" y="71617"/>
                    <a:pt x="319339" y="121879"/>
                    <a:pt x="319339" y="183881"/>
                  </a:cubicBezTo>
                  <a:cubicBezTo>
                    <a:pt x="319339" y="245883"/>
                    <a:pt x="269077" y="296145"/>
                    <a:pt x="207075" y="296145"/>
                  </a:cubicBezTo>
                  <a:cubicBezTo>
                    <a:pt x="145073" y="296145"/>
                    <a:pt x="94811" y="245883"/>
                    <a:pt x="94811" y="183881"/>
                  </a:cubicBezTo>
                  <a:cubicBezTo>
                    <a:pt x="94811" y="121879"/>
                    <a:pt x="145073" y="71617"/>
                    <a:pt x="207075" y="71617"/>
                  </a:cubicBezTo>
                  <a:close/>
                  <a:moveTo>
                    <a:pt x="182844" y="45713"/>
                  </a:moveTo>
                  <a:cubicBezTo>
                    <a:pt x="107560" y="45713"/>
                    <a:pt x="46530" y="106743"/>
                    <a:pt x="46530" y="182027"/>
                  </a:cubicBezTo>
                  <a:cubicBezTo>
                    <a:pt x="46530" y="257311"/>
                    <a:pt x="107560" y="318341"/>
                    <a:pt x="182844" y="318341"/>
                  </a:cubicBezTo>
                  <a:lnTo>
                    <a:pt x="2141502" y="318341"/>
                  </a:lnTo>
                  <a:cubicBezTo>
                    <a:pt x="2216786" y="318341"/>
                    <a:pt x="2277816" y="257311"/>
                    <a:pt x="2277816" y="182027"/>
                  </a:cubicBezTo>
                  <a:cubicBezTo>
                    <a:pt x="2277816" y="106743"/>
                    <a:pt x="2216786" y="45713"/>
                    <a:pt x="2141502" y="45713"/>
                  </a:cubicBezTo>
                  <a:close/>
                  <a:moveTo>
                    <a:pt x="182027" y="0"/>
                  </a:moveTo>
                  <a:lnTo>
                    <a:pt x="2142319" y="0"/>
                  </a:lnTo>
                  <a:cubicBezTo>
                    <a:pt x="2242850" y="0"/>
                    <a:pt x="2324346" y="81496"/>
                    <a:pt x="2324346" y="182027"/>
                  </a:cubicBezTo>
                  <a:cubicBezTo>
                    <a:pt x="2324346" y="282558"/>
                    <a:pt x="2242850" y="364054"/>
                    <a:pt x="2142319" y="364054"/>
                  </a:cubicBezTo>
                  <a:lnTo>
                    <a:pt x="182027" y="364054"/>
                  </a:lnTo>
                  <a:cubicBezTo>
                    <a:pt x="81496" y="364054"/>
                    <a:pt x="0" y="282558"/>
                    <a:pt x="0" y="182027"/>
                  </a:cubicBezTo>
                  <a:cubicBezTo>
                    <a:pt x="0" y="81496"/>
                    <a:pt x="81496" y="0"/>
                    <a:pt x="182027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pic>
        <p:nvPicPr>
          <p:cNvPr id="19" name="Рисунок 18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3997" y="4478308"/>
            <a:ext cx="349584" cy="349584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7707" y="3546126"/>
            <a:ext cx="473568" cy="473568"/>
          </a:xfrm>
          <a:prstGeom prst="rect">
            <a:avLst/>
          </a:prstGeom>
        </p:spPr>
      </p:pic>
      <p:pic>
        <p:nvPicPr>
          <p:cNvPr id="21" name="Picture 5" descr="C:\Users\admin\Desktop\LOGO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88" y="99098"/>
            <a:ext cx="2006856" cy="427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9796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76</a:t>
            </a:fld>
            <a:endParaRPr lang="ru-RU"/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E2147FE7-BAB7-4D84-B5AD-E7E4814F072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772" y="2992267"/>
            <a:ext cx="3895725" cy="3895725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8BBF8011-BDBC-4232-A674-DF5DEA39D30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9021" y="0"/>
            <a:ext cx="1712979" cy="1395987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1D167D88-1F8B-45EB-BE88-30E78CDDCBF7}"/>
              </a:ext>
            </a:extLst>
          </p:cNvPr>
          <p:cNvSpPr txBox="1"/>
          <p:nvPr/>
        </p:nvSpPr>
        <p:spPr>
          <a:xfrm>
            <a:off x="352427" y="251927"/>
            <a:ext cx="1163637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ИЦИОННЫЕ ПРОЕКТЫ ПО ИНВЕСТИЦИОННОМУ КОНТРАКТУ И СПЕЦИАЛЬНОМУ ИНВЕСТИЦИОННОМУ КОНТРАКТУ</a:t>
            </a: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AB71F374-731E-44D0-A919-AC99EEF977D5}"/>
              </a:ext>
            </a:extLst>
          </p:cNvPr>
          <p:cNvCxnSpPr>
            <a:cxnSpLocks/>
          </p:cNvCxnSpPr>
          <p:nvPr/>
        </p:nvCxnSpPr>
        <p:spPr>
          <a:xfrm>
            <a:off x="11410040" y="6374309"/>
            <a:ext cx="0" cy="2190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Овал 26">
            <a:extLst>
              <a:ext uri="{FF2B5EF4-FFF2-40B4-BE49-F238E27FC236}">
                <a16:creationId xmlns:a16="http://schemas.microsoft.com/office/drawing/2014/main" id="{422F6082-7569-4D21-B6D5-4AF90D36BA8E}"/>
              </a:ext>
            </a:extLst>
          </p:cNvPr>
          <p:cNvSpPr/>
          <p:nvPr/>
        </p:nvSpPr>
        <p:spPr>
          <a:xfrm>
            <a:off x="7812728" y="7466452"/>
            <a:ext cx="154508" cy="154508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8" name="Picture 3">
            <a:extLst>
              <a:ext uri="{FF2B5EF4-FFF2-40B4-BE49-F238E27FC236}">
                <a16:creationId xmlns:a16="http://schemas.microsoft.com/office/drawing/2014/main" id="{524D118D-F584-444E-95E7-6C4E4D14677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02184" y="4052474"/>
            <a:ext cx="365632" cy="359980"/>
          </a:xfrm>
          <a:prstGeom prst="rect">
            <a:avLst/>
          </a:prstGeom>
        </p:spPr>
      </p:pic>
      <p:pic>
        <p:nvPicPr>
          <p:cNvPr id="29" name="Picture 5">
            <a:extLst>
              <a:ext uri="{FF2B5EF4-FFF2-40B4-BE49-F238E27FC236}">
                <a16:creationId xmlns:a16="http://schemas.microsoft.com/office/drawing/2014/main" id="{A5F70731-9828-4B45-BF73-72FEFBAFBCFD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36668" y="5028963"/>
            <a:ext cx="361982" cy="356386"/>
          </a:xfrm>
          <a:prstGeom prst="rect">
            <a:avLst/>
          </a:prstGeom>
        </p:spPr>
      </p:pic>
      <p:sp>
        <p:nvSpPr>
          <p:cNvPr id="30" name="Прямоугольник 4">
            <a:extLst>
              <a:ext uri="{FF2B5EF4-FFF2-40B4-BE49-F238E27FC236}">
                <a16:creationId xmlns:a16="http://schemas.microsoft.com/office/drawing/2014/main" id="{161843C2-4DA7-45FB-9D85-28BAE739CA2F}"/>
              </a:ext>
            </a:extLst>
          </p:cNvPr>
          <p:cNvSpPr/>
          <p:nvPr/>
        </p:nvSpPr>
        <p:spPr>
          <a:xfrm>
            <a:off x="257214" y="1156526"/>
            <a:ext cx="5011467" cy="346241"/>
          </a:xfrm>
          <a:prstGeom prst="rect">
            <a:avLst/>
          </a:prstGeom>
          <a:ln>
            <a:noFill/>
          </a:ln>
        </p:spPr>
        <p:txBody>
          <a:bodyPr wrap="square" lIns="68573" tIns="34286" rIns="68573" bIns="34286">
            <a:spAutoFit/>
          </a:bodyPr>
          <a:lstStyle/>
          <a:p>
            <a:pPr lvl="0"/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ИЦИОННЫЙ ПРОЕКТ</a:t>
            </a:r>
          </a:p>
        </p:txBody>
      </p:sp>
      <p:sp>
        <p:nvSpPr>
          <p:cNvPr id="31" name="Прямоугольник 4">
            <a:extLst>
              <a:ext uri="{FF2B5EF4-FFF2-40B4-BE49-F238E27FC236}">
                <a16:creationId xmlns:a16="http://schemas.microsoft.com/office/drawing/2014/main" id="{9834AEB0-730A-4B8C-9DD6-457E528E4D83}"/>
              </a:ext>
            </a:extLst>
          </p:cNvPr>
          <p:cNvSpPr/>
          <p:nvPr/>
        </p:nvSpPr>
        <p:spPr>
          <a:xfrm>
            <a:off x="718855" y="1765067"/>
            <a:ext cx="3054207" cy="4255003"/>
          </a:xfrm>
          <a:prstGeom prst="rect">
            <a:avLst/>
          </a:prstGeom>
          <a:ln>
            <a:noFill/>
          </a:ln>
        </p:spPr>
        <p:txBody>
          <a:bodyPr wrap="square" lIns="68573" tIns="34286" rIns="68573" bIns="34286">
            <a:spAutoFit/>
          </a:bodyPr>
          <a:lstStyle/>
          <a:p>
            <a:pPr lvl="0"/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>
              <a:defRPr/>
            </a:pPr>
            <a:r>
              <a:rPr lang="ru-RU" sz="1600" dirty="0"/>
              <a:t>Создание новых, расширение или обновление действующих производств, включая производства, созданные, расширенные и (или) обновленные в ходе реализации проекта</a:t>
            </a:r>
            <a:r>
              <a:rPr lang="en-US" sz="1600" dirty="0"/>
              <a:t> </a:t>
            </a:r>
            <a:r>
              <a:rPr lang="ru-RU" sz="1600" dirty="0"/>
              <a:t>ГЧП;</a:t>
            </a:r>
          </a:p>
          <a:p>
            <a:pPr lvl="0"/>
            <a:endParaRPr lang="ru-RU" sz="1600" dirty="0"/>
          </a:p>
          <a:p>
            <a:pPr lvl="0"/>
            <a:r>
              <a:rPr lang="ru-RU" sz="1600" dirty="0"/>
              <a:t>Получателем является юридическое лицо Республики Казахстан;</a:t>
            </a:r>
          </a:p>
          <a:p>
            <a:endParaRPr lang="ru-RU" sz="1600" dirty="0"/>
          </a:p>
          <a:p>
            <a:r>
              <a:rPr lang="ru-RU" sz="1600" dirty="0"/>
              <a:t>Согласно </a:t>
            </a:r>
            <a:r>
              <a:rPr lang="ru-RU" sz="1600" b="1" dirty="0"/>
              <a:t>ППРК от 14.01.2016 года №13 </a:t>
            </a:r>
            <a:r>
              <a:rPr lang="ru-RU" sz="1600" dirty="0"/>
              <a:t>осуществляется ЮЛ по определенным приоритетным видам деятельности, </a:t>
            </a:r>
            <a:r>
              <a:rPr lang="ru-RU" sz="1600" b="1" dirty="0"/>
              <a:t>Части 1.</a:t>
            </a:r>
            <a:r>
              <a:rPr lang="ru-RU" sz="1600" dirty="0"/>
              <a:t> 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32" name="Straight Connector 13">
            <a:extLst>
              <a:ext uri="{FF2B5EF4-FFF2-40B4-BE49-F238E27FC236}">
                <a16:creationId xmlns:a16="http://schemas.microsoft.com/office/drawing/2014/main" id="{5DC71035-A672-452D-8A45-EA456072077B}"/>
              </a:ext>
            </a:extLst>
          </p:cNvPr>
          <p:cNvCxnSpPr>
            <a:cxnSpLocks/>
          </p:cNvCxnSpPr>
          <p:nvPr/>
        </p:nvCxnSpPr>
        <p:spPr>
          <a:xfrm>
            <a:off x="3812658" y="1247634"/>
            <a:ext cx="0" cy="478243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4">
            <a:extLst>
              <a:ext uri="{FF2B5EF4-FFF2-40B4-BE49-F238E27FC236}">
                <a16:creationId xmlns:a16="http://schemas.microsoft.com/office/drawing/2014/main" id="{161843C2-4DA7-45FB-9D85-28BAE739CA2F}"/>
              </a:ext>
            </a:extLst>
          </p:cNvPr>
          <p:cNvSpPr/>
          <p:nvPr/>
        </p:nvSpPr>
        <p:spPr>
          <a:xfrm>
            <a:off x="4125686" y="1153264"/>
            <a:ext cx="4698439" cy="623239"/>
          </a:xfrm>
          <a:prstGeom prst="rect">
            <a:avLst/>
          </a:prstGeom>
          <a:ln>
            <a:noFill/>
          </a:ln>
        </p:spPr>
        <p:txBody>
          <a:bodyPr wrap="square" lIns="68573" tIns="34286" rIns="68573" bIns="34286">
            <a:spAutoFit/>
          </a:bodyPr>
          <a:lstStyle/>
          <a:p>
            <a:pPr lvl="0" algn="ctr"/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ИЦИОННЫЙ ПРИОРИТЕТНЫЙ ПРОЕКТ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4355065" y="1871234"/>
            <a:ext cx="4628303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defRPr/>
            </a:pPr>
            <a:r>
              <a:rPr lang="ru-RU" sz="1600" dirty="0"/>
              <a:t>Создание новых производств при объеме инвестиций ЮЛ, не менее 2 млн. МРП</a:t>
            </a:r>
            <a:r>
              <a:rPr lang="en-US" sz="1600" dirty="0"/>
              <a:t> (</a:t>
            </a:r>
            <a:r>
              <a:rPr lang="ru-RU" sz="1600" dirty="0"/>
              <a:t>примерно </a:t>
            </a:r>
            <a:r>
              <a:rPr lang="ru-RU" sz="1600" dirty="0" smtClean="0"/>
              <a:t>16,264  </a:t>
            </a:r>
            <a:r>
              <a:rPr lang="ru-RU" sz="1600" dirty="0" err="1"/>
              <a:t>млн.долларов</a:t>
            </a:r>
            <a:r>
              <a:rPr lang="ru-RU" sz="1600" dirty="0"/>
              <a:t> </a:t>
            </a:r>
            <a:r>
              <a:rPr lang="ru-RU" sz="1600" dirty="0" smtClean="0"/>
              <a:t>США\ 7.38 млрд тенге</a:t>
            </a:r>
            <a:r>
              <a:rPr lang="en-US" sz="1600" dirty="0" smtClean="0"/>
              <a:t>)</a:t>
            </a:r>
            <a:r>
              <a:rPr lang="ru-RU" sz="1600" dirty="0"/>
              <a:t>;</a:t>
            </a:r>
          </a:p>
          <a:p>
            <a:pPr lvl="0" algn="just">
              <a:defRPr/>
            </a:pPr>
            <a:endParaRPr lang="ru-RU" sz="1600" dirty="0"/>
          </a:p>
          <a:p>
            <a:pPr lvl="0" algn="just">
              <a:defRPr/>
            </a:pPr>
            <a:r>
              <a:rPr lang="ru-RU" sz="1600" dirty="0"/>
              <a:t>Расширение и (или) обновление действующих производств при объеме инвестиций ЮЛ, не менее 5 млн. МРП (примерно </a:t>
            </a:r>
            <a:r>
              <a:rPr lang="ru-RU" sz="1600" dirty="0" smtClean="0"/>
              <a:t>40.661 </a:t>
            </a:r>
            <a:r>
              <a:rPr lang="ru-RU" sz="1600" dirty="0" err="1"/>
              <a:t>млн.долларов</a:t>
            </a:r>
            <a:r>
              <a:rPr lang="ru-RU" sz="1600" dirty="0"/>
              <a:t> </a:t>
            </a:r>
            <a:r>
              <a:rPr lang="ru-RU" sz="1600" dirty="0" smtClean="0"/>
              <a:t>США\ 18.46 млрд тенге</a:t>
            </a:r>
            <a:r>
              <a:rPr lang="en-US" sz="1600" dirty="0" smtClean="0"/>
              <a:t>)</a:t>
            </a:r>
            <a:r>
              <a:rPr lang="ru-RU" sz="1600" dirty="0"/>
              <a:t>.</a:t>
            </a:r>
          </a:p>
          <a:p>
            <a:pPr lvl="0" algn="just">
              <a:defRPr/>
            </a:pPr>
            <a:endParaRPr lang="ru-RU" sz="1600" dirty="0"/>
          </a:p>
          <a:p>
            <a:pPr lvl="0" algn="just">
              <a:defRPr/>
            </a:pPr>
            <a:r>
              <a:rPr lang="ru-RU" sz="1600" dirty="0"/>
              <a:t>При создании новых объектов в сферах пищевой и легкой промышленности размер инвестиций ЮЛ  составляет не менее 1 млн. кратного размера МРП (примерно </a:t>
            </a:r>
            <a:r>
              <a:rPr lang="ru-RU" sz="1600" dirty="0" smtClean="0"/>
              <a:t>8,132  </a:t>
            </a:r>
            <a:r>
              <a:rPr lang="ru-RU" sz="1600" dirty="0" err="1"/>
              <a:t>млн.долларов</a:t>
            </a:r>
            <a:r>
              <a:rPr lang="ru-RU" sz="1600" dirty="0"/>
              <a:t> </a:t>
            </a:r>
            <a:r>
              <a:rPr lang="ru-RU" sz="1600" dirty="0" smtClean="0"/>
              <a:t>США\ 3.69 млрд тенге). </a:t>
            </a:r>
            <a:endParaRPr lang="ru-RU" sz="1600" dirty="0"/>
          </a:p>
          <a:p>
            <a:pPr lvl="0" algn="just">
              <a:defRPr/>
            </a:pPr>
            <a:endParaRPr lang="ru-RU" sz="1600" dirty="0"/>
          </a:p>
          <a:p>
            <a:pPr lvl="0" algn="just">
              <a:defRPr/>
            </a:pPr>
            <a:r>
              <a:rPr lang="ru-RU" sz="1600" dirty="0"/>
              <a:t>При создании туристических объектов на приоритетных туристских территориях, размер инвестиций ЮЛ составляет не менее 200 тыс. МРП (примерно </a:t>
            </a:r>
            <a:r>
              <a:rPr lang="ru-RU" sz="1600" dirty="0" smtClean="0"/>
              <a:t>1.</a:t>
            </a:r>
            <a:r>
              <a:rPr lang="en-US" sz="1600" dirty="0" smtClean="0"/>
              <a:t>626</a:t>
            </a:r>
            <a:r>
              <a:rPr lang="ru-RU" sz="1600" dirty="0" smtClean="0"/>
              <a:t>  </a:t>
            </a:r>
            <a:r>
              <a:rPr lang="ru-RU" sz="1600" dirty="0" err="1"/>
              <a:t>млн.долларов</a:t>
            </a:r>
            <a:r>
              <a:rPr lang="ru-RU" sz="1600" dirty="0"/>
              <a:t> </a:t>
            </a:r>
            <a:r>
              <a:rPr lang="ru-RU" sz="1600" dirty="0" smtClean="0"/>
              <a:t>США</a:t>
            </a:r>
            <a:r>
              <a:rPr lang="en-US" sz="1600" dirty="0" smtClean="0"/>
              <a:t>\ 738 </a:t>
            </a:r>
            <a:r>
              <a:rPr lang="kk-KZ" sz="1600" smtClean="0"/>
              <a:t>млн </a:t>
            </a:r>
            <a:r>
              <a:rPr lang="kk-KZ" sz="1600" dirty="0" smtClean="0"/>
              <a:t>тенге</a:t>
            </a:r>
            <a:r>
              <a:rPr lang="ru-RU" sz="1600" dirty="0" smtClean="0"/>
              <a:t>).</a:t>
            </a:r>
            <a:endParaRPr lang="ru-RU" sz="1600" dirty="0"/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7558" y="2047021"/>
            <a:ext cx="329609" cy="329609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2994" y="3081050"/>
            <a:ext cx="390758" cy="390758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1759" y="4298731"/>
            <a:ext cx="506563" cy="506563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2665" y="5509199"/>
            <a:ext cx="426390" cy="605904"/>
          </a:xfrm>
          <a:prstGeom prst="rect">
            <a:avLst/>
          </a:prstGeom>
          <a:noFill/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347" y="2076844"/>
            <a:ext cx="329609" cy="329609"/>
          </a:xfrm>
          <a:prstGeom prst="rect">
            <a:avLst/>
          </a:prstGeom>
        </p:spPr>
      </p:pic>
      <p:cxnSp>
        <p:nvCxnSpPr>
          <p:cNvPr id="40" name="Straight Connector 13">
            <a:extLst>
              <a:ext uri="{FF2B5EF4-FFF2-40B4-BE49-F238E27FC236}">
                <a16:creationId xmlns:a16="http://schemas.microsoft.com/office/drawing/2014/main" id="{5DC71035-A672-452D-8A45-EA456072077B}"/>
              </a:ext>
            </a:extLst>
          </p:cNvPr>
          <p:cNvCxnSpPr>
            <a:cxnSpLocks/>
          </p:cNvCxnSpPr>
          <p:nvPr/>
        </p:nvCxnSpPr>
        <p:spPr>
          <a:xfrm>
            <a:off x="8983368" y="1236750"/>
            <a:ext cx="0" cy="478243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Прямоугольник 4">
            <a:extLst>
              <a:ext uri="{FF2B5EF4-FFF2-40B4-BE49-F238E27FC236}">
                <a16:creationId xmlns:a16="http://schemas.microsoft.com/office/drawing/2014/main" id="{161843C2-4DA7-45FB-9D85-28BAE739CA2F}"/>
              </a:ext>
            </a:extLst>
          </p:cNvPr>
          <p:cNvSpPr/>
          <p:nvPr/>
        </p:nvSpPr>
        <p:spPr>
          <a:xfrm>
            <a:off x="9248806" y="1146877"/>
            <a:ext cx="3062936" cy="900238"/>
          </a:xfrm>
          <a:prstGeom prst="rect">
            <a:avLst/>
          </a:prstGeom>
          <a:ln>
            <a:noFill/>
          </a:ln>
        </p:spPr>
        <p:txBody>
          <a:bodyPr wrap="square" lIns="68573" tIns="34286" rIns="68573" bIns="34286">
            <a:spAutoFit/>
          </a:bodyPr>
          <a:lstStyle/>
          <a:p>
            <a:pPr lvl="0"/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ЕЦИАЛЬНЫЙ ИНВЕСТИЦИОННЫЙ ПРОЕКТ</a:t>
            </a:r>
          </a:p>
        </p:txBody>
      </p:sp>
      <p:sp>
        <p:nvSpPr>
          <p:cNvPr id="42" name="Прямоугольник 4">
            <a:extLst>
              <a:ext uri="{FF2B5EF4-FFF2-40B4-BE49-F238E27FC236}">
                <a16:creationId xmlns:a16="http://schemas.microsoft.com/office/drawing/2014/main" id="{9834AEB0-730A-4B8C-9DD6-457E528E4D83}"/>
              </a:ext>
            </a:extLst>
          </p:cNvPr>
          <p:cNvSpPr/>
          <p:nvPr/>
        </p:nvSpPr>
        <p:spPr>
          <a:xfrm>
            <a:off x="9366761" y="1796634"/>
            <a:ext cx="2748243" cy="4501224"/>
          </a:xfrm>
          <a:prstGeom prst="rect">
            <a:avLst/>
          </a:prstGeom>
          <a:ln>
            <a:noFill/>
          </a:ln>
        </p:spPr>
        <p:txBody>
          <a:bodyPr wrap="square" lIns="68573" tIns="34286" rIns="68573" bIns="34286">
            <a:spAutoFit/>
          </a:bodyPr>
          <a:lstStyle/>
          <a:p>
            <a:pPr lvl="0" algn="just"/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>
              <a:defRPr/>
            </a:pPr>
            <a:r>
              <a:rPr lang="ru-RU" sz="1600" dirty="0"/>
              <a:t>Инвестиционный проект, реализованный (реализуемый) ЮЛ РК: </a:t>
            </a:r>
          </a:p>
          <a:p>
            <a:pPr lvl="0" algn="just">
              <a:defRPr/>
            </a:pPr>
            <a:endParaRPr lang="ru-RU" sz="1600" dirty="0"/>
          </a:p>
          <a:p>
            <a:pPr lvl="0" algn="just">
              <a:defRPr/>
            </a:pPr>
            <a:r>
              <a:rPr lang="ru-RU" sz="1600" dirty="0"/>
              <a:t>Участники СЭЗ;</a:t>
            </a:r>
          </a:p>
          <a:p>
            <a:pPr lvl="0" algn="just">
              <a:defRPr/>
            </a:pPr>
            <a:endParaRPr lang="ru-RU" sz="1600" dirty="0"/>
          </a:p>
          <a:p>
            <a:pPr lvl="0" algn="just">
              <a:defRPr/>
            </a:pPr>
            <a:r>
              <a:rPr lang="ru-RU" sz="1600" dirty="0"/>
              <a:t>Владельцы свободного склада в соответствии с таможенным законодательством РК</a:t>
            </a:r>
          </a:p>
          <a:p>
            <a:pPr lvl="0" algn="just">
              <a:defRPr/>
            </a:pPr>
            <a:endParaRPr lang="ru-RU" sz="1600" dirty="0"/>
          </a:p>
          <a:p>
            <a:pPr lvl="0" algn="just">
              <a:defRPr/>
            </a:pPr>
            <a:r>
              <a:rPr lang="ru-RU" sz="1600" dirty="0"/>
              <a:t>Заключившие соглашение о промышленной сборке транспортных средств и их компонентов либо о сборке сельскохозяйственной техники и ее компонентов. </a:t>
            </a:r>
          </a:p>
        </p:txBody>
      </p:sp>
      <p:pic>
        <p:nvPicPr>
          <p:cNvPr id="43" name="Picture 5">
            <a:extLst>
              <a:ext uri="{FF2B5EF4-FFF2-40B4-BE49-F238E27FC236}">
                <a16:creationId xmlns:a16="http://schemas.microsoft.com/office/drawing/2014/main" id="{A5F70731-9828-4B45-BF73-72FEFBAFBCFD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067815" y="2111068"/>
            <a:ext cx="361982" cy="356386"/>
          </a:xfrm>
          <a:prstGeom prst="rect">
            <a:avLst/>
          </a:prstGeom>
        </p:spPr>
      </p:pic>
      <p:pic>
        <p:nvPicPr>
          <p:cNvPr id="44" name="Picture 5" descr="C:\Users\admin\Desktop\LOG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88" y="99098"/>
            <a:ext cx="2006856" cy="427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205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77</a:t>
            </a:fld>
            <a:endParaRPr lang="ru-RU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BC2ECB6-CA94-4F91-976F-A36AFF85765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" y="2962275"/>
            <a:ext cx="3895725" cy="3895725"/>
          </a:xfrm>
          <a:prstGeom prst="rect">
            <a:avLst/>
          </a:prstGeom>
        </p:spPr>
      </p:pic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67337973-4974-4768-8952-BF0A2358E6EB}"/>
              </a:ext>
            </a:extLst>
          </p:cNvPr>
          <p:cNvCxnSpPr>
            <a:cxnSpLocks/>
          </p:cNvCxnSpPr>
          <p:nvPr/>
        </p:nvCxnSpPr>
        <p:spPr>
          <a:xfrm>
            <a:off x="11481952" y="6375804"/>
            <a:ext cx="0" cy="2190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98FE350-99E3-4E9A-8ED7-3446D00F8E4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9021" y="0"/>
            <a:ext cx="1712979" cy="1395987"/>
          </a:xfrm>
          <a:prstGeom prst="rect">
            <a:avLst/>
          </a:prstGeom>
        </p:spPr>
      </p:pic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1602170955"/>
              </p:ext>
            </p:extLst>
          </p:nvPr>
        </p:nvGraphicFramePr>
        <p:xfrm>
          <a:off x="137884" y="273351"/>
          <a:ext cx="10649859" cy="67043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4913298" y="2574896"/>
            <a:ext cx="1852577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388E3C"/>
              </a:buClr>
              <a:defRPr lang="ru-RU"/>
            </a:pPr>
            <a:r>
              <a:rPr lang="ru-RU" sz="1600" dirty="0">
                <a:latin typeface="Arial Narrow" panose="020B0606020202030204" pitchFamily="34" charset="0"/>
              </a:rPr>
              <a:t>Освобождение от обложения таможенными пошлинами не более 5 лет; </a:t>
            </a:r>
          </a:p>
          <a:p>
            <a:pPr algn="ctr">
              <a:buClr>
                <a:srgbClr val="388E3C"/>
              </a:buClr>
              <a:defRPr lang="ru-RU"/>
            </a:pPr>
            <a:r>
              <a:rPr lang="ru-RU" sz="1600" dirty="0">
                <a:latin typeface="Arial Narrow" panose="020B0606020202030204" pitchFamily="34" charset="0"/>
              </a:rPr>
              <a:t>Государственные натурные гранты – стоимость земли не превышает 30% от общей суммы инвестиций.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FBCC399-28CA-45B7-B625-5515B8850DF4}"/>
              </a:ext>
            </a:extLst>
          </p:cNvPr>
          <p:cNvPicPr>
            <a:picLocks noChangeAspect="1"/>
          </p:cNvPicPr>
          <p:nvPr/>
        </p:nvPicPr>
        <p:blipFill>
          <a:blip r:embed="rId9">
            <a:biLevel thresh="75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4360" b="98093" l="482" r="93976">
                        <a14:foregroundMark x1="24578" y1="11444" x2="24578" y2="11444"/>
                        <a14:foregroundMark x1="39518" y1="3815" x2="93735" y2="39510"/>
                        <a14:foregroundMark x1="93735" y1="39510" x2="93976" y2="44414"/>
                        <a14:foregroundMark x1="76867" y1="10082" x2="48916" y2="1090"/>
                        <a14:foregroundMark x1="48916" y1="1090" x2="22410" y2="10899"/>
                        <a14:foregroundMark x1="22410" y1="10899" x2="8434" y2="34060"/>
                        <a14:foregroundMark x1="8434" y1="34060" x2="7470" y2="64305"/>
                        <a14:foregroundMark x1="7470" y1="64305" x2="19277" y2="72207"/>
                        <a14:foregroundMark x1="19277" y1="72207" x2="32048" y2="71935"/>
                        <a14:foregroundMark x1="32048" y1="71935" x2="49880" y2="71935"/>
                        <a14:foregroundMark x1="49880" y1="71935" x2="64337" y2="78474"/>
                        <a14:foregroundMark x1="64337" y1="78474" x2="71325" y2="90191"/>
                        <a14:foregroundMark x1="71325" y1="90191" x2="59518" y2="94823"/>
                        <a14:foregroundMark x1="59518" y1="94823" x2="46988" y2="95095"/>
                        <a14:foregroundMark x1="46988" y1="95095" x2="31084" y2="84469"/>
                        <a14:foregroundMark x1="31084" y1="84469" x2="26747" y2="74659"/>
                        <a14:foregroundMark x1="85301" y1="55041" x2="79518" y2="70845"/>
                        <a14:foregroundMark x1="79518" y1="70845" x2="60482" y2="82289"/>
                        <a14:foregroundMark x1="84337" y1="30518" x2="5783" y2="61035"/>
                        <a14:foregroundMark x1="5783" y1="61035" x2="14940" y2="62398"/>
                        <a14:foregroundMark x1="482" y1="57766" x2="6265" y2="53134"/>
                        <a14:foregroundMark x1="13976" y1="47411" x2="22651" y2="33243"/>
                        <a14:foregroundMark x1="22651" y1="33243" x2="37108" y2="22343"/>
                        <a14:foregroundMark x1="37108" y1="22343" x2="42410" y2="20708"/>
                        <a14:foregroundMark x1="61205" y1="27793" x2="25301" y2="31608"/>
                        <a14:foregroundMark x1="25301" y1="31608" x2="24578" y2="32153"/>
                        <a14:foregroundMark x1="67470" y1="6812" x2="33012" y2="4360"/>
                        <a14:foregroundMark x1="52048" y1="98093" x2="52048" y2="9809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230584">
            <a:off x="5440403" y="1687760"/>
            <a:ext cx="918122" cy="811929"/>
          </a:xfrm>
          <a:prstGeom prst="rect">
            <a:avLst/>
          </a:prstGeom>
          <a:solidFill>
            <a:schemeClr val="accent3">
              <a:lumMod val="40000"/>
              <a:lumOff val="60000"/>
              <a:alpha val="50000"/>
            </a:schemeClr>
          </a:solidFill>
          <a:ln>
            <a:noFill/>
          </a:ln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279E003-D5B8-41B8-B84A-0D801606ABB8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biLevel thresh="75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1538">
                        <a14:foregroundMark x1="21538" y1="49286" x2="21538" y2="49286"/>
                        <a14:foregroundMark x1="11923" y1="28214" x2="11923" y2="28214"/>
                        <a14:foregroundMark x1="18846" y1="30357" x2="18846" y2="30357"/>
                        <a14:foregroundMark x1="91538" y1="55000" x2="91538" y2="55000"/>
                        <a14:foregroundMark x1="79231" y1="45714" x2="79231" y2="45714"/>
                        <a14:foregroundMark x1="72692" y1="40357" x2="72692" y2="40357"/>
                        <a14:foregroundMark x1="68846" y1="31429" x2="68846" y2="31429"/>
                        <a14:foregroundMark x1="24231" y1="27857" x2="24231" y2="27857"/>
                        <a14:backgroundMark x1="19231" y1="30000" x2="19231" y2="30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2325" b="22932"/>
          <a:stretch/>
        </p:blipFill>
        <p:spPr>
          <a:xfrm>
            <a:off x="7266882" y="4897900"/>
            <a:ext cx="1336435" cy="1142660"/>
          </a:xfrm>
          <a:prstGeom prst="rect">
            <a:avLst/>
          </a:prstGeom>
          <a:solidFill>
            <a:schemeClr val="accent3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</p:pic>
      <p:sp>
        <p:nvSpPr>
          <p:cNvPr id="11" name="Прямоугольник 10"/>
          <p:cNvSpPr/>
          <p:nvPr/>
        </p:nvSpPr>
        <p:spPr>
          <a:xfrm>
            <a:off x="1654043" y="1690074"/>
            <a:ext cx="40007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ИНВЕСТИЦИОННОГО </a:t>
            </a:r>
          </a:p>
          <a:p>
            <a:pPr algn="ctr"/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ПРОЕКТА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9041" y="5174273"/>
            <a:ext cx="866287" cy="866287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6390902" y="1640590"/>
            <a:ext cx="310698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ИНВЕСТИЦИОННОГО ПРИОРИТЕТНОГО </a:t>
            </a:r>
          </a:p>
          <a:p>
            <a:pPr algn="ctr"/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ПРОЕКТ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D167D88-1F8B-45EB-BE88-30E78CDDCBF7}"/>
              </a:ext>
            </a:extLst>
          </p:cNvPr>
          <p:cNvSpPr txBox="1"/>
          <p:nvPr/>
        </p:nvSpPr>
        <p:spPr>
          <a:xfrm>
            <a:off x="352427" y="251927"/>
            <a:ext cx="116363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КЕТ ПРЕФЕРЕНЦИЙ ПО ИНВЕСТИЦИОННОМУ КОНТРАКТУ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163149" y="960498"/>
            <a:ext cx="548259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lang="ru-RU" sz="2800"/>
            </a:pPr>
            <a:r>
              <a:rPr lang="ru-RU" sz="2000" b="1" dirty="0">
                <a:solidFill>
                  <a:srgbClr val="B9A113"/>
                </a:solidFill>
                <a:latin typeface="Arial Narrow" panose="020B0606020202030204" pitchFamily="34" charset="0"/>
              </a:rPr>
              <a:t>ИНВЕСТИЦИОННЫЙ КОНТРАКТ НА РЕАЛИЗАЦИЮ</a:t>
            </a:r>
          </a:p>
        </p:txBody>
      </p:sp>
      <p:pic>
        <p:nvPicPr>
          <p:cNvPr id="16" name="Picture 5" descr="C:\Users\admin\Desktop\LOGO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88" y="99098"/>
            <a:ext cx="2006856" cy="427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540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78</a:t>
            </a:fld>
            <a:endParaRPr lang="ru-RU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2147FE7-BAB7-4D84-B5AD-E7E4814F072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3034308"/>
            <a:ext cx="3895725" cy="3895725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BBF8011-BDBC-4232-A674-DF5DEA39D30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9021" y="0"/>
            <a:ext cx="1712979" cy="139598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D167D88-1F8B-45EB-BE88-30E78CDDCBF7}"/>
              </a:ext>
            </a:extLst>
          </p:cNvPr>
          <p:cNvSpPr txBox="1"/>
          <p:nvPr/>
        </p:nvSpPr>
        <p:spPr>
          <a:xfrm>
            <a:off x="352427" y="251927"/>
            <a:ext cx="116363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ИЦИОННЫЕ ПРЕФЕРЕНЦИИ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AB71F374-731E-44D0-A919-AC99EEF977D5}"/>
              </a:ext>
            </a:extLst>
          </p:cNvPr>
          <p:cNvCxnSpPr>
            <a:cxnSpLocks/>
          </p:cNvCxnSpPr>
          <p:nvPr/>
        </p:nvCxnSpPr>
        <p:spPr>
          <a:xfrm>
            <a:off x="11627759" y="6343651"/>
            <a:ext cx="0" cy="2190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C0A35081-F288-4E42-AC54-BCFAC8C8F4EE}"/>
              </a:ext>
            </a:extLst>
          </p:cNvPr>
          <p:cNvSpPr/>
          <p:nvPr/>
        </p:nvSpPr>
        <p:spPr>
          <a:xfrm>
            <a:off x="1708320" y="2806999"/>
            <a:ext cx="3734388" cy="1300348"/>
          </a:xfrm>
          <a:prstGeom prst="rect">
            <a:avLst/>
          </a:prstGeom>
          <a:ln>
            <a:noFill/>
          </a:ln>
        </p:spPr>
        <p:txBody>
          <a:bodyPr wrap="square" lIns="68573" tIns="34286" rIns="68573" bIns="34286">
            <a:spAutoFit/>
          </a:bodyPr>
          <a:lstStyle/>
          <a:p>
            <a:pPr algn="just">
              <a:buClr>
                <a:srgbClr val="388E3C"/>
              </a:buClr>
              <a:defRPr lang="ru-RU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возными таможенными пошлинами</a:t>
            </a:r>
          </a:p>
          <a:p>
            <a:pPr lvl="0"/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>
              <a:buClr>
                <a:srgbClr val="388E3C"/>
              </a:buClr>
              <a:defRPr lang="ru-RU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ДС в соответствии с налоговым законодательством Республики Казахстан.</a:t>
            </a:r>
          </a:p>
        </p:txBody>
      </p:sp>
      <p:sp>
        <p:nvSpPr>
          <p:cNvPr id="9" name="Прямоугольник 4">
            <a:extLst>
              <a:ext uri="{FF2B5EF4-FFF2-40B4-BE49-F238E27FC236}">
                <a16:creationId xmlns:a16="http://schemas.microsoft.com/office/drawing/2014/main" id="{BE189859-25F4-4B24-9A73-54E069041DC8}"/>
              </a:ext>
            </a:extLst>
          </p:cNvPr>
          <p:cNvSpPr/>
          <p:nvPr/>
        </p:nvSpPr>
        <p:spPr>
          <a:xfrm>
            <a:off x="1482429" y="1733588"/>
            <a:ext cx="3960279" cy="623239"/>
          </a:xfrm>
          <a:prstGeom prst="rect">
            <a:avLst/>
          </a:prstGeom>
          <a:ln>
            <a:noFill/>
          </a:ln>
        </p:spPr>
        <p:txBody>
          <a:bodyPr wrap="square" lIns="68573" tIns="34286" rIns="68573" bIns="34286">
            <a:spAutoFit/>
          </a:bodyPr>
          <a:lstStyle/>
          <a:p>
            <a:pPr lvl="0"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ПЕЦИАЛЬНОГО  ИНВЕСТИЦИОННОГО ПРОЕКТА</a:t>
            </a:r>
          </a:p>
        </p:txBody>
      </p:sp>
      <p:cxnSp>
        <p:nvCxnSpPr>
          <p:cNvPr id="10" name="Straight Connector 13">
            <a:extLst>
              <a:ext uri="{FF2B5EF4-FFF2-40B4-BE49-F238E27FC236}">
                <a16:creationId xmlns:a16="http://schemas.microsoft.com/office/drawing/2014/main" id="{F2F98D94-5E51-4DE2-B38B-907CDC863E39}"/>
              </a:ext>
            </a:extLst>
          </p:cNvPr>
          <p:cNvCxnSpPr>
            <a:cxnSpLocks/>
          </p:cNvCxnSpPr>
          <p:nvPr/>
        </p:nvCxnSpPr>
        <p:spPr>
          <a:xfrm>
            <a:off x="1546983" y="2979831"/>
            <a:ext cx="0" cy="4082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Овал 10">
            <a:extLst>
              <a:ext uri="{FF2B5EF4-FFF2-40B4-BE49-F238E27FC236}">
                <a16:creationId xmlns:a16="http://schemas.microsoft.com/office/drawing/2014/main" id="{BE80FA9E-4C6C-4968-A9D7-1D90CA0A641C}"/>
              </a:ext>
            </a:extLst>
          </p:cNvPr>
          <p:cNvSpPr/>
          <p:nvPr/>
        </p:nvSpPr>
        <p:spPr>
          <a:xfrm>
            <a:off x="1482429" y="3380464"/>
            <a:ext cx="154508" cy="154508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7A0A64FB-C9E9-4053-8031-6F6AEEAA0CC3}"/>
              </a:ext>
            </a:extLst>
          </p:cNvPr>
          <p:cNvSpPr/>
          <p:nvPr/>
        </p:nvSpPr>
        <p:spPr>
          <a:xfrm>
            <a:off x="1482429" y="2925332"/>
            <a:ext cx="154508" cy="154508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1276563" y="1085403"/>
            <a:ext cx="43307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B4975A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ПЕЦИАЛЬНЫЙ ИНВЕСТИЦИОННЫЙ КОНТРАКТ НА РЕАЛИЗАЦИЮ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2F98D94-5E51-4DE2-B38B-907CDC863E39}"/>
              </a:ext>
            </a:extLst>
          </p:cNvPr>
          <p:cNvCxnSpPr>
            <a:cxnSpLocks/>
            <a:stCxn id="15" idx="0"/>
          </p:cNvCxnSpPr>
          <p:nvPr/>
        </p:nvCxnSpPr>
        <p:spPr>
          <a:xfrm>
            <a:off x="5788783" y="2912632"/>
            <a:ext cx="0" cy="209264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вал 14">
            <a:extLst>
              <a:ext uri="{FF2B5EF4-FFF2-40B4-BE49-F238E27FC236}">
                <a16:creationId xmlns:a16="http://schemas.microsoft.com/office/drawing/2014/main" id="{7A0A64FB-C9E9-4053-8031-6F6AEEAA0CC3}"/>
              </a:ext>
            </a:extLst>
          </p:cNvPr>
          <p:cNvSpPr/>
          <p:nvPr/>
        </p:nvSpPr>
        <p:spPr>
          <a:xfrm>
            <a:off x="5711529" y="2912632"/>
            <a:ext cx="154508" cy="154508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27DADBFF-A0D0-425C-A0DA-BD6923D174BA}"/>
              </a:ext>
            </a:extLst>
          </p:cNvPr>
          <p:cNvSpPr/>
          <p:nvPr/>
        </p:nvSpPr>
        <p:spPr>
          <a:xfrm>
            <a:off x="5711529" y="4100153"/>
            <a:ext cx="154508" cy="154508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134D6805-25A1-4743-A321-1F4D373BB1B1}"/>
              </a:ext>
            </a:extLst>
          </p:cNvPr>
          <p:cNvSpPr/>
          <p:nvPr/>
        </p:nvSpPr>
        <p:spPr>
          <a:xfrm>
            <a:off x="5711529" y="4850773"/>
            <a:ext cx="154508" cy="154508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C0A35081-F288-4E42-AC54-BCFAC8C8F4EE}"/>
              </a:ext>
            </a:extLst>
          </p:cNvPr>
          <p:cNvSpPr/>
          <p:nvPr/>
        </p:nvSpPr>
        <p:spPr>
          <a:xfrm>
            <a:off x="5899320" y="2818437"/>
            <a:ext cx="3734388" cy="2285233"/>
          </a:xfrm>
          <a:prstGeom prst="rect">
            <a:avLst/>
          </a:prstGeom>
          <a:ln>
            <a:noFill/>
          </a:ln>
        </p:spPr>
        <p:txBody>
          <a:bodyPr wrap="square" lIns="68573" tIns="34286" rIns="68573" bIns="34286">
            <a:spAutoFit/>
          </a:bodyPr>
          <a:lstStyle/>
          <a:p>
            <a:pPr lvl="0" algn="just">
              <a:buClr>
                <a:srgbClr val="388E3C"/>
              </a:buClr>
              <a:defRPr lang="ru-RU"/>
            </a:pPr>
            <a:r>
              <a: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вобождение от обложения:</a:t>
            </a:r>
          </a:p>
          <a:p>
            <a:pPr marL="285750" lvl="0" indent="-285750" algn="just">
              <a:buClr>
                <a:srgbClr val="388E3C"/>
              </a:buClr>
              <a:buFont typeface="Arial" panose="020B0604020202020204" pitchFamily="34" charset="0"/>
              <a:buChar char="•"/>
              <a:defRPr lang="ru-RU"/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ПН до 10 лет;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lvl="0" indent="-285750" algn="just">
              <a:buClr>
                <a:srgbClr val="388E3C"/>
              </a:buClr>
              <a:buFont typeface="Arial" panose="020B0604020202020204" pitchFamily="34" charset="0"/>
              <a:buChar char="•"/>
              <a:defRPr lang="ru-RU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емельным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логом до 10 лет;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lvl="0" indent="-285750" algn="just">
              <a:buClr>
                <a:srgbClr val="388E3C"/>
              </a:buClr>
              <a:buFont typeface="Arial" panose="020B0604020202020204" pitchFamily="34" charset="0"/>
              <a:buChar char="•"/>
              <a:defRPr lang="ru-RU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логом на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мущество до 8 лет;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lvl="0" indent="-285750" algn="just">
              <a:buClr>
                <a:srgbClr val="388E3C"/>
              </a:buClr>
              <a:buFont typeface="Arial" panose="020B0604020202020204" pitchFamily="34" charset="0"/>
              <a:buChar char="•"/>
              <a:defRPr lang="ru-RU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>
              <a:buClr>
                <a:srgbClr val="388E3C"/>
              </a:buClr>
              <a:defRPr lang="ru-RU"/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ые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ференции в соответствии с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словиями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глашения;</a:t>
            </a:r>
          </a:p>
          <a:p>
            <a:pPr algn="just">
              <a:buClr>
                <a:srgbClr val="388E3C"/>
              </a:buClr>
              <a:defRPr lang="ru-RU"/>
            </a:pP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>
              <a:buClr>
                <a:srgbClr val="388E3C"/>
              </a:buClr>
              <a:defRPr lang="ru-RU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 действия – 25 лет</a:t>
            </a:r>
          </a:p>
        </p:txBody>
      </p:sp>
      <p:cxnSp>
        <p:nvCxnSpPr>
          <p:cNvPr id="19" name="Straight Connector 13">
            <a:extLst>
              <a:ext uri="{FF2B5EF4-FFF2-40B4-BE49-F238E27FC236}">
                <a16:creationId xmlns:a16="http://schemas.microsoft.com/office/drawing/2014/main" id="{5DC71035-A672-452D-8A45-EA456072077B}"/>
              </a:ext>
            </a:extLst>
          </p:cNvPr>
          <p:cNvCxnSpPr>
            <a:cxnSpLocks/>
          </p:cNvCxnSpPr>
          <p:nvPr/>
        </p:nvCxnSpPr>
        <p:spPr>
          <a:xfrm>
            <a:off x="5537303" y="1971637"/>
            <a:ext cx="0" cy="3952428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19"/>
          <p:cNvSpPr/>
          <p:nvPr/>
        </p:nvSpPr>
        <p:spPr>
          <a:xfrm>
            <a:off x="5999141" y="1085403"/>
            <a:ext cx="363456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B4975A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ОГЛАШЕНИЕ ОБ ИНВЕСТИЦИЯХ на РЕАЛИЗАЦИЮ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6057014" y="1718871"/>
            <a:ext cx="3214020" cy="992571"/>
          </a:xfrm>
          <a:prstGeom prst="rect">
            <a:avLst/>
          </a:prstGeom>
          <a:ln>
            <a:noFill/>
          </a:ln>
        </p:spPr>
        <p:txBody>
          <a:bodyPr wrap="square" lIns="68573" tIns="34286" rIns="68573" bIns="34286">
            <a:spAutoFit/>
          </a:bodyPr>
          <a:lstStyle/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НВЕСТИЦИОННОГО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ЕКТА</a:t>
            </a:r>
          </a:p>
          <a:p>
            <a:pPr algn="ctr"/>
            <a:r>
              <a:rPr lang="ru-RU" sz="1400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и объеме инвестиций в размере не менее 7,5 млн. МРП (27,7 млрд. </a:t>
            </a:r>
            <a:r>
              <a:rPr lang="ru-RU" sz="1400" i="1" dirty="0" err="1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г</a:t>
            </a:r>
            <a:r>
              <a:rPr lang="ru-RU" sz="1400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. или 61 млн. долл. США</a:t>
            </a:r>
            <a:r>
              <a:rPr lang="ru-RU" sz="1400" i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)</a:t>
            </a:r>
            <a:endParaRPr lang="ru-RU" i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Picture 5" descr="C:\Users\admin\Desktop\LOG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88" y="99098"/>
            <a:ext cx="2006856" cy="427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9827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t>79</a:t>
            </a:fld>
            <a:endParaRPr lang="ru-RU"/>
          </a:p>
        </p:txBody>
      </p:sp>
      <p:sp>
        <p:nvSpPr>
          <p:cNvPr id="3" name="Rectangle 6"/>
          <p:cNvSpPr txBox="1">
            <a:spLocks noChangeArrowheads="1"/>
          </p:cNvSpPr>
          <p:nvPr/>
        </p:nvSpPr>
        <p:spPr>
          <a:xfrm>
            <a:off x="946034" y="222504"/>
            <a:ext cx="10731388" cy="55118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000" b="1" dirty="0">
              <a:solidFill>
                <a:srgbClr val="B4975A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362791" y="795130"/>
            <a:ext cx="11664950" cy="0"/>
          </a:xfrm>
          <a:prstGeom prst="line">
            <a:avLst/>
          </a:prstGeom>
          <a:ln w="254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235425" y="126669"/>
            <a:ext cx="1144199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ИЦИОННЫЙ НАЛОГОВЫЙ КРЕДИТ</a:t>
            </a:r>
            <a:endParaRPr lang="ru-RU" altLang="ru-RU" sz="2400" b="1" dirty="0">
              <a:solidFill>
                <a:schemeClr val="accent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6EC209B6-E44D-43B0-B29D-3732EF28BF11}"/>
              </a:ext>
            </a:extLst>
          </p:cNvPr>
          <p:cNvCxnSpPr>
            <a:cxnSpLocks/>
          </p:cNvCxnSpPr>
          <p:nvPr/>
        </p:nvCxnSpPr>
        <p:spPr>
          <a:xfrm flipH="1">
            <a:off x="3690651" y="843015"/>
            <a:ext cx="4090" cy="5829145"/>
          </a:xfrm>
          <a:prstGeom prst="line">
            <a:avLst/>
          </a:prstGeom>
          <a:ln w="19050">
            <a:solidFill>
              <a:srgbClr val="00B0F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22">
            <a:extLst>
              <a:ext uri="{FF2B5EF4-FFF2-40B4-BE49-F238E27FC236}">
                <a16:creationId xmlns:a16="http://schemas.microsoft.com/office/drawing/2014/main" id="{2A74A7EC-CBC7-497F-A4F8-E05E3D5AC41A}"/>
              </a:ext>
            </a:extLst>
          </p:cNvPr>
          <p:cNvSpPr>
            <a:extLst>
              <a:ext uri="smNativeData">
                <pr:smNativeData xmlns:mc="http://schemas.openxmlformats.org/markup-compatibility/2006" xmlns:p14="http://schemas.microsoft.com/office/powerpoint/2010/main" xmlns:p15="http://schemas.microsoft.com/office/powerpoint/2012/main" xmlns:pr="smNativeData" xmlns="smNativeData" val="SMDATA_16_ndtaYBMAAAAlAAAAZAAAAE0AAAAAkAAAAEgAAACQAAAASAAAAAAAAAAAAAAAAAAAAAEAAABQAAAAAAAAAAAA4D8AAAAAAADgPwAAAAAAAOA/AAAAAAAA4D8AAAAAAADgPwAAAAAAAOA/AAAAAAAA4D8AAAAAAADgPwAAAAAAAOA/AAAAAAAA4D8CAAAAjAAAAAAAAAAAAAAAW5vVDP///wgAAAAAAAAAAAAAAAAAAAAAAAAAAAAAAAAAAAAAZAAAAAEAAABAAAAAAAAAAAAAAAAAAAAAAAAAAAAAAAAAAAAAAAAAAAAAAAAAAAAAAAAAAAAAAAAAAAAAAAAAAAAAAAAAAAAAAAAAAAAAAAAAAAAAAAAAAAAAAAAAAAAAFAAAADwAAAAAAAAAAAAAAAAAAAAPAAAAAQAAACMAAAAjAAAAIwAAAB4AAAAAAAAAZAAAAGQAAAAAAAAAZAAAAGQAAAAVAAAAYAAAAAAAAAAAAAAADwAAACADAAAAAAAAAAAAAAEAAACgMgAAVgcAAKr4//8BAAAAf39/AAEAAABkAAAAAAAAABQAAABAHwAAAAAAACYAAAAAAAAAwOD//wAAAAAmAAAAZAAAABYAAABMAAAAAAAAAAAAAAAEAAAAAAAAAAEAAADn5uYKAAAAACgAAAAoAAAAZAAAAGQAAAAAAAAAzMzMAAAAAABQAAAAUAAAAGQAAABkAAAAAAAAABcAAAAUAAAAAAAAAAAAAAD/fwAA/38AAAAAAAAJAAAABAAAAJjwaH4eAAAAaAAAAAAAAAAAAAAAAAAAAAAAAAAAAAAAECcAABAnAAAAAAAAAAAAAAAAAAAAAAAAAAAAAAAAAAAAAAAAAAAAABQAAAAAAAAAwMD/AAAAAABkAAAAMgAAAAAAAABkAAAAAAAAAH9/fwAKAAAAIgAAABgAAAAAAAAAAAAAAAAAAAAAAAAAAAAAAAAAAAAkAAAAJAAAAAAAAAAHAAAAAAAAAAAAAAAAAAAAAAAAAAAAAAAAAAAAf39/ACUAAABYAAAAAAAAAAAAAAAAAAAAAAAAAAAAAAAAAAAAAAAAAAAAAAAAAAAAAAAAAAAAAAA/AAAAAAAAAKCGAQAAAAAAAAAAAAAAAAAMAAAAAQAAAAAAAAAAAAAAAAAAAB8AAABUAAAAVJ45Bf///wEAAAAAAAAAAAAAAAAAAAAAAAAAAAAAAAAAAAAAAAAAAAAAAAB/f38A497RA8zMzADAwP8Af39/AAAAAAAAAAAAAAAAAAAAAAAAAAAAIQAAABgAAAAUAAAAdAMAAGAPAABZEQAARREAABAgAAAmAAAACAAAAP//////////MAAAABQAAAAAAAAAAAD//wAAAQAAAP//AAABAA=="/>
              </a:ext>
            </a:extLst>
          </p:cNvSpPr>
          <p:nvPr/>
        </p:nvSpPr>
        <p:spPr>
          <a:xfrm>
            <a:off x="252621" y="1274651"/>
            <a:ext cx="3524002" cy="8823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spcCol="215900" anchor="t"/>
          <a:lstStyle/>
          <a:p>
            <a:pPr algn="ctr"/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</a:rPr>
              <a:t>ПОНЯТИЕ</a:t>
            </a:r>
          </a:p>
          <a:p>
            <a:pPr>
              <a:defRPr lang="ru-RU"/>
            </a:pPr>
            <a:endParaRPr lang="ru-RU" sz="1300" i="1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  <a:ea typeface="Calibri" pitchFamily="2" charset="-52"/>
              <a:cs typeface="Calibri" pitchFamily="2" charset="-52"/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 lang="ru-RU"/>
            </a:pPr>
            <a:endParaRPr lang="ru-RU" sz="1300" i="1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  <a:ea typeface="Calibri" pitchFamily="2" charset="-52"/>
              <a:cs typeface="Calibri" pitchFamily="2" charset="-52"/>
            </a:endParaRPr>
          </a:p>
        </p:txBody>
      </p:sp>
      <p:sp>
        <p:nvSpPr>
          <p:cNvPr id="8" name="TextBox 22">
            <a:extLst>
              <a:ext uri="{FF2B5EF4-FFF2-40B4-BE49-F238E27FC236}">
                <a16:creationId xmlns:a16="http://schemas.microsoft.com/office/drawing/2014/main" id="{2A74A7EC-CBC7-497F-A4F8-E05E3D5AC41A}"/>
              </a:ext>
            </a:extLst>
          </p:cNvPr>
          <p:cNvSpPr>
            <a:extLst>
              <a:ext uri="smNativeData">
                <pr:smNativeData xmlns:mc="http://schemas.openxmlformats.org/markup-compatibility/2006" xmlns:p14="http://schemas.microsoft.com/office/powerpoint/2010/main" xmlns:p15="http://schemas.microsoft.com/office/powerpoint/2012/main" xmlns:pr="smNativeData" xmlns="smNativeData" val="SMDATA_16_ndtaYBMAAAAlAAAAZAAAAE0AAAAAkAAAAEgAAACQAAAASAAAAAAAAAAAAAAAAAAAAAEAAABQAAAAAAAAAAAA4D8AAAAAAADgPwAAAAAAAOA/AAAAAAAA4D8AAAAAAADgPwAAAAAAAOA/AAAAAAAA4D8AAAAAAADgPwAAAAAAAOA/AAAAAAAA4D8CAAAAjAAAAAAAAAAAAAAAW5vVDP///wgAAAAAAAAAAAAAAAAAAAAAAAAAAAAAAAAAAAAAZAAAAAEAAABAAAAAAAAAAAAAAAAAAAAAAAAAAAAAAAAAAAAAAAAAAAAAAAAAAAAAAAAAAAAAAAAAAAAAAAAAAAAAAAAAAAAAAAAAAAAAAAAAAAAAAAAAAAAAAAAAAAAAFAAAADwAAAAAAAAAAAAAAAAAAAAPAAAAAQAAACMAAAAjAAAAIwAAAB4AAAAAAAAAZAAAAGQAAAAAAAAAZAAAAGQAAAAVAAAAYAAAAAAAAAAAAAAADwAAACADAAAAAAAAAAAAAAEAAACgMgAAVgcAAKr4//8BAAAAf39/AAEAAABkAAAAAAAAABQAAABAHwAAAAAAACYAAAAAAAAAwOD//wAAAAAmAAAAZAAAABYAAABMAAAAAAAAAAAAAAAEAAAAAAAAAAEAAADn5uYKAAAAACgAAAAoAAAAZAAAAGQAAAAAAAAAzMzMAAAAAABQAAAAUAAAAGQAAABkAAAAAAAAABcAAAAUAAAAAAAAAAAAAAD/fwAA/38AAAAAAAAJAAAABAAAAJjwaH4eAAAAaAAAAAAAAAAAAAAAAAAAAAAAAAAAAAAAECcAABAnAAAAAAAAAAAAAAAAAAAAAAAAAAAAAAAAAAAAAAAAAAAAABQAAAAAAAAAwMD/AAAAAABkAAAAMgAAAAAAAABkAAAAAAAAAH9/fwAKAAAAIgAAABgAAAAAAAAAAAAAAAAAAAAAAAAAAAAAAAAAAAAkAAAAJAAAAAAAAAAHAAAAAAAAAAAAAAAAAAAAAAAAAAAAAAAAAAAAf39/ACUAAABYAAAAAAAAAAAAAAAAAAAAAAAAAAAAAAAAAAAAAAAAAAAAAAAAAAAAAAAAAAAAAAA/AAAAAAAAAKCGAQAAAAAAAAAAAAAAAAAMAAAAAQAAAAAAAAAAAAAAAAAAAB8AAABUAAAAVJ45Bf///wEAAAAAAAAAAAAAAAAAAAAAAAAAAAAAAAAAAAAAAAAAAAAAAAB/f38A497RA8zMzADAwP8Af39/AAAAAAAAAAAAAAAAAAAAAAAAAAAAIQAAABgAAAAUAAAAdAMAAGAPAABZEQAARREAABAgAAAmAAAACAAAAP//////////MAAAABQAAAAAAAAAAAD//wAAAQAAAP//AAABAA=="/>
              </a:ext>
            </a:extLst>
          </p:cNvSpPr>
          <p:nvPr/>
        </p:nvSpPr>
        <p:spPr>
          <a:xfrm>
            <a:off x="3826356" y="930659"/>
            <a:ext cx="8168334" cy="88233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spcCol="215900" anchor="t"/>
          <a:lstStyle/>
          <a:p>
            <a:pPr lvl="0" algn="just">
              <a:defRPr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иционный налоговый кредит – возможность изменения срока уплаты КПН и налога на имущество, путем уменьшения на 100 % платежей по ним с последующей поэтапной уплатой суммы кредита, срок кредита до трех лет.</a:t>
            </a:r>
          </a:p>
          <a:p>
            <a:pPr>
              <a:defRPr lang="ru-RU"/>
            </a:pPr>
            <a:endParaRPr lang="ru-RU" sz="1300" i="1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  <a:ea typeface="Calibri" pitchFamily="2" charset="-52"/>
              <a:cs typeface="Calibri" pitchFamily="2" charset="-52"/>
            </a:endParaRPr>
          </a:p>
          <a:p>
            <a:pPr>
              <a:spcBef>
                <a:spcPts val="0"/>
              </a:spcBef>
              <a:spcAft>
                <a:spcPts val="0"/>
              </a:spcAft>
              <a:defRPr lang="ru-RU"/>
            </a:pPr>
            <a:endParaRPr lang="ru-RU" sz="1300" i="1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  <a:ea typeface="Calibri" pitchFamily="2" charset="-52"/>
              <a:cs typeface="Calibri" pitchFamily="2" charset="-52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47769" y="2705773"/>
            <a:ext cx="325258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УСЛОВИЯ ПРЕДОСТАВЛЕНИЯ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807376" y="2373417"/>
            <a:ext cx="814996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defRPr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йствующий инвестиционный контракт на реализацию инвестиционного проекта, за исключением инвестиционного приоритетного проекта и соглашения об инвестициях, </a:t>
            </a:r>
          </a:p>
          <a:p>
            <a:pPr lvl="0" algn="just">
              <a:defRPr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сутствие задолженности по налогам и другим обязательным платежам в бюджет и задолженности по социальным платежам у заявителя на дату рассмотрения заявления.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723FCFD7-8442-488A-B8AE-7D3F338B4703}"/>
              </a:ext>
            </a:extLst>
          </p:cNvPr>
          <p:cNvCxnSpPr>
            <a:cxnSpLocks/>
          </p:cNvCxnSpPr>
          <p:nvPr/>
        </p:nvCxnSpPr>
        <p:spPr>
          <a:xfrm flipV="1">
            <a:off x="361731" y="4116825"/>
            <a:ext cx="11674119" cy="15060"/>
          </a:xfrm>
          <a:prstGeom prst="line">
            <a:avLst/>
          </a:prstGeom>
          <a:ln w="19050">
            <a:solidFill>
              <a:srgbClr val="B9A1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347769" y="4241054"/>
            <a:ext cx="30737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КАК ПОЛУЧИТЬ</a:t>
            </a:r>
          </a:p>
        </p:txBody>
      </p:sp>
      <p:pic>
        <p:nvPicPr>
          <p:cNvPr id="13" name="Picture 5" descr="C:\Users\admin\Desktop\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88" y="99098"/>
            <a:ext cx="2006856" cy="427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3822696" y="4261037"/>
            <a:ext cx="8171994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явление в налоговый орган по месту регистрации с приложением необходимых документов, в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.ч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графиком погашения платежей согласно типовому соглашению;</a:t>
            </a:r>
          </a:p>
          <a:p>
            <a:pPr algn="just">
              <a:defRPr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смотрение в налоговом органе – 5 рабочих дней,  далее в уполномоченном органе по инвестициям – 20 рабочих дней;</a:t>
            </a:r>
          </a:p>
          <a:p>
            <a:pPr algn="just">
              <a:defRPr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шение уполномоченного органа по инвестициям о подписании или отказе  - 10 рабочих дней;</a:t>
            </a:r>
          </a:p>
          <a:p>
            <a:pPr algn="just">
              <a:defRPr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явитель получает два экземпляра соглашения нарочно для подписания.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723FCFD7-8442-488A-B8AE-7D3F338B4703}"/>
              </a:ext>
            </a:extLst>
          </p:cNvPr>
          <p:cNvCxnSpPr>
            <a:cxnSpLocks/>
          </p:cNvCxnSpPr>
          <p:nvPr/>
        </p:nvCxnSpPr>
        <p:spPr>
          <a:xfrm flipV="1">
            <a:off x="375902" y="2110816"/>
            <a:ext cx="11674119" cy="15060"/>
          </a:xfrm>
          <a:prstGeom prst="line">
            <a:avLst/>
          </a:prstGeom>
          <a:ln w="19050">
            <a:solidFill>
              <a:srgbClr val="B9A11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83DDA9CB-AD14-4754-9D0C-2A2151E3DD4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992267"/>
            <a:ext cx="3895725" cy="389572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ED52C1C2-08D9-47A8-AA65-1AD575BBA14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9021" y="0"/>
            <a:ext cx="1712979" cy="1395987"/>
          </a:xfrm>
          <a:prstGeom prst="rect">
            <a:avLst/>
          </a:prstGeom>
        </p:spPr>
      </p:pic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AB71F374-731E-44D0-A919-AC99EEF977D5}"/>
              </a:ext>
            </a:extLst>
          </p:cNvPr>
          <p:cNvCxnSpPr>
            <a:cxnSpLocks/>
          </p:cNvCxnSpPr>
          <p:nvPr/>
        </p:nvCxnSpPr>
        <p:spPr>
          <a:xfrm>
            <a:off x="11627759" y="6419851"/>
            <a:ext cx="0" cy="2190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4935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59A5E1A1-1B2E-49F0-A6C9-3578E9FD8F10}"/>
              </a:ext>
            </a:extLst>
          </p:cNvPr>
          <p:cNvSpPr/>
          <p:nvPr/>
        </p:nvSpPr>
        <p:spPr>
          <a:xfrm>
            <a:off x="360891" y="221691"/>
            <a:ext cx="116539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u="sng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Процедура закупа ЛС и МИ </a:t>
            </a:r>
            <a:r>
              <a:rPr lang="ru-RU" b="1" u="sng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у </a:t>
            </a:r>
            <a:r>
              <a:rPr lang="ru-RU" b="1" u="sng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ОТП в рамках Долгосрочного Договора согласно </a:t>
            </a:r>
          </a:p>
          <a:p>
            <a:pPr algn="ctr"/>
            <a:r>
              <a:rPr lang="ru-RU" b="1" u="sng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Главы 6 (параграф 3) Правил 110 </a:t>
            </a:r>
            <a:r>
              <a:rPr lang="en-US" b="1" u="sng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https://adilet.zan.kz/rus/docs/V2300032733#z2285</a:t>
            </a:r>
            <a:endParaRPr lang="ru-RU" b="1" u="sng" dirty="0" smtClean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583" name="Freeform 44"/>
          <p:cNvSpPr>
            <a:spLocks/>
          </p:cNvSpPr>
          <p:nvPr/>
        </p:nvSpPr>
        <p:spPr bwMode="auto">
          <a:xfrm>
            <a:off x="2272723" y="1975900"/>
            <a:ext cx="404813" cy="282575"/>
          </a:xfrm>
          <a:custGeom>
            <a:avLst/>
            <a:gdLst>
              <a:gd name="T0" fmla="*/ 129 w 255"/>
              <a:gd name="T1" fmla="*/ 0 h 178"/>
              <a:gd name="T2" fmla="*/ 0 w 255"/>
              <a:gd name="T3" fmla="*/ 173 h 178"/>
              <a:gd name="T4" fmla="*/ 8 w 255"/>
              <a:gd name="T5" fmla="*/ 178 h 178"/>
              <a:gd name="T6" fmla="*/ 46 w 255"/>
              <a:gd name="T7" fmla="*/ 148 h 178"/>
              <a:gd name="T8" fmla="*/ 86 w 255"/>
              <a:gd name="T9" fmla="*/ 178 h 178"/>
              <a:gd name="T10" fmla="*/ 124 w 255"/>
              <a:gd name="T11" fmla="*/ 148 h 178"/>
              <a:gd name="T12" fmla="*/ 164 w 255"/>
              <a:gd name="T13" fmla="*/ 178 h 178"/>
              <a:gd name="T14" fmla="*/ 202 w 255"/>
              <a:gd name="T15" fmla="*/ 148 h 178"/>
              <a:gd name="T16" fmla="*/ 242 w 255"/>
              <a:gd name="T17" fmla="*/ 178 h 178"/>
              <a:gd name="T18" fmla="*/ 255 w 255"/>
              <a:gd name="T19" fmla="*/ 169 h 178"/>
              <a:gd name="T20" fmla="*/ 129 w 255"/>
              <a:gd name="T21" fmla="*/ 0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55" h="178">
                <a:moveTo>
                  <a:pt x="129" y="0"/>
                </a:moveTo>
                <a:lnTo>
                  <a:pt x="0" y="173"/>
                </a:lnTo>
                <a:lnTo>
                  <a:pt x="8" y="178"/>
                </a:lnTo>
                <a:lnTo>
                  <a:pt x="46" y="148"/>
                </a:lnTo>
                <a:lnTo>
                  <a:pt x="86" y="178"/>
                </a:lnTo>
                <a:lnTo>
                  <a:pt x="124" y="148"/>
                </a:lnTo>
                <a:lnTo>
                  <a:pt x="164" y="178"/>
                </a:lnTo>
                <a:lnTo>
                  <a:pt x="202" y="148"/>
                </a:lnTo>
                <a:lnTo>
                  <a:pt x="242" y="178"/>
                </a:lnTo>
                <a:lnTo>
                  <a:pt x="255" y="169"/>
                </a:lnTo>
                <a:lnTo>
                  <a:pt x="129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584" name="Freeform 45"/>
          <p:cNvSpPr>
            <a:spLocks noEditPoints="1"/>
          </p:cNvSpPr>
          <p:nvPr/>
        </p:nvSpPr>
        <p:spPr bwMode="auto">
          <a:xfrm>
            <a:off x="1747261" y="2002027"/>
            <a:ext cx="730250" cy="979488"/>
          </a:xfrm>
          <a:custGeom>
            <a:avLst/>
            <a:gdLst>
              <a:gd name="T0" fmla="*/ 27 w 460"/>
              <a:gd name="T1" fmla="*/ 583 h 617"/>
              <a:gd name="T2" fmla="*/ 27 w 460"/>
              <a:gd name="T3" fmla="*/ 583 h 617"/>
              <a:gd name="T4" fmla="*/ 0 w 460"/>
              <a:gd name="T5" fmla="*/ 617 h 617"/>
              <a:gd name="T6" fmla="*/ 27 w 460"/>
              <a:gd name="T7" fmla="*/ 583 h 617"/>
              <a:gd name="T8" fmla="*/ 460 w 460"/>
              <a:gd name="T9" fmla="*/ 0 h 617"/>
              <a:gd name="T10" fmla="*/ 212 w 460"/>
              <a:gd name="T11" fmla="*/ 333 h 617"/>
              <a:gd name="T12" fmla="*/ 212 w 460"/>
              <a:gd name="T13" fmla="*/ 333 h 617"/>
              <a:gd name="T14" fmla="*/ 460 w 460"/>
              <a:gd name="T15" fmla="*/ 0 h 617"/>
              <a:gd name="T16" fmla="*/ 460 w 460"/>
              <a:gd name="T1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60" h="617">
                <a:moveTo>
                  <a:pt x="27" y="583"/>
                </a:moveTo>
                <a:lnTo>
                  <a:pt x="27" y="583"/>
                </a:lnTo>
                <a:lnTo>
                  <a:pt x="0" y="617"/>
                </a:lnTo>
                <a:lnTo>
                  <a:pt x="27" y="583"/>
                </a:lnTo>
                <a:close/>
                <a:moveTo>
                  <a:pt x="460" y="0"/>
                </a:moveTo>
                <a:lnTo>
                  <a:pt x="212" y="333"/>
                </a:lnTo>
                <a:lnTo>
                  <a:pt x="212" y="333"/>
                </a:lnTo>
                <a:lnTo>
                  <a:pt x="460" y="0"/>
                </a:lnTo>
                <a:lnTo>
                  <a:pt x="460" y="0"/>
                </a:lnTo>
                <a:close/>
              </a:path>
            </a:pathLst>
          </a:custGeom>
          <a:solidFill>
            <a:srgbClr val="ABA7A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585" name="Freeform 46"/>
          <p:cNvSpPr>
            <a:spLocks noEditPoints="1"/>
          </p:cNvSpPr>
          <p:nvPr/>
        </p:nvSpPr>
        <p:spPr bwMode="auto">
          <a:xfrm>
            <a:off x="1747261" y="2002027"/>
            <a:ext cx="730250" cy="979488"/>
          </a:xfrm>
          <a:custGeom>
            <a:avLst/>
            <a:gdLst>
              <a:gd name="T0" fmla="*/ 27 w 460"/>
              <a:gd name="T1" fmla="*/ 583 h 617"/>
              <a:gd name="T2" fmla="*/ 27 w 460"/>
              <a:gd name="T3" fmla="*/ 583 h 617"/>
              <a:gd name="T4" fmla="*/ 0 w 460"/>
              <a:gd name="T5" fmla="*/ 617 h 617"/>
              <a:gd name="T6" fmla="*/ 27 w 460"/>
              <a:gd name="T7" fmla="*/ 583 h 617"/>
              <a:gd name="T8" fmla="*/ 460 w 460"/>
              <a:gd name="T9" fmla="*/ 0 h 617"/>
              <a:gd name="T10" fmla="*/ 212 w 460"/>
              <a:gd name="T11" fmla="*/ 333 h 617"/>
              <a:gd name="T12" fmla="*/ 212 w 460"/>
              <a:gd name="T13" fmla="*/ 333 h 617"/>
              <a:gd name="T14" fmla="*/ 460 w 460"/>
              <a:gd name="T15" fmla="*/ 0 h 617"/>
              <a:gd name="T16" fmla="*/ 460 w 460"/>
              <a:gd name="T1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60" h="617">
                <a:moveTo>
                  <a:pt x="27" y="583"/>
                </a:moveTo>
                <a:lnTo>
                  <a:pt x="27" y="583"/>
                </a:lnTo>
                <a:lnTo>
                  <a:pt x="0" y="617"/>
                </a:lnTo>
                <a:lnTo>
                  <a:pt x="27" y="583"/>
                </a:lnTo>
                <a:moveTo>
                  <a:pt x="460" y="0"/>
                </a:moveTo>
                <a:lnTo>
                  <a:pt x="212" y="333"/>
                </a:lnTo>
                <a:lnTo>
                  <a:pt x="212" y="333"/>
                </a:lnTo>
                <a:lnTo>
                  <a:pt x="460" y="0"/>
                </a:lnTo>
                <a:lnTo>
                  <a:pt x="46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592" name="Freeform 50"/>
          <p:cNvSpPr>
            <a:spLocks/>
          </p:cNvSpPr>
          <p:nvPr/>
        </p:nvSpPr>
        <p:spPr bwMode="auto">
          <a:xfrm>
            <a:off x="2272723" y="1975900"/>
            <a:ext cx="206375" cy="282575"/>
          </a:xfrm>
          <a:custGeom>
            <a:avLst/>
            <a:gdLst>
              <a:gd name="T0" fmla="*/ 129 w 130"/>
              <a:gd name="T1" fmla="*/ 0 h 178"/>
              <a:gd name="T2" fmla="*/ 129 w 130"/>
              <a:gd name="T3" fmla="*/ 0 h 178"/>
              <a:gd name="T4" fmla="*/ 0 w 130"/>
              <a:gd name="T5" fmla="*/ 173 h 178"/>
              <a:gd name="T6" fmla="*/ 8 w 130"/>
              <a:gd name="T7" fmla="*/ 178 h 178"/>
              <a:gd name="T8" fmla="*/ 46 w 130"/>
              <a:gd name="T9" fmla="*/ 148 h 178"/>
              <a:gd name="T10" fmla="*/ 86 w 130"/>
              <a:gd name="T11" fmla="*/ 178 h 178"/>
              <a:gd name="T12" fmla="*/ 124 w 130"/>
              <a:gd name="T13" fmla="*/ 148 h 178"/>
              <a:gd name="T14" fmla="*/ 130 w 130"/>
              <a:gd name="T15" fmla="*/ 152 h 178"/>
              <a:gd name="T16" fmla="*/ 129 w 130"/>
              <a:gd name="T17" fmla="*/ 0 h 178"/>
              <a:gd name="T18" fmla="*/ 129 w 130"/>
              <a:gd name="T19" fmla="*/ 0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0" h="178">
                <a:moveTo>
                  <a:pt x="129" y="0"/>
                </a:moveTo>
                <a:lnTo>
                  <a:pt x="129" y="0"/>
                </a:lnTo>
                <a:lnTo>
                  <a:pt x="0" y="173"/>
                </a:lnTo>
                <a:lnTo>
                  <a:pt x="8" y="178"/>
                </a:lnTo>
                <a:lnTo>
                  <a:pt x="46" y="148"/>
                </a:lnTo>
                <a:lnTo>
                  <a:pt x="86" y="178"/>
                </a:lnTo>
                <a:lnTo>
                  <a:pt x="124" y="148"/>
                </a:lnTo>
                <a:lnTo>
                  <a:pt x="130" y="152"/>
                </a:lnTo>
                <a:lnTo>
                  <a:pt x="129" y="0"/>
                </a:lnTo>
                <a:lnTo>
                  <a:pt x="129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cxnSp>
        <p:nvCxnSpPr>
          <p:cNvPr id="152" name="Straight Connector 34">
            <a:extLst>
              <a:ext uri="{FF2B5EF4-FFF2-40B4-BE49-F238E27FC236}">
                <a16:creationId xmlns:a16="http://schemas.microsoft.com/office/drawing/2014/main" id="{3DA4F0B6-38C2-495B-9418-291816027EE2}"/>
              </a:ext>
            </a:extLst>
          </p:cNvPr>
          <p:cNvCxnSpPr>
            <a:cxnSpLocks/>
          </p:cNvCxnSpPr>
          <p:nvPr/>
        </p:nvCxnSpPr>
        <p:spPr>
          <a:xfrm>
            <a:off x="1438989" y="2221447"/>
            <a:ext cx="7184173" cy="8549"/>
          </a:xfrm>
          <a:prstGeom prst="line">
            <a:avLst/>
          </a:prstGeom>
          <a:ln w="136525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7" name="Прямоугольник 936">
            <a:extLst>
              <a:ext uri="{FF2B5EF4-FFF2-40B4-BE49-F238E27FC236}">
                <a16:creationId xmlns:a16="http://schemas.microsoft.com/office/drawing/2014/main" id="{DC95A62B-54B7-4119-843E-A8CA9EF4BE3E}"/>
              </a:ext>
            </a:extLst>
          </p:cNvPr>
          <p:cNvSpPr/>
          <p:nvPr/>
        </p:nvSpPr>
        <p:spPr>
          <a:xfrm>
            <a:off x="3220258" y="1017973"/>
            <a:ext cx="1690634" cy="623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5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СК-Ф </a:t>
            </a:r>
            <a:r>
              <a:rPr lang="ru-RU" sz="115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информирует МЗ РК о готовности поставки ЛС и МИ</a:t>
            </a:r>
            <a:endParaRPr lang="id-ID" sz="1150" dirty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cxnSp>
        <p:nvCxnSpPr>
          <p:cNvPr id="337" name="Straight Connector 34">
            <a:extLst>
              <a:ext uri="{FF2B5EF4-FFF2-40B4-BE49-F238E27FC236}">
                <a16:creationId xmlns:a16="http://schemas.microsoft.com/office/drawing/2014/main" id="{EC621C7F-0B7E-4EDF-991C-44069D7AE6E3}"/>
              </a:ext>
            </a:extLst>
          </p:cNvPr>
          <p:cNvCxnSpPr>
            <a:cxnSpLocks/>
          </p:cNvCxnSpPr>
          <p:nvPr/>
        </p:nvCxnSpPr>
        <p:spPr>
          <a:xfrm flipV="1">
            <a:off x="8581565" y="2204190"/>
            <a:ext cx="3096869" cy="27071"/>
          </a:xfrm>
          <a:prstGeom prst="line">
            <a:avLst/>
          </a:prstGeom>
          <a:ln w="136525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Стрелка: шеврон 53">
            <a:extLst>
              <a:ext uri="{FF2B5EF4-FFF2-40B4-BE49-F238E27FC236}">
                <a16:creationId xmlns:a16="http://schemas.microsoft.com/office/drawing/2014/main" id="{39C05B9A-62E2-4979-B7B1-727A88726D8E}"/>
              </a:ext>
            </a:extLst>
          </p:cNvPr>
          <p:cNvSpPr/>
          <p:nvPr/>
        </p:nvSpPr>
        <p:spPr>
          <a:xfrm>
            <a:off x="8487363" y="2095871"/>
            <a:ext cx="235018" cy="254386"/>
          </a:xfrm>
          <a:prstGeom prst="chevron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3F3F3F"/>
              </a:solidFill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AA29E86C-8648-49C2-9FA0-D98234235A42}"/>
              </a:ext>
            </a:extLst>
          </p:cNvPr>
          <p:cNvSpPr/>
          <p:nvPr/>
        </p:nvSpPr>
        <p:spPr>
          <a:xfrm>
            <a:off x="9173486" y="1021197"/>
            <a:ext cx="218838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5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СК-Ф заключает дополнительное соглашение с поставщиком ЛС и МИ  в рамках ДД</a:t>
            </a:r>
            <a:endParaRPr lang="ru-RU" sz="1150" b="1" dirty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DC95A62B-54B7-4119-843E-A8CA9EF4BE3E}"/>
              </a:ext>
            </a:extLst>
          </p:cNvPr>
          <p:cNvSpPr/>
          <p:nvPr/>
        </p:nvSpPr>
        <p:spPr>
          <a:xfrm>
            <a:off x="322124" y="1017973"/>
            <a:ext cx="17925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5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ОТП уведомляет </a:t>
            </a:r>
            <a:r>
              <a:rPr lang="ru-RU" sz="115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в СК-Ф о готовности к поставке ЛС и МИ в рамках </a:t>
            </a:r>
            <a:r>
              <a:rPr lang="ru-RU" sz="115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ДД</a:t>
            </a:r>
            <a:endParaRPr lang="ru-RU" sz="1150" b="1" dirty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61" name="Стрелка: шеврон 53">
            <a:extLst>
              <a:ext uri="{FF2B5EF4-FFF2-40B4-BE49-F238E27FC236}">
                <a16:creationId xmlns:a16="http://schemas.microsoft.com/office/drawing/2014/main" id="{39C05B9A-62E2-4979-B7B1-727A88726D8E}"/>
              </a:ext>
            </a:extLst>
          </p:cNvPr>
          <p:cNvSpPr/>
          <p:nvPr/>
        </p:nvSpPr>
        <p:spPr>
          <a:xfrm>
            <a:off x="2488155" y="2092692"/>
            <a:ext cx="235018" cy="254386"/>
          </a:xfrm>
          <a:prstGeom prst="chevron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3F3F3F"/>
              </a:solidFill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77" name="Oval 19">
            <a:extLst>
              <a:ext uri="{FF2B5EF4-FFF2-40B4-BE49-F238E27FC236}">
                <a16:creationId xmlns:a16="http://schemas.microsoft.com/office/drawing/2014/main" id="{92CF7CED-4202-4442-BE83-CF062CF0CCE3}"/>
              </a:ext>
            </a:extLst>
          </p:cNvPr>
          <p:cNvSpPr/>
          <p:nvPr/>
        </p:nvSpPr>
        <p:spPr>
          <a:xfrm>
            <a:off x="6360979" y="1982971"/>
            <a:ext cx="1111897" cy="652999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b="1" dirty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~</a:t>
            </a:r>
          </a:p>
        </p:txBody>
      </p:sp>
      <p:sp>
        <p:nvSpPr>
          <p:cNvPr id="82" name="Стрелка: шеврон 53">
            <a:extLst>
              <a:ext uri="{FF2B5EF4-FFF2-40B4-BE49-F238E27FC236}">
                <a16:creationId xmlns:a16="http://schemas.microsoft.com/office/drawing/2014/main" id="{39C05B9A-62E2-4979-B7B1-727A88726D8E}"/>
              </a:ext>
            </a:extLst>
          </p:cNvPr>
          <p:cNvSpPr/>
          <p:nvPr/>
        </p:nvSpPr>
        <p:spPr>
          <a:xfrm>
            <a:off x="5418830" y="2086429"/>
            <a:ext cx="235018" cy="254386"/>
          </a:xfrm>
          <a:prstGeom prst="chevron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3F3F3F"/>
              </a:solidFill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DC95A62B-54B7-4119-843E-A8CA9EF4BE3E}"/>
              </a:ext>
            </a:extLst>
          </p:cNvPr>
          <p:cNvSpPr/>
          <p:nvPr/>
        </p:nvSpPr>
        <p:spPr>
          <a:xfrm>
            <a:off x="5841242" y="1017973"/>
            <a:ext cx="2226103" cy="9771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5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МЗ РК утверждает/вносит изменения в Перечень ЕД для заключения дополнительных соглашений</a:t>
            </a:r>
            <a:endParaRPr lang="ru-RU" sz="1150" b="1" dirty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85" name="Oval 19">
            <a:extLst>
              <a:ext uri="{FF2B5EF4-FFF2-40B4-BE49-F238E27FC236}">
                <a16:creationId xmlns:a16="http://schemas.microsoft.com/office/drawing/2014/main" id="{92CF7CED-4202-4442-BE83-CF062CF0CCE3}"/>
              </a:ext>
            </a:extLst>
          </p:cNvPr>
          <p:cNvSpPr/>
          <p:nvPr/>
        </p:nvSpPr>
        <p:spPr>
          <a:xfrm>
            <a:off x="3447755" y="1893386"/>
            <a:ext cx="1246493" cy="652999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 smtClean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После уведомления ОТП </a:t>
            </a:r>
          </a:p>
        </p:txBody>
      </p:sp>
      <p:sp>
        <p:nvSpPr>
          <p:cNvPr id="86" name="Oval 19">
            <a:extLst>
              <a:ext uri="{FF2B5EF4-FFF2-40B4-BE49-F238E27FC236}">
                <a16:creationId xmlns:a16="http://schemas.microsoft.com/office/drawing/2014/main" id="{92CF7CED-4202-4442-BE83-CF062CF0CCE3}"/>
              </a:ext>
            </a:extLst>
          </p:cNvPr>
          <p:cNvSpPr/>
          <p:nvPr/>
        </p:nvSpPr>
        <p:spPr>
          <a:xfrm>
            <a:off x="577220" y="1893386"/>
            <a:ext cx="1275049" cy="652999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 smtClean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При необходимости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436017" y="2712725"/>
            <a:ext cx="4896850" cy="3916349"/>
          </a:xfrm>
          <a:prstGeom prst="rect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69" name="Прямоугольник 68"/>
          <p:cNvSpPr/>
          <p:nvPr/>
        </p:nvSpPr>
        <p:spPr>
          <a:xfrm>
            <a:off x="669156" y="3309576"/>
            <a:ext cx="4627032" cy="3319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54000" algn="just" fontAlgn="base"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) </a:t>
            </a:r>
            <a:r>
              <a:rPr lang="ru-RU" sz="1400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ключение ЛС и МИ в перечень 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единого дистрибьютора;</a:t>
            </a:r>
            <a:endParaRPr lang="ru-RU" sz="1200" dirty="0"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254000" algn="just" fontAlgn="base"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2) предоставлении заказчиками заявок на </a:t>
            </a:r>
            <a:r>
              <a:rPr lang="ru-RU" sz="1400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ЛС и МИ;</a:t>
            </a:r>
            <a:endParaRPr lang="ru-RU" sz="1200" dirty="0"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254000" algn="just" fontAlgn="base"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3) подтверждении поставщиком соответствия требованиям </a:t>
            </a:r>
            <a:r>
              <a:rPr lang="ru-RU" sz="1400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унктов 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8, 9 и 11 Правил 110;</a:t>
            </a:r>
          </a:p>
          <a:p>
            <a:pPr indent="254000" algn="just" fontAlgn="base"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4) представлении сертификата о происхождении </a:t>
            </a:r>
            <a:r>
              <a:rPr lang="ru-RU" sz="1400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ЛС и МИ 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ля внутреннего обращения «СТ-KZ», а также сертификата на производство </a:t>
            </a:r>
            <a:r>
              <a:rPr lang="ru-RU" sz="1400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ЛС в 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оответствии с требованиями </a:t>
            </a:r>
            <a:r>
              <a:rPr lang="ru-RU" sz="1400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MP 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/или производство </a:t>
            </a:r>
            <a:r>
              <a:rPr lang="ru-RU" sz="1400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И в </a:t>
            </a: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оответствии с требованиями стандарта системы управления качеством ISO </a:t>
            </a:r>
            <a:r>
              <a:rPr lang="ru-RU" sz="1400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3485;</a:t>
            </a:r>
            <a:endParaRPr lang="ru-RU" sz="1200" dirty="0"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254000" algn="just" fontAlgn="base">
              <a:lnSpc>
                <a:spcPct val="107000"/>
              </a:lnSpc>
              <a:spcAft>
                <a:spcPts val="0"/>
              </a:spcAft>
            </a:pPr>
            <a:r>
              <a:rPr lang="ru-RU" sz="14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5) предоставлении графика поставок.</a:t>
            </a:r>
            <a:endParaRPr lang="ru-RU" sz="12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DC95A62B-54B7-4119-843E-A8CA9EF4BE3E}"/>
              </a:ext>
            </a:extLst>
          </p:cNvPr>
          <p:cNvSpPr/>
          <p:nvPr/>
        </p:nvSpPr>
        <p:spPr>
          <a:xfrm>
            <a:off x="1118017" y="2708106"/>
            <a:ext cx="37928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Условия заключения </a:t>
            </a:r>
          </a:p>
          <a:p>
            <a:pPr algn="ctr"/>
            <a:r>
              <a:rPr lang="ru-RU" sz="140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Дополнительного соглашения к ДД</a:t>
            </a:r>
            <a:endParaRPr lang="id-ID" sz="1400" dirty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5502974" y="2712725"/>
            <a:ext cx="6408285" cy="3916349"/>
          </a:xfrm>
          <a:prstGeom prst="rect">
            <a:avLst/>
          </a:prstGeom>
          <a:noFill/>
          <a:ln>
            <a:solidFill>
              <a:srgbClr val="C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74" name="Прямоугольник 73"/>
          <p:cNvSpPr/>
          <p:nvPr/>
        </p:nvSpPr>
        <p:spPr>
          <a:xfrm>
            <a:off x="5516149" y="2998634"/>
            <a:ext cx="6381933" cy="3528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54000" algn="just" fontAlgn="base">
              <a:lnSpc>
                <a:spcPct val="107000"/>
              </a:lnSpc>
              <a:spcAft>
                <a:spcPts val="0"/>
              </a:spcAft>
            </a:pPr>
            <a:r>
              <a:rPr lang="ru-RU" sz="1150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1</a:t>
            </a:r>
            <a:r>
              <a:rPr lang="ru-RU" sz="115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ru-RU" sz="11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евышение срока реализации инвестиционного проекта, </a:t>
            </a:r>
            <a:r>
              <a:rPr lang="ru-RU" sz="1100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</a:t>
            </a:r>
          </a:p>
          <a:p>
            <a:pPr indent="254000" algn="just" fontAlgn="base">
              <a:lnSpc>
                <a:spcPct val="107000"/>
              </a:lnSpc>
              <a:spcAft>
                <a:spcPts val="0"/>
              </a:spcAft>
            </a:pPr>
            <a:r>
              <a:rPr lang="ru-RU" sz="1100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установленного Правилами 110;</a:t>
            </a:r>
            <a:endParaRPr lang="ru-RU" sz="1100" dirty="0">
              <a:solidFill>
                <a:srgbClr val="000000"/>
              </a:solidFill>
              <a:latin typeface="Century Gothic" panose="020B0502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179388" algn="just" fontAlgn="base">
              <a:lnSpc>
                <a:spcPct val="107000"/>
              </a:lnSpc>
              <a:spcAft>
                <a:spcPts val="0"/>
              </a:spcAft>
            </a:pPr>
            <a:r>
              <a:rPr lang="ru-RU" sz="1100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11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нарушение обязательств, предусмотренных в долгосрочном договоре поставки;</a:t>
            </a:r>
          </a:p>
          <a:p>
            <a:pPr indent="179388" algn="just" fontAlgn="base">
              <a:lnSpc>
                <a:spcPct val="107000"/>
              </a:lnSpc>
              <a:spcAft>
                <a:spcPts val="0"/>
              </a:spcAft>
            </a:pPr>
            <a:r>
              <a:rPr lang="ru-RU" sz="11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3) отказ от производства </a:t>
            </a:r>
            <a:r>
              <a:rPr lang="ru-RU" sz="1100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 (или) поставки;</a:t>
            </a:r>
            <a:endParaRPr lang="ru-RU" sz="1100" dirty="0">
              <a:solidFill>
                <a:srgbClr val="000000"/>
              </a:solidFill>
              <a:latin typeface="Century Gothic" panose="020B0502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179388" algn="just" fontAlgn="base">
              <a:lnSpc>
                <a:spcPct val="107000"/>
              </a:lnSpc>
              <a:spcAft>
                <a:spcPts val="0"/>
              </a:spcAft>
            </a:pPr>
            <a:r>
              <a:rPr lang="ru-RU" sz="11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4) нарушение графика реализации инвестиционного </a:t>
            </a:r>
            <a:r>
              <a:rPr lang="ru-RU" sz="1100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екта на </a:t>
            </a:r>
            <a:r>
              <a:rPr lang="ru-RU" sz="11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рок более 12 (двенадцать) месяцев;</a:t>
            </a:r>
          </a:p>
          <a:p>
            <a:pPr indent="179388" algn="just" fontAlgn="base">
              <a:lnSpc>
                <a:spcPct val="107000"/>
              </a:lnSpc>
              <a:spcAft>
                <a:spcPts val="0"/>
              </a:spcAft>
            </a:pPr>
            <a:r>
              <a:rPr lang="ru-RU" sz="11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5) непредставление полугодового отчета о ходе реализации инвестиционного проекта, представление которого предусмотрено долгосрочным договором поставки, либо его представление осуществлено с опозданием на два и более месяцев;</a:t>
            </a:r>
          </a:p>
          <a:p>
            <a:pPr indent="179388" algn="just" fontAlgn="base">
              <a:lnSpc>
                <a:spcPct val="107000"/>
              </a:lnSpc>
              <a:spcAft>
                <a:spcPts val="0"/>
              </a:spcAft>
            </a:pPr>
            <a:r>
              <a:rPr lang="ru-RU" sz="11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6) документ уполномоченного органа о недоказанной клинической эффективности </a:t>
            </a:r>
            <a:r>
              <a:rPr lang="ru-RU" sz="1100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ЛС и </a:t>
            </a:r>
            <a:r>
              <a:rPr lang="ru-RU" sz="11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(или) </a:t>
            </a:r>
            <a:r>
              <a:rPr lang="ru-RU" sz="1100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И;</a:t>
            </a:r>
          </a:p>
          <a:p>
            <a:pPr indent="179388" algn="just" fontAlgn="base">
              <a:lnSpc>
                <a:spcPct val="107000"/>
              </a:lnSpc>
              <a:spcAft>
                <a:spcPts val="0"/>
              </a:spcAft>
            </a:pPr>
            <a:r>
              <a:rPr lang="ru-RU" sz="11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7) нарушение даты начала поставки, предусмотренной в долгосрочном </a:t>
            </a:r>
            <a:r>
              <a:rPr lang="ru-RU" sz="1100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оговоре;</a:t>
            </a:r>
          </a:p>
          <a:p>
            <a:pPr indent="179388" algn="just" fontAlgn="base">
              <a:lnSpc>
                <a:spcPct val="107000"/>
              </a:lnSpc>
              <a:spcAft>
                <a:spcPts val="0"/>
              </a:spcAft>
            </a:pPr>
            <a:r>
              <a:rPr lang="ru-RU" sz="11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8) нарушение патентных и иных прав и притязаний третьих лиц, связанных с реализацией </a:t>
            </a:r>
            <a:r>
              <a:rPr lang="ru-RU" sz="1100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ЛС и(или) МИ, </a:t>
            </a:r>
            <a:r>
              <a:rPr lang="ru-RU" sz="11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становленных в судебном </a:t>
            </a:r>
            <a:r>
              <a:rPr lang="ru-RU" sz="1100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рядке;</a:t>
            </a:r>
          </a:p>
          <a:p>
            <a:pPr indent="179388" algn="just" fontAlgn="base">
              <a:lnSpc>
                <a:spcPct val="107000"/>
              </a:lnSpc>
              <a:spcAft>
                <a:spcPts val="0"/>
              </a:spcAft>
            </a:pPr>
            <a:r>
              <a:rPr lang="ru-RU" sz="11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9) отсутствие у заказчика потребности на лекарственные средства и (или) медицинские изделия в течение 3 (трех) лет подряд</a:t>
            </a:r>
            <a:r>
              <a:rPr lang="ru-RU" sz="1100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indent="179388" algn="just" fontAlgn="base">
              <a:lnSpc>
                <a:spcPct val="107000"/>
              </a:lnSpc>
              <a:spcAft>
                <a:spcPts val="0"/>
              </a:spcAft>
            </a:pPr>
            <a:r>
              <a:rPr lang="ru-RU" sz="1100" dirty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) непредставление документов или не достижение критериев в сумме не менее 6 баллов, предусмотренных пунктом 327 </a:t>
            </a:r>
            <a:r>
              <a:rPr lang="ru-RU" sz="1100" dirty="0" smtClean="0">
                <a:solidFill>
                  <a:srgbClr val="000000"/>
                </a:solidFill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авил 110.</a:t>
            </a:r>
            <a:endParaRPr lang="ru-RU" sz="1100" dirty="0">
              <a:solidFill>
                <a:srgbClr val="000000"/>
              </a:solidFill>
              <a:latin typeface="Century Gothic" panose="020B0502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DC95A62B-54B7-4119-843E-A8CA9EF4BE3E}"/>
              </a:ext>
            </a:extLst>
          </p:cNvPr>
          <p:cNvSpPr/>
          <p:nvPr/>
        </p:nvSpPr>
        <p:spPr>
          <a:xfrm>
            <a:off x="7146270" y="2684436"/>
            <a:ext cx="41620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Основания </a:t>
            </a:r>
            <a:r>
              <a:rPr lang="ru-RU" sz="14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для </a:t>
            </a:r>
            <a:r>
              <a:rPr lang="ru-RU" sz="140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расторжения ДД</a:t>
            </a:r>
            <a:endParaRPr lang="id-ID" sz="1400" dirty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pic>
        <p:nvPicPr>
          <p:cNvPr id="2050" name="Picture 2" descr="Расторжение договора | Юридический портал&quot;Правопорядок&quot; | Яндекс Дзен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56AFC1"/>
              </a:clrFrom>
              <a:clrTo>
                <a:srgbClr val="56AFC1">
                  <a:alpha val="0"/>
                </a:srgbClr>
              </a:clrTo>
            </a:clrChange>
            <a:duotone>
              <a:prstClr val="black"/>
              <a:srgbClr val="C00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8560" y="2586362"/>
            <a:ext cx="873577" cy="873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Составление договоров купли-продажи недвижимости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80808">
                  <a:alpha val="12157"/>
                </a:srgbClr>
              </a:clrFrom>
              <a:clrTo>
                <a:srgbClr val="080808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370" y="2728141"/>
            <a:ext cx="681999" cy="681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Oval 19">
            <a:extLst>
              <a:ext uri="{FF2B5EF4-FFF2-40B4-BE49-F238E27FC236}">
                <a16:creationId xmlns:a16="http://schemas.microsoft.com/office/drawing/2014/main" id="{92CF7CED-4202-4442-BE83-CF062CF0CCE3}"/>
              </a:ext>
            </a:extLst>
          </p:cNvPr>
          <p:cNvSpPr/>
          <p:nvPr/>
        </p:nvSpPr>
        <p:spPr>
          <a:xfrm>
            <a:off x="9595401" y="1982971"/>
            <a:ext cx="1246493" cy="652999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 smtClean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По итогам </a:t>
            </a:r>
            <a:r>
              <a:rPr lang="ru-RU" sz="800" dirty="0" smtClean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переговоров </a:t>
            </a:r>
            <a:r>
              <a:rPr lang="ru-RU" sz="1000" dirty="0" smtClean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с ОТП</a:t>
            </a:r>
          </a:p>
        </p:txBody>
      </p:sp>
    </p:spTree>
    <p:extLst>
      <p:ext uri="{BB962C8B-B14F-4D97-AF65-F5344CB8AC3E}">
        <p14:creationId xmlns:p14="http://schemas.microsoft.com/office/powerpoint/2010/main" val="1639467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DC1EDD2-5156-4C78-B4CC-0F7C486904F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97" r="19473"/>
          <a:stretch/>
        </p:blipFill>
        <p:spPr>
          <a:xfrm>
            <a:off x="510746" y="1439665"/>
            <a:ext cx="3657600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501188AF-66C9-4AAA-A13A-44C37A9AA3C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24" r="34102"/>
          <a:stretch/>
        </p:blipFill>
        <p:spPr>
          <a:xfrm>
            <a:off x="3047997" y="1439665"/>
            <a:ext cx="3707027" cy="3978893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14C3997A-412B-4A32-BBDD-47C610D6C31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3" r="39982"/>
          <a:stretch/>
        </p:blipFill>
        <p:spPr>
          <a:xfrm>
            <a:off x="5560543" y="1439665"/>
            <a:ext cx="3731740" cy="3991430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13023DF2-4F41-434C-BFC2-4F97EF92A44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09" r="25508"/>
          <a:stretch/>
        </p:blipFill>
        <p:spPr>
          <a:xfrm>
            <a:off x="8079161" y="1439665"/>
            <a:ext cx="3690552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sp>
        <p:nvSpPr>
          <p:cNvPr id="6" name="Прямоугольник 5"/>
          <p:cNvSpPr/>
          <p:nvPr/>
        </p:nvSpPr>
        <p:spPr>
          <a:xfrm>
            <a:off x="1185331" y="2853267"/>
            <a:ext cx="9905999" cy="1202266"/>
          </a:xfrm>
          <a:custGeom>
            <a:avLst/>
            <a:gdLst>
              <a:gd name="connsiteX0" fmla="*/ 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0 w 9889066"/>
              <a:gd name="connsiteY4" fmla="*/ 0 h 1202266"/>
              <a:gd name="connsiteX0" fmla="*/ 35560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355600 w 9889066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905999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89467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89467 w 9905999"/>
              <a:gd name="connsiteY4" fmla="*/ 0 h 1202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5999" h="1202266">
                <a:moveTo>
                  <a:pt x="389467" y="0"/>
                </a:moveTo>
                <a:lnTo>
                  <a:pt x="9905999" y="0"/>
                </a:lnTo>
                <a:lnTo>
                  <a:pt x="9541933" y="1202266"/>
                </a:lnTo>
                <a:lnTo>
                  <a:pt x="0" y="1202266"/>
                </a:lnTo>
                <a:lnTo>
                  <a:pt x="38946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2462719" y="2828834"/>
            <a:ext cx="751948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Развитие фармацевтической промышленности </a:t>
            </a:r>
          </a:p>
          <a:p>
            <a:pPr algn="ctr"/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в Республике </a:t>
            </a: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К</a:t>
            </a: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азахстан</a:t>
            </a:r>
            <a:endParaRPr lang="ru-RU" sz="24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80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2422981" y="5550246"/>
            <a:ext cx="8664085" cy="1013615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3pPr>
            <a:lvl4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endParaRPr lang="ru-RU" sz="20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Министерство индустрии и инфраструктурного развития,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2022 год </a:t>
            </a:r>
            <a:endParaRPr lang="ru-RU" sz="2000" b="0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20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pic>
        <p:nvPicPr>
          <p:cNvPr id="2050" name="Picture 2" descr="epirgo-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3892" y="64103"/>
            <a:ext cx="1219815" cy="1256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1729474" y="813573"/>
            <a:ext cx="3338395" cy="714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ПРИЛОЖЕНИЕ </a:t>
            </a:r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5</a:t>
            </a:r>
            <a:endParaRPr lang="ru-RU" sz="32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6166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Прямоугольник 95"/>
          <p:cNvSpPr/>
          <p:nvPr/>
        </p:nvSpPr>
        <p:spPr>
          <a:xfrm>
            <a:off x="-14817" y="-27517"/>
            <a:ext cx="12206817" cy="45720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anchor="ctr"/>
          <a:lstStyle/>
          <a:p>
            <a:pPr algn="ctr" defTabSz="1219110">
              <a:defRPr/>
            </a:pPr>
            <a:r>
              <a:rPr lang="ru-RU" sz="2133" b="1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ЕЕ СОСТОЯНИЕ ФАРМАЦЕВТИЧЕСКОЙ ПРОМЫШЛЕННОСТИ</a:t>
            </a:r>
          </a:p>
        </p:txBody>
      </p:sp>
      <p:sp>
        <p:nvSpPr>
          <p:cNvPr id="114" name="TextBox 113">
            <a:extLst/>
          </p:cNvPr>
          <p:cNvSpPr txBox="1"/>
          <p:nvPr/>
        </p:nvSpPr>
        <p:spPr>
          <a:xfrm>
            <a:off x="249767" y="645585"/>
            <a:ext cx="5507567" cy="1312924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defPPr>
              <a:defRPr lang="en-US"/>
            </a:defPPr>
            <a:lvl1pPr algn="ctr" defTabSz="489844">
              <a:defRPr sz="857" b="1" kern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pPr algn="l">
              <a:defRPr/>
            </a:pPr>
            <a:r>
              <a:rPr lang="ru-RU" sz="2133" kern="1200" cap="all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ует </a:t>
            </a:r>
            <a:r>
              <a:rPr lang="ru-RU" sz="2133" kern="1200" cap="all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6</a:t>
            </a:r>
            <a:r>
              <a:rPr lang="ru-RU" sz="2133" kern="1200" cap="all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133" kern="1200" cap="all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рмпредприятий</a:t>
            </a:r>
            <a:r>
              <a:rPr lang="ru-RU" sz="2133" kern="1200" cap="all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algn="l">
              <a:defRPr/>
            </a:pPr>
            <a:r>
              <a:rPr lang="ru-RU" sz="2133" kern="1200" cap="all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2133" kern="1200" cap="all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</a:t>
            </a:r>
            <a:r>
              <a:rPr lang="ru-RU" sz="2133" kern="1200" cap="all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133" b="0" kern="1200" cap="all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лекарственным средствам </a:t>
            </a:r>
          </a:p>
          <a:p>
            <a:pPr algn="l">
              <a:defRPr/>
            </a:pPr>
            <a:r>
              <a:rPr lang="ru-RU" sz="2133" kern="1200" cap="all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2133" kern="1200" cap="all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  <a:r>
              <a:rPr lang="ru-RU" sz="2133" kern="1200" cap="all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133" b="0" kern="1200" cap="all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цинским изделиям </a:t>
            </a:r>
          </a:p>
          <a:p>
            <a:pPr algn="l">
              <a:defRPr/>
            </a:pPr>
            <a:r>
              <a:rPr lang="ru-RU" sz="2133" kern="1200" cap="all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2133" kern="1200" cap="all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r>
              <a:rPr lang="ru-RU" sz="2133" kern="1200" cap="all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133" b="0" kern="1200" cap="all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техника</a:t>
            </a:r>
          </a:p>
        </p:txBody>
      </p:sp>
      <p:grpSp>
        <p:nvGrpSpPr>
          <p:cNvPr id="61444" name="Group 362"/>
          <p:cNvGrpSpPr>
            <a:grpSpLocks/>
          </p:cNvGrpSpPr>
          <p:nvPr/>
        </p:nvGrpSpPr>
        <p:grpSpPr bwMode="auto">
          <a:xfrm>
            <a:off x="3024717" y="1214967"/>
            <a:ext cx="8314267" cy="5026347"/>
            <a:chOff x="231114" y="1292384"/>
            <a:chExt cx="8314371" cy="5026682"/>
          </a:xfrm>
        </p:grpSpPr>
        <p:sp>
          <p:nvSpPr>
            <p:cNvPr id="364" name="Freeform 227">
              <a:extLst/>
            </p:cNvPr>
            <p:cNvSpPr>
              <a:spLocks/>
            </p:cNvSpPr>
            <p:nvPr/>
          </p:nvSpPr>
          <p:spPr bwMode="auto">
            <a:xfrm>
              <a:off x="3003982" y="3502331"/>
              <a:ext cx="1921957" cy="1648994"/>
            </a:xfrm>
            <a:custGeom>
              <a:avLst/>
              <a:gdLst>
                <a:gd name="T0" fmla="*/ 32 w 609"/>
                <a:gd name="T1" fmla="*/ 157 h 530"/>
                <a:gd name="T2" fmla="*/ 31 w 609"/>
                <a:gd name="T3" fmla="*/ 165 h 530"/>
                <a:gd name="T4" fmla="*/ 16 w 609"/>
                <a:gd name="T5" fmla="*/ 170 h 530"/>
                <a:gd name="T6" fmla="*/ 26 w 609"/>
                <a:gd name="T7" fmla="*/ 184 h 530"/>
                <a:gd name="T8" fmla="*/ 52 w 609"/>
                <a:gd name="T9" fmla="*/ 177 h 530"/>
                <a:gd name="T10" fmla="*/ 63 w 609"/>
                <a:gd name="T11" fmla="*/ 155 h 530"/>
                <a:gd name="T12" fmla="*/ 58 w 609"/>
                <a:gd name="T13" fmla="*/ 141 h 530"/>
                <a:gd name="T14" fmla="*/ 69 w 609"/>
                <a:gd name="T15" fmla="*/ 129 h 530"/>
                <a:gd name="T16" fmla="*/ 69 w 609"/>
                <a:gd name="T17" fmla="*/ 154 h 530"/>
                <a:gd name="T18" fmla="*/ 92 w 609"/>
                <a:gd name="T19" fmla="*/ 159 h 530"/>
                <a:gd name="T20" fmla="*/ 112 w 609"/>
                <a:gd name="T21" fmla="*/ 159 h 530"/>
                <a:gd name="T22" fmla="*/ 112 w 609"/>
                <a:gd name="T23" fmla="*/ 168 h 530"/>
                <a:gd name="T24" fmla="*/ 94 w 609"/>
                <a:gd name="T25" fmla="*/ 171 h 530"/>
                <a:gd name="T26" fmla="*/ 70 w 609"/>
                <a:gd name="T27" fmla="*/ 166 h 530"/>
                <a:gd name="T28" fmla="*/ 64 w 609"/>
                <a:gd name="T29" fmla="*/ 183 h 530"/>
                <a:gd name="T30" fmla="*/ 59 w 609"/>
                <a:gd name="T31" fmla="*/ 200 h 530"/>
                <a:gd name="T32" fmla="*/ 71 w 609"/>
                <a:gd name="T33" fmla="*/ 197 h 530"/>
                <a:gd name="T34" fmla="*/ 81 w 609"/>
                <a:gd name="T35" fmla="*/ 234 h 530"/>
                <a:gd name="T36" fmla="*/ 77 w 609"/>
                <a:gd name="T37" fmla="*/ 268 h 530"/>
                <a:gd name="T38" fmla="*/ 141 w 609"/>
                <a:gd name="T39" fmla="*/ 337 h 530"/>
                <a:gd name="T40" fmla="*/ 278 w 609"/>
                <a:gd name="T41" fmla="*/ 398 h 530"/>
                <a:gd name="T42" fmla="*/ 322 w 609"/>
                <a:gd name="T43" fmla="*/ 407 h 530"/>
                <a:gd name="T44" fmla="*/ 395 w 609"/>
                <a:gd name="T45" fmla="*/ 393 h 530"/>
                <a:gd name="T46" fmla="*/ 437 w 609"/>
                <a:gd name="T47" fmla="*/ 434 h 530"/>
                <a:gd name="T48" fmla="*/ 456 w 609"/>
                <a:gd name="T49" fmla="*/ 479 h 530"/>
                <a:gd name="T50" fmla="*/ 480 w 609"/>
                <a:gd name="T51" fmla="*/ 465 h 530"/>
                <a:gd name="T52" fmla="*/ 490 w 609"/>
                <a:gd name="T53" fmla="*/ 520 h 530"/>
                <a:gd name="T54" fmla="*/ 522 w 609"/>
                <a:gd name="T55" fmla="*/ 493 h 530"/>
                <a:gd name="T56" fmla="*/ 541 w 609"/>
                <a:gd name="T57" fmla="*/ 480 h 530"/>
                <a:gd name="T58" fmla="*/ 561 w 609"/>
                <a:gd name="T59" fmla="*/ 473 h 530"/>
                <a:gd name="T60" fmla="*/ 596 w 609"/>
                <a:gd name="T61" fmla="*/ 449 h 530"/>
                <a:gd name="T62" fmla="*/ 584 w 609"/>
                <a:gd name="T63" fmla="*/ 428 h 530"/>
                <a:gd name="T64" fmla="*/ 604 w 609"/>
                <a:gd name="T65" fmla="*/ 405 h 530"/>
                <a:gd name="T66" fmla="*/ 604 w 609"/>
                <a:gd name="T67" fmla="*/ 385 h 530"/>
                <a:gd name="T68" fmla="*/ 609 w 609"/>
                <a:gd name="T69" fmla="*/ 368 h 530"/>
                <a:gd name="T70" fmla="*/ 578 w 609"/>
                <a:gd name="T71" fmla="*/ 341 h 530"/>
                <a:gd name="T72" fmla="*/ 576 w 609"/>
                <a:gd name="T73" fmla="*/ 273 h 530"/>
                <a:gd name="T74" fmla="*/ 554 w 609"/>
                <a:gd name="T75" fmla="*/ 245 h 530"/>
                <a:gd name="T76" fmla="*/ 560 w 609"/>
                <a:gd name="T77" fmla="*/ 234 h 530"/>
                <a:gd name="T78" fmla="*/ 548 w 609"/>
                <a:gd name="T79" fmla="*/ 173 h 530"/>
                <a:gd name="T80" fmla="*/ 517 w 609"/>
                <a:gd name="T81" fmla="*/ 178 h 530"/>
                <a:gd name="T82" fmla="*/ 516 w 609"/>
                <a:gd name="T83" fmla="*/ 179 h 530"/>
                <a:gd name="T84" fmla="*/ 451 w 609"/>
                <a:gd name="T85" fmla="*/ 177 h 530"/>
                <a:gd name="T86" fmla="*/ 415 w 609"/>
                <a:gd name="T87" fmla="*/ 149 h 530"/>
                <a:gd name="T88" fmla="*/ 312 w 609"/>
                <a:gd name="T89" fmla="*/ 100 h 530"/>
                <a:gd name="T90" fmla="*/ 292 w 609"/>
                <a:gd name="T91" fmla="*/ 80 h 530"/>
                <a:gd name="T92" fmla="*/ 278 w 609"/>
                <a:gd name="T93" fmla="*/ 78 h 530"/>
                <a:gd name="T94" fmla="*/ 269 w 609"/>
                <a:gd name="T95" fmla="*/ 66 h 530"/>
                <a:gd name="T96" fmla="*/ 255 w 609"/>
                <a:gd name="T97" fmla="*/ 56 h 530"/>
                <a:gd name="T98" fmla="*/ 253 w 609"/>
                <a:gd name="T99" fmla="*/ 45 h 530"/>
                <a:gd name="T100" fmla="*/ 179 w 609"/>
                <a:gd name="T101" fmla="*/ 0 h 530"/>
                <a:gd name="T102" fmla="*/ 147 w 609"/>
                <a:gd name="T103" fmla="*/ 58 h 530"/>
                <a:gd name="T104" fmla="*/ 109 w 609"/>
                <a:gd name="T105" fmla="*/ 58 h 530"/>
                <a:gd name="T106" fmla="*/ 104 w 609"/>
                <a:gd name="T107" fmla="*/ 82 h 530"/>
                <a:gd name="T108" fmla="*/ 93 w 609"/>
                <a:gd name="T109" fmla="*/ 78 h 530"/>
                <a:gd name="T110" fmla="*/ 23 w 609"/>
                <a:gd name="T111" fmla="*/ 150 h 530"/>
                <a:gd name="T112" fmla="*/ 21 w 609"/>
                <a:gd name="T113" fmla="*/ 151 h 530"/>
                <a:gd name="T114" fmla="*/ 0 w 609"/>
                <a:gd name="T115" fmla="*/ 160 h 530"/>
                <a:gd name="connsiteX0" fmla="*/ 443 w 10000"/>
                <a:gd name="connsiteY0" fmla="*/ 3000 h 10000"/>
                <a:gd name="connsiteX1" fmla="*/ 525 w 10000"/>
                <a:gd name="connsiteY1" fmla="*/ 2962 h 10000"/>
                <a:gd name="connsiteX2" fmla="*/ 558 w 10000"/>
                <a:gd name="connsiteY2" fmla="*/ 3019 h 10000"/>
                <a:gd name="connsiteX3" fmla="*/ 509 w 10000"/>
                <a:gd name="connsiteY3" fmla="*/ 3113 h 10000"/>
                <a:gd name="connsiteX4" fmla="*/ 443 w 10000"/>
                <a:gd name="connsiteY4" fmla="*/ 3208 h 10000"/>
                <a:gd name="connsiteX5" fmla="*/ 263 w 10000"/>
                <a:gd name="connsiteY5" fmla="*/ 3208 h 10000"/>
                <a:gd name="connsiteX6" fmla="*/ 427 w 10000"/>
                <a:gd name="connsiteY6" fmla="*/ 3302 h 10000"/>
                <a:gd name="connsiteX7" fmla="*/ 427 w 10000"/>
                <a:gd name="connsiteY7" fmla="*/ 3472 h 10000"/>
                <a:gd name="connsiteX8" fmla="*/ 608 w 10000"/>
                <a:gd name="connsiteY8" fmla="*/ 3472 h 10000"/>
                <a:gd name="connsiteX9" fmla="*/ 854 w 10000"/>
                <a:gd name="connsiteY9" fmla="*/ 3340 h 10000"/>
                <a:gd name="connsiteX10" fmla="*/ 920 w 10000"/>
                <a:gd name="connsiteY10" fmla="*/ 3094 h 10000"/>
                <a:gd name="connsiteX11" fmla="*/ 1034 w 10000"/>
                <a:gd name="connsiteY11" fmla="*/ 2925 h 10000"/>
                <a:gd name="connsiteX12" fmla="*/ 1034 w 10000"/>
                <a:gd name="connsiteY12" fmla="*/ 2849 h 10000"/>
                <a:gd name="connsiteX13" fmla="*/ 952 w 10000"/>
                <a:gd name="connsiteY13" fmla="*/ 2660 h 10000"/>
                <a:gd name="connsiteX14" fmla="*/ 854 w 10000"/>
                <a:gd name="connsiteY14" fmla="*/ 2415 h 10000"/>
                <a:gd name="connsiteX15" fmla="*/ 1133 w 10000"/>
                <a:gd name="connsiteY15" fmla="*/ 2434 h 10000"/>
                <a:gd name="connsiteX16" fmla="*/ 1133 w 10000"/>
                <a:gd name="connsiteY16" fmla="*/ 2736 h 10000"/>
                <a:gd name="connsiteX17" fmla="*/ 1133 w 10000"/>
                <a:gd name="connsiteY17" fmla="*/ 2906 h 10000"/>
                <a:gd name="connsiteX18" fmla="*/ 1363 w 10000"/>
                <a:gd name="connsiteY18" fmla="*/ 2906 h 10000"/>
                <a:gd name="connsiteX19" fmla="*/ 1511 w 10000"/>
                <a:gd name="connsiteY19" fmla="*/ 3000 h 10000"/>
                <a:gd name="connsiteX20" fmla="*/ 1757 w 10000"/>
                <a:gd name="connsiteY20" fmla="*/ 2962 h 10000"/>
                <a:gd name="connsiteX21" fmla="*/ 1839 w 10000"/>
                <a:gd name="connsiteY21" fmla="*/ 3000 h 10000"/>
                <a:gd name="connsiteX22" fmla="*/ 1987 w 10000"/>
                <a:gd name="connsiteY22" fmla="*/ 3038 h 10000"/>
                <a:gd name="connsiteX23" fmla="*/ 1839 w 10000"/>
                <a:gd name="connsiteY23" fmla="*/ 3170 h 10000"/>
                <a:gd name="connsiteX24" fmla="*/ 1757 w 10000"/>
                <a:gd name="connsiteY24" fmla="*/ 3302 h 10000"/>
                <a:gd name="connsiteX25" fmla="*/ 1544 w 10000"/>
                <a:gd name="connsiteY25" fmla="*/ 3226 h 10000"/>
                <a:gd name="connsiteX26" fmla="*/ 1330 w 10000"/>
                <a:gd name="connsiteY26" fmla="*/ 3132 h 10000"/>
                <a:gd name="connsiteX27" fmla="*/ 1149 w 10000"/>
                <a:gd name="connsiteY27" fmla="*/ 3132 h 10000"/>
                <a:gd name="connsiteX28" fmla="*/ 1067 w 10000"/>
                <a:gd name="connsiteY28" fmla="*/ 3321 h 10000"/>
                <a:gd name="connsiteX29" fmla="*/ 1051 w 10000"/>
                <a:gd name="connsiteY29" fmla="*/ 3453 h 10000"/>
                <a:gd name="connsiteX30" fmla="*/ 952 w 10000"/>
                <a:gd name="connsiteY30" fmla="*/ 3509 h 10000"/>
                <a:gd name="connsiteX31" fmla="*/ 969 w 10000"/>
                <a:gd name="connsiteY31" fmla="*/ 3774 h 10000"/>
                <a:gd name="connsiteX32" fmla="*/ 1117 w 10000"/>
                <a:gd name="connsiteY32" fmla="*/ 3792 h 10000"/>
                <a:gd name="connsiteX33" fmla="*/ 1166 w 10000"/>
                <a:gd name="connsiteY33" fmla="*/ 3717 h 10000"/>
                <a:gd name="connsiteX34" fmla="*/ 1330 w 10000"/>
                <a:gd name="connsiteY34" fmla="*/ 3830 h 10000"/>
                <a:gd name="connsiteX35" fmla="*/ 1330 w 10000"/>
                <a:gd name="connsiteY35" fmla="*/ 4415 h 10000"/>
                <a:gd name="connsiteX36" fmla="*/ 1281 w 10000"/>
                <a:gd name="connsiteY36" fmla="*/ 4472 h 10000"/>
                <a:gd name="connsiteX37" fmla="*/ 1264 w 10000"/>
                <a:gd name="connsiteY37" fmla="*/ 5057 h 10000"/>
                <a:gd name="connsiteX38" fmla="*/ 2282 w 10000"/>
                <a:gd name="connsiteY38" fmla="*/ 6000 h 10000"/>
                <a:gd name="connsiteX39" fmla="*/ 2315 w 10000"/>
                <a:gd name="connsiteY39" fmla="*/ 6358 h 10000"/>
                <a:gd name="connsiteX40" fmla="*/ 3202 w 10000"/>
                <a:gd name="connsiteY40" fmla="*/ 7755 h 10000"/>
                <a:gd name="connsiteX41" fmla="*/ 4565 w 10000"/>
                <a:gd name="connsiteY41" fmla="*/ 7509 h 10000"/>
                <a:gd name="connsiteX42" fmla="*/ 4893 w 10000"/>
                <a:gd name="connsiteY42" fmla="*/ 7679 h 10000"/>
                <a:gd name="connsiteX43" fmla="*/ 5287 w 10000"/>
                <a:gd name="connsiteY43" fmla="*/ 7679 h 10000"/>
                <a:gd name="connsiteX44" fmla="*/ 6010 w 10000"/>
                <a:gd name="connsiteY44" fmla="*/ 7792 h 10000"/>
                <a:gd name="connsiteX45" fmla="*/ 6486 w 10000"/>
                <a:gd name="connsiteY45" fmla="*/ 7415 h 10000"/>
                <a:gd name="connsiteX46" fmla="*/ 6864 w 10000"/>
                <a:gd name="connsiteY46" fmla="*/ 8000 h 10000"/>
                <a:gd name="connsiteX47" fmla="*/ 7176 w 10000"/>
                <a:gd name="connsiteY47" fmla="*/ 8189 h 10000"/>
                <a:gd name="connsiteX48" fmla="*/ 7291 w 10000"/>
                <a:gd name="connsiteY48" fmla="*/ 8415 h 10000"/>
                <a:gd name="connsiteX49" fmla="*/ 7488 w 10000"/>
                <a:gd name="connsiteY49" fmla="*/ 9038 h 10000"/>
                <a:gd name="connsiteX50" fmla="*/ 7668 w 10000"/>
                <a:gd name="connsiteY50" fmla="*/ 8925 h 10000"/>
                <a:gd name="connsiteX51" fmla="*/ 7882 w 10000"/>
                <a:gd name="connsiteY51" fmla="*/ 8774 h 10000"/>
                <a:gd name="connsiteX52" fmla="*/ 7800 w 10000"/>
                <a:gd name="connsiteY52" fmla="*/ 10000 h 10000"/>
                <a:gd name="connsiteX53" fmla="*/ 8046 w 10000"/>
                <a:gd name="connsiteY53" fmla="*/ 9811 h 10000"/>
                <a:gd name="connsiteX54" fmla="*/ 8194 w 10000"/>
                <a:gd name="connsiteY54" fmla="*/ 9660 h 10000"/>
                <a:gd name="connsiteX55" fmla="*/ 8571 w 10000"/>
                <a:gd name="connsiteY55" fmla="*/ 9302 h 10000"/>
                <a:gd name="connsiteX56" fmla="*/ 8883 w 10000"/>
                <a:gd name="connsiteY56" fmla="*/ 9057 h 10000"/>
                <a:gd name="connsiteX57" fmla="*/ 8883 w 10000"/>
                <a:gd name="connsiteY57" fmla="*/ 9057 h 10000"/>
                <a:gd name="connsiteX58" fmla="*/ 8883 w 10000"/>
                <a:gd name="connsiteY58" fmla="*/ 9057 h 10000"/>
                <a:gd name="connsiteX59" fmla="*/ 9212 w 10000"/>
                <a:gd name="connsiteY59" fmla="*/ 8925 h 10000"/>
                <a:gd name="connsiteX60" fmla="*/ 9475 w 10000"/>
                <a:gd name="connsiteY60" fmla="*/ 8717 h 10000"/>
                <a:gd name="connsiteX61" fmla="*/ 9787 w 10000"/>
                <a:gd name="connsiteY61" fmla="*/ 8472 h 10000"/>
                <a:gd name="connsiteX62" fmla="*/ 9606 w 10000"/>
                <a:gd name="connsiteY62" fmla="*/ 8094 h 10000"/>
                <a:gd name="connsiteX63" fmla="*/ 9589 w 10000"/>
                <a:gd name="connsiteY63" fmla="*/ 8075 h 10000"/>
                <a:gd name="connsiteX64" fmla="*/ 9606 w 10000"/>
                <a:gd name="connsiteY64" fmla="*/ 8057 h 10000"/>
                <a:gd name="connsiteX65" fmla="*/ 9918 w 10000"/>
                <a:gd name="connsiteY65" fmla="*/ 7642 h 10000"/>
                <a:gd name="connsiteX66" fmla="*/ 9918 w 10000"/>
                <a:gd name="connsiteY66" fmla="*/ 7264 h 10000"/>
                <a:gd name="connsiteX67" fmla="*/ 9918 w 10000"/>
                <a:gd name="connsiteY67" fmla="*/ 7264 h 10000"/>
                <a:gd name="connsiteX68" fmla="*/ 9918 w 10000"/>
                <a:gd name="connsiteY68" fmla="*/ 7245 h 10000"/>
                <a:gd name="connsiteX69" fmla="*/ 10000 w 10000"/>
                <a:gd name="connsiteY69" fmla="*/ 6943 h 10000"/>
                <a:gd name="connsiteX70" fmla="*/ 9491 w 10000"/>
                <a:gd name="connsiteY70" fmla="*/ 6434 h 10000"/>
                <a:gd name="connsiteX71" fmla="*/ 9491 w 10000"/>
                <a:gd name="connsiteY71" fmla="*/ 6434 h 10000"/>
                <a:gd name="connsiteX72" fmla="*/ 9491 w 10000"/>
                <a:gd name="connsiteY72" fmla="*/ 6415 h 10000"/>
                <a:gd name="connsiteX73" fmla="*/ 9458 w 10000"/>
                <a:gd name="connsiteY73" fmla="*/ 5151 h 10000"/>
                <a:gd name="connsiteX74" fmla="*/ 9113 w 10000"/>
                <a:gd name="connsiteY74" fmla="*/ 4642 h 10000"/>
                <a:gd name="connsiteX75" fmla="*/ 9097 w 10000"/>
                <a:gd name="connsiteY75" fmla="*/ 4623 h 10000"/>
                <a:gd name="connsiteX76" fmla="*/ 9113 w 10000"/>
                <a:gd name="connsiteY76" fmla="*/ 4604 h 10000"/>
                <a:gd name="connsiteX77" fmla="*/ 9195 w 10000"/>
                <a:gd name="connsiteY77" fmla="*/ 4415 h 10000"/>
                <a:gd name="connsiteX78" fmla="*/ 9278 w 10000"/>
                <a:gd name="connsiteY78" fmla="*/ 3566 h 10000"/>
                <a:gd name="connsiteX79" fmla="*/ 8998 w 10000"/>
                <a:gd name="connsiteY79" fmla="*/ 3264 h 10000"/>
                <a:gd name="connsiteX80" fmla="*/ 8571 w 10000"/>
                <a:gd name="connsiteY80" fmla="*/ 3283 h 10000"/>
                <a:gd name="connsiteX81" fmla="*/ 8489 w 10000"/>
                <a:gd name="connsiteY81" fmla="*/ 3358 h 10000"/>
                <a:gd name="connsiteX82" fmla="*/ 8489 w 10000"/>
                <a:gd name="connsiteY82" fmla="*/ 3377 h 10000"/>
                <a:gd name="connsiteX83" fmla="*/ 7406 w 10000"/>
                <a:gd name="connsiteY83" fmla="*/ 3340 h 10000"/>
                <a:gd name="connsiteX84" fmla="*/ 7406 w 10000"/>
                <a:gd name="connsiteY84" fmla="*/ 3340 h 10000"/>
                <a:gd name="connsiteX85" fmla="*/ 7389 w 10000"/>
                <a:gd name="connsiteY85" fmla="*/ 3340 h 10000"/>
                <a:gd name="connsiteX86" fmla="*/ 6814 w 10000"/>
                <a:gd name="connsiteY86" fmla="*/ 2811 h 10000"/>
                <a:gd name="connsiteX87" fmla="*/ 5123 w 10000"/>
                <a:gd name="connsiteY87" fmla="*/ 1887 h 10000"/>
                <a:gd name="connsiteX88" fmla="*/ 5123 w 10000"/>
                <a:gd name="connsiteY88" fmla="*/ 1887 h 10000"/>
                <a:gd name="connsiteX89" fmla="*/ 5107 w 10000"/>
                <a:gd name="connsiteY89" fmla="*/ 1887 h 10000"/>
                <a:gd name="connsiteX90" fmla="*/ 4795 w 10000"/>
                <a:gd name="connsiteY90" fmla="*/ 1509 h 10000"/>
                <a:gd name="connsiteX91" fmla="*/ 4581 w 10000"/>
                <a:gd name="connsiteY91" fmla="*/ 1491 h 10000"/>
                <a:gd name="connsiteX92" fmla="*/ 4565 w 10000"/>
                <a:gd name="connsiteY92" fmla="*/ 1472 h 10000"/>
                <a:gd name="connsiteX93" fmla="*/ 4548 w 10000"/>
                <a:gd name="connsiteY93" fmla="*/ 1472 h 10000"/>
                <a:gd name="connsiteX94" fmla="*/ 4417 w 10000"/>
                <a:gd name="connsiteY94" fmla="*/ 1245 h 10000"/>
                <a:gd name="connsiteX95" fmla="*/ 4204 w 10000"/>
                <a:gd name="connsiteY95" fmla="*/ 1075 h 10000"/>
                <a:gd name="connsiteX96" fmla="*/ 4187 w 10000"/>
                <a:gd name="connsiteY96" fmla="*/ 1057 h 10000"/>
                <a:gd name="connsiteX97" fmla="*/ 4187 w 10000"/>
                <a:gd name="connsiteY97" fmla="*/ 1038 h 10000"/>
                <a:gd name="connsiteX98" fmla="*/ 4154 w 10000"/>
                <a:gd name="connsiteY98" fmla="*/ 849 h 10000"/>
                <a:gd name="connsiteX99" fmla="*/ 3465 w 10000"/>
                <a:gd name="connsiteY99" fmla="*/ 19 h 10000"/>
                <a:gd name="connsiteX100" fmla="*/ 2939 w 10000"/>
                <a:gd name="connsiteY100" fmla="*/ 0 h 10000"/>
                <a:gd name="connsiteX101" fmla="*/ 2414 w 10000"/>
                <a:gd name="connsiteY101" fmla="*/ 1075 h 10000"/>
                <a:gd name="connsiteX102" fmla="*/ 2414 w 10000"/>
                <a:gd name="connsiteY102" fmla="*/ 1094 h 10000"/>
                <a:gd name="connsiteX103" fmla="*/ 2381 w 10000"/>
                <a:gd name="connsiteY103" fmla="*/ 1094 h 10000"/>
                <a:gd name="connsiteX104" fmla="*/ 1790 w 10000"/>
                <a:gd name="connsiteY104" fmla="*/ 1094 h 10000"/>
                <a:gd name="connsiteX105" fmla="*/ 1724 w 10000"/>
                <a:gd name="connsiteY105" fmla="*/ 1509 h 10000"/>
                <a:gd name="connsiteX106" fmla="*/ 1708 w 10000"/>
                <a:gd name="connsiteY106" fmla="*/ 1547 h 10000"/>
                <a:gd name="connsiteX107" fmla="*/ 1675 w 10000"/>
                <a:gd name="connsiteY107" fmla="*/ 1528 h 10000"/>
                <a:gd name="connsiteX108" fmla="*/ 1527 w 10000"/>
                <a:gd name="connsiteY108" fmla="*/ 1472 h 10000"/>
                <a:gd name="connsiteX109" fmla="*/ 476 w 10000"/>
                <a:gd name="connsiteY109" fmla="*/ 2604 h 10000"/>
                <a:gd name="connsiteX110" fmla="*/ 378 w 10000"/>
                <a:gd name="connsiteY110" fmla="*/ 2830 h 10000"/>
                <a:gd name="connsiteX111" fmla="*/ 361 w 10000"/>
                <a:gd name="connsiteY111" fmla="*/ 2849 h 10000"/>
                <a:gd name="connsiteX112" fmla="*/ 345 w 10000"/>
                <a:gd name="connsiteY112" fmla="*/ 2849 h 10000"/>
                <a:gd name="connsiteX113" fmla="*/ 0 w 10000"/>
                <a:gd name="connsiteY113" fmla="*/ 2868 h 10000"/>
                <a:gd name="connsiteX114" fmla="*/ 0 w 10000"/>
                <a:gd name="connsiteY114" fmla="*/ 3019 h 10000"/>
                <a:gd name="connsiteX115" fmla="*/ 443 w 10000"/>
                <a:gd name="connsiteY115" fmla="*/ 3000 h 10000"/>
                <a:gd name="connsiteX0" fmla="*/ 443 w 10000"/>
                <a:gd name="connsiteY0" fmla="*/ 3000 h 10000"/>
                <a:gd name="connsiteX1" fmla="*/ 525 w 10000"/>
                <a:gd name="connsiteY1" fmla="*/ 2962 h 10000"/>
                <a:gd name="connsiteX2" fmla="*/ 558 w 10000"/>
                <a:gd name="connsiteY2" fmla="*/ 3019 h 10000"/>
                <a:gd name="connsiteX3" fmla="*/ 509 w 10000"/>
                <a:gd name="connsiteY3" fmla="*/ 3113 h 10000"/>
                <a:gd name="connsiteX4" fmla="*/ 443 w 10000"/>
                <a:gd name="connsiteY4" fmla="*/ 3208 h 10000"/>
                <a:gd name="connsiteX5" fmla="*/ 263 w 10000"/>
                <a:gd name="connsiteY5" fmla="*/ 3208 h 10000"/>
                <a:gd name="connsiteX6" fmla="*/ 427 w 10000"/>
                <a:gd name="connsiteY6" fmla="*/ 3302 h 10000"/>
                <a:gd name="connsiteX7" fmla="*/ 427 w 10000"/>
                <a:gd name="connsiteY7" fmla="*/ 3472 h 10000"/>
                <a:gd name="connsiteX8" fmla="*/ 608 w 10000"/>
                <a:gd name="connsiteY8" fmla="*/ 3472 h 10000"/>
                <a:gd name="connsiteX9" fmla="*/ 854 w 10000"/>
                <a:gd name="connsiteY9" fmla="*/ 3340 h 10000"/>
                <a:gd name="connsiteX10" fmla="*/ 920 w 10000"/>
                <a:gd name="connsiteY10" fmla="*/ 3094 h 10000"/>
                <a:gd name="connsiteX11" fmla="*/ 1034 w 10000"/>
                <a:gd name="connsiteY11" fmla="*/ 2925 h 10000"/>
                <a:gd name="connsiteX12" fmla="*/ 1034 w 10000"/>
                <a:gd name="connsiteY12" fmla="*/ 2849 h 10000"/>
                <a:gd name="connsiteX13" fmla="*/ 952 w 10000"/>
                <a:gd name="connsiteY13" fmla="*/ 2660 h 10000"/>
                <a:gd name="connsiteX14" fmla="*/ 854 w 10000"/>
                <a:gd name="connsiteY14" fmla="*/ 2415 h 10000"/>
                <a:gd name="connsiteX15" fmla="*/ 1133 w 10000"/>
                <a:gd name="connsiteY15" fmla="*/ 2434 h 10000"/>
                <a:gd name="connsiteX16" fmla="*/ 1133 w 10000"/>
                <a:gd name="connsiteY16" fmla="*/ 2736 h 10000"/>
                <a:gd name="connsiteX17" fmla="*/ 1133 w 10000"/>
                <a:gd name="connsiteY17" fmla="*/ 2906 h 10000"/>
                <a:gd name="connsiteX18" fmla="*/ 1363 w 10000"/>
                <a:gd name="connsiteY18" fmla="*/ 2906 h 10000"/>
                <a:gd name="connsiteX19" fmla="*/ 1511 w 10000"/>
                <a:gd name="connsiteY19" fmla="*/ 3000 h 10000"/>
                <a:gd name="connsiteX20" fmla="*/ 1757 w 10000"/>
                <a:gd name="connsiteY20" fmla="*/ 2962 h 10000"/>
                <a:gd name="connsiteX21" fmla="*/ 1839 w 10000"/>
                <a:gd name="connsiteY21" fmla="*/ 3000 h 10000"/>
                <a:gd name="connsiteX22" fmla="*/ 1987 w 10000"/>
                <a:gd name="connsiteY22" fmla="*/ 3038 h 10000"/>
                <a:gd name="connsiteX23" fmla="*/ 1839 w 10000"/>
                <a:gd name="connsiteY23" fmla="*/ 3170 h 10000"/>
                <a:gd name="connsiteX24" fmla="*/ 1757 w 10000"/>
                <a:gd name="connsiteY24" fmla="*/ 3302 h 10000"/>
                <a:gd name="connsiteX25" fmla="*/ 1544 w 10000"/>
                <a:gd name="connsiteY25" fmla="*/ 3226 h 10000"/>
                <a:gd name="connsiteX26" fmla="*/ 1330 w 10000"/>
                <a:gd name="connsiteY26" fmla="*/ 3132 h 10000"/>
                <a:gd name="connsiteX27" fmla="*/ 1149 w 10000"/>
                <a:gd name="connsiteY27" fmla="*/ 3132 h 10000"/>
                <a:gd name="connsiteX28" fmla="*/ 1067 w 10000"/>
                <a:gd name="connsiteY28" fmla="*/ 3321 h 10000"/>
                <a:gd name="connsiteX29" fmla="*/ 1051 w 10000"/>
                <a:gd name="connsiteY29" fmla="*/ 3453 h 10000"/>
                <a:gd name="connsiteX30" fmla="*/ 952 w 10000"/>
                <a:gd name="connsiteY30" fmla="*/ 3509 h 10000"/>
                <a:gd name="connsiteX31" fmla="*/ 969 w 10000"/>
                <a:gd name="connsiteY31" fmla="*/ 3774 h 10000"/>
                <a:gd name="connsiteX32" fmla="*/ 1117 w 10000"/>
                <a:gd name="connsiteY32" fmla="*/ 3792 h 10000"/>
                <a:gd name="connsiteX33" fmla="*/ 1166 w 10000"/>
                <a:gd name="connsiteY33" fmla="*/ 3717 h 10000"/>
                <a:gd name="connsiteX34" fmla="*/ 1330 w 10000"/>
                <a:gd name="connsiteY34" fmla="*/ 3830 h 10000"/>
                <a:gd name="connsiteX35" fmla="*/ 1330 w 10000"/>
                <a:gd name="connsiteY35" fmla="*/ 4415 h 10000"/>
                <a:gd name="connsiteX36" fmla="*/ 1281 w 10000"/>
                <a:gd name="connsiteY36" fmla="*/ 4472 h 10000"/>
                <a:gd name="connsiteX37" fmla="*/ 1264 w 10000"/>
                <a:gd name="connsiteY37" fmla="*/ 5057 h 10000"/>
                <a:gd name="connsiteX38" fmla="*/ 2282 w 10000"/>
                <a:gd name="connsiteY38" fmla="*/ 6000 h 10000"/>
                <a:gd name="connsiteX39" fmla="*/ 2315 w 10000"/>
                <a:gd name="connsiteY39" fmla="*/ 6358 h 10000"/>
                <a:gd name="connsiteX40" fmla="*/ 3202 w 10000"/>
                <a:gd name="connsiteY40" fmla="*/ 7755 h 10000"/>
                <a:gd name="connsiteX41" fmla="*/ 4565 w 10000"/>
                <a:gd name="connsiteY41" fmla="*/ 7509 h 10000"/>
                <a:gd name="connsiteX42" fmla="*/ 4893 w 10000"/>
                <a:gd name="connsiteY42" fmla="*/ 7679 h 10000"/>
                <a:gd name="connsiteX43" fmla="*/ 5287 w 10000"/>
                <a:gd name="connsiteY43" fmla="*/ 7679 h 10000"/>
                <a:gd name="connsiteX44" fmla="*/ 6010 w 10000"/>
                <a:gd name="connsiteY44" fmla="*/ 7792 h 10000"/>
                <a:gd name="connsiteX45" fmla="*/ 6486 w 10000"/>
                <a:gd name="connsiteY45" fmla="*/ 7415 h 10000"/>
                <a:gd name="connsiteX46" fmla="*/ 6864 w 10000"/>
                <a:gd name="connsiteY46" fmla="*/ 8000 h 10000"/>
                <a:gd name="connsiteX47" fmla="*/ 7176 w 10000"/>
                <a:gd name="connsiteY47" fmla="*/ 8189 h 10000"/>
                <a:gd name="connsiteX48" fmla="*/ 7291 w 10000"/>
                <a:gd name="connsiteY48" fmla="*/ 8415 h 10000"/>
                <a:gd name="connsiteX49" fmla="*/ 7488 w 10000"/>
                <a:gd name="connsiteY49" fmla="*/ 9038 h 10000"/>
                <a:gd name="connsiteX50" fmla="*/ 7668 w 10000"/>
                <a:gd name="connsiteY50" fmla="*/ 8925 h 10000"/>
                <a:gd name="connsiteX51" fmla="*/ 7882 w 10000"/>
                <a:gd name="connsiteY51" fmla="*/ 8774 h 10000"/>
                <a:gd name="connsiteX52" fmla="*/ 7800 w 10000"/>
                <a:gd name="connsiteY52" fmla="*/ 10000 h 10000"/>
                <a:gd name="connsiteX53" fmla="*/ 8046 w 10000"/>
                <a:gd name="connsiteY53" fmla="*/ 9811 h 10000"/>
                <a:gd name="connsiteX54" fmla="*/ 8194 w 10000"/>
                <a:gd name="connsiteY54" fmla="*/ 9660 h 10000"/>
                <a:gd name="connsiteX55" fmla="*/ 8571 w 10000"/>
                <a:gd name="connsiteY55" fmla="*/ 9302 h 10000"/>
                <a:gd name="connsiteX56" fmla="*/ 8883 w 10000"/>
                <a:gd name="connsiteY56" fmla="*/ 9057 h 10000"/>
                <a:gd name="connsiteX57" fmla="*/ 8883 w 10000"/>
                <a:gd name="connsiteY57" fmla="*/ 9057 h 10000"/>
                <a:gd name="connsiteX58" fmla="*/ 8883 w 10000"/>
                <a:gd name="connsiteY58" fmla="*/ 9057 h 10000"/>
                <a:gd name="connsiteX59" fmla="*/ 9212 w 10000"/>
                <a:gd name="connsiteY59" fmla="*/ 8925 h 10000"/>
                <a:gd name="connsiteX60" fmla="*/ 9475 w 10000"/>
                <a:gd name="connsiteY60" fmla="*/ 8717 h 10000"/>
                <a:gd name="connsiteX61" fmla="*/ 9787 w 10000"/>
                <a:gd name="connsiteY61" fmla="*/ 8472 h 10000"/>
                <a:gd name="connsiteX62" fmla="*/ 9606 w 10000"/>
                <a:gd name="connsiteY62" fmla="*/ 8094 h 10000"/>
                <a:gd name="connsiteX63" fmla="*/ 9589 w 10000"/>
                <a:gd name="connsiteY63" fmla="*/ 8075 h 10000"/>
                <a:gd name="connsiteX64" fmla="*/ 9606 w 10000"/>
                <a:gd name="connsiteY64" fmla="*/ 8057 h 10000"/>
                <a:gd name="connsiteX65" fmla="*/ 9918 w 10000"/>
                <a:gd name="connsiteY65" fmla="*/ 7642 h 10000"/>
                <a:gd name="connsiteX66" fmla="*/ 9918 w 10000"/>
                <a:gd name="connsiteY66" fmla="*/ 7264 h 10000"/>
                <a:gd name="connsiteX67" fmla="*/ 9918 w 10000"/>
                <a:gd name="connsiteY67" fmla="*/ 7264 h 10000"/>
                <a:gd name="connsiteX68" fmla="*/ 9918 w 10000"/>
                <a:gd name="connsiteY68" fmla="*/ 7245 h 10000"/>
                <a:gd name="connsiteX69" fmla="*/ 10000 w 10000"/>
                <a:gd name="connsiteY69" fmla="*/ 6943 h 10000"/>
                <a:gd name="connsiteX70" fmla="*/ 9491 w 10000"/>
                <a:gd name="connsiteY70" fmla="*/ 6434 h 10000"/>
                <a:gd name="connsiteX71" fmla="*/ 9491 w 10000"/>
                <a:gd name="connsiteY71" fmla="*/ 6434 h 10000"/>
                <a:gd name="connsiteX72" fmla="*/ 9491 w 10000"/>
                <a:gd name="connsiteY72" fmla="*/ 6415 h 10000"/>
                <a:gd name="connsiteX73" fmla="*/ 9458 w 10000"/>
                <a:gd name="connsiteY73" fmla="*/ 5151 h 10000"/>
                <a:gd name="connsiteX74" fmla="*/ 9113 w 10000"/>
                <a:gd name="connsiteY74" fmla="*/ 4642 h 10000"/>
                <a:gd name="connsiteX75" fmla="*/ 9097 w 10000"/>
                <a:gd name="connsiteY75" fmla="*/ 4623 h 10000"/>
                <a:gd name="connsiteX76" fmla="*/ 9113 w 10000"/>
                <a:gd name="connsiteY76" fmla="*/ 4604 h 10000"/>
                <a:gd name="connsiteX77" fmla="*/ 9195 w 10000"/>
                <a:gd name="connsiteY77" fmla="*/ 4415 h 10000"/>
                <a:gd name="connsiteX78" fmla="*/ 9278 w 10000"/>
                <a:gd name="connsiteY78" fmla="*/ 3566 h 10000"/>
                <a:gd name="connsiteX79" fmla="*/ 8998 w 10000"/>
                <a:gd name="connsiteY79" fmla="*/ 3264 h 10000"/>
                <a:gd name="connsiteX80" fmla="*/ 8571 w 10000"/>
                <a:gd name="connsiteY80" fmla="*/ 3283 h 10000"/>
                <a:gd name="connsiteX81" fmla="*/ 8489 w 10000"/>
                <a:gd name="connsiteY81" fmla="*/ 3358 h 10000"/>
                <a:gd name="connsiteX82" fmla="*/ 7406 w 10000"/>
                <a:gd name="connsiteY82" fmla="*/ 3340 h 10000"/>
                <a:gd name="connsiteX83" fmla="*/ 7406 w 10000"/>
                <a:gd name="connsiteY83" fmla="*/ 3340 h 10000"/>
                <a:gd name="connsiteX84" fmla="*/ 7389 w 10000"/>
                <a:gd name="connsiteY84" fmla="*/ 3340 h 10000"/>
                <a:gd name="connsiteX85" fmla="*/ 6814 w 10000"/>
                <a:gd name="connsiteY85" fmla="*/ 2811 h 10000"/>
                <a:gd name="connsiteX86" fmla="*/ 5123 w 10000"/>
                <a:gd name="connsiteY86" fmla="*/ 1887 h 10000"/>
                <a:gd name="connsiteX87" fmla="*/ 5123 w 10000"/>
                <a:gd name="connsiteY87" fmla="*/ 1887 h 10000"/>
                <a:gd name="connsiteX88" fmla="*/ 5107 w 10000"/>
                <a:gd name="connsiteY88" fmla="*/ 1887 h 10000"/>
                <a:gd name="connsiteX89" fmla="*/ 4795 w 10000"/>
                <a:gd name="connsiteY89" fmla="*/ 1509 h 10000"/>
                <a:gd name="connsiteX90" fmla="*/ 4581 w 10000"/>
                <a:gd name="connsiteY90" fmla="*/ 1491 h 10000"/>
                <a:gd name="connsiteX91" fmla="*/ 4565 w 10000"/>
                <a:gd name="connsiteY91" fmla="*/ 1472 h 10000"/>
                <a:gd name="connsiteX92" fmla="*/ 4548 w 10000"/>
                <a:gd name="connsiteY92" fmla="*/ 1472 h 10000"/>
                <a:gd name="connsiteX93" fmla="*/ 4417 w 10000"/>
                <a:gd name="connsiteY93" fmla="*/ 1245 h 10000"/>
                <a:gd name="connsiteX94" fmla="*/ 4204 w 10000"/>
                <a:gd name="connsiteY94" fmla="*/ 1075 h 10000"/>
                <a:gd name="connsiteX95" fmla="*/ 4187 w 10000"/>
                <a:gd name="connsiteY95" fmla="*/ 1057 h 10000"/>
                <a:gd name="connsiteX96" fmla="*/ 4187 w 10000"/>
                <a:gd name="connsiteY96" fmla="*/ 1038 h 10000"/>
                <a:gd name="connsiteX97" fmla="*/ 4154 w 10000"/>
                <a:gd name="connsiteY97" fmla="*/ 849 h 10000"/>
                <a:gd name="connsiteX98" fmla="*/ 3465 w 10000"/>
                <a:gd name="connsiteY98" fmla="*/ 19 h 10000"/>
                <a:gd name="connsiteX99" fmla="*/ 2939 w 10000"/>
                <a:gd name="connsiteY99" fmla="*/ 0 h 10000"/>
                <a:gd name="connsiteX100" fmla="*/ 2414 w 10000"/>
                <a:gd name="connsiteY100" fmla="*/ 1075 h 10000"/>
                <a:gd name="connsiteX101" fmla="*/ 2414 w 10000"/>
                <a:gd name="connsiteY101" fmla="*/ 1094 h 10000"/>
                <a:gd name="connsiteX102" fmla="*/ 2381 w 10000"/>
                <a:gd name="connsiteY102" fmla="*/ 1094 h 10000"/>
                <a:gd name="connsiteX103" fmla="*/ 1790 w 10000"/>
                <a:gd name="connsiteY103" fmla="*/ 1094 h 10000"/>
                <a:gd name="connsiteX104" fmla="*/ 1724 w 10000"/>
                <a:gd name="connsiteY104" fmla="*/ 1509 h 10000"/>
                <a:gd name="connsiteX105" fmla="*/ 1708 w 10000"/>
                <a:gd name="connsiteY105" fmla="*/ 1547 h 10000"/>
                <a:gd name="connsiteX106" fmla="*/ 1675 w 10000"/>
                <a:gd name="connsiteY106" fmla="*/ 1528 h 10000"/>
                <a:gd name="connsiteX107" fmla="*/ 1527 w 10000"/>
                <a:gd name="connsiteY107" fmla="*/ 1472 h 10000"/>
                <a:gd name="connsiteX108" fmla="*/ 476 w 10000"/>
                <a:gd name="connsiteY108" fmla="*/ 2604 h 10000"/>
                <a:gd name="connsiteX109" fmla="*/ 378 w 10000"/>
                <a:gd name="connsiteY109" fmla="*/ 2830 h 10000"/>
                <a:gd name="connsiteX110" fmla="*/ 361 w 10000"/>
                <a:gd name="connsiteY110" fmla="*/ 2849 h 10000"/>
                <a:gd name="connsiteX111" fmla="*/ 345 w 10000"/>
                <a:gd name="connsiteY111" fmla="*/ 2849 h 10000"/>
                <a:gd name="connsiteX112" fmla="*/ 0 w 10000"/>
                <a:gd name="connsiteY112" fmla="*/ 2868 h 10000"/>
                <a:gd name="connsiteX113" fmla="*/ 0 w 10000"/>
                <a:gd name="connsiteY113" fmla="*/ 3019 h 10000"/>
                <a:gd name="connsiteX114" fmla="*/ 443 w 10000"/>
                <a:gd name="connsiteY114" fmla="*/ 3000 h 10000"/>
                <a:gd name="connsiteX0" fmla="*/ 443 w 10000"/>
                <a:gd name="connsiteY0" fmla="*/ 3000 h 10000"/>
                <a:gd name="connsiteX1" fmla="*/ 525 w 10000"/>
                <a:gd name="connsiteY1" fmla="*/ 2962 h 10000"/>
                <a:gd name="connsiteX2" fmla="*/ 558 w 10000"/>
                <a:gd name="connsiteY2" fmla="*/ 3019 h 10000"/>
                <a:gd name="connsiteX3" fmla="*/ 509 w 10000"/>
                <a:gd name="connsiteY3" fmla="*/ 3113 h 10000"/>
                <a:gd name="connsiteX4" fmla="*/ 443 w 10000"/>
                <a:gd name="connsiteY4" fmla="*/ 3208 h 10000"/>
                <a:gd name="connsiteX5" fmla="*/ 263 w 10000"/>
                <a:gd name="connsiteY5" fmla="*/ 3208 h 10000"/>
                <a:gd name="connsiteX6" fmla="*/ 427 w 10000"/>
                <a:gd name="connsiteY6" fmla="*/ 3302 h 10000"/>
                <a:gd name="connsiteX7" fmla="*/ 427 w 10000"/>
                <a:gd name="connsiteY7" fmla="*/ 3472 h 10000"/>
                <a:gd name="connsiteX8" fmla="*/ 608 w 10000"/>
                <a:gd name="connsiteY8" fmla="*/ 3472 h 10000"/>
                <a:gd name="connsiteX9" fmla="*/ 854 w 10000"/>
                <a:gd name="connsiteY9" fmla="*/ 3340 h 10000"/>
                <a:gd name="connsiteX10" fmla="*/ 920 w 10000"/>
                <a:gd name="connsiteY10" fmla="*/ 3094 h 10000"/>
                <a:gd name="connsiteX11" fmla="*/ 1034 w 10000"/>
                <a:gd name="connsiteY11" fmla="*/ 2925 h 10000"/>
                <a:gd name="connsiteX12" fmla="*/ 1034 w 10000"/>
                <a:gd name="connsiteY12" fmla="*/ 2849 h 10000"/>
                <a:gd name="connsiteX13" fmla="*/ 952 w 10000"/>
                <a:gd name="connsiteY13" fmla="*/ 2660 h 10000"/>
                <a:gd name="connsiteX14" fmla="*/ 854 w 10000"/>
                <a:gd name="connsiteY14" fmla="*/ 2415 h 10000"/>
                <a:gd name="connsiteX15" fmla="*/ 1133 w 10000"/>
                <a:gd name="connsiteY15" fmla="*/ 2434 h 10000"/>
                <a:gd name="connsiteX16" fmla="*/ 1133 w 10000"/>
                <a:gd name="connsiteY16" fmla="*/ 2736 h 10000"/>
                <a:gd name="connsiteX17" fmla="*/ 1133 w 10000"/>
                <a:gd name="connsiteY17" fmla="*/ 2906 h 10000"/>
                <a:gd name="connsiteX18" fmla="*/ 1363 w 10000"/>
                <a:gd name="connsiteY18" fmla="*/ 2906 h 10000"/>
                <a:gd name="connsiteX19" fmla="*/ 1511 w 10000"/>
                <a:gd name="connsiteY19" fmla="*/ 3000 h 10000"/>
                <a:gd name="connsiteX20" fmla="*/ 1757 w 10000"/>
                <a:gd name="connsiteY20" fmla="*/ 2962 h 10000"/>
                <a:gd name="connsiteX21" fmla="*/ 1839 w 10000"/>
                <a:gd name="connsiteY21" fmla="*/ 3000 h 10000"/>
                <a:gd name="connsiteX22" fmla="*/ 1987 w 10000"/>
                <a:gd name="connsiteY22" fmla="*/ 3038 h 10000"/>
                <a:gd name="connsiteX23" fmla="*/ 1839 w 10000"/>
                <a:gd name="connsiteY23" fmla="*/ 3170 h 10000"/>
                <a:gd name="connsiteX24" fmla="*/ 1757 w 10000"/>
                <a:gd name="connsiteY24" fmla="*/ 3302 h 10000"/>
                <a:gd name="connsiteX25" fmla="*/ 1544 w 10000"/>
                <a:gd name="connsiteY25" fmla="*/ 3226 h 10000"/>
                <a:gd name="connsiteX26" fmla="*/ 1330 w 10000"/>
                <a:gd name="connsiteY26" fmla="*/ 3132 h 10000"/>
                <a:gd name="connsiteX27" fmla="*/ 1149 w 10000"/>
                <a:gd name="connsiteY27" fmla="*/ 3132 h 10000"/>
                <a:gd name="connsiteX28" fmla="*/ 1067 w 10000"/>
                <a:gd name="connsiteY28" fmla="*/ 3321 h 10000"/>
                <a:gd name="connsiteX29" fmla="*/ 1051 w 10000"/>
                <a:gd name="connsiteY29" fmla="*/ 3453 h 10000"/>
                <a:gd name="connsiteX30" fmla="*/ 952 w 10000"/>
                <a:gd name="connsiteY30" fmla="*/ 3509 h 10000"/>
                <a:gd name="connsiteX31" fmla="*/ 969 w 10000"/>
                <a:gd name="connsiteY31" fmla="*/ 3774 h 10000"/>
                <a:gd name="connsiteX32" fmla="*/ 1117 w 10000"/>
                <a:gd name="connsiteY32" fmla="*/ 3792 h 10000"/>
                <a:gd name="connsiteX33" fmla="*/ 1166 w 10000"/>
                <a:gd name="connsiteY33" fmla="*/ 3717 h 10000"/>
                <a:gd name="connsiteX34" fmla="*/ 1330 w 10000"/>
                <a:gd name="connsiteY34" fmla="*/ 3830 h 10000"/>
                <a:gd name="connsiteX35" fmla="*/ 1330 w 10000"/>
                <a:gd name="connsiteY35" fmla="*/ 4415 h 10000"/>
                <a:gd name="connsiteX36" fmla="*/ 1281 w 10000"/>
                <a:gd name="connsiteY36" fmla="*/ 4472 h 10000"/>
                <a:gd name="connsiteX37" fmla="*/ 1264 w 10000"/>
                <a:gd name="connsiteY37" fmla="*/ 5057 h 10000"/>
                <a:gd name="connsiteX38" fmla="*/ 2282 w 10000"/>
                <a:gd name="connsiteY38" fmla="*/ 6000 h 10000"/>
                <a:gd name="connsiteX39" fmla="*/ 2315 w 10000"/>
                <a:gd name="connsiteY39" fmla="*/ 6358 h 10000"/>
                <a:gd name="connsiteX40" fmla="*/ 3202 w 10000"/>
                <a:gd name="connsiteY40" fmla="*/ 7755 h 10000"/>
                <a:gd name="connsiteX41" fmla="*/ 4565 w 10000"/>
                <a:gd name="connsiteY41" fmla="*/ 7509 h 10000"/>
                <a:gd name="connsiteX42" fmla="*/ 4893 w 10000"/>
                <a:gd name="connsiteY42" fmla="*/ 7679 h 10000"/>
                <a:gd name="connsiteX43" fmla="*/ 5287 w 10000"/>
                <a:gd name="connsiteY43" fmla="*/ 7679 h 10000"/>
                <a:gd name="connsiteX44" fmla="*/ 6010 w 10000"/>
                <a:gd name="connsiteY44" fmla="*/ 7792 h 10000"/>
                <a:gd name="connsiteX45" fmla="*/ 6486 w 10000"/>
                <a:gd name="connsiteY45" fmla="*/ 7415 h 10000"/>
                <a:gd name="connsiteX46" fmla="*/ 6864 w 10000"/>
                <a:gd name="connsiteY46" fmla="*/ 8000 h 10000"/>
                <a:gd name="connsiteX47" fmla="*/ 7176 w 10000"/>
                <a:gd name="connsiteY47" fmla="*/ 8189 h 10000"/>
                <a:gd name="connsiteX48" fmla="*/ 7291 w 10000"/>
                <a:gd name="connsiteY48" fmla="*/ 8415 h 10000"/>
                <a:gd name="connsiteX49" fmla="*/ 7488 w 10000"/>
                <a:gd name="connsiteY49" fmla="*/ 9038 h 10000"/>
                <a:gd name="connsiteX50" fmla="*/ 7668 w 10000"/>
                <a:gd name="connsiteY50" fmla="*/ 8925 h 10000"/>
                <a:gd name="connsiteX51" fmla="*/ 7882 w 10000"/>
                <a:gd name="connsiteY51" fmla="*/ 8774 h 10000"/>
                <a:gd name="connsiteX52" fmla="*/ 7800 w 10000"/>
                <a:gd name="connsiteY52" fmla="*/ 10000 h 10000"/>
                <a:gd name="connsiteX53" fmla="*/ 8046 w 10000"/>
                <a:gd name="connsiteY53" fmla="*/ 9811 h 10000"/>
                <a:gd name="connsiteX54" fmla="*/ 8194 w 10000"/>
                <a:gd name="connsiteY54" fmla="*/ 9660 h 10000"/>
                <a:gd name="connsiteX55" fmla="*/ 8571 w 10000"/>
                <a:gd name="connsiteY55" fmla="*/ 9302 h 10000"/>
                <a:gd name="connsiteX56" fmla="*/ 8883 w 10000"/>
                <a:gd name="connsiteY56" fmla="*/ 9057 h 10000"/>
                <a:gd name="connsiteX57" fmla="*/ 8883 w 10000"/>
                <a:gd name="connsiteY57" fmla="*/ 9057 h 10000"/>
                <a:gd name="connsiteX58" fmla="*/ 8883 w 10000"/>
                <a:gd name="connsiteY58" fmla="*/ 9057 h 10000"/>
                <a:gd name="connsiteX59" fmla="*/ 9212 w 10000"/>
                <a:gd name="connsiteY59" fmla="*/ 8925 h 10000"/>
                <a:gd name="connsiteX60" fmla="*/ 9475 w 10000"/>
                <a:gd name="connsiteY60" fmla="*/ 8717 h 10000"/>
                <a:gd name="connsiteX61" fmla="*/ 9787 w 10000"/>
                <a:gd name="connsiteY61" fmla="*/ 8472 h 10000"/>
                <a:gd name="connsiteX62" fmla="*/ 9606 w 10000"/>
                <a:gd name="connsiteY62" fmla="*/ 8094 h 10000"/>
                <a:gd name="connsiteX63" fmla="*/ 9589 w 10000"/>
                <a:gd name="connsiteY63" fmla="*/ 8075 h 10000"/>
                <a:gd name="connsiteX64" fmla="*/ 9606 w 10000"/>
                <a:gd name="connsiteY64" fmla="*/ 8057 h 10000"/>
                <a:gd name="connsiteX65" fmla="*/ 9918 w 10000"/>
                <a:gd name="connsiteY65" fmla="*/ 7642 h 10000"/>
                <a:gd name="connsiteX66" fmla="*/ 9918 w 10000"/>
                <a:gd name="connsiteY66" fmla="*/ 7264 h 10000"/>
                <a:gd name="connsiteX67" fmla="*/ 9918 w 10000"/>
                <a:gd name="connsiteY67" fmla="*/ 7264 h 10000"/>
                <a:gd name="connsiteX68" fmla="*/ 9918 w 10000"/>
                <a:gd name="connsiteY68" fmla="*/ 7245 h 10000"/>
                <a:gd name="connsiteX69" fmla="*/ 10000 w 10000"/>
                <a:gd name="connsiteY69" fmla="*/ 6943 h 10000"/>
                <a:gd name="connsiteX70" fmla="*/ 9491 w 10000"/>
                <a:gd name="connsiteY70" fmla="*/ 6434 h 10000"/>
                <a:gd name="connsiteX71" fmla="*/ 9491 w 10000"/>
                <a:gd name="connsiteY71" fmla="*/ 6434 h 10000"/>
                <a:gd name="connsiteX72" fmla="*/ 9491 w 10000"/>
                <a:gd name="connsiteY72" fmla="*/ 6415 h 10000"/>
                <a:gd name="connsiteX73" fmla="*/ 9458 w 10000"/>
                <a:gd name="connsiteY73" fmla="*/ 5151 h 10000"/>
                <a:gd name="connsiteX74" fmla="*/ 9113 w 10000"/>
                <a:gd name="connsiteY74" fmla="*/ 4642 h 10000"/>
                <a:gd name="connsiteX75" fmla="*/ 9097 w 10000"/>
                <a:gd name="connsiteY75" fmla="*/ 4623 h 10000"/>
                <a:gd name="connsiteX76" fmla="*/ 9113 w 10000"/>
                <a:gd name="connsiteY76" fmla="*/ 4604 h 10000"/>
                <a:gd name="connsiteX77" fmla="*/ 9195 w 10000"/>
                <a:gd name="connsiteY77" fmla="*/ 4415 h 10000"/>
                <a:gd name="connsiteX78" fmla="*/ 9278 w 10000"/>
                <a:gd name="connsiteY78" fmla="*/ 3566 h 10000"/>
                <a:gd name="connsiteX79" fmla="*/ 8998 w 10000"/>
                <a:gd name="connsiteY79" fmla="*/ 3264 h 10000"/>
                <a:gd name="connsiteX80" fmla="*/ 8571 w 10000"/>
                <a:gd name="connsiteY80" fmla="*/ 3283 h 10000"/>
                <a:gd name="connsiteX81" fmla="*/ 8405 w 10000"/>
                <a:gd name="connsiteY81" fmla="*/ 3265 h 10000"/>
                <a:gd name="connsiteX82" fmla="*/ 7406 w 10000"/>
                <a:gd name="connsiteY82" fmla="*/ 3340 h 10000"/>
                <a:gd name="connsiteX83" fmla="*/ 7406 w 10000"/>
                <a:gd name="connsiteY83" fmla="*/ 3340 h 10000"/>
                <a:gd name="connsiteX84" fmla="*/ 7389 w 10000"/>
                <a:gd name="connsiteY84" fmla="*/ 3340 h 10000"/>
                <a:gd name="connsiteX85" fmla="*/ 6814 w 10000"/>
                <a:gd name="connsiteY85" fmla="*/ 2811 h 10000"/>
                <a:gd name="connsiteX86" fmla="*/ 5123 w 10000"/>
                <a:gd name="connsiteY86" fmla="*/ 1887 h 10000"/>
                <a:gd name="connsiteX87" fmla="*/ 5123 w 10000"/>
                <a:gd name="connsiteY87" fmla="*/ 1887 h 10000"/>
                <a:gd name="connsiteX88" fmla="*/ 5107 w 10000"/>
                <a:gd name="connsiteY88" fmla="*/ 1887 h 10000"/>
                <a:gd name="connsiteX89" fmla="*/ 4795 w 10000"/>
                <a:gd name="connsiteY89" fmla="*/ 1509 h 10000"/>
                <a:gd name="connsiteX90" fmla="*/ 4581 w 10000"/>
                <a:gd name="connsiteY90" fmla="*/ 1491 h 10000"/>
                <a:gd name="connsiteX91" fmla="*/ 4565 w 10000"/>
                <a:gd name="connsiteY91" fmla="*/ 1472 h 10000"/>
                <a:gd name="connsiteX92" fmla="*/ 4548 w 10000"/>
                <a:gd name="connsiteY92" fmla="*/ 1472 h 10000"/>
                <a:gd name="connsiteX93" fmla="*/ 4417 w 10000"/>
                <a:gd name="connsiteY93" fmla="*/ 1245 h 10000"/>
                <a:gd name="connsiteX94" fmla="*/ 4204 w 10000"/>
                <a:gd name="connsiteY94" fmla="*/ 1075 h 10000"/>
                <a:gd name="connsiteX95" fmla="*/ 4187 w 10000"/>
                <a:gd name="connsiteY95" fmla="*/ 1057 h 10000"/>
                <a:gd name="connsiteX96" fmla="*/ 4187 w 10000"/>
                <a:gd name="connsiteY96" fmla="*/ 1038 h 10000"/>
                <a:gd name="connsiteX97" fmla="*/ 4154 w 10000"/>
                <a:gd name="connsiteY97" fmla="*/ 849 h 10000"/>
                <a:gd name="connsiteX98" fmla="*/ 3465 w 10000"/>
                <a:gd name="connsiteY98" fmla="*/ 19 h 10000"/>
                <a:gd name="connsiteX99" fmla="*/ 2939 w 10000"/>
                <a:gd name="connsiteY99" fmla="*/ 0 h 10000"/>
                <a:gd name="connsiteX100" fmla="*/ 2414 w 10000"/>
                <a:gd name="connsiteY100" fmla="*/ 1075 h 10000"/>
                <a:gd name="connsiteX101" fmla="*/ 2414 w 10000"/>
                <a:gd name="connsiteY101" fmla="*/ 1094 h 10000"/>
                <a:gd name="connsiteX102" fmla="*/ 2381 w 10000"/>
                <a:gd name="connsiteY102" fmla="*/ 1094 h 10000"/>
                <a:gd name="connsiteX103" fmla="*/ 1790 w 10000"/>
                <a:gd name="connsiteY103" fmla="*/ 1094 h 10000"/>
                <a:gd name="connsiteX104" fmla="*/ 1724 w 10000"/>
                <a:gd name="connsiteY104" fmla="*/ 1509 h 10000"/>
                <a:gd name="connsiteX105" fmla="*/ 1708 w 10000"/>
                <a:gd name="connsiteY105" fmla="*/ 1547 h 10000"/>
                <a:gd name="connsiteX106" fmla="*/ 1675 w 10000"/>
                <a:gd name="connsiteY106" fmla="*/ 1528 h 10000"/>
                <a:gd name="connsiteX107" fmla="*/ 1527 w 10000"/>
                <a:gd name="connsiteY107" fmla="*/ 1472 h 10000"/>
                <a:gd name="connsiteX108" fmla="*/ 476 w 10000"/>
                <a:gd name="connsiteY108" fmla="*/ 2604 h 10000"/>
                <a:gd name="connsiteX109" fmla="*/ 378 w 10000"/>
                <a:gd name="connsiteY109" fmla="*/ 2830 h 10000"/>
                <a:gd name="connsiteX110" fmla="*/ 361 w 10000"/>
                <a:gd name="connsiteY110" fmla="*/ 2849 h 10000"/>
                <a:gd name="connsiteX111" fmla="*/ 345 w 10000"/>
                <a:gd name="connsiteY111" fmla="*/ 2849 h 10000"/>
                <a:gd name="connsiteX112" fmla="*/ 0 w 10000"/>
                <a:gd name="connsiteY112" fmla="*/ 2868 h 10000"/>
                <a:gd name="connsiteX113" fmla="*/ 0 w 10000"/>
                <a:gd name="connsiteY113" fmla="*/ 3019 h 10000"/>
                <a:gd name="connsiteX114" fmla="*/ 443 w 10000"/>
                <a:gd name="connsiteY114" fmla="*/ 3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</a:cxnLst>
              <a:rect l="l" t="t" r="r" b="b"/>
              <a:pathLst>
                <a:path w="10000" h="10000">
                  <a:moveTo>
                    <a:pt x="443" y="3000"/>
                  </a:moveTo>
                  <a:cubicBezTo>
                    <a:pt x="470" y="2987"/>
                    <a:pt x="498" y="2975"/>
                    <a:pt x="525" y="2962"/>
                  </a:cubicBezTo>
                  <a:lnTo>
                    <a:pt x="558" y="3019"/>
                  </a:lnTo>
                  <a:cubicBezTo>
                    <a:pt x="542" y="3050"/>
                    <a:pt x="525" y="3082"/>
                    <a:pt x="509" y="3113"/>
                  </a:cubicBezTo>
                  <a:cubicBezTo>
                    <a:pt x="487" y="3145"/>
                    <a:pt x="465" y="3176"/>
                    <a:pt x="443" y="3208"/>
                  </a:cubicBezTo>
                  <a:lnTo>
                    <a:pt x="263" y="3208"/>
                  </a:lnTo>
                  <a:lnTo>
                    <a:pt x="427" y="3302"/>
                  </a:lnTo>
                  <a:lnTo>
                    <a:pt x="427" y="3472"/>
                  </a:lnTo>
                  <a:lnTo>
                    <a:pt x="608" y="3472"/>
                  </a:lnTo>
                  <a:lnTo>
                    <a:pt x="854" y="3340"/>
                  </a:lnTo>
                  <a:lnTo>
                    <a:pt x="920" y="3094"/>
                  </a:lnTo>
                  <a:lnTo>
                    <a:pt x="1034" y="2925"/>
                  </a:lnTo>
                  <a:lnTo>
                    <a:pt x="1034" y="2849"/>
                  </a:lnTo>
                  <a:cubicBezTo>
                    <a:pt x="1007" y="2786"/>
                    <a:pt x="979" y="2723"/>
                    <a:pt x="952" y="2660"/>
                  </a:cubicBezTo>
                  <a:cubicBezTo>
                    <a:pt x="919" y="2578"/>
                    <a:pt x="887" y="2497"/>
                    <a:pt x="854" y="2415"/>
                  </a:cubicBezTo>
                  <a:lnTo>
                    <a:pt x="1133" y="2434"/>
                  </a:lnTo>
                  <a:lnTo>
                    <a:pt x="1133" y="2736"/>
                  </a:lnTo>
                  <a:lnTo>
                    <a:pt x="1133" y="2906"/>
                  </a:lnTo>
                  <a:lnTo>
                    <a:pt x="1363" y="2906"/>
                  </a:lnTo>
                  <a:lnTo>
                    <a:pt x="1511" y="3000"/>
                  </a:lnTo>
                  <a:lnTo>
                    <a:pt x="1757" y="2962"/>
                  </a:lnTo>
                  <a:cubicBezTo>
                    <a:pt x="1784" y="2975"/>
                    <a:pt x="1812" y="2987"/>
                    <a:pt x="1839" y="3000"/>
                  </a:cubicBezTo>
                  <a:lnTo>
                    <a:pt x="1987" y="3038"/>
                  </a:lnTo>
                  <a:lnTo>
                    <a:pt x="1839" y="3170"/>
                  </a:lnTo>
                  <a:cubicBezTo>
                    <a:pt x="1812" y="3214"/>
                    <a:pt x="1784" y="3258"/>
                    <a:pt x="1757" y="3302"/>
                  </a:cubicBezTo>
                  <a:lnTo>
                    <a:pt x="1544" y="3226"/>
                  </a:lnTo>
                  <a:lnTo>
                    <a:pt x="1330" y="3132"/>
                  </a:lnTo>
                  <a:lnTo>
                    <a:pt x="1149" y="3132"/>
                  </a:lnTo>
                  <a:cubicBezTo>
                    <a:pt x="1122" y="3195"/>
                    <a:pt x="1094" y="3258"/>
                    <a:pt x="1067" y="3321"/>
                  </a:cubicBezTo>
                  <a:cubicBezTo>
                    <a:pt x="1062" y="3365"/>
                    <a:pt x="1056" y="3409"/>
                    <a:pt x="1051" y="3453"/>
                  </a:cubicBezTo>
                  <a:cubicBezTo>
                    <a:pt x="1018" y="3472"/>
                    <a:pt x="985" y="3490"/>
                    <a:pt x="952" y="3509"/>
                  </a:cubicBezTo>
                  <a:cubicBezTo>
                    <a:pt x="958" y="3597"/>
                    <a:pt x="963" y="3686"/>
                    <a:pt x="969" y="3774"/>
                  </a:cubicBezTo>
                  <a:lnTo>
                    <a:pt x="1117" y="3792"/>
                  </a:lnTo>
                  <a:cubicBezTo>
                    <a:pt x="1133" y="3767"/>
                    <a:pt x="1150" y="3742"/>
                    <a:pt x="1166" y="3717"/>
                  </a:cubicBezTo>
                  <a:lnTo>
                    <a:pt x="1330" y="3830"/>
                  </a:lnTo>
                  <a:lnTo>
                    <a:pt x="1330" y="4415"/>
                  </a:lnTo>
                  <a:cubicBezTo>
                    <a:pt x="1314" y="4434"/>
                    <a:pt x="1297" y="4453"/>
                    <a:pt x="1281" y="4472"/>
                  </a:cubicBezTo>
                  <a:cubicBezTo>
                    <a:pt x="1275" y="4667"/>
                    <a:pt x="1270" y="4862"/>
                    <a:pt x="1264" y="5057"/>
                  </a:cubicBezTo>
                  <a:lnTo>
                    <a:pt x="2282" y="6000"/>
                  </a:lnTo>
                  <a:cubicBezTo>
                    <a:pt x="2293" y="6119"/>
                    <a:pt x="2304" y="6239"/>
                    <a:pt x="2315" y="6358"/>
                  </a:cubicBezTo>
                  <a:lnTo>
                    <a:pt x="3202" y="7755"/>
                  </a:lnTo>
                  <a:lnTo>
                    <a:pt x="4565" y="7509"/>
                  </a:lnTo>
                  <a:lnTo>
                    <a:pt x="4893" y="7679"/>
                  </a:lnTo>
                  <a:lnTo>
                    <a:pt x="5287" y="7679"/>
                  </a:lnTo>
                  <a:lnTo>
                    <a:pt x="6010" y="7792"/>
                  </a:lnTo>
                  <a:lnTo>
                    <a:pt x="6486" y="7415"/>
                  </a:lnTo>
                  <a:lnTo>
                    <a:pt x="6864" y="8000"/>
                  </a:lnTo>
                  <a:lnTo>
                    <a:pt x="7176" y="8189"/>
                  </a:lnTo>
                  <a:lnTo>
                    <a:pt x="7291" y="8415"/>
                  </a:lnTo>
                  <a:cubicBezTo>
                    <a:pt x="7357" y="8623"/>
                    <a:pt x="7422" y="8830"/>
                    <a:pt x="7488" y="9038"/>
                  </a:cubicBezTo>
                  <a:lnTo>
                    <a:pt x="7668" y="8925"/>
                  </a:lnTo>
                  <a:lnTo>
                    <a:pt x="7882" y="8774"/>
                  </a:lnTo>
                  <a:cubicBezTo>
                    <a:pt x="7855" y="9183"/>
                    <a:pt x="7827" y="9591"/>
                    <a:pt x="7800" y="10000"/>
                  </a:cubicBezTo>
                  <a:lnTo>
                    <a:pt x="8046" y="9811"/>
                  </a:lnTo>
                  <a:lnTo>
                    <a:pt x="8194" y="9660"/>
                  </a:lnTo>
                  <a:lnTo>
                    <a:pt x="8571" y="9302"/>
                  </a:lnTo>
                  <a:lnTo>
                    <a:pt x="8883" y="9057"/>
                  </a:lnTo>
                  <a:lnTo>
                    <a:pt x="8883" y="9057"/>
                  </a:lnTo>
                  <a:lnTo>
                    <a:pt x="8883" y="9057"/>
                  </a:lnTo>
                  <a:lnTo>
                    <a:pt x="9212" y="8925"/>
                  </a:lnTo>
                  <a:cubicBezTo>
                    <a:pt x="9245" y="8925"/>
                    <a:pt x="9458" y="8717"/>
                    <a:pt x="9475" y="8717"/>
                  </a:cubicBezTo>
                  <a:lnTo>
                    <a:pt x="9787" y="8472"/>
                  </a:lnTo>
                  <a:cubicBezTo>
                    <a:pt x="9727" y="8346"/>
                    <a:pt x="9666" y="8220"/>
                    <a:pt x="9606" y="8094"/>
                  </a:cubicBezTo>
                  <a:cubicBezTo>
                    <a:pt x="9600" y="8088"/>
                    <a:pt x="9595" y="8081"/>
                    <a:pt x="9589" y="8075"/>
                  </a:cubicBezTo>
                  <a:cubicBezTo>
                    <a:pt x="9595" y="8069"/>
                    <a:pt x="9600" y="8063"/>
                    <a:pt x="9606" y="8057"/>
                  </a:cubicBezTo>
                  <a:lnTo>
                    <a:pt x="9918" y="7642"/>
                  </a:lnTo>
                  <a:lnTo>
                    <a:pt x="9918" y="7264"/>
                  </a:lnTo>
                  <a:lnTo>
                    <a:pt x="9918" y="7264"/>
                  </a:lnTo>
                  <a:lnTo>
                    <a:pt x="9918" y="7245"/>
                  </a:lnTo>
                  <a:cubicBezTo>
                    <a:pt x="9945" y="7144"/>
                    <a:pt x="9973" y="7044"/>
                    <a:pt x="10000" y="6943"/>
                  </a:cubicBezTo>
                  <a:lnTo>
                    <a:pt x="9491" y="6434"/>
                  </a:lnTo>
                  <a:lnTo>
                    <a:pt x="9491" y="6434"/>
                  </a:lnTo>
                  <a:lnTo>
                    <a:pt x="9491" y="6415"/>
                  </a:lnTo>
                  <a:cubicBezTo>
                    <a:pt x="9480" y="5994"/>
                    <a:pt x="9469" y="5572"/>
                    <a:pt x="9458" y="5151"/>
                  </a:cubicBezTo>
                  <a:lnTo>
                    <a:pt x="9113" y="4642"/>
                  </a:lnTo>
                  <a:cubicBezTo>
                    <a:pt x="9108" y="4636"/>
                    <a:pt x="9102" y="4629"/>
                    <a:pt x="9097" y="4623"/>
                  </a:cubicBezTo>
                  <a:cubicBezTo>
                    <a:pt x="9102" y="4617"/>
                    <a:pt x="9108" y="4610"/>
                    <a:pt x="9113" y="4604"/>
                  </a:cubicBezTo>
                  <a:cubicBezTo>
                    <a:pt x="9140" y="4541"/>
                    <a:pt x="9168" y="4478"/>
                    <a:pt x="9195" y="4415"/>
                  </a:cubicBezTo>
                  <a:cubicBezTo>
                    <a:pt x="9223" y="4132"/>
                    <a:pt x="9250" y="3849"/>
                    <a:pt x="9278" y="3566"/>
                  </a:cubicBezTo>
                  <a:lnTo>
                    <a:pt x="8998" y="3264"/>
                  </a:lnTo>
                  <a:lnTo>
                    <a:pt x="8571" y="3283"/>
                  </a:lnTo>
                  <a:cubicBezTo>
                    <a:pt x="8544" y="3308"/>
                    <a:pt x="8432" y="3240"/>
                    <a:pt x="8405" y="3265"/>
                  </a:cubicBezTo>
                  <a:lnTo>
                    <a:pt x="7406" y="3340"/>
                  </a:lnTo>
                  <a:lnTo>
                    <a:pt x="7406" y="3340"/>
                  </a:lnTo>
                  <a:lnTo>
                    <a:pt x="7389" y="3340"/>
                  </a:lnTo>
                  <a:lnTo>
                    <a:pt x="6814" y="2811"/>
                  </a:lnTo>
                  <a:lnTo>
                    <a:pt x="5123" y="1887"/>
                  </a:lnTo>
                  <a:lnTo>
                    <a:pt x="5123" y="1887"/>
                  </a:lnTo>
                  <a:lnTo>
                    <a:pt x="5107" y="1887"/>
                  </a:lnTo>
                  <a:lnTo>
                    <a:pt x="4795" y="1509"/>
                  </a:lnTo>
                  <a:lnTo>
                    <a:pt x="4581" y="1491"/>
                  </a:lnTo>
                  <a:cubicBezTo>
                    <a:pt x="4576" y="1485"/>
                    <a:pt x="4570" y="1478"/>
                    <a:pt x="4565" y="1472"/>
                  </a:cubicBezTo>
                  <a:lnTo>
                    <a:pt x="4548" y="1472"/>
                  </a:lnTo>
                  <a:lnTo>
                    <a:pt x="4417" y="1245"/>
                  </a:lnTo>
                  <a:lnTo>
                    <a:pt x="4204" y="1075"/>
                  </a:lnTo>
                  <a:cubicBezTo>
                    <a:pt x="4198" y="1069"/>
                    <a:pt x="4193" y="1063"/>
                    <a:pt x="4187" y="1057"/>
                  </a:cubicBezTo>
                  <a:lnTo>
                    <a:pt x="4187" y="1038"/>
                  </a:lnTo>
                  <a:lnTo>
                    <a:pt x="4154" y="849"/>
                  </a:lnTo>
                  <a:lnTo>
                    <a:pt x="3465" y="19"/>
                  </a:lnTo>
                  <a:lnTo>
                    <a:pt x="2939" y="0"/>
                  </a:lnTo>
                  <a:lnTo>
                    <a:pt x="2414" y="1075"/>
                  </a:lnTo>
                  <a:lnTo>
                    <a:pt x="2414" y="1094"/>
                  </a:lnTo>
                  <a:lnTo>
                    <a:pt x="2381" y="1094"/>
                  </a:lnTo>
                  <a:lnTo>
                    <a:pt x="1790" y="1094"/>
                  </a:lnTo>
                  <a:cubicBezTo>
                    <a:pt x="1768" y="1232"/>
                    <a:pt x="1746" y="1371"/>
                    <a:pt x="1724" y="1509"/>
                  </a:cubicBezTo>
                  <a:cubicBezTo>
                    <a:pt x="1719" y="1522"/>
                    <a:pt x="1713" y="1534"/>
                    <a:pt x="1708" y="1547"/>
                  </a:cubicBezTo>
                  <a:cubicBezTo>
                    <a:pt x="1697" y="1541"/>
                    <a:pt x="1686" y="1534"/>
                    <a:pt x="1675" y="1528"/>
                  </a:cubicBezTo>
                  <a:lnTo>
                    <a:pt x="1527" y="1472"/>
                  </a:lnTo>
                  <a:lnTo>
                    <a:pt x="476" y="2604"/>
                  </a:lnTo>
                  <a:cubicBezTo>
                    <a:pt x="443" y="2679"/>
                    <a:pt x="411" y="2755"/>
                    <a:pt x="378" y="2830"/>
                  </a:cubicBezTo>
                  <a:cubicBezTo>
                    <a:pt x="372" y="2836"/>
                    <a:pt x="367" y="2843"/>
                    <a:pt x="361" y="2849"/>
                  </a:cubicBezTo>
                  <a:lnTo>
                    <a:pt x="345" y="2849"/>
                  </a:lnTo>
                  <a:lnTo>
                    <a:pt x="0" y="2868"/>
                  </a:lnTo>
                  <a:lnTo>
                    <a:pt x="0" y="3019"/>
                  </a:lnTo>
                  <a:lnTo>
                    <a:pt x="443" y="3000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solidFill>
                <a:srgbClr val="FFFFFF">
                  <a:lumMod val="75000"/>
                </a:srgbClr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08">
                <a:defRPr/>
              </a:pPr>
              <a:endParaRPr lang="ru-RU" sz="1867" kern="0">
                <a:solidFill>
                  <a:sysClr val="windowText" lastClr="000000"/>
                </a:solidFill>
                <a:latin typeface="Arial"/>
              </a:endParaRPr>
            </a:p>
          </p:txBody>
        </p:sp>
        <p:sp>
          <p:nvSpPr>
            <p:cNvPr id="365" name="Freeform 144">
              <a:extLst/>
            </p:cNvPr>
            <p:cNvSpPr>
              <a:spLocks/>
            </p:cNvSpPr>
            <p:nvPr/>
          </p:nvSpPr>
          <p:spPr bwMode="auto">
            <a:xfrm>
              <a:off x="3871826" y="2486264"/>
              <a:ext cx="2957020" cy="1604540"/>
            </a:xfrm>
            <a:custGeom>
              <a:avLst/>
              <a:gdLst>
                <a:gd name="T0" fmla="*/ 910 w 941"/>
                <a:gd name="T1" fmla="*/ 367 h 516"/>
                <a:gd name="T2" fmla="*/ 904 w 941"/>
                <a:gd name="T3" fmla="*/ 367 h 516"/>
                <a:gd name="T4" fmla="*/ 889 w 941"/>
                <a:gd name="T5" fmla="*/ 337 h 516"/>
                <a:gd name="T6" fmla="*/ 900 w 941"/>
                <a:gd name="T7" fmla="*/ 287 h 516"/>
                <a:gd name="T8" fmla="*/ 898 w 941"/>
                <a:gd name="T9" fmla="*/ 261 h 516"/>
                <a:gd name="T10" fmla="*/ 882 w 941"/>
                <a:gd name="T11" fmla="*/ 229 h 516"/>
                <a:gd name="T12" fmla="*/ 893 w 941"/>
                <a:gd name="T13" fmla="*/ 194 h 516"/>
                <a:gd name="T14" fmla="*/ 887 w 941"/>
                <a:gd name="T15" fmla="*/ 181 h 516"/>
                <a:gd name="T16" fmla="*/ 883 w 941"/>
                <a:gd name="T17" fmla="*/ 135 h 516"/>
                <a:gd name="T18" fmla="*/ 878 w 941"/>
                <a:gd name="T19" fmla="*/ 116 h 516"/>
                <a:gd name="T20" fmla="*/ 900 w 941"/>
                <a:gd name="T21" fmla="*/ 52 h 516"/>
                <a:gd name="T22" fmla="*/ 874 w 941"/>
                <a:gd name="T23" fmla="*/ 30 h 516"/>
                <a:gd name="T24" fmla="*/ 842 w 941"/>
                <a:gd name="T25" fmla="*/ 58 h 516"/>
                <a:gd name="T26" fmla="*/ 813 w 941"/>
                <a:gd name="T27" fmla="*/ 74 h 516"/>
                <a:gd name="T28" fmla="*/ 769 w 941"/>
                <a:gd name="T29" fmla="*/ 82 h 516"/>
                <a:gd name="T30" fmla="*/ 738 w 941"/>
                <a:gd name="T31" fmla="*/ 98 h 516"/>
                <a:gd name="T32" fmla="*/ 720 w 941"/>
                <a:gd name="T33" fmla="*/ 58 h 516"/>
                <a:gd name="T34" fmla="*/ 675 w 941"/>
                <a:gd name="T35" fmla="*/ 46 h 516"/>
                <a:gd name="T36" fmla="*/ 667 w 941"/>
                <a:gd name="T37" fmla="*/ 24 h 516"/>
                <a:gd name="T38" fmla="*/ 662 w 941"/>
                <a:gd name="T39" fmla="*/ 0 h 516"/>
                <a:gd name="T40" fmla="*/ 628 w 941"/>
                <a:gd name="T41" fmla="*/ 15 h 516"/>
                <a:gd name="T42" fmla="*/ 596 w 941"/>
                <a:gd name="T43" fmla="*/ 46 h 516"/>
                <a:gd name="T44" fmla="*/ 565 w 941"/>
                <a:gd name="T45" fmla="*/ 76 h 516"/>
                <a:gd name="T46" fmla="*/ 542 w 941"/>
                <a:gd name="T47" fmla="*/ 48 h 516"/>
                <a:gd name="T48" fmla="*/ 486 w 941"/>
                <a:gd name="T49" fmla="*/ 99 h 516"/>
                <a:gd name="T50" fmla="*/ 453 w 941"/>
                <a:gd name="T51" fmla="*/ 109 h 516"/>
                <a:gd name="T52" fmla="*/ 432 w 941"/>
                <a:gd name="T53" fmla="*/ 101 h 516"/>
                <a:gd name="T54" fmla="*/ 417 w 941"/>
                <a:gd name="T55" fmla="*/ 101 h 516"/>
                <a:gd name="T56" fmla="*/ 365 w 941"/>
                <a:gd name="T57" fmla="*/ 51 h 516"/>
                <a:gd name="T58" fmla="*/ 338 w 941"/>
                <a:gd name="T59" fmla="*/ 68 h 516"/>
                <a:gd name="T60" fmla="*/ 328 w 941"/>
                <a:gd name="T61" fmla="*/ 89 h 516"/>
                <a:gd name="T62" fmla="*/ 278 w 941"/>
                <a:gd name="T63" fmla="*/ 146 h 516"/>
                <a:gd name="T64" fmla="*/ 232 w 941"/>
                <a:gd name="T65" fmla="*/ 203 h 516"/>
                <a:gd name="T66" fmla="*/ 205 w 941"/>
                <a:gd name="T67" fmla="*/ 235 h 516"/>
                <a:gd name="T68" fmla="*/ 141 w 941"/>
                <a:gd name="T69" fmla="*/ 241 h 516"/>
                <a:gd name="T70" fmla="*/ 122 w 941"/>
                <a:gd name="T71" fmla="*/ 242 h 516"/>
                <a:gd name="T72" fmla="*/ 107 w 941"/>
                <a:gd name="T73" fmla="*/ 272 h 516"/>
                <a:gd name="T74" fmla="*/ 92 w 941"/>
                <a:gd name="T75" fmla="*/ 297 h 516"/>
                <a:gd name="T76" fmla="*/ 91 w 941"/>
                <a:gd name="T77" fmla="*/ 325 h 516"/>
                <a:gd name="T78" fmla="*/ 92 w 941"/>
                <a:gd name="T79" fmla="*/ 338 h 516"/>
                <a:gd name="T80" fmla="*/ 32 w 941"/>
                <a:gd name="T81" fmla="*/ 382 h 516"/>
                <a:gd name="T82" fmla="*/ 15 w 941"/>
                <a:gd name="T83" fmla="*/ 406 h 516"/>
                <a:gd name="T84" fmla="*/ 139 w 941"/>
                <a:gd name="T85" fmla="*/ 475 h 516"/>
                <a:gd name="T86" fmla="*/ 243 w 941"/>
                <a:gd name="T87" fmla="*/ 499 h 516"/>
                <a:gd name="T88" fmla="*/ 288 w 941"/>
                <a:gd name="T89" fmla="*/ 516 h 516"/>
                <a:gd name="T90" fmla="*/ 427 w 941"/>
                <a:gd name="T91" fmla="*/ 509 h 516"/>
                <a:gd name="T92" fmla="*/ 700 w 941"/>
                <a:gd name="T93" fmla="*/ 496 h 516"/>
                <a:gd name="T94" fmla="*/ 723 w 941"/>
                <a:gd name="T95" fmla="*/ 454 h 516"/>
                <a:gd name="T96" fmla="*/ 772 w 941"/>
                <a:gd name="T97" fmla="*/ 408 h 516"/>
                <a:gd name="T98" fmla="*/ 831 w 941"/>
                <a:gd name="T99" fmla="*/ 399 h 516"/>
                <a:gd name="T100" fmla="*/ 890 w 941"/>
                <a:gd name="T101" fmla="*/ 399 h 516"/>
                <a:gd name="T102" fmla="*/ 941 w 941"/>
                <a:gd name="T103" fmla="*/ 403 h 516"/>
                <a:gd name="T104" fmla="*/ 933 w 941"/>
                <a:gd name="T105" fmla="*/ 367 h 516"/>
                <a:gd name="T106" fmla="*/ 936 w 941"/>
                <a:gd name="T107" fmla="*/ 349 h 516"/>
                <a:gd name="connsiteX0" fmla="*/ 9872 w 10000"/>
                <a:gd name="connsiteY0" fmla="*/ 6899 h 10000"/>
                <a:gd name="connsiteX1" fmla="*/ 9862 w 10000"/>
                <a:gd name="connsiteY1" fmla="*/ 6899 h 10000"/>
                <a:gd name="connsiteX2" fmla="*/ 9862 w 10000"/>
                <a:gd name="connsiteY2" fmla="*/ 6899 h 10000"/>
                <a:gd name="connsiteX3" fmla="*/ 9766 w 10000"/>
                <a:gd name="connsiteY3" fmla="*/ 6938 h 10000"/>
                <a:gd name="connsiteX4" fmla="*/ 9671 w 10000"/>
                <a:gd name="connsiteY4" fmla="*/ 7112 h 10000"/>
                <a:gd name="connsiteX5" fmla="*/ 9671 w 10000"/>
                <a:gd name="connsiteY5" fmla="*/ 7112 h 10000"/>
                <a:gd name="connsiteX6" fmla="*/ 9660 w 10000"/>
                <a:gd name="connsiteY6" fmla="*/ 7112 h 10000"/>
                <a:gd name="connsiteX7" fmla="*/ 9617 w 10000"/>
                <a:gd name="connsiteY7" fmla="*/ 7112 h 10000"/>
                <a:gd name="connsiteX8" fmla="*/ 9607 w 10000"/>
                <a:gd name="connsiteY8" fmla="*/ 7112 h 10000"/>
                <a:gd name="connsiteX9" fmla="*/ 9607 w 10000"/>
                <a:gd name="connsiteY9" fmla="*/ 7112 h 10000"/>
                <a:gd name="connsiteX10" fmla="*/ 9458 w 10000"/>
                <a:gd name="connsiteY10" fmla="*/ 6880 h 10000"/>
                <a:gd name="connsiteX11" fmla="*/ 9447 w 10000"/>
                <a:gd name="connsiteY11" fmla="*/ 6860 h 10000"/>
                <a:gd name="connsiteX12" fmla="*/ 9447 w 10000"/>
                <a:gd name="connsiteY12" fmla="*/ 6841 h 10000"/>
                <a:gd name="connsiteX13" fmla="*/ 9447 w 10000"/>
                <a:gd name="connsiteY13" fmla="*/ 6550 h 10000"/>
                <a:gd name="connsiteX14" fmla="*/ 9447 w 10000"/>
                <a:gd name="connsiteY14" fmla="*/ 6531 h 10000"/>
                <a:gd name="connsiteX15" fmla="*/ 9458 w 10000"/>
                <a:gd name="connsiteY15" fmla="*/ 6531 h 10000"/>
                <a:gd name="connsiteX16" fmla="*/ 9554 w 10000"/>
                <a:gd name="connsiteY16" fmla="*/ 6453 h 10000"/>
                <a:gd name="connsiteX17" fmla="*/ 9564 w 10000"/>
                <a:gd name="connsiteY17" fmla="*/ 5601 h 10000"/>
                <a:gd name="connsiteX18" fmla="*/ 9564 w 10000"/>
                <a:gd name="connsiteY18" fmla="*/ 5581 h 10000"/>
                <a:gd name="connsiteX19" fmla="*/ 9564 w 10000"/>
                <a:gd name="connsiteY19" fmla="*/ 5562 h 10000"/>
                <a:gd name="connsiteX20" fmla="*/ 9649 w 10000"/>
                <a:gd name="connsiteY20" fmla="*/ 5388 h 10000"/>
                <a:gd name="connsiteX21" fmla="*/ 9702 w 10000"/>
                <a:gd name="connsiteY21" fmla="*/ 5291 h 10000"/>
                <a:gd name="connsiteX22" fmla="*/ 9554 w 10000"/>
                <a:gd name="connsiteY22" fmla="*/ 5058 h 10000"/>
                <a:gd name="connsiteX23" fmla="*/ 9554 w 10000"/>
                <a:gd name="connsiteY23" fmla="*/ 5058 h 10000"/>
                <a:gd name="connsiteX24" fmla="*/ 9543 w 10000"/>
                <a:gd name="connsiteY24" fmla="*/ 5058 h 10000"/>
                <a:gd name="connsiteX25" fmla="*/ 9394 w 10000"/>
                <a:gd name="connsiteY25" fmla="*/ 4709 h 10000"/>
                <a:gd name="connsiteX26" fmla="*/ 9394 w 10000"/>
                <a:gd name="connsiteY26" fmla="*/ 4690 h 10000"/>
                <a:gd name="connsiteX27" fmla="*/ 9394 w 10000"/>
                <a:gd name="connsiteY27" fmla="*/ 4690 h 10000"/>
                <a:gd name="connsiteX28" fmla="*/ 9384 w 10000"/>
                <a:gd name="connsiteY28" fmla="*/ 4457 h 10000"/>
                <a:gd name="connsiteX29" fmla="*/ 9373 w 10000"/>
                <a:gd name="connsiteY29" fmla="*/ 4438 h 10000"/>
                <a:gd name="connsiteX30" fmla="*/ 9490 w 10000"/>
                <a:gd name="connsiteY30" fmla="*/ 4360 h 10000"/>
                <a:gd name="connsiteX31" fmla="*/ 9564 w 10000"/>
                <a:gd name="connsiteY31" fmla="*/ 4244 h 10000"/>
                <a:gd name="connsiteX32" fmla="*/ 9628 w 10000"/>
                <a:gd name="connsiteY32" fmla="*/ 4012 h 10000"/>
                <a:gd name="connsiteX33" fmla="*/ 9490 w 10000"/>
                <a:gd name="connsiteY33" fmla="*/ 3760 h 10000"/>
                <a:gd name="connsiteX34" fmla="*/ 9490 w 10000"/>
                <a:gd name="connsiteY34" fmla="*/ 3760 h 10000"/>
                <a:gd name="connsiteX35" fmla="*/ 9479 w 10000"/>
                <a:gd name="connsiteY35" fmla="*/ 3760 h 10000"/>
                <a:gd name="connsiteX36" fmla="*/ 9426 w 10000"/>
                <a:gd name="connsiteY36" fmla="*/ 3527 h 10000"/>
                <a:gd name="connsiteX37" fmla="*/ 9426 w 10000"/>
                <a:gd name="connsiteY37" fmla="*/ 3527 h 10000"/>
                <a:gd name="connsiteX38" fmla="*/ 9426 w 10000"/>
                <a:gd name="connsiteY38" fmla="*/ 3508 h 10000"/>
                <a:gd name="connsiteX39" fmla="*/ 9416 w 10000"/>
                <a:gd name="connsiteY39" fmla="*/ 3198 h 10000"/>
                <a:gd name="connsiteX40" fmla="*/ 9416 w 10000"/>
                <a:gd name="connsiteY40" fmla="*/ 3198 h 10000"/>
                <a:gd name="connsiteX41" fmla="*/ 9416 w 10000"/>
                <a:gd name="connsiteY41" fmla="*/ 3178 h 10000"/>
                <a:gd name="connsiteX42" fmla="*/ 9532 w 10000"/>
                <a:gd name="connsiteY42" fmla="*/ 2907 h 10000"/>
                <a:gd name="connsiteX43" fmla="*/ 9384 w 10000"/>
                <a:gd name="connsiteY43" fmla="*/ 2616 h 10000"/>
                <a:gd name="connsiteX44" fmla="*/ 9384 w 10000"/>
                <a:gd name="connsiteY44" fmla="*/ 2616 h 10000"/>
                <a:gd name="connsiteX45" fmla="*/ 9384 w 10000"/>
                <a:gd name="connsiteY45" fmla="*/ 2616 h 10000"/>
                <a:gd name="connsiteX46" fmla="*/ 9330 w 10000"/>
                <a:gd name="connsiteY46" fmla="*/ 2267 h 10000"/>
                <a:gd name="connsiteX47" fmla="*/ 9330 w 10000"/>
                <a:gd name="connsiteY47" fmla="*/ 2248 h 10000"/>
                <a:gd name="connsiteX48" fmla="*/ 9330 w 10000"/>
                <a:gd name="connsiteY48" fmla="*/ 2248 h 10000"/>
                <a:gd name="connsiteX49" fmla="*/ 9341 w 10000"/>
                <a:gd name="connsiteY49" fmla="*/ 1841 h 10000"/>
                <a:gd name="connsiteX50" fmla="*/ 9341 w 10000"/>
                <a:gd name="connsiteY50" fmla="*/ 1822 h 10000"/>
                <a:gd name="connsiteX51" fmla="*/ 9341 w 10000"/>
                <a:gd name="connsiteY51" fmla="*/ 1822 h 10000"/>
                <a:gd name="connsiteX52" fmla="*/ 9660 w 10000"/>
                <a:gd name="connsiteY52" fmla="*/ 1279 h 10000"/>
                <a:gd name="connsiteX53" fmla="*/ 9564 w 10000"/>
                <a:gd name="connsiteY53" fmla="*/ 1008 h 10000"/>
                <a:gd name="connsiteX54" fmla="*/ 9554 w 10000"/>
                <a:gd name="connsiteY54" fmla="*/ 1008 h 10000"/>
                <a:gd name="connsiteX55" fmla="*/ 9554 w 10000"/>
                <a:gd name="connsiteY55" fmla="*/ 988 h 10000"/>
                <a:gd name="connsiteX56" fmla="*/ 9586 w 10000"/>
                <a:gd name="connsiteY56" fmla="*/ 698 h 10000"/>
                <a:gd name="connsiteX57" fmla="*/ 9501 w 10000"/>
                <a:gd name="connsiteY57" fmla="*/ 601 h 10000"/>
                <a:gd name="connsiteX58" fmla="*/ 9288 w 10000"/>
                <a:gd name="connsiteY58" fmla="*/ 581 h 10000"/>
                <a:gd name="connsiteX59" fmla="*/ 9288 w 10000"/>
                <a:gd name="connsiteY59" fmla="*/ 581 h 10000"/>
                <a:gd name="connsiteX60" fmla="*/ 9277 w 10000"/>
                <a:gd name="connsiteY60" fmla="*/ 581 h 10000"/>
                <a:gd name="connsiteX61" fmla="*/ 9224 w 10000"/>
                <a:gd name="connsiteY61" fmla="*/ 484 h 10000"/>
                <a:gd name="connsiteX62" fmla="*/ 9086 w 10000"/>
                <a:gd name="connsiteY62" fmla="*/ 484 h 10000"/>
                <a:gd name="connsiteX63" fmla="*/ 8948 w 10000"/>
                <a:gd name="connsiteY63" fmla="*/ 1124 h 10000"/>
                <a:gd name="connsiteX64" fmla="*/ 8927 w 10000"/>
                <a:gd name="connsiteY64" fmla="*/ 1124 h 10000"/>
                <a:gd name="connsiteX65" fmla="*/ 8927 w 10000"/>
                <a:gd name="connsiteY65" fmla="*/ 1143 h 10000"/>
                <a:gd name="connsiteX66" fmla="*/ 8650 w 10000"/>
                <a:gd name="connsiteY66" fmla="*/ 1415 h 10000"/>
                <a:gd name="connsiteX67" fmla="*/ 8640 w 10000"/>
                <a:gd name="connsiteY67" fmla="*/ 1434 h 10000"/>
                <a:gd name="connsiteX68" fmla="*/ 8640 w 10000"/>
                <a:gd name="connsiteY68" fmla="*/ 1434 h 10000"/>
                <a:gd name="connsiteX69" fmla="*/ 8470 w 10000"/>
                <a:gd name="connsiteY69" fmla="*/ 1395 h 10000"/>
                <a:gd name="connsiteX70" fmla="*/ 8321 w 10000"/>
                <a:gd name="connsiteY70" fmla="*/ 1531 h 10000"/>
                <a:gd name="connsiteX71" fmla="*/ 8321 w 10000"/>
                <a:gd name="connsiteY71" fmla="*/ 1531 h 10000"/>
                <a:gd name="connsiteX72" fmla="*/ 8321 w 10000"/>
                <a:gd name="connsiteY72" fmla="*/ 1531 h 10000"/>
                <a:gd name="connsiteX73" fmla="*/ 8172 w 10000"/>
                <a:gd name="connsiteY73" fmla="*/ 1589 h 10000"/>
                <a:gd name="connsiteX74" fmla="*/ 8023 w 10000"/>
                <a:gd name="connsiteY74" fmla="*/ 1957 h 10000"/>
                <a:gd name="connsiteX75" fmla="*/ 8013 w 10000"/>
                <a:gd name="connsiteY75" fmla="*/ 1977 h 10000"/>
                <a:gd name="connsiteX76" fmla="*/ 7991 w 10000"/>
                <a:gd name="connsiteY76" fmla="*/ 1977 h 10000"/>
                <a:gd name="connsiteX77" fmla="*/ 7864 w 10000"/>
                <a:gd name="connsiteY77" fmla="*/ 1899 h 10000"/>
                <a:gd name="connsiteX78" fmla="*/ 7843 w 10000"/>
                <a:gd name="connsiteY78" fmla="*/ 1899 h 10000"/>
                <a:gd name="connsiteX79" fmla="*/ 7853 w 10000"/>
                <a:gd name="connsiteY79" fmla="*/ 1841 h 10000"/>
                <a:gd name="connsiteX80" fmla="*/ 7928 w 10000"/>
                <a:gd name="connsiteY80" fmla="*/ 1609 h 10000"/>
                <a:gd name="connsiteX81" fmla="*/ 7906 w 10000"/>
                <a:gd name="connsiteY81" fmla="*/ 1279 h 10000"/>
                <a:gd name="connsiteX82" fmla="*/ 7758 w 10000"/>
                <a:gd name="connsiteY82" fmla="*/ 1124 h 10000"/>
                <a:gd name="connsiteX83" fmla="*/ 7651 w 10000"/>
                <a:gd name="connsiteY83" fmla="*/ 1124 h 10000"/>
                <a:gd name="connsiteX84" fmla="*/ 7641 w 10000"/>
                <a:gd name="connsiteY84" fmla="*/ 1124 h 10000"/>
                <a:gd name="connsiteX85" fmla="*/ 7630 w 10000"/>
                <a:gd name="connsiteY85" fmla="*/ 1105 h 10000"/>
                <a:gd name="connsiteX86" fmla="*/ 7556 w 10000"/>
                <a:gd name="connsiteY86" fmla="*/ 930 h 10000"/>
                <a:gd name="connsiteX87" fmla="*/ 7184 w 10000"/>
                <a:gd name="connsiteY87" fmla="*/ 891 h 10000"/>
                <a:gd name="connsiteX88" fmla="*/ 7173 w 10000"/>
                <a:gd name="connsiteY88" fmla="*/ 891 h 10000"/>
                <a:gd name="connsiteX89" fmla="*/ 7173 w 10000"/>
                <a:gd name="connsiteY89" fmla="*/ 872 h 10000"/>
                <a:gd name="connsiteX90" fmla="*/ 7099 w 10000"/>
                <a:gd name="connsiteY90" fmla="*/ 620 h 10000"/>
                <a:gd name="connsiteX91" fmla="*/ 7088 w 10000"/>
                <a:gd name="connsiteY91" fmla="*/ 601 h 10000"/>
                <a:gd name="connsiteX92" fmla="*/ 7088 w 10000"/>
                <a:gd name="connsiteY92" fmla="*/ 601 h 10000"/>
                <a:gd name="connsiteX93" fmla="*/ 7088 w 10000"/>
                <a:gd name="connsiteY93" fmla="*/ 465 h 10000"/>
                <a:gd name="connsiteX94" fmla="*/ 7088 w 10000"/>
                <a:gd name="connsiteY94" fmla="*/ 426 h 10000"/>
                <a:gd name="connsiteX95" fmla="*/ 7099 w 10000"/>
                <a:gd name="connsiteY95" fmla="*/ 407 h 10000"/>
                <a:gd name="connsiteX96" fmla="*/ 7194 w 10000"/>
                <a:gd name="connsiteY96" fmla="*/ 310 h 10000"/>
                <a:gd name="connsiteX97" fmla="*/ 7109 w 10000"/>
                <a:gd name="connsiteY97" fmla="*/ 136 h 10000"/>
                <a:gd name="connsiteX98" fmla="*/ 7035 w 10000"/>
                <a:gd name="connsiteY98" fmla="*/ 0 h 10000"/>
                <a:gd name="connsiteX99" fmla="*/ 6939 w 10000"/>
                <a:gd name="connsiteY99" fmla="*/ 116 h 10000"/>
                <a:gd name="connsiteX100" fmla="*/ 6939 w 10000"/>
                <a:gd name="connsiteY100" fmla="*/ 116 h 10000"/>
                <a:gd name="connsiteX101" fmla="*/ 6939 w 10000"/>
                <a:gd name="connsiteY101" fmla="*/ 116 h 10000"/>
                <a:gd name="connsiteX102" fmla="*/ 6812 w 10000"/>
                <a:gd name="connsiteY102" fmla="*/ 155 h 10000"/>
                <a:gd name="connsiteX103" fmla="*/ 6674 w 10000"/>
                <a:gd name="connsiteY103" fmla="*/ 291 h 10000"/>
                <a:gd name="connsiteX104" fmla="*/ 6599 w 10000"/>
                <a:gd name="connsiteY104" fmla="*/ 523 h 10000"/>
                <a:gd name="connsiteX105" fmla="*/ 6599 w 10000"/>
                <a:gd name="connsiteY105" fmla="*/ 543 h 10000"/>
                <a:gd name="connsiteX106" fmla="*/ 6589 w 10000"/>
                <a:gd name="connsiteY106" fmla="*/ 543 h 10000"/>
                <a:gd name="connsiteX107" fmla="*/ 6397 w 10000"/>
                <a:gd name="connsiteY107" fmla="*/ 581 h 10000"/>
                <a:gd name="connsiteX108" fmla="*/ 6334 w 10000"/>
                <a:gd name="connsiteY108" fmla="*/ 891 h 10000"/>
                <a:gd name="connsiteX109" fmla="*/ 6334 w 10000"/>
                <a:gd name="connsiteY109" fmla="*/ 911 h 10000"/>
                <a:gd name="connsiteX110" fmla="*/ 6334 w 10000"/>
                <a:gd name="connsiteY110" fmla="*/ 911 h 10000"/>
                <a:gd name="connsiteX111" fmla="*/ 6142 w 10000"/>
                <a:gd name="connsiteY111" fmla="*/ 1124 h 10000"/>
                <a:gd name="connsiteX112" fmla="*/ 6015 w 10000"/>
                <a:gd name="connsiteY112" fmla="*/ 1453 h 10000"/>
                <a:gd name="connsiteX113" fmla="*/ 6004 w 10000"/>
                <a:gd name="connsiteY113" fmla="*/ 1473 h 10000"/>
                <a:gd name="connsiteX114" fmla="*/ 5994 w 10000"/>
                <a:gd name="connsiteY114" fmla="*/ 1453 h 10000"/>
                <a:gd name="connsiteX115" fmla="*/ 5802 w 10000"/>
                <a:gd name="connsiteY115" fmla="*/ 1434 h 10000"/>
                <a:gd name="connsiteX116" fmla="*/ 5781 w 10000"/>
                <a:gd name="connsiteY116" fmla="*/ 1415 h 10000"/>
                <a:gd name="connsiteX117" fmla="*/ 5781 w 10000"/>
                <a:gd name="connsiteY117" fmla="*/ 1395 h 10000"/>
                <a:gd name="connsiteX118" fmla="*/ 5760 w 10000"/>
                <a:gd name="connsiteY118" fmla="*/ 930 h 10000"/>
                <a:gd name="connsiteX119" fmla="*/ 5654 w 10000"/>
                <a:gd name="connsiteY119" fmla="*/ 872 h 10000"/>
                <a:gd name="connsiteX120" fmla="*/ 5377 w 10000"/>
                <a:gd name="connsiteY120" fmla="*/ 1240 h 10000"/>
                <a:gd name="connsiteX121" fmla="*/ 5165 w 10000"/>
                <a:gd name="connsiteY121" fmla="*/ 1570 h 10000"/>
                <a:gd name="connsiteX122" fmla="*/ 5165 w 10000"/>
                <a:gd name="connsiteY122" fmla="*/ 1899 h 10000"/>
                <a:gd name="connsiteX123" fmla="*/ 5165 w 10000"/>
                <a:gd name="connsiteY123" fmla="*/ 1919 h 10000"/>
                <a:gd name="connsiteX124" fmla="*/ 5154 w 10000"/>
                <a:gd name="connsiteY124" fmla="*/ 1919 h 10000"/>
                <a:gd name="connsiteX125" fmla="*/ 5027 w 10000"/>
                <a:gd name="connsiteY125" fmla="*/ 2112 h 10000"/>
                <a:gd name="connsiteX126" fmla="*/ 5016 w 10000"/>
                <a:gd name="connsiteY126" fmla="*/ 2112 h 10000"/>
                <a:gd name="connsiteX127" fmla="*/ 5005 w 10000"/>
                <a:gd name="connsiteY127" fmla="*/ 2112 h 10000"/>
                <a:gd name="connsiteX128" fmla="*/ 4814 w 10000"/>
                <a:gd name="connsiteY128" fmla="*/ 2112 h 10000"/>
                <a:gd name="connsiteX129" fmla="*/ 4803 w 10000"/>
                <a:gd name="connsiteY129" fmla="*/ 2112 h 10000"/>
                <a:gd name="connsiteX130" fmla="*/ 4803 w 10000"/>
                <a:gd name="connsiteY130" fmla="*/ 2112 h 10000"/>
                <a:gd name="connsiteX131" fmla="*/ 4697 w 10000"/>
                <a:gd name="connsiteY131" fmla="*/ 1957 h 10000"/>
                <a:gd name="connsiteX132" fmla="*/ 4591 w 10000"/>
                <a:gd name="connsiteY132" fmla="*/ 1899 h 10000"/>
                <a:gd name="connsiteX133" fmla="*/ 4591 w 10000"/>
                <a:gd name="connsiteY133" fmla="*/ 1957 h 10000"/>
                <a:gd name="connsiteX134" fmla="*/ 4591 w 10000"/>
                <a:gd name="connsiteY134" fmla="*/ 1996 h 10000"/>
                <a:gd name="connsiteX135" fmla="*/ 4570 w 10000"/>
                <a:gd name="connsiteY135" fmla="*/ 1996 h 10000"/>
                <a:gd name="connsiteX136" fmla="*/ 4453 w 10000"/>
                <a:gd name="connsiteY136" fmla="*/ 1996 h 10000"/>
                <a:gd name="connsiteX137" fmla="*/ 4431 w 10000"/>
                <a:gd name="connsiteY137" fmla="*/ 1996 h 10000"/>
                <a:gd name="connsiteX138" fmla="*/ 4431 w 10000"/>
                <a:gd name="connsiteY138" fmla="*/ 1957 h 10000"/>
                <a:gd name="connsiteX139" fmla="*/ 4378 w 10000"/>
                <a:gd name="connsiteY139" fmla="*/ 1589 h 10000"/>
                <a:gd name="connsiteX140" fmla="*/ 4091 w 10000"/>
                <a:gd name="connsiteY140" fmla="*/ 1512 h 10000"/>
                <a:gd name="connsiteX141" fmla="*/ 4081 w 10000"/>
                <a:gd name="connsiteY141" fmla="*/ 1512 h 10000"/>
                <a:gd name="connsiteX142" fmla="*/ 4070 w 10000"/>
                <a:gd name="connsiteY142" fmla="*/ 1492 h 10000"/>
                <a:gd name="connsiteX143" fmla="*/ 3879 w 10000"/>
                <a:gd name="connsiteY143" fmla="*/ 988 h 10000"/>
                <a:gd name="connsiteX144" fmla="*/ 3719 w 10000"/>
                <a:gd name="connsiteY144" fmla="*/ 988 h 10000"/>
                <a:gd name="connsiteX145" fmla="*/ 3698 w 10000"/>
                <a:gd name="connsiteY145" fmla="*/ 1085 h 10000"/>
                <a:gd name="connsiteX146" fmla="*/ 3698 w 10000"/>
                <a:gd name="connsiteY146" fmla="*/ 1105 h 10000"/>
                <a:gd name="connsiteX147" fmla="*/ 3698 w 10000"/>
                <a:gd name="connsiteY147" fmla="*/ 1105 h 10000"/>
                <a:gd name="connsiteX148" fmla="*/ 3592 w 10000"/>
                <a:gd name="connsiteY148" fmla="*/ 1318 h 10000"/>
                <a:gd name="connsiteX149" fmla="*/ 3592 w 10000"/>
                <a:gd name="connsiteY149" fmla="*/ 1318 h 10000"/>
                <a:gd name="connsiteX150" fmla="*/ 3581 w 10000"/>
                <a:gd name="connsiteY150" fmla="*/ 1318 h 10000"/>
                <a:gd name="connsiteX151" fmla="*/ 3486 w 10000"/>
                <a:gd name="connsiteY151" fmla="*/ 1395 h 10000"/>
                <a:gd name="connsiteX152" fmla="*/ 3486 w 10000"/>
                <a:gd name="connsiteY152" fmla="*/ 1686 h 10000"/>
                <a:gd name="connsiteX153" fmla="*/ 3486 w 10000"/>
                <a:gd name="connsiteY153" fmla="*/ 1725 h 10000"/>
                <a:gd name="connsiteX154" fmla="*/ 3475 w 10000"/>
                <a:gd name="connsiteY154" fmla="*/ 1725 h 10000"/>
                <a:gd name="connsiteX155" fmla="*/ 3369 w 10000"/>
                <a:gd name="connsiteY155" fmla="*/ 1841 h 10000"/>
                <a:gd name="connsiteX156" fmla="*/ 3135 w 10000"/>
                <a:gd name="connsiteY156" fmla="*/ 2171 h 10000"/>
                <a:gd name="connsiteX157" fmla="*/ 2954 w 10000"/>
                <a:gd name="connsiteY157" fmla="*/ 2829 h 10000"/>
                <a:gd name="connsiteX158" fmla="*/ 2954 w 10000"/>
                <a:gd name="connsiteY158" fmla="*/ 2829 h 10000"/>
                <a:gd name="connsiteX159" fmla="*/ 2944 w 10000"/>
                <a:gd name="connsiteY159" fmla="*/ 2829 h 10000"/>
                <a:gd name="connsiteX160" fmla="*/ 2699 w 10000"/>
                <a:gd name="connsiteY160" fmla="*/ 3217 h 10000"/>
                <a:gd name="connsiteX161" fmla="*/ 2487 w 10000"/>
                <a:gd name="connsiteY161" fmla="*/ 3566 h 10000"/>
                <a:gd name="connsiteX162" fmla="*/ 2465 w 10000"/>
                <a:gd name="connsiteY162" fmla="*/ 3934 h 10000"/>
                <a:gd name="connsiteX163" fmla="*/ 2465 w 10000"/>
                <a:gd name="connsiteY163" fmla="*/ 3934 h 10000"/>
                <a:gd name="connsiteX164" fmla="*/ 2465 w 10000"/>
                <a:gd name="connsiteY164" fmla="*/ 3934 h 10000"/>
                <a:gd name="connsiteX165" fmla="*/ 2295 w 10000"/>
                <a:gd name="connsiteY165" fmla="*/ 4205 h 10000"/>
                <a:gd name="connsiteX166" fmla="*/ 2200 w 10000"/>
                <a:gd name="connsiteY166" fmla="*/ 4535 h 10000"/>
                <a:gd name="connsiteX167" fmla="*/ 2189 w 10000"/>
                <a:gd name="connsiteY167" fmla="*/ 4554 h 10000"/>
                <a:gd name="connsiteX168" fmla="*/ 2179 w 10000"/>
                <a:gd name="connsiteY168" fmla="*/ 4554 h 10000"/>
                <a:gd name="connsiteX169" fmla="*/ 2051 w 10000"/>
                <a:gd name="connsiteY169" fmla="*/ 4535 h 10000"/>
                <a:gd name="connsiteX170" fmla="*/ 1913 w 10000"/>
                <a:gd name="connsiteY170" fmla="*/ 4767 h 10000"/>
                <a:gd name="connsiteX171" fmla="*/ 1913 w 10000"/>
                <a:gd name="connsiteY171" fmla="*/ 4787 h 10000"/>
                <a:gd name="connsiteX172" fmla="*/ 1902 w 10000"/>
                <a:gd name="connsiteY172" fmla="*/ 4787 h 10000"/>
                <a:gd name="connsiteX173" fmla="*/ 1498 w 10000"/>
                <a:gd name="connsiteY173" fmla="*/ 4671 h 10000"/>
                <a:gd name="connsiteX174" fmla="*/ 1488 w 10000"/>
                <a:gd name="connsiteY174" fmla="*/ 4671 h 10000"/>
                <a:gd name="connsiteX175" fmla="*/ 1488 w 10000"/>
                <a:gd name="connsiteY175" fmla="*/ 4651 h 10000"/>
                <a:gd name="connsiteX176" fmla="*/ 1424 w 10000"/>
                <a:gd name="connsiteY176" fmla="*/ 4516 h 10000"/>
                <a:gd name="connsiteX177" fmla="*/ 1350 w 10000"/>
                <a:gd name="connsiteY177" fmla="*/ 4516 h 10000"/>
                <a:gd name="connsiteX178" fmla="*/ 1296 w 10000"/>
                <a:gd name="connsiteY178" fmla="*/ 4690 h 10000"/>
                <a:gd name="connsiteX179" fmla="*/ 1286 w 10000"/>
                <a:gd name="connsiteY179" fmla="*/ 4922 h 10000"/>
                <a:gd name="connsiteX180" fmla="*/ 1286 w 10000"/>
                <a:gd name="connsiteY180" fmla="*/ 4942 h 10000"/>
                <a:gd name="connsiteX181" fmla="*/ 1275 w 10000"/>
                <a:gd name="connsiteY181" fmla="*/ 4961 h 10000"/>
                <a:gd name="connsiteX182" fmla="*/ 1190 w 10000"/>
                <a:gd name="connsiteY182" fmla="*/ 5058 h 10000"/>
                <a:gd name="connsiteX183" fmla="*/ 1137 w 10000"/>
                <a:gd name="connsiteY183" fmla="*/ 5271 h 10000"/>
                <a:gd name="connsiteX184" fmla="*/ 1137 w 10000"/>
                <a:gd name="connsiteY184" fmla="*/ 5291 h 10000"/>
                <a:gd name="connsiteX185" fmla="*/ 1126 w 10000"/>
                <a:gd name="connsiteY185" fmla="*/ 5291 h 10000"/>
                <a:gd name="connsiteX186" fmla="*/ 1020 w 10000"/>
                <a:gd name="connsiteY186" fmla="*/ 5407 h 10000"/>
                <a:gd name="connsiteX187" fmla="*/ 999 w 10000"/>
                <a:gd name="connsiteY187" fmla="*/ 5581 h 10000"/>
                <a:gd name="connsiteX188" fmla="*/ 978 w 10000"/>
                <a:gd name="connsiteY188" fmla="*/ 5756 h 10000"/>
                <a:gd name="connsiteX189" fmla="*/ 978 w 10000"/>
                <a:gd name="connsiteY189" fmla="*/ 5775 h 10000"/>
                <a:gd name="connsiteX190" fmla="*/ 967 w 10000"/>
                <a:gd name="connsiteY190" fmla="*/ 5775 h 10000"/>
                <a:gd name="connsiteX191" fmla="*/ 861 w 10000"/>
                <a:gd name="connsiteY191" fmla="*/ 5814 h 10000"/>
                <a:gd name="connsiteX192" fmla="*/ 861 w 10000"/>
                <a:gd name="connsiteY192" fmla="*/ 6047 h 10000"/>
                <a:gd name="connsiteX193" fmla="*/ 967 w 10000"/>
                <a:gd name="connsiteY193" fmla="*/ 6298 h 10000"/>
                <a:gd name="connsiteX194" fmla="*/ 967 w 10000"/>
                <a:gd name="connsiteY194" fmla="*/ 6298 h 10000"/>
                <a:gd name="connsiteX195" fmla="*/ 978 w 10000"/>
                <a:gd name="connsiteY195" fmla="*/ 6318 h 10000"/>
                <a:gd name="connsiteX196" fmla="*/ 988 w 10000"/>
                <a:gd name="connsiteY196" fmla="*/ 6512 h 10000"/>
                <a:gd name="connsiteX197" fmla="*/ 988 w 10000"/>
                <a:gd name="connsiteY197" fmla="*/ 6531 h 10000"/>
                <a:gd name="connsiteX198" fmla="*/ 978 w 10000"/>
                <a:gd name="connsiteY198" fmla="*/ 6550 h 10000"/>
                <a:gd name="connsiteX199" fmla="*/ 627 w 10000"/>
                <a:gd name="connsiteY199" fmla="*/ 7016 h 10000"/>
                <a:gd name="connsiteX200" fmla="*/ 521 w 10000"/>
                <a:gd name="connsiteY200" fmla="*/ 7151 h 10000"/>
                <a:gd name="connsiteX201" fmla="*/ 340 w 10000"/>
                <a:gd name="connsiteY201" fmla="*/ 7384 h 10000"/>
                <a:gd name="connsiteX202" fmla="*/ 340 w 10000"/>
                <a:gd name="connsiteY202" fmla="*/ 7403 h 10000"/>
                <a:gd name="connsiteX203" fmla="*/ 340 w 10000"/>
                <a:gd name="connsiteY203" fmla="*/ 7403 h 10000"/>
                <a:gd name="connsiteX204" fmla="*/ 191 w 10000"/>
                <a:gd name="connsiteY204" fmla="*/ 7519 h 10000"/>
                <a:gd name="connsiteX205" fmla="*/ 0 w 10000"/>
                <a:gd name="connsiteY205" fmla="*/ 7791 h 10000"/>
                <a:gd name="connsiteX206" fmla="*/ 11 w 10000"/>
                <a:gd name="connsiteY206" fmla="*/ 7829 h 10000"/>
                <a:gd name="connsiteX207" fmla="*/ 149 w 10000"/>
                <a:gd name="connsiteY207" fmla="*/ 7868 h 10000"/>
                <a:gd name="connsiteX208" fmla="*/ 159 w 10000"/>
                <a:gd name="connsiteY208" fmla="*/ 7868 h 10000"/>
                <a:gd name="connsiteX209" fmla="*/ 159 w 10000"/>
                <a:gd name="connsiteY209" fmla="*/ 7868 h 10000"/>
                <a:gd name="connsiteX210" fmla="*/ 372 w 10000"/>
                <a:gd name="connsiteY210" fmla="*/ 8256 h 10000"/>
                <a:gd name="connsiteX211" fmla="*/ 1467 w 10000"/>
                <a:gd name="connsiteY211" fmla="*/ 9205 h 10000"/>
                <a:gd name="connsiteX212" fmla="*/ 1467 w 10000"/>
                <a:gd name="connsiteY212" fmla="*/ 9205 h 10000"/>
                <a:gd name="connsiteX213" fmla="*/ 1477 w 10000"/>
                <a:gd name="connsiteY213" fmla="*/ 9205 h 10000"/>
                <a:gd name="connsiteX214" fmla="*/ 1838 w 10000"/>
                <a:gd name="connsiteY214" fmla="*/ 9729 h 10000"/>
                <a:gd name="connsiteX215" fmla="*/ 2508 w 10000"/>
                <a:gd name="connsiteY215" fmla="*/ 9767 h 10000"/>
                <a:gd name="connsiteX216" fmla="*/ 2561 w 10000"/>
                <a:gd name="connsiteY216" fmla="*/ 9671 h 10000"/>
                <a:gd name="connsiteX217" fmla="*/ 2561 w 10000"/>
                <a:gd name="connsiteY217" fmla="*/ 9671 h 10000"/>
                <a:gd name="connsiteX218" fmla="*/ 2582 w 10000"/>
                <a:gd name="connsiteY218" fmla="*/ 9671 h 10000"/>
                <a:gd name="connsiteX219" fmla="*/ 2848 w 10000"/>
                <a:gd name="connsiteY219" fmla="*/ 9651 h 10000"/>
                <a:gd name="connsiteX220" fmla="*/ 2859 w 10000"/>
                <a:gd name="connsiteY220" fmla="*/ 9651 h 10000"/>
                <a:gd name="connsiteX221" fmla="*/ 2869 w 10000"/>
                <a:gd name="connsiteY221" fmla="*/ 9671 h 10000"/>
                <a:gd name="connsiteX222" fmla="*/ 3061 w 10000"/>
                <a:gd name="connsiteY222" fmla="*/ 10000 h 10000"/>
                <a:gd name="connsiteX223" fmla="*/ 3061 w 10000"/>
                <a:gd name="connsiteY223" fmla="*/ 10000 h 10000"/>
                <a:gd name="connsiteX224" fmla="*/ 4336 w 10000"/>
                <a:gd name="connsiteY224" fmla="*/ 9961 h 10000"/>
                <a:gd name="connsiteX225" fmla="*/ 4357 w 10000"/>
                <a:gd name="connsiteY225" fmla="*/ 9961 h 10000"/>
                <a:gd name="connsiteX226" fmla="*/ 4357 w 10000"/>
                <a:gd name="connsiteY226" fmla="*/ 9981 h 10000"/>
                <a:gd name="connsiteX227" fmla="*/ 4527 w 10000"/>
                <a:gd name="connsiteY227" fmla="*/ 9864 h 10000"/>
                <a:gd name="connsiteX228" fmla="*/ 4538 w 10000"/>
                <a:gd name="connsiteY228" fmla="*/ 9864 h 10000"/>
                <a:gd name="connsiteX229" fmla="*/ 4538 w 10000"/>
                <a:gd name="connsiteY229" fmla="*/ 9864 h 10000"/>
                <a:gd name="connsiteX230" fmla="*/ 5250 w 10000"/>
                <a:gd name="connsiteY230" fmla="*/ 9845 h 10000"/>
                <a:gd name="connsiteX231" fmla="*/ 7354 w 10000"/>
                <a:gd name="connsiteY231" fmla="*/ 9845 h 10000"/>
                <a:gd name="connsiteX232" fmla="*/ 7343 w 10000"/>
                <a:gd name="connsiteY232" fmla="*/ 9826 h 10000"/>
                <a:gd name="connsiteX233" fmla="*/ 7439 w 10000"/>
                <a:gd name="connsiteY233" fmla="*/ 9612 h 10000"/>
                <a:gd name="connsiteX234" fmla="*/ 7513 w 10000"/>
                <a:gd name="connsiteY234" fmla="*/ 9516 h 10000"/>
                <a:gd name="connsiteX235" fmla="*/ 7428 w 10000"/>
                <a:gd name="connsiteY235" fmla="*/ 9283 h 10000"/>
                <a:gd name="connsiteX236" fmla="*/ 7450 w 10000"/>
                <a:gd name="connsiteY236" fmla="*/ 9109 h 10000"/>
                <a:gd name="connsiteX237" fmla="*/ 7683 w 10000"/>
                <a:gd name="connsiteY237" fmla="*/ 8992 h 10000"/>
                <a:gd name="connsiteX238" fmla="*/ 7683 w 10000"/>
                <a:gd name="connsiteY238" fmla="*/ 8798 h 10000"/>
                <a:gd name="connsiteX239" fmla="*/ 7779 w 10000"/>
                <a:gd name="connsiteY239" fmla="*/ 8682 h 10000"/>
                <a:gd name="connsiteX240" fmla="*/ 7949 w 10000"/>
                <a:gd name="connsiteY240" fmla="*/ 8372 h 10000"/>
                <a:gd name="connsiteX241" fmla="*/ 8013 w 10000"/>
                <a:gd name="connsiteY241" fmla="*/ 8023 h 10000"/>
                <a:gd name="connsiteX242" fmla="*/ 8098 w 10000"/>
                <a:gd name="connsiteY242" fmla="*/ 7907 h 10000"/>
                <a:gd name="connsiteX243" fmla="*/ 8204 w 10000"/>
                <a:gd name="connsiteY243" fmla="*/ 7907 h 10000"/>
                <a:gd name="connsiteX244" fmla="*/ 8363 w 10000"/>
                <a:gd name="connsiteY244" fmla="*/ 7829 h 10000"/>
                <a:gd name="connsiteX245" fmla="*/ 8576 w 10000"/>
                <a:gd name="connsiteY245" fmla="*/ 7907 h 10000"/>
                <a:gd name="connsiteX246" fmla="*/ 8661 w 10000"/>
                <a:gd name="connsiteY246" fmla="*/ 8004 h 10000"/>
                <a:gd name="connsiteX247" fmla="*/ 8704 w 10000"/>
                <a:gd name="connsiteY247" fmla="*/ 7829 h 10000"/>
                <a:gd name="connsiteX248" fmla="*/ 8831 w 10000"/>
                <a:gd name="connsiteY248" fmla="*/ 7733 h 10000"/>
                <a:gd name="connsiteX249" fmla="*/ 8980 w 10000"/>
                <a:gd name="connsiteY249" fmla="*/ 7713 h 10000"/>
                <a:gd name="connsiteX250" fmla="*/ 9097 w 10000"/>
                <a:gd name="connsiteY250" fmla="*/ 7674 h 10000"/>
                <a:gd name="connsiteX251" fmla="*/ 9235 w 10000"/>
                <a:gd name="connsiteY251" fmla="*/ 7791 h 10000"/>
                <a:gd name="connsiteX252" fmla="*/ 9341 w 10000"/>
                <a:gd name="connsiteY252" fmla="*/ 7907 h 10000"/>
                <a:gd name="connsiteX253" fmla="*/ 9458 w 10000"/>
                <a:gd name="connsiteY253" fmla="*/ 7733 h 10000"/>
                <a:gd name="connsiteX254" fmla="*/ 9575 w 10000"/>
                <a:gd name="connsiteY254" fmla="*/ 7829 h 10000"/>
                <a:gd name="connsiteX255" fmla="*/ 9702 w 10000"/>
                <a:gd name="connsiteY255" fmla="*/ 7829 h 10000"/>
                <a:gd name="connsiteX256" fmla="*/ 9809 w 10000"/>
                <a:gd name="connsiteY256" fmla="*/ 7907 h 10000"/>
                <a:gd name="connsiteX257" fmla="*/ 9968 w 10000"/>
                <a:gd name="connsiteY257" fmla="*/ 7829 h 10000"/>
                <a:gd name="connsiteX258" fmla="*/ 10000 w 10000"/>
                <a:gd name="connsiteY258" fmla="*/ 7810 h 10000"/>
                <a:gd name="connsiteX259" fmla="*/ 9979 w 10000"/>
                <a:gd name="connsiteY259" fmla="*/ 7810 h 10000"/>
                <a:gd name="connsiteX260" fmla="*/ 9968 w 10000"/>
                <a:gd name="connsiteY260" fmla="*/ 7636 h 10000"/>
                <a:gd name="connsiteX261" fmla="*/ 9968 w 10000"/>
                <a:gd name="connsiteY261" fmla="*/ 7190 h 10000"/>
                <a:gd name="connsiteX262" fmla="*/ 9926 w 10000"/>
                <a:gd name="connsiteY262" fmla="*/ 7132 h 10000"/>
                <a:gd name="connsiteX263" fmla="*/ 9915 w 10000"/>
                <a:gd name="connsiteY263" fmla="*/ 7112 h 10000"/>
                <a:gd name="connsiteX264" fmla="*/ 9926 w 10000"/>
                <a:gd name="connsiteY264" fmla="*/ 7093 h 10000"/>
                <a:gd name="connsiteX265" fmla="*/ 9968 w 10000"/>
                <a:gd name="connsiteY265" fmla="*/ 6822 h 10000"/>
                <a:gd name="connsiteX266" fmla="*/ 9979 w 10000"/>
                <a:gd name="connsiteY266" fmla="*/ 6802 h 10000"/>
                <a:gd name="connsiteX267" fmla="*/ 9979 w 10000"/>
                <a:gd name="connsiteY267" fmla="*/ 6802 h 10000"/>
                <a:gd name="connsiteX268" fmla="*/ 9947 w 10000"/>
                <a:gd name="connsiteY268" fmla="*/ 6764 h 10000"/>
                <a:gd name="connsiteX269" fmla="*/ 9872 w 10000"/>
                <a:gd name="connsiteY269" fmla="*/ 6899 h 10000"/>
                <a:gd name="connsiteX0" fmla="*/ 9872 w 10000"/>
                <a:gd name="connsiteY0" fmla="*/ 6899 h 10000"/>
                <a:gd name="connsiteX1" fmla="*/ 9862 w 10000"/>
                <a:gd name="connsiteY1" fmla="*/ 6899 h 10000"/>
                <a:gd name="connsiteX2" fmla="*/ 9862 w 10000"/>
                <a:gd name="connsiteY2" fmla="*/ 6899 h 10000"/>
                <a:gd name="connsiteX3" fmla="*/ 9766 w 10000"/>
                <a:gd name="connsiteY3" fmla="*/ 6938 h 10000"/>
                <a:gd name="connsiteX4" fmla="*/ 9671 w 10000"/>
                <a:gd name="connsiteY4" fmla="*/ 7112 h 10000"/>
                <a:gd name="connsiteX5" fmla="*/ 9671 w 10000"/>
                <a:gd name="connsiteY5" fmla="*/ 7112 h 10000"/>
                <a:gd name="connsiteX6" fmla="*/ 9660 w 10000"/>
                <a:gd name="connsiteY6" fmla="*/ 7112 h 10000"/>
                <a:gd name="connsiteX7" fmla="*/ 9617 w 10000"/>
                <a:gd name="connsiteY7" fmla="*/ 7112 h 10000"/>
                <a:gd name="connsiteX8" fmla="*/ 9607 w 10000"/>
                <a:gd name="connsiteY8" fmla="*/ 7112 h 10000"/>
                <a:gd name="connsiteX9" fmla="*/ 9607 w 10000"/>
                <a:gd name="connsiteY9" fmla="*/ 7112 h 10000"/>
                <a:gd name="connsiteX10" fmla="*/ 9458 w 10000"/>
                <a:gd name="connsiteY10" fmla="*/ 6880 h 10000"/>
                <a:gd name="connsiteX11" fmla="*/ 9447 w 10000"/>
                <a:gd name="connsiteY11" fmla="*/ 6860 h 10000"/>
                <a:gd name="connsiteX12" fmla="*/ 9447 w 10000"/>
                <a:gd name="connsiteY12" fmla="*/ 6841 h 10000"/>
                <a:gd name="connsiteX13" fmla="*/ 9447 w 10000"/>
                <a:gd name="connsiteY13" fmla="*/ 6550 h 10000"/>
                <a:gd name="connsiteX14" fmla="*/ 9447 w 10000"/>
                <a:gd name="connsiteY14" fmla="*/ 6531 h 10000"/>
                <a:gd name="connsiteX15" fmla="*/ 9458 w 10000"/>
                <a:gd name="connsiteY15" fmla="*/ 6531 h 10000"/>
                <a:gd name="connsiteX16" fmla="*/ 9554 w 10000"/>
                <a:gd name="connsiteY16" fmla="*/ 6453 h 10000"/>
                <a:gd name="connsiteX17" fmla="*/ 9564 w 10000"/>
                <a:gd name="connsiteY17" fmla="*/ 5601 h 10000"/>
                <a:gd name="connsiteX18" fmla="*/ 9564 w 10000"/>
                <a:gd name="connsiteY18" fmla="*/ 5581 h 10000"/>
                <a:gd name="connsiteX19" fmla="*/ 9564 w 10000"/>
                <a:gd name="connsiteY19" fmla="*/ 5562 h 10000"/>
                <a:gd name="connsiteX20" fmla="*/ 9649 w 10000"/>
                <a:gd name="connsiteY20" fmla="*/ 5388 h 10000"/>
                <a:gd name="connsiteX21" fmla="*/ 9702 w 10000"/>
                <a:gd name="connsiteY21" fmla="*/ 5291 h 10000"/>
                <a:gd name="connsiteX22" fmla="*/ 9554 w 10000"/>
                <a:gd name="connsiteY22" fmla="*/ 5058 h 10000"/>
                <a:gd name="connsiteX23" fmla="*/ 9554 w 10000"/>
                <a:gd name="connsiteY23" fmla="*/ 5058 h 10000"/>
                <a:gd name="connsiteX24" fmla="*/ 9543 w 10000"/>
                <a:gd name="connsiteY24" fmla="*/ 5058 h 10000"/>
                <a:gd name="connsiteX25" fmla="*/ 9394 w 10000"/>
                <a:gd name="connsiteY25" fmla="*/ 4709 h 10000"/>
                <a:gd name="connsiteX26" fmla="*/ 9394 w 10000"/>
                <a:gd name="connsiteY26" fmla="*/ 4690 h 10000"/>
                <a:gd name="connsiteX27" fmla="*/ 9394 w 10000"/>
                <a:gd name="connsiteY27" fmla="*/ 4690 h 10000"/>
                <a:gd name="connsiteX28" fmla="*/ 9384 w 10000"/>
                <a:gd name="connsiteY28" fmla="*/ 4457 h 10000"/>
                <a:gd name="connsiteX29" fmla="*/ 9387 w 10000"/>
                <a:gd name="connsiteY29" fmla="*/ 4129 h 10000"/>
                <a:gd name="connsiteX30" fmla="*/ 9490 w 10000"/>
                <a:gd name="connsiteY30" fmla="*/ 4360 h 10000"/>
                <a:gd name="connsiteX31" fmla="*/ 9564 w 10000"/>
                <a:gd name="connsiteY31" fmla="*/ 4244 h 10000"/>
                <a:gd name="connsiteX32" fmla="*/ 9628 w 10000"/>
                <a:gd name="connsiteY32" fmla="*/ 4012 h 10000"/>
                <a:gd name="connsiteX33" fmla="*/ 9490 w 10000"/>
                <a:gd name="connsiteY33" fmla="*/ 3760 h 10000"/>
                <a:gd name="connsiteX34" fmla="*/ 9490 w 10000"/>
                <a:gd name="connsiteY34" fmla="*/ 3760 h 10000"/>
                <a:gd name="connsiteX35" fmla="*/ 9479 w 10000"/>
                <a:gd name="connsiteY35" fmla="*/ 3760 h 10000"/>
                <a:gd name="connsiteX36" fmla="*/ 9426 w 10000"/>
                <a:gd name="connsiteY36" fmla="*/ 3527 h 10000"/>
                <a:gd name="connsiteX37" fmla="*/ 9426 w 10000"/>
                <a:gd name="connsiteY37" fmla="*/ 3527 h 10000"/>
                <a:gd name="connsiteX38" fmla="*/ 9426 w 10000"/>
                <a:gd name="connsiteY38" fmla="*/ 3508 h 10000"/>
                <a:gd name="connsiteX39" fmla="*/ 9416 w 10000"/>
                <a:gd name="connsiteY39" fmla="*/ 3198 h 10000"/>
                <a:gd name="connsiteX40" fmla="*/ 9416 w 10000"/>
                <a:gd name="connsiteY40" fmla="*/ 3198 h 10000"/>
                <a:gd name="connsiteX41" fmla="*/ 9416 w 10000"/>
                <a:gd name="connsiteY41" fmla="*/ 3178 h 10000"/>
                <a:gd name="connsiteX42" fmla="*/ 9532 w 10000"/>
                <a:gd name="connsiteY42" fmla="*/ 2907 h 10000"/>
                <a:gd name="connsiteX43" fmla="*/ 9384 w 10000"/>
                <a:gd name="connsiteY43" fmla="*/ 2616 h 10000"/>
                <a:gd name="connsiteX44" fmla="*/ 9384 w 10000"/>
                <a:gd name="connsiteY44" fmla="*/ 2616 h 10000"/>
                <a:gd name="connsiteX45" fmla="*/ 9384 w 10000"/>
                <a:gd name="connsiteY45" fmla="*/ 2616 h 10000"/>
                <a:gd name="connsiteX46" fmla="*/ 9330 w 10000"/>
                <a:gd name="connsiteY46" fmla="*/ 2267 h 10000"/>
                <a:gd name="connsiteX47" fmla="*/ 9330 w 10000"/>
                <a:gd name="connsiteY47" fmla="*/ 2248 h 10000"/>
                <a:gd name="connsiteX48" fmla="*/ 9330 w 10000"/>
                <a:gd name="connsiteY48" fmla="*/ 2248 h 10000"/>
                <a:gd name="connsiteX49" fmla="*/ 9341 w 10000"/>
                <a:gd name="connsiteY49" fmla="*/ 1841 h 10000"/>
                <a:gd name="connsiteX50" fmla="*/ 9341 w 10000"/>
                <a:gd name="connsiteY50" fmla="*/ 1822 h 10000"/>
                <a:gd name="connsiteX51" fmla="*/ 9341 w 10000"/>
                <a:gd name="connsiteY51" fmla="*/ 1822 h 10000"/>
                <a:gd name="connsiteX52" fmla="*/ 9660 w 10000"/>
                <a:gd name="connsiteY52" fmla="*/ 1279 h 10000"/>
                <a:gd name="connsiteX53" fmla="*/ 9564 w 10000"/>
                <a:gd name="connsiteY53" fmla="*/ 1008 h 10000"/>
                <a:gd name="connsiteX54" fmla="*/ 9554 w 10000"/>
                <a:gd name="connsiteY54" fmla="*/ 1008 h 10000"/>
                <a:gd name="connsiteX55" fmla="*/ 9554 w 10000"/>
                <a:gd name="connsiteY55" fmla="*/ 988 h 10000"/>
                <a:gd name="connsiteX56" fmla="*/ 9586 w 10000"/>
                <a:gd name="connsiteY56" fmla="*/ 698 h 10000"/>
                <a:gd name="connsiteX57" fmla="*/ 9501 w 10000"/>
                <a:gd name="connsiteY57" fmla="*/ 601 h 10000"/>
                <a:gd name="connsiteX58" fmla="*/ 9288 w 10000"/>
                <a:gd name="connsiteY58" fmla="*/ 581 h 10000"/>
                <a:gd name="connsiteX59" fmla="*/ 9288 w 10000"/>
                <a:gd name="connsiteY59" fmla="*/ 581 h 10000"/>
                <a:gd name="connsiteX60" fmla="*/ 9277 w 10000"/>
                <a:gd name="connsiteY60" fmla="*/ 581 h 10000"/>
                <a:gd name="connsiteX61" fmla="*/ 9224 w 10000"/>
                <a:gd name="connsiteY61" fmla="*/ 484 h 10000"/>
                <a:gd name="connsiteX62" fmla="*/ 9086 w 10000"/>
                <a:gd name="connsiteY62" fmla="*/ 484 h 10000"/>
                <a:gd name="connsiteX63" fmla="*/ 8948 w 10000"/>
                <a:gd name="connsiteY63" fmla="*/ 1124 h 10000"/>
                <a:gd name="connsiteX64" fmla="*/ 8927 w 10000"/>
                <a:gd name="connsiteY64" fmla="*/ 1124 h 10000"/>
                <a:gd name="connsiteX65" fmla="*/ 8927 w 10000"/>
                <a:gd name="connsiteY65" fmla="*/ 1143 h 10000"/>
                <a:gd name="connsiteX66" fmla="*/ 8650 w 10000"/>
                <a:gd name="connsiteY66" fmla="*/ 1415 h 10000"/>
                <a:gd name="connsiteX67" fmla="*/ 8640 w 10000"/>
                <a:gd name="connsiteY67" fmla="*/ 1434 h 10000"/>
                <a:gd name="connsiteX68" fmla="*/ 8640 w 10000"/>
                <a:gd name="connsiteY68" fmla="*/ 1434 h 10000"/>
                <a:gd name="connsiteX69" fmla="*/ 8470 w 10000"/>
                <a:gd name="connsiteY69" fmla="*/ 1395 h 10000"/>
                <a:gd name="connsiteX70" fmla="*/ 8321 w 10000"/>
                <a:gd name="connsiteY70" fmla="*/ 1531 h 10000"/>
                <a:gd name="connsiteX71" fmla="*/ 8321 w 10000"/>
                <a:gd name="connsiteY71" fmla="*/ 1531 h 10000"/>
                <a:gd name="connsiteX72" fmla="*/ 8321 w 10000"/>
                <a:gd name="connsiteY72" fmla="*/ 1531 h 10000"/>
                <a:gd name="connsiteX73" fmla="*/ 8172 w 10000"/>
                <a:gd name="connsiteY73" fmla="*/ 1589 h 10000"/>
                <a:gd name="connsiteX74" fmla="*/ 8023 w 10000"/>
                <a:gd name="connsiteY74" fmla="*/ 1957 h 10000"/>
                <a:gd name="connsiteX75" fmla="*/ 8013 w 10000"/>
                <a:gd name="connsiteY75" fmla="*/ 1977 h 10000"/>
                <a:gd name="connsiteX76" fmla="*/ 7991 w 10000"/>
                <a:gd name="connsiteY76" fmla="*/ 1977 h 10000"/>
                <a:gd name="connsiteX77" fmla="*/ 7864 w 10000"/>
                <a:gd name="connsiteY77" fmla="*/ 1899 h 10000"/>
                <a:gd name="connsiteX78" fmla="*/ 7843 w 10000"/>
                <a:gd name="connsiteY78" fmla="*/ 1899 h 10000"/>
                <a:gd name="connsiteX79" fmla="*/ 7853 w 10000"/>
                <a:gd name="connsiteY79" fmla="*/ 1841 h 10000"/>
                <a:gd name="connsiteX80" fmla="*/ 7928 w 10000"/>
                <a:gd name="connsiteY80" fmla="*/ 1609 h 10000"/>
                <a:gd name="connsiteX81" fmla="*/ 7906 w 10000"/>
                <a:gd name="connsiteY81" fmla="*/ 1279 h 10000"/>
                <a:gd name="connsiteX82" fmla="*/ 7758 w 10000"/>
                <a:gd name="connsiteY82" fmla="*/ 1124 h 10000"/>
                <a:gd name="connsiteX83" fmla="*/ 7651 w 10000"/>
                <a:gd name="connsiteY83" fmla="*/ 1124 h 10000"/>
                <a:gd name="connsiteX84" fmla="*/ 7641 w 10000"/>
                <a:gd name="connsiteY84" fmla="*/ 1124 h 10000"/>
                <a:gd name="connsiteX85" fmla="*/ 7630 w 10000"/>
                <a:gd name="connsiteY85" fmla="*/ 1105 h 10000"/>
                <a:gd name="connsiteX86" fmla="*/ 7556 w 10000"/>
                <a:gd name="connsiteY86" fmla="*/ 930 h 10000"/>
                <a:gd name="connsiteX87" fmla="*/ 7184 w 10000"/>
                <a:gd name="connsiteY87" fmla="*/ 891 h 10000"/>
                <a:gd name="connsiteX88" fmla="*/ 7173 w 10000"/>
                <a:gd name="connsiteY88" fmla="*/ 891 h 10000"/>
                <a:gd name="connsiteX89" fmla="*/ 7173 w 10000"/>
                <a:gd name="connsiteY89" fmla="*/ 872 h 10000"/>
                <a:gd name="connsiteX90" fmla="*/ 7099 w 10000"/>
                <a:gd name="connsiteY90" fmla="*/ 620 h 10000"/>
                <a:gd name="connsiteX91" fmla="*/ 7088 w 10000"/>
                <a:gd name="connsiteY91" fmla="*/ 601 h 10000"/>
                <a:gd name="connsiteX92" fmla="*/ 7088 w 10000"/>
                <a:gd name="connsiteY92" fmla="*/ 601 h 10000"/>
                <a:gd name="connsiteX93" fmla="*/ 7088 w 10000"/>
                <a:gd name="connsiteY93" fmla="*/ 465 h 10000"/>
                <a:gd name="connsiteX94" fmla="*/ 7088 w 10000"/>
                <a:gd name="connsiteY94" fmla="*/ 426 h 10000"/>
                <a:gd name="connsiteX95" fmla="*/ 7099 w 10000"/>
                <a:gd name="connsiteY95" fmla="*/ 407 h 10000"/>
                <a:gd name="connsiteX96" fmla="*/ 7194 w 10000"/>
                <a:gd name="connsiteY96" fmla="*/ 310 h 10000"/>
                <a:gd name="connsiteX97" fmla="*/ 7109 w 10000"/>
                <a:gd name="connsiteY97" fmla="*/ 136 h 10000"/>
                <a:gd name="connsiteX98" fmla="*/ 7035 w 10000"/>
                <a:gd name="connsiteY98" fmla="*/ 0 h 10000"/>
                <a:gd name="connsiteX99" fmla="*/ 6939 w 10000"/>
                <a:gd name="connsiteY99" fmla="*/ 116 h 10000"/>
                <a:gd name="connsiteX100" fmla="*/ 6939 w 10000"/>
                <a:gd name="connsiteY100" fmla="*/ 116 h 10000"/>
                <a:gd name="connsiteX101" fmla="*/ 6939 w 10000"/>
                <a:gd name="connsiteY101" fmla="*/ 116 h 10000"/>
                <a:gd name="connsiteX102" fmla="*/ 6812 w 10000"/>
                <a:gd name="connsiteY102" fmla="*/ 155 h 10000"/>
                <a:gd name="connsiteX103" fmla="*/ 6674 w 10000"/>
                <a:gd name="connsiteY103" fmla="*/ 291 h 10000"/>
                <a:gd name="connsiteX104" fmla="*/ 6599 w 10000"/>
                <a:gd name="connsiteY104" fmla="*/ 523 h 10000"/>
                <a:gd name="connsiteX105" fmla="*/ 6599 w 10000"/>
                <a:gd name="connsiteY105" fmla="*/ 543 h 10000"/>
                <a:gd name="connsiteX106" fmla="*/ 6589 w 10000"/>
                <a:gd name="connsiteY106" fmla="*/ 543 h 10000"/>
                <a:gd name="connsiteX107" fmla="*/ 6397 w 10000"/>
                <a:gd name="connsiteY107" fmla="*/ 581 h 10000"/>
                <a:gd name="connsiteX108" fmla="*/ 6334 w 10000"/>
                <a:gd name="connsiteY108" fmla="*/ 891 h 10000"/>
                <a:gd name="connsiteX109" fmla="*/ 6334 w 10000"/>
                <a:gd name="connsiteY109" fmla="*/ 911 h 10000"/>
                <a:gd name="connsiteX110" fmla="*/ 6334 w 10000"/>
                <a:gd name="connsiteY110" fmla="*/ 911 h 10000"/>
                <a:gd name="connsiteX111" fmla="*/ 6142 w 10000"/>
                <a:gd name="connsiteY111" fmla="*/ 1124 h 10000"/>
                <a:gd name="connsiteX112" fmla="*/ 6015 w 10000"/>
                <a:gd name="connsiteY112" fmla="*/ 1453 h 10000"/>
                <a:gd name="connsiteX113" fmla="*/ 6004 w 10000"/>
                <a:gd name="connsiteY113" fmla="*/ 1473 h 10000"/>
                <a:gd name="connsiteX114" fmla="*/ 5994 w 10000"/>
                <a:gd name="connsiteY114" fmla="*/ 1453 h 10000"/>
                <a:gd name="connsiteX115" fmla="*/ 5802 w 10000"/>
                <a:gd name="connsiteY115" fmla="*/ 1434 h 10000"/>
                <a:gd name="connsiteX116" fmla="*/ 5781 w 10000"/>
                <a:gd name="connsiteY116" fmla="*/ 1415 h 10000"/>
                <a:gd name="connsiteX117" fmla="*/ 5781 w 10000"/>
                <a:gd name="connsiteY117" fmla="*/ 1395 h 10000"/>
                <a:gd name="connsiteX118" fmla="*/ 5760 w 10000"/>
                <a:gd name="connsiteY118" fmla="*/ 930 h 10000"/>
                <a:gd name="connsiteX119" fmla="*/ 5654 w 10000"/>
                <a:gd name="connsiteY119" fmla="*/ 872 h 10000"/>
                <a:gd name="connsiteX120" fmla="*/ 5377 w 10000"/>
                <a:gd name="connsiteY120" fmla="*/ 1240 h 10000"/>
                <a:gd name="connsiteX121" fmla="*/ 5165 w 10000"/>
                <a:gd name="connsiteY121" fmla="*/ 1570 h 10000"/>
                <a:gd name="connsiteX122" fmla="*/ 5165 w 10000"/>
                <a:gd name="connsiteY122" fmla="*/ 1899 h 10000"/>
                <a:gd name="connsiteX123" fmla="*/ 5165 w 10000"/>
                <a:gd name="connsiteY123" fmla="*/ 1919 h 10000"/>
                <a:gd name="connsiteX124" fmla="*/ 5154 w 10000"/>
                <a:gd name="connsiteY124" fmla="*/ 1919 h 10000"/>
                <a:gd name="connsiteX125" fmla="*/ 5027 w 10000"/>
                <a:gd name="connsiteY125" fmla="*/ 2112 h 10000"/>
                <a:gd name="connsiteX126" fmla="*/ 5016 w 10000"/>
                <a:gd name="connsiteY126" fmla="*/ 2112 h 10000"/>
                <a:gd name="connsiteX127" fmla="*/ 5005 w 10000"/>
                <a:gd name="connsiteY127" fmla="*/ 2112 h 10000"/>
                <a:gd name="connsiteX128" fmla="*/ 4814 w 10000"/>
                <a:gd name="connsiteY128" fmla="*/ 2112 h 10000"/>
                <a:gd name="connsiteX129" fmla="*/ 4803 w 10000"/>
                <a:gd name="connsiteY129" fmla="*/ 2112 h 10000"/>
                <a:gd name="connsiteX130" fmla="*/ 4803 w 10000"/>
                <a:gd name="connsiteY130" fmla="*/ 2112 h 10000"/>
                <a:gd name="connsiteX131" fmla="*/ 4697 w 10000"/>
                <a:gd name="connsiteY131" fmla="*/ 1957 h 10000"/>
                <a:gd name="connsiteX132" fmla="*/ 4591 w 10000"/>
                <a:gd name="connsiteY132" fmla="*/ 1899 h 10000"/>
                <a:gd name="connsiteX133" fmla="*/ 4591 w 10000"/>
                <a:gd name="connsiteY133" fmla="*/ 1957 h 10000"/>
                <a:gd name="connsiteX134" fmla="*/ 4591 w 10000"/>
                <a:gd name="connsiteY134" fmla="*/ 1996 h 10000"/>
                <a:gd name="connsiteX135" fmla="*/ 4570 w 10000"/>
                <a:gd name="connsiteY135" fmla="*/ 1996 h 10000"/>
                <a:gd name="connsiteX136" fmla="*/ 4453 w 10000"/>
                <a:gd name="connsiteY136" fmla="*/ 1996 h 10000"/>
                <a:gd name="connsiteX137" fmla="*/ 4431 w 10000"/>
                <a:gd name="connsiteY137" fmla="*/ 1996 h 10000"/>
                <a:gd name="connsiteX138" fmla="*/ 4431 w 10000"/>
                <a:gd name="connsiteY138" fmla="*/ 1957 h 10000"/>
                <a:gd name="connsiteX139" fmla="*/ 4378 w 10000"/>
                <a:gd name="connsiteY139" fmla="*/ 1589 h 10000"/>
                <a:gd name="connsiteX140" fmla="*/ 4091 w 10000"/>
                <a:gd name="connsiteY140" fmla="*/ 1512 h 10000"/>
                <a:gd name="connsiteX141" fmla="*/ 4081 w 10000"/>
                <a:gd name="connsiteY141" fmla="*/ 1512 h 10000"/>
                <a:gd name="connsiteX142" fmla="*/ 4070 w 10000"/>
                <a:gd name="connsiteY142" fmla="*/ 1492 h 10000"/>
                <a:gd name="connsiteX143" fmla="*/ 3879 w 10000"/>
                <a:gd name="connsiteY143" fmla="*/ 988 h 10000"/>
                <a:gd name="connsiteX144" fmla="*/ 3719 w 10000"/>
                <a:gd name="connsiteY144" fmla="*/ 988 h 10000"/>
                <a:gd name="connsiteX145" fmla="*/ 3698 w 10000"/>
                <a:gd name="connsiteY145" fmla="*/ 1085 h 10000"/>
                <a:gd name="connsiteX146" fmla="*/ 3698 w 10000"/>
                <a:gd name="connsiteY146" fmla="*/ 1105 h 10000"/>
                <a:gd name="connsiteX147" fmla="*/ 3698 w 10000"/>
                <a:gd name="connsiteY147" fmla="*/ 1105 h 10000"/>
                <a:gd name="connsiteX148" fmla="*/ 3592 w 10000"/>
                <a:gd name="connsiteY148" fmla="*/ 1318 h 10000"/>
                <a:gd name="connsiteX149" fmla="*/ 3592 w 10000"/>
                <a:gd name="connsiteY149" fmla="*/ 1318 h 10000"/>
                <a:gd name="connsiteX150" fmla="*/ 3581 w 10000"/>
                <a:gd name="connsiteY150" fmla="*/ 1318 h 10000"/>
                <a:gd name="connsiteX151" fmla="*/ 3486 w 10000"/>
                <a:gd name="connsiteY151" fmla="*/ 1395 h 10000"/>
                <a:gd name="connsiteX152" fmla="*/ 3486 w 10000"/>
                <a:gd name="connsiteY152" fmla="*/ 1686 h 10000"/>
                <a:gd name="connsiteX153" fmla="*/ 3486 w 10000"/>
                <a:gd name="connsiteY153" fmla="*/ 1725 h 10000"/>
                <a:gd name="connsiteX154" fmla="*/ 3475 w 10000"/>
                <a:gd name="connsiteY154" fmla="*/ 1725 h 10000"/>
                <a:gd name="connsiteX155" fmla="*/ 3369 w 10000"/>
                <a:gd name="connsiteY155" fmla="*/ 1841 h 10000"/>
                <a:gd name="connsiteX156" fmla="*/ 3135 w 10000"/>
                <a:gd name="connsiteY156" fmla="*/ 2171 h 10000"/>
                <a:gd name="connsiteX157" fmla="*/ 2954 w 10000"/>
                <a:gd name="connsiteY157" fmla="*/ 2829 h 10000"/>
                <a:gd name="connsiteX158" fmla="*/ 2954 w 10000"/>
                <a:gd name="connsiteY158" fmla="*/ 2829 h 10000"/>
                <a:gd name="connsiteX159" fmla="*/ 2944 w 10000"/>
                <a:gd name="connsiteY159" fmla="*/ 2829 h 10000"/>
                <a:gd name="connsiteX160" fmla="*/ 2699 w 10000"/>
                <a:gd name="connsiteY160" fmla="*/ 3217 h 10000"/>
                <a:gd name="connsiteX161" fmla="*/ 2487 w 10000"/>
                <a:gd name="connsiteY161" fmla="*/ 3566 h 10000"/>
                <a:gd name="connsiteX162" fmla="*/ 2465 w 10000"/>
                <a:gd name="connsiteY162" fmla="*/ 3934 h 10000"/>
                <a:gd name="connsiteX163" fmla="*/ 2465 w 10000"/>
                <a:gd name="connsiteY163" fmla="*/ 3934 h 10000"/>
                <a:gd name="connsiteX164" fmla="*/ 2465 w 10000"/>
                <a:gd name="connsiteY164" fmla="*/ 3934 h 10000"/>
                <a:gd name="connsiteX165" fmla="*/ 2295 w 10000"/>
                <a:gd name="connsiteY165" fmla="*/ 4205 h 10000"/>
                <a:gd name="connsiteX166" fmla="*/ 2200 w 10000"/>
                <a:gd name="connsiteY166" fmla="*/ 4535 h 10000"/>
                <a:gd name="connsiteX167" fmla="*/ 2189 w 10000"/>
                <a:gd name="connsiteY167" fmla="*/ 4554 h 10000"/>
                <a:gd name="connsiteX168" fmla="*/ 2179 w 10000"/>
                <a:gd name="connsiteY168" fmla="*/ 4554 h 10000"/>
                <a:gd name="connsiteX169" fmla="*/ 2051 w 10000"/>
                <a:gd name="connsiteY169" fmla="*/ 4535 h 10000"/>
                <a:gd name="connsiteX170" fmla="*/ 1913 w 10000"/>
                <a:gd name="connsiteY170" fmla="*/ 4767 h 10000"/>
                <a:gd name="connsiteX171" fmla="*/ 1913 w 10000"/>
                <a:gd name="connsiteY171" fmla="*/ 4787 h 10000"/>
                <a:gd name="connsiteX172" fmla="*/ 1902 w 10000"/>
                <a:gd name="connsiteY172" fmla="*/ 4787 h 10000"/>
                <a:gd name="connsiteX173" fmla="*/ 1498 w 10000"/>
                <a:gd name="connsiteY173" fmla="*/ 4671 h 10000"/>
                <a:gd name="connsiteX174" fmla="*/ 1488 w 10000"/>
                <a:gd name="connsiteY174" fmla="*/ 4671 h 10000"/>
                <a:gd name="connsiteX175" fmla="*/ 1488 w 10000"/>
                <a:gd name="connsiteY175" fmla="*/ 4651 h 10000"/>
                <a:gd name="connsiteX176" fmla="*/ 1424 w 10000"/>
                <a:gd name="connsiteY176" fmla="*/ 4516 h 10000"/>
                <a:gd name="connsiteX177" fmla="*/ 1350 w 10000"/>
                <a:gd name="connsiteY177" fmla="*/ 4516 h 10000"/>
                <a:gd name="connsiteX178" fmla="*/ 1296 w 10000"/>
                <a:gd name="connsiteY178" fmla="*/ 4690 h 10000"/>
                <a:gd name="connsiteX179" fmla="*/ 1286 w 10000"/>
                <a:gd name="connsiteY179" fmla="*/ 4922 h 10000"/>
                <a:gd name="connsiteX180" fmla="*/ 1286 w 10000"/>
                <a:gd name="connsiteY180" fmla="*/ 4942 h 10000"/>
                <a:gd name="connsiteX181" fmla="*/ 1275 w 10000"/>
                <a:gd name="connsiteY181" fmla="*/ 4961 h 10000"/>
                <a:gd name="connsiteX182" fmla="*/ 1190 w 10000"/>
                <a:gd name="connsiteY182" fmla="*/ 5058 h 10000"/>
                <a:gd name="connsiteX183" fmla="*/ 1137 w 10000"/>
                <a:gd name="connsiteY183" fmla="*/ 5271 h 10000"/>
                <a:gd name="connsiteX184" fmla="*/ 1137 w 10000"/>
                <a:gd name="connsiteY184" fmla="*/ 5291 h 10000"/>
                <a:gd name="connsiteX185" fmla="*/ 1126 w 10000"/>
                <a:gd name="connsiteY185" fmla="*/ 5291 h 10000"/>
                <a:gd name="connsiteX186" fmla="*/ 1020 w 10000"/>
                <a:gd name="connsiteY186" fmla="*/ 5407 h 10000"/>
                <a:gd name="connsiteX187" fmla="*/ 999 w 10000"/>
                <a:gd name="connsiteY187" fmla="*/ 5581 h 10000"/>
                <a:gd name="connsiteX188" fmla="*/ 978 w 10000"/>
                <a:gd name="connsiteY188" fmla="*/ 5756 h 10000"/>
                <a:gd name="connsiteX189" fmla="*/ 978 w 10000"/>
                <a:gd name="connsiteY189" fmla="*/ 5775 h 10000"/>
                <a:gd name="connsiteX190" fmla="*/ 967 w 10000"/>
                <a:gd name="connsiteY190" fmla="*/ 5775 h 10000"/>
                <a:gd name="connsiteX191" fmla="*/ 861 w 10000"/>
                <a:gd name="connsiteY191" fmla="*/ 5814 h 10000"/>
                <a:gd name="connsiteX192" fmla="*/ 861 w 10000"/>
                <a:gd name="connsiteY192" fmla="*/ 6047 h 10000"/>
                <a:gd name="connsiteX193" fmla="*/ 967 w 10000"/>
                <a:gd name="connsiteY193" fmla="*/ 6298 h 10000"/>
                <a:gd name="connsiteX194" fmla="*/ 967 w 10000"/>
                <a:gd name="connsiteY194" fmla="*/ 6298 h 10000"/>
                <a:gd name="connsiteX195" fmla="*/ 978 w 10000"/>
                <a:gd name="connsiteY195" fmla="*/ 6318 h 10000"/>
                <a:gd name="connsiteX196" fmla="*/ 988 w 10000"/>
                <a:gd name="connsiteY196" fmla="*/ 6512 h 10000"/>
                <a:gd name="connsiteX197" fmla="*/ 988 w 10000"/>
                <a:gd name="connsiteY197" fmla="*/ 6531 h 10000"/>
                <a:gd name="connsiteX198" fmla="*/ 978 w 10000"/>
                <a:gd name="connsiteY198" fmla="*/ 6550 h 10000"/>
                <a:gd name="connsiteX199" fmla="*/ 627 w 10000"/>
                <a:gd name="connsiteY199" fmla="*/ 7016 h 10000"/>
                <a:gd name="connsiteX200" fmla="*/ 521 w 10000"/>
                <a:gd name="connsiteY200" fmla="*/ 7151 h 10000"/>
                <a:gd name="connsiteX201" fmla="*/ 340 w 10000"/>
                <a:gd name="connsiteY201" fmla="*/ 7384 h 10000"/>
                <a:gd name="connsiteX202" fmla="*/ 340 w 10000"/>
                <a:gd name="connsiteY202" fmla="*/ 7403 h 10000"/>
                <a:gd name="connsiteX203" fmla="*/ 340 w 10000"/>
                <a:gd name="connsiteY203" fmla="*/ 7403 h 10000"/>
                <a:gd name="connsiteX204" fmla="*/ 191 w 10000"/>
                <a:gd name="connsiteY204" fmla="*/ 7519 h 10000"/>
                <a:gd name="connsiteX205" fmla="*/ 0 w 10000"/>
                <a:gd name="connsiteY205" fmla="*/ 7791 h 10000"/>
                <a:gd name="connsiteX206" fmla="*/ 11 w 10000"/>
                <a:gd name="connsiteY206" fmla="*/ 7829 h 10000"/>
                <a:gd name="connsiteX207" fmla="*/ 149 w 10000"/>
                <a:gd name="connsiteY207" fmla="*/ 7868 h 10000"/>
                <a:gd name="connsiteX208" fmla="*/ 159 w 10000"/>
                <a:gd name="connsiteY208" fmla="*/ 7868 h 10000"/>
                <a:gd name="connsiteX209" fmla="*/ 159 w 10000"/>
                <a:gd name="connsiteY209" fmla="*/ 7868 h 10000"/>
                <a:gd name="connsiteX210" fmla="*/ 372 w 10000"/>
                <a:gd name="connsiteY210" fmla="*/ 8256 h 10000"/>
                <a:gd name="connsiteX211" fmla="*/ 1467 w 10000"/>
                <a:gd name="connsiteY211" fmla="*/ 9205 h 10000"/>
                <a:gd name="connsiteX212" fmla="*/ 1467 w 10000"/>
                <a:gd name="connsiteY212" fmla="*/ 9205 h 10000"/>
                <a:gd name="connsiteX213" fmla="*/ 1477 w 10000"/>
                <a:gd name="connsiteY213" fmla="*/ 9205 h 10000"/>
                <a:gd name="connsiteX214" fmla="*/ 1838 w 10000"/>
                <a:gd name="connsiteY214" fmla="*/ 9729 h 10000"/>
                <a:gd name="connsiteX215" fmla="*/ 2508 w 10000"/>
                <a:gd name="connsiteY215" fmla="*/ 9767 h 10000"/>
                <a:gd name="connsiteX216" fmla="*/ 2561 w 10000"/>
                <a:gd name="connsiteY216" fmla="*/ 9671 h 10000"/>
                <a:gd name="connsiteX217" fmla="*/ 2561 w 10000"/>
                <a:gd name="connsiteY217" fmla="*/ 9671 h 10000"/>
                <a:gd name="connsiteX218" fmla="*/ 2582 w 10000"/>
                <a:gd name="connsiteY218" fmla="*/ 9671 h 10000"/>
                <a:gd name="connsiteX219" fmla="*/ 2848 w 10000"/>
                <a:gd name="connsiteY219" fmla="*/ 9651 h 10000"/>
                <a:gd name="connsiteX220" fmla="*/ 2859 w 10000"/>
                <a:gd name="connsiteY220" fmla="*/ 9651 h 10000"/>
                <a:gd name="connsiteX221" fmla="*/ 2869 w 10000"/>
                <a:gd name="connsiteY221" fmla="*/ 9671 h 10000"/>
                <a:gd name="connsiteX222" fmla="*/ 3061 w 10000"/>
                <a:gd name="connsiteY222" fmla="*/ 10000 h 10000"/>
                <a:gd name="connsiteX223" fmla="*/ 3061 w 10000"/>
                <a:gd name="connsiteY223" fmla="*/ 10000 h 10000"/>
                <a:gd name="connsiteX224" fmla="*/ 4336 w 10000"/>
                <a:gd name="connsiteY224" fmla="*/ 9961 h 10000"/>
                <a:gd name="connsiteX225" fmla="*/ 4357 w 10000"/>
                <a:gd name="connsiteY225" fmla="*/ 9961 h 10000"/>
                <a:gd name="connsiteX226" fmla="*/ 4357 w 10000"/>
                <a:gd name="connsiteY226" fmla="*/ 9981 h 10000"/>
                <a:gd name="connsiteX227" fmla="*/ 4527 w 10000"/>
                <a:gd name="connsiteY227" fmla="*/ 9864 h 10000"/>
                <a:gd name="connsiteX228" fmla="*/ 4538 w 10000"/>
                <a:gd name="connsiteY228" fmla="*/ 9864 h 10000"/>
                <a:gd name="connsiteX229" fmla="*/ 4538 w 10000"/>
                <a:gd name="connsiteY229" fmla="*/ 9864 h 10000"/>
                <a:gd name="connsiteX230" fmla="*/ 5250 w 10000"/>
                <a:gd name="connsiteY230" fmla="*/ 9845 h 10000"/>
                <a:gd name="connsiteX231" fmla="*/ 7354 w 10000"/>
                <a:gd name="connsiteY231" fmla="*/ 9845 h 10000"/>
                <a:gd name="connsiteX232" fmla="*/ 7343 w 10000"/>
                <a:gd name="connsiteY232" fmla="*/ 9826 h 10000"/>
                <a:gd name="connsiteX233" fmla="*/ 7439 w 10000"/>
                <a:gd name="connsiteY233" fmla="*/ 9612 h 10000"/>
                <a:gd name="connsiteX234" fmla="*/ 7513 w 10000"/>
                <a:gd name="connsiteY234" fmla="*/ 9516 h 10000"/>
                <a:gd name="connsiteX235" fmla="*/ 7428 w 10000"/>
                <a:gd name="connsiteY235" fmla="*/ 9283 h 10000"/>
                <a:gd name="connsiteX236" fmla="*/ 7450 w 10000"/>
                <a:gd name="connsiteY236" fmla="*/ 9109 h 10000"/>
                <a:gd name="connsiteX237" fmla="*/ 7683 w 10000"/>
                <a:gd name="connsiteY237" fmla="*/ 8992 h 10000"/>
                <a:gd name="connsiteX238" fmla="*/ 7683 w 10000"/>
                <a:gd name="connsiteY238" fmla="*/ 8798 h 10000"/>
                <a:gd name="connsiteX239" fmla="*/ 7779 w 10000"/>
                <a:gd name="connsiteY239" fmla="*/ 8682 h 10000"/>
                <a:gd name="connsiteX240" fmla="*/ 7949 w 10000"/>
                <a:gd name="connsiteY240" fmla="*/ 8372 h 10000"/>
                <a:gd name="connsiteX241" fmla="*/ 8013 w 10000"/>
                <a:gd name="connsiteY241" fmla="*/ 8023 h 10000"/>
                <a:gd name="connsiteX242" fmla="*/ 8098 w 10000"/>
                <a:gd name="connsiteY242" fmla="*/ 7907 h 10000"/>
                <a:gd name="connsiteX243" fmla="*/ 8204 w 10000"/>
                <a:gd name="connsiteY243" fmla="*/ 7907 h 10000"/>
                <a:gd name="connsiteX244" fmla="*/ 8363 w 10000"/>
                <a:gd name="connsiteY244" fmla="*/ 7829 h 10000"/>
                <a:gd name="connsiteX245" fmla="*/ 8576 w 10000"/>
                <a:gd name="connsiteY245" fmla="*/ 7907 h 10000"/>
                <a:gd name="connsiteX246" fmla="*/ 8661 w 10000"/>
                <a:gd name="connsiteY246" fmla="*/ 8004 h 10000"/>
                <a:gd name="connsiteX247" fmla="*/ 8704 w 10000"/>
                <a:gd name="connsiteY247" fmla="*/ 7829 h 10000"/>
                <a:gd name="connsiteX248" fmla="*/ 8831 w 10000"/>
                <a:gd name="connsiteY248" fmla="*/ 7733 h 10000"/>
                <a:gd name="connsiteX249" fmla="*/ 8980 w 10000"/>
                <a:gd name="connsiteY249" fmla="*/ 7713 h 10000"/>
                <a:gd name="connsiteX250" fmla="*/ 9097 w 10000"/>
                <a:gd name="connsiteY250" fmla="*/ 7674 h 10000"/>
                <a:gd name="connsiteX251" fmla="*/ 9235 w 10000"/>
                <a:gd name="connsiteY251" fmla="*/ 7791 h 10000"/>
                <a:gd name="connsiteX252" fmla="*/ 9341 w 10000"/>
                <a:gd name="connsiteY252" fmla="*/ 7907 h 10000"/>
                <a:gd name="connsiteX253" fmla="*/ 9458 w 10000"/>
                <a:gd name="connsiteY253" fmla="*/ 7733 h 10000"/>
                <a:gd name="connsiteX254" fmla="*/ 9575 w 10000"/>
                <a:gd name="connsiteY254" fmla="*/ 7829 h 10000"/>
                <a:gd name="connsiteX255" fmla="*/ 9702 w 10000"/>
                <a:gd name="connsiteY255" fmla="*/ 7829 h 10000"/>
                <a:gd name="connsiteX256" fmla="*/ 9809 w 10000"/>
                <a:gd name="connsiteY256" fmla="*/ 7907 h 10000"/>
                <a:gd name="connsiteX257" fmla="*/ 9968 w 10000"/>
                <a:gd name="connsiteY257" fmla="*/ 7829 h 10000"/>
                <a:gd name="connsiteX258" fmla="*/ 10000 w 10000"/>
                <a:gd name="connsiteY258" fmla="*/ 7810 h 10000"/>
                <a:gd name="connsiteX259" fmla="*/ 9979 w 10000"/>
                <a:gd name="connsiteY259" fmla="*/ 7810 h 10000"/>
                <a:gd name="connsiteX260" fmla="*/ 9968 w 10000"/>
                <a:gd name="connsiteY260" fmla="*/ 7636 h 10000"/>
                <a:gd name="connsiteX261" fmla="*/ 9968 w 10000"/>
                <a:gd name="connsiteY261" fmla="*/ 7190 h 10000"/>
                <a:gd name="connsiteX262" fmla="*/ 9926 w 10000"/>
                <a:gd name="connsiteY262" fmla="*/ 7132 h 10000"/>
                <a:gd name="connsiteX263" fmla="*/ 9915 w 10000"/>
                <a:gd name="connsiteY263" fmla="*/ 7112 h 10000"/>
                <a:gd name="connsiteX264" fmla="*/ 9926 w 10000"/>
                <a:gd name="connsiteY264" fmla="*/ 7093 h 10000"/>
                <a:gd name="connsiteX265" fmla="*/ 9968 w 10000"/>
                <a:gd name="connsiteY265" fmla="*/ 6822 h 10000"/>
                <a:gd name="connsiteX266" fmla="*/ 9979 w 10000"/>
                <a:gd name="connsiteY266" fmla="*/ 6802 h 10000"/>
                <a:gd name="connsiteX267" fmla="*/ 9979 w 10000"/>
                <a:gd name="connsiteY267" fmla="*/ 6802 h 10000"/>
                <a:gd name="connsiteX268" fmla="*/ 9947 w 10000"/>
                <a:gd name="connsiteY268" fmla="*/ 6764 h 10000"/>
                <a:gd name="connsiteX269" fmla="*/ 9872 w 10000"/>
                <a:gd name="connsiteY269" fmla="*/ 6899 h 10000"/>
                <a:gd name="connsiteX0" fmla="*/ 9872 w 10000"/>
                <a:gd name="connsiteY0" fmla="*/ 6899 h 10000"/>
                <a:gd name="connsiteX1" fmla="*/ 9862 w 10000"/>
                <a:gd name="connsiteY1" fmla="*/ 6899 h 10000"/>
                <a:gd name="connsiteX2" fmla="*/ 9862 w 10000"/>
                <a:gd name="connsiteY2" fmla="*/ 6899 h 10000"/>
                <a:gd name="connsiteX3" fmla="*/ 9766 w 10000"/>
                <a:gd name="connsiteY3" fmla="*/ 6938 h 10000"/>
                <a:gd name="connsiteX4" fmla="*/ 9671 w 10000"/>
                <a:gd name="connsiteY4" fmla="*/ 7112 h 10000"/>
                <a:gd name="connsiteX5" fmla="*/ 9671 w 10000"/>
                <a:gd name="connsiteY5" fmla="*/ 7112 h 10000"/>
                <a:gd name="connsiteX6" fmla="*/ 9660 w 10000"/>
                <a:gd name="connsiteY6" fmla="*/ 7112 h 10000"/>
                <a:gd name="connsiteX7" fmla="*/ 9617 w 10000"/>
                <a:gd name="connsiteY7" fmla="*/ 7112 h 10000"/>
                <a:gd name="connsiteX8" fmla="*/ 9607 w 10000"/>
                <a:gd name="connsiteY8" fmla="*/ 7112 h 10000"/>
                <a:gd name="connsiteX9" fmla="*/ 9607 w 10000"/>
                <a:gd name="connsiteY9" fmla="*/ 7112 h 10000"/>
                <a:gd name="connsiteX10" fmla="*/ 9458 w 10000"/>
                <a:gd name="connsiteY10" fmla="*/ 6880 h 10000"/>
                <a:gd name="connsiteX11" fmla="*/ 9447 w 10000"/>
                <a:gd name="connsiteY11" fmla="*/ 6860 h 10000"/>
                <a:gd name="connsiteX12" fmla="*/ 9447 w 10000"/>
                <a:gd name="connsiteY12" fmla="*/ 6841 h 10000"/>
                <a:gd name="connsiteX13" fmla="*/ 9447 w 10000"/>
                <a:gd name="connsiteY13" fmla="*/ 6550 h 10000"/>
                <a:gd name="connsiteX14" fmla="*/ 9447 w 10000"/>
                <a:gd name="connsiteY14" fmla="*/ 6531 h 10000"/>
                <a:gd name="connsiteX15" fmla="*/ 9458 w 10000"/>
                <a:gd name="connsiteY15" fmla="*/ 6531 h 10000"/>
                <a:gd name="connsiteX16" fmla="*/ 9554 w 10000"/>
                <a:gd name="connsiteY16" fmla="*/ 6453 h 10000"/>
                <a:gd name="connsiteX17" fmla="*/ 9564 w 10000"/>
                <a:gd name="connsiteY17" fmla="*/ 5601 h 10000"/>
                <a:gd name="connsiteX18" fmla="*/ 9564 w 10000"/>
                <a:gd name="connsiteY18" fmla="*/ 5581 h 10000"/>
                <a:gd name="connsiteX19" fmla="*/ 9564 w 10000"/>
                <a:gd name="connsiteY19" fmla="*/ 5562 h 10000"/>
                <a:gd name="connsiteX20" fmla="*/ 9649 w 10000"/>
                <a:gd name="connsiteY20" fmla="*/ 5388 h 10000"/>
                <a:gd name="connsiteX21" fmla="*/ 9702 w 10000"/>
                <a:gd name="connsiteY21" fmla="*/ 5291 h 10000"/>
                <a:gd name="connsiteX22" fmla="*/ 9554 w 10000"/>
                <a:gd name="connsiteY22" fmla="*/ 5058 h 10000"/>
                <a:gd name="connsiteX23" fmla="*/ 9554 w 10000"/>
                <a:gd name="connsiteY23" fmla="*/ 5058 h 10000"/>
                <a:gd name="connsiteX24" fmla="*/ 9543 w 10000"/>
                <a:gd name="connsiteY24" fmla="*/ 5058 h 10000"/>
                <a:gd name="connsiteX25" fmla="*/ 9394 w 10000"/>
                <a:gd name="connsiteY25" fmla="*/ 4709 h 10000"/>
                <a:gd name="connsiteX26" fmla="*/ 9394 w 10000"/>
                <a:gd name="connsiteY26" fmla="*/ 4690 h 10000"/>
                <a:gd name="connsiteX27" fmla="*/ 9394 w 10000"/>
                <a:gd name="connsiteY27" fmla="*/ 4690 h 10000"/>
                <a:gd name="connsiteX28" fmla="*/ 9384 w 10000"/>
                <a:gd name="connsiteY28" fmla="*/ 4457 h 10000"/>
                <a:gd name="connsiteX29" fmla="*/ 9490 w 10000"/>
                <a:gd name="connsiteY29" fmla="*/ 4360 h 10000"/>
                <a:gd name="connsiteX30" fmla="*/ 9564 w 10000"/>
                <a:gd name="connsiteY30" fmla="*/ 4244 h 10000"/>
                <a:gd name="connsiteX31" fmla="*/ 9628 w 10000"/>
                <a:gd name="connsiteY31" fmla="*/ 4012 h 10000"/>
                <a:gd name="connsiteX32" fmla="*/ 9490 w 10000"/>
                <a:gd name="connsiteY32" fmla="*/ 3760 h 10000"/>
                <a:gd name="connsiteX33" fmla="*/ 9490 w 10000"/>
                <a:gd name="connsiteY33" fmla="*/ 3760 h 10000"/>
                <a:gd name="connsiteX34" fmla="*/ 9479 w 10000"/>
                <a:gd name="connsiteY34" fmla="*/ 3760 h 10000"/>
                <a:gd name="connsiteX35" fmla="*/ 9426 w 10000"/>
                <a:gd name="connsiteY35" fmla="*/ 3527 h 10000"/>
                <a:gd name="connsiteX36" fmla="*/ 9426 w 10000"/>
                <a:gd name="connsiteY36" fmla="*/ 3527 h 10000"/>
                <a:gd name="connsiteX37" fmla="*/ 9426 w 10000"/>
                <a:gd name="connsiteY37" fmla="*/ 3508 h 10000"/>
                <a:gd name="connsiteX38" fmla="*/ 9416 w 10000"/>
                <a:gd name="connsiteY38" fmla="*/ 3198 h 10000"/>
                <a:gd name="connsiteX39" fmla="*/ 9416 w 10000"/>
                <a:gd name="connsiteY39" fmla="*/ 3198 h 10000"/>
                <a:gd name="connsiteX40" fmla="*/ 9416 w 10000"/>
                <a:gd name="connsiteY40" fmla="*/ 3178 h 10000"/>
                <a:gd name="connsiteX41" fmla="*/ 9532 w 10000"/>
                <a:gd name="connsiteY41" fmla="*/ 2907 h 10000"/>
                <a:gd name="connsiteX42" fmla="*/ 9384 w 10000"/>
                <a:gd name="connsiteY42" fmla="*/ 2616 h 10000"/>
                <a:gd name="connsiteX43" fmla="*/ 9384 w 10000"/>
                <a:gd name="connsiteY43" fmla="*/ 2616 h 10000"/>
                <a:gd name="connsiteX44" fmla="*/ 9384 w 10000"/>
                <a:gd name="connsiteY44" fmla="*/ 2616 h 10000"/>
                <a:gd name="connsiteX45" fmla="*/ 9330 w 10000"/>
                <a:gd name="connsiteY45" fmla="*/ 2267 h 10000"/>
                <a:gd name="connsiteX46" fmla="*/ 9330 w 10000"/>
                <a:gd name="connsiteY46" fmla="*/ 2248 h 10000"/>
                <a:gd name="connsiteX47" fmla="*/ 9330 w 10000"/>
                <a:gd name="connsiteY47" fmla="*/ 2248 h 10000"/>
                <a:gd name="connsiteX48" fmla="*/ 9341 w 10000"/>
                <a:gd name="connsiteY48" fmla="*/ 1841 h 10000"/>
                <a:gd name="connsiteX49" fmla="*/ 9341 w 10000"/>
                <a:gd name="connsiteY49" fmla="*/ 1822 h 10000"/>
                <a:gd name="connsiteX50" fmla="*/ 9341 w 10000"/>
                <a:gd name="connsiteY50" fmla="*/ 1822 h 10000"/>
                <a:gd name="connsiteX51" fmla="*/ 9660 w 10000"/>
                <a:gd name="connsiteY51" fmla="*/ 1279 h 10000"/>
                <a:gd name="connsiteX52" fmla="*/ 9564 w 10000"/>
                <a:gd name="connsiteY52" fmla="*/ 1008 h 10000"/>
                <a:gd name="connsiteX53" fmla="*/ 9554 w 10000"/>
                <a:gd name="connsiteY53" fmla="*/ 1008 h 10000"/>
                <a:gd name="connsiteX54" fmla="*/ 9554 w 10000"/>
                <a:gd name="connsiteY54" fmla="*/ 988 h 10000"/>
                <a:gd name="connsiteX55" fmla="*/ 9586 w 10000"/>
                <a:gd name="connsiteY55" fmla="*/ 698 h 10000"/>
                <a:gd name="connsiteX56" fmla="*/ 9501 w 10000"/>
                <a:gd name="connsiteY56" fmla="*/ 601 h 10000"/>
                <a:gd name="connsiteX57" fmla="*/ 9288 w 10000"/>
                <a:gd name="connsiteY57" fmla="*/ 581 h 10000"/>
                <a:gd name="connsiteX58" fmla="*/ 9288 w 10000"/>
                <a:gd name="connsiteY58" fmla="*/ 581 h 10000"/>
                <a:gd name="connsiteX59" fmla="*/ 9277 w 10000"/>
                <a:gd name="connsiteY59" fmla="*/ 581 h 10000"/>
                <a:gd name="connsiteX60" fmla="*/ 9224 w 10000"/>
                <a:gd name="connsiteY60" fmla="*/ 484 h 10000"/>
                <a:gd name="connsiteX61" fmla="*/ 9086 w 10000"/>
                <a:gd name="connsiteY61" fmla="*/ 484 h 10000"/>
                <a:gd name="connsiteX62" fmla="*/ 8948 w 10000"/>
                <a:gd name="connsiteY62" fmla="*/ 1124 h 10000"/>
                <a:gd name="connsiteX63" fmla="*/ 8927 w 10000"/>
                <a:gd name="connsiteY63" fmla="*/ 1124 h 10000"/>
                <a:gd name="connsiteX64" fmla="*/ 8927 w 10000"/>
                <a:gd name="connsiteY64" fmla="*/ 1143 h 10000"/>
                <a:gd name="connsiteX65" fmla="*/ 8650 w 10000"/>
                <a:gd name="connsiteY65" fmla="*/ 1415 h 10000"/>
                <a:gd name="connsiteX66" fmla="*/ 8640 w 10000"/>
                <a:gd name="connsiteY66" fmla="*/ 1434 h 10000"/>
                <a:gd name="connsiteX67" fmla="*/ 8640 w 10000"/>
                <a:gd name="connsiteY67" fmla="*/ 1434 h 10000"/>
                <a:gd name="connsiteX68" fmla="*/ 8470 w 10000"/>
                <a:gd name="connsiteY68" fmla="*/ 1395 h 10000"/>
                <a:gd name="connsiteX69" fmla="*/ 8321 w 10000"/>
                <a:gd name="connsiteY69" fmla="*/ 1531 h 10000"/>
                <a:gd name="connsiteX70" fmla="*/ 8321 w 10000"/>
                <a:gd name="connsiteY70" fmla="*/ 1531 h 10000"/>
                <a:gd name="connsiteX71" fmla="*/ 8321 w 10000"/>
                <a:gd name="connsiteY71" fmla="*/ 1531 h 10000"/>
                <a:gd name="connsiteX72" fmla="*/ 8172 w 10000"/>
                <a:gd name="connsiteY72" fmla="*/ 1589 h 10000"/>
                <a:gd name="connsiteX73" fmla="*/ 8023 w 10000"/>
                <a:gd name="connsiteY73" fmla="*/ 1957 h 10000"/>
                <a:gd name="connsiteX74" fmla="*/ 8013 w 10000"/>
                <a:gd name="connsiteY74" fmla="*/ 1977 h 10000"/>
                <a:gd name="connsiteX75" fmla="*/ 7991 w 10000"/>
                <a:gd name="connsiteY75" fmla="*/ 1977 h 10000"/>
                <a:gd name="connsiteX76" fmla="*/ 7864 w 10000"/>
                <a:gd name="connsiteY76" fmla="*/ 1899 h 10000"/>
                <a:gd name="connsiteX77" fmla="*/ 7843 w 10000"/>
                <a:gd name="connsiteY77" fmla="*/ 1899 h 10000"/>
                <a:gd name="connsiteX78" fmla="*/ 7853 w 10000"/>
                <a:gd name="connsiteY78" fmla="*/ 1841 h 10000"/>
                <a:gd name="connsiteX79" fmla="*/ 7928 w 10000"/>
                <a:gd name="connsiteY79" fmla="*/ 1609 h 10000"/>
                <a:gd name="connsiteX80" fmla="*/ 7906 w 10000"/>
                <a:gd name="connsiteY80" fmla="*/ 1279 h 10000"/>
                <a:gd name="connsiteX81" fmla="*/ 7758 w 10000"/>
                <a:gd name="connsiteY81" fmla="*/ 1124 h 10000"/>
                <a:gd name="connsiteX82" fmla="*/ 7651 w 10000"/>
                <a:gd name="connsiteY82" fmla="*/ 1124 h 10000"/>
                <a:gd name="connsiteX83" fmla="*/ 7641 w 10000"/>
                <a:gd name="connsiteY83" fmla="*/ 1124 h 10000"/>
                <a:gd name="connsiteX84" fmla="*/ 7630 w 10000"/>
                <a:gd name="connsiteY84" fmla="*/ 1105 h 10000"/>
                <a:gd name="connsiteX85" fmla="*/ 7556 w 10000"/>
                <a:gd name="connsiteY85" fmla="*/ 930 h 10000"/>
                <a:gd name="connsiteX86" fmla="*/ 7184 w 10000"/>
                <a:gd name="connsiteY86" fmla="*/ 891 h 10000"/>
                <a:gd name="connsiteX87" fmla="*/ 7173 w 10000"/>
                <a:gd name="connsiteY87" fmla="*/ 891 h 10000"/>
                <a:gd name="connsiteX88" fmla="*/ 7173 w 10000"/>
                <a:gd name="connsiteY88" fmla="*/ 872 h 10000"/>
                <a:gd name="connsiteX89" fmla="*/ 7099 w 10000"/>
                <a:gd name="connsiteY89" fmla="*/ 620 h 10000"/>
                <a:gd name="connsiteX90" fmla="*/ 7088 w 10000"/>
                <a:gd name="connsiteY90" fmla="*/ 601 h 10000"/>
                <a:gd name="connsiteX91" fmla="*/ 7088 w 10000"/>
                <a:gd name="connsiteY91" fmla="*/ 601 h 10000"/>
                <a:gd name="connsiteX92" fmla="*/ 7088 w 10000"/>
                <a:gd name="connsiteY92" fmla="*/ 465 h 10000"/>
                <a:gd name="connsiteX93" fmla="*/ 7088 w 10000"/>
                <a:gd name="connsiteY93" fmla="*/ 426 h 10000"/>
                <a:gd name="connsiteX94" fmla="*/ 7099 w 10000"/>
                <a:gd name="connsiteY94" fmla="*/ 407 h 10000"/>
                <a:gd name="connsiteX95" fmla="*/ 7194 w 10000"/>
                <a:gd name="connsiteY95" fmla="*/ 310 h 10000"/>
                <a:gd name="connsiteX96" fmla="*/ 7109 w 10000"/>
                <a:gd name="connsiteY96" fmla="*/ 136 h 10000"/>
                <a:gd name="connsiteX97" fmla="*/ 7035 w 10000"/>
                <a:gd name="connsiteY97" fmla="*/ 0 h 10000"/>
                <a:gd name="connsiteX98" fmla="*/ 6939 w 10000"/>
                <a:gd name="connsiteY98" fmla="*/ 116 h 10000"/>
                <a:gd name="connsiteX99" fmla="*/ 6939 w 10000"/>
                <a:gd name="connsiteY99" fmla="*/ 116 h 10000"/>
                <a:gd name="connsiteX100" fmla="*/ 6939 w 10000"/>
                <a:gd name="connsiteY100" fmla="*/ 116 h 10000"/>
                <a:gd name="connsiteX101" fmla="*/ 6812 w 10000"/>
                <a:gd name="connsiteY101" fmla="*/ 155 h 10000"/>
                <a:gd name="connsiteX102" fmla="*/ 6674 w 10000"/>
                <a:gd name="connsiteY102" fmla="*/ 291 h 10000"/>
                <a:gd name="connsiteX103" fmla="*/ 6599 w 10000"/>
                <a:gd name="connsiteY103" fmla="*/ 523 h 10000"/>
                <a:gd name="connsiteX104" fmla="*/ 6599 w 10000"/>
                <a:gd name="connsiteY104" fmla="*/ 543 h 10000"/>
                <a:gd name="connsiteX105" fmla="*/ 6589 w 10000"/>
                <a:gd name="connsiteY105" fmla="*/ 543 h 10000"/>
                <a:gd name="connsiteX106" fmla="*/ 6397 w 10000"/>
                <a:gd name="connsiteY106" fmla="*/ 581 h 10000"/>
                <a:gd name="connsiteX107" fmla="*/ 6334 w 10000"/>
                <a:gd name="connsiteY107" fmla="*/ 891 h 10000"/>
                <a:gd name="connsiteX108" fmla="*/ 6334 w 10000"/>
                <a:gd name="connsiteY108" fmla="*/ 911 h 10000"/>
                <a:gd name="connsiteX109" fmla="*/ 6334 w 10000"/>
                <a:gd name="connsiteY109" fmla="*/ 911 h 10000"/>
                <a:gd name="connsiteX110" fmla="*/ 6142 w 10000"/>
                <a:gd name="connsiteY110" fmla="*/ 1124 h 10000"/>
                <a:gd name="connsiteX111" fmla="*/ 6015 w 10000"/>
                <a:gd name="connsiteY111" fmla="*/ 1453 h 10000"/>
                <a:gd name="connsiteX112" fmla="*/ 6004 w 10000"/>
                <a:gd name="connsiteY112" fmla="*/ 1473 h 10000"/>
                <a:gd name="connsiteX113" fmla="*/ 5994 w 10000"/>
                <a:gd name="connsiteY113" fmla="*/ 1453 h 10000"/>
                <a:gd name="connsiteX114" fmla="*/ 5802 w 10000"/>
                <a:gd name="connsiteY114" fmla="*/ 1434 h 10000"/>
                <a:gd name="connsiteX115" fmla="*/ 5781 w 10000"/>
                <a:gd name="connsiteY115" fmla="*/ 1415 h 10000"/>
                <a:gd name="connsiteX116" fmla="*/ 5781 w 10000"/>
                <a:gd name="connsiteY116" fmla="*/ 1395 h 10000"/>
                <a:gd name="connsiteX117" fmla="*/ 5760 w 10000"/>
                <a:gd name="connsiteY117" fmla="*/ 930 h 10000"/>
                <a:gd name="connsiteX118" fmla="*/ 5654 w 10000"/>
                <a:gd name="connsiteY118" fmla="*/ 872 h 10000"/>
                <a:gd name="connsiteX119" fmla="*/ 5377 w 10000"/>
                <a:gd name="connsiteY119" fmla="*/ 1240 h 10000"/>
                <a:gd name="connsiteX120" fmla="*/ 5165 w 10000"/>
                <a:gd name="connsiteY120" fmla="*/ 1570 h 10000"/>
                <a:gd name="connsiteX121" fmla="*/ 5165 w 10000"/>
                <a:gd name="connsiteY121" fmla="*/ 1899 h 10000"/>
                <a:gd name="connsiteX122" fmla="*/ 5165 w 10000"/>
                <a:gd name="connsiteY122" fmla="*/ 1919 h 10000"/>
                <a:gd name="connsiteX123" fmla="*/ 5154 w 10000"/>
                <a:gd name="connsiteY123" fmla="*/ 1919 h 10000"/>
                <a:gd name="connsiteX124" fmla="*/ 5027 w 10000"/>
                <a:gd name="connsiteY124" fmla="*/ 2112 h 10000"/>
                <a:gd name="connsiteX125" fmla="*/ 5016 w 10000"/>
                <a:gd name="connsiteY125" fmla="*/ 2112 h 10000"/>
                <a:gd name="connsiteX126" fmla="*/ 5005 w 10000"/>
                <a:gd name="connsiteY126" fmla="*/ 2112 h 10000"/>
                <a:gd name="connsiteX127" fmla="*/ 4814 w 10000"/>
                <a:gd name="connsiteY127" fmla="*/ 2112 h 10000"/>
                <a:gd name="connsiteX128" fmla="*/ 4803 w 10000"/>
                <a:gd name="connsiteY128" fmla="*/ 2112 h 10000"/>
                <a:gd name="connsiteX129" fmla="*/ 4803 w 10000"/>
                <a:gd name="connsiteY129" fmla="*/ 2112 h 10000"/>
                <a:gd name="connsiteX130" fmla="*/ 4697 w 10000"/>
                <a:gd name="connsiteY130" fmla="*/ 1957 h 10000"/>
                <a:gd name="connsiteX131" fmla="*/ 4591 w 10000"/>
                <a:gd name="connsiteY131" fmla="*/ 1899 h 10000"/>
                <a:gd name="connsiteX132" fmla="*/ 4591 w 10000"/>
                <a:gd name="connsiteY132" fmla="*/ 1957 h 10000"/>
                <a:gd name="connsiteX133" fmla="*/ 4591 w 10000"/>
                <a:gd name="connsiteY133" fmla="*/ 1996 h 10000"/>
                <a:gd name="connsiteX134" fmla="*/ 4570 w 10000"/>
                <a:gd name="connsiteY134" fmla="*/ 1996 h 10000"/>
                <a:gd name="connsiteX135" fmla="*/ 4453 w 10000"/>
                <a:gd name="connsiteY135" fmla="*/ 1996 h 10000"/>
                <a:gd name="connsiteX136" fmla="*/ 4431 w 10000"/>
                <a:gd name="connsiteY136" fmla="*/ 1996 h 10000"/>
                <a:gd name="connsiteX137" fmla="*/ 4431 w 10000"/>
                <a:gd name="connsiteY137" fmla="*/ 1957 h 10000"/>
                <a:gd name="connsiteX138" fmla="*/ 4378 w 10000"/>
                <a:gd name="connsiteY138" fmla="*/ 1589 h 10000"/>
                <a:gd name="connsiteX139" fmla="*/ 4091 w 10000"/>
                <a:gd name="connsiteY139" fmla="*/ 1512 h 10000"/>
                <a:gd name="connsiteX140" fmla="*/ 4081 w 10000"/>
                <a:gd name="connsiteY140" fmla="*/ 1512 h 10000"/>
                <a:gd name="connsiteX141" fmla="*/ 4070 w 10000"/>
                <a:gd name="connsiteY141" fmla="*/ 1492 h 10000"/>
                <a:gd name="connsiteX142" fmla="*/ 3879 w 10000"/>
                <a:gd name="connsiteY142" fmla="*/ 988 h 10000"/>
                <a:gd name="connsiteX143" fmla="*/ 3719 w 10000"/>
                <a:gd name="connsiteY143" fmla="*/ 988 h 10000"/>
                <a:gd name="connsiteX144" fmla="*/ 3698 w 10000"/>
                <a:gd name="connsiteY144" fmla="*/ 1085 h 10000"/>
                <a:gd name="connsiteX145" fmla="*/ 3698 w 10000"/>
                <a:gd name="connsiteY145" fmla="*/ 1105 h 10000"/>
                <a:gd name="connsiteX146" fmla="*/ 3698 w 10000"/>
                <a:gd name="connsiteY146" fmla="*/ 1105 h 10000"/>
                <a:gd name="connsiteX147" fmla="*/ 3592 w 10000"/>
                <a:gd name="connsiteY147" fmla="*/ 1318 h 10000"/>
                <a:gd name="connsiteX148" fmla="*/ 3592 w 10000"/>
                <a:gd name="connsiteY148" fmla="*/ 1318 h 10000"/>
                <a:gd name="connsiteX149" fmla="*/ 3581 w 10000"/>
                <a:gd name="connsiteY149" fmla="*/ 1318 h 10000"/>
                <a:gd name="connsiteX150" fmla="*/ 3486 w 10000"/>
                <a:gd name="connsiteY150" fmla="*/ 1395 h 10000"/>
                <a:gd name="connsiteX151" fmla="*/ 3486 w 10000"/>
                <a:gd name="connsiteY151" fmla="*/ 1686 h 10000"/>
                <a:gd name="connsiteX152" fmla="*/ 3486 w 10000"/>
                <a:gd name="connsiteY152" fmla="*/ 1725 h 10000"/>
                <a:gd name="connsiteX153" fmla="*/ 3475 w 10000"/>
                <a:gd name="connsiteY153" fmla="*/ 1725 h 10000"/>
                <a:gd name="connsiteX154" fmla="*/ 3369 w 10000"/>
                <a:gd name="connsiteY154" fmla="*/ 1841 h 10000"/>
                <a:gd name="connsiteX155" fmla="*/ 3135 w 10000"/>
                <a:gd name="connsiteY155" fmla="*/ 2171 h 10000"/>
                <a:gd name="connsiteX156" fmla="*/ 2954 w 10000"/>
                <a:gd name="connsiteY156" fmla="*/ 2829 h 10000"/>
                <a:gd name="connsiteX157" fmla="*/ 2954 w 10000"/>
                <a:gd name="connsiteY157" fmla="*/ 2829 h 10000"/>
                <a:gd name="connsiteX158" fmla="*/ 2944 w 10000"/>
                <a:gd name="connsiteY158" fmla="*/ 2829 h 10000"/>
                <a:gd name="connsiteX159" fmla="*/ 2699 w 10000"/>
                <a:gd name="connsiteY159" fmla="*/ 3217 h 10000"/>
                <a:gd name="connsiteX160" fmla="*/ 2487 w 10000"/>
                <a:gd name="connsiteY160" fmla="*/ 3566 h 10000"/>
                <a:gd name="connsiteX161" fmla="*/ 2465 w 10000"/>
                <a:gd name="connsiteY161" fmla="*/ 3934 h 10000"/>
                <a:gd name="connsiteX162" fmla="*/ 2465 w 10000"/>
                <a:gd name="connsiteY162" fmla="*/ 3934 h 10000"/>
                <a:gd name="connsiteX163" fmla="*/ 2465 w 10000"/>
                <a:gd name="connsiteY163" fmla="*/ 3934 h 10000"/>
                <a:gd name="connsiteX164" fmla="*/ 2295 w 10000"/>
                <a:gd name="connsiteY164" fmla="*/ 4205 h 10000"/>
                <a:gd name="connsiteX165" fmla="*/ 2200 w 10000"/>
                <a:gd name="connsiteY165" fmla="*/ 4535 h 10000"/>
                <a:gd name="connsiteX166" fmla="*/ 2189 w 10000"/>
                <a:gd name="connsiteY166" fmla="*/ 4554 h 10000"/>
                <a:gd name="connsiteX167" fmla="*/ 2179 w 10000"/>
                <a:gd name="connsiteY167" fmla="*/ 4554 h 10000"/>
                <a:gd name="connsiteX168" fmla="*/ 2051 w 10000"/>
                <a:gd name="connsiteY168" fmla="*/ 4535 h 10000"/>
                <a:gd name="connsiteX169" fmla="*/ 1913 w 10000"/>
                <a:gd name="connsiteY169" fmla="*/ 4767 h 10000"/>
                <a:gd name="connsiteX170" fmla="*/ 1913 w 10000"/>
                <a:gd name="connsiteY170" fmla="*/ 4787 h 10000"/>
                <a:gd name="connsiteX171" fmla="*/ 1902 w 10000"/>
                <a:gd name="connsiteY171" fmla="*/ 4787 h 10000"/>
                <a:gd name="connsiteX172" fmla="*/ 1498 w 10000"/>
                <a:gd name="connsiteY172" fmla="*/ 4671 h 10000"/>
                <a:gd name="connsiteX173" fmla="*/ 1488 w 10000"/>
                <a:gd name="connsiteY173" fmla="*/ 4671 h 10000"/>
                <a:gd name="connsiteX174" fmla="*/ 1488 w 10000"/>
                <a:gd name="connsiteY174" fmla="*/ 4651 h 10000"/>
                <a:gd name="connsiteX175" fmla="*/ 1424 w 10000"/>
                <a:gd name="connsiteY175" fmla="*/ 4516 h 10000"/>
                <a:gd name="connsiteX176" fmla="*/ 1350 w 10000"/>
                <a:gd name="connsiteY176" fmla="*/ 4516 h 10000"/>
                <a:gd name="connsiteX177" fmla="*/ 1296 w 10000"/>
                <a:gd name="connsiteY177" fmla="*/ 4690 h 10000"/>
                <a:gd name="connsiteX178" fmla="*/ 1286 w 10000"/>
                <a:gd name="connsiteY178" fmla="*/ 4922 h 10000"/>
                <a:gd name="connsiteX179" fmla="*/ 1286 w 10000"/>
                <a:gd name="connsiteY179" fmla="*/ 4942 h 10000"/>
                <a:gd name="connsiteX180" fmla="*/ 1275 w 10000"/>
                <a:gd name="connsiteY180" fmla="*/ 4961 h 10000"/>
                <a:gd name="connsiteX181" fmla="*/ 1190 w 10000"/>
                <a:gd name="connsiteY181" fmla="*/ 5058 h 10000"/>
                <a:gd name="connsiteX182" fmla="*/ 1137 w 10000"/>
                <a:gd name="connsiteY182" fmla="*/ 5271 h 10000"/>
                <a:gd name="connsiteX183" fmla="*/ 1137 w 10000"/>
                <a:gd name="connsiteY183" fmla="*/ 5291 h 10000"/>
                <a:gd name="connsiteX184" fmla="*/ 1126 w 10000"/>
                <a:gd name="connsiteY184" fmla="*/ 5291 h 10000"/>
                <a:gd name="connsiteX185" fmla="*/ 1020 w 10000"/>
                <a:gd name="connsiteY185" fmla="*/ 5407 h 10000"/>
                <a:gd name="connsiteX186" fmla="*/ 999 w 10000"/>
                <a:gd name="connsiteY186" fmla="*/ 5581 h 10000"/>
                <a:gd name="connsiteX187" fmla="*/ 978 w 10000"/>
                <a:gd name="connsiteY187" fmla="*/ 5756 h 10000"/>
                <a:gd name="connsiteX188" fmla="*/ 978 w 10000"/>
                <a:gd name="connsiteY188" fmla="*/ 5775 h 10000"/>
                <a:gd name="connsiteX189" fmla="*/ 967 w 10000"/>
                <a:gd name="connsiteY189" fmla="*/ 5775 h 10000"/>
                <a:gd name="connsiteX190" fmla="*/ 861 w 10000"/>
                <a:gd name="connsiteY190" fmla="*/ 5814 h 10000"/>
                <a:gd name="connsiteX191" fmla="*/ 861 w 10000"/>
                <a:gd name="connsiteY191" fmla="*/ 6047 h 10000"/>
                <a:gd name="connsiteX192" fmla="*/ 967 w 10000"/>
                <a:gd name="connsiteY192" fmla="*/ 6298 h 10000"/>
                <a:gd name="connsiteX193" fmla="*/ 967 w 10000"/>
                <a:gd name="connsiteY193" fmla="*/ 6298 h 10000"/>
                <a:gd name="connsiteX194" fmla="*/ 978 w 10000"/>
                <a:gd name="connsiteY194" fmla="*/ 6318 h 10000"/>
                <a:gd name="connsiteX195" fmla="*/ 988 w 10000"/>
                <a:gd name="connsiteY195" fmla="*/ 6512 h 10000"/>
                <a:gd name="connsiteX196" fmla="*/ 988 w 10000"/>
                <a:gd name="connsiteY196" fmla="*/ 6531 h 10000"/>
                <a:gd name="connsiteX197" fmla="*/ 978 w 10000"/>
                <a:gd name="connsiteY197" fmla="*/ 6550 h 10000"/>
                <a:gd name="connsiteX198" fmla="*/ 627 w 10000"/>
                <a:gd name="connsiteY198" fmla="*/ 7016 h 10000"/>
                <a:gd name="connsiteX199" fmla="*/ 521 w 10000"/>
                <a:gd name="connsiteY199" fmla="*/ 7151 h 10000"/>
                <a:gd name="connsiteX200" fmla="*/ 340 w 10000"/>
                <a:gd name="connsiteY200" fmla="*/ 7384 h 10000"/>
                <a:gd name="connsiteX201" fmla="*/ 340 w 10000"/>
                <a:gd name="connsiteY201" fmla="*/ 7403 h 10000"/>
                <a:gd name="connsiteX202" fmla="*/ 340 w 10000"/>
                <a:gd name="connsiteY202" fmla="*/ 7403 h 10000"/>
                <a:gd name="connsiteX203" fmla="*/ 191 w 10000"/>
                <a:gd name="connsiteY203" fmla="*/ 7519 h 10000"/>
                <a:gd name="connsiteX204" fmla="*/ 0 w 10000"/>
                <a:gd name="connsiteY204" fmla="*/ 7791 h 10000"/>
                <a:gd name="connsiteX205" fmla="*/ 11 w 10000"/>
                <a:gd name="connsiteY205" fmla="*/ 7829 h 10000"/>
                <a:gd name="connsiteX206" fmla="*/ 149 w 10000"/>
                <a:gd name="connsiteY206" fmla="*/ 7868 h 10000"/>
                <a:gd name="connsiteX207" fmla="*/ 159 w 10000"/>
                <a:gd name="connsiteY207" fmla="*/ 7868 h 10000"/>
                <a:gd name="connsiteX208" fmla="*/ 159 w 10000"/>
                <a:gd name="connsiteY208" fmla="*/ 7868 h 10000"/>
                <a:gd name="connsiteX209" fmla="*/ 372 w 10000"/>
                <a:gd name="connsiteY209" fmla="*/ 8256 h 10000"/>
                <a:gd name="connsiteX210" fmla="*/ 1467 w 10000"/>
                <a:gd name="connsiteY210" fmla="*/ 9205 h 10000"/>
                <a:gd name="connsiteX211" fmla="*/ 1467 w 10000"/>
                <a:gd name="connsiteY211" fmla="*/ 9205 h 10000"/>
                <a:gd name="connsiteX212" fmla="*/ 1477 w 10000"/>
                <a:gd name="connsiteY212" fmla="*/ 9205 h 10000"/>
                <a:gd name="connsiteX213" fmla="*/ 1838 w 10000"/>
                <a:gd name="connsiteY213" fmla="*/ 9729 h 10000"/>
                <a:gd name="connsiteX214" fmla="*/ 2508 w 10000"/>
                <a:gd name="connsiteY214" fmla="*/ 9767 h 10000"/>
                <a:gd name="connsiteX215" fmla="*/ 2561 w 10000"/>
                <a:gd name="connsiteY215" fmla="*/ 9671 h 10000"/>
                <a:gd name="connsiteX216" fmla="*/ 2561 w 10000"/>
                <a:gd name="connsiteY216" fmla="*/ 9671 h 10000"/>
                <a:gd name="connsiteX217" fmla="*/ 2582 w 10000"/>
                <a:gd name="connsiteY217" fmla="*/ 9671 h 10000"/>
                <a:gd name="connsiteX218" fmla="*/ 2848 w 10000"/>
                <a:gd name="connsiteY218" fmla="*/ 9651 h 10000"/>
                <a:gd name="connsiteX219" fmla="*/ 2859 w 10000"/>
                <a:gd name="connsiteY219" fmla="*/ 9651 h 10000"/>
                <a:gd name="connsiteX220" fmla="*/ 2869 w 10000"/>
                <a:gd name="connsiteY220" fmla="*/ 9671 h 10000"/>
                <a:gd name="connsiteX221" fmla="*/ 3061 w 10000"/>
                <a:gd name="connsiteY221" fmla="*/ 10000 h 10000"/>
                <a:gd name="connsiteX222" fmla="*/ 3061 w 10000"/>
                <a:gd name="connsiteY222" fmla="*/ 10000 h 10000"/>
                <a:gd name="connsiteX223" fmla="*/ 4336 w 10000"/>
                <a:gd name="connsiteY223" fmla="*/ 9961 h 10000"/>
                <a:gd name="connsiteX224" fmla="*/ 4357 w 10000"/>
                <a:gd name="connsiteY224" fmla="*/ 9961 h 10000"/>
                <a:gd name="connsiteX225" fmla="*/ 4357 w 10000"/>
                <a:gd name="connsiteY225" fmla="*/ 9981 h 10000"/>
                <a:gd name="connsiteX226" fmla="*/ 4527 w 10000"/>
                <a:gd name="connsiteY226" fmla="*/ 9864 h 10000"/>
                <a:gd name="connsiteX227" fmla="*/ 4538 w 10000"/>
                <a:gd name="connsiteY227" fmla="*/ 9864 h 10000"/>
                <a:gd name="connsiteX228" fmla="*/ 4538 w 10000"/>
                <a:gd name="connsiteY228" fmla="*/ 9864 h 10000"/>
                <a:gd name="connsiteX229" fmla="*/ 5250 w 10000"/>
                <a:gd name="connsiteY229" fmla="*/ 9845 h 10000"/>
                <a:gd name="connsiteX230" fmla="*/ 7354 w 10000"/>
                <a:gd name="connsiteY230" fmla="*/ 9845 h 10000"/>
                <a:gd name="connsiteX231" fmla="*/ 7343 w 10000"/>
                <a:gd name="connsiteY231" fmla="*/ 9826 h 10000"/>
                <a:gd name="connsiteX232" fmla="*/ 7439 w 10000"/>
                <a:gd name="connsiteY232" fmla="*/ 9612 h 10000"/>
                <a:gd name="connsiteX233" fmla="*/ 7513 w 10000"/>
                <a:gd name="connsiteY233" fmla="*/ 9516 h 10000"/>
                <a:gd name="connsiteX234" fmla="*/ 7428 w 10000"/>
                <a:gd name="connsiteY234" fmla="*/ 9283 h 10000"/>
                <a:gd name="connsiteX235" fmla="*/ 7450 w 10000"/>
                <a:gd name="connsiteY235" fmla="*/ 9109 h 10000"/>
                <a:gd name="connsiteX236" fmla="*/ 7683 w 10000"/>
                <a:gd name="connsiteY236" fmla="*/ 8992 h 10000"/>
                <a:gd name="connsiteX237" fmla="*/ 7683 w 10000"/>
                <a:gd name="connsiteY237" fmla="*/ 8798 h 10000"/>
                <a:gd name="connsiteX238" fmla="*/ 7779 w 10000"/>
                <a:gd name="connsiteY238" fmla="*/ 8682 h 10000"/>
                <a:gd name="connsiteX239" fmla="*/ 7949 w 10000"/>
                <a:gd name="connsiteY239" fmla="*/ 8372 h 10000"/>
                <a:gd name="connsiteX240" fmla="*/ 8013 w 10000"/>
                <a:gd name="connsiteY240" fmla="*/ 8023 h 10000"/>
                <a:gd name="connsiteX241" fmla="*/ 8098 w 10000"/>
                <a:gd name="connsiteY241" fmla="*/ 7907 h 10000"/>
                <a:gd name="connsiteX242" fmla="*/ 8204 w 10000"/>
                <a:gd name="connsiteY242" fmla="*/ 7907 h 10000"/>
                <a:gd name="connsiteX243" fmla="*/ 8363 w 10000"/>
                <a:gd name="connsiteY243" fmla="*/ 7829 h 10000"/>
                <a:gd name="connsiteX244" fmla="*/ 8576 w 10000"/>
                <a:gd name="connsiteY244" fmla="*/ 7907 h 10000"/>
                <a:gd name="connsiteX245" fmla="*/ 8661 w 10000"/>
                <a:gd name="connsiteY245" fmla="*/ 8004 h 10000"/>
                <a:gd name="connsiteX246" fmla="*/ 8704 w 10000"/>
                <a:gd name="connsiteY246" fmla="*/ 7829 h 10000"/>
                <a:gd name="connsiteX247" fmla="*/ 8831 w 10000"/>
                <a:gd name="connsiteY247" fmla="*/ 7733 h 10000"/>
                <a:gd name="connsiteX248" fmla="*/ 8980 w 10000"/>
                <a:gd name="connsiteY248" fmla="*/ 7713 h 10000"/>
                <a:gd name="connsiteX249" fmla="*/ 9097 w 10000"/>
                <a:gd name="connsiteY249" fmla="*/ 7674 h 10000"/>
                <a:gd name="connsiteX250" fmla="*/ 9235 w 10000"/>
                <a:gd name="connsiteY250" fmla="*/ 7791 h 10000"/>
                <a:gd name="connsiteX251" fmla="*/ 9341 w 10000"/>
                <a:gd name="connsiteY251" fmla="*/ 7907 h 10000"/>
                <a:gd name="connsiteX252" fmla="*/ 9458 w 10000"/>
                <a:gd name="connsiteY252" fmla="*/ 7733 h 10000"/>
                <a:gd name="connsiteX253" fmla="*/ 9575 w 10000"/>
                <a:gd name="connsiteY253" fmla="*/ 7829 h 10000"/>
                <a:gd name="connsiteX254" fmla="*/ 9702 w 10000"/>
                <a:gd name="connsiteY254" fmla="*/ 7829 h 10000"/>
                <a:gd name="connsiteX255" fmla="*/ 9809 w 10000"/>
                <a:gd name="connsiteY255" fmla="*/ 7907 h 10000"/>
                <a:gd name="connsiteX256" fmla="*/ 9968 w 10000"/>
                <a:gd name="connsiteY256" fmla="*/ 7829 h 10000"/>
                <a:gd name="connsiteX257" fmla="*/ 10000 w 10000"/>
                <a:gd name="connsiteY257" fmla="*/ 7810 h 10000"/>
                <a:gd name="connsiteX258" fmla="*/ 9979 w 10000"/>
                <a:gd name="connsiteY258" fmla="*/ 7810 h 10000"/>
                <a:gd name="connsiteX259" fmla="*/ 9968 w 10000"/>
                <a:gd name="connsiteY259" fmla="*/ 7636 h 10000"/>
                <a:gd name="connsiteX260" fmla="*/ 9968 w 10000"/>
                <a:gd name="connsiteY260" fmla="*/ 7190 h 10000"/>
                <a:gd name="connsiteX261" fmla="*/ 9926 w 10000"/>
                <a:gd name="connsiteY261" fmla="*/ 7132 h 10000"/>
                <a:gd name="connsiteX262" fmla="*/ 9915 w 10000"/>
                <a:gd name="connsiteY262" fmla="*/ 7112 h 10000"/>
                <a:gd name="connsiteX263" fmla="*/ 9926 w 10000"/>
                <a:gd name="connsiteY263" fmla="*/ 7093 h 10000"/>
                <a:gd name="connsiteX264" fmla="*/ 9968 w 10000"/>
                <a:gd name="connsiteY264" fmla="*/ 6822 h 10000"/>
                <a:gd name="connsiteX265" fmla="*/ 9979 w 10000"/>
                <a:gd name="connsiteY265" fmla="*/ 6802 h 10000"/>
                <a:gd name="connsiteX266" fmla="*/ 9979 w 10000"/>
                <a:gd name="connsiteY266" fmla="*/ 6802 h 10000"/>
                <a:gd name="connsiteX267" fmla="*/ 9947 w 10000"/>
                <a:gd name="connsiteY267" fmla="*/ 6764 h 10000"/>
                <a:gd name="connsiteX268" fmla="*/ 9872 w 10000"/>
                <a:gd name="connsiteY268" fmla="*/ 6899 h 10000"/>
                <a:gd name="connsiteX0" fmla="*/ 9872 w 10000"/>
                <a:gd name="connsiteY0" fmla="*/ 6899 h 10000"/>
                <a:gd name="connsiteX1" fmla="*/ 9862 w 10000"/>
                <a:gd name="connsiteY1" fmla="*/ 6899 h 10000"/>
                <a:gd name="connsiteX2" fmla="*/ 9862 w 10000"/>
                <a:gd name="connsiteY2" fmla="*/ 6899 h 10000"/>
                <a:gd name="connsiteX3" fmla="*/ 9766 w 10000"/>
                <a:gd name="connsiteY3" fmla="*/ 6938 h 10000"/>
                <a:gd name="connsiteX4" fmla="*/ 9671 w 10000"/>
                <a:gd name="connsiteY4" fmla="*/ 7112 h 10000"/>
                <a:gd name="connsiteX5" fmla="*/ 9671 w 10000"/>
                <a:gd name="connsiteY5" fmla="*/ 7112 h 10000"/>
                <a:gd name="connsiteX6" fmla="*/ 9660 w 10000"/>
                <a:gd name="connsiteY6" fmla="*/ 7112 h 10000"/>
                <a:gd name="connsiteX7" fmla="*/ 9617 w 10000"/>
                <a:gd name="connsiteY7" fmla="*/ 7112 h 10000"/>
                <a:gd name="connsiteX8" fmla="*/ 9607 w 10000"/>
                <a:gd name="connsiteY8" fmla="*/ 7112 h 10000"/>
                <a:gd name="connsiteX9" fmla="*/ 9607 w 10000"/>
                <a:gd name="connsiteY9" fmla="*/ 7112 h 10000"/>
                <a:gd name="connsiteX10" fmla="*/ 9458 w 10000"/>
                <a:gd name="connsiteY10" fmla="*/ 6880 h 10000"/>
                <a:gd name="connsiteX11" fmla="*/ 9447 w 10000"/>
                <a:gd name="connsiteY11" fmla="*/ 6860 h 10000"/>
                <a:gd name="connsiteX12" fmla="*/ 9447 w 10000"/>
                <a:gd name="connsiteY12" fmla="*/ 6841 h 10000"/>
                <a:gd name="connsiteX13" fmla="*/ 9447 w 10000"/>
                <a:gd name="connsiteY13" fmla="*/ 6550 h 10000"/>
                <a:gd name="connsiteX14" fmla="*/ 9447 w 10000"/>
                <a:gd name="connsiteY14" fmla="*/ 6531 h 10000"/>
                <a:gd name="connsiteX15" fmla="*/ 9458 w 10000"/>
                <a:gd name="connsiteY15" fmla="*/ 6531 h 10000"/>
                <a:gd name="connsiteX16" fmla="*/ 9554 w 10000"/>
                <a:gd name="connsiteY16" fmla="*/ 6453 h 10000"/>
                <a:gd name="connsiteX17" fmla="*/ 9564 w 10000"/>
                <a:gd name="connsiteY17" fmla="*/ 5601 h 10000"/>
                <a:gd name="connsiteX18" fmla="*/ 9564 w 10000"/>
                <a:gd name="connsiteY18" fmla="*/ 5581 h 10000"/>
                <a:gd name="connsiteX19" fmla="*/ 9564 w 10000"/>
                <a:gd name="connsiteY19" fmla="*/ 5562 h 10000"/>
                <a:gd name="connsiteX20" fmla="*/ 9649 w 10000"/>
                <a:gd name="connsiteY20" fmla="*/ 5388 h 10000"/>
                <a:gd name="connsiteX21" fmla="*/ 9702 w 10000"/>
                <a:gd name="connsiteY21" fmla="*/ 5291 h 10000"/>
                <a:gd name="connsiteX22" fmla="*/ 9554 w 10000"/>
                <a:gd name="connsiteY22" fmla="*/ 5058 h 10000"/>
                <a:gd name="connsiteX23" fmla="*/ 9554 w 10000"/>
                <a:gd name="connsiteY23" fmla="*/ 5058 h 10000"/>
                <a:gd name="connsiteX24" fmla="*/ 9543 w 10000"/>
                <a:gd name="connsiteY24" fmla="*/ 5058 h 10000"/>
                <a:gd name="connsiteX25" fmla="*/ 9394 w 10000"/>
                <a:gd name="connsiteY25" fmla="*/ 4709 h 10000"/>
                <a:gd name="connsiteX26" fmla="*/ 9394 w 10000"/>
                <a:gd name="connsiteY26" fmla="*/ 4690 h 10000"/>
                <a:gd name="connsiteX27" fmla="*/ 9394 w 10000"/>
                <a:gd name="connsiteY27" fmla="*/ 4690 h 10000"/>
                <a:gd name="connsiteX28" fmla="*/ 9456 w 10000"/>
                <a:gd name="connsiteY28" fmla="*/ 4520 h 10000"/>
                <a:gd name="connsiteX29" fmla="*/ 9490 w 10000"/>
                <a:gd name="connsiteY29" fmla="*/ 4360 h 10000"/>
                <a:gd name="connsiteX30" fmla="*/ 9564 w 10000"/>
                <a:gd name="connsiteY30" fmla="*/ 4244 h 10000"/>
                <a:gd name="connsiteX31" fmla="*/ 9628 w 10000"/>
                <a:gd name="connsiteY31" fmla="*/ 4012 h 10000"/>
                <a:gd name="connsiteX32" fmla="*/ 9490 w 10000"/>
                <a:gd name="connsiteY32" fmla="*/ 3760 h 10000"/>
                <a:gd name="connsiteX33" fmla="*/ 9490 w 10000"/>
                <a:gd name="connsiteY33" fmla="*/ 3760 h 10000"/>
                <a:gd name="connsiteX34" fmla="*/ 9479 w 10000"/>
                <a:gd name="connsiteY34" fmla="*/ 3760 h 10000"/>
                <a:gd name="connsiteX35" fmla="*/ 9426 w 10000"/>
                <a:gd name="connsiteY35" fmla="*/ 3527 h 10000"/>
                <a:gd name="connsiteX36" fmla="*/ 9426 w 10000"/>
                <a:gd name="connsiteY36" fmla="*/ 3527 h 10000"/>
                <a:gd name="connsiteX37" fmla="*/ 9426 w 10000"/>
                <a:gd name="connsiteY37" fmla="*/ 3508 h 10000"/>
                <a:gd name="connsiteX38" fmla="*/ 9416 w 10000"/>
                <a:gd name="connsiteY38" fmla="*/ 3198 h 10000"/>
                <a:gd name="connsiteX39" fmla="*/ 9416 w 10000"/>
                <a:gd name="connsiteY39" fmla="*/ 3198 h 10000"/>
                <a:gd name="connsiteX40" fmla="*/ 9416 w 10000"/>
                <a:gd name="connsiteY40" fmla="*/ 3178 h 10000"/>
                <a:gd name="connsiteX41" fmla="*/ 9532 w 10000"/>
                <a:gd name="connsiteY41" fmla="*/ 2907 h 10000"/>
                <a:gd name="connsiteX42" fmla="*/ 9384 w 10000"/>
                <a:gd name="connsiteY42" fmla="*/ 2616 h 10000"/>
                <a:gd name="connsiteX43" fmla="*/ 9384 w 10000"/>
                <a:gd name="connsiteY43" fmla="*/ 2616 h 10000"/>
                <a:gd name="connsiteX44" fmla="*/ 9384 w 10000"/>
                <a:gd name="connsiteY44" fmla="*/ 2616 h 10000"/>
                <a:gd name="connsiteX45" fmla="*/ 9330 w 10000"/>
                <a:gd name="connsiteY45" fmla="*/ 2267 h 10000"/>
                <a:gd name="connsiteX46" fmla="*/ 9330 w 10000"/>
                <a:gd name="connsiteY46" fmla="*/ 2248 h 10000"/>
                <a:gd name="connsiteX47" fmla="*/ 9330 w 10000"/>
                <a:gd name="connsiteY47" fmla="*/ 2248 h 10000"/>
                <a:gd name="connsiteX48" fmla="*/ 9341 w 10000"/>
                <a:gd name="connsiteY48" fmla="*/ 1841 h 10000"/>
                <a:gd name="connsiteX49" fmla="*/ 9341 w 10000"/>
                <a:gd name="connsiteY49" fmla="*/ 1822 h 10000"/>
                <a:gd name="connsiteX50" fmla="*/ 9341 w 10000"/>
                <a:gd name="connsiteY50" fmla="*/ 1822 h 10000"/>
                <a:gd name="connsiteX51" fmla="*/ 9660 w 10000"/>
                <a:gd name="connsiteY51" fmla="*/ 1279 h 10000"/>
                <a:gd name="connsiteX52" fmla="*/ 9564 w 10000"/>
                <a:gd name="connsiteY52" fmla="*/ 1008 h 10000"/>
                <a:gd name="connsiteX53" fmla="*/ 9554 w 10000"/>
                <a:gd name="connsiteY53" fmla="*/ 1008 h 10000"/>
                <a:gd name="connsiteX54" fmla="*/ 9554 w 10000"/>
                <a:gd name="connsiteY54" fmla="*/ 988 h 10000"/>
                <a:gd name="connsiteX55" fmla="*/ 9586 w 10000"/>
                <a:gd name="connsiteY55" fmla="*/ 698 h 10000"/>
                <a:gd name="connsiteX56" fmla="*/ 9501 w 10000"/>
                <a:gd name="connsiteY56" fmla="*/ 601 h 10000"/>
                <a:gd name="connsiteX57" fmla="*/ 9288 w 10000"/>
                <a:gd name="connsiteY57" fmla="*/ 581 h 10000"/>
                <a:gd name="connsiteX58" fmla="*/ 9288 w 10000"/>
                <a:gd name="connsiteY58" fmla="*/ 581 h 10000"/>
                <a:gd name="connsiteX59" fmla="*/ 9277 w 10000"/>
                <a:gd name="connsiteY59" fmla="*/ 581 h 10000"/>
                <a:gd name="connsiteX60" fmla="*/ 9224 w 10000"/>
                <a:gd name="connsiteY60" fmla="*/ 484 h 10000"/>
                <a:gd name="connsiteX61" fmla="*/ 9086 w 10000"/>
                <a:gd name="connsiteY61" fmla="*/ 484 h 10000"/>
                <a:gd name="connsiteX62" fmla="*/ 8948 w 10000"/>
                <a:gd name="connsiteY62" fmla="*/ 1124 h 10000"/>
                <a:gd name="connsiteX63" fmla="*/ 8927 w 10000"/>
                <a:gd name="connsiteY63" fmla="*/ 1124 h 10000"/>
                <a:gd name="connsiteX64" fmla="*/ 8927 w 10000"/>
                <a:gd name="connsiteY64" fmla="*/ 1143 h 10000"/>
                <a:gd name="connsiteX65" fmla="*/ 8650 w 10000"/>
                <a:gd name="connsiteY65" fmla="*/ 1415 h 10000"/>
                <a:gd name="connsiteX66" fmla="*/ 8640 w 10000"/>
                <a:gd name="connsiteY66" fmla="*/ 1434 h 10000"/>
                <a:gd name="connsiteX67" fmla="*/ 8640 w 10000"/>
                <a:gd name="connsiteY67" fmla="*/ 1434 h 10000"/>
                <a:gd name="connsiteX68" fmla="*/ 8470 w 10000"/>
                <a:gd name="connsiteY68" fmla="*/ 1395 h 10000"/>
                <a:gd name="connsiteX69" fmla="*/ 8321 w 10000"/>
                <a:gd name="connsiteY69" fmla="*/ 1531 h 10000"/>
                <a:gd name="connsiteX70" fmla="*/ 8321 w 10000"/>
                <a:gd name="connsiteY70" fmla="*/ 1531 h 10000"/>
                <a:gd name="connsiteX71" fmla="*/ 8321 w 10000"/>
                <a:gd name="connsiteY71" fmla="*/ 1531 h 10000"/>
                <a:gd name="connsiteX72" fmla="*/ 8172 w 10000"/>
                <a:gd name="connsiteY72" fmla="*/ 1589 h 10000"/>
                <a:gd name="connsiteX73" fmla="*/ 8023 w 10000"/>
                <a:gd name="connsiteY73" fmla="*/ 1957 h 10000"/>
                <a:gd name="connsiteX74" fmla="*/ 8013 w 10000"/>
                <a:gd name="connsiteY74" fmla="*/ 1977 h 10000"/>
                <a:gd name="connsiteX75" fmla="*/ 7991 w 10000"/>
                <a:gd name="connsiteY75" fmla="*/ 1977 h 10000"/>
                <a:gd name="connsiteX76" fmla="*/ 7864 w 10000"/>
                <a:gd name="connsiteY76" fmla="*/ 1899 h 10000"/>
                <a:gd name="connsiteX77" fmla="*/ 7843 w 10000"/>
                <a:gd name="connsiteY77" fmla="*/ 1899 h 10000"/>
                <a:gd name="connsiteX78" fmla="*/ 7853 w 10000"/>
                <a:gd name="connsiteY78" fmla="*/ 1841 h 10000"/>
                <a:gd name="connsiteX79" fmla="*/ 7928 w 10000"/>
                <a:gd name="connsiteY79" fmla="*/ 1609 h 10000"/>
                <a:gd name="connsiteX80" fmla="*/ 7906 w 10000"/>
                <a:gd name="connsiteY80" fmla="*/ 1279 h 10000"/>
                <a:gd name="connsiteX81" fmla="*/ 7758 w 10000"/>
                <a:gd name="connsiteY81" fmla="*/ 1124 h 10000"/>
                <a:gd name="connsiteX82" fmla="*/ 7651 w 10000"/>
                <a:gd name="connsiteY82" fmla="*/ 1124 h 10000"/>
                <a:gd name="connsiteX83" fmla="*/ 7641 w 10000"/>
                <a:gd name="connsiteY83" fmla="*/ 1124 h 10000"/>
                <a:gd name="connsiteX84" fmla="*/ 7630 w 10000"/>
                <a:gd name="connsiteY84" fmla="*/ 1105 h 10000"/>
                <a:gd name="connsiteX85" fmla="*/ 7556 w 10000"/>
                <a:gd name="connsiteY85" fmla="*/ 930 h 10000"/>
                <a:gd name="connsiteX86" fmla="*/ 7184 w 10000"/>
                <a:gd name="connsiteY86" fmla="*/ 891 h 10000"/>
                <a:gd name="connsiteX87" fmla="*/ 7173 w 10000"/>
                <a:gd name="connsiteY87" fmla="*/ 891 h 10000"/>
                <a:gd name="connsiteX88" fmla="*/ 7173 w 10000"/>
                <a:gd name="connsiteY88" fmla="*/ 872 h 10000"/>
                <a:gd name="connsiteX89" fmla="*/ 7099 w 10000"/>
                <a:gd name="connsiteY89" fmla="*/ 620 h 10000"/>
                <a:gd name="connsiteX90" fmla="*/ 7088 w 10000"/>
                <a:gd name="connsiteY90" fmla="*/ 601 h 10000"/>
                <a:gd name="connsiteX91" fmla="*/ 7088 w 10000"/>
                <a:gd name="connsiteY91" fmla="*/ 601 h 10000"/>
                <a:gd name="connsiteX92" fmla="*/ 7088 w 10000"/>
                <a:gd name="connsiteY92" fmla="*/ 465 h 10000"/>
                <a:gd name="connsiteX93" fmla="*/ 7088 w 10000"/>
                <a:gd name="connsiteY93" fmla="*/ 426 h 10000"/>
                <a:gd name="connsiteX94" fmla="*/ 7099 w 10000"/>
                <a:gd name="connsiteY94" fmla="*/ 407 h 10000"/>
                <a:gd name="connsiteX95" fmla="*/ 7194 w 10000"/>
                <a:gd name="connsiteY95" fmla="*/ 310 h 10000"/>
                <a:gd name="connsiteX96" fmla="*/ 7109 w 10000"/>
                <a:gd name="connsiteY96" fmla="*/ 136 h 10000"/>
                <a:gd name="connsiteX97" fmla="*/ 7035 w 10000"/>
                <a:gd name="connsiteY97" fmla="*/ 0 h 10000"/>
                <a:gd name="connsiteX98" fmla="*/ 6939 w 10000"/>
                <a:gd name="connsiteY98" fmla="*/ 116 h 10000"/>
                <a:gd name="connsiteX99" fmla="*/ 6939 w 10000"/>
                <a:gd name="connsiteY99" fmla="*/ 116 h 10000"/>
                <a:gd name="connsiteX100" fmla="*/ 6939 w 10000"/>
                <a:gd name="connsiteY100" fmla="*/ 116 h 10000"/>
                <a:gd name="connsiteX101" fmla="*/ 6812 w 10000"/>
                <a:gd name="connsiteY101" fmla="*/ 155 h 10000"/>
                <a:gd name="connsiteX102" fmla="*/ 6674 w 10000"/>
                <a:gd name="connsiteY102" fmla="*/ 291 h 10000"/>
                <a:gd name="connsiteX103" fmla="*/ 6599 w 10000"/>
                <a:gd name="connsiteY103" fmla="*/ 523 h 10000"/>
                <a:gd name="connsiteX104" fmla="*/ 6599 w 10000"/>
                <a:gd name="connsiteY104" fmla="*/ 543 h 10000"/>
                <a:gd name="connsiteX105" fmla="*/ 6589 w 10000"/>
                <a:gd name="connsiteY105" fmla="*/ 543 h 10000"/>
                <a:gd name="connsiteX106" fmla="*/ 6397 w 10000"/>
                <a:gd name="connsiteY106" fmla="*/ 581 h 10000"/>
                <a:gd name="connsiteX107" fmla="*/ 6334 w 10000"/>
                <a:gd name="connsiteY107" fmla="*/ 891 h 10000"/>
                <a:gd name="connsiteX108" fmla="*/ 6334 w 10000"/>
                <a:gd name="connsiteY108" fmla="*/ 911 h 10000"/>
                <a:gd name="connsiteX109" fmla="*/ 6334 w 10000"/>
                <a:gd name="connsiteY109" fmla="*/ 911 h 10000"/>
                <a:gd name="connsiteX110" fmla="*/ 6142 w 10000"/>
                <a:gd name="connsiteY110" fmla="*/ 1124 h 10000"/>
                <a:gd name="connsiteX111" fmla="*/ 6015 w 10000"/>
                <a:gd name="connsiteY111" fmla="*/ 1453 h 10000"/>
                <a:gd name="connsiteX112" fmla="*/ 6004 w 10000"/>
                <a:gd name="connsiteY112" fmla="*/ 1473 h 10000"/>
                <a:gd name="connsiteX113" fmla="*/ 5994 w 10000"/>
                <a:gd name="connsiteY113" fmla="*/ 1453 h 10000"/>
                <a:gd name="connsiteX114" fmla="*/ 5802 w 10000"/>
                <a:gd name="connsiteY114" fmla="*/ 1434 h 10000"/>
                <a:gd name="connsiteX115" fmla="*/ 5781 w 10000"/>
                <a:gd name="connsiteY115" fmla="*/ 1415 h 10000"/>
                <a:gd name="connsiteX116" fmla="*/ 5781 w 10000"/>
                <a:gd name="connsiteY116" fmla="*/ 1395 h 10000"/>
                <a:gd name="connsiteX117" fmla="*/ 5760 w 10000"/>
                <a:gd name="connsiteY117" fmla="*/ 930 h 10000"/>
                <a:gd name="connsiteX118" fmla="*/ 5654 w 10000"/>
                <a:gd name="connsiteY118" fmla="*/ 872 h 10000"/>
                <a:gd name="connsiteX119" fmla="*/ 5377 w 10000"/>
                <a:gd name="connsiteY119" fmla="*/ 1240 h 10000"/>
                <a:gd name="connsiteX120" fmla="*/ 5165 w 10000"/>
                <a:gd name="connsiteY120" fmla="*/ 1570 h 10000"/>
                <a:gd name="connsiteX121" fmla="*/ 5165 w 10000"/>
                <a:gd name="connsiteY121" fmla="*/ 1899 h 10000"/>
                <a:gd name="connsiteX122" fmla="*/ 5165 w 10000"/>
                <a:gd name="connsiteY122" fmla="*/ 1919 h 10000"/>
                <a:gd name="connsiteX123" fmla="*/ 5154 w 10000"/>
                <a:gd name="connsiteY123" fmla="*/ 1919 h 10000"/>
                <a:gd name="connsiteX124" fmla="*/ 5027 w 10000"/>
                <a:gd name="connsiteY124" fmla="*/ 2112 h 10000"/>
                <a:gd name="connsiteX125" fmla="*/ 5016 w 10000"/>
                <a:gd name="connsiteY125" fmla="*/ 2112 h 10000"/>
                <a:gd name="connsiteX126" fmla="*/ 5005 w 10000"/>
                <a:gd name="connsiteY126" fmla="*/ 2112 h 10000"/>
                <a:gd name="connsiteX127" fmla="*/ 4814 w 10000"/>
                <a:gd name="connsiteY127" fmla="*/ 2112 h 10000"/>
                <a:gd name="connsiteX128" fmla="*/ 4803 w 10000"/>
                <a:gd name="connsiteY128" fmla="*/ 2112 h 10000"/>
                <a:gd name="connsiteX129" fmla="*/ 4803 w 10000"/>
                <a:gd name="connsiteY129" fmla="*/ 2112 h 10000"/>
                <a:gd name="connsiteX130" fmla="*/ 4697 w 10000"/>
                <a:gd name="connsiteY130" fmla="*/ 1957 h 10000"/>
                <a:gd name="connsiteX131" fmla="*/ 4591 w 10000"/>
                <a:gd name="connsiteY131" fmla="*/ 1899 h 10000"/>
                <a:gd name="connsiteX132" fmla="*/ 4591 w 10000"/>
                <a:gd name="connsiteY132" fmla="*/ 1957 h 10000"/>
                <a:gd name="connsiteX133" fmla="*/ 4591 w 10000"/>
                <a:gd name="connsiteY133" fmla="*/ 1996 h 10000"/>
                <a:gd name="connsiteX134" fmla="*/ 4570 w 10000"/>
                <a:gd name="connsiteY134" fmla="*/ 1996 h 10000"/>
                <a:gd name="connsiteX135" fmla="*/ 4453 w 10000"/>
                <a:gd name="connsiteY135" fmla="*/ 1996 h 10000"/>
                <a:gd name="connsiteX136" fmla="*/ 4431 w 10000"/>
                <a:gd name="connsiteY136" fmla="*/ 1996 h 10000"/>
                <a:gd name="connsiteX137" fmla="*/ 4431 w 10000"/>
                <a:gd name="connsiteY137" fmla="*/ 1957 h 10000"/>
                <a:gd name="connsiteX138" fmla="*/ 4378 w 10000"/>
                <a:gd name="connsiteY138" fmla="*/ 1589 h 10000"/>
                <a:gd name="connsiteX139" fmla="*/ 4091 w 10000"/>
                <a:gd name="connsiteY139" fmla="*/ 1512 h 10000"/>
                <a:gd name="connsiteX140" fmla="*/ 4081 w 10000"/>
                <a:gd name="connsiteY140" fmla="*/ 1512 h 10000"/>
                <a:gd name="connsiteX141" fmla="*/ 4070 w 10000"/>
                <a:gd name="connsiteY141" fmla="*/ 1492 h 10000"/>
                <a:gd name="connsiteX142" fmla="*/ 3879 w 10000"/>
                <a:gd name="connsiteY142" fmla="*/ 988 h 10000"/>
                <a:gd name="connsiteX143" fmla="*/ 3719 w 10000"/>
                <a:gd name="connsiteY143" fmla="*/ 988 h 10000"/>
                <a:gd name="connsiteX144" fmla="*/ 3698 w 10000"/>
                <a:gd name="connsiteY144" fmla="*/ 1085 h 10000"/>
                <a:gd name="connsiteX145" fmla="*/ 3698 w 10000"/>
                <a:gd name="connsiteY145" fmla="*/ 1105 h 10000"/>
                <a:gd name="connsiteX146" fmla="*/ 3698 w 10000"/>
                <a:gd name="connsiteY146" fmla="*/ 1105 h 10000"/>
                <a:gd name="connsiteX147" fmla="*/ 3592 w 10000"/>
                <a:gd name="connsiteY147" fmla="*/ 1318 h 10000"/>
                <a:gd name="connsiteX148" fmla="*/ 3592 w 10000"/>
                <a:gd name="connsiteY148" fmla="*/ 1318 h 10000"/>
                <a:gd name="connsiteX149" fmla="*/ 3581 w 10000"/>
                <a:gd name="connsiteY149" fmla="*/ 1318 h 10000"/>
                <a:gd name="connsiteX150" fmla="*/ 3486 w 10000"/>
                <a:gd name="connsiteY150" fmla="*/ 1395 h 10000"/>
                <a:gd name="connsiteX151" fmla="*/ 3486 w 10000"/>
                <a:gd name="connsiteY151" fmla="*/ 1686 h 10000"/>
                <a:gd name="connsiteX152" fmla="*/ 3486 w 10000"/>
                <a:gd name="connsiteY152" fmla="*/ 1725 h 10000"/>
                <a:gd name="connsiteX153" fmla="*/ 3475 w 10000"/>
                <a:gd name="connsiteY153" fmla="*/ 1725 h 10000"/>
                <a:gd name="connsiteX154" fmla="*/ 3369 w 10000"/>
                <a:gd name="connsiteY154" fmla="*/ 1841 h 10000"/>
                <a:gd name="connsiteX155" fmla="*/ 3135 w 10000"/>
                <a:gd name="connsiteY155" fmla="*/ 2171 h 10000"/>
                <a:gd name="connsiteX156" fmla="*/ 2954 w 10000"/>
                <a:gd name="connsiteY156" fmla="*/ 2829 h 10000"/>
                <a:gd name="connsiteX157" fmla="*/ 2954 w 10000"/>
                <a:gd name="connsiteY157" fmla="*/ 2829 h 10000"/>
                <a:gd name="connsiteX158" fmla="*/ 2944 w 10000"/>
                <a:gd name="connsiteY158" fmla="*/ 2829 h 10000"/>
                <a:gd name="connsiteX159" fmla="*/ 2699 w 10000"/>
                <a:gd name="connsiteY159" fmla="*/ 3217 h 10000"/>
                <a:gd name="connsiteX160" fmla="*/ 2487 w 10000"/>
                <a:gd name="connsiteY160" fmla="*/ 3566 h 10000"/>
                <a:gd name="connsiteX161" fmla="*/ 2465 w 10000"/>
                <a:gd name="connsiteY161" fmla="*/ 3934 h 10000"/>
                <a:gd name="connsiteX162" fmla="*/ 2465 w 10000"/>
                <a:gd name="connsiteY162" fmla="*/ 3934 h 10000"/>
                <a:gd name="connsiteX163" fmla="*/ 2465 w 10000"/>
                <a:gd name="connsiteY163" fmla="*/ 3934 h 10000"/>
                <a:gd name="connsiteX164" fmla="*/ 2295 w 10000"/>
                <a:gd name="connsiteY164" fmla="*/ 4205 h 10000"/>
                <a:gd name="connsiteX165" fmla="*/ 2200 w 10000"/>
                <a:gd name="connsiteY165" fmla="*/ 4535 h 10000"/>
                <a:gd name="connsiteX166" fmla="*/ 2189 w 10000"/>
                <a:gd name="connsiteY166" fmla="*/ 4554 h 10000"/>
                <a:gd name="connsiteX167" fmla="*/ 2179 w 10000"/>
                <a:gd name="connsiteY167" fmla="*/ 4554 h 10000"/>
                <a:gd name="connsiteX168" fmla="*/ 2051 w 10000"/>
                <a:gd name="connsiteY168" fmla="*/ 4535 h 10000"/>
                <a:gd name="connsiteX169" fmla="*/ 1913 w 10000"/>
                <a:gd name="connsiteY169" fmla="*/ 4767 h 10000"/>
                <a:gd name="connsiteX170" fmla="*/ 1913 w 10000"/>
                <a:gd name="connsiteY170" fmla="*/ 4787 h 10000"/>
                <a:gd name="connsiteX171" fmla="*/ 1902 w 10000"/>
                <a:gd name="connsiteY171" fmla="*/ 4787 h 10000"/>
                <a:gd name="connsiteX172" fmla="*/ 1498 w 10000"/>
                <a:gd name="connsiteY172" fmla="*/ 4671 h 10000"/>
                <a:gd name="connsiteX173" fmla="*/ 1488 w 10000"/>
                <a:gd name="connsiteY173" fmla="*/ 4671 h 10000"/>
                <a:gd name="connsiteX174" fmla="*/ 1488 w 10000"/>
                <a:gd name="connsiteY174" fmla="*/ 4651 h 10000"/>
                <a:gd name="connsiteX175" fmla="*/ 1424 w 10000"/>
                <a:gd name="connsiteY175" fmla="*/ 4516 h 10000"/>
                <a:gd name="connsiteX176" fmla="*/ 1350 w 10000"/>
                <a:gd name="connsiteY176" fmla="*/ 4516 h 10000"/>
                <a:gd name="connsiteX177" fmla="*/ 1296 w 10000"/>
                <a:gd name="connsiteY177" fmla="*/ 4690 h 10000"/>
                <a:gd name="connsiteX178" fmla="*/ 1286 w 10000"/>
                <a:gd name="connsiteY178" fmla="*/ 4922 h 10000"/>
                <a:gd name="connsiteX179" fmla="*/ 1286 w 10000"/>
                <a:gd name="connsiteY179" fmla="*/ 4942 h 10000"/>
                <a:gd name="connsiteX180" fmla="*/ 1275 w 10000"/>
                <a:gd name="connsiteY180" fmla="*/ 4961 h 10000"/>
                <a:gd name="connsiteX181" fmla="*/ 1190 w 10000"/>
                <a:gd name="connsiteY181" fmla="*/ 5058 h 10000"/>
                <a:gd name="connsiteX182" fmla="*/ 1137 w 10000"/>
                <a:gd name="connsiteY182" fmla="*/ 5271 h 10000"/>
                <a:gd name="connsiteX183" fmla="*/ 1137 w 10000"/>
                <a:gd name="connsiteY183" fmla="*/ 5291 h 10000"/>
                <a:gd name="connsiteX184" fmla="*/ 1126 w 10000"/>
                <a:gd name="connsiteY184" fmla="*/ 5291 h 10000"/>
                <a:gd name="connsiteX185" fmla="*/ 1020 w 10000"/>
                <a:gd name="connsiteY185" fmla="*/ 5407 h 10000"/>
                <a:gd name="connsiteX186" fmla="*/ 999 w 10000"/>
                <a:gd name="connsiteY186" fmla="*/ 5581 h 10000"/>
                <a:gd name="connsiteX187" fmla="*/ 978 w 10000"/>
                <a:gd name="connsiteY187" fmla="*/ 5756 h 10000"/>
                <a:gd name="connsiteX188" fmla="*/ 978 w 10000"/>
                <a:gd name="connsiteY188" fmla="*/ 5775 h 10000"/>
                <a:gd name="connsiteX189" fmla="*/ 967 w 10000"/>
                <a:gd name="connsiteY189" fmla="*/ 5775 h 10000"/>
                <a:gd name="connsiteX190" fmla="*/ 861 w 10000"/>
                <a:gd name="connsiteY190" fmla="*/ 5814 h 10000"/>
                <a:gd name="connsiteX191" fmla="*/ 861 w 10000"/>
                <a:gd name="connsiteY191" fmla="*/ 6047 h 10000"/>
                <a:gd name="connsiteX192" fmla="*/ 967 w 10000"/>
                <a:gd name="connsiteY192" fmla="*/ 6298 h 10000"/>
                <a:gd name="connsiteX193" fmla="*/ 967 w 10000"/>
                <a:gd name="connsiteY193" fmla="*/ 6298 h 10000"/>
                <a:gd name="connsiteX194" fmla="*/ 978 w 10000"/>
                <a:gd name="connsiteY194" fmla="*/ 6318 h 10000"/>
                <a:gd name="connsiteX195" fmla="*/ 988 w 10000"/>
                <a:gd name="connsiteY195" fmla="*/ 6512 h 10000"/>
                <a:gd name="connsiteX196" fmla="*/ 988 w 10000"/>
                <a:gd name="connsiteY196" fmla="*/ 6531 h 10000"/>
                <a:gd name="connsiteX197" fmla="*/ 978 w 10000"/>
                <a:gd name="connsiteY197" fmla="*/ 6550 h 10000"/>
                <a:gd name="connsiteX198" fmla="*/ 627 w 10000"/>
                <a:gd name="connsiteY198" fmla="*/ 7016 h 10000"/>
                <a:gd name="connsiteX199" fmla="*/ 521 w 10000"/>
                <a:gd name="connsiteY199" fmla="*/ 7151 h 10000"/>
                <a:gd name="connsiteX200" fmla="*/ 340 w 10000"/>
                <a:gd name="connsiteY200" fmla="*/ 7384 h 10000"/>
                <a:gd name="connsiteX201" fmla="*/ 340 w 10000"/>
                <a:gd name="connsiteY201" fmla="*/ 7403 h 10000"/>
                <a:gd name="connsiteX202" fmla="*/ 340 w 10000"/>
                <a:gd name="connsiteY202" fmla="*/ 7403 h 10000"/>
                <a:gd name="connsiteX203" fmla="*/ 191 w 10000"/>
                <a:gd name="connsiteY203" fmla="*/ 7519 h 10000"/>
                <a:gd name="connsiteX204" fmla="*/ 0 w 10000"/>
                <a:gd name="connsiteY204" fmla="*/ 7791 h 10000"/>
                <a:gd name="connsiteX205" fmla="*/ 11 w 10000"/>
                <a:gd name="connsiteY205" fmla="*/ 7829 h 10000"/>
                <a:gd name="connsiteX206" fmla="*/ 149 w 10000"/>
                <a:gd name="connsiteY206" fmla="*/ 7868 h 10000"/>
                <a:gd name="connsiteX207" fmla="*/ 159 w 10000"/>
                <a:gd name="connsiteY207" fmla="*/ 7868 h 10000"/>
                <a:gd name="connsiteX208" fmla="*/ 159 w 10000"/>
                <a:gd name="connsiteY208" fmla="*/ 7868 h 10000"/>
                <a:gd name="connsiteX209" fmla="*/ 372 w 10000"/>
                <a:gd name="connsiteY209" fmla="*/ 8256 h 10000"/>
                <a:gd name="connsiteX210" fmla="*/ 1467 w 10000"/>
                <a:gd name="connsiteY210" fmla="*/ 9205 h 10000"/>
                <a:gd name="connsiteX211" fmla="*/ 1467 w 10000"/>
                <a:gd name="connsiteY211" fmla="*/ 9205 h 10000"/>
                <a:gd name="connsiteX212" fmla="*/ 1477 w 10000"/>
                <a:gd name="connsiteY212" fmla="*/ 9205 h 10000"/>
                <a:gd name="connsiteX213" fmla="*/ 1838 w 10000"/>
                <a:gd name="connsiteY213" fmla="*/ 9729 h 10000"/>
                <a:gd name="connsiteX214" fmla="*/ 2508 w 10000"/>
                <a:gd name="connsiteY214" fmla="*/ 9767 h 10000"/>
                <a:gd name="connsiteX215" fmla="*/ 2561 w 10000"/>
                <a:gd name="connsiteY215" fmla="*/ 9671 h 10000"/>
                <a:gd name="connsiteX216" fmla="*/ 2561 w 10000"/>
                <a:gd name="connsiteY216" fmla="*/ 9671 h 10000"/>
                <a:gd name="connsiteX217" fmla="*/ 2582 w 10000"/>
                <a:gd name="connsiteY217" fmla="*/ 9671 h 10000"/>
                <a:gd name="connsiteX218" fmla="*/ 2848 w 10000"/>
                <a:gd name="connsiteY218" fmla="*/ 9651 h 10000"/>
                <a:gd name="connsiteX219" fmla="*/ 2859 w 10000"/>
                <a:gd name="connsiteY219" fmla="*/ 9651 h 10000"/>
                <a:gd name="connsiteX220" fmla="*/ 2869 w 10000"/>
                <a:gd name="connsiteY220" fmla="*/ 9671 h 10000"/>
                <a:gd name="connsiteX221" fmla="*/ 3061 w 10000"/>
                <a:gd name="connsiteY221" fmla="*/ 10000 h 10000"/>
                <a:gd name="connsiteX222" fmla="*/ 3061 w 10000"/>
                <a:gd name="connsiteY222" fmla="*/ 10000 h 10000"/>
                <a:gd name="connsiteX223" fmla="*/ 4336 w 10000"/>
                <a:gd name="connsiteY223" fmla="*/ 9961 h 10000"/>
                <a:gd name="connsiteX224" fmla="*/ 4357 w 10000"/>
                <a:gd name="connsiteY224" fmla="*/ 9961 h 10000"/>
                <a:gd name="connsiteX225" fmla="*/ 4357 w 10000"/>
                <a:gd name="connsiteY225" fmla="*/ 9981 h 10000"/>
                <a:gd name="connsiteX226" fmla="*/ 4527 w 10000"/>
                <a:gd name="connsiteY226" fmla="*/ 9864 h 10000"/>
                <a:gd name="connsiteX227" fmla="*/ 4538 w 10000"/>
                <a:gd name="connsiteY227" fmla="*/ 9864 h 10000"/>
                <a:gd name="connsiteX228" fmla="*/ 4538 w 10000"/>
                <a:gd name="connsiteY228" fmla="*/ 9864 h 10000"/>
                <a:gd name="connsiteX229" fmla="*/ 5250 w 10000"/>
                <a:gd name="connsiteY229" fmla="*/ 9845 h 10000"/>
                <a:gd name="connsiteX230" fmla="*/ 7354 w 10000"/>
                <a:gd name="connsiteY230" fmla="*/ 9845 h 10000"/>
                <a:gd name="connsiteX231" fmla="*/ 7343 w 10000"/>
                <a:gd name="connsiteY231" fmla="*/ 9826 h 10000"/>
                <a:gd name="connsiteX232" fmla="*/ 7439 w 10000"/>
                <a:gd name="connsiteY232" fmla="*/ 9612 h 10000"/>
                <a:gd name="connsiteX233" fmla="*/ 7513 w 10000"/>
                <a:gd name="connsiteY233" fmla="*/ 9516 h 10000"/>
                <a:gd name="connsiteX234" fmla="*/ 7428 w 10000"/>
                <a:gd name="connsiteY234" fmla="*/ 9283 h 10000"/>
                <a:gd name="connsiteX235" fmla="*/ 7450 w 10000"/>
                <a:gd name="connsiteY235" fmla="*/ 9109 h 10000"/>
                <a:gd name="connsiteX236" fmla="*/ 7683 w 10000"/>
                <a:gd name="connsiteY236" fmla="*/ 8992 h 10000"/>
                <a:gd name="connsiteX237" fmla="*/ 7683 w 10000"/>
                <a:gd name="connsiteY237" fmla="*/ 8798 h 10000"/>
                <a:gd name="connsiteX238" fmla="*/ 7779 w 10000"/>
                <a:gd name="connsiteY238" fmla="*/ 8682 h 10000"/>
                <a:gd name="connsiteX239" fmla="*/ 7949 w 10000"/>
                <a:gd name="connsiteY239" fmla="*/ 8372 h 10000"/>
                <a:gd name="connsiteX240" fmla="*/ 8013 w 10000"/>
                <a:gd name="connsiteY240" fmla="*/ 8023 h 10000"/>
                <a:gd name="connsiteX241" fmla="*/ 8098 w 10000"/>
                <a:gd name="connsiteY241" fmla="*/ 7907 h 10000"/>
                <a:gd name="connsiteX242" fmla="*/ 8204 w 10000"/>
                <a:gd name="connsiteY242" fmla="*/ 7907 h 10000"/>
                <a:gd name="connsiteX243" fmla="*/ 8363 w 10000"/>
                <a:gd name="connsiteY243" fmla="*/ 7829 h 10000"/>
                <a:gd name="connsiteX244" fmla="*/ 8576 w 10000"/>
                <a:gd name="connsiteY244" fmla="*/ 7907 h 10000"/>
                <a:gd name="connsiteX245" fmla="*/ 8661 w 10000"/>
                <a:gd name="connsiteY245" fmla="*/ 8004 h 10000"/>
                <a:gd name="connsiteX246" fmla="*/ 8704 w 10000"/>
                <a:gd name="connsiteY246" fmla="*/ 7829 h 10000"/>
                <a:gd name="connsiteX247" fmla="*/ 8831 w 10000"/>
                <a:gd name="connsiteY247" fmla="*/ 7733 h 10000"/>
                <a:gd name="connsiteX248" fmla="*/ 8980 w 10000"/>
                <a:gd name="connsiteY248" fmla="*/ 7713 h 10000"/>
                <a:gd name="connsiteX249" fmla="*/ 9097 w 10000"/>
                <a:gd name="connsiteY249" fmla="*/ 7674 h 10000"/>
                <a:gd name="connsiteX250" fmla="*/ 9235 w 10000"/>
                <a:gd name="connsiteY250" fmla="*/ 7791 h 10000"/>
                <a:gd name="connsiteX251" fmla="*/ 9341 w 10000"/>
                <a:gd name="connsiteY251" fmla="*/ 7907 h 10000"/>
                <a:gd name="connsiteX252" fmla="*/ 9458 w 10000"/>
                <a:gd name="connsiteY252" fmla="*/ 7733 h 10000"/>
                <a:gd name="connsiteX253" fmla="*/ 9575 w 10000"/>
                <a:gd name="connsiteY253" fmla="*/ 7829 h 10000"/>
                <a:gd name="connsiteX254" fmla="*/ 9702 w 10000"/>
                <a:gd name="connsiteY254" fmla="*/ 7829 h 10000"/>
                <a:gd name="connsiteX255" fmla="*/ 9809 w 10000"/>
                <a:gd name="connsiteY255" fmla="*/ 7907 h 10000"/>
                <a:gd name="connsiteX256" fmla="*/ 9968 w 10000"/>
                <a:gd name="connsiteY256" fmla="*/ 7829 h 10000"/>
                <a:gd name="connsiteX257" fmla="*/ 10000 w 10000"/>
                <a:gd name="connsiteY257" fmla="*/ 7810 h 10000"/>
                <a:gd name="connsiteX258" fmla="*/ 9979 w 10000"/>
                <a:gd name="connsiteY258" fmla="*/ 7810 h 10000"/>
                <a:gd name="connsiteX259" fmla="*/ 9968 w 10000"/>
                <a:gd name="connsiteY259" fmla="*/ 7636 h 10000"/>
                <a:gd name="connsiteX260" fmla="*/ 9968 w 10000"/>
                <a:gd name="connsiteY260" fmla="*/ 7190 h 10000"/>
                <a:gd name="connsiteX261" fmla="*/ 9926 w 10000"/>
                <a:gd name="connsiteY261" fmla="*/ 7132 h 10000"/>
                <a:gd name="connsiteX262" fmla="*/ 9915 w 10000"/>
                <a:gd name="connsiteY262" fmla="*/ 7112 h 10000"/>
                <a:gd name="connsiteX263" fmla="*/ 9926 w 10000"/>
                <a:gd name="connsiteY263" fmla="*/ 7093 h 10000"/>
                <a:gd name="connsiteX264" fmla="*/ 9968 w 10000"/>
                <a:gd name="connsiteY264" fmla="*/ 6822 h 10000"/>
                <a:gd name="connsiteX265" fmla="*/ 9979 w 10000"/>
                <a:gd name="connsiteY265" fmla="*/ 6802 h 10000"/>
                <a:gd name="connsiteX266" fmla="*/ 9979 w 10000"/>
                <a:gd name="connsiteY266" fmla="*/ 6802 h 10000"/>
                <a:gd name="connsiteX267" fmla="*/ 9947 w 10000"/>
                <a:gd name="connsiteY267" fmla="*/ 6764 h 10000"/>
                <a:gd name="connsiteX268" fmla="*/ 9872 w 10000"/>
                <a:gd name="connsiteY268" fmla="*/ 6899 h 10000"/>
                <a:gd name="connsiteX0" fmla="*/ 9872 w 10000"/>
                <a:gd name="connsiteY0" fmla="*/ 6899 h 10000"/>
                <a:gd name="connsiteX1" fmla="*/ 9862 w 10000"/>
                <a:gd name="connsiteY1" fmla="*/ 6899 h 10000"/>
                <a:gd name="connsiteX2" fmla="*/ 9862 w 10000"/>
                <a:gd name="connsiteY2" fmla="*/ 6899 h 10000"/>
                <a:gd name="connsiteX3" fmla="*/ 9766 w 10000"/>
                <a:gd name="connsiteY3" fmla="*/ 6938 h 10000"/>
                <a:gd name="connsiteX4" fmla="*/ 9671 w 10000"/>
                <a:gd name="connsiteY4" fmla="*/ 7112 h 10000"/>
                <a:gd name="connsiteX5" fmla="*/ 9671 w 10000"/>
                <a:gd name="connsiteY5" fmla="*/ 7112 h 10000"/>
                <a:gd name="connsiteX6" fmla="*/ 9660 w 10000"/>
                <a:gd name="connsiteY6" fmla="*/ 7112 h 10000"/>
                <a:gd name="connsiteX7" fmla="*/ 9617 w 10000"/>
                <a:gd name="connsiteY7" fmla="*/ 7112 h 10000"/>
                <a:gd name="connsiteX8" fmla="*/ 9607 w 10000"/>
                <a:gd name="connsiteY8" fmla="*/ 7112 h 10000"/>
                <a:gd name="connsiteX9" fmla="*/ 9458 w 10000"/>
                <a:gd name="connsiteY9" fmla="*/ 6880 h 10000"/>
                <a:gd name="connsiteX10" fmla="*/ 9447 w 10000"/>
                <a:gd name="connsiteY10" fmla="*/ 6860 h 10000"/>
                <a:gd name="connsiteX11" fmla="*/ 9447 w 10000"/>
                <a:gd name="connsiteY11" fmla="*/ 6841 h 10000"/>
                <a:gd name="connsiteX12" fmla="*/ 9447 w 10000"/>
                <a:gd name="connsiteY12" fmla="*/ 6550 h 10000"/>
                <a:gd name="connsiteX13" fmla="*/ 9447 w 10000"/>
                <a:gd name="connsiteY13" fmla="*/ 6531 h 10000"/>
                <a:gd name="connsiteX14" fmla="*/ 9458 w 10000"/>
                <a:gd name="connsiteY14" fmla="*/ 6531 h 10000"/>
                <a:gd name="connsiteX15" fmla="*/ 9554 w 10000"/>
                <a:gd name="connsiteY15" fmla="*/ 6453 h 10000"/>
                <a:gd name="connsiteX16" fmla="*/ 9564 w 10000"/>
                <a:gd name="connsiteY16" fmla="*/ 5601 h 10000"/>
                <a:gd name="connsiteX17" fmla="*/ 9564 w 10000"/>
                <a:gd name="connsiteY17" fmla="*/ 5581 h 10000"/>
                <a:gd name="connsiteX18" fmla="*/ 9564 w 10000"/>
                <a:gd name="connsiteY18" fmla="*/ 5562 h 10000"/>
                <a:gd name="connsiteX19" fmla="*/ 9649 w 10000"/>
                <a:gd name="connsiteY19" fmla="*/ 5388 h 10000"/>
                <a:gd name="connsiteX20" fmla="*/ 9702 w 10000"/>
                <a:gd name="connsiteY20" fmla="*/ 5291 h 10000"/>
                <a:gd name="connsiteX21" fmla="*/ 9554 w 10000"/>
                <a:gd name="connsiteY21" fmla="*/ 5058 h 10000"/>
                <a:gd name="connsiteX22" fmla="*/ 9554 w 10000"/>
                <a:gd name="connsiteY22" fmla="*/ 5058 h 10000"/>
                <a:gd name="connsiteX23" fmla="*/ 9543 w 10000"/>
                <a:gd name="connsiteY23" fmla="*/ 5058 h 10000"/>
                <a:gd name="connsiteX24" fmla="*/ 9394 w 10000"/>
                <a:gd name="connsiteY24" fmla="*/ 4709 h 10000"/>
                <a:gd name="connsiteX25" fmla="*/ 9394 w 10000"/>
                <a:gd name="connsiteY25" fmla="*/ 4690 h 10000"/>
                <a:gd name="connsiteX26" fmla="*/ 9394 w 10000"/>
                <a:gd name="connsiteY26" fmla="*/ 4690 h 10000"/>
                <a:gd name="connsiteX27" fmla="*/ 9456 w 10000"/>
                <a:gd name="connsiteY27" fmla="*/ 4520 h 10000"/>
                <a:gd name="connsiteX28" fmla="*/ 9490 w 10000"/>
                <a:gd name="connsiteY28" fmla="*/ 4360 h 10000"/>
                <a:gd name="connsiteX29" fmla="*/ 9564 w 10000"/>
                <a:gd name="connsiteY29" fmla="*/ 4244 h 10000"/>
                <a:gd name="connsiteX30" fmla="*/ 9628 w 10000"/>
                <a:gd name="connsiteY30" fmla="*/ 4012 h 10000"/>
                <a:gd name="connsiteX31" fmla="*/ 9490 w 10000"/>
                <a:gd name="connsiteY31" fmla="*/ 3760 h 10000"/>
                <a:gd name="connsiteX32" fmla="*/ 9490 w 10000"/>
                <a:gd name="connsiteY32" fmla="*/ 3760 h 10000"/>
                <a:gd name="connsiteX33" fmla="*/ 9479 w 10000"/>
                <a:gd name="connsiteY33" fmla="*/ 3760 h 10000"/>
                <a:gd name="connsiteX34" fmla="*/ 9426 w 10000"/>
                <a:gd name="connsiteY34" fmla="*/ 3527 h 10000"/>
                <a:gd name="connsiteX35" fmla="*/ 9426 w 10000"/>
                <a:gd name="connsiteY35" fmla="*/ 3527 h 10000"/>
                <a:gd name="connsiteX36" fmla="*/ 9426 w 10000"/>
                <a:gd name="connsiteY36" fmla="*/ 3508 h 10000"/>
                <a:gd name="connsiteX37" fmla="*/ 9416 w 10000"/>
                <a:gd name="connsiteY37" fmla="*/ 3198 h 10000"/>
                <a:gd name="connsiteX38" fmla="*/ 9416 w 10000"/>
                <a:gd name="connsiteY38" fmla="*/ 3198 h 10000"/>
                <a:gd name="connsiteX39" fmla="*/ 9416 w 10000"/>
                <a:gd name="connsiteY39" fmla="*/ 3178 h 10000"/>
                <a:gd name="connsiteX40" fmla="*/ 9532 w 10000"/>
                <a:gd name="connsiteY40" fmla="*/ 2907 h 10000"/>
                <a:gd name="connsiteX41" fmla="*/ 9384 w 10000"/>
                <a:gd name="connsiteY41" fmla="*/ 2616 h 10000"/>
                <a:gd name="connsiteX42" fmla="*/ 9384 w 10000"/>
                <a:gd name="connsiteY42" fmla="*/ 2616 h 10000"/>
                <a:gd name="connsiteX43" fmla="*/ 9384 w 10000"/>
                <a:gd name="connsiteY43" fmla="*/ 2616 h 10000"/>
                <a:gd name="connsiteX44" fmla="*/ 9330 w 10000"/>
                <a:gd name="connsiteY44" fmla="*/ 2267 h 10000"/>
                <a:gd name="connsiteX45" fmla="*/ 9330 w 10000"/>
                <a:gd name="connsiteY45" fmla="*/ 2248 h 10000"/>
                <a:gd name="connsiteX46" fmla="*/ 9330 w 10000"/>
                <a:gd name="connsiteY46" fmla="*/ 2248 h 10000"/>
                <a:gd name="connsiteX47" fmla="*/ 9341 w 10000"/>
                <a:gd name="connsiteY47" fmla="*/ 1841 h 10000"/>
                <a:gd name="connsiteX48" fmla="*/ 9341 w 10000"/>
                <a:gd name="connsiteY48" fmla="*/ 1822 h 10000"/>
                <a:gd name="connsiteX49" fmla="*/ 9341 w 10000"/>
                <a:gd name="connsiteY49" fmla="*/ 1822 h 10000"/>
                <a:gd name="connsiteX50" fmla="*/ 9660 w 10000"/>
                <a:gd name="connsiteY50" fmla="*/ 1279 h 10000"/>
                <a:gd name="connsiteX51" fmla="*/ 9564 w 10000"/>
                <a:gd name="connsiteY51" fmla="*/ 1008 h 10000"/>
                <a:gd name="connsiteX52" fmla="*/ 9554 w 10000"/>
                <a:gd name="connsiteY52" fmla="*/ 1008 h 10000"/>
                <a:gd name="connsiteX53" fmla="*/ 9554 w 10000"/>
                <a:gd name="connsiteY53" fmla="*/ 988 h 10000"/>
                <a:gd name="connsiteX54" fmla="*/ 9586 w 10000"/>
                <a:gd name="connsiteY54" fmla="*/ 698 h 10000"/>
                <a:gd name="connsiteX55" fmla="*/ 9501 w 10000"/>
                <a:gd name="connsiteY55" fmla="*/ 601 h 10000"/>
                <a:gd name="connsiteX56" fmla="*/ 9288 w 10000"/>
                <a:gd name="connsiteY56" fmla="*/ 581 h 10000"/>
                <a:gd name="connsiteX57" fmla="*/ 9288 w 10000"/>
                <a:gd name="connsiteY57" fmla="*/ 581 h 10000"/>
                <a:gd name="connsiteX58" fmla="*/ 9277 w 10000"/>
                <a:gd name="connsiteY58" fmla="*/ 581 h 10000"/>
                <a:gd name="connsiteX59" fmla="*/ 9224 w 10000"/>
                <a:gd name="connsiteY59" fmla="*/ 484 h 10000"/>
                <a:gd name="connsiteX60" fmla="*/ 9086 w 10000"/>
                <a:gd name="connsiteY60" fmla="*/ 484 h 10000"/>
                <a:gd name="connsiteX61" fmla="*/ 8948 w 10000"/>
                <a:gd name="connsiteY61" fmla="*/ 1124 h 10000"/>
                <a:gd name="connsiteX62" fmla="*/ 8927 w 10000"/>
                <a:gd name="connsiteY62" fmla="*/ 1124 h 10000"/>
                <a:gd name="connsiteX63" fmla="*/ 8927 w 10000"/>
                <a:gd name="connsiteY63" fmla="*/ 1143 h 10000"/>
                <a:gd name="connsiteX64" fmla="*/ 8650 w 10000"/>
                <a:gd name="connsiteY64" fmla="*/ 1415 h 10000"/>
                <a:gd name="connsiteX65" fmla="*/ 8640 w 10000"/>
                <a:gd name="connsiteY65" fmla="*/ 1434 h 10000"/>
                <a:gd name="connsiteX66" fmla="*/ 8640 w 10000"/>
                <a:gd name="connsiteY66" fmla="*/ 1434 h 10000"/>
                <a:gd name="connsiteX67" fmla="*/ 8470 w 10000"/>
                <a:gd name="connsiteY67" fmla="*/ 1395 h 10000"/>
                <a:gd name="connsiteX68" fmla="*/ 8321 w 10000"/>
                <a:gd name="connsiteY68" fmla="*/ 1531 h 10000"/>
                <a:gd name="connsiteX69" fmla="*/ 8321 w 10000"/>
                <a:gd name="connsiteY69" fmla="*/ 1531 h 10000"/>
                <a:gd name="connsiteX70" fmla="*/ 8321 w 10000"/>
                <a:gd name="connsiteY70" fmla="*/ 1531 h 10000"/>
                <a:gd name="connsiteX71" fmla="*/ 8172 w 10000"/>
                <a:gd name="connsiteY71" fmla="*/ 1589 h 10000"/>
                <a:gd name="connsiteX72" fmla="*/ 8023 w 10000"/>
                <a:gd name="connsiteY72" fmla="*/ 1957 h 10000"/>
                <a:gd name="connsiteX73" fmla="*/ 8013 w 10000"/>
                <a:gd name="connsiteY73" fmla="*/ 1977 h 10000"/>
                <a:gd name="connsiteX74" fmla="*/ 7991 w 10000"/>
                <a:gd name="connsiteY74" fmla="*/ 1977 h 10000"/>
                <a:gd name="connsiteX75" fmla="*/ 7864 w 10000"/>
                <a:gd name="connsiteY75" fmla="*/ 1899 h 10000"/>
                <a:gd name="connsiteX76" fmla="*/ 7843 w 10000"/>
                <a:gd name="connsiteY76" fmla="*/ 1899 h 10000"/>
                <a:gd name="connsiteX77" fmla="*/ 7853 w 10000"/>
                <a:gd name="connsiteY77" fmla="*/ 1841 h 10000"/>
                <a:gd name="connsiteX78" fmla="*/ 7928 w 10000"/>
                <a:gd name="connsiteY78" fmla="*/ 1609 h 10000"/>
                <a:gd name="connsiteX79" fmla="*/ 7906 w 10000"/>
                <a:gd name="connsiteY79" fmla="*/ 1279 h 10000"/>
                <a:gd name="connsiteX80" fmla="*/ 7758 w 10000"/>
                <a:gd name="connsiteY80" fmla="*/ 1124 h 10000"/>
                <a:gd name="connsiteX81" fmla="*/ 7651 w 10000"/>
                <a:gd name="connsiteY81" fmla="*/ 1124 h 10000"/>
                <a:gd name="connsiteX82" fmla="*/ 7641 w 10000"/>
                <a:gd name="connsiteY82" fmla="*/ 1124 h 10000"/>
                <a:gd name="connsiteX83" fmla="*/ 7630 w 10000"/>
                <a:gd name="connsiteY83" fmla="*/ 1105 h 10000"/>
                <a:gd name="connsiteX84" fmla="*/ 7556 w 10000"/>
                <a:gd name="connsiteY84" fmla="*/ 930 h 10000"/>
                <a:gd name="connsiteX85" fmla="*/ 7184 w 10000"/>
                <a:gd name="connsiteY85" fmla="*/ 891 h 10000"/>
                <a:gd name="connsiteX86" fmla="*/ 7173 w 10000"/>
                <a:gd name="connsiteY86" fmla="*/ 891 h 10000"/>
                <a:gd name="connsiteX87" fmla="*/ 7173 w 10000"/>
                <a:gd name="connsiteY87" fmla="*/ 872 h 10000"/>
                <a:gd name="connsiteX88" fmla="*/ 7099 w 10000"/>
                <a:gd name="connsiteY88" fmla="*/ 620 h 10000"/>
                <a:gd name="connsiteX89" fmla="*/ 7088 w 10000"/>
                <a:gd name="connsiteY89" fmla="*/ 601 h 10000"/>
                <a:gd name="connsiteX90" fmla="*/ 7088 w 10000"/>
                <a:gd name="connsiteY90" fmla="*/ 601 h 10000"/>
                <a:gd name="connsiteX91" fmla="*/ 7088 w 10000"/>
                <a:gd name="connsiteY91" fmla="*/ 465 h 10000"/>
                <a:gd name="connsiteX92" fmla="*/ 7088 w 10000"/>
                <a:gd name="connsiteY92" fmla="*/ 426 h 10000"/>
                <a:gd name="connsiteX93" fmla="*/ 7099 w 10000"/>
                <a:gd name="connsiteY93" fmla="*/ 407 h 10000"/>
                <a:gd name="connsiteX94" fmla="*/ 7194 w 10000"/>
                <a:gd name="connsiteY94" fmla="*/ 310 h 10000"/>
                <a:gd name="connsiteX95" fmla="*/ 7109 w 10000"/>
                <a:gd name="connsiteY95" fmla="*/ 136 h 10000"/>
                <a:gd name="connsiteX96" fmla="*/ 7035 w 10000"/>
                <a:gd name="connsiteY96" fmla="*/ 0 h 10000"/>
                <a:gd name="connsiteX97" fmla="*/ 6939 w 10000"/>
                <a:gd name="connsiteY97" fmla="*/ 116 h 10000"/>
                <a:gd name="connsiteX98" fmla="*/ 6939 w 10000"/>
                <a:gd name="connsiteY98" fmla="*/ 116 h 10000"/>
                <a:gd name="connsiteX99" fmla="*/ 6939 w 10000"/>
                <a:gd name="connsiteY99" fmla="*/ 116 h 10000"/>
                <a:gd name="connsiteX100" fmla="*/ 6812 w 10000"/>
                <a:gd name="connsiteY100" fmla="*/ 155 h 10000"/>
                <a:gd name="connsiteX101" fmla="*/ 6674 w 10000"/>
                <a:gd name="connsiteY101" fmla="*/ 291 h 10000"/>
                <a:gd name="connsiteX102" fmla="*/ 6599 w 10000"/>
                <a:gd name="connsiteY102" fmla="*/ 523 h 10000"/>
                <a:gd name="connsiteX103" fmla="*/ 6599 w 10000"/>
                <a:gd name="connsiteY103" fmla="*/ 543 h 10000"/>
                <a:gd name="connsiteX104" fmla="*/ 6589 w 10000"/>
                <a:gd name="connsiteY104" fmla="*/ 543 h 10000"/>
                <a:gd name="connsiteX105" fmla="*/ 6397 w 10000"/>
                <a:gd name="connsiteY105" fmla="*/ 581 h 10000"/>
                <a:gd name="connsiteX106" fmla="*/ 6334 w 10000"/>
                <a:gd name="connsiteY106" fmla="*/ 891 h 10000"/>
                <a:gd name="connsiteX107" fmla="*/ 6334 w 10000"/>
                <a:gd name="connsiteY107" fmla="*/ 911 h 10000"/>
                <a:gd name="connsiteX108" fmla="*/ 6334 w 10000"/>
                <a:gd name="connsiteY108" fmla="*/ 911 h 10000"/>
                <a:gd name="connsiteX109" fmla="*/ 6142 w 10000"/>
                <a:gd name="connsiteY109" fmla="*/ 1124 h 10000"/>
                <a:gd name="connsiteX110" fmla="*/ 6015 w 10000"/>
                <a:gd name="connsiteY110" fmla="*/ 1453 h 10000"/>
                <a:gd name="connsiteX111" fmla="*/ 6004 w 10000"/>
                <a:gd name="connsiteY111" fmla="*/ 1473 h 10000"/>
                <a:gd name="connsiteX112" fmla="*/ 5994 w 10000"/>
                <a:gd name="connsiteY112" fmla="*/ 1453 h 10000"/>
                <a:gd name="connsiteX113" fmla="*/ 5802 w 10000"/>
                <a:gd name="connsiteY113" fmla="*/ 1434 h 10000"/>
                <a:gd name="connsiteX114" fmla="*/ 5781 w 10000"/>
                <a:gd name="connsiteY114" fmla="*/ 1415 h 10000"/>
                <a:gd name="connsiteX115" fmla="*/ 5781 w 10000"/>
                <a:gd name="connsiteY115" fmla="*/ 1395 h 10000"/>
                <a:gd name="connsiteX116" fmla="*/ 5760 w 10000"/>
                <a:gd name="connsiteY116" fmla="*/ 930 h 10000"/>
                <a:gd name="connsiteX117" fmla="*/ 5654 w 10000"/>
                <a:gd name="connsiteY117" fmla="*/ 872 h 10000"/>
                <a:gd name="connsiteX118" fmla="*/ 5377 w 10000"/>
                <a:gd name="connsiteY118" fmla="*/ 1240 h 10000"/>
                <a:gd name="connsiteX119" fmla="*/ 5165 w 10000"/>
                <a:gd name="connsiteY119" fmla="*/ 1570 h 10000"/>
                <a:gd name="connsiteX120" fmla="*/ 5165 w 10000"/>
                <a:gd name="connsiteY120" fmla="*/ 1899 h 10000"/>
                <a:gd name="connsiteX121" fmla="*/ 5165 w 10000"/>
                <a:gd name="connsiteY121" fmla="*/ 1919 h 10000"/>
                <a:gd name="connsiteX122" fmla="*/ 5154 w 10000"/>
                <a:gd name="connsiteY122" fmla="*/ 1919 h 10000"/>
                <a:gd name="connsiteX123" fmla="*/ 5027 w 10000"/>
                <a:gd name="connsiteY123" fmla="*/ 2112 h 10000"/>
                <a:gd name="connsiteX124" fmla="*/ 5016 w 10000"/>
                <a:gd name="connsiteY124" fmla="*/ 2112 h 10000"/>
                <a:gd name="connsiteX125" fmla="*/ 5005 w 10000"/>
                <a:gd name="connsiteY125" fmla="*/ 2112 h 10000"/>
                <a:gd name="connsiteX126" fmla="*/ 4814 w 10000"/>
                <a:gd name="connsiteY126" fmla="*/ 2112 h 10000"/>
                <a:gd name="connsiteX127" fmla="*/ 4803 w 10000"/>
                <a:gd name="connsiteY127" fmla="*/ 2112 h 10000"/>
                <a:gd name="connsiteX128" fmla="*/ 4803 w 10000"/>
                <a:gd name="connsiteY128" fmla="*/ 2112 h 10000"/>
                <a:gd name="connsiteX129" fmla="*/ 4697 w 10000"/>
                <a:gd name="connsiteY129" fmla="*/ 1957 h 10000"/>
                <a:gd name="connsiteX130" fmla="*/ 4591 w 10000"/>
                <a:gd name="connsiteY130" fmla="*/ 1899 h 10000"/>
                <a:gd name="connsiteX131" fmla="*/ 4591 w 10000"/>
                <a:gd name="connsiteY131" fmla="*/ 1957 h 10000"/>
                <a:gd name="connsiteX132" fmla="*/ 4591 w 10000"/>
                <a:gd name="connsiteY132" fmla="*/ 1996 h 10000"/>
                <a:gd name="connsiteX133" fmla="*/ 4570 w 10000"/>
                <a:gd name="connsiteY133" fmla="*/ 1996 h 10000"/>
                <a:gd name="connsiteX134" fmla="*/ 4453 w 10000"/>
                <a:gd name="connsiteY134" fmla="*/ 1996 h 10000"/>
                <a:gd name="connsiteX135" fmla="*/ 4431 w 10000"/>
                <a:gd name="connsiteY135" fmla="*/ 1996 h 10000"/>
                <a:gd name="connsiteX136" fmla="*/ 4431 w 10000"/>
                <a:gd name="connsiteY136" fmla="*/ 1957 h 10000"/>
                <a:gd name="connsiteX137" fmla="*/ 4378 w 10000"/>
                <a:gd name="connsiteY137" fmla="*/ 1589 h 10000"/>
                <a:gd name="connsiteX138" fmla="*/ 4091 w 10000"/>
                <a:gd name="connsiteY138" fmla="*/ 1512 h 10000"/>
                <a:gd name="connsiteX139" fmla="*/ 4081 w 10000"/>
                <a:gd name="connsiteY139" fmla="*/ 1512 h 10000"/>
                <a:gd name="connsiteX140" fmla="*/ 4070 w 10000"/>
                <a:gd name="connsiteY140" fmla="*/ 1492 h 10000"/>
                <a:gd name="connsiteX141" fmla="*/ 3879 w 10000"/>
                <a:gd name="connsiteY141" fmla="*/ 988 h 10000"/>
                <a:gd name="connsiteX142" fmla="*/ 3719 w 10000"/>
                <a:gd name="connsiteY142" fmla="*/ 988 h 10000"/>
                <a:gd name="connsiteX143" fmla="*/ 3698 w 10000"/>
                <a:gd name="connsiteY143" fmla="*/ 1085 h 10000"/>
                <a:gd name="connsiteX144" fmla="*/ 3698 w 10000"/>
                <a:gd name="connsiteY144" fmla="*/ 1105 h 10000"/>
                <a:gd name="connsiteX145" fmla="*/ 3698 w 10000"/>
                <a:gd name="connsiteY145" fmla="*/ 1105 h 10000"/>
                <a:gd name="connsiteX146" fmla="*/ 3592 w 10000"/>
                <a:gd name="connsiteY146" fmla="*/ 1318 h 10000"/>
                <a:gd name="connsiteX147" fmla="*/ 3592 w 10000"/>
                <a:gd name="connsiteY147" fmla="*/ 1318 h 10000"/>
                <a:gd name="connsiteX148" fmla="*/ 3581 w 10000"/>
                <a:gd name="connsiteY148" fmla="*/ 1318 h 10000"/>
                <a:gd name="connsiteX149" fmla="*/ 3486 w 10000"/>
                <a:gd name="connsiteY149" fmla="*/ 1395 h 10000"/>
                <a:gd name="connsiteX150" fmla="*/ 3486 w 10000"/>
                <a:gd name="connsiteY150" fmla="*/ 1686 h 10000"/>
                <a:gd name="connsiteX151" fmla="*/ 3486 w 10000"/>
                <a:gd name="connsiteY151" fmla="*/ 1725 h 10000"/>
                <a:gd name="connsiteX152" fmla="*/ 3475 w 10000"/>
                <a:gd name="connsiteY152" fmla="*/ 1725 h 10000"/>
                <a:gd name="connsiteX153" fmla="*/ 3369 w 10000"/>
                <a:gd name="connsiteY153" fmla="*/ 1841 h 10000"/>
                <a:gd name="connsiteX154" fmla="*/ 3135 w 10000"/>
                <a:gd name="connsiteY154" fmla="*/ 2171 h 10000"/>
                <a:gd name="connsiteX155" fmla="*/ 2954 w 10000"/>
                <a:gd name="connsiteY155" fmla="*/ 2829 h 10000"/>
                <a:gd name="connsiteX156" fmla="*/ 2954 w 10000"/>
                <a:gd name="connsiteY156" fmla="*/ 2829 h 10000"/>
                <a:gd name="connsiteX157" fmla="*/ 2944 w 10000"/>
                <a:gd name="connsiteY157" fmla="*/ 2829 h 10000"/>
                <a:gd name="connsiteX158" fmla="*/ 2699 w 10000"/>
                <a:gd name="connsiteY158" fmla="*/ 3217 h 10000"/>
                <a:gd name="connsiteX159" fmla="*/ 2487 w 10000"/>
                <a:gd name="connsiteY159" fmla="*/ 3566 h 10000"/>
                <a:gd name="connsiteX160" fmla="*/ 2465 w 10000"/>
                <a:gd name="connsiteY160" fmla="*/ 3934 h 10000"/>
                <a:gd name="connsiteX161" fmla="*/ 2465 w 10000"/>
                <a:gd name="connsiteY161" fmla="*/ 3934 h 10000"/>
                <a:gd name="connsiteX162" fmla="*/ 2465 w 10000"/>
                <a:gd name="connsiteY162" fmla="*/ 3934 h 10000"/>
                <a:gd name="connsiteX163" fmla="*/ 2295 w 10000"/>
                <a:gd name="connsiteY163" fmla="*/ 4205 h 10000"/>
                <a:gd name="connsiteX164" fmla="*/ 2200 w 10000"/>
                <a:gd name="connsiteY164" fmla="*/ 4535 h 10000"/>
                <a:gd name="connsiteX165" fmla="*/ 2189 w 10000"/>
                <a:gd name="connsiteY165" fmla="*/ 4554 h 10000"/>
                <a:gd name="connsiteX166" fmla="*/ 2179 w 10000"/>
                <a:gd name="connsiteY166" fmla="*/ 4554 h 10000"/>
                <a:gd name="connsiteX167" fmla="*/ 2051 w 10000"/>
                <a:gd name="connsiteY167" fmla="*/ 4535 h 10000"/>
                <a:gd name="connsiteX168" fmla="*/ 1913 w 10000"/>
                <a:gd name="connsiteY168" fmla="*/ 4767 h 10000"/>
                <a:gd name="connsiteX169" fmla="*/ 1913 w 10000"/>
                <a:gd name="connsiteY169" fmla="*/ 4787 h 10000"/>
                <a:gd name="connsiteX170" fmla="*/ 1902 w 10000"/>
                <a:gd name="connsiteY170" fmla="*/ 4787 h 10000"/>
                <a:gd name="connsiteX171" fmla="*/ 1498 w 10000"/>
                <a:gd name="connsiteY171" fmla="*/ 4671 h 10000"/>
                <a:gd name="connsiteX172" fmla="*/ 1488 w 10000"/>
                <a:gd name="connsiteY172" fmla="*/ 4671 h 10000"/>
                <a:gd name="connsiteX173" fmla="*/ 1488 w 10000"/>
                <a:gd name="connsiteY173" fmla="*/ 4651 h 10000"/>
                <a:gd name="connsiteX174" fmla="*/ 1424 w 10000"/>
                <a:gd name="connsiteY174" fmla="*/ 4516 h 10000"/>
                <a:gd name="connsiteX175" fmla="*/ 1350 w 10000"/>
                <a:gd name="connsiteY175" fmla="*/ 4516 h 10000"/>
                <a:gd name="connsiteX176" fmla="*/ 1296 w 10000"/>
                <a:gd name="connsiteY176" fmla="*/ 4690 h 10000"/>
                <a:gd name="connsiteX177" fmla="*/ 1286 w 10000"/>
                <a:gd name="connsiteY177" fmla="*/ 4922 h 10000"/>
                <a:gd name="connsiteX178" fmla="*/ 1286 w 10000"/>
                <a:gd name="connsiteY178" fmla="*/ 4942 h 10000"/>
                <a:gd name="connsiteX179" fmla="*/ 1275 w 10000"/>
                <a:gd name="connsiteY179" fmla="*/ 4961 h 10000"/>
                <a:gd name="connsiteX180" fmla="*/ 1190 w 10000"/>
                <a:gd name="connsiteY180" fmla="*/ 5058 h 10000"/>
                <a:gd name="connsiteX181" fmla="*/ 1137 w 10000"/>
                <a:gd name="connsiteY181" fmla="*/ 5271 h 10000"/>
                <a:gd name="connsiteX182" fmla="*/ 1137 w 10000"/>
                <a:gd name="connsiteY182" fmla="*/ 5291 h 10000"/>
                <a:gd name="connsiteX183" fmla="*/ 1126 w 10000"/>
                <a:gd name="connsiteY183" fmla="*/ 5291 h 10000"/>
                <a:gd name="connsiteX184" fmla="*/ 1020 w 10000"/>
                <a:gd name="connsiteY184" fmla="*/ 5407 h 10000"/>
                <a:gd name="connsiteX185" fmla="*/ 999 w 10000"/>
                <a:gd name="connsiteY185" fmla="*/ 5581 h 10000"/>
                <a:gd name="connsiteX186" fmla="*/ 978 w 10000"/>
                <a:gd name="connsiteY186" fmla="*/ 5756 h 10000"/>
                <a:gd name="connsiteX187" fmla="*/ 978 w 10000"/>
                <a:gd name="connsiteY187" fmla="*/ 5775 h 10000"/>
                <a:gd name="connsiteX188" fmla="*/ 967 w 10000"/>
                <a:gd name="connsiteY188" fmla="*/ 5775 h 10000"/>
                <a:gd name="connsiteX189" fmla="*/ 861 w 10000"/>
                <a:gd name="connsiteY189" fmla="*/ 5814 h 10000"/>
                <a:gd name="connsiteX190" fmla="*/ 861 w 10000"/>
                <a:gd name="connsiteY190" fmla="*/ 6047 h 10000"/>
                <a:gd name="connsiteX191" fmla="*/ 967 w 10000"/>
                <a:gd name="connsiteY191" fmla="*/ 6298 h 10000"/>
                <a:gd name="connsiteX192" fmla="*/ 967 w 10000"/>
                <a:gd name="connsiteY192" fmla="*/ 6298 h 10000"/>
                <a:gd name="connsiteX193" fmla="*/ 978 w 10000"/>
                <a:gd name="connsiteY193" fmla="*/ 6318 h 10000"/>
                <a:gd name="connsiteX194" fmla="*/ 988 w 10000"/>
                <a:gd name="connsiteY194" fmla="*/ 6512 h 10000"/>
                <a:gd name="connsiteX195" fmla="*/ 988 w 10000"/>
                <a:gd name="connsiteY195" fmla="*/ 6531 h 10000"/>
                <a:gd name="connsiteX196" fmla="*/ 978 w 10000"/>
                <a:gd name="connsiteY196" fmla="*/ 6550 h 10000"/>
                <a:gd name="connsiteX197" fmla="*/ 627 w 10000"/>
                <a:gd name="connsiteY197" fmla="*/ 7016 h 10000"/>
                <a:gd name="connsiteX198" fmla="*/ 521 w 10000"/>
                <a:gd name="connsiteY198" fmla="*/ 7151 h 10000"/>
                <a:gd name="connsiteX199" fmla="*/ 340 w 10000"/>
                <a:gd name="connsiteY199" fmla="*/ 7384 h 10000"/>
                <a:gd name="connsiteX200" fmla="*/ 340 w 10000"/>
                <a:gd name="connsiteY200" fmla="*/ 7403 h 10000"/>
                <a:gd name="connsiteX201" fmla="*/ 340 w 10000"/>
                <a:gd name="connsiteY201" fmla="*/ 7403 h 10000"/>
                <a:gd name="connsiteX202" fmla="*/ 191 w 10000"/>
                <a:gd name="connsiteY202" fmla="*/ 7519 h 10000"/>
                <a:gd name="connsiteX203" fmla="*/ 0 w 10000"/>
                <a:gd name="connsiteY203" fmla="*/ 7791 h 10000"/>
                <a:gd name="connsiteX204" fmla="*/ 11 w 10000"/>
                <a:gd name="connsiteY204" fmla="*/ 7829 h 10000"/>
                <a:gd name="connsiteX205" fmla="*/ 149 w 10000"/>
                <a:gd name="connsiteY205" fmla="*/ 7868 h 10000"/>
                <a:gd name="connsiteX206" fmla="*/ 159 w 10000"/>
                <a:gd name="connsiteY206" fmla="*/ 7868 h 10000"/>
                <a:gd name="connsiteX207" fmla="*/ 159 w 10000"/>
                <a:gd name="connsiteY207" fmla="*/ 7868 h 10000"/>
                <a:gd name="connsiteX208" fmla="*/ 372 w 10000"/>
                <a:gd name="connsiteY208" fmla="*/ 8256 h 10000"/>
                <a:gd name="connsiteX209" fmla="*/ 1467 w 10000"/>
                <a:gd name="connsiteY209" fmla="*/ 9205 h 10000"/>
                <a:gd name="connsiteX210" fmla="*/ 1467 w 10000"/>
                <a:gd name="connsiteY210" fmla="*/ 9205 h 10000"/>
                <a:gd name="connsiteX211" fmla="*/ 1477 w 10000"/>
                <a:gd name="connsiteY211" fmla="*/ 9205 h 10000"/>
                <a:gd name="connsiteX212" fmla="*/ 1838 w 10000"/>
                <a:gd name="connsiteY212" fmla="*/ 9729 h 10000"/>
                <a:gd name="connsiteX213" fmla="*/ 2508 w 10000"/>
                <a:gd name="connsiteY213" fmla="*/ 9767 h 10000"/>
                <a:gd name="connsiteX214" fmla="*/ 2561 w 10000"/>
                <a:gd name="connsiteY214" fmla="*/ 9671 h 10000"/>
                <a:gd name="connsiteX215" fmla="*/ 2561 w 10000"/>
                <a:gd name="connsiteY215" fmla="*/ 9671 h 10000"/>
                <a:gd name="connsiteX216" fmla="*/ 2582 w 10000"/>
                <a:gd name="connsiteY216" fmla="*/ 9671 h 10000"/>
                <a:gd name="connsiteX217" fmla="*/ 2848 w 10000"/>
                <a:gd name="connsiteY217" fmla="*/ 9651 h 10000"/>
                <a:gd name="connsiteX218" fmla="*/ 2859 w 10000"/>
                <a:gd name="connsiteY218" fmla="*/ 9651 h 10000"/>
                <a:gd name="connsiteX219" fmla="*/ 2869 w 10000"/>
                <a:gd name="connsiteY219" fmla="*/ 9671 h 10000"/>
                <a:gd name="connsiteX220" fmla="*/ 3061 w 10000"/>
                <a:gd name="connsiteY220" fmla="*/ 10000 h 10000"/>
                <a:gd name="connsiteX221" fmla="*/ 3061 w 10000"/>
                <a:gd name="connsiteY221" fmla="*/ 10000 h 10000"/>
                <a:gd name="connsiteX222" fmla="*/ 4336 w 10000"/>
                <a:gd name="connsiteY222" fmla="*/ 9961 h 10000"/>
                <a:gd name="connsiteX223" fmla="*/ 4357 w 10000"/>
                <a:gd name="connsiteY223" fmla="*/ 9961 h 10000"/>
                <a:gd name="connsiteX224" fmla="*/ 4357 w 10000"/>
                <a:gd name="connsiteY224" fmla="*/ 9981 h 10000"/>
                <a:gd name="connsiteX225" fmla="*/ 4527 w 10000"/>
                <a:gd name="connsiteY225" fmla="*/ 9864 h 10000"/>
                <a:gd name="connsiteX226" fmla="*/ 4538 w 10000"/>
                <a:gd name="connsiteY226" fmla="*/ 9864 h 10000"/>
                <a:gd name="connsiteX227" fmla="*/ 4538 w 10000"/>
                <a:gd name="connsiteY227" fmla="*/ 9864 h 10000"/>
                <a:gd name="connsiteX228" fmla="*/ 5250 w 10000"/>
                <a:gd name="connsiteY228" fmla="*/ 9845 h 10000"/>
                <a:gd name="connsiteX229" fmla="*/ 7354 w 10000"/>
                <a:gd name="connsiteY229" fmla="*/ 9845 h 10000"/>
                <a:gd name="connsiteX230" fmla="*/ 7343 w 10000"/>
                <a:gd name="connsiteY230" fmla="*/ 9826 h 10000"/>
                <a:gd name="connsiteX231" fmla="*/ 7439 w 10000"/>
                <a:gd name="connsiteY231" fmla="*/ 9612 h 10000"/>
                <a:gd name="connsiteX232" fmla="*/ 7513 w 10000"/>
                <a:gd name="connsiteY232" fmla="*/ 9516 h 10000"/>
                <a:gd name="connsiteX233" fmla="*/ 7428 w 10000"/>
                <a:gd name="connsiteY233" fmla="*/ 9283 h 10000"/>
                <a:gd name="connsiteX234" fmla="*/ 7450 w 10000"/>
                <a:gd name="connsiteY234" fmla="*/ 9109 h 10000"/>
                <a:gd name="connsiteX235" fmla="*/ 7683 w 10000"/>
                <a:gd name="connsiteY235" fmla="*/ 8992 h 10000"/>
                <a:gd name="connsiteX236" fmla="*/ 7683 w 10000"/>
                <a:gd name="connsiteY236" fmla="*/ 8798 h 10000"/>
                <a:gd name="connsiteX237" fmla="*/ 7779 w 10000"/>
                <a:gd name="connsiteY237" fmla="*/ 8682 h 10000"/>
                <a:gd name="connsiteX238" fmla="*/ 7949 w 10000"/>
                <a:gd name="connsiteY238" fmla="*/ 8372 h 10000"/>
                <a:gd name="connsiteX239" fmla="*/ 8013 w 10000"/>
                <a:gd name="connsiteY239" fmla="*/ 8023 h 10000"/>
                <a:gd name="connsiteX240" fmla="*/ 8098 w 10000"/>
                <a:gd name="connsiteY240" fmla="*/ 7907 h 10000"/>
                <a:gd name="connsiteX241" fmla="*/ 8204 w 10000"/>
                <a:gd name="connsiteY241" fmla="*/ 7907 h 10000"/>
                <a:gd name="connsiteX242" fmla="*/ 8363 w 10000"/>
                <a:gd name="connsiteY242" fmla="*/ 7829 h 10000"/>
                <a:gd name="connsiteX243" fmla="*/ 8576 w 10000"/>
                <a:gd name="connsiteY243" fmla="*/ 7907 h 10000"/>
                <a:gd name="connsiteX244" fmla="*/ 8661 w 10000"/>
                <a:gd name="connsiteY244" fmla="*/ 8004 h 10000"/>
                <a:gd name="connsiteX245" fmla="*/ 8704 w 10000"/>
                <a:gd name="connsiteY245" fmla="*/ 7829 h 10000"/>
                <a:gd name="connsiteX246" fmla="*/ 8831 w 10000"/>
                <a:gd name="connsiteY246" fmla="*/ 7733 h 10000"/>
                <a:gd name="connsiteX247" fmla="*/ 8980 w 10000"/>
                <a:gd name="connsiteY247" fmla="*/ 7713 h 10000"/>
                <a:gd name="connsiteX248" fmla="*/ 9097 w 10000"/>
                <a:gd name="connsiteY248" fmla="*/ 7674 h 10000"/>
                <a:gd name="connsiteX249" fmla="*/ 9235 w 10000"/>
                <a:gd name="connsiteY249" fmla="*/ 7791 h 10000"/>
                <a:gd name="connsiteX250" fmla="*/ 9341 w 10000"/>
                <a:gd name="connsiteY250" fmla="*/ 7907 h 10000"/>
                <a:gd name="connsiteX251" fmla="*/ 9458 w 10000"/>
                <a:gd name="connsiteY251" fmla="*/ 7733 h 10000"/>
                <a:gd name="connsiteX252" fmla="*/ 9575 w 10000"/>
                <a:gd name="connsiteY252" fmla="*/ 7829 h 10000"/>
                <a:gd name="connsiteX253" fmla="*/ 9702 w 10000"/>
                <a:gd name="connsiteY253" fmla="*/ 7829 h 10000"/>
                <a:gd name="connsiteX254" fmla="*/ 9809 w 10000"/>
                <a:gd name="connsiteY254" fmla="*/ 7907 h 10000"/>
                <a:gd name="connsiteX255" fmla="*/ 9968 w 10000"/>
                <a:gd name="connsiteY255" fmla="*/ 7829 h 10000"/>
                <a:gd name="connsiteX256" fmla="*/ 10000 w 10000"/>
                <a:gd name="connsiteY256" fmla="*/ 7810 h 10000"/>
                <a:gd name="connsiteX257" fmla="*/ 9979 w 10000"/>
                <a:gd name="connsiteY257" fmla="*/ 7810 h 10000"/>
                <a:gd name="connsiteX258" fmla="*/ 9968 w 10000"/>
                <a:gd name="connsiteY258" fmla="*/ 7636 h 10000"/>
                <a:gd name="connsiteX259" fmla="*/ 9968 w 10000"/>
                <a:gd name="connsiteY259" fmla="*/ 7190 h 10000"/>
                <a:gd name="connsiteX260" fmla="*/ 9926 w 10000"/>
                <a:gd name="connsiteY260" fmla="*/ 7132 h 10000"/>
                <a:gd name="connsiteX261" fmla="*/ 9915 w 10000"/>
                <a:gd name="connsiteY261" fmla="*/ 7112 h 10000"/>
                <a:gd name="connsiteX262" fmla="*/ 9926 w 10000"/>
                <a:gd name="connsiteY262" fmla="*/ 7093 h 10000"/>
                <a:gd name="connsiteX263" fmla="*/ 9968 w 10000"/>
                <a:gd name="connsiteY263" fmla="*/ 6822 h 10000"/>
                <a:gd name="connsiteX264" fmla="*/ 9979 w 10000"/>
                <a:gd name="connsiteY264" fmla="*/ 6802 h 10000"/>
                <a:gd name="connsiteX265" fmla="*/ 9979 w 10000"/>
                <a:gd name="connsiteY265" fmla="*/ 6802 h 10000"/>
                <a:gd name="connsiteX266" fmla="*/ 9947 w 10000"/>
                <a:gd name="connsiteY266" fmla="*/ 6764 h 10000"/>
                <a:gd name="connsiteX267" fmla="*/ 9872 w 10000"/>
                <a:gd name="connsiteY267" fmla="*/ 6899 h 10000"/>
                <a:gd name="connsiteX0" fmla="*/ 9872 w 10000"/>
                <a:gd name="connsiteY0" fmla="*/ 6899 h 10000"/>
                <a:gd name="connsiteX1" fmla="*/ 9862 w 10000"/>
                <a:gd name="connsiteY1" fmla="*/ 6899 h 10000"/>
                <a:gd name="connsiteX2" fmla="*/ 9862 w 10000"/>
                <a:gd name="connsiteY2" fmla="*/ 6899 h 10000"/>
                <a:gd name="connsiteX3" fmla="*/ 9766 w 10000"/>
                <a:gd name="connsiteY3" fmla="*/ 6938 h 10000"/>
                <a:gd name="connsiteX4" fmla="*/ 9671 w 10000"/>
                <a:gd name="connsiteY4" fmla="*/ 7112 h 10000"/>
                <a:gd name="connsiteX5" fmla="*/ 9671 w 10000"/>
                <a:gd name="connsiteY5" fmla="*/ 7112 h 10000"/>
                <a:gd name="connsiteX6" fmla="*/ 9660 w 10000"/>
                <a:gd name="connsiteY6" fmla="*/ 7112 h 10000"/>
                <a:gd name="connsiteX7" fmla="*/ 9617 w 10000"/>
                <a:gd name="connsiteY7" fmla="*/ 7112 h 10000"/>
                <a:gd name="connsiteX8" fmla="*/ 9458 w 10000"/>
                <a:gd name="connsiteY8" fmla="*/ 6880 h 10000"/>
                <a:gd name="connsiteX9" fmla="*/ 9447 w 10000"/>
                <a:gd name="connsiteY9" fmla="*/ 6860 h 10000"/>
                <a:gd name="connsiteX10" fmla="*/ 9447 w 10000"/>
                <a:gd name="connsiteY10" fmla="*/ 6841 h 10000"/>
                <a:gd name="connsiteX11" fmla="*/ 9447 w 10000"/>
                <a:gd name="connsiteY11" fmla="*/ 6550 h 10000"/>
                <a:gd name="connsiteX12" fmla="*/ 9447 w 10000"/>
                <a:gd name="connsiteY12" fmla="*/ 6531 h 10000"/>
                <a:gd name="connsiteX13" fmla="*/ 9458 w 10000"/>
                <a:gd name="connsiteY13" fmla="*/ 6531 h 10000"/>
                <a:gd name="connsiteX14" fmla="*/ 9554 w 10000"/>
                <a:gd name="connsiteY14" fmla="*/ 6453 h 10000"/>
                <a:gd name="connsiteX15" fmla="*/ 9564 w 10000"/>
                <a:gd name="connsiteY15" fmla="*/ 5601 h 10000"/>
                <a:gd name="connsiteX16" fmla="*/ 9564 w 10000"/>
                <a:gd name="connsiteY16" fmla="*/ 5581 h 10000"/>
                <a:gd name="connsiteX17" fmla="*/ 9564 w 10000"/>
                <a:gd name="connsiteY17" fmla="*/ 5562 h 10000"/>
                <a:gd name="connsiteX18" fmla="*/ 9649 w 10000"/>
                <a:gd name="connsiteY18" fmla="*/ 5388 h 10000"/>
                <a:gd name="connsiteX19" fmla="*/ 9702 w 10000"/>
                <a:gd name="connsiteY19" fmla="*/ 5291 h 10000"/>
                <a:gd name="connsiteX20" fmla="*/ 9554 w 10000"/>
                <a:gd name="connsiteY20" fmla="*/ 5058 h 10000"/>
                <a:gd name="connsiteX21" fmla="*/ 9554 w 10000"/>
                <a:gd name="connsiteY21" fmla="*/ 5058 h 10000"/>
                <a:gd name="connsiteX22" fmla="*/ 9543 w 10000"/>
                <a:gd name="connsiteY22" fmla="*/ 5058 h 10000"/>
                <a:gd name="connsiteX23" fmla="*/ 9394 w 10000"/>
                <a:gd name="connsiteY23" fmla="*/ 4709 h 10000"/>
                <a:gd name="connsiteX24" fmla="*/ 9394 w 10000"/>
                <a:gd name="connsiteY24" fmla="*/ 4690 h 10000"/>
                <a:gd name="connsiteX25" fmla="*/ 9394 w 10000"/>
                <a:gd name="connsiteY25" fmla="*/ 4690 h 10000"/>
                <a:gd name="connsiteX26" fmla="*/ 9456 w 10000"/>
                <a:gd name="connsiteY26" fmla="*/ 4520 h 10000"/>
                <a:gd name="connsiteX27" fmla="*/ 9490 w 10000"/>
                <a:gd name="connsiteY27" fmla="*/ 4360 h 10000"/>
                <a:gd name="connsiteX28" fmla="*/ 9564 w 10000"/>
                <a:gd name="connsiteY28" fmla="*/ 4244 h 10000"/>
                <a:gd name="connsiteX29" fmla="*/ 9628 w 10000"/>
                <a:gd name="connsiteY29" fmla="*/ 4012 h 10000"/>
                <a:gd name="connsiteX30" fmla="*/ 9490 w 10000"/>
                <a:gd name="connsiteY30" fmla="*/ 3760 h 10000"/>
                <a:gd name="connsiteX31" fmla="*/ 9490 w 10000"/>
                <a:gd name="connsiteY31" fmla="*/ 3760 h 10000"/>
                <a:gd name="connsiteX32" fmla="*/ 9479 w 10000"/>
                <a:gd name="connsiteY32" fmla="*/ 3760 h 10000"/>
                <a:gd name="connsiteX33" fmla="*/ 9426 w 10000"/>
                <a:gd name="connsiteY33" fmla="*/ 3527 h 10000"/>
                <a:gd name="connsiteX34" fmla="*/ 9426 w 10000"/>
                <a:gd name="connsiteY34" fmla="*/ 3527 h 10000"/>
                <a:gd name="connsiteX35" fmla="*/ 9426 w 10000"/>
                <a:gd name="connsiteY35" fmla="*/ 3508 h 10000"/>
                <a:gd name="connsiteX36" fmla="*/ 9416 w 10000"/>
                <a:gd name="connsiteY36" fmla="*/ 3198 h 10000"/>
                <a:gd name="connsiteX37" fmla="*/ 9416 w 10000"/>
                <a:gd name="connsiteY37" fmla="*/ 3198 h 10000"/>
                <a:gd name="connsiteX38" fmla="*/ 9416 w 10000"/>
                <a:gd name="connsiteY38" fmla="*/ 3178 h 10000"/>
                <a:gd name="connsiteX39" fmla="*/ 9532 w 10000"/>
                <a:gd name="connsiteY39" fmla="*/ 2907 h 10000"/>
                <a:gd name="connsiteX40" fmla="*/ 9384 w 10000"/>
                <a:gd name="connsiteY40" fmla="*/ 2616 h 10000"/>
                <a:gd name="connsiteX41" fmla="*/ 9384 w 10000"/>
                <a:gd name="connsiteY41" fmla="*/ 2616 h 10000"/>
                <a:gd name="connsiteX42" fmla="*/ 9384 w 10000"/>
                <a:gd name="connsiteY42" fmla="*/ 2616 h 10000"/>
                <a:gd name="connsiteX43" fmla="*/ 9330 w 10000"/>
                <a:gd name="connsiteY43" fmla="*/ 2267 h 10000"/>
                <a:gd name="connsiteX44" fmla="*/ 9330 w 10000"/>
                <a:gd name="connsiteY44" fmla="*/ 2248 h 10000"/>
                <a:gd name="connsiteX45" fmla="*/ 9330 w 10000"/>
                <a:gd name="connsiteY45" fmla="*/ 2248 h 10000"/>
                <a:gd name="connsiteX46" fmla="*/ 9341 w 10000"/>
                <a:gd name="connsiteY46" fmla="*/ 1841 h 10000"/>
                <a:gd name="connsiteX47" fmla="*/ 9341 w 10000"/>
                <a:gd name="connsiteY47" fmla="*/ 1822 h 10000"/>
                <a:gd name="connsiteX48" fmla="*/ 9341 w 10000"/>
                <a:gd name="connsiteY48" fmla="*/ 1822 h 10000"/>
                <a:gd name="connsiteX49" fmla="*/ 9660 w 10000"/>
                <a:gd name="connsiteY49" fmla="*/ 1279 h 10000"/>
                <a:gd name="connsiteX50" fmla="*/ 9564 w 10000"/>
                <a:gd name="connsiteY50" fmla="*/ 1008 h 10000"/>
                <a:gd name="connsiteX51" fmla="*/ 9554 w 10000"/>
                <a:gd name="connsiteY51" fmla="*/ 1008 h 10000"/>
                <a:gd name="connsiteX52" fmla="*/ 9554 w 10000"/>
                <a:gd name="connsiteY52" fmla="*/ 988 h 10000"/>
                <a:gd name="connsiteX53" fmla="*/ 9586 w 10000"/>
                <a:gd name="connsiteY53" fmla="*/ 698 h 10000"/>
                <a:gd name="connsiteX54" fmla="*/ 9501 w 10000"/>
                <a:gd name="connsiteY54" fmla="*/ 601 h 10000"/>
                <a:gd name="connsiteX55" fmla="*/ 9288 w 10000"/>
                <a:gd name="connsiteY55" fmla="*/ 581 h 10000"/>
                <a:gd name="connsiteX56" fmla="*/ 9288 w 10000"/>
                <a:gd name="connsiteY56" fmla="*/ 581 h 10000"/>
                <a:gd name="connsiteX57" fmla="*/ 9277 w 10000"/>
                <a:gd name="connsiteY57" fmla="*/ 581 h 10000"/>
                <a:gd name="connsiteX58" fmla="*/ 9224 w 10000"/>
                <a:gd name="connsiteY58" fmla="*/ 484 h 10000"/>
                <a:gd name="connsiteX59" fmla="*/ 9086 w 10000"/>
                <a:gd name="connsiteY59" fmla="*/ 484 h 10000"/>
                <a:gd name="connsiteX60" fmla="*/ 8948 w 10000"/>
                <a:gd name="connsiteY60" fmla="*/ 1124 h 10000"/>
                <a:gd name="connsiteX61" fmla="*/ 8927 w 10000"/>
                <a:gd name="connsiteY61" fmla="*/ 1124 h 10000"/>
                <a:gd name="connsiteX62" fmla="*/ 8927 w 10000"/>
                <a:gd name="connsiteY62" fmla="*/ 1143 h 10000"/>
                <a:gd name="connsiteX63" fmla="*/ 8650 w 10000"/>
                <a:gd name="connsiteY63" fmla="*/ 1415 h 10000"/>
                <a:gd name="connsiteX64" fmla="*/ 8640 w 10000"/>
                <a:gd name="connsiteY64" fmla="*/ 1434 h 10000"/>
                <a:gd name="connsiteX65" fmla="*/ 8640 w 10000"/>
                <a:gd name="connsiteY65" fmla="*/ 1434 h 10000"/>
                <a:gd name="connsiteX66" fmla="*/ 8470 w 10000"/>
                <a:gd name="connsiteY66" fmla="*/ 1395 h 10000"/>
                <a:gd name="connsiteX67" fmla="*/ 8321 w 10000"/>
                <a:gd name="connsiteY67" fmla="*/ 1531 h 10000"/>
                <a:gd name="connsiteX68" fmla="*/ 8321 w 10000"/>
                <a:gd name="connsiteY68" fmla="*/ 1531 h 10000"/>
                <a:gd name="connsiteX69" fmla="*/ 8321 w 10000"/>
                <a:gd name="connsiteY69" fmla="*/ 1531 h 10000"/>
                <a:gd name="connsiteX70" fmla="*/ 8172 w 10000"/>
                <a:gd name="connsiteY70" fmla="*/ 1589 h 10000"/>
                <a:gd name="connsiteX71" fmla="*/ 8023 w 10000"/>
                <a:gd name="connsiteY71" fmla="*/ 1957 h 10000"/>
                <a:gd name="connsiteX72" fmla="*/ 8013 w 10000"/>
                <a:gd name="connsiteY72" fmla="*/ 1977 h 10000"/>
                <a:gd name="connsiteX73" fmla="*/ 7991 w 10000"/>
                <a:gd name="connsiteY73" fmla="*/ 1977 h 10000"/>
                <a:gd name="connsiteX74" fmla="*/ 7864 w 10000"/>
                <a:gd name="connsiteY74" fmla="*/ 1899 h 10000"/>
                <a:gd name="connsiteX75" fmla="*/ 7843 w 10000"/>
                <a:gd name="connsiteY75" fmla="*/ 1899 h 10000"/>
                <a:gd name="connsiteX76" fmla="*/ 7853 w 10000"/>
                <a:gd name="connsiteY76" fmla="*/ 1841 h 10000"/>
                <a:gd name="connsiteX77" fmla="*/ 7928 w 10000"/>
                <a:gd name="connsiteY77" fmla="*/ 1609 h 10000"/>
                <a:gd name="connsiteX78" fmla="*/ 7906 w 10000"/>
                <a:gd name="connsiteY78" fmla="*/ 1279 h 10000"/>
                <a:gd name="connsiteX79" fmla="*/ 7758 w 10000"/>
                <a:gd name="connsiteY79" fmla="*/ 1124 h 10000"/>
                <a:gd name="connsiteX80" fmla="*/ 7651 w 10000"/>
                <a:gd name="connsiteY80" fmla="*/ 1124 h 10000"/>
                <a:gd name="connsiteX81" fmla="*/ 7641 w 10000"/>
                <a:gd name="connsiteY81" fmla="*/ 1124 h 10000"/>
                <a:gd name="connsiteX82" fmla="*/ 7630 w 10000"/>
                <a:gd name="connsiteY82" fmla="*/ 1105 h 10000"/>
                <a:gd name="connsiteX83" fmla="*/ 7556 w 10000"/>
                <a:gd name="connsiteY83" fmla="*/ 930 h 10000"/>
                <a:gd name="connsiteX84" fmla="*/ 7184 w 10000"/>
                <a:gd name="connsiteY84" fmla="*/ 891 h 10000"/>
                <a:gd name="connsiteX85" fmla="*/ 7173 w 10000"/>
                <a:gd name="connsiteY85" fmla="*/ 891 h 10000"/>
                <a:gd name="connsiteX86" fmla="*/ 7173 w 10000"/>
                <a:gd name="connsiteY86" fmla="*/ 872 h 10000"/>
                <a:gd name="connsiteX87" fmla="*/ 7099 w 10000"/>
                <a:gd name="connsiteY87" fmla="*/ 620 h 10000"/>
                <a:gd name="connsiteX88" fmla="*/ 7088 w 10000"/>
                <a:gd name="connsiteY88" fmla="*/ 601 h 10000"/>
                <a:gd name="connsiteX89" fmla="*/ 7088 w 10000"/>
                <a:gd name="connsiteY89" fmla="*/ 601 h 10000"/>
                <a:gd name="connsiteX90" fmla="*/ 7088 w 10000"/>
                <a:gd name="connsiteY90" fmla="*/ 465 h 10000"/>
                <a:gd name="connsiteX91" fmla="*/ 7088 w 10000"/>
                <a:gd name="connsiteY91" fmla="*/ 426 h 10000"/>
                <a:gd name="connsiteX92" fmla="*/ 7099 w 10000"/>
                <a:gd name="connsiteY92" fmla="*/ 407 h 10000"/>
                <a:gd name="connsiteX93" fmla="*/ 7194 w 10000"/>
                <a:gd name="connsiteY93" fmla="*/ 310 h 10000"/>
                <a:gd name="connsiteX94" fmla="*/ 7109 w 10000"/>
                <a:gd name="connsiteY94" fmla="*/ 136 h 10000"/>
                <a:gd name="connsiteX95" fmla="*/ 7035 w 10000"/>
                <a:gd name="connsiteY95" fmla="*/ 0 h 10000"/>
                <a:gd name="connsiteX96" fmla="*/ 6939 w 10000"/>
                <a:gd name="connsiteY96" fmla="*/ 116 h 10000"/>
                <a:gd name="connsiteX97" fmla="*/ 6939 w 10000"/>
                <a:gd name="connsiteY97" fmla="*/ 116 h 10000"/>
                <a:gd name="connsiteX98" fmla="*/ 6939 w 10000"/>
                <a:gd name="connsiteY98" fmla="*/ 116 h 10000"/>
                <a:gd name="connsiteX99" fmla="*/ 6812 w 10000"/>
                <a:gd name="connsiteY99" fmla="*/ 155 h 10000"/>
                <a:gd name="connsiteX100" fmla="*/ 6674 w 10000"/>
                <a:gd name="connsiteY100" fmla="*/ 291 h 10000"/>
                <a:gd name="connsiteX101" fmla="*/ 6599 w 10000"/>
                <a:gd name="connsiteY101" fmla="*/ 523 h 10000"/>
                <a:gd name="connsiteX102" fmla="*/ 6599 w 10000"/>
                <a:gd name="connsiteY102" fmla="*/ 543 h 10000"/>
                <a:gd name="connsiteX103" fmla="*/ 6589 w 10000"/>
                <a:gd name="connsiteY103" fmla="*/ 543 h 10000"/>
                <a:gd name="connsiteX104" fmla="*/ 6397 w 10000"/>
                <a:gd name="connsiteY104" fmla="*/ 581 h 10000"/>
                <a:gd name="connsiteX105" fmla="*/ 6334 w 10000"/>
                <a:gd name="connsiteY105" fmla="*/ 891 h 10000"/>
                <a:gd name="connsiteX106" fmla="*/ 6334 w 10000"/>
                <a:gd name="connsiteY106" fmla="*/ 911 h 10000"/>
                <a:gd name="connsiteX107" fmla="*/ 6334 w 10000"/>
                <a:gd name="connsiteY107" fmla="*/ 911 h 10000"/>
                <a:gd name="connsiteX108" fmla="*/ 6142 w 10000"/>
                <a:gd name="connsiteY108" fmla="*/ 1124 h 10000"/>
                <a:gd name="connsiteX109" fmla="*/ 6015 w 10000"/>
                <a:gd name="connsiteY109" fmla="*/ 1453 h 10000"/>
                <a:gd name="connsiteX110" fmla="*/ 6004 w 10000"/>
                <a:gd name="connsiteY110" fmla="*/ 1473 h 10000"/>
                <a:gd name="connsiteX111" fmla="*/ 5994 w 10000"/>
                <a:gd name="connsiteY111" fmla="*/ 1453 h 10000"/>
                <a:gd name="connsiteX112" fmla="*/ 5802 w 10000"/>
                <a:gd name="connsiteY112" fmla="*/ 1434 h 10000"/>
                <a:gd name="connsiteX113" fmla="*/ 5781 w 10000"/>
                <a:gd name="connsiteY113" fmla="*/ 1415 h 10000"/>
                <a:gd name="connsiteX114" fmla="*/ 5781 w 10000"/>
                <a:gd name="connsiteY114" fmla="*/ 1395 h 10000"/>
                <a:gd name="connsiteX115" fmla="*/ 5760 w 10000"/>
                <a:gd name="connsiteY115" fmla="*/ 930 h 10000"/>
                <a:gd name="connsiteX116" fmla="*/ 5654 w 10000"/>
                <a:gd name="connsiteY116" fmla="*/ 872 h 10000"/>
                <a:gd name="connsiteX117" fmla="*/ 5377 w 10000"/>
                <a:gd name="connsiteY117" fmla="*/ 1240 h 10000"/>
                <a:gd name="connsiteX118" fmla="*/ 5165 w 10000"/>
                <a:gd name="connsiteY118" fmla="*/ 1570 h 10000"/>
                <a:gd name="connsiteX119" fmla="*/ 5165 w 10000"/>
                <a:gd name="connsiteY119" fmla="*/ 1899 h 10000"/>
                <a:gd name="connsiteX120" fmla="*/ 5165 w 10000"/>
                <a:gd name="connsiteY120" fmla="*/ 1919 h 10000"/>
                <a:gd name="connsiteX121" fmla="*/ 5154 w 10000"/>
                <a:gd name="connsiteY121" fmla="*/ 1919 h 10000"/>
                <a:gd name="connsiteX122" fmla="*/ 5027 w 10000"/>
                <a:gd name="connsiteY122" fmla="*/ 2112 h 10000"/>
                <a:gd name="connsiteX123" fmla="*/ 5016 w 10000"/>
                <a:gd name="connsiteY123" fmla="*/ 2112 h 10000"/>
                <a:gd name="connsiteX124" fmla="*/ 5005 w 10000"/>
                <a:gd name="connsiteY124" fmla="*/ 2112 h 10000"/>
                <a:gd name="connsiteX125" fmla="*/ 4814 w 10000"/>
                <a:gd name="connsiteY125" fmla="*/ 2112 h 10000"/>
                <a:gd name="connsiteX126" fmla="*/ 4803 w 10000"/>
                <a:gd name="connsiteY126" fmla="*/ 2112 h 10000"/>
                <a:gd name="connsiteX127" fmla="*/ 4803 w 10000"/>
                <a:gd name="connsiteY127" fmla="*/ 2112 h 10000"/>
                <a:gd name="connsiteX128" fmla="*/ 4697 w 10000"/>
                <a:gd name="connsiteY128" fmla="*/ 1957 h 10000"/>
                <a:gd name="connsiteX129" fmla="*/ 4591 w 10000"/>
                <a:gd name="connsiteY129" fmla="*/ 1899 h 10000"/>
                <a:gd name="connsiteX130" fmla="*/ 4591 w 10000"/>
                <a:gd name="connsiteY130" fmla="*/ 1957 h 10000"/>
                <a:gd name="connsiteX131" fmla="*/ 4591 w 10000"/>
                <a:gd name="connsiteY131" fmla="*/ 1996 h 10000"/>
                <a:gd name="connsiteX132" fmla="*/ 4570 w 10000"/>
                <a:gd name="connsiteY132" fmla="*/ 1996 h 10000"/>
                <a:gd name="connsiteX133" fmla="*/ 4453 w 10000"/>
                <a:gd name="connsiteY133" fmla="*/ 1996 h 10000"/>
                <a:gd name="connsiteX134" fmla="*/ 4431 w 10000"/>
                <a:gd name="connsiteY134" fmla="*/ 1996 h 10000"/>
                <a:gd name="connsiteX135" fmla="*/ 4431 w 10000"/>
                <a:gd name="connsiteY135" fmla="*/ 1957 h 10000"/>
                <a:gd name="connsiteX136" fmla="*/ 4378 w 10000"/>
                <a:gd name="connsiteY136" fmla="*/ 1589 h 10000"/>
                <a:gd name="connsiteX137" fmla="*/ 4091 w 10000"/>
                <a:gd name="connsiteY137" fmla="*/ 1512 h 10000"/>
                <a:gd name="connsiteX138" fmla="*/ 4081 w 10000"/>
                <a:gd name="connsiteY138" fmla="*/ 1512 h 10000"/>
                <a:gd name="connsiteX139" fmla="*/ 4070 w 10000"/>
                <a:gd name="connsiteY139" fmla="*/ 1492 h 10000"/>
                <a:gd name="connsiteX140" fmla="*/ 3879 w 10000"/>
                <a:gd name="connsiteY140" fmla="*/ 988 h 10000"/>
                <a:gd name="connsiteX141" fmla="*/ 3719 w 10000"/>
                <a:gd name="connsiteY141" fmla="*/ 988 h 10000"/>
                <a:gd name="connsiteX142" fmla="*/ 3698 w 10000"/>
                <a:gd name="connsiteY142" fmla="*/ 1085 h 10000"/>
                <a:gd name="connsiteX143" fmla="*/ 3698 w 10000"/>
                <a:gd name="connsiteY143" fmla="*/ 1105 h 10000"/>
                <a:gd name="connsiteX144" fmla="*/ 3698 w 10000"/>
                <a:gd name="connsiteY144" fmla="*/ 1105 h 10000"/>
                <a:gd name="connsiteX145" fmla="*/ 3592 w 10000"/>
                <a:gd name="connsiteY145" fmla="*/ 1318 h 10000"/>
                <a:gd name="connsiteX146" fmla="*/ 3592 w 10000"/>
                <a:gd name="connsiteY146" fmla="*/ 1318 h 10000"/>
                <a:gd name="connsiteX147" fmla="*/ 3581 w 10000"/>
                <a:gd name="connsiteY147" fmla="*/ 1318 h 10000"/>
                <a:gd name="connsiteX148" fmla="*/ 3486 w 10000"/>
                <a:gd name="connsiteY148" fmla="*/ 1395 h 10000"/>
                <a:gd name="connsiteX149" fmla="*/ 3486 w 10000"/>
                <a:gd name="connsiteY149" fmla="*/ 1686 h 10000"/>
                <a:gd name="connsiteX150" fmla="*/ 3486 w 10000"/>
                <a:gd name="connsiteY150" fmla="*/ 1725 h 10000"/>
                <a:gd name="connsiteX151" fmla="*/ 3475 w 10000"/>
                <a:gd name="connsiteY151" fmla="*/ 1725 h 10000"/>
                <a:gd name="connsiteX152" fmla="*/ 3369 w 10000"/>
                <a:gd name="connsiteY152" fmla="*/ 1841 h 10000"/>
                <a:gd name="connsiteX153" fmla="*/ 3135 w 10000"/>
                <a:gd name="connsiteY153" fmla="*/ 2171 h 10000"/>
                <a:gd name="connsiteX154" fmla="*/ 2954 w 10000"/>
                <a:gd name="connsiteY154" fmla="*/ 2829 h 10000"/>
                <a:gd name="connsiteX155" fmla="*/ 2954 w 10000"/>
                <a:gd name="connsiteY155" fmla="*/ 2829 h 10000"/>
                <a:gd name="connsiteX156" fmla="*/ 2944 w 10000"/>
                <a:gd name="connsiteY156" fmla="*/ 2829 h 10000"/>
                <a:gd name="connsiteX157" fmla="*/ 2699 w 10000"/>
                <a:gd name="connsiteY157" fmla="*/ 3217 h 10000"/>
                <a:gd name="connsiteX158" fmla="*/ 2487 w 10000"/>
                <a:gd name="connsiteY158" fmla="*/ 3566 h 10000"/>
                <a:gd name="connsiteX159" fmla="*/ 2465 w 10000"/>
                <a:gd name="connsiteY159" fmla="*/ 3934 h 10000"/>
                <a:gd name="connsiteX160" fmla="*/ 2465 w 10000"/>
                <a:gd name="connsiteY160" fmla="*/ 3934 h 10000"/>
                <a:gd name="connsiteX161" fmla="*/ 2465 w 10000"/>
                <a:gd name="connsiteY161" fmla="*/ 3934 h 10000"/>
                <a:gd name="connsiteX162" fmla="*/ 2295 w 10000"/>
                <a:gd name="connsiteY162" fmla="*/ 4205 h 10000"/>
                <a:gd name="connsiteX163" fmla="*/ 2200 w 10000"/>
                <a:gd name="connsiteY163" fmla="*/ 4535 h 10000"/>
                <a:gd name="connsiteX164" fmla="*/ 2189 w 10000"/>
                <a:gd name="connsiteY164" fmla="*/ 4554 h 10000"/>
                <a:gd name="connsiteX165" fmla="*/ 2179 w 10000"/>
                <a:gd name="connsiteY165" fmla="*/ 4554 h 10000"/>
                <a:gd name="connsiteX166" fmla="*/ 2051 w 10000"/>
                <a:gd name="connsiteY166" fmla="*/ 4535 h 10000"/>
                <a:gd name="connsiteX167" fmla="*/ 1913 w 10000"/>
                <a:gd name="connsiteY167" fmla="*/ 4767 h 10000"/>
                <a:gd name="connsiteX168" fmla="*/ 1913 w 10000"/>
                <a:gd name="connsiteY168" fmla="*/ 4787 h 10000"/>
                <a:gd name="connsiteX169" fmla="*/ 1902 w 10000"/>
                <a:gd name="connsiteY169" fmla="*/ 4787 h 10000"/>
                <a:gd name="connsiteX170" fmla="*/ 1498 w 10000"/>
                <a:gd name="connsiteY170" fmla="*/ 4671 h 10000"/>
                <a:gd name="connsiteX171" fmla="*/ 1488 w 10000"/>
                <a:gd name="connsiteY171" fmla="*/ 4671 h 10000"/>
                <a:gd name="connsiteX172" fmla="*/ 1488 w 10000"/>
                <a:gd name="connsiteY172" fmla="*/ 4651 h 10000"/>
                <a:gd name="connsiteX173" fmla="*/ 1424 w 10000"/>
                <a:gd name="connsiteY173" fmla="*/ 4516 h 10000"/>
                <a:gd name="connsiteX174" fmla="*/ 1350 w 10000"/>
                <a:gd name="connsiteY174" fmla="*/ 4516 h 10000"/>
                <a:gd name="connsiteX175" fmla="*/ 1296 w 10000"/>
                <a:gd name="connsiteY175" fmla="*/ 4690 h 10000"/>
                <a:gd name="connsiteX176" fmla="*/ 1286 w 10000"/>
                <a:gd name="connsiteY176" fmla="*/ 4922 h 10000"/>
                <a:gd name="connsiteX177" fmla="*/ 1286 w 10000"/>
                <a:gd name="connsiteY177" fmla="*/ 4942 h 10000"/>
                <a:gd name="connsiteX178" fmla="*/ 1275 w 10000"/>
                <a:gd name="connsiteY178" fmla="*/ 4961 h 10000"/>
                <a:gd name="connsiteX179" fmla="*/ 1190 w 10000"/>
                <a:gd name="connsiteY179" fmla="*/ 5058 h 10000"/>
                <a:gd name="connsiteX180" fmla="*/ 1137 w 10000"/>
                <a:gd name="connsiteY180" fmla="*/ 5271 h 10000"/>
                <a:gd name="connsiteX181" fmla="*/ 1137 w 10000"/>
                <a:gd name="connsiteY181" fmla="*/ 5291 h 10000"/>
                <a:gd name="connsiteX182" fmla="*/ 1126 w 10000"/>
                <a:gd name="connsiteY182" fmla="*/ 5291 h 10000"/>
                <a:gd name="connsiteX183" fmla="*/ 1020 w 10000"/>
                <a:gd name="connsiteY183" fmla="*/ 5407 h 10000"/>
                <a:gd name="connsiteX184" fmla="*/ 999 w 10000"/>
                <a:gd name="connsiteY184" fmla="*/ 5581 h 10000"/>
                <a:gd name="connsiteX185" fmla="*/ 978 w 10000"/>
                <a:gd name="connsiteY185" fmla="*/ 5756 h 10000"/>
                <a:gd name="connsiteX186" fmla="*/ 978 w 10000"/>
                <a:gd name="connsiteY186" fmla="*/ 5775 h 10000"/>
                <a:gd name="connsiteX187" fmla="*/ 967 w 10000"/>
                <a:gd name="connsiteY187" fmla="*/ 5775 h 10000"/>
                <a:gd name="connsiteX188" fmla="*/ 861 w 10000"/>
                <a:gd name="connsiteY188" fmla="*/ 5814 h 10000"/>
                <a:gd name="connsiteX189" fmla="*/ 861 w 10000"/>
                <a:gd name="connsiteY189" fmla="*/ 6047 h 10000"/>
                <a:gd name="connsiteX190" fmla="*/ 967 w 10000"/>
                <a:gd name="connsiteY190" fmla="*/ 6298 h 10000"/>
                <a:gd name="connsiteX191" fmla="*/ 967 w 10000"/>
                <a:gd name="connsiteY191" fmla="*/ 6298 h 10000"/>
                <a:gd name="connsiteX192" fmla="*/ 978 w 10000"/>
                <a:gd name="connsiteY192" fmla="*/ 6318 h 10000"/>
                <a:gd name="connsiteX193" fmla="*/ 988 w 10000"/>
                <a:gd name="connsiteY193" fmla="*/ 6512 h 10000"/>
                <a:gd name="connsiteX194" fmla="*/ 988 w 10000"/>
                <a:gd name="connsiteY194" fmla="*/ 6531 h 10000"/>
                <a:gd name="connsiteX195" fmla="*/ 978 w 10000"/>
                <a:gd name="connsiteY195" fmla="*/ 6550 h 10000"/>
                <a:gd name="connsiteX196" fmla="*/ 627 w 10000"/>
                <a:gd name="connsiteY196" fmla="*/ 7016 h 10000"/>
                <a:gd name="connsiteX197" fmla="*/ 521 w 10000"/>
                <a:gd name="connsiteY197" fmla="*/ 7151 h 10000"/>
                <a:gd name="connsiteX198" fmla="*/ 340 w 10000"/>
                <a:gd name="connsiteY198" fmla="*/ 7384 h 10000"/>
                <a:gd name="connsiteX199" fmla="*/ 340 w 10000"/>
                <a:gd name="connsiteY199" fmla="*/ 7403 h 10000"/>
                <a:gd name="connsiteX200" fmla="*/ 340 w 10000"/>
                <a:gd name="connsiteY200" fmla="*/ 7403 h 10000"/>
                <a:gd name="connsiteX201" fmla="*/ 191 w 10000"/>
                <a:gd name="connsiteY201" fmla="*/ 7519 h 10000"/>
                <a:gd name="connsiteX202" fmla="*/ 0 w 10000"/>
                <a:gd name="connsiteY202" fmla="*/ 7791 h 10000"/>
                <a:gd name="connsiteX203" fmla="*/ 11 w 10000"/>
                <a:gd name="connsiteY203" fmla="*/ 7829 h 10000"/>
                <a:gd name="connsiteX204" fmla="*/ 149 w 10000"/>
                <a:gd name="connsiteY204" fmla="*/ 7868 h 10000"/>
                <a:gd name="connsiteX205" fmla="*/ 159 w 10000"/>
                <a:gd name="connsiteY205" fmla="*/ 7868 h 10000"/>
                <a:gd name="connsiteX206" fmla="*/ 159 w 10000"/>
                <a:gd name="connsiteY206" fmla="*/ 7868 h 10000"/>
                <a:gd name="connsiteX207" fmla="*/ 372 w 10000"/>
                <a:gd name="connsiteY207" fmla="*/ 8256 h 10000"/>
                <a:gd name="connsiteX208" fmla="*/ 1467 w 10000"/>
                <a:gd name="connsiteY208" fmla="*/ 9205 h 10000"/>
                <a:gd name="connsiteX209" fmla="*/ 1467 w 10000"/>
                <a:gd name="connsiteY209" fmla="*/ 9205 h 10000"/>
                <a:gd name="connsiteX210" fmla="*/ 1477 w 10000"/>
                <a:gd name="connsiteY210" fmla="*/ 9205 h 10000"/>
                <a:gd name="connsiteX211" fmla="*/ 1838 w 10000"/>
                <a:gd name="connsiteY211" fmla="*/ 9729 h 10000"/>
                <a:gd name="connsiteX212" fmla="*/ 2508 w 10000"/>
                <a:gd name="connsiteY212" fmla="*/ 9767 h 10000"/>
                <a:gd name="connsiteX213" fmla="*/ 2561 w 10000"/>
                <a:gd name="connsiteY213" fmla="*/ 9671 h 10000"/>
                <a:gd name="connsiteX214" fmla="*/ 2561 w 10000"/>
                <a:gd name="connsiteY214" fmla="*/ 9671 h 10000"/>
                <a:gd name="connsiteX215" fmla="*/ 2582 w 10000"/>
                <a:gd name="connsiteY215" fmla="*/ 9671 h 10000"/>
                <a:gd name="connsiteX216" fmla="*/ 2848 w 10000"/>
                <a:gd name="connsiteY216" fmla="*/ 9651 h 10000"/>
                <a:gd name="connsiteX217" fmla="*/ 2859 w 10000"/>
                <a:gd name="connsiteY217" fmla="*/ 9651 h 10000"/>
                <a:gd name="connsiteX218" fmla="*/ 2869 w 10000"/>
                <a:gd name="connsiteY218" fmla="*/ 9671 h 10000"/>
                <a:gd name="connsiteX219" fmla="*/ 3061 w 10000"/>
                <a:gd name="connsiteY219" fmla="*/ 10000 h 10000"/>
                <a:gd name="connsiteX220" fmla="*/ 3061 w 10000"/>
                <a:gd name="connsiteY220" fmla="*/ 10000 h 10000"/>
                <a:gd name="connsiteX221" fmla="*/ 4336 w 10000"/>
                <a:gd name="connsiteY221" fmla="*/ 9961 h 10000"/>
                <a:gd name="connsiteX222" fmla="*/ 4357 w 10000"/>
                <a:gd name="connsiteY222" fmla="*/ 9961 h 10000"/>
                <a:gd name="connsiteX223" fmla="*/ 4357 w 10000"/>
                <a:gd name="connsiteY223" fmla="*/ 9981 h 10000"/>
                <a:gd name="connsiteX224" fmla="*/ 4527 w 10000"/>
                <a:gd name="connsiteY224" fmla="*/ 9864 h 10000"/>
                <a:gd name="connsiteX225" fmla="*/ 4538 w 10000"/>
                <a:gd name="connsiteY225" fmla="*/ 9864 h 10000"/>
                <a:gd name="connsiteX226" fmla="*/ 4538 w 10000"/>
                <a:gd name="connsiteY226" fmla="*/ 9864 h 10000"/>
                <a:gd name="connsiteX227" fmla="*/ 5250 w 10000"/>
                <a:gd name="connsiteY227" fmla="*/ 9845 h 10000"/>
                <a:gd name="connsiteX228" fmla="*/ 7354 w 10000"/>
                <a:gd name="connsiteY228" fmla="*/ 9845 h 10000"/>
                <a:gd name="connsiteX229" fmla="*/ 7343 w 10000"/>
                <a:gd name="connsiteY229" fmla="*/ 9826 h 10000"/>
                <a:gd name="connsiteX230" fmla="*/ 7439 w 10000"/>
                <a:gd name="connsiteY230" fmla="*/ 9612 h 10000"/>
                <a:gd name="connsiteX231" fmla="*/ 7513 w 10000"/>
                <a:gd name="connsiteY231" fmla="*/ 9516 h 10000"/>
                <a:gd name="connsiteX232" fmla="*/ 7428 w 10000"/>
                <a:gd name="connsiteY232" fmla="*/ 9283 h 10000"/>
                <a:gd name="connsiteX233" fmla="*/ 7450 w 10000"/>
                <a:gd name="connsiteY233" fmla="*/ 9109 h 10000"/>
                <a:gd name="connsiteX234" fmla="*/ 7683 w 10000"/>
                <a:gd name="connsiteY234" fmla="*/ 8992 h 10000"/>
                <a:gd name="connsiteX235" fmla="*/ 7683 w 10000"/>
                <a:gd name="connsiteY235" fmla="*/ 8798 h 10000"/>
                <a:gd name="connsiteX236" fmla="*/ 7779 w 10000"/>
                <a:gd name="connsiteY236" fmla="*/ 8682 h 10000"/>
                <a:gd name="connsiteX237" fmla="*/ 7949 w 10000"/>
                <a:gd name="connsiteY237" fmla="*/ 8372 h 10000"/>
                <a:gd name="connsiteX238" fmla="*/ 8013 w 10000"/>
                <a:gd name="connsiteY238" fmla="*/ 8023 h 10000"/>
                <a:gd name="connsiteX239" fmla="*/ 8098 w 10000"/>
                <a:gd name="connsiteY239" fmla="*/ 7907 h 10000"/>
                <a:gd name="connsiteX240" fmla="*/ 8204 w 10000"/>
                <a:gd name="connsiteY240" fmla="*/ 7907 h 10000"/>
                <a:gd name="connsiteX241" fmla="*/ 8363 w 10000"/>
                <a:gd name="connsiteY241" fmla="*/ 7829 h 10000"/>
                <a:gd name="connsiteX242" fmla="*/ 8576 w 10000"/>
                <a:gd name="connsiteY242" fmla="*/ 7907 h 10000"/>
                <a:gd name="connsiteX243" fmla="*/ 8661 w 10000"/>
                <a:gd name="connsiteY243" fmla="*/ 8004 h 10000"/>
                <a:gd name="connsiteX244" fmla="*/ 8704 w 10000"/>
                <a:gd name="connsiteY244" fmla="*/ 7829 h 10000"/>
                <a:gd name="connsiteX245" fmla="*/ 8831 w 10000"/>
                <a:gd name="connsiteY245" fmla="*/ 7733 h 10000"/>
                <a:gd name="connsiteX246" fmla="*/ 8980 w 10000"/>
                <a:gd name="connsiteY246" fmla="*/ 7713 h 10000"/>
                <a:gd name="connsiteX247" fmla="*/ 9097 w 10000"/>
                <a:gd name="connsiteY247" fmla="*/ 7674 h 10000"/>
                <a:gd name="connsiteX248" fmla="*/ 9235 w 10000"/>
                <a:gd name="connsiteY248" fmla="*/ 7791 h 10000"/>
                <a:gd name="connsiteX249" fmla="*/ 9341 w 10000"/>
                <a:gd name="connsiteY249" fmla="*/ 7907 h 10000"/>
                <a:gd name="connsiteX250" fmla="*/ 9458 w 10000"/>
                <a:gd name="connsiteY250" fmla="*/ 7733 h 10000"/>
                <a:gd name="connsiteX251" fmla="*/ 9575 w 10000"/>
                <a:gd name="connsiteY251" fmla="*/ 7829 h 10000"/>
                <a:gd name="connsiteX252" fmla="*/ 9702 w 10000"/>
                <a:gd name="connsiteY252" fmla="*/ 7829 h 10000"/>
                <a:gd name="connsiteX253" fmla="*/ 9809 w 10000"/>
                <a:gd name="connsiteY253" fmla="*/ 7907 h 10000"/>
                <a:gd name="connsiteX254" fmla="*/ 9968 w 10000"/>
                <a:gd name="connsiteY254" fmla="*/ 7829 h 10000"/>
                <a:gd name="connsiteX255" fmla="*/ 10000 w 10000"/>
                <a:gd name="connsiteY255" fmla="*/ 7810 h 10000"/>
                <a:gd name="connsiteX256" fmla="*/ 9979 w 10000"/>
                <a:gd name="connsiteY256" fmla="*/ 7810 h 10000"/>
                <a:gd name="connsiteX257" fmla="*/ 9968 w 10000"/>
                <a:gd name="connsiteY257" fmla="*/ 7636 h 10000"/>
                <a:gd name="connsiteX258" fmla="*/ 9968 w 10000"/>
                <a:gd name="connsiteY258" fmla="*/ 7190 h 10000"/>
                <a:gd name="connsiteX259" fmla="*/ 9926 w 10000"/>
                <a:gd name="connsiteY259" fmla="*/ 7132 h 10000"/>
                <a:gd name="connsiteX260" fmla="*/ 9915 w 10000"/>
                <a:gd name="connsiteY260" fmla="*/ 7112 h 10000"/>
                <a:gd name="connsiteX261" fmla="*/ 9926 w 10000"/>
                <a:gd name="connsiteY261" fmla="*/ 7093 h 10000"/>
                <a:gd name="connsiteX262" fmla="*/ 9968 w 10000"/>
                <a:gd name="connsiteY262" fmla="*/ 6822 h 10000"/>
                <a:gd name="connsiteX263" fmla="*/ 9979 w 10000"/>
                <a:gd name="connsiteY263" fmla="*/ 6802 h 10000"/>
                <a:gd name="connsiteX264" fmla="*/ 9979 w 10000"/>
                <a:gd name="connsiteY264" fmla="*/ 6802 h 10000"/>
                <a:gd name="connsiteX265" fmla="*/ 9947 w 10000"/>
                <a:gd name="connsiteY265" fmla="*/ 6764 h 10000"/>
                <a:gd name="connsiteX266" fmla="*/ 9872 w 10000"/>
                <a:gd name="connsiteY266" fmla="*/ 6899 h 10000"/>
                <a:gd name="connsiteX0" fmla="*/ 9872 w 10000"/>
                <a:gd name="connsiteY0" fmla="*/ 6899 h 10000"/>
                <a:gd name="connsiteX1" fmla="*/ 9862 w 10000"/>
                <a:gd name="connsiteY1" fmla="*/ 6899 h 10000"/>
                <a:gd name="connsiteX2" fmla="*/ 9862 w 10000"/>
                <a:gd name="connsiteY2" fmla="*/ 6899 h 10000"/>
                <a:gd name="connsiteX3" fmla="*/ 9766 w 10000"/>
                <a:gd name="connsiteY3" fmla="*/ 6938 h 10000"/>
                <a:gd name="connsiteX4" fmla="*/ 9671 w 10000"/>
                <a:gd name="connsiteY4" fmla="*/ 7112 h 10000"/>
                <a:gd name="connsiteX5" fmla="*/ 9671 w 10000"/>
                <a:gd name="connsiteY5" fmla="*/ 7112 h 10000"/>
                <a:gd name="connsiteX6" fmla="*/ 9660 w 10000"/>
                <a:gd name="connsiteY6" fmla="*/ 7112 h 10000"/>
                <a:gd name="connsiteX7" fmla="*/ 9458 w 10000"/>
                <a:gd name="connsiteY7" fmla="*/ 6880 h 10000"/>
                <a:gd name="connsiteX8" fmla="*/ 9447 w 10000"/>
                <a:gd name="connsiteY8" fmla="*/ 6860 h 10000"/>
                <a:gd name="connsiteX9" fmla="*/ 9447 w 10000"/>
                <a:gd name="connsiteY9" fmla="*/ 6841 h 10000"/>
                <a:gd name="connsiteX10" fmla="*/ 9447 w 10000"/>
                <a:gd name="connsiteY10" fmla="*/ 6550 h 10000"/>
                <a:gd name="connsiteX11" fmla="*/ 9447 w 10000"/>
                <a:gd name="connsiteY11" fmla="*/ 6531 h 10000"/>
                <a:gd name="connsiteX12" fmla="*/ 9458 w 10000"/>
                <a:gd name="connsiteY12" fmla="*/ 6531 h 10000"/>
                <a:gd name="connsiteX13" fmla="*/ 9554 w 10000"/>
                <a:gd name="connsiteY13" fmla="*/ 6453 h 10000"/>
                <a:gd name="connsiteX14" fmla="*/ 9564 w 10000"/>
                <a:gd name="connsiteY14" fmla="*/ 5601 h 10000"/>
                <a:gd name="connsiteX15" fmla="*/ 9564 w 10000"/>
                <a:gd name="connsiteY15" fmla="*/ 5581 h 10000"/>
                <a:gd name="connsiteX16" fmla="*/ 9564 w 10000"/>
                <a:gd name="connsiteY16" fmla="*/ 5562 h 10000"/>
                <a:gd name="connsiteX17" fmla="*/ 9649 w 10000"/>
                <a:gd name="connsiteY17" fmla="*/ 5388 h 10000"/>
                <a:gd name="connsiteX18" fmla="*/ 9702 w 10000"/>
                <a:gd name="connsiteY18" fmla="*/ 5291 h 10000"/>
                <a:gd name="connsiteX19" fmla="*/ 9554 w 10000"/>
                <a:gd name="connsiteY19" fmla="*/ 5058 h 10000"/>
                <a:gd name="connsiteX20" fmla="*/ 9554 w 10000"/>
                <a:gd name="connsiteY20" fmla="*/ 5058 h 10000"/>
                <a:gd name="connsiteX21" fmla="*/ 9543 w 10000"/>
                <a:gd name="connsiteY21" fmla="*/ 5058 h 10000"/>
                <a:gd name="connsiteX22" fmla="*/ 9394 w 10000"/>
                <a:gd name="connsiteY22" fmla="*/ 4709 h 10000"/>
                <a:gd name="connsiteX23" fmla="*/ 9394 w 10000"/>
                <a:gd name="connsiteY23" fmla="*/ 4690 h 10000"/>
                <a:gd name="connsiteX24" fmla="*/ 9394 w 10000"/>
                <a:gd name="connsiteY24" fmla="*/ 4690 h 10000"/>
                <a:gd name="connsiteX25" fmla="*/ 9456 w 10000"/>
                <a:gd name="connsiteY25" fmla="*/ 4520 h 10000"/>
                <a:gd name="connsiteX26" fmla="*/ 9490 w 10000"/>
                <a:gd name="connsiteY26" fmla="*/ 4360 h 10000"/>
                <a:gd name="connsiteX27" fmla="*/ 9564 w 10000"/>
                <a:gd name="connsiteY27" fmla="*/ 4244 h 10000"/>
                <a:gd name="connsiteX28" fmla="*/ 9628 w 10000"/>
                <a:gd name="connsiteY28" fmla="*/ 4012 h 10000"/>
                <a:gd name="connsiteX29" fmla="*/ 9490 w 10000"/>
                <a:gd name="connsiteY29" fmla="*/ 3760 h 10000"/>
                <a:gd name="connsiteX30" fmla="*/ 9490 w 10000"/>
                <a:gd name="connsiteY30" fmla="*/ 3760 h 10000"/>
                <a:gd name="connsiteX31" fmla="*/ 9479 w 10000"/>
                <a:gd name="connsiteY31" fmla="*/ 3760 h 10000"/>
                <a:gd name="connsiteX32" fmla="*/ 9426 w 10000"/>
                <a:gd name="connsiteY32" fmla="*/ 3527 h 10000"/>
                <a:gd name="connsiteX33" fmla="*/ 9426 w 10000"/>
                <a:gd name="connsiteY33" fmla="*/ 3527 h 10000"/>
                <a:gd name="connsiteX34" fmla="*/ 9426 w 10000"/>
                <a:gd name="connsiteY34" fmla="*/ 3508 h 10000"/>
                <a:gd name="connsiteX35" fmla="*/ 9416 w 10000"/>
                <a:gd name="connsiteY35" fmla="*/ 3198 h 10000"/>
                <a:gd name="connsiteX36" fmla="*/ 9416 w 10000"/>
                <a:gd name="connsiteY36" fmla="*/ 3198 h 10000"/>
                <a:gd name="connsiteX37" fmla="*/ 9416 w 10000"/>
                <a:gd name="connsiteY37" fmla="*/ 3178 h 10000"/>
                <a:gd name="connsiteX38" fmla="*/ 9532 w 10000"/>
                <a:gd name="connsiteY38" fmla="*/ 2907 h 10000"/>
                <a:gd name="connsiteX39" fmla="*/ 9384 w 10000"/>
                <a:gd name="connsiteY39" fmla="*/ 2616 h 10000"/>
                <a:gd name="connsiteX40" fmla="*/ 9384 w 10000"/>
                <a:gd name="connsiteY40" fmla="*/ 2616 h 10000"/>
                <a:gd name="connsiteX41" fmla="*/ 9384 w 10000"/>
                <a:gd name="connsiteY41" fmla="*/ 2616 h 10000"/>
                <a:gd name="connsiteX42" fmla="*/ 9330 w 10000"/>
                <a:gd name="connsiteY42" fmla="*/ 2267 h 10000"/>
                <a:gd name="connsiteX43" fmla="*/ 9330 w 10000"/>
                <a:gd name="connsiteY43" fmla="*/ 2248 h 10000"/>
                <a:gd name="connsiteX44" fmla="*/ 9330 w 10000"/>
                <a:gd name="connsiteY44" fmla="*/ 2248 h 10000"/>
                <a:gd name="connsiteX45" fmla="*/ 9341 w 10000"/>
                <a:gd name="connsiteY45" fmla="*/ 1841 h 10000"/>
                <a:gd name="connsiteX46" fmla="*/ 9341 w 10000"/>
                <a:gd name="connsiteY46" fmla="*/ 1822 h 10000"/>
                <a:gd name="connsiteX47" fmla="*/ 9341 w 10000"/>
                <a:gd name="connsiteY47" fmla="*/ 1822 h 10000"/>
                <a:gd name="connsiteX48" fmla="*/ 9660 w 10000"/>
                <a:gd name="connsiteY48" fmla="*/ 1279 h 10000"/>
                <a:gd name="connsiteX49" fmla="*/ 9564 w 10000"/>
                <a:gd name="connsiteY49" fmla="*/ 1008 h 10000"/>
                <a:gd name="connsiteX50" fmla="*/ 9554 w 10000"/>
                <a:gd name="connsiteY50" fmla="*/ 1008 h 10000"/>
                <a:gd name="connsiteX51" fmla="*/ 9554 w 10000"/>
                <a:gd name="connsiteY51" fmla="*/ 988 h 10000"/>
                <a:gd name="connsiteX52" fmla="*/ 9586 w 10000"/>
                <a:gd name="connsiteY52" fmla="*/ 698 h 10000"/>
                <a:gd name="connsiteX53" fmla="*/ 9501 w 10000"/>
                <a:gd name="connsiteY53" fmla="*/ 601 h 10000"/>
                <a:gd name="connsiteX54" fmla="*/ 9288 w 10000"/>
                <a:gd name="connsiteY54" fmla="*/ 581 h 10000"/>
                <a:gd name="connsiteX55" fmla="*/ 9288 w 10000"/>
                <a:gd name="connsiteY55" fmla="*/ 581 h 10000"/>
                <a:gd name="connsiteX56" fmla="*/ 9277 w 10000"/>
                <a:gd name="connsiteY56" fmla="*/ 581 h 10000"/>
                <a:gd name="connsiteX57" fmla="*/ 9224 w 10000"/>
                <a:gd name="connsiteY57" fmla="*/ 484 h 10000"/>
                <a:gd name="connsiteX58" fmla="*/ 9086 w 10000"/>
                <a:gd name="connsiteY58" fmla="*/ 484 h 10000"/>
                <a:gd name="connsiteX59" fmla="*/ 8948 w 10000"/>
                <a:gd name="connsiteY59" fmla="*/ 1124 h 10000"/>
                <a:gd name="connsiteX60" fmla="*/ 8927 w 10000"/>
                <a:gd name="connsiteY60" fmla="*/ 1124 h 10000"/>
                <a:gd name="connsiteX61" fmla="*/ 8927 w 10000"/>
                <a:gd name="connsiteY61" fmla="*/ 1143 h 10000"/>
                <a:gd name="connsiteX62" fmla="*/ 8650 w 10000"/>
                <a:gd name="connsiteY62" fmla="*/ 1415 h 10000"/>
                <a:gd name="connsiteX63" fmla="*/ 8640 w 10000"/>
                <a:gd name="connsiteY63" fmla="*/ 1434 h 10000"/>
                <a:gd name="connsiteX64" fmla="*/ 8640 w 10000"/>
                <a:gd name="connsiteY64" fmla="*/ 1434 h 10000"/>
                <a:gd name="connsiteX65" fmla="*/ 8470 w 10000"/>
                <a:gd name="connsiteY65" fmla="*/ 1395 h 10000"/>
                <a:gd name="connsiteX66" fmla="*/ 8321 w 10000"/>
                <a:gd name="connsiteY66" fmla="*/ 1531 h 10000"/>
                <a:gd name="connsiteX67" fmla="*/ 8321 w 10000"/>
                <a:gd name="connsiteY67" fmla="*/ 1531 h 10000"/>
                <a:gd name="connsiteX68" fmla="*/ 8321 w 10000"/>
                <a:gd name="connsiteY68" fmla="*/ 1531 h 10000"/>
                <a:gd name="connsiteX69" fmla="*/ 8172 w 10000"/>
                <a:gd name="connsiteY69" fmla="*/ 1589 h 10000"/>
                <a:gd name="connsiteX70" fmla="*/ 8023 w 10000"/>
                <a:gd name="connsiteY70" fmla="*/ 1957 h 10000"/>
                <a:gd name="connsiteX71" fmla="*/ 8013 w 10000"/>
                <a:gd name="connsiteY71" fmla="*/ 1977 h 10000"/>
                <a:gd name="connsiteX72" fmla="*/ 7991 w 10000"/>
                <a:gd name="connsiteY72" fmla="*/ 1977 h 10000"/>
                <a:gd name="connsiteX73" fmla="*/ 7864 w 10000"/>
                <a:gd name="connsiteY73" fmla="*/ 1899 h 10000"/>
                <a:gd name="connsiteX74" fmla="*/ 7843 w 10000"/>
                <a:gd name="connsiteY74" fmla="*/ 1899 h 10000"/>
                <a:gd name="connsiteX75" fmla="*/ 7853 w 10000"/>
                <a:gd name="connsiteY75" fmla="*/ 1841 h 10000"/>
                <a:gd name="connsiteX76" fmla="*/ 7928 w 10000"/>
                <a:gd name="connsiteY76" fmla="*/ 1609 h 10000"/>
                <a:gd name="connsiteX77" fmla="*/ 7906 w 10000"/>
                <a:gd name="connsiteY77" fmla="*/ 1279 h 10000"/>
                <a:gd name="connsiteX78" fmla="*/ 7758 w 10000"/>
                <a:gd name="connsiteY78" fmla="*/ 1124 h 10000"/>
                <a:gd name="connsiteX79" fmla="*/ 7651 w 10000"/>
                <a:gd name="connsiteY79" fmla="*/ 1124 h 10000"/>
                <a:gd name="connsiteX80" fmla="*/ 7641 w 10000"/>
                <a:gd name="connsiteY80" fmla="*/ 1124 h 10000"/>
                <a:gd name="connsiteX81" fmla="*/ 7630 w 10000"/>
                <a:gd name="connsiteY81" fmla="*/ 1105 h 10000"/>
                <a:gd name="connsiteX82" fmla="*/ 7556 w 10000"/>
                <a:gd name="connsiteY82" fmla="*/ 930 h 10000"/>
                <a:gd name="connsiteX83" fmla="*/ 7184 w 10000"/>
                <a:gd name="connsiteY83" fmla="*/ 891 h 10000"/>
                <a:gd name="connsiteX84" fmla="*/ 7173 w 10000"/>
                <a:gd name="connsiteY84" fmla="*/ 891 h 10000"/>
                <a:gd name="connsiteX85" fmla="*/ 7173 w 10000"/>
                <a:gd name="connsiteY85" fmla="*/ 872 h 10000"/>
                <a:gd name="connsiteX86" fmla="*/ 7099 w 10000"/>
                <a:gd name="connsiteY86" fmla="*/ 620 h 10000"/>
                <a:gd name="connsiteX87" fmla="*/ 7088 w 10000"/>
                <a:gd name="connsiteY87" fmla="*/ 601 h 10000"/>
                <a:gd name="connsiteX88" fmla="*/ 7088 w 10000"/>
                <a:gd name="connsiteY88" fmla="*/ 601 h 10000"/>
                <a:gd name="connsiteX89" fmla="*/ 7088 w 10000"/>
                <a:gd name="connsiteY89" fmla="*/ 465 h 10000"/>
                <a:gd name="connsiteX90" fmla="*/ 7088 w 10000"/>
                <a:gd name="connsiteY90" fmla="*/ 426 h 10000"/>
                <a:gd name="connsiteX91" fmla="*/ 7099 w 10000"/>
                <a:gd name="connsiteY91" fmla="*/ 407 h 10000"/>
                <a:gd name="connsiteX92" fmla="*/ 7194 w 10000"/>
                <a:gd name="connsiteY92" fmla="*/ 310 h 10000"/>
                <a:gd name="connsiteX93" fmla="*/ 7109 w 10000"/>
                <a:gd name="connsiteY93" fmla="*/ 136 h 10000"/>
                <a:gd name="connsiteX94" fmla="*/ 7035 w 10000"/>
                <a:gd name="connsiteY94" fmla="*/ 0 h 10000"/>
                <a:gd name="connsiteX95" fmla="*/ 6939 w 10000"/>
                <a:gd name="connsiteY95" fmla="*/ 116 h 10000"/>
                <a:gd name="connsiteX96" fmla="*/ 6939 w 10000"/>
                <a:gd name="connsiteY96" fmla="*/ 116 h 10000"/>
                <a:gd name="connsiteX97" fmla="*/ 6939 w 10000"/>
                <a:gd name="connsiteY97" fmla="*/ 116 h 10000"/>
                <a:gd name="connsiteX98" fmla="*/ 6812 w 10000"/>
                <a:gd name="connsiteY98" fmla="*/ 155 h 10000"/>
                <a:gd name="connsiteX99" fmla="*/ 6674 w 10000"/>
                <a:gd name="connsiteY99" fmla="*/ 291 h 10000"/>
                <a:gd name="connsiteX100" fmla="*/ 6599 w 10000"/>
                <a:gd name="connsiteY100" fmla="*/ 523 h 10000"/>
                <a:gd name="connsiteX101" fmla="*/ 6599 w 10000"/>
                <a:gd name="connsiteY101" fmla="*/ 543 h 10000"/>
                <a:gd name="connsiteX102" fmla="*/ 6589 w 10000"/>
                <a:gd name="connsiteY102" fmla="*/ 543 h 10000"/>
                <a:gd name="connsiteX103" fmla="*/ 6397 w 10000"/>
                <a:gd name="connsiteY103" fmla="*/ 581 h 10000"/>
                <a:gd name="connsiteX104" fmla="*/ 6334 w 10000"/>
                <a:gd name="connsiteY104" fmla="*/ 891 h 10000"/>
                <a:gd name="connsiteX105" fmla="*/ 6334 w 10000"/>
                <a:gd name="connsiteY105" fmla="*/ 911 h 10000"/>
                <a:gd name="connsiteX106" fmla="*/ 6334 w 10000"/>
                <a:gd name="connsiteY106" fmla="*/ 911 h 10000"/>
                <a:gd name="connsiteX107" fmla="*/ 6142 w 10000"/>
                <a:gd name="connsiteY107" fmla="*/ 1124 h 10000"/>
                <a:gd name="connsiteX108" fmla="*/ 6015 w 10000"/>
                <a:gd name="connsiteY108" fmla="*/ 1453 h 10000"/>
                <a:gd name="connsiteX109" fmla="*/ 6004 w 10000"/>
                <a:gd name="connsiteY109" fmla="*/ 1473 h 10000"/>
                <a:gd name="connsiteX110" fmla="*/ 5994 w 10000"/>
                <a:gd name="connsiteY110" fmla="*/ 1453 h 10000"/>
                <a:gd name="connsiteX111" fmla="*/ 5802 w 10000"/>
                <a:gd name="connsiteY111" fmla="*/ 1434 h 10000"/>
                <a:gd name="connsiteX112" fmla="*/ 5781 w 10000"/>
                <a:gd name="connsiteY112" fmla="*/ 1415 h 10000"/>
                <a:gd name="connsiteX113" fmla="*/ 5781 w 10000"/>
                <a:gd name="connsiteY113" fmla="*/ 1395 h 10000"/>
                <a:gd name="connsiteX114" fmla="*/ 5760 w 10000"/>
                <a:gd name="connsiteY114" fmla="*/ 930 h 10000"/>
                <a:gd name="connsiteX115" fmla="*/ 5654 w 10000"/>
                <a:gd name="connsiteY115" fmla="*/ 872 h 10000"/>
                <a:gd name="connsiteX116" fmla="*/ 5377 w 10000"/>
                <a:gd name="connsiteY116" fmla="*/ 1240 h 10000"/>
                <a:gd name="connsiteX117" fmla="*/ 5165 w 10000"/>
                <a:gd name="connsiteY117" fmla="*/ 1570 h 10000"/>
                <a:gd name="connsiteX118" fmla="*/ 5165 w 10000"/>
                <a:gd name="connsiteY118" fmla="*/ 1899 h 10000"/>
                <a:gd name="connsiteX119" fmla="*/ 5165 w 10000"/>
                <a:gd name="connsiteY119" fmla="*/ 1919 h 10000"/>
                <a:gd name="connsiteX120" fmla="*/ 5154 w 10000"/>
                <a:gd name="connsiteY120" fmla="*/ 1919 h 10000"/>
                <a:gd name="connsiteX121" fmla="*/ 5027 w 10000"/>
                <a:gd name="connsiteY121" fmla="*/ 2112 h 10000"/>
                <a:gd name="connsiteX122" fmla="*/ 5016 w 10000"/>
                <a:gd name="connsiteY122" fmla="*/ 2112 h 10000"/>
                <a:gd name="connsiteX123" fmla="*/ 5005 w 10000"/>
                <a:gd name="connsiteY123" fmla="*/ 2112 h 10000"/>
                <a:gd name="connsiteX124" fmla="*/ 4814 w 10000"/>
                <a:gd name="connsiteY124" fmla="*/ 2112 h 10000"/>
                <a:gd name="connsiteX125" fmla="*/ 4803 w 10000"/>
                <a:gd name="connsiteY125" fmla="*/ 2112 h 10000"/>
                <a:gd name="connsiteX126" fmla="*/ 4803 w 10000"/>
                <a:gd name="connsiteY126" fmla="*/ 2112 h 10000"/>
                <a:gd name="connsiteX127" fmla="*/ 4697 w 10000"/>
                <a:gd name="connsiteY127" fmla="*/ 1957 h 10000"/>
                <a:gd name="connsiteX128" fmla="*/ 4591 w 10000"/>
                <a:gd name="connsiteY128" fmla="*/ 1899 h 10000"/>
                <a:gd name="connsiteX129" fmla="*/ 4591 w 10000"/>
                <a:gd name="connsiteY129" fmla="*/ 1957 h 10000"/>
                <a:gd name="connsiteX130" fmla="*/ 4591 w 10000"/>
                <a:gd name="connsiteY130" fmla="*/ 1996 h 10000"/>
                <a:gd name="connsiteX131" fmla="*/ 4570 w 10000"/>
                <a:gd name="connsiteY131" fmla="*/ 1996 h 10000"/>
                <a:gd name="connsiteX132" fmla="*/ 4453 w 10000"/>
                <a:gd name="connsiteY132" fmla="*/ 1996 h 10000"/>
                <a:gd name="connsiteX133" fmla="*/ 4431 w 10000"/>
                <a:gd name="connsiteY133" fmla="*/ 1996 h 10000"/>
                <a:gd name="connsiteX134" fmla="*/ 4431 w 10000"/>
                <a:gd name="connsiteY134" fmla="*/ 1957 h 10000"/>
                <a:gd name="connsiteX135" fmla="*/ 4378 w 10000"/>
                <a:gd name="connsiteY135" fmla="*/ 1589 h 10000"/>
                <a:gd name="connsiteX136" fmla="*/ 4091 w 10000"/>
                <a:gd name="connsiteY136" fmla="*/ 1512 h 10000"/>
                <a:gd name="connsiteX137" fmla="*/ 4081 w 10000"/>
                <a:gd name="connsiteY137" fmla="*/ 1512 h 10000"/>
                <a:gd name="connsiteX138" fmla="*/ 4070 w 10000"/>
                <a:gd name="connsiteY138" fmla="*/ 1492 h 10000"/>
                <a:gd name="connsiteX139" fmla="*/ 3879 w 10000"/>
                <a:gd name="connsiteY139" fmla="*/ 988 h 10000"/>
                <a:gd name="connsiteX140" fmla="*/ 3719 w 10000"/>
                <a:gd name="connsiteY140" fmla="*/ 988 h 10000"/>
                <a:gd name="connsiteX141" fmla="*/ 3698 w 10000"/>
                <a:gd name="connsiteY141" fmla="*/ 1085 h 10000"/>
                <a:gd name="connsiteX142" fmla="*/ 3698 w 10000"/>
                <a:gd name="connsiteY142" fmla="*/ 1105 h 10000"/>
                <a:gd name="connsiteX143" fmla="*/ 3698 w 10000"/>
                <a:gd name="connsiteY143" fmla="*/ 1105 h 10000"/>
                <a:gd name="connsiteX144" fmla="*/ 3592 w 10000"/>
                <a:gd name="connsiteY144" fmla="*/ 1318 h 10000"/>
                <a:gd name="connsiteX145" fmla="*/ 3592 w 10000"/>
                <a:gd name="connsiteY145" fmla="*/ 1318 h 10000"/>
                <a:gd name="connsiteX146" fmla="*/ 3581 w 10000"/>
                <a:gd name="connsiteY146" fmla="*/ 1318 h 10000"/>
                <a:gd name="connsiteX147" fmla="*/ 3486 w 10000"/>
                <a:gd name="connsiteY147" fmla="*/ 1395 h 10000"/>
                <a:gd name="connsiteX148" fmla="*/ 3486 w 10000"/>
                <a:gd name="connsiteY148" fmla="*/ 1686 h 10000"/>
                <a:gd name="connsiteX149" fmla="*/ 3486 w 10000"/>
                <a:gd name="connsiteY149" fmla="*/ 1725 h 10000"/>
                <a:gd name="connsiteX150" fmla="*/ 3475 w 10000"/>
                <a:gd name="connsiteY150" fmla="*/ 1725 h 10000"/>
                <a:gd name="connsiteX151" fmla="*/ 3369 w 10000"/>
                <a:gd name="connsiteY151" fmla="*/ 1841 h 10000"/>
                <a:gd name="connsiteX152" fmla="*/ 3135 w 10000"/>
                <a:gd name="connsiteY152" fmla="*/ 2171 h 10000"/>
                <a:gd name="connsiteX153" fmla="*/ 2954 w 10000"/>
                <a:gd name="connsiteY153" fmla="*/ 2829 h 10000"/>
                <a:gd name="connsiteX154" fmla="*/ 2954 w 10000"/>
                <a:gd name="connsiteY154" fmla="*/ 2829 h 10000"/>
                <a:gd name="connsiteX155" fmla="*/ 2944 w 10000"/>
                <a:gd name="connsiteY155" fmla="*/ 2829 h 10000"/>
                <a:gd name="connsiteX156" fmla="*/ 2699 w 10000"/>
                <a:gd name="connsiteY156" fmla="*/ 3217 h 10000"/>
                <a:gd name="connsiteX157" fmla="*/ 2487 w 10000"/>
                <a:gd name="connsiteY157" fmla="*/ 3566 h 10000"/>
                <a:gd name="connsiteX158" fmla="*/ 2465 w 10000"/>
                <a:gd name="connsiteY158" fmla="*/ 3934 h 10000"/>
                <a:gd name="connsiteX159" fmla="*/ 2465 w 10000"/>
                <a:gd name="connsiteY159" fmla="*/ 3934 h 10000"/>
                <a:gd name="connsiteX160" fmla="*/ 2465 w 10000"/>
                <a:gd name="connsiteY160" fmla="*/ 3934 h 10000"/>
                <a:gd name="connsiteX161" fmla="*/ 2295 w 10000"/>
                <a:gd name="connsiteY161" fmla="*/ 4205 h 10000"/>
                <a:gd name="connsiteX162" fmla="*/ 2200 w 10000"/>
                <a:gd name="connsiteY162" fmla="*/ 4535 h 10000"/>
                <a:gd name="connsiteX163" fmla="*/ 2189 w 10000"/>
                <a:gd name="connsiteY163" fmla="*/ 4554 h 10000"/>
                <a:gd name="connsiteX164" fmla="*/ 2179 w 10000"/>
                <a:gd name="connsiteY164" fmla="*/ 4554 h 10000"/>
                <a:gd name="connsiteX165" fmla="*/ 2051 w 10000"/>
                <a:gd name="connsiteY165" fmla="*/ 4535 h 10000"/>
                <a:gd name="connsiteX166" fmla="*/ 1913 w 10000"/>
                <a:gd name="connsiteY166" fmla="*/ 4767 h 10000"/>
                <a:gd name="connsiteX167" fmla="*/ 1913 w 10000"/>
                <a:gd name="connsiteY167" fmla="*/ 4787 h 10000"/>
                <a:gd name="connsiteX168" fmla="*/ 1902 w 10000"/>
                <a:gd name="connsiteY168" fmla="*/ 4787 h 10000"/>
                <a:gd name="connsiteX169" fmla="*/ 1498 w 10000"/>
                <a:gd name="connsiteY169" fmla="*/ 4671 h 10000"/>
                <a:gd name="connsiteX170" fmla="*/ 1488 w 10000"/>
                <a:gd name="connsiteY170" fmla="*/ 4671 h 10000"/>
                <a:gd name="connsiteX171" fmla="*/ 1488 w 10000"/>
                <a:gd name="connsiteY171" fmla="*/ 4651 h 10000"/>
                <a:gd name="connsiteX172" fmla="*/ 1424 w 10000"/>
                <a:gd name="connsiteY172" fmla="*/ 4516 h 10000"/>
                <a:gd name="connsiteX173" fmla="*/ 1350 w 10000"/>
                <a:gd name="connsiteY173" fmla="*/ 4516 h 10000"/>
                <a:gd name="connsiteX174" fmla="*/ 1296 w 10000"/>
                <a:gd name="connsiteY174" fmla="*/ 4690 h 10000"/>
                <a:gd name="connsiteX175" fmla="*/ 1286 w 10000"/>
                <a:gd name="connsiteY175" fmla="*/ 4922 h 10000"/>
                <a:gd name="connsiteX176" fmla="*/ 1286 w 10000"/>
                <a:gd name="connsiteY176" fmla="*/ 4942 h 10000"/>
                <a:gd name="connsiteX177" fmla="*/ 1275 w 10000"/>
                <a:gd name="connsiteY177" fmla="*/ 4961 h 10000"/>
                <a:gd name="connsiteX178" fmla="*/ 1190 w 10000"/>
                <a:gd name="connsiteY178" fmla="*/ 5058 h 10000"/>
                <a:gd name="connsiteX179" fmla="*/ 1137 w 10000"/>
                <a:gd name="connsiteY179" fmla="*/ 5271 h 10000"/>
                <a:gd name="connsiteX180" fmla="*/ 1137 w 10000"/>
                <a:gd name="connsiteY180" fmla="*/ 5291 h 10000"/>
                <a:gd name="connsiteX181" fmla="*/ 1126 w 10000"/>
                <a:gd name="connsiteY181" fmla="*/ 5291 h 10000"/>
                <a:gd name="connsiteX182" fmla="*/ 1020 w 10000"/>
                <a:gd name="connsiteY182" fmla="*/ 5407 h 10000"/>
                <a:gd name="connsiteX183" fmla="*/ 999 w 10000"/>
                <a:gd name="connsiteY183" fmla="*/ 5581 h 10000"/>
                <a:gd name="connsiteX184" fmla="*/ 978 w 10000"/>
                <a:gd name="connsiteY184" fmla="*/ 5756 h 10000"/>
                <a:gd name="connsiteX185" fmla="*/ 978 w 10000"/>
                <a:gd name="connsiteY185" fmla="*/ 5775 h 10000"/>
                <a:gd name="connsiteX186" fmla="*/ 967 w 10000"/>
                <a:gd name="connsiteY186" fmla="*/ 5775 h 10000"/>
                <a:gd name="connsiteX187" fmla="*/ 861 w 10000"/>
                <a:gd name="connsiteY187" fmla="*/ 5814 h 10000"/>
                <a:gd name="connsiteX188" fmla="*/ 861 w 10000"/>
                <a:gd name="connsiteY188" fmla="*/ 6047 h 10000"/>
                <a:gd name="connsiteX189" fmla="*/ 967 w 10000"/>
                <a:gd name="connsiteY189" fmla="*/ 6298 h 10000"/>
                <a:gd name="connsiteX190" fmla="*/ 967 w 10000"/>
                <a:gd name="connsiteY190" fmla="*/ 6298 h 10000"/>
                <a:gd name="connsiteX191" fmla="*/ 978 w 10000"/>
                <a:gd name="connsiteY191" fmla="*/ 6318 h 10000"/>
                <a:gd name="connsiteX192" fmla="*/ 988 w 10000"/>
                <a:gd name="connsiteY192" fmla="*/ 6512 h 10000"/>
                <a:gd name="connsiteX193" fmla="*/ 988 w 10000"/>
                <a:gd name="connsiteY193" fmla="*/ 6531 h 10000"/>
                <a:gd name="connsiteX194" fmla="*/ 978 w 10000"/>
                <a:gd name="connsiteY194" fmla="*/ 6550 h 10000"/>
                <a:gd name="connsiteX195" fmla="*/ 627 w 10000"/>
                <a:gd name="connsiteY195" fmla="*/ 7016 h 10000"/>
                <a:gd name="connsiteX196" fmla="*/ 521 w 10000"/>
                <a:gd name="connsiteY196" fmla="*/ 7151 h 10000"/>
                <a:gd name="connsiteX197" fmla="*/ 340 w 10000"/>
                <a:gd name="connsiteY197" fmla="*/ 7384 h 10000"/>
                <a:gd name="connsiteX198" fmla="*/ 340 w 10000"/>
                <a:gd name="connsiteY198" fmla="*/ 7403 h 10000"/>
                <a:gd name="connsiteX199" fmla="*/ 340 w 10000"/>
                <a:gd name="connsiteY199" fmla="*/ 7403 h 10000"/>
                <a:gd name="connsiteX200" fmla="*/ 191 w 10000"/>
                <a:gd name="connsiteY200" fmla="*/ 7519 h 10000"/>
                <a:gd name="connsiteX201" fmla="*/ 0 w 10000"/>
                <a:gd name="connsiteY201" fmla="*/ 7791 h 10000"/>
                <a:gd name="connsiteX202" fmla="*/ 11 w 10000"/>
                <a:gd name="connsiteY202" fmla="*/ 7829 h 10000"/>
                <a:gd name="connsiteX203" fmla="*/ 149 w 10000"/>
                <a:gd name="connsiteY203" fmla="*/ 7868 h 10000"/>
                <a:gd name="connsiteX204" fmla="*/ 159 w 10000"/>
                <a:gd name="connsiteY204" fmla="*/ 7868 h 10000"/>
                <a:gd name="connsiteX205" fmla="*/ 159 w 10000"/>
                <a:gd name="connsiteY205" fmla="*/ 7868 h 10000"/>
                <a:gd name="connsiteX206" fmla="*/ 372 w 10000"/>
                <a:gd name="connsiteY206" fmla="*/ 8256 h 10000"/>
                <a:gd name="connsiteX207" fmla="*/ 1467 w 10000"/>
                <a:gd name="connsiteY207" fmla="*/ 9205 h 10000"/>
                <a:gd name="connsiteX208" fmla="*/ 1467 w 10000"/>
                <a:gd name="connsiteY208" fmla="*/ 9205 h 10000"/>
                <a:gd name="connsiteX209" fmla="*/ 1477 w 10000"/>
                <a:gd name="connsiteY209" fmla="*/ 9205 h 10000"/>
                <a:gd name="connsiteX210" fmla="*/ 1838 w 10000"/>
                <a:gd name="connsiteY210" fmla="*/ 9729 h 10000"/>
                <a:gd name="connsiteX211" fmla="*/ 2508 w 10000"/>
                <a:gd name="connsiteY211" fmla="*/ 9767 h 10000"/>
                <a:gd name="connsiteX212" fmla="*/ 2561 w 10000"/>
                <a:gd name="connsiteY212" fmla="*/ 9671 h 10000"/>
                <a:gd name="connsiteX213" fmla="*/ 2561 w 10000"/>
                <a:gd name="connsiteY213" fmla="*/ 9671 h 10000"/>
                <a:gd name="connsiteX214" fmla="*/ 2582 w 10000"/>
                <a:gd name="connsiteY214" fmla="*/ 9671 h 10000"/>
                <a:gd name="connsiteX215" fmla="*/ 2848 w 10000"/>
                <a:gd name="connsiteY215" fmla="*/ 9651 h 10000"/>
                <a:gd name="connsiteX216" fmla="*/ 2859 w 10000"/>
                <a:gd name="connsiteY216" fmla="*/ 9651 h 10000"/>
                <a:gd name="connsiteX217" fmla="*/ 2869 w 10000"/>
                <a:gd name="connsiteY217" fmla="*/ 9671 h 10000"/>
                <a:gd name="connsiteX218" fmla="*/ 3061 w 10000"/>
                <a:gd name="connsiteY218" fmla="*/ 10000 h 10000"/>
                <a:gd name="connsiteX219" fmla="*/ 3061 w 10000"/>
                <a:gd name="connsiteY219" fmla="*/ 10000 h 10000"/>
                <a:gd name="connsiteX220" fmla="*/ 4336 w 10000"/>
                <a:gd name="connsiteY220" fmla="*/ 9961 h 10000"/>
                <a:gd name="connsiteX221" fmla="*/ 4357 w 10000"/>
                <a:gd name="connsiteY221" fmla="*/ 9961 h 10000"/>
                <a:gd name="connsiteX222" fmla="*/ 4357 w 10000"/>
                <a:gd name="connsiteY222" fmla="*/ 9981 h 10000"/>
                <a:gd name="connsiteX223" fmla="*/ 4527 w 10000"/>
                <a:gd name="connsiteY223" fmla="*/ 9864 h 10000"/>
                <a:gd name="connsiteX224" fmla="*/ 4538 w 10000"/>
                <a:gd name="connsiteY224" fmla="*/ 9864 h 10000"/>
                <a:gd name="connsiteX225" fmla="*/ 4538 w 10000"/>
                <a:gd name="connsiteY225" fmla="*/ 9864 h 10000"/>
                <a:gd name="connsiteX226" fmla="*/ 5250 w 10000"/>
                <a:gd name="connsiteY226" fmla="*/ 9845 h 10000"/>
                <a:gd name="connsiteX227" fmla="*/ 7354 w 10000"/>
                <a:gd name="connsiteY227" fmla="*/ 9845 h 10000"/>
                <a:gd name="connsiteX228" fmla="*/ 7343 w 10000"/>
                <a:gd name="connsiteY228" fmla="*/ 9826 h 10000"/>
                <a:gd name="connsiteX229" fmla="*/ 7439 w 10000"/>
                <a:gd name="connsiteY229" fmla="*/ 9612 h 10000"/>
                <a:gd name="connsiteX230" fmla="*/ 7513 w 10000"/>
                <a:gd name="connsiteY230" fmla="*/ 9516 h 10000"/>
                <a:gd name="connsiteX231" fmla="*/ 7428 w 10000"/>
                <a:gd name="connsiteY231" fmla="*/ 9283 h 10000"/>
                <a:gd name="connsiteX232" fmla="*/ 7450 w 10000"/>
                <a:gd name="connsiteY232" fmla="*/ 9109 h 10000"/>
                <a:gd name="connsiteX233" fmla="*/ 7683 w 10000"/>
                <a:gd name="connsiteY233" fmla="*/ 8992 h 10000"/>
                <a:gd name="connsiteX234" fmla="*/ 7683 w 10000"/>
                <a:gd name="connsiteY234" fmla="*/ 8798 h 10000"/>
                <a:gd name="connsiteX235" fmla="*/ 7779 w 10000"/>
                <a:gd name="connsiteY235" fmla="*/ 8682 h 10000"/>
                <a:gd name="connsiteX236" fmla="*/ 7949 w 10000"/>
                <a:gd name="connsiteY236" fmla="*/ 8372 h 10000"/>
                <a:gd name="connsiteX237" fmla="*/ 8013 w 10000"/>
                <a:gd name="connsiteY237" fmla="*/ 8023 h 10000"/>
                <a:gd name="connsiteX238" fmla="*/ 8098 w 10000"/>
                <a:gd name="connsiteY238" fmla="*/ 7907 h 10000"/>
                <a:gd name="connsiteX239" fmla="*/ 8204 w 10000"/>
                <a:gd name="connsiteY239" fmla="*/ 7907 h 10000"/>
                <a:gd name="connsiteX240" fmla="*/ 8363 w 10000"/>
                <a:gd name="connsiteY240" fmla="*/ 7829 h 10000"/>
                <a:gd name="connsiteX241" fmla="*/ 8576 w 10000"/>
                <a:gd name="connsiteY241" fmla="*/ 7907 h 10000"/>
                <a:gd name="connsiteX242" fmla="*/ 8661 w 10000"/>
                <a:gd name="connsiteY242" fmla="*/ 8004 h 10000"/>
                <a:gd name="connsiteX243" fmla="*/ 8704 w 10000"/>
                <a:gd name="connsiteY243" fmla="*/ 7829 h 10000"/>
                <a:gd name="connsiteX244" fmla="*/ 8831 w 10000"/>
                <a:gd name="connsiteY244" fmla="*/ 7733 h 10000"/>
                <a:gd name="connsiteX245" fmla="*/ 8980 w 10000"/>
                <a:gd name="connsiteY245" fmla="*/ 7713 h 10000"/>
                <a:gd name="connsiteX246" fmla="*/ 9097 w 10000"/>
                <a:gd name="connsiteY246" fmla="*/ 7674 h 10000"/>
                <a:gd name="connsiteX247" fmla="*/ 9235 w 10000"/>
                <a:gd name="connsiteY247" fmla="*/ 7791 h 10000"/>
                <a:gd name="connsiteX248" fmla="*/ 9341 w 10000"/>
                <a:gd name="connsiteY248" fmla="*/ 7907 h 10000"/>
                <a:gd name="connsiteX249" fmla="*/ 9458 w 10000"/>
                <a:gd name="connsiteY249" fmla="*/ 7733 h 10000"/>
                <a:gd name="connsiteX250" fmla="*/ 9575 w 10000"/>
                <a:gd name="connsiteY250" fmla="*/ 7829 h 10000"/>
                <a:gd name="connsiteX251" fmla="*/ 9702 w 10000"/>
                <a:gd name="connsiteY251" fmla="*/ 7829 h 10000"/>
                <a:gd name="connsiteX252" fmla="*/ 9809 w 10000"/>
                <a:gd name="connsiteY252" fmla="*/ 7907 h 10000"/>
                <a:gd name="connsiteX253" fmla="*/ 9968 w 10000"/>
                <a:gd name="connsiteY253" fmla="*/ 7829 h 10000"/>
                <a:gd name="connsiteX254" fmla="*/ 10000 w 10000"/>
                <a:gd name="connsiteY254" fmla="*/ 7810 h 10000"/>
                <a:gd name="connsiteX255" fmla="*/ 9979 w 10000"/>
                <a:gd name="connsiteY255" fmla="*/ 7810 h 10000"/>
                <a:gd name="connsiteX256" fmla="*/ 9968 w 10000"/>
                <a:gd name="connsiteY256" fmla="*/ 7636 h 10000"/>
                <a:gd name="connsiteX257" fmla="*/ 9968 w 10000"/>
                <a:gd name="connsiteY257" fmla="*/ 7190 h 10000"/>
                <a:gd name="connsiteX258" fmla="*/ 9926 w 10000"/>
                <a:gd name="connsiteY258" fmla="*/ 7132 h 10000"/>
                <a:gd name="connsiteX259" fmla="*/ 9915 w 10000"/>
                <a:gd name="connsiteY259" fmla="*/ 7112 h 10000"/>
                <a:gd name="connsiteX260" fmla="*/ 9926 w 10000"/>
                <a:gd name="connsiteY260" fmla="*/ 7093 h 10000"/>
                <a:gd name="connsiteX261" fmla="*/ 9968 w 10000"/>
                <a:gd name="connsiteY261" fmla="*/ 6822 h 10000"/>
                <a:gd name="connsiteX262" fmla="*/ 9979 w 10000"/>
                <a:gd name="connsiteY262" fmla="*/ 6802 h 10000"/>
                <a:gd name="connsiteX263" fmla="*/ 9979 w 10000"/>
                <a:gd name="connsiteY263" fmla="*/ 6802 h 10000"/>
                <a:gd name="connsiteX264" fmla="*/ 9947 w 10000"/>
                <a:gd name="connsiteY264" fmla="*/ 6764 h 10000"/>
                <a:gd name="connsiteX265" fmla="*/ 9872 w 10000"/>
                <a:gd name="connsiteY265" fmla="*/ 6899 h 10000"/>
                <a:gd name="connsiteX0" fmla="*/ 9872 w 10000"/>
                <a:gd name="connsiteY0" fmla="*/ 6899 h 10000"/>
                <a:gd name="connsiteX1" fmla="*/ 9862 w 10000"/>
                <a:gd name="connsiteY1" fmla="*/ 6899 h 10000"/>
                <a:gd name="connsiteX2" fmla="*/ 9862 w 10000"/>
                <a:gd name="connsiteY2" fmla="*/ 6899 h 10000"/>
                <a:gd name="connsiteX3" fmla="*/ 9766 w 10000"/>
                <a:gd name="connsiteY3" fmla="*/ 6938 h 10000"/>
                <a:gd name="connsiteX4" fmla="*/ 9671 w 10000"/>
                <a:gd name="connsiteY4" fmla="*/ 7112 h 10000"/>
                <a:gd name="connsiteX5" fmla="*/ 9671 w 10000"/>
                <a:gd name="connsiteY5" fmla="*/ 7112 h 10000"/>
                <a:gd name="connsiteX6" fmla="*/ 9665 w 10000"/>
                <a:gd name="connsiteY6" fmla="*/ 6915 h 10000"/>
                <a:gd name="connsiteX7" fmla="*/ 9458 w 10000"/>
                <a:gd name="connsiteY7" fmla="*/ 6880 h 10000"/>
                <a:gd name="connsiteX8" fmla="*/ 9447 w 10000"/>
                <a:gd name="connsiteY8" fmla="*/ 6860 h 10000"/>
                <a:gd name="connsiteX9" fmla="*/ 9447 w 10000"/>
                <a:gd name="connsiteY9" fmla="*/ 6841 h 10000"/>
                <a:gd name="connsiteX10" fmla="*/ 9447 w 10000"/>
                <a:gd name="connsiteY10" fmla="*/ 6550 h 10000"/>
                <a:gd name="connsiteX11" fmla="*/ 9447 w 10000"/>
                <a:gd name="connsiteY11" fmla="*/ 6531 h 10000"/>
                <a:gd name="connsiteX12" fmla="*/ 9458 w 10000"/>
                <a:gd name="connsiteY12" fmla="*/ 6531 h 10000"/>
                <a:gd name="connsiteX13" fmla="*/ 9554 w 10000"/>
                <a:gd name="connsiteY13" fmla="*/ 6453 h 10000"/>
                <a:gd name="connsiteX14" fmla="*/ 9564 w 10000"/>
                <a:gd name="connsiteY14" fmla="*/ 5601 h 10000"/>
                <a:gd name="connsiteX15" fmla="*/ 9564 w 10000"/>
                <a:gd name="connsiteY15" fmla="*/ 5581 h 10000"/>
                <a:gd name="connsiteX16" fmla="*/ 9564 w 10000"/>
                <a:gd name="connsiteY16" fmla="*/ 5562 h 10000"/>
                <a:gd name="connsiteX17" fmla="*/ 9649 w 10000"/>
                <a:gd name="connsiteY17" fmla="*/ 5388 h 10000"/>
                <a:gd name="connsiteX18" fmla="*/ 9702 w 10000"/>
                <a:gd name="connsiteY18" fmla="*/ 5291 h 10000"/>
                <a:gd name="connsiteX19" fmla="*/ 9554 w 10000"/>
                <a:gd name="connsiteY19" fmla="*/ 5058 h 10000"/>
                <a:gd name="connsiteX20" fmla="*/ 9554 w 10000"/>
                <a:gd name="connsiteY20" fmla="*/ 5058 h 10000"/>
                <a:gd name="connsiteX21" fmla="*/ 9543 w 10000"/>
                <a:gd name="connsiteY21" fmla="*/ 5058 h 10000"/>
                <a:gd name="connsiteX22" fmla="*/ 9394 w 10000"/>
                <a:gd name="connsiteY22" fmla="*/ 4709 h 10000"/>
                <a:gd name="connsiteX23" fmla="*/ 9394 w 10000"/>
                <a:gd name="connsiteY23" fmla="*/ 4690 h 10000"/>
                <a:gd name="connsiteX24" fmla="*/ 9394 w 10000"/>
                <a:gd name="connsiteY24" fmla="*/ 4690 h 10000"/>
                <a:gd name="connsiteX25" fmla="*/ 9456 w 10000"/>
                <a:gd name="connsiteY25" fmla="*/ 4520 h 10000"/>
                <a:gd name="connsiteX26" fmla="*/ 9490 w 10000"/>
                <a:gd name="connsiteY26" fmla="*/ 4360 h 10000"/>
                <a:gd name="connsiteX27" fmla="*/ 9564 w 10000"/>
                <a:gd name="connsiteY27" fmla="*/ 4244 h 10000"/>
                <a:gd name="connsiteX28" fmla="*/ 9628 w 10000"/>
                <a:gd name="connsiteY28" fmla="*/ 4012 h 10000"/>
                <a:gd name="connsiteX29" fmla="*/ 9490 w 10000"/>
                <a:gd name="connsiteY29" fmla="*/ 3760 h 10000"/>
                <a:gd name="connsiteX30" fmla="*/ 9490 w 10000"/>
                <a:gd name="connsiteY30" fmla="*/ 3760 h 10000"/>
                <a:gd name="connsiteX31" fmla="*/ 9479 w 10000"/>
                <a:gd name="connsiteY31" fmla="*/ 3760 h 10000"/>
                <a:gd name="connsiteX32" fmla="*/ 9426 w 10000"/>
                <a:gd name="connsiteY32" fmla="*/ 3527 h 10000"/>
                <a:gd name="connsiteX33" fmla="*/ 9426 w 10000"/>
                <a:gd name="connsiteY33" fmla="*/ 3527 h 10000"/>
                <a:gd name="connsiteX34" fmla="*/ 9426 w 10000"/>
                <a:gd name="connsiteY34" fmla="*/ 3508 h 10000"/>
                <a:gd name="connsiteX35" fmla="*/ 9416 w 10000"/>
                <a:gd name="connsiteY35" fmla="*/ 3198 h 10000"/>
                <a:gd name="connsiteX36" fmla="*/ 9416 w 10000"/>
                <a:gd name="connsiteY36" fmla="*/ 3198 h 10000"/>
                <a:gd name="connsiteX37" fmla="*/ 9416 w 10000"/>
                <a:gd name="connsiteY37" fmla="*/ 3178 h 10000"/>
                <a:gd name="connsiteX38" fmla="*/ 9532 w 10000"/>
                <a:gd name="connsiteY38" fmla="*/ 2907 h 10000"/>
                <a:gd name="connsiteX39" fmla="*/ 9384 w 10000"/>
                <a:gd name="connsiteY39" fmla="*/ 2616 h 10000"/>
                <a:gd name="connsiteX40" fmla="*/ 9384 w 10000"/>
                <a:gd name="connsiteY40" fmla="*/ 2616 h 10000"/>
                <a:gd name="connsiteX41" fmla="*/ 9384 w 10000"/>
                <a:gd name="connsiteY41" fmla="*/ 2616 h 10000"/>
                <a:gd name="connsiteX42" fmla="*/ 9330 w 10000"/>
                <a:gd name="connsiteY42" fmla="*/ 2267 h 10000"/>
                <a:gd name="connsiteX43" fmla="*/ 9330 w 10000"/>
                <a:gd name="connsiteY43" fmla="*/ 2248 h 10000"/>
                <a:gd name="connsiteX44" fmla="*/ 9330 w 10000"/>
                <a:gd name="connsiteY44" fmla="*/ 2248 h 10000"/>
                <a:gd name="connsiteX45" fmla="*/ 9341 w 10000"/>
                <a:gd name="connsiteY45" fmla="*/ 1841 h 10000"/>
                <a:gd name="connsiteX46" fmla="*/ 9341 w 10000"/>
                <a:gd name="connsiteY46" fmla="*/ 1822 h 10000"/>
                <a:gd name="connsiteX47" fmla="*/ 9341 w 10000"/>
                <a:gd name="connsiteY47" fmla="*/ 1822 h 10000"/>
                <a:gd name="connsiteX48" fmla="*/ 9660 w 10000"/>
                <a:gd name="connsiteY48" fmla="*/ 1279 h 10000"/>
                <a:gd name="connsiteX49" fmla="*/ 9564 w 10000"/>
                <a:gd name="connsiteY49" fmla="*/ 1008 h 10000"/>
                <a:gd name="connsiteX50" fmla="*/ 9554 w 10000"/>
                <a:gd name="connsiteY50" fmla="*/ 1008 h 10000"/>
                <a:gd name="connsiteX51" fmla="*/ 9554 w 10000"/>
                <a:gd name="connsiteY51" fmla="*/ 988 h 10000"/>
                <a:gd name="connsiteX52" fmla="*/ 9586 w 10000"/>
                <a:gd name="connsiteY52" fmla="*/ 698 h 10000"/>
                <a:gd name="connsiteX53" fmla="*/ 9501 w 10000"/>
                <a:gd name="connsiteY53" fmla="*/ 601 h 10000"/>
                <a:gd name="connsiteX54" fmla="*/ 9288 w 10000"/>
                <a:gd name="connsiteY54" fmla="*/ 581 h 10000"/>
                <a:gd name="connsiteX55" fmla="*/ 9288 w 10000"/>
                <a:gd name="connsiteY55" fmla="*/ 581 h 10000"/>
                <a:gd name="connsiteX56" fmla="*/ 9277 w 10000"/>
                <a:gd name="connsiteY56" fmla="*/ 581 h 10000"/>
                <a:gd name="connsiteX57" fmla="*/ 9224 w 10000"/>
                <a:gd name="connsiteY57" fmla="*/ 484 h 10000"/>
                <a:gd name="connsiteX58" fmla="*/ 9086 w 10000"/>
                <a:gd name="connsiteY58" fmla="*/ 484 h 10000"/>
                <a:gd name="connsiteX59" fmla="*/ 8948 w 10000"/>
                <a:gd name="connsiteY59" fmla="*/ 1124 h 10000"/>
                <a:gd name="connsiteX60" fmla="*/ 8927 w 10000"/>
                <a:gd name="connsiteY60" fmla="*/ 1124 h 10000"/>
                <a:gd name="connsiteX61" fmla="*/ 8927 w 10000"/>
                <a:gd name="connsiteY61" fmla="*/ 1143 h 10000"/>
                <a:gd name="connsiteX62" fmla="*/ 8650 w 10000"/>
                <a:gd name="connsiteY62" fmla="*/ 1415 h 10000"/>
                <a:gd name="connsiteX63" fmla="*/ 8640 w 10000"/>
                <a:gd name="connsiteY63" fmla="*/ 1434 h 10000"/>
                <a:gd name="connsiteX64" fmla="*/ 8640 w 10000"/>
                <a:gd name="connsiteY64" fmla="*/ 1434 h 10000"/>
                <a:gd name="connsiteX65" fmla="*/ 8470 w 10000"/>
                <a:gd name="connsiteY65" fmla="*/ 1395 h 10000"/>
                <a:gd name="connsiteX66" fmla="*/ 8321 w 10000"/>
                <a:gd name="connsiteY66" fmla="*/ 1531 h 10000"/>
                <a:gd name="connsiteX67" fmla="*/ 8321 w 10000"/>
                <a:gd name="connsiteY67" fmla="*/ 1531 h 10000"/>
                <a:gd name="connsiteX68" fmla="*/ 8321 w 10000"/>
                <a:gd name="connsiteY68" fmla="*/ 1531 h 10000"/>
                <a:gd name="connsiteX69" fmla="*/ 8172 w 10000"/>
                <a:gd name="connsiteY69" fmla="*/ 1589 h 10000"/>
                <a:gd name="connsiteX70" fmla="*/ 8023 w 10000"/>
                <a:gd name="connsiteY70" fmla="*/ 1957 h 10000"/>
                <a:gd name="connsiteX71" fmla="*/ 8013 w 10000"/>
                <a:gd name="connsiteY71" fmla="*/ 1977 h 10000"/>
                <a:gd name="connsiteX72" fmla="*/ 7991 w 10000"/>
                <a:gd name="connsiteY72" fmla="*/ 1977 h 10000"/>
                <a:gd name="connsiteX73" fmla="*/ 7864 w 10000"/>
                <a:gd name="connsiteY73" fmla="*/ 1899 h 10000"/>
                <a:gd name="connsiteX74" fmla="*/ 7843 w 10000"/>
                <a:gd name="connsiteY74" fmla="*/ 1899 h 10000"/>
                <a:gd name="connsiteX75" fmla="*/ 7853 w 10000"/>
                <a:gd name="connsiteY75" fmla="*/ 1841 h 10000"/>
                <a:gd name="connsiteX76" fmla="*/ 7928 w 10000"/>
                <a:gd name="connsiteY76" fmla="*/ 1609 h 10000"/>
                <a:gd name="connsiteX77" fmla="*/ 7906 w 10000"/>
                <a:gd name="connsiteY77" fmla="*/ 1279 h 10000"/>
                <a:gd name="connsiteX78" fmla="*/ 7758 w 10000"/>
                <a:gd name="connsiteY78" fmla="*/ 1124 h 10000"/>
                <a:gd name="connsiteX79" fmla="*/ 7651 w 10000"/>
                <a:gd name="connsiteY79" fmla="*/ 1124 h 10000"/>
                <a:gd name="connsiteX80" fmla="*/ 7641 w 10000"/>
                <a:gd name="connsiteY80" fmla="*/ 1124 h 10000"/>
                <a:gd name="connsiteX81" fmla="*/ 7630 w 10000"/>
                <a:gd name="connsiteY81" fmla="*/ 1105 h 10000"/>
                <a:gd name="connsiteX82" fmla="*/ 7556 w 10000"/>
                <a:gd name="connsiteY82" fmla="*/ 930 h 10000"/>
                <a:gd name="connsiteX83" fmla="*/ 7184 w 10000"/>
                <a:gd name="connsiteY83" fmla="*/ 891 h 10000"/>
                <a:gd name="connsiteX84" fmla="*/ 7173 w 10000"/>
                <a:gd name="connsiteY84" fmla="*/ 891 h 10000"/>
                <a:gd name="connsiteX85" fmla="*/ 7173 w 10000"/>
                <a:gd name="connsiteY85" fmla="*/ 872 h 10000"/>
                <a:gd name="connsiteX86" fmla="*/ 7099 w 10000"/>
                <a:gd name="connsiteY86" fmla="*/ 620 h 10000"/>
                <a:gd name="connsiteX87" fmla="*/ 7088 w 10000"/>
                <a:gd name="connsiteY87" fmla="*/ 601 h 10000"/>
                <a:gd name="connsiteX88" fmla="*/ 7088 w 10000"/>
                <a:gd name="connsiteY88" fmla="*/ 601 h 10000"/>
                <a:gd name="connsiteX89" fmla="*/ 7088 w 10000"/>
                <a:gd name="connsiteY89" fmla="*/ 465 h 10000"/>
                <a:gd name="connsiteX90" fmla="*/ 7088 w 10000"/>
                <a:gd name="connsiteY90" fmla="*/ 426 h 10000"/>
                <a:gd name="connsiteX91" fmla="*/ 7099 w 10000"/>
                <a:gd name="connsiteY91" fmla="*/ 407 h 10000"/>
                <a:gd name="connsiteX92" fmla="*/ 7194 w 10000"/>
                <a:gd name="connsiteY92" fmla="*/ 310 h 10000"/>
                <a:gd name="connsiteX93" fmla="*/ 7109 w 10000"/>
                <a:gd name="connsiteY93" fmla="*/ 136 h 10000"/>
                <a:gd name="connsiteX94" fmla="*/ 7035 w 10000"/>
                <a:gd name="connsiteY94" fmla="*/ 0 h 10000"/>
                <a:gd name="connsiteX95" fmla="*/ 6939 w 10000"/>
                <a:gd name="connsiteY95" fmla="*/ 116 h 10000"/>
                <a:gd name="connsiteX96" fmla="*/ 6939 w 10000"/>
                <a:gd name="connsiteY96" fmla="*/ 116 h 10000"/>
                <a:gd name="connsiteX97" fmla="*/ 6939 w 10000"/>
                <a:gd name="connsiteY97" fmla="*/ 116 h 10000"/>
                <a:gd name="connsiteX98" fmla="*/ 6812 w 10000"/>
                <a:gd name="connsiteY98" fmla="*/ 155 h 10000"/>
                <a:gd name="connsiteX99" fmla="*/ 6674 w 10000"/>
                <a:gd name="connsiteY99" fmla="*/ 291 h 10000"/>
                <a:gd name="connsiteX100" fmla="*/ 6599 w 10000"/>
                <a:gd name="connsiteY100" fmla="*/ 523 h 10000"/>
                <a:gd name="connsiteX101" fmla="*/ 6599 w 10000"/>
                <a:gd name="connsiteY101" fmla="*/ 543 h 10000"/>
                <a:gd name="connsiteX102" fmla="*/ 6589 w 10000"/>
                <a:gd name="connsiteY102" fmla="*/ 543 h 10000"/>
                <a:gd name="connsiteX103" fmla="*/ 6397 w 10000"/>
                <a:gd name="connsiteY103" fmla="*/ 581 h 10000"/>
                <a:gd name="connsiteX104" fmla="*/ 6334 w 10000"/>
                <a:gd name="connsiteY104" fmla="*/ 891 h 10000"/>
                <a:gd name="connsiteX105" fmla="*/ 6334 w 10000"/>
                <a:gd name="connsiteY105" fmla="*/ 911 h 10000"/>
                <a:gd name="connsiteX106" fmla="*/ 6334 w 10000"/>
                <a:gd name="connsiteY106" fmla="*/ 911 h 10000"/>
                <a:gd name="connsiteX107" fmla="*/ 6142 w 10000"/>
                <a:gd name="connsiteY107" fmla="*/ 1124 h 10000"/>
                <a:gd name="connsiteX108" fmla="*/ 6015 w 10000"/>
                <a:gd name="connsiteY108" fmla="*/ 1453 h 10000"/>
                <a:gd name="connsiteX109" fmla="*/ 6004 w 10000"/>
                <a:gd name="connsiteY109" fmla="*/ 1473 h 10000"/>
                <a:gd name="connsiteX110" fmla="*/ 5994 w 10000"/>
                <a:gd name="connsiteY110" fmla="*/ 1453 h 10000"/>
                <a:gd name="connsiteX111" fmla="*/ 5802 w 10000"/>
                <a:gd name="connsiteY111" fmla="*/ 1434 h 10000"/>
                <a:gd name="connsiteX112" fmla="*/ 5781 w 10000"/>
                <a:gd name="connsiteY112" fmla="*/ 1415 h 10000"/>
                <a:gd name="connsiteX113" fmla="*/ 5781 w 10000"/>
                <a:gd name="connsiteY113" fmla="*/ 1395 h 10000"/>
                <a:gd name="connsiteX114" fmla="*/ 5760 w 10000"/>
                <a:gd name="connsiteY114" fmla="*/ 930 h 10000"/>
                <a:gd name="connsiteX115" fmla="*/ 5654 w 10000"/>
                <a:gd name="connsiteY115" fmla="*/ 872 h 10000"/>
                <a:gd name="connsiteX116" fmla="*/ 5377 w 10000"/>
                <a:gd name="connsiteY116" fmla="*/ 1240 h 10000"/>
                <a:gd name="connsiteX117" fmla="*/ 5165 w 10000"/>
                <a:gd name="connsiteY117" fmla="*/ 1570 h 10000"/>
                <a:gd name="connsiteX118" fmla="*/ 5165 w 10000"/>
                <a:gd name="connsiteY118" fmla="*/ 1899 h 10000"/>
                <a:gd name="connsiteX119" fmla="*/ 5165 w 10000"/>
                <a:gd name="connsiteY119" fmla="*/ 1919 h 10000"/>
                <a:gd name="connsiteX120" fmla="*/ 5154 w 10000"/>
                <a:gd name="connsiteY120" fmla="*/ 1919 h 10000"/>
                <a:gd name="connsiteX121" fmla="*/ 5027 w 10000"/>
                <a:gd name="connsiteY121" fmla="*/ 2112 h 10000"/>
                <a:gd name="connsiteX122" fmla="*/ 5016 w 10000"/>
                <a:gd name="connsiteY122" fmla="*/ 2112 h 10000"/>
                <a:gd name="connsiteX123" fmla="*/ 5005 w 10000"/>
                <a:gd name="connsiteY123" fmla="*/ 2112 h 10000"/>
                <a:gd name="connsiteX124" fmla="*/ 4814 w 10000"/>
                <a:gd name="connsiteY124" fmla="*/ 2112 h 10000"/>
                <a:gd name="connsiteX125" fmla="*/ 4803 w 10000"/>
                <a:gd name="connsiteY125" fmla="*/ 2112 h 10000"/>
                <a:gd name="connsiteX126" fmla="*/ 4803 w 10000"/>
                <a:gd name="connsiteY126" fmla="*/ 2112 h 10000"/>
                <a:gd name="connsiteX127" fmla="*/ 4697 w 10000"/>
                <a:gd name="connsiteY127" fmla="*/ 1957 h 10000"/>
                <a:gd name="connsiteX128" fmla="*/ 4591 w 10000"/>
                <a:gd name="connsiteY128" fmla="*/ 1899 h 10000"/>
                <a:gd name="connsiteX129" fmla="*/ 4591 w 10000"/>
                <a:gd name="connsiteY129" fmla="*/ 1957 h 10000"/>
                <a:gd name="connsiteX130" fmla="*/ 4591 w 10000"/>
                <a:gd name="connsiteY130" fmla="*/ 1996 h 10000"/>
                <a:gd name="connsiteX131" fmla="*/ 4570 w 10000"/>
                <a:gd name="connsiteY131" fmla="*/ 1996 h 10000"/>
                <a:gd name="connsiteX132" fmla="*/ 4453 w 10000"/>
                <a:gd name="connsiteY132" fmla="*/ 1996 h 10000"/>
                <a:gd name="connsiteX133" fmla="*/ 4431 w 10000"/>
                <a:gd name="connsiteY133" fmla="*/ 1996 h 10000"/>
                <a:gd name="connsiteX134" fmla="*/ 4431 w 10000"/>
                <a:gd name="connsiteY134" fmla="*/ 1957 h 10000"/>
                <a:gd name="connsiteX135" fmla="*/ 4378 w 10000"/>
                <a:gd name="connsiteY135" fmla="*/ 1589 h 10000"/>
                <a:gd name="connsiteX136" fmla="*/ 4091 w 10000"/>
                <a:gd name="connsiteY136" fmla="*/ 1512 h 10000"/>
                <a:gd name="connsiteX137" fmla="*/ 4081 w 10000"/>
                <a:gd name="connsiteY137" fmla="*/ 1512 h 10000"/>
                <a:gd name="connsiteX138" fmla="*/ 4070 w 10000"/>
                <a:gd name="connsiteY138" fmla="*/ 1492 h 10000"/>
                <a:gd name="connsiteX139" fmla="*/ 3879 w 10000"/>
                <a:gd name="connsiteY139" fmla="*/ 988 h 10000"/>
                <a:gd name="connsiteX140" fmla="*/ 3719 w 10000"/>
                <a:gd name="connsiteY140" fmla="*/ 988 h 10000"/>
                <a:gd name="connsiteX141" fmla="*/ 3698 w 10000"/>
                <a:gd name="connsiteY141" fmla="*/ 1085 h 10000"/>
                <a:gd name="connsiteX142" fmla="*/ 3698 w 10000"/>
                <a:gd name="connsiteY142" fmla="*/ 1105 h 10000"/>
                <a:gd name="connsiteX143" fmla="*/ 3698 w 10000"/>
                <a:gd name="connsiteY143" fmla="*/ 1105 h 10000"/>
                <a:gd name="connsiteX144" fmla="*/ 3592 w 10000"/>
                <a:gd name="connsiteY144" fmla="*/ 1318 h 10000"/>
                <a:gd name="connsiteX145" fmla="*/ 3592 w 10000"/>
                <a:gd name="connsiteY145" fmla="*/ 1318 h 10000"/>
                <a:gd name="connsiteX146" fmla="*/ 3581 w 10000"/>
                <a:gd name="connsiteY146" fmla="*/ 1318 h 10000"/>
                <a:gd name="connsiteX147" fmla="*/ 3486 w 10000"/>
                <a:gd name="connsiteY147" fmla="*/ 1395 h 10000"/>
                <a:gd name="connsiteX148" fmla="*/ 3486 w 10000"/>
                <a:gd name="connsiteY148" fmla="*/ 1686 h 10000"/>
                <a:gd name="connsiteX149" fmla="*/ 3486 w 10000"/>
                <a:gd name="connsiteY149" fmla="*/ 1725 h 10000"/>
                <a:gd name="connsiteX150" fmla="*/ 3475 w 10000"/>
                <a:gd name="connsiteY150" fmla="*/ 1725 h 10000"/>
                <a:gd name="connsiteX151" fmla="*/ 3369 w 10000"/>
                <a:gd name="connsiteY151" fmla="*/ 1841 h 10000"/>
                <a:gd name="connsiteX152" fmla="*/ 3135 w 10000"/>
                <a:gd name="connsiteY152" fmla="*/ 2171 h 10000"/>
                <a:gd name="connsiteX153" fmla="*/ 2954 w 10000"/>
                <a:gd name="connsiteY153" fmla="*/ 2829 h 10000"/>
                <a:gd name="connsiteX154" fmla="*/ 2954 w 10000"/>
                <a:gd name="connsiteY154" fmla="*/ 2829 h 10000"/>
                <a:gd name="connsiteX155" fmla="*/ 2944 w 10000"/>
                <a:gd name="connsiteY155" fmla="*/ 2829 h 10000"/>
                <a:gd name="connsiteX156" fmla="*/ 2699 w 10000"/>
                <a:gd name="connsiteY156" fmla="*/ 3217 h 10000"/>
                <a:gd name="connsiteX157" fmla="*/ 2487 w 10000"/>
                <a:gd name="connsiteY157" fmla="*/ 3566 h 10000"/>
                <a:gd name="connsiteX158" fmla="*/ 2465 w 10000"/>
                <a:gd name="connsiteY158" fmla="*/ 3934 h 10000"/>
                <a:gd name="connsiteX159" fmla="*/ 2465 w 10000"/>
                <a:gd name="connsiteY159" fmla="*/ 3934 h 10000"/>
                <a:gd name="connsiteX160" fmla="*/ 2465 w 10000"/>
                <a:gd name="connsiteY160" fmla="*/ 3934 h 10000"/>
                <a:gd name="connsiteX161" fmla="*/ 2295 w 10000"/>
                <a:gd name="connsiteY161" fmla="*/ 4205 h 10000"/>
                <a:gd name="connsiteX162" fmla="*/ 2200 w 10000"/>
                <a:gd name="connsiteY162" fmla="*/ 4535 h 10000"/>
                <a:gd name="connsiteX163" fmla="*/ 2189 w 10000"/>
                <a:gd name="connsiteY163" fmla="*/ 4554 h 10000"/>
                <a:gd name="connsiteX164" fmla="*/ 2179 w 10000"/>
                <a:gd name="connsiteY164" fmla="*/ 4554 h 10000"/>
                <a:gd name="connsiteX165" fmla="*/ 2051 w 10000"/>
                <a:gd name="connsiteY165" fmla="*/ 4535 h 10000"/>
                <a:gd name="connsiteX166" fmla="*/ 1913 w 10000"/>
                <a:gd name="connsiteY166" fmla="*/ 4767 h 10000"/>
                <a:gd name="connsiteX167" fmla="*/ 1913 w 10000"/>
                <a:gd name="connsiteY167" fmla="*/ 4787 h 10000"/>
                <a:gd name="connsiteX168" fmla="*/ 1902 w 10000"/>
                <a:gd name="connsiteY168" fmla="*/ 4787 h 10000"/>
                <a:gd name="connsiteX169" fmla="*/ 1498 w 10000"/>
                <a:gd name="connsiteY169" fmla="*/ 4671 h 10000"/>
                <a:gd name="connsiteX170" fmla="*/ 1488 w 10000"/>
                <a:gd name="connsiteY170" fmla="*/ 4671 h 10000"/>
                <a:gd name="connsiteX171" fmla="*/ 1488 w 10000"/>
                <a:gd name="connsiteY171" fmla="*/ 4651 h 10000"/>
                <a:gd name="connsiteX172" fmla="*/ 1424 w 10000"/>
                <a:gd name="connsiteY172" fmla="*/ 4516 h 10000"/>
                <a:gd name="connsiteX173" fmla="*/ 1350 w 10000"/>
                <a:gd name="connsiteY173" fmla="*/ 4516 h 10000"/>
                <a:gd name="connsiteX174" fmla="*/ 1296 w 10000"/>
                <a:gd name="connsiteY174" fmla="*/ 4690 h 10000"/>
                <a:gd name="connsiteX175" fmla="*/ 1286 w 10000"/>
                <a:gd name="connsiteY175" fmla="*/ 4922 h 10000"/>
                <a:gd name="connsiteX176" fmla="*/ 1286 w 10000"/>
                <a:gd name="connsiteY176" fmla="*/ 4942 h 10000"/>
                <a:gd name="connsiteX177" fmla="*/ 1275 w 10000"/>
                <a:gd name="connsiteY177" fmla="*/ 4961 h 10000"/>
                <a:gd name="connsiteX178" fmla="*/ 1190 w 10000"/>
                <a:gd name="connsiteY178" fmla="*/ 5058 h 10000"/>
                <a:gd name="connsiteX179" fmla="*/ 1137 w 10000"/>
                <a:gd name="connsiteY179" fmla="*/ 5271 h 10000"/>
                <a:gd name="connsiteX180" fmla="*/ 1137 w 10000"/>
                <a:gd name="connsiteY180" fmla="*/ 5291 h 10000"/>
                <a:gd name="connsiteX181" fmla="*/ 1126 w 10000"/>
                <a:gd name="connsiteY181" fmla="*/ 5291 h 10000"/>
                <a:gd name="connsiteX182" fmla="*/ 1020 w 10000"/>
                <a:gd name="connsiteY182" fmla="*/ 5407 h 10000"/>
                <a:gd name="connsiteX183" fmla="*/ 999 w 10000"/>
                <a:gd name="connsiteY183" fmla="*/ 5581 h 10000"/>
                <a:gd name="connsiteX184" fmla="*/ 978 w 10000"/>
                <a:gd name="connsiteY184" fmla="*/ 5756 h 10000"/>
                <a:gd name="connsiteX185" fmla="*/ 978 w 10000"/>
                <a:gd name="connsiteY185" fmla="*/ 5775 h 10000"/>
                <a:gd name="connsiteX186" fmla="*/ 967 w 10000"/>
                <a:gd name="connsiteY186" fmla="*/ 5775 h 10000"/>
                <a:gd name="connsiteX187" fmla="*/ 861 w 10000"/>
                <a:gd name="connsiteY187" fmla="*/ 5814 h 10000"/>
                <a:gd name="connsiteX188" fmla="*/ 861 w 10000"/>
                <a:gd name="connsiteY188" fmla="*/ 6047 h 10000"/>
                <a:gd name="connsiteX189" fmla="*/ 967 w 10000"/>
                <a:gd name="connsiteY189" fmla="*/ 6298 h 10000"/>
                <a:gd name="connsiteX190" fmla="*/ 967 w 10000"/>
                <a:gd name="connsiteY190" fmla="*/ 6298 h 10000"/>
                <a:gd name="connsiteX191" fmla="*/ 978 w 10000"/>
                <a:gd name="connsiteY191" fmla="*/ 6318 h 10000"/>
                <a:gd name="connsiteX192" fmla="*/ 988 w 10000"/>
                <a:gd name="connsiteY192" fmla="*/ 6512 h 10000"/>
                <a:gd name="connsiteX193" fmla="*/ 988 w 10000"/>
                <a:gd name="connsiteY193" fmla="*/ 6531 h 10000"/>
                <a:gd name="connsiteX194" fmla="*/ 978 w 10000"/>
                <a:gd name="connsiteY194" fmla="*/ 6550 h 10000"/>
                <a:gd name="connsiteX195" fmla="*/ 627 w 10000"/>
                <a:gd name="connsiteY195" fmla="*/ 7016 h 10000"/>
                <a:gd name="connsiteX196" fmla="*/ 521 w 10000"/>
                <a:gd name="connsiteY196" fmla="*/ 7151 h 10000"/>
                <a:gd name="connsiteX197" fmla="*/ 340 w 10000"/>
                <a:gd name="connsiteY197" fmla="*/ 7384 h 10000"/>
                <a:gd name="connsiteX198" fmla="*/ 340 w 10000"/>
                <a:gd name="connsiteY198" fmla="*/ 7403 h 10000"/>
                <a:gd name="connsiteX199" fmla="*/ 340 w 10000"/>
                <a:gd name="connsiteY199" fmla="*/ 7403 h 10000"/>
                <a:gd name="connsiteX200" fmla="*/ 191 w 10000"/>
                <a:gd name="connsiteY200" fmla="*/ 7519 h 10000"/>
                <a:gd name="connsiteX201" fmla="*/ 0 w 10000"/>
                <a:gd name="connsiteY201" fmla="*/ 7791 h 10000"/>
                <a:gd name="connsiteX202" fmla="*/ 11 w 10000"/>
                <a:gd name="connsiteY202" fmla="*/ 7829 h 10000"/>
                <a:gd name="connsiteX203" fmla="*/ 149 w 10000"/>
                <a:gd name="connsiteY203" fmla="*/ 7868 h 10000"/>
                <a:gd name="connsiteX204" fmla="*/ 159 w 10000"/>
                <a:gd name="connsiteY204" fmla="*/ 7868 h 10000"/>
                <a:gd name="connsiteX205" fmla="*/ 159 w 10000"/>
                <a:gd name="connsiteY205" fmla="*/ 7868 h 10000"/>
                <a:gd name="connsiteX206" fmla="*/ 372 w 10000"/>
                <a:gd name="connsiteY206" fmla="*/ 8256 h 10000"/>
                <a:gd name="connsiteX207" fmla="*/ 1467 w 10000"/>
                <a:gd name="connsiteY207" fmla="*/ 9205 h 10000"/>
                <a:gd name="connsiteX208" fmla="*/ 1467 w 10000"/>
                <a:gd name="connsiteY208" fmla="*/ 9205 h 10000"/>
                <a:gd name="connsiteX209" fmla="*/ 1477 w 10000"/>
                <a:gd name="connsiteY209" fmla="*/ 9205 h 10000"/>
                <a:gd name="connsiteX210" fmla="*/ 1838 w 10000"/>
                <a:gd name="connsiteY210" fmla="*/ 9729 h 10000"/>
                <a:gd name="connsiteX211" fmla="*/ 2508 w 10000"/>
                <a:gd name="connsiteY211" fmla="*/ 9767 h 10000"/>
                <a:gd name="connsiteX212" fmla="*/ 2561 w 10000"/>
                <a:gd name="connsiteY212" fmla="*/ 9671 h 10000"/>
                <a:gd name="connsiteX213" fmla="*/ 2561 w 10000"/>
                <a:gd name="connsiteY213" fmla="*/ 9671 h 10000"/>
                <a:gd name="connsiteX214" fmla="*/ 2582 w 10000"/>
                <a:gd name="connsiteY214" fmla="*/ 9671 h 10000"/>
                <a:gd name="connsiteX215" fmla="*/ 2848 w 10000"/>
                <a:gd name="connsiteY215" fmla="*/ 9651 h 10000"/>
                <a:gd name="connsiteX216" fmla="*/ 2859 w 10000"/>
                <a:gd name="connsiteY216" fmla="*/ 9651 h 10000"/>
                <a:gd name="connsiteX217" fmla="*/ 2869 w 10000"/>
                <a:gd name="connsiteY217" fmla="*/ 9671 h 10000"/>
                <a:gd name="connsiteX218" fmla="*/ 3061 w 10000"/>
                <a:gd name="connsiteY218" fmla="*/ 10000 h 10000"/>
                <a:gd name="connsiteX219" fmla="*/ 3061 w 10000"/>
                <a:gd name="connsiteY219" fmla="*/ 10000 h 10000"/>
                <a:gd name="connsiteX220" fmla="*/ 4336 w 10000"/>
                <a:gd name="connsiteY220" fmla="*/ 9961 h 10000"/>
                <a:gd name="connsiteX221" fmla="*/ 4357 w 10000"/>
                <a:gd name="connsiteY221" fmla="*/ 9961 h 10000"/>
                <a:gd name="connsiteX222" fmla="*/ 4357 w 10000"/>
                <a:gd name="connsiteY222" fmla="*/ 9981 h 10000"/>
                <a:gd name="connsiteX223" fmla="*/ 4527 w 10000"/>
                <a:gd name="connsiteY223" fmla="*/ 9864 h 10000"/>
                <a:gd name="connsiteX224" fmla="*/ 4538 w 10000"/>
                <a:gd name="connsiteY224" fmla="*/ 9864 h 10000"/>
                <a:gd name="connsiteX225" fmla="*/ 4538 w 10000"/>
                <a:gd name="connsiteY225" fmla="*/ 9864 h 10000"/>
                <a:gd name="connsiteX226" fmla="*/ 5250 w 10000"/>
                <a:gd name="connsiteY226" fmla="*/ 9845 h 10000"/>
                <a:gd name="connsiteX227" fmla="*/ 7354 w 10000"/>
                <a:gd name="connsiteY227" fmla="*/ 9845 h 10000"/>
                <a:gd name="connsiteX228" fmla="*/ 7343 w 10000"/>
                <a:gd name="connsiteY228" fmla="*/ 9826 h 10000"/>
                <a:gd name="connsiteX229" fmla="*/ 7439 w 10000"/>
                <a:gd name="connsiteY229" fmla="*/ 9612 h 10000"/>
                <a:gd name="connsiteX230" fmla="*/ 7513 w 10000"/>
                <a:gd name="connsiteY230" fmla="*/ 9516 h 10000"/>
                <a:gd name="connsiteX231" fmla="*/ 7428 w 10000"/>
                <a:gd name="connsiteY231" fmla="*/ 9283 h 10000"/>
                <a:gd name="connsiteX232" fmla="*/ 7450 w 10000"/>
                <a:gd name="connsiteY232" fmla="*/ 9109 h 10000"/>
                <a:gd name="connsiteX233" fmla="*/ 7683 w 10000"/>
                <a:gd name="connsiteY233" fmla="*/ 8992 h 10000"/>
                <a:gd name="connsiteX234" fmla="*/ 7683 w 10000"/>
                <a:gd name="connsiteY234" fmla="*/ 8798 h 10000"/>
                <a:gd name="connsiteX235" fmla="*/ 7779 w 10000"/>
                <a:gd name="connsiteY235" fmla="*/ 8682 h 10000"/>
                <a:gd name="connsiteX236" fmla="*/ 7949 w 10000"/>
                <a:gd name="connsiteY236" fmla="*/ 8372 h 10000"/>
                <a:gd name="connsiteX237" fmla="*/ 8013 w 10000"/>
                <a:gd name="connsiteY237" fmla="*/ 8023 h 10000"/>
                <a:gd name="connsiteX238" fmla="*/ 8098 w 10000"/>
                <a:gd name="connsiteY238" fmla="*/ 7907 h 10000"/>
                <a:gd name="connsiteX239" fmla="*/ 8204 w 10000"/>
                <a:gd name="connsiteY239" fmla="*/ 7907 h 10000"/>
                <a:gd name="connsiteX240" fmla="*/ 8363 w 10000"/>
                <a:gd name="connsiteY240" fmla="*/ 7829 h 10000"/>
                <a:gd name="connsiteX241" fmla="*/ 8576 w 10000"/>
                <a:gd name="connsiteY241" fmla="*/ 7907 h 10000"/>
                <a:gd name="connsiteX242" fmla="*/ 8661 w 10000"/>
                <a:gd name="connsiteY242" fmla="*/ 8004 h 10000"/>
                <a:gd name="connsiteX243" fmla="*/ 8704 w 10000"/>
                <a:gd name="connsiteY243" fmla="*/ 7829 h 10000"/>
                <a:gd name="connsiteX244" fmla="*/ 8831 w 10000"/>
                <a:gd name="connsiteY244" fmla="*/ 7733 h 10000"/>
                <a:gd name="connsiteX245" fmla="*/ 8980 w 10000"/>
                <a:gd name="connsiteY245" fmla="*/ 7713 h 10000"/>
                <a:gd name="connsiteX246" fmla="*/ 9097 w 10000"/>
                <a:gd name="connsiteY246" fmla="*/ 7674 h 10000"/>
                <a:gd name="connsiteX247" fmla="*/ 9235 w 10000"/>
                <a:gd name="connsiteY247" fmla="*/ 7791 h 10000"/>
                <a:gd name="connsiteX248" fmla="*/ 9341 w 10000"/>
                <a:gd name="connsiteY248" fmla="*/ 7907 h 10000"/>
                <a:gd name="connsiteX249" fmla="*/ 9458 w 10000"/>
                <a:gd name="connsiteY249" fmla="*/ 7733 h 10000"/>
                <a:gd name="connsiteX250" fmla="*/ 9575 w 10000"/>
                <a:gd name="connsiteY250" fmla="*/ 7829 h 10000"/>
                <a:gd name="connsiteX251" fmla="*/ 9702 w 10000"/>
                <a:gd name="connsiteY251" fmla="*/ 7829 h 10000"/>
                <a:gd name="connsiteX252" fmla="*/ 9809 w 10000"/>
                <a:gd name="connsiteY252" fmla="*/ 7907 h 10000"/>
                <a:gd name="connsiteX253" fmla="*/ 9968 w 10000"/>
                <a:gd name="connsiteY253" fmla="*/ 7829 h 10000"/>
                <a:gd name="connsiteX254" fmla="*/ 10000 w 10000"/>
                <a:gd name="connsiteY254" fmla="*/ 7810 h 10000"/>
                <a:gd name="connsiteX255" fmla="*/ 9979 w 10000"/>
                <a:gd name="connsiteY255" fmla="*/ 7810 h 10000"/>
                <a:gd name="connsiteX256" fmla="*/ 9968 w 10000"/>
                <a:gd name="connsiteY256" fmla="*/ 7636 h 10000"/>
                <a:gd name="connsiteX257" fmla="*/ 9968 w 10000"/>
                <a:gd name="connsiteY257" fmla="*/ 7190 h 10000"/>
                <a:gd name="connsiteX258" fmla="*/ 9926 w 10000"/>
                <a:gd name="connsiteY258" fmla="*/ 7132 h 10000"/>
                <a:gd name="connsiteX259" fmla="*/ 9915 w 10000"/>
                <a:gd name="connsiteY259" fmla="*/ 7112 h 10000"/>
                <a:gd name="connsiteX260" fmla="*/ 9926 w 10000"/>
                <a:gd name="connsiteY260" fmla="*/ 7093 h 10000"/>
                <a:gd name="connsiteX261" fmla="*/ 9968 w 10000"/>
                <a:gd name="connsiteY261" fmla="*/ 6822 h 10000"/>
                <a:gd name="connsiteX262" fmla="*/ 9979 w 10000"/>
                <a:gd name="connsiteY262" fmla="*/ 6802 h 10000"/>
                <a:gd name="connsiteX263" fmla="*/ 9979 w 10000"/>
                <a:gd name="connsiteY263" fmla="*/ 6802 h 10000"/>
                <a:gd name="connsiteX264" fmla="*/ 9947 w 10000"/>
                <a:gd name="connsiteY264" fmla="*/ 6764 h 10000"/>
                <a:gd name="connsiteX265" fmla="*/ 9872 w 10000"/>
                <a:gd name="connsiteY265" fmla="*/ 6899 h 10000"/>
                <a:gd name="connsiteX0" fmla="*/ 9872 w 10000"/>
                <a:gd name="connsiteY0" fmla="*/ 6899 h 10000"/>
                <a:gd name="connsiteX1" fmla="*/ 9862 w 10000"/>
                <a:gd name="connsiteY1" fmla="*/ 6899 h 10000"/>
                <a:gd name="connsiteX2" fmla="*/ 9862 w 10000"/>
                <a:gd name="connsiteY2" fmla="*/ 6899 h 10000"/>
                <a:gd name="connsiteX3" fmla="*/ 9766 w 10000"/>
                <a:gd name="connsiteY3" fmla="*/ 6938 h 10000"/>
                <a:gd name="connsiteX4" fmla="*/ 9671 w 10000"/>
                <a:gd name="connsiteY4" fmla="*/ 7112 h 10000"/>
                <a:gd name="connsiteX5" fmla="*/ 9665 w 10000"/>
                <a:gd name="connsiteY5" fmla="*/ 6915 h 10000"/>
                <a:gd name="connsiteX6" fmla="*/ 9458 w 10000"/>
                <a:gd name="connsiteY6" fmla="*/ 6880 h 10000"/>
                <a:gd name="connsiteX7" fmla="*/ 9447 w 10000"/>
                <a:gd name="connsiteY7" fmla="*/ 6860 h 10000"/>
                <a:gd name="connsiteX8" fmla="*/ 9447 w 10000"/>
                <a:gd name="connsiteY8" fmla="*/ 6841 h 10000"/>
                <a:gd name="connsiteX9" fmla="*/ 9447 w 10000"/>
                <a:gd name="connsiteY9" fmla="*/ 6550 h 10000"/>
                <a:gd name="connsiteX10" fmla="*/ 9447 w 10000"/>
                <a:gd name="connsiteY10" fmla="*/ 6531 h 10000"/>
                <a:gd name="connsiteX11" fmla="*/ 9458 w 10000"/>
                <a:gd name="connsiteY11" fmla="*/ 6531 h 10000"/>
                <a:gd name="connsiteX12" fmla="*/ 9554 w 10000"/>
                <a:gd name="connsiteY12" fmla="*/ 6453 h 10000"/>
                <a:gd name="connsiteX13" fmla="*/ 9564 w 10000"/>
                <a:gd name="connsiteY13" fmla="*/ 5601 h 10000"/>
                <a:gd name="connsiteX14" fmla="*/ 9564 w 10000"/>
                <a:gd name="connsiteY14" fmla="*/ 5581 h 10000"/>
                <a:gd name="connsiteX15" fmla="*/ 9564 w 10000"/>
                <a:gd name="connsiteY15" fmla="*/ 5562 h 10000"/>
                <a:gd name="connsiteX16" fmla="*/ 9649 w 10000"/>
                <a:gd name="connsiteY16" fmla="*/ 5388 h 10000"/>
                <a:gd name="connsiteX17" fmla="*/ 9702 w 10000"/>
                <a:gd name="connsiteY17" fmla="*/ 5291 h 10000"/>
                <a:gd name="connsiteX18" fmla="*/ 9554 w 10000"/>
                <a:gd name="connsiteY18" fmla="*/ 5058 h 10000"/>
                <a:gd name="connsiteX19" fmla="*/ 9554 w 10000"/>
                <a:gd name="connsiteY19" fmla="*/ 5058 h 10000"/>
                <a:gd name="connsiteX20" fmla="*/ 9543 w 10000"/>
                <a:gd name="connsiteY20" fmla="*/ 5058 h 10000"/>
                <a:gd name="connsiteX21" fmla="*/ 9394 w 10000"/>
                <a:gd name="connsiteY21" fmla="*/ 4709 h 10000"/>
                <a:gd name="connsiteX22" fmla="*/ 9394 w 10000"/>
                <a:gd name="connsiteY22" fmla="*/ 4690 h 10000"/>
                <a:gd name="connsiteX23" fmla="*/ 9394 w 10000"/>
                <a:gd name="connsiteY23" fmla="*/ 4690 h 10000"/>
                <a:gd name="connsiteX24" fmla="*/ 9456 w 10000"/>
                <a:gd name="connsiteY24" fmla="*/ 4520 h 10000"/>
                <a:gd name="connsiteX25" fmla="*/ 9490 w 10000"/>
                <a:gd name="connsiteY25" fmla="*/ 4360 h 10000"/>
                <a:gd name="connsiteX26" fmla="*/ 9564 w 10000"/>
                <a:gd name="connsiteY26" fmla="*/ 4244 h 10000"/>
                <a:gd name="connsiteX27" fmla="*/ 9628 w 10000"/>
                <a:gd name="connsiteY27" fmla="*/ 4012 h 10000"/>
                <a:gd name="connsiteX28" fmla="*/ 9490 w 10000"/>
                <a:gd name="connsiteY28" fmla="*/ 3760 h 10000"/>
                <a:gd name="connsiteX29" fmla="*/ 9490 w 10000"/>
                <a:gd name="connsiteY29" fmla="*/ 3760 h 10000"/>
                <a:gd name="connsiteX30" fmla="*/ 9479 w 10000"/>
                <a:gd name="connsiteY30" fmla="*/ 3760 h 10000"/>
                <a:gd name="connsiteX31" fmla="*/ 9426 w 10000"/>
                <a:gd name="connsiteY31" fmla="*/ 3527 h 10000"/>
                <a:gd name="connsiteX32" fmla="*/ 9426 w 10000"/>
                <a:gd name="connsiteY32" fmla="*/ 3527 h 10000"/>
                <a:gd name="connsiteX33" fmla="*/ 9426 w 10000"/>
                <a:gd name="connsiteY33" fmla="*/ 3508 h 10000"/>
                <a:gd name="connsiteX34" fmla="*/ 9416 w 10000"/>
                <a:gd name="connsiteY34" fmla="*/ 3198 h 10000"/>
                <a:gd name="connsiteX35" fmla="*/ 9416 w 10000"/>
                <a:gd name="connsiteY35" fmla="*/ 3198 h 10000"/>
                <a:gd name="connsiteX36" fmla="*/ 9416 w 10000"/>
                <a:gd name="connsiteY36" fmla="*/ 3178 h 10000"/>
                <a:gd name="connsiteX37" fmla="*/ 9532 w 10000"/>
                <a:gd name="connsiteY37" fmla="*/ 2907 h 10000"/>
                <a:gd name="connsiteX38" fmla="*/ 9384 w 10000"/>
                <a:gd name="connsiteY38" fmla="*/ 2616 h 10000"/>
                <a:gd name="connsiteX39" fmla="*/ 9384 w 10000"/>
                <a:gd name="connsiteY39" fmla="*/ 2616 h 10000"/>
                <a:gd name="connsiteX40" fmla="*/ 9384 w 10000"/>
                <a:gd name="connsiteY40" fmla="*/ 2616 h 10000"/>
                <a:gd name="connsiteX41" fmla="*/ 9330 w 10000"/>
                <a:gd name="connsiteY41" fmla="*/ 2267 h 10000"/>
                <a:gd name="connsiteX42" fmla="*/ 9330 w 10000"/>
                <a:gd name="connsiteY42" fmla="*/ 2248 h 10000"/>
                <a:gd name="connsiteX43" fmla="*/ 9330 w 10000"/>
                <a:gd name="connsiteY43" fmla="*/ 2248 h 10000"/>
                <a:gd name="connsiteX44" fmla="*/ 9341 w 10000"/>
                <a:gd name="connsiteY44" fmla="*/ 1841 h 10000"/>
                <a:gd name="connsiteX45" fmla="*/ 9341 w 10000"/>
                <a:gd name="connsiteY45" fmla="*/ 1822 h 10000"/>
                <a:gd name="connsiteX46" fmla="*/ 9341 w 10000"/>
                <a:gd name="connsiteY46" fmla="*/ 1822 h 10000"/>
                <a:gd name="connsiteX47" fmla="*/ 9660 w 10000"/>
                <a:gd name="connsiteY47" fmla="*/ 1279 h 10000"/>
                <a:gd name="connsiteX48" fmla="*/ 9564 w 10000"/>
                <a:gd name="connsiteY48" fmla="*/ 1008 h 10000"/>
                <a:gd name="connsiteX49" fmla="*/ 9554 w 10000"/>
                <a:gd name="connsiteY49" fmla="*/ 1008 h 10000"/>
                <a:gd name="connsiteX50" fmla="*/ 9554 w 10000"/>
                <a:gd name="connsiteY50" fmla="*/ 988 h 10000"/>
                <a:gd name="connsiteX51" fmla="*/ 9586 w 10000"/>
                <a:gd name="connsiteY51" fmla="*/ 698 h 10000"/>
                <a:gd name="connsiteX52" fmla="*/ 9501 w 10000"/>
                <a:gd name="connsiteY52" fmla="*/ 601 h 10000"/>
                <a:gd name="connsiteX53" fmla="*/ 9288 w 10000"/>
                <a:gd name="connsiteY53" fmla="*/ 581 h 10000"/>
                <a:gd name="connsiteX54" fmla="*/ 9288 w 10000"/>
                <a:gd name="connsiteY54" fmla="*/ 581 h 10000"/>
                <a:gd name="connsiteX55" fmla="*/ 9277 w 10000"/>
                <a:gd name="connsiteY55" fmla="*/ 581 h 10000"/>
                <a:gd name="connsiteX56" fmla="*/ 9224 w 10000"/>
                <a:gd name="connsiteY56" fmla="*/ 484 h 10000"/>
                <a:gd name="connsiteX57" fmla="*/ 9086 w 10000"/>
                <a:gd name="connsiteY57" fmla="*/ 484 h 10000"/>
                <a:gd name="connsiteX58" fmla="*/ 8948 w 10000"/>
                <a:gd name="connsiteY58" fmla="*/ 1124 h 10000"/>
                <a:gd name="connsiteX59" fmla="*/ 8927 w 10000"/>
                <a:gd name="connsiteY59" fmla="*/ 1124 h 10000"/>
                <a:gd name="connsiteX60" fmla="*/ 8927 w 10000"/>
                <a:gd name="connsiteY60" fmla="*/ 1143 h 10000"/>
                <a:gd name="connsiteX61" fmla="*/ 8650 w 10000"/>
                <a:gd name="connsiteY61" fmla="*/ 1415 h 10000"/>
                <a:gd name="connsiteX62" fmla="*/ 8640 w 10000"/>
                <a:gd name="connsiteY62" fmla="*/ 1434 h 10000"/>
                <a:gd name="connsiteX63" fmla="*/ 8640 w 10000"/>
                <a:gd name="connsiteY63" fmla="*/ 1434 h 10000"/>
                <a:gd name="connsiteX64" fmla="*/ 8470 w 10000"/>
                <a:gd name="connsiteY64" fmla="*/ 1395 h 10000"/>
                <a:gd name="connsiteX65" fmla="*/ 8321 w 10000"/>
                <a:gd name="connsiteY65" fmla="*/ 1531 h 10000"/>
                <a:gd name="connsiteX66" fmla="*/ 8321 w 10000"/>
                <a:gd name="connsiteY66" fmla="*/ 1531 h 10000"/>
                <a:gd name="connsiteX67" fmla="*/ 8321 w 10000"/>
                <a:gd name="connsiteY67" fmla="*/ 1531 h 10000"/>
                <a:gd name="connsiteX68" fmla="*/ 8172 w 10000"/>
                <a:gd name="connsiteY68" fmla="*/ 1589 h 10000"/>
                <a:gd name="connsiteX69" fmla="*/ 8023 w 10000"/>
                <a:gd name="connsiteY69" fmla="*/ 1957 h 10000"/>
                <a:gd name="connsiteX70" fmla="*/ 8013 w 10000"/>
                <a:gd name="connsiteY70" fmla="*/ 1977 h 10000"/>
                <a:gd name="connsiteX71" fmla="*/ 7991 w 10000"/>
                <a:gd name="connsiteY71" fmla="*/ 1977 h 10000"/>
                <a:gd name="connsiteX72" fmla="*/ 7864 w 10000"/>
                <a:gd name="connsiteY72" fmla="*/ 1899 h 10000"/>
                <a:gd name="connsiteX73" fmla="*/ 7843 w 10000"/>
                <a:gd name="connsiteY73" fmla="*/ 1899 h 10000"/>
                <a:gd name="connsiteX74" fmla="*/ 7853 w 10000"/>
                <a:gd name="connsiteY74" fmla="*/ 1841 h 10000"/>
                <a:gd name="connsiteX75" fmla="*/ 7928 w 10000"/>
                <a:gd name="connsiteY75" fmla="*/ 1609 h 10000"/>
                <a:gd name="connsiteX76" fmla="*/ 7906 w 10000"/>
                <a:gd name="connsiteY76" fmla="*/ 1279 h 10000"/>
                <a:gd name="connsiteX77" fmla="*/ 7758 w 10000"/>
                <a:gd name="connsiteY77" fmla="*/ 1124 h 10000"/>
                <a:gd name="connsiteX78" fmla="*/ 7651 w 10000"/>
                <a:gd name="connsiteY78" fmla="*/ 1124 h 10000"/>
                <a:gd name="connsiteX79" fmla="*/ 7641 w 10000"/>
                <a:gd name="connsiteY79" fmla="*/ 1124 h 10000"/>
                <a:gd name="connsiteX80" fmla="*/ 7630 w 10000"/>
                <a:gd name="connsiteY80" fmla="*/ 1105 h 10000"/>
                <a:gd name="connsiteX81" fmla="*/ 7556 w 10000"/>
                <a:gd name="connsiteY81" fmla="*/ 930 h 10000"/>
                <a:gd name="connsiteX82" fmla="*/ 7184 w 10000"/>
                <a:gd name="connsiteY82" fmla="*/ 891 h 10000"/>
                <a:gd name="connsiteX83" fmla="*/ 7173 w 10000"/>
                <a:gd name="connsiteY83" fmla="*/ 891 h 10000"/>
                <a:gd name="connsiteX84" fmla="*/ 7173 w 10000"/>
                <a:gd name="connsiteY84" fmla="*/ 872 h 10000"/>
                <a:gd name="connsiteX85" fmla="*/ 7099 w 10000"/>
                <a:gd name="connsiteY85" fmla="*/ 620 h 10000"/>
                <a:gd name="connsiteX86" fmla="*/ 7088 w 10000"/>
                <a:gd name="connsiteY86" fmla="*/ 601 h 10000"/>
                <a:gd name="connsiteX87" fmla="*/ 7088 w 10000"/>
                <a:gd name="connsiteY87" fmla="*/ 601 h 10000"/>
                <a:gd name="connsiteX88" fmla="*/ 7088 w 10000"/>
                <a:gd name="connsiteY88" fmla="*/ 465 h 10000"/>
                <a:gd name="connsiteX89" fmla="*/ 7088 w 10000"/>
                <a:gd name="connsiteY89" fmla="*/ 426 h 10000"/>
                <a:gd name="connsiteX90" fmla="*/ 7099 w 10000"/>
                <a:gd name="connsiteY90" fmla="*/ 407 h 10000"/>
                <a:gd name="connsiteX91" fmla="*/ 7194 w 10000"/>
                <a:gd name="connsiteY91" fmla="*/ 310 h 10000"/>
                <a:gd name="connsiteX92" fmla="*/ 7109 w 10000"/>
                <a:gd name="connsiteY92" fmla="*/ 136 h 10000"/>
                <a:gd name="connsiteX93" fmla="*/ 7035 w 10000"/>
                <a:gd name="connsiteY93" fmla="*/ 0 h 10000"/>
                <a:gd name="connsiteX94" fmla="*/ 6939 w 10000"/>
                <a:gd name="connsiteY94" fmla="*/ 116 h 10000"/>
                <a:gd name="connsiteX95" fmla="*/ 6939 w 10000"/>
                <a:gd name="connsiteY95" fmla="*/ 116 h 10000"/>
                <a:gd name="connsiteX96" fmla="*/ 6939 w 10000"/>
                <a:gd name="connsiteY96" fmla="*/ 116 h 10000"/>
                <a:gd name="connsiteX97" fmla="*/ 6812 w 10000"/>
                <a:gd name="connsiteY97" fmla="*/ 155 h 10000"/>
                <a:gd name="connsiteX98" fmla="*/ 6674 w 10000"/>
                <a:gd name="connsiteY98" fmla="*/ 291 h 10000"/>
                <a:gd name="connsiteX99" fmla="*/ 6599 w 10000"/>
                <a:gd name="connsiteY99" fmla="*/ 523 h 10000"/>
                <a:gd name="connsiteX100" fmla="*/ 6599 w 10000"/>
                <a:gd name="connsiteY100" fmla="*/ 543 h 10000"/>
                <a:gd name="connsiteX101" fmla="*/ 6589 w 10000"/>
                <a:gd name="connsiteY101" fmla="*/ 543 h 10000"/>
                <a:gd name="connsiteX102" fmla="*/ 6397 w 10000"/>
                <a:gd name="connsiteY102" fmla="*/ 581 h 10000"/>
                <a:gd name="connsiteX103" fmla="*/ 6334 w 10000"/>
                <a:gd name="connsiteY103" fmla="*/ 891 h 10000"/>
                <a:gd name="connsiteX104" fmla="*/ 6334 w 10000"/>
                <a:gd name="connsiteY104" fmla="*/ 911 h 10000"/>
                <a:gd name="connsiteX105" fmla="*/ 6334 w 10000"/>
                <a:gd name="connsiteY105" fmla="*/ 911 h 10000"/>
                <a:gd name="connsiteX106" fmla="*/ 6142 w 10000"/>
                <a:gd name="connsiteY106" fmla="*/ 1124 h 10000"/>
                <a:gd name="connsiteX107" fmla="*/ 6015 w 10000"/>
                <a:gd name="connsiteY107" fmla="*/ 1453 h 10000"/>
                <a:gd name="connsiteX108" fmla="*/ 6004 w 10000"/>
                <a:gd name="connsiteY108" fmla="*/ 1473 h 10000"/>
                <a:gd name="connsiteX109" fmla="*/ 5994 w 10000"/>
                <a:gd name="connsiteY109" fmla="*/ 1453 h 10000"/>
                <a:gd name="connsiteX110" fmla="*/ 5802 w 10000"/>
                <a:gd name="connsiteY110" fmla="*/ 1434 h 10000"/>
                <a:gd name="connsiteX111" fmla="*/ 5781 w 10000"/>
                <a:gd name="connsiteY111" fmla="*/ 1415 h 10000"/>
                <a:gd name="connsiteX112" fmla="*/ 5781 w 10000"/>
                <a:gd name="connsiteY112" fmla="*/ 1395 h 10000"/>
                <a:gd name="connsiteX113" fmla="*/ 5760 w 10000"/>
                <a:gd name="connsiteY113" fmla="*/ 930 h 10000"/>
                <a:gd name="connsiteX114" fmla="*/ 5654 w 10000"/>
                <a:gd name="connsiteY114" fmla="*/ 872 h 10000"/>
                <a:gd name="connsiteX115" fmla="*/ 5377 w 10000"/>
                <a:gd name="connsiteY115" fmla="*/ 1240 h 10000"/>
                <a:gd name="connsiteX116" fmla="*/ 5165 w 10000"/>
                <a:gd name="connsiteY116" fmla="*/ 1570 h 10000"/>
                <a:gd name="connsiteX117" fmla="*/ 5165 w 10000"/>
                <a:gd name="connsiteY117" fmla="*/ 1899 h 10000"/>
                <a:gd name="connsiteX118" fmla="*/ 5165 w 10000"/>
                <a:gd name="connsiteY118" fmla="*/ 1919 h 10000"/>
                <a:gd name="connsiteX119" fmla="*/ 5154 w 10000"/>
                <a:gd name="connsiteY119" fmla="*/ 1919 h 10000"/>
                <a:gd name="connsiteX120" fmla="*/ 5027 w 10000"/>
                <a:gd name="connsiteY120" fmla="*/ 2112 h 10000"/>
                <a:gd name="connsiteX121" fmla="*/ 5016 w 10000"/>
                <a:gd name="connsiteY121" fmla="*/ 2112 h 10000"/>
                <a:gd name="connsiteX122" fmla="*/ 5005 w 10000"/>
                <a:gd name="connsiteY122" fmla="*/ 2112 h 10000"/>
                <a:gd name="connsiteX123" fmla="*/ 4814 w 10000"/>
                <a:gd name="connsiteY123" fmla="*/ 2112 h 10000"/>
                <a:gd name="connsiteX124" fmla="*/ 4803 w 10000"/>
                <a:gd name="connsiteY124" fmla="*/ 2112 h 10000"/>
                <a:gd name="connsiteX125" fmla="*/ 4803 w 10000"/>
                <a:gd name="connsiteY125" fmla="*/ 2112 h 10000"/>
                <a:gd name="connsiteX126" fmla="*/ 4697 w 10000"/>
                <a:gd name="connsiteY126" fmla="*/ 1957 h 10000"/>
                <a:gd name="connsiteX127" fmla="*/ 4591 w 10000"/>
                <a:gd name="connsiteY127" fmla="*/ 1899 h 10000"/>
                <a:gd name="connsiteX128" fmla="*/ 4591 w 10000"/>
                <a:gd name="connsiteY128" fmla="*/ 1957 h 10000"/>
                <a:gd name="connsiteX129" fmla="*/ 4591 w 10000"/>
                <a:gd name="connsiteY129" fmla="*/ 1996 h 10000"/>
                <a:gd name="connsiteX130" fmla="*/ 4570 w 10000"/>
                <a:gd name="connsiteY130" fmla="*/ 1996 h 10000"/>
                <a:gd name="connsiteX131" fmla="*/ 4453 w 10000"/>
                <a:gd name="connsiteY131" fmla="*/ 1996 h 10000"/>
                <a:gd name="connsiteX132" fmla="*/ 4431 w 10000"/>
                <a:gd name="connsiteY132" fmla="*/ 1996 h 10000"/>
                <a:gd name="connsiteX133" fmla="*/ 4431 w 10000"/>
                <a:gd name="connsiteY133" fmla="*/ 1957 h 10000"/>
                <a:gd name="connsiteX134" fmla="*/ 4378 w 10000"/>
                <a:gd name="connsiteY134" fmla="*/ 1589 h 10000"/>
                <a:gd name="connsiteX135" fmla="*/ 4091 w 10000"/>
                <a:gd name="connsiteY135" fmla="*/ 1512 h 10000"/>
                <a:gd name="connsiteX136" fmla="*/ 4081 w 10000"/>
                <a:gd name="connsiteY136" fmla="*/ 1512 h 10000"/>
                <a:gd name="connsiteX137" fmla="*/ 4070 w 10000"/>
                <a:gd name="connsiteY137" fmla="*/ 1492 h 10000"/>
                <a:gd name="connsiteX138" fmla="*/ 3879 w 10000"/>
                <a:gd name="connsiteY138" fmla="*/ 988 h 10000"/>
                <a:gd name="connsiteX139" fmla="*/ 3719 w 10000"/>
                <a:gd name="connsiteY139" fmla="*/ 988 h 10000"/>
                <a:gd name="connsiteX140" fmla="*/ 3698 w 10000"/>
                <a:gd name="connsiteY140" fmla="*/ 1085 h 10000"/>
                <a:gd name="connsiteX141" fmla="*/ 3698 w 10000"/>
                <a:gd name="connsiteY141" fmla="*/ 1105 h 10000"/>
                <a:gd name="connsiteX142" fmla="*/ 3698 w 10000"/>
                <a:gd name="connsiteY142" fmla="*/ 1105 h 10000"/>
                <a:gd name="connsiteX143" fmla="*/ 3592 w 10000"/>
                <a:gd name="connsiteY143" fmla="*/ 1318 h 10000"/>
                <a:gd name="connsiteX144" fmla="*/ 3592 w 10000"/>
                <a:gd name="connsiteY144" fmla="*/ 1318 h 10000"/>
                <a:gd name="connsiteX145" fmla="*/ 3581 w 10000"/>
                <a:gd name="connsiteY145" fmla="*/ 1318 h 10000"/>
                <a:gd name="connsiteX146" fmla="*/ 3486 w 10000"/>
                <a:gd name="connsiteY146" fmla="*/ 1395 h 10000"/>
                <a:gd name="connsiteX147" fmla="*/ 3486 w 10000"/>
                <a:gd name="connsiteY147" fmla="*/ 1686 h 10000"/>
                <a:gd name="connsiteX148" fmla="*/ 3486 w 10000"/>
                <a:gd name="connsiteY148" fmla="*/ 1725 h 10000"/>
                <a:gd name="connsiteX149" fmla="*/ 3475 w 10000"/>
                <a:gd name="connsiteY149" fmla="*/ 1725 h 10000"/>
                <a:gd name="connsiteX150" fmla="*/ 3369 w 10000"/>
                <a:gd name="connsiteY150" fmla="*/ 1841 h 10000"/>
                <a:gd name="connsiteX151" fmla="*/ 3135 w 10000"/>
                <a:gd name="connsiteY151" fmla="*/ 2171 h 10000"/>
                <a:gd name="connsiteX152" fmla="*/ 2954 w 10000"/>
                <a:gd name="connsiteY152" fmla="*/ 2829 h 10000"/>
                <a:gd name="connsiteX153" fmla="*/ 2954 w 10000"/>
                <a:gd name="connsiteY153" fmla="*/ 2829 h 10000"/>
                <a:gd name="connsiteX154" fmla="*/ 2944 w 10000"/>
                <a:gd name="connsiteY154" fmla="*/ 2829 h 10000"/>
                <a:gd name="connsiteX155" fmla="*/ 2699 w 10000"/>
                <a:gd name="connsiteY155" fmla="*/ 3217 h 10000"/>
                <a:gd name="connsiteX156" fmla="*/ 2487 w 10000"/>
                <a:gd name="connsiteY156" fmla="*/ 3566 h 10000"/>
                <a:gd name="connsiteX157" fmla="*/ 2465 w 10000"/>
                <a:gd name="connsiteY157" fmla="*/ 3934 h 10000"/>
                <a:gd name="connsiteX158" fmla="*/ 2465 w 10000"/>
                <a:gd name="connsiteY158" fmla="*/ 3934 h 10000"/>
                <a:gd name="connsiteX159" fmla="*/ 2465 w 10000"/>
                <a:gd name="connsiteY159" fmla="*/ 3934 h 10000"/>
                <a:gd name="connsiteX160" fmla="*/ 2295 w 10000"/>
                <a:gd name="connsiteY160" fmla="*/ 4205 h 10000"/>
                <a:gd name="connsiteX161" fmla="*/ 2200 w 10000"/>
                <a:gd name="connsiteY161" fmla="*/ 4535 h 10000"/>
                <a:gd name="connsiteX162" fmla="*/ 2189 w 10000"/>
                <a:gd name="connsiteY162" fmla="*/ 4554 h 10000"/>
                <a:gd name="connsiteX163" fmla="*/ 2179 w 10000"/>
                <a:gd name="connsiteY163" fmla="*/ 4554 h 10000"/>
                <a:gd name="connsiteX164" fmla="*/ 2051 w 10000"/>
                <a:gd name="connsiteY164" fmla="*/ 4535 h 10000"/>
                <a:gd name="connsiteX165" fmla="*/ 1913 w 10000"/>
                <a:gd name="connsiteY165" fmla="*/ 4767 h 10000"/>
                <a:gd name="connsiteX166" fmla="*/ 1913 w 10000"/>
                <a:gd name="connsiteY166" fmla="*/ 4787 h 10000"/>
                <a:gd name="connsiteX167" fmla="*/ 1902 w 10000"/>
                <a:gd name="connsiteY167" fmla="*/ 4787 h 10000"/>
                <a:gd name="connsiteX168" fmla="*/ 1498 w 10000"/>
                <a:gd name="connsiteY168" fmla="*/ 4671 h 10000"/>
                <a:gd name="connsiteX169" fmla="*/ 1488 w 10000"/>
                <a:gd name="connsiteY169" fmla="*/ 4671 h 10000"/>
                <a:gd name="connsiteX170" fmla="*/ 1488 w 10000"/>
                <a:gd name="connsiteY170" fmla="*/ 4651 h 10000"/>
                <a:gd name="connsiteX171" fmla="*/ 1424 w 10000"/>
                <a:gd name="connsiteY171" fmla="*/ 4516 h 10000"/>
                <a:gd name="connsiteX172" fmla="*/ 1350 w 10000"/>
                <a:gd name="connsiteY172" fmla="*/ 4516 h 10000"/>
                <a:gd name="connsiteX173" fmla="*/ 1296 w 10000"/>
                <a:gd name="connsiteY173" fmla="*/ 4690 h 10000"/>
                <a:gd name="connsiteX174" fmla="*/ 1286 w 10000"/>
                <a:gd name="connsiteY174" fmla="*/ 4922 h 10000"/>
                <a:gd name="connsiteX175" fmla="*/ 1286 w 10000"/>
                <a:gd name="connsiteY175" fmla="*/ 4942 h 10000"/>
                <a:gd name="connsiteX176" fmla="*/ 1275 w 10000"/>
                <a:gd name="connsiteY176" fmla="*/ 4961 h 10000"/>
                <a:gd name="connsiteX177" fmla="*/ 1190 w 10000"/>
                <a:gd name="connsiteY177" fmla="*/ 5058 h 10000"/>
                <a:gd name="connsiteX178" fmla="*/ 1137 w 10000"/>
                <a:gd name="connsiteY178" fmla="*/ 5271 h 10000"/>
                <a:gd name="connsiteX179" fmla="*/ 1137 w 10000"/>
                <a:gd name="connsiteY179" fmla="*/ 5291 h 10000"/>
                <a:gd name="connsiteX180" fmla="*/ 1126 w 10000"/>
                <a:gd name="connsiteY180" fmla="*/ 5291 h 10000"/>
                <a:gd name="connsiteX181" fmla="*/ 1020 w 10000"/>
                <a:gd name="connsiteY181" fmla="*/ 5407 h 10000"/>
                <a:gd name="connsiteX182" fmla="*/ 999 w 10000"/>
                <a:gd name="connsiteY182" fmla="*/ 5581 h 10000"/>
                <a:gd name="connsiteX183" fmla="*/ 978 w 10000"/>
                <a:gd name="connsiteY183" fmla="*/ 5756 h 10000"/>
                <a:gd name="connsiteX184" fmla="*/ 978 w 10000"/>
                <a:gd name="connsiteY184" fmla="*/ 5775 h 10000"/>
                <a:gd name="connsiteX185" fmla="*/ 967 w 10000"/>
                <a:gd name="connsiteY185" fmla="*/ 5775 h 10000"/>
                <a:gd name="connsiteX186" fmla="*/ 861 w 10000"/>
                <a:gd name="connsiteY186" fmla="*/ 5814 h 10000"/>
                <a:gd name="connsiteX187" fmla="*/ 861 w 10000"/>
                <a:gd name="connsiteY187" fmla="*/ 6047 h 10000"/>
                <a:gd name="connsiteX188" fmla="*/ 967 w 10000"/>
                <a:gd name="connsiteY188" fmla="*/ 6298 h 10000"/>
                <a:gd name="connsiteX189" fmla="*/ 967 w 10000"/>
                <a:gd name="connsiteY189" fmla="*/ 6298 h 10000"/>
                <a:gd name="connsiteX190" fmla="*/ 978 w 10000"/>
                <a:gd name="connsiteY190" fmla="*/ 6318 h 10000"/>
                <a:gd name="connsiteX191" fmla="*/ 988 w 10000"/>
                <a:gd name="connsiteY191" fmla="*/ 6512 h 10000"/>
                <a:gd name="connsiteX192" fmla="*/ 988 w 10000"/>
                <a:gd name="connsiteY192" fmla="*/ 6531 h 10000"/>
                <a:gd name="connsiteX193" fmla="*/ 978 w 10000"/>
                <a:gd name="connsiteY193" fmla="*/ 6550 h 10000"/>
                <a:gd name="connsiteX194" fmla="*/ 627 w 10000"/>
                <a:gd name="connsiteY194" fmla="*/ 7016 h 10000"/>
                <a:gd name="connsiteX195" fmla="*/ 521 w 10000"/>
                <a:gd name="connsiteY195" fmla="*/ 7151 h 10000"/>
                <a:gd name="connsiteX196" fmla="*/ 340 w 10000"/>
                <a:gd name="connsiteY196" fmla="*/ 7384 h 10000"/>
                <a:gd name="connsiteX197" fmla="*/ 340 w 10000"/>
                <a:gd name="connsiteY197" fmla="*/ 7403 h 10000"/>
                <a:gd name="connsiteX198" fmla="*/ 340 w 10000"/>
                <a:gd name="connsiteY198" fmla="*/ 7403 h 10000"/>
                <a:gd name="connsiteX199" fmla="*/ 191 w 10000"/>
                <a:gd name="connsiteY199" fmla="*/ 7519 h 10000"/>
                <a:gd name="connsiteX200" fmla="*/ 0 w 10000"/>
                <a:gd name="connsiteY200" fmla="*/ 7791 h 10000"/>
                <a:gd name="connsiteX201" fmla="*/ 11 w 10000"/>
                <a:gd name="connsiteY201" fmla="*/ 7829 h 10000"/>
                <a:gd name="connsiteX202" fmla="*/ 149 w 10000"/>
                <a:gd name="connsiteY202" fmla="*/ 7868 h 10000"/>
                <a:gd name="connsiteX203" fmla="*/ 159 w 10000"/>
                <a:gd name="connsiteY203" fmla="*/ 7868 h 10000"/>
                <a:gd name="connsiteX204" fmla="*/ 159 w 10000"/>
                <a:gd name="connsiteY204" fmla="*/ 7868 h 10000"/>
                <a:gd name="connsiteX205" fmla="*/ 372 w 10000"/>
                <a:gd name="connsiteY205" fmla="*/ 8256 h 10000"/>
                <a:gd name="connsiteX206" fmla="*/ 1467 w 10000"/>
                <a:gd name="connsiteY206" fmla="*/ 9205 h 10000"/>
                <a:gd name="connsiteX207" fmla="*/ 1467 w 10000"/>
                <a:gd name="connsiteY207" fmla="*/ 9205 h 10000"/>
                <a:gd name="connsiteX208" fmla="*/ 1477 w 10000"/>
                <a:gd name="connsiteY208" fmla="*/ 9205 h 10000"/>
                <a:gd name="connsiteX209" fmla="*/ 1838 w 10000"/>
                <a:gd name="connsiteY209" fmla="*/ 9729 h 10000"/>
                <a:gd name="connsiteX210" fmla="*/ 2508 w 10000"/>
                <a:gd name="connsiteY210" fmla="*/ 9767 h 10000"/>
                <a:gd name="connsiteX211" fmla="*/ 2561 w 10000"/>
                <a:gd name="connsiteY211" fmla="*/ 9671 h 10000"/>
                <a:gd name="connsiteX212" fmla="*/ 2561 w 10000"/>
                <a:gd name="connsiteY212" fmla="*/ 9671 h 10000"/>
                <a:gd name="connsiteX213" fmla="*/ 2582 w 10000"/>
                <a:gd name="connsiteY213" fmla="*/ 9671 h 10000"/>
                <a:gd name="connsiteX214" fmla="*/ 2848 w 10000"/>
                <a:gd name="connsiteY214" fmla="*/ 9651 h 10000"/>
                <a:gd name="connsiteX215" fmla="*/ 2859 w 10000"/>
                <a:gd name="connsiteY215" fmla="*/ 9651 h 10000"/>
                <a:gd name="connsiteX216" fmla="*/ 2869 w 10000"/>
                <a:gd name="connsiteY216" fmla="*/ 9671 h 10000"/>
                <a:gd name="connsiteX217" fmla="*/ 3061 w 10000"/>
                <a:gd name="connsiteY217" fmla="*/ 10000 h 10000"/>
                <a:gd name="connsiteX218" fmla="*/ 3061 w 10000"/>
                <a:gd name="connsiteY218" fmla="*/ 10000 h 10000"/>
                <a:gd name="connsiteX219" fmla="*/ 4336 w 10000"/>
                <a:gd name="connsiteY219" fmla="*/ 9961 h 10000"/>
                <a:gd name="connsiteX220" fmla="*/ 4357 w 10000"/>
                <a:gd name="connsiteY220" fmla="*/ 9961 h 10000"/>
                <a:gd name="connsiteX221" fmla="*/ 4357 w 10000"/>
                <a:gd name="connsiteY221" fmla="*/ 9981 h 10000"/>
                <a:gd name="connsiteX222" fmla="*/ 4527 w 10000"/>
                <a:gd name="connsiteY222" fmla="*/ 9864 h 10000"/>
                <a:gd name="connsiteX223" fmla="*/ 4538 w 10000"/>
                <a:gd name="connsiteY223" fmla="*/ 9864 h 10000"/>
                <a:gd name="connsiteX224" fmla="*/ 4538 w 10000"/>
                <a:gd name="connsiteY224" fmla="*/ 9864 h 10000"/>
                <a:gd name="connsiteX225" fmla="*/ 5250 w 10000"/>
                <a:gd name="connsiteY225" fmla="*/ 9845 h 10000"/>
                <a:gd name="connsiteX226" fmla="*/ 7354 w 10000"/>
                <a:gd name="connsiteY226" fmla="*/ 9845 h 10000"/>
                <a:gd name="connsiteX227" fmla="*/ 7343 w 10000"/>
                <a:gd name="connsiteY227" fmla="*/ 9826 h 10000"/>
                <a:gd name="connsiteX228" fmla="*/ 7439 w 10000"/>
                <a:gd name="connsiteY228" fmla="*/ 9612 h 10000"/>
                <a:gd name="connsiteX229" fmla="*/ 7513 w 10000"/>
                <a:gd name="connsiteY229" fmla="*/ 9516 h 10000"/>
                <a:gd name="connsiteX230" fmla="*/ 7428 w 10000"/>
                <a:gd name="connsiteY230" fmla="*/ 9283 h 10000"/>
                <a:gd name="connsiteX231" fmla="*/ 7450 w 10000"/>
                <a:gd name="connsiteY231" fmla="*/ 9109 h 10000"/>
                <a:gd name="connsiteX232" fmla="*/ 7683 w 10000"/>
                <a:gd name="connsiteY232" fmla="*/ 8992 h 10000"/>
                <a:gd name="connsiteX233" fmla="*/ 7683 w 10000"/>
                <a:gd name="connsiteY233" fmla="*/ 8798 h 10000"/>
                <a:gd name="connsiteX234" fmla="*/ 7779 w 10000"/>
                <a:gd name="connsiteY234" fmla="*/ 8682 h 10000"/>
                <a:gd name="connsiteX235" fmla="*/ 7949 w 10000"/>
                <a:gd name="connsiteY235" fmla="*/ 8372 h 10000"/>
                <a:gd name="connsiteX236" fmla="*/ 8013 w 10000"/>
                <a:gd name="connsiteY236" fmla="*/ 8023 h 10000"/>
                <a:gd name="connsiteX237" fmla="*/ 8098 w 10000"/>
                <a:gd name="connsiteY237" fmla="*/ 7907 h 10000"/>
                <a:gd name="connsiteX238" fmla="*/ 8204 w 10000"/>
                <a:gd name="connsiteY238" fmla="*/ 7907 h 10000"/>
                <a:gd name="connsiteX239" fmla="*/ 8363 w 10000"/>
                <a:gd name="connsiteY239" fmla="*/ 7829 h 10000"/>
                <a:gd name="connsiteX240" fmla="*/ 8576 w 10000"/>
                <a:gd name="connsiteY240" fmla="*/ 7907 h 10000"/>
                <a:gd name="connsiteX241" fmla="*/ 8661 w 10000"/>
                <a:gd name="connsiteY241" fmla="*/ 8004 h 10000"/>
                <a:gd name="connsiteX242" fmla="*/ 8704 w 10000"/>
                <a:gd name="connsiteY242" fmla="*/ 7829 h 10000"/>
                <a:gd name="connsiteX243" fmla="*/ 8831 w 10000"/>
                <a:gd name="connsiteY243" fmla="*/ 7733 h 10000"/>
                <a:gd name="connsiteX244" fmla="*/ 8980 w 10000"/>
                <a:gd name="connsiteY244" fmla="*/ 7713 h 10000"/>
                <a:gd name="connsiteX245" fmla="*/ 9097 w 10000"/>
                <a:gd name="connsiteY245" fmla="*/ 7674 h 10000"/>
                <a:gd name="connsiteX246" fmla="*/ 9235 w 10000"/>
                <a:gd name="connsiteY246" fmla="*/ 7791 h 10000"/>
                <a:gd name="connsiteX247" fmla="*/ 9341 w 10000"/>
                <a:gd name="connsiteY247" fmla="*/ 7907 h 10000"/>
                <a:gd name="connsiteX248" fmla="*/ 9458 w 10000"/>
                <a:gd name="connsiteY248" fmla="*/ 7733 h 10000"/>
                <a:gd name="connsiteX249" fmla="*/ 9575 w 10000"/>
                <a:gd name="connsiteY249" fmla="*/ 7829 h 10000"/>
                <a:gd name="connsiteX250" fmla="*/ 9702 w 10000"/>
                <a:gd name="connsiteY250" fmla="*/ 7829 h 10000"/>
                <a:gd name="connsiteX251" fmla="*/ 9809 w 10000"/>
                <a:gd name="connsiteY251" fmla="*/ 7907 h 10000"/>
                <a:gd name="connsiteX252" fmla="*/ 9968 w 10000"/>
                <a:gd name="connsiteY252" fmla="*/ 7829 h 10000"/>
                <a:gd name="connsiteX253" fmla="*/ 10000 w 10000"/>
                <a:gd name="connsiteY253" fmla="*/ 7810 h 10000"/>
                <a:gd name="connsiteX254" fmla="*/ 9979 w 10000"/>
                <a:gd name="connsiteY254" fmla="*/ 7810 h 10000"/>
                <a:gd name="connsiteX255" fmla="*/ 9968 w 10000"/>
                <a:gd name="connsiteY255" fmla="*/ 7636 h 10000"/>
                <a:gd name="connsiteX256" fmla="*/ 9968 w 10000"/>
                <a:gd name="connsiteY256" fmla="*/ 7190 h 10000"/>
                <a:gd name="connsiteX257" fmla="*/ 9926 w 10000"/>
                <a:gd name="connsiteY257" fmla="*/ 7132 h 10000"/>
                <a:gd name="connsiteX258" fmla="*/ 9915 w 10000"/>
                <a:gd name="connsiteY258" fmla="*/ 7112 h 10000"/>
                <a:gd name="connsiteX259" fmla="*/ 9926 w 10000"/>
                <a:gd name="connsiteY259" fmla="*/ 7093 h 10000"/>
                <a:gd name="connsiteX260" fmla="*/ 9968 w 10000"/>
                <a:gd name="connsiteY260" fmla="*/ 6822 h 10000"/>
                <a:gd name="connsiteX261" fmla="*/ 9979 w 10000"/>
                <a:gd name="connsiteY261" fmla="*/ 6802 h 10000"/>
                <a:gd name="connsiteX262" fmla="*/ 9979 w 10000"/>
                <a:gd name="connsiteY262" fmla="*/ 6802 h 10000"/>
                <a:gd name="connsiteX263" fmla="*/ 9947 w 10000"/>
                <a:gd name="connsiteY263" fmla="*/ 6764 h 10000"/>
                <a:gd name="connsiteX264" fmla="*/ 9872 w 10000"/>
                <a:gd name="connsiteY264" fmla="*/ 6899 h 10000"/>
                <a:gd name="connsiteX0" fmla="*/ 9872 w 10000"/>
                <a:gd name="connsiteY0" fmla="*/ 6899 h 10000"/>
                <a:gd name="connsiteX1" fmla="*/ 9862 w 10000"/>
                <a:gd name="connsiteY1" fmla="*/ 6899 h 10000"/>
                <a:gd name="connsiteX2" fmla="*/ 9862 w 10000"/>
                <a:gd name="connsiteY2" fmla="*/ 6899 h 10000"/>
                <a:gd name="connsiteX3" fmla="*/ 9766 w 10000"/>
                <a:gd name="connsiteY3" fmla="*/ 6938 h 10000"/>
                <a:gd name="connsiteX4" fmla="*/ 9665 w 10000"/>
                <a:gd name="connsiteY4" fmla="*/ 6915 h 10000"/>
                <a:gd name="connsiteX5" fmla="*/ 9458 w 10000"/>
                <a:gd name="connsiteY5" fmla="*/ 6880 h 10000"/>
                <a:gd name="connsiteX6" fmla="*/ 9447 w 10000"/>
                <a:gd name="connsiteY6" fmla="*/ 6860 h 10000"/>
                <a:gd name="connsiteX7" fmla="*/ 9447 w 10000"/>
                <a:gd name="connsiteY7" fmla="*/ 6841 h 10000"/>
                <a:gd name="connsiteX8" fmla="*/ 9447 w 10000"/>
                <a:gd name="connsiteY8" fmla="*/ 6550 h 10000"/>
                <a:gd name="connsiteX9" fmla="*/ 9447 w 10000"/>
                <a:gd name="connsiteY9" fmla="*/ 6531 h 10000"/>
                <a:gd name="connsiteX10" fmla="*/ 9458 w 10000"/>
                <a:gd name="connsiteY10" fmla="*/ 6531 h 10000"/>
                <a:gd name="connsiteX11" fmla="*/ 9554 w 10000"/>
                <a:gd name="connsiteY11" fmla="*/ 6453 h 10000"/>
                <a:gd name="connsiteX12" fmla="*/ 9564 w 10000"/>
                <a:gd name="connsiteY12" fmla="*/ 5601 h 10000"/>
                <a:gd name="connsiteX13" fmla="*/ 9564 w 10000"/>
                <a:gd name="connsiteY13" fmla="*/ 5581 h 10000"/>
                <a:gd name="connsiteX14" fmla="*/ 9564 w 10000"/>
                <a:gd name="connsiteY14" fmla="*/ 5562 h 10000"/>
                <a:gd name="connsiteX15" fmla="*/ 9649 w 10000"/>
                <a:gd name="connsiteY15" fmla="*/ 5388 h 10000"/>
                <a:gd name="connsiteX16" fmla="*/ 9702 w 10000"/>
                <a:gd name="connsiteY16" fmla="*/ 5291 h 10000"/>
                <a:gd name="connsiteX17" fmla="*/ 9554 w 10000"/>
                <a:gd name="connsiteY17" fmla="*/ 5058 h 10000"/>
                <a:gd name="connsiteX18" fmla="*/ 9554 w 10000"/>
                <a:gd name="connsiteY18" fmla="*/ 5058 h 10000"/>
                <a:gd name="connsiteX19" fmla="*/ 9543 w 10000"/>
                <a:gd name="connsiteY19" fmla="*/ 5058 h 10000"/>
                <a:gd name="connsiteX20" fmla="*/ 9394 w 10000"/>
                <a:gd name="connsiteY20" fmla="*/ 4709 h 10000"/>
                <a:gd name="connsiteX21" fmla="*/ 9394 w 10000"/>
                <a:gd name="connsiteY21" fmla="*/ 4690 h 10000"/>
                <a:gd name="connsiteX22" fmla="*/ 9394 w 10000"/>
                <a:gd name="connsiteY22" fmla="*/ 4690 h 10000"/>
                <a:gd name="connsiteX23" fmla="*/ 9456 w 10000"/>
                <a:gd name="connsiteY23" fmla="*/ 4520 h 10000"/>
                <a:gd name="connsiteX24" fmla="*/ 9490 w 10000"/>
                <a:gd name="connsiteY24" fmla="*/ 4360 h 10000"/>
                <a:gd name="connsiteX25" fmla="*/ 9564 w 10000"/>
                <a:gd name="connsiteY25" fmla="*/ 4244 h 10000"/>
                <a:gd name="connsiteX26" fmla="*/ 9628 w 10000"/>
                <a:gd name="connsiteY26" fmla="*/ 4012 h 10000"/>
                <a:gd name="connsiteX27" fmla="*/ 9490 w 10000"/>
                <a:gd name="connsiteY27" fmla="*/ 3760 h 10000"/>
                <a:gd name="connsiteX28" fmla="*/ 9490 w 10000"/>
                <a:gd name="connsiteY28" fmla="*/ 3760 h 10000"/>
                <a:gd name="connsiteX29" fmla="*/ 9479 w 10000"/>
                <a:gd name="connsiteY29" fmla="*/ 3760 h 10000"/>
                <a:gd name="connsiteX30" fmla="*/ 9426 w 10000"/>
                <a:gd name="connsiteY30" fmla="*/ 3527 h 10000"/>
                <a:gd name="connsiteX31" fmla="*/ 9426 w 10000"/>
                <a:gd name="connsiteY31" fmla="*/ 3527 h 10000"/>
                <a:gd name="connsiteX32" fmla="*/ 9426 w 10000"/>
                <a:gd name="connsiteY32" fmla="*/ 3508 h 10000"/>
                <a:gd name="connsiteX33" fmla="*/ 9416 w 10000"/>
                <a:gd name="connsiteY33" fmla="*/ 3198 h 10000"/>
                <a:gd name="connsiteX34" fmla="*/ 9416 w 10000"/>
                <a:gd name="connsiteY34" fmla="*/ 3198 h 10000"/>
                <a:gd name="connsiteX35" fmla="*/ 9416 w 10000"/>
                <a:gd name="connsiteY35" fmla="*/ 3178 h 10000"/>
                <a:gd name="connsiteX36" fmla="*/ 9532 w 10000"/>
                <a:gd name="connsiteY36" fmla="*/ 2907 h 10000"/>
                <a:gd name="connsiteX37" fmla="*/ 9384 w 10000"/>
                <a:gd name="connsiteY37" fmla="*/ 2616 h 10000"/>
                <a:gd name="connsiteX38" fmla="*/ 9384 w 10000"/>
                <a:gd name="connsiteY38" fmla="*/ 2616 h 10000"/>
                <a:gd name="connsiteX39" fmla="*/ 9384 w 10000"/>
                <a:gd name="connsiteY39" fmla="*/ 2616 h 10000"/>
                <a:gd name="connsiteX40" fmla="*/ 9330 w 10000"/>
                <a:gd name="connsiteY40" fmla="*/ 2267 h 10000"/>
                <a:gd name="connsiteX41" fmla="*/ 9330 w 10000"/>
                <a:gd name="connsiteY41" fmla="*/ 2248 h 10000"/>
                <a:gd name="connsiteX42" fmla="*/ 9330 w 10000"/>
                <a:gd name="connsiteY42" fmla="*/ 2248 h 10000"/>
                <a:gd name="connsiteX43" fmla="*/ 9341 w 10000"/>
                <a:gd name="connsiteY43" fmla="*/ 1841 h 10000"/>
                <a:gd name="connsiteX44" fmla="*/ 9341 w 10000"/>
                <a:gd name="connsiteY44" fmla="*/ 1822 h 10000"/>
                <a:gd name="connsiteX45" fmla="*/ 9341 w 10000"/>
                <a:gd name="connsiteY45" fmla="*/ 1822 h 10000"/>
                <a:gd name="connsiteX46" fmla="*/ 9660 w 10000"/>
                <a:gd name="connsiteY46" fmla="*/ 1279 h 10000"/>
                <a:gd name="connsiteX47" fmla="*/ 9564 w 10000"/>
                <a:gd name="connsiteY47" fmla="*/ 1008 h 10000"/>
                <a:gd name="connsiteX48" fmla="*/ 9554 w 10000"/>
                <a:gd name="connsiteY48" fmla="*/ 1008 h 10000"/>
                <a:gd name="connsiteX49" fmla="*/ 9554 w 10000"/>
                <a:gd name="connsiteY49" fmla="*/ 988 h 10000"/>
                <a:gd name="connsiteX50" fmla="*/ 9586 w 10000"/>
                <a:gd name="connsiteY50" fmla="*/ 698 h 10000"/>
                <a:gd name="connsiteX51" fmla="*/ 9501 w 10000"/>
                <a:gd name="connsiteY51" fmla="*/ 601 h 10000"/>
                <a:gd name="connsiteX52" fmla="*/ 9288 w 10000"/>
                <a:gd name="connsiteY52" fmla="*/ 581 h 10000"/>
                <a:gd name="connsiteX53" fmla="*/ 9288 w 10000"/>
                <a:gd name="connsiteY53" fmla="*/ 581 h 10000"/>
                <a:gd name="connsiteX54" fmla="*/ 9277 w 10000"/>
                <a:gd name="connsiteY54" fmla="*/ 581 h 10000"/>
                <a:gd name="connsiteX55" fmla="*/ 9224 w 10000"/>
                <a:gd name="connsiteY55" fmla="*/ 484 h 10000"/>
                <a:gd name="connsiteX56" fmla="*/ 9086 w 10000"/>
                <a:gd name="connsiteY56" fmla="*/ 484 h 10000"/>
                <a:gd name="connsiteX57" fmla="*/ 8948 w 10000"/>
                <a:gd name="connsiteY57" fmla="*/ 1124 h 10000"/>
                <a:gd name="connsiteX58" fmla="*/ 8927 w 10000"/>
                <a:gd name="connsiteY58" fmla="*/ 1124 h 10000"/>
                <a:gd name="connsiteX59" fmla="*/ 8927 w 10000"/>
                <a:gd name="connsiteY59" fmla="*/ 1143 h 10000"/>
                <a:gd name="connsiteX60" fmla="*/ 8650 w 10000"/>
                <a:gd name="connsiteY60" fmla="*/ 1415 h 10000"/>
                <a:gd name="connsiteX61" fmla="*/ 8640 w 10000"/>
                <a:gd name="connsiteY61" fmla="*/ 1434 h 10000"/>
                <a:gd name="connsiteX62" fmla="*/ 8640 w 10000"/>
                <a:gd name="connsiteY62" fmla="*/ 1434 h 10000"/>
                <a:gd name="connsiteX63" fmla="*/ 8470 w 10000"/>
                <a:gd name="connsiteY63" fmla="*/ 1395 h 10000"/>
                <a:gd name="connsiteX64" fmla="*/ 8321 w 10000"/>
                <a:gd name="connsiteY64" fmla="*/ 1531 h 10000"/>
                <a:gd name="connsiteX65" fmla="*/ 8321 w 10000"/>
                <a:gd name="connsiteY65" fmla="*/ 1531 h 10000"/>
                <a:gd name="connsiteX66" fmla="*/ 8321 w 10000"/>
                <a:gd name="connsiteY66" fmla="*/ 1531 h 10000"/>
                <a:gd name="connsiteX67" fmla="*/ 8172 w 10000"/>
                <a:gd name="connsiteY67" fmla="*/ 1589 h 10000"/>
                <a:gd name="connsiteX68" fmla="*/ 8023 w 10000"/>
                <a:gd name="connsiteY68" fmla="*/ 1957 h 10000"/>
                <a:gd name="connsiteX69" fmla="*/ 8013 w 10000"/>
                <a:gd name="connsiteY69" fmla="*/ 1977 h 10000"/>
                <a:gd name="connsiteX70" fmla="*/ 7991 w 10000"/>
                <a:gd name="connsiteY70" fmla="*/ 1977 h 10000"/>
                <a:gd name="connsiteX71" fmla="*/ 7864 w 10000"/>
                <a:gd name="connsiteY71" fmla="*/ 1899 h 10000"/>
                <a:gd name="connsiteX72" fmla="*/ 7843 w 10000"/>
                <a:gd name="connsiteY72" fmla="*/ 1899 h 10000"/>
                <a:gd name="connsiteX73" fmla="*/ 7853 w 10000"/>
                <a:gd name="connsiteY73" fmla="*/ 1841 h 10000"/>
                <a:gd name="connsiteX74" fmla="*/ 7928 w 10000"/>
                <a:gd name="connsiteY74" fmla="*/ 1609 h 10000"/>
                <a:gd name="connsiteX75" fmla="*/ 7906 w 10000"/>
                <a:gd name="connsiteY75" fmla="*/ 1279 h 10000"/>
                <a:gd name="connsiteX76" fmla="*/ 7758 w 10000"/>
                <a:gd name="connsiteY76" fmla="*/ 1124 h 10000"/>
                <a:gd name="connsiteX77" fmla="*/ 7651 w 10000"/>
                <a:gd name="connsiteY77" fmla="*/ 1124 h 10000"/>
                <a:gd name="connsiteX78" fmla="*/ 7641 w 10000"/>
                <a:gd name="connsiteY78" fmla="*/ 1124 h 10000"/>
                <a:gd name="connsiteX79" fmla="*/ 7630 w 10000"/>
                <a:gd name="connsiteY79" fmla="*/ 1105 h 10000"/>
                <a:gd name="connsiteX80" fmla="*/ 7556 w 10000"/>
                <a:gd name="connsiteY80" fmla="*/ 930 h 10000"/>
                <a:gd name="connsiteX81" fmla="*/ 7184 w 10000"/>
                <a:gd name="connsiteY81" fmla="*/ 891 h 10000"/>
                <a:gd name="connsiteX82" fmla="*/ 7173 w 10000"/>
                <a:gd name="connsiteY82" fmla="*/ 891 h 10000"/>
                <a:gd name="connsiteX83" fmla="*/ 7173 w 10000"/>
                <a:gd name="connsiteY83" fmla="*/ 872 h 10000"/>
                <a:gd name="connsiteX84" fmla="*/ 7099 w 10000"/>
                <a:gd name="connsiteY84" fmla="*/ 620 h 10000"/>
                <a:gd name="connsiteX85" fmla="*/ 7088 w 10000"/>
                <a:gd name="connsiteY85" fmla="*/ 601 h 10000"/>
                <a:gd name="connsiteX86" fmla="*/ 7088 w 10000"/>
                <a:gd name="connsiteY86" fmla="*/ 601 h 10000"/>
                <a:gd name="connsiteX87" fmla="*/ 7088 w 10000"/>
                <a:gd name="connsiteY87" fmla="*/ 465 h 10000"/>
                <a:gd name="connsiteX88" fmla="*/ 7088 w 10000"/>
                <a:gd name="connsiteY88" fmla="*/ 426 h 10000"/>
                <a:gd name="connsiteX89" fmla="*/ 7099 w 10000"/>
                <a:gd name="connsiteY89" fmla="*/ 407 h 10000"/>
                <a:gd name="connsiteX90" fmla="*/ 7194 w 10000"/>
                <a:gd name="connsiteY90" fmla="*/ 310 h 10000"/>
                <a:gd name="connsiteX91" fmla="*/ 7109 w 10000"/>
                <a:gd name="connsiteY91" fmla="*/ 136 h 10000"/>
                <a:gd name="connsiteX92" fmla="*/ 7035 w 10000"/>
                <a:gd name="connsiteY92" fmla="*/ 0 h 10000"/>
                <a:gd name="connsiteX93" fmla="*/ 6939 w 10000"/>
                <a:gd name="connsiteY93" fmla="*/ 116 h 10000"/>
                <a:gd name="connsiteX94" fmla="*/ 6939 w 10000"/>
                <a:gd name="connsiteY94" fmla="*/ 116 h 10000"/>
                <a:gd name="connsiteX95" fmla="*/ 6939 w 10000"/>
                <a:gd name="connsiteY95" fmla="*/ 116 h 10000"/>
                <a:gd name="connsiteX96" fmla="*/ 6812 w 10000"/>
                <a:gd name="connsiteY96" fmla="*/ 155 h 10000"/>
                <a:gd name="connsiteX97" fmla="*/ 6674 w 10000"/>
                <a:gd name="connsiteY97" fmla="*/ 291 h 10000"/>
                <a:gd name="connsiteX98" fmla="*/ 6599 w 10000"/>
                <a:gd name="connsiteY98" fmla="*/ 523 h 10000"/>
                <a:gd name="connsiteX99" fmla="*/ 6599 w 10000"/>
                <a:gd name="connsiteY99" fmla="*/ 543 h 10000"/>
                <a:gd name="connsiteX100" fmla="*/ 6589 w 10000"/>
                <a:gd name="connsiteY100" fmla="*/ 543 h 10000"/>
                <a:gd name="connsiteX101" fmla="*/ 6397 w 10000"/>
                <a:gd name="connsiteY101" fmla="*/ 581 h 10000"/>
                <a:gd name="connsiteX102" fmla="*/ 6334 w 10000"/>
                <a:gd name="connsiteY102" fmla="*/ 891 h 10000"/>
                <a:gd name="connsiteX103" fmla="*/ 6334 w 10000"/>
                <a:gd name="connsiteY103" fmla="*/ 911 h 10000"/>
                <a:gd name="connsiteX104" fmla="*/ 6334 w 10000"/>
                <a:gd name="connsiteY104" fmla="*/ 911 h 10000"/>
                <a:gd name="connsiteX105" fmla="*/ 6142 w 10000"/>
                <a:gd name="connsiteY105" fmla="*/ 1124 h 10000"/>
                <a:gd name="connsiteX106" fmla="*/ 6015 w 10000"/>
                <a:gd name="connsiteY106" fmla="*/ 1453 h 10000"/>
                <a:gd name="connsiteX107" fmla="*/ 6004 w 10000"/>
                <a:gd name="connsiteY107" fmla="*/ 1473 h 10000"/>
                <a:gd name="connsiteX108" fmla="*/ 5994 w 10000"/>
                <a:gd name="connsiteY108" fmla="*/ 1453 h 10000"/>
                <a:gd name="connsiteX109" fmla="*/ 5802 w 10000"/>
                <a:gd name="connsiteY109" fmla="*/ 1434 h 10000"/>
                <a:gd name="connsiteX110" fmla="*/ 5781 w 10000"/>
                <a:gd name="connsiteY110" fmla="*/ 1415 h 10000"/>
                <a:gd name="connsiteX111" fmla="*/ 5781 w 10000"/>
                <a:gd name="connsiteY111" fmla="*/ 1395 h 10000"/>
                <a:gd name="connsiteX112" fmla="*/ 5760 w 10000"/>
                <a:gd name="connsiteY112" fmla="*/ 930 h 10000"/>
                <a:gd name="connsiteX113" fmla="*/ 5654 w 10000"/>
                <a:gd name="connsiteY113" fmla="*/ 872 h 10000"/>
                <a:gd name="connsiteX114" fmla="*/ 5377 w 10000"/>
                <a:gd name="connsiteY114" fmla="*/ 1240 h 10000"/>
                <a:gd name="connsiteX115" fmla="*/ 5165 w 10000"/>
                <a:gd name="connsiteY115" fmla="*/ 1570 h 10000"/>
                <a:gd name="connsiteX116" fmla="*/ 5165 w 10000"/>
                <a:gd name="connsiteY116" fmla="*/ 1899 h 10000"/>
                <a:gd name="connsiteX117" fmla="*/ 5165 w 10000"/>
                <a:gd name="connsiteY117" fmla="*/ 1919 h 10000"/>
                <a:gd name="connsiteX118" fmla="*/ 5154 w 10000"/>
                <a:gd name="connsiteY118" fmla="*/ 1919 h 10000"/>
                <a:gd name="connsiteX119" fmla="*/ 5027 w 10000"/>
                <a:gd name="connsiteY119" fmla="*/ 2112 h 10000"/>
                <a:gd name="connsiteX120" fmla="*/ 5016 w 10000"/>
                <a:gd name="connsiteY120" fmla="*/ 2112 h 10000"/>
                <a:gd name="connsiteX121" fmla="*/ 5005 w 10000"/>
                <a:gd name="connsiteY121" fmla="*/ 2112 h 10000"/>
                <a:gd name="connsiteX122" fmla="*/ 4814 w 10000"/>
                <a:gd name="connsiteY122" fmla="*/ 2112 h 10000"/>
                <a:gd name="connsiteX123" fmla="*/ 4803 w 10000"/>
                <a:gd name="connsiteY123" fmla="*/ 2112 h 10000"/>
                <a:gd name="connsiteX124" fmla="*/ 4803 w 10000"/>
                <a:gd name="connsiteY124" fmla="*/ 2112 h 10000"/>
                <a:gd name="connsiteX125" fmla="*/ 4697 w 10000"/>
                <a:gd name="connsiteY125" fmla="*/ 1957 h 10000"/>
                <a:gd name="connsiteX126" fmla="*/ 4591 w 10000"/>
                <a:gd name="connsiteY126" fmla="*/ 1899 h 10000"/>
                <a:gd name="connsiteX127" fmla="*/ 4591 w 10000"/>
                <a:gd name="connsiteY127" fmla="*/ 1957 h 10000"/>
                <a:gd name="connsiteX128" fmla="*/ 4591 w 10000"/>
                <a:gd name="connsiteY128" fmla="*/ 1996 h 10000"/>
                <a:gd name="connsiteX129" fmla="*/ 4570 w 10000"/>
                <a:gd name="connsiteY129" fmla="*/ 1996 h 10000"/>
                <a:gd name="connsiteX130" fmla="*/ 4453 w 10000"/>
                <a:gd name="connsiteY130" fmla="*/ 1996 h 10000"/>
                <a:gd name="connsiteX131" fmla="*/ 4431 w 10000"/>
                <a:gd name="connsiteY131" fmla="*/ 1996 h 10000"/>
                <a:gd name="connsiteX132" fmla="*/ 4431 w 10000"/>
                <a:gd name="connsiteY132" fmla="*/ 1957 h 10000"/>
                <a:gd name="connsiteX133" fmla="*/ 4378 w 10000"/>
                <a:gd name="connsiteY133" fmla="*/ 1589 h 10000"/>
                <a:gd name="connsiteX134" fmla="*/ 4091 w 10000"/>
                <a:gd name="connsiteY134" fmla="*/ 1512 h 10000"/>
                <a:gd name="connsiteX135" fmla="*/ 4081 w 10000"/>
                <a:gd name="connsiteY135" fmla="*/ 1512 h 10000"/>
                <a:gd name="connsiteX136" fmla="*/ 4070 w 10000"/>
                <a:gd name="connsiteY136" fmla="*/ 1492 h 10000"/>
                <a:gd name="connsiteX137" fmla="*/ 3879 w 10000"/>
                <a:gd name="connsiteY137" fmla="*/ 988 h 10000"/>
                <a:gd name="connsiteX138" fmla="*/ 3719 w 10000"/>
                <a:gd name="connsiteY138" fmla="*/ 988 h 10000"/>
                <a:gd name="connsiteX139" fmla="*/ 3698 w 10000"/>
                <a:gd name="connsiteY139" fmla="*/ 1085 h 10000"/>
                <a:gd name="connsiteX140" fmla="*/ 3698 w 10000"/>
                <a:gd name="connsiteY140" fmla="*/ 1105 h 10000"/>
                <a:gd name="connsiteX141" fmla="*/ 3698 w 10000"/>
                <a:gd name="connsiteY141" fmla="*/ 1105 h 10000"/>
                <a:gd name="connsiteX142" fmla="*/ 3592 w 10000"/>
                <a:gd name="connsiteY142" fmla="*/ 1318 h 10000"/>
                <a:gd name="connsiteX143" fmla="*/ 3592 w 10000"/>
                <a:gd name="connsiteY143" fmla="*/ 1318 h 10000"/>
                <a:gd name="connsiteX144" fmla="*/ 3581 w 10000"/>
                <a:gd name="connsiteY144" fmla="*/ 1318 h 10000"/>
                <a:gd name="connsiteX145" fmla="*/ 3486 w 10000"/>
                <a:gd name="connsiteY145" fmla="*/ 1395 h 10000"/>
                <a:gd name="connsiteX146" fmla="*/ 3486 w 10000"/>
                <a:gd name="connsiteY146" fmla="*/ 1686 h 10000"/>
                <a:gd name="connsiteX147" fmla="*/ 3486 w 10000"/>
                <a:gd name="connsiteY147" fmla="*/ 1725 h 10000"/>
                <a:gd name="connsiteX148" fmla="*/ 3475 w 10000"/>
                <a:gd name="connsiteY148" fmla="*/ 1725 h 10000"/>
                <a:gd name="connsiteX149" fmla="*/ 3369 w 10000"/>
                <a:gd name="connsiteY149" fmla="*/ 1841 h 10000"/>
                <a:gd name="connsiteX150" fmla="*/ 3135 w 10000"/>
                <a:gd name="connsiteY150" fmla="*/ 2171 h 10000"/>
                <a:gd name="connsiteX151" fmla="*/ 2954 w 10000"/>
                <a:gd name="connsiteY151" fmla="*/ 2829 h 10000"/>
                <a:gd name="connsiteX152" fmla="*/ 2954 w 10000"/>
                <a:gd name="connsiteY152" fmla="*/ 2829 h 10000"/>
                <a:gd name="connsiteX153" fmla="*/ 2944 w 10000"/>
                <a:gd name="connsiteY153" fmla="*/ 2829 h 10000"/>
                <a:gd name="connsiteX154" fmla="*/ 2699 w 10000"/>
                <a:gd name="connsiteY154" fmla="*/ 3217 h 10000"/>
                <a:gd name="connsiteX155" fmla="*/ 2487 w 10000"/>
                <a:gd name="connsiteY155" fmla="*/ 3566 h 10000"/>
                <a:gd name="connsiteX156" fmla="*/ 2465 w 10000"/>
                <a:gd name="connsiteY156" fmla="*/ 3934 h 10000"/>
                <a:gd name="connsiteX157" fmla="*/ 2465 w 10000"/>
                <a:gd name="connsiteY157" fmla="*/ 3934 h 10000"/>
                <a:gd name="connsiteX158" fmla="*/ 2465 w 10000"/>
                <a:gd name="connsiteY158" fmla="*/ 3934 h 10000"/>
                <a:gd name="connsiteX159" fmla="*/ 2295 w 10000"/>
                <a:gd name="connsiteY159" fmla="*/ 4205 h 10000"/>
                <a:gd name="connsiteX160" fmla="*/ 2200 w 10000"/>
                <a:gd name="connsiteY160" fmla="*/ 4535 h 10000"/>
                <a:gd name="connsiteX161" fmla="*/ 2189 w 10000"/>
                <a:gd name="connsiteY161" fmla="*/ 4554 h 10000"/>
                <a:gd name="connsiteX162" fmla="*/ 2179 w 10000"/>
                <a:gd name="connsiteY162" fmla="*/ 4554 h 10000"/>
                <a:gd name="connsiteX163" fmla="*/ 2051 w 10000"/>
                <a:gd name="connsiteY163" fmla="*/ 4535 h 10000"/>
                <a:gd name="connsiteX164" fmla="*/ 1913 w 10000"/>
                <a:gd name="connsiteY164" fmla="*/ 4767 h 10000"/>
                <a:gd name="connsiteX165" fmla="*/ 1913 w 10000"/>
                <a:gd name="connsiteY165" fmla="*/ 4787 h 10000"/>
                <a:gd name="connsiteX166" fmla="*/ 1902 w 10000"/>
                <a:gd name="connsiteY166" fmla="*/ 4787 h 10000"/>
                <a:gd name="connsiteX167" fmla="*/ 1498 w 10000"/>
                <a:gd name="connsiteY167" fmla="*/ 4671 h 10000"/>
                <a:gd name="connsiteX168" fmla="*/ 1488 w 10000"/>
                <a:gd name="connsiteY168" fmla="*/ 4671 h 10000"/>
                <a:gd name="connsiteX169" fmla="*/ 1488 w 10000"/>
                <a:gd name="connsiteY169" fmla="*/ 4651 h 10000"/>
                <a:gd name="connsiteX170" fmla="*/ 1424 w 10000"/>
                <a:gd name="connsiteY170" fmla="*/ 4516 h 10000"/>
                <a:gd name="connsiteX171" fmla="*/ 1350 w 10000"/>
                <a:gd name="connsiteY171" fmla="*/ 4516 h 10000"/>
                <a:gd name="connsiteX172" fmla="*/ 1296 w 10000"/>
                <a:gd name="connsiteY172" fmla="*/ 4690 h 10000"/>
                <a:gd name="connsiteX173" fmla="*/ 1286 w 10000"/>
                <a:gd name="connsiteY173" fmla="*/ 4922 h 10000"/>
                <a:gd name="connsiteX174" fmla="*/ 1286 w 10000"/>
                <a:gd name="connsiteY174" fmla="*/ 4942 h 10000"/>
                <a:gd name="connsiteX175" fmla="*/ 1275 w 10000"/>
                <a:gd name="connsiteY175" fmla="*/ 4961 h 10000"/>
                <a:gd name="connsiteX176" fmla="*/ 1190 w 10000"/>
                <a:gd name="connsiteY176" fmla="*/ 5058 h 10000"/>
                <a:gd name="connsiteX177" fmla="*/ 1137 w 10000"/>
                <a:gd name="connsiteY177" fmla="*/ 5271 h 10000"/>
                <a:gd name="connsiteX178" fmla="*/ 1137 w 10000"/>
                <a:gd name="connsiteY178" fmla="*/ 5291 h 10000"/>
                <a:gd name="connsiteX179" fmla="*/ 1126 w 10000"/>
                <a:gd name="connsiteY179" fmla="*/ 5291 h 10000"/>
                <a:gd name="connsiteX180" fmla="*/ 1020 w 10000"/>
                <a:gd name="connsiteY180" fmla="*/ 5407 h 10000"/>
                <a:gd name="connsiteX181" fmla="*/ 999 w 10000"/>
                <a:gd name="connsiteY181" fmla="*/ 5581 h 10000"/>
                <a:gd name="connsiteX182" fmla="*/ 978 w 10000"/>
                <a:gd name="connsiteY182" fmla="*/ 5756 h 10000"/>
                <a:gd name="connsiteX183" fmla="*/ 978 w 10000"/>
                <a:gd name="connsiteY183" fmla="*/ 5775 h 10000"/>
                <a:gd name="connsiteX184" fmla="*/ 967 w 10000"/>
                <a:gd name="connsiteY184" fmla="*/ 5775 h 10000"/>
                <a:gd name="connsiteX185" fmla="*/ 861 w 10000"/>
                <a:gd name="connsiteY185" fmla="*/ 5814 h 10000"/>
                <a:gd name="connsiteX186" fmla="*/ 861 w 10000"/>
                <a:gd name="connsiteY186" fmla="*/ 6047 h 10000"/>
                <a:gd name="connsiteX187" fmla="*/ 967 w 10000"/>
                <a:gd name="connsiteY187" fmla="*/ 6298 h 10000"/>
                <a:gd name="connsiteX188" fmla="*/ 967 w 10000"/>
                <a:gd name="connsiteY188" fmla="*/ 6298 h 10000"/>
                <a:gd name="connsiteX189" fmla="*/ 978 w 10000"/>
                <a:gd name="connsiteY189" fmla="*/ 6318 h 10000"/>
                <a:gd name="connsiteX190" fmla="*/ 988 w 10000"/>
                <a:gd name="connsiteY190" fmla="*/ 6512 h 10000"/>
                <a:gd name="connsiteX191" fmla="*/ 988 w 10000"/>
                <a:gd name="connsiteY191" fmla="*/ 6531 h 10000"/>
                <a:gd name="connsiteX192" fmla="*/ 978 w 10000"/>
                <a:gd name="connsiteY192" fmla="*/ 6550 h 10000"/>
                <a:gd name="connsiteX193" fmla="*/ 627 w 10000"/>
                <a:gd name="connsiteY193" fmla="*/ 7016 h 10000"/>
                <a:gd name="connsiteX194" fmla="*/ 521 w 10000"/>
                <a:gd name="connsiteY194" fmla="*/ 7151 h 10000"/>
                <a:gd name="connsiteX195" fmla="*/ 340 w 10000"/>
                <a:gd name="connsiteY195" fmla="*/ 7384 h 10000"/>
                <a:gd name="connsiteX196" fmla="*/ 340 w 10000"/>
                <a:gd name="connsiteY196" fmla="*/ 7403 h 10000"/>
                <a:gd name="connsiteX197" fmla="*/ 340 w 10000"/>
                <a:gd name="connsiteY197" fmla="*/ 7403 h 10000"/>
                <a:gd name="connsiteX198" fmla="*/ 191 w 10000"/>
                <a:gd name="connsiteY198" fmla="*/ 7519 h 10000"/>
                <a:gd name="connsiteX199" fmla="*/ 0 w 10000"/>
                <a:gd name="connsiteY199" fmla="*/ 7791 h 10000"/>
                <a:gd name="connsiteX200" fmla="*/ 11 w 10000"/>
                <a:gd name="connsiteY200" fmla="*/ 7829 h 10000"/>
                <a:gd name="connsiteX201" fmla="*/ 149 w 10000"/>
                <a:gd name="connsiteY201" fmla="*/ 7868 h 10000"/>
                <a:gd name="connsiteX202" fmla="*/ 159 w 10000"/>
                <a:gd name="connsiteY202" fmla="*/ 7868 h 10000"/>
                <a:gd name="connsiteX203" fmla="*/ 159 w 10000"/>
                <a:gd name="connsiteY203" fmla="*/ 7868 h 10000"/>
                <a:gd name="connsiteX204" fmla="*/ 372 w 10000"/>
                <a:gd name="connsiteY204" fmla="*/ 8256 h 10000"/>
                <a:gd name="connsiteX205" fmla="*/ 1467 w 10000"/>
                <a:gd name="connsiteY205" fmla="*/ 9205 h 10000"/>
                <a:gd name="connsiteX206" fmla="*/ 1467 w 10000"/>
                <a:gd name="connsiteY206" fmla="*/ 9205 h 10000"/>
                <a:gd name="connsiteX207" fmla="*/ 1477 w 10000"/>
                <a:gd name="connsiteY207" fmla="*/ 9205 h 10000"/>
                <a:gd name="connsiteX208" fmla="*/ 1838 w 10000"/>
                <a:gd name="connsiteY208" fmla="*/ 9729 h 10000"/>
                <a:gd name="connsiteX209" fmla="*/ 2508 w 10000"/>
                <a:gd name="connsiteY209" fmla="*/ 9767 h 10000"/>
                <a:gd name="connsiteX210" fmla="*/ 2561 w 10000"/>
                <a:gd name="connsiteY210" fmla="*/ 9671 h 10000"/>
                <a:gd name="connsiteX211" fmla="*/ 2561 w 10000"/>
                <a:gd name="connsiteY211" fmla="*/ 9671 h 10000"/>
                <a:gd name="connsiteX212" fmla="*/ 2582 w 10000"/>
                <a:gd name="connsiteY212" fmla="*/ 9671 h 10000"/>
                <a:gd name="connsiteX213" fmla="*/ 2848 w 10000"/>
                <a:gd name="connsiteY213" fmla="*/ 9651 h 10000"/>
                <a:gd name="connsiteX214" fmla="*/ 2859 w 10000"/>
                <a:gd name="connsiteY214" fmla="*/ 9651 h 10000"/>
                <a:gd name="connsiteX215" fmla="*/ 2869 w 10000"/>
                <a:gd name="connsiteY215" fmla="*/ 9671 h 10000"/>
                <a:gd name="connsiteX216" fmla="*/ 3061 w 10000"/>
                <a:gd name="connsiteY216" fmla="*/ 10000 h 10000"/>
                <a:gd name="connsiteX217" fmla="*/ 3061 w 10000"/>
                <a:gd name="connsiteY217" fmla="*/ 10000 h 10000"/>
                <a:gd name="connsiteX218" fmla="*/ 4336 w 10000"/>
                <a:gd name="connsiteY218" fmla="*/ 9961 h 10000"/>
                <a:gd name="connsiteX219" fmla="*/ 4357 w 10000"/>
                <a:gd name="connsiteY219" fmla="*/ 9961 h 10000"/>
                <a:gd name="connsiteX220" fmla="*/ 4357 w 10000"/>
                <a:gd name="connsiteY220" fmla="*/ 9981 h 10000"/>
                <a:gd name="connsiteX221" fmla="*/ 4527 w 10000"/>
                <a:gd name="connsiteY221" fmla="*/ 9864 h 10000"/>
                <a:gd name="connsiteX222" fmla="*/ 4538 w 10000"/>
                <a:gd name="connsiteY222" fmla="*/ 9864 h 10000"/>
                <a:gd name="connsiteX223" fmla="*/ 4538 w 10000"/>
                <a:gd name="connsiteY223" fmla="*/ 9864 h 10000"/>
                <a:gd name="connsiteX224" fmla="*/ 5250 w 10000"/>
                <a:gd name="connsiteY224" fmla="*/ 9845 h 10000"/>
                <a:gd name="connsiteX225" fmla="*/ 7354 w 10000"/>
                <a:gd name="connsiteY225" fmla="*/ 9845 h 10000"/>
                <a:gd name="connsiteX226" fmla="*/ 7343 w 10000"/>
                <a:gd name="connsiteY226" fmla="*/ 9826 h 10000"/>
                <a:gd name="connsiteX227" fmla="*/ 7439 w 10000"/>
                <a:gd name="connsiteY227" fmla="*/ 9612 h 10000"/>
                <a:gd name="connsiteX228" fmla="*/ 7513 w 10000"/>
                <a:gd name="connsiteY228" fmla="*/ 9516 h 10000"/>
                <a:gd name="connsiteX229" fmla="*/ 7428 w 10000"/>
                <a:gd name="connsiteY229" fmla="*/ 9283 h 10000"/>
                <a:gd name="connsiteX230" fmla="*/ 7450 w 10000"/>
                <a:gd name="connsiteY230" fmla="*/ 9109 h 10000"/>
                <a:gd name="connsiteX231" fmla="*/ 7683 w 10000"/>
                <a:gd name="connsiteY231" fmla="*/ 8992 h 10000"/>
                <a:gd name="connsiteX232" fmla="*/ 7683 w 10000"/>
                <a:gd name="connsiteY232" fmla="*/ 8798 h 10000"/>
                <a:gd name="connsiteX233" fmla="*/ 7779 w 10000"/>
                <a:gd name="connsiteY233" fmla="*/ 8682 h 10000"/>
                <a:gd name="connsiteX234" fmla="*/ 7949 w 10000"/>
                <a:gd name="connsiteY234" fmla="*/ 8372 h 10000"/>
                <a:gd name="connsiteX235" fmla="*/ 8013 w 10000"/>
                <a:gd name="connsiteY235" fmla="*/ 8023 h 10000"/>
                <a:gd name="connsiteX236" fmla="*/ 8098 w 10000"/>
                <a:gd name="connsiteY236" fmla="*/ 7907 h 10000"/>
                <a:gd name="connsiteX237" fmla="*/ 8204 w 10000"/>
                <a:gd name="connsiteY237" fmla="*/ 7907 h 10000"/>
                <a:gd name="connsiteX238" fmla="*/ 8363 w 10000"/>
                <a:gd name="connsiteY238" fmla="*/ 7829 h 10000"/>
                <a:gd name="connsiteX239" fmla="*/ 8576 w 10000"/>
                <a:gd name="connsiteY239" fmla="*/ 7907 h 10000"/>
                <a:gd name="connsiteX240" fmla="*/ 8661 w 10000"/>
                <a:gd name="connsiteY240" fmla="*/ 8004 h 10000"/>
                <a:gd name="connsiteX241" fmla="*/ 8704 w 10000"/>
                <a:gd name="connsiteY241" fmla="*/ 7829 h 10000"/>
                <a:gd name="connsiteX242" fmla="*/ 8831 w 10000"/>
                <a:gd name="connsiteY242" fmla="*/ 7733 h 10000"/>
                <a:gd name="connsiteX243" fmla="*/ 8980 w 10000"/>
                <a:gd name="connsiteY243" fmla="*/ 7713 h 10000"/>
                <a:gd name="connsiteX244" fmla="*/ 9097 w 10000"/>
                <a:gd name="connsiteY244" fmla="*/ 7674 h 10000"/>
                <a:gd name="connsiteX245" fmla="*/ 9235 w 10000"/>
                <a:gd name="connsiteY245" fmla="*/ 7791 h 10000"/>
                <a:gd name="connsiteX246" fmla="*/ 9341 w 10000"/>
                <a:gd name="connsiteY246" fmla="*/ 7907 h 10000"/>
                <a:gd name="connsiteX247" fmla="*/ 9458 w 10000"/>
                <a:gd name="connsiteY247" fmla="*/ 7733 h 10000"/>
                <a:gd name="connsiteX248" fmla="*/ 9575 w 10000"/>
                <a:gd name="connsiteY248" fmla="*/ 7829 h 10000"/>
                <a:gd name="connsiteX249" fmla="*/ 9702 w 10000"/>
                <a:gd name="connsiteY249" fmla="*/ 7829 h 10000"/>
                <a:gd name="connsiteX250" fmla="*/ 9809 w 10000"/>
                <a:gd name="connsiteY250" fmla="*/ 7907 h 10000"/>
                <a:gd name="connsiteX251" fmla="*/ 9968 w 10000"/>
                <a:gd name="connsiteY251" fmla="*/ 7829 h 10000"/>
                <a:gd name="connsiteX252" fmla="*/ 10000 w 10000"/>
                <a:gd name="connsiteY252" fmla="*/ 7810 h 10000"/>
                <a:gd name="connsiteX253" fmla="*/ 9979 w 10000"/>
                <a:gd name="connsiteY253" fmla="*/ 7810 h 10000"/>
                <a:gd name="connsiteX254" fmla="*/ 9968 w 10000"/>
                <a:gd name="connsiteY254" fmla="*/ 7636 h 10000"/>
                <a:gd name="connsiteX255" fmla="*/ 9968 w 10000"/>
                <a:gd name="connsiteY255" fmla="*/ 7190 h 10000"/>
                <a:gd name="connsiteX256" fmla="*/ 9926 w 10000"/>
                <a:gd name="connsiteY256" fmla="*/ 7132 h 10000"/>
                <a:gd name="connsiteX257" fmla="*/ 9915 w 10000"/>
                <a:gd name="connsiteY257" fmla="*/ 7112 h 10000"/>
                <a:gd name="connsiteX258" fmla="*/ 9926 w 10000"/>
                <a:gd name="connsiteY258" fmla="*/ 7093 h 10000"/>
                <a:gd name="connsiteX259" fmla="*/ 9968 w 10000"/>
                <a:gd name="connsiteY259" fmla="*/ 6822 h 10000"/>
                <a:gd name="connsiteX260" fmla="*/ 9979 w 10000"/>
                <a:gd name="connsiteY260" fmla="*/ 6802 h 10000"/>
                <a:gd name="connsiteX261" fmla="*/ 9979 w 10000"/>
                <a:gd name="connsiteY261" fmla="*/ 6802 h 10000"/>
                <a:gd name="connsiteX262" fmla="*/ 9947 w 10000"/>
                <a:gd name="connsiteY262" fmla="*/ 6764 h 10000"/>
                <a:gd name="connsiteX263" fmla="*/ 9872 w 10000"/>
                <a:gd name="connsiteY263" fmla="*/ 6899 h 10000"/>
                <a:gd name="connsiteX0" fmla="*/ 9947 w 10000"/>
                <a:gd name="connsiteY0" fmla="*/ 6764 h 10000"/>
                <a:gd name="connsiteX1" fmla="*/ 9862 w 10000"/>
                <a:gd name="connsiteY1" fmla="*/ 6899 h 10000"/>
                <a:gd name="connsiteX2" fmla="*/ 9862 w 10000"/>
                <a:gd name="connsiteY2" fmla="*/ 6899 h 10000"/>
                <a:gd name="connsiteX3" fmla="*/ 9766 w 10000"/>
                <a:gd name="connsiteY3" fmla="*/ 6938 h 10000"/>
                <a:gd name="connsiteX4" fmla="*/ 9665 w 10000"/>
                <a:gd name="connsiteY4" fmla="*/ 6915 h 10000"/>
                <a:gd name="connsiteX5" fmla="*/ 9458 w 10000"/>
                <a:gd name="connsiteY5" fmla="*/ 6880 h 10000"/>
                <a:gd name="connsiteX6" fmla="*/ 9447 w 10000"/>
                <a:gd name="connsiteY6" fmla="*/ 6860 h 10000"/>
                <a:gd name="connsiteX7" fmla="*/ 9447 w 10000"/>
                <a:gd name="connsiteY7" fmla="*/ 6841 h 10000"/>
                <a:gd name="connsiteX8" fmla="*/ 9447 w 10000"/>
                <a:gd name="connsiteY8" fmla="*/ 6550 h 10000"/>
                <a:gd name="connsiteX9" fmla="*/ 9447 w 10000"/>
                <a:gd name="connsiteY9" fmla="*/ 6531 h 10000"/>
                <a:gd name="connsiteX10" fmla="*/ 9458 w 10000"/>
                <a:gd name="connsiteY10" fmla="*/ 6531 h 10000"/>
                <a:gd name="connsiteX11" fmla="*/ 9554 w 10000"/>
                <a:gd name="connsiteY11" fmla="*/ 6453 h 10000"/>
                <a:gd name="connsiteX12" fmla="*/ 9564 w 10000"/>
                <a:gd name="connsiteY12" fmla="*/ 5601 h 10000"/>
                <a:gd name="connsiteX13" fmla="*/ 9564 w 10000"/>
                <a:gd name="connsiteY13" fmla="*/ 5581 h 10000"/>
                <a:gd name="connsiteX14" fmla="*/ 9564 w 10000"/>
                <a:gd name="connsiteY14" fmla="*/ 5562 h 10000"/>
                <a:gd name="connsiteX15" fmla="*/ 9649 w 10000"/>
                <a:gd name="connsiteY15" fmla="*/ 5388 h 10000"/>
                <a:gd name="connsiteX16" fmla="*/ 9702 w 10000"/>
                <a:gd name="connsiteY16" fmla="*/ 5291 h 10000"/>
                <a:gd name="connsiteX17" fmla="*/ 9554 w 10000"/>
                <a:gd name="connsiteY17" fmla="*/ 5058 h 10000"/>
                <a:gd name="connsiteX18" fmla="*/ 9554 w 10000"/>
                <a:gd name="connsiteY18" fmla="*/ 5058 h 10000"/>
                <a:gd name="connsiteX19" fmla="*/ 9543 w 10000"/>
                <a:gd name="connsiteY19" fmla="*/ 5058 h 10000"/>
                <a:gd name="connsiteX20" fmla="*/ 9394 w 10000"/>
                <a:gd name="connsiteY20" fmla="*/ 4709 h 10000"/>
                <a:gd name="connsiteX21" fmla="*/ 9394 w 10000"/>
                <a:gd name="connsiteY21" fmla="*/ 4690 h 10000"/>
                <a:gd name="connsiteX22" fmla="*/ 9394 w 10000"/>
                <a:gd name="connsiteY22" fmla="*/ 4690 h 10000"/>
                <a:gd name="connsiteX23" fmla="*/ 9456 w 10000"/>
                <a:gd name="connsiteY23" fmla="*/ 4520 h 10000"/>
                <a:gd name="connsiteX24" fmla="*/ 9490 w 10000"/>
                <a:gd name="connsiteY24" fmla="*/ 4360 h 10000"/>
                <a:gd name="connsiteX25" fmla="*/ 9564 w 10000"/>
                <a:gd name="connsiteY25" fmla="*/ 4244 h 10000"/>
                <a:gd name="connsiteX26" fmla="*/ 9628 w 10000"/>
                <a:gd name="connsiteY26" fmla="*/ 4012 h 10000"/>
                <a:gd name="connsiteX27" fmla="*/ 9490 w 10000"/>
                <a:gd name="connsiteY27" fmla="*/ 3760 h 10000"/>
                <a:gd name="connsiteX28" fmla="*/ 9490 w 10000"/>
                <a:gd name="connsiteY28" fmla="*/ 3760 h 10000"/>
                <a:gd name="connsiteX29" fmla="*/ 9479 w 10000"/>
                <a:gd name="connsiteY29" fmla="*/ 3760 h 10000"/>
                <a:gd name="connsiteX30" fmla="*/ 9426 w 10000"/>
                <a:gd name="connsiteY30" fmla="*/ 3527 h 10000"/>
                <a:gd name="connsiteX31" fmla="*/ 9426 w 10000"/>
                <a:gd name="connsiteY31" fmla="*/ 3527 h 10000"/>
                <a:gd name="connsiteX32" fmla="*/ 9426 w 10000"/>
                <a:gd name="connsiteY32" fmla="*/ 3508 h 10000"/>
                <a:gd name="connsiteX33" fmla="*/ 9416 w 10000"/>
                <a:gd name="connsiteY33" fmla="*/ 3198 h 10000"/>
                <a:gd name="connsiteX34" fmla="*/ 9416 w 10000"/>
                <a:gd name="connsiteY34" fmla="*/ 3198 h 10000"/>
                <a:gd name="connsiteX35" fmla="*/ 9416 w 10000"/>
                <a:gd name="connsiteY35" fmla="*/ 3178 h 10000"/>
                <a:gd name="connsiteX36" fmla="*/ 9532 w 10000"/>
                <a:gd name="connsiteY36" fmla="*/ 2907 h 10000"/>
                <a:gd name="connsiteX37" fmla="*/ 9384 w 10000"/>
                <a:gd name="connsiteY37" fmla="*/ 2616 h 10000"/>
                <a:gd name="connsiteX38" fmla="*/ 9384 w 10000"/>
                <a:gd name="connsiteY38" fmla="*/ 2616 h 10000"/>
                <a:gd name="connsiteX39" fmla="*/ 9384 w 10000"/>
                <a:gd name="connsiteY39" fmla="*/ 2616 h 10000"/>
                <a:gd name="connsiteX40" fmla="*/ 9330 w 10000"/>
                <a:gd name="connsiteY40" fmla="*/ 2267 h 10000"/>
                <a:gd name="connsiteX41" fmla="*/ 9330 w 10000"/>
                <a:gd name="connsiteY41" fmla="*/ 2248 h 10000"/>
                <a:gd name="connsiteX42" fmla="*/ 9330 w 10000"/>
                <a:gd name="connsiteY42" fmla="*/ 2248 h 10000"/>
                <a:gd name="connsiteX43" fmla="*/ 9341 w 10000"/>
                <a:gd name="connsiteY43" fmla="*/ 1841 h 10000"/>
                <a:gd name="connsiteX44" fmla="*/ 9341 w 10000"/>
                <a:gd name="connsiteY44" fmla="*/ 1822 h 10000"/>
                <a:gd name="connsiteX45" fmla="*/ 9341 w 10000"/>
                <a:gd name="connsiteY45" fmla="*/ 1822 h 10000"/>
                <a:gd name="connsiteX46" fmla="*/ 9660 w 10000"/>
                <a:gd name="connsiteY46" fmla="*/ 1279 h 10000"/>
                <a:gd name="connsiteX47" fmla="*/ 9564 w 10000"/>
                <a:gd name="connsiteY47" fmla="*/ 1008 h 10000"/>
                <a:gd name="connsiteX48" fmla="*/ 9554 w 10000"/>
                <a:gd name="connsiteY48" fmla="*/ 1008 h 10000"/>
                <a:gd name="connsiteX49" fmla="*/ 9554 w 10000"/>
                <a:gd name="connsiteY49" fmla="*/ 988 h 10000"/>
                <a:gd name="connsiteX50" fmla="*/ 9586 w 10000"/>
                <a:gd name="connsiteY50" fmla="*/ 698 h 10000"/>
                <a:gd name="connsiteX51" fmla="*/ 9501 w 10000"/>
                <a:gd name="connsiteY51" fmla="*/ 601 h 10000"/>
                <a:gd name="connsiteX52" fmla="*/ 9288 w 10000"/>
                <a:gd name="connsiteY52" fmla="*/ 581 h 10000"/>
                <a:gd name="connsiteX53" fmla="*/ 9288 w 10000"/>
                <a:gd name="connsiteY53" fmla="*/ 581 h 10000"/>
                <a:gd name="connsiteX54" fmla="*/ 9277 w 10000"/>
                <a:gd name="connsiteY54" fmla="*/ 581 h 10000"/>
                <a:gd name="connsiteX55" fmla="*/ 9224 w 10000"/>
                <a:gd name="connsiteY55" fmla="*/ 484 h 10000"/>
                <a:gd name="connsiteX56" fmla="*/ 9086 w 10000"/>
                <a:gd name="connsiteY56" fmla="*/ 484 h 10000"/>
                <a:gd name="connsiteX57" fmla="*/ 8948 w 10000"/>
                <a:gd name="connsiteY57" fmla="*/ 1124 h 10000"/>
                <a:gd name="connsiteX58" fmla="*/ 8927 w 10000"/>
                <a:gd name="connsiteY58" fmla="*/ 1124 h 10000"/>
                <a:gd name="connsiteX59" fmla="*/ 8927 w 10000"/>
                <a:gd name="connsiteY59" fmla="*/ 1143 h 10000"/>
                <a:gd name="connsiteX60" fmla="*/ 8650 w 10000"/>
                <a:gd name="connsiteY60" fmla="*/ 1415 h 10000"/>
                <a:gd name="connsiteX61" fmla="*/ 8640 w 10000"/>
                <a:gd name="connsiteY61" fmla="*/ 1434 h 10000"/>
                <a:gd name="connsiteX62" fmla="*/ 8640 w 10000"/>
                <a:gd name="connsiteY62" fmla="*/ 1434 h 10000"/>
                <a:gd name="connsiteX63" fmla="*/ 8470 w 10000"/>
                <a:gd name="connsiteY63" fmla="*/ 1395 h 10000"/>
                <a:gd name="connsiteX64" fmla="*/ 8321 w 10000"/>
                <a:gd name="connsiteY64" fmla="*/ 1531 h 10000"/>
                <a:gd name="connsiteX65" fmla="*/ 8321 w 10000"/>
                <a:gd name="connsiteY65" fmla="*/ 1531 h 10000"/>
                <a:gd name="connsiteX66" fmla="*/ 8321 w 10000"/>
                <a:gd name="connsiteY66" fmla="*/ 1531 h 10000"/>
                <a:gd name="connsiteX67" fmla="*/ 8172 w 10000"/>
                <a:gd name="connsiteY67" fmla="*/ 1589 h 10000"/>
                <a:gd name="connsiteX68" fmla="*/ 8023 w 10000"/>
                <a:gd name="connsiteY68" fmla="*/ 1957 h 10000"/>
                <a:gd name="connsiteX69" fmla="*/ 8013 w 10000"/>
                <a:gd name="connsiteY69" fmla="*/ 1977 h 10000"/>
                <a:gd name="connsiteX70" fmla="*/ 7991 w 10000"/>
                <a:gd name="connsiteY70" fmla="*/ 1977 h 10000"/>
                <a:gd name="connsiteX71" fmla="*/ 7864 w 10000"/>
                <a:gd name="connsiteY71" fmla="*/ 1899 h 10000"/>
                <a:gd name="connsiteX72" fmla="*/ 7843 w 10000"/>
                <a:gd name="connsiteY72" fmla="*/ 1899 h 10000"/>
                <a:gd name="connsiteX73" fmla="*/ 7853 w 10000"/>
                <a:gd name="connsiteY73" fmla="*/ 1841 h 10000"/>
                <a:gd name="connsiteX74" fmla="*/ 7928 w 10000"/>
                <a:gd name="connsiteY74" fmla="*/ 1609 h 10000"/>
                <a:gd name="connsiteX75" fmla="*/ 7906 w 10000"/>
                <a:gd name="connsiteY75" fmla="*/ 1279 h 10000"/>
                <a:gd name="connsiteX76" fmla="*/ 7758 w 10000"/>
                <a:gd name="connsiteY76" fmla="*/ 1124 h 10000"/>
                <a:gd name="connsiteX77" fmla="*/ 7651 w 10000"/>
                <a:gd name="connsiteY77" fmla="*/ 1124 h 10000"/>
                <a:gd name="connsiteX78" fmla="*/ 7641 w 10000"/>
                <a:gd name="connsiteY78" fmla="*/ 1124 h 10000"/>
                <a:gd name="connsiteX79" fmla="*/ 7630 w 10000"/>
                <a:gd name="connsiteY79" fmla="*/ 1105 h 10000"/>
                <a:gd name="connsiteX80" fmla="*/ 7556 w 10000"/>
                <a:gd name="connsiteY80" fmla="*/ 930 h 10000"/>
                <a:gd name="connsiteX81" fmla="*/ 7184 w 10000"/>
                <a:gd name="connsiteY81" fmla="*/ 891 h 10000"/>
                <a:gd name="connsiteX82" fmla="*/ 7173 w 10000"/>
                <a:gd name="connsiteY82" fmla="*/ 891 h 10000"/>
                <a:gd name="connsiteX83" fmla="*/ 7173 w 10000"/>
                <a:gd name="connsiteY83" fmla="*/ 872 h 10000"/>
                <a:gd name="connsiteX84" fmla="*/ 7099 w 10000"/>
                <a:gd name="connsiteY84" fmla="*/ 620 h 10000"/>
                <a:gd name="connsiteX85" fmla="*/ 7088 w 10000"/>
                <a:gd name="connsiteY85" fmla="*/ 601 h 10000"/>
                <a:gd name="connsiteX86" fmla="*/ 7088 w 10000"/>
                <a:gd name="connsiteY86" fmla="*/ 601 h 10000"/>
                <a:gd name="connsiteX87" fmla="*/ 7088 w 10000"/>
                <a:gd name="connsiteY87" fmla="*/ 465 h 10000"/>
                <a:gd name="connsiteX88" fmla="*/ 7088 w 10000"/>
                <a:gd name="connsiteY88" fmla="*/ 426 h 10000"/>
                <a:gd name="connsiteX89" fmla="*/ 7099 w 10000"/>
                <a:gd name="connsiteY89" fmla="*/ 407 h 10000"/>
                <a:gd name="connsiteX90" fmla="*/ 7194 w 10000"/>
                <a:gd name="connsiteY90" fmla="*/ 310 h 10000"/>
                <a:gd name="connsiteX91" fmla="*/ 7109 w 10000"/>
                <a:gd name="connsiteY91" fmla="*/ 136 h 10000"/>
                <a:gd name="connsiteX92" fmla="*/ 7035 w 10000"/>
                <a:gd name="connsiteY92" fmla="*/ 0 h 10000"/>
                <a:gd name="connsiteX93" fmla="*/ 6939 w 10000"/>
                <a:gd name="connsiteY93" fmla="*/ 116 h 10000"/>
                <a:gd name="connsiteX94" fmla="*/ 6939 w 10000"/>
                <a:gd name="connsiteY94" fmla="*/ 116 h 10000"/>
                <a:gd name="connsiteX95" fmla="*/ 6939 w 10000"/>
                <a:gd name="connsiteY95" fmla="*/ 116 h 10000"/>
                <a:gd name="connsiteX96" fmla="*/ 6812 w 10000"/>
                <a:gd name="connsiteY96" fmla="*/ 155 h 10000"/>
                <a:gd name="connsiteX97" fmla="*/ 6674 w 10000"/>
                <a:gd name="connsiteY97" fmla="*/ 291 h 10000"/>
                <a:gd name="connsiteX98" fmla="*/ 6599 w 10000"/>
                <a:gd name="connsiteY98" fmla="*/ 523 h 10000"/>
                <a:gd name="connsiteX99" fmla="*/ 6599 w 10000"/>
                <a:gd name="connsiteY99" fmla="*/ 543 h 10000"/>
                <a:gd name="connsiteX100" fmla="*/ 6589 w 10000"/>
                <a:gd name="connsiteY100" fmla="*/ 543 h 10000"/>
                <a:gd name="connsiteX101" fmla="*/ 6397 w 10000"/>
                <a:gd name="connsiteY101" fmla="*/ 581 h 10000"/>
                <a:gd name="connsiteX102" fmla="*/ 6334 w 10000"/>
                <a:gd name="connsiteY102" fmla="*/ 891 h 10000"/>
                <a:gd name="connsiteX103" fmla="*/ 6334 w 10000"/>
                <a:gd name="connsiteY103" fmla="*/ 911 h 10000"/>
                <a:gd name="connsiteX104" fmla="*/ 6334 w 10000"/>
                <a:gd name="connsiteY104" fmla="*/ 911 h 10000"/>
                <a:gd name="connsiteX105" fmla="*/ 6142 w 10000"/>
                <a:gd name="connsiteY105" fmla="*/ 1124 h 10000"/>
                <a:gd name="connsiteX106" fmla="*/ 6015 w 10000"/>
                <a:gd name="connsiteY106" fmla="*/ 1453 h 10000"/>
                <a:gd name="connsiteX107" fmla="*/ 6004 w 10000"/>
                <a:gd name="connsiteY107" fmla="*/ 1473 h 10000"/>
                <a:gd name="connsiteX108" fmla="*/ 5994 w 10000"/>
                <a:gd name="connsiteY108" fmla="*/ 1453 h 10000"/>
                <a:gd name="connsiteX109" fmla="*/ 5802 w 10000"/>
                <a:gd name="connsiteY109" fmla="*/ 1434 h 10000"/>
                <a:gd name="connsiteX110" fmla="*/ 5781 w 10000"/>
                <a:gd name="connsiteY110" fmla="*/ 1415 h 10000"/>
                <a:gd name="connsiteX111" fmla="*/ 5781 w 10000"/>
                <a:gd name="connsiteY111" fmla="*/ 1395 h 10000"/>
                <a:gd name="connsiteX112" fmla="*/ 5760 w 10000"/>
                <a:gd name="connsiteY112" fmla="*/ 930 h 10000"/>
                <a:gd name="connsiteX113" fmla="*/ 5654 w 10000"/>
                <a:gd name="connsiteY113" fmla="*/ 872 h 10000"/>
                <a:gd name="connsiteX114" fmla="*/ 5377 w 10000"/>
                <a:gd name="connsiteY114" fmla="*/ 1240 h 10000"/>
                <a:gd name="connsiteX115" fmla="*/ 5165 w 10000"/>
                <a:gd name="connsiteY115" fmla="*/ 1570 h 10000"/>
                <a:gd name="connsiteX116" fmla="*/ 5165 w 10000"/>
                <a:gd name="connsiteY116" fmla="*/ 1899 h 10000"/>
                <a:gd name="connsiteX117" fmla="*/ 5165 w 10000"/>
                <a:gd name="connsiteY117" fmla="*/ 1919 h 10000"/>
                <a:gd name="connsiteX118" fmla="*/ 5154 w 10000"/>
                <a:gd name="connsiteY118" fmla="*/ 1919 h 10000"/>
                <a:gd name="connsiteX119" fmla="*/ 5027 w 10000"/>
                <a:gd name="connsiteY119" fmla="*/ 2112 h 10000"/>
                <a:gd name="connsiteX120" fmla="*/ 5016 w 10000"/>
                <a:gd name="connsiteY120" fmla="*/ 2112 h 10000"/>
                <a:gd name="connsiteX121" fmla="*/ 5005 w 10000"/>
                <a:gd name="connsiteY121" fmla="*/ 2112 h 10000"/>
                <a:gd name="connsiteX122" fmla="*/ 4814 w 10000"/>
                <a:gd name="connsiteY122" fmla="*/ 2112 h 10000"/>
                <a:gd name="connsiteX123" fmla="*/ 4803 w 10000"/>
                <a:gd name="connsiteY123" fmla="*/ 2112 h 10000"/>
                <a:gd name="connsiteX124" fmla="*/ 4803 w 10000"/>
                <a:gd name="connsiteY124" fmla="*/ 2112 h 10000"/>
                <a:gd name="connsiteX125" fmla="*/ 4697 w 10000"/>
                <a:gd name="connsiteY125" fmla="*/ 1957 h 10000"/>
                <a:gd name="connsiteX126" fmla="*/ 4591 w 10000"/>
                <a:gd name="connsiteY126" fmla="*/ 1899 h 10000"/>
                <a:gd name="connsiteX127" fmla="*/ 4591 w 10000"/>
                <a:gd name="connsiteY127" fmla="*/ 1957 h 10000"/>
                <a:gd name="connsiteX128" fmla="*/ 4591 w 10000"/>
                <a:gd name="connsiteY128" fmla="*/ 1996 h 10000"/>
                <a:gd name="connsiteX129" fmla="*/ 4570 w 10000"/>
                <a:gd name="connsiteY129" fmla="*/ 1996 h 10000"/>
                <a:gd name="connsiteX130" fmla="*/ 4453 w 10000"/>
                <a:gd name="connsiteY130" fmla="*/ 1996 h 10000"/>
                <a:gd name="connsiteX131" fmla="*/ 4431 w 10000"/>
                <a:gd name="connsiteY131" fmla="*/ 1996 h 10000"/>
                <a:gd name="connsiteX132" fmla="*/ 4431 w 10000"/>
                <a:gd name="connsiteY132" fmla="*/ 1957 h 10000"/>
                <a:gd name="connsiteX133" fmla="*/ 4378 w 10000"/>
                <a:gd name="connsiteY133" fmla="*/ 1589 h 10000"/>
                <a:gd name="connsiteX134" fmla="*/ 4091 w 10000"/>
                <a:gd name="connsiteY134" fmla="*/ 1512 h 10000"/>
                <a:gd name="connsiteX135" fmla="*/ 4081 w 10000"/>
                <a:gd name="connsiteY135" fmla="*/ 1512 h 10000"/>
                <a:gd name="connsiteX136" fmla="*/ 4070 w 10000"/>
                <a:gd name="connsiteY136" fmla="*/ 1492 h 10000"/>
                <a:gd name="connsiteX137" fmla="*/ 3879 w 10000"/>
                <a:gd name="connsiteY137" fmla="*/ 988 h 10000"/>
                <a:gd name="connsiteX138" fmla="*/ 3719 w 10000"/>
                <a:gd name="connsiteY138" fmla="*/ 988 h 10000"/>
                <a:gd name="connsiteX139" fmla="*/ 3698 w 10000"/>
                <a:gd name="connsiteY139" fmla="*/ 1085 h 10000"/>
                <a:gd name="connsiteX140" fmla="*/ 3698 w 10000"/>
                <a:gd name="connsiteY140" fmla="*/ 1105 h 10000"/>
                <a:gd name="connsiteX141" fmla="*/ 3698 w 10000"/>
                <a:gd name="connsiteY141" fmla="*/ 1105 h 10000"/>
                <a:gd name="connsiteX142" fmla="*/ 3592 w 10000"/>
                <a:gd name="connsiteY142" fmla="*/ 1318 h 10000"/>
                <a:gd name="connsiteX143" fmla="*/ 3592 w 10000"/>
                <a:gd name="connsiteY143" fmla="*/ 1318 h 10000"/>
                <a:gd name="connsiteX144" fmla="*/ 3581 w 10000"/>
                <a:gd name="connsiteY144" fmla="*/ 1318 h 10000"/>
                <a:gd name="connsiteX145" fmla="*/ 3486 w 10000"/>
                <a:gd name="connsiteY145" fmla="*/ 1395 h 10000"/>
                <a:gd name="connsiteX146" fmla="*/ 3486 w 10000"/>
                <a:gd name="connsiteY146" fmla="*/ 1686 h 10000"/>
                <a:gd name="connsiteX147" fmla="*/ 3486 w 10000"/>
                <a:gd name="connsiteY147" fmla="*/ 1725 h 10000"/>
                <a:gd name="connsiteX148" fmla="*/ 3475 w 10000"/>
                <a:gd name="connsiteY148" fmla="*/ 1725 h 10000"/>
                <a:gd name="connsiteX149" fmla="*/ 3369 w 10000"/>
                <a:gd name="connsiteY149" fmla="*/ 1841 h 10000"/>
                <a:gd name="connsiteX150" fmla="*/ 3135 w 10000"/>
                <a:gd name="connsiteY150" fmla="*/ 2171 h 10000"/>
                <a:gd name="connsiteX151" fmla="*/ 2954 w 10000"/>
                <a:gd name="connsiteY151" fmla="*/ 2829 h 10000"/>
                <a:gd name="connsiteX152" fmla="*/ 2954 w 10000"/>
                <a:gd name="connsiteY152" fmla="*/ 2829 h 10000"/>
                <a:gd name="connsiteX153" fmla="*/ 2944 w 10000"/>
                <a:gd name="connsiteY153" fmla="*/ 2829 h 10000"/>
                <a:gd name="connsiteX154" fmla="*/ 2699 w 10000"/>
                <a:gd name="connsiteY154" fmla="*/ 3217 h 10000"/>
                <a:gd name="connsiteX155" fmla="*/ 2487 w 10000"/>
                <a:gd name="connsiteY155" fmla="*/ 3566 h 10000"/>
                <a:gd name="connsiteX156" fmla="*/ 2465 w 10000"/>
                <a:gd name="connsiteY156" fmla="*/ 3934 h 10000"/>
                <a:gd name="connsiteX157" fmla="*/ 2465 w 10000"/>
                <a:gd name="connsiteY157" fmla="*/ 3934 h 10000"/>
                <a:gd name="connsiteX158" fmla="*/ 2465 w 10000"/>
                <a:gd name="connsiteY158" fmla="*/ 3934 h 10000"/>
                <a:gd name="connsiteX159" fmla="*/ 2295 w 10000"/>
                <a:gd name="connsiteY159" fmla="*/ 4205 h 10000"/>
                <a:gd name="connsiteX160" fmla="*/ 2200 w 10000"/>
                <a:gd name="connsiteY160" fmla="*/ 4535 h 10000"/>
                <a:gd name="connsiteX161" fmla="*/ 2189 w 10000"/>
                <a:gd name="connsiteY161" fmla="*/ 4554 h 10000"/>
                <a:gd name="connsiteX162" fmla="*/ 2179 w 10000"/>
                <a:gd name="connsiteY162" fmla="*/ 4554 h 10000"/>
                <a:gd name="connsiteX163" fmla="*/ 2051 w 10000"/>
                <a:gd name="connsiteY163" fmla="*/ 4535 h 10000"/>
                <a:gd name="connsiteX164" fmla="*/ 1913 w 10000"/>
                <a:gd name="connsiteY164" fmla="*/ 4767 h 10000"/>
                <a:gd name="connsiteX165" fmla="*/ 1913 w 10000"/>
                <a:gd name="connsiteY165" fmla="*/ 4787 h 10000"/>
                <a:gd name="connsiteX166" fmla="*/ 1902 w 10000"/>
                <a:gd name="connsiteY166" fmla="*/ 4787 h 10000"/>
                <a:gd name="connsiteX167" fmla="*/ 1498 w 10000"/>
                <a:gd name="connsiteY167" fmla="*/ 4671 h 10000"/>
                <a:gd name="connsiteX168" fmla="*/ 1488 w 10000"/>
                <a:gd name="connsiteY168" fmla="*/ 4671 h 10000"/>
                <a:gd name="connsiteX169" fmla="*/ 1488 w 10000"/>
                <a:gd name="connsiteY169" fmla="*/ 4651 h 10000"/>
                <a:gd name="connsiteX170" fmla="*/ 1424 w 10000"/>
                <a:gd name="connsiteY170" fmla="*/ 4516 h 10000"/>
                <a:gd name="connsiteX171" fmla="*/ 1350 w 10000"/>
                <a:gd name="connsiteY171" fmla="*/ 4516 h 10000"/>
                <a:gd name="connsiteX172" fmla="*/ 1296 w 10000"/>
                <a:gd name="connsiteY172" fmla="*/ 4690 h 10000"/>
                <a:gd name="connsiteX173" fmla="*/ 1286 w 10000"/>
                <a:gd name="connsiteY173" fmla="*/ 4922 h 10000"/>
                <a:gd name="connsiteX174" fmla="*/ 1286 w 10000"/>
                <a:gd name="connsiteY174" fmla="*/ 4942 h 10000"/>
                <a:gd name="connsiteX175" fmla="*/ 1275 w 10000"/>
                <a:gd name="connsiteY175" fmla="*/ 4961 h 10000"/>
                <a:gd name="connsiteX176" fmla="*/ 1190 w 10000"/>
                <a:gd name="connsiteY176" fmla="*/ 5058 h 10000"/>
                <a:gd name="connsiteX177" fmla="*/ 1137 w 10000"/>
                <a:gd name="connsiteY177" fmla="*/ 5271 h 10000"/>
                <a:gd name="connsiteX178" fmla="*/ 1137 w 10000"/>
                <a:gd name="connsiteY178" fmla="*/ 5291 h 10000"/>
                <a:gd name="connsiteX179" fmla="*/ 1126 w 10000"/>
                <a:gd name="connsiteY179" fmla="*/ 5291 h 10000"/>
                <a:gd name="connsiteX180" fmla="*/ 1020 w 10000"/>
                <a:gd name="connsiteY180" fmla="*/ 5407 h 10000"/>
                <a:gd name="connsiteX181" fmla="*/ 999 w 10000"/>
                <a:gd name="connsiteY181" fmla="*/ 5581 h 10000"/>
                <a:gd name="connsiteX182" fmla="*/ 978 w 10000"/>
                <a:gd name="connsiteY182" fmla="*/ 5756 h 10000"/>
                <a:gd name="connsiteX183" fmla="*/ 978 w 10000"/>
                <a:gd name="connsiteY183" fmla="*/ 5775 h 10000"/>
                <a:gd name="connsiteX184" fmla="*/ 967 w 10000"/>
                <a:gd name="connsiteY184" fmla="*/ 5775 h 10000"/>
                <a:gd name="connsiteX185" fmla="*/ 861 w 10000"/>
                <a:gd name="connsiteY185" fmla="*/ 5814 h 10000"/>
                <a:gd name="connsiteX186" fmla="*/ 861 w 10000"/>
                <a:gd name="connsiteY186" fmla="*/ 6047 h 10000"/>
                <a:gd name="connsiteX187" fmla="*/ 967 w 10000"/>
                <a:gd name="connsiteY187" fmla="*/ 6298 h 10000"/>
                <a:gd name="connsiteX188" fmla="*/ 967 w 10000"/>
                <a:gd name="connsiteY188" fmla="*/ 6298 h 10000"/>
                <a:gd name="connsiteX189" fmla="*/ 978 w 10000"/>
                <a:gd name="connsiteY189" fmla="*/ 6318 h 10000"/>
                <a:gd name="connsiteX190" fmla="*/ 988 w 10000"/>
                <a:gd name="connsiteY190" fmla="*/ 6512 h 10000"/>
                <a:gd name="connsiteX191" fmla="*/ 988 w 10000"/>
                <a:gd name="connsiteY191" fmla="*/ 6531 h 10000"/>
                <a:gd name="connsiteX192" fmla="*/ 978 w 10000"/>
                <a:gd name="connsiteY192" fmla="*/ 6550 h 10000"/>
                <a:gd name="connsiteX193" fmla="*/ 627 w 10000"/>
                <a:gd name="connsiteY193" fmla="*/ 7016 h 10000"/>
                <a:gd name="connsiteX194" fmla="*/ 521 w 10000"/>
                <a:gd name="connsiteY194" fmla="*/ 7151 h 10000"/>
                <a:gd name="connsiteX195" fmla="*/ 340 w 10000"/>
                <a:gd name="connsiteY195" fmla="*/ 7384 h 10000"/>
                <a:gd name="connsiteX196" fmla="*/ 340 w 10000"/>
                <a:gd name="connsiteY196" fmla="*/ 7403 h 10000"/>
                <a:gd name="connsiteX197" fmla="*/ 340 w 10000"/>
                <a:gd name="connsiteY197" fmla="*/ 7403 h 10000"/>
                <a:gd name="connsiteX198" fmla="*/ 191 w 10000"/>
                <a:gd name="connsiteY198" fmla="*/ 7519 h 10000"/>
                <a:gd name="connsiteX199" fmla="*/ 0 w 10000"/>
                <a:gd name="connsiteY199" fmla="*/ 7791 h 10000"/>
                <a:gd name="connsiteX200" fmla="*/ 11 w 10000"/>
                <a:gd name="connsiteY200" fmla="*/ 7829 h 10000"/>
                <a:gd name="connsiteX201" fmla="*/ 149 w 10000"/>
                <a:gd name="connsiteY201" fmla="*/ 7868 h 10000"/>
                <a:gd name="connsiteX202" fmla="*/ 159 w 10000"/>
                <a:gd name="connsiteY202" fmla="*/ 7868 h 10000"/>
                <a:gd name="connsiteX203" fmla="*/ 159 w 10000"/>
                <a:gd name="connsiteY203" fmla="*/ 7868 h 10000"/>
                <a:gd name="connsiteX204" fmla="*/ 372 w 10000"/>
                <a:gd name="connsiteY204" fmla="*/ 8256 h 10000"/>
                <a:gd name="connsiteX205" fmla="*/ 1467 w 10000"/>
                <a:gd name="connsiteY205" fmla="*/ 9205 h 10000"/>
                <a:gd name="connsiteX206" fmla="*/ 1467 w 10000"/>
                <a:gd name="connsiteY206" fmla="*/ 9205 h 10000"/>
                <a:gd name="connsiteX207" fmla="*/ 1477 w 10000"/>
                <a:gd name="connsiteY207" fmla="*/ 9205 h 10000"/>
                <a:gd name="connsiteX208" fmla="*/ 1838 w 10000"/>
                <a:gd name="connsiteY208" fmla="*/ 9729 h 10000"/>
                <a:gd name="connsiteX209" fmla="*/ 2508 w 10000"/>
                <a:gd name="connsiteY209" fmla="*/ 9767 h 10000"/>
                <a:gd name="connsiteX210" fmla="*/ 2561 w 10000"/>
                <a:gd name="connsiteY210" fmla="*/ 9671 h 10000"/>
                <a:gd name="connsiteX211" fmla="*/ 2561 w 10000"/>
                <a:gd name="connsiteY211" fmla="*/ 9671 h 10000"/>
                <a:gd name="connsiteX212" fmla="*/ 2582 w 10000"/>
                <a:gd name="connsiteY212" fmla="*/ 9671 h 10000"/>
                <a:gd name="connsiteX213" fmla="*/ 2848 w 10000"/>
                <a:gd name="connsiteY213" fmla="*/ 9651 h 10000"/>
                <a:gd name="connsiteX214" fmla="*/ 2859 w 10000"/>
                <a:gd name="connsiteY214" fmla="*/ 9651 h 10000"/>
                <a:gd name="connsiteX215" fmla="*/ 2869 w 10000"/>
                <a:gd name="connsiteY215" fmla="*/ 9671 h 10000"/>
                <a:gd name="connsiteX216" fmla="*/ 3061 w 10000"/>
                <a:gd name="connsiteY216" fmla="*/ 10000 h 10000"/>
                <a:gd name="connsiteX217" fmla="*/ 3061 w 10000"/>
                <a:gd name="connsiteY217" fmla="*/ 10000 h 10000"/>
                <a:gd name="connsiteX218" fmla="*/ 4336 w 10000"/>
                <a:gd name="connsiteY218" fmla="*/ 9961 h 10000"/>
                <a:gd name="connsiteX219" fmla="*/ 4357 w 10000"/>
                <a:gd name="connsiteY219" fmla="*/ 9961 h 10000"/>
                <a:gd name="connsiteX220" fmla="*/ 4357 w 10000"/>
                <a:gd name="connsiteY220" fmla="*/ 9981 h 10000"/>
                <a:gd name="connsiteX221" fmla="*/ 4527 w 10000"/>
                <a:gd name="connsiteY221" fmla="*/ 9864 h 10000"/>
                <a:gd name="connsiteX222" fmla="*/ 4538 w 10000"/>
                <a:gd name="connsiteY222" fmla="*/ 9864 h 10000"/>
                <a:gd name="connsiteX223" fmla="*/ 4538 w 10000"/>
                <a:gd name="connsiteY223" fmla="*/ 9864 h 10000"/>
                <a:gd name="connsiteX224" fmla="*/ 5250 w 10000"/>
                <a:gd name="connsiteY224" fmla="*/ 9845 h 10000"/>
                <a:gd name="connsiteX225" fmla="*/ 7354 w 10000"/>
                <a:gd name="connsiteY225" fmla="*/ 9845 h 10000"/>
                <a:gd name="connsiteX226" fmla="*/ 7343 w 10000"/>
                <a:gd name="connsiteY226" fmla="*/ 9826 h 10000"/>
                <a:gd name="connsiteX227" fmla="*/ 7439 w 10000"/>
                <a:gd name="connsiteY227" fmla="*/ 9612 h 10000"/>
                <a:gd name="connsiteX228" fmla="*/ 7513 w 10000"/>
                <a:gd name="connsiteY228" fmla="*/ 9516 h 10000"/>
                <a:gd name="connsiteX229" fmla="*/ 7428 w 10000"/>
                <a:gd name="connsiteY229" fmla="*/ 9283 h 10000"/>
                <a:gd name="connsiteX230" fmla="*/ 7450 w 10000"/>
                <a:gd name="connsiteY230" fmla="*/ 9109 h 10000"/>
                <a:gd name="connsiteX231" fmla="*/ 7683 w 10000"/>
                <a:gd name="connsiteY231" fmla="*/ 8992 h 10000"/>
                <a:gd name="connsiteX232" fmla="*/ 7683 w 10000"/>
                <a:gd name="connsiteY232" fmla="*/ 8798 h 10000"/>
                <a:gd name="connsiteX233" fmla="*/ 7779 w 10000"/>
                <a:gd name="connsiteY233" fmla="*/ 8682 h 10000"/>
                <a:gd name="connsiteX234" fmla="*/ 7949 w 10000"/>
                <a:gd name="connsiteY234" fmla="*/ 8372 h 10000"/>
                <a:gd name="connsiteX235" fmla="*/ 8013 w 10000"/>
                <a:gd name="connsiteY235" fmla="*/ 8023 h 10000"/>
                <a:gd name="connsiteX236" fmla="*/ 8098 w 10000"/>
                <a:gd name="connsiteY236" fmla="*/ 7907 h 10000"/>
                <a:gd name="connsiteX237" fmla="*/ 8204 w 10000"/>
                <a:gd name="connsiteY237" fmla="*/ 7907 h 10000"/>
                <a:gd name="connsiteX238" fmla="*/ 8363 w 10000"/>
                <a:gd name="connsiteY238" fmla="*/ 7829 h 10000"/>
                <a:gd name="connsiteX239" fmla="*/ 8576 w 10000"/>
                <a:gd name="connsiteY239" fmla="*/ 7907 h 10000"/>
                <a:gd name="connsiteX240" fmla="*/ 8661 w 10000"/>
                <a:gd name="connsiteY240" fmla="*/ 8004 h 10000"/>
                <a:gd name="connsiteX241" fmla="*/ 8704 w 10000"/>
                <a:gd name="connsiteY241" fmla="*/ 7829 h 10000"/>
                <a:gd name="connsiteX242" fmla="*/ 8831 w 10000"/>
                <a:gd name="connsiteY242" fmla="*/ 7733 h 10000"/>
                <a:gd name="connsiteX243" fmla="*/ 8980 w 10000"/>
                <a:gd name="connsiteY243" fmla="*/ 7713 h 10000"/>
                <a:gd name="connsiteX244" fmla="*/ 9097 w 10000"/>
                <a:gd name="connsiteY244" fmla="*/ 7674 h 10000"/>
                <a:gd name="connsiteX245" fmla="*/ 9235 w 10000"/>
                <a:gd name="connsiteY245" fmla="*/ 7791 h 10000"/>
                <a:gd name="connsiteX246" fmla="*/ 9341 w 10000"/>
                <a:gd name="connsiteY246" fmla="*/ 7907 h 10000"/>
                <a:gd name="connsiteX247" fmla="*/ 9458 w 10000"/>
                <a:gd name="connsiteY247" fmla="*/ 7733 h 10000"/>
                <a:gd name="connsiteX248" fmla="*/ 9575 w 10000"/>
                <a:gd name="connsiteY248" fmla="*/ 7829 h 10000"/>
                <a:gd name="connsiteX249" fmla="*/ 9702 w 10000"/>
                <a:gd name="connsiteY249" fmla="*/ 7829 h 10000"/>
                <a:gd name="connsiteX250" fmla="*/ 9809 w 10000"/>
                <a:gd name="connsiteY250" fmla="*/ 7907 h 10000"/>
                <a:gd name="connsiteX251" fmla="*/ 9968 w 10000"/>
                <a:gd name="connsiteY251" fmla="*/ 7829 h 10000"/>
                <a:gd name="connsiteX252" fmla="*/ 10000 w 10000"/>
                <a:gd name="connsiteY252" fmla="*/ 7810 h 10000"/>
                <a:gd name="connsiteX253" fmla="*/ 9979 w 10000"/>
                <a:gd name="connsiteY253" fmla="*/ 7810 h 10000"/>
                <a:gd name="connsiteX254" fmla="*/ 9968 w 10000"/>
                <a:gd name="connsiteY254" fmla="*/ 7636 h 10000"/>
                <a:gd name="connsiteX255" fmla="*/ 9968 w 10000"/>
                <a:gd name="connsiteY255" fmla="*/ 7190 h 10000"/>
                <a:gd name="connsiteX256" fmla="*/ 9926 w 10000"/>
                <a:gd name="connsiteY256" fmla="*/ 7132 h 10000"/>
                <a:gd name="connsiteX257" fmla="*/ 9915 w 10000"/>
                <a:gd name="connsiteY257" fmla="*/ 7112 h 10000"/>
                <a:gd name="connsiteX258" fmla="*/ 9926 w 10000"/>
                <a:gd name="connsiteY258" fmla="*/ 7093 h 10000"/>
                <a:gd name="connsiteX259" fmla="*/ 9968 w 10000"/>
                <a:gd name="connsiteY259" fmla="*/ 6822 h 10000"/>
                <a:gd name="connsiteX260" fmla="*/ 9979 w 10000"/>
                <a:gd name="connsiteY260" fmla="*/ 6802 h 10000"/>
                <a:gd name="connsiteX261" fmla="*/ 9979 w 10000"/>
                <a:gd name="connsiteY261" fmla="*/ 6802 h 10000"/>
                <a:gd name="connsiteX262" fmla="*/ 9947 w 10000"/>
                <a:gd name="connsiteY262" fmla="*/ 6764 h 10000"/>
                <a:gd name="connsiteX0" fmla="*/ 9947 w 10000"/>
                <a:gd name="connsiteY0" fmla="*/ 6764 h 10000"/>
                <a:gd name="connsiteX1" fmla="*/ 9862 w 10000"/>
                <a:gd name="connsiteY1" fmla="*/ 6899 h 10000"/>
                <a:gd name="connsiteX2" fmla="*/ 9816 w 10000"/>
                <a:gd name="connsiteY2" fmla="*/ 6660 h 10000"/>
                <a:gd name="connsiteX3" fmla="*/ 9766 w 10000"/>
                <a:gd name="connsiteY3" fmla="*/ 6938 h 10000"/>
                <a:gd name="connsiteX4" fmla="*/ 9665 w 10000"/>
                <a:gd name="connsiteY4" fmla="*/ 6915 h 10000"/>
                <a:gd name="connsiteX5" fmla="*/ 9458 w 10000"/>
                <a:gd name="connsiteY5" fmla="*/ 6880 h 10000"/>
                <a:gd name="connsiteX6" fmla="*/ 9447 w 10000"/>
                <a:gd name="connsiteY6" fmla="*/ 6860 h 10000"/>
                <a:gd name="connsiteX7" fmla="*/ 9447 w 10000"/>
                <a:gd name="connsiteY7" fmla="*/ 6841 h 10000"/>
                <a:gd name="connsiteX8" fmla="*/ 9447 w 10000"/>
                <a:gd name="connsiteY8" fmla="*/ 6550 h 10000"/>
                <a:gd name="connsiteX9" fmla="*/ 9447 w 10000"/>
                <a:gd name="connsiteY9" fmla="*/ 6531 h 10000"/>
                <a:gd name="connsiteX10" fmla="*/ 9458 w 10000"/>
                <a:gd name="connsiteY10" fmla="*/ 6531 h 10000"/>
                <a:gd name="connsiteX11" fmla="*/ 9554 w 10000"/>
                <a:gd name="connsiteY11" fmla="*/ 6453 h 10000"/>
                <a:gd name="connsiteX12" fmla="*/ 9564 w 10000"/>
                <a:gd name="connsiteY12" fmla="*/ 5601 h 10000"/>
                <a:gd name="connsiteX13" fmla="*/ 9564 w 10000"/>
                <a:gd name="connsiteY13" fmla="*/ 5581 h 10000"/>
                <a:gd name="connsiteX14" fmla="*/ 9564 w 10000"/>
                <a:gd name="connsiteY14" fmla="*/ 5562 h 10000"/>
                <a:gd name="connsiteX15" fmla="*/ 9649 w 10000"/>
                <a:gd name="connsiteY15" fmla="*/ 5388 h 10000"/>
                <a:gd name="connsiteX16" fmla="*/ 9702 w 10000"/>
                <a:gd name="connsiteY16" fmla="*/ 5291 h 10000"/>
                <a:gd name="connsiteX17" fmla="*/ 9554 w 10000"/>
                <a:gd name="connsiteY17" fmla="*/ 5058 h 10000"/>
                <a:gd name="connsiteX18" fmla="*/ 9554 w 10000"/>
                <a:gd name="connsiteY18" fmla="*/ 5058 h 10000"/>
                <a:gd name="connsiteX19" fmla="*/ 9543 w 10000"/>
                <a:gd name="connsiteY19" fmla="*/ 5058 h 10000"/>
                <a:gd name="connsiteX20" fmla="*/ 9394 w 10000"/>
                <a:gd name="connsiteY20" fmla="*/ 4709 h 10000"/>
                <a:gd name="connsiteX21" fmla="*/ 9394 w 10000"/>
                <a:gd name="connsiteY21" fmla="*/ 4690 h 10000"/>
                <a:gd name="connsiteX22" fmla="*/ 9394 w 10000"/>
                <a:gd name="connsiteY22" fmla="*/ 4690 h 10000"/>
                <a:gd name="connsiteX23" fmla="*/ 9456 w 10000"/>
                <a:gd name="connsiteY23" fmla="*/ 4520 h 10000"/>
                <a:gd name="connsiteX24" fmla="*/ 9490 w 10000"/>
                <a:gd name="connsiteY24" fmla="*/ 4360 h 10000"/>
                <a:gd name="connsiteX25" fmla="*/ 9564 w 10000"/>
                <a:gd name="connsiteY25" fmla="*/ 4244 h 10000"/>
                <a:gd name="connsiteX26" fmla="*/ 9628 w 10000"/>
                <a:gd name="connsiteY26" fmla="*/ 4012 h 10000"/>
                <a:gd name="connsiteX27" fmla="*/ 9490 w 10000"/>
                <a:gd name="connsiteY27" fmla="*/ 3760 h 10000"/>
                <a:gd name="connsiteX28" fmla="*/ 9490 w 10000"/>
                <a:gd name="connsiteY28" fmla="*/ 3760 h 10000"/>
                <a:gd name="connsiteX29" fmla="*/ 9479 w 10000"/>
                <a:gd name="connsiteY29" fmla="*/ 3760 h 10000"/>
                <a:gd name="connsiteX30" fmla="*/ 9426 w 10000"/>
                <a:gd name="connsiteY30" fmla="*/ 3527 h 10000"/>
                <a:gd name="connsiteX31" fmla="*/ 9426 w 10000"/>
                <a:gd name="connsiteY31" fmla="*/ 3527 h 10000"/>
                <a:gd name="connsiteX32" fmla="*/ 9426 w 10000"/>
                <a:gd name="connsiteY32" fmla="*/ 3508 h 10000"/>
                <a:gd name="connsiteX33" fmla="*/ 9416 w 10000"/>
                <a:gd name="connsiteY33" fmla="*/ 3198 h 10000"/>
                <a:gd name="connsiteX34" fmla="*/ 9416 w 10000"/>
                <a:gd name="connsiteY34" fmla="*/ 3198 h 10000"/>
                <a:gd name="connsiteX35" fmla="*/ 9416 w 10000"/>
                <a:gd name="connsiteY35" fmla="*/ 3178 h 10000"/>
                <a:gd name="connsiteX36" fmla="*/ 9532 w 10000"/>
                <a:gd name="connsiteY36" fmla="*/ 2907 h 10000"/>
                <a:gd name="connsiteX37" fmla="*/ 9384 w 10000"/>
                <a:gd name="connsiteY37" fmla="*/ 2616 h 10000"/>
                <a:gd name="connsiteX38" fmla="*/ 9384 w 10000"/>
                <a:gd name="connsiteY38" fmla="*/ 2616 h 10000"/>
                <a:gd name="connsiteX39" fmla="*/ 9384 w 10000"/>
                <a:gd name="connsiteY39" fmla="*/ 2616 h 10000"/>
                <a:gd name="connsiteX40" fmla="*/ 9330 w 10000"/>
                <a:gd name="connsiteY40" fmla="*/ 2267 h 10000"/>
                <a:gd name="connsiteX41" fmla="*/ 9330 w 10000"/>
                <a:gd name="connsiteY41" fmla="*/ 2248 h 10000"/>
                <a:gd name="connsiteX42" fmla="*/ 9330 w 10000"/>
                <a:gd name="connsiteY42" fmla="*/ 2248 h 10000"/>
                <a:gd name="connsiteX43" fmla="*/ 9341 w 10000"/>
                <a:gd name="connsiteY43" fmla="*/ 1841 h 10000"/>
                <a:gd name="connsiteX44" fmla="*/ 9341 w 10000"/>
                <a:gd name="connsiteY44" fmla="*/ 1822 h 10000"/>
                <a:gd name="connsiteX45" fmla="*/ 9341 w 10000"/>
                <a:gd name="connsiteY45" fmla="*/ 1822 h 10000"/>
                <a:gd name="connsiteX46" fmla="*/ 9660 w 10000"/>
                <a:gd name="connsiteY46" fmla="*/ 1279 h 10000"/>
                <a:gd name="connsiteX47" fmla="*/ 9564 w 10000"/>
                <a:gd name="connsiteY47" fmla="*/ 1008 h 10000"/>
                <a:gd name="connsiteX48" fmla="*/ 9554 w 10000"/>
                <a:gd name="connsiteY48" fmla="*/ 1008 h 10000"/>
                <a:gd name="connsiteX49" fmla="*/ 9554 w 10000"/>
                <a:gd name="connsiteY49" fmla="*/ 988 h 10000"/>
                <a:gd name="connsiteX50" fmla="*/ 9586 w 10000"/>
                <a:gd name="connsiteY50" fmla="*/ 698 h 10000"/>
                <a:gd name="connsiteX51" fmla="*/ 9501 w 10000"/>
                <a:gd name="connsiteY51" fmla="*/ 601 h 10000"/>
                <a:gd name="connsiteX52" fmla="*/ 9288 w 10000"/>
                <a:gd name="connsiteY52" fmla="*/ 581 h 10000"/>
                <a:gd name="connsiteX53" fmla="*/ 9288 w 10000"/>
                <a:gd name="connsiteY53" fmla="*/ 581 h 10000"/>
                <a:gd name="connsiteX54" fmla="*/ 9277 w 10000"/>
                <a:gd name="connsiteY54" fmla="*/ 581 h 10000"/>
                <a:gd name="connsiteX55" fmla="*/ 9224 w 10000"/>
                <a:gd name="connsiteY55" fmla="*/ 484 h 10000"/>
                <a:gd name="connsiteX56" fmla="*/ 9086 w 10000"/>
                <a:gd name="connsiteY56" fmla="*/ 484 h 10000"/>
                <a:gd name="connsiteX57" fmla="*/ 8948 w 10000"/>
                <a:gd name="connsiteY57" fmla="*/ 1124 h 10000"/>
                <a:gd name="connsiteX58" fmla="*/ 8927 w 10000"/>
                <a:gd name="connsiteY58" fmla="*/ 1124 h 10000"/>
                <a:gd name="connsiteX59" fmla="*/ 8927 w 10000"/>
                <a:gd name="connsiteY59" fmla="*/ 1143 h 10000"/>
                <a:gd name="connsiteX60" fmla="*/ 8650 w 10000"/>
                <a:gd name="connsiteY60" fmla="*/ 1415 h 10000"/>
                <a:gd name="connsiteX61" fmla="*/ 8640 w 10000"/>
                <a:gd name="connsiteY61" fmla="*/ 1434 h 10000"/>
                <a:gd name="connsiteX62" fmla="*/ 8640 w 10000"/>
                <a:gd name="connsiteY62" fmla="*/ 1434 h 10000"/>
                <a:gd name="connsiteX63" fmla="*/ 8470 w 10000"/>
                <a:gd name="connsiteY63" fmla="*/ 1395 h 10000"/>
                <a:gd name="connsiteX64" fmla="*/ 8321 w 10000"/>
                <a:gd name="connsiteY64" fmla="*/ 1531 h 10000"/>
                <a:gd name="connsiteX65" fmla="*/ 8321 w 10000"/>
                <a:gd name="connsiteY65" fmla="*/ 1531 h 10000"/>
                <a:gd name="connsiteX66" fmla="*/ 8321 w 10000"/>
                <a:gd name="connsiteY66" fmla="*/ 1531 h 10000"/>
                <a:gd name="connsiteX67" fmla="*/ 8172 w 10000"/>
                <a:gd name="connsiteY67" fmla="*/ 1589 h 10000"/>
                <a:gd name="connsiteX68" fmla="*/ 8023 w 10000"/>
                <a:gd name="connsiteY68" fmla="*/ 1957 h 10000"/>
                <a:gd name="connsiteX69" fmla="*/ 8013 w 10000"/>
                <a:gd name="connsiteY69" fmla="*/ 1977 h 10000"/>
                <a:gd name="connsiteX70" fmla="*/ 7991 w 10000"/>
                <a:gd name="connsiteY70" fmla="*/ 1977 h 10000"/>
                <a:gd name="connsiteX71" fmla="*/ 7864 w 10000"/>
                <a:gd name="connsiteY71" fmla="*/ 1899 h 10000"/>
                <a:gd name="connsiteX72" fmla="*/ 7843 w 10000"/>
                <a:gd name="connsiteY72" fmla="*/ 1899 h 10000"/>
                <a:gd name="connsiteX73" fmla="*/ 7853 w 10000"/>
                <a:gd name="connsiteY73" fmla="*/ 1841 h 10000"/>
                <a:gd name="connsiteX74" fmla="*/ 7928 w 10000"/>
                <a:gd name="connsiteY74" fmla="*/ 1609 h 10000"/>
                <a:gd name="connsiteX75" fmla="*/ 7906 w 10000"/>
                <a:gd name="connsiteY75" fmla="*/ 1279 h 10000"/>
                <a:gd name="connsiteX76" fmla="*/ 7758 w 10000"/>
                <a:gd name="connsiteY76" fmla="*/ 1124 h 10000"/>
                <a:gd name="connsiteX77" fmla="*/ 7651 w 10000"/>
                <a:gd name="connsiteY77" fmla="*/ 1124 h 10000"/>
                <a:gd name="connsiteX78" fmla="*/ 7641 w 10000"/>
                <a:gd name="connsiteY78" fmla="*/ 1124 h 10000"/>
                <a:gd name="connsiteX79" fmla="*/ 7630 w 10000"/>
                <a:gd name="connsiteY79" fmla="*/ 1105 h 10000"/>
                <a:gd name="connsiteX80" fmla="*/ 7556 w 10000"/>
                <a:gd name="connsiteY80" fmla="*/ 930 h 10000"/>
                <a:gd name="connsiteX81" fmla="*/ 7184 w 10000"/>
                <a:gd name="connsiteY81" fmla="*/ 891 h 10000"/>
                <a:gd name="connsiteX82" fmla="*/ 7173 w 10000"/>
                <a:gd name="connsiteY82" fmla="*/ 891 h 10000"/>
                <a:gd name="connsiteX83" fmla="*/ 7173 w 10000"/>
                <a:gd name="connsiteY83" fmla="*/ 872 h 10000"/>
                <a:gd name="connsiteX84" fmla="*/ 7099 w 10000"/>
                <a:gd name="connsiteY84" fmla="*/ 620 h 10000"/>
                <a:gd name="connsiteX85" fmla="*/ 7088 w 10000"/>
                <a:gd name="connsiteY85" fmla="*/ 601 h 10000"/>
                <a:gd name="connsiteX86" fmla="*/ 7088 w 10000"/>
                <a:gd name="connsiteY86" fmla="*/ 601 h 10000"/>
                <a:gd name="connsiteX87" fmla="*/ 7088 w 10000"/>
                <a:gd name="connsiteY87" fmla="*/ 465 h 10000"/>
                <a:gd name="connsiteX88" fmla="*/ 7088 w 10000"/>
                <a:gd name="connsiteY88" fmla="*/ 426 h 10000"/>
                <a:gd name="connsiteX89" fmla="*/ 7099 w 10000"/>
                <a:gd name="connsiteY89" fmla="*/ 407 h 10000"/>
                <a:gd name="connsiteX90" fmla="*/ 7194 w 10000"/>
                <a:gd name="connsiteY90" fmla="*/ 310 h 10000"/>
                <a:gd name="connsiteX91" fmla="*/ 7109 w 10000"/>
                <a:gd name="connsiteY91" fmla="*/ 136 h 10000"/>
                <a:gd name="connsiteX92" fmla="*/ 7035 w 10000"/>
                <a:gd name="connsiteY92" fmla="*/ 0 h 10000"/>
                <a:gd name="connsiteX93" fmla="*/ 6939 w 10000"/>
                <a:gd name="connsiteY93" fmla="*/ 116 h 10000"/>
                <a:gd name="connsiteX94" fmla="*/ 6939 w 10000"/>
                <a:gd name="connsiteY94" fmla="*/ 116 h 10000"/>
                <a:gd name="connsiteX95" fmla="*/ 6939 w 10000"/>
                <a:gd name="connsiteY95" fmla="*/ 116 h 10000"/>
                <a:gd name="connsiteX96" fmla="*/ 6812 w 10000"/>
                <a:gd name="connsiteY96" fmla="*/ 155 h 10000"/>
                <a:gd name="connsiteX97" fmla="*/ 6674 w 10000"/>
                <a:gd name="connsiteY97" fmla="*/ 291 h 10000"/>
                <a:gd name="connsiteX98" fmla="*/ 6599 w 10000"/>
                <a:gd name="connsiteY98" fmla="*/ 523 h 10000"/>
                <a:gd name="connsiteX99" fmla="*/ 6599 w 10000"/>
                <a:gd name="connsiteY99" fmla="*/ 543 h 10000"/>
                <a:gd name="connsiteX100" fmla="*/ 6589 w 10000"/>
                <a:gd name="connsiteY100" fmla="*/ 543 h 10000"/>
                <a:gd name="connsiteX101" fmla="*/ 6397 w 10000"/>
                <a:gd name="connsiteY101" fmla="*/ 581 h 10000"/>
                <a:gd name="connsiteX102" fmla="*/ 6334 w 10000"/>
                <a:gd name="connsiteY102" fmla="*/ 891 h 10000"/>
                <a:gd name="connsiteX103" fmla="*/ 6334 w 10000"/>
                <a:gd name="connsiteY103" fmla="*/ 911 h 10000"/>
                <a:gd name="connsiteX104" fmla="*/ 6334 w 10000"/>
                <a:gd name="connsiteY104" fmla="*/ 911 h 10000"/>
                <a:gd name="connsiteX105" fmla="*/ 6142 w 10000"/>
                <a:gd name="connsiteY105" fmla="*/ 1124 h 10000"/>
                <a:gd name="connsiteX106" fmla="*/ 6015 w 10000"/>
                <a:gd name="connsiteY106" fmla="*/ 1453 h 10000"/>
                <a:gd name="connsiteX107" fmla="*/ 6004 w 10000"/>
                <a:gd name="connsiteY107" fmla="*/ 1473 h 10000"/>
                <a:gd name="connsiteX108" fmla="*/ 5994 w 10000"/>
                <a:gd name="connsiteY108" fmla="*/ 1453 h 10000"/>
                <a:gd name="connsiteX109" fmla="*/ 5802 w 10000"/>
                <a:gd name="connsiteY109" fmla="*/ 1434 h 10000"/>
                <a:gd name="connsiteX110" fmla="*/ 5781 w 10000"/>
                <a:gd name="connsiteY110" fmla="*/ 1415 h 10000"/>
                <a:gd name="connsiteX111" fmla="*/ 5781 w 10000"/>
                <a:gd name="connsiteY111" fmla="*/ 1395 h 10000"/>
                <a:gd name="connsiteX112" fmla="*/ 5760 w 10000"/>
                <a:gd name="connsiteY112" fmla="*/ 930 h 10000"/>
                <a:gd name="connsiteX113" fmla="*/ 5654 w 10000"/>
                <a:gd name="connsiteY113" fmla="*/ 872 h 10000"/>
                <a:gd name="connsiteX114" fmla="*/ 5377 w 10000"/>
                <a:gd name="connsiteY114" fmla="*/ 1240 h 10000"/>
                <a:gd name="connsiteX115" fmla="*/ 5165 w 10000"/>
                <a:gd name="connsiteY115" fmla="*/ 1570 h 10000"/>
                <a:gd name="connsiteX116" fmla="*/ 5165 w 10000"/>
                <a:gd name="connsiteY116" fmla="*/ 1899 h 10000"/>
                <a:gd name="connsiteX117" fmla="*/ 5165 w 10000"/>
                <a:gd name="connsiteY117" fmla="*/ 1919 h 10000"/>
                <a:gd name="connsiteX118" fmla="*/ 5154 w 10000"/>
                <a:gd name="connsiteY118" fmla="*/ 1919 h 10000"/>
                <a:gd name="connsiteX119" fmla="*/ 5027 w 10000"/>
                <a:gd name="connsiteY119" fmla="*/ 2112 h 10000"/>
                <a:gd name="connsiteX120" fmla="*/ 5016 w 10000"/>
                <a:gd name="connsiteY120" fmla="*/ 2112 h 10000"/>
                <a:gd name="connsiteX121" fmla="*/ 5005 w 10000"/>
                <a:gd name="connsiteY121" fmla="*/ 2112 h 10000"/>
                <a:gd name="connsiteX122" fmla="*/ 4814 w 10000"/>
                <a:gd name="connsiteY122" fmla="*/ 2112 h 10000"/>
                <a:gd name="connsiteX123" fmla="*/ 4803 w 10000"/>
                <a:gd name="connsiteY123" fmla="*/ 2112 h 10000"/>
                <a:gd name="connsiteX124" fmla="*/ 4803 w 10000"/>
                <a:gd name="connsiteY124" fmla="*/ 2112 h 10000"/>
                <a:gd name="connsiteX125" fmla="*/ 4697 w 10000"/>
                <a:gd name="connsiteY125" fmla="*/ 1957 h 10000"/>
                <a:gd name="connsiteX126" fmla="*/ 4591 w 10000"/>
                <a:gd name="connsiteY126" fmla="*/ 1899 h 10000"/>
                <a:gd name="connsiteX127" fmla="*/ 4591 w 10000"/>
                <a:gd name="connsiteY127" fmla="*/ 1957 h 10000"/>
                <a:gd name="connsiteX128" fmla="*/ 4591 w 10000"/>
                <a:gd name="connsiteY128" fmla="*/ 1996 h 10000"/>
                <a:gd name="connsiteX129" fmla="*/ 4570 w 10000"/>
                <a:gd name="connsiteY129" fmla="*/ 1996 h 10000"/>
                <a:gd name="connsiteX130" fmla="*/ 4453 w 10000"/>
                <a:gd name="connsiteY130" fmla="*/ 1996 h 10000"/>
                <a:gd name="connsiteX131" fmla="*/ 4431 w 10000"/>
                <a:gd name="connsiteY131" fmla="*/ 1996 h 10000"/>
                <a:gd name="connsiteX132" fmla="*/ 4431 w 10000"/>
                <a:gd name="connsiteY132" fmla="*/ 1957 h 10000"/>
                <a:gd name="connsiteX133" fmla="*/ 4378 w 10000"/>
                <a:gd name="connsiteY133" fmla="*/ 1589 h 10000"/>
                <a:gd name="connsiteX134" fmla="*/ 4091 w 10000"/>
                <a:gd name="connsiteY134" fmla="*/ 1512 h 10000"/>
                <a:gd name="connsiteX135" fmla="*/ 4081 w 10000"/>
                <a:gd name="connsiteY135" fmla="*/ 1512 h 10000"/>
                <a:gd name="connsiteX136" fmla="*/ 4070 w 10000"/>
                <a:gd name="connsiteY136" fmla="*/ 1492 h 10000"/>
                <a:gd name="connsiteX137" fmla="*/ 3879 w 10000"/>
                <a:gd name="connsiteY137" fmla="*/ 988 h 10000"/>
                <a:gd name="connsiteX138" fmla="*/ 3719 w 10000"/>
                <a:gd name="connsiteY138" fmla="*/ 988 h 10000"/>
                <a:gd name="connsiteX139" fmla="*/ 3698 w 10000"/>
                <a:gd name="connsiteY139" fmla="*/ 1085 h 10000"/>
                <a:gd name="connsiteX140" fmla="*/ 3698 w 10000"/>
                <a:gd name="connsiteY140" fmla="*/ 1105 h 10000"/>
                <a:gd name="connsiteX141" fmla="*/ 3698 w 10000"/>
                <a:gd name="connsiteY141" fmla="*/ 1105 h 10000"/>
                <a:gd name="connsiteX142" fmla="*/ 3592 w 10000"/>
                <a:gd name="connsiteY142" fmla="*/ 1318 h 10000"/>
                <a:gd name="connsiteX143" fmla="*/ 3592 w 10000"/>
                <a:gd name="connsiteY143" fmla="*/ 1318 h 10000"/>
                <a:gd name="connsiteX144" fmla="*/ 3581 w 10000"/>
                <a:gd name="connsiteY144" fmla="*/ 1318 h 10000"/>
                <a:gd name="connsiteX145" fmla="*/ 3486 w 10000"/>
                <a:gd name="connsiteY145" fmla="*/ 1395 h 10000"/>
                <a:gd name="connsiteX146" fmla="*/ 3486 w 10000"/>
                <a:gd name="connsiteY146" fmla="*/ 1686 h 10000"/>
                <a:gd name="connsiteX147" fmla="*/ 3486 w 10000"/>
                <a:gd name="connsiteY147" fmla="*/ 1725 h 10000"/>
                <a:gd name="connsiteX148" fmla="*/ 3475 w 10000"/>
                <a:gd name="connsiteY148" fmla="*/ 1725 h 10000"/>
                <a:gd name="connsiteX149" fmla="*/ 3369 w 10000"/>
                <a:gd name="connsiteY149" fmla="*/ 1841 h 10000"/>
                <a:gd name="connsiteX150" fmla="*/ 3135 w 10000"/>
                <a:gd name="connsiteY150" fmla="*/ 2171 h 10000"/>
                <a:gd name="connsiteX151" fmla="*/ 2954 w 10000"/>
                <a:gd name="connsiteY151" fmla="*/ 2829 h 10000"/>
                <a:gd name="connsiteX152" fmla="*/ 2954 w 10000"/>
                <a:gd name="connsiteY152" fmla="*/ 2829 h 10000"/>
                <a:gd name="connsiteX153" fmla="*/ 2944 w 10000"/>
                <a:gd name="connsiteY153" fmla="*/ 2829 h 10000"/>
                <a:gd name="connsiteX154" fmla="*/ 2699 w 10000"/>
                <a:gd name="connsiteY154" fmla="*/ 3217 h 10000"/>
                <a:gd name="connsiteX155" fmla="*/ 2487 w 10000"/>
                <a:gd name="connsiteY155" fmla="*/ 3566 h 10000"/>
                <a:gd name="connsiteX156" fmla="*/ 2465 w 10000"/>
                <a:gd name="connsiteY156" fmla="*/ 3934 h 10000"/>
                <a:gd name="connsiteX157" fmla="*/ 2465 w 10000"/>
                <a:gd name="connsiteY157" fmla="*/ 3934 h 10000"/>
                <a:gd name="connsiteX158" fmla="*/ 2465 w 10000"/>
                <a:gd name="connsiteY158" fmla="*/ 3934 h 10000"/>
                <a:gd name="connsiteX159" fmla="*/ 2295 w 10000"/>
                <a:gd name="connsiteY159" fmla="*/ 4205 h 10000"/>
                <a:gd name="connsiteX160" fmla="*/ 2200 w 10000"/>
                <a:gd name="connsiteY160" fmla="*/ 4535 h 10000"/>
                <a:gd name="connsiteX161" fmla="*/ 2189 w 10000"/>
                <a:gd name="connsiteY161" fmla="*/ 4554 h 10000"/>
                <a:gd name="connsiteX162" fmla="*/ 2179 w 10000"/>
                <a:gd name="connsiteY162" fmla="*/ 4554 h 10000"/>
                <a:gd name="connsiteX163" fmla="*/ 2051 w 10000"/>
                <a:gd name="connsiteY163" fmla="*/ 4535 h 10000"/>
                <a:gd name="connsiteX164" fmla="*/ 1913 w 10000"/>
                <a:gd name="connsiteY164" fmla="*/ 4767 h 10000"/>
                <a:gd name="connsiteX165" fmla="*/ 1913 w 10000"/>
                <a:gd name="connsiteY165" fmla="*/ 4787 h 10000"/>
                <a:gd name="connsiteX166" fmla="*/ 1902 w 10000"/>
                <a:gd name="connsiteY166" fmla="*/ 4787 h 10000"/>
                <a:gd name="connsiteX167" fmla="*/ 1498 w 10000"/>
                <a:gd name="connsiteY167" fmla="*/ 4671 h 10000"/>
                <a:gd name="connsiteX168" fmla="*/ 1488 w 10000"/>
                <a:gd name="connsiteY168" fmla="*/ 4671 h 10000"/>
                <a:gd name="connsiteX169" fmla="*/ 1488 w 10000"/>
                <a:gd name="connsiteY169" fmla="*/ 4651 h 10000"/>
                <a:gd name="connsiteX170" fmla="*/ 1424 w 10000"/>
                <a:gd name="connsiteY170" fmla="*/ 4516 h 10000"/>
                <a:gd name="connsiteX171" fmla="*/ 1350 w 10000"/>
                <a:gd name="connsiteY171" fmla="*/ 4516 h 10000"/>
                <a:gd name="connsiteX172" fmla="*/ 1296 w 10000"/>
                <a:gd name="connsiteY172" fmla="*/ 4690 h 10000"/>
                <a:gd name="connsiteX173" fmla="*/ 1286 w 10000"/>
                <a:gd name="connsiteY173" fmla="*/ 4922 h 10000"/>
                <a:gd name="connsiteX174" fmla="*/ 1286 w 10000"/>
                <a:gd name="connsiteY174" fmla="*/ 4942 h 10000"/>
                <a:gd name="connsiteX175" fmla="*/ 1275 w 10000"/>
                <a:gd name="connsiteY175" fmla="*/ 4961 h 10000"/>
                <a:gd name="connsiteX176" fmla="*/ 1190 w 10000"/>
                <a:gd name="connsiteY176" fmla="*/ 5058 h 10000"/>
                <a:gd name="connsiteX177" fmla="*/ 1137 w 10000"/>
                <a:gd name="connsiteY177" fmla="*/ 5271 h 10000"/>
                <a:gd name="connsiteX178" fmla="*/ 1137 w 10000"/>
                <a:gd name="connsiteY178" fmla="*/ 5291 h 10000"/>
                <a:gd name="connsiteX179" fmla="*/ 1126 w 10000"/>
                <a:gd name="connsiteY179" fmla="*/ 5291 h 10000"/>
                <a:gd name="connsiteX180" fmla="*/ 1020 w 10000"/>
                <a:gd name="connsiteY180" fmla="*/ 5407 h 10000"/>
                <a:gd name="connsiteX181" fmla="*/ 999 w 10000"/>
                <a:gd name="connsiteY181" fmla="*/ 5581 h 10000"/>
                <a:gd name="connsiteX182" fmla="*/ 978 w 10000"/>
                <a:gd name="connsiteY182" fmla="*/ 5756 h 10000"/>
                <a:gd name="connsiteX183" fmla="*/ 978 w 10000"/>
                <a:gd name="connsiteY183" fmla="*/ 5775 h 10000"/>
                <a:gd name="connsiteX184" fmla="*/ 967 w 10000"/>
                <a:gd name="connsiteY184" fmla="*/ 5775 h 10000"/>
                <a:gd name="connsiteX185" fmla="*/ 861 w 10000"/>
                <a:gd name="connsiteY185" fmla="*/ 5814 h 10000"/>
                <a:gd name="connsiteX186" fmla="*/ 861 w 10000"/>
                <a:gd name="connsiteY186" fmla="*/ 6047 h 10000"/>
                <a:gd name="connsiteX187" fmla="*/ 967 w 10000"/>
                <a:gd name="connsiteY187" fmla="*/ 6298 h 10000"/>
                <a:gd name="connsiteX188" fmla="*/ 967 w 10000"/>
                <a:gd name="connsiteY188" fmla="*/ 6298 h 10000"/>
                <a:gd name="connsiteX189" fmla="*/ 978 w 10000"/>
                <a:gd name="connsiteY189" fmla="*/ 6318 h 10000"/>
                <a:gd name="connsiteX190" fmla="*/ 988 w 10000"/>
                <a:gd name="connsiteY190" fmla="*/ 6512 h 10000"/>
                <a:gd name="connsiteX191" fmla="*/ 988 w 10000"/>
                <a:gd name="connsiteY191" fmla="*/ 6531 h 10000"/>
                <a:gd name="connsiteX192" fmla="*/ 978 w 10000"/>
                <a:gd name="connsiteY192" fmla="*/ 6550 h 10000"/>
                <a:gd name="connsiteX193" fmla="*/ 627 w 10000"/>
                <a:gd name="connsiteY193" fmla="*/ 7016 h 10000"/>
                <a:gd name="connsiteX194" fmla="*/ 521 w 10000"/>
                <a:gd name="connsiteY194" fmla="*/ 7151 h 10000"/>
                <a:gd name="connsiteX195" fmla="*/ 340 w 10000"/>
                <a:gd name="connsiteY195" fmla="*/ 7384 h 10000"/>
                <a:gd name="connsiteX196" fmla="*/ 340 w 10000"/>
                <a:gd name="connsiteY196" fmla="*/ 7403 h 10000"/>
                <a:gd name="connsiteX197" fmla="*/ 340 w 10000"/>
                <a:gd name="connsiteY197" fmla="*/ 7403 h 10000"/>
                <a:gd name="connsiteX198" fmla="*/ 191 w 10000"/>
                <a:gd name="connsiteY198" fmla="*/ 7519 h 10000"/>
                <a:gd name="connsiteX199" fmla="*/ 0 w 10000"/>
                <a:gd name="connsiteY199" fmla="*/ 7791 h 10000"/>
                <a:gd name="connsiteX200" fmla="*/ 11 w 10000"/>
                <a:gd name="connsiteY200" fmla="*/ 7829 h 10000"/>
                <a:gd name="connsiteX201" fmla="*/ 149 w 10000"/>
                <a:gd name="connsiteY201" fmla="*/ 7868 h 10000"/>
                <a:gd name="connsiteX202" fmla="*/ 159 w 10000"/>
                <a:gd name="connsiteY202" fmla="*/ 7868 h 10000"/>
                <a:gd name="connsiteX203" fmla="*/ 159 w 10000"/>
                <a:gd name="connsiteY203" fmla="*/ 7868 h 10000"/>
                <a:gd name="connsiteX204" fmla="*/ 372 w 10000"/>
                <a:gd name="connsiteY204" fmla="*/ 8256 h 10000"/>
                <a:gd name="connsiteX205" fmla="*/ 1467 w 10000"/>
                <a:gd name="connsiteY205" fmla="*/ 9205 h 10000"/>
                <a:gd name="connsiteX206" fmla="*/ 1467 w 10000"/>
                <a:gd name="connsiteY206" fmla="*/ 9205 h 10000"/>
                <a:gd name="connsiteX207" fmla="*/ 1477 w 10000"/>
                <a:gd name="connsiteY207" fmla="*/ 9205 h 10000"/>
                <a:gd name="connsiteX208" fmla="*/ 1838 w 10000"/>
                <a:gd name="connsiteY208" fmla="*/ 9729 h 10000"/>
                <a:gd name="connsiteX209" fmla="*/ 2508 w 10000"/>
                <a:gd name="connsiteY209" fmla="*/ 9767 h 10000"/>
                <a:gd name="connsiteX210" fmla="*/ 2561 w 10000"/>
                <a:gd name="connsiteY210" fmla="*/ 9671 h 10000"/>
                <a:gd name="connsiteX211" fmla="*/ 2561 w 10000"/>
                <a:gd name="connsiteY211" fmla="*/ 9671 h 10000"/>
                <a:gd name="connsiteX212" fmla="*/ 2582 w 10000"/>
                <a:gd name="connsiteY212" fmla="*/ 9671 h 10000"/>
                <a:gd name="connsiteX213" fmla="*/ 2848 w 10000"/>
                <a:gd name="connsiteY213" fmla="*/ 9651 h 10000"/>
                <a:gd name="connsiteX214" fmla="*/ 2859 w 10000"/>
                <a:gd name="connsiteY214" fmla="*/ 9651 h 10000"/>
                <a:gd name="connsiteX215" fmla="*/ 2869 w 10000"/>
                <a:gd name="connsiteY215" fmla="*/ 9671 h 10000"/>
                <a:gd name="connsiteX216" fmla="*/ 3061 w 10000"/>
                <a:gd name="connsiteY216" fmla="*/ 10000 h 10000"/>
                <a:gd name="connsiteX217" fmla="*/ 3061 w 10000"/>
                <a:gd name="connsiteY217" fmla="*/ 10000 h 10000"/>
                <a:gd name="connsiteX218" fmla="*/ 4336 w 10000"/>
                <a:gd name="connsiteY218" fmla="*/ 9961 h 10000"/>
                <a:gd name="connsiteX219" fmla="*/ 4357 w 10000"/>
                <a:gd name="connsiteY219" fmla="*/ 9961 h 10000"/>
                <a:gd name="connsiteX220" fmla="*/ 4357 w 10000"/>
                <a:gd name="connsiteY220" fmla="*/ 9981 h 10000"/>
                <a:gd name="connsiteX221" fmla="*/ 4527 w 10000"/>
                <a:gd name="connsiteY221" fmla="*/ 9864 h 10000"/>
                <a:gd name="connsiteX222" fmla="*/ 4538 w 10000"/>
                <a:gd name="connsiteY222" fmla="*/ 9864 h 10000"/>
                <a:gd name="connsiteX223" fmla="*/ 4538 w 10000"/>
                <a:gd name="connsiteY223" fmla="*/ 9864 h 10000"/>
                <a:gd name="connsiteX224" fmla="*/ 5250 w 10000"/>
                <a:gd name="connsiteY224" fmla="*/ 9845 h 10000"/>
                <a:gd name="connsiteX225" fmla="*/ 7354 w 10000"/>
                <a:gd name="connsiteY225" fmla="*/ 9845 h 10000"/>
                <a:gd name="connsiteX226" fmla="*/ 7343 w 10000"/>
                <a:gd name="connsiteY226" fmla="*/ 9826 h 10000"/>
                <a:gd name="connsiteX227" fmla="*/ 7439 w 10000"/>
                <a:gd name="connsiteY227" fmla="*/ 9612 h 10000"/>
                <a:gd name="connsiteX228" fmla="*/ 7513 w 10000"/>
                <a:gd name="connsiteY228" fmla="*/ 9516 h 10000"/>
                <a:gd name="connsiteX229" fmla="*/ 7428 w 10000"/>
                <a:gd name="connsiteY229" fmla="*/ 9283 h 10000"/>
                <a:gd name="connsiteX230" fmla="*/ 7450 w 10000"/>
                <a:gd name="connsiteY230" fmla="*/ 9109 h 10000"/>
                <a:gd name="connsiteX231" fmla="*/ 7683 w 10000"/>
                <a:gd name="connsiteY231" fmla="*/ 8992 h 10000"/>
                <a:gd name="connsiteX232" fmla="*/ 7683 w 10000"/>
                <a:gd name="connsiteY232" fmla="*/ 8798 h 10000"/>
                <a:gd name="connsiteX233" fmla="*/ 7779 w 10000"/>
                <a:gd name="connsiteY233" fmla="*/ 8682 h 10000"/>
                <a:gd name="connsiteX234" fmla="*/ 7949 w 10000"/>
                <a:gd name="connsiteY234" fmla="*/ 8372 h 10000"/>
                <a:gd name="connsiteX235" fmla="*/ 8013 w 10000"/>
                <a:gd name="connsiteY235" fmla="*/ 8023 h 10000"/>
                <a:gd name="connsiteX236" fmla="*/ 8098 w 10000"/>
                <a:gd name="connsiteY236" fmla="*/ 7907 h 10000"/>
                <a:gd name="connsiteX237" fmla="*/ 8204 w 10000"/>
                <a:gd name="connsiteY237" fmla="*/ 7907 h 10000"/>
                <a:gd name="connsiteX238" fmla="*/ 8363 w 10000"/>
                <a:gd name="connsiteY238" fmla="*/ 7829 h 10000"/>
                <a:gd name="connsiteX239" fmla="*/ 8576 w 10000"/>
                <a:gd name="connsiteY239" fmla="*/ 7907 h 10000"/>
                <a:gd name="connsiteX240" fmla="*/ 8661 w 10000"/>
                <a:gd name="connsiteY240" fmla="*/ 8004 h 10000"/>
                <a:gd name="connsiteX241" fmla="*/ 8704 w 10000"/>
                <a:gd name="connsiteY241" fmla="*/ 7829 h 10000"/>
                <a:gd name="connsiteX242" fmla="*/ 8831 w 10000"/>
                <a:gd name="connsiteY242" fmla="*/ 7733 h 10000"/>
                <a:gd name="connsiteX243" fmla="*/ 8980 w 10000"/>
                <a:gd name="connsiteY243" fmla="*/ 7713 h 10000"/>
                <a:gd name="connsiteX244" fmla="*/ 9097 w 10000"/>
                <a:gd name="connsiteY244" fmla="*/ 7674 h 10000"/>
                <a:gd name="connsiteX245" fmla="*/ 9235 w 10000"/>
                <a:gd name="connsiteY245" fmla="*/ 7791 h 10000"/>
                <a:gd name="connsiteX246" fmla="*/ 9341 w 10000"/>
                <a:gd name="connsiteY246" fmla="*/ 7907 h 10000"/>
                <a:gd name="connsiteX247" fmla="*/ 9458 w 10000"/>
                <a:gd name="connsiteY247" fmla="*/ 7733 h 10000"/>
                <a:gd name="connsiteX248" fmla="*/ 9575 w 10000"/>
                <a:gd name="connsiteY248" fmla="*/ 7829 h 10000"/>
                <a:gd name="connsiteX249" fmla="*/ 9702 w 10000"/>
                <a:gd name="connsiteY249" fmla="*/ 7829 h 10000"/>
                <a:gd name="connsiteX250" fmla="*/ 9809 w 10000"/>
                <a:gd name="connsiteY250" fmla="*/ 7907 h 10000"/>
                <a:gd name="connsiteX251" fmla="*/ 9968 w 10000"/>
                <a:gd name="connsiteY251" fmla="*/ 7829 h 10000"/>
                <a:gd name="connsiteX252" fmla="*/ 10000 w 10000"/>
                <a:gd name="connsiteY252" fmla="*/ 7810 h 10000"/>
                <a:gd name="connsiteX253" fmla="*/ 9979 w 10000"/>
                <a:gd name="connsiteY253" fmla="*/ 7810 h 10000"/>
                <a:gd name="connsiteX254" fmla="*/ 9968 w 10000"/>
                <a:gd name="connsiteY254" fmla="*/ 7636 h 10000"/>
                <a:gd name="connsiteX255" fmla="*/ 9968 w 10000"/>
                <a:gd name="connsiteY255" fmla="*/ 7190 h 10000"/>
                <a:gd name="connsiteX256" fmla="*/ 9926 w 10000"/>
                <a:gd name="connsiteY256" fmla="*/ 7132 h 10000"/>
                <a:gd name="connsiteX257" fmla="*/ 9915 w 10000"/>
                <a:gd name="connsiteY257" fmla="*/ 7112 h 10000"/>
                <a:gd name="connsiteX258" fmla="*/ 9926 w 10000"/>
                <a:gd name="connsiteY258" fmla="*/ 7093 h 10000"/>
                <a:gd name="connsiteX259" fmla="*/ 9968 w 10000"/>
                <a:gd name="connsiteY259" fmla="*/ 6822 h 10000"/>
                <a:gd name="connsiteX260" fmla="*/ 9979 w 10000"/>
                <a:gd name="connsiteY260" fmla="*/ 6802 h 10000"/>
                <a:gd name="connsiteX261" fmla="*/ 9979 w 10000"/>
                <a:gd name="connsiteY261" fmla="*/ 6802 h 10000"/>
                <a:gd name="connsiteX262" fmla="*/ 9947 w 10000"/>
                <a:gd name="connsiteY262" fmla="*/ 6764 h 10000"/>
                <a:gd name="connsiteX0" fmla="*/ 9947 w 10000"/>
                <a:gd name="connsiteY0" fmla="*/ 6764 h 10000"/>
                <a:gd name="connsiteX1" fmla="*/ 9816 w 10000"/>
                <a:gd name="connsiteY1" fmla="*/ 6660 h 10000"/>
                <a:gd name="connsiteX2" fmla="*/ 9766 w 10000"/>
                <a:gd name="connsiteY2" fmla="*/ 6938 h 10000"/>
                <a:gd name="connsiteX3" fmla="*/ 9665 w 10000"/>
                <a:gd name="connsiteY3" fmla="*/ 6915 h 10000"/>
                <a:gd name="connsiteX4" fmla="*/ 9458 w 10000"/>
                <a:gd name="connsiteY4" fmla="*/ 6880 h 10000"/>
                <a:gd name="connsiteX5" fmla="*/ 9447 w 10000"/>
                <a:gd name="connsiteY5" fmla="*/ 6860 h 10000"/>
                <a:gd name="connsiteX6" fmla="*/ 9447 w 10000"/>
                <a:gd name="connsiteY6" fmla="*/ 6841 h 10000"/>
                <a:gd name="connsiteX7" fmla="*/ 9447 w 10000"/>
                <a:gd name="connsiteY7" fmla="*/ 6550 h 10000"/>
                <a:gd name="connsiteX8" fmla="*/ 9447 w 10000"/>
                <a:gd name="connsiteY8" fmla="*/ 6531 h 10000"/>
                <a:gd name="connsiteX9" fmla="*/ 9458 w 10000"/>
                <a:gd name="connsiteY9" fmla="*/ 6531 h 10000"/>
                <a:gd name="connsiteX10" fmla="*/ 9554 w 10000"/>
                <a:gd name="connsiteY10" fmla="*/ 6453 h 10000"/>
                <a:gd name="connsiteX11" fmla="*/ 9564 w 10000"/>
                <a:gd name="connsiteY11" fmla="*/ 5601 h 10000"/>
                <a:gd name="connsiteX12" fmla="*/ 9564 w 10000"/>
                <a:gd name="connsiteY12" fmla="*/ 5581 h 10000"/>
                <a:gd name="connsiteX13" fmla="*/ 9564 w 10000"/>
                <a:gd name="connsiteY13" fmla="*/ 5562 h 10000"/>
                <a:gd name="connsiteX14" fmla="*/ 9649 w 10000"/>
                <a:gd name="connsiteY14" fmla="*/ 5388 h 10000"/>
                <a:gd name="connsiteX15" fmla="*/ 9702 w 10000"/>
                <a:gd name="connsiteY15" fmla="*/ 5291 h 10000"/>
                <a:gd name="connsiteX16" fmla="*/ 9554 w 10000"/>
                <a:gd name="connsiteY16" fmla="*/ 5058 h 10000"/>
                <a:gd name="connsiteX17" fmla="*/ 9554 w 10000"/>
                <a:gd name="connsiteY17" fmla="*/ 5058 h 10000"/>
                <a:gd name="connsiteX18" fmla="*/ 9543 w 10000"/>
                <a:gd name="connsiteY18" fmla="*/ 5058 h 10000"/>
                <a:gd name="connsiteX19" fmla="*/ 9394 w 10000"/>
                <a:gd name="connsiteY19" fmla="*/ 4709 h 10000"/>
                <a:gd name="connsiteX20" fmla="*/ 9394 w 10000"/>
                <a:gd name="connsiteY20" fmla="*/ 4690 h 10000"/>
                <a:gd name="connsiteX21" fmla="*/ 9394 w 10000"/>
                <a:gd name="connsiteY21" fmla="*/ 4690 h 10000"/>
                <a:gd name="connsiteX22" fmla="*/ 9456 w 10000"/>
                <a:gd name="connsiteY22" fmla="*/ 4520 h 10000"/>
                <a:gd name="connsiteX23" fmla="*/ 9490 w 10000"/>
                <a:gd name="connsiteY23" fmla="*/ 4360 h 10000"/>
                <a:gd name="connsiteX24" fmla="*/ 9564 w 10000"/>
                <a:gd name="connsiteY24" fmla="*/ 4244 h 10000"/>
                <a:gd name="connsiteX25" fmla="*/ 9628 w 10000"/>
                <a:gd name="connsiteY25" fmla="*/ 4012 h 10000"/>
                <a:gd name="connsiteX26" fmla="*/ 9490 w 10000"/>
                <a:gd name="connsiteY26" fmla="*/ 3760 h 10000"/>
                <a:gd name="connsiteX27" fmla="*/ 9490 w 10000"/>
                <a:gd name="connsiteY27" fmla="*/ 3760 h 10000"/>
                <a:gd name="connsiteX28" fmla="*/ 9479 w 10000"/>
                <a:gd name="connsiteY28" fmla="*/ 3760 h 10000"/>
                <a:gd name="connsiteX29" fmla="*/ 9426 w 10000"/>
                <a:gd name="connsiteY29" fmla="*/ 3527 h 10000"/>
                <a:gd name="connsiteX30" fmla="*/ 9426 w 10000"/>
                <a:gd name="connsiteY30" fmla="*/ 3527 h 10000"/>
                <a:gd name="connsiteX31" fmla="*/ 9426 w 10000"/>
                <a:gd name="connsiteY31" fmla="*/ 3508 h 10000"/>
                <a:gd name="connsiteX32" fmla="*/ 9416 w 10000"/>
                <a:gd name="connsiteY32" fmla="*/ 3198 h 10000"/>
                <a:gd name="connsiteX33" fmla="*/ 9416 w 10000"/>
                <a:gd name="connsiteY33" fmla="*/ 3198 h 10000"/>
                <a:gd name="connsiteX34" fmla="*/ 9416 w 10000"/>
                <a:gd name="connsiteY34" fmla="*/ 3178 h 10000"/>
                <a:gd name="connsiteX35" fmla="*/ 9532 w 10000"/>
                <a:gd name="connsiteY35" fmla="*/ 2907 h 10000"/>
                <a:gd name="connsiteX36" fmla="*/ 9384 w 10000"/>
                <a:gd name="connsiteY36" fmla="*/ 2616 h 10000"/>
                <a:gd name="connsiteX37" fmla="*/ 9384 w 10000"/>
                <a:gd name="connsiteY37" fmla="*/ 2616 h 10000"/>
                <a:gd name="connsiteX38" fmla="*/ 9384 w 10000"/>
                <a:gd name="connsiteY38" fmla="*/ 2616 h 10000"/>
                <a:gd name="connsiteX39" fmla="*/ 9330 w 10000"/>
                <a:gd name="connsiteY39" fmla="*/ 2267 h 10000"/>
                <a:gd name="connsiteX40" fmla="*/ 9330 w 10000"/>
                <a:gd name="connsiteY40" fmla="*/ 2248 h 10000"/>
                <a:gd name="connsiteX41" fmla="*/ 9330 w 10000"/>
                <a:gd name="connsiteY41" fmla="*/ 2248 h 10000"/>
                <a:gd name="connsiteX42" fmla="*/ 9341 w 10000"/>
                <a:gd name="connsiteY42" fmla="*/ 1841 h 10000"/>
                <a:gd name="connsiteX43" fmla="*/ 9341 w 10000"/>
                <a:gd name="connsiteY43" fmla="*/ 1822 h 10000"/>
                <a:gd name="connsiteX44" fmla="*/ 9341 w 10000"/>
                <a:gd name="connsiteY44" fmla="*/ 1822 h 10000"/>
                <a:gd name="connsiteX45" fmla="*/ 9660 w 10000"/>
                <a:gd name="connsiteY45" fmla="*/ 1279 h 10000"/>
                <a:gd name="connsiteX46" fmla="*/ 9564 w 10000"/>
                <a:gd name="connsiteY46" fmla="*/ 1008 h 10000"/>
                <a:gd name="connsiteX47" fmla="*/ 9554 w 10000"/>
                <a:gd name="connsiteY47" fmla="*/ 1008 h 10000"/>
                <a:gd name="connsiteX48" fmla="*/ 9554 w 10000"/>
                <a:gd name="connsiteY48" fmla="*/ 988 h 10000"/>
                <a:gd name="connsiteX49" fmla="*/ 9586 w 10000"/>
                <a:gd name="connsiteY49" fmla="*/ 698 h 10000"/>
                <a:gd name="connsiteX50" fmla="*/ 9501 w 10000"/>
                <a:gd name="connsiteY50" fmla="*/ 601 h 10000"/>
                <a:gd name="connsiteX51" fmla="*/ 9288 w 10000"/>
                <a:gd name="connsiteY51" fmla="*/ 581 h 10000"/>
                <a:gd name="connsiteX52" fmla="*/ 9288 w 10000"/>
                <a:gd name="connsiteY52" fmla="*/ 581 h 10000"/>
                <a:gd name="connsiteX53" fmla="*/ 9277 w 10000"/>
                <a:gd name="connsiteY53" fmla="*/ 581 h 10000"/>
                <a:gd name="connsiteX54" fmla="*/ 9224 w 10000"/>
                <a:gd name="connsiteY54" fmla="*/ 484 h 10000"/>
                <a:gd name="connsiteX55" fmla="*/ 9086 w 10000"/>
                <a:gd name="connsiteY55" fmla="*/ 484 h 10000"/>
                <a:gd name="connsiteX56" fmla="*/ 8948 w 10000"/>
                <a:gd name="connsiteY56" fmla="*/ 1124 h 10000"/>
                <a:gd name="connsiteX57" fmla="*/ 8927 w 10000"/>
                <a:gd name="connsiteY57" fmla="*/ 1124 h 10000"/>
                <a:gd name="connsiteX58" fmla="*/ 8927 w 10000"/>
                <a:gd name="connsiteY58" fmla="*/ 1143 h 10000"/>
                <a:gd name="connsiteX59" fmla="*/ 8650 w 10000"/>
                <a:gd name="connsiteY59" fmla="*/ 1415 h 10000"/>
                <a:gd name="connsiteX60" fmla="*/ 8640 w 10000"/>
                <a:gd name="connsiteY60" fmla="*/ 1434 h 10000"/>
                <a:gd name="connsiteX61" fmla="*/ 8640 w 10000"/>
                <a:gd name="connsiteY61" fmla="*/ 1434 h 10000"/>
                <a:gd name="connsiteX62" fmla="*/ 8470 w 10000"/>
                <a:gd name="connsiteY62" fmla="*/ 1395 h 10000"/>
                <a:gd name="connsiteX63" fmla="*/ 8321 w 10000"/>
                <a:gd name="connsiteY63" fmla="*/ 1531 h 10000"/>
                <a:gd name="connsiteX64" fmla="*/ 8321 w 10000"/>
                <a:gd name="connsiteY64" fmla="*/ 1531 h 10000"/>
                <a:gd name="connsiteX65" fmla="*/ 8321 w 10000"/>
                <a:gd name="connsiteY65" fmla="*/ 1531 h 10000"/>
                <a:gd name="connsiteX66" fmla="*/ 8172 w 10000"/>
                <a:gd name="connsiteY66" fmla="*/ 1589 h 10000"/>
                <a:gd name="connsiteX67" fmla="*/ 8023 w 10000"/>
                <a:gd name="connsiteY67" fmla="*/ 1957 h 10000"/>
                <a:gd name="connsiteX68" fmla="*/ 8013 w 10000"/>
                <a:gd name="connsiteY68" fmla="*/ 1977 h 10000"/>
                <a:gd name="connsiteX69" fmla="*/ 7991 w 10000"/>
                <a:gd name="connsiteY69" fmla="*/ 1977 h 10000"/>
                <a:gd name="connsiteX70" fmla="*/ 7864 w 10000"/>
                <a:gd name="connsiteY70" fmla="*/ 1899 h 10000"/>
                <a:gd name="connsiteX71" fmla="*/ 7843 w 10000"/>
                <a:gd name="connsiteY71" fmla="*/ 1899 h 10000"/>
                <a:gd name="connsiteX72" fmla="*/ 7853 w 10000"/>
                <a:gd name="connsiteY72" fmla="*/ 1841 h 10000"/>
                <a:gd name="connsiteX73" fmla="*/ 7928 w 10000"/>
                <a:gd name="connsiteY73" fmla="*/ 1609 h 10000"/>
                <a:gd name="connsiteX74" fmla="*/ 7906 w 10000"/>
                <a:gd name="connsiteY74" fmla="*/ 1279 h 10000"/>
                <a:gd name="connsiteX75" fmla="*/ 7758 w 10000"/>
                <a:gd name="connsiteY75" fmla="*/ 1124 h 10000"/>
                <a:gd name="connsiteX76" fmla="*/ 7651 w 10000"/>
                <a:gd name="connsiteY76" fmla="*/ 1124 h 10000"/>
                <a:gd name="connsiteX77" fmla="*/ 7641 w 10000"/>
                <a:gd name="connsiteY77" fmla="*/ 1124 h 10000"/>
                <a:gd name="connsiteX78" fmla="*/ 7630 w 10000"/>
                <a:gd name="connsiteY78" fmla="*/ 1105 h 10000"/>
                <a:gd name="connsiteX79" fmla="*/ 7556 w 10000"/>
                <a:gd name="connsiteY79" fmla="*/ 930 h 10000"/>
                <a:gd name="connsiteX80" fmla="*/ 7184 w 10000"/>
                <a:gd name="connsiteY80" fmla="*/ 891 h 10000"/>
                <a:gd name="connsiteX81" fmla="*/ 7173 w 10000"/>
                <a:gd name="connsiteY81" fmla="*/ 891 h 10000"/>
                <a:gd name="connsiteX82" fmla="*/ 7173 w 10000"/>
                <a:gd name="connsiteY82" fmla="*/ 872 h 10000"/>
                <a:gd name="connsiteX83" fmla="*/ 7099 w 10000"/>
                <a:gd name="connsiteY83" fmla="*/ 620 h 10000"/>
                <a:gd name="connsiteX84" fmla="*/ 7088 w 10000"/>
                <a:gd name="connsiteY84" fmla="*/ 601 h 10000"/>
                <a:gd name="connsiteX85" fmla="*/ 7088 w 10000"/>
                <a:gd name="connsiteY85" fmla="*/ 601 h 10000"/>
                <a:gd name="connsiteX86" fmla="*/ 7088 w 10000"/>
                <a:gd name="connsiteY86" fmla="*/ 465 h 10000"/>
                <a:gd name="connsiteX87" fmla="*/ 7088 w 10000"/>
                <a:gd name="connsiteY87" fmla="*/ 426 h 10000"/>
                <a:gd name="connsiteX88" fmla="*/ 7099 w 10000"/>
                <a:gd name="connsiteY88" fmla="*/ 407 h 10000"/>
                <a:gd name="connsiteX89" fmla="*/ 7194 w 10000"/>
                <a:gd name="connsiteY89" fmla="*/ 310 h 10000"/>
                <a:gd name="connsiteX90" fmla="*/ 7109 w 10000"/>
                <a:gd name="connsiteY90" fmla="*/ 136 h 10000"/>
                <a:gd name="connsiteX91" fmla="*/ 7035 w 10000"/>
                <a:gd name="connsiteY91" fmla="*/ 0 h 10000"/>
                <a:gd name="connsiteX92" fmla="*/ 6939 w 10000"/>
                <a:gd name="connsiteY92" fmla="*/ 116 h 10000"/>
                <a:gd name="connsiteX93" fmla="*/ 6939 w 10000"/>
                <a:gd name="connsiteY93" fmla="*/ 116 h 10000"/>
                <a:gd name="connsiteX94" fmla="*/ 6939 w 10000"/>
                <a:gd name="connsiteY94" fmla="*/ 116 h 10000"/>
                <a:gd name="connsiteX95" fmla="*/ 6812 w 10000"/>
                <a:gd name="connsiteY95" fmla="*/ 155 h 10000"/>
                <a:gd name="connsiteX96" fmla="*/ 6674 w 10000"/>
                <a:gd name="connsiteY96" fmla="*/ 291 h 10000"/>
                <a:gd name="connsiteX97" fmla="*/ 6599 w 10000"/>
                <a:gd name="connsiteY97" fmla="*/ 523 h 10000"/>
                <a:gd name="connsiteX98" fmla="*/ 6599 w 10000"/>
                <a:gd name="connsiteY98" fmla="*/ 543 h 10000"/>
                <a:gd name="connsiteX99" fmla="*/ 6589 w 10000"/>
                <a:gd name="connsiteY99" fmla="*/ 543 h 10000"/>
                <a:gd name="connsiteX100" fmla="*/ 6397 w 10000"/>
                <a:gd name="connsiteY100" fmla="*/ 581 h 10000"/>
                <a:gd name="connsiteX101" fmla="*/ 6334 w 10000"/>
                <a:gd name="connsiteY101" fmla="*/ 891 h 10000"/>
                <a:gd name="connsiteX102" fmla="*/ 6334 w 10000"/>
                <a:gd name="connsiteY102" fmla="*/ 911 h 10000"/>
                <a:gd name="connsiteX103" fmla="*/ 6334 w 10000"/>
                <a:gd name="connsiteY103" fmla="*/ 911 h 10000"/>
                <a:gd name="connsiteX104" fmla="*/ 6142 w 10000"/>
                <a:gd name="connsiteY104" fmla="*/ 1124 h 10000"/>
                <a:gd name="connsiteX105" fmla="*/ 6015 w 10000"/>
                <a:gd name="connsiteY105" fmla="*/ 1453 h 10000"/>
                <a:gd name="connsiteX106" fmla="*/ 6004 w 10000"/>
                <a:gd name="connsiteY106" fmla="*/ 1473 h 10000"/>
                <a:gd name="connsiteX107" fmla="*/ 5994 w 10000"/>
                <a:gd name="connsiteY107" fmla="*/ 1453 h 10000"/>
                <a:gd name="connsiteX108" fmla="*/ 5802 w 10000"/>
                <a:gd name="connsiteY108" fmla="*/ 1434 h 10000"/>
                <a:gd name="connsiteX109" fmla="*/ 5781 w 10000"/>
                <a:gd name="connsiteY109" fmla="*/ 1415 h 10000"/>
                <a:gd name="connsiteX110" fmla="*/ 5781 w 10000"/>
                <a:gd name="connsiteY110" fmla="*/ 1395 h 10000"/>
                <a:gd name="connsiteX111" fmla="*/ 5760 w 10000"/>
                <a:gd name="connsiteY111" fmla="*/ 930 h 10000"/>
                <a:gd name="connsiteX112" fmla="*/ 5654 w 10000"/>
                <a:gd name="connsiteY112" fmla="*/ 872 h 10000"/>
                <a:gd name="connsiteX113" fmla="*/ 5377 w 10000"/>
                <a:gd name="connsiteY113" fmla="*/ 1240 h 10000"/>
                <a:gd name="connsiteX114" fmla="*/ 5165 w 10000"/>
                <a:gd name="connsiteY114" fmla="*/ 1570 h 10000"/>
                <a:gd name="connsiteX115" fmla="*/ 5165 w 10000"/>
                <a:gd name="connsiteY115" fmla="*/ 1899 h 10000"/>
                <a:gd name="connsiteX116" fmla="*/ 5165 w 10000"/>
                <a:gd name="connsiteY116" fmla="*/ 1919 h 10000"/>
                <a:gd name="connsiteX117" fmla="*/ 5154 w 10000"/>
                <a:gd name="connsiteY117" fmla="*/ 1919 h 10000"/>
                <a:gd name="connsiteX118" fmla="*/ 5027 w 10000"/>
                <a:gd name="connsiteY118" fmla="*/ 2112 h 10000"/>
                <a:gd name="connsiteX119" fmla="*/ 5016 w 10000"/>
                <a:gd name="connsiteY119" fmla="*/ 2112 h 10000"/>
                <a:gd name="connsiteX120" fmla="*/ 5005 w 10000"/>
                <a:gd name="connsiteY120" fmla="*/ 2112 h 10000"/>
                <a:gd name="connsiteX121" fmla="*/ 4814 w 10000"/>
                <a:gd name="connsiteY121" fmla="*/ 2112 h 10000"/>
                <a:gd name="connsiteX122" fmla="*/ 4803 w 10000"/>
                <a:gd name="connsiteY122" fmla="*/ 2112 h 10000"/>
                <a:gd name="connsiteX123" fmla="*/ 4803 w 10000"/>
                <a:gd name="connsiteY123" fmla="*/ 2112 h 10000"/>
                <a:gd name="connsiteX124" fmla="*/ 4697 w 10000"/>
                <a:gd name="connsiteY124" fmla="*/ 1957 h 10000"/>
                <a:gd name="connsiteX125" fmla="*/ 4591 w 10000"/>
                <a:gd name="connsiteY125" fmla="*/ 1899 h 10000"/>
                <a:gd name="connsiteX126" fmla="*/ 4591 w 10000"/>
                <a:gd name="connsiteY126" fmla="*/ 1957 h 10000"/>
                <a:gd name="connsiteX127" fmla="*/ 4591 w 10000"/>
                <a:gd name="connsiteY127" fmla="*/ 1996 h 10000"/>
                <a:gd name="connsiteX128" fmla="*/ 4570 w 10000"/>
                <a:gd name="connsiteY128" fmla="*/ 1996 h 10000"/>
                <a:gd name="connsiteX129" fmla="*/ 4453 w 10000"/>
                <a:gd name="connsiteY129" fmla="*/ 1996 h 10000"/>
                <a:gd name="connsiteX130" fmla="*/ 4431 w 10000"/>
                <a:gd name="connsiteY130" fmla="*/ 1996 h 10000"/>
                <a:gd name="connsiteX131" fmla="*/ 4431 w 10000"/>
                <a:gd name="connsiteY131" fmla="*/ 1957 h 10000"/>
                <a:gd name="connsiteX132" fmla="*/ 4378 w 10000"/>
                <a:gd name="connsiteY132" fmla="*/ 1589 h 10000"/>
                <a:gd name="connsiteX133" fmla="*/ 4091 w 10000"/>
                <a:gd name="connsiteY133" fmla="*/ 1512 h 10000"/>
                <a:gd name="connsiteX134" fmla="*/ 4081 w 10000"/>
                <a:gd name="connsiteY134" fmla="*/ 1512 h 10000"/>
                <a:gd name="connsiteX135" fmla="*/ 4070 w 10000"/>
                <a:gd name="connsiteY135" fmla="*/ 1492 h 10000"/>
                <a:gd name="connsiteX136" fmla="*/ 3879 w 10000"/>
                <a:gd name="connsiteY136" fmla="*/ 988 h 10000"/>
                <a:gd name="connsiteX137" fmla="*/ 3719 w 10000"/>
                <a:gd name="connsiteY137" fmla="*/ 988 h 10000"/>
                <a:gd name="connsiteX138" fmla="*/ 3698 w 10000"/>
                <a:gd name="connsiteY138" fmla="*/ 1085 h 10000"/>
                <a:gd name="connsiteX139" fmla="*/ 3698 w 10000"/>
                <a:gd name="connsiteY139" fmla="*/ 1105 h 10000"/>
                <a:gd name="connsiteX140" fmla="*/ 3698 w 10000"/>
                <a:gd name="connsiteY140" fmla="*/ 1105 h 10000"/>
                <a:gd name="connsiteX141" fmla="*/ 3592 w 10000"/>
                <a:gd name="connsiteY141" fmla="*/ 1318 h 10000"/>
                <a:gd name="connsiteX142" fmla="*/ 3592 w 10000"/>
                <a:gd name="connsiteY142" fmla="*/ 1318 h 10000"/>
                <a:gd name="connsiteX143" fmla="*/ 3581 w 10000"/>
                <a:gd name="connsiteY143" fmla="*/ 1318 h 10000"/>
                <a:gd name="connsiteX144" fmla="*/ 3486 w 10000"/>
                <a:gd name="connsiteY144" fmla="*/ 1395 h 10000"/>
                <a:gd name="connsiteX145" fmla="*/ 3486 w 10000"/>
                <a:gd name="connsiteY145" fmla="*/ 1686 h 10000"/>
                <a:gd name="connsiteX146" fmla="*/ 3486 w 10000"/>
                <a:gd name="connsiteY146" fmla="*/ 1725 h 10000"/>
                <a:gd name="connsiteX147" fmla="*/ 3475 w 10000"/>
                <a:gd name="connsiteY147" fmla="*/ 1725 h 10000"/>
                <a:gd name="connsiteX148" fmla="*/ 3369 w 10000"/>
                <a:gd name="connsiteY148" fmla="*/ 1841 h 10000"/>
                <a:gd name="connsiteX149" fmla="*/ 3135 w 10000"/>
                <a:gd name="connsiteY149" fmla="*/ 2171 h 10000"/>
                <a:gd name="connsiteX150" fmla="*/ 2954 w 10000"/>
                <a:gd name="connsiteY150" fmla="*/ 2829 h 10000"/>
                <a:gd name="connsiteX151" fmla="*/ 2954 w 10000"/>
                <a:gd name="connsiteY151" fmla="*/ 2829 h 10000"/>
                <a:gd name="connsiteX152" fmla="*/ 2944 w 10000"/>
                <a:gd name="connsiteY152" fmla="*/ 2829 h 10000"/>
                <a:gd name="connsiteX153" fmla="*/ 2699 w 10000"/>
                <a:gd name="connsiteY153" fmla="*/ 3217 h 10000"/>
                <a:gd name="connsiteX154" fmla="*/ 2487 w 10000"/>
                <a:gd name="connsiteY154" fmla="*/ 3566 h 10000"/>
                <a:gd name="connsiteX155" fmla="*/ 2465 w 10000"/>
                <a:gd name="connsiteY155" fmla="*/ 3934 h 10000"/>
                <a:gd name="connsiteX156" fmla="*/ 2465 w 10000"/>
                <a:gd name="connsiteY156" fmla="*/ 3934 h 10000"/>
                <a:gd name="connsiteX157" fmla="*/ 2465 w 10000"/>
                <a:gd name="connsiteY157" fmla="*/ 3934 h 10000"/>
                <a:gd name="connsiteX158" fmla="*/ 2295 w 10000"/>
                <a:gd name="connsiteY158" fmla="*/ 4205 h 10000"/>
                <a:gd name="connsiteX159" fmla="*/ 2200 w 10000"/>
                <a:gd name="connsiteY159" fmla="*/ 4535 h 10000"/>
                <a:gd name="connsiteX160" fmla="*/ 2189 w 10000"/>
                <a:gd name="connsiteY160" fmla="*/ 4554 h 10000"/>
                <a:gd name="connsiteX161" fmla="*/ 2179 w 10000"/>
                <a:gd name="connsiteY161" fmla="*/ 4554 h 10000"/>
                <a:gd name="connsiteX162" fmla="*/ 2051 w 10000"/>
                <a:gd name="connsiteY162" fmla="*/ 4535 h 10000"/>
                <a:gd name="connsiteX163" fmla="*/ 1913 w 10000"/>
                <a:gd name="connsiteY163" fmla="*/ 4767 h 10000"/>
                <a:gd name="connsiteX164" fmla="*/ 1913 w 10000"/>
                <a:gd name="connsiteY164" fmla="*/ 4787 h 10000"/>
                <a:gd name="connsiteX165" fmla="*/ 1902 w 10000"/>
                <a:gd name="connsiteY165" fmla="*/ 4787 h 10000"/>
                <a:gd name="connsiteX166" fmla="*/ 1498 w 10000"/>
                <a:gd name="connsiteY166" fmla="*/ 4671 h 10000"/>
                <a:gd name="connsiteX167" fmla="*/ 1488 w 10000"/>
                <a:gd name="connsiteY167" fmla="*/ 4671 h 10000"/>
                <a:gd name="connsiteX168" fmla="*/ 1488 w 10000"/>
                <a:gd name="connsiteY168" fmla="*/ 4651 h 10000"/>
                <a:gd name="connsiteX169" fmla="*/ 1424 w 10000"/>
                <a:gd name="connsiteY169" fmla="*/ 4516 h 10000"/>
                <a:gd name="connsiteX170" fmla="*/ 1350 w 10000"/>
                <a:gd name="connsiteY170" fmla="*/ 4516 h 10000"/>
                <a:gd name="connsiteX171" fmla="*/ 1296 w 10000"/>
                <a:gd name="connsiteY171" fmla="*/ 4690 h 10000"/>
                <a:gd name="connsiteX172" fmla="*/ 1286 w 10000"/>
                <a:gd name="connsiteY172" fmla="*/ 4922 h 10000"/>
                <a:gd name="connsiteX173" fmla="*/ 1286 w 10000"/>
                <a:gd name="connsiteY173" fmla="*/ 4942 h 10000"/>
                <a:gd name="connsiteX174" fmla="*/ 1275 w 10000"/>
                <a:gd name="connsiteY174" fmla="*/ 4961 h 10000"/>
                <a:gd name="connsiteX175" fmla="*/ 1190 w 10000"/>
                <a:gd name="connsiteY175" fmla="*/ 5058 h 10000"/>
                <a:gd name="connsiteX176" fmla="*/ 1137 w 10000"/>
                <a:gd name="connsiteY176" fmla="*/ 5271 h 10000"/>
                <a:gd name="connsiteX177" fmla="*/ 1137 w 10000"/>
                <a:gd name="connsiteY177" fmla="*/ 5291 h 10000"/>
                <a:gd name="connsiteX178" fmla="*/ 1126 w 10000"/>
                <a:gd name="connsiteY178" fmla="*/ 5291 h 10000"/>
                <a:gd name="connsiteX179" fmla="*/ 1020 w 10000"/>
                <a:gd name="connsiteY179" fmla="*/ 5407 h 10000"/>
                <a:gd name="connsiteX180" fmla="*/ 999 w 10000"/>
                <a:gd name="connsiteY180" fmla="*/ 5581 h 10000"/>
                <a:gd name="connsiteX181" fmla="*/ 978 w 10000"/>
                <a:gd name="connsiteY181" fmla="*/ 5756 h 10000"/>
                <a:gd name="connsiteX182" fmla="*/ 978 w 10000"/>
                <a:gd name="connsiteY182" fmla="*/ 5775 h 10000"/>
                <a:gd name="connsiteX183" fmla="*/ 967 w 10000"/>
                <a:gd name="connsiteY183" fmla="*/ 5775 h 10000"/>
                <a:gd name="connsiteX184" fmla="*/ 861 w 10000"/>
                <a:gd name="connsiteY184" fmla="*/ 5814 h 10000"/>
                <a:gd name="connsiteX185" fmla="*/ 861 w 10000"/>
                <a:gd name="connsiteY185" fmla="*/ 6047 h 10000"/>
                <a:gd name="connsiteX186" fmla="*/ 967 w 10000"/>
                <a:gd name="connsiteY186" fmla="*/ 6298 h 10000"/>
                <a:gd name="connsiteX187" fmla="*/ 967 w 10000"/>
                <a:gd name="connsiteY187" fmla="*/ 6298 h 10000"/>
                <a:gd name="connsiteX188" fmla="*/ 978 w 10000"/>
                <a:gd name="connsiteY188" fmla="*/ 6318 h 10000"/>
                <a:gd name="connsiteX189" fmla="*/ 988 w 10000"/>
                <a:gd name="connsiteY189" fmla="*/ 6512 h 10000"/>
                <a:gd name="connsiteX190" fmla="*/ 988 w 10000"/>
                <a:gd name="connsiteY190" fmla="*/ 6531 h 10000"/>
                <a:gd name="connsiteX191" fmla="*/ 978 w 10000"/>
                <a:gd name="connsiteY191" fmla="*/ 6550 h 10000"/>
                <a:gd name="connsiteX192" fmla="*/ 627 w 10000"/>
                <a:gd name="connsiteY192" fmla="*/ 7016 h 10000"/>
                <a:gd name="connsiteX193" fmla="*/ 521 w 10000"/>
                <a:gd name="connsiteY193" fmla="*/ 7151 h 10000"/>
                <a:gd name="connsiteX194" fmla="*/ 340 w 10000"/>
                <a:gd name="connsiteY194" fmla="*/ 7384 h 10000"/>
                <a:gd name="connsiteX195" fmla="*/ 340 w 10000"/>
                <a:gd name="connsiteY195" fmla="*/ 7403 h 10000"/>
                <a:gd name="connsiteX196" fmla="*/ 340 w 10000"/>
                <a:gd name="connsiteY196" fmla="*/ 7403 h 10000"/>
                <a:gd name="connsiteX197" fmla="*/ 191 w 10000"/>
                <a:gd name="connsiteY197" fmla="*/ 7519 h 10000"/>
                <a:gd name="connsiteX198" fmla="*/ 0 w 10000"/>
                <a:gd name="connsiteY198" fmla="*/ 7791 h 10000"/>
                <a:gd name="connsiteX199" fmla="*/ 11 w 10000"/>
                <a:gd name="connsiteY199" fmla="*/ 7829 h 10000"/>
                <a:gd name="connsiteX200" fmla="*/ 149 w 10000"/>
                <a:gd name="connsiteY200" fmla="*/ 7868 h 10000"/>
                <a:gd name="connsiteX201" fmla="*/ 159 w 10000"/>
                <a:gd name="connsiteY201" fmla="*/ 7868 h 10000"/>
                <a:gd name="connsiteX202" fmla="*/ 159 w 10000"/>
                <a:gd name="connsiteY202" fmla="*/ 7868 h 10000"/>
                <a:gd name="connsiteX203" fmla="*/ 372 w 10000"/>
                <a:gd name="connsiteY203" fmla="*/ 8256 h 10000"/>
                <a:gd name="connsiteX204" fmla="*/ 1467 w 10000"/>
                <a:gd name="connsiteY204" fmla="*/ 9205 h 10000"/>
                <a:gd name="connsiteX205" fmla="*/ 1467 w 10000"/>
                <a:gd name="connsiteY205" fmla="*/ 9205 h 10000"/>
                <a:gd name="connsiteX206" fmla="*/ 1477 w 10000"/>
                <a:gd name="connsiteY206" fmla="*/ 9205 h 10000"/>
                <a:gd name="connsiteX207" fmla="*/ 1838 w 10000"/>
                <a:gd name="connsiteY207" fmla="*/ 9729 h 10000"/>
                <a:gd name="connsiteX208" fmla="*/ 2508 w 10000"/>
                <a:gd name="connsiteY208" fmla="*/ 9767 h 10000"/>
                <a:gd name="connsiteX209" fmla="*/ 2561 w 10000"/>
                <a:gd name="connsiteY209" fmla="*/ 9671 h 10000"/>
                <a:gd name="connsiteX210" fmla="*/ 2561 w 10000"/>
                <a:gd name="connsiteY210" fmla="*/ 9671 h 10000"/>
                <a:gd name="connsiteX211" fmla="*/ 2582 w 10000"/>
                <a:gd name="connsiteY211" fmla="*/ 9671 h 10000"/>
                <a:gd name="connsiteX212" fmla="*/ 2848 w 10000"/>
                <a:gd name="connsiteY212" fmla="*/ 9651 h 10000"/>
                <a:gd name="connsiteX213" fmla="*/ 2859 w 10000"/>
                <a:gd name="connsiteY213" fmla="*/ 9651 h 10000"/>
                <a:gd name="connsiteX214" fmla="*/ 2869 w 10000"/>
                <a:gd name="connsiteY214" fmla="*/ 9671 h 10000"/>
                <a:gd name="connsiteX215" fmla="*/ 3061 w 10000"/>
                <a:gd name="connsiteY215" fmla="*/ 10000 h 10000"/>
                <a:gd name="connsiteX216" fmla="*/ 3061 w 10000"/>
                <a:gd name="connsiteY216" fmla="*/ 10000 h 10000"/>
                <a:gd name="connsiteX217" fmla="*/ 4336 w 10000"/>
                <a:gd name="connsiteY217" fmla="*/ 9961 h 10000"/>
                <a:gd name="connsiteX218" fmla="*/ 4357 w 10000"/>
                <a:gd name="connsiteY218" fmla="*/ 9961 h 10000"/>
                <a:gd name="connsiteX219" fmla="*/ 4357 w 10000"/>
                <a:gd name="connsiteY219" fmla="*/ 9981 h 10000"/>
                <a:gd name="connsiteX220" fmla="*/ 4527 w 10000"/>
                <a:gd name="connsiteY220" fmla="*/ 9864 h 10000"/>
                <a:gd name="connsiteX221" fmla="*/ 4538 w 10000"/>
                <a:gd name="connsiteY221" fmla="*/ 9864 h 10000"/>
                <a:gd name="connsiteX222" fmla="*/ 4538 w 10000"/>
                <a:gd name="connsiteY222" fmla="*/ 9864 h 10000"/>
                <a:gd name="connsiteX223" fmla="*/ 5250 w 10000"/>
                <a:gd name="connsiteY223" fmla="*/ 9845 h 10000"/>
                <a:gd name="connsiteX224" fmla="*/ 7354 w 10000"/>
                <a:gd name="connsiteY224" fmla="*/ 9845 h 10000"/>
                <a:gd name="connsiteX225" fmla="*/ 7343 w 10000"/>
                <a:gd name="connsiteY225" fmla="*/ 9826 h 10000"/>
                <a:gd name="connsiteX226" fmla="*/ 7439 w 10000"/>
                <a:gd name="connsiteY226" fmla="*/ 9612 h 10000"/>
                <a:gd name="connsiteX227" fmla="*/ 7513 w 10000"/>
                <a:gd name="connsiteY227" fmla="*/ 9516 h 10000"/>
                <a:gd name="connsiteX228" fmla="*/ 7428 w 10000"/>
                <a:gd name="connsiteY228" fmla="*/ 9283 h 10000"/>
                <a:gd name="connsiteX229" fmla="*/ 7450 w 10000"/>
                <a:gd name="connsiteY229" fmla="*/ 9109 h 10000"/>
                <a:gd name="connsiteX230" fmla="*/ 7683 w 10000"/>
                <a:gd name="connsiteY230" fmla="*/ 8992 h 10000"/>
                <a:gd name="connsiteX231" fmla="*/ 7683 w 10000"/>
                <a:gd name="connsiteY231" fmla="*/ 8798 h 10000"/>
                <a:gd name="connsiteX232" fmla="*/ 7779 w 10000"/>
                <a:gd name="connsiteY232" fmla="*/ 8682 h 10000"/>
                <a:gd name="connsiteX233" fmla="*/ 7949 w 10000"/>
                <a:gd name="connsiteY233" fmla="*/ 8372 h 10000"/>
                <a:gd name="connsiteX234" fmla="*/ 8013 w 10000"/>
                <a:gd name="connsiteY234" fmla="*/ 8023 h 10000"/>
                <a:gd name="connsiteX235" fmla="*/ 8098 w 10000"/>
                <a:gd name="connsiteY235" fmla="*/ 7907 h 10000"/>
                <a:gd name="connsiteX236" fmla="*/ 8204 w 10000"/>
                <a:gd name="connsiteY236" fmla="*/ 7907 h 10000"/>
                <a:gd name="connsiteX237" fmla="*/ 8363 w 10000"/>
                <a:gd name="connsiteY237" fmla="*/ 7829 h 10000"/>
                <a:gd name="connsiteX238" fmla="*/ 8576 w 10000"/>
                <a:gd name="connsiteY238" fmla="*/ 7907 h 10000"/>
                <a:gd name="connsiteX239" fmla="*/ 8661 w 10000"/>
                <a:gd name="connsiteY239" fmla="*/ 8004 h 10000"/>
                <a:gd name="connsiteX240" fmla="*/ 8704 w 10000"/>
                <a:gd name="connsiteY240" fmla="*/ 7829 h 10000"/>
                <a:gd name="connsiteX241" fmla="*/ 8831 w 10000"/>
                <a:gd name="connsiteY241" fmla="*/ 7733 h 10000"/>
                <a:gd name="connsiteX242" fmla="*/ 8980 w 10000"/>
                <a:gd name="connsiteY242" fmla="*/ 7713 h 10000"/>
                <a:gd name="connsiteX243" fmla="*/ 9097 w 10000"/>
                <a:gd name="connsiteY243" fmla="*/ 7674 h 10000"/>
                <a:gd name="connsiteX244" fmla="*/ 9235 w 10000"/>
                <a:gd name="connsiteY244" fmla="*/ 7791 h 10000"/>
                <a:gd name="connsiteX245" fmla="*/ 9341 w 10000"/>
                <a:gd name="connsiteY245" fmla="*/ 7907 h 10000"/>
                <a:gd name="connsiteX246" fmla="*/ 9458 w 10000"/>
                <a:gd name="connsiteY246" fmla="*/ 7733 h 10000"/>
                <a:gd name="connsiteX247" fmla="*/ 9575 w 10000"/>
                <a:gd name="connsiteY247" fmla="*/ 7829 h 10000"/>
                <a:gd name="connsiteX248" fmla="*/ 9702 w 10000"/>
                <a:gd name="connsiteY248" fmla="*/ 7829 h 10000"/>
                <a:gd name="connsiteX249" fmla="*/ 9809 w 10000"/>
                <a:gd name="connsiteY249" fmla="*/ 7907 h 10000"/>
                <a:gd name="connsiteX250" fmla="*/ 9968 w 10000"/>
                <a:gd name="connsiteY250" fmla="*/ 7829 h 10000"/>
                <a:gd name="connsiteX251" fmla="*/ 10000 w 10000"/>
                <a:gd name="connsiteY251" fmla="*/ 7810 h 10000"/>
                <a:gd name="connsiteX252" fmla="*/ 9979 w 10000"/>
                <a:gd name="connsiteY252" fmla="*/ 7810 h 10000"/>
                <a:gd name="connsiteX253" fmla="*/ 9968 w 10000"/>
                <a:gd name="connsiteY253" fmla="*/ 7636 h 10000"/>
                <a:gd name="connsiteX254" fmla="*/ 9968 w 10000"/>
                <a:gd name="connsiteY254" fmla="*/ 7190 h 10000"/>
                <a:gd name="connsiteX255" fmla="*/ 9926 w 10000"/>
                <a:gd name="connsiteY255" fmla="*/ 7132 h 10000"/>
                <a:gd name="connsiteX256" fmla="*/ 9915 w 10000"/>
                <a:gd name="connsiteY256" fmla="*/ 7112 h 10000"/>
                <a:gd name="connsiteX257" fmla="*/ 9926 w 10000"/>
                <a:gd name="connsiteY257" fmla="*/ 7093 h 10000"/>
                <a:gd name="connsiteX258" fmla="*/ 9968 w 10000"/>
                <a:gd name="connsiteY258" fmla="*/ 6822 h 10000"/>
                <a:gd name="connsiteX259" fmla="*/ 9979 w 10000"/>
                <a:gd name="connsiteY259" fmla="*/ 6802 h 10000"/>
                <a:gd name="connsiteX260" fmla="*/ 9979 w 10000"/>
                <a:gd name="connsiteY260" fmla="*/ 6802 h 10000"/>
                <a:gd name="connsiteX261" fmla="*/ 9947 w 10000"/>
                <a:gd name="connsiteY261" fmla="*/ 6764 h 10000"/>
                <a:gd name="connsiteX0" fmla="*/ 9947 w 10000"/>
                <a:gd name="connsiteY0" fmla="*/ 6764 h 10000"/>
                <a:gd name="connsiteX1" fmla="*/ 9816 w 10000"/>
                <a:gd name="connsiteY1" fmla="*/ 6660 h 10000"/>
                <a:gd name="connsiteX2" fmla="*/ 9766 w 10000"/>
                <a:gd name="connsiteY2" fmla="*/ 6938 h 10000"/>
                <a:gd name="connsiteX3" fmla="*/ 9665 w 10000"/>
                <a:gd name="connsiteY3" fmla="*/ 6915 h 10000"/>
                <a:gd name="connsiteX4" fmla="*/ 9458 w 10000"/>
                <a:gd name="connsiteY4" fmla="*/ 6880 h 10000"/>
                <a:gd name="connsiteX5" fmla="*/ 9447 w 10000"/>
                <a:gd name="connsiteY5" fmla="*/ 6860 h 10000"/>
                <a:gd name="connsiteX6" fmla="*/ 9447 w 10000"/>
                <a:gd name="connsiteY6" fmla="*/ 6841 h 10000"/>
                <a:gd name="connsiteX7" fmla="*/ 9447 w 10000"/>
                <a:gd name="connsiteY7" fmla="*/ 6550 h 10000"/>
                <a:gd name="connsiteX8" fmla="*/ 9447 w 10000"/>
                <a:gd name="connsiteY8" fmla="*/ 6531 h 10000"/>
                <a:gd name="connsiteX9" fmla="*/ 9458 w 10000"/>
                <a:gd name="connsiteY9" fmla="*/ 6531 h 10000"/>
                <a:gd name="connsiteX10" fmla="*/ 9554 w 10000"/>
                <a:gd name="connsiteY10" fmla="*/ 6453 h 10000"/>
                <a:gd name="connsiteX11" fmla="*/ 9564 w 10000"/>
                <a:gd name="connsiteY11" fmla="*/ 5601 h 10000"/>
                <a:gd name="connsiteX12" fmla="*/ 9564 w 10000"/>
                <a:gd name="connsiteY12" fmla="*/ 5581 h 10000"/>
                <a:gd name="connsiteX13" fmla="*/ 9564 w 10000"/>
                <a:gd name="connsiteY13" fmla="*/ 5562 h 10000"/>
                <a:gd name="connsiteX14" fmla="*/ 9649 w 10000"/>
                <a:gd name="connsiteY14" fmla="*/ 5388 h 10000"/>
                <a:gd name="connsiteX15" fmla="*/ 9702 w 10000"/>
                <a:gd name="connsiteY15" fmla="*/ 5291 h 10000"/>
                <a:gd name="connsiteX16" fmla="*/ 9554 w 10000"/>
                <a:gd name="connsiteY16" fmla="*/ 5058 h 10000"/>
                <a:gd name="connsiteX17" fmla="*/ 9554 w 10000"/>
                <a:gd name="connsiteY17" fmla="*/ 5058 h 10000"/>
                <a:gd name="connsiteX18" fmla="*/ 9543 w 10000"/>
                <a:gd name="connsiteY18" fmla="*/ 5058 h 10000"/>
                <a:gd name="connsiteX19" fmla="*/ 9394 w 10000"/>
                <a:gd name="connsiteY19" fmla="*/ 4709 h 10000"/>
                <a:gd name="connsiteX20" fmla="*/ 9394 w 10000"/>
                <a:gd name="connsiteY20" fmla="*/ 4690 h 10000"/>
                <a:gd name="connsiteX21" fmla="*/ 9394 w 10000"/>
                <a:gd name="connsiteY21" fmla="*/ 4690 h 10000"/>
                <a:gd name="connsiteX22" fmla="*/ 9456 w 10000"/>
                <a:gd name="connsiteY22" fmla="*/ 4520 h 10000"/>
                <a:gd name="connsiteX23" fmla="*/ 9490 w 10000"/>
                <a:gd name="connsiteY23" fmla="*/ 4360 h 10000"/>
                <a:gd name="connsiteX24" fmla="*/ 9564 w 10000"/>
                <a:gd name="connsiteY24" fmla="*/ 4244 h 10000"/>
                <a:gd name="connsiteX25" fmla="*/ 9628 w 10000"/>
                <a:gd name="connsiteY25" fmla="*/ 4012 h 10000"/>
                <a:gd name="connsiteX26" fmla="*/ 9490 w 10000"/>
                <a:gd name="connsiteY26" fmla="*/ 3760 h 10000"/>
                <a:gd name="connsiteX27" fmla="*/ 9490 w 10000"/>
                <a:gd name="connsiteY27" fmla="*/ 3760 h 10000"/>
                <a:gd name="connsiteX28" fmla="*/ 9479 w 10000"/>
                <a:gd name="connsiteY28" fmla="*/ 3760 h 10000"/>
                <a:gd name="connsiteX29" fmla="*/ 9426 w 10000"/>
                <a:gd name="connsiteY29" fmla="*/ 3527 h 10000"/>
                <a:gd name="connsiteX30" fmla="*/ 9426 w 10000"/>
                <a:gd name="connsiteY30" fmla="*/ 3527 h 10000"/>
                <a:gd name="connsiteX31" fmla="*/ 9426 w 10000"/>
                <a:gd name="connsiteY31" fmla="*/ 3508 h 10000"/>
                <a:gd name="connsiteX32" fmla="*/ 9416 w 10000"/>
                <a:gd name="connsiteY32" fmla="*/ 3198 h 10000"/>
                <a:gd name="connsiteX33" fmla="*/ 9416 w 10000"/>
                <a:gd name="connsiteY33" fmla="*/ 3198 h 10000"/>
                <a:gd name="connsiteX34" fmla="*/ 9416 w 10000"/>
                <a:gd name="connsiteY34" fmla="*/ 3178 h 10000"/>
                <a:gd name="connsiteX35" fmla="*/ 9532 w 10000"/>
                <a:gd name="connsiteY35" fmla="*/ 2907 h 10000"/>
                <a:gd name="connsiteX36" fmla="*/ 9384 w 10000"/>
                <a:gd name="connsiteY36" fmla="*/ 2616 h 10000"/>
                <a:gd name="connsiteX37" fmla="*/ 9384 w 10000"/>
                <a:gd name="connsiteY37" fmla="*/ 2616 h 10000"/>
                <a:gd name="connsiteX38" fmla="*/ 9384 w 10000"/>
                <a:gd name="connsiteY38" fmla="*/ 2616 h 10000"/>
                <a:gd name="connsiteX39" fmla="*/ 9330 w 10000"/>
                <a:gd name="connsiteY39" fmla="*/ 2267 h 10000"/>
                <a:gd name="connsiteX40" fmla="*/ 9330 w 10000"/>
                <a:gd name="connsiteY40" fmla="*/ 2248 h 10000"/>
                <a:gd name="connsiteX41" fmla="*/ 9330 w 10000"/>
                <a:gd name="connsiteY41" fmla="*/ 2248 h 10000"/>
                <a:gd name="connsiteX42" fmla="*/ 9341 w 10000"/>
                <a:gd name="connsiteY42" fmla="*/ 1841 h 10000"/>
                <a:gd name="connsiteX43" fmla="*/ 9341 w 10000"/>
                <a:gd name="connsiteY43" fmla="*/ 1822 h 10000"/>
                <a:gd name="connsiteX44" fmla="*/ 9341 w 10000"/>
                <a:gd name="connsiteY44" fmla="*/ 1822 h 10000"/>
                <a:gd name="connsiteX45" fmla="*/ 9660 w 10000"/>
                <a:gd name="connsiteY45" fmla="*/ 1279 h 10000"/>
                <a:gd name="connsiteX46" fmla="*/ 9564 w 10000"/>
                <a:gd name="connsiteY46" fmla="*/ 1008 h 10000"/>
                <a:gd name="connsiteX47" fmla="*/ 9554 w 10000"/>
                <a:gd name="connsiteY47" fmla="*/ 1008 h 10000"/>
                <a:gd name="connsiteX48" fmla="*/ 9554 w 10000"/>
                <a:gd name="connsiteY48" fmla="*/ 988 h 10000"/>
                <a:gd name="connsiteX49" fmla="*/ 9586 w 10000"/>
                <a:gd name="connsiteY49" fmla="*/ 698 h 10000"/>
                <a:gd name="connsiteX50" fmla="*/ 9501 w 10000"/>
                <a:gd name="connsiteY50" fmla="*/ 601 h 10000"/>
                <a:gd name="connsiteX51" fmla="*/ 9288 w 10000"/>
                <a:gd name="connsiteY51" fmla="*/ 581 h 10000"/>
                <a:gd name="connsiteX52" fmla="*/ 9288 w 10000"/>
                <a:gd name="connsiteY52" fmla="*/ 581 h 10000"/>
                <a:gd name="connsiteX53" fmla="*/ 9277 w 10000"/>
                <a:gd name="connsiteY53" fmla="*/ 581 h 10000"/>
                <a:gd name="connsiteX54" fmla="*/ 9224 w 10000"/>
                <a:gd name="connsiteY54" fmla="*/ 484 h 10000"/>
                <a:gd name="connsiteX55" fmla="*/ 9086 w 10000"/>
                <a:gd name="connsiteY55" fmla="*/ 484 h 10000"/>
                <a:gd name="connsiteX56" fmla="*/ 8948 w 10000"/>
                <a:gd name="connsiteY56" fmla="*/ 1124 h 10000"/>
                <a:gd name="connsiteX57" fmla="*/ 8927 w 10000"/>
                <a:gd name="connsiteY57" fmla="*/ 1124 h 10000"/>
                <a:gd name="connsiteX58" fmla="*/ 8927 w 10000"/>
                <a:gd name="connsiteY58" fmla="*/ 1143 h 10000"/>
                <a:gd name="connsiteX59" fmla="*/ 8650 w 10000"/>
                <a:gd name="connsiteY59" fmla="*/ 1415 h 10000"/>
                <a:gd name="connsiteX60" fmla="*/ 8640 w 10000"/>
                <a:gd name="connsiteY60" fmla="*/ 1434 h 10000"/>
                <a:gd name="connsiteX61" fmla="*/ 8640 w 10000"/>
                <a:gd name="connsiteY61" fmla="*/ 1434 h 10000"/>
                <a:gd name="connsiteX62" fmla="*/ 8470 w 10000"/>
                <a:gd name="connsiteY62" fmla="*/ 1395 h 10000"/>
                <a:gd name="connsiteX63" fmla="*/ 8321 w 10000"/>
                <a:gd name="connsiteY63" fmla="*/ 1531 h 10000"/>
                <a:gd name="connsiteX64" fmla="*/ 8321 w 10000"/>
                <a:gd name="connsiteY64" fmla="*/ 1531 h 10000"/>
                <a:gd name="connsiteX65" fmla="*/ 8321 w 10000"/>
                <a:gd name="connsiteY65" fmla="*/ 1531 h 10000"/>
                <a:gd name="connsiteX66" fmla="*/ 8172 w 10000"/>
                <a:gd name="connsiteY66" fmla="*/ 1589 h 10000"/>
                <a:gd name="connsiteX67" fmla="*/ 8023 w 10000"/>
                <a:gd name="connsiteY67" fmla="*/ 1957 h 10000"/>
                <a:gd name="connsiteX68" fmla="*/ 8013 w 10000"/>
                <a:gd name="connsiteY68" fmla="*/ 1977 h 10000"/>
                <a:gd name="connsiteX69" fmla="*/ 7991 w 10000"/>
                <a:gd name="connsiteY69" fmla="*/ 1977 h 10000"/>
                <a:gd name="connsiteX70" fmla="*/ 7864 w 10000"/>
                <a:gd name="connsiteY70" fmla="*/ 1899 h 10000"/>
                <a:gd name="connsiteX71" fmla="*/ 7843 w 10000"/>
                <a:gd name="connsiteY71" fmla="*/ 1899 h 10000"/>
                <a:gd name="connsiteX72" fmla="*/ 7853 w 10000"/>
                <a:gd name="connsiteY72" fmla="*/ 1841 h 10000"/>
                <a:gd name="connsiteX73" fmla="*/ 7928 w 10000"/>
                <a:gd name="connsiteY73" fmla="*/ 1609 h 10000"/>
                <a:gd name="connsiteX74" fmla="*/ 7906 w 10000"/>
                <a:gd name="connsiteY74" fmla="*/ 1279 h 10000"/>
                <a:gd name="connsiteX75" fmla="*/ 7758 w 10000"/>
                <a:gd name="connsiteY75" fmla="*/ 1124 h 10000"/>
                <a:gd name="connsiteX76" fmla="*/ 7651 w 10000"/>
                <a:gd name="connsiteY76" fmla="*/ 1124 h 10000"/>
                <a:gd name="connsiteX77" fmla="*/ 7641 w 10000"/>
                <a:gd name="connsiteY77" fmla="*/ 1124 h 10000"/>
                <a:gd name="connsiteX78" fmla="*/ 7630 w 10000"/>
                <a:gd name="connsiteY78" fmla="*/ 1105 h 10000"/>
                <a:gd name="connsiteX79" fmla="*/ 7556 w 10000"/>
                <a:gd name="connsiteY79" fmla="*/ 930 h 10000"/>
                <a:gd name="connsiteX80" fmla="*/ 7184 w 10000"/>
                <a:gd name="connsiteY80" fmla="*/ 891 h 10000"/>
                <a:gd name="connsiteX81" fmla="*/ 7173 w 10000"/>
                <a:gd name="connsiteY81" fmla="*/ 891 h 10000"/>
                <a:gd name="connsiteX82" fmla="*/ 7173 w 10000"/>
                <a:gd name="connsiteY82" fmla="*/ 872 h 10000"/>
                <a:gd name="connsiteX83" fmla="*/ 7099 w 10000"/>
                <a:gd name="connsiteY83" fmla="*/ 620 h 10000"/>
                <a:gd name="connsiteX84" fmla="*/ 7088 w 10000"/>
                <a:gd name="connsiteY84" fmla="*/ 601 h 10000"/>
                <a:gd name="connsiteX85" fmla="*/ 7088 w 10000"/>
                <a:gd name="connsiteY85" fmla="*/ 601 h 10000"/>
                <a:gd name="connsiteX86" fmla="*/ 7088 w 10000"/>
                <a:gd name="connsiteY86" fmla="*/ 465 h 10000"/>
                <a:gd name="connsiteX87" fmla="*/ 7088 w 10000"/>
                <a:gd name="connsiteY87" fmla="*/ 426 h 10000"/>
                <a:gd name="connsiteX88" fmla="*/ 7099 w 10000"/>
                <a:gd name="connsiteY88" fmla="*/ 407 h 10000"/>
                <a:gd name="connsiteX89" fmla="*/ 7194 w 10000"/>
                <a:gd name="connsiteY89" fmla="*/ 310 h 10000"/>
                <a:gd name="connsiteX90" fmla="*/ 7109 w 10000"/>
                <a:gd name="connsiteY90" fmla="*/ 136 h 10000"/>
                <a:gd name="connsiteX91" fmla="*/ 7035 w 10000"/>
                <a:gd name="connsiteY91" fmla="*/ 0 h 10000"/>
                <a:gd name="connsiteX92" fmla="*/ 6939 w 10000"/>
                <a:gd name="connsiteY92" fmla="*/ 116 h 10000"/>
                <a:gd name="connsiteX93" fmla="*/ 6939 w 10000"/>
                <a:gd name="connsiteY93" fmla="*/ 116 h 10000"/>
                <a:gd name="connsiteX94" fmla="*/ 6939 w 10000"/>
                <a:gd name="connsiteY94" fmla="*/ 116 h 10000"/>
                <a:gd name="connsiteX95" fmla="*/ 6812 w 10000"/>
                <a:gd name="connsiteY95" fmla="*/ 155 h 10000"/>
                <a:gd name="connsiteX96" fmla="*/ 6674 w 10000"/>
                <a:gd name="connsiteY96" fmla="*/ 291 h 10000"/>
                <a:gd name="connsiteX97" fmla="*/ 6599 w 10000"/>
                <a:gd name="connsiteY97" fmla="*/ 523 h 10000"/>
                <a:gd name="connsiteX98" fmla="*/ 6599 w 10000"/>
                <a:gd name="connsiteY98" fmla="*/ 543 h 10000"/>
                <a:gd name="connsiteX99" fmla="*/ 6589 w 10000"/>
                <a:gd name="connsiteY99" fmla="*/ 543 h 10000"/>
                <a:gd name="connsiteX100" fmla="*/ 6397 w 10000"/>
                <a:gd name="connsiteY100" fmla="*/ 581 h 10000"/>
                <a:gd name="connsiteX101" fmla="*/ 6334 w 10000"/>
                <a:gd name="connsiteY101" fmla="*/ 891 h 10000"/>
                <a:gd name="connsiteX102" fmla="*/ 6334 w 10000"/>
                <a:gd name="connsiteY102" fmla="*/ 911 h 10000"/>
                <a:gd name="connsiteX103" fmla="*/ 6334 w 10000"/>
                <a:gd name="connsiteY103" fmla="*/ 911 h 10000"/>
                <a:gd name="connsiteX104" fmla="*/ 6142 w 10000"/>
                <a:gd name="connsiteY104" fmla="*/ 1124 h 10000"/>
                <a:gd name="connsiteX105" fmla="*/ 6015 w 10000"/>
                <a:gd name="connsiteY105" fmla="*/ 1453 h 10000"/>
                <a:gd name="connsiteX106" fmla="*/ 6004 w 10000"/>
                <a:gd name="connsiteY106" fmla="*/ 1473 h 10000"/>
                <a:gd name="connsiteX107" fmla="*/ 5994 w 10000"/>
                <a:gd name="connsiteY107" fmla="*/ 1453 h 10000"/>
                <a:gd name="connsiteX108" fmla="*/ 5802 w 10000"/>
                <a:gd name="connsiteY108" fmla="*/ 1434 h 10000"/>
                <a:gd name="connsiteX109" fmla="*/ 5781 w 10000"/>
                <a:gd name="connsiteY109" fmla="*/ 1415 h 10000"/>
                <a:gd name="connsiteX110" fmla="*/ 5781 w 10000"/>
                <a:gd name="connsiteY110" fmla="*/ 1395 h 10000"/>
                <a:gd name="connsiteX111" fmla="*/ 5760 w 10000"/>
                <a:gd name="connsiteY111" fmla="*/ 930 h 10000"/>
                <a:gd name="connsiteX112" fmla="*/ 5654 w 10000"/>
                <a:gd name="connsiteY112" fmla="*/ 872 h 10000"/>
                <a:gd name="connsiteX113" fmla="*/ 5377 w 10000"/>
                <a:gd name="connsiteY113" fmla="*/ 1240 h 10000"/>
                <a:gd name="connsiteX114" fmla="*/ 5165 w 10000"/>
                <a:gd name="connsiteY114" fmla="*/ 1570 h 10000"/>
                <a:gd name="connsiteX115" fmla="*/ 5165 w 10000"/>
                <a:gd name="connsiteY115" fmla="*/ 1899 h 10000"/>
                <a:gd name="connsiteX116" fmla="*/ 5165 w 10000"/>
                <a:gd name="connsiteY116" fmla="*/ 1919 h 10000"/>
                <a:gd name="connsiteX117" fmla="*/ 5154 w 10000"/>
                <a:gd name="connsiteY117" fmla="*/ 1919 h 10000"/>
                <a:gd name="connsiteX118" fmla="*/ 5027 w 10000"/>
                <a:gd name="connsiteY118" fmla="*/ 2112 h 10000"/>
                <a:gd name="connsiteX119" fmla="*/ 5016 w 10000"/>
                <a:gd name="connsiteY119" fmla="*/ 2112 h 10000"/>
                <a:gd name="connsiteX120" fmla="*/ 5005 w 10000"/>
                <a:gd name="connsiteY120" fmla="*/ 2112 h 10000"/>
                <a:gd name="connsiteX121" fmla="*/ 4814 w 10000"/>
                <a:gd name="connsiteY121" fmla="*/ 2112 h 10000"/>
                <a:gd name="connsiteX122" fmla="*/ 4803 w 10000"/>
                <a:gd name="connsiteY122" fmla="*/ 2112 h 10000"/>
                <a:gd name="connsiteX123" fmla="*/ 4803 w 10000"/>
                <a:gd name="connsiteY123" fmla="*/ 2112 h 10000"/>
                <a:gd name="connsiteX124" fmla="*/ 4697 w 10000"/>
                <a:gd name="connsiteY124" fmla="*/ 1957 h 10000"/>
                <a:gd name="connsiteX125" fmla="*/ 4591 w 10000"/>
                <a:gd name="connsiteY125" fmla="*/ 1899 h 10000"/>
                <a:gd name="connsiteX126" fmla="*/ 4591 w 10000"/>
                <a:gd name="connsiteY126" fmla="*/ 1957 h 10000"/>
                <a:gd name="connsiteX127" fmla="*/ 4591 w 10000"/>
                <a:gd name="connsiteY127" fmla="*/ 1996 h 10000"/>
                <a:gd name="connsiteX128" fmla="*/ 4570 w 10000"/>
                <a:gd name="connsiteY128" fmla="*/ 1996 h 10000"/>
                <a:gd name="connsiteX129" fmla="*/ 4453 w 10000"/>
                <a:gd name="connsiteY129" fmla="*/ 1996 h 10000"/>
                <a:gd name="connsiteX130" fmla="*/ 4431 w 10000"/>
                <a:gd name="connsiteY130" fmla="*/ 1996 h 10000"/>
                <a:gd name="connsiteX131" fmla="*/ 4431 w 10000"/>
                <a:gd name="connsiteY131" fmla="*/ 1957 h 10000"/>
                <a:gd name="connsiteX132" fmla="*/ 4378 w 10000"/>
                <a:gd name="connsiteY132" fmla="*/ 1589 h 10000"/>
                <a:gd name="connsiteX133" fmla="*/ 4091 w 10000"/>
                <a:gd name="connsiteY133" fmla="*/ 1512 h 10000"/>
                <a:gd name="connsiteX134" fmla="*/ 4081 w 10000"/>
                <a:gd name="connsiteY134" fmla="*/ 1512 h 10000"/>
                <a:gd name="connsiteX135" fmla="*/ 4070 w 10000"/>
                <a:gd name="connsiteY135" fmla="*/ 1492 h 10000"/>
                <a:gd name="connsiteX136" fmla="*/ 3879 w 10000"/>
                <a:gd name="connsiteY136" fmla="*/ 988 h 10000"/>
                <a:gd name="connsiteX137" fmla="*/ 3719 w 10000"/>
                <a:gd name="connsiteY137" fmla="*/ 988 h 10000"/>
                <a:gd name="connsiteX138" fmla="*/ 3698 w 10000"/>
                <a:gd name="connsiteY138" fmla="*/ 1085 h 10000"/>
                <a:gd name="connsiteX139" fmla="*/ 3698 w 10000"/>
                <a:gd name="connsiteY139" fmla="*/ 1105 h 10000"/>
                <a:gd name="connsiteX140" fmla="*/ 3698 w 10000"/>
                <a:gd name="connsiteY140" fmla="*/ 1105 h 10000"/>
                <a:gd name="connsiteX141" fmla="*/ 3592 w 10000"/>
                <a:gd name="connsiteY141" fmla="*/ 1318 h 10000"/>
                <a:gd name="connsiteX142" fmla="*/ 3592 w 10000"/>
                <a:gd name="connsiteY142" fmla="*/ 1318 h 10000"/>
                <a:gd name="connsiteX143" fmla="*/ 3581 w 10000"/>
                <a:gd name="connsiteY143" fmla="*/ 1318 h 10000"/>
                <a:gd name="connsiteX144" fmla="*/ 3486 w 10000"/>
                <a:gd name="connsiteY144" fmla="*/ 1395 h 10000"/>
                <a:gd name="connsiteX145" fmla="*/ 3486 w 10000"/>
                <a:gd name="connsiteY145" fmla="*/ 1686 h 10000"/>
                <a:gd name="connsiteX146" fmla="*/ 3486 w 10000"/>
                <a:gd name="connsiteY146" fmla="*/ 1725 h 10000"/>
                <a:gd name="connsiteX147" fmla="*/ 3475 w 10000"/>
                <a:gd name="connsiteY147" fmla="*/ 1725 h 10000"/>
                <a:gd name="connsiteX148" fmla="*/ 3369 w 10000"/>
                <a:gd name="connsiteY148" fmla="*/ 1841 h 10000"/>
                <a:gd name="connsiteX149" fmla="*/ 3135 w 10000"/>
                <a:gd name="connsiteY149" fmla="*/ 2171 h 10000"/>
                <a:gd name="connsiteX150" fmla="*/ 2954 w 10000"/>
                <a:gd name="connsiteY150" fmla="*/ 2829 h 10000"/>
                <a:gd name="connsiteX151" fmla="*/ 2954 w 10000"/>
                <a:gd name="connsiteY151" fmla="*/ 2829 h 10000"/>
                <a:gd name="connsiteX152" fmla="*/ 2944 w 10000"/>
                <a:gd name="connsiteY152" fmla="*/ 2829 h 10000"/>
                <a:gd name="connsiteX153" fmla="*/ 2699 w 10000"/>
                <a:gd name="connsiteY153" fmla="*/ 3217 h 10000"/>
                <a:gd name="connsiteX154" fmla="*/ 2487 w 10000"/>
                <a:gd name="connsiteY154" fmla="*/ 3566 h 10000"/>
                <a:gd name="connsiteX155" fmla="*/ 2465 w 10000"/>
                <a:gd name="connsiteY155" fmla="*/ 3934 h 10000"/>
                <a:gd name="connsiteX156" fmla="*/ 2465 w 10000"/>
                <a:gd name="connsiteY156" fmla="*/ 3934 h 10000"/>
                <a:gd name="connsiteX157" fmla="*/ 2465 w 10000"/>
                <a:gd name="connsiteY157" fmla="*/ 3934 h 10000"/>
                <a:gd name="connsiteX158" fmla="*/ 2295 w 10000"/>
                <a:gd name="connsiteY158" fmla="*/ 4205 h 10000"/>
                <a:gd name="connsiteX159" fmla="*/ 2200 w 10000"/>
                <a:gd name="connsiteY159" fmla="*/ 4535 h 10000"/>
                <a:gd name="connsiteX160" fmla="*/ 2189 w 10000"/>
                <a:gd name="connsiteY160" fmla="*/ 4554 h 10000"/>
                <a:gd name="connsiteX161" fmla="*/ 2179 w 10000"/>
                <a:gd name="connsiteY161" fmla="*/ 4554 h 10000"/>
                <a:gd name="connsiteX162" fmla="*/ 2051 w 10000"/>
                <a:gd name="connsiteY162" fmla="*/ 4535 h 10000"/>
                <a:gd name="connsiteX163" fmla="*/ 1913 w 10000"/>
                <a:gd name="connsiteY163" fmla="*/ 4767 h 10000"/>
                <a:gd name="connsiteX164" fmla="*/ 1913 w 10000"/>
                <a:gd name="connsiteY164" fmla="*/ 4787 h 10000"/>
                <a:gd name="connsiteX165" fmla="*/ 1902 w 10000"/>
                <a:gd name="connsiteY165" fmla="*/ 4787 h 10000"/>
                <a:gd name="connsiteX166" fmla="*/ 1498 w 10000"/>
                <a:gd name="connsiteY166" fmla="*/ 4671 h 10000"/>
                <a:gd name="connsiteX167" fmla="*/ 1488 w 10000"/>
                <a:gd name="connsiteY167" fmla="*/ 4671 h 10000"/>
                <a:gd name="connsiteX168" fmla="*/ 1488 w 10000"/>
                <a:gd name="connsiteY168" fmla="*/ 4651 h 10000"/>
                <a:gd name="connsiteX169" fmla="*/ 1424 w 10000"/>
                <a:gd name="connsiteY169" fmla="*/ 4516 h 10000"/>
                <a:gd name="connsiteX170" fmla="*/ 1350 w 10000"/>
                <a:gd name="connsiteY170" fmla="*/ 4516 h 10000"/>
                <a:gd name="connsiteX171" fmla="*/ 1296 w 10000"/>
                <a:gd name="connsiteY171" fmla="*/ 4690 h 10000"/>
                <a:gd name="connsiteX172" fmla="*/ 1286 w 10000"/>
                <a:gd name="connsiteY172" fmla="*/ 4922 h 10000"/>
                <a:gd name="connsiteX173" fmla="*/ 1286 w 10000"/>
                <a:gd name="connsiteY173" fmla="*/ 4942 h 10000"/>
                <a:gd name="connsiteX174" fmla="*/ 1275 w 10000"/>
                <a:gd name="connsiteY174" fmla="*/ 4961 h 10000"/>
                <a:gd name="connsiteX175" fmla="*/ 1190 w 10000"/>
                <a:gd name="connsiteY175" fmla="*/ 5058 h 10000"/>
                <a:gd name="connsiteX176" fmla="*/ 1137 w 10000"/>
                <a:gd name="connsiteY176" fmla="*/ 5271 h 10000"/>
                <a:gd name="connsiteX177" fmla="*/ 1137 w 10000"/>
                <a:gd name="connsiteY177" fmla="*/ 5291 h 10000"/>
                <a:gd name="connsiteX178" fmla="*/ 1126 w 10000"/>
                <a:gd name="connsiteY178" fmla="*/ 5291 h 10000"/>
                <a:gd name="connsiteX179" fmla="*/ 1020 w 10000"/>
                <a:gd name="connsiteY179" fmla="*/ 5407 h 10000"/>
                <a:gd name="connsiteX180" fmla="*/ 999 w 10000"/>
                <a:gd name="connsiteY180" fmla="*/ 5581 h 10000"/>
                <a:gd name="connsiteX181" fmla="*/ 978 w 10000"/>
                <a:gd name="connsiteY181" fmla="*/ 5756 h 10000"/>
                <a:gd name="connsiteX182" fmla="*/ 978 w 10000"/>
                <a:gd name="connsiteY182" fmla="*/ 5775 h 10000"/>
                <a:gd name="connsiteX183" fmla="*/ 967 w 10000"/>
                <a:gd name="connsiteY183" fmla="*/ 5775 h 10000"/>
                <a:gd name="connsiteX184" fmla="*/ 861 w 10000"/>
                <a:gd name="connsiteY184" fmla="*/ 5814 h 10000"/>
                <a:gd name="connsiteX185" fmla="*/ 861 w 10000"/>
                <a:gd name="connsiteY185" fmla="*/ 6047 h 10000"/>
                <a:gd name="connsiteX186" fmla="*/ 967 w 10000"/>
                <a:gd name="connsiteY186" fmla="*/ 6298 h 10000"/>
                <a:gd name="connsiteX187" fmla="*/ 967 w 10000"/>
                <a:gd name="connsiteY187" fmla="*/ 6298 h 10000"/>
                <a:gd name="connsiteX188" fmla="*/ 978 w 10000"/>
                <a:gd name="connsiteY188" fmla="*/ 6318 h 10000"/>
                <a:gd name="connsiteX189" fmla="*/ 988 w 10000"/>
                <a:gd name="connsiteY189" fmla="*/ 6512 h 10000"/>
                <a:gd name="connsiteX190" fmla="*/ 988 w 10000"/>
                <a:gd name="connsiteY190" fmla="*/ 6531 h 10000"/>
                <a:gd name="connsiteX191" fmla="*/ 978 w 10000"/>
                <a:gd name="connsiteY191" fmla="*/ 6550 h 10000"/>
                <a:gd name="connsiteX192" fmla="*/ 627 w 10000"/>
                <a:gd name="connsiteY192" fmla="*/ 7016 h 10000"/>
                <a:gd name="connsiteX193" fmla="*/ 521 w 10000"/>
                <a:gd name="connsiteY193" fmla="*/ 7151 h 10000"/>
                <a:gd name="connsiteX194" fmla="*/ 340 w 10000"/>
                <a:gd name="connsiteY194" fmla="*/ 7384 h 10000"/>
                <a:gd name="connsiteX195" fmla="*/ 340 w 10000"/>
                <a:gd name="connsiteY195" fmla="*/ 7403 h 10000"/>
                <a:gd name="connsiteX196" fmla="*/ 340 w 10000"/>
                <a:gd name="connsiteY196" fmla="*/ 7403 h 10000"/>
                <a:gd name="connsiteX197" fmla="*/ 191 w 10000"/>
                <a:gd name="connsiteY197" fmla="*/ 7519 h 10000"/>
                <a:gd name="connsiteX198" fmla="*/ 0 w 10000"/>
                <a:gd name="connsiteY198" fmla="*/ 7791 h 10000"/>
                <a:gd name="connsiteX199" fmla="*/ 11 w 10000"/>
                <a:gd name="connsiteY199" fmla="*/ 7829 h 10000"/>
                <a:gd name="connsiteX200" fmla="*/ 149 w 10000"/>
                <a:gd name="connsiteY200" fmla="*/ 7868 h 10000"/>
                <a:gd name="connsiteX201" fmla="*/ 159 w 10000"/>
                <a:gd name="connsiteY201" fmla="*/ 7868 h 10000"/>
                <a:gd name="connsiteX202" fmla="*/ 159 w 10000"/>
                <a:gd name="connsiteY202" fmla="*/ 7868 h 10000"/>
                <a:gd name="connsiteX203" fmla="*/ 372 w 10000"/>
                <a:gd name="connsiteY203" fmla="*/ 8256 h 10000"/>
                <a:gd name="connsiteX204" fmla="*/ 1467 w 10000"/>
                <a:gd name="connsiteY204" fmla="*/ 9205 h 10000"/>
                <a:gd name="connsiteX205" fmla="*/ 1467 w 10000"/>
                <a:gd name="connsiteY205" fmla="*/ 9205 h 10000"/>
                <a:gd name="connsiteX206" fmla="*/ 1477 w 10000"/>
                <a:gd name="connsiteY206" fmla="*/ 9205 h 10000"/>
                <a:gd name="connsiteX207" fmla="*/ 1838 w 10000"/>
                <a:gd name="connsiteY207" fmla="*/ 9729 h 10000"/>
                <a:gd name="connsiteX208" fmla="*/ 2508 w 10000"/>
                <a:gd name="connsiteY208" fmla="*/ 9767 h 10000"/>
                <a:gd name="connsiteX209" fmla="*/ 2561 w 10000"/>
                <a:gd name="connsiteY209" fmla="*/ 9671 h 10000"/>
                <a:gd name="connsiteX210" fmla="*/ 2561 w 10000"/>
                <a:gd name="connsiteY210" fmla="*/ 9671 h 10000"/>
                <a:gd name="connsiteX211" fmla="*/ 2582 w 10000"/>
                <a:gd name="connsiteY211" fmla="*/ 9671 h 10000"/>
                <a:gd name="connsiteX212" fmla="*/ 2848 w 10000"/>
                <a:gd name="connsiteY212" fmla="*/ 9651 h 10000"/>
                <a:gd name="connsiteX213" fmla="*/ 2859 w 10000"/>
                <a:gd name="connsiteY213" fmla="*/ 9651 h 10000"/>
                <a:gd name="connsiteX214" fmla="*/ 2869 w 10000"/>
                <a:gd name="connsiteY214" fmla="*/ 9671 h 10000"/>
                <a:gd name="connsiteX215" fmla="*/ 3061 w 10000"/>
                <a:gd name="connsiteY215" fmla="*/ 10000 h 10000"/>
                <a:gd name="connsiteX216" fmla="*/ 3061 w 10000"/>
                <a:gd name="connsiteY216" fmla="*/ 10000 h 10000"/>
                <a:gd name="connsiteX217" fmla="*/ 4336 w 10000"/>
                <a:gd name="connsiteY217" fmla="*/ 9961 h 10000"/>
                <a:gd name="connsiteX218" fmla="*/ 4357 w 10000"/>
                <a:gd name="connsiteY218" fmla="*/ 9961 h 10000"/>
                <a:gd name="connsiteX219" fmla="*/ 4357 w 10000"/>
                <a:gd name="connsiteY219" fmla="*/ 9981 h 10000"/>
                <a:gd name="connsiteX220" fmla="*/ 4527 w 10000"/>
                <a:gd name="connsiteY220" fmla="*/ 9864 h 10000"/>
                <a:gd name="connsiteX221" fmla="*/ 4538 w 10000"/>
                <a:gd name="connsiteY221" fmla="*/ 9864 h 10000"/>
                <a:gd name="connsiteX222" fmla="*/ 4538 w 10000"/>
                <a:gd name="connsiteY222" fmla="*/ 9864 h 10000"/>
                <a:gd name="connsiteX223" fmla="*/ 5250 w 10000"/>
                <a:gd name="connsiteY223" fmla="*/ 9845 h 10000"/>
                <a:gd name="connsiteX224" fmla="*/ 7354 w 10000"/>
                <a:gd name="connsiteY224" fmla="*/ 9845 h 10000"/>
                <a:gd name="connsiteX225" fmla="*/ 7343 w 10000"/>
                <a:gd name="connsiteY225" fmla="*/ 9826 h 10000"/>
                <a:gd name="connsiteX226" fmla="*/ 7439 w 10000"/>
                <a:gd name="connsiteY226" fmla="*/ 9612 h 10000"/>
                <a:gd name="connsiteX227" fmla="*/ 7513 w 10000"/>
                <a:gd name="connsiteY227" fmla="*/ 9516 h 10000"/>
                <a:gd name="connsiteX228" fmla="*/ 7428 w 10000"/>
                <a:gd name="connsiteY228" fmla="*/ 9283 h 10000"/>
                <a:gd name="connsiteX229" fmla="*/ 7450 w 10000"/>
                <a:gd name="connsiteY229" fmla="*/ 9109 h 10000"/>
                <a:gd name="connsiteX230" fmla="*/ 7683 w 10000"/>
                <a:gd name="connsiteY230" fmla="*/ 8992 h 10000"/>
                <a:gd name="connsiteX231" fmla="*/ 7683 w 10000"/>
                <a:gd name="connsiteY231" fmla="*/ 8798 h 10000"/>
                <a:gd name="connsiteX232" fmla="*/ 7779 w 10000"/>
                <a:gd name="connsiteY232" fmla="*/ 8682 h 10000"/>
                <a:gd name="connsiteX233" fmla="*/ 7949 w 10000"/>
                <a:gd name="connsiteY233" fmla="*/ 8372 h 10000"/>
                <a:gd name="connsiteX234" fmla="*/ 8013 w 10000"/>
                <a:gd name="connsiteY234" fmla="*/ 8023 h 10000"/>
                <a:gd name="connsiteX235" fmla="*/ 8098 w 10000"/>
                <a:gd name="connsiteY235" fmla="*/ 7907 h 10000"/>
                <a:gd name="connsiteX236" fmla="*/ 8204 w 10000"/>
                <a:gd name="connsiteY236" fmla="*/ 7907 h 10000"/>
                <a:gd name="connsiteX237" fmla="*/ 8363 w 10000"/>
                <a:gd name="connsiteY237" fmla="*/ 7829 h 10000"/>
                <a:gd name="connsiteX238" fmla="*/ 8576 w 10000"/>
                <a:gd name="connsiteY238" fmla="*/ 7907 h 10000"/>
                <a:gd name="connsiteX239" fmla="*/ 8661 w 10000"/>
                <a:gd name="connsiteY239" fmla="*/ 8004 h 10000"/>
                <a:gd name="connsiteX240" fmla="*/ 8704 w 10000"/>
                <a:gd name="connsiteY240" fmla="*/ 7829 h 10000"/>
                <a:gd name="connsiteX241" fmla="*/ 8831 w 10000"/>
                <a:gd name="connsiteY241" fmla="*/ 7733 h 10000"/>
                <a:gd name="connsiteX242" fmla="*/ 8980 w 10000"/>
                <a:gd name="connsiteY242" fmla="*/ 7713 h 10000"/>
                <a:gd name="connsiteX243" fmla="*/ 9097 w 10000"/>
                <a:gd name="connsiteY243" fmla="*/ 7674 h 10000"/>
                <a:gd name="connsiteX244" fmla="*/ 9235 w 10000"/>
                <a:gd name="connsiteY244" fmla="*/ 7791 h 10000"/>
                <a:gd name="connsiteX245" fmla="*/ 9341 w 10000"/>
                <a:gd name="connsiteY245" fmla="*/ 7907 h 10000"/>
                <a:gd name="connsiteX246" fmla="*/ 9458 w 10000"/>
                <a:gd name="connsiteY246" fmla="*/ 7733 h 10000"/>
                <a:gd name="connsiteX247" fmla="*/ 9575 w 10000"/>
                <a:gd name="connsiteY247" fmla="*/ 7829 h 10000"/>
                <a:gd name="connsiteX248" fmla="*/ 9702 w 10000"/>
                <a:gd name="connsiteY248" fmla="*/ 7829 h 10000"/>
                <a:gd name="connsiteX249" fmla="*/ 9809 w 10000"/>
                <a:gd name="connsiteY249" fmla="*/ 7907 h 10000"/>
                <a:gd name="connsiteX250" fmla="*/ 9968 w 10000"/>
                <a:gd name="connsiteY250" fmla="*/ 7829 h 10000"/>
                <a:gd name="connsiteX251" fmla="*/ 10000 w 10000"/>
                <a:gd name="connsiteY251" fmla="*/ 7810 h 10000"/>
                <a:gd name="connsiteX252" fmla="*/ 9979 w 10000"/>
                <a:gd name="connsiteY252" fmla="*/ 7810 h 10000"/>
                <a:gd name="connsiteX253" fmla="*/ 9968 w 10000"/>
                <a:gd name="connsiteY253" fmla="*/ 7636 h 10000"/>
                <a:gd name="connsiteX254" fmla="*/ 9968 w 10000"/>
                <a:gd name="connsiteY254" fmla="*/ 7190 h 10000"/>
                <a:gd name="connsiteX255" fmla="*/ 9926 w 10000"/>
                <a:gd name="connsiteY255" fmla="*/ 7132 h 10000"/>
                <a:gd name="connsiteX256" fmla="*/ 9915 w 10000"/>
                <a:gd name="connsiteY256" fmla="*/ 7112 h 10000"/>
                <a:gd name="connsiteX257" fmla="*/ 9968 w 10000"/>
                <a:gd name="connsiteY257" fmla="*/ 6822 h 10000"/>
                <a:gd name="connsiteX258" fmla="*/ 9979 w 10000"/>
                <a:gd name="connsiteY258" fmla="*/ 6802 h 10000"/>
                <a:gd name="connsiteX259" fmla="*/ 9979 w 10000"/>
                <a:gd name="connsiteY259" fmla="*/ 6802 h 10000"/>
                <a:gd name="connsiteX260" fmla="*/ 9947 w 10000"/>
                <a:gd name="connsiteY260" fmla="*/ 6764 h 10000"/>
                <a:gd name="connsiteX0" fmla="*/ 9947 w 10000"/>
                <a:gd name="connsiteY0" fmla="*/ 6764 h 10000"/>
                <a:gd name="connsiteX1" fmla="*/ 9816 w 10000"/>
                <a:gd name="connsiteY1" fmla="*/ 6660 h 10000"/>
                <a:gd name="connsiteX2" fmla="*/ 9766 w 10000"/>
                <a:gd name="connsiteY2" fmla="*/ 6938 h 10000"/>
                <a:gd name="connsiteX3" fmla="*/ 9665 w 10000"/>
                <a:gd name="connsiteY3" fmla="*/ 6915 h 10000"/>
                <a:gd name="connsiteX4" fmla="*/ 9458 w 10000"/>
                <a:gd name="connsiteY4" fmla="*/ 6880 h 10000"/>
                <a:gd name="connsiteX5" fmla="*/ 9447 w 10000"/>
                <a:gd name="connsiteY5" fmla="*/ 6860 h 10000"/>
                <a:gd name="connsiteX6" fmla="*/ 9447 w 10000"/>
                <a:gd name="connsiteY6" fmla="*/ 6841 h 10000"/>
                <a:gd name="connsiteX7" fmla="*/ 9447 w 10000"/>
                <a:gd name="connsiteY7" fmla="*/ 6550 h 10000"/>
                <a:gd name="connsiteX8" fmla="*/ 9447 w 10000"/>
                <a:gd name="connsiteY8" fmla="*/ 6531 h 10000"/>
                <a:gd name="connsiteX9" fmla="*/ 9458 w 10000"/>
                <a:gd name="connsiteY9" fmla="*/ 6531 h 10000"/>
                <a:gd name="connsiteX10" fmla="*/ 9554 w 10000"/>
                <a:gd name="connsiteY10" fmla="*/ 6453 h 10000"/>
                <a:gd name="connsiteX11" fmla="*/ 9564 w 10000"/>
                <a:gd name="connsiteY11" fmla="*/ 5601 h 10000"/>
                <a:gd name="connsiteX12" fmla="*/ 9564 w 10000"/>
                <a:gd name="connsiteY12" fmla="*/ 5581 h 10000"/>
                <a:gd name="connsiteX13" fmla="*/ 9564 w 10000"/>
                <a:gd name="connsiteY13" fmla="*/ 5562 h 10000"/>
                <a:gd name="connsiteX14" fmla="*/ 9649 w 10000"/>
                <a:gd name="connsiteY14" fmla="*/ 5388 h 10000"/>
                <a:gd name="connsiteX15" fmla="*/ 9702 w 10000"/>
                <a:gd name="connsiteY15" fmla="*/ 5291 h 10000"/>
                <a:gd name="connsiteX16" fmla="*/ 9554 w 10000"/>
                <a:gd name="connsiteY16" fmla="*/ 5058 h 10000"/>
                <a:gd name="connsiteX17" fmla="*/ 9554 w 10000"/>
                <a:gd name="connsiteY17" fmla="*/ 5058 h 10000"/>
                <a:gd name="connsiteX18" fmla="*/ 9543 w 10000"/>
                <a:gd name="connsiteY18" fmla="*/ 5058 h 10000"/>
                <a:gd name="connsiteX19" fmla="*/ 9394 w 10000"/>
                <a:gd name="connsiteY19" fmla="*/ 4709 h 10000"/>
                <a:gd name="connsiteX20" fmla="*/ 9394 w 10000"/>
                <a:gd name="connsiteY20" fmla="*/ 4690 h 10000"/>
                <a:gd name="connsiteX21" fmla="*/ 9394 w 10000"/>
                <a:gd name="connsiteY21" fmla="*/ 4690 h 10000"/>
                <a:gd name="connsiteX22" fmla="*/ 9456 w 10000"/>
                <a:gd name="connsiteY22" fmla="*/ 4520 h 10000"/>
                <a:gd name="connsiteX23" fmla="*/ 9490 w 10000"/>
                <a:gd name="connsiteY23" fmla="*/ 4360 h 10000"/>
                <a:gd name="connsiteX24" fmla="*/ 9564 w 10000"/>
                <a:gd name="connsiteY24" fmla="*/ 4244 h 10000"/>
                <a:gd name="connsiteX25" fmla="*/ 9628 w 10000"/>
                <a:gd name="connsiteY25" fmla="*/ 4012 h 10000"/>
                <a:gd name="connsiteX26" fmla="*/ 9490 w 10000"/>
                <a:gd name="connsiteY26" fmla="*/ 3760 h 10000"/>
                <a:gd name="connsiteX27" fmla="*/ 9490 w 10000"/>
                <a:gd name="connsiteY27" fmla="*/ 3760 h 10000"/>
                <a:gd name="connsiteX28" fmla="*/ 9479 w 10000"/>
                <a:gd name="connsiteY28" fmla="*/ 3760 h 10000"/>
                <a:gd name="connsiteX29" fmla="*/ 9426 w 10000"/>
                <a:gd name="connsiteY29" fmla="*/ 3527 h 10000"/>
                <a:gd name="connsiteX30" fmla="*/ 9426 w 10000"/>
                <a:gd name="connsiteY30" fmla="*/ 3527 h 10000"/>
                <a:gd name="connsiteX31" fmla="*/ 9426 w 10000"/>
                <a:gd name="connsiteY31" fmla="*/ 3508 h 10000"/>
                <a:gd name="connsiteX32" fmla="*/ 9416 w 10000"/>
                <a:gd name="connsiteY32" fmla="*/ 3198 h 10000"/>
                <a:gd name="connsiteX33" fmla="*/ 9416 w 10000"/>
                <a:gd name="connsiteY33" fmla="*/ 3198 h 10000"/>
                <a:gd name="connsiteX34" fmla="*/ 9416 w 10000"/>
                <a:gd name="connsiteY34" fmla="*/ 3178 h 10000"/>
                <a:gd name="connsiteX35" fmla="*/ 9532 w 10000"/>
                <a:gd name="connsiteY35" fmla="*/ 2907 h 10000"/>
                <a:gd name="connsiteX36" fmla="*/ 9384 w 10000"/>
                <a:gd name="connsiteY36" fmla="*/ 2616 h 10000"/>
                <a:gd name="connsiteX37" fmla="*/ 9384 w 10000"/>
                <a:gd name="connsiteY37" fmla="*/ 2616 h 10000"/>
                <a:gd name="connsiteX38" fmla="*/ 9384 w 10000"/>
                <a:gd name="connsiteY38" fmla="*/ 2616 h 10000"/>
                <a:gd name="connsiteX39" fmla="*/ 9330 w 10000"/>
                <a:gd name="connsiteY39" fmla="*/ 2267 h 10000"/>
                <a:gd name="connsiteX40" fmla="*/ 9330 w 10000"/>
                <a:gd name="connsiteY40" fmla="*/ 2248 h 10000"/>
                <a:gd name="connsiteX41" fmla="*/ 9330 w 10000"/>
                <a:gd name="connsiteY41" fmla="*/ 2248 h 10000"/>
                <a:gd name="connsiteX42" fmla="*/ 9341 w 10000"/>
                <a:gd name="connsiteY42" fmla="*/ 1841 h 10000"/>
                <a:gd name="connsiteX43" fmla="*/ 9341 w 10000"/>
                <a:gd name="connsiteY43" fmla="*/ 1822 h 10000"/>
                <a:gd name="connsiteX44" fmla="*/ 9341 w 10000"/>
                <a:gd name="connsiteY44" fmla="*/ 1822 h 10000"/>
                <a:gd name="connsiteX45" fmla="*/ 9660 w 10000"/>
                <a:gd name="connsiteY45" fmla="*/ 1279 h 10000"/>
                <a:gd name="connsiteX46" fmla="*/ 9564 w 10000"/>
                <a:gd name="connsiteY46" fmla="*/ 1008 h 10000"/>
                <a:gd name="connsiteX47" fmla="*/ 9554 w 10000"/>
                <a:gd name="connsiteY47" fmla="*/ 1008 h 10000"/>
                <a:gd name="connsiteX48" fmla="*/ 9554 w 10000"/>
                <a:gd name="connsiteY48" fmla="*/ 988 h 10000"/>
                <a:gd name="connsiteX49" fmla="*/ 9586 w 10000"/>
                <a:gd name="connsiteY49" fmla="*/ 698 h 10000"/>
                <a:gd name="connsiteX50" fmla="*/ 9501 w 10000"/>
                <a:gd name="connsiteY50" fmla="*/ 601 h 10000"/>
                <a:gd name="connsiteX51" fmla="*/ 9288 w 10000"/>
                <a:gd name="connsiteY51" fmla="*/ 581 h 10000"/>
                <a:gd name="connsiteX52" fmla="*/ 9288 w 10000"/>
                <a:gd name="connsiteY52" fmla="*/ 581 h 10000"/>
                <a:gd name="connsiteX53" fmla="*/ 9277 w 10000"/>
                <a:gd name="connsiteY53" fmla="*/ 581 h 10000"/>
                <a:gd name="connsiteX54" fmla="*/ 9224 w 10000"/>
                <a:gd name="connsiteY54" fmla="*/ 484 h 10000"/>
                <a:gd name="connsiteX55" fmla="*/ 9086 w 10000"/>
                <a:gd name="connsiteY55" fmla="*/ 484 h 10000"/>
                <a:gd name="connsiteX56" fmla="*/ 8948 w 10000"/>
                <a:gd name="connsiteY56" fmla="*/ 1124 h 10000"/>
                <a:gd name="connsiteX57" fmla="*/ 8927 w 10000"/>
                <a:gd name="connsiteY57" fmla="*/ 1124 h 10000"/>
                <a:gd name="connsiteX58" fmla="*/ 8927 w 10000"/>
                <a:gd name="connsiteY58" fmla="*/ 1143 h 10000"/>
                <a:gd name="connsiteX59" fmla="*/ 8650 w 10000"/>
                <a:gd name="connsiteY59" fmla="*/ 1415 h 10000"/>
                <a:gd name="connsiteX60" fmla="*/ 8640 w 10000"/>
                <a:gd name="connsiteY60" fmla="*/ 1434 h 10000"/>
                <a:gd name="connsiteX61" fmla="*/ 8640 w 10000"/>
                <a:gd name="connsiteY61" fmla="*/ 1434 h 10000"/>
                <a:gd name="connsiteX62" fmla="*/ 8470 w 10000"/>
                <a:gd name="connsiteY62" fmla="*/ 1395 h 10000"/>
                <a:gd name="connsiteX63" fmla="*/ 8321 w 10000"/>
                <a:gd name="connsiteY63" fmla="*/ 1531 h 10000"/>
                <a:gd name="connsiteX64" fmla="*/ 8321 w 10000"/>
                <a:gd name="connsiteY64" fmla="*/ 1531 h 10000"/>
                <a:gd name="connsiteX65" fmla="*/ 8321 w 10000"/>
                <a:gd name="connsiteY65" fmla="*/ 1531 h 10000"/>
                <a:gd name="connsiteX66" fmla="*/ 8172 w 10000"/>
                <a:gd name="connsiteY66" fmla="*/ 1589 h 10000"/>
                <a:gd name="connsiteX67" fmla="*/ 8023 w 10000"/>
                <a:gd name="connsiteY67" fmla="*/ 1957 h 10000"/>
                <a:gd name="connsiteX68" fmla="*/ 8013 w 10000"/>
                <a:gd name="connsiteY68" fmla="*/ 1977 h 10000"/>
                <a:gd name="connsiteX69" fmla="*/ 7991 w 10000"/>
                <a:gd name="connsiteY69" fmla="*/ 1977 h 10000"/>
                <a:gd name="connsiteX70" fmla="*/ 7864 w 10000"/>
                <a:gd name="connsiteY70" fmla="*/ 1899 h 10000"/>
                <a:gd name="connsiteX71" fmla="*/ 7843 w 10000"/>
                <a:gd name="connsiteY71" fmla="*/ 1899 h 10000"/>
                <a:gd name="connsiteX72" fmla="*/ 7853 w 10000"/>
                <a:gd name="connsiteY72" fmla="*/ 1841 h 10000"/>
                <a:gd name="connsiteX73" fmla="*/ 7928 w 10000"/>
                <a:gd name="connsiteY73" fmla="*/ 1609 h 10000"/>
                <a:gd name="connsiteX74" fmla="*/ 7906 w 10000"/>
                <a:gd name="connsiteY74" fmla="*/ 1279 h 10000"/>
                <a:gd name="connsiteX75" fmla="*/ 7758 w 10000"/>
                <a:gd name="connsiteY75" fmla="*/ 1124 h 10000"/>
                <a:gd name="connsiteX76" fmla="*/ 7651 w 10000"/>
                <a:gd name="connsiteY76" fmla="*/ 1124 h 10000"/>
                <a:gd name="connsiteX77" fmla="*/ 7641 w 10000"/>
                <a:gd name="connsiteY77" fmla="*/ 1124 h 10000"/>
                <a:gd name="connsiteX78" fmla="*/ 7630 w 10000"/>
                <a:gd name="connsiteY78" fmla="*/ 1105 h 10000"/>
                <a:gd name="connsiteX79" fmla="*/ 7556 w 10000"/>
                <a:gd name="connsiteY79" fmla="*/ 930 h 10000"/>
                <a:gd name="connsiteX80" fmla="*/ 7184 w 10000"/>
                <a:gd name="connsiteY80" fmla="*/ 891 h 10000"/>
                <a:gd name="connsiteX81" fmla="*/ 7173 w 10000"/>
                <a:gd name="connsiteY81" fmla="*/ 891 h 10000"/>
                <a:gd name="connsiteX82" fmla="*/ 7173 w 10000"/>
                <a:gd name="connsiteY82" fmla="*/ 872 h 10000"/>
                <a:gd name="connsiteX83" fmla="*/ 7099 w 10000"/>
                <a:gd name="connsiteY83" fmla="*/ 620 h 10000"/>
                <a:gd name="connsiteX84" fmla="*/ 7088 w 10000"/>
                <a:gd name="connsiteY84" fmla="*/ 601 h 10000"/>
                <a:gd name="connsiteX85" fmla="*/ 7088 w 10000"/>
                <a:gd name="connsiteY85" fmla="*/ 601 h 10000"/>
                <a:gd name="connsiteX86" fmla="*/ 7088 w 10000"/>
                <a:gd name="connsiteY86" fmla="*/ 465 h 10000"/>
                <a:gd name="connsiteX87" fmla="*/ 7088 w 10000"/>
                <a:gd name="connsiteY87" fmla="*/ 426 h 10000"/>
                <a:gd name="connsiteX88" fmla="*/ 7099 w 10000"/>
                <a:gd name="connsiteY88" fmla="*/ 407 h 10000"/>
                <a:gd name="connsiteX89" fmla="*/ 7194 w 10000"/>
                <a:gd name="connsiteY89" fmla="*/ 310 h 10000"/>
                <a:gd name="connsiteX90" fmla="*/ 7109 w 10000"/>
                <a:gd name="connsiteY90" fmla="*/ 136 h 10000"/>
                <a:gd name="connsiteX91" fmla="*/ 7035 w 10000"/>
                <a:gd name="connsiteY91" fmla="*/ 0 h 10000"/>
                <a:gd name="connsiteX92" fmla="*/ 6939 w 10000"/>
                <a:gd name="connsiteY92" fmla="*/ 116 h 10000"/>
                <a:gd name="connsiteX93" fmla="*/ 6939 w 10000"/>
                <a:gd name="connsiteY93" fmla="*/ 116 h 10000"/>
                <a:gd name="connsiteX94" fmla="*/ 6939 w 10000"/>
                <a:gd name="connsiteY94" fmla="*/ 116 h 10000"/>
                <a:gd name="connsiteX95" fmla="*/ 6812 w 10000"/>
                <a:gd name="connsiteY95" fmla="*/ 155 h 10000"/>
                <a:gd name="connsiteX96" fmla="*/ 6674 w 10000"/>
                <a:gd name="connsiteY96" fmla="*/ 291 h 10000"/>
                <a:gd name="connsiteX97" fmla="*/ 6599 w 10000"/>
                <a:gd name="connsiteY97" fmla="*/ 523 h 10000"/>
                <a:gd name="connsiteX98" fmla="*/ 6599 w 10000"/>
                <a:gd name="connsiteY98" fmla="*/ 543 h 10000"/>
                <a:gd name="connsiteX99" fmla="*/ 6589 w 10000"/>
                <a:gd name="connsiteY99" fmla="*/ 543 h 10000"/>
                <a:gd name="connsiteX100" fmla="*/ 6397 w 10000"/>
                <a:gd name="connsiteY100" fmla="*/ 581 h 10000"/>
                <a:gd name="connsiteX101" fmla="*/ 6334 w 10000"/>
                <a:gd name="connsiteY101" fmla="*/ 891 h 10000"/>
                <a:gd name="connsiteX102" fmla="*/ 6334 w 10000"/>
                <a:gd name="connsiteY102" fmla="*/ 911 h 10000"/>
                <a:gd name="connsiteX103" fmla="*/ 6334 w 10000"/>
                <a:gd name="connsiteY103" fmla="*/ 911 h 10000"/>
                <a:gd name="connsiteX104" fmla="*/ 6142 w 10000"/>
                <a:gd name="connsiteY104" fmla="*/ 1124 h 10000"/>
                <a:gd name="connsiteX105" fmla="*/ 6015 w 10000"/>
                <a:gd name="connsiteY105" fmla="*/ 1453 h 10000"/>
                <a:gd name="connsiteX106" fmla="*/ 6004 w 10000"/>
                <a:gd name="connsiteY106" fmla="*/ 1473 h 10000"/>
                <a:gd name="connsiteX107" fmla="*/ 5994 w 10000"/>
                <a:gd name="connsiteY107" fmla="*/ 1453 h 10000"/>
                <a:gd name="connsiteX108" fmla="*/ 5802 w 10000"/>
                <a:gd name="connsiteY108" fmla="*/ 1434 h 10000"/>
                <a:gd name="connsiteX109" fmla="*/ 5781 w 10000"/>
                <a:gd name="connsiteY109" fmla="*/ 1415 h 10000"/>
                <a:gd name="connsiteX110" fmla="*/ 5781 w 10000"/>
                <a:gd name="connsiteY110" fmla="*/ 1395 h 10000"/>
                <a:gd name="connsiteX111" fmla="*/ 5760 w 10000"/>
                <a:gd name="connsiteY111" fmla="*/ 930 h 10000"/>
                <a:gd name="connsiteX112" fmla="*/ 5654 w 10000"/>
                <a:gd name="connsiteY112" fmla="*/ 872 h 10000"/>
                <a:gd name="connsiteX113" fmla="*/ 5377 w 10000"/>
                <a:gd name="connsiteY113" fmla="*/ 1240 h 10000"/>
                <a:gd name="connsiteX114" fmla="*/ 5165 w 10000"/>
                <a:gd name="connsiteY114" fmla="*/ 1570 h 10000"/>
                <a:gd name="connsiteX115" fmla="*/ 5165 w 10000"/>
                <a:gd name="connsiteY115" fmla="*/ 1899 h 10000"/>
                <a:gd name="connsiteX116" fmla="*/ 5165 w 10000"/>
                <a:gd name="connsiteY116" fmla="*/ 1919 h 10000"/>
                <a:gd name="connsiteX117" fmla="*/ 5154 w 10000"/>
                <a:gd name="connsiteY117" fmla="*/ 1919 h 10000"/>
                <a:gd name="connsiteX118" fmla="*/ 5027 w 10000"/>
                <a:gd name="connsiteY118" fmla="*/ 2112 h 10000"/>
                <a:gd name="connsiteX119" fmla="*/ 5016 w 10000"/>
                <a:gd name="connsiteY119" fmla="*/ 2112 h 10000"/>
                <a:gd name="connsiteX120" fmla="*/ 5005 w 10000"/>
                <a:gd name="connsiteY120" fmla="*/ 2112 h 10000"/>
                <a:gd name="connsiteX121" fmla="*/ 4814 w 10000"/>
                <a:gd name="connsiteY121" fmla="*/ 2112 h 10000"/>
                <a:gd name="connsiteX122" fmla="*/ 4803 w 10000"/>
                <a:gd name="connsiteY122" fmla="*/ 2112 h 10000"/>
                <a:gd name="connsiteX123" fmla="*/ 4803 w 10000"/>
                <a:gd name="connsiteY123" fmla="*/ 2112 h 10000"/>
                <a:gd name="connsiteX124" fmla="*/ 4697 w 10000"/>
                <a:gd name="connsiteY124" fmla="*/ 1957 h 10000"/>
                <a:gd name="connsiteX125" fmla="*/ 4591 w 10000"/>
                <a:gd name="connsiteY125" fmla="*/ 1899 h 10000"/>
                <a:gd name="connsiteX126" fmla="*/ 4591 w 10000"/>
                <a:gd name="connsiteY126" fmla="*/ 1957 h 10000"/>
                <a:gd name="connsiteX127" fmla="*/ 4591 w 10000"/>
                <a:gd name="connsiteY127" fmla="*/ 1996 h 10000"/>
                <a:gd name="connsiteX128" fmla="*/ 4570 w 10000"/>
                <a:gd name="connsiteY128" fmla="*/ 1996 h 10000"/>
                <a:gd name="connsiteX129" fmla="*/ 4453 w 10000"/>
                <a:gd name="connsiteY129" fmla="*/ 1996 h 10000"/>
                <a:gd name="connsiteX130" fmla="*/ 4431 w 10000"/>
                <a:gd name="connsiteY130" fmla="*/ 1996 h 10000"/>
                <a:gd name="connsiteX131" fmla="*/ 4431 w 10000"/>
                <a:gd name="connsiteY131" fmla="*/ 1957 h 10000"/>
                <a:gd name="connsiteX132" fmla="*/ 4378 w 10000"/>
                <a:gd name="connsiteY132" fmla="*/ 1589 h 10000"/>
                <a:gd name="connsiteX133" fmla="*/ 4091 w 10000"/>
                <a:gd name="connsiteY133" fmla="*/ 1512 h 10000"/>
                <a:gd name="connsiteX134" fmla="*/ 4081 w 10000"/>
                <a:gd name="connsiteY134" fmla="*/ 1512 h 10000"/>
                <a:gd name="connsiteX135" fmla="*/ 4070 w 10000"/>
                <a:gd name="connsiteY135" fmla="*/ 1492 h 10000"/>
                <a:gd name="connsiteX136" fmla="*/ 3879 w 10000"/>
                <a:gd name="connsiteY136" fmla="*/ 988 h 10000"/>
                <a:gd name="connsiteX137" fmla="*/ 3719 w 10000"/>
                <a:gd name="connsiteY137" fmla="*/ 988 h 10000"/>
                <a:gd name="connsiteX138" fmla="*/ 3698 w 10000"/>
                <a:gd name="connsiteY138" fmla="*/ 1085 h 10000"/>
                <a:gd name="connsiteX139" fmla="*/ 3698 w 10000"/>
                <a:gd name="connsiteY139" fmla="*/ 1105 h 10000"/>
                <a:gd name="connsiteX140" fmla="*/ 3698 w 10000"/>
                <a:gd name="connsiteY140" fmla="*/ 1105 h 10000"/>
                <a:gd name="connsiteX141" fmla="*/ 3592 w 10000"/>
                <a:gd name="connsiteY141" fmla="*/ 1318 h 10000"/>
                <a:gd name="connsiteX142" fmla="*/ 3592 w 10000"/>
                <a:gd name="connsiteY142" fmla="*/ 1318 h 10000"/>
                <a:gd name="connsiteX143" fmla="*/ 3581 w 10000"/>
                <a:gd name="connsiteY143" fmla="*/ 1318 h 10000"/>
                <a:gd name="connsiteX144" fmla="*/ 3486 w 10000"/>
                <a:gd name="connsiteY144" fmla="*/ 1395 h 10000"/>
                <a:gd name="connsiteX145" fmla="*/ 3486 w 10000"/>
                <a:gd name="connsiteY145" fmla="*/ 1686 h 10000"/>
                <a:gd name="connsiteX146" fmla="*/ 3486 w 10000"/>
                <a:gd name="connsiteY146" fmla="*/ 1725 h 10000"/>
                <a:gd name="connsiteX147" fmla="*/ 3475 w 10000"/>
                <a:gd name="connsiteY147" fmla="*/ 1725 h 10000"/>
                <a:gd name="connsiteX148" fmla="*/ 3369 w 10000"/>
                <a:gd name="connsiteY148" fmla="*/ 1841 h 10000"/>
                <a:gd name="connsiteX149" fmla="*/ 3135 w 10000"/>
                <a:gd name="connsiteY149" fmla="*/ 2171 h 10000"/>
                <a:gd name="connsiteX150" fmla="*/ 2954 w 10000"/>
                <a:gd name="connsiteY150" fmla="*/ 2829 h 10000"/>
                <a:gd name="connsiteX151" fmla="*/ 2954 w 10000"/>
                <a:gd name="connsiteY151" fmla="*/ 2829 h 10000"/>
                <a:gd name="connsiteX152" fmla="*/ 2944 w 10000"/>
                <a:gd name="connsiteY152" fmla="*/ 2829 h 10000"/>
                <a:gd name="connsiteX153" fmla="*/ 2699 w 10000"/>
                <a:gd name="connsiteY153" fmla="*/ 3217 h 10000"/>
                <a:gd name="connsiteX154" fmla="*/ 2487 w 10000"/>
                <a:gd name="connsiteY154" fmla="*/ 3566 h 10000"/>
                <a:gd name="connsiteX155" fmla="*/ 2465 w 10000"/>
                <a:gd name="connsiteY155" fmla="*/ 3934 h 10000"/>
                <a:gd name="connsiteX156" fmla="*/ 2465 w 10000"/>
                <a:gd name="connsiteY156" fmla="*/ 3934 h 10000"/>
                <a:gd name="connsiteX157" fmla="*/ 2465 w 10000"/>
                <a:gd name="connsiteY157" fmla="*/ 3934 h 10000"/>
                <a:gd name="connsiteX158" fmla="*/ 2295 w 10000"/>
                <a:gd name="connsiteY158" fmla="*/ 4205 h 10000"/>
                <a:gd name="connsiteX159" fmla="*/ 2200 w 10000"/>
                <a:gd name="connsiteY159" fmla="*/ 4535 h 10000"/>
                <a:gd name="connsiteX160" fmla="*/ 2189 w 10000"/>
                <a:gd name="connsiteY160" fmla="*/ 4554 h 10000"/>
                <a:gd name="connsiteX161" fmla="*/ 2179 w 10000"/>
                <a:gd name="connsiteY161" fmla="*/ 4554 h 10000"/>
                <a:gd name="connsiteX162" fmla="*/ 2051 w 10000"/>
                <a:gd name="connsiteY162" fmla="*/ 4535 h 10000"/>
                <a:gd name="connsiteX163" fmla="*/ 1913 w 10000"/>
                <a:gd name="connsiteY163" fmla="*/ 4767 h 10000"/>
                <a:gd name="connsiteX164" fmla="*/ 1913 w 10000"/>
                <a:gd name="connsiteY164" fmla="*/ 4787 h 10000"/>
                <a:gd name="connsiteX165" fmla="*/ 1902 w 10000"/>
                <a:gd name="connsiteY165" fmla="*/ 4787 h 10000"/>
                <a:gd name="connsiteX166" fmla="*/ 1498 w 10000"/>
                <a:gd name="connsiteY166" fmla="*/ 4671 h 10000"/>
                <a:gd name="connsiteX167" fmla="*/ 1488 w 10000"/>
                <a:gd name="connsiteY167" fmla="*/ 4671 h 10000"/>
                <a:gd name="connsiteX168" fmla="*/ 1488 w 10000"/>
                <a:gd name="connsiteY168" fmla="*/ 4651 h 10000"/>
                <a:gd name="connsiteX169" fmla="*/ 1424 w 10000"/>
                <a:gd name="connsiteY169" fmla="*/ 4516 h 10000"/>
                <a:gd name="connsiteX170" fmla="*/ 1350 w 10000"/>
                <a:gd name="connsiteY170" fmla="*/ 4516 h 10000"/>
                <a:gd name="connsiteX171" fmla="*/ 1296 w 10000"/>
                <a:gd name="connsiteY171" fmla="*/ 4690 h 10000"/>
                <a:gd name="connsiteX172" fmla="*/ 1286 w 10000"/>
                <a:gd name="connsiteY172" fmla="*/ 4922 h 10000"/>
                <a:gd name="connsiteX173" fmla="*/ 1286 w 10000"/>
                <a:gd name="connsiteY173" fmla="*/ 4942 h 10000"/>
                <a:gd name="connsiteX174" fmla="*/ 1275 w 10000"/>
                <a:gd name="connsiteY174" fmla="*/ 4961 h 10000"/>
                <a:gd name="connsiteX175" fmla="*/ 1190 w 10000"/>
                <a:gd name="connsiteY175" fmla="*/ 5058 h 10000"/>
                <a:gd name="connsiteX176" fmla="*/ 1137 w 10000"/>
                <a:gd name="connsiteY176" fmla="*/ 5271 h 10000"/>
                <a:gd name="connsiteX177" fmla="*/ 1137 w 10000"/>
                <a:gd name="connsiteY177" fmla="*/ 5291 h 10000"/>
                <a:gd name="connsiteX178" fmla="*/ 1126 w 10000"/>
                <a:gd name="connsiteY178" fmla="*/ 5291 h 10000"/>
                <a:gd name="connsiteX179" fmla="*/ 1020 w 10000"/>
                <a:gd name="connsiteY179" fmla="*/ 5407 h 10000"/>
                <a:gd name="connsiteX180" fmla="*/ 999 w 10000"/>
                <a:gd name="connsiteY180" fmla="*/ 5581 h 10000"/>
                <a:gd name="connsiteX181" fmla="*/ 978 w 10000"/>
                <a:gd name="connsiteY181" fmla="*/ 5756 h 10000"/>
                <a:gd name="connsiteX182" fmla="*/ 978 w 10000"/>
                <a:gd name="connsiteY182" fmla="*/ 5775 h 10000"/>
                <a:gd name="connsiteX183" fmla="*/ 967 w 10000"/>
                <a:gd name="connsiteY183" fmla="*/ 5775 h 10000"/>
                <a:gd name="connsiteX184" fmla="*/ 861 w 10000"/>
                <a:gd name="connsiteY184" fmla="*/ 5814 h 10000"/>
                <a:gd name="connsiteX185" fmla="*/ 861 w 10000"/>
                <a:gd name="connsiteY185" fmla="*/ 6047 h 10000"/>
                <a:gd name="connsiteX186" fmla="*/ 967 w 10000"/>
                <a:gd name="connsiteY186" fmla="*/ 6298 h 10000"/>
                <a:gd name="connsiteX187" fmla="*/ 967 w 10000"/>
                <a:gd name="connsiteY187" fmla="*/ 6298 h 10000"/>
                <a:gd name="connsiteX188" fmla="*/ 978 w 10000"/>
                <a:gd name="connsiteY188" fmla="*/ 6318 h 10000"/>
                <a:gd name="connsiteX189" fmla="*/ 988 w 10000"/>
                <a:gd name="connsiteY189" fmla="*/ 6512 h 10000"/>
                <a:gd name="connsiteX190" fmla="*/ 988 w 10000"/>
                <a:gd name="connsiteY190" fmla="*/ 6531 h 10000"/>
                <a:gd name="connsiteX191" fmla="*/ 978 w 10000"/>
                <a:gd name="connsiteY191" fmla="*/ 6550 h 10000"/>
                <a:gd name="connsiteX192" fmla="*/ 627 w 10000"/>
                <a:gd name="connsiteY192" fmla="*/ 7016 h 10000"/>
                <a:gd name="connsiteX193" fmla="*/ 521 w 10000"/>
                <a:gd name="connsiteY193" fmla="*/ 7151 h 10000"/>
                <a:gd name="connsiteX194" fmla="*/ 340 w 10000"/>
                <a:gd name="connsiteY194" fmla="*/ 7384 h 10000"/>
                <a:gd name="connsiteX195" fmla="*/ 340 w 10000"/>
                <a:gd name="connsiteY195" fmla="*/ 7403 h 10000"/>
                <a:gd name="connsiteX196" fmla="*/ 340 w 10000"/>
                <a:gd name="connsiteY196" fmla="*/ 7403 h 10000"/>
                <a:gd name="connsiteX197" fmla="*/ 191 w 10000"/>
                <a:gd name="connsiteY197" fmla="*/ 7519 h 10000"/>
                <a:gd name="connsiteX198" fmla="*/ 0 w 10000"/>
                <a:gd name="connsiteY198" fmla="*/ 7791 h 10000"/>
                <a:gd name="connsiteX199" fmla="*/ 11 w 10000"/>
                <a:gd name="connsiteY199" fmla="*/ 7829 h 10000"/>
                <a:gd name="connsiteX200" fmla="*/ 149 w 10000"/>
                <a:gd name="connsiteY200" fmla="*/ 7868 h 10000"/>
                <a:gd name="connsiteX201" fmla="*/ 159 w 10000"/>
                <a:gd name="connsiteY201" fmla="*/ 7868 h 10000"/>
                <a:gd name="connsiteX202" fmla="*/ 159 w 10000"/>
                <a:gd name="connsiteY202" fmla="*/ 7868 h 10000"/>
                <a:gd name="connsiteX203" fmla="*/ 372 w 10000"/>
                <a:gd name="connsiteY203" fmla="*/ 8256 h 10000"/>
                <a:gd name="connsiteX204" fmla="*/ 1467 w 10000"/>
                <a:gd name="connsiteY204" fmla="*/ 9205 h 10000"/>
                <a:gd name="connsiteX205" fmla="*/ 1467 w 10000"/>
                <a:gd name="connsiteY205" fmla="*/ 9205 h 10000"/>
                <a:gd name="connsiteX206" fmla="*/ 1477 w 10000"/>
                <a:gd name="connsiteY206" fmla="*/ 9205 h 10000"/>
                <a:gd name="connsiteX207" fmla="*/ 1838 w 10000"/>
                <a:gd name="connsiteY207" fmla="*/ 9729 h 10000"/>
                <a:gd name="connsiteX208" fmla="*/ 2508 w 10000"/>
                <a:gd name="connsiteY208" fmla="*/ 9767 h 10000"/>
                <a:gd name="connsiteX209" fmla="*/ 2561 w 10000"/>
                <a:gd name="connsiteY209" fmla="*/ 9671 h 10000"/>
                <a:gd name="connsiteX210" fmla="*/ 2561 w 10000"/>
                <a:gd name="connsiteY210" fmla="*/ 9671 h 10000"/>
                <a:gd name="connsiteX211" fmla="*/ 2582 w 10000"/>
                <a:gd name="connsiteY211" fmla="*/ 9671 h 10000"/>
                <a:gd name="connsiteX212" fmla="*/ 2848 w 10000"/>
                <a:gd name="connsiteY212" fmla="*/ 9651 h 10000"/>
                <a:gd name="connsiteX213" fmla="*/ 2859 w 10000"/>
                <a:gd name="connsiteY213" fmla="*/ 9651 h 10000"/>
                <a:gd name="connsiteX214" fmla="*/ 2869 w 10000"/>
                <a:gd name="connsiteY214" fmla="*/ 9671 h 10000"/>
                <a:gd name="connsiteX215" fmla="*/ 3061 w 10000"/>
                <a:gd name="connsiteY215" fmla="*/ 10000 h 10000"/>
                <a:gd name="connsiteX216" fmla="*/ 3061 w 10000"/>
                <a:gd name="connsiteY216" fmla="*/ 10000 h 10000"/>
                <a:gd name="connsiteX217" fmla="*/ 4336 w 10000"/>
                <a:gd name="connsiteY217" fmla="*/ 9961 h 10000"/>
                <a:gd name="connsiteX218" fmla="*/ 4357 w 10000"/>
                <a:gd name="connsiteY218" fmla="*/ 9961 h 10000"/>
                <a:gd name="connsiteX219" fmla="*/ 4357 w 10000"/>
                <a:gd name="connsiteY219" fmla="*/ 9981 h 10000"/>
                <a:gd name="connsiteX220" fmla="*/ 4527 w 10000"/>
                <a:gd name="connsiteY220" fmla="*/ 9864 h 10000"/>
                <a:gd name="connsiteX221" fmla="*/ 4538 w 10000"/>
                <a:gd name="connsiteY221" fmla="*/ 9864 h 10000"/>
                <a:gd name="connsiteX222" fmla="*/ 4538 w 10000"/>
                <a:gd name="connsiteY222" fmla="*/ 9864 h 10000"/>
                <a:gd name="connsiteX223" fmla="*/ 5250 w 10000"/>
                <a:gd name="connsiteY223" fmla="*/ 9845 h 10000"/>
                <a:gd name="connsiteX224" fmla="*/ 7354 w 10000"/>
                <a:gd name="connsiteY224" fmla="*/ 9845 h 10000"/>
                <a:gd name="connsiteX225" fmla="*/ 7343 w 10000"/>
                <a:gd name="connsiteY225" fmla="*/ 9826 h 10000"/>
                <a:gd name="connsiteX226" fmla="*/ 7439 w 10000"/>
                <a:gd name="connsiteY226" fmla="*/ 9612 h 10000"/>
                <a:gd name="connsiteX227" fmla="*/ 7513 w 10000"/>
                <a:gd name="connsiteY227" fmla="*/ 9516 h 10000"/>
                <a:gd name="connsiteX228" fmla="*/ 7428 w 10000"/>
                <a:gd name="connsiteY228" fmla="*/ 9283 h 10000"/>
                <a:gd name="connsiteX229" fmla="*/ 7450 w 10000"/>
                <a:gd name="connsiteY229" fmla="*/ 9109 h 10000"/>
                <a:gd name="connsiteX230" fmla="*/ 7683 w 10000"/>
                <a:gd name="connsiteY230" fmla="*/ 8992 h 10000"/>
                <a:gd name="connsiteX231" fmla="*/ 7683 w 10000"/>
                <a:gd name="connsiteY231" fmla="*/ 8798 h 10000"/>
                <a:gd name="connsiteX232" fmla="*/ 7779 w 10000"/>
                <a:gd name="connsiteY232" fmla="*/ 8682 h 10000"/>
                <a:gd name="connsiteX233" fmla="*/ 7949 w 10000"/>
                <a:gd name="connsiteY233" fmla="*/ 8372 h 10000"/>
                <a:gd name="connsiteX234" fmla="*/ 8013 w 10000"/>
                <a:gd name="connsiteY234" fmla="*/ 8023 h 10000"/>
                <a:gd name="connsiteX235" fmla="*/ 8098 w 10000"/>
                <a:gd name="connsiteY235" fmla="*/ 7907 h 10000"/>
                <a:gd name="connsiteX236" fmla="*/ 8204 w 10000"/>
                <a:gd name="connsiteY236" fmla="*/ 7907 h 10000"/>
                <a:gd name="connsiteX237" fmla="*/ 8363 w 10000"/>
                <a:gd name="connsiteY237" fmla="*/ 7829 h 10000"/>
                <a:gd name="connsiteX238" fmla="*/ 8576 w 10000"/>
                <a:gd name="connsiteY238" fmla="*/ 7907 h 10000"/>
                <a:gd name="connsiteX239" fmla="*/ 8661 w 10000"/>
                <a:gd name="connsiteY239" fmla="*/ 8004 h 10000"/>
                <a:gd name="connsiteX240" fmla="*/ 8704 w 10000"/>
                <a:gd name="connsiteY240" fmla="*/ 7829 h 10000"/>
                <a:gd name="connsiteX241" fmla="*/ 8831 w 10000"/>
                <a:gd name="connsiteY241" fmla="*/ 7733 h 10000"/>
                <a:gd name="connsiteX242" fmla="*/ 8980 w 10000"/>
                <a:gd name="connsiteY242" fmla="*/ 7713 h 10000"/>
                <a:gd name="connsiteX243" fmla="*/ 9097 w 10000"/>
                <a:gd name="connsiteY243" fmla="*/ 7674 h 10000"/>
                <a:gd name="connsiteX244" fmla="*/ 9235 w 10000"/>
                <a:gd name="connsiteY244" fmla="*/ 7791 h 10000"/>
                <a:gd name="connsiteX245" fmla="*/ 9341 w 10000"/>
                <a:gd name="connsiteY245" fmla="*/ 7907 h 10000"/>
                <a:gd name="connsiteX246" fmla="*/ 9458 w 10000"/>
                <a:gd name="connsiteY246" fmla="*/ 7733 h 10000"/>
                <a:gd name="connsiteX247" fmla="*/ 9575 w 10000"/>
                <a:gd name="connsiteY247" fmla="*/ 7829 h 10000"/>
                <a:gd name="connsiteX248" fmla="*/ 9702 w 10000"/>
                <a:gd name="connsiteY248" fmla="*/ 7829 h 10000"/>
                <a:gd name="connsiteX249" fmla="*/ 9809 w 10000"/>
                <a:gd name="connsiteY249" fmla="*/ 7907 h 10000"/>
                <a:gd name="connsiteX250" fmla="*/ 9968 w 10000"/>
                <a:gd name="connsiteY250" fmla="*/ 7829 h 10000"/>
                <a:gd name="connsiteX251" fmla="*/ 10000 w 10000"/>
                <a:gd name="connsiteY251" fmla="*/ 7810 h 10000"/>
                <a:gd name="connsiteX252" fmla="*/ 9979 w 10000"/>
                <a:gd name="connsiteY252" fmla="*/ 7810 h 10000"/>
                <a:gd name="connsiteX253" fmla="*/ 9968 w 10000"/>
                <a:gd name="connsiteY253" fmla="*/ 7636 h 10000"/>
                <a:gd name="connsiteX254" fmla="*/ 9968 w 10000"/>
                <a:gd name="connsiteY254" fmla="*/ 7190 h 10000"/>
                <a:gd name="connsiteX255" fmla="*/ 9926 w 10000"/>
                <a:gd name="connsiteY255" fmla="*/ 7132 h 10000"/>
                <a:gd name="connsiteX256" fmla="*/ 9968 w 10000"/>
                <a:gd name="connsiteY256" fmla="*/ 6822 h 10000"/>
                <a:gd name="connsiteX257" fmla="*/ 9979 w 10000"/>
                <a:gd name="connsiteY257" fmla="*/ 6802 h 10000"/>
                <a:gd name="connsiteX258" fmla="*/ 9979 w 10000"/>
                <a:gd name="connsiteY258" fmla="*/ 6802 h 10000"/>
                <a:gd name="connsiteX259" fmla="*/ 9947 w 10000"/>
                <a:gd name="connsiteY259" fmla="*/ 6764 h 10000"/>
                <a:gd name="connsiteX0" fmla="*/ 9947 w 10000"/>
                <a:gd name="connsiteY0" fmla="*/ 6764 h 10000"/>
                <a:gd name="connsiteX1" fmla="*/ 9816 w 10000"/>
                <a:gd name="connsiteY1" fmla="*/ 6660 h 10000"/>
                <a:gd name="connsiteX2" fmla="*/ 9766 w 10000"/>
                <a:gd name="connsiteY2" fmla="*/ 6938 h 10000"/>
                <a:gd name="connsiteX3" fmla="*/ 9665 w 10000"/>
                <a:gd name="connsiteY3" fmla="*/ 6915 h 10000"/>
                <a:gd name="connsiteX4" fmla="*/ 9458 w 10000"/>
                <a:gd name="connsiteY4" fmla="*/ 6880 h 10000"/>
                <a:gd name="connsiteX5" fmla="*/ 9447 w 10000"/>
                <a:gd name="connsiteY5" fmla="*/ 6860 h 10000"/>
                <a:gd name="connsiteX6" fmla="*/ 9447 w 10000"/>
                <a:gd name="connsiteY6" fmla="*/ 6841 h 10000"/>
                <a:gd name="connsiteX7" fmla="*/ 9447 w 10000"/>
                <a:gd name="connsiteY7" fmla="*/ 6550 h 10000"/>
                <a:gd name="connsiteX8" fmla="*/ 9447 w 10000"/>
                <a:gd name="connsiteY8" fmla="*/ 6531 h 10000"/>
                <a:gd name="connsiteX9" fmla="*/ 9458 w 10000"/>
                <a:gd name="connsiteY9" fmla="*/ 6531 h 10000"/>
                <a:gd name="connsiteX10" fmla="*/ 9554 w 10000"/>
                <a:gd name="connsiteY10" fmla="*/ 6453 h 10000"/>
                <a:gd name="connsiteX11" fmla="*/ 9564 w 10000"/>
                <a:gd name="connsiteY11" fmla="*/ 5601 h 10000"/>
                <a:gd name="connsiteX12" fmla="*/ 9564 w 10000"/>
                <a:gd name="connsiteY12" fmla="*/ 5581 h 10000"/>
                <a:gd name="connsiteX13" fmla="*/ 9564 w 10000"/>
                <a:gd name="connsiteY13" fmla="*/ 5562 h 10000"/>
                <a:gd name="connsiteX14" fmla="*/ 9649 w 10000"/>
                <a:gd name="connsiteY14" fmla="*/ 5388 h 10000"/>
                <a:gd name="connsiteX15" fmla="*/ 9702 w 10000"/>
                <a:gd name="connsiteY15" fmla="*/ 5291 h 10000"/>
                <a:gd name="connsiteX16" fmla="*/ 9554 w 10000"/>
                <a:gd name="connsiteY16" fmla="*/ 5058 h 10000"/>
                <a:gd name="connsiteX17" fmla="*/ 9554 w 10000"/>
                <a:gd name="connsiteY17" fmla="*/ 5058 h 10000"/>
                <a:gd name="connsiteX18" fmla="*/ 9543 w 10000"/>
                <a:gd name="connsiteY18" fmla="*/ 5058 h 10000"/>
                <a:gd name="connsiteX19" fmla="*/ 9394 w 10000"/>
                <a:gd name="connsiteY19" fmla="*/ 4709 h 10000"/>
                <a:gd name="connsiteX20" fmla="*/ 9394 w 10000"/>
                <a:gd name="connsiteY20" fmla="*/ 4690 h 10000"/>
                <a:gd name="connsiteX21" fmla="*/ 9394 w 10000"/>
                <a:gd name="connsiteY21" fmla="*/ 4690 h 10000"/>
                <a:gd name="connsiteX22" fmla="*/ 9456 w 10000"/>
                <a:gd name="connsiteY22" fmla="*/ 4520 h 10000"/>
                <a:gd name="connsiteX23" fmla="*/ 9490 w 10000"/>
                <a:gd name="connsiteY23" fmla="*/ 4360 h 10000"/>
                <a:gd name="connsiteX24" fmla="*/ 9564 w 10000"/>
                <a:gd name="connsiteY24" fmla="*/ 4244 h 10000"/>
                <a:gd name="connsiteX25" fmla="*/ 9628 w 10000"/>
                <a:gd name="connsiteY25" fmla="*/ 4012 h 10000"/>
                <a:gd name="connsiteX26" fmla="*/ 9490 w 10000"/>
                <a:gd name="connsiteY26" fmla="*/ 3760 h 10000"/>
                <a:gd name="connsiteX27" fmla="*/ 9490 w 10000"/>
                <a:gd name="connsiteY27" fmla="*/ 3760 h 10000"/>
                <a:gd name="connsiteX28" fmla="*/ 9479 w 10000"/>
                <a:gd name="connsiteY28" fmla="*/ 3760 h 10000"/>
                <a:gd name="connsiteX29" fmla="*/ 9426 w 10000"/>
                <a:gd name="connsiteY29" fmla="*/ 3527 h 10000"/>
                <a:gd name="connsiteX30" fmla="*/ 9426 w 10000"/>
                <a:gd name="connsiteY30" fmla="*/ 3527 h 10000"/>
                <a:gd name="connsiteX31" fmla="*/ 9426 w 10000"/>
                <a:gd name="connsiteY31" fmla="*/ 3508 h 10000"/>
                <a:gd name="connsiteX32" fmla="*/ 9416 w 10000"/>
                <a:gd name="connsiteY32" fmla="*/ 3198 h 10000"/>
                <a:gd name="connsiteX33" fmla="*/ 9416 w 10000"/>
                <a:gd name="connsiteY33" fmla="*/ 3198 h 10000"/>
                <a:gd name="connsiteX34" fmla="*/ 9416 w 10000"/>
                <a:gd name="connsiteY34" fmla="*/ 3178 h 10000"/>
                <a:gd name="connsiteX35" fmla="*/ 9532 w 10000"/>
                <a:gd name="connsiteY35" fmla="*/ 2907 h 10000"/>
                <a:gd name="connsiteX36" fmla="*/ 9384 w 10000"/>
                <a:gd name="connsiteY36" fmla="*/ 2616 h 10000"/>
                <a:gd name="connsiteX37" fmla="*/ 9384 w 10000"/>
                <a:gd name="connsiteY37" fmla="*/ 2616 h 10000"/>
                <a:gd name="connsiteX38" fmla="*/ 9384 w 10000"/>
                <a:gd name="connsiteY38" fmla="*/ 2616 h 10000"/>
                <a:gd name="connsiteX39" fmla="*/ 9330 w 10000"/>
                <a:gd name="connsiteY39" fmla="*/ 2267 h 10000"/>
                <a:gd name="connsiteX40" fmla="*/ 9330 w 10000"/>
                <a:gd name="connsiteY40" fmla="*/ 2248 h 10000"/>
                <a:gd name="connsiteX41" fmla="*/ 9330 w 10000"/>
                <a:gd name="connsiteY41" fmla="*/ 2248 h 10000"/>
                <a:gd name="connsiteX42" fmla="*/ 9341 w 10000"/>
                <a:gd name="connsiteY42" fmla="*/ 1841 h 10000"/>
                <a:gd name="connsiteX43" fmla="*/ 9341 w 10000"/>
                <a:gd name="connsiteY43" fmla="*/ 1822 h 10000"/>
                <a:gd name="connsiteX44" fmla="*/ 9341 w 10000"/>
                <a:gd name="connsiteY44" fmla="*/ 1822 h 10000"/>
                <a:gd name="connsiteX45" fmla="*/ 9660 w 10000"/>
                <a:gd name="connsiteY45" fmla="*/ 1279 h 10000"/>
                <a:gd name="connsiteX46" fmla="*/ 9564 w 10000"/>
                <a:gd name="connsiteY46" fmla="*/ 1008 h 10000"/>
                <a:gd name="connsiteX47" fmla="*/ 9554 w 10000"/>
                <a:gd name="connsiteY47" fmla="*/ 1008 h 10000"/>
                <a:gd name="connsiteX48" fmla="*/ 9554 w 10000"/>
                <a:gd name="connsiteY48" fmla="*/ 988 h 10000"/>
                <a:gd name="connsiteX49" fmla="*/ 9586 w 10000"/>
                <a:gd name="connsiteY49" fmla="*/ 698 h 10000"/>
                <a:gd name="connsiteX50" fmla="*/ 9501 w 10000"/>
                <a:gd name="connsiteY50" fmla="*/ 601 h 10000"/>
                <a:gd name="connsiteX51" fmla="*/ 9288 w 10000"/>
                <a:gd name="connsiteY51" fmla="*/ 581 h 10000"/>
                <a:gd name="connsiteX52" fmla="*/ 9288 w 10000"/>
                <a:gd name="connsiteY52" fmla="*/ 581 h 10000"/>
                <a:gd name="connsiteX53" fmla="*/ 9277 w 10000"/>
                <a:gd name="connsiteY53" fmla="*/ 581 h 10000"/>
                <a:gd name="connsiteX54" fmla="*/ 9224 w 10000"/>
                <a:gd name="connsiteY54" fmla="*/ 484 h 10000"/>
                <a:gd name="connsiteX55" fmla="*/ 9086 w 10000"/>
                <a:gd name="connsiteY55" fmla="*/ 484 h 10000"/>
                <a:gd name="connsiteX56" fmla="*/ 8948 w 10000"/>
                <a:gd name="connsiteY56" fmla="*/ 1124 h 10000"/>
                <a:gd name="connsiteX57" fmla="*/ 8927 w 10000"/>
                <a:gd name="connsiteY57" fmla="*/ 1124 h 10000"/>
                <a:gd name="connsiteX58" fmla="*/ 8927 w 10000"/>
                <a:gd name="connsiteY58" fmla="*/ 1143 h 10000"/>
                <a:gd name="connsiteX59" fmla="*/ 8650 w 10000"/>
                <a:gd name="connsiteY59" fmla="*/ 1415 h 10000"/>
                <a:gd name="connsiteX60" fmla="*/ 8640 w 10000"/>
                <a:gd name="connsiteY60" fmla="*/ 1434 h 10000"/>
                <a:gd name="connsiteX61" fmla="*/ 8640 w 10000"/>
                <a:gd name="connsiteY61" fmla="*/ 1434 h 10000"/>
                <a:gd name="connsiteX62" fmla="*/ 8470 w 10000"/>
                <a:gd name="connsiteY62" fmla="*/ 1395 h 10000"/>
                <a:gd name="connsiteX63" fmla="*/ 8321 w 10000"/>
                <a:gd name="connsiteY63" fmla="*/ 1531 h 10000"/>
                <a:gd name="connsiteX64" fmla="*/ 8321 w 10000"/>
                <a:gd name="connsiteY64" fmla="*/ 1531 h 10000"/>
                <a:gd name="connsiteX65" fmla="*/ 8321 w 10000"/>
                <a:gd name="connsiteY65" fmla="*/ 1531 h 10000"/>
                <a:gd name="connsiteX66" fmla="*/ 8172 w 10000"/>
                <a:gd name="connsiteY66" fmla="*/ 1589 h 10000"/>
                <a:gd name="connsiteX67" fmla="*/ 8023 w 10000"/>
                <a:gd name="connsiteY67" fmla="*/ 1957 h 10000"/>
                <a:gd name="connsiteX68" fmla="*/ 8013 w 10000"/>
                <a:gd name="connsiteY68" fmla="*/ 1977 h 10000"/>
                <a:gd name="connsiteX69" fmla="*/ 7991 w 10000"/>
                <a:gd name="connsiteY69" fmla="*/ 1977 h 10000"/>
                <a:gd name="connsiteX70" fmla="*/ 7864 w 10000"/>
                <a:gd name="connsiteY70" fmla="*/ 1899 h 10000"/>
                <a:gd name="connsiteX71" fmla="*/ 7843 w 10000"/>
                <a:gd name="connsiteY71" fmla="*/ 1899 h 10000"/>
                <a:gd name="connsiteX72" fmla="*/ 7853 w 10000"/>
                <a:gd name="connsiteY72" fmla="*/ 1841 h 10000"/>
                <a:gd name="connsiteX73" fmla="*/ 7928 w 10000"/>
                <a:gd name="connsiteY73" fmla="*/ 1609 h 10000"/>
                <a:gd name="connsiteX74" fmla="*/ 7906 w 10000"/>
                <a:gd name="connsiteY74" fmla="*/ 1279 h 10000"/>
                <a:gd name="connsiteX75" fmla="*/ 7758 w 10000"/>
                <a:gd name="connsiteY75" fmla="*/ 1124 h 10000"/>
                <a:gd name="connsiteX76" fmla="*/ 7651 w 10000"/>
                <a:gd name="connsiteY76" fmla="*/ 1124 h 10000"/>
                <a:gd name="connsiteX77" fmla="*/ 7641 w 10000"/>
                <a:gd name="connsiteY77" fmla="*/ 1124 h 10000"/>
                <a:gd name="connsiteX78" fmla="*/ 7630 w 10000"/>
                <a:gd name="connsiteY78" fmla="*/ 1105 h 10000"/>
                <a:gd name="connsiteX79" fmla="*/ 7556 w 10000"/>
                <a:gd name="connsiteY79" fmla="*/ 930 h 10000"/>
                <a:gd name="connsiteX80" fmla="*/ 7184 w 10000"/>
                <a:gd name="connsiteY80" fmla="*/ 891 h 10000"/>
                <a:gd name="connsiteX81" fmla="*/ 7173 w 10000"/>
                <a:gd name="connsiteY81" fmla="*/ 891 h 10000"/>
                <a:gd name="connsiteX82" fmla="*/ 7173 w 10000"/>
                <a:gd name="connsiteY82" fmla="*/ 872 h 10000"/>
                <a:gd name="connsiteX83" fmla="*/ 7099 w 10000"/>
                <a:gd name="connsiteY83" fmla="*/ 620 h 10000"/>
                <a:gd name="connsiteX84" fmla="*/ 7088 w 10000"/>
                <a:gd name="connsiteY84" fmla="*/ 601 h 10000"/>
                <a:gd name="connsiteX85" fmla="*/ 7088 w 10000"/>
                <a:gd name="connsiteY85" fmla="*/ 601 h 10000"/>
                <a:gd name="connsiteX86" fmla="*/ 7088 w 10000"/>
                <a:gd name="connsiteY86" fmla="*/ 465 h 10000"/>
                <a:gd name="connsiteX87" fmla="*/ 7088 w 10000"/>
                <a:gd name="connsiteY87" fmla="*/ 426 h 10000"/>
                <a:gd name="connsiteX88" fmla="*/ 7099 w 10000"/>
                <a:gd name="connsiteY88" fmla="*/ 407 h 10000"/>
                <a:gd name="connsiteX89" fmla="*/ 7194 w 10000"/>
                <a:gd name="connsiteY89" fmla="*/ 310 h 10000"/>
                <a:gd name="connsiteX90" fmla="*/ 7109 w 10000"/>
                <a:gd name="connsiteY90" fmla="*/ 136 h 10000"/>
                <a:gd name="connsiteX91" fmla="*/ 7035 w 10000"/>
                <a:gd name="connsiteY91" fmla="*/ 0 h 10000"/>
                <a:gd name="connsiteX92" fmla="*/ 6939 w 10000"/>
                <a:gd name="connsiteY92" fmla="*/ 116 h 10000"/>
                <a:gd name="connsiteX93" fmla="*/ 6939 w 10000"/>
                <a:gd name="connsiteY93" fmla="*/ 116 h 10000"/>
                <a:gd name="connsiteX94" fmla="*/ 6939 w 10000"/>
                <a:gd name="connsiteY94" fmla="*/ 116 h 10000"/>
                <a:gd name="connsiteX95" fmla="*/ 6812 w 10000"/>
                <a:gd name="connsiteY95" fmla="*/ 155 h 10000"/>
                <a:gd name="connsiteX96" fmla="*/ 6674 w 10000"/>
                <a:gd name="connsiteY96" fmla="*/ 291 h 10000"/>
                <a:gd name="connsiteX97" fmla="*/ 6599 w 10000"/>
                <a:gd name="connsiteY97" fmla="*/ 523 h 10000"/>
                <a:gd name="connsiteX98" fmla="*/ 6599 w 10000"/>
                <a:gd name="connsiteY98" fmla="*/ 543 h 10000"/>
                <a:gd name="connsiteX99" fmla="*/ 6589 w 10000"/>
                <a:gd name="connsiteY99" fmla="*/ 543 h 10000"/>
                <a:gd name="connsiteX100" fmla="*/ 6397 w 10000"/>
                <a:gd name="connsiteY100" fmla="*/ 581 h 10000"/>
                <a:gd name="connsiteX101" fmla="*/ 6334 w 10000"/>
                <a:gd name="connsiteY101" fmla="*/ 891 h 10000"/>
                <a:gd name="connsiteX102" fmla="*/ 6334 w 10000"/>
                <a:gd name="connsiteY102" fmla="*/ 911 h 10000"/>
                <a:gd name="connsiteX103" fmla="*/ 6334 w 10000"/>
                <a:gd name="connsiteY103" fmla="*/ 911 h 10000"/>
                <a:gd name="connsiteX104" fmla="*/ 6142 w 10000"/>
                <a:gd name="connsiteY104" fmla="*/ 1124 h 10000"/>
                <a:gd name="connsiteX105" fmla="*/ 6015 w 10000"/>
                <a:gd name="connsiteY105" fmla="*/ 1453 h 10000"/>
                <a:gd name="connsiteX106" fmla="*/ 6004 w 10000"/>
                <a:gd name="connsiteY106" fmla="*/ 1473 h 10000"/>
                <a:gd name="connsiteX107" fmla="*/ 5994 w 10000"/>
                <a:gd name="connsiteY107" fmla="*/ 1453 h 10000"/>
                <a:gd name="connsiteX108" fmla="*/ 5802 w 10000"/>
                <a:gd name="connsiteY108" fmla="*/ 1434 h 10000"/>
                <a:gd name="connsiteX109" fmla="*/ 5781 w 10000"/>
                <a:gd name="connsiteY109" fmla="*/ 1415 h 10000"/>
                <a:gd name="connsiteX110" fmla="*/ 5781 w 10000"/>
                <a:gd name="connsiteY110" fmla="*/ 1395 h 10000"/>
                <a:gd name="connsiteX111" fmla="*/ 5760 w 10000"/>
                <a:gd name="connsiteY111" fmla="*/ 930 h 10000"/>
                <a:gd name="connsiteX112" fmla="*/ 5654 w 10000"/>
                <a:gd name="connsiteY112" fmla="*/ 872 h 10000"/>
                <a:gd name="connsiteX113" fmla="*/ 5377 w 10000"/>
                <a:gd name="connsiteY113" fmla="*/ 1240 h 10000"/>
                <a:gd name="connsiteX114" fmla="*/ 5165 w 10000"/>
                <a:gd name="connsiteY114" fmla="*/ 1570 h 10000"/>
                <a:gd name="connsiteX115" fmla="*/ 5165 w 10000"/>
                <a:gd name="connsiteY115" fmla="*/ 1899 h 10000"/>
                <a:gd name="connsiteX116" fmla="*/ 5165 w 10000"/>
                <a:gd name="connsiteY116" fmla="*/ 1919 h 10000"/>
                <a:gd name="connsiteX117" fmla="*/ 5154 w 10000"/>
                <a:gd name="connsiteY117" fmla="*/ 1919 h 10000"/>
                <a:gd name="connsiteX118" fmla="*/ 5027 w 10000"/>
                <a:gd name="connsiteY118" fmla="*/ 2112 h 10000"/>
                <a:gd name="connsiteX119" fmla="*/ 5016 w 10000"/>
                <a:gd name="connsiteY119" fmla="*/ 2112 h 10000"/>
                <a:gd name="connsiteX120" fmla="*/ 5005 w 10000"/>
                <a:gd name="connsiteY120" fmla="*/ 2112 h 10000"/>
                <a:gd name="connsiteX121" fmla="*/ 4814 w 10000"/>
                <a:gd name="connsiteY121" fmla="*/ 2112 h 10000"/>
                <a:gd name="connsiteX122" fmla="*/ 4803 w 10000"/>
                <a:gd name="connsiteY122" fmla="*/ 2112 h 10000"/>
                <a:gd name="connsiteX123" fmla="*/ 4803 w 10000"/>
                <a:gd name="connsiteY123" fmla="*/ 2112 h 10000"/>
                <a:gd name="connsiteX124" fmla="*/ 4697 w 10000"/>
                <a:gd name="connsiteY124" fmla="*/ 1957 h 10000"/>
                <a:gd name="connsiteX125" fmla="*/ 4591 w 10000"/>
                <a:gd name="connsiteY125" fmla="*/ 1899 h 10000"/>
                <a:gd name="connsiteX126" fmla="*/ 4591 w 10000"/>
                <a:gd name="connsiteY126" fmla="*/ 1957 h 10000"/>
                <a:gd name="connsiteX127" fmla="*/ 4591 w 10000"/>
                <a:gd name="connsiteY127" fmla="*/ 1996 h 10000"/>
                <a:gd name="connsiteX128" fmla="*/ 4570 w 10000"/>
                <a:gd name="connsiteY128" fmla="*/ 1996 h 10000"/>
                <a:gd name="connsiteX129" fmla="*/ 4453 w 10000"/>
                <a:gd name="connsiteY129" fmla="*/ 1996 h 10000"/>
                <a:gd name="connsiteX130" fmla="*/ 4431 w 10000"/>
                <a:gd name="connsiteY130" fmla="*/ 1996 h 10000"/>
                <a:gd name="connsiteX131" fmla="*/ 4431 w 10000"/>
                <a:gd name="connsiteY131" fmla="*/ 1957 h 10000"/>
                <a:gd name="connsiteX132" fmla="*/ 4378 w 10000"/>
                <a:gd name="connsiteY132" fmla="*/ 1589 h 10000"/>
                <a:gd name="connsiteX133" fmla="*/ 4091 w 10000"/>
                <a:gd name="connsiteY133" fmla="*/ 1512 h 10000"/>
                <a:gd name="connsiteX134" fmla="*/ 4081 w 10000"/>
                <a:gd name="connsiteY134" fmla="*/ 1512 h 10000"/>
                <a:gd name="connsiteX135" fmla="*/ 4070 w 10000"/>
                <a:gd name="connsiteY135" fmla="*/ 1492 h 10000"/>
                <a:gd name="connsiteX136" fmla="*/ 3879 w 10000"/>
                <a:gd name="connsiteY136" fmla="*/ 988 h 10000"/>
                <a:gd name="connsiteX137" fmla="*/ 3719 w 10000"/>
                <a:gd name="connsiteY137" fmla="*/ 988 h 10000"/>
                <a:gd name="connsiteX138" fmla="*/ 3698 w 10000"/>
                <a:gd name="connsiteY138" fmla="*/ 1085 h 10000"/>
                <a:gd name="connsiteX139" fmla="*/ 3698 w 10000"/>
                <a:gd name="connsiteY139" fmla="*/ 1105 h 10000"/>
                <a:gd name="connsiteX140" fmla="*/ 3698 w 10000"/>
                <a:gd name="connsiteY140" fmla="*/ 1105 h 10000"/>
                <a:gd name="connsiteX141" fmla="*/ 3592 w 10000"/>
                <a:gd name="connsiteY141" fmla="*/ 1318 h 10000"/>
                <a:gd name="connsiteX142" fmla="*/ 3592 w 10000"/>
                <a:gd name="connsiteY142" fmla="*/ 1318 h 10000"/>
                <a:gd name="connsiteX143" fmla="*/ 3581 w 10000"/>
                <a:gd name="connsiteY143" fmla="*/ 1318 h 10000"/>
                <a:gd name="connsiteX144" fmla="*/ 3486 w 10000"/>
                <a:gd name="connsiteY144" fmla="*/ 1395 h 10000"/>
                <a:gd name="connsiteX145" fmla="*/ 3486 w 10000"/>
                <a:gd name="connsiteY145" fmla="*/ 1686 h 10000"/>
                <a:gd name="connsiteX146" fmla="*/ 3486 w 10000"/>
                <a:gd name="connsiteY146" fmla="*/ 1725 h 10000"/>
                <a:gd name="connsiteX147" fmla="*/ 3475 w 10000"/>
                <a:gd name="connsiteY147" fmla="*/ 1725 h 10000"/>
                <a:gd name="connsiteX148" fmla="*/ 3369 w 10000"/>
                <a:gd name="connsiteY148" fmla="*/ 1841 h 10000"/>
                <a:gd name="connsiteX149" fmla="*/ 3135 w 10000"/>
                <a:gd name="connsiteY149" fmla="*/ 2171 h 10000"/>
                <a:gd name="connsiteX150" fmla="*/ 2954 w 10000"/>
                <a:gd name="connsiteY150" fmla="*/ 2829 h 10000"/>
                <a:gd name="connsiteX151" fmla="*/ 2954 w 10000"/>
                <a:gd name="connsiteY151" fmla="*/ 2829 h 10000"/>
                <a:gd name="connsiteX152" fmla="*/ 2944 w 10000"/>
                <a:gd name="connsiteY152" fmla="*/ 2829 h 10000"/>
                <a:gd name="connsiteX153" fmla="*/ 2699 w 10000"/>
                <a:gd name="connsiteY153" fmla="*/ 3217 h 10000"/>
                <a:gd name="connsiteX154" fmla="*/ 2487 w 10000"/>
                <a:gd name="connsiteY154" fmla="*/ 3566 h 10000"/>
                <a:gd name="connsiteX155" fmla="*/ 2465 w 10000"/>
                <a:gd name="connsiteY155" fmla="*/ 3934 h 10000"/>
                <a:gd name="connsiteX156" fmla="*/ 2465 w 10000"/>
                <a:gd name="connsiteY156" fmla="*/ 3934 h 10000"/>
                <a:gd name="connsiteX157" fmla="*/ 2465 w 10000"/>
                <a:gd name="connsiteY157" fmla="*/ 3934 h 10000"/>
                <a:gd name="connsiteX158" fmla="*/ 2295 w 10000"/>
                <a:gd name="connsiteY158" fmla="*/ 4205 h 10000"/>
                <a:gd name="connsiteX159" fmla="*/ 2200 w 10000"/>
                <a:gd name="connsiteY159" fmla="*/ 4535 h 10000"/>
                <a:gd name="connsiteX160" fmla="*/ 2189 w 10000"/>
                <a:gd name="connsiteY160" fmla="*/ 4554 h 10000"/>
                <a:gd name="connsiteX161" fmla="*/ 2179 w 10000"/>
                <a:gd name="connsiteY161" fmla="*/ 4554 h 10000"/>
                <a:gd name="connsiteX162" fmla="*/ 2051 w 10000"/>
                <a:gd name="connsiteY162" fmla="*/ 4535 h 10000"/>
                <a:gd name="connsiteX163" fmla="*/ 1913 w 10000"/>
                <a:gd name="connsiteY163" fmla="*/ 4767 h 10000"/>
                <a:gd name="connsiteX164" fmla="*/ 1913 w 10000"/>
                <a:gd name="connsiteY164" fmla="*/ 4787 h 10000"/>
                <a:gd name="connsiteX165" fmla="*/ 1902 w 10000"/>
                <a:gd name="connsiteY165" fmla="*/ 4787 h 10000"/>
                <a:gd name="connsiteX166" fmla="*/ 1498 w 10000"/>
                <a:gd name="connsiteY166" fmla="*/ 4671 h 10000"/>
                <a:gd name="connsiteX167" fmla="*/ 1488 w 10000"/>
                <a:gd name="connsiteY167" fmla="*/ 4671 h 10000"/>
                <a:gd name="connsiteX168" fmla="*/ 1488 w 10000"/>
                <a:gd name="connsiteY168" fmla="*/ 4651 h 10000"/>
                <a:gd name="connsiteX169" fmla="*/ 1424 w 10000"/>
                <a:gd name="connsiteY169" fmla="*/ 4516 h 10000"/>
                <a:gd name="connsiteX170" fmla="*/ 1350 w 10000"/>
                <a:gd name="connsiteY170" fmla="*/ 4516 h 10000"/>
                <a:gd name="connsiteX171" fmla="*/ 1296 w 10000"/>
                <a:gd name="connsiteY171" fmla="*/ 4690 h 10000"/>
                <a:gd name="connsiteX172" fmla="*/ 1286 w 10000"/>
                <a:gd name="connsiteY172" fmla="*/ 4922 h 10000"/>
                <a:gd name="connsiteX173" fmla="*/ 1286 w 10000"/>
                <a:gd name="connsiteY173" fmla="*/ 4942 h 10000"/>
                <a:gd name="connsiteX174" fmla="*/ 1275 w 10000"/>
                <a:gd name="connsiteY174" fmla="*/ 4961 h 10000"/>
                <a:gd name="connsiteX175" fmla="*/ 1190 w 10000"/>
                <a:gd name="connsiteY175" fmla="*/ 5058 h 10000"/>
                <a:gd name="connsiteX176" fmla="*/ 1137 w 10000"/>
                <a:gd name="connsiteY176" fmla="*/ 5271 h 10000"/>
                <a:gd name="connsiteX177" fmla="*/ 1137 w 10000"/>
                <a:gd name="connsiteY177" fmla="*/ 5291 h 10000"/>
                <a:gd name="connsiteX178" fmla="*/ 1126 w 10000"/>
                <a:gd name="connsiteY178" fmla="*/ 5291 h 10000"/>
                <a:gd name="connsiteX179" fmla="*/ 1020 w 10000"/>
                <a:gd name="connsiteY179" fmla="*/ 5407 h 10000"/>
                <a:gd name="connsiteX180" fmla="*/ 999 w 10000"/>
                <a:gd name="connsiteY180" fmla="*/ 5581 h 10000"/>
                <a:gd name="connsiteX181" fmla="*/ 978 w 10000"/>
                <a:gd name="connsiteY181" fmla="*/ 5756 h 10000"/>
                <a:gd name="connsiteX182" fmla="*/ 978 w 10000"/>
                <a:gd name="connsiteY182" fmla="*/ 5775 h 10000"/>
                <a:gd name="connsiteX183" fmla="*/ 967 w 10000"/>
                <a:gd name="connsiteY183" fmla="*/ 5775 h 10000"/>
                <a:gd name="connsiteX184" fmla="*/ 861 w 10000"/>
                <a:gd name="connsiteY184" fmla="*/ 5814 h 10000"/>
                <a:gd name="connsiteX185" fmla="*/ 861 w 10000"/>
                <a:gd name="connsiteY185" fmla="*/ 6047 h 10000"/>
                <a:gd name="connsiteX186" fmla="*/ 967 w 10000"/>
                <a:gd name="connsiteY186" fmla="*/ 6298 h 10000"/>
                <a:gd name="connsiteX187" fmla="*/ 967 w 10000"/>
                <a:gd name="connsiteY187" fmla="*/ 6298 h 10000"/>
                <a:gd name="connsiteX188" fmla="*/ 978 w 10000"/>
                <a:gd name="connsiteY188" fmla="*/ 6318 h 10000"/>
                <a:gd name="connsiteX189" fmla="*/ 988 w 10000"/>
                <a:gd name="connsiteY189" fmla="*/ 6512 h 10000"/>
                <a:gd name="connsiteX190" fmla="*/ 988 w 10000"/>
                <a:gd name="connsiteY190" fmla="*/ 6531 h 10000"/>
                <a:gd name="connsiteX191" fmla="*/ 978 w 10000"/>
                <a:gd name="connsiteY191" fmla="*/ 6550 h 10000"/>
                <a:gd name="connsiteX192" fmla="*/ 627 w 10000"/>
                <a:gd name="connsiteY192" fmla="*/ 7016 h 10000"/>
                <a:gd name="connsiteX193" fmla="*/ 521 w 10000"/>
                <a:gd name="connsiteY193" fmla="*/ 7151 h 10000"/>
                <a:gd name="connsiteX194" fmla="*/ 340 w 10000"/>
                <a:gd name="connsiteY194" fmla="*/ 7384 h 10000"/>
                <a:gd name="connsiteX195" fmla="*/ 340 w 10000"/>
                <a:gd name="connsiteY195" fmla="*/ 7403 h 10000"/>
                <a:gd name="connsiteX196" fmla="*/ 340 w 10000"/>
                <a:gd name="connsiteY196" fmla="*/ 7403 h 10000"/>
                <a:gd name="connsiteX197" fmla="*/ 191 w 10000"/>
                <a:gd name="connsiteY197" fmla="*/ 7519 h 10000"/>
                <a:gd name="connsiteX198" fmla="*/ 0 w 10000"/>
                <a:gd name="connsiteY198" fmla="*/ 7791 h 10000"/>
                <a:gd name="connsiteX199" fmla="*/ 11 w 10000"/>
                <a:gd name="connsiteY199" fmla="*/ 7829 h 10000"/>
                <a:gd name="connsiteX200" fmla="*/ 149 w 10000"/>
                <a:gd name="connsiteY200" fmla="*/ 7868 h 10000"/>
                <a:gd name="connsiteX201" fmla="*/ 159 w 10000"/>
                <a:gd name="connsiteY201" fmla="*/ 7868 h 10000"/>
                <a:gd name="connsiteX202" fmla="*/ 159 w 10000"/>
                <a:gd name="connsiteY202" fmla="*/ 7868 h 10000"/>
                <a:gd name="connsiteX203" fmla="*/ 372 w 10000"/>
                <a:gd name="connsiteY203" fmla="*/ 8256 h 10000"/>
                <a:gd name="connsiteX204" fmla="*/ 1467 w 10000"/>
                <a:gd name="connsiteY204" fmla="*/ 9205 h 10000"/>
                <a:gd name="connsiteX205" fmla="*/ 1467 w 10000"/>
                <a:gd name="connsiteY205" fmla="*/ 9205 h 10000"/>
                <a:gd name="connsiteX206" fmla="*/ 1477 w 10000"/>
                <a:gd name="connsiteY206" fmla="*/ 9205 h 10000"/>
                <a:gd name="connsiteX207" fmla="*/ 1838 w 10000"/>
                <a:gd name="connsiteY207" fmla="*/ 9729 h 10000"/>
                <a:gd name="connsiteX208" fmla="*/ 2508 w 10000"/>
                <a:gd name="connsiteY208" fmla="*/ 9767 h 10000"/>
                <a:gd name="connsiteX209" fmla="*/ 2561 w 10000"/>
                <a:gd name="connsiteY209" fmla="*/ 9671 h 10000"/>
                <a:gd name="connsiteX210" fmla="*/ 2561 w 10000"/>
                <a:gd name="connsiteY210" fmla="*/ 9671 h 10000"/>
                <a:gd name="connsiteX211" fmla="*/ 2582 w 10000"/>
                <a:gd name="connsiteY211" fmla="*/ 9671 h 10000"/>
                <a:gd name="connsiteX212" fmla="*/ 2848 w 10000"/>
                <a:gd name="connsiteY212" fmla="*/ 9651 h 10000"/>
                <a:gd name="connsiteX213" fmla="*/ 2859 w 10000"/>
                <a:gd name="connsiteY213" fmla="*/ 9651 h 10000"/>
                <a:gd name="connsiteX214" fmla="*/ 2869 w 10000"/>
                <a:gd name="connsiteY214" fmla="*/ 9671 h 10000"/>
                <a:gd name="connsiteX215" fmla="*/ 3061 w 10000"/>
                <a:gd name="connsiteY215" fmla="*/ 10000 h 10000"/>
                <a:gd name="connsiteX216" fmla="*/ 3061 w 10000"/>
                <a:gd name="connsiteY216" fmla="*/ 10000 h 10000"/>
                <a:gd name="connsiteX217" fmla="*/ 4336 w 10000"/>
                <a:gd name="connsiteY217" fmla="*/ 9961 h 10000"/>
                <a:gd name="connsiteX218" fmla="*/ 4357 w 10000"/>
                <a:gd name="connsiteY218" fmla="*/ 9961 h 10000"/>
                <a:gd name="connsiteX219" fmla="*/ 4357 w 10000"/>
                <a:gd name="connsiteY219" fmla="*/ 9981 h 10000"/>
                <a:gd name="connsiteX220" fmla="*/ 4527 w 10000"/>
                <a:gd name="connsiteY220" fmla="*/ 9864 h 10000"/>
                <a:gd name="connsiteX221" fmla="*/ 4538 w 10000"/>
                <a:gd name="connsiteY221" fmla="*/ 9864 h 10000"/>
                <a:gd name="connsiteX222" fmla="*/ 4538 w 10000"/>
                <a:gd name="connsiteY222" fmla="*/ 9864 h 10000"/>
                <a:gd name="connsiteX223" fmla="*/ 5250 w 10000"/>
                <a:gd name="connsiteY223" fmla="*/ 9845 h 10000"/>
                <a:gd name="connsiteX224" fmla="*/ 7354 w 10000"/>
                <a:gd name="connsiteY224" fmla="*/ 9845 h 10000"/>
                <a:gd name="connsiteX225" fmla="*/ 7343 w 10000"/>
                <a:gd name="connsiteY225" fmla="*/ 9826 h 10000"/>
                <a:gd name="connsiteX226" fmla="*/ 7439 w 10000"/>
                <a:gd name="connsiteY226" fmla="*/ 9612 h 10000"/>
                <a:gd name="connsiteX227" fmla="*/ 7513 w 10000"/>
                <a:gd name="connsiteY227" fmla="*/ 9516 h 10000"/>
                <a:gd name="connsiteX228" fmla="*/ 7428 w 10000"/>
                <a:gd name="connsiteY228" fmla="*/ 9283 h 10000"/>
                <a:gd name="connsiteX229" fmla="*/ 7450 w 10000"/>
                <a:gd name="connsiteY229" fmla="*/ 9109 h 10000"/>
                <a:gd name="connsiteX230" fmla="*/ 7683 w 10000"/>
                <a:gd name="connsiteY230" fmla="*/ 8992 h 10000"/>
                <a:gd name="connsiteX231" fmla="*/ 7683 w 10000"/>
                <a:gd name="connsiteY231" fmla="*/ 8798 h 10000"/>
                <a:gd name="connsiteX232" fmla="*/ 7779 w 10000"/>
                <a:gd name="connsiteY232" fmla="*/ 8682 h 10000"/>
                <a:gd name="connsiteX233" fmla="*/ 7949 w 10000"/>
                <a:gd name="connsiteY233" fmla="*/ 8372 h 10000"/>
                <a:gd name="connsiteX234" fmla="*/ 8013 w 10000"/>
                <a:gd name="connsiteY234" fmla="*/ 8023 h 10000"/>
                <a:gd name="connsiteX235" fmla="*/ 8098 w 10000"/>
                <a:gd name="connsiteY235" fmla="*/ 7907 h 10000"/>
                <a:gd name="connsiteX236" fmla="*/ 8204 w 10000"/>
                <a:gd name="connsiteY236" fmla="*/ 7907 h 10000"/>
                <a:gd name="connsiteX237" fmla="*/ 8363 w 10000"/>
                <a:gd name="connsiteY237" fmla="*/ 7829 h 10000"/>
                <a:gd name="connsiteX238" fmla="*/ 8576 w 10000"/>
                <a:gd name="connsiteY238" fmla="*/ 7907 h 10000"/>
                <a:gd name="connsiteX239" fmla="*/ 8661 w 10000"/>
                <a:gd name="connsiteY239" fmla="*/ 8004 h 10000"/>
                <a:gd name="connsiteX240" fmla="*/ 8704 w 10000"/>
                <a:gd name="connsiteY240" fmla="*/ 7829 h 10000"/>
                <a:gd name="connsiteX241" fmla="*/ 8831 w 10000"/>
                <a:gd name="connsiteY241" fmla="*/ 7733 h 10000"/>
                <a:gd name="connsiteX242" fmla="*/ 8980 w 10000"/>
                <a:gd name="connsiteY242" fmla="*/ 7713 h 10000"/>
                <a:gd name="connsiteX243" fmla="*/ 9097 w 10000"/>
                <a:gd name="connsiteY243" fmla="*/ 7674 h 10000"/>
                <a:gd name="connsiteX244" fmla="*/ 9235 w 10000"/>
                <a:gd name="connsiteY244" fmla="*/ 7791 h 10000"/>
                <a:gd name="connsiteX245" fmla="*/ 9341 w 10000"/>
                <a:gd name="connsiteY245" fmla="*/ 7907 h 10000"/>
                <a:gd name="connsiteX246" fmla="*/ 9458 w 10000"/>
                <a:gd name="connsiteY246" fmla="*/ 7733 h 10000"/>
                <a:gd name="connsiteX247" fmla="*/ 9575 w 10000"/>
                <a:gd name="connsiteY247" fmla="*/ 7829 h 10000"/>
                <a:gd name="connsiteX248" fmla="*/ 9702 w 10000"/>
                <a:gd name="connsiteY248" fmla="*/ 7829 h 10000"/>
                <a:gd name="connsiteX249" fmla="*/ 9809 w 10000"/>
                <a:gd name="connsiteY249" fmla="*/ 7907 h 10000"/>
                <a:gd name="connsiteX250" fmla="*/ 9968 w 10000"/>
                <a:gd name="connsiteY250" fmla="*/ 7829 h 10000"/>
                <a:gd name="connsiteX251" fmla="*/ 10000 w 10000"/>
                <a:gd name="connsiteY251" fmla="*/ 7810 h 10000"/>
                <a:gd name="connsiteX252" fmla="*/ 9979 w 10000"/>
                <a:gd name="connsiteY252" fmla="*/ 7810 h 10000"/>
                <a:gd name="connsiteX253" fmla="*/ 9968 w 10000"/>
                <a:gd name="connsiteY253" fmla="*/ 7636 h 10000"/>
                <a:gd name="connsiteX254" fmla="*/ 9968 w 10000"/>
                <a:gd name="connsiteY254" fmla="*/ 7190 h 10000"/>
                <a:gd name="connsiteX255" fmla="*/ 9968 w 10000"/>
                <a:gd name="connsiteY255" fmla="*/ 6822 h 10000"/>
                <a:gd name="connsiteX256" fmla="*/ 9979 w 10000"/>
                <a:gd name="connsiteY256" fmla="*/ 6802 h 10000"/>
                <a:gd name="connsiteX257" fmla="*/ 9979 w 10000"/>
                <a:gd name="connsiteY257" fmla="*/ 6802 h 10000"/>
                <a:gd name="connsiteX258" fmla="*/ 9947 w 10000"/>
                <a:gd name="connsiteY258" fmla="*/ 6764 h 10000"/>
                <a:gd name="connsiteX0" fmla="*/ 9947 w 10075"/>
                <a:gd name="connsiteY0" fmla="*/ 6764 h 10000"/>
                <a:gd name="connsiteX1" fmla="*/ 9816 w 10075"/>
                <a:gd name="connsiteY1" fmla="*/ 6660 h 10000"/>
                <a:gd name="connsiteX2" fmla="*/ 9766 w 10075"/>
                <a:gd name="connsiteY2" fmla="*/ 6938 h 10000"/>
                <a:gd name="connsiteX3" fmla="*/ 9665 w 10075"/>
                <a:gd name="connsiteY3" fmla="*/ 6915 h 10000"/>
                <a:gd name="connsiteX4" fmla="*/ 9458 w 10075"/>
                <a:gd name="connsiteY4" fmla="*/ 6880 h 10000"/>
                <a:gd name="connsiteX5" fmla="*/ 9447 w 10075"/>
                <a:gd name="connsiteY5" fmla="*/ 6860 h 10000"/>
                <a:gd name="connsiteX6" fmla="*/ 9447 w 10075"/>
                <a:gd name="connsiteY6" fmla="*/ 6841 h 10000"/>
                <a:gd name="connsiteX7" fmla="*/ 9447 w 10075"/>
                <a:gd name="connsiteY7" fmla="*/ 6550 h 10000"/>
                <a:gd name="connsiteX8" fmla="*/ 9447 w 10075"/>
                <a:gd name="connsiteY8" fmla="*/ 6531 h 10000"/>
                <a:gd name="connsiteX9" fmla="*/ 9458 w 10075"/>
                <a:gd name="connsiteY9" fmla="*/ 6531 h 10000"/>
                <a:gd name="connsiteX10" fmla="*/ 9554 w 10075"/>
                <a:gd name="connsiteY10" fmla="*/ 6453 h 10000"/>
                <a:gd name="connsiteX11" fmla="*/ 9564 w 10075"/>
                <a:gd name="connsiteY11" fmla="*/ 5601 h 10000"/>
                <a:gd name="connsiteX12" fmla="*/ 9564 w 10075"/>
                <a:gd name="connsiteY12" fmla="*/ 5581 h 10000"/>
                <a:gd name="connsiteX13" fmla="*/ 9564 w 10075"/>
                <a:gd name="connsiteY13" fmla="*/ 5562 h 10000"/>
                <a:gd name="connsiteX14" fmla="*/ 9649 w 10075"/>
                <a:gd name="connsiteY14" fmla="*/ 5388 h 10000"/>
                <a:gd name="connsiteX15" fmla="*/ 9702 w 10075"/>
                <a:gd name="connsiteY15" fmla="*/ 5291 h 10000"/>
                <a:gd name="connsiteX16" fmla="*/ 9554 w 10075"/>
                <a:gd name="connsiteY16" fmla="*/ 5058 h 10000"/>
                <a:gd name="connsiteX17" fmla="*/ 9554 w 10075"/>
                <a:gd name="connsiteY17" fmla="*/ 5058 h 10000"/>
                <a:gd name="connsiteX18" fmla="*/ 9543 w 10075"/>
                <a:gd name="connsiteY18" fmla="*/ 5058 h 10000"/>
                <a:gd name="connsiteX19" fmla="*/ 9394 w 10075"/>
                <a:gd name="connsiteY19" fmla="*/ 4709 h 10000"/>
                <a:gd name="connsiteX20" fmla="*/ 9394 w 10075"/>
                <a:gd name="connsiteY20" fmla="*/ 4690 h 10000"/>
                <a:gd name="connsiteX21" fmla="*/ 9394 w 10075"/>
                <a:gd name="connsiteY21" fmla="*/ 4690 h 10000"/>
                <a:gd name="connsiteX22" fmla="*/ 9456 w 10075"/>
                <a:gd name="connsiteY22" fmla="*/ 4520 h 10000"/>
                <a:gd name="connsiteX23" fmla="*/ 9490 w 10075"/>
                <a:gd name="connsiteY23" fmla="*/ 4360 h 10000"/>
                <a:gd name="connsiteX24" fmla="*/ 9564 w 10075"/>
                <a:gd name="connsiteY24" fmla="*/ 4244 h 10000"/>
                <a:gd name="connsiteX25" fmla="*/ 9628 w 10075"/>
                <a:gd name="connsiteY25" fmla="*/ 4012 h 10000"/>
                <a:gd name="connsiteX26" fmla="*/ 9490 w 10075"/>
                <a:gd name="connsiteY26" fmla="*/ 3760 h 10000"/>
                <a:gd name="connsiteX27" fmla="*/ 9490 w 10075"/>
                <a:gd name="connsiteY27" fmla="*/ 3760 h 10000"/>
                <a:gd name="connsiteX28" fmla="*/ 9479 w 10075"/>
                <a:gd name="connsiteY28" fmla="*/ 3760 h 10000"/>
                <a:gd name="connsiteX29" fmla="*/ 9426 w 10075"/>
                <a:gd name="connsiteY29" fmla="*/ 3527 h 10000"/>
                <a:gd name="connsiteX30" fmla="*/ 9426 w 10075"/>
                <a:gd name="connsiteY30" fmla="*/ 3527 h 10000"/>
                <a:gd name="connsiteX31" fmla="*/ 9426 w 10075"/>
                <a:gd name="connsiteY31" fmla="*/ 3508 h 10000"/>
                <a:gd name="connsiteX32" fmla="*/ 9416 w 10075"/>
                <a:gd name="connsiteY32" fmla="*/ 3198 h 10000"/>
                <a:gd name="connsiteX33" fmla="*/ 9416 w 10075"/>
                <a:gd name="connsiteY33" fmla="*/ 3198 h 10000"/>
                <a:gd name="connsiteX34" fmla="*/ 9416 w 10075"/>
                <a:gd name="connsiteY34" fmla="*/ 3178 h 10000"/>
                <a:gd name="connsiteX35" fmla="*/ 9532 w 10075"/>
                <a:gd name="connsiteY35" fmla="*/ 2907 h 10000"/>
                <a:gd name="connsiteX36" fmla="*/ 9384 w 10075"/>
                <a:gd name="connsiteY36" fmla="*/ 2616 h 10000"/>
                <a:gd name="connsiteX37" fmla="*/ 9384 w 10075"/>
                <a:gd name="connsiteY37" fmla="*/ 2616 h 10000"/>
                <a:gd name="connsiteX38" fmla="*/ 9384 w 10075"/>
                <a:gd name="connsiteY38" fmla="*/ 2616 h 10000"/>
                <a:gd name="connsiteX39" fmla="*/ 9330 w 10075"/>
                <a:gd name="connsiteY39" fmla="*/ 2267 h 10000"/>
                <a:gd name="connsiteX40" fmla="*/ 9330 w 10075"/>
                <a:gd name="connsiteY40" fmla="*/ 2248 h 10000"/>
                <a:gd name="connsiteX41" fmla="*/ 9330 w 10075"/>
                <a:gd name="connsiteY41" fmla="*/ 2248 h 10000"/>
                <a:gd name="connsiteX42" fmla="*/ 9341 w 10075"/>
                <a:gd name="connsiteY42" fmla="*/ 1841 h 10000"/>
                <a:gd name="connsiteX43" fmla="*/ 9341 w 10075"/>
                <a:gd name="connsiteY43" fmla="*/ 1822 h 10000"/>
                <a:gd name="connsiteX44" fmla="*/ 9341 w 10075"/>
                <a:gd name="connsiteY44" fmla="*/ 1822 h 10000"/>
                <a:gd name="connsiteX45" fmla="*/ 9660 w 10075"/>
                <a:gd name="connsiteY45" fmla="*/ 1279 h 10000"/>
                <a:gd name="connsiteX46" fmla="*/ 9564 w 10075"/>
                <a:gd name="connsiteY46" fmla="*/ 1008 h 10000"/>
                <a:gd name="connsiteX47" fmla="*/ 9554 w 10075"/>
                <a:gd name="connsiteY47" fmla="*/ 1008 h 10000"/>
                <a:gd name="connsiteX48" fmla="*/ 9554 w 10075"/>
                <a:gd name="connsiteY48" fmla="*/ 988 h 10000"/>
                <a:gd name="connsiteX49" fmla="*/ 9586 w 10075"/>
                <a:gd name="connsiteY49" fmla="*/ 698 h 10000"/>
                <a:gd name="connsiteX50" fmla="*/ 9501 w 10075"/>
                <a:gd name="connsiteY50" fmla="*/ 601 h 10000"/>
                <a:gd name="connsiteX51" fmla="*/ 9288 w 10075"/>
                <a:gd name="connsiteY51" fmla="*/ 581 h 10000"/>
                <a:gd name="connsiteX52" fmla="*/ 9288 w 10075"/>
                <a:gd name="connsiteY52" fmla="*/ 581 h 10000"/>
                <a:gd name="connsiteX53" fmla="*/ 9277 w 10075"/>
                <a:gd name="connsiteY53" fmla="*/ 581 h 10000"/>
                <a:gd name="connsiteX54" fmla="*/ 9224 w 10075"/>
                <a:gd name="connsiteY54" fmla="*/ 484 h 10000"/>
                <a:gd name="connsiteX55" fmla="*/ 9086 w 10075"/>
                <a:gd name="connsiteY55" fmla="*/ 484 h 10000"/>
                <a:gd name="connsiteX56" fmla="*/ 8948 w 10075"/>
                <a:gd name="connsiteY56" fmla="*/ 1124 h 10000"/>
                <a:gd name="connsiteX57" fmla="*/ 8927 w 10075"/>
                <a:gd name="connsiteY57" fmla="*/ 1124 h 10000"/>
                <a:gd name="connsiteX58" fmla="*/ 8927 w 10075"/>
                <a:gd name="connsiteY58" fmla="*/ 1143 h 10000"/>
                <a:gd name="connsiteX59" fmla="*/ 8650 w 10075"/>
                <a:gd name="connsiteY59" fmla="*/ 1415 h 10000"/>
                <a:gd name="connsiteX60" fmla="*/ 8640 w 10075"/>
                <a:gd name="connsiteY60" fmla="*/ 1434 h 10000"/>
                <a:gd name="connsiteX61" fmla="*/ 8640 w 10075"/>
                <a:gd name="connsiteY61" fmla="*/ 1434 h 10000"/>
                <a:gd name="connsiteX62" fmla="*/ 8470 w 10075"/>
                <a:gd name="connsiteY62" fmla="*/ 1395 h 10000"/>
                <a:gd name="connsiteX63" fmla="*/ 8321 w 10075"/>
                <a:gd name="connsiteY63" fmla="*/ 1531 h 10000"/>
                <a:gd name="connsiteX64" fmla="*/ 8321 w 10075"/>
                <a:gd name="connsiteY64" fmla="*/ 1531 h 10000"/>
                <a:gd name="connsiteX65" fmla="*/ 8321 w 10075"/>
                <a:gd name="connsiteY65" fmla="*/ 1531 h 10000"/>
                <a:gd name="connsiteX66" fmla="*/ 8172 w 10075"/>
                <a:gd name="connsiteY66" fmla="*/ 1589 h 10000"/>
                <a:gd name="connsiteX67" fmla="*/ 8023 w 10075"/>
                <a:gd name="connsiteY67" fmla="*/ 1957 h 10000"/>
                <a:gd name="connsiteX68" fmla="*/ 8013 w 10075"/>
                <a:gd name="connsiteY68" fmla="*/ 1977 h 10000"/>
                <a:gd name="connsiteX69" fmla="*/ 7991 w 10075"/>
                <a:gd name="connsiteY69" fmla="*/ 1977 h 10000"/>
                <a:gd name="connsiteX70" fmla="*/ 7864 w 10075"/>
                <a:gd name="connsiteY70" fmla="*/ 1899 h 10000"/>
                <a:gd name="connsiteX71" fmla="*/ 7843 w 10075"/>
                <a:gd name="connsiteY71" fmla="*/ 1899 h 10000"/>
                <a:gd name="connsiteX72" fmla="*/ 7853 w 10075"/>
                <a:gd name="connsiteY72" fmla="*/ 1841 h 10000"/>
                <a:gd name="connsiteX73" fmla="*/ 7928 w 10075"/>
                <a:gd name="connsiteY73" fmla="*/ 1609 h 10000"/>
                <a:gd name="connsiteX74" fmla="*/ 7906 w 10075"/>
                <a:gd name="connsiteY74" fmla="*/ 1279 h 10000"/>
                <a:gd name="connsiteX75" fmla="*/ 7758 w 10075"/>
                <a:gd name="connsiteY75" fmla="*/ 1124 h 10000"/>
                <a:gd name="connsiteX76" fmla="*/ 7651 w 10075"/>
                <a:gd name="connsiteY76" fmla="*/ 1124 h 10000"/>
                <a:gd name="connsiteX77" fmla="*/ 7641 w 10075"/>
                <a:gd name="connsiteY77" fmla="*/ 1124 h 10000"/>
                <a:gd name="connsiteX78" fmla="*/ 7630 w 10075"/>
                <a:gd name="connsiteY78" fmla="*/ 1105 h 10000"/>
                <a:gd name="connsiteX79" fmla="*/ 7556 w 10075"/>
                <a:gd name="connsiteY79" fmla="*/ 930 h 10000"/>
                <a:gd name="connsiteX80" fmla="*/ 7184 w 10075"/>
                <a:gd name="connsiteY80" fmla="*/ 891 h 10000"/>
                <a:gd name="connsiteX81" fmla="*/ 7173 w 10075"/>
                <a:gd name="connsiteY81" fmla="*/ 891 h 10000"/>
                <a:gd name="connsiteX82" fmla="*/ 7173 w 10075"/>
                <a:gd name="connsiteY82" fmla="*/ 872 h 10000"/>
                <a:gd name="connsiteX83" fmla="*/ 7099 w 10075"/>
                <a:gd name="connsiteY83" fmla="*/ 620 h 10000"/>
                <a:gd name="connsiteX84" fmla="*/ 7088 w 10075"/>
                <a:gd name="connsiteY84" fmla="*/ 601 h 10000"/>
                <a:gd name="connsiteX85" fmla="*/ 7088 w 10075"/>
                <a:gd name="connsiteY85" fmla="*/ 601 h 10000"/>
                <a:gd name="connsiteX86" fmla="*/ 7088 w 10075"/>
                <a:gd name="connsiteY86" fmla="*/ 465 h 10000"/>
                <a:gd name="connsiteX87" fmla="*/ 7088 w 10075"/>
                <a:gd name="connsiteY87" fmla="*/ 426 h 10000"/>
                <a:gd name="connsiteX88" fmla="*/ 7099 w 10075"/>
                <a:gd name="connsiteY88" fmla="*/ 407 h 10000"/>
                <a:gd name="connsiteX89" fmla="*/ 7194 w 10075"/>
                <a:gd name="connsiteY89" fmla="*/ 310 h 10000"/>
                <a:gd name="connsiteX90" fmla="*/ 7109 w 10075"/>
                <a:gd name="connsiteY90" fmla="*/ 136 h 10000"/>
                <a:gd name="connsiteX91" fmla="*/ 7035 w 10075"/>
                <a:gd name="connsiteY91" fmla="*/ 0 h 10000"/>
                <a:gd name="connsiteX92" fmla="*/ 6939 w 10075"/>
                <a:gd name="connsiteY92" fmla="*/ 116 h 10000"/>
                <a:gd name="connsiteX93" fmla="*/ 6939 w 10075"/>
                <a:gd name="connsiteY93" fmla="*/ 116 h 10000"/>
                <a:gd name="connsiteX94" fmla="*/ 6939 w 10075"/>
                <a:gd name="connsiteY94" fmla="*/ 116 h 10000"/>
                <a:gd name="connsiteX95" fmla="*/ 6812 w 10075"/>
                <a:gd name="connsiteY95" fmla="*/ 155 h 10000"/>
                <a:gd name="connsiteX96" fmla="*/ 6674 w 10075"/>
                <a:gd name="connsiteY96" fmla="*/ 291 h 10000"/>
                <a:gd name="connsiteX97" fmla="*/ 6599 w 10075"/>
                <a:gd name="connsiteY97" fmla="*/ 523 h 10000"/>
                <a:gd name="connsiteX98" fmla="*/ 6599 w 10075"/>
                <a:gd name="connsiteY98" fmla="*/ 543 h 10000"/>
                <a:gd name="connsiteX99" fmla="*/ 6589 w 10075"/>
                <a:gd name="connsiteY99" fmla="*/ 543 h 10000"/>
                <a:gd name="connsiteX100" fmla="*/ 6397 w 10075"/>
                <a:gd name="connsiteY100" fmla="*/ 581 h 10000"/>
                <a:gd name="connsiteX101" fmla="*/ 6334 w 10075"/>
                <a:gd name="connsiteY101" fmla="*/ 891 h 10000"/>
                <a:gd name="connsiteX102" fmla="*/ 6334 w 10075"/>
                <a:gd name="connsiteY102" fmla="*/ 911 h 10000"/>
                <a:gd name="connsiteX103" fmla="*/ 6334 w 10075"/>
                <a:gd name="connsiteY103" fmla="*/ 911 h 10000"/>
                <a:gd name="connsiteX104" fmla="*/ 6142 w 10075"/>
                <a:gd name="connsiteY104" fmla="*/ 1124 h 10000"/>
                <a:gd name="connsiteX105" fmla="*/ 6015 w 10075"/>
                <a:gd name="connsiteY105" fmla="*/ 1453 h 10000"/>
                <a:gd name="connsiteX106" fmla="*/ 6004 w 10075"/>
                <a:gd name="connsiteY106" fmla="*/ 1473 h 10000"/>
                <a:gd name="connsiteX107" fmla="*/ 5994 w 10075"/>
                <a:gd name="connsiteY107" fmla="*/ 1453 h 10000"/>
                <a:gd name="connsiteX108" fmla="*/ 5802 w 10075"/>
                <a:gd name="connsiteY108" fmla="*/ 1434 h 10000"/>
                <a:gd name="connsiteX109" fmla="*/ 5781 w 10075"/>
                <a:gd name="connsiteY109" fmla="*/ 1415 h 10000"/>
                <a:gd name="connsiteX110" fmla="*/ 5781 w 10075"/>
                <a:gd name="connsiteY110" fmla="*/ 1395 h 10000"/>
                <a:gd name="connsiteX111" fmla="*/ 5760 w 10075"/>
                <a:gd name="connsiteY111" fmla="*/ 930 h 10000"/>
                <a:gd name="connsiteX112" fmla="*/ 5654 w 10075"/>
                <a:gd name="connsiteY112" fmla="*/ 872 h 10000"/>
                <a:gd name="connsiteX113" fmla="*/ 5377 w 10075"/>
                <a:gd name="connsiteY113" fmla="*/ 1240 h 10000"/>
                <a:gd name="connsiteX114" fmla="*/ 5165 w 10075"/>
                <a:gd name="connsiteY114" fmla="*/ 1570 h 10000"/>
                <a:gd name="connsiteX115" fmla="*/ 5165 w 10075"/>
                <a:gd name="connsiteY115" fmla="*/ 1899 h 10000"/>
                <a:gd name="connsiteX116" fmla="*/ 5165 w 10075"/>
                <a:gd name="connsiteY116" fmla="*/ 1919 h 10000"/>
                <a:gd name="connsiteX117" fmla="*/ 5154 w 10075"/>
                <a:gd name="connsiteY117" fmla="*/ 1919 h 10000"/>
                <a:gd name="connsiteX118" fmla="*/ 5027 w 10075"/>
                <a:gd name="connsiteY118" fmla="*/ 2112 h 10000"/>
                <a:gd name="connsiteX119" fmla="*/ 5016 w 10075"/>
                <a:gd name="connsiteY119" fmla="*/ 2112 h 10000"/>
                <a:gd name="connsiteX120" fmla="*/ 5005 w 10075"/>
                <a:gd name="connsiteY120" fmla="*/ 2112 h 10000"/>
                <a:gd name="connsiteX121" fmla="*/ 4814 w 10075"/>
                <a:gd name="connsiteY121" fmla="*/ 2112 h 10000"/>
                <a:gd name="connsiteX122" fmla="*/ 4803 w 10075"/>
                <a:gd name="connsiteY122" fmla="*/ 2112 h 10000"/>
                <a:gd name="connsiteX123" fmla="*/ 4803 w 10075"/>
                <a:gd name="connsiteY123" fmla="*/ 2112 h 10000"/>
                <a:gd name="connsiteX124" fmla="*/ 4697 w 10075"/>
                <a:gd name="connsiteY124" fmla="*/ 1957 h 10000"/>
                <a:gd name="connsiteX125" fmla="*/ 4591 w 10075"/>
                <a:gd name="connsiteY125" fmla="*/ 1899 h 10000"/>
                <a:gd name="connsiteX126" fmla="*/ 4591 w 10075"/>
                <a:gd name="connsiteY126" fmla="*/ 1957 h 10000"/>
                <a:gd name="connsiteX127" fmla="*/ 4591 w 10075"/>
                <a:gd name="connsiteY127" fmla="*/ 1996 h 10000"/>
                <a:gd name="connsiteX128" fmla="*/ 4570 w 10075"/>
                <a:gd name="connsiteY128" fmla="*/ 1996 h 10000"/>
                <a:gd name="connsiteX129" fmla="*/ 4453 w 10075"/>
                <a:gd name="connsiteY129" fmla="*/ 1996 h 10000"/>
                <a:gd name="connsiteX130" fmla="*/ 4431 w 10075"/>
                <a:gd name="connsiteY130" fmla="*/ 1996 h 10000"/>
                <a:gd name="connsiteX131" fmla="*/ 4431 w 10075"/>
                <a:gd name="connsiteY131" fmla="*/ 1957 h 10000"/>
                <a:gd name="connsiteX132" fmla="*/ 4378 w 10075"/>
                <a:gd name="connsiteY132" fmla="*/ 1589 h 10000"/>
                <a:gd name="connsiteX133" fmla="*/ 4091 w 10075"/>
                <a:gd name="connsiteY133" fmla="*/ 1512 h 10000"/>
                <a:gd name="connsiteX134" fmla="*/ 4081 w 10075"/>
                <a:gd name="connsiteY134" fmla="*/ 1512 h 10000"/>
                <a:gd name="connsiteX135" fmla="*/ 4070 w 10075"/>
                <a:gd name="connsiteY135" fmla="*/ 1492 h 10000"/>
                <a:gd name="connsiteX136" fmla="*/ 3879 w 10075"/>
                <a:gd name="connsiteY136" fmla="*/ 988 h 10000"/>
                <a:gd name="connsiteX137" fmla="*/ 3719 w 10075"/>
                <a:gd name="connsiteY137" fmla="*/ 988 h 10000"/>
                <a:gd name="connsiteX138" fmla="*/ 3698 w 10075"/>
                <a:gd name="connsiteY138" fmla="*/ 1085 h 10000"/>
                <a:gd name="connsiteX139" fmla="*/ 3698 w 10075"/>
                <a:gd name="connsiteY139" fmla="*/ 1105 h 10000"/>
                <a:gd name="connsiteX140" fmla="*/ 3698 w 10075"/>
                <a:gd name="connsiteY140" fmla="*/ 1105 h 10000"/>
                <a:gd name="connsiteX141" fmla="*/ 3592 w 10075"/>
                <a:gd name="connsiteY141" fmla="*/ 1318 h 10000"/>
                <a:gd name="connsiteX142" fmla="*/ 3592 w 10075"/>
                <a:gd name="connsiteY142" fmla="*/ 1318 h 10000"/>
                <a:gd name="connsiteX143" fmla="*/ 3581 w 10075"/>
                <a:gd name="connsiteY143" fmla="*/ 1318 h 10000"/>
                <a:gd name="connsiteX144" fmla="*/ 3486 w 10075"/>
                <a:gd name="connsiteY144" fmla="*/ 1395 h 10000"/>
                <a:gd name="connsiteX145" fmla="*/ 3486 w 10075"/>
                <a:gd name="connsiteY145" fmla="*/ 1686 h 10000"/>
                <a:gd name="connsiteX146" fmla="*/ 3486 w 10075"/>
                <a:gd name="connsiteY146" fmla="*/ 1725 h 10000"/>
                <a:gd name="connsiteX147" fmla="*/ 3475 w 10075"/>
                <a:gd name="connsiteY147" fmla="*/ 1725 h 10000"/>
                <a:gd name="connsiteX148" fmla="*/ 3369 w 10075"/>
                <a:gd name="connsiteY148" fmla="*/ 1841 h 10000"/>
                <a:gd name="connsiteX149" fmla="*/ 3135 w 10075"/>
                <a:gd name="connsiteY149" fmla="*/ 2171 h 10000"/>
                <a:gd name="connsiteX150" fmla="*/ 2954 w 10075"/>
                <a:gd name="connsiteY150" fmla="*/ 2829 h 10000"/>
                <a:gd name="connsiteX151" fmla="*/ 2954 w 10075"/>
                <a:gd name="connsiteY151" fmla="*/ 2829 h 10000"/>
                <a:gd name="connsiteX152" fmla="*/ 2944 w 10075"/>
                <a:gd name="connsiteY152" fmla="*/ 2829 h 10000"/>
                <a:gd name="connsiteX153" fmla="*/ 2699 w 10075"/>
                <a:gd name="connsiteY153" fmla="*/ 3217 h 10000"/>
                <a:gd name="connsiteX154" fmla="*/ 2487 w 10075"/>
                <a:gd name="connsiteY154" fmla="*/ 3566 h 10000"/>
                <a:gd name="connsiteX155" fmla="*/ 2465 w 10075"/>
                <a:gd name="connsiteY155" fmla="*/ 3934 h 10000"/>
                <a:gd name="connsiteX156" fmla="*/ 2465 w 10075"/>
                <a:gd name="connsiteY156" fmla="*/ 3934 h 10000"/>
                <a:gd name="connsiteX157" fmla="*/ 2465 w 10075"/>
                <a:gd name="connsiteY157" fmla="*/ 3934 h 10000"/>
                <a:gd name="connsiteX158" fmla="*/ 2295 w 10075"/>
                <a:gd name="connsiteY158" fmla="*/ 4205 h 10000"/>
                <a:gd name="connsiteX159" fmla="*/ 2200 w 10075"/>
                <a:gd name="connsiteY159" fmla="*/ 4535 h 10000"/>
                <a:gd name="connsiteX160" fmla="*/ 2189 w 10075"/>
                <a:gd name="connsiteY160" fmla="*/ 4554 h 10000"/>
                <a:gd name="connsiteX161" fmla="*/ 2179 w 10075"/>
                <a:gd name="connsiteY161" fmla="*/ 4554 h 10000"/>
                <a:gd name="connsiteX162" fmla="*/ 2051 w 10075"/>
                <a:gd name="connsiteY162" fmla="*/ 4535 h 10000"/>
                <a:gd name="connsiteX163" fmla="*/ 1913 w 10075"/>
                <a:gd name="connsiteY163" fmla="*/ 4767 h 10000"/>
                <a:gd name="connsiteX164" fmla="*/ 1913 w 10075"/>
                <a:gd name="connsiteY164" fmla="*/ 4787 h 10000"/>
                <a:gd name="connsiteX165" fmla="*/ 1902 w 10075"/>
                <a:gd name="connsiteY165" fmla="*/ 4787 h 10000"/>
                <a:gd name="connsiteX166" fmla="*/ 1498 w 10075"/>
                <a:gd name="connsiteY166" fmla="*/ 4671 h 10000"/>
                <a:gd name="connsiteX167" fmla="*/ 1488 w 10075"/>
                <a:gd name="connsiteY167" fmla="*/ 4671 h 10000"/>
                <a:gd name="connsiteX168" fmla="*/ 1488 w 10075"/>
                <a:gd name="connsiteY168" fmla="*/ 4651 h 10000"/>
                <a:gd name="connsiteX169" fmla="*/ 1424 w 10075"/>
                <a:gd name="connsiteY169" fmla="*/ 4516 h 10000"/>
                <a:gd name="connsiteX170" fmla="*/ 1350 w 10075"/>
                <a:gd name="connsiteY170" fmla="*/ 4516 h 10000"/>
                <a:gd name="connsiteX171" fmla="*/ 1296 w 10075"/>
                <a:gd name="connsiteY171" fmla="*/ 4690 h 10000"/>
                <a:gd name="connsiteX172" fmla="*/ 1286 w 10075"/>
                <a:gd name="connsiteY172" fmla="*/ 4922 h 10000"/>
                <a:gd name="connsiteX173" fmla="*/ 1286 w 10075"/>
                <a:gd name="connsiteY173" fmla="*/ 4942 h 10000"/>
                <a:gd name="connsiteX174" fmla="*/ 1275 w 10075"/>
                <a:gd name="connsiteY174" fmla="*/ 4961 h 10000"/>
                <a:gd name="connsiteX175" fmla="*/ 1190 w 10075"/>
                <a:gd name="connsiteY175" fmla="*/ 5058 h 10000"/>
                <a:gd name="connsiteX176" fmla="*/ 1137 w 10075"/>
                <a:gd name="connsiteY176" fmla="*/ 5271 h 10000"/>
                <a:gd name="connsiteX177" fmla="*/ 1137 w 10075"/>
                <a:gd name="connsiteY177" fmla="*/ 5291 h 10000"/>
                <a:gd name="connsiteX178" fmla="*/ 1126 w 10075"/>
                <a:gd name="connsiteY178" fmla="*/ 5291 h 10000"/>
                <a:gd name="connsiteX179" fmla="*/ 1020 w 10075"/>
                <a:gd name="connsiteY179" fmla="*/ 5407 h 10000"/>
                <a:gd name="connsiteX180" fmla="*/ 999 w 10075"/>
                <a:gd name="connsiteY180" fmla="*/ 5581 h 10000"/>
                <a:gd name="connsiteX181" fmla="*/ 978 w 10075"/>
                <a:gd name="connsiteY181" fmla="*/ 5756 h 10000"/>
                <a:gd name="connsiteX182" fmla="*/ 978 w 10075"/>
                <a:gd name="connsiteY182" fmla="*/ 5775 h 10000"/>
                <a:gd name="connsiteX183" fmla="*/ 967 w 10075"/>
                <a:gd name="connsiteY183" fmla="*/ 5775 h 10000"/>
                <a:gd name="connsiteX184" fmla="*/ 861 w 10075"/>
                <a:gd name="connsiteY184" fmla="*/ 5814 h 10000"/>
                <a:gd name="connsiteX185" fmla="*/ 861 w 10075"/>
                <a:gd name="connsiteY185" fmla="*/ 6047 h 10000"/>
                <a:gd name="connsiteX186" fmla="*/ 967 w 10075"/>
                <a:gd name="connsiteY186" fmla="*/ 6298 h 10000"/>
                <a:gd name="connsiteX187" fmla="*/ 967 w 10075"/>
                <a:gd name="connsiteY187" fmla="*/ 6298 h 10000"/>
                <a:gd name="connsiteX188" fmla="*/ 978 w 10075"/>
                <a:gd name="connsiteY188" fmla="*/ 6318 h 10000"/>
                <a:gd name="connsiteX189" fmla="*/ 988 w 10075"/>
                <a:gd name="connsiteY189" fmla="*/ 6512 h 10000"/>
                <a:gd name="connsiteX190" fmla="*/ 988 w 10075"/>
                <a:gd name="connsiteY190" fmla="*/ 6531 h 10000"/>
                <a:gd name="connsiteX191" fmla="*/ 978 w 10075"/>
                <a:gd name="connsiteY191" fmla="*/ 6550 h 10000"/>
                <a:gd name="connsiteX192" fmla="*/ 627 w 10075"/>
                <a:gd name="connsiteY192" fmla="*/ 7016 h 10000"/>
                <a:gd name="connsiteX193" fmla="*/ 521 w 10075"/>
                <a:gd name="connsiteY193" fmla="*/ 7151 h 10000"/>
                <a:gd name="connsiteX194" fmla="*/ 340 w 10075"/>
                <a:gd name="connsiteY194" fmla="*/ 7384 h 10000"/>
                <a:gd name="connsiteX195" fmla="*/ 340 w 10075"/>
                <a:gd name="connsiteY195" fmla="*/ 7403 h 10000"/>
                <a:gd name="connsiteX196" fmla="*/ 340 w 10075"/>
                <a:gd name="connsiteY196" fmla="*/ 7403 h 10000"/>
                <a:gd name="connsiteX197" fmla="*/ 191 w 10075"/>
                <a:gd name="connsiteY197" fmla="*/ 7519 h 10000"/>
                <a:gd name="connsiteX198" fmla="*/ 0 w 10075"/>
                <a:gd name="connsiteY198" fmla="*/ 7791 h 10000"/>
                <a:gd name="connsiteX199" fmla="*/ 11 w 10075"/>
                <a:gd name="connsiteY199" fmla="*/ 7829 h 10000"/>
                <a:gd name="connsiteX200" fmla="*/ 149 w 10075"/>
                <a:gd name="connsiteY200" fmla="*/ 7868 h 10000"/>
                <a:gd name="connsiteX201" fmla="*/ 159 w 10075"/>
                <a:gd name="connsiteY201" fmla="*/ 7868 h 10000"/>
                <a:gd name="connsiteX202" fmla="*/ 159 w 10075"/>
                <a:gd name="connsiteY202" fmla="*/ 7868 h 10000"/>
                <a:gd name="connsiteX203" fmla="*/ 372 w 10075"/>
                <a:gd name="connsiteY203" fmla="*/ 8256 h 10000"/>
                <a:gd name="connsiteX204" fmla="*/ 1467 w 10075"/>
                <a:gd name="connsiteY204" fmla="*/ 9205 h 10000"/>
                <a:gd name="connsiteX205" fmla="*/ 1467 w 10075"/>
                <a:gd name="connsiteY205" fmla="*/ 9205 h 10000"/>
                <a:gd name="connsiteX206" fmla="*/ 1477 w 10075"/>
                <a:gd name="connsiteY206" fmla="*/ 9205 h 10000"/>
                <a:gd name="connsiteX207" fmla="*/ 1838 w 10075"/>
                <a:gd name="connsiteY207" fmla="*/ 9729 h 10000"/>
                <a:gd name="connsiteX208" fmla="*/ 2508 w 10075"/>
                <a:gd name="connsiteY208" fmla="*/ 9767 h 10000"/>
                <a:gd name="connsiteX209" fmla="*/ 2561 w 10075"/>
                <a:gd name="connsiteY209" fmla="*/ 9671 h 10000"/>
                <a:gd name="connsiteX210" fmla="*/ 2561 w 10075"/>
                <a:gd name="connsiteY210" fmla="*/ 9671 h 10000"/>
                <a:gd name="connsiteX211" fmla="*/ 2582 w 10075"/>
                <a:gd name="connsiteY211" fmla="*/ 9671 h 10000"/>
                <a:gd name="connsiteX212" fmla="*/ 2848 w 10075"/>
                <a:gd name="connsiteY212" fmla="*/ 9651 h 10000"/>
                <a:gd name="connsiteX213" fmla="*/ 2859 w 10075"/>
                <a:gd name="connsiteY213" fmla="*/ 9651 h 10000"/>
                <a:gd name="connsiteX214" fmla="*/ 2869 w 10075"/>
                <a:gd name="connsiteY214" fmla="*/ 9671 h 10000"/>
                <a:gd name="connsiteX215" fmla="*/ 3061 w 10075"/>
                <a:gd name="connsiteY215" fmla="*/ 10000 h 10000"/>
                <a:gd name="connsiteX216" fmla="*/ 3061 w 10075"/>
                <a:gd name="connsiteY216" fmla="*/ 10000 h 10000"/>
                <a:gd name="connsiteX217" fmla="*/ 4336 w 10075"/>
                <a:gd name="connsiteY217" fmla="*/ 9961 h 10000"/>
                <a:gd name="connsiteX218" fmla="*/ 4357 w 10075"/>
                <a:gd name="connsiteY218" fmla="*/ 9961 h 10000"/>
                <a:gd name="connsiteX219" fmla="*/ 4357 w 10075"/>
                <a:gd name="connsiteY219" fmla="*/ 9981 h 10000"/>
                <a:gd name="connsiteX220" fmla="*/ 4527 w 10075"/>
                <a:gd name="connsiteY220" fmla="*/ 9864 h 10000"/>
                <a:gd name="connsiteX221" fmla="*/ 4538 w 10075"/>
                <a:gd name="connsiteY221" fmla="*/ 9864 h 10000"/>
                <a:gd name="connsiteX222" fmla="*/ 4538 w 10075"/>
                <a:gd name="connsiteY222" fmla="*/ 9864 h 10000"/>
                <a:gd name="connsiteX223" fmla="*/ 5250 w 10075"/>
                <a:gd name="connsiteY223" fmla="*/ 9845 h 10000"/>
                <a:gd name="connsiteX224" fmla="*/ 7354 w 10075"/>
                <a:gd name="connsiteY224" fmla="*/ 9845 h 10000"/>
                <a:gd name="connsiteX225" fmla="*/ 7343 w 10075"/>
                <a:gd name="connsiteY225" fmla="*/ 9826 h 10000"/>
                <a:gd name="connsiteX226" fmla="*/ 7439 w 10075"/>
                <a:gd name="connsiteY226" fmla="*/ 9612 h 10000"/>
                <a:gd name="connsiteX227" fmla="*/ 7513 w 10075"/>
                <a:gd name="connsiteY227" fmla="*/ 9516 h 10000"/>
                <a:gd name="connsiteX228" fmla="*/ 7428 w 10075"/>
                <a:gd name="connsiteY228" fmla="*/ 9283 h 10000"/>
                <a:gd name="connsiteX229" fmla="*/ 7450 w 10075"/>
                <a:gd name="connsiteY229" fmla="*/ 9109 h 10000"/>
                <a:gd name="connsiteX230" fmla="*/ 7683 w 10075"/>
                <a:gd name="connsiteY230" fmla="*/ 8992 h 10000"/>
                <a:gd name="connsiteX231" fmla="*/ 7683 w 10075"/>
                <a:gd name="connsiteY231" fmla="*/ 8798 h 10000"/>
                <a:gd name="connsiteX232" fmla="*/ 7779 w 10075"/>
                <a:gd name="connsiteY232" fmla="*/ 8682 h 10000"/>
                <a:gd name="connsiteX233" fmla="*/ 7949 w 10075"/>
                <a:gd name="connsiteY233" fmla="*/ 8372 h 10000"/>
                <a:gd name="connsiteX234" fmla="*/ 8013 w 10075"/>
                <a:gd name="connsiteY234" fmla="*/ 8023 h 10000"/>
                <a:gd name="connsiteX235" fmla="*/ 8098 w 10075"/>
                <a:gd name="connsiteY235" fmla="*/ 7907 h 10000"/>
                <a:gd name="connsiteX236" fmla="*/ 8204 w 10075"/>
                <a:gd name="connsiteY236" fmla="*/ 7907 h 10000"/>
                <a:gd name="connsiteX237" fmla="*/ 8363 w 10075"/>
                <a:gd name="connsiteY237" fmla="*/ 7829 h 10000"/>
                <a:gd name="connsiteX238" fmla="*/ 8576 w 10075"/>
                <a:gd name="connsiteY238" fmla="*/ 7907 h 10000"/>
                <a:gd name="connsiteX239" fmla="*/ 8661 w 10075"/>
                <a:gd name="connsiteY239" fmla="*/ 8004 h 10000"/>
                <a:gd name="connsiteX240" fmla="*/ 8704 w 10075"/>
                <a:gd name="connsiteY240" fmla="*/ 7829 h 10000"/>
                <a:gd name="connsiteX241" fmla="*/ 8831 w 10075"/>
                <a:gd name="connsiteY241" fmla="*/ 7733 h 10000"/>
                <a:gd name="connsiteX242" fmla="*/ 8980 w 10075"/>
                <a:gd name="connsiteY242" fmla="*/ 7713 h 10000"/>
                <a:gd name="connsiteX243" fmla="*/ 9097 w 10075"/>
                <a:gd name="connsiteY243" fmla="*/ 7674 h 10000"/>
                <a:gd name="connsiteX244" fmla="*/ 9235 w 10075"/>
                <a:gd name="connsiteY244" fmla="*/ 7791 h 10000"/>
                <a:gd name="connsiteX245" fmla="*/ 9341 w 10075"/>
                <a:gd name="connsiteY245" fmla="*/ 7907 h 10000"/>
                <a:gd name="connsiteX246" fmla="*/ 9458 w 10075"/>
                <a:gd name="connsiteY246" fmla="*/ 7733 h 10000"/>
                <a:gd name="connsiteX247" fmla="*/ 9575 w 10075"/>
                <a:gd name="connsiteY247" fmla="*/ 7829 h 10000"/>
                <a:gd name="connsiteX248" fmla="*/ 9702 w 10075"/>
                <a:gd name="connsiteY248" fmla="*/ 7829 h 10000"/>
                <a:gd name="connsiteX249" fmla="*/ 9809 w 10075"/>
                <a:gd name="connsiteY249" fmla="*/ 7907 h 10000"/>
                <a:gd name="connsiteX250" fmla="*/ 9968 w 10075"/>
                <a:gd name="connsiteY250" fmla="*/ 7829 h 10000"/>
                <a:gd name="connsiteX251" fmla="*/ 10000 w 10075"/>
                <a:gd name="connsiteY251" fmla="*/ 7810 h 10000"/>
                <a:gd name="connsiteX252" fmla="*/ 9979 w 10075"/>
                <a:gd name="connsiteY252" fmla="*/ 7810 h 10000"/>
                <a:gd name="connsiteX253" fmla="*/ 9968 w 10075"/>
                <a:gd name="connsiteY253" fmla="*/ 7636 h 10000"/>
                <a:gd name="connsiteX254" fmla="*/ 10075 w 10075"/>
                <a:gd name="connsiteY254" fmla="*/ 7250 h 10000"/>
                <a:gd name="connsiteX255" fmla="*/ 9968 w 10075"/>
                <a:gd name="connsiteY255" fmla="*/ 6822 h 10000"/>
                <a:gd name="connsiteX256" fmla="*/ 9979 w 10075"/>
                <a:gd name="connsiteY256" fmla="*/ 6802 h 10000"/>
                <a:gd name="connsiteX257" fmla="*/ 9979 w 10075"/>
                <a:gd name="connsiteY257" fmla="*/ 6802 h 10000"/>
                <a:gd name="connsiteX258" fmla="*/ 9947 w 10075"/>
                <a:gd name="connsiteY258" fmla="*/ 6764 h 10000"/>
                <a:gd name="connsiteX0" fmla="*/ 9947 w 10102"/>
                <a:gd name="connsiteY0" fmla="*/ 6764 h 10000"/>
                <a:gd name="connsiteX1" fmla="*/ 9816 w 10102"/>
                <a:gd name="connsiteY1" fmla="*/ 6660 h 10000"/>
                <a:gd name="connsiteX2" fmla="*/ 9766 w 10102"/>
                <a:gd name="connsiteY2" fmla="*/ 6938 h 10000"/>
                <a:gd name="connsiteX3" fmla="*/ 9665 w 10102"/>
                <a:gd name="connsiteY3" fmla="*/ 6915 h 10000"/>
                <a:gd name="connsiteX4" fmla="*/ 9458 w 10102"/>
                <a:gd name="connsiteY4" fmla="*/ 6880 h 10000"/>
                <a:gd name="connsiteX5" fmla="*/ 9447 w 10102"/>
                <a:gd name="connsiteY5" fmla="*/ 6860 h 10000"/>
                <a:gd name="connsiteX6" fmla="*/ 9447 w 10102"/>
                <a:gd name="connsiteY6" fmla="*/ 6841 h 10000"/>
                <a:gd name="connsiteX7" fmla="*/ 9447 w 10102"/>
                <a:gd name="connsiteY7" fmla="*/ 6550 h 10000"/>
                <a:gd name="connsiteX8" fmla="*/ 9447 w 10102"/>
                <a:gd name="connsiteY8" fmla="*/ 6531 h 10000"/>
                <a:gd name="connsiteX9" fmla="*/ 9458 w 10102"/>
                <a:gd name="connsiteY9" fmla="*/ 6531 h 10000"/>
                <a:gd name="connsiteX10" fmla="*/ 9554 w 10102"/>
                <a:gd name="connsiteY10" fmla="*/ 6453 h 10000"/>
                <a:gd name="connsiteX11" fmla="*/ 9564 w 10102"/>
                <a:gd name="connsiteY11" fmla="*/ 5601 h 10000"/>
                <a:gd name="connsiteX12" fmla="*/ 9564 w 10102"/>
                <a:gd name="connsiteY12" fmla="*/ 5581 h 10000"/>
                <a:gd name="connsiteX13" fmla="*/ 9564 w 10102"/>
                <a:gd name="connsiteY13" fmla="*/ 5562 h 10000"/>
                <a:gd name="connsiteX14" fmla="*/ 9649 w 10102"/>
                <a:gd name="connsiteY14" fmla="*/ 5388 h 10000"/>
                <a:gd name="connsiteX15" fmla="*/ 9702 w 10102"/>
                <a:gd name="connsiteY15" fmla="*/ 5291 h 10000"/>
                <a:gd name="connsiteX16" fmla="*/ 9554 w 10102"/>
                <a:gd name="connsiteY16" fmla="*/ 5058 h 10000"/>
                <a:gd name="connsiteX17" fmla="*/ 9554 w 10102"/>
                <a:gd name="connsiteY17" fmla="*/ 5058 h 10000"/>
                <a:gd name="connsiteX18" fmla="*/ 9543 w 10102"/>
                <a:gd name="connsiteY18" fmla="*/ 5058 h 10000"/>
                <a:gd name="connsiteX19" fmla="*/ 9394 w 10102"/>
                <a:gd name="connsiteY19" fmla="*/ 4709 h 10000"/>
                <a:gd name="connsiteX20" fmla="*/ 9394 w 10102"/>
                <a:gd name="connsiteY20" fmla="*/ 4690 h 10000"/>
                <a:gd name="connsiteX21" fmla="*/ 9394 w 10102"/>
                <a:gd name="connsiteY21" fmla="*/ 4690 h 10000"/>
                <a:gd name="connsiteX22" fmla="*/ 9456 w 10102"/>
                <a:gd name="connsiteY22" fmla="*/ 4520 h 10000"/>
                <a:gd name="connsiteX23" fmla="*/ 9490 w 10102"/>
                <a:gd name="connsiteY23" fmla="*/ 4360 h 10000"/>
                <a:gd name="connsiteX24" fmla="*/ 9564 w 10102"/>
                <a:gd name="connsiteY24" fmla="*/ 4244 h 10000"/>
                <a:gd name="connsiteX25" fmla="*/ 9628 w 10102"/>
                <a:gd name="connsiteY25" fmla="*/ 4012 h 10000"/>
                <a:gd name="connsiteX26" fmla="*/ 9490 w 10102"/>
                <a:gd name="connsiteY26" fmla="*/ 3760 h 10000"/>
                <a:gd name="connsiteX27" fmla="*/ 9490 w 10102"/>
                <a:gd name="connsiteY27" fmla="*/ 3760 h 10000"/>
                <a:gd name="connsiteX28" fmla="*/ 9479 w 10102"/>
                <a:gd name="connsiteY28" fmla="*/ 3760 h 10000"/>
                <a:gd name="connsiteX29" fmla="*/ 9426 w 10102"/>
                <a:gd name="connsiteY29" fmla="*/ 3527 h 10000"/>
                <a:gd name="connsiteX30" fmla="*/ 9426 w 10102"/>
                <a:gd name="connsiteY30" fmla="*/ 3527 h 10000"/>
                <a:gd name="connsiteX31" fmla="*/ 9426 w 10102"/>
                <a:gd name="connsiteY31" fmla="*/ 3508 h 10000"/>
                <a:gd name="connsiteX32" fmla="*/ 9416 w 10102"/>
                <a:gd name="connsiteY32" fmla="*/ 3198 h 10000"/>
                <a:gd name="connsiteX33" fmla="*/ 9416 w 10102"/>
                <a:gd name="connsiteY33" fmla="*/ 3198 h 10000"/>
                <a:gd name="connsiteX34" fmla="*/ 9416 w 10102"/>
                <a:gd name="connsiteY34" fmla="*/ 3178 h 10000"/>
                <a:gd name="connsiteX35" fmla="*/ 9532 w 10102"/>
                <a:gd name="connsiteY35" fmla="*/ 2907 h 10000"/>
                <a:gd name="connsiteX36" fmla="*/ 9384 w 10102"/>
                <a:gd name="connsiteY36" fmla="*/ 2616 h 10000"/>
                <a:gd name="connsiteX37" fmla="*/ 9384 w 10102"/>
                <a:gd name="connsiteY37" fmla="*/ 2616 h 10000"/>
                <a:gd name="connsiteX38" fmla="*/ 9384 w 10102"/>
                <a:gd name="connsiteY38" fmla="*/ 2616 h 10000"/>
                <a:gd name="connsiteX39" fmla="*/ 9330 w 10102"/>
                <a:gd name="connsiteY39" fmla="*/ 2267 h 10000"/>
                <a:gd name="connsiteX40" fmla="*/ 9330 w 10102"/>
                <a:gd name="connsiteY40" fmla="*/ 2248 h 10000"/>
                <a:gd name="connsiteX41" fmla="*/ 9330 w 10102"/>
                <a:gd name="connsiteY41" fmla="*/ 2248 h 10000"/>
                <a:gd name="connsiteX42" fmla="*/ 9341 w 10102"/>
                <a:gd name="connsiteY42" fmla="*/ 1841 h 10000"/>
                <a:gd name="connsiteX43" fmla="*/ 9341 w 10102"/>
                <a:gd name="connsiteY43" fmla="*/ 1822 h 10000"/>
                <a:gd name="connsiteX44" fmla="*/ 9341 w 10102"/>
                <a:gd name="connsiteY44" fmla="*/ 1822 h 10000"/>
                <a:gd name="connsiteX45" fmla="*/ 9660 w 10102"/>
                <a:gd name="connsiteY45" fmla="*/ 1279 h 10000"/>
                <a:gd name="connsiteX46" fmla="*/ 9564 w 10102"/>
                <a:gd name="connsiteY46" fmla="*/ 1008 h 10000"/>
                <a:gd name="connsiteX47" fmla="*/ 9554 w 10102"/>
                <a:gd name="connsiteY47" fmla="*/ 1008 h 10000"/>
                <a:gd name="connsiteX48" fmla="*/ 9554 w 10102"/>
                <a:gd name="connsiteY48" fmla="*/ 988 h 10000"/>
                <a:gd name="connsiteX49" fmla="*/ 9586 w 10102"/>
                <a:gd name="connsiteY49" fmla="*/ 698 h 10000"/>
                <a:gd name="connsiteX50" fmla="*/ 9501 w 10102"/>
                <a:gd name="connsiteY50" fmla="*/ 601 h 10000"/>
                <a:gd name="connsiteX51" fmla="*/ 9288 w 10102"/>
                <a:gd name="connsiteY51" fmla="*/ 581 h 10000"/>
                <a:gd name="connsiteX52" fmla="*/ 9288 w 10102"/>
                <a:gd name="connsiteY52" fmla="*/ 581 h 10000"/>
                <a:gd name="connsiteX53" fmla="*/ 9277 w 10102"/>
                <a:gd name="connsiteY53" fmla="*/ 581 h 10000"/>
                <a:gd name="connsiteX54" fmla="*/ 9224 w 10102"/>
                <a:gd name="connsiteY54" fmla="*/ 484 h 10000"/>
                <a:gd name="connsiteX55" fmla="*/ 9086 w 10102"/>
                <a:gd name="connsiteY55" fmla="*/ 484 h 10000"/>
                <a:gd name="connsiteX56" fmla="*/ 8948 w 10102"/>
                <a:gd name="connsiteY56" fmla="*/ 1124 h 10000"/>
                <a:gd name="connsiteX57" fmla="*/ 8927 w 10102"/>
                <a:gd name="connsiteY57" fmla="*/ 1124 h 10000"/>
                <a:gd name="connsiteX58" fmla="*/ 8927 w 10102"/>
                <a:gd name="connsiteY58" fmla="*/ 1143 h 10000"/>
                <a:gd name="connsiteX59" fmla="*/ 8650 w 10102"/>
                <a:gd name="connsiteY59" fmla="*/ 1415 h 10000"/>
                <a:gd name="connsiteX60" fmla="*/ 8640 w 10102"/>
                <a:gd name="connsiteY60" fmla="*/ 1434 h 10000"/>
                <a:gd name="connsiteX61" fmla="*/ 8640 w 10102"/>
                <a:gd name="connsiteY61" fmla="*/ 1434 h 10000"/>
                <a:gd name="connsiteX62" fmla="*/ 8470 w 10102"/>
                <a:gd name="connsiteY62" fmla="*/ 1395 h 10000"/>
                <a:gd name="connsiteX63" fmla="*/ 8321 w 10102"/>
                <a:gd name="connsiteY63" fmla="*/ 1531 h 10000"/>
                <a:gd name="connsiteX64" fmla="*/ 8321 w 10102"/>
                <a:gd name="connsiteY64" fmla="*/ 1531 h 10000"/>
                <a:gd name="connsiteX65" fmla="*/ 8321 w 10102"/>
                <a:gd name="connsiteY65" fmla="*/ 1531 h 10000"/>
                <a:gd name="connsiteX66" fmla="*/ 8172 w 10102"/>
                <a:gd name="connsiteY66" fmla="*/ 1589 h 10000"/>
                <a:gd name="connsiteX67" fmla="*/ 8023 w 10102"/>
                <a:gd name="connsiteY67" fmla="*/ 1957 h 10000"/>
                <a:gd name="connsiteX68" fmla="*/ 8013 w 10102"/>
                <a:gd name="connsiteY68" fmla="*/ 1977 h 10000"/>
                <a:gd name="connsiteX69" fmla="*/ 7991 w 10102"/>
                <a:gd name="connsiteY69" fmla="*/ 1977 h 10000"/>
                <a:gd name="connsiteX70" fmla="*/ 7864 w 10102"/>
                <a:gd name="connsiteY70" fmla="*/ 1899 h 10000"/>
                <a:gd name="connsiteX71" fmla="*/ 7843 w 10102"/>
                <a:gd name="connsiteY71" fmla="*/ 1899 h 10000"/>
                <a:gd name="connsiteX72" fmla="*/ 7853 w 10102"/>
                <a:gd name="connsiteY72" fmla="*/ 1841 h 10000"/>
                <a:gd name="connsiteX73" fmla="*/ 7928 w 10102"/>
                <a:gd name="connsiteY73" fmla="*/ 1609 h 10000"/>
                <a:gd name="connsiteX74" fmla="*/ 7906 w 10102"/>
                <a:gd name="connsiteY74" fmla="*/ 1279 h 10000"/>
                <a:gd name="connsiteX75" fmla="*/ 7758 w 10102"/>
                <a:gd name="connsiteY75" fmla="*/ 1124 h 10000"/>
                <a:gd name="connsiteX76" fmla="*/ 7651 w 10102"/>
                <a:gd name="connsiteY76" fmla="*/ 1124 h 10000"/>
                <a:gd name="connsiteX77" fmla="*/ 7641 w 10102"/>
                <a:gd name="connsiteY77" fmla="*/ 1124 h 10000"/>
                <a:gd name="connsiteX78" fmla="*/ 7630 w 10102"/>
                <a:gd name="connsiteY78" fmla="*/ 1105 h 10000"/>
                <a:gd name="connsiteX79" fmla="*/ 7556 w 10102"/>
                <a:gd name="connsiteY79" fmla="*/ 930 h 10000"/>
                <a:gd name="connsiteX80" fmla="*/ 7184 w 10102"/>
                <a:gd name="connsiteY80" fmla="*/ 891 h 10000"/>
                <a:gd name="connsiteX81" fmla="*/ 7173 w 10102"/>
                <a:gd name="connsiteY81" fmla="*/ 891 h 10000"/>
                <a:gd name="connsiteX82" fmla="*/ 7173 w 10102"/>
                <a:gd name="connsiteY82" fmla="*/ 872 h 10000"/>
                <a:gd name="connsiteX83" fmla="*/ 7099 w 10102"/>
                <a:gd name="connsiteY83" fmla="*/ 620 h 10000"/>
                <a:gd name="connsiteX84" fmla="*/ 7088 w 10102"/>
                <a:gd name="connsiteY84" fmla="*/ 601 h 10000"/>
                <a:gd name="connsiteX85" fmla="*/ 7088 w 10102"/>
                <a:gd name="connsiteY85" fmla="*/ 601 h 10000"/>
                <a:gd name="connsiteX86" fmla="*/ 7088 w 10102"/>
                <a:gd name="connsiteY86" fmla="*/ 465 h 10000"/>
                <a:gd name="connsiteX87" fmla="*/ 7088 w 10102"/>
                <a:gd name="connsiteY87" fmla="*/ 426 h 10000"/>
                <a:gd name="connsiteX88" fmla="*/ 7099 w 10102"/>
                <a:gd name="connsiteY88" fmla="*/ 407 h 10000"/>
                <a:gd name="connsiteX89" fmla="*/ 7194 w 10102"/>
                <a:gd name="connsiteY89" fmla="*/ 310 h 10000"/>
                <a:gd name="connsiteX90" fmla="*/ 7109 w 10102"/>
                <a:gd name="connsiteY90" fmla="*/ 136 h 10000"/>
                <a:gd name="connsiteX91" fmla="*/ 7035 w 10102"/>
                <a:gd name="connsiteY91" fmla="*/ 0 h 10000"/>
                <a:gd name="connsiteX92" fmla="*/ 6939 w 10102"/>
                <a:gd name="connsiteY92" fmla="*/ 116 h 10000"/>
                <a:gd name="connsiteX93" fmla="*/ 6939 w 10102"/>
                <a:gd name="connsiteY93" fmla="*/ 116 h 10000"/>
                <a:gd name="connsiteX94" fmla="*/ 6939 w 10102"/>
                <a:gd name="connsiteY94" fmla="*/ 116 h 10000"/>
                <a:gd name="connsiteX95" fmla="*/ 6812 w 10102"/>
                <a:gd name="connsiteY95" fmla="*/ 155 h 10000"/>
                <a:gd name="connsiteX96" fmla="*/ 6674 w 10102"/>
                <a:gd name="connsiteY96" fmla="*/ 291 h 10000"/>
                <a:gd name="connsiteX97" fmla="*/ 6599 w 10102"/>
                <a:gd name="connsiteY97" fmla="*/ 523 h 10000"/>
                <a:gd name="connsiteX98" fmla="*/ 6599 w 10102"/>
                <a:gd name="connsiteY98" fmla="*/ 543 h 10000"/>
                <a:gd name="connsiteX99" fmla="*/ 6589 w 10102"/>
                <a:gd name="connsiteY99" fmla="*/ 543 h 10000"/>
                <a:gd name="connsiteX100" fmla="*/ 6397 w 10102"/>
                <a:gd name="connsiteY100" fmla="*/ 581 h 10000"/>
                <a:gd name="connsiteX101" fmla="*/ 6334 w 10102"/>
                <a:gd name="connsiteY101" fmla="*/ 891 h 10000"/>
                <a:gd name="connsiteX102" fmla="*/ 6334 w 10102"/>
                <a:gd name="connsiteY102" fmla="*/ 911 h 10000"/>
                <a:gd name="connsiteX103" fmla="*/ 6334 w 10102"/>
                <a:gd name="connsiteY103" fmla="*/ 911 h 10000"/>
                <a:gd name="connsiteX104" fmla="*/ 6142 w 10102"/>
                <a:gd name="connsiteY104" fmla="*/ 1124 h 10000"/>
                <a:gd name="connsiteX105" fmla="*/ 6015 w 10102"/>
                <a:gd name="connsiteY105" fmla="*/ 1453 h 10000"/>
                <a:gd name="connsiteX106" fmla="*/ 6004 w 10102"/>
                <a:gd name="connsiteY106" fmla="*/ 1473 h 10000"/>
                <a:gd name="connsiteX107" fmla="*/ 5994 w 10102"/>
                <a:gd name="connsiteY107" fmla="*/ 1453 h 10000"/>
                <a:gd name="connsiteX108" fmla="*/ 5802 w 10102"/>
                <a:gd name="connsiteY108" fmla="*/ 1434 h 10000"/>
                <a:gd name="connsiteX109" fmla="*/ 5781 w 10102"/>
                <a:gd name="connsiteY109" fmla="*/ 1415 h 10000"/>
                <a:gd name="connsiteX110" fmla="*/ 5781 w 10102"/>
                <a:gd name="connsiteY110" fmla="*/ 1395 h 10000"/>
                <a:gd name="connsiteX111" fmla="*/ 5760 w 10102"/>
                <a:gd name="connsiteY111" fmla="*/ 930 h 10000"/>
                <a:gd name="connsiteX112" fmla="*/ 5654 w 10102"/>
                <a:gd name="connsiteY112" fmla="*/ 872 h 10000"/>
                <a:gd name="connsiteX113" fmla="*/ 5377 w 10102"/>
                <a:gd name="connsiteY113" fmla="*/ 1240 h 10000"/>
                <a:gd name="connsiteX114" fmla="*/ 5165 w 10102"/>
                <a:gd name="connsiteY114" fmla="*/ 1570 h 10000"/>
                <a:gd name="connsiteX115" fmla="*/ 5165 w 10102"/>
                <a:gd name="connsiteY115" fmla="*/ 1899 h 10000"/>
                <a:gd name="connsiteX116" fmla="*/ 5165 w 10102"/>
                <a:gd name="connsiteY116" fmla="*/ 1919 h 10000"/>
                <a:gd name="connsiteX117" fmla="*/ 5154 w 10102"/>
                <a:gd name="connsiteY117" fmla="*/ 1919 h 10000"/>
                <a:gd name="connsiteX118" fmla="*/ 5027 w 10102"/>
                <a:gd name="connsiteY118" fmla="*/ 2112 h 10000"/>
                <a:gd name="connsiteX119" fmla="*/ 5016 w 10102"/>
                <a:gd name="connsiteY119" fmla="*/ 2112 h 10000"/>
                <a:gd name="connsiteX120" fmla="*/ 5005 w 10102"/>
                <a:gd name="connsiteY120" fmla="*/ 2112 h 10000"/>
                <a:gd name="connsiteX121" fmla="*/ 4814 w 10102"/>
                <a:gd name="connsiteY121" fmla="*/ 2112 h 10000"/>
                <a:gd name="connsiteX122" fmla="*/ 4803 w 10102"/>
                <a:gd name="connsiteY122" fmla="*/ 2112 h 10000"/>
                <a:gd name="connsiteX123" fmla="*/ 4803 w 10102"/>
                <a:gd name="connsiteY123" fmla="*/ 2112 h 10000"/>
                <a:gd name="connsiteX124" fmla="*/ 4697 w 10102"/>
                <a:gd name="connsiteY124" fmla="*/ 1957 h 10000"/>
                <a:gd name="connsiteX125" fmla="*/ 4591 w 10102"/>
                <a:gd name="connsiteY125" fmla="*/ 1899 h 10000"/>
                <a:gd name="connsiteX126" fmla="*/ 4591 w 10102"/>
                <a:gd name="connsiteY126" fmla="*/ 1957 h 10000"/>
                <a:gd name="connsiteX127" fmla="*/ 4591 w 10102"/>
                <a:gd name="connsiteY127" fmla="*/ 1996 h 10000"/>
                <a:gd name="connsiteX128" fmla="*/ 4570 w 10102"/>
                <a:gd name="connsiteY128" fmla="*/ 1996 h 10000"/>
                <a:gd name="connsiteX129" fmla="*/ 4453 w 10102"/>
                <a:gd name="connsiteY129" fmla="*/ 1996 h 10000"/>
                <a:gd name="connsiteX130" fmla="*/ 4431 w 10102"/>
                <a:gd name="connsiteY130" fmla="*/ 1996 h 10000"/>
                <a:gd name="connsiteX131" fmla="*/ 4431 w 10102"/>
                <a:gd name="connsiteY131" fmla="*/ 1957 h 10000"/>
                <a:gd name="connsiteX132" fmla="*/ 4378 w 10102"/>
                <a:gd name="connsiteY132" fmla="*/ 1589 h 10000"/>
                <a:gd name="connsiteX133" fmla="*/ 4091 w 10102"/>
                <a:gd name="connsiteY133" fmla="*/ 1512 h 10000"/>
                <a:gd name="connsiteX134" fmla="*/ 4081 w 10102"/>
                <a:gd name="connsiteY134" fmla="*/ 1512 h 10000"/>
                <a:gd name="connsiteX135" fmla="*/ 4070 w 10102"/>
                <a:gd name="connsiteY135" fmla="*/ 1492 h 10000"/>
                <a:gd name="connsiteX136" fmla="*/ 3879 w 10102"/>
                <a:gd name="connsiteY136" fmla="*/ 988 h 10000"/>
                <a:gd name="connsiteX137" fmla="*/ 3719 w 10102"/>
                <a:gd name="connsiteY137" fmla="*/ 988 h 10000"/>
                <a:gd name="connsiteX138" fmla="*/ 3698 w 10102"/>
                <a:gd name="connsiteY138" fmla="*/ 1085 h 10000"/>
                <a:gd name="connsiteX139" fmla="*/ 3698 w 10102"/>
                <a:gd name="connsiteY139" fmla="*/ 1105 h 10000"/>
                <a:gd name="connsiteX140" fmla="*/ 3698 w 10102"/>
                <a:gd name="connsiteY140" fmla="*/ 1105 h 10000"/>
                <a:gd name="connsiteX141" fmla="*/ 3592 w 10102"/>
                <a:gd name="connsiteY141" fmla="*/ 1318 h 10000"/>
                <a:gd name="connsiteX142" fmla="*/ 3592 w 10102"/>
                <a:gd name="connsiteY142" fmla="*/ 1318 h 10000"/>
                <a:gd name="connsiteX143" fmla="*/ 3581 w 10102"/>
                <a:gd name="connsiteY143" fmla="*/ 1318 h 10000"/>
                <a:gd name="connsiteX144" fmla="*/ 3486 w 10102"/>
                <a:gd name="connsiteY144" fmla="*/ 1395 h 10000"/>
                <a:gd name="connsiteX145" fmla="*/ 3486 w 10102"/>
                <a:gd name="connsiteY145" fmla="*/ 1686 h 10000"/>
                <a:gd name="connsiteX146" fmla="*/ 3486 w 10102"/>
                <a:gd name="connsiteY146" fmla="*/ 1725 h 10000"/>
                <a:gd name="connsiteX147" fmla="*/ 3475 w 10102"/>
                <a:gd name="connsiteY147" fmla="*/ 1725 h 10000"/>
                <a:gd name="connsiteX148" fmla="*/ 3369 w 10102"/>
                <a:gd name="connsiteY148" fmla="*/ 1841 h 10000"/>
                <a:gd name="connsiteX149" fmla="*/ 3135 w 10102"/>
                <a:gd name="connsiteY149" fmla="*/ 2171 h 10000"/>
                <a:gd name="connsiteX150" fmla="*/ 2954 w 10102"/>
                <a:gd name="connsiteY150" fmla="*/ 2829 h 10000"/>
                <a:gd name="connsiteX151" fmla="*/ 2954 w 10102"/>
                <a:gd name="connsiteY151" fmla="*/ 2829 h 10000"/>
                <a:gd name="connsiteX152" fmla="*/ 2944 w 10102"/>
                <a:gd name="connsiteY152" fmla="*/ 2829 h 10000"/>
                <a:gd name="connsiteX153" fmla="*/ 2699 w 10102"/>
                <a:gd name="connsiteY153" fmla="*/ 3217 h 10000"/>
                <a:gd name="connsiteX154" fmla="*/ 2487 w 10102"/>
                <a:gd name="connsiteY154" fmla="*/ 3566 h 10000"/>
                <a:gd name="connsiteX155" fmla="*/ 2465 w 10102"/>
                <a:gd name="connsiteY155" fmla="*/ 3934 h 10000"/>
                <a:gd name="connsiteX156" fmla="*/ 2465 w 10102"/>
                <a:gd name="connsiteY156" fmla="*/ 3934 h 10000"/>
                <a:gd name="connsiteX157" fmla="*/ 2465 w 10102"/>
                <a:gd name="connsiteY157" fmla="*/ 3934 h 10000"/>
                <a:gd name="connsiteX158" fmla="*/ 2295 w 10102"/>
                <a:gd name="connsiteY158" fmla="*/ 4205 h 10000"/>
                <a:gd name="connsiteX159" fmla="*/ 2200 w 10102"/>
                <a:gd name="connsiteY159" fmla="*/ 4535 h 10000"/>
                <a:gd name="connsiteX160" fmla="*/ 2189 w 10102"/>
                <a:gd name="connsiteY160" fmla="*/ 4554 h 10000"/>
                <a:gd name="connsiteX161" fmla="*/ 2179 w 10102"/>
                <a:gd name="connsiteY161" fmla="*/ 4554 h 10000"/>
                <a:gd name="connsiteX162" fmla="*/ 2051 w 10102"/>
                <a:gd name="connsiteY162" fmla="*/ 4535 h 10000"/>
                <a:gd name="connsiteX163" fmla="*/ 1913 w 10102"/>
                <a:gd name="connsiteY163" fmla="*/ 4767 h 10000"/>
                <a:gd name="connsiteX164" fmla="*/ 1913 w 10102"/>
                <a:gd name="connsiteY164" fmla="*/ 4787 h 10000"/>
                <a:gd name="connsiteX165" fmla="*/ 1902 w 10102"/>
                <a:gd name="connsiteY165" fmla="*/ 4787 h 10000"/>
                <a:gd name="connsiteX166" fmla="*/ 1498 w 10102"/>
                <a:gd name="connsiteY166" fmla="*/ 4671 h 10000"/>
                <a:gd name="connsiteX167" fmla="*/ 1488 w 10102"/>
                <a:gd name="connsiteY167" fmla="*/ 4671 h 10000"/>
                <a:gd name="connsiteX168" fmla="*/ 1488 w 10102"/>
                <a:gd name="connsiteY168" fmla="*/ 4651 h 10000"/>
                <a:gd name="connsiteX169" fmla="*/ 1424 w 10102"/>
                <a:gd name="connsiteY169" fmla="*/ 4516 h 10000"/>
                <a:gd name="connsiteX170" fmla="*/ 1350 w 10102"/>
                <a:gd name="connsiteY170" fmla="*/ 4516 h 10000"/>
                <a:gd name="connsiteX171" fmla="*/ 1296 w 10102"/>
                <a:gd name="connsiteY171" fmla="*/ 4690 h 10000"/>
                <a:gd name="connsiteX172" fmla="*/ 1286 w 10102"/>
                <a:gd name="connsiteY172" fmla="*/ 4922 h 10000"/>
                <a:gd name="connsiteX173" fmla="*/ 1286 w 10102"/>
                <a:gd name="connsiteY173" fmla="*/ 4942 h 10000"/>
                <a:gd name="connsiteX174" fmla="*/ 1275 w 10102"/>
                <a:gd name="connsiteY174" fmla="*/ 4961 h 10000"/>
                <a:gd name="connsiteX175" fmla="*/ 1190 w 10102"/>
                <a:gd name="connsiteY175" fmla="*/ 5058 h 10000"/>
                <a:gd name="connsiteX176" fmla="*/ 1137 w 10102"/>
                <a:gd name="connsiteY176" fmla="*/ 5271 h 10000"/>
                <a:gd name="connsiteX177" fmla="*/ 1137 w 10102"/>
                <a:gd name="connsiteY177" fmla="*/ 5291 h 10000"/>
                <a:gd name="connsiteX178" fmla="*/ 1126 w 10102"/>
                <a:gd name="connsiteY178" fmla="*/ 5291 h 10000"/>
                <a:gd name="connsiteX179" fmla="*/ 1020 w 10102"/>
                <a:gd name="connsiteY179" fmla="*/ 5407 h 10000"/>
                <a:gd name="connsiteX180" fmla="*/ 999 w 10102"/>
                <a:gd name="connsiteY180" fmla="*/ 5581 h 10000"/>
                <a:gd name="connsiteX181" fmla="*/ 978 w 10102"/>
                <a:gd name="connsiteY181" fmla="*/ 5756 h 10000"/>
                <a:gd name="connsiteX182" fmla="*/ 978 w 10102"/>
                <a:gd name="connsiteY182" fmla="*/ 5775 h 10000"/>
                <a:gd name="connsiteX183" fmla="*/ 967 w 10102"/>
                <a:gd name="connsiteY183" fmla="*/ 5775 h 10000"/>
                <a:gd name="connsiteX184" fmla="*/ 861 w 10102"/>
                <a:gd name="connsiteY184" fmla="*/ 5814 h 10000"/>
                <a:gd name="connsiteX185" fmla="*/ 861 w 10102"/>
                <a:gd name="connsiteY185" fmla="*/ 6047 h 10000"/>
                <a:gd name="connsiteX186" fmla="*/ 967 w 10102"/>
                <a:gd name="connsiteY186" fmla="*/ 6298 h 10000"/>
                <a:gd name="connsiteX187" fmla="*/ 967 w 10102"/>
                <a:gd name="connsiteY187" fmla="*/ 6298 h 10000"/>
                <a:gd name="connsiteX188" fmla="*/ 978 w 10102"/>
                <a:gd name="connsiteY188" fmla="*/ 6318 h 10000"/>
                <a:gd name="connsiteX189" fmla="*/ 988 w 10102"/>
                <a:gd name="connsiteY189" fmla="*/ 6512 h 10000"/>
                <a:gd name="connsiteX190" fmla="*/ 988 w 10102"/>
                <a:gd name="connsiteY190" fmla="*/ 6531 h 10000"/>
                <a:gd name="connsiteX191" fmla="*/ 978 w 10102"/>
                <a:gd name="connsiteY191" fmla="*/ 6550 h 10000"/>
                <a:gd name="connsiteX192" fmla="*/ 627 w 10102"/>
                <a:gd name="connsiteY192" fmla="*/ 7016 h 10000"/>
                <a:gd name="connsiteX193" fmla="*/ 521 w 10102"/>
                <a:gd name="connsiteY193" fmla="*/ 7151 h 10000"/>
                <a:gd name="connsiteX194" fmla="*/ 340 w 10102"/>
                <a:gd name="connsiteY194" fmla="*/ 7384 h 10000"/>
                <a:gd name="connsiteX195" fmla="*/ 340 w 10102"/>
                <a:gd name="connsiteY195" fmla="*/ 7403 h 10000"/>
                <a:gd name="connsiteX196" fmla="*/ 340 w 10102"/>
                <a:gd name="connsiteY196" fmla="*/ 7403 h 10000"/>
                <a:gd name="connsiteX197" fmla="*/ 191 w 10102"/>
                <a:gd name="connsiteY197" fmla="*/ 7519 h 10000"/>
                <a:gd name="connsiteX198" fmla="*/ 0 w 10102"/>
                <a:gd name="connsiteY198" fmla="*/ 7791 h 10000"/>
                <a:gd name="connsiteX199" fmla="*/ 11 w 10102"/>
                <a:gd name="connsiteY199" fmla="*/ 7829 h 10000"/>
                <a:gd name="connsiteX200" fmla="*/ 149 w 10102"/>
                <a:gd name="connsiteY200" fmla="*/ 7868 h 10000"/>
                <a:gd name="connsiteX201" fmla="*/ 159 w 10102"/>
                <a:gd name="connsiteY201" fmla="*/ 7868 h 10000"/>
                <a:gd name="connsiteX202" fmla="*/ 159 w 10102"/>
                <a:gd name="connsiteY202" fmla="*/ 7868 h 10000"/>
                <a:gd name="connsiteX203" fmla="*/ 372 w 10102"/>
                <a:gd name="connsiteY203" fmla="*/ 8256 h 10000"/>
                <a:gd name="connsiteX204" fmla="*/ 1467 w 10102"/>
                <a:gd name="connsiteY204" fmla="*/ 9205 h 10000"/>
                <a:gd name="connsiteX205" fmla="*/ 1467 w 10102"/>
                <a:gd name="connsiteY205" fmla="*/ 9205 h 10000"/>
                <a:gd name="connsiteX206" fmla="*/ 1477 w 10102"/>
                <a:gd name="connsiteY206" fmla="*/ 9205 h 10000"/>
                <a:gd name="connsiteX207" fmla="*/ 1838 w 10102"/>
                <a:gd name="connsiteY207" fmla="*/ 9729 h 10000"/>
                <a:gd name="connsiteX208" fmla="*/ 2508 w 10102"/>
                <a:gd name="connsiteY208" fmla="*/ 9767 h 10000"/>
                <a:gd name="connsiteX209" fmla="*/ 2561 w 10102"/>
                <a:gd name="connsiteY209" fmla="*/ 9671 h 10000"/>
                <a:gd name="connsiteX210" fmla="*/ 2561 w 10102"/>
                <a:gd name="connsiteY210" fmla="*/ 9671 h 10000"/>
                <a:gd name="connsiteX211" fmla="*/ 2582 w 10102"/>
                <a:gd name="connsiteY211" fmla="*/ 9671 h 10000"/>
                <a:gd name="connsiteX212" fmla="*/ 2848 w 10102"/>
                <a:gd name="connsiteY212" fmla="*/ 9651 h 10000"/>
                <a:gd name="connsiteX213" fmla="*/ 2859 w 10102"/>
                <a:gd name="connsiteY213" fmla="*/ 9651 h 10000"/>
                <a:gd name="connsiteX214" fmla="*/ 2869 w 10102"/>
                <a:gd name="connsiteY214" fmla="*/ 9671 h 10000"/>
                <a:gd name="connsiteX215" fmla="*/ 3061 w 10102"/>
                <a:gd name="connsiteY215" fmla="*/ 10000 h 10000"/>
                <a:gd name="connsiteX216" fmla="*/ 3061 w 10102"/>
                <a:gd name="connsiteY216" fmla="*/ 10000 h 10000"/>
                <a:gd name="connsiteX217" fmla="*/ 4336 w 10102"/>
                <a:gd name="connsiteY217" fmla="*/ 9961 h 10000"/>
                <a:gd name="connsiteX218" fmla="*/ 4357 w 10102"/>
                <a:gd name="connsiteY218" fmla="*/ 9961 h 10000"/>
                <a:gd name="connsiteX219" fmla="*/ 4357 w 10102"/>
                <a:gd name="connsiteY219" fmla="*/ 9981 h 10000"/>
                <a:gd name="connsiteX220" fmla="*/ 4527 w 10102"/>
                <a:gd name="connsiteY220" fmla="*/ 9864 h 10000"/>
                <a:gd name="connsiteX221" fmla="*/ 4538 w 10102"/>
                <a:gd name="connsiteY221" fmla="*/ 9864 h 10000"/>
                <a:gd name="connsiteX222" fmla="*/ 4538 w 10102"/>
                <a:gd name="connsiteY222" fmla="*/ 9864 h 10000"/>
                <a:gd name="connsiteX223" fmla="*/ 5250 w 10102"/>
                <a:gd name="connsiteY223" fmla="*/ 9845 h 10000"/>
                <a:gd name="connsiteX224" fmla="*/ 7354 w 10102"/>
                <a:gd name="connsiteY224" fmla="*/ 9845 h 10000"/>
                <a:gd name="connsiteX225" fmla="*/ 7343 w 10102"/>
                <a:gd name="connsiteY225" fmla="*/ 9826 h 10000"/>
                <a:gd name="connsiteX226" fmla="*/ 7439 w 10102"/>
                <a:gd name="connsiteY226" fmla="*/ 9612 h 10000"/>
                <a:gd name="connsiteX227" fmla="*/ 7513 w 10102"/>
                <a:gd name="connsiteY227" fmla="*/ 9516 h 10000"/>
                <a:gd name="connsiteX228" fmla="*/ 7428 w 10102"/>
                <a:gd name="connsiteY228" fmla="*/ 9283 h 10000"/>
                <a:gd name="connsiteX229" fmla="*/ 7450 w 10102"/>
                <a:gd name="connsiteY229" fmla="*/ 9109 h 10000"/>
                <a:gd name="connsiteX230" fmla="*/ 7683 w 10102"/>
                <a:gd name="connsiteY230" fmla="*/ 8992 h 10000"/>
                <a:gd name="connsiteX231" fmla="*/ 7683 w 10102"/>
                <a:gd name="connsiteY231" fmla="*/ 8798 h 10000"/>
                <a:gd name="connsiteX232" fmla="*/ 7779 w 10102"/>
                <a:gd name="connsiteY232" fmla="*/ 8682 h 10000"/>
                <a:gd name="connsiteX233" fmla="*/ 7949 w 10102"/>
                <a:gd name="connsiteY233" fmla="*/ 8372 h 10000"/>
                <a:gd name="connsiteX234" fmla="*/ 8013 w 10102"/>
                <a:gd name="connsiteY234" fmla="*/ 8023 h 10000"/>
                <a:gd name="connsiteX235" fmla="*/ 8098 w 10102"/>
                <a:gd name="connsiteY235" fmla="*/ 7907 h 10000"/>
                <a:gd name="connsiteX236" fmla="*/ 8204 w 10102"/>
                <a:gd name="connsiteY236" fmla="*/ 7907 h 10000"/>
                <a:gd name="connsiteX237" fmla="*/ 8363 w 10102"/>
                <a:gd name="connsiteY237" fmla="*/ 7829 h 10000"/>
                <a:gd name="connsiteX238" fmla="*/ 8576 w 10102"/>
                <a:gd name="connsiteY238" fmla="*/ 7907 h 10000"/>
                <a:gd name="connsiteX239" fmla="*/ 8661 w 10102"/>
                <a:gd name="connsiteY239" fmla="*/ 8004 h 10000"/>
                <a:gd name="connsiteX240" fmla="*/ 8704 w 10102"/>
                <a:gd name="connsiteY240" fmla="*/ 7829 h 10000"/>
                <a:gd name="connsiteX241" fmla="*/ 8831 w 10102"/>
                <a:gd name="connsiteY241" fmla="*/ 7733 h 10000"/>
                <a:gd name="connsiteX242" fmla="*/ 8980 w 10102"/>
                <a:gd name="connsiteY242" fmla="*/ 7713 h 10000"/>
                <a:gd name="connsiteX243" fmla="*/ 9097 w 10102"/>
                <a:gd name="connsiteY243" fmla="*/ 7674 h 10000"/>
                <a:gd name="connsiteX244" fmla="*/ 9235 w 10102"/>
                <a:gd name="connsiteY244" fmla="*/ 7791 h 10000"/>
                <a:gd name="connsiteX245" fmla="*/ 9341 w 10102"/>
                <a:gd name="connsiteY245" fmla="*/ 7907 h 10000"/>
                <a:gd name="connsiteX246" fmla="*/ 9458 w 10102"/>
                <a:gd name="connsiteY246" fmla="*/ 7733 h 10000"/>
                <a:gd name="connsiteX247" fmla="*/ 9575 w 10102"/>
                <a:gd name="connsiteY247" fmla="*/ 7829 h 10000"/>
                <a:gd name="connsiteX248" fmla="*/ 9702 w 10102"/>
                <a:gd name="connsiteY248" fmla="*/ 7829 h 10000"/>
                <a:gd name="connsiteX249" fmla="*/ 9809 w 10102"/>
                <a:gd name="connsiteY249" fmla="*/ 7907 h 10000"/>
                <a:gd name="connsiteX250" fmla="*/ 9968 w 10102"/>
                <a:gd name="connsiteY250" fmla="*/ 7829 h 10000"/>
                <a:gd name="connsiteX251" fmla="*/ 10000 w 10102"/>
                <a:gd name="connsiteY251" fmla="*/ 7810 h 10000"/>
                <a:gd name="connsiteX252" fmla="*/ 9979 w 10102"/>
                <a:gd name="connsiteY252" fmla="*/ 7810 h 10000"/>
                <a:gd name="connsiteX253" fmla="*/ 10066 w 10102"/>
                <a:gd name="connsiteY253" fmla="*/ 7636 h 10000"/>
                <a:gd name="connsiteX254" fmla="*/ 10075 w 10102"/>
                <a:gd name="connsiteY254" fmla="*/ 7250 h 10000"/>
                <a:gd name="connsiteX255" fmla="*/ 9968 w 10102"/>
                <a:gd name="connsiteY255" fmla="*/ 6822 h 10000"/>
                <a:gd name="connsiteX256" fmla="*/ 9979 w 10102"/>
                <a:gd name="connsiteY256" fmla="*/ 6802 h 10000"/>
                <a:gd name="connsiteX257" fmla="*/ 9979 w 10102"/>
                <a:gd name="connsiteY257" fmla="*/ 6802 h 10000"/>
                <a:gd name="connsiteX258" fmla="*/ 9947 w 10102"/>
                <a:gd name="connsiteY258" fmla="*/ 6764 h 10000"/>
                <a:gd name="connsiteX0" fmla="*/ 9947 w 10102"/>
                <a:gd name="connsiteY0" fmla="*/ 6764 h 10000"/>
                <a:gd name="connsiteX1" fmla="*/ 9816 w 10102"/>
                <a:gd name="connsiteY1" fmla="*/ 6660 h 10000"/>
                <a:gd name="connsiteX2" fmla="*/ 9766 w 10102"/>
                <a:gd name="connsiteY2" fmla="*/ 6938 h 10000"/>
                <a:gd name="connsiteX3" fmla="*/ 9665 w 10102"/>
                <a:gd name="connsiteY3" fmla="*/ 6915 h 10000"/>
                <a:gd name="connsiteX4" fmla="*/ 9458 w 10102"/>
                <a:gd name="connsiteY4" fmla="*/ 6880 h 10000"/>
                <a:gd name="connsiteX5" fmla="*/ 9447 w 10102"/>
                <a:gd name="connsiteY5" fmla="*/ 6860 h 10000"/>
                <a:gd name="connsiteX6" fmla="*/ 9447 w 10102"/>
                <a:gd name="connsiteY6" fmla="*/ 6841 h 10000"/>
                <a:gd name="connsiteX7" fmla="*/ 9447 w 10102"/>
                <a:gd name="connsiteY7" fmla="*/ 6550 h 10000"/>
                <a:gd name="connsiteX8" fmla="*/ 9447 w 10102"/>
                <a:gd name="connsiteY8" fmla="*/ 6531 h 10000"/>
                <a:gd name="connsiteX9" fmla="*/ 9554 w 10102"/>
                <a:gd name="connsiteY9" fmla="*/ 6453 h 10000"/>
                <a:gd name="connsiteX10" fmla="*/ 9564 w 10102"/>
                <a:gd name="connsiteY10" fmla="*/ 5601 h 10000"/>
                <a:gd name="connsiteX11" fmla="*/ 9564 w 10102"/>
                <a:gd name="connsiteY11" fmla="*/ 5581 h 10000"/>
                <a:gd name="connsiteX12" fmla="*/ 9564 w 10102"/>
                <a:gd name="connsiteY12" fmla="*/ 5562 h 10000"/>
                <a:gd name="connsiteX13" fmla="*/ 9649 w 10102"/>
                <a:gd name="connsiteY13" fmla="*/ 5388 h 10000"/>
                <a:gd name="connsiteX14" fmla="*/ 9702 w 10102"/>
                <a:gd name="connsiteY14" fmla="*/ 5291 h 10000"/>
                <a:gd name="connsiteX15" fmla="*/ 9554 w 10102"/>
                <a:gd name="connsiteY15" fmla="*/ 5058 h 10000"/>
                <a:gd name="connsiteX16" fmla="*/ 9554 w 10102"/>
                <a:gd name="connsiteY16" fmla="*/ 5058 h 10000"/>
                <a:gd name="connsiteX17" fmla="*/ 9543 w 10102"/>
                <a:gd name="connsiteY17" fmla="*/ 5058 h 10000"/>
                <a:gd name="connsiteX18" fmla="*/ 9394 w 10102"/>
                <a:gd name="connsiteY18" fmla="*/ 4709 h 10000"/>
                <a:gd name="connsiteX19" fmla="*/ 9394 w 10102"/>
                <a:gd name="connsiteY19" fmla="*/ 4690 h 10000"/>
                <a:gd name="connsiteX20" fmla="*/ 9394 w 10102"/>
                <a:gd name="connsiteY20" fmla="*/ 4690 h 10000"/>
                <a:gd name="connsiteX21" fmla="*/ 9456 w 10102"/>
                <a:gd name="connsiteY21" fmla="*/ 4520 h 10000"/>
                <a:gd name="connsiteX22" fmla="*/ 9490 w 10102"/>
                <a:gd name="connsiteY22" fmla="*/ 4360 h 10000"/>
                <a:gd name="connsiteX23" fmla="*/ 9564 w 10102"/>
                <a:gd name="connsiteY23" fmla="*/ 4244 h 10000"/>
                <a:gd name="connsiteX24" fmla="*/ 9628 w 10102"/>
                <a:gd name="connsiteY24" fmla="*/ 4012 h 10000"/>
                <a:gd name="connsiteX25" fmla="*/ 9490 w 10102"/>
                <a:gd name="connsiteY25" fmla="*/ 3760 h 10000"/>
                <a:gd name="connsiteX26" fmla="*/ 9490 w 10102"/>
                <a:gd name="connsiteY26" fmla="*/ 3760 h 10000"/>
                <a:gd name="connsiteX27" fmla="*/ 9479 w 10102"/>
                <a:gd name="connsiteY27" fmla="*/ 3760 h 10000"/>
                <a:gd name="connsiteX28" fmla="*/ 9426 w 10102"/>
                <a:gd name="connsiteY28" fmla="*/ 3527 h 10000"/>
                <a:gd name="connsiteX29" fmla="*/ 9426 w 10102"/>
                <a:gd name="connsiteY29" fmla="*/ 3527 h 10000"/>
                <a:gd name="connsiteX30" fmla="*/ 9426 w 10102"/>
                <a:gd name="connsiteY30" fmla="*/ 3508 h 10000"/>
                <a:gd name="connsiteX31" fmla="*/ 9416 w 10102"/>
                <a:gd name="connsiteY31" fmla="*/ 3198 h 10000"/>
                <a:gd name="connsiteX32" fmla="*/ 9416 w 10102"/>
                <a:gd name="connsiteY32" fmla="*/ 3198 h 10000"/>
                <a:gd name="connsiteX33" fmla="*/ 9416 w 10102"/>
                <a:gd name="connsiteY33" fmla="*/ 3178 h 10000"/>
                <a:gd name="connsiteX34" fmla="*/ 9532 w 10102"/>
                <a:gd name="connsiteY34" fmla="*/ 2907 h 10000"/>
                <a:gd name="connsiteX35" fmla="*/ 9384 w 10102"/>
                <a:gd name="connsiteY35" fmla="*/ 2616 h 10000"/>
                <a:gd name="connsiteX36" fmla="*/ 9384 w 10102"/>
                <a:gd name="connsiteY36" fmla="*/ 2616 h 10000"/>
                <a:gd name="connsiteX37" fmla="*/ 9384 w 10102"/>
                <a:gd name="connsiteY37" fmla="*/ 2616 h 10000"/>
                <a:gd name="connsiteX38" fmla="*/ 9330 w 10102"/>
                <a:gd name="connsiteY38" fmla="*/ 2267 h 10000"/>
                <a:gd name="connsiteX39" fmla="*/ 9330 w 10102"/>
                <a:gd name="connsiteY39" fmla="*/ 2248 h 10000"/>
                <a:gd name="connsiteX40" fmla="*/ 9330 w 10102"/>
                <a:gd name="connsiteY40" fmla="*/ 2248 h 10000"/>
                <a:gd name="connsiteX41" fmla="*/ 9341 w 10102"/>
                <a:gd name="connsiteY41" fmla="*/ 1841 h 10000"/>
                <a:gd name="connsiteX42" fmla="*/ 9341 w 10102"/>
                <a:gd name="connsiteY42" fmla="*/ 1822 h 10000"/>
                <a:gd name="connsiteX43" fmla="*/ 9341 w 10102"/>
                <a:gd name="connsiteY43" fmla="*/ 1822 h 10000"/>
                <a:gd name="connsiteX44" fmla="*/ 9660 w 10102"/>
                <a:gd name="connsiteY44" fmla="*/ 1279 h 10000"/>
                <a:gd name="connsiteX45" fmla="*/ 9564 w 10102"/>
                <a:gd name="connsiteY45" fmla="*/ 1008 h 10000"/>
                <a:gd name="connsiteX46" fmla="*/ 9554 w 10102"/>
                <a:gd name="connsiteY46" fmla="*/ 1008 h 10000"/>
                <a:gd name="connsiteX47" fmla="*/ 9554 w 10102"/>
                <a:gd name="connsiteY47" fmla="*/ 988 h 10000"/>
                <a:gd name="connsiteX48" fmla="*/ 9586 w 10102"/>
                <a:gd name="connsiteY48" fmla="*/ 698 h 10000"/>
                <a:gd name="connsiteX49" fmla="*/ 9501 w 10102"/>
                <a:gd name="connsiteY49" fmla="*/ 601 h 10000"/>
                <a:gd name="connsiteX50" fmla="*/ 9288 w 10102"/>
                <a:gd name="connsiteY50" fmla="*/ 581 h 10000"/>
                <a:gd name="connsiteX51" fmla="*/ 9288 w 10102"/>
                <a:gd name="connsiteY51" fmla="*/ 581 h 10000"/>
                <a:gd name="connsiteX52" fmla="*/ 9277 w 10102"/>
                <a:gd name="connsiteY52" fmla="*/ 581 h 10000"/>
                <a:gd name="connsiteX53" fmla="*/ 9224 w 10102"/>
                <a:gd name="connsiteY53" fmla="*/ 484 h 10000"/>
                <a:gd name="connsiteX54" fmla="*/ 9086 w 10102"/>
                <a:gd name="connsiteY54" fmla="*/ 484 h 10000"/>
                <a:gd name="connsiteX55" fmla="*/ 8948 w 10102"/>
                <a:gd name="connsiteY55" fmla="*/ 1124 h 10000"/>
                <a:gd name="connsiteX56" fmla="*/ 8927 w 10102"/>
                <a:gd name="connsiteY56" fmla="*/ 1124 h 10000"/>
                <a:gd name="connsiteX57" fmla="*/ 8927 w 10102"/>
                <a:gd name="connsiteY57" fmla="*/ 1143 h 10000"/>
                <a:gd name="connsiteX58" fmla="*/ 8650 w 10102"/>
                <a:gd name="connsiteY58" fmla="*/ 1415 h 10000"/>
                <a:gd name="connsiteX59" fmla="*/ 8640 w 10102"/>
                <a:gd name="connsiteY59" fmla="*/ 1434 h 10000"/>
                <a:gd name="connsiteX60" fmla="*/ 8640 w 10102"/>
                <a:gd name="connsiteY60" fmla="*/ 1434 h 10000"/>
                <a:gd name="connsiteX61" fmla="*/ 8470 w 10102"/>
                <a:gd name="connsiteY61" fmla="*/ 1395 h 10000"/>
                <a:gd name="connsiteX62" fmla="*/ 8321 w 10102"/>
                <a:gd name="connsiteY62" fmla="*/ 1531 h 10000"/>
                <a:gd name="connsiteX63" fmla="*/ 8321 w 10102"/>
                <a:gd name="connsiteY63" fmla="*/ 1531 h 10000"/>
                <a:gd name="connsiteX64" fmla="*/ 8321 w 10102"/>
                <a:gd name="connsiteY64" fmla="*/ 1531 h 10000"/>
                <a:gd name="connsiteX65" fmla="*/ 8172 w 10102"/>
                <a:gd name="connsiteY65" fmla="*/ 1589 h 10000"/>
                <a:gd name="connsiteX66" fmla="*/ 8023 w 10102"/>
                <a:gd name="connsiteY66" fmla="*/ 1957 h 10000"/>
                <a:gd name="connsiteX67" fmla="*/ 8013 w 10102"/>
                <a:gd name="connsiteY67" fmla="*/ 1977 h 10000"/>
                <a:gd name="connsiteX68" fmla="*/ 7991 w 10102"/>
                <a:gd name="connsiteY68" fmla="*/ 1977 h 10000"/>
                <a:gd name="connsiteX69" fmla="*/ 7864 w 10102"/>
                <a:gd name="connsiteY69" fmla="*/ 1899 h 10000"/>
                <a:gd name="connsiteX70" fmla="*/ 7843 w 10102"/>
                <a:gd name="connsiteY70" fmla="*/ 1899 h 10000"/>
                <a:gd name="connsiteX71" fmla="*/ 7853 w 10102"/>
                <a:gd name="connsiteY71" fmla="*/ 1841 h 10000"/>
                <a:gd name="connsiteX72" fmla="*/ 7928 w 10102"/>
                <a:gd name="connsiteY72" fmla="*/ 1609 h 10000"/>
                <a:gd name="connsiteX73" fmla="*/ 7906 w 10102"/>
                <a:gd name="connsiteY73" fmla="*/ 1279 h 10000"/>
                <a:gd name="connsiteX74" fmla="*/ 7758 w 10102"/>
                <a:gd name="connsiteY74" fmla="*/ 1124 h 10000"/>
                <a:gd name="connsiteX75" fmla="*/ 7651 w 10102"/>
                <a:gd name="connsiteY75" fmla="*/ 1124 h 10000"/>
                <a:gd name="connsiteX76" fmla="*/ 7641 w 10102"/>
                <a:gd name="connsiteY76" fmla="*/ 1124 h 10000"/>
                <a:gd name="connsiteX77" fmla="*/ 7630 w 10102"/>
                <a:gd name="connsiteY77" fmla="*/ 1105 h 10000"/>
                <a:gd name="connsiteX78" fmla="*/ 7556 w 10102"/>
                <a:gd name="connsiteY78" fmla="*/ 930 h 10000"/>
                <a:gd name="connsiteX79" fmla="*/ 7184 w 10102"/>
                <a:gd name="connsiteY79" fmla="*/ 891 h 10000"/>
                <a:gd name="connsiteX80" fmla="*/ 7173 w 10102"/>
                <a:gd name="connsiteY80" fmla="*/ 891 h 10000"/>
                <a:gd name="connsiteX81" fmla="*/ 7173 w 10102"/>
                <a:gd name="connsiteY81" fmla="*/ 872 h 10000"/>
                <a:gd name="connsiteX82" fmla="*/ 7099 w 10102"/>
                <a:gd name="connsiteY82" fmla="*/ 620 h 10000"/>
                <a:gd name="connsiteX83" fmla="*/ 7088 w 10102"/>
                <a:gd name="connsiteY83" fmla="*/ 601 h 10000"/>
                <a:gd name="connsiteX84" fmla="*/ 7088 w 10102"/>
                <a:gd name="connsiteY84" fmla="*/ 601 h 10000"/>
                <a:gd name="connsiteX85" fmla="*/ 7088 w 10102"/>
                <a:gd name="connsiteY85" fmla="*/ 465 h 10000"/>
                <a:gd name="connsiteX86" fmla="*/ 7088 w 10102"/>
                <a:gd name="connsiteY86" fmla="*/ 426 h 10000"/>
                <a:gd name="connsiteX87" fmla="*/ 7099 w 10102"/>
                <a:gd name="connsiteY87" fmla="*/ 407 h 10000"/>
                <a:gd name="connsiteX88" fmla="*/ 7194 w 10102"/>
                <a:gd name="connsiteY88" fmla="*/ 310 h 10000"/>
                <a:gd name="connsiteX89" fmla="*/ 7109 w 10102"/>
                <a:gd name="connsiteY89" fmla="*/ 136 h 10000"/>
                <a:gd name="connsiteX90" fmla="*/ 7035 w 10102"/>
                <a:gd name="connsiteY90" fmla="*/ 0 h 10000"/>
                <a:gd name="connsiteX91" fmla="*/ 6939 w 10102"/>
                <a:gd name="connsiteY91" fmla="*/ 116 h 10000"/>
                <a:gd name="connsiteX92" fmla="*/ 6939 w 10102"/>
                <a:gd name="connsiteY92" fmla="*/ 116 h 10000"/>
                <a:gd name="connsiteX93" fmla="*/ 6939 w 10102"/>
                <a:gd name="connsiteY93" fmla="*/ 116 h 10000"/>
                <a:gd name="connsiteX94" fmla="*/ 6812 w 10102"/>
                <a:gd name="connsiteY94" fmla="*/ 155 h 10000"/>
                <a:gd name="connsiteX95" fmla="*/ 6674 w 10102"/>
                <a:gd name="connsiteY95" fmla="*/ 291 h 10000"/>
                <a:gd name="connsiteX96" fmla="*/ 6599 w 10102"/>
                <a:gd name="connsiteY96" fmla="*/ 523 h 10000"/>
                <a:gd name="connsiteX97" fmla="*/ 6599 w 10102"/>
                <a:gd name="connsiteY97" fmla="*/ 543 h 10000"/>
                <a:gd name="connsiteX98" fmla="*/ 6589 w 10102"/>
                <a:gd name="connsiteY98" fmla="*/ 543 h 10000"/>
                <a:gd name="connsiteX99" fmla="*/ 6397 w 10102"/>
                <a:gd name="connsiteY99" fmla="*/ 581 h 10000"/>
                <a:gd name="connsiteX100" fmla="*/ 6334 w 10102"/>
                <a:gd name="connsiteY100" fmla="*/ 891 h 10000"/>
                <a:gd name="connsiteX101" fmla="*/ 6334 w 10102"/>
                <a:gd name="connsiteY101" fmla="*/ 911 h 10000"/>
                <a:gd name="connsiteX102" fmla="*/ 6334 w 10102"/>
                <a:gd name="connsiteY102" fmla="*/ 911 h 10000"/>
                <a:gd name="connsiteX103" fmla="*/ 6142 w 10102"/>
                <a:gd name="connsiteY103" fmla="*/ 1124 h 10000"/>
                <a:gd name="connsiteX104" fmla="*/ 6015 w 10102"/>
                <a:gd name="connsiteY104" fmla="*/ 1453 h 10000"/>
                <a:gd name="connsiteX105" fmla="*/ 6004 w 10102"/>
                <a:gd name="connsiteY105" fmla="*/ 1473 h 10000"/>
                <a:gd name="connsiteX106" fmla="*/ 5994 w 10102"/>
                <a:gd name="connsiteY106" fmla="*/ 1453 h 10000"/>
                <a:gd name="connsiteX107" fmla="*/ 5802 w 10102"/>
                <a:gd name="connsiteY107" fmla="*/ 1434 h 10000"/>
                <a:gd name="connsiteX108" fmla="*/ 5781 w 10102"/>
                <a:gd name="connsiteY108" fmla="*/ 1415 h 10000"/>
                <a:gd name="connsiteX109" fmla="*/ 5781 w 10102"/>
                <a:gd name="connsiteY109" fmla="*/ 1395 h 10000"/>
                <a:gd name="connsiteX110" fmla="*/ 5760 w 10102"/>
                <a:gd name="connsiteY110" fmla="*/ 930 h 10000"/>
                <a:gd name="connsiteX111" fmla="*/ 5654 w 10102"/>
                <a:gd name="connsiteY111" fmla="*/ 872 h 10000"/>
                <a:gd name="connsiteX112" fmla="*/ 5377 w 10102"/>
                <a:gd name="connsiteY112" fmla="*/ 1240 h 10000"/>
                <a:gd name="connsiteX113" fmla="*/ 5165 w 10102"/>
                <a:gd name="connsiteY113" fmla="*/ 1570 h 10000"/>
                <a:gd name="connsiteX114" fmla="*/ 5165 w 10102"/>
                <a:gd name="connsiteY114" fmla="*/ 1899 h 10000"/>
                <a:gd name="connsiteX115" fmla="*/ 5165 w 10102"/>
                <a:gd name="connsiteY115" fmla="*/ 1919 h 10000"/>
                <a:gd name="connsiteX116" fmla="*/ 5154 w 10102"/>
                <a:gd name="connsiteY116" fmla="*/ 1919 h 10000"/>
                <a:gd name="connsiteX117" fmla="*/ 5027 w 10102"/>
                <a:gd name="connsiteY117" fmla="*/ 2112 h 10000"/>
                <a:gd name="connsiteX118" fmla="*/ 5016 w 10102"/>
                <a:gd name="connsiteY118" fmla="*/ 2112 h 10000"/>
                <a:gd name="connsiteX119" fmla="*/ 5005 w 10102"/>
                <a:gd name="connsiteY119" fmla="*/ 2112 h 10000"/>
                <a:gd name="connsiteX120" fmla="*/ 4814 w 10102"/>
                <a:gd name="connsiteY120" fmla="*/ 2112 h 10000"/>
                <a:gd name="connsiteX121" fmla="*/ 4803 w 10102"/>
                <a:gd name="connsiteY121" fmla="*/ 2112 h 10000"/>
                <a:gd name="connsiteX122" fmla="*/ 4803 w 10102"/>
                <a:gd name="connsiteY122" fmla="*/ 2112 h 10000"/>
                <a:gd name="connsiteX123" fmla="*/ 4697 w 10102"/>
                <a:gd name="connsiteY123" fmla="*/ 1957 h 10000"/>
                <a:gd name="connsiteX124" fmla="*/ 4591 w 10102"/>
                <a:gd name="connsiteY124" fmla="*/ 1899 h 10000"/>
                <a:gd name="connsiteX125" fmla="*/ 4591 w 10102"/>
                <a:gd name="connsiteY125" fmla="*/ 1957 h 10000"/>
                <a:gd name="connsiteX126" fmla="*/ 4591 w 10102"/>
                <a:gd name="connsiteY126" fmla="*/ 1996 h 10000"/>
                <a:gd name="connsiteX127" fmla="*/ 4570 w 10102"/>
                <a:gd name="connsiteY127" fmla="*/ 1996 h 10000"/>
                <a:gd name="connsiteX128" fmla="*/ 4453 w 10102"/>
                <a:gd name="connsiteY128" fmla="*/ 1996 h 10000"/>
                <a:gd name="connsiteX129" fmla="*/ 4431 w 10102"/>
                <a:gd name="connsiteY129" fmla="*/ 1996 h 10000"/>
                <a:gd name="connsiteX130" fmla="*/ 4431 w 10102"/>
                <a:gd name="connsiteY130" fmla="*/ 1957 h 10000"/>
                <a:gd name="connsiteX131" fmla="*/ 4378 w 10102"/>
                <a:gd name="connsiteY131" fmla="*/ 1589 h 10000"/>
                <a:gd name="connsiteX132" fmla="*/ 4091 w 10102"/>
                <a:gd name="connsiteY132" fmla="*/ 1512 h 10000"/>
                <a:gd name="connsiteX133" fmla="*/ 4081 w 10102"/>
                <a:gd name="connsiteY133" fmla="*/ 1512 h 10000"/>
                <a:gd name="connsiteX134" fmla="*/ 4070 w 10102"/>
                <a:gd name="connsiteY134" fmla="*/ 1492 h 10000"/>
                <a:gd name="connsiteX135" fmla="*/ 3879 w 10102"/>
                <a:gd name="connsiteY135" fmla="*/ 988 h 10000"/>
                <a:gd name="connsiteX136" fmla="*/ 3719 w 10102"/>
                <a:gd name="connsiteY136" fmla="*/ 988 h 10000"/>
                <a:gd name="connsiteX137" fmla="*/ 3698 w 10102"/>
                <a:gd name="connsiteY137" fmla="*/ 1085 h 10000"/>
                <a:gd name="connsiteX138" fmla="*/ 3698 w 10102"/>
                <a:gd name="connsiteY138" fmla="*/ 1105 h 10000"/>
                <a:gd name="connsiteX139" fmla="*/ 3698 w 10102"/>
                <a:gd name="connsiteY139" fmla="*/ 1105 h 10000"/>
                <a:gd name="connsiteX140" fmla="*/ 3592 w 10102"/>
                <a:gd name="connsiteY140" fmla="*/ 1318 h 10000"/>
                <a:gd name="connsiteX141" fmla="*/ 3592 w 10102"/>
                <a:gd name="connsiteY141" fmla="*/ 1318 h 10000"/>
                <a:gd name="connsiteX142" fmla="*/ 3581 w 10102"/>
                <a:gd name="connsiteY142" fmla="*/ 1318 h 10000"/>
                <a:gd name="connsiteX143" fmla="*/ 3486 w 10102"/>
                <a:gd name="connsiteY143" fmla="*/ 1395 h 10000"/>
                <a:gd name="connsiteX144" fmla="*/ 3486 w 10102"/>
                <a:gd name="connsiteY144" fmla="*/ 1686 h 10000"/>
                <a:gd name="connsiteX145" fmla="*/ 3486 w 10102"/>
                <a:gd name="connsiteY145" fmla="*/ 1725 h 10000"/>
                <a:gd name="connsiteX146" fmla="*/ 3475 w 10102"/>
                <a:gd name="connsiteY146" fmla="*/ 1725 h 10000"/>
                <a:gd name="connsiteX147" fmla="*/ 3369 w 10102"/>
                <a:gd name="connsiteY147" fmla="*/ 1841 h 10000"/>
                <a:gd name="connsiteX148" fmla="*/ 3135 w 10102"/>
                <a:gd name="connsiteY148" fmla="*/ 2171 h 10000"/>
                <a:gd name="connsiteX149" fmla="*/ 2954 w 10102"/>
                <a:gd name="connsiteY149" fmla="*/ 2829 h 10000"/>
                <a:gd name="connsiteX150" fmla="*/ 2954 w 10102"/>
                <a:gd name="connsiteY150" fmla="*/ 2829 h 10000"/>
                <a:gd name="connsiteX151" fmla="*/ 2944 w 10102"/>
                <a:gd name="connsiteY151" fmla="*/ 2829 h 10000"/>
                <a:gd name="connsiteX152" fmla="*/ 2699 w 10102"/>
                <a:gd name="connsiteY152" fmla="*/ 3217 h 10000"/>
                <a:gd name="connsiteX153" fmla="*/ 2487 w 10102"/>
                <a:gd name="connsiteY153" fmla="*/ 3566 h 10000"/>
                <a:gd name="connsiteX154" fmla="*/ 2465 w 10102"/>
                <a:gd name="connsiteY154" fmla="*/ 3934 h 10000"/>
                <a:gd name="connsiteX155" fmla="*/ 2465 w 10102"/>
                <a:gd name="connsiteY155" fmla="*/ 3934 h 10000"/>
                <a:gd name="connsiteX156" fmla="*/ 2465 w 10102"/>
                <a:gd name="connsiteY156" fmla="*/ 3934 h 10000"/>
                <a:gd name="connsiteX157" fmla="*/ 2295 w 10102"/>
                <a:gd name="connsiteY157" fmla="*/ 4205 h 10000"/>
                <a:gd name="connsiteX158" fmla="*/ 2200 w 10102"/>
                <a:gd name="connsiteY158" fmla="*/ 4535 h 10000"/>
                <a:gd name="connsiteX159" fmla="*/ 2189 w 10102"/>
                <a:gd name="connsiteY159" fmla="*/ 4554 h 10000"/>
                <a:gd name="connsiteX160" fmla="*/ 2179 w 10102"/>
                <a:gd name="connsiteY160" fmla="*/ 4554 h 10000"/>
                <a:gd name="connsiteX161" fmla="*/ 2051 w 10102"/>
                <a:gd name="connsiteY161" fmla="*/ 4535 h 10000"/>
                <a:gd name="connsiteX162" fmla="*/ 1913 w 10102"/>
                <a:gd name="connsiteY162" fmla="*/ 4767 h 10000"/>
                <a:gd name="connsiteX163" fmla="*/ 1913 w 10102"/>
                <a:gd name="connsiteY163" fmla="*/ 4787 h 10000"/>
                <a:gd name="connsiteX164" fmla="*/ 1902 w 10102"/>
                <a:gd name="connsiteY164" fmla="*/ 4787 h 10000"/>
                <a:gd name="connsiteX165" fmla="*/ 1498 w 10102"/>
                <a:gd name="connsiteY165" fmla="*/ 4671 h 10000"/>
                <a:gd name="connsiteX166" fmla="*/ 1488 w 10102"/>
                <a:gd name="connsiteY166" fmla="*/ 4671 h 10000"/>
                <a:gd name="connsiteX167" fmla="*/ 1488 w 10102"/>
                <a:gd name="connsiteY167" fmla="*/ 4651 h 10000"/>
                <a:gd name="connsiteX168" fmla="*/ 1424 w 10102"/>
                <a:gd name="connsiteY168" fmla="*/ 4516 h 10000"/>
                <a:gd name="connsiteX169" fmla="*/ 1350 w 10102"/>
                <a:gd name="connsiteY169" fmla="*/ 4516 h 10000"/>
                <a:gd name="connsiteX170" fmla="*/ 1296 w 10102"/>
                <a:gd name="connsiteY170" fmla="*/ 4690 h 10000"/>
                <a:gd name="connsiteX171" fmla="*/ 1286 w 10102"/>
                <a:gd name="connsiteY171" fmla="*/ 4922 h 10000"/>
                <a:gd name="connsiteX172" fmla="*/ 1286 w 10102"/>
                <a:gd name="connsiteY172" fmla="*/ 4942 h 10000"/>
                <a:gd name="connsiteX173" fmla="*/ 1275 w 10102"/>
                <a:gd name="connsiteY173" fmla="*/ 4961 h 10000"/>
                <a:gd name="connsiteX174" fmla="*/ 1190 w 10102"/>
                <a:gd name="connsiteY174" fmla="*/ 5058 h 10000"/>
                <a:gd name="connsiteX175" fmla="*/ 1137 w 10102"/>
                <a:gd name="connsiteY175" fmla="*/ 5271 h 10000"/>
                <a:gd name="connsiteX176" fmla="*/ 1137 w 10102"/>
                <a:gd name="connsiteY176" fmla="*/ 5291 h 10000"/>
                <a:gd name="connsiteX177" fmla="*/ 1126 w 10102"/>
                <a:gd name="connsiteY177" fmla="*/ 5291 h 10000"/>
                <a:gd name="connsiteX178" fmla="*/ 1020 w 10102"/>
                <a:gd name="connsiteY178" fmla="*/ 5407 h 10000"/>
                <a:gd name="connsiteX179" fmla="*/ 999 w 10102"/>
                <a:gd name="connsiteY179" fmla="*/ 5581 h 10000"/>
                <a:gd name="connsiteX180" fmla="*/ 978 w 10102"/>
                <a:gd name="connsiteY180" fmla="*/ 5756 h 10000"/>
                <a:gd name="connsiteX181" fmla="*/ 978 w 10102"/>
                <a:gd name="connsiteY181" fmla="*/ 5775 h 10000"/>
                <a:gd name="connsiteX182" fmla="*/ 967 w 10102"/>
                <a:gd name="connsiteY182" fmla="*/ 5775 h 10000"/>
                <a:gd name="connsiteX183" fmla="*/ 861 w 10102"/>
                <a:gd name="connsiteY183" fmla="*/ 5814 h 10000"/>
                <a:gd name="connsiteX184" fmla="*/ 861 w 10102"/>
                <a:gd name="connsiteY184" fmla="*/ 6047 h 10000"/>
                <a:gd name="connsiteX185" fmla="*/ 967 w 10102"/>
                <a:gd name="connsiteY185" fmla="*/ 6298 h 10000"/>
                <a:gd name="connsiteX186" fmla="*/ 967 w 10102"/>
                <a:gd name="connsiteY186" fmla="*/ 6298 h 10000"/>
                <a:gd name="connsiteX187" fmla="*/ 978 w 10102"/>
                <a:gd name="connsiteY187" fmla="*/ 6318 h 10000"/>
                <a:gd name="connsiteX188" fmla="*/ 988 w 10102"/>
                <a:gd name="connsiteY188" fmla="*/ 6512 h 10000"/>
                <a:gd name="connsiteX189" fmla="*/ 988 w 10102"/>
                <a:gd name="connsiteY189" fmla="*/ 6531 h 10000"/>
                <a:gd name="connsiteX190" fmla="*/ 978 w 10102"/>
                <a:gd name="connsiteY190" fmla="*/ 6550 h 10000"/>
                <a:gd name="connsiteX191" fmla="*/ 627 w 10102"/>
                <a:gd name="connsiteY191" fmla="*/ 7016 h 10000"/>
                <a:gd name="connsiteX192" fmla="*/ 521 w 10102"/>
                <a:gd name="connsiteY192" fmla="*/ 7151 h 10000"/>
                <a:gd name="connsiteX193" fmla="*/ 340 w 10102"/>
                <a:gd name="connsiteY193" fmla="*/ 7384 h 10000"/>
                <a:gd name="connsiteX194" fmla="*/ 340 w 10102"/>
                <a:gd name="connsiteY194" fmla="*/ 7403 h 10000"/>
                <a:gd name="connsiteX195" fmla="*/ 340 w 10102"/>
                <a:gd name="connsiteY195" fmla="*/ 7403 h 10000"/>
                <a:gd name="connsiteX196" fmla="*/ 191 w 10102"/>
                <a:gd name="connsiteY196" fmla="*/ 7519 h 10000"/>
                <a:gd name="connsiteX197" fmla="*/ 0 w 10102"/>
                <a:gd name="connsiteY197" fmla="*/ 7791 h 10000"/>
                <a:gd name="connsiteX198" fmla="*/ 11 w 10102"/>
                <a:gd name="connsiteY198" fmla="*/ 7829 h 10000"/>
                <a:gd name="connsiteX199" fmla="*/ 149 w 10102"/>
                <a:gd name="connsiteY199" fmla="*/ 7868 h 10000"/>
                <a:gd name="connsiteX200" fmla="*/ 159 w 10102"/>
                <a:gd name="connsiteY200" fmla="*/ 7868 h 10000"/>
                <a:gd name="connsiteX201" fmla="*/ 159 w 10102"/>
                <a:gd name="connsiteY201" fmla="*/ 7868 h 10000"/>
                <a:gd name="connsiteX202" fmla="*/ 372 w 10102"/>
                <a:gd name="connsiteY202" fmla="*/ 8256 h 10000"/>
                <a:gd name="connsiteX203" fmla="*/ 1467 w 10102"/>
                <a:gd name="connsiteY203" fmla="*/ 9205 h 10000"/>
                <a:gd name="connsiteX204" fmla="*/ 1467 w 10102"/>
                <a:gd name="connsiteY204" fmla="*/ 9205 h 10000"/>
                <a:gd name="connsiteX205" fmla="*/ 1477 w 10102"/>
                <a:gd name="connsiteY205" fmla="*/ 9205 h 10000"/>
                <a:gd name="connsiteX206" fmla="*/ 1838 w 10102"/>
                <a:gd name="connsiteY206" fmla="*/ 9729 h 10000"/>
                <a:gd name="connsiteX207" fmla="*/ 2508 w 10102"/>
                <a:gd name="connsiteY207" fmla="*/ 9767 h 10000"/>
                <a:gd name="connsiteX208" fmla="*/ 2561 w 10102"/>
                <a:gd name="connsiteY208" fmla="*/ 9671 h 10000"/>
                <a:gd name="connsiteX209" fmla="*/ 2561 w 10102"/>
                <a:gd name="connsiteY209" fmla="*/ 9671 h 10000"/>
                <a:gd name="connsiteX210" fmla="*/ 2582 w 10102"/>
                <a:gd name="connsiteY210" fmla="*/ 9671 h 10000"/>
                <a:gd name="connsiteX211" fmla="*/ 2848 w 10102"/>
                <a:gd name="connsiteY211" fmla="*/ 9651 h 10000"/>
                <a:gd name="connsiteX212" fmla="*/ 2859 w 10102"/>
                <a:gd name="connsiteY212" fmla="*/ 9651 h 10000"/>
                <a:gd name="connsiteX213" fmla="*/ 2869 w 10102"/>
                <a:gd name="connsiteY213" fmla="*/ 9671 h 10000"/>
                <a:gd name="connsiteX214" fmla="*/ 3061 w 10102"/>
                <a:gd name="connsiteY214" fmla="*/ 10000 h 10000"/>
                <a:gd name="connsiteX215" fmla="*/ 3061 w 10102"/>
                <a:gd name="connsiteY215" fmla="*/ 10000 h 10000"/>
                <a:gd name="connsiteX216" fmla="*/ 4336 w 10102"/>
                <a:gd name="connsiteY216" fmla="*/ 9961 h 10000"/>
                <a:gd name="connsiteX217" fmla="*/ 4357 w 10102"/>
                <a:gd name="connsiteY217" fmla="*/ 9961 h 10000"/>
                <a:gd name="connsiteX218" fmla="*/ 4357 w 10102"/>
                <a:gd name="connsiteY218" fmla="*/ 9981 h 10000"/>
                <a:gd name="connsiteX219" fmla="*/ 4527 w 10102"/>
                <a:gd name="connsiteY219" fmla="*/ 9864 h 10000"/>
                <a:gd name="connsiteX220" fmla="*/ 4538 w 10102"/>
                <a:gd name="connsiteY220" fmla="*/ 9864 h 10000"/>
                <a:gd name="connsiteX221" fmla="*/ 4538 w 10102"/>
                <a:gd name="connsiteY221" fmla="*/ 9864 h 10000"/>
                <a:gd name="connsiteX222" fmla="*/ 5250 w 10102"/>
                <a:gd name="connsiteY222" fmla="*/ 9845 h 10000"/>
                <a:gd name="connsiteX223" fmla="*/ 7354 w 10102"/>
                <a:gd name="connsiteY223" fmla="*/ 9845 h 10000"/>
                <a:gd name="connsiteX224" fmla="*/ 7343 w 10102"/>
                <a:gd name="connsiteY224" fmla="*/ 9826 h 10000"/>
                <a:gd name="connsiteX225" fmla="*/ 7439 w 10102"/>
                <a:gd name="connsiteY225" fmla="*/ 9612 h 10000"/>
                <a:gd name="connsiteX226" fmla="*/ 7513 w 10102"/>
                <a:gd name="connsiteY226" fmla="*/ 9516 h 10000"/>
                <a:gd name="connsiteX227" fmla="*/ 7428 w 10102"/>
                <a:gd name="connsiteY227" fmla="*/ 9283 h 10000"/>
                <a:gd name="connsiteX228" fmla="*/ 7450 w 10102"/>
                <a:gd name="connsiteY228" fmla="*/ 9109 h 10000"/>
                <a:gd name="connsiteX229" fmla="*/ 7683 w 10102"/>
                <a:gd name="connsiteY229" fmla="*/ 8992 h 10000"/>
                <a:gd name="connsiteX230" fmla="*/ 7683 w 10102"/>
                <a:gd name="connsiteY230" fmla="*/ 8798 h 10000"/>
                <a:gd name="connsiteX231" fmla="*/ 7779 w 10102"/>
                <a:gd name="connsiteY231" fmla="*/ 8682 h 10000"/>
                <a:gd name="connsiteX232" fmla="*/ 7949 w 10102"/>
                <a:gd name="connsiteY232" fmla="*/ 8372 h 10000"/>
                <a:gd name="connsiteX233" fmla="*/ 8013 w 10102"/>
                <a:gd name="connsiteY233" fmla="*/ 8023 h 10000"/>
                <a:gd name="connsiteX234" fmla="*/ 8098 w 10102"/>
                <a:gd name="connsiteY234" fmla="*/ 7907 h 10000"/>
                <a:gd name="connsiteX235" fmla="*/ 8204 w 10102"/>
                <a:gd name="connsiteY235" fmla="*/ 7907 h 10000"/>
                <a:gd name="connsiteX236" fmla="*/ 8363 w 10102"/>
                <a:gd name="connsiteY236" fmla="*/ 7829 h 10000"/>
                <a:gd name="connsiteX237" fmla="*/ 8576 w 10102"/>
                <a:gd name="connsiteY237" fmla="*/ 7907 h 10000"/>
                <a:gd name="connsiteX238" fmla="*/ 8661 w 10102"/>
                <a:gd name="connsiteY238" fmla="*/ 8004 h 10000"/>
                <a:gd name="connsiteX239" fmla="*/ 8704 w 10102"/>
                <a:gd name="connsiteY239" fmla="*/ 7829 h 10000"/>
                <a:gd name="connsiteX240" fmla="*/ 8831 w 10102"/>
                <a:gd name="connsiteY240" fmla="*/ 7733 h 10000"/>
                <a:gd name="connsiteX241" fmla="*/ 8980 w 10102"/>
                <a:gd name="connsiteY241" fmla="*/ 7713 h 10000"/>
                <a:gd name="connsiteX242" fmla="*/ 9097 w 10102"/>
                <a:gd name="connsiteY242" fmla="*/ 7674 h 10000"/>
                <a:gd name="connsiteX243" fmla="*/ 9235 w 10102"/>
                <a:gd name="connsiteY243" fmla="*/ 7791 h 10000"/>
                <a:gd name="connsiteX244" fmla="*/ 9341 w 10102"/>
                <a:gd name="connsiteY244" fmla="*/ 7907 h 10000"/>
                <a:gd name="connsiteX245" fmla="*/ 9458 w 10102"/>
                <a:gd name="connsiteY245" fmla="*/ 7733 h 10000"/>
                <a:gd name="connsiteX246" fmla="*/ 9575 w 10102"/>
                <a:gd name="connsiteY246" fmla="*/ 7829 h 10000"/>
                <a:gd name="connsiteX247" fmla="*/ 9702 w 10102"/>
                <a:gd name="connsiteY247" fmla="*/ 7829 h 10000"/>
                <a:gd name="connsiteX248" fmla="*/ 9809 w 10102"/>
                <a:gd name="connsiteY248" fmla="*/ 7907 h 10000"/>
                <a:gd name="connsiteX249" fmla="*/ 9968 w 10102"/>
                <a:gd name="connsiteY249" fmla="*/ 7829 h 10000"/>
                <a:gd name="connsiteX250" fmla="*/ 10000 w 10102"/>
                <a:gd name="connsiteY250" fmla="*/ 7810 h 10000"/>
                <a:gd name="connsiteX251" fmla="*/ 9979 w 10102"/>
                <a:gd name="connsiteY251" fmla="*/ 7810 h 10000"/>
                <a:gd name="connsiteX252" fmla="*/ 10066 w 10102"/>
                <a:gd name="connsiteY252" fmla="*/ 7636 h 10000"/>
                <a:gd name="connsiteX253" fmla="*/ 10075 w 10102"/>
                <a:gd name="connsiteY253" fmla="*/ 7250 h 10000"/>
                <a:gd name="connsiteX254" fmla="*/ 9968 w 10102"/>
                <a:gd name="connsiteY254" fmla="*/ 6822 h 10000"/>
                <a:gd name="connsiteX255" fmla="*/ 9979 w 10102"/>
                <a:gd name="connsiteY255" fmla="*/ 6802 h 10000"/>
                <a:gd name="connsiteX256" fmla="*/ 9979 w 10102"/>
                <a:gd name="connsiteY256" fmla="*/ 6802 h 10000"/>
                <a:gd name="connsiteX257" fmla="*/ 9947 w 10102"/>
                <a:gd name="connsiteY257" fmla="*/ 6764 h 10000"/>
                <a:gd name="connsiteX0" fmla="*/ 9947 w 10102"/>
                <a:gd name="connsiteY0" fmla="*/ 6764 h 10000"/>
                <a:gd name="connsiteX1" fmla="*/ 9816 w 10102"/>
                <a:gd name="connsiteY1" fmla="*/ 6660 h 10000"/>
                <a:gd name="connsiteX2" fmla="*/ 9766 w 10102"/>
                <a:gd name="connsiteY2" fmla="*/ 6938 h 10000"/>
                <a:gd name="connsiteX3" fmla="*/ 9665 w 10102"/>
                <a:gd name="connsiteY3" fmla="*/ 6915 h 10000"/>
                <a:gd name="connsiteX4" fmla="*/ 9458 w 10102"/>
                <a:gd name="connsiteY4" fmla="*/ 6880 h 10000"/>
                <a:gd name="connsiteX5" fmla="*/ 9447 w 10102"/>
                <a:gd name="connsiteY5" fmla="*/ 6860 h 10000"/>
                <a:gd name="connsiteX6" fmla="*/ 9447 w 10102"/>
                <a:gd name="connsiteY6" fmla="*/ 6841 h 10000"/>
                <a:gd name="connsiteX7" fmla="*/ 9447 w 10102"/>
                <a:gd name="connsiteY7" fmla="*/ 6550 h 10000"/>
                <a:gd name="connsiteX8" fmla="*/ 9554 w 10102"/>
                <a:gd name="connsiteY8" fmla="*/ 6453 h 10000"/>
                <a:gd name="connsiteX9" fmla="*/ 9564 w 10102"/>
                <a:gd name="connsiteY9" fmla="*/ 5601 h 10000"/>
                <a:gd name="connsiteX10" fmla="*/ 9564 w 10102"/>
                <a:gd name="connsiteY10" fmla="*/ 5581 h 10000"/>
                <a:gd name="connsiteX11" fmla="*/ 9564 w 10102"/>
                <a:gd name="connsiteY11" fmla="*/ 5562 h 10000"/>
                <a:gd name="connsiteX12" fmla="*/ 9649 w 10102"/>
                <a:gd name="connsiteY12" fmla="*/ 5388 h 10000"/>
                <a:gd name="connsiteX13" fmla="*/ 9702 w 10102"/>
                <a:gd name="connsiteY13" fmla="*/ 5291 h 10000"/>
                <a:gd name="connsiteX14" fmla="*/ 9554 w 10102"/>
                <a:gd name="connsiteY14" fmla="*/ 5058 h 10000"/>
                <a:gd name="connsiteX15" fmla="*/ 9554 w 10102"/>
                <a:gd name="connsiteY15" fmla="*/ 5058 h 10000"/>
                <a:gd name="connsiteX16" fmla="*/ 9543 w 10102"/>
                <a:gd name="connsiteY16" fmla="*/ 5058 h 10000"/>
                <a:gd name="connsiteX17" fmla="*/ 9394 w 10102"/>
                <a:gd name="connsiteY17" fmla="*/ 4709 h 10000"/>
                <a:gd name="connsiteX18" fmla="*/ 9394 w 10102"/>
                <a:gd name="connsiteY18" fmla="*/ 4690 h 10000"/>
                <a:gd name="connsiteX19" fmla="*/ 9394 w 10102"/>
                <a:gd name="connsiteY19" fmla="*/ 4690 h 10000"/>
                <a:gd name="connsiteX20" fmla="*/ 9456 w 10102"/>
                <a:gd name="connsiteY20" fmla="*/ 4520 h 10000"/>
                <a:gd name="connsiteX21" fmla="*/ 9490 w 10102"/>
                <a:gd name="connsiteY21" fmla="*/ 4360 h 10000"/>
                <a:gd name="connsiteX22" fmla="*/ 9564 w 10102"/>
                <a:gd name="connsiteY22" fmla="*/ 4244 h 10000"/>
                <a:gd name="connsiteX23" fmla="*/ 9628 w 10102"/>
                <a:gd name="connsiteY23" fmla="*/ 4012 h 10000"/>
                <a:gd name="connsiteX24" fmla="*/ 9490 w 10102"/>
                <a:gd name="connsiteY24" fmla="*/ 3760 h 10000"/>
                <a:gd name="connsiteX25" fmla="*/ 9490 w 10102"/>
                <a:gd name="connsiteY25" fmla="*/ 3760 h 10000"/>
                <a:gd name="connsiteX26" fmla="*/ 9479 w 10102"/>
                <a:gd name="connsiteY26" fmla="*/ 3760 h 10000"/>
                <a:gd name="connsiteX27" fmla="*/ 9426 w 10102"/>
                <a:gd name="connsiteY27" fmla="*/ 3527 h 10000"/>
                <a:gd name="connsiteX28" fmla="*/ 9426 w 10102"/>
                <a:gd name="connsiteY28" fmla="*/ 3527 h 10000"/>
                <a:gd name="connsiteX29" fmla="*/ 9426 w 10102"/>
                <a:gd name="connsiteY29" fmla="*/ 3508 h 10000"/>
                <a:gd name="connsiteX30" fmla="*/ 9416 w 10102"/>
                <a:gd name="connsiteY30" fmla="*/ 3198 h 10000"/>
                <a:gd name="connsiteX31" fmla="*/ 9416 w 10102"/>
                <a:gd name="connsiteY31" fmla="*/ 3198 h 10000"/>
                <a:gd name="connsiteX32" fmla="*/ 9416 w 10102"/>
                <a:gd name="connsiteY32" fmla="*/ 3178 h 10000"/>
                <a:gd name="connsiteX33" fmla="*/ 9532 w 10102"/>
                <a:gd name="connsiteY33" fmla="*/ 2907 h 10000"/>
                <a:gd name="connsiteX34" fmla="*/ 9384 w 10102"/>
                <a:gd name="connsiteY34" fmla="*/ 2616 h 10000"/>
                <a:gd name="connsiteX35" fmla="*/ 9384 w 10102"/>
                <a:gd name="connsiteY35" fmla="*/ 2616 h 10000"/>
                <a:gd name="connsiteX36" fmla="*/ 9384 w 10102"/>
                <a:gd name="connsiteY36" fmla="*/ 2616 h 10000"/>
                <a:gd name="connsiteX37" fmla="*/ 9330 w 10102"/>
                <a:gd name="connsiteY37" fmla="*/ 2267 h 10000"/>
                <a:gd name="connsiteX38" fmla="*/ 9330 w 10102"/>
                <a:gd name="connsiteY38" fmla="*/ 2248 h 10000"/>
                <a:gd name="connsiteX39" fmla="*/ 9330 w 10102"/>
                <a:gd name="connsiteY39" fmla="*/ 2248 h 10000"/>
                <a:gd name="connsiteX40" fmla="*/ 9341 w 10102"/>
                <a:gd name="connsiteY40" fmla="*/ 1841 h 10000"/>
                <a:gd name="connsiteX41" fmla="*/ 9341 w 10102"/>
                <a:gd name="connsiteY41" fmla="*/ 1822 h 10000"/>
                <a:gd name="connsiteX42" fmla="*/ 9341 w 10102"/>
                <a:gd name="connsiteY42" fmla="*/ 1822 h 10000"/>
                <a:gd name="connsiteX43" fmla="*/ 9660 w 10102"/>
                <a:gd name="connsiteY43" fmla="*/ 1279 h 10000"/>
                <a:gd name="connsiteX44" fmla="*/ 9564 w 10102"/>
                <a:gd name="connsiteY44" fmla="*/ 1008 h 10000"/>
                <a:gd name="connsiteX45" fmla="*/ 9554 w 10102"/>
                <a:gd name="connsiteY45" fmla="*/ 1008 h 10000"/>
                <a:gd name="connsiteX46" fmla="*/ 9554 w 10102"/>
                <a:gd name="connsiteY46" fmla="*/ 988 h 10000"/>
                <a:gd name="connsiteX47" fmla="*/ 9586 w 10102"/>
                <a:gd name="connsiteY47" fmla="*/ 698 h 10000"/>
                <a:gd name="connsiteX48" fmla="*/ 9501 w 10102"/>
                <a:gd name="connsiteY48" fmla="*/ 601 h 10000"/>
                <a:gd name="connsiteX49" fmla="*/ 9288 w 10102"/>
                <a:gd name="connsiteY49" fmla="*/ 581 h 10000"/>
                <a:gd name="connsiteX50" fmla="*/ 9288 w 10102"/>
                <a:gd name="connsiteY50" fmla="*/ 581 h 10000"/>
                <a:gd name="connsiteX51" fmla="*/ 9277 w 10102"/>
                <a:gd name="connsiteY51" fmla="*/ 581 h 10000"/>
                <a:gd name="connsiteX52" fmla="*/ 9224 w 10102"/>
                <a:gd name="connsiteY52" fmla="*/ 484 h 10000"/>
                <a:gd name="connsiteX53" fmla="*/ 9086 w 10102"/>
                <a:gd name="connsiteY53" fmla="*/ 484 h 10000"/>
                <a:gd name="connsiteX54" fmla="*/ 8948 w 10102"/>
                <a:gd name="connsiteY54" fmla="*/ 1124 h 10000"/>
                <a:gd name="connsiteX55" fmla="*/ 8927 w 10102"/>
                <a:gd name="connsiteY55" fmla="*/ 1124 h 10000"/>
                <a:gd name="connsiteX56" fmla="*/ 8927 w 10102"/>
                <a:gd name="connsiteY56" fmla="*/ 1143 h 10000"/>
                <a:gd name="connsiteX57" fmla="*/ 8650 w 10102"/>
                <a:gd name="connsiteY57" fmla="*/ 1415 h 10000"/>
                <a:gd name="connsiteX58" fmla="*/ 8640 w 10102"/>
                <a:gd name="connsiteY58" fmla="*/ 1434 h 10000"/>
                <a:gd name="connsiteX59" fmla="*/ 8640 w 10102"/>
                <a:gd name="connsiteY59" fmla="*/ 1434 h 10000"/>
                <a:gd name="connsiteX60" fmla="*/ 8470 w 10102"/>
                <a:gd name="connsiteY60" fmla="*/ 1395 h 10000"/>
                <a:gd name="connsiteX61" fmla="*/ 8321 w 10102"/>
                <a:gd name="connsiteY61" fmla="*/ 1531 h 10000"/>
                <a:gd name="connsiteX62" fmla="*/ 8321 w 10102"/>
                <a:gd name="connsiteY62" fmla="*/ 1531 h 10000"/>
                <a:gd name="connsiteX63" fmla="*/ 8321 w 10102"/>
                <a:gd name="connsiteY63" fmla="*/ 1531 h 10000"/>
                <a:gd name="connsiteX64" fmla="*/ 8172 w 10102"/>
                <a:gd name="connsiteY64" fmla="*/ 1589 h 10000"/>
                <a:gd name="connsiteX65" fmla="*/ 8023 w 10102"/>
                <a:gd name="connsiteY65" fmla="*/ 1957 h 10000"/>
                <a:gd name="connsiteX66" fmla="*/ 8013 w 10102"/>
                <a:gd name="connsiteY66" fmla="*/ 1977 h 10000"/>
                <a:gd name="connsiteX67" fmla="*/ 7991 w 10102"/>
                <a:gd name="connsiteY67" fmla="*/ 1977 h 10000"/>
                <a:gd name="connsiteX68" fmla="*/ 7864 w 10102"/>
                <a:gd name="connsiteY68" fmla="*/ 1899 h 10000"/>
                <a:gd name="connsiteX69" fmla="*/ 7843 w 10102"/>
                <a:gd name="connsiteY69" fmla="*/ 1899 h 10000"/>
                <a:gd name="connsiteX70" fmla="*/ 7853 w 10102"/>
                <a:gd name="connsiteY70" fmla="*/ 1841 h 10000"/>
                <a:gd name="connsiteX71" fmla="*/ 7928 w 10102"/>
                <a:gd name="connsiteY71" fmla="*/ 1609 h 10000"/>
                <a:gd name="connsiteX72" fmla="*/ 7906 w 10102"/>
                <a:gd name="connsiteY72" fmla="*/ 1279 h 10000"/>
                <a:gd name="connsiteX73" fmla="*/ 7758 w 10102"/>
                <a:gd name="connsiteY73" fmla="*/ 1124 h 10000"/>
                <a:gd name="connsiteX74" fmla="*/ 7651 w 10102"/>
                <a:gd name="connsiteY74" fmla="*/ 1124 h 10000"/>
                <a:gd name="connsiteX75" fmla="*/ 7641 w 10102"/>
                <a:gd name="connsiteY75" fmla="*/ 1124 h 10000"/>
                <a:gd name="connsiteX76" fmla="*/ 7630 w 10102"/>
                <a:gd name="connsiteY76" fmla="*/ 1105 h 10000"/>
                <a:gd name="connsiteX77" fmla="*/ 7556 w 10102"/>
                <a:gd name="connsiteY77" fmla="*/ 930 h 10000"/>
                <a:gd name="connsiteX78" fmla="*/ 7184 w 10102"/>
                <a:gd name="connsiteY78" fmla="*/ 891 h 10000"/>
                <a:gd name="connsiteX79" fmla="*/ 7173 w 10102"/>
                <a:gd name="connsiteY79" fmla="*/ 891 h 10000"/>
                <a:gd name="connsiteX80" fmla="*/ 7173 w 10102"/>
                <a:gd name="connsiteY80" fmla="*/ 872 h 10000"/>
                <a:gd name="connsiteX81" fmla="*/ 7099 w 10102"/>
                <a:gd name="connsiteY81" fmla="*/ 620 h 10000"/>
                <a:gd name="connsiteX82" fmla="*/ 7088 w 10102"/>
                <a:gd name="connsiteY82" fmla="*/ 601 h 10000"/>
                <a:gd name="connsiteX83" fmla="*/ 7088 w 10102"/>
                <a:gd name="connsiteY83" fmla="*/ 601 h 10000"/>
                <a:gd name="connsiteX84" fmla="*/ 7088 w 10102"/>
                <a:gd name="connsiteY84" fmla="*/ 465 h 10000"/>
                <a:gd name="connsiteX85" fmla="*/ 7088 w 10102"/>
                <a:gd name="connsiteY85" fmla="*/ 426 h 10000"/>
                <a:gd name="connsiteX86" fmla="*/ 7099 w 10102"/>
                <a:gd name="connsiteY86" fmla="*/ 407 h 10000"/>
                <a:gd name="connsiteX87" fmla="*/ 7194 w 10102"/>
                <a:gd name="connsiteY87" fmla="*/ 310 h 10000"/>
                <a:gd name="connsiteX88" fmla="*/ 7109 w 10102"/>
                <a:gd name="connsiteY88" fmla="*/ 136 h 10000"/>
                <a:gd name="connsiteX89" fmla="*/ 7035 w 10102"/>
                <a:gd name="connsiteY89" fmla="*/ 0 h 10000"/>
                <a:gd name="connsiteX90" fmla="*/ 6939 w 10102"/>
                <a:gd name="connsiteY90" fmla="*/ 116 h 10000"/>
                <a:gd name="connsiteX91" fmla="*/ 6939 w 10102"/>
                <a:gd name="connsiteY91" fmla="*/ 116 h 10000"/>
                <a:gd name="connsiteX92" fmla="*/ 6939 w 10102"/>
                <a:gd name="connsiteY92" fmla="*/ 116 h 10000"/>
                <a:gd name="connsiteX93" fmla="*/ 6812 w 10102"/>
                <a:gd name="connsiteY93" fmla="*/ 155 h 10000"/>
                <a:gd name="connsiteX94" fmla="*/ 6674 w 10102"/>
                <a:gd name="connsiteY94" fmla="*/ 291 h 10000"/>
                <a:gd name="connsiteX95" fmla="*/ 6599 w 10102"/>
                <a:gd name="connsiteY95" fmla="*/ 523 h 10000"/>
                <a:gd name="connsiteX96" fmla="*/ 6599 w 10102"/>
                <a:gd name="connsiteY96" fmla="*/ 543 h 10000"/>
                <a:gd name="connsiteX97" fmla="*/ 6589 w 10102"/>
                <a:gd name="connsiteY97" fmla="*/ 543 h 10000"/>
                <a:gd name="connsiteX98" fmla="*/ 6397 w 10102"/>
                <a:gd name="connsiteY98" fmla="*/ 581 h 10000"/>
                <a:gd name="connsiteX99" fmla="*/ 6334 w 10102"/>
                <a:gd name="connsiteY99" fmla="*/ 891 h 10000"/>
                <a:gd name="connsiteX100" fmla="*/ 6334 w 10102"/>
                <a:gd name="connsiteY100" fmla="*/ 911 h 10000"/>
                <a:gd name="connsiteX101" fmla="*/ 6334 w 10102"/>
                <a:gd name="connsiteY101" fmla="*/ 911 h 10000"/>
                <a:gd name="connsiteX102" fmla="*/ 6142 w 10102"/>
                <a:gd name="connsiteY102" fmla="*/ 1124 h 10000"/>
                <a:gd name="connsiteX103" fmla="*/ 6015 w 10102"/>
                <a:gd name="connsiteY103" fmla="*/ 1453 h 10000"/>
                <a:gd name="connsiteX104" fmla="*/ 6004 w 10102"/>
                <a:gd name="connsiteY104" fmla="*/ 1473 h 10000"/>
                <a:gd name="connsiteX105" fmla="*/ 5994 w 10102"/>
                <a:gd name="connsiteY105" fmla="*/ 1453 h 10000"/>
                <a:gd name="connsiteX106" fmla="*/ 5802 w 10102"/>
                <a:gd name="connsiteY106" fmla="*/ 1434 h 10000"/>
                <a:gd name="connsiteX107" fmla="*/ 5781 w 10102"/>
                <a:gd name="connsiteY107" fmla="*/ 1415 h 10000"/>
                <a:gd name="connsiteX108" fmla="*/ 5781 w 10102"/>
                <a:gd name="connsiteY108" fmla="*/ 1395 h 10000"/>
                <a:gd name="connsiteX109" fmla="*/ 5760 w 10102"/>
                <a:gd name="connsiteY109" fmla="*/ 930 h 10000"/>
                <a:gd name="connsiteX110" fmla="*/ 5654 w 10102"/>
                <a:gd name="connsiteY110" fmla="*/ 872 h 10000"/>
                <a:gd name="connsiteX111" fmla="*/ 5377 w 10102"/>
                <a:gd name="connsiteY111" fmla="*/ 1240 h 10000"/>
                <a:gd name="connsiteX112" fmla="*/ 5165 w 10102"/>
                <a:gd name="connsiteY112" fmla="*/ 1570 h 10000"/>
                <a:gd name="connsiteX113" fmla="*/ 5165 w 10102"/>
                <a:gd name="connsiteY113" fmla="*/ 1899 h 10000"/>
                <a:gd name="connsiteX114" fmla="*/ 5165 w 10102"/>
                <a:gd name="connsiteY114" fmla="*/ 1919 h 10000"/>
                <a:gd name="connsiteX115" fmla="*/ 5154 w 10102"/>
                <a:gd name="connsiteY115" fmla="*/ 1919 h 10000"/>
                <a:gd name="connsiteX116" fmla="*/ 5027 w 10102"/>
                <a:gd name="connsiteY116" fmla="*/ 2112 h 10000"/>
                <a:gd name="connsiteX117" fmla="*/ 5016 w 10102"/>
                <a:gd name="connsiteY117" fmla="*/ 2112 h 10000"/>
                <a:gd name="connsiteX118" fmla="*/ 5005 w 10102"/>
                <a:gd name="connsiteY118" fmla="*/ 2112 h 10000"/>
                <a:gd name="connsiteX119" fmla="*/ 4814 w 10102"/>
                <a:gd name="connsiteY119" fmla="*/ 2112 h 10000"/>
                <a:gd name="connsiteX120" fmla="*/ 4803 w 10102"/>
                <a:gd name="connsiteY120" fmla="*/ 2112 h 10000"/>
                <a:gd name="connsiteX121" fmla="*/ 4803 w 10102"/>
                <a:gd name="connsiteY121" fmla="*/ 2112 h 10000"/>
                <a:gd name="connsiteX122" fmla="*/ 4697 w 10102"/>
                <a:gd name="connsiteY122" fmla="*/ 1957 h 10000"/>
                <a:gd name="connsiteX123" fmla="*/ 4591 w 10102"/>
                <a:gd name="connsiteY123" fmla="*/ 1899 h 10000"/>
                <a:gd name="connsiteX124" fmla="*/ 4591 w 10102"/>
                <a:gd name="connsiteY124" fmla="*/ 1957 h 10000"/>
                <a:gd name="connsiteX125" fmla="*/ 4591 w 10102"/>
                <a:gd name="connsiteY125" fmla="*/ 1996 h 10000"/>
                <a:gd name="connsiteX126" fmla="*/ 4570 w 10102"/>
                <a:gd name="connsiteY126" fmla="*/ 1996 h 10000"/>
                <a:gd name="connsiteX127" fmla="*/ 4453 w 10102"/>
                <a:gd name="connsiteY127" fmla="*/ 1996 h 10000"/>
                <a:gd name="connsiteX128" fmla="*/ 4431 w 10102"/>
                <a:gd name="connsiteY128" fmla="*/ 1996 h 10000"/>
                <a:gd name="connsiteX129" fmla="*/ 4431 w 10102"/>
                <a:gd name="connsiteY129" fmla="*/ 1957 h 10000"/>
                <a:gd name="connsiteX130" fmla="*/ 4378 w 10102"/>
                <a:gd name="connsiteY130" fmla="*/ 1589 h 10000"/>
                <a:gd name="connsiteX131" fmla="*/ 4091 w 10102"/>
                <a:gd name="connsiteY131" fmla="*/ 1512 h 10000"/>
                <a:gd name="connsiteX132" fmla="*/ 4081 w 10102"/>
                <a:gd name="connsiteY132" fmla="*/ 1512 h 10000"/>
                <a:gd name="connsiteX133" fmla="*/ 4070 w 10102"/>
                <a:gd name="connsiteY133" fmla="*/ 1492 h 10000"/>
                <a:gd name="connsiteX134" fmla="*/ 3879 w 10102"/>
                <a:gd name="connsiteY134" fmla="*/ 988 h 10000"/>
                <a:gd name="connsiteX135" fmla="*/ 3719 w 10102"/>
                <a:gd name="connsiteY135" fmla="*/ 988 h 10000"/>
                <a:gd name="connsiteX136" fmla="*/ 3698 w 10102"/>
                <a:gd name="connsiteY136" fmla="*/ 1085 h 10000"/>
                <a:gd name="connsiteX137" fmla="*/ 3698 w 10102"/>
                <a:gd name="connsiteY137" fmla="*/ 1105 h 10000"/>
                <a:gd name="connsiteX138" fmla="*/ 3698 w 10102"/>
                <a:gd name="connsiteY138" fmla="*/ 1105 h 10000"/>
                <a:gd name="connsiteX139" fmla="*/ 3592 w 10102"/>
                <a:gd name="connsiteY139" fmla="*/ 1318 h 10000"/>
                <a:gd name="connsiteX140" fmla="*/ 3592 w 10102"/>
                <a:gd name="connsiteY140" fmla="*/ 1318 h 10000"/>
                <a:gd name="connsiteX141" fmla="*/ 3581 w 10102"/>
                <a:gd name="connsiteY141" fmla="*/ 1318 h 10000"/>
                <a:gd name="connsiteX142" fmla="*/ 3486 w 10102"/>
                <a:gd name="connsiteY142" fmla="*/ 1395 h 10000"/>
                <a:gd name="connsiteX143" fmla="*/ 3486 w 10102"/>
                <a:gd name="connsiteY143" fmla="*/ 1686 h 10000"/>
                <a:gd name="connsiteX144" fmla="*/ 3486 w 10102"/>
                <a:gd name="connsiteY144" fmla="*/ 1725 h 10000"/>
                <a:gd name="connsiteX145" fmla="*/ 3475 w 10102"/>
                <a:gd name="connsiteY145" fmla="*/ 1725 h 10000"/>
                <a:gd name="connsiteX146" fmla="*/ 3369 w 10102"/>
                <a:gd name="connsiteY146" fmla="*/ 1841 h 10000"/>
                <a:gd name="connsiteX147" fmla="*/ 3135 w 10102"/>
                <a:gd name="connsiteY147" fmla="*/ 2171 h 10000"/>
                <a:gd name="connsiteX148" fmla="*/ 2954 w 10102"/>
                <a:gd name="connsiteY148" fmla="*/ 2829 h 10000"/>
                <a:gd name="connsiteX149" fmla="*/ 2954 w 10102"/>
                <a:gd name="connsiteY149" fmla="*/ 2829 h 10000"/>
                <a:gd name="connsiteX150" fmla="*/ 2944 w 10102"/>
                <a:gd name="connsiteY150" fmla="*/ 2829 h 10000"/>
                <a:gd name="connsiteX151" fmla="*/ 2699 w 10102"/>
                <a:gd name="connsiteY151" fmla="*/ 3217 h 10000"/>
                <a:gd name="connsiteX152" fmla="*/ 2487 w 10102"/>
                <a:gd name="connsiteY152" fmla="*/ 3566 h 10000"/>
                <a:gd name="connsiteX153" fmla="*/ 2465 w 10102"/>
                <a:gd name="connsiteY153" fmla="*/ 3934 h 10000"/>
                <a:gd name="connsiteX154" fmla="*/ 2465 w 10102"/>
                <a:gd name="connsiteY154" fmla="*/ 3934 h 10000"/>
                <a:gd name="connsiteX155" fmla="*/ 2465 w 10102"/>
                <a:gd name="connsiteY155" fmla="*/ 3934 h 10000"/>
                <a:gd name="connsiteX156" fmla="*/ 2295 w 10102"/>
                <a:gd name="connsiteY156" fmla="*/ 4205 h 10000"/>
                <a:gd name="connsiteX157" fmla="*/ 2200 w 10102"/>
                <a:gd name="connsiteY157" fmla="*/ 4535 h 10000"/>
                <a:gd name="connsiteX158" fmla="*/ 2189 w 10102"/>
                <a:gd name="connsiteY158" fmla="*/ 4554 h 10000"/>
                <a:gd name="connsiteX159" fmla="*/ 2179 w 10102"/>
                <a:gd name="connsiteY159" fmla="*/ 4554 h 10000"/>
                <a:gd name="connsiteX160" fmla="*/ 2051 w 10102"/>
                <a:gd name="connsiteY160" fmla="*/ 4535 h 10000"/>
                <a:gd name="connsiteX161" fmla="*/ 1913 w 10102"/>
                <a:gd name="connsiteY161" fmla="*/ 4767 h 10000"/>
                <a:gd name="connsiteX162" fmla="*/ 1913 w 10102"/>
                <a:gd name="connsiteY162" fmla="*/ 4787 h 10000"/>
                <a:gd name="connsiteX163" fmla="*/ 1902 w 10102"/>
                <a:gd name="connsiteY163" fmla="*/ 4787 h 10000"/>
                <a:gd name="connsiteX164" fmla="*/ 1498 w 10102"/>
                <a:gd name="connsiteY164" fmla="*/ 4671 h 10000"/>
                <a:gd name="connsiteX165" fmla="*/ 1488 w 10102"/>
                <a:gd name="connsiteY165" fmla="*/ 4671 h 10000"/>
                <a:gd name="connsiteX166" fmla="*/ 1488 w 10102"/>
                <a:gd name="connsiteY166" fmla="*/ 4651 h 10000"/>
                <a:gd name="connsiteX167" fmla="*/ 1424 w 10102"/>
                <a:gd name="connsiteY167" fmla="*/ 4516 h 10000"/>
                <a:gd name="connsiteX168" fmla="*/ 1350 w 10102"/>
                <a:gd name="connsiteY168" fmla="*/ 4516 h 10000"/>
                <a:gd name="connsiteX169" fmla="*/ 1296 w 10102"/>
                <a:gd name="connsiteY169" fmla="*/ 4690 h 10000"/>
                <a:gd name="connsiteX170" fmla="*/ 1286 w 10102"/>
                <a:gd name="connsiteY170" fmla="*/ 4922 h 10000"/>
                <a:gd name="connsiteX171" fmla="*/ 1286 w 10102"/>
                <a:gd name="connsiteY171" fmla="*/ 4942 h 10000"/>
                <a:gd name="connsiteX172" fmla="*/ 1275 w 10102"/>
                <a:gd name="connsiteY172" fmla="*/ 4961 h 10000"/>
                <a:gd name="connsiteX173" fmla="*/ 1190 w 10102"/>
                <a:gd name="connsiteY173" fmla="*/ 5058 h 10000"/>
                <a:gd name="connsiteX174" fmla="*/ 1137 w 10102"/>
                <a:gd name="connsiteY174" fmla="*/ 5271 h 10000"/>
                <a:gd name="connsiteX175" fmla="*/ 1137 w 10102"/>
                <a:gd name="connsiteY175" fmla="*/ 5291 h 10000"/>
                <a:gd name="connsiteX176" fmla="*/ 1126 w 10102"/>
                <a:gd name="connsiteY176" fmla="*/ 5291 h 10000"/>
                <a:gd name="connsiteX177" fmla="*/ 1020 w 10102"/>
                <a:gd name="connsiteY177" fmla="*/ 5407 h 10000"/>
                <a:gd name="connsiteX178" fmla="*/ 999 w 10102"/>
                <a:gd name="connsiteY178" fmla="*/ 5581 h 10000"/>
                <a:gd name="connsiteX179" fmla="*/ 978 w 10102"/>
                <a:gd name="connsiteY179" fmla="*/ 5756 h 10000"/>
                <a:gd name="connsiteX180" fmla="*/ 978 w 10102"/>
                <a:gd name="connsiteY180" fmla="*/ 5775 h 10000"/>
                <a:gd name="connsiteX181" fmla="*/ 967 w 10102"/>
                <a:gd name="connsiteY181" fmla="*/ 5775 h 10000"/>
                <a:gd name="connsiteX182" fmla="*/ 861 w 10102"/>
                <a:gd name="connsiteY182" fmla="*/ 5814 h 10000"/>
                <a:gd name="connsiteX183" fmla="*/ 861 w 10102"/>
                <a:gd name="connsiteY183" fmla="*/ 6047 h 10000"/>
                <a:gd name="connsiteX184" fmla="*/ 967 w 10102"/>
                <a:gd name="connsiteY184" fmla="*/ 6298 h 10000"/>
                <a:gd name="connsiteX185" fmla="*/ 967 w 10102"/>
                <a:gd name="connsiteY185" fmla="*/ 6298 h 10000"/>
                <a:gd name="connsiteX186" fmla="*/ 978 w 10102"/>
                <a:gd name="connsiteY186" fmla="*/ 6318 h 10000"/>
                <a:gd name="connsiteX187" fmla="*/ 988 w 10102"/>
                <a:gd name="connsiteY187" fmla="*/ 6512 h 10000"/>
                <a:gd name="connsiteX188" fmla="*/ 988 w 10102"/>
                <a:gd name="connsiteY188" fmla="*/ 6531 h 10000"/>
                <a:gd name="connsiteX189" fmla="*/ 978 w 10102"/>
                <a:gd name="connsiteY189" fmla="*/ 6550 h 10000"/>
                <a:gd name="connsiteX190" fmla="*/ 627 w 10102"/>
                <a:gd name="connsiteY190" fmla="*/ 7016 h 10000"/>
                <a:gd name="connsiteX191" fmla="*/ 521 w 10102"/>
                <a:gd name="connsiteY191" fmla="*/ 7151 h 10000"/>
                <a:gd name="connsiteX192" fmla="*/ 340 w 10102"/>
                <a:gd name="connsiteY192" fmla="*/ 7384 h 10000"/>
                <a:gd name="connsiteX193" fmla="*/ 340 w 10102"/>
                <a:gd name="connsiteY193" fmla="*/ 7403 h 10000"/>
                <a:gd name="connsiteX194" fmla="*/ 340 w 10102"/>
                <a:gd name="connsiteY194" fmla="*/ 7403 h 10000"/>
                <a:gd name="connsiteX195" fmla="*/ 191 w 10102"/>
                <a:gd name="connsiteY195" fmla="*/ 7519 h 10000"/>
                <a:gd name="connsiteX196" fmla="*/ 0 w 10102"/>
                <a:gd name="connsiteY196" fmla="*/ 7791 h 10000"/>
                <a:gd name="connsiteX197" fmla="*/ 11 w 10102"/>
                <a:gd name="connsiteY197" fmla="*/ 7829 h 10000"/>
                <a:gd name="connsiteX198" fmla="*/ 149 w 10102"/>
                <a:gd name="connsiteY198" fmla="*/ 7868 h 10000"/>
                <a:gd name="connsiteX199" fmla="*/ 159 w 10102"/>
                <a:gd name="connsiteY199" fmla="*/ 7868 h 10000"/>
                <a:gd name="connsiteX200" fmla="*/ 159 w 10102"/>
                <a:gd name="connsiteY200" fmla="*/ 7868 h 10000"/>
                <a:gd name="connsiteX201" fmla="*/ 372 w 10102"/>
                <a:gd name="connsiteY201" fmla="*/ 8256 h 10000"/>
                <a:gd name="connsiteX202" fmla="*/ 1467 w 10102"/>
                <a:gd name="connsiteY202" fmla="*/ 9205 h 10000"/>
                <a:gd name="connsiteX203" fmla="*/ 1467 w 10102"/>
                <a:gd name="connsiteY203" fmla="*/ 9205 h 10000"/>
                <a:gd name="connsiteX204" fmla="*/ 1477 w 10102"/>
                <a:gd name="connsiteY204" fmla="*/ 9205 h 10000"/>
                <a:gd name="connsiteX205" fmla="*/ 1838 w 10102"/>
                <a:gd name="connsiteY205" fmla="*/ 9729 h 10000"/>
                <a:gd name="connsiteX206" fmla="*/ 2508 w 10102"/>
                <a:gd name="connsiteY206" fmla="*/ 9767 h 10000"/>
                <a:gd name="connsiteX207" fmla="*/ 2561 w 10102"/>
                <a:gd name="connsiteY207" fmla="*/ 9671 h 10000"/>
                <a:gd name="connsiteX208" fmla="*/ 2561 w 10102"/>
                <a:gd name="connsiteY208" fmla="*/ 9671 h 10000"/>
                <a:gd name="connsiteX209" fmla="*/ 2582 w 10102"/>
                <a:gd name="connsiteY209" fmla="*/ 9671 h 10000"/>
                <a:gd name="connsiteX210" fmla="*/ 2848 w 10102"/>
                <a:gd name="connsiteY210" fmla="*/ 9651 h 10000"/>
                <a:gd name="connsiteX211" fmla="*/ 2859 w 10102"/>
                <a:gd name="connsiteY211" fmla="*/ 9651 h 10000"/>
                <a:gd name="connsiteX212" fmla="*/ 2869 w 10102"/>
                <a:gd name="connsiteY212" fmla="*/ 9671 h 10000"/>
                <a:gd name="connsiteX213" fmla="*/ 3061 w 10102"/>
                <a:gd name="connsiteY213" fmla="*/ 10000 h 10000"/>
                <a:gd name="connsiteX214" fmla="*/ 3061 w 10102"/>
                <a:gd name="connsiteY214" fmla="*/ 10000 h 10000"/>
                <a:gd name="connsiteX215" fmla="*/ 4336 w 10102"/>
                <a:gd name="connsiteY215" fmla="*/ 9961 h 10000"/>
                <a:gd name="connsiteX216" fmla="*/ 4357 w 10102"/>
                <a:gd name="connsiteY216" fmla="*/ 9961 h 10000"/>
                <a:gd name="connsiteX217" fmla="*/ 4357 w 10102"/>
                <a:gd name="connsiteY217" fmla="*/ 9981 h 10000"/>
                <a:gd name="connsiteX218" fmla="*/ 4527 w 10102"/>
                <a:gd name="connsiteY218" fmla="*/ 9864 h 10000"/>
                <a:gd name="connsiteX219" fmla="*/ 4538 w 10102"/>
                <a:gd name="connsiteY219" fmla="*/ 9864 h 10000"/>
                <a:gd name="connsiteX220" fmla="*/ 4538 w 10102"/>
                <a:gd name="connsiteY220" fmla="*/ 9864 h 10000"/>
                <a:gd name="connsiteX221" fmla="*/ 5250 w 10102"/>
                <a:gd name="connsiteY221" fmla="*/ 9845 h 10000"/>
                <a:gd name="connsiteX222" fmla="*/ 7354 w 10102"/>
                <a:gd name="connsiteY222" fmla="*/ 9845 h 10000"/>
                <a:gd name="connsiteX223" fmla="*/ 7343 w 10102"/>
                <a:gd name="connsiteY223" fmla="*/ 9826 h 10000"/>
                <a:gd name="connsiteX224" fmla="*/ 7439 w 10102"/>
                <a:gd name="connsiteY224" fmla="*/ 9612 h 10000"/>
                <a:gd name="connsiteX225" fmla="*/ 7513 w 10102"/>
                <a:gd name="connsiteY225" fmla="*/ 9516 h 10000"/>
                <a:gd name="connsiteX226" fmla="*/ 7428 w 10102"/>
                <a:gd name="connsiteY226" fmla="*/ 9283 h 10000"/>
                <a:gd name="connsiteX227" fmla="*/ 7450 w 10102"/>
                <a:gd name="connsiteY227" fmla="*/ 9109 h 10000"/>
                <a:gd name="connsiteX228" fmla="*/ 7683 w 10102"/>
                <a:gd name="connsiteY228" fmla="*/ 8992 h 10000"/>
                <a:gd name="connsiteX229" fmla="*/ 7683 w 10102"/>
                <a:gd name="connsiteY229" fmla="*/ 8798 h 10000"/>
                <a:gd name="connsiteX230" fmla="*/ 7779 w 10102"/>
                <a:gd name="connsiteY230" fmla="*/ 8682 h 10000"/>
                <a:gd name="connsiteX231" fmla="*/ 7949 w 10102"/>
                <a:gd name="connsiteY231" fmla="*/ 8372 h 10000"/>
                <a:gd name="connsiteX232" fmla="*/ 8013 w 10102"/>
                <a:gd name="connsiteY232" fmla="*/ 8023 h 10000"/>
                <a:gd name="connsiteX233" fmla="*/ 8098 w 10102"/>
                <a:gd name="connsiteY233" fmla="*/ 7907 h 10000"/>
                <a:gd name="connsiteX234" fmla="*/ 8204 w 10102"/>
                <a:gd name="connsiteY234" fmla="*/ 7907 h 10000"/>
                <a:gd name="connsiteX235" fmla="*/ 8363 w 10102"/>
                <a:gd name="connsiteY235" fmla="*/ 7829 h 10000"/>
                <a:gd name="connsiteX236" fmla="*/ 8576 w 10102"/>
                <a:gd name="connsiteY236" fmla="*/ 7907 h 10000"/>
                <a:gd name="connsiteX237" fmla="*/ 8661 w 10102"/>
                <a:gd name="connsiteY237" fmla="*/ 8004 h 10000"/>
                <a:gd name="connsiteX238" fmla="*/ 8704 w 10102"/>
                <a:gd name="connsiteY238" fmla="*/ 7829 h 10000"/>
                <a:gd name="connsiteX239" fmla="*/ 8831 w 10102"/>
                <a:gd name="connsiteY239" fmla="*/ 7733 h 10000"/>
                <a:gd name="connsiteX240" fmla="*/ 8980 w 10102"/>
                <a:gd name="connsiteY240" fmla="*/ 7713 h 10000"/>
                <a:gd name="connsiteX241" fmla="*/ 9097 w 10102"/>
                <a:gd name="connsiteY241" fmla="*/ 7674 h 10000"/>
                <a:gd name="connsiteX242" fmla="*/ 9235 w 10102"/>
                <a:gd name="connsiteY242" fmla="*/ 7791 h 10000"/>
                <a:gd name="connsiteX243" fmla="*/ 9341 w 10102"/>
                <a:gd name="connsiteY243" fmla="*/ 7907 h 10000"/>
                <a:gd name="connsiteX244" fmla="*/ 9458 w 10102"/>
                <a:gd name="connsiteY244" fmla="*/ 7733 h 10000"/>
                <a:gd name="connsiteX245" fmla="*/ 9575 w 10102"/>
                <a:gd name="connsiteY245" fmla="*/ 7829 h 10000"/>
                <a:gd name="connsiteX246" fmla="*/ 9702 w 10102"/>
                <a:gd name="connsiteY246" fmla="*/ 7829 h 10000"/>
                <a:gd name="connsiteX247" fmla="*/ 9809 w 10102"/>
                <a:gd name="connsiteY247" fmla="*/ 7907 h 10000"/>
                <a:gd name="connsiteX248" fmla="*/ 9968 w 10102"/>
                <a:gd name="connsiteY248" fmla="*/ 7829 h 10000"/>
                <a:gd name="connsiteX249" fmla="*/ 10000 w 10102"/>
                <a:gd name="connsiteY249" fmla="*/ 7810 h 10000"/>
                <a:gd name="connsiteX250" fmla="*/ 9979 w 10102"/>
                <a:gd name="connsiteY250" fmla="*/ 7810 h 10000"/>
                <a:gd name="connsiteX251" fmla="*/ 10066 w 10102"/>
                <a:gd name="connsiteY251" fmla="*/ 7636 h 10000"/>
                <a:gd name="connsiteX252" fmla="*/ 10075 w 10102"/>
                <a:gd name="connsiteY252" fmla="*/ 7250 h 10000"/>
                <a:gd name="connsiteX253" fmla="*/ 9968 w 10102"/>
                <a:gd name="connsiteY253" fmla="*/ 6822 h 10000"/>
                <a:gd name="connsiteX254" fmla="*/ 9979 w 10102"/>
                <a:gd name="connsiteY254" fmla="*/ 6802 h 10000"/>
                <a:gd name="connsiteX255" fmla="*/ 9979 w 10102"/>
                <a:gd name="connsiteY255" fmla="*/ 6802 h 10000"/>
                <a:gd name="connsiteX256" fmla="*/ 9947 w 10102"/>
                <a:gd name="connsiteY256" fmla="*/ 6764 h 10000"/>
                <a:gd name="connsiteX0" fmla="*/ 9947 w 10102"/>
                <a:gd name="connsiteY0" fmla="*/ 6764 h 10000"/>
                <a:gd name="connsiteX1" fmla="*/ 9816 w 10102"/>
                <a:gd name="connsiteY1" fmla="*/ 6660 h 10000"/>
                <a:gd name="connsiteX2" fmla="*/ 9766 w 10102"/>
                <a:gd name="connsiteY2" fmla="*/ 6938 h 10000"/>
                <a:gd name="connsiteX3" fmla="*/ 9665 w 10102"/>
                <a:gd name="connsiteY3" fmla="*/ 6915 h 10000"/>
                <a:gd name="connsiteX4" fmla="*/ 9458 w 10102"/>
                <a:gd name="connsiteY4" fmla="*/ 6880 h 10000"/>
                <a:gd name="connsiteX5" fmla="*/ 9447 w 10102"/>
                <a:gd name="connsiteY5" fmla="*/ 6860 h 10000"/>
                <a:gd name="connsiteX6" fmla="*/ 9447 w 10102"/>
                <a:gd name="connsiteY6" fmla="*/ 6841 h 10000"/>
                <a:gd name="connsiteX7" fmla="*/ 9544 w 10102"/>
                <a:gd name="connsiteY7" fmla="*/ 6734 h 10000"/>
                <a:gd name="connsiteX8" fmla="*/ 9554 w 10102"/>
                <a:gd name="connsiteY8" fmla="*/ 6453 h 10000"/>
                <a:gd name="connsiteX9" fmla="*/ 9564 w 10102"/>
                <a:gd name="connsiteY9" fmla="*/ 5601 h 10000"/>
                <a:gd name="connsiteX10" fmla="*/ 9564 w 10102"/>
                <a:gd name="connsiteY10" fmla="*/ 5581 h 10000"/>
                <a:gd name="connsiteX11" fmla="*/ 9564 w 10102"/>
                <a:gd name="connsiteY11" fmla="*/ 5562 h 10000"/>
                <a:gd name="connsiteX12" fmla="*/ 9649 w 10102"/>
                <a:gd name="connsiteY12" fmla="*/ 5388 h 10000"/>
                <a:gd name="connsiteX13" fmla="*/ 9702 w 10102"/>
                <a:gd name="connsiteY13" fmla="*/ 5291 h 10000"/>
                <a:gd name="connsiteX14" fmla="*/ 9554 w 10102"/>
                <a:gd name="connsiteY14" fmla="*/ 5058 h 10000"/>
                <a:gd name="connsiteX15" fmla="*/ 9554 w 10102"/>
                <a:gd name="connsiteY15" fmla="*/ 5058 h 10000"/>
                <a:gd name="connsiteX16" fmla="*/ 9543 w 10102"/>
                <a:gd name="connsiteY16" fmla="*/ 5058 h 10000"/>
                <a:gd name="connsiteX17" fmla="*/ 9394 w 10102"/>
                <a:gd name="connsiteY17" fmla="*/ 4709 h 10000"/>
                <a:gd name="connsiteX18" fmla="*/ 9394 w 10102"/>
                <a:gd name="connsiteY18" fmla="*/ 4690 h 10000"/>
                <a:gd name="connsiteX19" fmla="*/ 9394 w 10102"/>
                <a:gd name="connsiteY19" fmla="*/ 4690 h 10000"/>
                <a:gd name="connsiteX20" fmla="*/ 9456 w 10102"/>
                <a:gd name="connsiteY20" fmla="*/ 4520 h 10000"/>
                <a:gd name="connsiteX21" fmla="*/ 9490 w 10102"/>
                <a:gd name="connsiteY21" fmla="*/ 4360 h 10000"/>
                <a:gd name="connsiteX22" fmla="*/ 9564 w 10102"/>
                <a:gd name="connsiteY22" fmla="*/ 4244 h 10000"/>
                <a:gd name="connsiteX23" fmla="*/ 9628 w 10102"/>
                <a:gd name="connsiteY23" fmla="*/ 4012 h 10000"/>
                <a:gd name="connsiteX24" fmla="*/ 9490 w 10102"/>
                <a:gd name="connsiteY24" fmla="*/ 3760 h 10000"/>
                <a:gd name="connsiteX25" fmla="*/ 9490 w 10102"/>
                <a:gd name="connsiteY25" fmla="*/ 3760 h 10000"/>
                <a:gd name="connsiteX26" fmla="*/ 9479 w 10102"/>
                <a:gd name="connsiteY26" fmla="*/ 3760 h 10000"/>
                <a:gd name="connsiteX27" fmla="*/ 9426 w 10102"/>
                <a:gd name="connsiteY27" fmla="*/ 3527 h 10000"/>
                <a:gd name="connsiteX28" fmla="*/ 9426 w 10102"/>
                <a:gd name="connsiteY28" fmla="*/ 3527 h 10000"/>
                <a:gd name="connsiteX29" fmla="*/ 9426 w 10102"/>
                <a:gd name="connsiteY29" fmla="*/ 3508 h 10000"/>
                <a:gd name="connsiteX30" fmla="*/ 9416 w 10102"/>
                <a:gd name="connsiteY30" fmla="*/ 3198 h 10000"/>
                <a:gd name="connsiteX31" fmla="*/ 9416 w 10102"/>
                <a:gd name="connsiteY31" fmla="*/ 3198 h 10000"/>
                <a:gd name="connsiteX32" fmla="*/ 9416 w 10102"/>
                <a:gd name="connsiteY32" fmla="*/ 3178 h 10000"/>
                <a:gd name="connsiteX33" fmla="*/ 9532 w 10102"/>
                <a:gd name="connsiteY33" fmla="*/ 2907 h 10000"/>
                <a:gd name="connsiteX34" fmla="*/ 9384 w 10102"/>
                <a:gd name="connsiteY34" fmla="*/ 2616 h 10000"/>
                <a:gd name="connsiteX35" fmla="*/ 9384 w 10102"/>
                <a:gd name="connsiteY35" fmla="*/ 2616 h 10000"/>
                <a:gd name="connsiteX36" fmla="*/ 9384 w 10102"/>
                <a:gd name="connsiteY36" fmla="*/ 2616 h 10000"/>
                <a:gd name="connsiteX37" fmla="*/ 9330 w 10102"/>
                <a:gd name="connsiteY37" fmla="*/ 2267 h 10000"/>
                <a:gd name="connsiteX38" fmla="*/ 9330 w 10102"/>
                <a:gd name="connsiteY38" fmla="*/ 2248 h 10000"/>
                <a:gd name="connsiteX39" fmla="*/ 9330 w 10102"/>
                <a:gd name="connsiteY39" fmla="*/ 2248 h 10000"/>
                <a:gd name="connsiteX40" fmla="*/ 9341 w 10102"/>
                <a:gd name="connsiteY40" fmla="*/ 1841 h 10000"/>
                <a:gd name="connsiteX41" fmla="*/ 9341 w 10102"/>
                <a:gd name="connsiteY41" fmla="*/ 1822 h 10000"/>
                <a:gd name="connsiteX42" fmla="*/ 9341 w 10102"/>
                <a:gd name="connsiteY42" fmla="*/ 1822 h 10000"/>
                <a:gd name="connsiteX43" fmla="*/ 9660 w 10102"/>
                <a:gd name="connsiteY43" fmla="*/ 1279 h 10000"/>
                <a:gd name="connsiteX44" fmla="*/ 9564 w 10102"/>
                <a:gd name="connsiteY44" fmla="*/ 1008 h 10000"/>
                <a:gd name="connsiteX45" fmla="*/ 9554 w 10102"/>
                <a:gd name="connsiteY45" fmla="*/ 1008 h 10000"/>
                <a:gd name="connsiteX46" fmla="*/ 9554 w 10102"/>
                <a:gd name="connsiteY46" fmla="*/ 988 h 10000"/>
                <a:gd name="connsiteX47" fmla="*/ 9586 w 10102"/>
                <a:gd name="connsiteY47" fmla="*/ 698 h 10000"/>
                <a:gd name="connsiteX48" fmla="*/ 9501 w 10102"/>
                <a:gd name="connsiteY48" fmla="*/ 601 h 10000"/>
                <a:gd name="connsiteX49" fmla="*/ 9288 w 10102"/>
                <a:gd name="connsiteY49" fmla="*/ 581 h 10000"/>
                <a:gd name="connsiteX50" fmla="*/ 9288 w 10102"/>
                <a:gd name="connsiteY50" fmla="*/ 581 h 10000"/>
                <a:gd name="connsiteX51" fmla="*/ 9277 w 10102"/>
                <a:gd name="connsiteY51" fmla="*/ 581 h 10000"/>
                <a:gd name="connsiteX52" fmla="*/ 9224 w 10102"/>
                <a:gd name="connsiteY52" fmla="*/ 484 h 10000"/>
                <a:gd name="connsiteX53" fmla="*/ 9086 w 10102"/>
                <a:gd name="connsiteY53" fmla="*/ 484 h 10000"/>
                <a:gd name="connsiteX54" fmla="*/ 8948 w 10102"/>
                <a:gd name="connsiteY54" fmla="*/ 1124 h 10000"/>
                <a:gd name="connsiteX55" fmla="*/ 8927 w 10102"/>
                <a:gd name="connsiteY55" fmla="*/ 1124 h 10000"/>
                <a:gd name="connsiteX56" fmla="*/ 8927 w 10102"/>
                <a:gd name="connsiteY56" fmla="*/ 1143 h 10000"/>
                <a:gd name="connsiteX57" fmla="*/ 8650 w 10102"/>
                <a:gd name="connsiteY57" fmla="*/ 1415 h 10000"/>
                <a:gd name="connsiteX58" fmla="*/ 8640 w 10102"/>
                <a:gd name="connsiteY58" fmla="*/ 1434 h 10000"/>
                <a:gd name="connsiteX59" fmla="*/ 8640 w 10102"/>
                <a:gd name="connsiteY59" fmla="*/ 1434 h 10000"/>
                <a:gd name="connsiteX60" fmla="*/ 8470 w 10102"/>
                <a:gd name="connsiteY60" fmla="*/ 1395 h 10000"/>
                <a:gd name="connsiteX61" fmla="*/ 8321 w 10102"/>
                <a:gd name="connsiteY61" fmla="*/ 1531 h 10000"/>
                <a:gd name="connsiteX62" fmla="*/ 8321 w 10102"/>
                <a:gd name="connsiteY62" fmla="*/ 1531 h 10000"/>
                <a:gd name="connsiteX63" fmla="*/ 8321 w 10102"/>
                <a:gd name="connsiteY63" fmla="*/ 1531 h 10000"/>
                <a:gd name="connsiteX64" fmla="*/ 8172 w 10102"/>
                <a:gd name="connsiteY64" fmla="*/ 1589 h 10000"/>
                <a:gd name="connsiteX65" fmla="*/ 8023 w 10102"/>
                <a:gd name="connsiteY65" fmla="*/ 1957 h 10000"/>
                <a:gd name="connsiteX66" fmla="*/ 8013 w 10102"/>
                <a:gd name="connsiteY66" fmla="*/ 1977 h 10000"/>
                <a:gd name="connsiteX67" fmla="*/ 7991 w 10102"/>
                <a:gd name="connsiteY67" fmla="*/ 1977 h 10000"/>
                <a:gd name="connsiteX68" fmla="*/ 7864 w 10102"/>
                <a:gd name="connsiteY68" fmla="*/ 1899 h 10000"/>
                <a:gd name="connsiteX69" fmla="*/ 7843 w 10102"/>
                <a:gd name="connsiteY69" fmla="*/ 1899 h 10000"/>
                <a:gd name="connsiteX70" fmla="*/ 7853 w 10102"/>
                <a:gd name="connsiteY70" fmla="*/ 1841 h 10000"/>
                <a:gd name="connsiteX71" fmla="*/ 7928 w 10102"/>
                <a:gd name="connsiteY71" fmla="*/ 1609 h 10000"/>
                <a:gd name="connsiteX72" fmla="*/ 7906 w 10102"/>
                <a:gd name="connsiteY72" fmla="*/ 1279 h 10000"/>
                <a:gd name="connsiteX73" fmla="*/ 7758 w 10102"/>
                <a:gd name="connsiteY73" fmla="*/ 1124 h 10000"/>
                <a:gd name="connsiteX74" fmla="*/ 7651 w 10102"/>
                <a:gd name="connsiteY74" fmla="*/ 1124 h 10000"/>
                <a:gd name="connsiteX75" fmla="*/ 7641 w 10102"/>
                <a:gd name="connsiteY75" fmla="*/ 1124 h 10000"/>
                <a:gd name="connsiteX76" fmla="*/ 7630 w 10102"/>
                <a:gd name="connsiteY76" fmla="*/ 1105 h 10000"/>
                <a:gd name="connsiteX77" fmla="*/ 7556 w 10102"/>
                <a:gd name="connsiteY77" fmla="*/ 930 h 10000"/>
                <a:gd name="connsiteX78" fmla="*/ 7184 w 10102"/>
                <a:gd name="connsiteY78" fmla="*/ 891 h 10000"/>
                <a:gd name="connsiteX79" fmla="*/ 7173 w 10102"/>
                <a:gd name="connsiteY79" fmla="*/ 891 h 10000"/>
                <a:gd name="connsiteX80" fmla="*/ 7173 w 10102"/>
                <a:gd name="connsiteY80" fmla="*/ 872 h 10000"/>
                <a:gd name="connsiteX81" fmla="*/ 7099 w 10102"/>
                <a:gd name="connsiteY81" fmla="*/ 620 h 10000"/>
                <a:gd name="connsiteX82" fmla="*/ 7088 w 10102"/>
                <a:gd name="connsiteY82" fmla="*/ 601 h 10000"/>
                <a:gd name="connsiteX83" fmla="*/ 7088 w 10102"/>
                <a:gd name="connsiteY83" fmla="*/ 601 h 10000"/>
                <a:gd name="connsiteX84" fmla="*/ 7088 w 10102"/>
                <a:gd name="connsiteY84" fmla="*/ 465 h 10000"/>
                <a:gd name="connsiteX85" fmla="*/ 7088 w 10102"/>
                <a:gd name="connsiteY85" fmla="*/ 426 h 10000"/>
                <a:gd name="connsiteX86" fmla="*/ 7099 w 10102"/>
                <a:gd name="connsiteY86" fmla="*/ 407 h 10000"/>
                <a:gd name="connsiteX87" fmla="*/ 7194 w 10102"/>
                <a:gd name="connsiteY87" fmla="*/ 310 h 10000"/>
                <a:gd name="connsiteX88" fmla="*/ 7109 w 10102"/>
                <a:gd name="connsiteY88" fmla="*/ 136 h 10000"/>
                <a:gd name="connsiteX89" fmla="*/ 7035 w 10102"/>
                <a:gd name="connsiteY89" fmla="*/ 0 h 10000"/>
                <a:gd name="connsiteX90" fmla="*/ 6939 w 10102"/>
                <a:gd name="connsiteY90" fmla="*/ 116 h 10000"/>
                <a:gd name="connsiteX91" fmla="*/ 6939 w 10102"/>
                <a:gd name="connsiteY91" fmla="*/ 116 h 10000"/>
                <a:gd name="connsiteX92" fmla="*/ 6939 w 10102"/>
                <a:gd name="connsiteY92" fmla="*/ 116 h 10000"/>
                <a:gd name="connsiteX93" fmla="*/ 6812 w 10102"/>
                <a:gd name="connsiteY93" fmla="*/ 155 h 10000"/>
                <a:gd name="connsiteX94" fmla="*/ 6674 w 10102"/>
                <a:gd name="connsiteY94" fmla="*/ 291 h 10000"/>
                <a:gd name="connsiteX95" fmla="*/ 6599 w 10102"/>
                <a:gd name="connsiteY95" fmla="*/ 523 h 10000"/>
                <a:gd name="connsiteX96" fmla="*/ 6599 w 10102"/>
                <a:gd name="connsiteY96" fmla="*/ 543 h 10000"/>
                <a:gd name="connsiteX97" fmla="*/ 6589 w 10102"/>
                <a:gd name="connsiteY97" fmla="*/ 543 h 10000"/>
                <a:gd name="connsiteX98" fmla="*/ 6397 w 10102"/>
                <a:gd name="connsiteY98" fmla="*/ 581 h 10000"/>
                <a:gd name="connsiteX99" fmla="*/ 6334 w 10102"/>
                <a:gd name="connsiteY99" fmla="*/ 891 h 10000"/>
                <a:gd name="connsiteX100" fmla="*/ 6334 w 10102"/>
                <a:gd name="connsiteY100" fmla="*/ 911 h 10000"/>
                <a:gd name="connsiteX101" fmla="*/ 6334 w 10102"/>
                <a:gd name="connsiteY101" fmla="*/ 911 h 10000"/>
                <a:gd name="connsiteX102" fmla="*/ 6142 w 10102"/>
                <a:gd name="connsiteY102" fmla="*/ 1124 h 10000"/>
                <a:gd name="connsiteX103" fmla="*/ 6015 w 10102"/>
                <a:gd name="connsiteY103" fmla="*/ 1453 h 10000"/>
                <a:gd name="connsiteX104" fmla="*/ 6004 w 10102"/>
                <a:gd name="connsiteY104" fmla="*/ 1473 h 10000"/>
                <a:gd name="connsiteX105" fmla="*/ 5994 w 10102"/>
                <a:gd name="connsiteY105" fmla="*/ 1453 h 10000"/>
                <a:gd name="connsiteX106" fmla="*/ 5802 w 10102"/>
                <a:gd name="connsiteY106" fmla="*/ 1434 h 10000"/>
                <a:gd name="connsiteX107" fmla="*/ 5781 w 10102"/>
                <a:gd name="connsiteY107" fmla="*/ 1415 h 10000"/>
                <a:gd name="connsiteX108" fmla="*/ 5781 w 10102"/>
                <a:gd name="connsiteY108" fmla="*/ 1395 h 10000"/>
                <a:gd name="connsiteX109" fmla="*/ 5760 w 10102"/>
                <a:gd name="connsiteY109" fmla="*/ 930 h 10000"/>
                <a:gd name="connsiteX110" fmla="*/ 5654 w 10102"/>
                <a:gd name="connsiteY110" fmla="*/ 872 h 10000"/>
                <a:gd name="connsiteX111" fmla="*/ 5377 w 10102"/>
                <a:gd name="connsiteY111" fmla="*/ 1240 h 10000"/>
                <a:gd name="connsiteX112" fmla="*/ 5165 w 10102"/>
                <a:gd name="connsiteY112" fmla="*/ 1570 h 10000"/>
                <a:gd name="connsiteX113" fmla="*/ 5165 w 10102"/>
                <a:gd name="connsiteY113" fmla="*/ 1899 h 10000"/>
                <a:gd name="connsiteX114" fmla="*/ 5165 w 10102"/>
                <a:gd name="connsiteY114" fmla="*/ 1919 h 10000"/>
                <a:gd name="connsiteX115" fmla="*/ 5154 w 10102"/>
                <a:gd name="connsiteY115" fmla="*/ 1919 h 10000"/>
                <a:gd name="connsiteX116" fmla="*/ 5027 w 10102"/>
                <a:gd name="connsiteY116" fmla="*/ 2112 h 10000"/>
                <a:gd name="connsiteX117" fmla="*/ 5016 w 10102"/>
                <a:gd name="connsiteY117" fmla="*/ 2112 h 10000"/>
                <a:gd name="connsiteX118" fmla="*/ 5005 w 10102"/>
                <a:gd name="connsiteY118" fmla="*/ 2112 h 10000"/>
                <a:gd name="connsiteX119" fmla="*/ 4814 w 10102"/>
                <a:gd name="connsiteY119" fmla="*/ 2112 h 10000"/>
                <a:gd name="connsiteX120" fmla="*/ 4803 w 10102"/>
                <a:gd name="connsiteY120" fmla="*/ 2112 h 10000"/>
                <a:gd name="connsiteX121" fmla="*/ 4803 w 10102"/>
                <a:gd name="connsiteY121" fmla="*/ 2112 h 10000"/>
                <a:gd name="connsiteX122" fmla="*/ 4697 w 10102"/>
                <a:gd name="connsiteY122" fmla="*/ 1957 h 10000"/>
                <a:gd name="connsiteX123" fmla="*/ 4591 w 10102"/>
                <a:gd name="connsiteY123" fmla="*/ 1899 h 10000"/>
                <a:gd name="connsiteX124" fmla="*/ 4591 w 10102"/>
                <a:gd name="connsiteY124" fmla="*/ 1957 h 10000"/>
                <a:gd name="connsiteX125" fmla="*/ 4591 w 10102"/>
                <a:gd name="connsiteY125" fmla="*/ 1996 h 10000"/>
                <a:gd name="connsiteX126" fmla="*/ 4570 w 10102"/>
                <a:gd name="connsiteY126" fmla="*/ 1996 h 10000"/>
                <a:gd name="connsiteX127" fmla="*/ 4453 w 10102"/>
                <a:gd name="connsiteY127" fmla="*/ 1996 h 10000"/>
                <a:gd name="connsiteX128" fmla="*/ 4431 w 10102"/>
                <a:gd name="connsiteY128" fmla="*/ 1996 h 10000"/>
                <a:gd name="connsiteX129" fmla="*/ 4431 w 10102"/>
                <a:gd name="connsiteY129" fmla="*/ 1957 h 10000"/>
                <a:gd name="connsiteX130" fmla="*/ 4378 w 10102"/>
                <a:gd name="connsiteY130" fmla="*/ 1589 h 10000"/>
                <a:gd name="connsiteX131" fmla="*/ 4091 w 10102"/>
                <a:gd name="connsiteY131" fmla="*/ 1512 h 10000"/>
                <a:gd name="connsiteX132" fmla="*/ 4081 w 10102"/>
                <a:gd name="connsiteY132" fmla="*/ 1512 h 10000"/>
                <a:gd name="connsiteX133" fmla="*/ 4070 w 10102"/>
                <a:gd name="connsiteY133" fmla="*/ 1492 h 10000"/>
                <a:gd name="connsiteX134" fmla="*/ 3879 w 10102"/>
                <a:gd name="connsiteY134" fmla="*/ 988 h 10000"/>
                <a:gd name="connsiteX135" fmla="*/ 3719 w 10102"/>
                <a:gd name="connsiteY135" fmla="*/ 988 h 10000"/>
                <a:gd name="connsiteX136" fmla="*/ 3698 w 10102"/>
                <a:gd name="connsiteY136" fmla="*/ 1085 h 10000"/>
                <a:gd name="connsiteX137" fmla="*/ 3698 w 10102"/>
                <a:gd name="connsiteY137" fmla="*/ 1105 h 10000"/>
                <a:gd name="connsiteX138" fmla="*/ 3698 w 10102"/>
                <a:gd name="connsiteY138" fmla="*/ 1105 h 10000"/>
                <a:gd name="connsiteX139" fmla="*/ 3592 w 10102"/>
                <a:gd name="connsiteY139" fmla="*/ 1318 h 10000"/>
                <a:gd name="connsiteX140" fmla="*/ 3592 w 10102"/>
                <a:gd name="connsiteY140" fmla="*/ 1318 h 10000"/>
                <a:gd name="connsiteX141" fmla="*/ 3581 w 10102"/>
                <a:gd name="connsiteY141" fmla="*/ 1318 h 10000"/>
                <a:gd name="connsiteX142" fmla="*/ 3486 w 10102"/>
                <a:gd name="connsiteY142" fmla="*/ 1395 h 10000"/>
                <a:gd name="connsiteX143" fmla="*/ 3486 w 10102"/>
                <a:gd name="connsiteY143" fmla="*/ 1686 h 10000"/>
                <a:gd name="connsiteX144" fmla="*/ 3486 w 10102"/>
                <a:gd name="connsiteY144" fmla="*/ 1725 h 10000"/>
                <a:gd name="connsiteX145" fmla="*/ 3475 w 10102"/>
                <a:gd name="connsiteY145" fmla="*/ 1725 h 10000"/>
                <a:gd name="connsiteX146" fmla="*/ 3369 w 10102"/>
                <a:gd name="connsiteY146" fmla="*/ 1841 h 10000"/>
                <a:gd name="connsiteX147" fmla="*/ 3135 w 10102"/>
                <a:gd name="connsiteY147" fmla="*/ 2171 h 10000"/>
                <a:gd name="connsiteX148" fmla="*/ 2954 w 10102"/>
                <a:gd name="connsiteY148" fmla="*/ 2829 h 10000"/>
                <a:gd name="connsiteX149" fmla="*/ 2954 w 10102"/>
                <a:gd name="connsiteY149" fmla="*/ 2829 h 10000"/>
                <a:gd name="connsiteX150" fmla="*/ 2944 w 10102"/>
                <a:gd name="connsiteY150" fmla="*/ 2829 h 10000"/>
                <a:gd name="connsiteX151" fmla="*/ 2699 w 10102"/>
                <a:gd name="connsiteY151" fmla="*/ 3217 h 10000"/>
                <a:gd name="connsiteX152" fmla="*/ 2487 w 10102"/>
                <a:gd name="connsiteY152" fmla="*/ 3566 h 10000"/>
                <a:gd name="connsiteX153" fmla="*/ 2465 w 10102"/>
                <a:gd name="connsiteY153" fmla="*/ 3934 h 10000"/>
                <a:gd name="connsiteX154" fmla="*/ 2465 w 10102"/>
                <a:gd name="connsiteY154" fmla="*/ 3934 h 10000"/>
                <a:gd name="connsiteX155" fmla="*/ 2465 w 10102"/>
                <a:gd name="connsiteY155" fmla="*/ 3934 h 10000"/>
                <a:gd name="connsiteX156" fmla="*/ 2295 w 10102"/>
                <a:gd name="connsiteY156" fmla="*/ 4205 h 10000"/>
                <a:gd name="connsiteX157" fmla="*/ 2200 w 10102"/>
                <a:gd name="connsiteY157" fmla="*/ 4535 h 10000"/>
                <a:gd name="connsiteX158" fmla="*/ 2189 w 10102"/>
                <a:gd name="connsiteY158" fmla="*/ 4554 h 10000"/>
                <a:gd name="connsiteX159" fmla="*/ 2179 w 10102"/>
                <a:gd name="connsiteY159" fmla="*/ 4554 h 10000"/>
                <a:gd name="connsiteX160" fmla="*/ 2051 w 10102"/>
                <a:gd name="connsiteY160" fmla="*/ 4535 h 10000"/>
                <a:gd name="connsiteX161" fmla="*/ 1913 w 10102"/>
                <a:gd name="connsiteY161" fmla="*/ 4767 h 10000"/>
                <a:gd name="connsiteX162" fmla="*/ 1913 w 10102"/>
                <a:gd name="connsiteY162" fmla="*/ 4787 h 10000"/>
                <a:gd name="connsiteX163" fmla="*/ 1902 w 10102"/>
                <a:gd name="connsiteY163" fmla="*/ 4787 h 10000"/>
                <a:gd name="connsiteX164" fmla="*/ 1498 w 10102"/>
                <a:gd name="connsiteY164" fmla="*/ 4671 h 10000"/>
                <a:gd name="connsiteX165" fmla="*/ 1488 w 10102"/>
                <a:gd name="connsiteY165" fmla="*/ 4671 h 10000"/>
                <a:gd name="connsiteX166" fmla="*/ 1488 w 10102"/>
                <a:gd name="connsiteY166" fmla="*/ 4651 h 10000"/>
                <a:gd name="connsiteX167" fmla="*/ 1424 w 10102"/>
                <a:gd name="connsiteY167" fmla="*/ 4516 h 10000"/>
                <a:gd name="connsiteX168" fmla="*/ 1350 w 10102"/>
                <a:gd name="connsiteY168" fmla="*/ 4516 h 10000"/>
                <a:gd name="connsiteX169" fmla="*/ 1296 w 10102"/>
                <a:gd name="connsiteY169" fmla="*/ 4690 h 10000"/>
                <a:gd name="connsiteX170" fmla="*/ 1286 w 10102"/>
                <a:gd name="connsiteY170" fmla="*/ 4922 h 10000"/>
                <a:gd name="connsiteX171" fmla="*/ 1286 w 10102"/>
                <a:gd name="connsiteY171" fmla="*/ 4942 h 10000"/>
                <a:gd name="connsiteX172" fmla="*/ 1275 w 10102"/>
                <a:gd name="connsiteY172" fmla="*/ 4961 h 10000"/>
                <a:gd name="connsiteX173" fmla="*/ 1190 w 10102"/>
                <a:gd name="connsiteY173" fmla="*/ 5058 h 10000"/>
                <a:gd name="connsiteX174" fmla="*/ 1137 w 10102"/>
                <a:gd name="connsiteY174" fmla="*/ 5271 h 10000"/>
                <a:gd name="connsiteX175" fmla="*/ 1137 w 10102"/>
                <a:gd name="connsiteY175" fmla="*/ 5291 h 10000"/>
                <a:gd name="connsiteX176" fmla="*/ 1126 w 10102"/>
                <a:gd name="connsiteY176" fmla="*/ 5291 h 10000"/>
                <a:gd name="connsiteX177" fmla="*/ 1020 w 10102"/>
                <a:gd name="connsiteY177" fmla="*/ 5407 h 10000"/>
                <a:gd name="connsiteX178" fmla="*/ 999 w 10102"/>
                <a:gd name="connsiteY178" fmla="*/ 5581 h 10000"/>
                <a:gd name="connsiteX179" fmla="*/ 978 w 10102"/>
                <a:gd name="connsiteY179" fmla="*/ 5756 h 10000"/>
                <a:gd name="connsiteX180" fmla="*/ 978 w 10102"/>
                <a:gd name="connsiteY180" fmla="*/ 5775 h 10000"/>
                <a:gd name="connsiteX181" fmla="*/ 967 w 10102"/>
                <a:gd name="connsiteY181" fmla="*/ 5775 h 10000"/>
                <a:gd name="connsiteX182" fmla="*/ 861 w 10102"/>
                <a:gd name="connsiteY182" fmla="*/ 5814 h 10000"/>
                <a:gd name="connsiteX183" fmla="*/ 861 w 10102"/>
                <a:gd name="connsiteY183" fmla="*/ 6047 h 10000"/>
                <a:gd name="connsiteX184" fmla="*/ 967 w 10102"/>
                <a:gd name="connsiteY184" fmla="*/ 6298 h 10000"/>
                <a:gd name="connsiteX185" fmla="*/ 967 w 10102"/>
                <a:gd name="connsiteY185" fmla="*/ 6298 h 10000"/>
                <a:gd name="connsiteX186" fmla="*/ 978 w 10102"/>
                <a:gd name="connsiteY186" fmla="*/ 6318 h 10000"/>
                <a:gd name="connsiteX187" fmla="*/ 988 w 10102"/>
                <a:gd name="connsiteY187" fmla="*/ 6512 h 10000"/>
                <a:gd name="connsiteX188" fmla="*/ 988 w 10102"/>
                <a:gd name="connsiteY188" fmla="*/ 6531 h 10000"/>
                <a:gd name="connsiteX189" fmla="*/ 978 w 10102"/>
                <a:gd name="connsiteY189" fmla="*/ 6550 h 10000"/>
                <a:gd name="connsiteX190" fmla="*/ 627 w 10102"/>
                <a:gd name="connsiteY190" fmla="*/ 7016 h 10000"/>
                <a:gd name="connsiteX191" fmla="*/ 521 w 10102"/>
                <a:gd name="connsiteY191" fmla="*/ 7151 h 10000"/>
                <a:gd name="connsiteX192" fmla="*/ 340 w 10102"/>
                <a:gd name="connsiteY192" fmla="*/ 7384 h 10000"/>
                <a:gd name="connsiteX193" fmla="*/ 340 w 10102"/>
                <a:gd name="connsiteY193" fmla="*/ 7403 h 10000"/>
                <a:gd name="connsiteX194" fmla="*/ 340 w 10102"/>
                <a:gd name="connsiteY194" fmla="*/ 7403 h 10000"/>
                <a:gd name="connsiteX195" fmla="*/ 191 w 10102"/>
                <a:gd name="connsiteY195" fmla="*/ 7519 h 10000"/>
                <a:gd name="connsiteX196" fmla="*/ 0 w 10102"/>
                <a:gd name="connsiteY196" fmla="*/ 7791 h 10000"/>
                <a:gd name="connsiteX197" fmla="*/ 11 w 10102"/>
                <a:gd name="connsiteY197" fmla="*/ 7829 h 10000"/>
                <a:gd name="connsiteX198" fmla="*/ 149 w 10102"/>
                <a:gd name="connsiteY198" fmla="*/ 7868 h 10000"/>
                <a:gd name="connsiteX199" fmla="*/ 159 w 10102"/>
                <a:gd name="connsiteY199" fmla="*/ 7868 h 10000"/>
                <a:gd name="connsiteX200" fmla="*/ 159 w 10102"/>
                <a:gd name="connsiteY200" fmla="*/ 7868 h 10000"/>
                <a:gd name="connsiteX201" fmla="*/ 372 w 10102"/>
                <a:gd name="connsiteY201" fmla="*/ 8256 h 10000"/>
                <a:gd name="connsiteX202" fmla="*/ 1467 w 10102"/>
                <a:gd name="connsiteY202" fmla="*/ 9205 h 10000"/>
                <a:gd name="connsiteX203" fmla="*/ 1467 w 10102"/>
                <a:gd name="connsiteY203" fmla="*/ 9205 h 10000"/>
                <a:gd name="connsiteX204" fmla="*/ 1477 w 10102"/>
                <a:gd name="connsiteY204" fmla="*/ 9205 h 10000"/>
                <a:gd name="connsiteX205" fmla="*/ 1838 w 10102"/>
                <a:gd name="connsiteY205" fmla="*/ 9729 h 10000"/>
                <a:gd name="connsiteX206" fmla="*/ 2508 w 10102"/>
                <a:gd name="connsiteY206" fmla="*/ 9767 h 10000"/>
                <a:gd name="connsiteX207" fmla="*/ 2561 w 10102"/>
                <a:gd name="connsiteY207" fmla="*/ 9671 h 10000"/>
                <a:gd name="connsiteX208" fmla="*/ 2561 w 10102"/>
                <a:gd name="connsiteY208" fmla="*/ 9671 h 10000"/>
                <a:gd name="connsiteX209" fmla="*/ 2582 w 10102"/>
                <a:gd name="connsiteY209" fmla="*/ 9671 h 10000"/>
                <a:gd name="connsiteX210" fmla="*/ 2848 w 10102"/>
                <a:gd name="connsiteY210" fmla="*/ 9651 h 10000"/>
                <a:gd name="connsiteX211" fmla="*/ 2859 w 10102"/>
                <a:gd name="connsiteY211" fmla="*/ 9651 h 10000"/>
                <a:gd name="connsiteX212" fmla="*/ 2869 w 10102"/>
                <a:gd name="connsiteY212" fmla="*/ 9671 h 10000"/>
                <a:gd name="connsiteX213" fmla="*/ 3061 w 10102"/>
                <a:gd name="connsiteY213" fmla="*/ 10000 h 10000"/>
                <a:gd name="connsiteX214" fmla="*/ 3061 w 10102"/>
                <a:gd name="connsiteY214" fmla="*/ 10000 h 10000"/>
                <a:gd name="connsiteX215" fmla="*/ 4336 w 10102"/>
                <a:gd name="connsiteY215" fmla="*/ 9961 h 10000"/>
                <a:gd name="connsiteX216" fmla="*/ 4357 w 10102"/>
                <a:gd name="connsiteY216" fmla="*/ 9961 h 10000"/>
                <a:gd name="connsiteX217" fmla="*/ 4357 w 10102"/>
                <a:gd name="connsiteY217" fmla="*/ 9981 h 10000"/>
                <a:gd name="connsiteX218" fmla="*/ 4527 w 10102"/>
                <a:gd name="connsiteY218" fmla="*/ 9864 h 10000"/>
                <a:gd name="connsiteX219" fmla="*/ 4538 w 10102"/>
                <a:gd name="connsiteY219" fmla="*/ 9864 h 10000"/>
                <a:gd name="connsiteX220" fmla="*/ 4538 w 10102"/>
                <a:gd name="connsiteY220" fmla="*/ 9864 h 10000"/>
                <a:gd name="connsiteX221" fmla="*/ 5250 w 10102"/>
                <a:gd name="connsiteY221" fmla="*/ 9845 h 10000"/>
                <a:gd name="connsiteX222" fmla="*/ 7354 w 10102"/>
                <a:gd name="connsiteY222" fmla="*/ 9845 h 10000"/>
                <a:gd name="connsiteX223" fmla="*/ 7343 w 10102"/>
                <a:gd name="connsiteY223" fmla="*/ 9826 h 10000"/>
                <a:gd name="connsiteX224" fmla="*/ 7439 w 10102"/>
                <a:gd name="connsiteY224" fmla="*/ 9612 h 10000"/>
                <a:gd name="connsiteX225" fmla="*/ 7513 w 10102"/>
                <a:gd name="connsiteY225" fmla="*/ 9516 h 10000"/>
                <a:gd name="connsiteX226" fmla="*/ 7428 w 10102"/>
                <a:gd name="connsiteY226" fmla="*/ 9283 h 10000"/>
                <a:gd name="connsiteX227" fmla="*/ 7450 w 10102"/>
                <a:gd name="connsiteY227" fmla="*/ 9109 h 10000"/>
                <a:gd name="connsiteX228" fmla="*/ 7683 w 10102"/>
                <a:gd name="connsiteY228" fmla="*/ 8992 h 10000"/>
                <a:gd name="connsiteX229" fmla="*/ 7683 w 10102"/>
                <a:gd name="connsiteY229" fmla="*/ 8798 h 10000"/>
                <a:gd name="connsiteX230" fmla="*/ 7779 w 10102"/>
                <a:gd name="connsiteY230" fmla="*/ 8682 h 10000"/>
                <a:gd name="connsiteX231" fmla="*/ 7949 w 10102"/>
                <a:gd name="connsiteY231" fmla="*/ 8372 h 10000"/>
                <a:gd name="connsiteX232" fmla="*/ 8013 w 10102"/>
                <a:gd name="connsiteY232" fmla="*/ 8023 h 10000"/>
                <a:gd name="connsiteX233" fmla="*/ 8098 w 10102"/>
                <a:gd name="connsiteY233" fmla="*/ 7907 h 10000"/>
                <a:gd name="connsiteX234" fmla="*/ 8204 w 10102"/>
                <a:gd name="connsiteY234" fmla="*/ 7907 h 10000"/>
                <a:gd name="connsiteX235" fmla="*/ 8363 w 10102"/>
                <a:gd name="connsiteY235" fmla="*/ 7829 h 10000"/>
                <a:gd name="connsiteX236" fmla="*/ 8576 w 10102"/>
                <a:gd name="connsiteY236" fmla="*/ 7907 h 10000"/>
                <a:gd name="connsiteX237" fmla="*/ 8661 w 10102"/>
                <a:gd name="connsiteY237" fmla="*/ 8004 h 10000"/>
                <a:gd name="connsiteX238" fmla="*/ 8704 w 10102"/>
                <a:gd name="connsiteY238" fmla="*/ 7829 h 10000"/>
                <a:gd name="connsiteX239" fmla="*/ 8831 w 10102"/>
                <a:gd name="connsiteY239" fmla="*/ 7733 h 10000"/>
                <a:gd name="connsiteX240" fmla="*/ 8980 w 10102"/>
                <a:gd name="connsiteY240" fmla="*/ 7713 h 10000"/>
                <a:gd name="connsiteX241" fmla="*/ 9097 w 10102"/>
                <a:gd name="connsiteY241" fmla="*/ 7674 h 10000"/>
                <a:gd name="connsiteX242" fmla="*/ 9235 w 10102"/>
                <a:gd name="connsiteY242" fmla="*/ 7791 h 10000"/>
                <a:gd name="connsiteX243" fmla="*/ 9341 w 10102"/>
                <a:gd name="connsiteY243" fmla="*/ 7907 h 10000"/>
                <a:gd name="connsiteX244" fmla="*/ 9458 w 10102"/>
                <a:gd name="connsiteY244" fmla="*/ 7733 h 10000"/>
                <a:gd name="connsiteX245" fmla="*/ 9575 w 10102"/>
                <a:gd name="connsiteY245" fmla="*/ 7829 h 10000"/>
                <a:gd name="connsiteX246" fmla="*/ 9702 w 10102"/>
                <a:gd name="connsiteY246" fmla="*/ 7829 h 10000"/>
                <a:gd name="connsiteX247" fmla="*/ 9809 w 10102"/>
                <a:gd name="connsiteY247" fmla="*/ 7907 h 10000"/>
                <a:gd name="connsiteX248" fmla="*/ 9968 w 10102"/>
                <a:gd name="connsiteY248" fmla="*/ 7829 h 10000"/>
                <a:gd name="connsiteX249" fmla="*/ 10000 w 10102"/>
                <a:gd name="connsiteY249" fmla="*/ 7810 h 10000"/>
                <a:gd name="connsiteX250" fmla="*/ 9979 w 10102"/>
                <a:gd name="connsiteY250" fmla="*/ 7810 h 10000"/>
                <a:gd name="connsiteX251" fmla="*/ 10066 w 10102"/>
                <a:gd name="connsiteY251" fmla="*/ 7636 h 10000"/>
                <a:gd name="connsiteX252" fmla="*/ 10075 w 10102"/>
                <a:gd name="connsiteY252" fmla="*/ 7250 h 10000"/>
                <a:gd name="connsiteX253" fmla="*/ 9968 w 10102"/>
                <a:gd name="connsiteY253" fmla="*/ 6822 h 10000"/>
                <a:gd name="connsiteX254" fmla="*/ 9979 w 10102"/>
                <a:gd name="connsiteY254" fmla="*/ 6802 h 10000"/>
                <a:gd name="connsiteX255" fmla="*/ 9979 w 10102"/>
                <a:gd name="connsiteY255" fmla="*/ 6802 h 10000"/>
                <a:gd name="connsiteX256" fmla="*/ 9947 w 10102"/>
                <a:gd name="connsiteY256" fmla="*/ 6764 h 10000"/>
                <a:gd name="connsiteX0" fmla="*/ 9947 w 10102"/>
                <a:gd name="connsiteY0" fmla="*/ 6764 h 10000"/>
                <a:gd name="connsiteX1" fmla="*/ 9816 w 10102"/>
                <a:gd name="connsiteY1" fmla="*/ 6660 h 10000"/>
                <a:gd name="connsiteX2" fmla="*/ 9766 w 10102"/>
                <a:gd name="connsiteY2" fmla="*/ 6938 h 10000"/>
                <a:gd name="connsiteX3" fmla="*/ 9665 w 10102"/>
                <a:gd name="connsiteY3" fmla="*/ 6915 h 10000"/>
                <a:gd name="connsiteX4" fmla="*/ 9458 w 10102"/>
                <a:gd name="connsiteY4" fmla="*/ 6880 h 10000"/>
                <a:gd name="connsiteX5" fmla="*/ 9447 w 10102"/>
                <a:gd name="connsiteY5" fmla="*/ 6860 h 10000"/>
                <a:gd name="connsiteX6" fmla="*/ 9447 w 10102"/>
                <a:gd name="connsiteY6" fmla="*/ 6841 h 10000"/>
                <a:gd name="connsiteX7" fmla="*/ 9544 w 10102"/>
                <a:gd name="connsiteY7" fmla="*/ 6734 h 10000"/>
                <a:gd name="connsiteX8" fmla="*/ 9554 w 10102"/>
                <a:gd name="connsiteY8" fmla="*/ 6453 h 10000"/>
                <a:gd name="connsiteX9" fmla="*/ 9564 w 10102"/>
                <a:gd name="connsiteY9" fmla="*/ 5601 h 10000"/>
                <a:gd name="connsiteX10" fmla="*/ 9564 w 10102"/>
                <a:gd name="connsiteY10" fmla="*/ 5581 h 10000"/>
                <a:gd name="connsiteX11" fmla="*/ 9564 w 10102"/>
                <a:gd name="connsiteY11" fmla="*/ 5562 h 10000"/>
                <a:gd name="connsiteX12" fmla="*/ 9649 w 10102"/>
                <a:gd name="connsiteY12" fmla="*/ 5388 h 10000"/>
                <a:gd name="connsiteX13" fmla="*/ 9702 w 10102"/>
                <a:gd name="connsiteY13" fmla="*/ 5291 h 10000"/>
                <a:gd name="connsiteX14" fmla="*/ 9554 w 10102"/>
                <a:gd name="connsiteY14" fmla="*/ 5058 h 10000"/>
                <a:gd name="connsiteX15" fmla="*/ 9554 w 10102"/>
                <a:gd name="connsiteY15" fmla="*/ 5058 h 10000"/>
                <a:gd name="connsiteX16" fmla="*/ 9543 w 10102"/>
                <a:gd name="connsiteY16" fmla="*/ 5058 h 10000"/>
                <a:gd name="connsiteX17" fmla="*/ 9394 w 10102"/>
                <a:gd name="connsiteY17" fmla="*/ 4709 h 10000"/>
                <a:gd name="connsiteX18" fmla="*/ 9394 w 10102"/>
                <a:gd name="connsiteY18" fmla="*/ 4690 h 10000"/>
                <a:gd name="connsiteX19" fmla="*/ 9394 w 10102"/>
                <a:gd name="connsiteY19" fmla="*/ 4690 h 10000"/>
                <a:gd name="connsiteX20" fmla="*/ 9456 w 10102"/>
                <a:gd name="connsiteY20" fmla="*/ 4520 h 10000"/>
                <a:gd name="connsiteX21" fmla="*/ 9490 w 10102"/>
                <a:gd name="connsiteY21" fmla="*/ 4360 h 10000"/>
                <a:gd name="connsiteX22" fmla="*/ 9564 w 10102"/>
                <a:gd name="connsiteY22" fmla="*/ 4244 h 10000"/>
                <a:gd name="connsiteX23" fmla="*/ 9628 w 10102"/>
                <a:gd name="connsiteY23" fmla="*/ 4012 h 10000"/>
                <a:gd name="connsiteX24" fmla="*/ 9490 w 10102"/>
                <a:gd name="connsiteY24" fmla="*/ 3760 h 10000"/>
                <a:gd name="connsiteX25" fmla="*/ 9490 w 10102"/>
                <a:gd name="connsiteY25" fmla="*/ 3760 h 10000"/>
                <a:gd name="connsiteX26" fmla="*/ 9479 w 10102"/>
                <a:gd name="connsiteY26" fmla="*/ 3760 h 10000"/>
                <a:gd name="connsiteX27" fmla="*/ 9426 w 10102"/>
                <a:gd name="connsiteY27" fmla="*/ 3527 h 10000"/>
                <a:gd name="connsiteX28" fmla="*/ 9426 w 10102"/>
                <a:gd name="connsiteY28" fmla="*/ 3527 h 10000"/>
                <a:gd name="connsiteX29" fmla="*/ 9426 w 10102"/>
                <a:gd name="connsiteY29" fmla="*/ 3508 h 10000"/>
                <a:gd name="connsiteX30" fmla="*/ 9416 w 10102"/>
                <a:gd name="connsiteY30" fmla="*/ 3198 h 10000"/>
                <a:gd name="connsiteX31" fmla="*/ 9416 w 10102"/>
                <a:gd name="connsiteY31" fmla="*/ 3198 h 10000"/>
                <a:gd name="connsiteX32" fmla="*/ 9416 w 10102"/>
                <a:gd name="connsiteY32" fmla="*/ 3178 h 10000"/>
                <a:gd name="connsiteX33" fmla="*/ 9532 w 10102"/>
                <a:gd name="connsiteY33" fmla="*/ 2907 h 10000"/>
                <a:gd name="connsiteX34" fmla="*/ 9384 w 10102"/>
                <a:gd name="connsiteY34" fmla="*/ 2616 h 10000"/>
                <a:gd name="connsiteX35" fmla="*/ 9384 w 10102"/>
                <a:gd name="connsiteY35" fmla="*/ 2616 h 10000"/>
                <a:gd name="connsiteX36" fmla="*/ 9384 w 10102"/>
                <a:gd name="connsiteY36" fmla="*/ 2616 h 10000"/>
                <a:gd name="connsiteX37" fmla="*/ 9330 w 10102"/>
                <a:gd name="connsiteY37" fmla="*/ 2267 h 10000"/>
                <a:gd name="connsiteX38" fmla="*/ 9330 w 10102"/>
                <a:gd name="connsiteY38" fmla="*/ 2248 h 10000"/>
                <a:gd name="connsiteX39" fmla="*/ 9330 w 10102"/>
                <a:gd name="connsiteY39" fmla="*/ 2248 h 10000"/>
                <a:gd name="connsiteX40" fmla="*/ 9341 w 10102"/>
                <a:gd name="connsiteY40" fmla="*/ 1841 h 10000"/>
                <a:gd name="connsiteX41" fmla="*/ 9341 w 10102"/>
                <a:gd name="connsiteY41" fmla="*/ 1822 h 10000"/>
                <a:gd name="connsiteX42" fmla="*/ 9341 w 10102"/>
                <a:gd name="connsiteY42" fmla="*/ 1822 h 10000"/>
                <a:gd name="connsiteX43" fmla="*/ 9660 w 10102"/>
                <a:gd name="connsiteY43" fmla="*/ 1279 h 10000"/>
                <a:gd name="connsiteX44" fmla="*/ 9564 w 10102"/>
                <a:gd name="connsiteY44" fmla="*/ 1008 h 10000"/>
                <a:gd name="connsiteX45" fmla="*/ 9554 w 10102"/>
                <a:gd name="connsiteY45" fmla="*/ 1008 h 10000"/>
                <a:gd name="connsiteX46" fmla="*/ 9554 w 10102"/>
                <a:gd name="connsiteY46" fmla="*/ 988 h 10000"/>
                <a:gd name="connsiteX47" fmla="*/ 9586 w 10102"/>
                <a:gd name="connsiteY47" fmla="*/ 698 h 10000"/>
                <a:gd name="connsiteX48" fmla="*/ 9501 w 10102"/>
                <a:gd name="connsiteY48" fmla="*/ 601 h 10000"/>
                <a:gd name="connsiteX49" fmla="*/ 9288 w 10102"/>
                <a:gd name="connsiteY49" fmla="*/ 581 h 10000"/>
                <a:gd name="connsiteX50" fmla="*/ 9288 w 10102"/>
                <a:gd name="connsiteY50" fmla="*/ 581 h 10000"/>
                <a:gd name="connsiteX51" fmla="*/ 9277 w 10102"/>
                <a:gd name="connsiteY51" fmla="*/ 581 h 10000"/>
                <a:gd name="connsiteX52" fmla="*/ 9224 w 10102"/>
                <a:gd name="connsiteY52" fmla="*/ 484 h 10000"/>
                <a:gd name="connsiteX53" fmla="*/ 9086 w 10102"/>
                <a:gd name="connsiteY53" fmla="*/ 484 h 10000"/>
                <a:gd name="connsiteX54" fmla="*/ 8948 w 10102"/>
                <a:gd name="connsiteY54" fmla="*/ 1124 h 10000"/>
                <a:gd name="connsiteX55" fmla="*/ 8927 w 10102"/>
                <a:gd name="connsiteY55" fmla="*/ 1124 h 10000"/>
                <a:gd name="connsiteX56" fmla="*/ 8927 w 10102"/>
                <a:gd name="connsiteY56" fmla="*/ 1143 h 10000"/>
                <a:gd name="connsiteX57" fmla="*/ 8650 w 10102"/>
                <a:gd name="connsiteY57" fmla="*/ 1415 h 10000"/>
                <a:gd name="connsiteX58" fmla="*/ 8640 w 10102"/>
                <a:gd name="connsiteY58" fmla="*/ 1434 h 10000"/>
                <a:gd name="connsiteX59" fmla="*/ 8640 w 10102"/>
                <a:gd name="connsiteY59" fmla="*/ 1434 h 10000"/>
                <a:gd name="connsiteX60" fmla="*/ 8470 w 10102"/>
                <a:gd name="connsiteY60" fmla="*/ 1395 h 10000"/>
                <a:gd name="connsiteX61" fmla="*/ 8321 w 10102"/>
                <a:gd name="connsiteY61" fmla="*/ 1531 h 10000"/>
                <a:gd name="connsiteX62" fmla="*/ 8321 w 10102"/>
                <a:gd name="connsiteY62" fmla="*/ 1531 h 10000"/>
                <a:gd name="connsiteX63" fmla="*/ 8321 w 10102"/>
                <a:gd name="connsiteY63" fmla="*/ 1531 h 10000"/>
                <a:gd name="connsiteX64" fmla="*/ 8172 w 10102"/>
                <a:gd name="connsiteY64" fmla="*/ 1589 h 10000"/>
                <a:gd name="connsiteX65" fmla="*/ 8023 w 10102"/>
                <a:gd name="connsiteY65" fmla="*/ 1957 h 10000"/>
                <a:gd name="connsiteX66" fmla="*/ 8013 w 10102"/>
                <a:gd name="connsiteY66" fmla="*/ 1977 h 10000"/>
                <a:gd name="connsiteX67" fmla="*/ 7991 w 10102"/>
                <a:gd name="connsiteY67" fmla="*/ 1977 h 10000"/>
                <a:gd name="connsiteX68" fmla="*/ 7864 w 10102"/>
                <a:gd name="connsiteY68" fmla="*/ 1899 h 10000"/>
                <a:gd name="connsiteX69" fmla="*/ 7843 w 10102"/>
                <a:gd name="connsiteY69" fmla="*/ 1899 h 10000"/>
                <a:gd name="connsiteX70" fmla="*/ 7853 w 10102"/>
                <a:gd name="connsiteY70" fmla="*/ 1841 h 10000"/>
                <a:gd name="connsiteX71" fmla="*/ 7928 w 10102"/>
                <a:gd name="connsiteY71" fmla="*/ 1609 h 10000"/>
                <a:gd name="connsiteX72" fmla="*/ 7906 w 10102"/>
                <a:gd name="connsiteY72" fmla="*/ 1279 h 10000"/>
                <a:gd name="connsiteX73" fmla="*/ 7758 w 10102"/>
                <a:gd name="connsiteY73" fmla="*/ 1124 h 10000"/>
                <a:gd name="connsiteX74" fmla="*/ 7651 w 10102"/>
                <a:gd name="connsiteY74" fmla="*/ 1124 h 10000"/>
                <a:gd name="connsiteX75" fmla="*/ 7641 w 10102"/>
                <a:gd name="connsiteY75" fmla="*/ 1124 h 10000"/>
                <a:gd name="connsiteX76" fmla="*/ 7630 w 10102"/>
                <a:gd name="connsiteY76" fmla="*/ 1105 h 10000"/>
                <a:gd name="connsiteX77" fmla="*/ 7556 w 10102"/>
                <a:gd name="connsiteY77" fmla="*/ 930 h 10000"/>
                <a:gd name="connsiteX78" fmla="*/ 7184 w 10102"/>
                <a:gd name="connsiteY78" fmla="*/ 891 h 10000"/>
                <a:gd name="connsiteX79" fmla="*/ 7173 w 10102"/>
                <a:gd name="connsiteY79" fmla="*/ 891 h 10000"/>
                <a:gd name="connsiteX80" fmla="*/ 7173 w 10102"/>
                <a:gd name="connsiteY80" fmla="*/ 872 h 10000"/>
                <a:gd name="connsiteX81" fmla="*/ 7099 w 10102"/>
                <a:gd name="connsiteY81" fmla="*/ 620 h 10000"/>
                <a:gd name="connsiteX82" fmla="*/ 7088 w 10102"/>
                <a:gd name="connsiteY82" fmla="*/ 601 h 10000"/>
                <a:gd name="connsiteX83" fmla="*/ 7088 w 10102"/>
                <a:gd name="connsiteY83" fmla="*/ 601 h 10000"/>
                <a:gd name="connsiteX84" fmla="*/ 7088 w 10102"/>
                <a:gd name="connsiteY84" fmla="*/ 465 h 10000"/>
                <a:gd name="connsiteX85" fmla="*/ 7088 w 10102"/>
                <a:gd name="connsiteY85" fmla="*/ 426 h 10000"/>
                <a:gd name="connsiteX86" fmla="*/ 7099 w 10102"/>
                <a:gd name="connsiteY86" fmla="*/ 407 h 10000"/>
                <a:gd name="connsiteX87" fmla="*/ 7194 w 10102"/>
                <a:gd name="connsiteY87" fmla="*/ 310 h 10000"/>
                <a:gd name="connsiteX88" fmla="*/ 7109 w 10102"/>
                <a:gd name="connsiteY88" fmla="*/ 136 h 10000"/>
                <a:gd name="connsiteX89" fmla="*/ 7035 w 10102"/>
                <a:gd name="connsiteY89" fmla="*/ 0 h 10000"/>
                <a:gd name="connsiteX90" fmla="*/ 6939 w 10102"/>
                <a:gd name="connsiteY90" fmla="*/ 116 h 10000"/>
                <a:gd name="connsiteX91" fmla="*/ 6939 w 10102"/>
                <a:gd name="connsiteY91" fmla="*/ 116 h 10000"/>
                <a:gd name="connsiteX92" fmla="*/ 6939 w 10102"/>
                <a:gd name="connsiteY92" fmla="*/ 116 h 10000"/>
                <a:gd name="connsiteX93" fmla="*/ 6812 w 10102"/>
                <a:gd name="connsiteY93" fmla="*/ 155 h 10000"/>
                <a:gd name="connsiteX94" fmla="*/ 6674 w 10102"/>
                <a:gd name="connsiteY94" fmla="*/ 291 h 10000"/>
                <a:gd name="connsiteX95" fmla="*/ 6599 w 10102"/>
                <a:gd name="connsiteY95" fmla="*/ 523 h 10000"/>
                <a:gd name="connsiteX96" fmla="*/ 6599 w 10102"/>
                <a:gd name="connsiteY96" fmla="*/ 543 h 10000"/>
                <a:gd name="connsiteX97" fmla="*/ 6589 w 10102"/>
                <a:gd name="connsiteY97" fmla="*/ 543 h 10000"/>
                <a:gd name="connsiteX98" fmla="*/ 6321 w 10102"/>
                <a:gd name="connsiteY98" fmla="*/ 617 h 10000"/>
                <a:gd name="connsiteX99" fmla="*/ 6334 w 10102"/>
                <a:gd name="connsiteY99" fmla="*/ 891 h 10000"/>
                <a:gd name="connsiteX100" fmla="*/ 6334 w 10102"/>
                <a:gd name="connsiteY100" fmla="*/ 911 h 10000"/>
                <a:gd name="connsiteX101" fmla="*/ 6334 w 10102"/>
                <a:gd name="connsiteY101" fmla="*/ 911 h 10000"/>
                <a:gd name="connsiteX102" fmla="*/ 6142 w 10102"/>
                <a:gd name="connsiteY102" fmla="*/ 1124 h 10000"/>
                <a:gd name="connsiteX103" fmla="*/ 6015 w 10102"/>
                <a:gd name="connsiteY103" fmla="*/ 1453 h 10000"/>
                <a:gd name="connsiteX104" fmla="*/ 6004 w 10102"/>
                <a:gd name="connsiteY104" fmla="*/ 1473 h 10000"/>
                <a:gd name="connsiteX105" fmla="*/ 5994 w 10102"/>
                <a:gd name="connsiteY105" fmla="*/ 1453 h 10000"/>
                <a:gd name="connsiteX106" fmla="*/ 5802 w 10102"/>
                <a:gd name="connsiteY106" fmla="*/ 1434 h 10000"/>
                <a:gd name="connsiteX107" fmla="*/ 5781 w 10102"/>
                <a:gd name="connsiteY107" fmla="*/ 1415 h 10000"/>
                <a:gd name="connsiteX108" fmla="*/ 5781 w 10102"/>
                <a:gd name="connsiteY108" fmla="*/ 1395 h 10000"/>
                <a:gd name="connsiteX109" fmla="*/ 5760 w 10102"/>
                <a:gd name="connsiteY109" fmla="*/ 930 h 10000"/>
                <a:gd name="connsiteX110" fmla="*/ 5654 w 10102"/>
                <a:gd name="connsiteY110" fmla="*/ 872 h 10000"/>
                <a:gd name="connsiteX111" fmla="*/ 5377 w 10102"/>
                <a:gd name="connsiteY111" fmla="*/ 1240 h 10000"/>
                <a:gd name="connsiteX112" fmla="*/ 5165 w 10102"/>
                <a:gd name="connsiteY112" fmla="*/ 1570 h 10000"/>
                <a:gd name="connsiteX113" fmla="*/ 5165 w 10102"/>
                <a:gd name="connsiteY113" fmla="*/ 1899 h 10000"/>
                <a:gd name="connsiteX114" fmla="*/ 5165 w 10102"/>
                <a:gd name="connsiteY114" fmla="*/ 1919 h 10000"/>
                <a:gd name="connsiteX115" fmla="*/ 5154 w 10102"/>
                <a:gd name="connsiteY115" fmla="*/ 1919 h 10000"/>
                <a:gd name="connsiteX116" fmla="*/ 5027 w 10102"/>
                <a:gd name="connsiteY116" fmla="*/ 2112 h 10000"/>
                <a:gd name="connsiteX117" fmla="*/ 5016 w 10102"/>
                <a:gd name="connsiteY117" fmla="*/ 2112 h 10000"/>
                <a:gd name="connsiteX118" fmla="*/ 5005 w 10102"/>
                <a:gd name="connsiteY118" fmla="*/ 2112 h 10000"/>
                <a:gd name="connsiteX119" fmla="*/ 4814 w 10102"/>
                <a:gd name="connsiteY119" fmla="*/ 2112 h 10000"/>
                <a:gd name="connsiteX120" fmla="*/ 4803 w 10102"/>
                <a:gd name="connsiteY120" fmla="*/ 2112 h 10000"/>
                <a:gd name="connsiteX121" fmla="*/ 4803 w 10102"/>
                <a:gd name="connsiteY121" fmla="*/ 2112 h 10000"/>
                <a:gd name="connsiteX122" fmla="*/ 4697 w 10102"/>
                <a:gd name="connsiteY122" fmla="*/ 1957 h 10000"/>
                <a:gd name="connsiteX123" fmla="*/ 4591 w 10102"/>
                <a:gd name="connsiteY123" fmla="*/ 1899 h 10000"/>
                <a:gd name="connsiteX124" fmla="*/ 4591 w 10102"/>
                <a:gd name="connsiteY124" fmla="*/ 1957 h 10000"/>
                <a:gd name="connsiteX125" fmla="*/ 4591 w 10102"/>
                <a:gd name="connsiteY125" fmla="*/ 1996 h 10000"/>
                <a:gd name="connsiteX126" fmla="*/ 4570 w 10102"/>
                <a:gd name="connsiteY126" fmla="*/ 1996 h 10000"/>
                <a:gd name="connsiteX127" fmla="*/ 4453 w 10102"/>
                <a:gd name="connsiteY127" fmla="*/ 1996 h 10000"/>
                <a:gd name="connsiteX128" fmla="*/ 4431 w 10102"/>
                <a:gd name="connsiteY128" fmla="*/ 1996 h 10000"/>
                <a:gd name="connsiteX129" fmla="*/ 4431 w 10102"/>
                <a:gd name="connsiteY129" fmla="*/ 1957 h 10000"/>
                <a:gd name="connsiteX130" fmla="*/ 4378 w 10102"/>
                <a:gd name="connsiteY130" fmla="*/ 1589 h 10000"/>
                <a:gd name="connsiteX131" fmla="*/ 4091 w 10102"/>
                <a:gd name="connsiteY131" fmla="*/ 1512 h 10000"/>
                <a:gd name="connsiteX132" fmla="*/ 4081 w 10102"/>
                <a:gd name="connsiteY132" fmla="*/ 1512 h 10000"/>
                <a:gd name="connsiteX133" fmla="*/ 4070 w 10102"/>
                <a:gd name="connsiteY133" fmla="*/ 1492 h 10000"/>
                <a:gd name="connsiteX134" fmla="*/ 3879 w 10102"/>
                <a:gd name="connsiteY134" fmla="*/ 988 h 10000"/>
                <a:gd name="connsiteX135" fmla="*/ 3719 w 10102"/>
                <a:gd name="connsiteY135" fmla="*/ 988 h 10000"/>
                <a:gd name="connsiteX136" fmla="*/ 3698 w 10102"/>
                <a:gd name="connsiteY136" fmla="*/ 1085 h 10000"/>
                <a:gd name="connsiteX137" fmla="*/ 3698 w 10102"/>
                <a:gd name="connsiteY137" fmla="*/ 1105 h 10000"/>
                <a:gd name="connsiteX138" fmla="*/ 3698 w 10102"/>
                <a:gd name="connsiteY138" fmla="*/ 1105 h 10000"/>
                <a:gd name="connsiteX139" fmla="*/ 3592 w 10102"/>
                <a:gd name="connsiteY139" fmla="*/ 1318 h 10000"/>
                <a:gd name="connsiteX140" fmla="*/ 3592 w 10102"/>
                <a:gd name="connsiteY140" fmla="*/ 1318 h 10000"/>
                <a:gd name="connsiteX141" fmla="*/ 3581 w 10102"/>
                <a:gd name="connsiteY141" fmla="*/ 1318 h 10000"/>
                <a:gd name="connsiteX142" fmla="*/ 3486 w 10102"/>
                <a:gd name="connsiteY142" fmla="*/ 1395 h 10000"/>
                <a:gd name="connsiteX143" fmla="*/ 3486 w 10102"/>
                <a:gd name="connsiteY143" fmla="*/ 1686 h 10000"/>
                <a:gd name="connsiteX144" fmla="*/ 3486 w 10102"/>
                <a:gd name="connsiteY144" fmla="*/ 1725 h 10000"/>
                <a:gd name="connsiteX145" fmla="*/ 3475 w 10102"/>
                <a:gd name="connsiteY145" fmla="*/ 1725 h 10000"/>
                <a:gd name="connsiteX146" fmla="*/ 3369 w 10102"/>
                <a:gd name="connsiteY146" fmla="*/ 1841 h 10000"/>
                <a:gd name="connsiteX147" fmla="*/ 3135 w 10102"/>
                <a:gd name="connsiteY147" fmla="*/ 2171 h 10000"/>
                <a:gd name="connsiteX148" fmla="*/ 2954 w 10102"/>
                <a:gd name="connsiteY148" fmla="*/ 2829 h 10000"/>
                <a:gd name="connsiteX149" fmla="*/ 2954 w 10102"/>
                <a:gd name="connsiteY149" fmla="*/ 2829 h 10000"/>
                <a:gd name="connsiteX150" fmla="*/ 2944 w 10102"/>
                <a:gd name="connsiteY150" fmla="*/ 2829 h 10000"/>
                <a:gd name="connsiteX151" fmla="*/ 2699 w 10102"/>
                <a:gd name="connsiteY151" fmla="*/ 3217 h 10000"/>
                <a:gd name="connsiteX152" fmla="*/ 2487 w 10102"/>
                <a:gd name="connsiteY152" fmla="*/ 3566 h 10000"/>
                <a:gd name="connsiteX153" fmla="*/ 2465 w 10102"/>
                <a:gd name="connsiteY153" fmla="*/ 3934 h 10000"/>
                <a:gd name="connsiteX154" fmla="*/ 2465 w 10102"/>
                <a:gd name="connsiteY154" fmla="*/ 3934 h 10000"/>
                <a:gd name="connsiteX155" fmla="*/ 2465 w 10102"/>
                <a:gd name="connsiteY155" fmla="*/ 3934 h 10000"/>
                <a:gd name="connsiteX156" fmla="*/ 2295 w 10102"/>
                <a:gd name="connsiteY156" fmla="*/ 4205 h 10000"/>
                <a:gd name="connsiteX157" fmla="*/ 2200 w 10102"/>
                <a:gd name="connsiteY157" fmla="*/ 4535 h 10000"/>
                <a:gd name="connsiteX158" fmla="*/ 2189 w 10102"/>
                <a:gd name="connsiteY158" fmla="*/ 4554 h 10000"/>
                <a:gd name="connsiteX159" fmla="*/ 2179 w 10102"/>
                <a:gd name="connsiteY159" fmla="*/ 4554 h 10000"/>
                <a:gd name="connsiteX160" fmla="*/ 2051 w 10102"/>
                <a:gd name="connsiteY160" fmla="*/ 4535 h 10000"/>
                <a:gd name="connsiteX161" fmla="*/ 1913 w 10102"/>
                <a:gd name="connsiteY161" fmla="*/ 4767 h 10000"/>
                <a:gd name="connsiteX162" fmla="*/ 1913 w 10102"/>
                <a:gd name="connsiteY162" fmla="*/ 4787 h 10000"/>
                <a:gd name="connsiteX163" fmla="*/ 1902 w 10102"/>
                <a:gd name="connsiteY163" fmla="*/ 4787 h 10000"/>
                <a:gd name="connsiteX164" fmla="*/ 1498 w 10102"/>
                <a:gd name="connsiteY164" fmla="*/ 4671 h 10000"/>
                <a:gd name="connsiteX165" fmla="*/ 1488 w 10102"/>
                <a:gd name="connsiteY165" fmla="*/ 4671 h 10000"/>
                <a:gd name="connsiteX166" fmla="*/ 1488 w 10102"/>
                <a:gd name="connsiteY166" fmla="*/ 4651 h 10000"/>
                <a:gd name="connsiteX167" fmla="*/ 1424 w 10102"/>
                <a:gd name="connsiteY167" fmla="*/ 4516 h 10000"/>
                <a:gd name="connsiteX168" fmla="*/ 1350 w 10102"/>
                <a:gd name="connsiteY168" fmla="*/ 4516 h 10000"/>
                <a:gd name="connsiteX169" fmla="*/ 1296 w 10102"/>
                <a:gd name="connsiteY169" fmla="*/ 4690 h 10000"/>
                <a:gd name="connsiteX170" fmla="*/ 1286 w 10102"/>
                <a:gd name="connsiteY170" fmla="*/ 4922 h 10000"/>
                <a:gd name="connsiteX171" fmla="*/ 1286 w 10102"/>
                <a:gd name="connsiteY171" fmla="*/ 4942 h 10000"/>
                <a:gd name="connsiteX172" fmla="*/ 1275 w 10102"/>
                <a:gd name="connsiteY172" fmla="*/ 4961 h 10000"/>
                <a:gd name="connsiteX173" fmla="*/ 1190 w 10102"/>
                <a:gd name="connsiteY173" fmla="*/ 5058 h 10000"/>
                <a:gd name="connsiteX174" fmla="*/ 1137 w 10102"/>
                <a:gd name="connsiteY174" fmla="*/ 5271 h 10000"/>
                <a:gd name="connsiteX175" fmla="*/ 1137 w 10102"/>
                <a:gd name="connsiteY175" fmla="*/ 5291 h 10000"/>
                <a:gd name="connsiteX176" fmla="*/ 1126 w 10102"/>
                <a:gd name="connsiteY176" fmla="*/ 5291 h 10000"/>
                <a:gd name="connsiteX177" fmla="*/ 1020 w 10102"/>
                <a:gd name="connsiteY177" fmla="*/ 5407 h 10000"/>
                <a:gd name="connsiteX178" fmla="*/ 999 w 10102"/>
                <a:gd name="connsiteY178" fmla="*/ 5581 h 10000"/>
                <a:gd name="connsiteX179" fmla="*/ 978 w 10102"/>
                <a:gd name="connsiteY179" fmla="*/ 5756 h 10000"/>
                <a:gd name="connsiteX180" fmla="*/ 978 w 10102"/>
                <a:gd name="connsiteY180" fmla="*/ 5775 h 10000"/>
                <a:gd name="connsiteX181" fmla="*/ 967 w 10102"/>
                <a:gd name="connsiteY181" fmla="*/ 5775 h 10000"/>
                <a:gd name="connsiteX182" fmla="*/ 861 w 10102"/>
                <a:gd name="connsiteY182" fmla="*/ 5814 h 10000"/>
                <a:gd name="connsiteX183" fmla="*/ 861 w 10102"/>
                <a:gd name="connsiteY183" fmla="*/ 6047 h 10000"/>
                <a:gd name="connsiteX184" fmla="*/ 967 w 10102"/>
                <a:gd name="connsiteY184" fmla="*/ 6298 h 10000"/>
                <a:gd name="connsiteX185" fmla="*/ 967 w 10102"/>
                <a:gd name="connsiteY185" fmla="*/ 6298 h 10000"/>
                <a:gd name="connsiteX186" fmla="*/ 978 w 10102"/>
                <a:gd name="connsiteY186" fmla="*/ 6318 h 10000"/>
                <a:gd name="connsiteX187" fmla="*/ 988 w 10102"/>
                <a:gd name="connsiteY187" fmla="*/ 6512 h 10000"/>
                <a:gd name="connsiteX188" fmla="*/ 988 w 10102"/>
                <a:gd name="connsiteY188" fmla="*/ 6531 h 10000"/>
                <a:gd name="connsiteX189" fmla="*/ 978 w 10102"/>
                <a:gd name="connsiteY189" fmla="*/ 6550 h 10000"/>
                <a:gd name="connsiteX190" fmla="*/ 627 w 10102"/>
                <a:gd name="connsiteY190" fmla="*/ 7016 h 10000"/>
                <a:gd name="connsiteX191" fmla="*/ 521 w 10102"/>
                <a:gd name="connsiteY191" fmla="*/ 7151 h 10000"/>
                <a:gd name="connsiteX192" fmla="*/ 340 w 10102"/>
                <a:gd name="connsiteY192" fmla="*/ 7384 h 10000"/>
                <a:gd name="connsiteX193" fmla="*/ 340 w 10102"/>
                <a:gd name="connsiteY193" fmla="*/ 7403 h 10000"/>
                <a:gd name="connsiteX194" fmla="*/ 340 w 10102"/>
                <a:gd name="connsiteY194" fmla="*/ 7403 h 10000"/>
                <a:gd name="connsiteX195" fmla="*/ 191 w 10102"/>
                <a:gd name="connsiteY195" fmla="*/ 7519 h 10000"/>
                <a:gd name="connsiteX196" fmla="*/ 0 w 10102"/>
                <a:gd name="connsiteY196" fmla="*/ 7791 h 10000"/>
                <a:gd name="connsiteX197" fmla="*/ 11 w 10102"/>
                <a:gd name="connsiteY197" fmla="*/ 7829 h 10000"/>
                <a:gd name="connsiteX198" fmla="*/ 149 w 10102"/>
                <a:gd name="connsiteY198" fmla="*/ 7868 h 10000"/>
                <a:gd name="connsiteX199" fmla="*/ 159 w 10102"/>
                <a:gd name="connsiteY199" fmla="*/ 7868 h 10000"/>
                <a:gd name="connsiteX200" fmla="*/ 159 w 10102"/>
                <a:gd name="connsiteY200" fmla="*/ 7868 h 10000"/>
                <a:gd name="connsiteX201" fmla="*/ 372 w 10102"/>
                <a:gd name="connsiteY201" fmla="*/ 8256 h 10000"/>
                <a:gd name="connsiteX202" fmla="*/ 1467 w 10102"/>
                <a:gd name="connsiteY202" fmla="*/ 9205 h 10000"/>
                <a:gd name="connsiteX203" fmla="*/ 1467 w 10102"/>
                <a:gd name="connsiteY203" fmla="*/ 9205 h 10000"/>
                <a:gd name="connsiteX204" fmla="*/ 1477 w 10102"/>
                <a:gd name="connsiteY204" fmla="*/ 9205 h 10000"/>
                <a:gd name="connsiteX205" fmla="*/ 1838 w 10102"/>
                <a:gd name="connsiteY205" fmla="*/ 9729 h 10000"/>
                <a:gd name="connsiteX206" fmla="*/ 2508 w 10102"/>
                <a:gd name="connsiteY206" fmla="*/ 9767 h 10000"/>
                <a:gd name="connsiteX207" fmla="*/ 2561 w 10102"/>
                <a:gd name="connsiteY207" fmla="*/ 9671 h 10000"/>
                <a:gd name="connsiteX208" fmla="*/ 2561 w 10102"/>
                <a:gd name="connsiteY208" fmla="*/ 9671 h 10000"/>
                <a:gd name="connsiteX209" fmla="*/ 2582 w 10102"/>
                <a:gd name="connsiteY209" fmla="*/ 9671 h 10000"/>
                <a:gd name="connsiteX210" fmla="*/ 2848 w 10102"/>
                <a:gd name="connsiteY210" fmla="*/ 9651 h 10000"/>
                <a:gd name="connsiteX211" fmla="*/ 2859 w 10102"/>
                <a:gd name="connsiteY211" fmla="*/ 9651 h 10000"/>
                <a:gd name="connsiteX212" fmla="*/ 2869 w 10102"/>
                <a:gd name="connsiteY212" fmla="*/ 9671 h 10000"/>
                <a:gd name="connsiteX213" fmla="*/ 3061 w 10102"/>
                <a:gd name="connsiteY213" fmla="*/ 10000 h 10000"/>
                <a:gd name="connsiteX214" fmla="*/ 3061 w 10102"/>
                <a:gd name="connsiteY214" fmla="*/ 10000 h 10000"/>
                <a:gd name="connsiteX215" fmla="*/ 4336 w 10102"/>
                <a:gd name="connsiteY215" fmla="*/ 9961 h 10000"/>
                <a:gd name="connsiteX216" fmla="*/ 4357 w 10102"/>
                <a:gd name="connsiteY216" fmla="*/ 9961 h 10000"/>
                <a:gd name="connsiteX217" fmla="*/ 4357 w 10102"/>
                <a:gd name="connsiteY217" fmla="*/ 9981 h 10000"/>
                <a:gd name="connsiteX218" fmla="*/ 4527 w 10102"/>
                <a:gd name="connsiteY218" fmla="*/ 9864 h 10000"/>
                <a:gd name="connsiteX219" fmla="*/ 4538 w 10102"/>
                <a:gd name="connsiteY219" fmla="*/ 9864 h 10000"/>
                <a:gd name="connsiteX220" fmla="*/ 4538 w 10102"/>
                <a:gd name="connsiteY220" fmla="*/ 9864 h 10000"/>
                <a:gd name="connsiteX221" fmla="*/ 5250 w 10102"/>
                <a:gd name="connsiteY221" fmla="*/ 9845 h 10000"/>
                <a:gd name="connsiteX222" fmla="*/ 7354 w 10102"/>
                <a:gd name="connsiteY222" fmla="*/ 9845 h 10000"/>
                <a:gd name="connsiteX223" fmla="*/ 7343 w 10102"/>
                <a:gd name="connsiteY223" fmla="*/ 9826 h 10000"/>
                <a:gd name="connsiteX224" fmla="*/ 7439 w 10102"/>
                <a:gd name="connsiteY224" fmla="*/ 9612 h 10000"/>
                <a:gd name="connsiteX225" fmla="*/ 7513 w 10102"/>
                <a:gd name="connsiteY225" fmla="*/ 9516 h 10000"/>
                <a:gd name="connsiteX226" fmla="*/ 7428 w 10102"/>
                <a:gd name="connsiteY226" fmla="*/ 9283 h 10000"/>
                <a:gd name="connsiteX227" fmla="*/ 7450 w 10102"/>
                <a:gd name="connsiteY227" fmla="*/ 9109 h 10000"/>
                <a:gd name="connsiteX228" fmla="*/ 7683 w 10102"/>
                <a:gd name="connsiteY228" fmla="*/ 8992 h 10000"/>
                <a:gd name="connsiteX229" fmla="*/ 7683 w 10102"/>
                <a:gd name="connsiteY229" fmla="*/ 8798 h 10000"/>
                <a:gd name="connsiteX230" fmla="*/ 7779 w 10102"/>
                <a:gd name="connsiteY230" fmla="*/ 8682 h 10000"/>
                <a:gd name="connsiteX231" fmla="*/ 7949 w 10102"/>
                <a:gd name="connsiteY231" fmla="*/ 8372 h 10000"/>
                <a:gd name="connsiteX232" fmla="*/ 8013 w 10102"/>
                <a:gd name="connsiteY232" fmla="*/ 8023 h 10000"/>
                <a:gd name="connsiteX233" fmla="*/ 8098 w 10102"/>
                <a:gd name="connsiteY233" fmla="*/ 7907 h 10000"/>
                <a:gd name="connsiteX234" fmla="*/ 8204 w 10102"/>
                <a:gd name="connsiteY234" fmla="*/ 7907 h 10000"/>
                <a:gd name="connsiteX235" fmla="*/ 8363 w 10102"/>
                <a:gd name="connsiteY235" fmla="*/ 7829 h 10000"/>
                <a:gd name="connsiteX236" fmla="*/ 8576 w 10102"/>
                <a:gd name="connsiteY236" fmla="*/ 7907 h 10000"/>
                <a:gd name="connsiteX237" fmla="*/ 8661 w 10102"/>
                <a:gd name="connsiteY237" fmla="*/ 8004 h 10000"/>
                <a:gd name="connsiteX238" fmla="*/ 8704 w 10102"/>
                <a:gd name="connsiteY238" fmla="*/ 7829 h 10000"/>
                <a:gd name="connsiteX239" fmla="*/ 8831 w 10102"/>
                <a:gd name="connsiteY239" fmla="*/ 7733 h 10000"/>
                <a:gd name="connsiteX240" fmla="*/ 8980 w 10102"/>
                <a:gd name="connsiteY240" fmla="*/ 7713 h 10000"/>
                <a:gd name="connsiteX241" fmla="*/ 9097 w 10102"/>
                <a:gd name="connsiteY241" fmla="*/ 7674 h 10000"/>
                <a:gd name="connsiteX242" fmla="*/ 9235 w 10102"/>
                <a:gd name="connsiteY242" fmla="*/ 7791 h 10000"/>
                <a:gd name="connsiteX243" fmla="*/ 9341 w 10102"/>
                <a:gd name="connsiteY243" fmla="*/ 7907 h 10000"/>
                <a:gd name="connsiteX244" fmla="*/ 9458 w 10102"/>
                <a:gd name="connsiteY244" fmla="*/ 7733 h 10000"/>
                <a:gd name="connsiteX245" fmla="*/ 9575 w 10102"/>
                <a:gd name="connsiteY245" fmla="*/ 7829 h 10000"/>
                <a:gd name="connsiteX246" fmla="*/ 9702 w 10102"/>
                <a:gd name="connsiteY246" fmla="*/ 7829 h 10000"/>
                <a:gd name="connsiteX247" fmla="*/ 9809 w 10102"/>
                <a:gd name="connsiteY247" fmla="*/ 7907 h 10000"/>
                <a:gd name="connsiteX248" fmla="*/ 9968 w 10102"/>
                <a:gd name="connsiteY248" fmla="*/ 7829 h 10000"/>
                <a:gd name="connsiteX249" fmla="*/ 10000 w 10102"/>
                <a:gd name="connsiteY249" fmla="*/ 7810 h 10000"/>
                <a:gd name="connsiteX250" fmla="*/ 9979 w 10102"/>
                <a:gd name="connsiteY250" fmla="*/ 7810 h 10000"/>
                <a:gd name="connsiteX251" fmla="*/ 10066 w 10102"/>
                <a:gd name="connsiteY251" fmla="*/ 7636 h 10000"/>
                <a:gd name="connsiteX252" fmla="*/ 10075 w 10102"/>
                <a:gd name="connsiteY252" fmla="*/ 7250 h 10000"/>
                <a:gd name="connsiteX253" fmla="*/ 9968 w 10102"/>
                <a:gd name="connsiteY253" fmla="*/ 6822 h 10000"/>
                <a:gd name="connsiteX254" fmla="*/ 9979 w 10102"/>
                <a:gd name="connsiteY254" fmla="*/ 6802 h 10000"/>
                <a:gd name="connsiteX255" fmla="*/ 9979 w 10102"/>
                <a:gd name="connsiteY255" fmla="*/ 6802 h 10000"/>
                <a:gd name="connsiteX256" fmla="*/ 9947 w 10102"/>
                <a:gd name="connsiteY256" fmla="*/ 6764 h 10000"/>
                <a:gd name="connsiteX0" fmla="*/ 9947 w 10102"/>
                <a:gd name="connsiteY0" fmla="*/ 6764 h 10000"/>
                <a:gd name="connsiteX1" fmla="*/ 9816 w 10102"/>
                <a:gd name="connsiteY1" fmla="*/ 6660 h 10000"/>
                <a:gd name="connsiteX2" fmla="*/ 9766 w 10102"/>
                <a:gd name="connsiteY2" fmla="*/ 6938 h 10000"/>
                <a:gd name="connsiteX3" fmla="*/ 9665 w 10102"/>
                <a:gd name="connsiteY3" fmla="*/ 6915 h 10000"/>
                <a:gd name="connsiteX4" fmla="*/ 9458 w 10102"/>
                <a:gd name="connsiteY4" fmla="*/ 6880 h 10000"/>
                <a:gd name="connsiteX5" fmla="*/ 9447 w 10102"/>
                <a:gd name="connsiteY5" fmla="*/ 6860 h 10000"/>
                <a:gd name="connsiteX6" fmla="*/ 9447 w 10102"/>
                <a:gd name="connsiteY6" fmla="*/ 6841 h 10000"/>
                <a:gd name="connsiteX7" fmla="*/ 9544 w 10102"/>
                <a:gd name="connsiteY7" fmla="*/ 6734 h 10000"/>
                <a:gd name="connsiteX8" fmla="*/ 9554 w 10102"/>
                <a:gd name="connsiteY8" fmla="*/ 6453 h 10000"/>
                <a:gd name="connsiteX9" fmla="*/ 9564 w 10102"/>
                <a:gd name="connsiteY9" fmla="*/ 5601 h 10000"/>
                <a:gd name="connsiteX10" fmla="*/ 9564 w 10102"/>
                <a:gd name="connsiteY10" fmla="*/ 5581 h 10000"/>
                <a:gd name="connsiteX11" fmla="*/ 9564 w 10102"/>
                <a:gd name="connsiteY11" fmla="*/ 5562 h 10000"/>
                <a:gd name="connsiteX12" fmla="*/ 9649 w 10102"/>
                <a:gd name="connsiteY12" fmla="*/ 5388 h 10000"/>
                <a:gd name="connsiteX13" fmla="*/ 9702 w 10102"/>
                <a:gd name="connsiteY13" fmla="*/ 5291 h 10000"/>
                <a:gd name="connsiteX14" fmla="*/ 9554 w 10102"/>
                <a:gd name="connsiteY14" fmla="*/ 5058 h 10000"/>
                <a:gd name="connsiteX15" fmla="*/ 9554 w 10102"/>
                <a:gd name="connsiteY15" fmla="*/ 5058 h 10000"/>
                <a:gd name="connsiteX16" fmla="*/ 9543 w 10102"/>
                <a:gd name="connsiteY16" fmla="*/ 5058 h 10000"/>
                <a:gd name="connsiteX17" fmla="*/ 9394 w 10102"/>
                <a:gd name="connsiteY17" fmla="*/ 4709 h 10000"/>
                <a:gd name="connsiteX18" fmla="*/ 9394 w 10102"/>
                <a:gd name="connsiteY18" fmla="*/ 4690 h 10000"/>
                <a:gd name="connsiteX19" fmla="*/ 9394 w 10102"/>
                <a:gd name="connsiteY19" fmla="*/ 4690 h 10000"/>
                <a:gd name="connsiteX20" fmla="*/ 9456 w 10102"/>
                <a:gd name="connsiteY20" fmla="*/ 4520 h 10000"/>
                <a:gd name="connsiteX21" fmla="*/ 9490 w 10102"/>
                <a:gd name="connsiteY21" fmla="*/ 4360 h 10000"/>
                <a:gd name="connsiteX22" fmla="*/ 9564 w 10102"/>
                <a:gd name="connsiteY22" fmla="*/ 4244 h 10000"/>
                <a:gd name="connsiteX23" fmla="*/ 9628 w 10102"/>
                <a:gd name="connsiteY23" fmla="*/ 4012 h 10000"/>
                <a:gd name="connsiteX24" fmla="*/ 9490 w 10102"/>
                <a:gd name="connsiteY24" fmla="*/ 3760 h 10000"/>
                <a:gd name="connsiteX25" fmla="*/ 9490 w 10102"/>
                <a:gd name="connsiteY25" fmla="*/ 3760 h 10000"/>
                <a:gd name="connsiteX26" fmla="*/ 9479 w 10102"/>
                <a:gd name="connsiteY26" fmla="*/ 3760 h 10000"/>
                <a:gd name="connsiteX27" fmla="*/ 9426 w 10102"/>
                <a:gd name="connsiteY27" fmla="*/ 3527 h 10000"/>
                <a:gd name="connsiteX28" fmla="*/ 9426 w 10102"/>
                <a:gd name="connsiteY28" fmla="*/ 3527 h 10000"/>
                <a:gd name="connsiteX29" fmla="*/ 9426 w 10102"/>
                <a:gd name="connsiteY29" fmla="*/ 3508 h 10000"/>
                <a:gd name="connsiteX30" fmla="*/ 9416 w 10102"/>
                <a:gd name="connsiteY30" fmla="*/ 3198 h 10000"/>
                <a:gd name="connsiteX31" fmla="*/ 9416 w 10102"/>
                <a:gd name="connsiteY31" fmla="*/ 3198 h 10000"/>
                <a:gd name="connsiteX32" fmla="*/ 9416 w 10102"/>
                <a:gd name="connsiteY32" fmla="*/ 3178 h 10000"/>
                <a:gd name="connsiteX33" fmla="*/ 9532 w 10102"/>
                <a:gd name="connsiteY33" fmla="*/ 2907 h 10000"/>
                <a:gd name="connsiteX34" fmla="*/ 9384 w 10102"/>
                <a:gd name="connsiteY34" fmla="*/ 2616 h 10000"/>
                <a:gd name="connsiteX35" fmla="*/ 9384 w 10102"/>
                <a:gd name="connsiteY35" fmla="*/ 2616 h 10000"/>
                <a:gd name="connsiteX36" fmla="*/ 9384 w 10102"/>
                <a:gd name="connsiteY36" fmla="*/ 2616 h 10000"/>
                <a:gd name="connsiteX37" fmla="*/ 9330 w 10102"/>
                <a:gd name="connsiteY37" fmla="*/ 2267 h 10000"/>
                <a:gd name="connsiteX38" fmla="*/ 9330 w 10102"/>
                <a:gd name="connsiteY38" fmla="*/ 2248 h 10000"/>
                <a:gd name="connsiteX39" fmla="*/ 9330 w 10102"/>
                <a:gd name="connsiteY39" fmla="*/ 2248 h 10000"/>
                <a:gd name="connsiteX40" fmla="*/ 9341 w 10102"/>
                <a:gd name="connsiteY40" fmla="*/ 1841 h 10000"/>
                <a:gd name="connsiteX41" fmla="*/ 9341 w 10102"/>
                <a:gd name="connsiteY41" fmla="*/ 1822 h 10000"/>
                <a:gd name="connsiteX42" fmla="*/ 9341 w 10102"/>
                <a:gd name="connsiteY42" fmla="*/ 1822 h 10000"/>
                <a:gd name="connsiteX43" fmla="*/ 9660 w 10102"/>
                <a:gd name="connsiteY43" fmla="*/ 1279 h 10000"/>
                <a:gd name="connsiteX44" fmla="*/ 9564 w 10102"/>
                <a:gd name="connsiteY44" fmla="*/ 1008 h 10000"/>
                <a:gd name="connsiteX45" fmla="*/ 9554 w 10102"/>
                <a:gd name="connsiteY45" fmla="*/ 1008 h 10000"/>
                <a:gd name="connsiteX46" fmla="*/ 9554 w 10102"/>
                <a:gd name="connsiteY46" fmla="*/ 988 h 10000"/>
                <a:gd name="connsiteX47" fmla="*/ 9586 w 10102"/>
                <a:gd name="connsiteY47" fmla="*/ 698 h 10000"/>
                <a:gd name="connsiteX48" fmla="*/ 9501 w 10102"/>
                <a:gd name="connsiteY48" fmla="*/ 601 h 10000"/>
                <a:gd name="connsiteX49" fmla="*/ 9288 w 10102"/>
                <a:gd name="connsiteY49" fmla="*/ 581 h 10000"/>
                <a:gd name="connsiteX50" fmla="*/ 9288 w 10102"/>
                <a:gd name="connsiteY50" fmla="*/ 581 h 10000"/>
                <a:gd name="connsiteX51" fmla="*/ 9277 w 10102"/>
                <a:gd name="connsiteY51" fmla="*/ 581 h 10000"/>
                <a:gd name="connsiteX52" fmla="*/ 9224 w 10102"/>
                <a:gd name="connsiteY52" fmla="*/ 484 h 10000"/>
                <a:gd name="connsiteX53" fmla="*/ 9086 w 10102"/>
                <a:gd name="connsiteY53" fmla="*/ 484 h 10000"/>
                <a:gd name="connsiteX54" fmla="*/ 8948 w 10102"/>
                <a:gd name="connsiteY54" fmla="*/ 1124 h 10000"/>
                <a:gd name="connsiteX55" fmla="*/ 8927 w 10102"/>
                <a:gd name="connsiteY55" fmla="*/ 1124 h 10000"/>
                <a:gd name="connsiteX56" fmla="*/ 8927 w 10102"/>
                <a:gd name="connsiteY56" fmla="*/ 1143 h 10000"/>
                <a:gd name="connsiteX57" fmla="*/ 8650 w 10102"/>
                <a:gd name="connsiteY57" fmla="*/ 1415 h 10000"/>
                <a:gd name="connsiteX58" fmla="*/ 8640 w 10102"/>
                <a:gd name="connsiteY58" fmla="*/ 1434 h 10000"/>
                <a:gd name="connsiteX59" fmla="*/ 8640 w 10102"/>
                <a:gd name="connsiteY59" fmla="*/ 1434 h 10000"/>
                <a:gd name="connsiteX60" fmla="*/ 8470 w 10102"/>
                <a:gd name="connsiteY60" fmla="*/ 1395 h 10000"/>
                <a:gd name="connsiteX61" fmla="*/ 8321 w 10102"/>
                <a:gd name="connsiteY61" fmla="*/ 1531 h 10000"/>
                <a:gd name="connsiteX62" fmla="*/ 8321 w 10102"/>
                <a:gd name="connsiteY62" fmla="*/ 1531 h 10000"/>
                <a:gd name="connsiteX63" fmla="*/ 8321 w 10102"/>
                <a:gd name="connsiteY63" fmla="*/ 1531 h 10000"/>
                <a:gd name="connsiteX64" fmla="*/ 8172 w 10102"/>
                <a:gd name="connsiteY64" fmla="*/ 1589 h 10000"/>
                <a:gd name="connsiteX65" fmla="*/ 8023 w 10102"/>
                <a:gd name="connsiteY65" fmla="*/ 1957 h 10000"/>
                <a:gd name="connsiteX66" fmla="*/ 8013 w 10102"/>
                <a:gd name="connsiteY66" fmla="*/ 1977 h 10000"/>
                <a:gd name="connsiteX67" fmla="*/ 7991 w 10102"/>
                <a:gd name="connsiteY67" fmla="*/ 1977 h 10000"/>
                <a:gd name="connsiteX68" fmla="*/ 7864 w 10102"/>
                <a:gd name="connsiteY68" fmla="*/ 1899 h 10000"/>
                <a:gd name="connsiteX69" fmla="*/ 7843 w 10102"/>
                <a:gd name="connsiteY69" fmla="*/ 1899 h 10000"/>
                <a:gd name="connsiteX70" fmla="*/ 7853 w 10102"/>
                <a:gd name="connsiteY70" fmla="*/ 1841 h 10000"/>
                <a:gd name="connsiteX71" fmla="*/ 7928 w 10102"/>
                <a:gd name="connsiteY71" fmla="*/ 1609 h 10000"/>
                <a:gd name="connsiteX72" fmla="*/ 7906 w 10102"/>
                <a:gd name="connsiteY72" fmla="*/ 1279 h 10000"/>
                <a:gd name="connsiteX73" fmla="*/ 7758 w 10102"/>
                <a:gd name="connsiteY73" fmla="*/ 1124 h 10000"/>
                <a:gd name="connsiteX74" fmla="*/ 7651 w 10102"/>
                <a:gd name="connsiteY74" fmla="*/ 1124 h 10000"/>
                <a:gd name="connsiteX75" fmla="*/ 7641 w 10102"/>
                <a:gd name="connsiteY75" fmla="*/ 1124 h 10000"/>
                <a:gd name="connsiteX76" fmla="*/ 7630 w 10102"/>
                <a:gd name="connsiteY76" fmla="*/ 1105 h 10000"/>
                <a:gd name="connsiteX77" fmla="*/ 7556 w 10102"/>
                <a:gd name="connsiteY77" fmla="*/ 930 h 10000"/>
                <a:gd name="connsiteX78" fmla="*/ 7184 w 10102"/>
                <a:gd name="connsiteY78" fmla="*/ 891 h 10000"/>
                <a:gd name="connsiteX79" fmla="*/ 7173 w 10102"/>
                <a:gd name="connsiteY79" fmla="*/ 891 h 10000"/>
                <a:gd name="connsiteX80" fmla="*/ 7173 w 10102"/>
                <a:gd name="connsiteY80" fmla="*/ 872 h 10000"/>
                <a:gd name="connsiteX81" fmla="*/ 7099 w 10102"/>
                <a:gd name="connsiteY81" fmla="*/ 620 h 10000"/>
                <a:gd name="connsiteX82" fmla="*/ 7088 w 10102"/>
                <a:gd name="connsiteY82" fmla="*/ 601 h 10000"/>
                <a:gd name="connsiteX83" fmla="*/ 7088 w 10102"/>
                <a:gd name="connsiteY83" fmla="*/ 601 h 10000"/>
                <a:gd name="connsiteX84" fmla="*/ 7088 w 10102"/>
                <a:gd name="connsiteY84" fmla="*/ 465 h 10000"/>
                <a:gd name="connsiteX85" fmla="*/ 7088 w 10102"/>
                <a:gd name="connsiteY85" fmla="*/ 426 h 10000"/>
                <a:gd name="connsiteX86" fmla="*/ 7099 w 10102"/>
                <a:gd name="connsiteY86" fmla="*/ 407 h 10000"/>
                <a:gd name="connsiteX87" fmla="*/ 7194 w 10102"/>
                <a:gd name="connsiteY87" fmla="*/ 310 h 10000"/>
                <a:gd name="connsiteX88" fmla="*/ 7109 w 10102"/>
                <a:gd name="connsiteY88" fmla="*/ 136 h 10000"/>
                <a:gd name="connsiteX89" fmla="*/ 7035 w 10102"/>
                <a:gd name="connsiteY89" fmla="*/ 0 h 10000"/>
                <a:gd name="connsiteX90" fmla="*/ 6939 w 10102"/>
                <a:gd name="connsiteY90" fmla="*/ 116 h 10000"/>
                <a:gd name="connsiteX91" fmla="*/ 6939 w 10102"/>
                <a:gd name="connsiteY91" fmla="*/ 116 h 10000"/>
                <a:gd name="connsiteX92" fmla="*/ 6939 w 10102"/>
                <a:gd name="connsiteY92" fmla="*/ 116 h 10000"/>
                <a:gd name="connsiteX93" fmla="*/ 6812 w 10102"/>
                <a:gd name="connsiteY93" fmla="*/ 155 h 10000"/>
                <a:gd name="connsiteX94" fmla="*/ 6674 w 10102"/>
                <a:gd name="connsiteY94" fmla="*/ 291 h 10000"/>
                <a:gd name="connsiteX95" fmla="*/ 6599 w 10102"/>
                <a:gd name="connsiteY95" fmla="*/ 523 h 10000"/>
                <a:gd name="connsiteX96" fmla="*/ 6599 w 10102"/>
                <a:gd name="connsiteY96" fmla="*/ 543 h 10000"/>
                <a:gd name="connsiteX97" fmla="*/ 6589 w 10102"/>
                <a:gd name="connsiteY97" fmla="*/ 543 h 10000"/>
                <a:gd name="connsiteX98" fmla="*/ 6321 w 10102"/>
                <a:gd name="connsiteY98" fmla="*/ 617 h 10000"/>
                <a:gd name="connsiteX99" fmla="*/ 6334 w 10102"/>
                <a:gd name="connsiteY99" fmla="*/ 891 h 10000"/>
                <a:gd name="connsiteX100" fmla="*/ 6334 w 10102"/>
                <a:gd name="connsiteY100" fmla="*/ 911 h 10000"/>
                <a:gd name="connsiteX101" fmla="*/ 6252 w 10102"/>
                <a:gd name="connsiteY101" fmla="*/ 941 h 10000"/>
                <a:gd name="connsiteX102" fmla="*/ 6142 w 10102"/>
                <a:gd name="connsiteY102" fmla="*/ 1124 h 10000"/>
                <a:gd name="connsiteX103" fmla="*/ 6015 w 10102"/>
                <a:gd name="connsiteY103" fmla="*/ 1453 h 10000"/>
                <a:gd name="connsiteX104" fmla="*/ 6004 w 10102"/>
                <a:gd name="connsiteY104" fmla="*/ 1473 h 10000"/>
                <a:gd name="connsiteX105" fmla="*/ 5994 w 10102"/>
                <a:gd name="connsiteY105" fmla="*/ 1453 h 10000"/>
                <a:gd name="connsiteX106" fmla="*/ 5802 w 10102"/>
                <a:gd name="connsiteY106" fmla="*/ 1434 h 10000"/>
                <a:gd name="connsiteX107" fmla="*/ 5781 w 10102"/>
                <a:gd name="connsiteY107" fmla="*/ 1415 h 10000"/>
                <a:gd name="connsiteX108" fmla="*/ 5781 w 10102"/>
                <a:gd name="connsiteY108" fmla="*/ 1395 h 10000"/>
                <a:gd name="connsiteX109" fmla="*/ 5760 w 10102"/>
                <a:gd name="connsiteY109" fmla="*/ 930 h 10000"/>
                <a:gd name="connsiteX110" fmla="*/ 5654 w 10102"/>
                <a:gd name="connsiteY110" fmla="*/ 872 h 10000"/>
                <a:gd name="connsiteX111" fmla="*/ 5377 w 10102"/>
                <a:gd name="connsiteY111" fmla="*/ 1240 h 10000"/>
                <a:gd name="connsiteX112" fmla="*/ 5165 w 10102"/>
                <a:gd name="connsiteY112" fmla="*/ 1570 h 10000"/>
                <a:gd name="connsiteX113" fmla="*/ 5165 w 10102"/>
                <a:gd name="connsiteY113" fmla="*/ 1899 h 10000"/>
                <a:gd name="connsiteX114" fmla="*/ 5165 w 10102"/>
                <a:gd name="connsiteY114" fmla="*/ 1919 h 10000"/>
                <a:gd name="connsiteX115" fmla="*/ 5154 w 10102"/>
                <a:gd name="connsiteY115" fmla="*/ 1919 h 10000"/>
                <a:gd name="connsiteX116" fmla="*/ 5027 w 10102"/>
                <a:gd name="connsiteY116" fmla="*/ 2112 h 10000"/>
                <a:gd name="connsiteX117" fmla="*/ 5016 w 10102"/>
                <a:gd name="connsiteY117" fmla="*/ 2112 h 10000"/>
                <a:gd name="connsiteX118" fmla="*/ 5005 w 10102"/>
                <a:gd name="connsiteY118" fmla="*/ 2112 h 10000"/>
                <a:gd name="connsiteX119" fmla="*/ 4814 w 10102"/>
                <a:gd name="connsiteY119" fmla="*/ 2112 h 10000"/>
                <a:gd name="connsiteX120" fmla="*/ 4803 w 10102"/>
                <a:gd name="connsiteY120" fmla="*/ 2112 h 10000"/>
                <a:gd name="connsiteX121" fmla="*/ 4803 w 10102"/>
                <a:gd name="connsiteY121" fmla="*/ 2112 h 10000"/>
                <a:gd name="connsiteX122" fmla="*/ 4697 w 10102"/>
                <a:gd name="connsiteY122" fmla="*/ 1957 h 10000"/>
                <a:gd name="connsiteX123" fmla="*/ 4591 w 10102"/>
                <a:gd name="connsiteY123" fmla="*/ 1899 h 10000"/>
                <a:gd name="connsiteX124" fmla="*/ 4591 w 10102"/>
                <a:gd name="connsiteY124" fmla="*/ 1957 h 10000"/>
                <a:gd name="connsiteX125" fmla="*/ 4591 w 10102"/>
                <a:gd name="connsiteY125" fmla="*/ 1996 h 10000"/>
                <a:gd name="connsiteX126" fmla="*/ 4570 w 10102"/>
                <a:gd name="connsiteY126" fmla="*/ 1996 h 10000"/>
                <a:gd name="connsiteX127" fmla="*/ 4453 w 10102"/>
                <a:gd name="connsiteY127" fmla="*/ 1996 h 10000"/>
                <a:gd name="connsiteX128" fmla="*/ 4431 w 10102"/>
                <a:gd name="connsiteY128" fmla="*/ 1996 h 10000"/>
                <a:gd name="connsiteX129" fmla="*/ 4431 w 10102"/>
                <a:gd name="connsiteY129" fmla="*/ 1957 h 10000"/>
                <a:gd name="connsiteX130" fmla="*/ 4378 w 10102"/>
                <a:gd name="connsiteY130" fmla="*/ 1589 h 10000"/>
                <a:gd name="connsiteX131" fmla="*/ 4091 w 10102"/>
                <a:gd name="connsiteY131" fmla="*/ 1512 h 10000"/>
                <a:gd name="connsiteX132" fmla="*/ 4081 w 10102"/>
                <a:gd name="connsiteY132" fmla="*/ 1512 h 10000"/>
                <a:gd name="connsiteX133" fmla="*/ 4070 w 10102"/>
                <a:gd name="connsiteY133" fmla="*/ 1492 h 10000"/>
                <a:gd name="connsiteX134" fmla="*/ 3879 w 10102"/>
                <a:gd name="connsiteY134" fmla="*/ 988 h 10000"/>
                <a:gd name="connsiteX135" fmla="*/ 3719 w 10102"/>
                <a:gd name="connsiteY135" fmla="*/ 988 h 10000"/>
                <a:gd name="connsiteX136" fmla="*/ 3698 w 10102"/>
                <a:gd name="connsiteY136" fmla="*/ 1085 h 10000"/>
                <a:gd name="connsiteX137" fmla="*/ 3698 w 10102"/>
                <a:gd name="connsiteY137" fmla="*/ 1105 h 10000"/>
                <a:gd name="connsiteX138" fmla="*/ 3698 w 10102"/>
                <a:gd name="connsiteY138" fmla="*/ 1105 h 10000"/>
                <a:gd name="connsiteX139" fmla="*/ 3592 w 10102"/>
                <a:gd name="connsiteY139" fmla="*/ 1318 h 10000"/>
                <a:gd name="connsiteX140" fmla="*/ 3592 w 10102"/>
                <a:gd name="connsiteY140" fmla="*/ 1318 h 10000"/>
                <a:gd name="connsiteX141" fmla="*/ 3581 w 10102"/>
                <a:gd name="connsiteY141" fmla="*/ 1318 h 10000"/>
                <a:gd name="connsiteX142" fmla="*/ 3486 w 10102"/>
                <a:gd name="connsiteY142" fmla="*/ 1395 h 10000"/>
                <a:gd name="connsiteX143" fmla="*/ 3486 w 10102"/>
                <a:gd name="connsiteY143" fmla="*/ 1686 h 10000"/>
                <a:gd name="connsiteX144" fmla="*/ 3486 w 10102"/>
                <a:gd name="connsiteY144" fmla="*/ 1725 h 10000"/>
                <a:gd name="connsiteX145" fmla="*/ 3475 w 10102"/>
                <a:gd name="connsiteY145" fmla="*/ 1725 h 10000"/>
                <a:gd name="connsiteX146" fmla="*/ 3369 w 10102"/>
                <a:gd name="connsiteY146" fmla="*/ 1841 h 10000"/>
                <a:gd name="connsiteX147" fmla="*/ 3135 w 10102"/>
                <a:gd name="connsiteY147" fmla="*/ 2171 h 10000"/>
                <a:gd name="connsiteX148" fmla="*/ 2954 w 10102"/>
                <a:gd name="connsiteY148" fmla="*/ 2829 h 10000"/>
                <a:gd name="connsiteX149" fmla="*/ 2954 w 10102"/>
                <a:gd name="connsiteY149" fmla="*/ 2829 h 10000"/>
                <a:gd name="connsiteX150" fmla="*/ 2944 w 10102"/>
                <a:gd name="connsiteY150" fmla="*/ 2829 h 10000"/>
                <a:gd name="connsiteX151" fmla="*/ 2699 w 10102"/>
                <a:gd name="connsiteY151" fmla="*/ 3217 h 10000"/>
                <a:gd name="connsiteX152" fmla="*/ 2487 w 10102"/>
                <a:gd name="connsiteY152" fmla="*/ 3566 h 10000"/>
                <a:gd name="connsiteX153" fmla="*/ 2465 w 10102"/>
                <a:gd name="connsiteY153" fmla="*/ 3934 h 10000"/>
                <a:gd name="connsiteX154" fmla="*/ 2465 w 10102"/>
                <a:gd name="connsiteY154" fmla="*/ 3934 h 10000"/>
                <a:gd name="connsiteX155" fmla="*/ 2465 w 10102"/>
                <a:gd name="connsiteY155" fmla="*/ 3934 h 10000"/>
                <a:gd name="connsiteX156" fmla="*/ 2295 w 10102"/>
                <a:gd name="connsiteY156" fmla="*/ 4205 h 10000"/>
                <a:gd name="connsiteX157" fmla="*/ 2200 w 10102"/>
                <a:gd name="connsiteY157" fmla="*/ 4535 h 10000"/>
                <a:gd name="connsiteX158" fmla="*/ 2189 w 10102"/>
                <a:gd name="connsiteY158" fmla="*/ 4554 h 10000"/>
                <a:gd name="connsiteX159" fmla="*/ 2179 w 10102"/>
                <a:gd name="connsiteY159" fmla="*/ 4554 h 10000"/>
                <a:gd name="connsiteX160" fmla="*/ 2051 w 10102"/>
                <a:gd name="connsiteY160" fmla="*/ 4535 h 10000"/>
                <a:gd name="connsiteX161" fmla="*/ 1913 w 10102"/>
                <a:gd name="connsiteY161" fmla="*/ 4767 h 10000"/>
                <a:gd name="connsiteX162" fmla="*/ 1913 w 10102"/>
                <a:gd name="connsiteY162" fmla="*/ 4787 h 10000"/>
                <a:gd name="connsiteX163" fmla="*/ 1902 w 10102"/>
                <a:gd name="connsiteY163" fmla="*/ 4787 h 10000"/>
                <a:gd name="connsiteX164" fmla="*/ 1498 w 10102"/>
                <a:gd name="connsiteY164" fmla="*/ 4671 h 10000"/>
                <a:gd name="connsiteX165" fmla="*/ 1488 w 10102"/>
                <a:gd name="connsiteY165" fmla="*/ 4671 h 10000"/>
                <a:gd name="connsiteX166" fmla="*/ 1488 w 10102"/>
                <a:gd name="connsiteY166" fmla="*/ 4651 h 10000"/>
                <a:gd name="connsiteX167" fmla="*/ 1424 w 10102"/>
                <a:gd name="connsiteY167" fmla="*/ 4516 h 10000"/>
                <a:gd name="connsiteX168" fmla="*/ 1350 w 10102"/>
                <a:gd name="connsiteY168" fmla="*/ 4516 h 10000"/>
                <a:gd name="connsiteX169" fmla="*/ 1296 w 10102"/>
                <a:gd name="connsiteY169" fmla="*/ 4690 h 10000"/>
                <a:gd name="connsiteX170" fmla="*/ 1286 w 10102"/>
                <a:gd name="connsiteY170" fmla="*/ 4922 h 10000"/>
                <a:gd name="connsiteX171" fmla="*/ 1286 w 10102"/>
                <a:gd name="connsiteY171" fmla="*/ 4942 h 10000"/>
                <a:gd name="connsiteX172" fmla="*/ 1275 w 10102"/>
                <a:gd name="connsiteY172" fmla="*/ 4961 h 10000"/>
                <a:gd name="connsiteX173" fmla="*/ 1190 w 10102"/>
                <a:gd name="connsiteY173" fmla="*/ 5058 h 10000"/>
                <a:gd name="connsiteX174" fmla="*/ 1137 w 10102"/>
                <a:gd name="connsiteY174" fmla="*/ 5271 h 10000"/>
                <a:gd name="connsiteX175" fmla="*/ 1137 w 10102"/>
                <a:gd name="connsiteY175" fmla="*/ 5291 h 10000"/>
                <a:gd name="connsiteX176" fmla="*/ 1126 w 10102"/>
                <a:gd name="connsiteY176" fmla="*/ 5291 h 10000"/>
                <a:gd name="connsiteX177" fmla="*/ 1020 w 10102"/>
                <a:gd name="connsiteY177" fmla="*/ 5407 h 10000"/>
                <a:gd name="connsiteX178" fmla="*/ 999 w 10102"/>
                <a:gd name="connsiteY178" fmla="*/ 5581 h 10000"/>
                <a:gd name="connsiteX179" fmla="*/ 978 w 10102"/>
                <a:gd name="connsiteY179" fmla="*/ 5756 h 10000"/>
                <a:gd name="connsiteX180" fmla="*/ 978 w 10102"/>
                <a:gd name="connsiteY180" fmla="*/ 5775 h 10000"/>
                <a:gd name="connsiteX181" fmla="*/ 967 w 10102"/>
                <a:gd name="connsiteY181" fmla="*/ 5775 h 10000"/>
                <a:gd name="connsiteX182" fmla="*/ 861 w 10102"/>
                <a:gd name="connsiteY182" fmla="*/ 5814 h 10000"/>
                <a:gd name="connsiteX183" fmla="*/ 861 w 10102"/>
                <a:gd name="connsiteY183" fmla="*/ 6047 h 10000"/>
                <a:gd name="connsiteX184" fmla="*/ 967 w 10102"/>
                <a:gd name="connsiteY184" fmla="*/ 6298 h 10000"/>
                <a:gd name="connsiteX185" fmla="*/ 967 w 10102"/>
                <a:gd name="connsiteY185" fmla="*/ 6298 h 10000"/>
                <a:gd name="connsiteX186" fmla="*/ 978 w 10102"/>
                <a:gd name="connsiteY186" fmla="*/ 6318 h 10000"/>
                <a:gd name="connsiteX187" fmla="*/ 988 w 10102"/>
                <a:gd name="connsiteY187" fmla="*/ 6512 h 10000"/>
                <a:gd name="connsiteX188" fmla="*/ 988 w 10102"/>
                <a:gd name="connsiteY188" fmla="*/ 6531 h 10000"/>
                <a:gd name="connsiteX189" fmla="*/ 978 w 10102"/>
                <a:gd name="connsiteY189" fmla="*/ 6550 h 10000"/>
                <a:gd name="connsiteX190" fmla="*/ 627 w 10102"/>
                <a:gd name="connsiteY190" fmla="*/ 7016 h 10000"/>
                <a:gd name="connsiteX191" fmla="*/ 521 w 10102"/>
                <a:gd name="connsiteY191" fmla="*/ 7151 h 10000"/>
                <a:gd name="connsiteX192" fmla="*/ 340 w 10102"/>
                <a:gd name="connsiteY192" fmla="*/ 7384 h 10000"/>
                <a:gd name="connsiteX193" fmla="*/ 340 w 10102"/>
                <a:gd name="connsiteY193" fmla="*/ 7403 h 10000"/>
                <a:gd name="connsiteX194" fmla="*/ 340 w 10102"/>
                <a:gd name="connsiteY194" fmla="*/ 7403 h 10000"/>
                <a:gd name="connsiteX195" fmla="*/ 191 w 10102"/>
                <a:gd name="connsiteY195" fmla="*/ 7519 h 10000"/>
                <a:gd name="connsiteX196" fmla="*/ 0 w 10102"/>
                <a:gd name="connsiteY196" fmla="*/ 7791 h 10000"/>
                <a:gd name="connsiteX197" fmla="*/ 11 w 10102"/>
                <a:gd name="connsiteY197" fmla="*/ 7829 h 10000"/>
                <a:gd name="connsiteX198" fmla="*/ 149 w 10102"/>
                <a:gd name="connsiteY198" fmla="*/ 7868 h 10000"/>
                <a:gd name="connsiteX199" fmla="*/ 159 w 10102"/>
                <a:gd name="connsiteY199" fmla="*/ 7868 h 10000"/>
                <a:gd name="connsiteX200" fmla="*/ 159 w 10102"/>
                <a:gd name="connsiteY200" fmla="*/ 7868 h 10000"/>
                <a:gd name="connsiteX201" fmla="*/ 372 w 10102"/>
                <a:gd name="connsiteY201" fmla="*/ 8256 h 10000"/>
                <a:gd name="connsiteX202" fmla="*/ 1467 w 10102"/>
                <a:gd name="connsiteY202" fmla="*/ 9205 h 10000"/>
                <a:gd name="connsiteX203" fmla="*/ 1467 w 10102"/>
                <a:gd name="connsiteY203" fmla="*/ 9205 h 10000"/>
                <a:gd name="connsiteX204" fmla="*/ 1477 w 10102"/>
                <a:gd name="connsiteY204" fmla="*/ 9205 h 10000"/>
                <a:gd name="connsiteX205" fmla="*/ 1838 w 10102"/>
                <a:gd name="connsiteY205" fmla="*/ 9729 h 10000"/>
                <a:gd name="connsiteX206" fmla="*/ 2508 w 10102"/>
                <a:gd name="connsiteY206" fmla="*/ 9767 h 10000"/>
                <a:gd name="connsiteX207" fmla="*/ 2561 w 10102"/>
                <a:gd name="connsiteY207" fmla="*/ 9671 h 10000"/>
                <a:gd name="connsiteX208" fmla="*/ 2561 w 10102"/>
                <a:gd name="connsiteY208" fmla="*/ 9671 h 10000"/>
                <a:gd name="connsiteX209" fmla="*/ 2582 w 10102"/>
                <a:gd name="connsiteY209" fmla="*/ 9671 h 10000"/>
                <a:gd name="connsiteX210" fmla="*/ 2848 w 10102"/>
                <a:gd name="connsiteY210" fmla="*/ 9651 h 10000"/>
                <a:gd name="connsiteX211" fmla="*/ 2859 w 10102"/>
                <a:gd name="connsiteY211" fmla="*/ 9651 h 10000"/>
                <a:gd name="connsiteX212" fmla="*/ 2869 w 10102"/>
                <a:gd name="connsiteY212" fmla="*/ 9671 h 10000"/>
                <a:gd name="connsiteX213" fmla="*/ 3061 w 10102"/>
                <a:gd name="connsiteY213" fmla="*/ 10000 h 10000"/>
                <a:gd name="connsiteX214" fmla="*/ 3061 w 10102"/>
                <a:gd name="connsiteY214" fmla="*/ 10000 h 10000"/>
                <a:gd name="connsiteX215" fmla="*/ 4336 w 10102"/>
                <a:gd name="connsiteY215" fmla="*/ 9961 h 10000"/>
                <a:gd name="connsiteX216" fmla="*/ 4357 w 10102"/>
                <a:gd name="connsiteY216" fmla="*/ 9961 h 10000"/>
                <a:gd name="connsiteX217" fmla="*/ 4357 w 10102"/>
                <a:gd name="connsiteY217" fmla="*/ 9981 h 10000"/>
                <a:gd name="connsiteX218" fmla="*/ 4527 w 10102"/>
                <a:gd name="connsiteY218" fmla="*/ 9864 h 10000"/>
                <a:gd name="connsiteX219" fmla="*/ 4538 w 10102"/>
                <a:gd name="connsiteY219" fmla="*/ 9864 h 10000"/>
                <a:gd name="connsiteX220" fmla="*/ 4538 w 10102"/>
                <a:gd name="connsiteY220" fmla="*/ 9864 h 10000"/>
                <a:gd name="connsiteX221" fmla="*/ 5250 w 10102"/>
                <a:gd name="connsiteY221" fmla="*/ 9845 h 10000"/>
                <a:gd name="connsiteX222" fmla="*/ 7354 w 10102"/>
                <a:gd name="connsiteY222" fmla="*/ 9845 h 10000"/>
                <a:gd name="connsiteX223" fmla="*/ 7343 w 10102"/>
                <a:gd name="connsiteY223" fmla="*/ 9826 h 10000"/>
                <a:gd name="connsiteX224" fmla="*/ 7439 w 10102"/>
                <a:gd name="connsiteY224" fmla="*/ 9612 h 10000"/>
                <a:gd name="connsiteX225" fmla="*/ 7513 w 10102"/>
                <a:gd name="connsiteY225" fmla="*/ 9516 h 10000"/>
                <a:gd name="connsiteX226" fmla="*/ 7428 w 10102"/>
                <a:gd name="connsiteY226" fmla="*/ 9283 h 10000"/>
                <a:gd name="connsiteX227" fmla="*/ 7450 w 10102"/>
                <a:gd name="connsiteY227" fmla="*/ 9109 h 10000"/>
                <a:gd name="connsiteX228" fmla="*/ 7683 w 10102"/>
                <a:gd name="connsiteY228" fmla="*/ 8992 h 10000"/>
                <a:gd name="connsiteX229" fmla="*/ 7683 w 10102"/>
                <a:gd name="connsiteY229" fmla="*/ 8798 h 10000"/>
                <a:gd name="connsiteX230" fmla="*/ 7779 w 10102"/>
                <a:gd name="connsiteY230" fmla="*/ 8682 h 10000"/>
                <a:gd name="connsiteX231" fmla="*/ 7949 w 10102"/>
                <a:gd name="connsiteY231" fmla="*/ 8372 h 10000"/>
                <a:gd name="connsiteX232" fmla="*/ 8013 w 10102"/>
                <a:gd name="connsiteY232" fmla="*/ 8023 h 10000"/>
                <a:gd name="connsiteX233" fmla="*/ 8098 w 10102"/>
                <a:gd name="connsiteY233" fmla="*/ 7907 h 10000"/>
                <a:gd name="connsiteX234" fmla="*/ 8204 w 10102"/>
                <a:gd name="connsiteY234" fmla="*/ 7907 h 10000"/>
                <a:gd name="connsiteX235" fmla="*/ 8363 w 10102"/>
                <a:gd name="connsiteY235" fmla="*/ 7829 h 10000"/>
                <a:gd name="connsiteX236" fmla="*/ 8576 w 10102"/>
                <a:gd name="connsiteY236" fmla="*/ 7907 h 10000"/>
                <a:gd name="connsiteX237" fmla="*/ 8661 w 10102"/>
                <a:gd name="connsiteY237" fmla="*/ 8004 h 10000"/>
                <a:gd name="connsiteX238" fmla="*/ 8704 w 10102"/>
                <a:gd name="connsiteY238" fmla="*/ 7829 h 10000"/>
                <a:gd name="connsiteX239" fmla="*/ 8831 w 10102"/>
                <a:gd name="connsiteY239" fmla="*/ 7733 h 10000"/>
                <a:gd name="connsiteX240" fmla="*/ 8980 w 10102"/>
                <a:gd name="connsiteY240" fmla="*/ 7713 h 10000"/>
                <a:gd name="connsiteX241" fmla="*/ 9097 w 10102"/>
                <a:gd name="connsiteY241" fmla="*/ 7674 h 10000"/>
                <a:gd name="connsiteX242" fmla="*/ 9235 w 10102"/>
                <a:gd name="connsiteY242" fmla="*/ 7791 h 10000"/>
                <a:gd name="connsiteX243" fmla="*/ 9341 w 10102"/>
                <a:gd name="connsiteY243" fmla="*/ 7907 h 10000"/>
                <a:gd name="connsiteX244" fmla="*/ 9458 w 10102"/>
                <a:gd name="connsiteY244" fmla="*/ 7733 h 10000"/>
                <a:gd name="connsiteX245" fmla="*/ 9575 w 10102"/>
                <a:gd name="connsiteY245" fmla="*/ 7829 h 10000"/>
                <a:gd name="connsiteX246" fmla="*/ 9702 w 10102"/>
                <a:gd name="connsiteY246" fmla="*/ 7829 h 10000"/>
                <a:gd name="connsiteX247" fmla="*/ 9809 w 10102"/>
                <a:gd name="connsiteY247" fmla="*/ 7907 h 10000"/>
                <a:gd name="connsiteX248" fmla="*/ 9968 w 10102"/>
                <a:gd name="connsiteY248" fmla="*/ 7829 h 10000"/>
                <a:gd name="connsiteX249" fmla="*/ 10000 w 10102"/>
                <a:gd name="connsiteY249" fmla="*/ 7810 h 10000"/>
                <a:gd name="connsiteX250" fmla="*/ 9979 w 10102"/>
                <a:gd name="connsiteY250" fmla="*/ 7810 h 10000"/>
                <a:gd name="connsiteX251" fmla="*/ 10066 w 10102"/>
                <a:gd name="connsiteY251" fmla="*/ 7636 h 10000"/>
                <a:gd name="connsiteX252" fmla="*/ 10075 w 10102"/>
                <a:gd name="connsiteY252" fmla="*/ 7250 h 10000"/>
                <a:gd name="connsiteX253" fmla="*/ 9968 w 10102"/>
                <a:gd name="connsiteY253" fmla="*/ 6822 h 10000"/>
                <a:gd name="connsiteX254" fmla="*/ 9979 w 10102"/>
                <a:gd name="connsiteY254" fmla="*/ 6802 h 10000"/>
                <a:gd name="connsiteX255" fmla="*/ 9979 w 10102"/>
                <a:gd name="connsiteY255" fmla="*/ 6802 h 10000"/>
                <a:gd name="connsiteX256" fmla="*/ 9947 w 10102"/>
                <a:gd name="connsiteY256" fmla="*/ 6764 h 10000"/>
                <a:gd name="connsiteX0" fmla="*/ 9947 w 10102"/>
                <a:gd name="connsiteY0" fmla="*/ 6764 h 10000"/>
                <a:gd name="connsiteX1" fmla="*/ 9816 w 10102"/>
                <a:gd name="connsiteY1" fmla="*/ 6660 h 10000"/>
                <a:gd name="connsiteX2" fmla="*/ 9766 w 10102"/>
                <a:gd name="connsiteY2" fmla="*/ 6938 h 10000"/>
                <a:gd name="connsiteX3" fmla="*/ 9665 w 10102"/>
                <a:gd name="connsiteY3" fmla="*/ 6915 h 10000"/>
                <a:gd name="connsiteX4" fmla="*/ 9458 w 10102"/>
                <a:gd name="connsiteY4" fmla="*/ 6880 h 10000"/>
                <a:gd name="connsiteX5" fmla="*/ 9447 w 10102"/>
                <a:gd name="connsiteY5" fmla="*/ 6860 h 10000"/>
                <a:gd name="connsiteX6" fmla="*/ 9447 w 10102"/>
                <a:gd name="connsiteY6" fmla="*/ 6841 h 10000"/>
                <a:gd name="connsiteX7" fmla="*/ 9544 w 10102"/>
                <a:gd name="connsiteY7" fmla="*/ 6734 h 10000"/>
                <a:gd name="connsiteX8" fmla="*/ 9554 w 10102"/>
                <a:gd name="connsiteY8" fmla="*/ 6453 h 10000"/>
                <a:gd name="connsiteX9" fmla="*/ 9564 w 10102"/>
                <a:gd name="connsiteY9" fmla="*/ 5601 h 10000"/>
                <a:gd name="connsiteX10" fmla="*/ 9564 w 10102"/>
                <a:gd name="connsiteY10" fmla="*/ 5581 h 10000"/>
                <a:gd name="connsiteX11" fmla="*/ 9564 w 10102"/>
                <a:gd name="connsiteY11" fmla="*/ 5562 h 10000"/>
                <a:gd name="connsiteX12" fmla="*/ 9649 w 10102"/>
                <a:gd name="connsiteY12" fmla="*/ 5388 h 10000"/>
                <a:gd name="connsiteX13" fmla="*/ 9702 w 10102"/>
                <a:gd name="connsiteY13" fmla="*/ 5291 h 10000"/>
                <a:gd name="connsiteX14" fmla="*/ 9554 w 10102"/>
                <a:gd name="connsiteY14" fmla="*/ 5058 h 10000"/>
                <a:gd name="connsiteX15" fmla="*/ 9554 w 10102"/>
                <a:gd name="connsiteY15" fmla="*/ 5058 h 10000"/>
                <a:gd name="connsiteX16" fmla="*/ 9543 w 10102"/>
                <a:gd name="connsiteY16" fmla="*/ 5058 h 10000"/>
                <a:gd name="connsiteX17" fmla="*/ 9394 w 10102"/>
                <a:gd name="connsiteY17" fmla="*/ 4709 h 10000"/>
                <a:gd name="connsiteX18" fmla="*/ 9394 w 10102"/>
                <a:gd name="connsiteY18" fmla="*/ 4690 h 10000"/>
                <a:gd name="connsiteX19" fmla="*/ 9394 w 10102"/>
                <a:gd name="connsiteY19" fmla="*/ 4690 h 10000"/>
                <a:gd name="connsiteX20" fmla="*/ 9456 w 10102"/>
                <a:gd name="connsiteY20" fmla="*/ 4520 h 10000"/>
                <a:gd name="connsiteX21" fmla="*/ 9490 w 10102"/>
                <a:gd name="connsiteY21" fmla="*/ 4360 h 10000"/>
                <a:gd name="connsiteX22" fmla="*/ 9564 w 10102"/>
                <a:gd name="connsiteY22" fmla="*/ 4244 h 10000"/>
                <a:gd name="connsiteX23" fmla="*/ 9628 w 10102"/>
                <a:gd name="connsiteY23" fmla="*/ 4012 h 10000"/>
                <a:gd name="connsiteX24" fmla="*/ 9490 w 10102"/>
                <a:gd name="connsiteY24" fmla="*/ 3760 h 10000"/>
                <a:gd name="connsiteX25" fmla="*/ 9490 w 10102"/>
                <a:gd name="connsiteY25" fmla="*/ 3760 h 10000"/>
                <a:gd name="connsiteX26" fmla="*/ 9479 w 10102"/>
                <a:gd name="connsiteY26" fmla="*/ 3760 h 10000"/>
                <a:gd name="connsiteX27" fmla="*/ 9426 w 10102"/>
                <a:gd name="connsiteY27" fmla="*/ 3527 h 10000"/>
                <a:gd name="connsiteX28" fmla="*/ 9426 w 10102"/>
                <a:gd name="connsiteY28" fmla="*/ 3527 h 10000"/>
                <a:gd name="connsiteX29" fmla="*/ 9426 w 10102"/>
                <a:gd name="connsiteY29" fmla="*/ 3508 h 10000"/>
                <a:gd name="connsiteX30" fmla="*/ 9416 w 10102"/>
                <a:gd name="connsiteY30" fmla="*/ 3198 h 10000"/>
                <a:gd name="connsiteX31" fmla="*/ 9416 w 10102"/>
                <a:gd name="connsiteY31" fmla="*/ 3198 h 10000"/>
                <a:gd name="connsiteX32" fmla="*/ 9416 w 10102"/>
                <a:gd name="connsiteY32" fmla="*/ 3178 h 10000"/>
                <a:gd name="connsiteX33" fmla="*/ 9532 w 10102"/>
                <a:gd name="connsiteY33" fmla="*/ 2907 h 10000"/>
                <a:gd name="connsiteX34" fmla="*/ 9384 w 10102"/>
                <a:gd name="connsiteY34" fmla="*/ 2616 h 10000"/>
                <a:gd name="connsiteX35" fmla="*/ 9384 w 10102"/>
                <a:gd name="connsiteY35" fmla="*/ 2616 h 10000"/>
                <a:gd name="connsiteX36" fmla="*/ 9384 w 10102"/>
                <a:gd name="connsiteY36" fmla="*/ 2616 h 10000"/>
                <a:gd name="connsiteX37" fmla="*/ 9330 w 10102"/>
                <a:gd name="connsiteY37" fmla="*/ 2267 h 10000"/>
                <a:gd name="connsiteX38" fmla="*/ 9330 w 10102"/>
                <a:gd name="connsiteY38" fmla="*/ 2248 h 10000"/>
                <a:gd name="connsiteX39" fmla="*/ 9330 w 10102"/>
                <a:gd name="connsiteY39" fmla="*/ 2248 h 10000"/>
                <a:gd name="connsiteX40" fmla="*/ 9341 w 10102"/>
                <a:gd name="connsiteY40" fmla="*/ 1841 h 10000"/>
                <a:gd name="connsiteX41" fmla="*/ 9341 w 10102"/>
                <a:gd name="connsiteY41" fmla="*/ 1822 h 10000"/>
                <a:gd name="connsiteX42" fmla="*/ 9341 w 10102"/>
                <a:gd name="connsiteY42" fmla="*/ 1822 h 10000"/>
                <a:gd name="connsiteX43" fmla="*/ 9660 w 10102"/>
                <a:gd name="connsiteY43" fmla="*/ 1279 h 10000"/>
                <a:gd name="connsiteX44" fmla="*/ 9564 w 10102"/>
                <a:gd name="connsiteY44" fmla="*/ 1008 h 10000"/>
                <a:gd name="connsiteX45" fmla="*/ 9554 w 10102"/>
                <a:gd name="connsiteY45" fmla="*/ 1008 h 10000"/>
                <a:gd name="connsiteX46" fmla="*/ 9554 w 10102"/>
                <a:gd name="connsiteY46" fmla="*/ 988 h 10000"/>
                <a:gd name="connsiteX47" fmla="*/ 9586 w 10102"/>
                <a:gd name="connsiteY47" fmla="*/ 698 h 10000"/>
                <a:gd name="connsiteX48" fmla="*/ 9501 w 10102"/>
                <a:gd name="connsiteY48" fmla="*/ 601 h 10000"/>
                <a:gd name="connsiteX49" fmla="*/ 9288 w 10102"/>
                <a:gd name="connsiteY49" fmla="*/ 581 h 10000"/>
                <a:gd name="connsiteX50" fmla="*/ 9288 w 10102"/>
                <a:gd name="connsiteY50" fmla="*/ 581 h 10000"/>
                <a:gd name="connsiteX51" fmla="*/ 9277 w 10102"/>
                <a:gd name="connsiteY51" fmla="*/ 581 h 10000"/>
                <a:gd name="connsiteX52" fmla="*/ 9224 w 10102"/>
                <a:gd name="connsiteY52" fmla="*/ 484 h 10000"/>
                <a:gd name="connsiteX53" fmla="*/ 9086 w 10102"/>
                <a:gd name="connsiteY53" fmla="*/ 484 h 10000"/>
                <a:gd name="connsiteX54" fmla="*/ 8948 w 10102"/>
                <a:gd name="connsiteY54" fmla="*/ 1124 h 10000"/>
                <a:gd name="connsiteX55" fmla="*/ 8927 w 10102"/>
                <a:gd name="connsiteY55" fmla="*/ 1124 h 10000"/>
                <a:gd name="connsiteX56" fmla="*/ 8927 w 10102"/>
                <a:gd name="connsiteY56" fmla="*/ 1143 h 10000"/>
                <a:gd name="connsiteX57" fmla="*/ 8650 w 10102"/>
                <a:gd name="connsiteY57" fmla="*/ 1415 h 10000"/>
                <a:gd name="connsiteX58" fmla="*/ 8640 w 10102"/>
                <a:gd name="connsiteY58" fmla="*/ 1434 h 10000"/>
                <a:gd name="connsiteX59" fmla="*/ 8640 w 10102"/>
                <a:gd name="connsiteY59" fmla="*/ 1434 h 10000"/>
                <a:gd name="connsiteX60" fmla="*/ 8470 w 10102"/>
                <a:gd name="connsiteY60" fmla="*/ 1395 h 10000"/>
                <a:gd name="connsiteX61" fmla="*/ 8321 w 10102"/>
                <a:gd name="connsiteY61" fmla="*/ 1531 h 10000"/>
                <a:gd name="connsiteX62" fmla="*/ 8321 w 10102"/>
                <a:gd name="connsiteY62" fmla="*/ 1531 h 10000"/>
                <a:gd name="connsiteX63" fmla="*/ 8321 w 10102"/>
                <a:gd name="connsiteY63" fmla="*/ 1531 h 10000"/>
                <a:gd name="connsiteX64" fmla="*/ 8172 w 10102"/>
                <a:gd name="connsiteY64" fmla="*/ 1589 h 10000"/>
                <a:gd name="connsiteX65" fmla="*/ 8023 w 10102"/>
                <a:gd name="connsiteY65" fmla="*/ 1957 h 10000"/>
                <a:gd name="connsiteX66" fmla="*/ 8013 w 10102"/>
                <a:gd name="connsiteY66" fmla="*/ 1977 h 10000"/>
                <a:gd name="connsiteX67" fmla="*/ 7991 w 10102"/>
                <a:gd name="connsiteY67" fmla="*/ 1977 h 10000"/>
                <a:gd name="connsiteX68" fmla="*/ 7864 w 10102"/>
                <a:gd name="connsiteY68" fmla="*/ 1899 h 10000"/>
                <a:gd name="connsiteX69" fmla="*/ 7843 w 10102"/>
                <a:gd name="connsiteY69" fmla="*/ 1899 h 10000"/>
                <a:gd name="connsiteX70" fmla="*/ 7853 w 10102"/>
                <a:gd name="connsiteY70" fmla="*/ 1841 h 10000"/>
                <a:gd name="connsiteX71" fmla="*/ 7928 w 10102"/>
                <a:gd name="connsiteY71" fmla="*/ 1609 h 10000"/>
                <a:gd name="connsiteX72" fmla="*/ 7906 w 10102"/>
                <a:gd name="connsiteY72" fmla="*/ 1279 h 10000"/>
                <a:gd name="connsiteX73" fmla="*/ 7758 w 10102"/>
                <a:gd name="connsiteY73" fmla="*/ 1124 h 10000"/>
                <a:gd name="connsiteX74" fmla="*/ 7651 w 10102"/>
                <a:gd name="connsiteY74" fmla="*/ 1124 h 10000"/>
                <a:gd name="connsiteX75" fmla="*/ 7641 w 10102"/>
                <a:gd name="connsiteY75" fmla="*/ 1124 h 10000"/>
                <a:gd name="connsiteX76" fmla="*/ 7630 w 10102"/>
                <a:gd name="connsiteY76" fmla="*/ 1105 h 10000"/>
                <a:gd name="connsiteX77" fmla="*/ 7556 w 10102"/>
                <a:gd name="connsiteY77" fmla="*/ 930 h 10000"/>
                <a:gd name="connsiteX78" fmla="*/ 7184 w 10102"/>
                <a:gd name="connsiteY78" fmla="*/ 891 h 10000"/>
                <a:gd name="connsiteX79" fmla="*/ 7173 w 10102"/>
                <a:gd name="connsiteY79" fmla="*/ 891 h 10000"/>
                <a:gd name="connsiteX80" fmla="*/ 7173 w 10102"/>
                <a:gd name="connsiteY80" fmla="*/ 872 h 10000"/>
                <a:gd name="connsiteX81" fmla="*/ 7099 w 10102"/>
                <a:gd name="connsiteY81" fmla="*/ 620 h 10000"/>
                <a:gd name="connsiteX82" fmla="*/ 7088 w 10102"/>
                <a:gd name="connsiteY82" fmla="*/ 601 h 10000"/>
                <a:gd name="connsiteX83" fmla="*/ 7088 w 10102"/>
                <a:gd name="connsiteY83" fmla="*/ 601 h 10000"/>
                <a:gd name="connsiteX84" fmla="*/ 7088 w 10102"/>
                <a:gd name="connsiteY84" fmla="*/ 465 h 10000"/>
                <a:gd name="connsiteX85" fmla="*/ 7088 w 10102"/>
                <a:gd name="connsiteY85" fmla="*/ 426 h 10000"/>
                <a:gd name="connsiteX86" fmla="*/ 7099 w 10102"/>
                <a:gd name="connsiteY86" fmla="*/ 407 h 10000"/>
                <a:gd name="connsiteX87" fmla="*/ 7194 w 10102"/>
                <a:gd name="connsiteY87" fmla="*/ 310 h 10000"/>
                <a:gd name="connsiteX88" fmla="*/ 7109 w 10102"/>
                <a:gd name="connsiteY88" fmla="*/ 136 h 10000"/>
                <a:gd name="connsiteX89" fmla="*/ 7035 w 10102"/>
                <a:gd name="connsiteY89" fmla="*/ 0 h 10000"/>
                <a:gd name="connsiteX90" fmla="*/ 6939 w 10102"/>
                <a:gd name="connsiteY90" fmla="*/ 116 h 10000"/>
                <a:gd name="connsiteX91" fmla="*/ 6939 w 10102"/>
                <a:gd name="connsiteY91" fmla="*/ 116 h 10000"/>
                <a:gd name="connsiteX92" fmla="*/ 6939 w 10102"/>
                <a:gd name="connsiteY92" fmla="*/ 116 h 10000"/>
                <a:gd name="connsiteX93" fmla="*/ 6812 w 10102"/>
                <a:gd name="connsiteY93" fmla="*/ 155 h 10000"/>
                <a:gd name="connsiteX94" fmla="*/ 6674 w 10102"/>
                <a:gd name="connsiteY94" fmla="*/ 291 h 10000"/>
                <a:gd name="connsiteX95" fmla="*/ 6599 w 10102"/>
                <a:gd name="connsiteY95" fmla="*/ 523 h 10000"/>
                <a:gd name="connsiteX96" fmla="*/ 6599 w 10102"/>
                <a:gd name="connsiteY96" fmla="*/ 543 h 10000"/>
                <a:gd name="connsiteX97" fmla="*/ 6589 w 10102"/>
                <a:gd name="connsiteY97" fmla="*/ 543 h 10000"/>
                <a:gd name="connsiteX98" fmla="*/ 6321 w 10102"/>
                <a:gd name="connsiteY98" fmla="*/ 617 h 10000"/>
                <a:gd name="connsiteX99" fmla="*/ 6334 w 10102"/>
                <a:gd name="connsiteY99" fmla="*/ 891 h 10000"/>
                <a:gd name="connsiteX100" fmla="*/ 6252 w 10102"/>
                <a:gd name="connsiteY100" fmla="*/ 941 h 10000"/>
                <a:gd name="connsiteX101" fmla="*/ 6142 w 10102"/>
                <a:gd name="connsiteY101" fmla="*/ 1124 h 10000"/>
                <a:gd name="connsiteX102" fmla="*/ 6015 w 10102"/>
                <a:gd name="connsiteY102" fmla="*/ 1453 h 10000"/>
                <a:gd name="connsiteX103" fmla="*/ 6004 w 10102"/>
                <a:gd name="connsiteY103" fmla="*/ 1473 h 10000"/>
                <a:gd name="connsiteX104" fmla="*/ 5994 w 10102"/>
                <a:gd name="connsiteY104" fmla="*/ 1453 h 10000"/>
                <a:gd name="connsiteX105" fmla="*/ 5802 w 10102"/>
                <a:gd name="connsiteY105" fmla="*/ 1434 h 10000"/>
                <a:gd name="connsiteX106" fmla="*/ 5781 w 10102"/>
                <a:gd name="connsiteY106" fmla="*/ 1415 h 10000"/>
                <a:gd name="connsiteX107" fmla="*/ 5781 w 10102"/>
                <a:gd name="connsiteY107" fmla="*/ 1395 h 10000"/>
                <a:gd name="connsiteX108" fmla="*/ 5760 w 10102"/>
                <a:gd name="connsiteY108" fmla="*/ 930 h 10000"/>
                <a:gd name="connsiteX109" fmla="*/ 5654 w 10102"/>
                <a:gd name="connsiteY109" fmla="*/ 872 h 10000"/>
                <a:gd name="connsiteX110" fmla="*/ 5377 w 10102"/>
                <a:gd name="connsiteY110" fmla="*/ 1240 h 10000"/>
                <a:gd name="connsiteX111" fmla="*/ 5165 w 10102"/>
                <a:gd name="connsiteY111" fmla="*/ 1570 h 10000"/>
                <a:gd name="connsiteX112" fmla="*/ 5165 w 10102"/>
                <a:gd name="connsiteY112" fmla="*/ 1899 h 10000"/>
                <a:gd name="connsiteX113" fmla="*/ 5165 w 10102"/>
                <a:gd name="connsiteY113" fmla="*/ 1919 h 10000"/>
                <a:gd name="connsiteX114" fmla="*/ 5154 w 10102"/>
                <a:gd name="connsiteY114" fmla="*/ 1919 h 10000"/>
                <a:gd name="connsiteX115" fmla="*/ 5027 w 10102"/>
                <a:gd name="connsiteY115" fmla="*/ 2112 h 10000"/>
                <a:gd name="connsiteX116" fmla="*/ 5016 w 10102"/>
                <a:gd name="connsiteY116" fmla="*/ 2112 h 10000"/>
                <a:gd name="connsiteX117" fmla="*/ 5005 w 10102"/>
                <a:gd name="connsiteY117" fmla="*/ 2112 h 10000"/>
                <a:gd name="connsiteX118" fmla="*/ 4814 w 10102"/>
                <a:gd name="connsiteY118" fmla="*/ 2112 h 10000"/>
                <a:gd name="connsiteX119" fmla="*/ 4803 w 10102"/>
                <a:gd name="connsiteY119" fmla="*/ 2112 h 10000"/>
                <a:gd name="connsiteX120" fmla="*/ 4803 w 10102"/>
                <a:gd name="connsiteY120" fmla="*/ 2112 h 10000"/>
                <a:gd name="connsiteX121" fmla="*/ 4697 w 10102"/>
                <a:gd name="connsiteY121" fmla="*/ 1957 h 10000"/>
                <a:gd name="connsiteX122" fmla="*/ 4591 w 10102"/>
                <a:gd name="connsiteY122" fmla="*/ 1899 h 10000"/>
                <a:gd name="connsiteX123" fmla="*/ 4591 w 10102"/>
                <a:gd name="connsiteY123" fmla="*/ 1957 h 10000"/>
                <a:gd name="connsiteX124" fmla="*/ 4591 w 10102"/>
                <a:gd name="connsiteY124" fmla="*/ 1996 h 10000"/>
                <a:gd name="connsiteX125" fmla="*/ 4570 w 10102"/>
                <a:gd name="connsiteY125" fmla="*/ 1996 h 10000"/>
                <a:gd name="connsiteX126" fmla="*/ 4453 w 10102"/>
                <a:gd name="connsiteY126" fmla="*/ 1996 h 10000"/>
                <a:gd name="connsiteX127" fmla="*/ 4431 w 10102"/>
                <a:gd name="connsiteY127" fmla="*/ 1996 h 10000"/>
                <a:gd name="connsiteX128" fmla="*/ 4431 w 10102"/>
                <a:gd name="connsiteY128" fmla="*/ 1957 h 10000"/>
                <a:gd name="connsiteX129" fmla="*/ 4378 w 10102"/>
                <a:gd name="connsiteY129" fmla="*/ 1589 h 10000"/>
                <a:gd name="connsiteX130" fmla="*/ 4091 w 10102"/>
                <a:gd name="connsiteY130" fmla="*/ 1512 h 10000"/>
                <a:gd name="connsiteX131" fmla="*/ 4081 w 10102"/>
                <a:gd name="connsiteY131" fmla="*/ 1512 h 10000"/>
                <a:gd name="connsiteX132" fmla="*/ 4070 w 10102"/>
                <a:gd name="connsiteY132" fmla="*/ 1492 h 10000"/>
                <a:gd name="connsiteX133" fmla="*/ 3879 w 10102"/>
                <a:gd name="connsiteY133" fmla="*/ 988 h 10000"/>
                <a:gd name="connsiteX134" fmla="*/ 3719 w 10102"/>
                <a:gd name="connsiteY134" fmla="*/ 988 h 10000"/>
                <a:gd name="connsiteX135" fmla="*/ 3698 w 10102"/>
                <a:gd name="connsiteY135" fmla="*/ 1085 h 10000"/>
                <a:gd name="connsiteX136" fmla="*/ 3698 w 10102"/>
                <a:gd name="connsiteY136" fmla="*/ 1105 h 10000"/>
                <a:gd name="connsiteX137" fmla="*/ 3698 w 10102"/>
                <a:gd name="connsiteY137" fmla="*/ 1105 h 10000"/>
                <a:gd name="connsiteX138" fmla="*/ 3592 w 10102"/>
                <a:gd name="connsiteY138" fmla="*/ 1318 h 10000"/>
                <a:gd name="connsiteX139" fmla="*/ 3592 w 10102"/>
                <a:gd name="connsiteY139" fmla="*/ 1318 h 10000"/>
                <a:gd name="connsiteX140" fmla="*/ 3581 w 10102"/>
                <a:gd name="connsiteY140" fmla="*/ 1318 h 10000"/>
                <a:gd name="connsiteX141" fmla="*/ 3486 w 10102"/>
                <a:gd name="connsiteY141" fmla="*/ 1395 h 10000"/>
                <a:gd name="connsiteX142" fmla="*/ 3486 w 10102"/>
                <a:gd name="connsiteY142" fmla="*/ 1686 h 10000"/>
                <a:gd name="connsiteX143" fmla="*/ 3486 w 10102"/>
                <a:gd name="connsiteY143" fmla="*/ 1725 h 10000"/>
                <a:gd name="connsiteX144" fmla="*/ 3475 w 10102"/>
                <a:gd name="connsiteY144" fmla="*/ 1725 h 10000"/>
                <a:gd name="connsiteX145" fmla="*/ 3369 w 10102"/>
                <a:gd name="connsiteY145" fmla="*/ 1841 h 10000"/>
                <a:gd name="connsiteX146" fmla="*/ 3135 w 10102"/>
                <a:gd name="connsiteY146" fmla="*/ 2171 h 10000"/>
                <a:gd name="connsiteX147" fmla="*/ 2954 w 10102"/>
                <a:gd name="connsiteY147" fmla="*/ 2829 h 10000"/>
                <a:gd name="connsiteX148" fmla="*/ 2954 w 10102"/>
                <a:gd name="connsiteY148" fmla="*/ 2829 h 10000"/>
                <a:gd name="connsiteX149" fmla="*/ 2944 w 10102"/>
                <a:gd name="connsiteY149" fmla="*/ 2829 h 10000"/>
                <a:gd name="connsiteX150" fmla="*/ 2699 w 10102"/>
                <a:gd name="connsiteY150" fmla="*/ 3217 h 10000"/>
                <a:gd name="connsiteX151" fmla="*/ 2487 w 10102"/>
                <a:gd name="connsiteY151" fmla="*/ 3566 h 10000"/>
                <a:gd name="connsiteX152" fmla="*/ 2465 w 10102"/>
                <a:gd name="connsiteY152" fmla="*/ 3934 h 10000"/>
                <a:gd name="connsiteX153" fmla="*/ 2465 w 10102"/>
                <a:gd name="connsiteY153" fmla="*/ 3934 h 10000"/>
                <a:gd name="connsiteX154" fmla="*/ 2465 w 10102"/>
                <a:gd name="connsiteY154" fmla="*/ 3934 h 10000"/>
                <a:gd name="connsiteX155" fmla="*/ 2295 w 10102"/>
                <a:gd name="connsiteY155" fmla="*/ 4205 h 10000"/>
                <a:gd name="connsiteX156" fmla="*/ 2200 w 10102"/>
                <a:gd name="connsiteY156" fmla="*/ 4535 h 10000"/>
                <a:gd name="connsiteX157" fmla="*/ 2189 w 10102"/>
                <a:gd name="connsiteY157" fmla="*/ 4554 h 10000"/>
                <a:gd name="connsiteX158" fmla="*/ 2179 w 10102"/>
                <a:gd name="connsiteY158" fmla="*/ 4554 h 10000"/>
                <a:gd name="connsiteX159" fmla="*/ 2051 w 10102"/>
                <a:gd name="connsiteY159" fmla="*/ 4535 h 10000"/>
                <a:gd name="connsiteX160" fmla="*/ 1913 w 10102"/>
                <a:gd name="connsiteY160" fmla="*/ 4767 h 10000"/>
                <a:gd name="connsiteX161" fmla="*/ 1913 w 10102"/>
                <a:gd name="connsiteY161" fmla="*/ 4787 h 10000"/>
                <a:gd name="connsiteX162" fmla="*/ 1902 w 10102"/>
                <a:gd name="connsiteY162" fmla="*/ 4787 h 10000"/>
                <a:gd name="connsiteX163" fmla="*/ 1498 w 10102"/>
                <a:gd name="connsiteY163" fmla="*/ 4671 h 10000"/>
                <a:gd name="connsiteX164" fmla="*/ 1488 w 10102"/>
                <a:gd name="connsiteY164" fmla="*/ 4671 h 10000"/>
                <a:gd name="connsiteX165" fmla="*/ 1488 w 10102"/>
                <a:gd name="connsiteY165" fmla="*/ 4651 h 10000"/>
                <a:gd name="connsiteX166" fmla="*/ 1424 w 10102"/>
                <a:gd name="connsiteY166" fmla="*/ 4516 h 10000"/>
                <a:gd name="connsiteX167" fmla="*/ 1350 w 10102"/>
                <a:gd name="connsiteY167" fmla="*/ 4516 h 10000"/>
                <a:gd name="connsiteX168" fmla="*/ 1296 w 10102"/>
                <a:gd name="connsiteY168" fmla="*/ 4690 h 10000"/>
                <a:gd name="connsiteX169" fmla="*/ 1286 w 10102"/>
                <a:gd name="connsiteY169" fmla="*/ 4922 h 10000"/>
                <a:gd name="connsiteX170" fmla="*/ 1286 w 10102"/>
                <a:gd name="connsiteY170" fmla="*/ 4942 h 10000"/>
                <a:gd name="connsiteX171" fmla="*/ 1275 w 10102"/>
                <a:gd name="connsiteY171" fmla="*/ 4961 h 10000"/>
                <a:gd name="connsiteX172" fmla="*/ 1190 w 10102"/>
                <a:gd name="connsiteY172" fmla="*/ 5058 h 10000"/>
                <a:gd name="connsiteX173" fmla="*/ 1137 w 10102"/>
                <a:gd name="connsiteY173" fmla="*/ 5271 h 10000"/>
                <a:gd name="connsiteX174" fmla="*/ 1137 w 10102"/>
                <a:gd name="connsiteY174" fmla="*/ 5291 h 10000"/>
                <a:gd name="connsiteX175" fmla="*/ 1126 w 10102"/>
                <a:gd name="connsiteY175" fmla="*/ 5291 h 10000"/>
                <a:gd name="connsiteX176" fmla="*/ 1020 w 10102"/>
                <a:gd name="connsiteY176" fmla="*/ 5407 h 10000"/>
                <a:gd name="connsiteX177" fmla="*/ 999 w 10102"/>
                <a:gd name="connsiteY177" fmla="*/ 5581 h 10000"/>
                <a:gd name="connsiteX178" fmla="*/ 978 w 10102"/>
                <a:gd name="connsiteY178" fmla="*/ 5756 h 10000"/>
                <a:gd name="connsiteX179" fmla="*/ 978 w 10102"/>
                <a:gd name="connsiteY179" fmla="*/ 5775 h 10000"/>
                <a:gd name="connsiteX180" fmla="*/ 967 w 10102"/>
                <a:gd name="connsiteY180" fmla="*/ 5775 h 10000"/>
                <a:gd name="connsiteX181" fmla="*/ 861 w 10102"/>
                <a:gd name="connsiteY181" fmla="*/ 5814 h 10000"/>
                <a:gd name="connsiteX182" fmla="*/ 861 w 10102"/>
                <a:gd name="connsiteY182" fmla="*/ 6047 h 10000"/>
                <a:gd name="connsiteX183" fmla="*/ 967 w 10102"/>
                <a:gd name="connsiteY183" fmla="*/ 6298 h 10000"/>
                <a:gd name="connsiteX184" fmla="*/ 967 w 10102"/>
                <a:gd name="connsiteY184" fmla="*/ 6298 h 10000"/>
                <a:gd name="connsiteX185" fmla="*/ 978 w 10102"/>
                <a:gd name="connsiteY185" fmla="*/ 6318 h 10000"/>
                <a:gd name="connsiteX186" fmla="*/ 988 w 10102"/>
                <a:gd name="connsiteY186" fmla="*/ 6512 h 10000"/>
                <a:gd name="connsiteX187" fmla="*/ 988 w 10102"/>
                <a:gd name="connsiteY187" fmla="*/ 6531 h 10000"/>
                <a:gd name="connsiteX188" fmla="*/ 978 w 10102"/>
                <a:gd name="connsiteY188" fmla="*/ 6550 h 10000"/>
                <a:gd name="connsiteX189" fmla="*/ 627 w 10102"/>
                <a:gd name="connsiteY189" fmla="*/ 7016 h 10000"/>
                <a:gd name="connsiteX190" fmla="*/ 521 w 10102"/>
                <a:gd name="connsiteY190" fmla="*/ 7151 h 10000"/>
                <a:gd name="connsiteX191" fmla="*/ 340 w 10102"/>
                <a:gd name="connsiteY191" fmla="*/ 7384 h 10000"/>
                <a:gd name="connsiteX192" fmla="*/ 340 w 10102"/>
                <a:gd name="connsiteY192" fmla="*/ 7403 h 10000"/>
                <a:gd name="connsiteX193" fmla="*/ 340 w 10102"/>
                <a:gd name="connsiteY193" fmla="*/ 7403 h 10000"/>
                <a:gd name="connsiteX194" fmla="*/ 191 w 10102"/>
                <a:gd name="connsiteY194" fmla="*/ 7519 h 10000"/>
                <a:gd name="connsiteX195" fmla="*/ 0 w 10102"/>
                <a:gd name="connsiteY195" fmla="*/ 7791 h 10000"/>
                <a:gd name="connsiteX196" fmla="*/ 11 w 10102"/>
                <a:gd name="connsiteY196" fmla="*/ 7829 h 10000"/>
                <a:gd name="connsiteX197" fmla="*/ 149 w 10102"/>
                <a:gd name="connsiteY197" fmla="*/ 7868 h 10000"/>
                <a:gd name="connsiteX198" fmla="*/ 159 w 10102"/>
                <a:gd name="connsiteY198" fmla="*/ 7868 h 10000"/>
                <a:gd name="connsiteX199" fmla="*/ 159 w 10102"/>
                <a:gd name="connsiteY199" fmla="*/ 7868 h 10000"/>
                <a:gd name="connsiteX200" fmla="*/ 372 w 10102"/>
                <a:gd name="connsiteY200" fmla="*/ 8256 h 10000"/>
                <a:gd name="connsiteX201" fmla="*/ 1467 w 10102"/>
                <a:gd name="connsiteY201" fmla="*/ 9205 h 10000"/>
                <a:gd name="connsiteX202" fmla="*/ 1467 w 10102"/>
                <a:gd name="connsiteY202" fmla="*/ 9205 h 10000"/>
                <a:gd name="connsiteX203" fmla="*/ 1477 w 10102"/>
                <a:gd name="connsiteY203" fmla="*/ 9205 h 10000"/>
                <a:gd name="connsiteX204" fmla="*/ 1838 w 10102"/>
                <a:gd name="connsiteY204" fmla="*/ 9729 h 10000"/>
                <a:gd name="connsiteX205" fmla="*/ 2508 w 10102"/>
                <a:gd name="connsiteY205" fmla="*/ 9767 h 10000"/>
                <a:gd name="connsiteX206" fmla="*/ 2561 w 10102"/>
                <a:gd name="connsiteY206" fmla="*/ 9671 h 10000"/>
                <a:gd name="connsiteX207" fmla="*/ 2561 w 10102"/>
                <a:gd name="connsiteY207" fmla="*/ 9671 h 10000"/>
                <a:gd name="connsiteX208" fmla="*/ 2582 w 10102"/>
                <a:gd name="connsiteY208" fmla="*/ 9671 h 10000"/>
                <a:gd name="connsiteX209" fmla="*/ 2848 w 10102"/>
                <a:gd name="connsiteY209" fmla="*/ 9651 h 10000"/>
                <a:gd name="connsiteX210" fmla="*/ 2859 w 10102"/>
                <a:gd name="connsiteY210" fmla="*/ 9651 h 10000"/>
                <a:gd name="connsiteX211" fmla="*/ 2869 w 10102"/>
                <a:gd name="connsiteY211" fmla="*/ 9671 h 10000"/>
                <a:gd name="connsiteX212" fmla="*/ 3061 w 10102"/>
                <a:gd name="connsiteY212" fmla="*/ 10000 h 10000"/>
                <a:gd name="connsiteX213" fmla="*/ 3061 w 10102"/>
                <a:gd name="connsiteY213" fmla="*/ 10000 h 10000"/>
                <a:gd name="connsiteX214" fmla="*/ 4336 w 10102"/>
                <a:gd name="connsiteY214" fmla="*/ 9961 h 10000"/>
                <a:gd name="connsiteX215" fmla="*/ 4357 w 10102"/>
                <a:gd name="connsiteY215" fmla="*/ 9961 h 10000"/>
                <a:gd name="connsiteX216" fmla="*/ 4357 w 10102"/>
                <a:gd name="connsiteY216" fmla="*/ 9981 h 10000"/>
                <a:gd name="connsiteX217" fmla="*/ 4527 w 10102"/>
                <a:gd name="connsiteY217" fmla="*/ 9864 h 10000"/>
                <a:gd name="connsiteX218" fmla="*/ 4538 w 10102"/>
                <a:gd name="connsiteY218" fmla="*/ 9864 h 10000"/>
                <a:gd name="connsiteX219" fmla="*/ 4538 w 10102"/>
                <a:gd name="connsiteY219" fmla="*/ 9864 h 10000"/>
                <a:gd name="connsiteX220" fmla="*/ 5250 w 10102"/>
                <a:gd name="connsiteY220" fmla="*/ 9845 h 10000"/>
                <a:gd name="connsiteX221" fmla="*/ 7354 w 10102"/>
                <a:gd name="connsiteY221" fmla="*/ 9845 h 10000"/>
                <a:gd name="connsiteX222" fmla="*/ 7343 w 10102"/>
                <a:gd name="connsiteY222" fmla="*/ 9826 h 10000"/>
                <a:gd name="connsiteX223" fmla="*/ 7439 w 10102"/>
                <a:gd name="connsiteY223" fmla="*/ 9612 h 10000"/>
                <a:gd name="connsiteX224" fmla="*/ 7513 w 10102"/>
                <a:gd name="connsiteY224" fmla="*/ 9516 h 10000"/>
                <a:gd name="connsiteX225" fmla="*/ 7428 w 10102"/>
                <a:gd name="connsiteY225" fmla="*/ 9283 h 10000"/>
                <a:gd name="connsiteX226" fmla="*/ 7450 w 10102"/>
                <a:gd name="connsiteY226" fmla="*/ 9109 h 10000"/>
                <a:gd name="connsiteX227" fmla="*/ 7683 w 10102"/>
                <a:gd name="connsiteY227" fmla="*/ 8992 h 10000"/>
                <a:gd name="connsiteX228" fmla="*/ 7683 w 10102"/>
                <a:gd name="connsiteY228" fmla="*/ 8798 h 10000"/>
                <a:gd name="connsiteX229" fmla="*/ 7779 w 10102"/>
                <a:gd name="connsiteY229" fmla="*/ 8682 h 10000"/>
                <a:gd name="connsiteX230" fmla="*/ 7949 w 10102"/>
                <a:gd name="connsiteY230" fmla="*/ 8372 h 10000"/>
                <a:gd name="connsiteX231" fmla="*/ 8013 w 10102"/>
                <a:gd name="connsiteY231" fmla="*/ 8023 h 10000"/>
                <a:gd name="connsiteX232" fmla="*/ 8098 w 10102"/>
                <a:gd name="connsiteY232" fmla="*/ 7907 h 10000"/>
                <a:gd name="connsiteX233" fmla="*/ 8204 w 10102"/>
                <a:gd name="connsiteY233" fmla="*/ 7907 h 10000"/>
                <a:gd name="connsiteX234" fmla="*/ 8363 w 10102"/>
                <a:gd name="connsiteY234" fmla="*/ 7829 h 10000"/>
                <a:gd name="connsiteX235" fmla="*/ 8576 w 10102"/>
                <a:gd name="connsiteY235" fmla="*/ 7907 h 10000"/>
                <a:gd name="connsiteX236" fmla="*/ 8661 w 10102"/>
                <a:gd name="connsiteY236" fmla="*/ 8004 h 10000"/>
                <a:gd name="connsiteX237" fmla="*/ 8704 w 10102"/>
                <a:gd name="connsiteY237" fmla="*/ 7829 h 10000"/>
                <a:gd name="connsiteX238" fmla="*/ 8831 w 10102"/>
                <a:gd name="connsiteY238" fmla="*/ 7733 h 10000"/>
                <a:gd name="connsiteX239" fmla="*/ 8980 w 10102"/>
                <a:gd name="connsiteY239" fmla="*/ 7713 h 10000"/>
                <a:gd name="connsiteX240" fmla="*/ 9097 w 10102"/>
                <a:gd name="connsiteY240" fmla="*/ 7674 h 10000"/>
                <a:gd name="connsiteX241" fmla="*/ 9235 w 10102"/>
                <a:gd name="connsiteY241" fmla="*/ 7791 h 10000"/>
                <a:gd name="connsiteX242" fmla="*/ 9341 w 10102"/>
                <a:gd name="connsiteY242" fmla="*/ 7907 h 10000"/>
                <a:gd name="connsiteX243" fmla="*/ 9458 w 10102"/>
                <a:gd name="connsiteY243" fmla="*/ 7733 h 10000"/>
                <a:gd name="connsiteX244" fmla="*/ 9575 w 10102"/>
                <a:gd name="connsiteY244" fmla="*/ 7829 h 10000"/>
                <a:gd name="connsiteX245" fmla="*/ 9702 w 10102"/>
                <a:gd name="connsiteY245" fmla="*/ 7829 h 10000"/>
                <a:gd name="connsiteX246" fmla="*/ 9809 w 10102"/>
                <a:gd name="connsiteY246" fmla="*/ 7907 h 10000"/>
                <a:gd name="connsiteX247" fmla="*/ 9968 w 10102"/>
                <a:gd name="connsiteY247" fmla="*/ 7829 h 10000"/>
                <a:gd name="connsiteX248" fmla="*/ 10000 w 10102"/>
                <a:gd name="connsiteY248" fmla="*/ 7810 h 10000"/>
                <a:gd name="connsiteX249" fmla="*/ 9979 w 10102"/>
                <a:gd name="connsiteY249" fmla="*/ 7810 h 10000"/>
                <a:gd name="connsiteX250" fmla="*/ 10066 w 10102"/>
                <a:gd name="connsiteY250" fmla="*/ 7636 h 10000"/>
                <a:gd name="connsiteX251" fmla="*/ 10075 w 10102"/>
                <a:gd name="connsiteY251" fmla="*/ 7250 h 10000"/>
                <a:gd name="connsiteX252" fmla="*/ 9968 w 10102"/>
                <a:gd name="connsiteY252" fmla="*/ 6822 h 10000"/>
                <a:gd name="connsiteX253" fmla="*/ 9979 w 10102"/>
                <a:gd name="connsiteY253" fmla="*/ 6802 h 10000"/>
                <a:gd name="connsiteX254" fmla="*/ 9979 w 10102"/>
                <a:gd name="connsiteY254" fmla="*/ 6802 h 10000"/>
                <a:gd name="connsiteX255" fmla="*/ 9947 w 10102"/>
                <a:gd name="connsiteY255" fmla="*/ 6764 h 10000"/>
                <a:gd name="connsiteX0" fmla="*/ 9947 w 10102"/>
                <a:gd name="connsiteY0" fmla="*/ 6764 h 10000"/>
                <a:gd name="connsiteX1" fmla="*/ 9816 w 10102"/>
                <a:gd name="connsiteY1" fmla="*/ 6660 h 10000"/>
                <a:gd name="connsiteX2" fmla="*/ 9766 w 10102"/>
                <a:gd name="connsiteY2" fmla="*/ 6938 h 10000"/>
                <a:gd name="connsiteX3" fmla="*/ 9665 w 10102"/>
                <a:gd name="connsiteY3" fmla="*/ 6915 h 10000"/>
                <a:gd name="connsiteX4" fmla="*/ 9458 w 10102"/>
                <a:gd name="connsiteY4" fmla="*/ 6880 h 10000"/>
                <a:gd name="connsiteX5" fmla="*/ 9447 w 10102"/>
                <a:gd name="connsiteY5" fmla="*/ 6860 h 10000"/>
                <a:gd name="connsiteX6" fmla="*/ 9447 w 10102"/>
                <a:gd name="connsiteY6" fmla="*/ 6841 h 10000"/>
                <a:gd name="connsiteX7" fmla="*/ 9544 w 10102"/>
                <a:gd name="connsiteY7" fmla="*/ 6734 h 10000"/>
                <a:gd name="connsiteX8" fmla="*/ 9554 w 10102"/>
                <a:gd name="connsiteY8" fmla="*/ 6453 h 10000"/>
                <a:gd name="connsiteX9" fmla="*/ 9564 w 10102"/>
                <a:gd name="connsiteY9" fmla="*/ 5601 h 10000"/>
                <a:gd name="connsiteX10" fmla="*/ 9564 w 10102"/>
                <a:gd name="connsiteY10" fmla="*/ 5581 h 10000"/>
                <a:gd name="connsiteX11" fmla="*/ 9564 w 10102"/>
                <a:gd name="connsiteY11" fmla="*/ 5562 h 10000"/>
                <a:gd name="connsiteX12" fmla="*/ 9649 w 10102"/>
                <a:gd name="connsiteY12" fmla="*/ 5388 h 10000"/>
                <a:gd name="connsiteX13" fmla="*/ 9702 w 10102"/>
                <a:gd name="connsiteY13" fmla="*/ 5291 h 10000"/>
                <a:gd name="connsiteX14" fmla="*/ 9554 w 10102"/>
                <a:gd name="connsiteY14" fmla="*/ 5058 h 10000"/>
                <a:gd name="connsiteX15" fmla="*/ 9554 w 10102"/>
                <a:gd name="connsiteY15" fmla="*/ 5058 h 10000"/>
                <a:gd name="connsiteX16" fmla="*/ 9543 w 10102"/>
                <a:gd name="connsiteY16" fmla="*/ 5058 h 10000"/>
                <a:gd name="connsiteX17" fmla="*/ 9394 w 10102"/>
                <a:gd name="connsiteY17" fmla="*/ 4709 h 10000"/>
                <a:gd name="connsiteX18" fmla="*/ 9394 w 10102"/>
                <a:gd name="connsiteY18" fmla="*/ 4690 h 10000"/>
                <a:gd name="connsiteX19" fmla="*/ 9394 w 10102"/>
                <a:gd name="connsiteY19" fmla="*/ 4690 h 10000"/>
                <a:gd name="connsiteX20" fmla="*/ 9456 w 10102"/>
                <a:gd name="connsiteY20" fmla="*/ 4520 h 10000"/>
                <a:gd name="connsiteX21" fmla="*/ 9490 w 10102"/>
                <a:gd name="connsiteY21" fmla="*/ 4360 h 10000"/>
                <a:gd name="connsiteX22" fmla="*/ 9564 w 10102"/>
                <a:gd name="connsiteY22" fmla="*/ 4244 h 10000"/>
                <a:gd name="connsiteX23" fmla="*/ 9628 w 10102"/>
                <a:gd name="connsiteY23" fmla="*/ 4012 h 10000"/>
                <a:gd name="connsiteX24" fmla="*/ 9490 w 10102"/>
                <a:gd name="connsiteY24" fmla="*/ 3760 h 10000"/>
                <a:gd name="connsiteX25" fmla="*/ 9490 w 10102"/>
                <a:gd name="connsiteY25" fmla="*/ 3760 h 10000"/>
                <a:gd name="connsiteX26" fmla="*/ 9479 w 10102"/>
                <a:gd name="connsiteY26" fmla="*/ 3760 h 10000"/>
                <a:gd name="connsiteX27" fmla="*/ 9426 w 10102"/>
                <a:gd name="connsiteY27" fmla="*/ 3527 h 10000"/>
                <a:gd name="connsiteX28" fmla="*/ 9426 w 10102"/>
                <a:gd name="connsiteY28" fmla="*/ 3527 h 10000"/>
                <a:gd name="connsiteX29" fmla="*/ 9426 w 10102"/>
                <a:gd name="connsiteY29" fmla="*/ 3508 h 10000"/>
                <a:gd name="connsiteX30" fmla="*/ 9416 w 10102"/>
                <a:gd name="connsiteY30" fmla="*/ 3198 h 10000"/>
                <a:gd name="connsiteX31" fmla="*/ 9416 w 10102"/>
                <a:gd name="connsiteY31" fmla="*/ 3198 h 10000"/>
                <a:gd name="connsiteX32" fmla="*/ 9416 w 10102"/>
                <a:gd name="connsiteY32" fmla="*/ 3178 h 10000"/>
                <a:gd name="connsiteX33" fmla="*/ 9532 w 10102"/>
                <a:gd name="connsiteY33" fmla="*/ 2907 h 10000"/>
                <a:gd name="connsiteX34" fmla="*/ 9384 w 10102"/>
                <a:gd name="connsiteY34" fmla="*/ 2616 h 10000"/>
                <a:gd name="connsiteX35" fmla="*/ 9384 w 10102"/>
                <a:gd name="connsiteY35" fmla="*/ 2616 h 10000"/>
                <a:gd name="connsiteX36" fmla="*/ 9384 w 10102"/>
                <a:gd name="connsiteY36" fmla="*/ 2616 h 10000"/>
                <a:gd name="connsiteX37" fmla="*/ 9330 w 10102"/>
                <a:gd name="connsiteY37" fmla="*/ 2267 h 10000"/>
                <a:gd name="connsiteX38" fmla="*/ 9330 w 10102"/>
                <a:gd name="connsiteY38" fmla="*/ 2248 h 10000"/>
                <a:gd name="connsiteX39" fmla="*/ 9330 w 10102"/>
                <a:gd name="connsiteY39" fmla="*/ 2248 h 10000"/>
                <a:gd name="connsiteX40" fmla="*/ 9341 w 10102"/>
                <a:gd name="connsiteY40" fmla="*/ 1841 h 10000"/>
                <a:gd name="connsiteX41" fmla="*/ 9341 w 10102"/>
                <a:gd name="connsiteY41" fmla="*/ 1822 h 10000"/>
                <a:gd name="connsiteX42" fmla="*/ 9341 w 10102"/>
                <a:gd name="connsiteY42" fmla="*/ 1822 h 10000"/>
                <a:gd name="connsiteX43" fmla="*/ 9660 w 10102"/>
                <a:gd name="connsiteY43" fmla="*/ 1279 h 10000"/>
                <a:gd name="connsiteX44" fmla="*/ 9564 w 10102"/>
                <a:gd name="connsiteY44" fmla="*/ 1008 h 10000"/>
                <a:gd name="connsiteX45" fmla="*/ 9554 w 10102"/>
                <a:gd name="connsiteY45" fmla="*/ 1008 h 10000"/>
                <a:gd name="connsiteX46" fmla="*/ 9554 w 10102"/>
                <a:gd name="connsiteY46" fmla="*/ 988 h 10000"/>
                <a:gd name="connsiteX47" fmla="*/ 9586 w 10102"/>
                <a:gd name="connsiteY47" fmla="*/ 698 h 10000"/>
                <a:gd name="connsiteX48" fmla="*/ 9501 w 10102"/>
                <a:gd name="connsiteY48" fmla="*/ 601 h 10000"/>
                <a:gd name="connsiteX49" fmla="*/ 9288 w 10102"/>
                <a:gd name="connsiteY49" fmla="*/ 581 h 10000"/>
                <a:gd name="connsiteX50" fmla="*/ 9288 w 10102"/>
                <a:gd name="connsiteY50" fmla="*/ 581 h 10000"/>
                <a:gd name="connsiteX51" fmla="*/ 9277 w 10102"/>
                <a:gd name="connsiteY51" fmla="*/ 581 h 10000"/>
                <a:gd name="connsiteX52" fmla="*/ 9224 w 10102"/>
                <a:gd name="connsiteY52" fmla="*/ 484 h 10000"/>
                <a:gd name="connsiteX53" fmla="*/ 9086 w 10102"/>
                <a:gd name="connsiteY53" fmla="*/ 484 h 10000"/>
                <a:gd name="connsiteX54" fmla="*/ 8948 w 10102"/>
                <a:gd name="connsiteY54" fmla="*/ 1124 h 10000"/>
                <a:gd name="connsiteX55" fmla="*/ 8927 w 10102"/>
                <a:gd name="connsiteY55" fmla="*/ 1124 h 10000"/>
                <a:gd name="connsiteX56" fmla="*/ 8927 w 10102"/>
                <a:gd name="connsiteY56" fmla="*/ 1143 h 10000"/>
                <a:gd name="connsiteX57" fmla="*/ 8650 w 10102"/>
                <a:gd name="connsiteY57" fmla="*/ 1415 h 10000"/>
                <a:gd name="connsiteX58" fmla="*/ 8640 w 10102"/>
                <a:gd name="connsiteY58" fmla="*/ 1434 h 10000"/>
                <a:gd name="connsiteX59" fmla="*/ 8640 w 10102"/>
                <a:gd name="connsiteY59" fmla="*/ 1434 h 10000"/>
                <a:gd name="connsiteX60" fmla="*/ 8470 w 10102"/>
                <a:gd name="connsiteY60" fmla="*/ 1395 h 10000"/>
                <a:gd name="connsiteX61" fmla="*/ 8321 w 10102"/>
                <a:gd name="connsiteY61" fmla="*/ 1531 h 10000"/>
                <a:gd name="connsiteX62" fmla="*/ 8321 w 10102"/>
                <a:gd name="connsiteY62" fmla="*/ 1531 h 10000"/>
                <a:gd name="connsiteX63" fmla="*/ 8321 w 10102"/>
                <a:gd name="connsiteY63" fmla="*/ 1531 h 10000"/>
                <a:gd name="connsiteX64" fmla="*/ 8172 w 10102"/>
                <a:gd name="connsiteY64" fmla="*/ 1589 h 10000"/>
                <a:gd name="connsiteX65" fmla="*/ 8023 w 10102"/>
                <a:gd name="connsiteY65" fmla="*/ 1957 h 10000"/>
                <a:gd name="connsiteX66" fmla="*/ 8013 w 10102"/>
                <a:gd name="connsiteY66" fmla="*/ 1977 h 10000"/>
                <a:gd name="connsiteX67" fmla="*/ 7991 w 10102"/>
                <a:gd name="connsiteY67" fmla="*/ 1977 h 10000"/>
                <a:gd name="connsiteX68" fmla="*/ 7864 w 10102"/>
                <a:gd name="connsiteY68" fmla="*/ 1899 h 10000"/>
                <a:gd name="connsiteX69" fmla="*/ 7843 w 10102"/>
                <a:gd name="connsiteY69" fmla="*/ 1899 h 10000"/>
                <a:gd name="connsiteX70" fmla="*/ 7853 w 10102"/>
                <a:gd name="connsiteY70" fmla="*/ 1841 h 10000"/>
                <a:gd name="connsiteX71" fmla="*/ 7928 w 10102"/>
                <a:gd name="connsiteY71" fmla="*/ 1609 h 10000"/>
                <a:gd name="connsiteX72" fmla="*/ 7906 w 10102"/>
                <a:gd name="connsiteY72" fmla="*/ 1279 h 10000"/>
                <a:gd name="connsiteX73" fmla="*/ 7758 w 10102"/>
                <a:gd name="connsiteY73" fmla="*/ 1124 h 10000"/>
                <a:gd name="connsiteX74" fmla="*/ 7651 w 10102"/>
                <a:gd name="connsiteY74" fmla="*/ 1124 h 10000"/>
                <a:gd name="connsiteX75" fmla="*/ 7641 w 10102"/>
                <a:gd name="connsiteY75" fmla="*/ 1124 h 10000"/>
                <a:gd name="connsiteX76" fmla="*/ 7630 w 10102"/>
                <a:gd name="connsiteY76" fmla="*/ 1105 h 10000"/>
                <a:gd name="connsiteX77" fmla="*/ 7556 w 10102"/>
                <a:gd name="connsiteY77" fmla="*/ 930 h 10000"/>
                <a:gd name="connsiteX78" fmla="*/ 7184 w 10102"/>
                <a:gd name="connsiteY78" fmla="*/ 891 h 10000"/>
                <a:gd name="connsiteX79" fmla="*/ 7173 w 10102"/>
                <a:gd name="connsiteY79" fmla="*/ 891 h 10000"/>
                <a:gd name="connsiteX80" fmla="*/ 7173 w 10102"/>
                <a:gd name="connsiteY80" fmla="*/ 872 h 10000"/>
                <a:gd name="connsiteX81" fmla="*/ 7099 w 10102"/>
                <a:gd name="connsiteY81" fmla="*/ 620 h 10000"/>
                <a:gd name="connsiteX82" fmla="*/ 7088 w 10102"/>
                <a:gd name="connsiteY82" fmla="*/ 601 h 10000"/>
                <a:gd name="connsiteX83" fmla="*/ 7088 w 10102"/>
                <a:gd name="connsiteY83" fmla="*/ 601 h 10000"/>
                <a:gd name="connsiteX84" fmla="*/ 7088 w 10102"/>
                <a:gd name="connsiteY84" fmla="*/ 465 h 10000"/>
                <a:gd name="connsiteX85" fmla="*/ 7088 w 10102"/>
                <a:gd name="connsiteY85" fmla="*/ 426 h 10000"/>
                <a:gd name="connsiteX86" fmla="*/ 7099 w 10102"/>
                <a:gd name="connsiteY86" fmla="*/ 407 h 10000"/>
                <a:gd name="connsiteX87" fmla="*/ 7194 w 10102"/>
                <a:gd name="connsiteY87" fmla="*/ 310 h 10000"/>
                <a:gd name="connsiteX88" fmla="*/ 7109 w 10102"/>
                <a:gd name="connsiteY88" fmla="*/ 136 h 10000"/>
                <a:gd name="connsiteX89" fmla="*/ 7035 w 10102"/>
                <a:gd name="connsiteY89" fmla="*/ 0 h 10000"/>
                <a:gd name="connsiteX90" fmla="*/ 6939 w 10102"/>
                <a:gd name="connsiteY90" fmla="*/ 116 h 10000"/>
                <a:gd name="connsiteX91" fmla="*/ 6939 w 10102"/>
                <a:gd name="connsiteY91" fmla="*/ 116 h 10000"/>
                <a:gd name="connsiteX92" fmla="*/ 6939 w 10102"/>
                <a:gd name="connsiteY92" fmla="*/ 116 h 10000"/>
                <a:gd name="connsiteX93" fmla="*/ 6812 w 10102"/>
                <a:gd name="connsiteY93" fmla="*/ 155 h 10000"/>
                <a:gd name="connsiteX94" fmla="*/ 6674 w 10102"/>
                <a:gd name="connsiteY94" fmla="*/ 291 h 10000"/>
                <a:gd name="connsiteX95" fmla="*/ 6599 w 10102"/>
                <a:gd name="connsiteY95" fmla="*/ 523 h 10000"/>
                <a:gd name="connsiteX96" fmla="*/ 6599 w 10102"/>
                <a:gd name="connsiteY96" fmla="*/ 543 h 10000"/>
                <a:gd name="connsiteX97" fmla="*/ 6589 w 10102"/>
                <a:gd name="connsiteY97" fmla="*/ 543 h 10000"/>
                <a:gd name="connsiteX98" fmla="*/ 6321 w 10102"/>
                <a:gd name="connsiteY98" fmla="*/ 617 h 10000"/>
                <a:gd name="connsiteX99" fmla="*/ 6252 w 10102"/>
                <a:gd name="connsiteY99" fmla="*/ 941 h 10000"/>
                <a:gd name="connsiteX100" fmla="*/ 6142 w 10102"/>
                <a:gd name="connsiteY100" fmla="*/ 1124 h 10000"/>
                <a:gd name="connsiteX101" fmla="*/ 6015 w 10102"/>
                <a:gd name="connsiteY101" fmla="*/ 1453 h 10000"/>
                <a:gd name="connsiteX102" fmla="*/ 6004 w 10102"/>
                <a:gd name="connsiteY102" fmla="*/ 1473 h 10000"/>
                <a:gd name="connsiteX103" fmla="*/ 5994 w 10102"/>
                <a:gd name="connsiteY103" fmla="*/ 1453 h 10000"/>
                <a:gd name="connsiteX104" fmla="*/ 5802 w 10102"/>
                <a:gd name="connsiteY104" fmla="*/ 1434 h 10000"/>
                <a:gd name="connsiteX105" fmla="*/ 5781 w 10102"/>
                <a:gd name="connsiteY105" fmla="*/ 1415 h 10000"/>
                <a:gd name="connsiteX106" fmla="*/ 5781 w 10102"/>
                <a:gd name="connsiteY106" fmla="*/ 1395 h 10000"/>
                <a:gd name="connsiteX107" fmla="*/ 5760 w 10102"/>
                <a:gd name="connsiteY107" fmla="*/ 930 h 10000"/>
                <a:gd name="connsiteX108" fmla="*/ 5654 w 10102"/>
                <a:gd name="connsiteY108" fmla="*/ 872 h 10000"/>
                <a:gd name="connsiteX109" fmla="*/ 5377 w 10102"/>
                <a:gd name="connsiteY109" fmla="*/ 1240 h 10000"/>
                <a:gd name="connsiteX110" fmla="*/ 5165 w 10102"/>
                <a:gd name="connsiteY110" fmla="*/ 1570 h 10000"/>
                <a:gd name="connsiteX111" fmla="*/ 5165 w 10102"/>
                <a:gd name="connsiteY111" fmla="*/ 1899 h 10000"/>
                <a:gd name="connsiteX112" fmla="*/ 5165 w 10102"/>
                <a:gd name="connsiteY112" fmla="*/ 1919 h 10000"/>
                <a:gd name="connsiteX113" fmla="*/ 5154 w 10102"/>
                <a:gd name="connsiteY113" fmla="*/ 1919 h 10000"/>
                <a:gd name="connsiteX114" fmla="*/ 5027 w 10102"/>
                <a:gd name="connsiteY114" fmla="*/ 2112 h 10000"/>
                <a:gd name="connsiteX115" fmla="*/ 5016 w 10102"/>
                <a:gd name="connsiteY115" fmla="*/ 2112 h 10000"/>
                <a:gd name="connsiteX116" fmla="*/ 5005 w 10102"/>
                <a:gd name="connsiteY116" fmla="*/ 2112 h 10000"/>
                <a:gd name="connsiteX117" fmla="*/ 4814 w 10102"/>
                <a:gd name="connsiteY117" fmla="*/ 2112 h 10000"/>
                <a:gd name="connsiteX118" fmla="*/ 4803 w 10102"/>
                <a:gd name="connsiteY118" fmla="*/ 2112 h 10000"/>
                <a:gd name="connsiteX119" fmla="*/ 4803 w 10102"/>
                <a:gd name="connsiteY119" fmla="*/ 2112 h 10000"/>
                <a:gd name="connsiteX120" fmla="*/ 4697 w 10102"/>
                <a:gd name="connsiteY120" fmla="*/ 1957 h 10000"/>
                <a:gd name="connsiteX121" fmla="*/ 4591 w 10102"/>
                <a:gd name="connsiteY121" fmla="*/ 1899 h 10000"/>
                <a:gd name="connsiteX122" fmla="*/ 4591 w 10102"/>
                <a:gd name="connsiteY122" fmla="*/ 1957 h 10000"/>
                <a:gd name="connsiteX123" fmla="*/ 4591 w 10102"/>
                <a:gd name="connsiteY123" fmla="*/ 1996 h 10000"/>
                <a:gd name="connsiteX124" fmla="*/ 4570 w 10102"/>
                <a:gd name="connsiteY124" fmla="*/ 1996 h 10000"/>
                <a:gd name="connsiteX125" fmla="*/ 4453 w 10102"/>
                <a:gd name="connsiteY125" fmla="*/ 1996 h 10000"/>
                <a:gd name="connsiteX126" fmla="*/ 4431 w 10102"/>
                <a:gd name="connsiteY126" fmla="*/ 1996 h 10000"/>
                <a:gd name="connsiteX127" fmla="*/ 4431 w 10102"/>
                <a:gd name="connsiteY127" fmla="*/ 1957 h 10000"/>
                <a:gd name="connsiteX128" fmla="*/ 4378 w 10102"/>
                <a:gd name="connsiteY128" fmla="*/ 1589 h 10000"/>
                <a:gd name="connsiteX129" fmla="*/ 4091 w 10102"/>
                <a:gd name="connsiteY129" fmla="*/ 1512 h 10000"/>
                <a:gd name="connsiteX130" fmla="*/ 4081 w 10102"/>
                <a:gd name="connsiteY130" fmla="*/ 1512 h 10000"/>
                <a:gd name="connsiteX131" fmla="*/ 4070 w 10102"/>
                <a:gd name="connsiteY131" fmla="*/ 1492 h 10000"/>
                <a:gd name="connsiteX132" fmla="*/ 3879 w 10102"/>
                <a:gd name="connsiteY132" fmla="*/ 988 h 10000"/>
                <a:gd name="connsiteX133" fmla="*/ 3719 w 10102"/>
                <a:gd name="connsiteY133" fmla="*/ 988 h 10000"/>
                <a:gd name="connsiteX134" fmla="*/ 3698 w 10102"/>
                <a:gd name="connsiteY134" fmla="*/ 1085 h 10000"/>
                <a:gd name="connsiteX135" fmla="*/ 3698 w 10102"/>
                <a:gd name="connsiteY135" fmla="*/ 1105 h 10000"/>
                <a:gd name="connsiteX136" fmla="*/ 3698 w 10102"/>
                <a:gd name="connsiteY136" fmla="*/ 1105 h 10000"/>
                <a:gd name="connsiteX137" fmla="*/ 3592 w 10102"/>
                <a:gd name="connsiteY137" fmla="*/ 1318 h 10000"/>
                <a:gd name="connsiteX138" fmla="*/ 3592 w 10102"/>
                <a:gd name="connsiteY138" fmla="*/ 1318 h 10000"/>
                <a:gd name="connsiteX139" fmla="*/ 3581 w 10102"/>
                <a:gd name="connsiteY139" fmla="*/ 1318 h 10000"/>
                <a:gd name="connsiteX140" fmla="*/ 3486 w 10102"/>
                <a:gd name="connsiteY140" fmla="*/ 1395 h 10000"/>
                <a:gd name="connsiteX141" fmla="*/ 3486 w 10102"/>
                <a:gd name="connsiteY141" fmla="*/ 1686 h 10000"/>
                <a:gd name="connsiteX142" fmla="*/ 3486 w 10102"/>
                <a:gd name="connsiteY142" fmla="*/ 1725 h 10000"/>
                <a:gd name="connsiteX143" fmla="*/ 3475 w 10102"/>
                <a:gd name="connsiteY143" fmla="*/ 1725 h 10000"/>
                <a:gd name="connsiteX144" fmla="*/ 3369 w 10102"/>
                <a:gd name="connsiteY144" fmla="*/ 1841 h 10000"/>
                <a:gd name="connsiteX145" fmla="*/ 3135 w 10102"/>
                <a:gd name="connsiteY145" fmla="*/ 2171 h 10000"/>
                <a:gd name="connsiteX146" fmla="*/ 2954 w 10102"/>
                <a:gd name="connsiteY146" fmla="*/ 2829 h 10000"/>
                <a:gd name="connsiteX147" fmla="*/ 2954 w 10102"/>
                <a:gd name="connsiteY147" fmla="*/ 2829 h 10000"/>
                <a:gd name="connsiteX148" fmla="*/ 2944 w 10102"/>
                <a:gd name="connsiteY148" fmla="*/ 2829 h 10000"/>
                <a:gd name="connsiteX149" fmla="*/ 2699 w 10102"/>
                <a:gd name="connsiteY149" fmla="*/ 3217 h 10000"/>
                <a:gd name="connsiteX150" fmla="*/ 2487 w 10102"/>
                <a:gd name="connsiteY150" fmla="*/ 3566 h 10000"/>
                <a:gd name="connsiteX151" fmla="*/ 2465 w 10102"/>
                <a:gd name="connsiteY151" fmla="*/ 3934 h 10000"/>
                <a:gd name="connsiteX152" fmla="*/ 2465 w 10102"/>
                <a:gd name="connsiteY152" fmla="*/ 3934 h 10000"/>
                <a:gd name="connsiteX153" fmla="*/ 2465 w 10102"/>
                <a:gd name="connsiteY153" fmla="*/ 3934 h 10000"/>
                <a:gd name="connsiteX154" fmla="*/ 2295 w 10102"/>
                <a:gd name="connsiteY154" fmla="*/ 4205 h 10000"/>
                <a:gd name="connsiteX155" fmla="*/ 2200 w 10102"/>
                <a:gd name="connsiteY155" fmla="*/ 4535 h 10000"/>
                <a:gd name="connsiteX156" fmla="*/ 2189 w 10102"/>
                <a:gd name="connsiteY156" fmla="*/ 4554 h 10000"/>
                <a:gd name="connsiteX157" fmla="*/ 2179 w 10102"/>
                <a:gd name="connsiteY157" fmla="*/ 4554 h 10000"/>
                <a:gd name="connsiteX158" fmla="*/ 2051 w 10102"/>
                <a:gd name="connsiteY158" fmla="*/ 4535 h 10000"/>
                <a:gd name="connsiteX159" fmla="*/ 1913 w 10102"/>
                <a:gd name="connsiteY159" fmla="*/ 4767 h 10000"/>
                <a:gd name="connsiteX160" fmla="*/ 1913 w 10102"/>
                <a:gd name="connsiteY160" fmla="*/ 4787 h 10000"/>
                <a:gd name="connsiteX161" fmla="*/ 1902 w 10102"/>
                <a:gd name="connsiteY161" fmla="*/ 4787 h 10000"/>
                <a:gd name="connsiteX162" fmla="*/ 1498 w 10102"/>
                <a:gd name="connsiteY162" fmla="*/ 4671 h 10000"/>
                <a:gd name="connsiteX163" fmla="*/ 1488 w 10102"/>
                <a:gd name="connsiteY163" fmla="*/ 4671 h 10000"/>
                <a:gd name="connsiteX164" fmla="*/ 1488 w 10102"/>
                <a:gd name="connsiteY164" fmla="*/ 4651 h 10000"/>
                <a:gd name="connsiteX165" fmla="*/ 1424 w 10102"/>
                <a:gd name="connsiteY165" fmla="*/ 4516 h 10000"/>
                <a:gd name="connsiteX166" fmla="*/ 1350 w 10102"/>
                <a:gd name="connsiteY166" fmla="*/ 4516 h 10000"/>
                <a:gd name="connsiteX167" fmla="*/ 1296 w 10102"/>
                <a:gd name="connsiteY167" fmla="*/ 4690 h 10000"/>
                <a:gd name="connsiteX168" fmla="*/ 1286 w 10102"/>
                <a:gd name="connsiteY168" fmla="*/ 4922 h 10000"/>
                <a:gd name="connsiteX169" fmla="*/ 1286 w 10102"/>
                <a:gd name="connsiteY169" fmla="*/ 4942 h 10000"/>
                <a:gd name="connsiteX170" fmla="*/ 1275 w 10102"/>
                <a:gd name="connsiteY170" fmla="*/ 4961 h 10000"/>
                <a:gd name="connsiteX171" fmla="*/ 1190 w 10102"/>
                <a:gd name="connsiteY171" fmla="*/ 5058 h 10000"/>
                <a:gd name="connsiteX172" fmla="*/ 1137 w 10102"/>
                <a:gd name="connsiteY172" fmla="*/ 5271 h 10000"/>
                <a:gd name="connsiteX173" fmla="*/ 1137 w 10102"/>
                <a:gd name="connsiteY173" fmla="*/ 5291 h 10000"/>
                <a:gd name="connsiteX174" fmla="*/ 1126 w 10102"/>
                <a:gd name="connsiteY174" fmla="*/ 5291 h 10000"/>
                <a:gd name="connsiteX175" fmla="*/ 1020 w 10102"/>
                <a:gd name="connsiteY175" fmla="*/ 5407 h 10000"/>
                <a:gd name="connsiteX176" fmla="*/ 999 w 10102"/>
                <a:gd name="connsiteY176" fmla="*/ 5581 h 10000"/>
                <a:gd name="connsiteX177" fmla="*/ 978 w 10102"/>
                <a:gd name="connsiteY177" fmla="*/ 5756 h 10000"/>
                <a:gd name="connsiteX178" fmla="*/ 978 w 10102"/>
                <a:gd name="connsiteY178" fmla="*/ 5775 h 10000"/>
                <a:gd name="connsiteX179" fmla="*/ 967 w 10102"/>
                <a:gd name="connsiteY179" fmla="*/ 5775 h 10000"/>
                <a:gd name="connsiteX180" fmla="*/ 861 w 10102"/>
                <a:gd name="connsiteY180" fmla="*/ 5814 h 10000"/>
                <a:gd name="connsiteX181" fmla="*/ 861 w 10102"/>
                <a:gd name="connsiteY181" fmla="*/ 6047 h 10000"/>
                <a:gd name="connsiteX182" fmla="*/ 967 w 10102"/>
                <a:gd name="connsiteY182" fmla="*/ 6298 h 10000"/>
                <a:gd name="connsiteX183" fmla="*/ 967 w 10102"/>
                <a:gd name="connsiteY183" fmla="*/ 6298 h 10000"/>
                <a:gd name="connsiteX184" fmla="*/ 978 w 10102"/>
                <a:gd name="connsiteY184" fmla="*/ 6318 h 10000"/>
                <a:gd name="connsiteX185" fmla="*/ 988 w 10102"/>
                <a:gd name="connsiteY185" fmla="*/ 6512 h 10000"/>
                <a:gd name="connsiteX186" fmla="*/ 988 w 10102"/>
                <a:gd name="connsiteY186" fmla="*/ 6531 h 10000"/>
                <a:gd name="connsiteX187" fmla="*/ 978 w 10102"/>
                <a:gd name="connsiteY187" fmla="*/ 6550 h 10000"/>
                <a:gd name="connsiteX188" fmla="*/ 627 w 10102"/>
                <a:gd name="connsiteY188" fmla="*/ 7016 h 10000"/>
                <a:gd name="connsiteX189" fmla="*/ 521 w 10102"/>
                <a:gd name="connsiteY189" fmla="*/ 7151 h 10000"/>
                <a:gd name="connsiteX190" fmla="*/ 340 w 10102"/>
                <a:gd name="connsiteY190" fmla="*/ 7384 h 10000"/>
                <a:gd name="connsiteX191" fmla="*/ 340 w 10102"/>
                <a:gd name="connsiteY191" fmla="*/ 7403 h 10000"/>
                <a:gd name="connsiteX192" fmla="*/ 340 w 10102"/>
                <a:gd name="connsiteY192" fmla="*/ 7403 h 10000"/>
                <a:gd name="connsiteX193" fmla="*/ 191 w 10102"/>
                <a:gd name="connsiteY193" fmla="*/ 7519 h 10000"/>
                <a:gd name="connsiteX194" fmla="*/ 0 w 10102"/>
                <a:gd name="connsiteY194" fmla="*/ 7791 h 10000"/>
                <a:gd name="connsiteX195" fmla="*/ 11 w 10102"/>
                <a:gd name="connsiteY195" fmla="*/ 7829 h 10000"/>
                <a:gd name="connsiteX196" fmla="*/ 149 w 10102"/>
                <a:gd name="connsiteY196" fmla="*/ 7868 h 10000"/>
                <a:gd name="connsiteX197" fmla="*/ 159 w 10102"/>
                <a:gd name="connsiteY197" fmla="*/ 7868 h 10000"/>
                <a:gd name="connsiteX198" fmla="*/ 159 w 10102"/>
                <a:gd name="connsiteY198" fmla="*/ 7868 h 10000"/>
                <a:gd name="connsiteX199" fmla="*/ 372 w 10102"/>
                <a:gd name="connsiteY199" fmla="*/ 8256 h 10000"/>
                <a:gd name="connsiteX200" fmla="*/ 1467 w 10102"/>
                <a:gd name="connsiteY200" fmla="*/ 9205 h 10000"/>
                <a:gd name="connsiteX201" fmla="*/ 1467 w 10102"/>
                <a:gd name="connsiteY201" fmla="*/ 9205 h 10000"/>
                <a:gd name="connsiteX202" fmla="*/ 1477 w 10102"/>
                <a:gd name="connsiteY202" fmla="*/ 9205 h 10000"/>
                <a:gd name="connsiteX203" fmla="*/ 1838 w 10102"/>
                <a:gd name="connsiteY203" fmla="*/ 9729 h 10000"/>
                <a:gd name="connsiteX204" fmla="*/ 2508 w 10102"/>
                <a:gd name="connsiteY204" fmla="*/ 9767 h 10000"/>
                <a:gd name="connsiteX205" fmla="*/ 2561 w 10102"/>
                <a:gd name="connsiteY205" fmla="*/ 9671 h 10000"/>
                <a:gd name="connsiteX206" fmla="*/ 2561 w 10102"/>
                <a:gd name="connsiteY206" fmla="*/ 9671 h 10000"/>
                <a:gd name="connsiteX207" fmla="*/ 2582 w 10102"/>
                <a:gd name="connsiteY207" fmla="*/ 9671 h 10000"/>
                <a:gd name="connsiteX208" fmla="*/ 2848 w 10102"/>
                <a:gd name="connsiteY208" fmla="*/ 9651 h 10000"/>
                <a:gd name="connsiteX209" fmla="*/ 2859 w 10102"/>
                <a:gd name="connsiteY209" fmla="*/ 9651 h 10000"/>
                <a:gd name="connsiteX210" fmla="*/ 2869 w 10102"/>
                <a:gd name="connsiteY210" fmla="*/ 9671 h 10000"/>
                <a:gd name="connsiteX211" fmla="*/ 3061 w 10102"/>
                <a:gd name="connsiteY211" fmla="*/ 10000 h 10000"/>
                <a:gd name="connsiteX212" fmla="*/ 3061 w 10102"/>
                <a:gd name="connsiteY212" fmla="*/ 10000 h 10000"/>
                <a:gd name="connsiteX213" fmla="*/ 4336 w 10102"/>
                <a:gd name="connsiteY213" fmla="*/ 9961 h 10000"/>
                <a:gd name="connsiteX214" fmla="*/ 4357 w 10102"/>
                <a:gd name="connsiteY214" fmla="*/ 9961 h 10000"/>
                <a:gd name="connsiteX215" fmla="*/ 4357 w 10102"/>
                <a:gd name="connsiteY215" fmla="*/ 9981 h 10000"/>
                <a:gd name="connsiteX216" fmla="*/ 4527 w 10102"/>
                <a:gd name="connsiteY216" fmla="*/ 9864 h 10000"/>
                <a:gd name="connsiteX217" fmla="*/ 4538 w 10102"/>
                <a:gd name="connsiteY217" fmla="*/ 9864 h 10000"/>
                <a:gd name="connsiteX218" fmla="*/ 4538 w 10102"/>
                <a:gd name="connsiteY218" fmla="*/ 9864 h 10000"/>
                <a:gd name="connsiteX219" fmla="*/ 5250 w 10102"/>
                <a:gd name="connsiteY219" fmla="*/ 9845 h 10000"/>
                <a:gd name="connsiteX220" fmla="*/ 7354 w 10102"/>
                <a:gd name="connsiteY220" fmla="*/ 9845 h 10000"/>
                <a:gd name="connsiteX221" fmla="*/ 7343 w 10102"/>
                <a:gd name="connsiteY221" fmla="*/ 9826 h 10000"/>
                <a:gd name="connsiteX222" fmla="*/ 7439 w 10102"/>
                <a:gd name="connsiteY222" fmla="*/ 9612 h 10000"/>
                <a:gd name="connsiteX223" fmla="*/ 7513 w 10102"/>
                <a:gd name="connsiteY223" fmla="*/ 9516 h 10000"/>
                <a:gd name="connsiteX224" fmla="*/ 7428 w 10102"/>
                <a:gd name="connsiteY224" fmla="*/ 9283 h 10000"/>
                <a:gd name="connsiteX225" fmla="*/ 7450 w 10102"/>
                <a:gd name="connsiteY225" fmla="*/ 9109 h 10000"/>
                <a:gd name="connsiteX226" fmla="*/ 7683 w 10102"/>
                <a:gd name="connsiteY226" fmla="*/ 8992 h 10000"/>
                <a:gd name="connsiteX227" fmla="*/ 7683 w 10102"/>
                <a:gd name="connsiteY227" fmla="*/ 8798 h 10000"/>
                <a:gd name="connsiteX228" fmla="*/ 7779 w 10102"/>
                <a:gd name="connsiteY228" fmla="*/ 8682 h 10000"/>
                <a:gd name="connsiteX229" fmla="*/ 7949 w 10102"/>
                <a:gd name="connsiteY229" fmla="*/ 8372 h 10000"/>
                <a:gd name="connsiteX230" fmla="*/ 8013 w 10102"/>
                <a:gd name="connsiteY230" fmla="*/ 8023 h 10000"/>
                <a:gd name="connsiteX231" fmla="*/ 8098 w 10102"/>
                <a:gd name="connsiteY231" fmla="*/ 7907 h 10000"/>
                <a:gd name="connsiteX232" fmla="*/ 8204 w 10102"/>
                <a:gd name="connsiteY232" fmla="*/ 7907 h 10000"/>
                <a:gd name="connsiteX233" fmla="*/ 8363 w 10102"/>
                <a:gd name="connsiteY233" fmla="*/ 7829 h 10000"/>
                <a:gd name="connsiteX234" fmla="*/ 8576 w 10102"/>
                <a:gd name="connsiteY234" fmla="*/ 7907 h 10000"/>
                <a:gd name="connsiteX235" fmla="*/ 8661 w 10102"/>
                <a:gd name="connsiteY235" fmla="*/ 8004 h 10000"/>
                <a:gd name="connsiteX236" fmla="*/ 8704 w 10102"/>
                <a:gd name="connsiteY236" fmla="*/ 7829 h 10000"/>
                <a:gd name="connsiteX237" fmla="*/ 8831 w 10102"/>
                <a:gd name="connsiteY237" fmla="*/ 7733 h 10000"/>
                <a:gd name="connsiteX238" fmla="*/ 8980 w 10102"/>
                <a:gd name="connsiteY238" fmla="*/ 7713 h 10000"/>
                <a:gd name="connsiteX239" fmla="*/ 9097 w 10102"/>
                <a:gd name="connsiteY239" fmla="*/ 7674 h 10000"/>
                <a:gd name="connsiteX240" fmla="*/ 9235 w 10102"/>
                <a:gd name="connsiteY240" fmla="*/ 7791 h 10000"/>
                <a:gd name="connsiteX241" fmla="*/ 9341 w 10102"/>
                <a:gd name="connsiteY241" fmla="*/ 7907 h 10000"/>
                <a:gd name="connsiteX242" fmla="*/ 9458 w 10102"/>
                <a:gd name="connsiteY242" fmla="*/ 7733 h 10000"/>
                <a:gd name="connsiteX243" fmla="*/ 9575 w 10102"/>
                <a:gd name="connsiteY243" fmla="*/ 7829 h 10000"/>
                <a:gd name="connsiteX244" fmla="*/ 9702 w 10102"/>
                <a:gd name="connsiteY244" fmla="*/ 7829 h 10000"/>
                <a:gd name="connsiteX245" fmla="*/ 9809 w 10102"/>
                <a:gd name="connsiteY245" fmla="*/ 7907 h 10000"/>
                <a:gd name="connsiteX246" fmla="*/ 9968 w 10102"/>
                <a:gd name="connsiteY246" fmla="*/ 7829 h 10000"/>
                <a:gd name="connsiteX247" fmla="*/ 10000 w 10102"/>
                <a:gd name="connsiteY247" fmla="*/ 7810 h 10000"/>
                <a:gd name="connsiteX248" fmla="*/ 9979 w 10102"/>
                <a:gd name="connsiteY248" fmla="*/ 7810 h 10000"/>
                <a:gd name="connsiteX249" fmla="*/ 10066 w 10102"/>
                <a:gd name="connsiteY249" fmla="*/ 7636 h 10000"/>
                <a:gd name="connsiteX250" fmla="*/ 10075 w 10102"/>
                <a:gd name="connsiteY250" fmla="*/ 7250 h 10000"/>
                <a:gd name="connsiteX251" fmla="*/ 9968 w 10102"/>
                <a:gd name="connsiteY251" fmla="*/ 6822 h 10000"/>
                <a:gd name="connsiteX252" fmla="*/ 9979 w 10102"/>
                <a:gd name="connsiteY252" fmla="*/ 6802 h 10000"/>
                <a:gd name="connsiteX253" fmla="*/ 9979 w 10102"/>
                <a:gd name="connsiteY253" fmla="*/ 6802 h 10000"/>
                <a:gd name="connsiteX254" fmla="*/ 9947 w 10102"/>
                <a:gd name="connsiteY254" fmla="*/ 6764 h 10000"/>
                <a:gd name="connsiteX0" fmla="*/ 9947 w 10102"/>
                <a:gd name="connsiteY0" fmla="*/ 6764 h 10000"/>
                <a:gd name="connsiteX1" fmla="*/ 9816 w 10102"/>
                <a:gd name="connsiteY1" fmla="*/ 6660 h 10000"/>
                <a:gd name="connsiteX2" fmla="*/ 9766 w 10102"/>
                <a:gd name="connsiteY2" fmla="*/ 6938 h 10000"/>
                <a:gd name="connsiteX3" fmla="*/ 9665 w 10102"/>
                <a:gd name="connsiteY3" fmla="*/ 6915 h 10000"/>
                <a:gd name="connsiteX4" fmla="*/ 9458 w 10102"/>
                <a:gd name="connsiteY4" fmla="*/ 6880 h 10000"/>
                <a:gd name="connsiteX5" fmla="*/ 9447 w 10102"/>
                <a:gd name="connsiteY5" fmla="*/ 6860 h 10000"/>
                <a:gd name="connsiteX6" fmla="*/ 9447 w 10102"/>
                <a:gd name="connsiteY6" fmla="*/ 6841 h 10000"/>
                <a:gd name="connsiteX7" fmla="*/ 9544 w 10102"/>
                <a:gd name="connsiteY7" fmla="*/ 6734 h 10000"/>
                <a:gd name="connsiteX8" fmla="*/ 9554 w 10102"/>
                <a:gd name="connsiteY8" fmla="*/ 6453 h 10000"/>
                <a:gd name="connsiteX9" fmla="*/ 9564 w 10102"/>
                <a:gd name="connsiteY9" fmla="*/ 5601 h 10000"/>
                <a:gd name="connsiteX10" fmla="*/ 9564 w 10102"/>
                <a:gd name="connsiteY10" fmla="*/ 5581 h 10000"/>
                <a:gd name="connsiteX11" fmla="*/ 9564 w 10102"/>
                <a:gd name="connsiteY11" fmla="*/ 5562 h 10000"/>
                <a:gd name="connsiteX12" fmla="*/ 9649 w 10102"/>
                <a:gd name="connsiteY12" fmla="*/ 5388 h 10000"/>
                <a:gd name="connsiteX13" fmla="*/ 9702 w 10102"/>
                <a:gd name="connsiteY13" fmla="*/ 5291 h 10000"/>
                <a:gd name="connsiteX14" fmla="*/ 9554 w 10102"/>
                <a:gd name="connsiteY14" fmla="*/ 5058 h 10000"/>
                <a:gd name="connsiteX15" fmla="*/ 9554 w 10102"/>
                <a:gd name="connsiteY15" fmla="*/ 5058 h 10000"/>
                <a:gd name="connsiteX16" fmla="*/ 9543 w 10102"/>
                <a:gd name="connsiteY16" fmla="*/ 5058 h 10000"/>
                <a:gd name="connsiteX17" fmla="*/ 9394 w 10102"/>
                <a:gd name="connsiteY17" fmla="*/ 4709 h 10000"/>
                <a:gd name="connsiteX18" fmla="*/ 9394 w 10102"/>
                <a:gd name="connsiteY18" fmla="*/ 4690 h 10000"/>
                <a:gd name="connsiteX19" fmla="*/ 9394 w 10102"/>
                <a:gd name="connsiteY19" fmla="*/ 4690 h 10000"/>
                <a:gd name="connsiteX20" fmla="*/ 9456 w 10102"/>
                <a:gd name="connsiteY20" fmla="*/ 4520 h 10000"/>
                <a:gd name="connsiteX21" fmla="*/ 9490 w 10102"/>
                <a:gd name="connsiteY21" fmla="*/ 4360 h 10000"/>
                <a:gd name="connsiteX22" fmla="*/ 9564 w 10102"/>
                <a:gd name="connsiteY22" fmla="*/ 4244 h 10000"/>
                <a:gd name="connsiteX23" fmla="*/ 9628 w 10102"/>
                <a:gd name="connsiteY23" fmla="*/ 4012 h 10000"/>
                <a:gd name="connsiteX24" fmla="*/ 9490 w 10102"/>
                <a:gd name="connsiteY24" fmla="*/ 3760 h 10000"/>
                <a:gd name="connsiteX25" fmla="*/ 9490 w 10102"/>
                <a:gd name="connsiteY25" fmla="*/ 3760 h 10000"/>
                <a:gd name="connsiteX26" fmla="*/ 9479 w 10102"/>
                <a:gd name="connsiteY26" fmla="*/ 3760 h 10000"/>
                <a:gd name="connsiteX27" fmla="*/ 9426 w 10102"/>
                <a:gd name="connsiteY27" fmla="*/ 3527 h 10000"/>
                <a:gd name="connsiteX28" fmla="*/ 9426 w 10102"/>
                <a:gd name="connsiteY28" fmla="*/ 3527 h 10000"/>
                <a:gd name="connsiteX29" fmla="*/ 9426 w 10102"/>
                <a:gd name="connsiteY29" fmla="*/ 3508 h 10000"/>
                <a:gd name="connsiteX30" fmla="*/ 9416 w 10102"/>
                <a:gd name="connsiteY30" fmla="*/ 3198 h 10000"/>
                <a:gd name="connsiteX31" fmla="*/ 9416 w 10102"/>
                <a:gd name="connsiteY31" fmla="*/ 3198 h 10000"/>
                <a:gd name="connsiteX32" fmla="*/ 9416 w 10102"/>
                <a:gd name="connsiteY32" fmla="*/ 3178 h 10000"/>
                <a:gd name="connsiteX33" fmla="*/ 9532 w 10102"/>
                <a:gd name="connsiteY33" fmla="*/ 2907 h 10000"/>
                <a:gd name="connsiteX34" fmla="*/ 9384 w 10102"/>
                <a:gd name="connsiteY34" fmla="*/ 2616 h 10000"/>
                <a:gd name="connsiteX35" fmla="*/ 9384 w 10102"/>
                <a:gd name="connsiteY35" fmla="*/ 2616 h 10000"/>
                <a:gd name="connsiteX36" fmla="*/ 9384 w 10102"/>
                <a:gd name="connsiteY36" fmla="*/ 2616 h 10000"/>
                <a:gd name="connsiteX37" fmla="*/ 9330 w 10102"/>
                <a:gd name="connsiteY37" fmla="*/ 2267 h 10000"/>
                <a:gd name="connsiteX38" fmla="*/ 9330 w 10102"/>
                <a:gd name="connsiteY38" fmla="*/ 2248 h 10000"/>
                <a:gd name="connsiteX39" fmla="*/ 9330 w 10102"/>
                <a:gd name="connsiteY39" fmla="*/ 2248 h 10000"/>
                <a:gd name="connsiteX40" fmla="*/ 9341 w 10102"/>
                <a:gd name="connsiteY40" fmla="*/ 1841 h 10000"/>
                <a:gd name="connsiteX41" fmla="*/ 9341 w 10102"/>
                <a:gd name="connsiteY41" fmla="*/ 1822 h 10000"/>
                <a:gd name="connsiteX42" fmla="*/ 9341 w 10102"/>
                <a:gd name="connsiteY42" fmla="*/ 1822 h 10000"/>
                <a:gd name="connsiteX43" fmla="*/ 9660 w 10102"/>
                <a:gd name="connsiteY43" fmla="*/ 1279 h 10000"/>
                <a:gd name="connsiteX44" fmla="*/ 9564 w 10102"/>
                <a:gd name="connsiteY44" fmla="*/ 1008 h 10000"/>
                <a:gd name="connsiteX45" fmla="*/ 9554 w 10102"/>
                <a:gd name="connsiteY45" fmla="*/ 1008 h 10000"/>
                <a:gd name="connsiteX46" fmla="*/ 9554 w 10102"/>
                <a:gd name="connsiteY46" fmla="*/ 988 h 10000"/>
                <a:gd name="connsiteX47" fmla="*/ 9586 w 10102"/>
                <a:gd name="connsiteY47" fmla="*/ 698 h 10000"/>
                <a:gd name="connsiteX48" fmla="*/ 9501 w 10102"/>
                <a:gd name="connsiteY48" fmla="*/ 601 h 10000"/>
                <a:gd name="connsiteX49" fmla="*/ 9288 w 10102"/>
                <a:gd name="connsiteY49" fmla="*/ 581 h 10000"/>
                <a:gd name="connsiteX50" fmla="*/ 9288 w 10102"/>
                <a:gd name="connsiteY50" fmla="*/ 581 h 10000"/>
                <a:gd name="connsiteX51" fmla="*/ 9277 w 10102"/>
                <a:gd name="connsiteY51" fmla="*/ 581 h 10000"/>
                <a:gd name="connsiteX52" fmla="*/ 9224 w 10102"/>
                <a:gd name="connsiteY52" fmla="*/ 484 h 10000"/>
                <a:gd name="connsiteX53" fmla="*/ 9086 w 10102"/>
                <a:gd name="connsiteY53" fmla="*/ 484 h 10000"/>
                <a:gd name="connsiteX54" fmla="*/ 8948 w 10102"/>
                <a:gd name="connsiteY54" fmla="*/ 1124 h 10000"/>
                <a:gd name="connsiteX55" fmla="*/ 8927 w 10102"/>
                <a:gd name="connsiteY55" fmla="*/ 1124 h 10000"/>
                <a:gd name="connsiteX56" fmla="*/ 8927 w 10102"/>
                <a:gd name="connsiteY56" fmla="*/ 1143 h 10000"/>
                <a:gd name="connsiteX57" fmla="*/ 8650 w 10102"/>
                <a:gd name="connsiteY57" fmla="*/ 1415 h 10000"/>
                <a:gd name="connsiteX58" fmla="*/ 8640 w 10102"/>
                <a:gd name="connsiteY58" fmla="*/ 1434 h 10000"/>
                <a:gd name="connsiteX59" fmla="*/ 8640 w 10102"/>
                <a:gd name="connsiteY59" fmla="*/ 1434 h 10000"/>
                <a:gd name="connsiteX60" fmla="*/ 8470 w 10102"/>
                <a:gd name="connsiteY60" fmla="*/ 1395 h 10000"/>
                <a:gd name="connsiteX61" fmla="*/ 8321 w 10102"/>
                <a:gd name="connsiteY61" fmla="*/ 1531 h 10000"/>
                <a:gd name="connsiteX62" fmla="*/ 8321 w 10102"/>
                <a:gd name="connsiteY62" fmla="*/ 1531 h 10000"/>
                <a:gd name="connsiteX63" fmla="*/ 8321 w 10102"/>
                <a:gd name="connsiteY63" fmla="*/ 1531 h 10000"/>
                <a:gd name="connsiteX64" fmla="*/ 8172 w 10102"/>
                <a:gd name="connsiteY64" fmla="*/ 1589 h 10000"/>
                <a:gd name="connsiteX65" fmla="*/ 8023 w 10102"/>
                <a:gd name="connsiteY65" fmla="*/ 1957 h 10000"/>
                <a:gd name="connsiteX66" fmla="*/ 8013 w 10102"/>
                <a:gd name="connsiteY66" fmla="*/ 1977 h 10000"/>
                <a:gd name="connsiteX67" fmla="*/ 7991 w 10102"/>
                <a:gd name="connsiteY67" fmla="*/ 1977 h 10000"/>
                <a:gd name="connsiteX68" fmla="*/ 7864 w 10102"/>
                <a:gd name="connsiteY68" fmla="*/ 1899 h 10000"/>
                <a:gd name="connsiteX69" fmla="*/ 7843 w 10102"/>
                <a:gd name="connsiteY69" fmla="*/ 1899 h 10000"/>
                <a:gd name="connsiteX70" fmla="*/ 7853 w 10102"/>
                <a:gd name="connsiteY70" fmla="*/ 1841 h 10000"/>
                <a:gd name="connsiteX71" fmla="*/ 7928 w 10102"/>
                <a:gd name="connsiteY71" fmla="*/ 1609 h 10000"/>
                <a:gd name="connsiteX72" fmla="*/ 7906 w 10102"/>
                <a:gd name="connsiteY72" fmla="*/ 1279 h 10000"/>
                <a:gd name="connsiteX73" fmla="*/ 7758 w 10102"/>
                <a:gd name="connsiteY73" fmla="*/ 1124 h 10000"/>
                <a:gd name="connsiteX74" fmla="*/ 7651 w 10102"/>
                <a:gd name="connsiteY74" fmla="*/ 1124 h 10000"/>
                <a:gd name="connsiteX75" fmla="*/ 7641 w 10102"/>
                <a:gd name="connsiteY75" fmla="*/ 1124 h 10000"/>
                <a:gd name="connsiteX76" fmla="*/ 7630 w 10102"/>
                <a:gd name="connsiteY76" fmla="*/ 1105 h 10000"/>
                <a:gd name="connsiteX77" fmla="*/ 7556 w 10102"/>
                <a:gd name="connsiteY77" fmla="*/ 930 h 10000"/>
                <a:gd name="connsiteX78" fmla="*/ 7184 w 10102"/>
                <a:gd name="connsiteY78" fmla="*/ 891 h 10000"/>
                <a:gd name="connsiteX79" fmla="*/ 7173 w 10102"/>
                <a:gd name="connsiteY79" fmla="*/ 891 h 10000"/>
                <a:gd name="connsiteX80" fmla="*/ 7173 w 10102"/>
                <a:gd name="connsiteY80" fmla="*/ 872 h 10000"/>
                <a:gd name="connsiteX81" fmla="*/ 7099 w 10102"/>
                <a:gd name="connsiteY81" fmla="*/ 620 h 10000"/>
                <a:gd name="connsiteX82" fmla="*/ 7088 w 10102"/>
                <a:gd name="connsiteY82" fmla="*/ 601 h 10000"/>
                <a:gd name="connsiteX83" fmla="*/ 7088 w 10102"/>
                <a:gd name="connsiteY83" fmla="*/ 601 h 10000"/>
                <a:gd name="connsiteX84" fmla="*/ 7088 w 10102"/>
                <a:gd name="connsiteY84" fmla="*/ 465 h 10000"/>
                <a:gd name="connsiteX85" fmla="*/ 7088 w 10102"/>
                <a:gd name="connsiteY85" fmla="*/ 426 h 10000"/>
                <a:gd name="connsiteX86" fmla="*/ 7099 w 10102"/>
                <a:gd name="connsiteY86" fmla="*/ 407 h 10000"/>
                <a:gd name="connsiteX87" fmla="*/ 7194 w 10102"/>
                <a:gd name="connsiteY87" fmla="*/ 310 h 10000"/>
                <a:gd name="connsiteX88" fmla="*/ 7109 w 10102"/>
                <a:gd name="connsiteY88" fmla="*/ 136 h 10000"/>
                <a:gd name="connsiteX89" fmla="*/ 7035 w 10102"/>
                <a:gd name="connsiteY89" fmla="*/ 0 h 10000"/>
                <a:gd name="connsiteX90" fmla="*/ 6939 w 10102"/>
                <a:gd name="connsiteY90" fmla="*/ 116 h 10000"/>
                <a:gd name="connsiteX91" fmla="*/ 6939 w 10102"/>
                <a:gd name="connsiteY91" fmla="*/ 116 h 10000"/>
                <a:gd name="connsiteX92" fmla="*/ 6939 w 10102"/>
                <a:gd name="connsiteY92" fmla="*/ 116 h 10000"/>
                <a:gd name="connsiteX93" fmla="*/ 6812 w 10102"/>
                <a:gd name="connsiteY93" fmla="*/ 155 h 10000"/>
                <a:gd name="connsiteX94" fmla="*/ 6674 w 10102"/>
                <a:gd name="connsiteY94" fmla="*/ 291 h 10000"/>
                <a:gd name="connsiteX95" fmla="*/ 6599 w 10102"/>
                <a:gd name="connsiteY95" fmla="*/ 523 h 10000"/>
                <a:gd name="connsiteX96" fmla="*/ 6599 w 10102"/>
                <a:gd name="connsiteY96" fmla="*/ 543 h 10000"/>
                <a:gd name="connsiteX97" fmla="*/ 6589 w 10102"/>
                <a:gd name="connsiteY97" fmla="*/ 543 h 10000"/>
                <a:gd name="connsiteX98" fmla="*/ 6321 w 10102"/>
                <a:gd name="connsiteY98" fmla="*/ 617 h 10000"/>
                <a:gd name="connsiteX99" fmla="*/ 6252 w 10102"/>
                <a:gd name="connsiteY99" fmla="*/ 941 h 10000"/>
                <a:gd name="connsiteX100" fmla="*/ 6142 w 10102"/>
                <a:gd name="connsiteY100" fmla="*/ 1124 h 10000"/>
                <a:gd name="connsiteX101" fmla="*/ 6015 w 10102"/>
                <a:gd name="connsiteY101" fmla="*/ 1453 h 10000"/>
                <a:gd name="connsiteX102" fmla="*/ 6004 w 10102"/>
                <a:gd name="connsiteY102" fmla="*/ 1473 h 10000"/>
                <a:gd name="connsiteX103" fmla="*/ 5802 w 10102"/>
                <a:gd name="connsiteY103" fmla="*/ 1434 h 10000"/>
                <a:gd name="connsiteX104" fmla="*/ 5781 w 10102"/>
                <a:gd name="connsiteY104" fmla="*/ 1415 h 10000"/>
                <a:gd name="connsiteX105" fmla="*/ 5781 w 10102"/>
                <a:gd name="connsiteY105" fmla="*/ 1395 h 10000"/>
                <a:gd name="connsiteX106" fmla="*/ 5760 w 10102"/>
                <a:gd name="connsiteY106" fmla="*/ 930 h 10000"/>
                <a:gd name="connsiteX107" fmla="*/ 5654 w 10102"/>
                <a:gd name="connsiteY107" fmla="*/ 872 h 10000"/>
                <a:gd name="connsiteX108" fmla="*/ 5377 w 10102"/>
                <a:gd name="connsiteY108" fmla="*/ 1240 h 10000"/>
                <a:gd name="connsiteX109" fmla="*/ 5165 w 10102"/>
                <a:gd name="connsiteY109" fmla="*/ 1570 h 10000"/>
                <a:gd name="connsiteX110" fmla="*/ 5165 w 10102"/>
                <a:gd name="connsiteY110" fmla="*/ 1899 h 10000"/>
                <a:gd name="connsiteX111" fmla="*/ 5165 w 10102"/>
                <a:gd name="connsiteY111" fmla="*/ 1919 h 10000"/>
                <a:gd name="connsiteX112" fmla="*/ 5154 w 10102"/>
                <a:gd name="connsiteY112" fmla="*/ 1919 h 10000"/>
                <a:gd name="connsiteX113" fmla="*/ 5027 w 10102"/>
                <a:gd name="connsiteY113" fmla="*/ 2112 h 10000"/>
                <a:gd name="connsiteX114" fmla="*/ 5016 w 10102"/>
                <a:gd name="connsiteY114" fmla="*/ 2112 h 10000"/>
                <a:gd name="connsiteX115" fmla="*/ 5005 w 10102"/>
                <a:gd name="connsiteY115" fmla="*/ 2112 h 10000"/>
                <a:gd name="connsiteX116" fmla="*/ 4814 w 10102"/>
                <a:gd name="connsiteY116" fmla="*/ 2112 h 10000"/>
                <a:gd name="connsiteX117" fmla="*/ 4803 w 10102"/>
                <a:gd name="connsiteY117" fmla="*/ 2112 h 10000"/>
                <a:gd name="connsiteX118" fmla="*/ 4803 w 10102"/>
                <a:gd name="connsiteY118" fmla="*/ 2112 h 10000"/>
                <a:gd name="connsiteX119" fmla="*/ 4697 w 10102"/>
                <a:gd name="connsiteY119" fmla="*/ 1957 h 10000"/>
                <a:gd name="connsiteX120" fmla="*/ 4591 w 10102"/>
                <a:gd name="connsiteY120" fmla="*/ 1899 h 10000"/>
                <a:gd name="connsiteX121" fmla="*/ 4591 w 10102"/>
                <a:gd name="connsiteY121" fmla="*/ 1957 h 10000"/>
                <a:gd name="connsiteX122" fmla="*/ 4591 w 10102"/>
                <a:gd name="connsiteY122" fmla="*/ 1996 h 10000"/>
                <a:gd name="connsiteX123" fmla="*/ 4570 w 10102"/>
                <a:gd name="connsiteY123" fmla="*/ 1996 h 10000"/>
                <a:gd name="connsiteX124" fmla="*/ 4453 w 10102"/>
                <a:gd name="connsiteY124" fmla="*/ 1996 h 10000"/>
                <a:gd name="connsiteX125" fmla="*/ 4431 w 10102"/>
                <a:gd name="connsiteY125" fmla="*/ 1996 h 10000"/>
                <a:gd name="connsiteX126" fmla="*/ 4431 w 10102"/>
                <a:gd name="connsiteY126" fmla="*/ 1957 h 10000"/>
                <a:gd name="connsiteX127" fmla="*/ 4378 w 10102"/>
                <a:gd name="connsiteY127" fmla="*/ 1589 h 10000"/>
                <a:gd name="connsiteX128" fmla="*/ 4091 w 10102"/>
                <a:gd name="connsiteY128" fmla="*/ 1512 h 10000"/>
                <a:gd name="connsiteX129" fmla="*/ 4081 w 10102"/>
                <a:gd name="connsiteY129" fmla="*/ 1512 h 10000"/>
                <a:gd name="connsiteX130" fmla="*/ 4070 w 10102"/>
                <a:gd name="connsiteY130" fmla="*/ 1492 h 10000"/>
                <a:gd name="connsiteX131" fmla="*/ 3879 w 10102"/>
                <a:gd name="connsiteY131" fmla="*/ 988 h 10000"/>
                <a:gd name="connsiteX132" fmla="*/ 3719 w 10102"/>
                <a:gd name="connsiteY132" fmla="*/ 988 h 10000"/>
                <a:gd name="connsiteX133" fmla="*/ 3698 w 10102"/>
                <a:gd name="connsiteY133" fmla="*/ 1085 h 10000"/>
                <a:gd name="connsiteX134" fmla="*/ 3698 w 10102"/>
                <a:gd name="connsiteY134" fmla="*/ 1105 h 10000"/>
                <a:gd name="connsiteX135" fmla="*/ 3698 w 10102"/>
                <a:gd name="connsiteY135" fmla="*/ 1105 h 10000"/>
                <a:gd name="connsiteX136" fmla="*/ 3592 w 10102"/>
                <a:gd name="connsiteY136" fmla="*/ 1318 h 10000"/>
                <a:gd name="connsiteX137" fmla="*/ 3592 w 10102"/>
                <a:gd name="connsiteY137" fmla="*/ 1318 h 10000"/>
                <a:gd name="connsiteX138" fmla="*/ 3581 w 10102"/>
                <a:gd name="connsiteY138" fmla="*/ 1318 h 10000"/>
                <a:gd name="connsiteX139" fmla="*/ 3486 w 10102"/>
                <a:gd name="connsiteY139" fmla="*/ 1395 h 10000"/>
                <a:gd name="connsiteX140" fmla="*/ 3486 w 10102"/>
                <a:gd name="connsiteY140" fmla="*/ 1686 h 10000"/>
                <a:gd name="connsiteX141" fmla="*/ 3486 w 10102"/>
                <a:gd name="connsiteY141" fmla="*/ 1725 h 10000"/>
                <a:gd name="connsiteX142" fmla="*/ 3475 w 10102"/>
                <a:gd name="connsiteY142" fmla="*/ 1725 h 10000"/>
                <a:gd name="connsiteX143" fmla="*/ 3369 w 10102"/>
                <a:gd name="connsiteY143" fmla="*/ 1841 h 10000"/>
                <a:gd name="connsiteX144" fmla="*/ 3135 w 10102"/>
                <a:gd name="connsiteY144" fmla="*/ 2171 h 10000"/>
                <a:gd name="connsiteX145" fmla="*/ 2954 w 10102"/>
                <a:gd name="connsiteY145" fmla="*/ 2829 h 10000"/>
                <a:gd name="connsiteX146" fmla="*/ 2954 w 10102"/>
                <a:gd name="connsiteY146" fmla="*/ 2829 h 10000"/>
                <a:gd name="connsiteX147" fmla="*/ 2944 w 10102"/>
                <a:gd name="connsiteY147" fmla="*/ 2829 h 10000"/>
                <a:gd name="connsiteX148" fmla="*/ 2699 w 10102"/>
                <a:gd name="connsiteY148" fmla="*/ 3217 h 10000"/>
                <a:gd name="connsiteX149" fmla="*/ 2487 w 10102"/>
                <a:gd name="connsiteY149" fmla="*/ 3566 h 10000"/>
                <a:gd name="connsiteX150" fmla="*/ 2465 w 10102"/>
                <a:gd name="connsiteY150" fmla="*/ 3934 h 10000"/>
                <a:gd name="connsiteX151" fmla="*/ 2465 w 10102"/>
                <a:gd name="connsiteY151" fmla="*/ 3934 h 10000"/>
                <a:gd name="connsiteX152" fmla="*/ 2465 w 10102"/>
                <a:gd name="connsiteY152" fmla="*/ 3934 h 10000"/>
                <a:gd name="connsiteX153" fmla="*/ 2295 w 10102"/>
                <a:gd name="connsiteY153" fmla="*/ 4205 h 10000"/>
                <a:gd name="connsiteX154" fmla="*/ 2200 w 10102"/>
                <a:gd name="connsiteY154" fmla="*/ 4535 h 10000"/>
                <a:gd name="connsiteX155" fmla="*/ 2189 w 10102"/>
                <a:gd name="connsiteY155" fmla="*/ 4554 h 10000"/>
                <a:gd name="connsiteX156" fmla="*/ 2179 w 10102"/>
                <a:gd name="connsiteY156" fmla="*/ 4554 h 10000"/>
                <a:gd name="connsiteX157" fmla="*/ 2051 w 10102"/>
                <a:gd name="connsiteY157" fmla="*/ 4535 h 10000"/>
                <a:gd name="connsiteX158" fmla="*/ 1913 w 10102"/>
                <a:gd name="connsiteY158" fmla="*/ 4767 h 10000"/>
                <a:gd name="connsiteX159" fmla="*/ 1913 w 10102"/>
                <a:gd name="connsiteY159" fmla="*/ 4787 h 10000"/>
                <a:gd name="connsiteX160" fmla="*/ 1902 w 10102"/>
                <a:gd name="connsiteY160" fmla="*/ 4787 h 10000"/>
                <a:gd name="connsiteX161" fmla="*/ 1498 w 10102"/>
                <a:gd name="connsiteY161" fmla="*/ 4671 h 10000"/>
                <a:gd name="connsiteX162" fmla="*/ 1488 w 10102"/>
                <a:gd name="connsiteY162" fmla="*/ 4671 h 10000"/>
                <a:gd name="connsiteX163" fmla="*/ 1488 w 10102"/>
                <a:gd name="connsiteY163" fmla="*/ 4651 h 10000"/>
                <a:gd name="connsiteX164" fmla="*/ 1424 w 10102"/>
                <a:gd name="connsiteY164" fmla="*/ 4516 h 10000"/>
                <a:gd name="connsiteX165" fmla="*/ 1350 w 10102"/>
                <a:gd name="connsiteY165" fmla="*/ 4516 h 10000"/>
                <a:gd name="connsiteX166" fmla="*/ 1296 w 10102"/>
                <a:gd name="connsiteY166" fmla="*/ 4690 h 10000"/>
                <a:gd name="connsiteX167" fmla="*/ 1286 w 10102"/>
                <a:gd name="connsiteY167" fmla="*/ 4922 h 10000"/>
                <a:gd name="connsiteX168" fmla="*/ 1286 w 10102"/>
                <a:gd name="connsiteY168" fmla="*/ 4942 h 10000"/>
                <a:gd name="connsiteX169" fmla="*/ 1275 w 10102"/>
                <a:gd name="connsiteY169" fmla="*/ 4961 h 10000"/>
                <a:gd name="connsiteX170" fmla="*/ 1190 w 10102"/>
                <a:gd name="connsiteY170" fmla="*/ 5058 h 10000"/>
                <a:gd name="connsiteX171" fmla="*/ 1137 w 10102"/>
                <a:gd name="connsiteY171" fmla="*/ 5271 h 10000"/>
                <a:gd name="connsiteX172" fmla="*/ 1137 w 10102"/>
                <a:gd name="connsiteY172" fmla="*/ 5291 h 10000"/>
                <a:gd name="connsiteX173" fmla="*/ 1126 w 10102"/>
                <a:gd name="connsiteY173" fmla="*/ 5291 h 10000"/>
                <a:gd name="connsiteX174" fmla="*/ 1020 w 10102"/>
                <a:gd name="connsiteY174" fmla="*/ 5407 h 10000"/>
                <a:gd name="connsiteX175" fmla="*/ 999 w 10102"/>
                <a:gd name="connsiteY175" fmla="*/ 5581 h 10000"/>
                <a:gd name="connsiteX176" fmla="*/ 978 w 10102"/>
                <a:gd name="connsiteY176" fmla="*/ 5756 h 10000"/>
                <a:gd name="connsiteX177" fmla="*/ 978 w 10102"/>
                <a:gd name="connsiteY177" fmla="*/ 5775 h 10000"/>
                <a:gd name="connsiteX178" fmla="*/ 967 w 10102"/>
                <a:gd name="connsiteY178" fmla="*/ 5775 h 10000"/>
                <a:gd name="connsiteX179" fmla="*/ 861 w 10102"/>
                <a:gd name="connsiteY179" fmla="*/ 5814 h 10000"/>
                <a:gd name="connsiteX180" fmla="*/ 861 w 10102"/>
                <a:gd name="connsiteY180" fmla="*/ 6047 h 10000"/>
                <a:gd name="connsiteX181" fmla="*/ 967 w 10102"/>
                <a:gd name="connsiteY181" fmla="*/ 6298 h 10000"/>
                <a:gd name="connsiteX182" fmla="*/ 967 w 10102"/>
                <a:gd name="connsiteY182" fmla="*/ 6298 h 10000"/>
                <a:gd name="connsiteX183" fmla="*/ 978 w 10102"/>
                <a:gd name="connsiteY183" fmla="*/ 6318 h 10000"/>
                <a:gd name="connsiteX184" fmla="*/ 988 w 10102"/>
                <a:gd name="connsiteY184" fmla="*/ 6512 h 10000"/>
                <a:gd name="connsiteX185" fmla="*/ 988 w 10102"/>
                <a:gd name="connsiteY185" fmla="*/ 6531 h 10000"/>
                <a:gd name="connsiteX186" fmla="*/ 978 w 10102"/>
                <a:gd name="connsiteY186" fmla="*/ 6550 h 10000"/>
                <a:gd name="connsiteX187" fmla="*/ 627 w 10102"/>
                <a:gd name="connsiteY187" fmla="*/ 7016 h 10000"/>
                <a:gd name="connsiteX188" fmla="*/ 521 w 10102"/>
                <a:gd name="connsiteY188" fmla="*/ 7151 h 10000"/>
                <a:gd name="connsiteX189" fmla="*/ 340 w 10102"/>
                <a:gd name="connsiteY189" fmla="*/ 7384 h 10000"/>
                <a:gd name="connsiteX190" fmla="*/ 340 w 10102"/>
                <a:gd name="connsiteY190" fmla="*/ 7403 h 10000"/>
                <a:gd name="connsiteX191" fmla="*/ 340 w 10102"/>
                <a:gd name="connsiteY191" fmla="*/ 7403 h 10000"/>
                <a:gd name="connsiteX192" fmla="*/ 191 w 10102"/>
                <a:gd name="connsiteY192" fmla="*/ 7519 h 10000"/>
                <a:gd name="connsiteX193" fmla="*/ 0 w 10102"/>
                <a:gd name="connsiteY193" fmla="*/ 7791 h 10000"/>
                <a:gd name="connsiteX194" fmla="*/ 11 w 10102"/>
                <a:gd name="connsiteY194" fmla="*/ 7829 h 10000"/>
                <a:gd name="connsiteX195" fmla="*/ 149 w 10102"/>
                <a:gd name="connsiteY195" fmla="*/ 7868 h 10000"/>
                <a:gd name="connsiteX196" fmla="*/ 159 w 10102"/>
                <a:gd name="connsiteY196" fmla="*/ 7868 h 10000"/>
                <a:gd name="connsiteX197" fmla="*/ 159 w 10102"/>
                <a:gd name="connsiteY197" fmla="*/ 7868 h 10000"/>
                <a:gd name="connsiteX198" fmla="*/ 372 w 10102"/>
                <a:gd name="connsiteY198" fmla="*/ 8256 h 10000"/>
                <a:gd name="connsiteX199" fmla="*/ 1467 w 10102"/>
                <a:gd name="connsiteY199" fmla="*/ 9205 h 10000"/>
                <a:gd name="connsiteX200" fmla="*/ 1467 w 10102"/>
                <a:gd name="connsiteY200" fmla="*/ 9205 h 10000"/>
                <a:gd name="connsiteX201" fmla="*/ 1477 w 10102"/>
                <a:gd name="connsiteY201" fmla="*/ 9205 h 10000"/>
                <a:gd name="connsiteX202" fmla="*/ 1838 w 10102"/>
                <a:gd name="connsiteY202" fmla="*/ 9729 h 10000"/>
                <a:gd name="connsiteX203" fmla="*/ 2508 w 10102"/>
                <a:gd name="connsiteY203" fmla="*/ 9767 h 10000"/>
                <a:gd name="connsiteX204" fmla="*/ 2561 w 10102"/>
                <a:gd name="connsiteY204" fmla="*/ 9671 h 10000"/>
                <a:gd name="connsiteX205" fmla="*/ 2561 w 10102"/>
                <a:gd name="connsiteY205" fmla="*/ 9671 h 10000"/>
                <a:gd name="connsiteX206" fmla="*/ 2582 w 10102"/>
                <a:gd name="connsiteY206" fmla="*/ 9671 h 10000"/>
                <a:gd name="connsiteX207" fmla="*/ 2848 w 10102"/>
                <a:gd name="connsiteY207" fmla="*/ 9651 h 10000"/>
                <a:gd name="connsiteX208" fmla="*/ 2859 w 10102"/>
                <a:gd name="connsiteY208" fmla="*/ 9651 h 10000"/>
                <a:gd name="connsiteX209" fmla="*/ 2869 w 10102"/>
                <a:gd name="connsiteY209" fmla="*/ 9671 h 10000"/>
                <a:gd name="connsiteX210" fmla="*/ 3061 w 10102"/>
                <a:gd name="connsiteY210" fmla="*/ 10000 h 10000"/>
                <a:gd name="connsiteX211" fmla="*/ 3061 w 10102"/>
                <a:gd name="connsiteY211" fmla="*/ 10000 h 10000"/>
                <a:gd name="connsiteX212" fmla="*/ 4336 w 10102"/>
                <a:gd name="connsiteY212" fmla="*/ 9961 h 10000"/>
                <a:gd name="connsiteX213" fmla="*/ 4357 w 10102"/>
                <a:gd name="connsiteY213" fmla="*/ 9961 h 10000"/>
                <a:gd name="connsiteX214" fmla="*/ 4357 w 10102"/>
                <a:gd name="connsiteY214" fmla="*/ 9981 h 10000"/>
                <a:gd name="connsiteX215" fmla="*/ 4527 w 10102"/>
                <a:gd name="connsiteY215" fmla="*/ 9864 h 10000"/>
                <a:gd name="connsiteX216" fmla="*/ 4538 w 10102"/>
                <a:gd name="connsiteY216" fmla="*/ 9864 h 10000"/>
                <a:gd name="connsiteX217" fmla="*/ 4538 w 10102"/>
                <a:gd name="connsiteY217" fmla="*/ 9864 h 10000"/>
                <a:gd name="connsiteX218" fmla="*/ 5250 w 10102"/>
                <a:gd name="connsiteY218" fmla="*/ 9845 h 10000"/>
                <a:gd name="connsiteX219" fmla="*/ 7354 w 10102"/>
                <a:gd name="connsiteY219" fmla="*/ 9845 h 10000"/>
                <a:gd name="connsiteX220" fmla="*/ 7343 w 10102"/>
                <a:gd name="connsiteY220" fmla="*/ 9826 h 10000"/>
                <a:gd name="connsiteX221" fmla="*/ 7439 w 10102"/>
                <a:gd name="connsiteY221" fmla="*/ 9612 h 10000"/>
                <a:gd name="connsiteX222" fmla="*/ 7513 w 10102"/>
                <a:gd name="connsiteY222" fmla="*/ 9516 h 10000"/>
                <a:gd name="connsiteX223" fmla="*/ 7428 w 10102"/>
                <a:gd name="connsiteY223" fmla="*/ 9283 h 10000"/>
                <a:gd name="connsiteX224" fmla="*/ 7450 w 10102"/>
                <a:gd name="connsiteY224" fmla="*/ 9109 h 10000"/>
                <a:gd name="connsiteX225" fmla="*/ 7683 w 10102"/>
                <a:gd name="connsiteY225" fmla="*/ 8992 h 10000"/>
                <a:gd name="connsiteX226" fmla="*/ 7683 w 10102"/>
                <a:gd name="connsiteY226" fmla="*/ 8798 h 10000"/>
                <a:gd name="connsiteX227" fmla="*/ 7779 w 10102"/>
                <a:gd name="connsiteY227" fmla="*/ 8682 h 10000"/>
                <a:gd name="connsiteX228" fmla="*/ 7949 w 10102"/>
                <a:gd name="connsiteY228" fmla="*/ 8372 h 10000"/>
                <a:gd name="connsiteX229" fmla="*/ 8013 w 10102"/>
                <a:gd name="connsiteY229" fmla="*/ 8023 h 10000"/>
                <a:gd name="connsiteX230" fmla="*/ 8098 w 10102"/>
                <a:gd name="connsiteY230" fmla="*/ 7907 h 10000"/>
                <a:gd name="connsiteX231" fmla="*/ 8204 w 10102"/>
                <a:gd name="connsiteY231" fmla="*/ 7907 h 10000"/>
                <a:gd name="connsiteX232" fmla="*/ 8363 w 10102"/>
                <a:gd name="connsiteY232" fmla="*/ 7829 h 10000"/>
                <a:gd name="connsiteX233" fmla="*/ 8576 w 10102"/>
                <a:gd name="connsiteY233" fmla="*/ 7907 h 10000"/>
                <a:gd name="connsiteX234" fmla="*/ 8661 w 10102"/>
                <a:gd name="connsiteY234" fmla="*/ 8004 h 10000"/>
                <a:gd name="connsiteX235" fmla="*/ 8704 w 10102"/>
                <a:gd name="connsiteY235" fmla="*/ 7829 h 10000"/>
                <a:gd name="connsiteX236" fmla="*/ 8831 w 10102"/>
                <a:gd name="connsiteY236" fmla="*/ 7733 h 10000"/>
                <a:gd name="connsiteX237" fmla="*/ 8980 w 10102"/>
                <a:gd name="connsiteY237" fmla="*/ 7713 h 10000"/>
                <a:gd name="connsiteX238" fmla="*/ 9097 w 10102"/>
                <a:gd name="connsiteY238" fmla="*/ 7674 h 10000"/>
                <a:gd name="connsiteX239" fmla="*/ 9235 w 10102"/>
                <a:gd name="connsiteY239" fmla="*/ 7791 h 10000"/>
                <a:gd name="connsiteX240" fmla="*/ 9341 w 10102"/>
                <a:gd name="connsiteY240" fmla="*/ 7907 h 10000"/>
                <a:gd name="connsiteX241" fmla="*/ 9458 w 10102"/>
                <a:gd name="connsiteY241" fmla="*/ 7733 h 10000"/>
                <a:gd name="connsiteX242" fmla="*/ 9575 w 10102"/>
                <a:gd name="connsiteY242" fmla="*/ 7829 h 10000"/>
                <a:gd name="connsiteX243" fmla="*/ 9702 w 10102"/>
                <a:gd name="connsiteY243" fmla="*/ 7829 h 10000"/>
                <a:gd name="connsiteX244" fmla="*/ 9809 w 10102"/>
                <a:gd name="connsiteY244" fmla="*/ 7907 h 10000"/>
                <a:gd name="connsiteX245" fmla="*/ 9968 w 10102"/>
                <a:gd name="connsiteY245" fmla="*/ 7829 h 10000"/>
                <a:gd name="connsiteX246" fmla="*/ 10000 w 10102"/>
                <a:gd name="connsiteY246" fmla="*/ 7810 h 10000"/>
                <a:gd name="connsiteX247" fmla="*/ 9979 w 10102"/>
                <a:gd name="connsiteY247" fmla="*/ 7810 h 10000"/>
                <a:gd name="connsiteX248" fmla="*/ 10066 w 10102"/>
                <a:gd name="connsiteY248" fmla="*/ 7636 h 10000"/>
                <a:gd name="connsiteX249" fmla="*/ 10075 w 10102"/>
                <a:gd name="connsiteY249" fmla="*/ 7250 h 10000"/>
                <a:gd name="connsiteX250" fmla="*/ 9968 w 10102"/>
                <a:gd name="connsiteY250" fmla="*/ 6822 h 10000"/>
                <a:gd name="connsiteX251" fmla="*/ 9979 w 10102"/>
                <a:gd name="connsiteY251" fmla="*/ 6802 h 10000"/>
                <a:gd name="connsiteX252" fmla="*/ 9979 w 10102"/>
                <a:gd name="connsiteY252" fmla="*/ 6802 h 10000"/>
                <a:gd name="connsiteX253" fmla="*/ 9947 w 10102"/>
                <a:gd name="connsiteY253" fmla="*/ 6764 h 10000"/>
                <a:gd name="connsiteX0" fmla="*/ 9947 w 10102"/>
                <a:gd name="connsiteY0" fmla="*/ 6764 h 10000"/>
                <a:gd name="connsiteX1" fmla="*/ 9816 w 10102"/>
                <a:gd name="connsiteY1" fmla="*/ 6660 h 10000"/>
                <a:gd name="connsiteX2" fmla="*/ 9766 w 10102"/>
                <a:gd name="connsiteY2" fmla="*/ 6938 h 10000"/>
                <a:gd name="connsiteX3" fmla="*/ 9665 w 10102"/>
                <a:gd name="connsiteY3" fmla="*/ 6915 h 10000"/>
                <a:gd name="connsiteX4" fmla="*/ 9458 w 10102"/>
                <a:gd name="connsiteY4" fmla="*/ 6880 h 10000"/>
                <a:gd name="connsiteX5" fmla="*/ 9447 w 10102"/>
                <a:gd name="connsiteY5" fmla="*/ 6860 h 10000"/>
                <a:gd name="connsiteX6" fmla="*/ 9447 w 10102"/>
                <a:gd name="connsiteY6" fmla="*/ 6841 h 10000"/>
                <a:gd name="connsiteX7" fmla="*/ 9544 w 10102"/>
                <a:gd name="connsiteY7" fmla="*/ 6734 h 10000"/>
                <a:gd name="connsiteX8" fmla="*/ 9554 w 10102"/>
                <a:gd name="connsiteY8" fmla="*/ 6453 h 10000"/>
                <a:gd name="connsiteX9" fmla="*/ 9564 w 10102"/>
                <a:gd name="connsiteY9" fmla="*/ 5601 h 10000"/>
                <a:gd name="connsiteX10" fmla="*/ 9564 w 10102"/>
                <a:gd name="connsiteY10" fmla="*/ 5581 h 10000"/>
                <a:gd name="connsiteX11" fmla="*/ 9564 w 10102"/>
                <a:gd name="connsiteY11" fmla="*/ 5562 h 10000"/>
                <a:gd name="connsiteX12" fmla="*/ 9649 w 10102"/>
                <a:gd name="connsiteY12" fmla="*/ 5388 h 10000"/>
                <a:gd name="connsiteX13" fmla="*/ 9702 w 10102"/>
                <a:gd name="connsiteY13" fmla="*/ 5291 h 10000"/>
                <a:gd name="connsiteX14" fmla="*/ 9554 w 10102"/>
                <a:gd name="connsiteY14" fmla="*/ 5058 h 10000"/>
                <a:gd name="connsiteX15" fmla="*/ 9554 w 10102"/>
                <a:gd name="connsiteY15" fmla="*/ 5058 h 10000"/>
                <a:gd name="connsiteX16" fmla="*/ 9543 w 10102"/>
                <a:gd name="connsiteY16" fmla="*/ 5058 h 10000"/>
                <a:gd name="connsiteX17" fmla="*/ 9394 w 10102"/>
                <a:gd name="connsiteY17" fmla="*/ 4709 h 10000"/>
                <a:gd name="connsiteX18" fmla="*/ 9394 w 10102"/>
                <a:gd name="connsiteY18" fmla="*/ 4690 h 10000"/>
                <a:gd name="connsiteX19" fmla="*/ 9394 w 10102"/>
                <a:gd name="connsiteY19" fmla="*/ 4690 h 10000"/>
                <a:gd name="connsiteX20" fmla="*/ 9456 w 10102"/>
                <a:gd name="connsiteY20" fmla="*/ 4520 h 10000"/>
                <a:gd name="connsiteX21" fmla="*/ 9490 w 10102"/>
                <a:gd name="connsiteY21" fmla="*/ 4360 h 10000"/>
                <a:gd name="connsiteX22" fmla="*/ 9564 w 10102"/>
                <a:gd name="connsiteY22" fmla="*/ 4244 h 10000"/>
                <a:gd name="connsiteX23" fmla="*/ 9628 w 10102"/>
                <a:gd name="connsiteY23" fmla="*/ 4012 h 10000"/>
                <a:gd name="connsiteX24" fmla="*/ 9490 w 10102"/>
                <a:gd name="connsiteY24" fmla="*/ 3760 h 10000"/>
                <a:gd name="connsiteX25" fmla="*/ 9490 w 10102"/>
                <a:gd name="connsiteY25" fmla="*/ 3760 h 10000"/>
                <a:gd name="connsiteX26" fmla="*/ 9479 w 10102"/>
                <a:gd name="connsiteY26" fmla="*/ 3760 h 10000"/>
                <a:gd name="connsiteX27" fmla="*/ 9426 w 10102"/>
                <a:gd name="connsiteY27" fmla="*/ 3527 h 10000"/>
                <a:gd name="connsiteX28" fmla="*/ 9426 w 10102"/>
                <a:gd name="connsiteY28" fmla="*/ 3527 h 10000"/>
                <a:gd name="connsiteX29" fmla="*/ 9426 w 10102"/>
                <a:gd name="connsiteY29" fmla="*/ 3508 h 10000"/>
                <a:gd name="connsiteX30" fmla="*/ 9416 w 10102"/>
                <a:gd name="connsiteY30" fmla="*/ 3198 h 10000"/>
                <a:gd name="connsiteX31" fmla="*/ 9416 w 10102"/>
                <a:gd name="connsiteY31" fmla="*/ 3198 h 10000"/>
                <a:gd name="connsiteX32" fmla="*/ 9416 w 10102"/>
                <a:gd name="connsiteY32" fmla="*/ 3178 h 10000"/>
                <a:gd name="connsiteX33" fmla="*/ 9532 w 10102"/>
                <a:gd name="connsiteY33" fmla="*/ 2907 h 10000"/>
                <a:gd name="connsiteX34" fmla="*/ 9384 w 10102"/>
                <a:gd name="connsiteY34" fmla="*/ 2616 h 10000"/>
                <a:gd name="connsiteX35" fmla="*/ 9384 w 10102"/>
                <a:gd name="connsiteY35" fmla="*/ 2616 h 10000"/>
                <a:gd name="connsiteX36" fmla="*/ 9384 w 10102"/>
                <a:gd name="connsiteY36" fmla="*/ 2616 h 10000"/>
                <a:gd name="connsiteX37" fmla="*/ 9330 w 10102"/>
                <a:gd name="connsiteY37" fmla="*/ 2267 h 10000"/>
                <a:gd name="connsiteX38" fmla="*/ 9330 w 10102"/>
                <a:gd name="connsiteY38" fmla="*/ 2248 h 10000"/>
                <a:gd name="connsiteX39" fmla="*/ 9330 w 10102"/>
                <a:gd name="connsiteY39" fmla="*/ 2248 h 10000"/>
                <a:gd name="connsiteX40" fmla="*/ 9341 w 10102"/>
                <a:gd name="connsiteY40" fmla="*/ 1841 h 10000"/>
                <a:gd name="connsiteX41" fmla="*/ 9341 w 10102"/>
                <a:gd name="connsiteY41" fmla="*/ 1822 h 10000"/>
                <a:gd name="connsiteX42" fmla="*/ 9341 w 10102"/>
                <a:gd name="connsiteY42" fmla="*/ 1822 h 10000"/>
                <a:gd name="connsiteX43" fmla="*/ 9660 w 10102"/>
                <a:gd name="connsiteY43" fmla="*/ 1279 h 10000"/>
                <a:gd name="connsiteX44" fmla="*/ 9564 w 10102"/>
                <a:gd name="connsiteY44" fmla="*/ 1008 h 10000"/>
                <a:gd name="connsiteX45" fmla="*/ 9554 w 10102"/>
                <a:gd name="connsiteY45" fmla="*/ 1008 h 10000"/>
                <a:gd name="connsiteX46" fmla="*/ 9554 w 10102"/>
                <a:gd name="connsiteY46" fmla="*/ 988 h 10000"/>
                <a:gd name="connsiteX47" fmla="*/ 9586 w 10102"/>
                <a:gd name="connsiteY47" fmla="*/ 698 h 10000"/>
                <a:gd name="connsiteX48" fmla="*/ 9501 w 10102"/>
                <a:gd name="connsiteY48" fmla="*/ 601 h 10000"/>
                <a:gd name="connsiteX49" fmla="*/ 9288 w 10102"/>
                <a:gd name="connsiteY49" fmla="*/ 581 h 10000"/>
                <a:gd name="connsiteX50" fmla="*/ 9288 w 10102"/>
                <a:gd name="connsiteY50" fmla="*/ 581 h 10000"/>
                <a:gd name="connsiteX51" fmla="*/ 9277 w 10102"/>
                <a:gd name="connsiteY51" fmla="*/ 581 h 10000"/>
                <a:gd name="connsiteX52" fmla="*/ 9224 w 10102"/>
                <a:gd name="connsiteY52" fmla="*/ 484 h 10000"/>
                <a:gd name="connsiteX53" fmla="*/ 9086 w 10102"/>
                <a:gd name="connsiteY53" fmla="*/ 484 h 10000"/>
                <a:gd name="connsiteX54" fmla="*/ 8948 w 10102"/>
                <a:gd name="connsiteY54" fmla="*/ 1124 h 10000"/>
                <a:gd name="connsiteX55" fmla="*/ 8927 w 10102"/>
                <a:gd name="connsiteY55" fmla="*/ 1124 h 10000"/>
                <a:gd name="connsiteX56" fmla="*/ 8927 w 10102"/>
                <a:gd name="connsiteY56" fmla="*/ 1143 h 10000"/>
                <a:gd name="connsiteX57" fmla="*/ 8650 w 10102"/>
                <a:gd name="connsiteY57" fmla="*/ 1415 h 10000"/>
                <a:gd name="connsiteX58" fmla="*/ 8640 w 10102"/>
                <a:gd name="connsiteY58" fmla="*/ 1434 h 10000"/>
                <a:gd name="connsiteX59" fmla="*/ 8640 w 10102"/>
                <a:gd name="connsiteY59" fmla="*/ 1434 h 10000"/>
                <a:gd name="connsiteX60" fmla="*/ 8470 w 10102"/>
                <a:gd name="connsiteY60" fmla="*/ 1395 h 10000"/>
                <a:gd name="connsiteX61" fmla="*/ 8321 w 10102"/>
                <a:gd name="connsiteY61" fmla="*/ 1531 h 10000"/>
                <a:gd name="connsiteX62" fmla="*/ 8321 w 10102"/>
                <a:gd name="connsiteY62" fmla="*/ 1531 h 10000"/>
                <a:gd name="connsiteX63" fmla="*/ 8321 w 10102"/>
                <a:gd name="connsiteY63" fmla="*/ 1531 h 10000"/>
                <a:gd name="connsiteX64" fmla="*/ 8172 w 10102"/>
                <a:gd name="connsiteY64" fmla="*/ 1589 h 10000"/>
                <a:gd name="connsiteX65" fmla="*/ 8023 w 10102"/>
                <a:gd name="connsiteY65" fmla="*/ 1957 h 10000"/>
                <a:gd name="connsiteX66" fmla="*/ 8013 w 10102"/>
                <a:gd name="connsiteY66" fmla="*/ 1977 h 10000"/>
                <a:gd name="connsiteX67" fmla="*/ 7991 w 10102"/>
                <a:gd name="connsiteY67" fmla="*/ 1977 h 10000"/>
                <a:gd name="connsiteX68" fmla="*/ 7864 w 10102"/>
                <a:gd name="connsiteY68" fmla="*/ 1899 h 10000"/>
                <a:gd name="connsiteX69" fmla="*/ 7843 w 10102"/>
                <a:gd name="connsiteY69" fmla="*/ 1899 h 10000"/>
                <a:gd name="connsiteX70" fmla="*/ 7853 w 10102"/>
                <a:gd name="connsiteY70" fmla="*/ 1841 h 10000"/>
                <a:gd name="connsiteX71" fmla="*/ 7928 w 10102"/>
                <a:gd name="connsiteY71" fmla="*/ 1609 h 10000"/>
                <a:gd name="connsiteX72" fmla="*/ 7906 w 10102"/>
                <a:gd name="connsiteY72" fmla="*/ 1279 h 10000"/>
                <a:gd name="connsiteX73" fmla="*/ 7758 w 10102"/>
                <a:gd name="connsiteY73" fmla="*/ 1124 h 10000"/>
                <a:gd name="connsiteX74" fmla="*/ 7651 w 10102"/>
                <a:gd name="connsiteY74" fmla="*/ 1124 h 10000"/>
                <a:gd name="connsiteX75" fmla="*/ 7641 w 10102"/>
                <a:gd name="connsiteY75" fmla="*/ 1124 h 10000"/>
                <a:gd name="connsiteX76" fmla="*/ 7630 w 10102"/>
                <a:gd name="connsiteY76" fmla="*/ 1105 h 10000"/>
                <a:gd name="connsiteX77" fmla="*/ 7556 w 10102"/>
                <a:gd name="connsiteY77" fmla="*/ 930 h 10000"/>
                <a:gd name="connsiteX78" fmla="*/ 7184 w 10102"/>
                <a:gd name="connsiteY78" fmla="*/ 891 h 10000"/>
                <a:gd name="connsiteX79" fmla="*/ 7173 w 10102"/>
                <a:gd name="connsiteY79" fmla="*/ 891 h 10000"/>
                <a:gd name="connsiteX80" fmla="*/ 7173 w 10102"/>
                <a:gd name="connsiteY80" fmla="*/ 872 h 10000"/>
                <a:gd name="connsiteX81" fmla="*/ 7099 w 10102"/>
                <a:gd name="connsiteY81" fmla="*/ 620 h 10000"/>
                <a:gd name="connsiteX82" fmla="*/ 7088 w 10102"/>
                <a:gd name="connsiteY82" fmla="*/ 601 h 10000"/>
                <a:gd name="connsiteX83" fmla="*/ 7088 w 10102"/>
                <a:gd name="connsiteY83" fmla="*/ 601 h 10000"/>
                <a:gd name="connsiteX84" fmla="*/ 7088 w 10102"/>
                <a:gd name="connsiteY84" fmla="*/ 465 h 10000"/>
                <a:gd name="connsiteX85" fmla="*/ 7088 w 10102"/>
                <a:gd name="connsiteY85" fmla="*/ 426 h 10000"/>
                <a:gd name="connsiteX86" fmla="*/ 7099 w 10102"/>
                <a:gd name="connsiteY86" fmla="*/ 407 h 10000"/>
                <a:gd name="connsiteX87" fmla="*/ 7194 w 10102"/>
                <a:gd name="connsiteY87" fmla="*/ 310 h 10000"/>
                <a:gd name="connsiteX88" fmla="*/ 7109 w 10102"/>
                <a:gd name="connsiteY88" fmla="*/ 136 h 10000"/>
                <a:gd name="connsiteX89" fmla="*/ 7035 w 10102"/>
                <a:gd name="connsiteY89" fmla="*/ 0 h 10000"/>
                <a:gd name="connsiteX90" fmla="*/ 6939 w 10102"/>
                <a:gd name="connsiteY90" fmla="*/ 116 h 10000"/>
                <a:gd name="connsiteX91" fmla="*/ 6939 w 10102"/>
                <a:gd name="connsiteY91" fmla="*/ 116 h 10000"/>
                <a:gd name="connsiteX92" fmla="*/ 6939 w 10102"/>
                <a:gd name="connsiteY92" fmla="*/ 116 h 10000"/>
                <a:gd name="connsiteX93" fmla="*/ 6812 w 10102"/>
                <a:gd name="connsiteY93" fmla="*/ 155 h 10000"/>
                <a:gd name="connsiteX94" fmla="*/ 6674 w 10102"/>
                <a:gd name="connsiteY94" fmla="*/ 291 h 10000"/>
                <a:gd name="connsiteX95" fmla="*/ 6599 w 10102"/>
                <a:gd name="connsiteY95" fmla="*/ 523 h 10000"/>
                <a:gd name="connsiteX96" fmla="*/ 6599 w 10102"/>
                <a:gd name="connsiteY96" fmla="*/ 543 h 10000"/>
                <a:gd name="connsiteX97" fmla="*/ 6589 w 10102"/>
                <a:gd name="connsiteY97" fmla="*/ 543 h 10000"/>
                <a:gd name="connsiteX98" fmla="*/ 6321 w 10102"/>
                <a:gd name="connsiteY98" fmla="*/ 617 h 10000"/>
                <a:gd name="connsiteX99" fmla="*/ 6252 w 10102"/>
                <a:gd name="connsiteY99" fmla="*/ 941 h 10000"/>
                <a:gd name="connsiteX100" fmla="*/ 6142 w 10102"/>
                <a:gd name="connsiteY100" fmla="*/ 1124 h 10000"/>
                <a:gd name="connsiteX101" fmla="*/ 6004 w 10102"/>
                <a:gd name="connsiteY101" fmla="*/ 1473 h 10000"/>
                <a:gd name="connsiteX102" fmla="*/ 5802 w 10102"/>
                <a:gd name="connsiteY102" fmla="*/ 1434 h 10000"/>
                <a:gd name="connsiteX103" fmla="*/ 5781 w 10102"/>
                <a:gd name="connsiteY103" fmla="*/ 1415 h 10000"/>
                <a:gd name="connsiteX104" fmla="*/ 5781 w 10102"/>
                <a:gd name="connsiteY104" fmla="*/ 1395 h 10000"/>
                <a:gd name="connsiteX105" fmla="*/ 5760 w 10102"/>
                <a:gd name="connsiteY105" fmla="*/ 930 h 10000"/>
                <a:gd name="connsiteX106" fmla="*/ 5654 w 10102"/>
                <a:gd name="connsiteY106" fmla="*/ 872 h 10000"/>
                <a:gd name="connsiteX107" fmla="*/ 5377 w 10102"/>
                <a:gd name="connsiteY107" fmla="*/ 1240 h 10000"/>
                <a:gd name="connsiteX108" fmla="*/ 5165 w 10102"/>
                <a:gd name="connsiteY108" fmla="*/ 1570 h 10000"/>
                <a:gd name="connsiteX109" fmla="*/ 5165 w 10102"/>
                <a:gd name="connsiteY109" fmla="*/ 1899 h 10000"/>
                <a:gd name="connsiteX110" fmla="*/ 5165 w 10102"/>
                <a:gd name="connsiteY110" fmla="*/ 1919 h 10000"/>
                <a:gd name="connsiteX111" fmla="*/ 5154 w 10102"/>
                <a:gd name="connsiteY111" fmla="*/ 1919 h 10000"/>
                <a:gd name="connsiteX112" fmla="*/ 5027 w 10102"/>
                <a:gd name="connsiteY112" fmla="*/ 2112 h 10000"/>
                <a:gd name="connsiteX113" fmla="*/ 5016 w 10102"/>
                <a:gd name="connsiteY113" fmla="*/ 2112 h 10000"/>
                <a:gd name="connsiteX114" fmla="*/ 5005 w 10102"/>
                <a:gd name="connsiteY114" fmla="*/ 2112 h 10000"/>
                <a:gd name="connsiteX115" fmla="*/ 4814 w 10102"/>
                <a:gd name="connsiteY115" fmla="*/ 2112 h 10000"/>
                <a:gd name="connsiteX116" fmla="*/ 4803 w 10102"/>
                <a:gd name="connsiteY116" fmla="*/ 2112 h 10000"/>
                <a:gd name="connsiteX117" fmla="*/ 4803 w 10102"/>
                <a:gd name="connsiteY117" fmla="*/ 2112 h 10000"/>
                <a:gd name="connsiteX118" fmla="*/ 4697 w 10102"/>
                <a:gd name="connsiteY118" fmla="*/ 1957 h 10000"/>
                <a:gd name="connsiteX119" fmla="*/ 4591 w 10102"/>
                <a:gd name="connsiteY119" fmla="*/ 1899 h 10000"/>
                <a:gd name="connsiteX120" fmla="*/ 4591 w 10102"/>
                <a:gd name="connsiteY120" fmla="*/ 1957 h 10000"/>
                <a:gd name="connsiteX121" fmla="*/ 4591 w 10102"/>
                <a:gd name="connsiteY121" fmla="*/ 1996 h 10000"/>
                <a:gd name="connsiteX122" fmla="*/ 4570 w 10102"/>
                <a:gd name="connsiteY122" fmla="*/ 1996 h 10000"/>
                <a:gd name="connsiteX123" fmla="*/ 4453 w 10102"/>
                <a:gd name="connsiteY123" fmla="*/ 1996 h 10000"/>
                <a:gd name="connsiteX124" fmla="*/ 4431 w 10102"/>
                <a:gd name="connsiteY124" fmla="*/ 1996 h 10000"/>
                <a:gd name="connsiteX125" fmla="*/ 4431 w 10102"/>
                <a:gd name="connsiteY125" fmla="*/ 1957 h 10000"/>
                <a:gd name="connsiteX126" fmla="*/ 4378 w 10102"/>
                <a:gd name="connsiteY126" fmla="*/ 1589 h 10000"/>
                <a:gd name="connsiteX127" fmla="*/ 4091 w 10102"/>
                <a:gd name="connsiteY127" fmla="*/ 1512 h 10000"/>
                <a:gd name="connsiteX128" fmla="*/ 4081 w 10102"/>
                <a:gd name="connsiteY128" fmla="*/ 1512 h 10000"/>
                <a:gd name="connsiteX129" fmla="*/ 4070 w 10102"/>
                <a:gd name="connsiteY129" fmla="*/ 1492 h 10000"/>
                <a:gd name="connsiteX130" fmla="*/ 3879 w 10102"/>
                <a:gd name="connsiteY130" fmla="*/ 988 h 10000"/>
                <a:gd name="connsiteX131" fmla="*/ 3719 w 10102"/>
                <a:gd name="connsiteY131" fmla="*/ 988 h 10000"/>
                <a:gd name="connsiteX132" fmla="*/ 3698 w 10102"/>
                <a:gd name="connsiteY132" fmla="*/ 1085 h 10000"/>
                <a:gd name="connsiteX133" fmla="*/ 3698 w 10102"/>
                <a:gd name="connsiteY133" fmla="*/ 1105 h 10000"/>
                <a:gd name="connsiteX134" fmla="*/ 3698 w 10102"/>
                <a:gd name="connsiteY134" fmla="*/ 1105 h 10000"/>
                <a:gd name="connsiteX135" fmla="*/ 3592 w 10102"/>
                <a:gd name="connsiteY135" fmla="*/ 1318 h 10000"/>
                <a:gd name="connsiteX136" fmla="*/ 3592 w 10102"/>
                <a:gd name="connsiteY136" fmla="*/ 1318 h 10000"/>
                <a:gd name="connsiteX137" fmla="*/ 3581 w 10102"/>
                <a:gd name="connsiteY137" fmla="*/ 1318 h 10000"/>
                <a:gd name="connsiteX138" fmla="*/ 3486 w 10102"/>
                <a:gd name="connsiteY138" fmla="*/ 1395 h 10000"/>
                <a:gd name="connsiteX139" fmla="*/ 3486 w 10102"/>
                <a:gd name="connsiteY139" fmla="*/ 1686 h 10000"/>
                <a:gd name="connsiteX140" fmla="*/ 3486 w 10102"/>
                <a:gd name="connsiteY140" fmla="*/ 1725 h 10000"/>
                <a:gd name="connsiteX141" fmla="*/ 3475 w 10102"/>
                <a:gd name="connsiteY141" fmla="*/ 1725 h 10000"/>
                <a:gd name="connsiteX142" fmla="*/ 3369 w 10102"/>
                <a:gd name="connsiteY142" fmla="*/ 1841 h 10000"/>
                <a:gd name="connsiteX143" fmla="*/ 3135 w 10102"/>
                <a:gd name="connsiteY143" fmla="*/ 2171 h 10000"/>
                <a:gd name="connsiteX144" fmla="*/ 2954 w 10102"/>
                <a:gd name="connsiteY144" fmla="*/ 2829 h 10000"/>
                <a:gd name="connsiteX145" fmla="*/ 2954 w 10102"/>
                <a:gd name="connsiteY145" fmla="*/ 2829 h 10000"/>
                <a:gd name="connsiteX146" fmla="*/ 2944 w 10102"/>
                <a:gd name="connsiteY146" fmla="*/ 2829 h 10000"/>
                <a:gd name="connsiteX147" fmla="*/ 2699 w 10102"/>
                <a:gd name="connsiteY147" fmla="*/ 3217 h 10000"/>
                <a:gd name="connsiteX148" fmla="*/ 2487 w 10102"/>
                <a:gd name="connsiteY148" fmla="*/ 3566 h 10000"/>
                <a:gd name="connsiteX149" fmla="*/ 2465 w 10102"/>
                <a:gd name="connsiteY149" fmla="*/ 3934 h 10000"/>
                <a:gd name="connsiteX150" fmla="*/ 2465 w 10102"/>
                <a:gd name="connsiteY150" fmla="*/ 3934 h 10000"/>
                <a:gd name="connsiteX151" fmla="*/ 2465 w 10102"/>
                <a:gd name="connsiteY151" fmla="*/ 3934 h 10000"/>
                <a:gd name="connsiteX152" fmla="*/ 2295 w 10102"/>
                <a:gd name="connsiteY152" fmla="*/ 4205 h 10000"/>
                <a:gd name="connsiteX153" fmla="*/ 2200 w 10102"/>
                <a:gd name="connsiteY153" fmla="*/ 4535 h 10000"/>
                <a:gd name="connsiteX154" fmla="*/ 2189 w 10102"/>
                <a:gd name="connsiteY154" fmla="*/ 4554 h 10000"/>
                <a:gd name="connsiteX155" fmla="*/ 2179 w 10102"/>
                <a:gd name="connsiteY155" fmla="*/ 4554 h 10000"/>
                <a:gd name="connsiteX156" fmla="*/ 2051 w 10102"/>
                <a:gd name="connsiteY156" fmla="*/ 4535 h 10000"/>
                <a:gd name="connsiteX157" fmla="*/ 1913 w 10102"/>
                <a:gd name="connsiteY157" fmla="*/ 4767 h 10000"/>
                <a:gd name="connsiteX158" fmla="*/ 1913 w 10102"/>
                <a:gd name="connsiteY158" fmla="*/ 4787 h 10000"/>
                <a:gd name="connsiteX159" fmla="*/ 1902 w 10102"/>
                <a:gd name="connsiteY159" fmla="*/ 4787 h 10000"/>
                <a:gd name="connsiteX160" fmla="*/ 1498 w 10102"/>
                <a:gd name="connsiteY160" fmla="*/ 4671 h 10000"/>
                <a:gd name="connsiteX161" fmla="*/ 1488 w 10102"/>
                <a:gd name="connsiteY161" fmla="*/ 4671 h 10000"/>
                <a:gd name="connsiteX162" fmla="*/ 1488 w 10102"/>
                <a:gd name="connsiteY162" fmla="*/ 4651 h 10000"/>
                <a:gd name="connsiteX163" fmla="*/ 1424 w 10102"/>
                <a:gd name="connsiteY163" fmla="*/ 4516 h 10000"/>
                <a:gd name="connsiteX164" fmla="*/ 1350 w 10102"/>
                <a:gd name="connsiteY164" fmla="*/ 4516 h 10000"/>
                <a:gd name="connsiteX165" fmla="*/ 1296 w 10102"/>
                <a:gd name="connsiteY165" fmla="*/ 4690 h 10000"/>
                <a:gd name="connsiteX166" fmla="*/ 1286 w 10102"/>
                <a:gd name="connsiteY166" fmla="*/ 4922 h 10000"/>
                <a:gd name="connsiteX167" fmla="*/ 1286 w 10102"/>
                <a:gd name="connsiteY167" fmla="*/ 4942 h 10000"/>
                <a:gd name="connsiteX168" fmla="*/ 1275 w 10102"/>
                <a:gd name="connsiteY168" fmla="*/ 4961 h 10000"/>
                <a:gd name="connsiteX169" fmla="*/ 1190 w 10102"/>
                <a:gd name="connsiteY169" fmla="*/ 5058 h 10000"/>
                <a:gd name="connsiteX170" fmla="*/ 1137 w 10102"/>
                <a:gd name="connsiteY170" fmla="*/ 5271 h 10000"/>
                <a:gd name="connsiteX171" fmla="*/ 1137 w 10102"/>
                <a:gd name="connsiteY171" fmla="*/ 5291 h 10000"/>
                <a:gd name="connsiteX172" fmla="*/ 1126 w 10102"/>
                <a:gd name="connsiteY172" fmla="*/ 5291 h 10000"/>
                <a:gd name="connsiteX173" fmla="*/ 1020 w 10102"/>
                <a:gd name="connsiteY173" fmla="*/ 5407 h 10000"/>
                <a:gd name="connsiteX174" fmla="*/ 999 w 10102"/>
                <a:gd name="connsiteY174" fmla="*/ 5581 h 10000"/>
                <a:gd name="connsiteX175" fmla="*/ 978 w 10102"/>
                <a:gd name="connsiteY175" fmla="*/ 5756 h 10000"/>
                <a:gd name="connsiteX176" fmla="*/ 978 w 10102"/>
                <a:gd name="connsiteY176" fmla="*/ 5775 h 10000"/>
                <a:gd name="connsiteX177" fmla="*/ 967 w 10102"/>
                <a:gd name="connsiteY177" fmla="*/ 5775 h 10000"/>
                <a:gd name="connsiteX178" fmla="*/ 861 w 10102"/>
                <a:gd name="connsiteY178" fmla="*/ 5814 h 10000"/>
                <a:gd name="connsiteX179" fmla="*/ 861 w 10102"/>
                <a:gd name="connsiteY179" fmla="*/ 6047 h 10000"/>
                <a:gd name="connsiteX180" fmla="*/ 967 w 10102"/>
                <a:gd name="connsiteY180" fmla="*/ 6298 h 10000"/>
                <a:gd name="connsiteX181" fmla="*/ 967 w 10102"/>
                <a:gd name="connsiteY181" fmla="*/ 6298 h 10000"/>
                <a:gd name="connsiteX182" fmla="*/ 978 w 10102"/>
                <a:gd name="connsiteY182" fmla="*/ 6318 h 10000"/>
                <a:gd name="connsiteX183" fmla="*/ 988 w 10102"/>
                <a:gd name="connsiteY183" fmla="*/ 6512 h 10000"/>
                <a:gd name="connsiteX184" fmla="*/ 988 w 10102"/>
                <a:gd name="connsiteY184" fmla="*/ 6531 h 10000"/>
                <a:gd name="connsiteX185" fmla="*/ 978 w 10102"/>
                <a:gd name="connsiteY185" fmla="*/ 6550 h 10000"/>
                <a:gd name="connsiteX186" fmla="*/ 627 w 10102"/>
                <a:gd name="connsiteY186" fmla="*/ 7016 h 10000"/>
                <a:gd name="connsiteX187" fmla="*/ 521 w 10102"/>
                <a:gd name="connsiteY187" fmla="*/ 7151 h 10000"/>
                <a:gd name="connsiteX188" fmla="*/ 340 w 10102"/>
                <a:gd name="connsiteY188" fmla="*/ 7384 h 10000"/>
                <a:gd name="connsiteX189" fmla="*/ 340 w 10102"/>
                <a:gd name="connsiteY189" fmla="*/ 7403 h 10000"/>
                <a:gd name="connsiteX190" fmla="*/ 340 w 10102"/>
                <a:gd name="connsiteY190" fmla="*/ 7403 h 10000"/>
                <a:gd name="connsiteX191" fmla="*/ 191 w 10102"/>
                <a:gd name="connsiteY191" fmla="*/ 7519 h 10000"/>
                <a:gd name="connsiteX192" fmla="*/ 0 w 10102"/>
                <a:gd name="connsiteY192" fmla="*/ 7791 h 10000"/>
                <a:gd name="connsiteX193" fmla="*/ 11 w 10102"/>
                <a:gd name="connsiteY193" fmla="*/ 7829 h 10000"/>
                <a:gd name="connsiteX194" fmla="*/ 149 w 10102"/>
                <a:gd name="connsiteY194" fmla="*/ 7868 h 10000"/>
                <a:gd name="connsiteX195" fmla="*/ 159 w 10102"/>
                <a:gd name="connsiteY195" fmla="*/ 7868 h 10000"/>
                <a:gd name="connsiteX196" fmla="*/ 159 w 10102"/>
                <a:gd name="connsiteY196" fmla="*/ 7868 h 10000"/>
                <a:gd name="connsiteX197" fmla="*/ 372 w 10102"/>
                <a:gd name="connsiteY197" fmla="*/ 8256 h 10000"/>
                <a:gd name="connsiteX198" fmla="*/ 1467 w 10102"/>
                <a:gd name="connsiteY198" fmla="*/ 9205 h 10000"/>
                <a:gd name="connsiteX199" fmla="*/ 1467 w 10102"/>
                <a:gd name="connsiteY199" fmla="*/ 9205 h 10000"/>
                <a:gd name="connsiteX200" fmla="*/ 1477 w 10102"/>
                <a:gd name="connsiteY200" fmla="*/ 9205 h 10000"/>
                <a:gd name="connsiteX201" fmla="*/ 1838 w 10102"/>
                <a:gd name="connsiteY201" fmla="*/ 9729 h 10000"/>
                <a:gd name="connsiteX202" fmla="*/ 2508 w 10102"/>
                <a:gd name="connsiteY202" fmla="*/ 9767 h 10000"/>
                <a:gd name="connsiteX203" fmla="*/ 2561 w 10102"/>
                <a:gd name="connsiteY203" fmla="*/ 9671 h 10000"/>
                <a:gd name="connsiteX204" fmla="*/ 2561 w 10102"/>
                <a:gd name="connsiteY204" fmla="*/ 9671 h 10000"/>
                <a:gd name="connsiteX205" fmla="*/ 2582 w 10102"/>
                <a:gd name="connsiteY205" fmla="*/ 9671 h 10000"/>
                <a:gd name="connsiteX206" fmla="*/ 2848 w 10102"/>
                <a:gd name="connsiteY206" fmla="*/ 9651 h 10000"/>
                <a:gd name="connsiteX207" fmla="*/ 2859 w 10102"/>
                <a:gd name="connsiteY207" fmla="*/ 9651 h 10000"/>
                <a:gd name="connsiteX208" fmla="*/ 2869 w 10102"/>
                <a:gd name="connsiteY208" fmla="*/ 9671 h 10000"/>
                <a:gd name="connsiteX209" fmla="*/ 3061 w 10102"/>
                <a:gd name="connsiteY209" fmla="*/ 10000 h 10000"/>
                <a:gd name="connsiteX210" fmla="*/ 3061 w 10102"/>
                <a:gd name="connsiteY210" fmla="*/ 10000 h 10000"/>
                <a:gd name="connsiteX211" fmla="*/ 4336 w 10102"/>
                <a:gd name="connsiteY211" fmla="*/ 9961 h 10000"/>
                <a:gd name="connsiteX212" fmla="*/ 4357 w 10102"/>
                <a:gd name="connsiteY212" fmla="*/ 9961 h 10000"/>
                <a:gd name="connsiteX213" fmla="*/ 4357 w 10102"/>
                <a:gd name="connsiteY213" fmla="*/ 9981 h 10000"/>
                <a:gd name="connsiteX214" fmla="*/ 4527 w 10102"/>
                <a:gd name="connsiteY214" fmla="*/ 9864 h 10000"/>
                <a:gd name="connsiteX215" fmla="*/ 4538 w 10102"/>
                <a:gd name="connsiteY215" fmla="*/ 9864 h 10000"/>
                <a:gd name="connsiteX216" fmla="*/ 4538 w 10102"/>
                <a:gd name="connsiteY216" fmla="*/ 9864 h 10000"/>
                <a:gd name="connsiteX217" fmla="*/ 5250 w 10102"/>
                <a:gd name="connsiteY217" fmla="*/ 9845 h 10000"/>
                <a:gd name="connsiteX218" fmla="*/ 7354 w 10102"/>
                <a:gd name="connsiteY218" fmla="*/ 9845 h 10000"/>
                <a:gd name="connsiteX219" fmla="*/ 7343 w 10102"/>
                <a:gd name="connsiteY219" fmla="*/ 9826 h 10000"/>
                <a:gd name="connsiteX220" fmla="*/ 7439 w 10102"/>
                <a:gd name="connsiteY220" fmla="*/ 9612 h 10000"/>
                <a:gd name="connsiteX221" fmla="*/ 7513 w 10102"/>
                <a:gd name="connsiteY221" fmla="*/ 9516 h 10000"/>
                <a:gd name="connsiteX222" fmla="*/ 7428 w 10102"/>
                <a:gd name="connsiteY222" fmla="*/ 9283 h 10000"/>
                <a:gd name="connsiteX223" fmla="*/ 7450 w 10102"/>
                <a:gd name="connsiteY223" fmla="*/ 9109 h 10000"/>
                <a:gd name="connsiteX224" fmla="*/ 7683 w 10102"/>
                <a:gd name="connsiteY224" fmla="*/ 8992 h 10000"/>
                <a:gd name="connsiteX225" fmla="*/ 7683 w 10102"/>
                <a:gd name="connsiteY225" fmla="*/ 8798 h 10000"/>
                <a:gd name="connsiteX226" fmla="*/ 7779 w 10102"/>
                <a:gd name="connsiteY226" fmla="*/ 8682 h 10000"/>
                <a:gd name="connsiteX227" fmla="*/ 7949 w 10102"/>
                <a:gd name="connsiteY227" fmla="*/ 8372 h 10000"/>
                <a:gd name="connsiteX228" fmla="*/ 8013 w 10102"/>
                <a:gd name="connsiteY228" fmla="*/ 8023 h 10000"/>
                <a:gd name="connsiteX229" fmla="*/ 8098 w 10102"/>
                <a:gd name="connsiteY229" fmla="*/ 7907 h 10000"/>
                <a:gd name="connsiteX230" fmla="*/ 8204 w 10102"/>
                <a:gd name="connsiteY230" fmla="*/ 7907 h 10000"/>
                <a:gd name="connsiteX231" fmla="*/ 8363 w 10102"/>
                <a:gd name="connsiteY231" fmla="*/ 7829 h 10000"/>
                <a:gd name="connsiteX232" fmla="*/ 8576 w 10102"/>
                <a:gd name="connsiteY232" fmla="*/ 7907 h 10000"/>
                <a:gd name="connsiteX233" fmla="*/ 8661 w 10102"/>
                <a:gd name="connsiteY233" fmla="*/ 8004 h 10000"/>
                <a:gd name="connsiteX234" fmla="*/ 8704 w 10102"/>
                <a:gd name="connsiteY234" fmla="*/ 7829 h 10000"/>
                <a:gd name="connsiteX235" fmla="*/ 8831 w 10102"/>
                <a:gd name="connsiteY235" fmla="*/ 7733 h 10000"/>
                <a:gd name="connsiteX236" fmla="*/ 8980 w 10102"/>
                <a:gd name="connsiteY236" fmla="*/ 7713 h 10000"/>
                <a:gd name="connsiteX237" fmla="*/ 9097 w 10102"/>
                <a:gd name="connsiteY237" fmla="*/ 7674 h 10000"/>
                <a:gd name="connsiteX238" fmla="*/ 9235 w 10102"/>
                <a:gd name="connsiteY238" fmla="*/ 7791 h 10000"/>
                <a:gd name="connsiteX239" fmla="*/ 9341 w 10102"/>
                <a:gd name="connsiteY239" fmla="*/ 7907 h 10000"/>
                <a:gd name="connsiteX240" fmla="*/ 9458 w 10102"/>
                <a:gd name="connsiteY240" fmla="*/ 7733 h 10000"/>
                <a:gd name="connsiteX241" fmla="*/ 9575 w 10102"/>
                <a:gd name="connsiteY241" fmla="*/ 7829 h 10000"/>
                <a:gd name="connsiteX242" fmla="*/ 9702 w 10102"/>
                <a:gd name="connsiteY242" fmla="*/ 7829 h 10000"/>
                <a:gd name="connsiteX243" fmla="*/ 9809 w 10102"/>
                <a:gd name="connsiteY243" fmla="*/ 7907 h 10000"/>
                <a:gd name="connsiteX244" fmla="*/ 9968 w 10102"/>
                <a:gd name="connsiteY244" fmla="*/ 7829 h 10000"/>
                <a:gd name="connsiteX245" fmla="*/ 10000 w 10102"/>
                <a:gd name="connsiteY245" fmla="*/ 7810 h 10000"/>
                <a:gd name="connsiteX246" fmla="*/ 9979 w 10102"/>
                <a:gd name="connsiteY246" fmla="*/ 7810 h 10000"/>
                <a:gd name="connsiteX247" fmla="*/ 10066 w 10102"/>
                <a:gd name="connsiteY247" fmla="*/ 7636 h 10000"/>
                <a:gd name="connsiteX248" fmla="*/ 10075 w 10102"/>
                <a:gd name="connsiteY248" fmla="*/ 7250 h 10000"/>
                <a:gd name="connsiteX249" fmla="*/ 9968 w 10102"/>
                <a:gd name="connsiteY249" fmla="*/ 6822 h 10000"/>
                <a:gd name="connsiteX250" fmla="*/ 9979 w 10102"/>
                <a:gd name="connsiteY250" fmla="*/ 6802 h 10000"/>
                <a:gd name="connsiteX251" fmla="*/ 9979 w 10102"/>
                <a:gd name="connsiteY251" fmla="*/ 6802 h 10000"/>
                <a:gd name="connsiteX252" fmla="*/ 9947 w 10102"/>
                <a:gd name="connsiteY252" fmla="*/ 6764 h 10000"/>
                <a:gd name="connsiteX0" fmla="*/ 9947 w 10102"/>
                <a:gd name="connsiteY0" fmla="*/ 6764 h 10000"/>
                <a:gd name="connsiteX1" fmla="*/ 9816 w 10102"/>
                <a:gd name="connsiteY1" fmla="*/ 6660 h 10000"/>
                <a:gd name="connsiteX2" fmla="*/ 9766 w 10102"/>
                <a:gd name="connsiteY2" fmla="*/ 6938 h 10000"/>
                <a:gd name="connsiteX3" fmla="*/ 9665 w 10102"/>
                <a:gd name="connsiteY3" fmla="*/ 6915 h 10000"/>
                <a:gd name="connsiteX4" fmla="*/ 9458 w 10102"/>
                <a:gd name="connsiteY4" fmla="*/ 6880 h 10000"/>
                <a:gd name="connsiteX5" fmla="*/ 9447 w 10102"/>
                <a:gd name="connsiteY5" fmla="*/ 6860 h 10000"/>
                <a:gd name="connsiteX6" fmla="*/ 9447 w 10102"/>
                <a:gd name="connsiteY6" fmla="*/ 6841 h 10000"/>
                <a:gd name="connsiteX7" fmla="*/ 9544 w 10102"/>
                <a:gd name="connsiteY7" fmla="*/ 6734 h 10000"/>
                <a:gd name="connsiteX8" fmla="*/ 9554 w 10102"/>
                <a:gd name="connsiteY8" fmla="*/ 6453 h 10000"/>
                <a:gd name="connsiteX9" fmla="*/ 9564 w 10102"/>
                <a:gd name="connsiteY9" fmla="*/ 5601 h 10000"/>
                <a:gd name="connsiteX10" fmla="*/ 9564 w 10102"/>
                <a:gd name="connsiteY10" fmla="*/ 5581 h 10000"/>
                <a:gd name="connsiteX11" fmla="*/ 9564 w 10102"/>
                <a:gd name="connsiteY11" fmla="*/ 5562 h 10000"/>
                <a:gd name="connsiteX12" fmla="*/ 9649 w 10102"/>
                <a:gd name="connsiteY12" fmla="*/ 5388 h 10000"/>
                <a:gd name="connsiteX13" fmla="*/ 9702 w 10102"/>
                <a:gd name="connsiteY13" fmla="*/ 5291 h 10000"/>
                <a:gd name="connsiteX14" fmla="*/ 9554 w 10102"/>
                <a:gd name="connsiteY14" fmla="*/ 5058 h 10000"/>
                <a:gd name="connsiteX15" fmla="*/ 9554 w 10102"/>
                <a:gd name="connsiteY15" fmla="*/ 5058 h 10000"/>
                <a:gd name="connsiteX16" fmla="*/ 9543 w 10102"/>
                <a:gd name="connsiteY16" fmla="*/ 5058 h 10000"/>
                <a:gd name="connsiteX17" fmla="*/ 9394 w 10102"/>
                <a:gd name="connsiteY17" fmla="*/ 4709 h 10000"/>
                <a:gd name="connsiteX18" fmla="*/ 9394 w 10102"/>
                <a:gd name="connsiteY18" fmla="*/ 4690 h 10000"/>
                <a:gd name="connsiteX19" fmla="*/ 9394 w 10102"/>
                <a:gd name="connsiteY19" fmla="*/ 4690 h 10000"/>
                <a:gd name="connsiteX20" fmla="*/ 9456 w 10102"/>
                <a:gd name="connsiteY20" fmla="*/ 4520 h 10000"/>
                <a:gd name="connsiteX21" fmla="*/ 9490 w 10102"/>
                <a:gd name="connsiteY21" fmla="*/ 4360 h 10000"/>
                <a:gd name="connsiteX22" fmla="*/ 9564 w 10102"/>
                <a:gd name="connsiteY22" fmla="*/ 4244 h 10000"/>
                <a:gd name="connsiteX23" fmla="*/ 9628 w 10102"/>
                <a:gd name="connsiteY23" fmla="*/ 4012 h 10000"/>
                <a:gd name="connsiteX24" fmla="*/ 9490 w 10102"/>
                <a:gd name="connsiteY24" fmla="*/ 3760 h 10000"/>
                <a:gd name="connsiteX25" fmla="*/ 9490 w 10102"/>
                <a:gd name="connsiteY25" fmla="*/ 3760 h 10000"/>
                <a:gd name="connsiteX26" fmla="*/ 9479 w 10102"/>
                <a:gd name="connsiteY26" fmla="*/ 3760 h 10000"/>
                <a:gd name="connsiteX27" fmla="*/ 9426 w 10102"/>
                <a:gd name="connsiteY27" fmla="*/ 3527 h 10000"/>
                <a:gd name="connsiteX28" fmla="*/ 9426 w 10102"/>
                <a:gd name="connsiteY28" fmla="*/ 3527 h 10000"/>
                <a:gd name="connsiteX29" fmla="*/ 9426 w 10102"/>
                <a:gd name="connsiteY29" fmla="*/ 3508 h 10000"/>
                <a:gd name="connsiteX30" fmla="*/ 9416 w 10102"/>
                <a:gd name="connsiteY30" fmla="*/ 3198 h 10000"/>
                <a:gd name="connsiteX31" fmla="*/ 9416 w 10102"/>
                <a:gd name="connsiteY31" fmla="*/ 3198 h 10000"/>
                <a:gd name="connsiteX32" fmla="*/ 9416 w 10102"/>
                <a:gd name="connsiteY32" fmla="*/ 3178 h 10000"/>
                <a:gd name="connsiteX33" fmla="*/ 9532 w 10102"/>
                <a:gd name="connsiteY33" fmla="*/ 2907 h 10000"/>
                <a:gd name="connsiteX34" fmla="*/ 9384 w 10102"/>
                <a:gd name="connsiteY34" fmla="*/ 2616 h 10000"/>
                <a:gd name="connsiteX35" fmla="*/ 9384 w 10102"/>
                <a:gd name="connsiteY35" fmla="*/ 2616 h 10000"/>
                <a:gd name="connsiteX36" fmla="*/ 9384 w 10102"/>
                <a:gd name="connsiteY36" fmla="*/ 2616 h 10000"/>
                <a:gd name="connsiteX37" fmla="*/ 9330 w 10102"/>
                <a:gd name="connsiteY37" fmla="*/ 2267 h 10000"/>
                <a:gd name="connsiteX38" fmla="*/ 9330 w 10102"/>
                <a:gd name="connsiteY38" fmla="*/ 2248 h 10000"/>
                <a:gd name="connsiteX39" fmla="*/ 9330 w 10102"/>
                <a:gd name="connsiteY39" fmla="*/ 2248 h 10000"/>
                <a:gd name="connsiteX40" fmla="*/ 9341 w 10102"/>
                <a:gd name="connsiteY40" fmla="*/ 1841 h 10000"/>
                <a:gd name="connsiteX41" fmla="*/ 9341 w 10102"/>
                <a:gd name="connsiteY41" fmla="*/ 1822 h 10000"/>
                <a:gd name="connsiteX42" fmla="*/ 9341 w 10102"/>
                <a:gd name="connsiteY42" fmla="*/ 1822 h 10000"/>
                <a:gd name="connsiteX43" fmla="*/ 9660 w 10102"/>
                <a:gd name="connsiteY43" fmla="*/ 1279 h 10000"/>
                <a:gd name="connsiteX44" fmla="*/ 9564 w 10102"/>
                <a:gd name="connsiteY44" fmla="*/ 1008 h 10000"/>
                <a:gd name="connsiteX45" fmla="*/ 9554 w 10102"/>
                <a:gd name="connsiteY45" fmla="*/ 1008 h 10000"/>
                <a:gd name="connsiteX46" fmla="*/ 9554 w 10102"/>
                <a:gd name="connsiteY46" fmla="*/ 988 h 10000"/>
                <a:gd name="connsiteX47" fmla="*/ 9586 w 10102"/>
                <a:gd name="connsiteY47" fmla="*/ 698 h 10000"/>
                <a:gd name="connsiteX48" fmla="*/ 9501 w 10102"/>
                <a:gd name="connsiteY48" fmla="*/ 601 h 10000"/>
                <a:gd name="connsiteX49" fmla="*/ 9288 w 10102"/>
                <a:gd name="connsiteY49" fmla="*/ 581 h 10000"/>
                <a:gd name="connsiteX50" fmla="*/ 9288 w 10102"/>
                <a:gd name="connsiteY50" fmla="*/ 581 h 10000"/>
                <a:gd name="connsiteX51" fmla="*/ 9277 w 10102"/>
                <a:gd name="connsiteY51" fmla="*/ 581 h 10000"/>
                <a:gd name="connsiteX52" fmla="*/ 9224 w 10102"/>
                <a:gd name="connsiteY52" fmla="*/ 484 h 10000"/>
                <a:gd name="connsiteX53" fmla="*/ 9086 w 10102"/>
                <a:gd name="connsiteY53" fmla="*/ 484 h 10000"/>
                <a:gd name="connsiteX54" fmla="*/ 8948 w 10102"/>
                <a:gd name="connsiteY54" fmla="*/ 1124 h 10000"/>
                <a:gd name="connsiteX55" fmla="*/ 8927 w 10102"/>
                <a:gd name="connsiteY55" fmla="*/ 1124 h 10000"/>
                <a:gd name="connsiteX56" fmla="*/ 8927 w 10102"/>
                <a:gd name="connsiteY56" fmla="*/ 1143 h 10000"/>
                <a:gd name="connsiteX57" fmla="*/ 8650 w 10102"/>
                <a:gd name="connsiteY57" fmla="*/ 1415 h 10000"/>
                <a:gd name="connsiteX58" fmla="*/ 8640 w 10102"/>
                <a:gd name="connsiteY58" fmla="*/ 1434 h 10000"/>
                <a:gd name="connsiteX59" fmla="*/ 8640 w 10102"/>
                <a:gd name="connsiteY59" fmla="*/ 1434 h 10000"/>
                <a:gd name="connsiteX60" fmla="*/ 8470 w 10102"/>
                <a:gd name="connsiteY60" fmla="*/ 1395 h 10000"/>
                <a:gd name="connsiteX61" fmla="*/ 8321 w 10102"/>
                <a:gd name="connsiteY61" fmla="*/ 1531 h 10000"/>
                <a:gd name="connsiteX62" fmla="*/ 8321 w 10102"/>
                <a:gd name="connsiteY62" fmla="*/ 1531 h 10000"/>
                <a:gd name="connsiteX63" fmla="*/ 8321 w 10102"/>
                <a:gd name="connsiteY63" fmla="*/ 1531 h 10000"/>
                <a:gd name="connsiteX64" fmla="*/ 8172 w 10102"/>
                <a:gd name="connsiteY64" fmla="*/ 1589 h 10000"/>
                <a:gd name="connsiteX65" fmla="*/ 8023 w 10102"/>
                <a:gd name="connsiteY65" fmla="*/ 1957 h 10000"/>
                <a:gd name="connsiteX66" fmla="*/ 8013 w 10102"/>
                <a:gd name="connsiteY66" fmla="*/ 1977 h 10000"/>
                <a:gd name="connsiteX67" fmla="*/ 7991 w 10102"/>
                <a:gd name="connsiteY67" fmla="*/ 1977 h 10000"/>
                <a:gd name="connsiteX68" fmla="*/ 7864 w 10102"/>
                <a:gd name="connsiteY68" fmla="*/ 1899 h 10000"/>
                <a:gd name="connsiteX69" fmla="*/ 7843 w 10102"/>
                <a:gd name="connsiteY69" fmla="*/ 1899 h 10000"/>
                <a:gd name="connsiteX70" fmla="*/ 7853 w 10102"/>
                <a:gd name="connsiteY70" fmla="*/ 1841 h 10000"/>
                <a:gd name="connsiteX71" fmla="*/ 7928 w 10102"/>
                <a:gd name="connsiteY71" fmla="*/ 1609 h 10000"/>
                <a:gd name="connsiteX72" fmla="*/ 7906 w 10102"/>
                <a:gd name="connsiteY72" fmla="*/ 1279 h 10000"/>
                <a:gd name="connsiteX73" fmla="*/ 7758 w 10102"/>
                <a:gd name="connsiteY73" fmla="*/ 1124 h 10000"/>
                <a:gd name="connsiteX74" fmla="*/ 7651 w 10102"/>
                <a:gd name="connsiteY74" fmla="*/ 1124 h 10000"/>
                <a:gd name="connsiteX75" fmla="*/ 7641 w 10102"/>
                <a:gd name="connsiteY75" fmla="*/ 1124 h 10000"/>
                <a:gd name="connsiteX76" fmla="*/ 7630 w 10102"/>
                <a:gd name="connsiteY76" fmla="*/ 1105 h 10000"/>
                <a:gd name="connsiteX77" fmla="*/ 7556 w 10102"/>
                <a:gd name="connsiteY77" fmla="*/ 930 h 10000"/>
                <a:gd name="connsiteX78" fmla="*/ 7184 w 10102"/>
                <a:gd name="connsiteY78" fmla="*/ 891 h 10000"/>
                <a:gd name="connsiteX79" fmla="*/ 7173 w 10102"/>
                <a:gd name="connsiteY79" fmla="*/ 891 h 10000"/>
                <a:gd name="connsiteX80" fmla="*/ 7173 w 10102"/>
                <a:gd name="connsiteY80" fmla="*/ 872 h 10000"/>
                <a:gd name="connsiteX81" fmla="*/ 7099 w 10102"/>
                <a:gd name="connsiteY81" fmla="*/ 620 h 10000"/>
                <a:gd name="connsiteX82" fmla="*/ 7088 w 10102"/>
                <a:gd name="connsiteY82" fmla="*/ 601 h 10000"/>
                <a:gd name="connsiteX83" fmla="*/ 7088 w 10102"/>
                <a:gd name="connsiteY83" fmla="*/ 601 h 10000"/>
                <a:gd name="connsiteX84" fmla="*/ 7088 w 10102"/>
                <a:gd name="connsiteY84" fmla="*/ 465 h 10000"/>
                <a:gd name="connsiteX85" fmla="*/ 7088 w 10102"/>
                <a:gd name="connsiteY85" fmla="*/ 426 h 10000"/>
                <a:gd name="connsiteX86" fmla="*/ 7099 w 10102"/>
                <a:gd name="connsiteY86" fmla="*/ 407 h 10000"/>
                <a:gd name="connsiteX87" fmla="*/ 7194 w 10102"/>
                <a:gd name="connsiteY87" fmla="*/ 310 h 10000"/>
                <a:gd name="connsiteX88" fmla="*/ 7109 w 10102"/>
                <a:gd name="connsiteY88" fmla="*/ 136 h 10000"/>
                <a:gd name="connsiteX89" fmla="*/ 7035 w 10102"/>
                <a:gd name="connsiteY89" fmla="*/ 0 h 10000"/>
                <a:gd name="connsiteX90" fmla="*/ 6939 w 10102"/>
                <a:gd name="connsiteY90" fmla="*/ 116 h 10000"/>
                <a:gd name="connsiteX91" fmla="*/ 6939 w 10102"/>
                <a:gd name="connsiteY91" fmla="*/ 116 h 10000"/>
                <a:gd name="connsiteX92" fmla="*/ 6939 w 10102"/>
                <a:gd name="connsiteY92" fmla="*/ 116 h 10000"/>
                <a:gd name="connsiteX93" fmla="*/ 6812 w 10102"/>
                <a:gd name="connsiteY93" fmla="*/ 155 h 10000"/>
                <a:gd name="connsiteX94" fmla="*/ 6674 w 10102"/>
                <a:gd name="connsiteY94" fmla="*/ 291 h 10000"/>
                <a:gd name="connsiteX95" fmla="*/ 6599 w 10102"/>
                <a:gd name="connsiteY95" fmla="*/ 523 h 10000"/>
                <a:gd name="connsiteX96" fmla="*/ 6599 w 10102"/>
                <a:gd name="connsiteY96" fmla="*/ 543 h 10000"/>
                <a:gd name="connsiteX97" fmla="*/ 6589 w 10102"/>
                <a:gd name="connsiteY97" fmla="*/ 543 h 10000"/>
                <a:gd name="connsiteX98" fmla="*/ 6321 w 10102"/>
                <a:gd name="connsiteY98" fmla="*/ 617 h 10000"/>
                <a:gd name="connsiteX99" fmla="*/ 6252 w 10102"/>
                <a:gd name="connsiteY99" fmla="*/ 941 h 10000"/>
                <a:gd name="connsiteX100" fmla="*/ 6142 w 10102"/>
                <a:gd name="connsiteY100" fmla="*/ 1124 h 10000"/>
                <a:gd name="connsiteX101" fmla="*/ 5932 w 10102"/>
                <a:gd name="connsiteY101" fmla="*/ 1457 h 10000"/>
                <a:gd name="connsiteX102" fmla="*/ 5802 w 10102"/>
                <a:gd name="connsiteY102" fmla="*/ 1434 h 10000"/>
                <a:gd name="connsiteX103" fmla="*/ 5781 w 10102"/>
                <a:gd name="connsiteY103" fmla="*/ 1415 h 10000"/>
                <a:gd name="connsiteX104" fmla="*/ 5781 w 10102"/>
                <a:gd name="connsiteY104" fmla="*/ 1395 h 10000"/>
                <a:gd name="connsiteX105" fmla="*/ 5760 w 10102"/>
                <a:gd name="connsiteY105" fmla="*/ 930 h 10000"/>
                <a:gd name="connsiteX106" fmla="*/ 5654 w 10102"/>
                <a:gd name="connsiteY106" fmla="*/ 872 h 10000"/>
                <a:gd name="connsiteX107" fmla="*/ 5377 w 10102"/>
                <a:gd name="connsiteY107" fmla="*/ 1240 h 10000"/>
                <a:gd name="connsiteX108" fmla="*/ 5165 w 10102"/>
                <a:gd name="connsiteY108" fmla="*/ 1570 h 10000"/>
                <a:gd name="connsiteX109" fmla="*/ 5165 w 10102"/>
                <a:gd name="connsiteY109" fmla="*/ 1899 h 10000"/>
                <a:gd name="connsiteX110" fmla="*/ 5165 w 10102"/>
                <a:gd name="connsiteY110" fmla="*/ 1919 h 10000"/>
                <a:gd name="connsiteX111" fmla="*/ 5154 w 10102"/>
                <a:gd name="connsiteY111" fmla="*/ 1919 h 10000"/>
                <a:gd name="connsiteX112" fmla="*/ 5027 w 10102"/>
                <a:gd name="connsiteY112" fmla="*/ 2112 h 10000"/>
                <a:gd name="connsiteX113" fmla="*/ 5016 w 10102"/>
                <a:gd name="connsiteY113" fmla="*/ 2112 h 10000"/>
                <a:gd name="connsiteX114" fmla="*/ 5005 w 10102"/>
                <a:gd name="connsiteY114" fmla="*/ 2112 h 10000"/>
                <a:gd name="connsiteX115" fmla="*/ 4814 w 10102"/>
                <a:gd name="connsiteY115" fmla="*/ 2112 h 10000"/>
                <a:gd name="connsiteX116" fmla="*/ 4803 w 10102"/>
                <a:gd name="connsiteY116" fmla="*/ 2112 h 10000"/>
                <a:gd name="connsiteX117" fmla="*/ 4803 w 10102"/>
                <a:gd name="connsiteY117" fmla="*/ 2112 h 10000"/>
                <a:gd name="connsiteX118" fmla="*/ 4697 w 10102"/>
                <a:gd name="connsiteY118" fmla="*/ 1957 h 10000"/>
                <a:gd name="connsiteX119" fmla="*/ 4591 w 10102"/>
                <a:gd name="connsiteY119" fmla="*/ 1899 h 10000"/>
                <a:gd name="connsiteX120" fmla="*/ 4591 w 10102"/>
                <a:gd name="connsiteY120" fmla="*/ 1957 h 10000"/>
                <a:gd name="connsiteX121" fmla="*/ 4591 w 10102"/>
                <a:gd name="connsiteY121" fmla="*/ 1996 h 10000"/>
                <a:gd name="connsiteX122" fmla="*/ 4570 w 10102"/>
                <a:gd name="connsiteY122" fmla="*/ 1996 h 10000"/>
                <a:gd name="connsiteX123" fmla="*/ 4453 w 10102"/>
                <a:gd name="connsiteY123" fmla="*/ 1996 h 10000"/>
                <a:gd name="connsiteX124" fmla="*/ 4431 w 10102"/>
                <a:gd name="connsiteY124" fmla="*/ 1996 h 10000"/>
                <a:gd name="connsiteX125" fmla="*/ 4431 w 10102"/>
                <a:gd name="connsiteY125" fmla="*/ 1957 h 10000"/>
                <a:gd name="connsiteX126" fmla="*/ 4378 w 10102"/>
                <a:gd name="connsiteY126" fmla="*/ 1589 h 10000"/>
                <a:gd name="connsiteX127" fmla="*/ 4091 w 10102"/>
                <a:gd name="connsiteY127" fmla="*/ 1512 h 10000"/>
                <a:gd name="connsiteX128" fmla="*/ 4081 w 10102"/>
                <a:gd name="connsiteY128" fmla="*/ 1512 h 10000"/>
                <a:gd name="connsiteX129" fmla="*/ 4070 w 10102"/>
                <a:gd name="connsiteY129" fmla="*/ 1492 h 10000"/>
                <a:gd name="connsiteX130" fmla="*/ 3879 w 10102"/>
                <a:gd name="connsiteY130" fmla="*/ 988 h 10000"/>
                <a:gd name="connsiteX131" fmla="*/ 3719 w 10102"/>
                <a:gd name="connsiteY131" fmla="*/ 988 h 10000"/>
                <a:gd name="connsiteX132" fmla="*/ 3698 w 10102"/>
                <a:gd name="connsiteY132" fmla="*/ 1085 h 10000"/>
                <a:gd name="connsiteX133" fmla="*/ 3698 w 10102"/>
                <a:gd name="connsiteY133" fmla="*/ 1105 h 10000"/>
                <a:gd name="connsiteX134" fmla="*/ 3698 w 10102"/>
                <a:gd name="connsiteY134" fmla="*/ 1105 h 10000"/>
                <a:gd name="connsiteX135" fmla="*/ 3592 w 10102"/>
                <a:gd name="connsiteY135" fmla="*/ 1318 h 10000"/>
                <a:gd name="connsiteX136" fmla="*/ 3592 w 10102"/>
                <a:gd name="connsiteY136" fmla="*/ 1318 h 10000"/>
                <a:gd name="connsiteX137" fmla="*/ 3581 w 10102"/>
                <a:gd name="connsiteY137" fmla="*/ 1318 h 10000"/>
                <a:gd name="connsiteX138" fmla="*/ 3486 w 10102"/>
                <a:gd name="connsiteY138" fmla="*/ 1395 h 10000"/>
                <a:gd name="connsiteX139" fmla="*/ 3486 w 10102"/>
                <a:gd name="connsiteY139" fmla="*/ 1686 h 10000"/>
                <a:gd name="connsiteX140" fmla="*/ 3486 w 10102"/>
                <a:gd name="connsiteY140" fmla="*/ 1725 h 10000"/>
                <a:gd name="connsiteX141" fmla="*/ 3475 w 10102"/>
                <a:gd name="connsiteY141" fmla="*/ 1725 h 10000"/>
                <a:gd name="connsiteX142" fmla="*/ 3369 w 10102"/>
                <a:gd name="connsiteY142" fmla="*/ 1841 h 10000"/>
                <a:gd name="connsiteX143" fmla="*/ 3135 w 10102"/>
                <a:gd name="connsiteY143" fmla="*/ 2171 h 10000"/>
                <a:gd name="connsiteX144" fmla="*/ 2954 w 10102"/>
                <a:gd name="connsiteY144" fmla="*/ 2829 h 10000"/>
                <a:gd name="connsiteX145" fmla="*/ 2954 w 10102"/>
                <a:gd name="connsiteY145" fmla="*/ 2829 h 10000"/>
                <a:gd name="connsiteX146" fmla="*/ 2944 w 10102"/>
                <a:gd name="connsiteY146" fmla="*/ 2829 h 10000"/>
                <a:gd name="connsiteX147" fmla="*/ 2699 w 10102"/>
                <a:gd name="connsiteY147" fmla="*/ 3217 h 10000"/>
                <a:gd name="connsiteX148" fmla="*/ 2487 w 10102"/>
                <a:gd name="connsiteY148" fmla="*/ 3566 h 10000"/>
                <a:gd name="connsiteX149" fmla="*/ 2465 w 10102"/>
                <a:gd name="connsiteY149" fmla="*/ 3934 h 10000"/>
                <a:gd name="connsiteX150" fmla="*/ 2465 w 10102"/>
                <a:gd name="connsiteY150" fmla="*/ 3934 h 10000"/>
                <a:gd name="connsiteX151" fmla="*/ 2465 w 10102"/>
                <a:gd name="connsiteY151" fmla="*/ 3934 h 10000"/>
                <a:gd name="connsiteX152" fmla="*/ 2295 w 10102"/>
                <a:gd name="connsiteY152" fmla="*/ 4205 h 10000"/>
                <a:gd name="connsiteX153" fmla="*/ 2200 w 10102"/>
                <a:gd name="connsiteY153" fmla="*/ 4535 h 10000"/>
                <a:gd name="connsiteX154" fmla="*/ 2189 w 10102"/>
                <a:gd name="connsiteY154" fmla="*/ 4554 h 10000"/>
                <a:gd name="connsiteX155" fmla="*/ 2179 w 10102"/>
                <a:gd name="connsiteY155" fmla="*/ 4554 h 10000"/>
                <a:gd name="connsiteX156" fmla="*/ 2051 w 10102"/>
                <a:gd name="connsiteY156" fmla="*/ 4535 h 10000"/>
                <a:gd name="connsiteX157" fmla="*/ 1913 w 10102"/>
                <a:gd name="connsiteY157" fmla="*/ 4767 h 10000"/>
                <a:gd name="connsiteX158" fmla="*/ 1913 w 10102"/>
                <a:gd name="connsiteY158" fmla="*/ 4787 h 10000"/>
                <a:gd name="connsiteX159" fmla="*/ 1902 w 10102"/>
                <a:gd name="connsiteY159" fmla="*/ 4787 h 10000"/>
                <a:gd name="connsiteX160" fmla="*/ 1498 w 10102"/>
                <a:gd name="connsiteY160" fmla="*/ 4671 h 10000"/>
                <a:gd name="connsiteX161" fmla="*/ 1488 w 10102"/>
                <a:gd name="connsiteY161" fmla="*/ 4671 h 10000"/>
                <a:gd name="connsiteX162" fmla="*/ 1488 w 10102"/>
                <a:gd name="connsiteY162" fmla="*/ 4651 h 10000"/>
                <a:gd name="connsiteX163" fmla="*/ 1424 w 10102"/>
                <a:gd name="connsiteY163" fmla="*/ 4516 h 10000"/>
                <a:gd name="connsiteX164" fmla="*/ 1350 w 10102"/>
                <a:gd name="connsiteY164" fmla="*/ 4516 h 10000"/>
                <a:gd name="connsiteX165" fmla="*/ 1296 w 10102"/>
                <a:gd name="connsiteY165" fmla="*/ 4690 h 10000"/>
                <a:gd name="connsiteX166" fmla="*/ 1286 w 10102"/>
                <a:gd name="connsiteY166" fmla="*/ 4922 h 10000"/>
                <a:gd name="connsiteX167" fmla="*/ 1286 w 10102"/>
                <a:gd name="connsiteY167" fmla="*/ 4942 h 10000"/>
                <a:gd name="connsiteX168" fmla="*/ 1275 w 10102"/>
                <a:gd name="connsiteY168" fmla="*/ 4961 h 10000"/>
                <a:gd name="connsiteX169" fmla="*/ 1190 w 10102"/>
                <a:gd name="connsiteY169" fmla="*/ 5058 h 10000"/>
                <a:gd name="connsiteX170" fmla="*/ 1137 w 10102"/>
                <a:gd name="connsiteY170" fmla="*/ 5271 h 10000"/>
                <a:gd name="connsiteX171" fmla="*/ 1137 w 10102"/>
                <a:gd name="connsiteY171" fmla="*/ 5291 h 10000"/>
                <a:gd name="connsiteX172" fmla="*/ 1126 w 10102"/>
                <a:gd name="connsiteY172" fmla="*/ 5291 h 10000"/>
                <a:gd name="connsiteX173" fmla="*/ 1020 w 10102"/>
                <a:gd name="connsiteY173" fmla="*/ 5407 h 10000"/>
                <a:gd name="connsiteX174" fmla="*/ 999 w 10102"/>
                <a:gd name="connsiteY174" fmla="*/ 5581 h 10000"/>
                <a:gd name="connsiteX175" fmla="*/ 978 w 10102"/>
                <a:gd name="connsiteY175" fmla="*/ 5756 h 10000"/>
                <a:gd name="connsiteX176" fmla="*/ 978 w 10102"/>
                <a:gd name="connsiteY176" fmla="*/ 5775 h 10000"/>
                <a:gd name="connsiteX177" fmla="*/ 967 w 10102"/>
                <a:gd name="connsiteY177" fmla="*/ 5775 h 10000"/>
                <a:gd name="connsiteX178" fmla="*/ 861 w 10102"/>
                <a:gd name="connsiteY178" fmla="*/ 5814 h 10000"/>
                <a:gd name="connsiteX179" fmla="*/ 861 w 10102"/>
                <a:gd name="connsiteY179" fmla="*/ 6047 h 10000"/>
                <a:gd name="connsiteX180" fmla="*/ 967 w 10102"/>
                <a:gd name="connsiteY180" fmla="*/ 6298 h 10000"/>
                <a:gd name="connsiteX181" fmla="*/ 967 w 10102"/>
                <a:gd name="connsiteY181" fmla="*/ 6298 h 10000"/>
                <a:gd name="connsiteX182" fmla="*/ 978 w 10102"/>
                <a:gd name="connsiteY182" fmla="*/ 6318 h 10000"/>
                <a:gd name="connsiteX183" fmla="*/ 988 w 10102"/>
                <a:gd name="connsiteY183" fmla="*/ 6512 h 10000"/>
                <a:gd name="connsiteX184" fmla="*/ 988 w 10102"/>
                <a:gd name="connsiteY184" fmla="*/ 6531 h 10000"/>
                <a:gd name="connsiteX185" fmla="*/ 978 w 10102"/>
                <a:gd name="connsiteY185" fmla="*/ 6550 h 10000"/>
                <a:gd name="connsiteX186" fmla="*/ 627 w 10102"/>
                <a:gd name="connsiteY186" fmla="*/ 7016 h 10000"/>
                <a:gd name="connsiteX187" fmla="*/ 521 w 10102"/>
                <a:gd name="connsiteY187" fmla="*/ 7151 h 10000"/>
                <a:gd name="connsiteX188" fmla="*/ 340 w 10102"/>
                <a:gd name="connsiteY188" fmla="*/ 7384 h 10000"/>
                <a:gd name="connsiteX189" fmla="*/ 340 w 10102"/>
                <a:gd name="connsiteY189" fmla="*/ 7403 h 10000"/>
                <a:gd name="connsiteX190" fmla="*/ 340 w 10102"/>
                <a:gd name="connsiteY190" fmla="*/ 7403 h 10000"/>
                <a:gd name="connsiteX191" fmla="*/ 191 w 10102"/>
                <a:gd name="connsiteY191" fmla="*/ 7519 h 10000"/>
                <a:gd name="connsiteX192" fmla="*/ 0 w 10102"/>
                <a:gd name="connsiteY192" fmla="*/ 7791 h 10000"/>
                <a:gd name="connsiteX193" fmla="*/ 11 w 10102"/>
                <a:gd name="connsiteY193" fmla="*/ 7829 h 10000"/>
                <a:gd name="connsiteX194" fmla="*/ 149 w 10102"/>
                <a:gd name="connsiteY194" fmla="*/ 7868 h 10000"/>
                <a:gd name="connsiteX195" fmla="*/ 159 w 10102"/>
                <a:gd name="connsiteY195" fmla="*/ 7868 h 10000"/>
                <a:gd name="connsiteX196" fmla="*/ 159 w 10102"/>
                <a:gd name="connsiteY196" fmla="*/ 7868 h 10000"/>
                <a:gd name="connsiteX197" fmla="*/ 372 w 10102"/>
                <a:gd name="connsiteY197" fmla="*/ 8256 h 10000"/>
                <a:gd name="connsiteX198" fmla="*/ 1467 w 10102"/>
                <a:gd name="connsiteY198" fmla="*/ 9205 h 10000"/>
                <a:gd name="connsiteX199" fmla="*/ 1467 w 10102"/>
                <a:gd name="connsiteY199" fmla="*/ 9205 h 10000"/>
                <a:gd name="connsiteX200" fmla="*/ 1477 w 10102"/>
                <a:gd name="connsiteY200" fmla="*/ 9205 h 10000"/>
                <a:gd name="connsiteX201" fmla="*/ 1838 w 10102"/>
                <a:gd name="connsiteY201" fmla="*/ 9729 h 10000"/>
                <a:gd name="connsiteX202" fmla="*/ 2508 w 10102"/>
                <a:gd name="connsiteY202" fmla="*/ 9767 h 10000"/>
                <a:gd name="connsiteX203" fmla="*/ 2561 w 10102"/>
                <a:gd name="connsiteY203" fmla="*/ 9671 h 10000"/>
                <a:gd name="connsiteX204" fmla="*/ 2561 w 10102"/>
                <a:gd name="connsiteY204" fmla="*/ 9671 h 10000"/>
                <a:gd name="connsiteX205" fmla="*/ 2582 w 10102"/>
                <a:gd name="connsiteY205" fmla="*/ 9671 h 10000"/>
                <a:gd name="connsiteX206" fmla="*/ 2848 w 10102"/>
                <a:gd name="connsiteY206" fmla="*/ 9651 h 10000"/>
                <a:gd name="connsiteX207" fmla="*/ 2859 w 10102"/>
                <a:gd name="connsiteY207" fmla="*/ 9651 h 10000"/>
                <a:gd name="connsiteX208" fmla="*/ 2869 w 10102"/>
                <a:gd name="connsiteY208" fmla="*/ 9671 h 10000"/>
                <a:gd name="connsiteX209" fmla="*/ 3061 w 10102"/>
                <a:gd name="connsiteY209" fmla="*/ 10000 h 10000"/>
                <a:gd name="connsiteX210" fmla="*/ 3061 w 10102"/>
                <a:gd name="connsiteY210" fmla="*/ 10000 h 10000"/>
                <a:gd name="connsiteX211" fmla="*/ 4336 w 10102"/>
                <a:gd name="connsiteY211" fmla="*/ 9961 h 10000"/>
                <a:gd name="connsiteX212" fmla="*/ 4357 w 10102"/>
                <a:gd name="connsiteY212" fmla="*/ 9961 h 10000"/>
                <a:gd name="connsiteX213" fmla="*/ 4357 w 10102"/>
                <a:gd name="connsiteY213" fmla="*/ 9981 h 10000"/>
                <a:gd name="connsiteX214" fmla="*/ 4527 w 10102"/>
                <a:gd name="connsiteY214" fmla="*/ 9864 h 10000"/>
                <a:gd name="connsiteX215" fmla="*/ 4538 w 10102"/>
                <a:gd name="connsiteY215" fmla="*/ 9864 h 10000"/>
                <a:gd name="connsiteX216" fmla="*/ 4538 w 10102"/>
                <a:gd name="connsiteY216" fmla="*/ 9864 h 10000"/>
                <a:gd name="connsiteX217" fmla="*/ 5250 w 10102"/>
                <a:gd name="connsiteY217" fmla="*/ 9845 h 10000"/>
                <a:gd name="connsiteX218" fmla="*/ 7354 w 10102"/>
                <a:gd name="connsiteY218" fmla="*/ 9845 h 10000"/>
                <a:gd name="connsiteX219" fmla="*/ 7343 w 10102"/>
                <a:gd name="connsiteY219" fmla="*/ 9826 h 10000"/>
                <a:gd name="connsiteX220" fmla="*/ 7439 w 10102"/>
                <a:gd name="connsiteY220" fmla="*/ 9612 h 10000"/>
                <a:gd name="connsiteX221" fmla="*/ 7513 w 10102"/>
                <a:gd name="connsiteY221" fmla="*/ 9516 h 10000"/>
                <a:gd name="connsiteX222" fmla="*/ 7428 w 10102"/>
                <a:gd name="connsiteY222" fmla="*/ 9283 h 10000"/>
                <a:gd name="connsiteX223" fmla="*/ 7450 w 10102"/>
                <a:gd name="connsiteY223" fmla="*/ 9109 h 10000"/>
                <a:gd name="connsiteX224" fmla="*/ 7683 w 10102"/>
                <a:gd name="connsiteY224" fmla="*/ 8992 h 10000"/>
                <a:gd name="connsiteX225" fmla="*/ 7683 w 10102"/>
                <a:gd name="connsiteY225" fmla="*/ 8798 h 10000"/>
                <a:gd name="connsiteX226" fmla="*/ 7779 w 10102"/>
                <a:gd name="connsiteY226" fmla="*/ 8682 h 10000"/>
                <a:gd name="connsiteX227" fmla="*/ 7949 w 10102"/>
                <a:gd name="connsiteY227" fmla="*/ 8372 h 10000"/>
                <a:gd name="connsiteX228" fmla="*/ 8013 w 10102"/>
                <a:gd name="connsiteY228" fmla="*/ 8023 h 10000"/>
                <a:gd name="connsiteX229" fmla="*/ 8098 w 10102"/>
                <a:gd name="connsiteY229" fmla="*/ 7907 h 10000"/>
                <a:gd name="connsiteX230" fmla="*/ 8204 w 10102"/>
                <a:gd name="connsiteY230" fmla="*/ 7907 h 10000"/>
                <a:gd name="connsiteX231" fmla="*/ 8363 w 10102"/>
                <a:gd name="connsiteY231" fmla="*/ 7829 h 10000"/>
                <a:gd name="connsiteX232" fmla="*/ 8576 w 10102"/>
                <a:gd name="connsiteY232" fmla="*/ 7907 h 10000"/>
                <a:gd name="connsiteX233" fmla="*/ 8661 w 10102"/>
                <a:gd name="connsiteY233" fmla="*/ 8004 h 10000"/>
                <a:gd name="connsiteX234" fmla="*/ 8704 w 10102"/>
                <a:gd name="connsiteY234" fmla="*/ 7829 h 10000"/>
                <a:gd name="connsiteX235" fmla="*/ 8831 w 10102"/>
                <a:gd name="connsiteY235" fmla="*/ 7733 h 10000"/>
                <a:gd name="connsiteX236" fmla="*/ 8980 w 10102"/>
                <a:gd name="connsiteY236" fmla="*/ 7713 h 10000"/>
                <a:gd name="connsiteX237" fmla="*/ 9097 w 10102"/>
                <a:gd name="connsiteY237" fmla="*/ 7674 h 10000"/>
                <a:gd name="connsiteX238" fmla="*/ 9235 w 10102"/>
                <a:gd name="connsiteY238" fmla="*/ 7791 h 10000"/>
                <a:gd name="connsiteX239" fmla="*/ 9341 w 10102"/>
                <a:gd name="connsiteY239" fmla="*/ 7907 h 10000"/>
                <a:gd name="connsiteX240" fmla="*/ 9458 w 10102"/>
                <a:gd name="connsiteY240" fmla="*/ 7733 h 10000"/>
                <a:gd name="connsiteX241" fmla="*/ 9575 w 10102"/>
                <a:gd name="connsiteY241" fmla="*/ 7829 h 10000"/>
                <a:gd name="connsiteX242" fmla="*/ 9702 w 10102"/>
                <a:gd name="connsiteY242" fmla="*/ 7829 h 10000"/>
                <a:gd name="connsiteX243" fmla="*/ 9809 w 10102"/>
                <a:gd name="connsiteY243" fmla="*/ 7907 h 10000"/>
                <a:gd name="connsiteX244" fmla="*/ 9968 w 10102"/>
                <a:gd name="connsiteY244" fmla="*/ 7829 h 10000"/>
                <a:gd name="connsiteX245" fmla="*/ 10000 w 10102"/>
                <a:gd name="connsiteY245" fmla="*/ 7810 h 10000"/>
                <a:gd name="connsiteX246" fmla="*/ 9979 w 10102"/>
                <a:gd name="connsiteY246" fmla="*/ 7810 h 10000"/>
                <a:gd name="connsiteX247" fmla="*/ 10066 w 10102"/>
                <a:gd name="connsiteY247" fmla="*/ 7636 h 10000"/>
                <a:gd name="connsiteX248" fmla="*/ 10075 w 10102"/>
                <a:gd name="connsiteY248" fmla="*/ 7250 h 10000"/>
                <a:gd name="connsiteX249" fmla="*/ 9968 w 10102"/>
                <a:gd name="connsiteY249" fmla="*/ 6822 h 10000"/>
                <a:gd name="connsiteX250" fmla="*/ 9979 w 10102"/>
                <a:gd name="connsiteY250" fmla="*/ 6802 h 10000"/>
                <a:gd name="connsiteX251" fmla="*/ 9979 w 10102"/>
                <a:gd name="connsiteY251" fmla="*/ 6802 h 10000"/>
                <a:gd name="connsiteX252" fmla="*/ 9947 w 10102"/>
                <a:gd name="connsiteY252" fmla="*/ 6764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</a:cxnLst>
              <a:rect l="l" t="t" r="r" b="b"/>
              <a:pathLst>
                <a:path w="10102" h="10000">
                  <a:moveTo>
                    <a:pt x="9947" y="6764"/>
                  </a:moveTo>
                  <a:cubicBezTo>
                    <a:pt x="9920" y="6740"/>
                    <a:pt x="9846" y="6631"/>
                    <a:pt x="9816" y="6660"/>
                  </a:cubicBezTo>
                  <a:cubicBezTo>
                    <a:pt x="9799" y="6753"/>
                    <a:pt x="9783" y="6845"/>
                    <a:pt x="9766" y="6938"/>
                  </a:cubicBezTo>
                  <a:cubicBezTo>
                    <a:pt x="9733" y="6941"/>
                    <a:pt x="9716" y="6925"/>
                    <a:pt x="9665" y="6915"/>
                  </a:cubicBezTo>
                  <a:lnTo>
                    <a:pt x="9458" y="6880"/>
                  </a:lnTo>
                  <a:cubicBezTo>
                    <a:pt x="9454" y="6873"/>
                    <a:pt x="9451" y="6867"/>
                    <a:pt x="9447" y="6860"/>
                  </a:cubicBezTo>
                  <a:lnTo>
                    <a:pt x="9447" y="6841"/>
                  </a:lnTo>
                  <a:cubicBezTo>
                    <a:pt x="9479" y="6805"/>
                    <a:pt x="9512" y="6770"/>
                    <a:pt x="9544" y="6734"/>
                  </a:cubicBezTo>
                  <a:cubicBezTo>
                    <a:pt x="9580" y="6702"/>
                    <a:pt x="9518" y="6485"/>
                    <a:pt x="9554" y="6453"/>
                  </a:cubicBezTo>
                  <a:cubicBezTo>
                    <a:pt x="9557" y="6169"/>
                    <a:pt x="9561" y="5885"/>
                    <a:pt x="9564" y="5601"/>
                  </a:cubicBezTo>
                  <a:lnTo>
                    <a:pt x="9564" y="5581"/>
                  </a:lnTo>
                  <a:lnTo>
                    <a:pt x="9564" y="5562"/>
                  </a:lnTo>
                  <a:cubicBezTo>
                    <a:pt x="9592" y="5504"/>
                    <a:pt x="9621" y="5446"/>
                    <a:pt x="9649" y="5388"/>
                  </a:cubicBezTo>
                  <a:cubicBezTo>
                    <a:pt x="9667" y="5356"/>
                    <a:pt x="9684" y="5323"/>
                    <a:pt x="9702" y="5291"/>
                  </a:cubicBezTo>
                  <a:cubicBezTo>
                    <a:pt x="9653" y="5213"/>
                    <a:pt x="9603" y="5136"/>
                    <a:pt x="9554" y="5058"/>
                  </a:cubicBezTo>
                  <a:lnTo>
                    <a:pt x="9554" y="5058"/>
                  </a:lnTo>
                  <a:lnTo>
                    <a:pt x="9543" y="5058"/>
                  </a:lnTo>
                  <a:cubicBezTo>
                    <a:pt x="9493" y="4942"/>
                    <a:pt x="9444" y="4825"/>
                    <a:pt x="9394" y="4709"/>
                  </a:cubicBezTo>
                  <a:lnTo>
                    <a:pt x="9394" y="4690"/>
                  </a:lnTo>
                  <a:lnTo>
                    <a:pt x="9394" y="4690"/>
                  </a:lnTo>
                  <a:cubicBezTo>
                    <a:pt x="9391" y="4612"/>
                    <a:pt x="9459" y="4598"/>
                    <a:pt x="9456" y="4520"/>
                  </a:cubicBezTo>
                  <a:cubicBezTo>
                    <a:pt x="9472" y="4465"/>
                    <a:pt x="9460" y="4396"/>
                    <a:pt x="9490" y="4360"/>
                  </a:cubicBezTo>
                  <a:lnTo>
                    <a:pt x="9564" y="4244"/>
                  </a:lnTo>
                  <a:cubicBezTo>
                    <a:pt x="9585" y="4167"/>
                    <a:pt x="9607" y="4089"/>
                    <a:pt x="9628" y="4012"/>
                  </a:cubicBezTo>
                  <a:lnTo>
                    <a:pt x="9490" y="3760"/>
                  </a:lnTo>
                  <a:lnTo>
                    <a:pt x="9490" y="3760"/>
                  </a:lnTo>
                  <a:lnTo>
                    <a:pt x="9479" y="3760"/>
                  </a:lnTo>
                  <a:cubicBezTo>
                    <a:pt x="9461" y="3682"/>
                    <a:pt x="9444" y="3605"/>
                    <a:pt x="9426" y="3527"/>
                  </a:cubicBezTo>
                  <a:lnTo>
                    <a:pt x="9426" y="3527"/>
                  </a:lnTo>
                  <a:lnTo>
                    <a:pt x="9426" y="3508"/>
                  </a:lnTo>
                  <a:cubicBezTo>
                    <a:pt x="9423" y="3405"/>
                    <a:pt x="9419" y="3301"/>
                    <a:pt x="9416" y="3198"/>
                  </a:cubicBezTo>
                  <a:lnTo>
                    <a:pt x="9416" y="3198"/>
                  </a:lnTo>
                  <a:lnTo>
                    <a:pt x="9416" y="3178"/>
                  </a:lnTo>
                  <a:cubicBezTo>
                    <a:pt x="9455" y="3088"/>
                    <a:pt x="9493" y="2997"/>
                    <a:pt x="9532" y="2907"/>
                  </a:cubicBezTo>
                  <a:cubicBezTo>
                    <a:pt x="9483" y="2810"/>
                    <a:pt x="9433" y="2713"/>
                    <a:pt x="9384" y="2616"/>
                  </a:cubicBezTo>
                  <a:lnTo>
                    <a:pt x="9384" y="2616"/>
                  </a:lnTo>
                  <a:lnTo>
                    <a:pt x="9384" y="2616"/>
                  </a:lnTo>
                  <a:cubicBezTo>
                    <a:pt x="9366" y="2500"/>
                    <a:pt x="9348" y="2383"/>
                    <a:pt x="9330" y="2267"/>
                  </a:cubicBezTo>
                  <a:lnTo>
                    <a:pt x="9330" y="2248"/>
                  </a:lnTo>
                  <a:lnTo>
                    <a:pt x="9330" y="2248"/>
                  </a:lnTo>
                  <a:cubicBezTo>
                    <a:pt x="9334" y="2112"/>
                    <a:pt x="9337" y="1977"/>
                    <a:pt x="9341" y="1841"/>
                  </a:cubicBezTo>
                  <a:lnTo>
                    <a:pt x="9341" y="1822"/>
                  </a:lnTo>
                  <a:lnTo>
                    <a:pt x="9341" y="1822"/>
                  </a:lnTo>
                  <a:lnTo>
                    <a:pt x="9660" y="1279"/>
                  </a:lnTo>
                  <a:cubicBezTo>
                    <a:pt x="9628" y="1189"/>
                    <a:pt x="9596" y="1098"/>
                    <a:pt x="9564" y="1008"/>
                  </a:cubicBezTo>
                  <a:lnTo>
                    <a:pt x="9554" y="1008"/>
                  </a:lnTo>
                  <a:lnTo>
                    <a:pt x="9554" y="988"/>
                  </a:lnTo>
                  <a:cubicBezTo>
                    <a:pt x="9565" y="891"/>
                    <a:pt x="9575" y="795"/>
                    <a:pt x="9586" y="698"/>
                  </a:cubicBezTo>
                  <a:lnTo>
                    <a:pt x="9501" y="601"/>
                  </a:lnTo>
                  <a:lnTo>
                    <a:pt x="9288" y="581"/>
                  </a:lnTo>
                  <a:lnTo>
                    <a:pt x="9288" y="581"/>
                  </a:lnTo>
                  <a:lnTo>
                    <a:pt x="9277" y="581"/>
                  </a:lnTo>
                  <a:cubicBezTo>
                    <a:pt x="9259" y="549"/>
                    <a:pt x="9242" y="516"/>
                    <a:pt x="9224" y="484"/>
                  </a:cubicBezTo>
                  <a:lnTo>
                    <a:pt x="9086" y="484"/>
                  </a:lnTo>
                  <a:lnTo>
                    <a:pt x="8948" y="1124"/>
                  </a:lnTo>
                  <a:lnTo>
                    <a:pt x="8927" y="1124"/>
                  </a:lnTo>
                  <a:lnTo>
                    <a:pt x="8927" y="1143"/>
                  </a:lnTo>
                  <a:lnTo>
                    <a:pt x="8650" y="1415"/>
                  </a:lnTo>
                  <a:cubicBezTo>
                    <a:pt x="8647" y="1421"/>
                    <a:pt x="8643" y="1428"/>
                    <a:pt x="8640" y="1434"/>
                  </a:cubicBezTo>
                  <a:lnTo>
                    <a:pt x="8640" y="1434"/>
                  </a:lnTo>
                  <a:lnTo>
                    <a:pt x="8470" y="1395"/>
                  </a:lnTo>
                  <a:cubicBezTo>
                    <a:pt x="8420" y="1440"/>
                    <a:pt x="8371" y="1486"/>
                    <a:pt x="8321" y="1531"/>
                  </a:cubicBezTo>
                  <a:lnTo>
                    <a:pt x="8321" y="1531"/>
                  </a:lnTo>
                  <a:lnTo>
                    <a:pt x="8321" y="1531"/>
                  </a:lnTo>
                  <a:lnTo>
                    <a:pt x="8172" y="1589"/>
                  </a:lnTo>
                  <a:lnTo>
                    <a:pt x="8023" y="1957"/>
                  </a:lnTo>
                  <a:cubicBezTo>
                    <a:pt x="8020" y="1964"/>
                    <a:pt x="8016" y="1970"/>
                    <a:pt x="8013" y="1977"/>
                  </a:cubicBezTo>
                  <a:lnTo>
                    <a:pt x="7991" y="1977"/>
                  </a:lnTo>
                  <a:lnTo>
                    <a:pt x="7864" y="1899"/>
                  </a:lnTo>
                  <a:lnTo>
                    <a:pt x="7843" y="1899"/>
                  </a:lnTo>
                  <a:cubicBezTo>
                    <a:pt x="7846" y="1880"/>
                    <a:pt x="7850" y="1860"/>
                    <a:pt x="7853" y="1841"/>
                  </a:cubicBezTo>
                  <a:cubicBezTo>
                    <a:pt x="7878" y="1764"/>
                    <a:pt x="7903" y="1686"/>
                    <a:pt x="7928" y="1609"/>
                  </a:cubicBezTo>
                  <a:cubicBezTo>
                    <a:pt x="7921" y="1499"/>
                    <a:pt x="7913" y="1389"/>
                    <a:pt x="7906" y="1279"/>
                  </a:cubicBezTo>
                  <a:cubicBezTo>
                    <a:pt x="7857" y="1227"/>
                    <a:pt x="7807" y="1176"/>
                    <a:pt x="7758" y="1124"/>
                  </a:cubicBezTo>
                  <a:lnTo>
                    <a:pt x="7651" y="1124"/>
                  </a:lnTo>
                  <a:lnTo>
                    <a:pt x="7641" y="1124"/>
                  </a:lnTo>
                  <a:cubicBezTo>
                    <a:pt x="7637" y="1118"/>
                    <a:pt x="7634" y="1111"/>
                    <a:pt x="7630" y="1105"/>
                  </a:cubicBezTo>
                  <a:cubicBezTo>
                    <a:pt x="7605" y="1047"/>
                    <a:pt x="7581" y="988"/>
                    <a:pt x="7556" y="930"/>
                  </a:cubicBezTo>
                  <a:lnTo>
                    <a:pt x="7184" y="891"/>
                  </a:lnTo>
                  <a:lnTo>
                    <a:pt x="7173" y="891"/>
                  </a:lnTo>
                  <a:lnTo>
                    <a:pt x="7173" y="872"/>
                  </a:lnTo>
                  <a:cubicBezTo>
                    <a:pt x="7148" y="788"/>
                    <a:pt x="7124" y="704"/>
                    <a:pt x="7099" y="620"/>
                  </a:cubicBezTo>
                  <a:cubicBezTo>
                    <a:pt x="7095" y="614"/>
                    <a:pt x="7092" y="607"/>
                    <a:pt x="7088" y="601"/>
                  </a:cubicBezTo>
                  <a:lnTo>
                    <a:pt x="7088" y="601"/>
                  </a:lnTo>
                  <a:lnTo>
                    <a:pt x="7088" y="465"/>
                  </a:lnTo>
                  <a:lnTo>
                    <a:pt x="7088" y="426"/>
                  </a:lnTo>
                  <a:cubicBezTo>
                    <a:pt x="7092" y="420"/>
                    <a:pt x="7095" y="413"/>
                    <a:pt x="7099" y="407"/>
                  </a:cubicBezTo>
                  <a:cubicBezTo>
                    <a:pt x="7131" y="375"/>
                    <a:pt x="7162" y="342"/>
                    <a:pt x="7194" y="310"/>
                  </a:cubicBezTo>
                  <a:cubicBezTo>
                    <a:pt x="7163" y="252"/>
                    <a:pt x="7109" y="136"/>
                    <a:pt x="7109" y="136"/>
                  </a:cubicBezTo>
                  <a:cubicBezTo>
                    <a:pt x="7084" y="91"/>
                    <a:pt x="7060" y="45"/>
                    <a:pt x="7035" y="0"/>
                  </a:cubicBezTo>
                  <a:cubicBezTo>
                    <a:pt x="7003" y="39"/>
                    <a:pt x="6971" y="77"/>
                    <a:pt x="6939" y="116"/>
                  </a:cubicBezTo>
                  <a:lnTo>
                    <a:pt x="6939" y="116"/>
                  </a:lnTo>
                  <a:lnTo>
                    <a:pt x="6939" y="116"/>
                  </a:lnTo>
                  <a:lnTo>
                    <a:pt x="6812" y="155"/>
                  </a:lnTo>
                  <a:lnTo>
                    <a:pt x="6674" y="291"/>
                  </a:lnTo>
                  <a:cubicBezTo>
                    <a:pt x="6649" y="368"/>
                    <a:pt x="6624" y="446"/>
                    <a:pt x="6599" y="523"/>
                  </a:cubicBezTo>
                  <a:lnTo>
                    <a:pt x="6599" y="543"/>
                  </a:lnTo>
                  <a:lnTo>
                    <a:pt x="6589" y="543"/>
                  </a:lnTo>
                  <a:lnTo>
                    <a:pt x="6321" y="617"/>
                  </a:lnTo>
                  <a:cubicBezTo>
                    <a:pt x="6265" y="683"/>
                    <a:pt x="6282" y="857"/>
                    <a:pt x="6252" y="941"/>
                  </a:cubicBezTo>
                  <a:cubicBezTo>
                    <a:pt x="6215" y="1002"/>
                    <a:pt x="6179" y="1063"/>
                    <a:pt x="6142" y="1124"/>
                  </a:cubicBezTo>
                  <a:cubicBezTo>
                    <a:pt x="6101" y="1213"/>
                    <a:pt x="5989" y="1405"/>
                    <a:pt x="5932" y="1457"/>
                  </a:cubicBezTo>
                  <a:cubicBezTo>
                    <a:pt x="5897" y="1454"/>
                    <a:pt x="5839" y="1444"/>
                    <a:pt x="5802" y="1434"/>
                  </a:cubicBezTo>
                  <a:cubicBezTo>
                    <a:pt x="5795" y="1428"/>
                    <a:pt x="5788" y="1421"/>
                    <a:pt x="5781" y="1415"/>
                  </a:cubicBezTo>
                  <a:lnTo>
                    <a:pt x="5781" y="1395"/>
                  </a:lnTo>
                  <a:lnTo>
                    <a:pt x="5760" y="930"/>
                  </a:lnTo>
                  <a:lnTo>
                    <a:pt x="5654" y="872"/>
                  </a:lnTo>
                  <a:cubicBezTo>
                    <a:pt x="5611" y="930"/>
                    <a:pt x="5377" y="1240"/>
                    <a:pt x="5377" y="1240"/>
                  </a:cubicBezTo>
                  <a:lnTo>
                    <a:pt x="5165" y="1570"/>
                  </a:lnTo>
                  <a:lnTo>
                    <a:pt x="5165" y="1899"/>
                  </a:lnTo>
                  <a:lnTo>
                    <a:pt x="5165" y="1919"/>
                  </a:lnTo>
                  <a:lnTo>
                    <a:pt x="5154" y="1919"/>
                  </a:lnTo>
                  <a:lnTo>
                    <a:pt x="5027" y="2112"/>
                  </a:lnTo>
                  <a:lnTo>
                    <a:pt x="5016" y="2112"/>
                  </a:lnTo>
                  <a:lnTo>
                    <a:pt x="5005" y="2112"/>
                  </a:lnTo>
                  <a:lnTo>
                    <a:pt x="4814" y="2112"/>
                  </a:lnTo>
                  <a:lnTo>
                    <a:pt x="4803" y="2112"/>
                  </a:lnTo>
                  <a:lnTo>
                    <a:pt x="4803" y="2112"/>
                  </a:lnTo>
                  <a:cubicBezTo>
                    <a:pt x="4768" y="2060"/>
                    <a:pt x="4732" y="2009"/>
                    <a:pt x="4697" y="1957"/>
                  </a:cubicBezTo>
                  <a:lnTo>
                    <a:pt x="4591" y="1899"/>
                  </a:lnTo>
                  <a:lnTo>
                    <a:pt x="4591" y="1957"/>
                  </a:lnTo>
                  <a:lnTo>
                    <a:pt x="4591" y="1996"/>
                  </a:lnTo>
                  <a:lnTo>
                    <a:pt x="4570" y="1996"/>
                  </a:lnTo>
                  <a:lnTo>
                    <a:pt x="4453" y="1996"/>
                  </a:lnTo>
                  <a:lnTo>
                    <a:pt x="4431" y="1996"/>
                  </a:lnTo>
                  <a:lnTo>
                    <a:pt x="4431" y="1957"/>
                  </a:lnTo>
                  <a:cubicBezTo>
                    <a:pt x="4413" y="1834"/>
                    <a:pt x="4396" y="1712"/>
                    <a:pt x="4378" y="1589"/>
                  </a:cubicBezTo>
                  <a:lnTo>
                    <a:pt x="4091" y="1512"/>
                  </a:lnTo>
                  <a:lnTo>
                    <a:pt x="4081" y="1512"/>
                  </a:lnTo>
                  <a:cubicBezTo>
                    <a:pt x="4077" y="1505"/>
                    <a:pt x="4074" y="1499"/>
                    <a:pt x="4070" y="1492"/>
                  </a:cubicBezTo>
                  <a:cubicBezTo>
                    <a:pt x="4006" y="1324"/>
                    <a:pt x="3943" y="1156"/>
                    <a:pt x="3879" y="988"/>
                  </a:cubicBezTo>
                  <a:lnTo>
                    <a:pt x="3719" y="988"/>
                  </a:lnTo>
                  <a:cubicBezTo>
                    <a:pt x="3712" y="1020"/>
                    <a:pt x="3705" y="1053"/>
                    <a:pt x="3698" y="1085"/>
                  </a:cubicBezTo>
                  <a:lnTo>
                    <a:pt x="3698" y="1105"/>
                  </a:lnTo>
                  <a:lnTo>
                    <a:pt x="3698" y="1105"/>
                  </a:lnTo>
                  <a:cubicBezTo>
                    <a:pt x="3663" y="1176"/>
                    <a:pt x="3627" y="1247"/>
                    <a:pt x="3592" y="1318"/>
                  </a:cubicBezTo>
                  <a:lnTo>
                    <a:pt x="3592" y="1318"/>
                  </a:lnTo>
                  <a:lnTo>
                    <a:pt x="3581" y="1318"/>
                  </a:lnTo>
                  <a:lnTo>
                    <a:pt x="3486" y="1395"/>
                  </a:lnTo>
                  <a:lnTo>
                    <a:pt x="3486" y="1686"/>
                  </a:lnTo>
                  <a:lnTo>
                    <a:pt x="3486" y="1725"/>
                  </a:lnTo>
                  <a:lnTo>
                    <a:pt x="3475" y="1725"/>
                  </a:lnTo>
                  <a:cubicBezTo>
                    <a:pt x="3475" y="1725"/>
                    <a:pt x="3369" y="1860"/>
                    <a:pt x="3369" y="1841"/>
                  </a:cubicBezTo>
                  <a:lnTo>
                    <a:pt x="3135" y="2171"/>
                  </a:lnTo>
                  <a:cubicBezTo>
                    <a:pt x="3075" y="2390"/>
                    <a:pt x="3014" y="2610"/>
                    <a:pt x="2954" y="2829"/>
                  </a:cubicBezTo>
                  <a:lnTo>
                    <a:pt x="2954" y="2829"/>
                  </a:lnTo>
                  <a:lnTo>
                    <a:pt x="2944" y="2829"/>
                  </a:lnTo>
                  <a:cubicBezTo>
                    <a:pt x="2862" y="2958"/>
                    <a:pt x="2781" y="3088"/>
                    <a:pt x="2699" y="3217"/>
                  </a:cubicBezTo>
                  <a:cubicBezTo>
                    <a:pt x="2628" y="3333"/>
                    <a:pt x="2558" y="3450"/>
                    <a:pt x="2487" y="3566"/>
                  </a:cubicBezTo>
                  <a:cubicBezTo>
                    <a:pt x="2480" y="3689"/>
                    <a:pt x="2472" y="3811"/>
                    <a:pt x="2465" y="3934"/>
                  </a:cubicBezTo>
                  <a:lnTo>
                    <a:pt x="2465" y="3934"/>
                  </a:lnTo>
                  <a:lnTo>
                    <a:pt x="2465" y="3934"/>
                  </a:lnTo>
                  <a:cubicBezTo>
                    <a:pt x="2408" y="4024"/>
                    <a:pt x="2352" y="4115"/>
                    <a:pt x="2295" y="4205"/>
                  </a:cubicBezTo>
                  <a:cubicBezTo>
                    <a:pt x="2263" y="4315"/>
                    <a:pt x="2232" y="4425"/>
                    <a:pt x="2200" y="4535"/>
                  </a:cubicBezTo>
                  <a:cubicBezTo>
                    <a:pt x="2196" y="4541"/>
                    <a:pt x="2193" y="4548"/>
                    <a:pt x="2189" y="4554"/>
                  </a:cubicBezTo>
                  <a:lnTo>
                    <a:pt x="2179" y="4554"/>
                  </a:lnTo>
                  <a:lnTo>
                    <a:pt x="2051" y="4535"/>
                  </a:lnTo>
                  <a:lnTo>
                    <a:pt x="1913" y="4767"/>
                  </a:lnTo>
                  <a:lnTo>
                    <a:pt x="1913" y="4787"/>
                  </a:lnTo>
                  <a:lnTo>
                    <a:pt x="1902" y="4787"/>
                  </a:lnTo>
                  <a:lnTo>
                    <a:pt x="1498" y="4671"/>
                  </a:lnTo>
                  <a:lnTo>
                    <a:pt x="1488" y="4671"/>
                  </a:lnTo>
                  <a:lnTo>
                    <a:pt x="1488" y="4651"/>
                  </a:lnTo>
                  <a:cubicBezTo>
                    <a:pt x="1467" y="4606"/>
                    <a:pt x="1445" y="4561"/>
                    <a:pt x="1424" y="4516"/>
                  </a:cubicBezTo>
                  <a:lnTo>
                    <a:pt x="1350" y="4516"/>
                  </a:lnTo>
                  <a:lnTo>
                    <a:pt x="1296" y="4690"/>
                  </a:lnTo>
                  <a:cubicBezTo>
                    <a:pt x="1293" y="4767"/>
                    <a:pt x="1289" y="4845"/>
                    <a:pt x="1286" y="4922"/>
                  </a:cubicBezTo>
                  <a:lnTo>
                    <a:pt x="1286" y="4942"/>
                  </a:lnTo>
                  <a:cubicBezTo>
                    <a:pt x="1282" y="4948"/>
                    <a:pt x="1279" y="4955"/>
                    <a:pt x="1275" y="4961"/>
                  </a:cubicBezTo>
                  <a:lnTo>
                    <a:pt x="1190" y="5058"/>
                  </a:lnTo>
                  <a:cubicBezTo>
                    <a:pt x="1172" y="5129"/>
                    <a:pt x="1155" y="5200"/>
                    <a:pt x="1137" y="5271"/>
                  </a:cubicBezTo>
                  <a:lnTo>
                    <a:pt x="1137" y="5291"/>
                  </a:lnTo>
                  <a:lnTo>
                    <a:pt x="1126" y="5291"/>
                  </a:lnTo>
                  <a:cubicBezTo>
                    <a:pt x="1091" y="5330"/>
                    <a:pt x="1055" y="5368"/>
                    <a:pt x="1020" y="5407"/>
                  </a:cubicBezTo>
                  <a:cubicBezTo>
                    <a:pt x="1020" y="5446"/>
                    <a:pt x="999" y="5581"/>
                    <a:pt x="999" y="5581"/>
                  </a:cubicBezTo>
                  <a:cubicBezTo>
                    <a:pt x="992" y="5639"/>
                    <a:pt x="985" y="5698"/>
                    <a:pt x="978" y="5756"/>
                  </a:cubicBezTo>
                  <a:lnTo>
                    <a:pt x="978" y="5775"/>
                  </a:lnTo>
                  <a:lnTo>
                    <a:pt x="967" y="5775"/>
                  </a:lnTo>
                  <a:lnTo>
                    <a:pt x="861" y="5814"/>
                  </a:lnTo>
                  <a:lnTo>
                    <a:pt x="861" y="6047"/>
                  </a:lnTo>
                  <a:cubicBezTo>
                    <a:pt x="896" y="6131"/>
                    <a:pt x="932" y="6214"/>
                    <a:pt x="967" y="6298"/>
                  </a:cubicBezTo>
                  <a:lnTo>
                    <a:pt x="967" y="6298"/>
                  </a:lnTo>
                  <a:cubicBezTo>
                    <a:pt x="971" y="6305"/>
                    <a:pt x="974" y="6311"/>
                    <a:pt x="978" y="6318"/>
                  </a:cubicBezTo>
                  <a:cubicBezTo>
                    <a:pt x="981" y="6383"/>
                    <a:pt x="985" y="6447"/>
                    <a:pt x="988" y="6512"/>
                  </a:cubicBezTo>
                  <a:lnTo>
                    <a:pt x="988" y="6531"/>
                  </a:lnTo>
                  <a:cubicBezTo>
                    <a:pt x="985" y="6537"/>
                    <a:pt x="981" y="6544"/>
                    <a:pt x="978" y="6550"/>
                  </a:cubicBezTo>
                  <a:lnTo>
                    <a:pt x="627" y="7016"/>
                  </a:lnTo>
                  <a:cubicBezTo>
                    <a:pt x="592" y="7061"/>
                    <a:pt x="556" y="7106"/>
                    <a:pt x="521" y="7151"/>
                  </a:cubicBezTo>
                  <a:cubicBezTo>
                    <a:pt x="461" y="7229"/>
                    <a:pt x="400" y="7306"/>
                    <a:pt x="340" y="7384"/>
                  </a:cubicBezTo>
                  <a:lnTo>
                    <a:pt x="340" y="7403"/>
                  </a:lnTo>
                  <a:lnTo>
                    <a:pt x="340" y="7403"/>
                  </a:lnTo>
                  <a:lnTo>
                    <a:pt x="191" y="7519"/>
                  </a:lnTo>
                  <a:lnTo>
                    <a:pt x="0" y="7791"/>
                  </a:lnTo>
                  <a:cubicBezTo>
                    <a:pt x="4" y="7804"/>
                    <a:pt x="7" y="7816"/>
                    <a:pt x="11" y="7829"/>
                  </a:cubicBezTo>
                  <a:lnTo>
                    <a:pt x="149" y="7868"/>
                  </a:lnTo>
                  <a:lnTo>
                    <a:pt x="159" y="7868"/>
                  </a:lnTo>
                  <a:lnTo>
                    <a:pt x="159" y="7868"/>
                  </a:lnTo>
                  <a:lnTo>
                    <a:pt x="372" y="8256"/>
                  </a:lnTo>
                  <a:lnTo>
                    <a:pt x="1467" y="9205"/>
                  </a:lnTo>
                  <a:lnTo>
                    <a:pt x="1467" y="9205"/>
                  </a:lnTo>
                  <a:lnTo>
                    <a:pt x="1477" y="9205"/>
                  </a:lnTo>
                  <a:lnTo>
                    <a:pt x="1838" y="9729"/>
                  </a:lnTo>
                  <a:lnTo>
                    <a:pt x="2508" y="9767"/>
                  </a:lnTo>
                  <a:cubicBezTo>
                    <a:pt x="2526" y="9735"/>
                    <a:pt x="2543" y="9703"/>
                    <a:pt x="2561" y="9671"/>
                  </a:cubicBezTo>
                  <a:lnTo>
                    <a:pt x="2561" y="9671"/>
                  </a:lnTo>
                  <a:lnTo>
                    <a:pt x="2582" y="9671"/>
                  </a:lnTo>
                  <a:lnTo>
                    <a:pt x="2848" y="9651"/>
                  </a:lnTo>
                  <a:lnTo>
                    <a:pt x="2859" y="9651"/>
                  </a:lnTo>
                  <a:cubicBezTo>
                    <a:pt x="2862" y="9658"/>
                    <a:pt x="2866" y="9664"/>
                    <a:pt x="2869" y="9671"/>
                  </a:cubicBezTo>
                  <a:lnTo>
                    <a:pt x="3061" y="10000"/>
                  </a:lnTo>
                  <a:lnTo>
                    <a:pt x="3061" y="10000"/>
                  </a:lnTo>
                  <a:lnTo>
                    <a:pt x="4336" y="9961"/>
                  </a:lnTo>
                  <a:lnTo>
                    <a:pt x="4357" y="9961"/>
                  </a:lnTo>
                  <a:lnTo>
                    <a:pt x="4357" y="9981"/>
                  </a:lnTo>
                  <a:lnTo>
                    <a:pt x="4527" y="9864"/>
                  </a:lnTo>
                  <a:lnTo>
                    <a:pt x="4538" y="9864"/>
                  </a:lnTo>
                  <a:lnTo>
                    <a:pt x="4538" y="9864"/>
                  </a:lnTo>
                  <a:lnTo>
                    <a:pt x="5250" y="9845"/>
                  </a:lnTo>
                  <a:lnTo>
                    <a:pt x="7354" y="9845"/>
                  </a:lnTo>
                  <a:cubicBezTo>
                    <a:pt x="7350" y="9839"/>
                    <a:pt x="7347" y="9832"/>
                    <a:pt x="7343" y="9826"/>
                  </a:cubicBezTo>
                  <a:cubicBezTo>
                    <a:pt x="7375" y="9755"/>
                    <a:pt x="7407" y="9683"/>
                    <a:pt x="7439" y="9612"/>
                  </a:cubicBezTo>
                  <a:cubicBezTo>
                    <a:pt x="7464" y="9580"/>
                    <a:pt x="7488" y="9548"/>
                    <a:pt x="7513" y="9516"/>
                  </a:cubicBezTo>
                  <a:cubicBezTo>
                    <a:pt x="7485" y="9438"/>
                    <a:pt x="7456" y="9361"/>
                    <a:pt x="7428" y="9283"/>
                  </a:cubicBezTo>
                  <a:cubicBezTo>
                    <a:pt x="7435" y="9225"/>
                    <a:pt x="7443" y="9167"/>
                    <a:pt x="7450" y="9109"/>
                  </a:cubicBezTo>
                  <a:lnTo>
                    <a:pt x="7683" y="8992"/>
                  </a:lnTo>
                  <a:lnTo>
                    <a:pt x="7683" y="8798"/>
                  </a:lnTo>
                  <a:cubicBezTo>
                    <a:pt x="7715" y="8759"/>
                    <a:pt x="7747" y="8721"/>
                    <a:pt x="7779" y="8682"/>
                  </a:cubicBezTo>
                  <a:cubicBezTo>
                    <a:pt x="7836" y="8579"/>
                    <a:pt x="7892" y="8475"/>
                    <a:pt x="7949" y="8372"/>
                  </a:cubicBezTo>
                  <a:cubicBezTo>
                    <a:pt x="7970" y="8256"/>
                    <a:pt x="7992" y="8139"/>
                    <a:pt x="8013" y="8023"/>
                  </a:cubicBezTo>
                  <a:cubicBezTo>
                    <a:pt x="8041" y="7984"/>
                    <a:pt x="8070" y="7946"/>
                    <a:pt x="8098" y="7907"/>
                  </a:cubicBezTo>
                  <a:lnTo>
                    <a:pt x="8204" y="7907"/>
                  </a:lnTo>
                  <a:lnTo>
                    <a:pt x="8363" y="7829"/>
                  </a:lnTo>
                  <a:lnTo>
                    <a:pt x="8576" y="7907"/>
                  </a:lnTo>
                  <a:lnTo>
                    <a:pt x="8661" y="8004"/>
                  </a:lnTo>
                  <a:cubicBezTo>
                    <a:pt x="8675" y="7946"/>
                    <a:pt x="8690" y="7887"/>
                    <a:pt x="8704" y="7829"/>
                  </a:cubicBezTo>
                  <a:lnTo>
                    <a:pt x="8831" y="7733"/>
                  </a:lnTo>
                  <a:lnTo>
                    <a:pt x="8980" y="7713"/>
                  </a:lnTo>
                  <a:lnTo>
                    <a:pt x="9097" y="7674"/>
                  </a:lnTo>
                  <a:lnTo>
                    <a:pt x="9235" y="7791"/>
                  </a:lnTo>
                  <a:cubicBezTo>
                    <a:pt x="9270" y="7830"/>
                    <a:pt x="9306" y="7868"/>
                    <a:pt x="9341" y="7907"/>
                  </a:cubicBezTo>
                  <a:lnTo>
                    <a:pt x="9458" y="7733"/>
                  </a:lnTo>
                  <a:lnTo>
                    <a:pt x="9575" y="7829"/>
                  </a:lnTo>
                  <a:lnTo>
                    <a:pt x="9702" y="7829"/>
                  </a:lnTo>
                  <a:lnTo>
                    <a:pt x="9809" y="7907"/>
                  </a:lnTo>
                  <a:lnTo>
                    <a:pt x="9968" y="7829"/>
                  </a:lnTo>
                  <a:cubicBezTo>
                    <a:pt x="9979" y="7823"/>
                    <a:pt x="9989" y="7816"/>
                    <a:pt x="10000" y="7810"/>
                  </a:cubicBezTo>
                  <a:lnTo>
                    <a:pt x="9979" y="7810"/>
                  </a:lnTo>
                  <a:cubicBezTo>
                    <a:pt x="9975" y="7752"/>
                    <a:pt x="10070" y="7694"/>
                    <a:pt x="10066" y="7636"/>
                  </a:cubicBezTo>
                  <a:cubicBezTo>
                    <a:pt x="10102" y="7507"/>
                    <a:pt x="10039" y="7379"/>
                    <a:pt x="10075" y="7250"/>
                  </a:cubicBezTo>
                  <a:cubicBezTo>
                    <a:pt x="10075" y="7114"/>
                    <a:pt x="9966" y="6887"/>
                    <a:pt x="9968" y="6822"/>
                  </a:cubicBezTo>
                  <a:cubicBezTo>
                    <a:pt x="9972" y="6815"/>
                    <a:pt x="9975" y="6809"/>
                    <a:pt x="9979" y="6802"/>
                  </a:cubicBezTo>
                  <a:lnTo>
                    <a:pt x="9979" y="6802"/>
                  </a:lnTo>
                  <a:lnTo>
                    <a:pt x="9947" y="6764"/>
                  </a:lnTo>
                  <a:close/>
                </a:path>
              </a:pathLst>
            </a:custGeom>
            <a:solidFill>
              <a:srgbClr val="00B05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2000" tIns="72000" rIns="72000" bIns="72000" anchor="ctr"/>
            <a:lstStyle/>
            <a:p>
              <a:pPr algn="ctr" defTabSz="914308">
                <a:defRPr/>
              </a:pPr>
              <a:endParaRPr lang="ru-RU" sz="1200" kern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366" name="Freeform 146">
              <a:extLst/>
            </p:cNvPr>
            <p:cNvSpPr>
              <a:spLocks/>
            </p:cNvSpPr>
            <p:nvPr/>
          </p:nvSpPr>
          <p:spPr bwMode="auto">
            <a:xfrm>
              <a:off x="796270" y="2890574"/>
              <a:ext cx="1729339" cy="1016068"/>
            </a:xfrm>
            <a:custGeom>
              <a:avLst/>
              <a:gdLst>
                <a:gd name="T0" fmla="*/ 393 w 556"/>
                <a:gd name="T1" fmla="*/ 280 h 327"/>
                <a:gd name="T2" fmla="*/ 422 w 556"/>
                <a:gd name="T3" fmla="*/ 281 h 327"/>
                <a:gd name="T4" fmla="*/ 448 w 556"/>
                <a:gd name="T5" fmla="*/ 277 h 327"/>
                <a:gd name="T6" fmla="*/ 457 w 556"/>
                <a:gd name="T7" fmla="*/ 286 h 327"/>
                <a:gd name="T8" fmla="*/ 477 w 556"/>
                <a:gd name="T9" fmla="*/ 285 h 327"/>
                <a:gd name="T10" fmla="*/ 485 w 556"/>
                <a:gd name="T11" fmla="*/ 275 h 327"/>
                <a:gd name="T12" fmla="*/ 523 w 556"/>
                <a:gd name="T13" fmla="*/ 309 h 327"/>
                <a:gd name="T14" fmla="*/ 556 w 556"/>
                <a:gd name="T15" fmla="*/ 325 h 327"/>
                <a:gd name="T16" fmla="*/ 508 w 556"/>
                <a:gd name="T17" fmla="*/ 260 h 327"/>
                <a:gd name="T18" fmla="*/ 490 w 556"/>
                <a:gd name="T19" fmla="*/ 242 h 327"/>
                <a:gd name="T20" fmla="*/ 489 w 556"/>
                <a:gd name="T21" fmla="*/ 216 h 327"/>
                <a:gd name="T22" fmla="*/ 481 w 556"/>
                <a:gd name="T23" fmla="*/ 201 h 327"/>
                <a:gd name="T24" fmla="*/ 485 w 556"/>
                <a:gd name="T25" fmla="*/ 183 h 327"/>
                <a:gd name="T26" fmla="*/ 504 w 556"/>
                <a:gd name="T27" fmla="*/ 142 h 327"/>
                <a:gd name="T28" fmla="*/ 496 w 556"/>
                <a:gd name="T29" fmla="*/ 128 h 327"/>
                <a:gd name="T30" fmla="*/ 495 w 556"/>
                <a:gd name="T31" fmla="*/ 79 h 327"/>
                <a:gd name="T32" fmla="*/ 475 w 556"/>
                <a:gd name="T33" fmla="*/ 60 h 327"/>
                <a:gd name="T34" fmla="*/ 452 w 556"/>
                <a:gd name="T35" fmla="*/ 51 h 327"/>
                <a:gd name="T36" fmla="*/ 450 w 556"/>
                <a:gd name="T37" fmla="*/ 25 h 327"/>
                <a:gd name="T38" fmla="*/ 458 w 556"/>
                <a:gd name="T39" fmla="*/ 17 h 327"/>
                <a:gd name="T40" fmla="*/ 421 w 556"/>
                <a:gd name="T41" fmla="*/ 9 h 327"/>
                <a:gd name="T42" fmla="*/ 399 w 556"/>
                <a:gd name="T43" fmla="*/ 10 h 327"/>
                <a:gd name="T44" fmla="*/ 391 w 556"/>
                <a:gd name="T45" fmla="*/ 5 h 327"/>
                <a:gd name="T46" fmla="*/ 375 w 556"/>
                <a:gd name="T47" fmla="*/ 32 h 327"/>
                <a:gd name="T48" fmla="*/ 348 w 556"/>
                <a:gd name="T49" fmla="*/ 56 h 327"/>
                <a:gd name="T50" fmla="*/ 330 w 556"/>
                <a:gd name="T51" fmla="*/ 42 h 327"/>
                <a:gd name="T52" fmla="*/ 279 w 556"/>
                <a:gd name="T53" fmla="*/ 13 h 327"/>
                <a:gd name="T54" fmla="*/ 255 w 556"/>
                <a:gd name="T55" fmla="*/ 33 h 327"/>
                <a:gd name="T56" fmla="*/ 179 w 556"/>
                <a:gd name="T57" fmla="*/ 54 h 327"/>
                <a:gd name="T58" fmla="*/ 151 w 556"/>
                <a:gd name="T59" fmla="*/ 56 h 327"/>
                <a:gd name="T60" fmla="*/ 95 w 556"/>
                <a:gd name="T61" fmla="*/ 22 h 327"/>
                <a:gd name="T62" fmla="*/ 0 w 556"/>
                <a:gd name="T63" fmla="*/ 26 h 327"/>
                <a:gd name="T64" fmla="*/ 12 w 556"/>
                <a:gd name="T65" fmla="*/ 58 h 327"/>
                <a:gd name="T66" fmla="*/ 35 w 556"/>
                <a:gd name="T67" fmla="*/ 59 h 327"/>
                <a:gd name="T68" fmla="*/ 68 w 556"/>
                <a:gd name="T69" fmla="*/ 75 h 327"/>
                <a:gd name="T70" fmla="*/ 83 w 556"/>
                <a:gd name="T71" fmla="*/ 136 h 327"/>
                <a:gd name="T72" fmla="*/ 97 w 556"/>
                <a:gd name="T73" fmla="*/ 170 h 327"/>
                <a:gd name="T74" fmla="*/ 70 w 556"/>
                <a:gd name="T75" fmla="*/ 163 h 327"/>
                <a:gd name="T76" fmla="*/ 60 w 556"/>
                <a:gd name="T77" fmla="*/ 179 h 327"/>
                <a:gd name="T78" fmla="*/ 102 w 556"/>
                <a:gd name="T79" fmla="*/ 198 h 327"/>
                <a:gd name="T80" fmla="*/ 149 w 556"/>
                <a:gd name="T81" fmla="*/ 194 h 327"/>
                <a:gd name="T82" fmla="*/ 213 w 556"/>
                <a:gd name="T83" fmla="*/ 171 h 327"/>
                <a:gd name="T84" fmla="*/ 252 w 556"/>
                <a:gd name="T85" fmla="*/ 171 h 327"/>
                <a:gd name="T86" fmla="*/ 291 w 556"/>
                <a:gd name="T87" fmla="*/ 202 h 327"/>
                <a:gd name="T88" fmla="*/ 311 w 556"/>
                <a:gd name="T89" fmla="*/ 197 h 327"/>
                <a:gd name="T90" fmla="*/ 339 w 556"/>
                <a:gd name="T91" fmla="*/ 201 h 327"/>
                <a:gd name="T92" fmla="*/ 356 w 556"/>
                <a:gd name="T93" fmla="*/ 240 h 327"/>
                <a:gd name="T94" fmla="*/ 350 w 556"/>
                <a:gd name="T95" fmla="*/ 290 h 327"/>
                <a:gd name="connsiteX0" fmla="*/ 7032 w 10000"/>
                <a:gd name="connsiteY0" fmla="*/ 8563 h 10000"/>
                <a:gd name="connsiteX1" fmla="*/ 7050 w 10000"/>
                <a:gd name="connsiteY1" fmla="*/ 8563 h 10000"/>
                <a:gd name="connsiteX2" fmla="*/ 7068 w 10000"/>
                <a:gd name="connsiteY2" fmla="*/ 8563 h 10000"/>
                <a:gd name="connsiteX3" fmla="*/ 7266 w 10000"/>
                <a:gd name="connsiteY3" fmla="*/ 8746 h 10000"/>
                <a:gd name="connsiteX4" fmla="*/ 7554 w 10000"/>
                <a:gd name="connsiteY4" fmla="*/ 8746 h 10000"/>
                <a:gd name="connsiteX5" fmla="*/ 7590 w 10000"/>
                <a:gd name="connsiteY5" fmla="*/ 8593 h 10000"/>
                <a:gd name="connsiteX6" fmla="*/ 7608 w 10000"/>
                <a:gd name="connsiteY6" fmla="*/ 8532 h 10000"/>
                <a:gd name="connsiteX7" fmla="*/ 7626 w 10000"/>
                <a:gd name="connsiteY7" fmla="*/ 8532 h 10000"/>
                <a:gd name="connsiteX8" fmla="*/ 8058 w 10000"/>
                <a:gd name="connsiteY8" fmla="*/ 8471 h 10000"/>
                <a:gd name="connsiteX9" fmla="*/ 8076 w 10000"/>
                <a:gd name="connsiteY9" fmla="*/ 8471 h 10000"/>
                <a:gd name="connsiteX10" fmla="*/ 8094 w 10000"/>
                <a:gd name="connsiteY10" fmla="*/ 8502 h 10000"/>
                <a:gd name="connsiteX11" fmla="*/ 8219 w 10000"/>
                <a:gd name="connsiteY11" fmla="*/ 8746 h 10000"/>
                <a:gd name="connsiteX12" fmla="*/ 8327 w 10000"/>
                <a:gd name="connsiteY12" fmla="*/ 8930 h 10000"/>
                <a:gd name="connsiteX13" fmla="*/ 8417 w 10000"/>
                <a:gd name="connsiteY13" fmla="*/ 8991 h 10000"/>
                <a:gd name="connsiteX14" fmla="*/ 8579 w 10000"/>
                <a:gd name="connsiteY14" fmla="*/ 8716 h 10000"/>
                <a:gd name="connsiteX15" fmla="*/ 8669 w 10000"/>
                <a:gd name="connsiteY15" fmla="*/ 8440 h 10000"/>
                <a:gd name="connsiteX16" fmla="*/ 8687 w 10000"/>
                <a:gd name="connsiteY16" fmla="*/ 8379 h 10000"/>
                <a:gd name="connsiteX17" fmla="*/ 8723 w 10000"/>
                <a:gd name="connsiteY17" fmla="*/ 8410 h 10000"/>
                <a:gd name="connsiteX18" fmla="*/ 8849 w 10000"/>
                <a:gd name="connsiteY18" fmla="*/ 8593 h 10000"/>
                <a:gd name="connsiteX19" fmla="*/ 9029 w 10000"/>
                <a:gd name="connsiteY19" fmla="*/ 8899 h 10000"/>
                <a:gd name="connsiteX20" fmla="*/ 9406 w 10000"/>
                <a:gd name="connsiteY20" fmla="*/ 9450 h 10000"/>
                <a:gd name="connsiteX21" fmla="*/ 9622 w 10000"/>
                <a:gd name="connsiteY21" fmla="*/ 9694 h 10000"/>
                <a:gd name="connsiteX22" fmla="*/ 9892 w 10000"/>
                <a:gd name="connsiteY22" fmla="*/ 10000 h 10000"/>
                <a:gd name="connsiteX23" fmla="*/ 10000 w 10000"/>
                <a:gd name="connsiteY23" fmla="*/ 9939 h 10000"/>
                <a:gd name="connsiteX24" fmla="*/ 9892 w 10000"/>
                <a:gd name="connsiteY24" fmla="*/ 8532 h 10000"/>
                <a:gd name="connsiteX25" fmla="*/ 9622 w 10000"/>
                <a:gd name="connsiteY25" fmla="*/ 8318 h 10000"/>
                <a:gd name="connsiteX26" fmla="*/ 9137 w 10000"/>
                <a:gd name="connsiteY26" fmla="*/ 7951 h 10000"/>
                <a:gd name="connsiteX27" fmla="*/ 9137 w 10000"/>
                <a:gd name="connsiteY27" fmla="*/ 7920 h 10000"/>
                <a:gd name="connsiteX28" fmla="*/ 9119 w 10000"/>
                <a:gd name="connsiteY28" fmla="*/ 7920 h 10000"/>
                <a:gd name="connsiteX29" fmla="*/ 8813 w 10000"/>
                <a:gd name="connsiteY29" fmla="*/ 7401 h 10000"/>
                <a:gd name="connsiteX30" fmla="*/ 8795 w 10000"/>
                <a:gd name="connsiteY30" fmla="*/ 7370 h 10000"/>
                <a:gd name="connsiteX31" fmla="*/ 8795 w 10000"/>
                <a:gd name="connsiteY31" fmla="*/ 7370 h 10000"/>
                <a:gd name="connsiteX32" fmla="*/ 8795 w 10000"/>
                <a:gd name="connsiteY32" fmla="*/ 6606 h 10000"/>
                <a:gd name="connsiteX33" fmla="*/ 8651 w 10000"/>
                <a:gd name="connsiteY33" fmla="*/ 6208 h 10000"/>
                <a:gd name="connsiteX34" fmla="*/ 8633 w 10000"/>
                <a:gd name="connsiteY34" fmla="*/ 6177 h 10000"/>
                <a:gd name="connsiteX35" fmla="*/ 8651 w 10000"/>
                <a:gd name="connsiteY35" fmla="*/ 6147 h 10000"/>
                <a:gd name="connsiteX36" fmla="*/ 8705 w 10000"/>
                <a:gd name="connsiteY36" fmla="*/ 5596 h 10000"/>
                <a:gd name="connsiteX37" fmla="*/ 8705 w 10000"/>
                <a:gd name="connsiteY37" fmla="*/ 5596 h 10000"/>
                <a:gd name="connsiteX38" fmla="*/ 8723 w 10000"/>
                <a:gd name="connsiteY38" fmla="*/ 5596 h 10000"/>
                <a:gd name="connsiteX39" fmla="*/ 8849 w 10000"/>
                <a:gd name="connsiteY39" fmla="*/ 5076 h 10000"/>
                <a:gd name="connsiteX40" fmla="*/ 8975 w 10000"/>
                <a:gd name="connsiteY40" fmla="*/ 4709 h 10000"/>
                <a:gd name="connsiteX41" fmla="*/ 9065 w 10000"/>
                <a:gd name="connsiteY41" fmla="*/ 4343 h 10000"/>
                <a:gd name="connsiteX42" fmla="*/ 8921 w 10000"/>
                <a:gd name="connsiteY42" fmla="*/ 3945 h 10000"/>
                <a:gd name="connsiteX43" fmla="*/ 8921 w 10000"/>
                <a:gd name="connsiteY43" fmla="*/ 3945 h 10000"/>
                <a:gd name="connsiteX44" fmla="*/ 8921 w 10000"/>
                <a:gd name="connsiteY44" fmla="*/ 3914 h 10000"/>
                <a:gd name="connsiteX45" fmla="*/ 8903 w 10000"/>
                <a:gd name="connsiteY45" fmla="*/ 2446 h 10000"/>
                <a:gd name="connsiteX46" fmla="*/ 8903 w 10000"/>
                <a:gd name="connsiteY46" fmla="*/ 2446 h 10000"/>
                <a:gd name="connsiteX47" fmla="*/ 8903 w 10000"/>
                <a:gd name="connsiteY47" fmla="*/ 2416 h 10000"/>
                <a:gd name="connsiteX48" fmla="*/ 9029 w 10000"/>
                <a:gd name="connsiteY48" fmla="*/ 1957 h 10000"/>
                <a:gd name="connsiteX49" fmla="*/ 8705 w 10000"/>
                <a:gd name="connsiteY49" fmla="*/ 1651 h 10000"/>
                <a:gd name="connsiteX50" fmla="*/ 8543 w 10000"/>
                <a:gd name="connsiteY50" fmla="*/ 1835 h 10000"/>
                <a:gd name="connsiteX51" fmla="*/ 8525 w 10000"/>
                <a:gd name="connsiteY51" fmla="*/ 1865 h 10000"/>
                <a:gd name="connsiteX52" fmla="*/ 8525 w 10000"/>
                <a:gd name="connsiteY52" fmla="*/ 1835 h 10000"/>
                <a:gd name="connsiteX53" fmla="*/ 8129 w 10000"/>
                <a:gd name="connsiteY53" fmla="*/ 1560 h 10000"/>
                <a:gd name="connsiteX54" fmla="*/ 8094 w 10000"/>
                <a:gd name="connsiteY54" fmla="*/ 1529 h 10000"/>
                <a:gd name="connsiteX55" fmla="*/ 8094 w 10000"/>
                <a:gd name="connsiteY55" fmla="*/ 1498 h 10000"/>
                <a:gd name="connsiteX56" fmla="*/ 8094 w 10000"/>
                <a:gd name="connsiteY56" fmla="*/ 765 h 10000"/>
                <a:gd name="connsiteX57" fmla="*/ 8094 w 10000"/>
                <a:gd name="connsiteY57" fmla="*/ 734 h 10000"/>
                <a:gd name="connsiteX58" fmla="*/ 8187 w 10000"/>
                <a:gd name="connsiteY58" fmla="*/ 857 h 10000"/>
                <a:gd name="connsiteX59" fmla="*/ 8237 w 10000"/>
                <a:gd name="connsiteY59" fmla="*/ 520 h 10000"/>
                <a:gd name="connsiteX60" fmla="*/ 8237 w 10000"/>
                <a:gd name="connsiteY60" fmla="*/ 428 h 10000"/>
                <a:gd name="connsiteX61" fmla="*/ 7842 w 10000"/>
                <a:gd name="connsiteY61" fmla="*/ 0 h 10000"/>
                <a:gd name="connsiteX62" fmla="*/ 7572 w 10000"/>
                <a:gd name="connsiteY62" fmla="*/ 275 h 10000"/>
                <a:gd name="connsiteX63" fmla="*/ 7554 w 10000"/>
                <a:gd name="connsiteY63" fmla="*/ 275 h 10000"/>
                <a:gd name="connsiteX64" fmla="*/ 7554 w 10000"/>
                <a:gd name="connsiteY64" fmla="*/ 275 h 10000"/>
                <a:gd name="connsiteX65" fmla="*/ 7176 w 10000"/>
                <a:gd name="connsiteY65" fmla="*/ 306 h 10000"/>
                <a:gd name="connsiteX66" fmla="*/ 7158 w 10000"/>
                <a:gd name="connsiteY66" fmla="*/ 306 h 10000"/>
                <a:gd name="connsiteX67" fmla="*/ 7158 w 10000"/>
                <a:gd name="connsiteY67" fmla="*/ 306 h 10000"/>
                <a:gd name="connsiteX68" fmla="*/ 7032 w 10000"/>
                <a:gd name="connsiteY68" fmla="*/ 153 h 10000"/>
                <a:gd name="connsiteX69" fmla="*/ 6799 w 10000"/>
                <a:gd name="connsiteY69" fmla="*/ 642 h 10000"/>
                <a:gd name="connsiteX70" fmla="*/ 6745 w 10000"/>
                <a:gd name="connsiteY70" fmla="*/ 979 h 10000"/>
                <a:gd name="connsiteX71" fmla="*/ 6745 w 10000"/>
                <a:gd name="connsiteY71" fmla="*/ 979 h 10000"/>
                <a:gd name="connsiteX72" fmla="*/ 6745 w 10000"/>
                <a:gd name="connsiteY72" fmla="*/ 1009 h 10000"/>
                <a:gd name="connsiteX73" fmla="*/ 6277 w 10000"/>
                <a:gd name="connsiteY73" fmla="*/ 1682 h 10000"/>
                <a:gd name="connsiteX74" fmla="*/ 6259 w 10000"/>
                <a:gd name="connsiteY74" fmla="*/ 1713 h 10000"/>
                <a:gd name="connsiteX75" fmla="*/ 6223 w 10000"/>
                <a:gd name="connsiteY75" fmla="*/ 1682 h 10000"/>
                <a:gd name="connsiteX76" fmla="*/ 5935 w 10000"/>
                <a:gd name="connsiteY76" fmla="*/ 1284 h 10000"/>
                <a:gd name="connsiteX77" fmla="*/ 5935 w 10000"/>
                <a:gd name="connsiteY77" fmla="*/ 1284 h 10000"/>
                <a:gd name="connsiteX78" fmla="*/ 5935 w 10000"/>
                <a:gd name="connsiteY78" fmla="*/ 1284 h 10000"/>
                <a:gd name="connsiteX79" fmla="*/ 5522 w 10000"/>
                <a:gd name="connsiteY79" fmla="*/ 459 h 10000"/>
                <a:gd name="connsiteX80" fmla="*/ 5018 w 10000"/>
                <a:gd name="connsiteY80" fmla="*/ 398 h 10000"/>
                <a:gd name="connsiteX81" fmla="*/ 4604 w 10000"/>
                <a:gd name="connsiteY81" fmla="*/ 1009 h 10000"/>
                <a:gd name="connsiteX82" fmla="*/ 4604 w 10000"/>
                <a:gd name="connsiteY82" fmla="*/ 1009 h 10000"/>
                <a:gd name="connsiteX83" fmla="*/ 4586 w 10000"/>
                <a:gd name="connsiteY83" fmla="*/ 1009 h 10000"/>
                <a:gd name="connsiteX84" fmla="*/ 3867 w 10000"/>
                <a:gd name="connsiteY84" fmla="*/ 948 h 10000"/>
                <a:gd name="connsiteX85" fmla="*/ 3219 w 10000"/>
                <a:gd name="connsiteY85" fmla="*/ 1621 h 10000"/>
                <a:gd name="connsiteX86" fmla="*/ 3219 w 10000"/>
                <a:gd name="connsiteY86" fmla="*/ 1651 h 10000"/>
                <a:gd name="connsiteX87" fmla="*/ 3201 w 10000"/>
                <a:gd name="connsiteY87" fmla="*/ 1621 h 10000"/>
                <a:gd name="connsiteX88" fmla="*/ 2932 w 10000"/>
                <a:gd name="connsiteY88" fmla="*/ 1498 h 10000"/>
                <a:gd name="connsiteX89" fmla="*/ 2716 w 10000"/>
                <a:gd name="connsiteY89" fmla="*/ 1713 h 10000"/>
                <a:gd name="connsiteX90" fmla="*/ 2698 w 10000"/>
                <a:gd name="connsiteY90" fmla="*/ 1743 h 10000"/>
                <a:gd name="connsiteX91" fmla="*/ 2680 w 10000"/>
                <a:gd name="connsiteY91" fmla="*/ 1713 h 10000"/>
                <a:gd name="connsiteX92" fmla="*/ 1709 w 10000"/>
                <a:gd name="connsiteY92" fmla="*/ 673 h 10000"/>
                <a:gd name="connsiteX93" fmla="*/ 144 w 10000"/>
                <a:gd name="connsiteY93" fmla="*/ 581 h 10000"/>
                <a:gd name="connsiteX94" fmla="*/ 144 w 10000"/>
                <a:gd name="connsiteY94" fmla="*/ 612 h 10000"/>
                <a:gd name="connsiteX95" fmla="*/ 0 w 10000"/>
                <a:gd name="connsiteY95" fmla="*/ 795 h 10000"/>
                <a:gd name="connsiteX96" fmla="*/ 0 w 10000"/>
                <a:gd name="connsiteY96" fmla="*/ 1040 h 10000"/>
                <a:gd name="connsiteX97" fmla="*/ 0 w 10000"/>
                <a:gd name="connsiteY97" fmla="*/ 1529 h 10000"/>
                <a:gd name="connsiteX98" fmla="*/ 216 w 10000"/>
                <a:gd name="connsiteY98" fmla="*/ 1774 h 10000"/>
                <a:gd name="connsiteX99" fmla="*/ 288 w 10000"/>
                <a:gd name="connsiteY99" fmla="*/ 1590 h 10000"/>
                <a:gd name="connsiteX100" fmla="*/ 396 w 10000"/>
                <a:gd name="connsiteY100" fmla="*/ 1346 h 10000"/>
                <a:gd name="connsiteX101" fmla="*/ 629 w 10000"/>
                <a:gd name="connsiteY101" fmla="*/ 1804 h 10000"/>
                <a:gd name="connsiteX102" fmla="*/ 917 w 10000"/>
                <a:gd name="connsiteY102" fmla="*/ 1804 h 10000"/>
                <a:gd name="connsiteX103" fmla="*/ 1061 w 10000"/>
                <a:gd name="connsiteY103" fmla="*/ 1988 h 10000"/>
                <a:gd name="connsiteX104" fmla="*/ 1223 w 10000"/>
                <a:gd name="connsiteY104" fmla="*/ 2294 h 10000"/>
                <a:gd name="connsiteX105" fmla="*/ 1223 w 10000"/>
                <a:gd name="connsiteY105" fmla="*/ 2844 h 10000"/>
                <a:gd name="connsiteX106" fmla="*/ 1403 w 10000"/>
                <a:gd name="connsiteY106" fmla="*/ 3150 h 10000"/>
                <a:gd name="connsiteX107" fmla="*/ 1493 w 10000"/>
                <a:gd name="connsiteY107" fmla="*/ 4159 h 10000"/>
                <a:gd name="connsiteX108" fmla="*/ 1565 w 10000"/>
                <a:gd name="connsiteY108" fmla="*/ 4618 h 10000"/>
                <a:gd name="connsiteX109" fmla="*/ 1655 w 10000"/>
                <a:gd name="connsiteY109" fmla="*/ 4924 h 10000"/>
                <a:gd name="connsiteX110" fmla="*/ 1745 w 10000"/>
                <a:gd name="connsiteY110" fmla="*/ 5199 h 10000"/>
                <a:gd name="connsiteX111" fmla="*/ 1583 w 10000"/>
                <a:gd name="connsiteY111" fmla="*/ 5352 h 10000"/>
                <a:gd name="connsiteX112" fmla="*/ 1439 w 10000"/>
                <a:gd name="connsiteY112" fmla="*/ 5321 h 10000"/>
                <a:gd name="connsiteX113" fmla="*/ 1259 w 10000"/>
                <a:gd name="connsiteY113" fmla="*/ 4985 h 10000"/>
                <a:gd name="connsiteX114" fmla="*/ 1079 w 10000"/>
                <a:gd name="connsiteY114" fmla="*/ 4954 h 10000"/>
                <a:gd name="connsiteX115" fmla="*/ 989 w 10000"/>
                <a:gd name="connsiteY115" fmla="*/ 5199 h 10000"/>
                <a:gd name="connsiteX116" fmla="*/ 1079 w 10000"/>
                <a:gd name="connsiteY116" fmla="*/ 5474 h 10000"/>
                <a:gd name="connsiteX117" fmla="*/ 1565 w 10000"/>
                <a:gd name="connsiteY117" fmla="*/ 6177 h 10000"/>
                <a:gd name="connsiteX118" fmla="*/ 1691 w 10000"/>
                <a:gd name="connsiteY118" fmla="*/ 6391 h 10000"/>
                <a:gd name="connsiteX119" fmla="*/ 1835 w 10000"/>
                <a:gd name="connsiteY119" fmla="*/ 6055 h 10000"/>
                <a:gd name="connsiteX120" fmla="*/ 2104 w 10000"/>
                <a:gd name="connsiteY120" fmla="*/ 6024 h 10000"/>
                <a:gd name="connsiteX121" fmla="*/ 2536 w 10000"/>
                <a:gd name="connsiteY121" fmla="*/ 6116 h 10000"/>
                <a:gd name="connsiteX122" fmla="*/ 2680 w 10000"/>
                <a:gd name="connsiteY122" fmla="*/ 5933 h 10000"/>
                <a:gd name="connsiteX123" fmla="*/ 3435 w 10000"/>
                <a:gd name="connsiteY123" fmla="*/ 5474 h 10000"/>
                <a:gd name="connsiteX124" fmla="*/ 3633 w 10000"/>
                <a:gd name="connsiteY124" fmla="*/ 5352 h 10000"/>
                <a:gd name="connsiteX125" fmla="*/ 3831 w 10000"/>
                <a:gd name="connsiteY125" fmla="*/ 5229 h 10000"/>
                <a:gd name="connsiteX126" fmla="*/ 4245 w 10000"/>
                <a:gd name="connsiteY126" fmla="*/ 5076 h 10000"/>
                <a:gd name="connsiteX127" fmla="*/ 4388 w 10000"/>
                <a:gd name="connsiteY127" fmla="*/ 5168 h 10000"/>
                <a:gd name="connsiteX128" fmla="*/ 4532 w 10000"/>
                <a:gd name="connsiteY128" fmla="*/ 5229 h 10000"/>
                <a:gd name="connsiteX129" fmla="*/ 4748 w 10000"/>
                <a:gd name="connsiteY129" fmla="*/ 5566 h 10000"/>
                <a:gd name="connsiteX130" fmla="*/ 4928 w 10000"/>
                <a:gd name="connsiteY130" fmla="*/ 5872 h 10000"/>
                <a:gd name="connsiteX131" fmla="*/ 5234 w 10000"/>
                <a:gd name="connsiteY131" fmla="*/ 6177 h 10000"/>
                <a:gd name="connsiteX132" fmla="*/ 5342 w 10000"/>
                <a:gd name="connsiteY132" fmla="*/ 6330 h 10000"/>
                <a:gd name="connsiteX133" fmla="*/ 5432 w 10000"/>
                <a:gd name="connsiteY133" fmla="*/ 6208 h 10000"/>
                <a:gd name="connsiteX134" fmla="*/ 5594 w 10000"/>
                <a:gd name="connsiteY134" fmla="*/ 6024 h 10000"/>
                <a:gd name="connsiteX135" fmla="*/ 5737 w 10000"/>
                <a:gd name="connsiteY135" fmla="*/ 5872 h 10000"/>
                <a:gd name="connsiteX136" fmla="*/ 5899 w 10000"/>
                <a:gd name="connsiteY136" fmla="*/ 5994 h 10000"/>
                <a:gd name="connsiteX137" fmla="*/ 6097 w 10000"/>
                <a:gd name="connsiteY137" fmla="*/ 6147 h 10000"/>
                <a:gd name="connsiteX138" fmla="*/ 6349 w 10000"/>
                <a:gd name="connsiteY138" fmla="*/ 6453 h 10000"/>
                <a:gd name="connsiteX139" fmla="*/ 6313 w 10000"/>
                <a:gd name="connsiteY139" fmla="*/ 7278 h 10000"/>
                <a:gd name="connsiteX140" fmla="*/ 6403 w 10000"/>
                <a:gd name="connsiteY140" fmla="*/ 7339 h 10000"/>
                <a:gd name="connsiteX141" fmla="*/ 6421 w 10000"/>
                <a:gd name="connsiteY141" fmla="*/ 8379 h 10000"/>
                <a:gd name="connsiteX142" fmla="*/ 6367 w 10000"/>
                <a:gd name="connsiteY142" fmla="*/ 8502 h 10000"/>
                <a:gd name="connsiteX143" fmla="*/ 6295 w 10000"/>
                <a:gd name="connsiteY143" fmla="*/ 8869 h 10000"/>
                <a:gd name="connsiteX144" fmla="*/ 6835 w 10000"/>
                <a:gd name="connsiteY144" fmla="*/ 8807 h 10000"/>
                <a:gd name="connsiteX145" fmla="*/ 7032 w 10000"/>
                <a:gd name="connsiteY145" fmla="*/ 8563 h 10000"/>
                <a:gd name="connsiteX0" fmla="*/ 7032 w 10000"/>
                <a:gd name="connsiteY0" fmla="*/ 8563 h 10000"/>
                <a:gd name="connsiteX1" fmla="*/ 7050 w 10000"/>
                <a:gd name="connsiteY1" fmla="*/ 8563 h 10000"/>
                <a:gd name="connsiteX2" fmla="*/ 7068 w 10000"/>
                <a:gd name="connsiteY2" fmla="*/ 8563 h 10000"/>
                <a:gd name="connsiteX3" fmla="*/ 7266 w 10000"/>
                <a:gd name="connsiteY3" fmla="*/ 8746 h 10000"/>
                <a:gd name="connsiteX4" fmla="*/ 7554 w 10000"/>
                <a:gd name="connsiteY4" fmla="*/ 8746 h 10000"/>
                <a:gd name="connsiteX5" fmla="*/ 7590 w 10000"/>
                <a:gd name="connsiteY5" fmla="*/ 8593 h 10000"/>
                <a:gd name="connsiteX6" fmla="*/ 7608 w 10000"/>
                <a:gd name="connsiteY6" fmla="*/ 8532 h 10000"/>
                <a:gd name="connsiteX7" fmla="*/ 7626 w 10000"/>
                <a:gd name="connsiteY7" fmla="*/ 8532 h 10000"/>
                <a:gd name="connsiteX8" fmla="*/ 8058 w 10000"/>
                <a:gd name="connsiteY8" fmla="*/ 8471 h 10000"/>
                <a:gd name="connsiteX9" fmla="*/ 8076 w 10000"/>
                <a:gd name="connsiteY9" fmla="*/ 8471 h 10000"/>
                <a:gd name="connsiteX10" fmla="*/ 8094 w 10000"/>
                <a:gd name="connsiteY10" fmla="*/ 8502 h 10000"/>
                <a:gd name="connsiteX11" fmla="*/ 8219 w 10000"/>
                <a:gd name="connsiteY11" fmla="*/ 8746 h 10000"/>
                <a:gd name="connsiteX12" fmla="*/ 8327 w 10000"/>
                <a:gd name="connsiteY12" fmla="*/ 8930 h 10000"/>
                <a:gd name="connsiteX13" fmla="*/ 8417 w 10000"/>
                <a:gd name="connsiteY13" fmla="*/ 8991 h 10000"/>
                <a:gd name="connsiteX14" fmla="*/ 8579 w 10000"/>
                <a:gd name="connsiteY14" fmla="*/ 8716 h 10000"/>
                <a:gd name="connsiteX15" fmla="*/ 8669 w 10000"/>
                <a:gd name="connsiteY15" fmla="*/ 8440 h 10000"/>
                <a:gd name="connsiteX16" fmla="*/ 8687 w 10000"/>
                <a:gd name="connsiteY16" fmla="*/ 8379 h 10000"/>
                <a:gd name="connsiteX17" fmla="*/ 8723 w 10000"/>
                <a:gd name="connsiteY17" fmla="*/ 8410 h 10000"/>
                <a:gd name="connsiteX18" fmla="*/ 8849 w 10000"/>
                <a:gd name="connsiteY18" fmla="*/ 8593 h 10000"/>
                <a:gd name="connsiteX19" fmla="*/ 9029 w 10000"/>
                <a:gd name="connsiteY19" fmla="*/ 8899 h 10000"/>
                <a:gd name="connsiteX20" fmla="*/ 9406 w 10000"/>
                <a:gd name="connsiteY20" fmla="*/ 9450 h 10000"/>
                <a:gd name="connsiteX21" fmla="*/ 9622 w 10000"/>
                <a:gd name="connsiteY21" fmla="*/ 9694 h 10000"/>
                <a:gd name="connsiteX22" fmla="*/ 9892 w 10000"/>
                <a:gd name="connsiteY22" fmla="*/ 10000 h 10000"/>
                <a:gd name="connsiteX23" fmla="*/ 10000 w 10000"/>
                <a:gd name="connsiteY23" fmla="*/ 9939 h 10000"/>
                <a:gd name="connsiteX24" fmla="*/ 9892 w 10000"/>
                <a:gd name="connsiteY24" fmla="*/ 8532 h 10000"/>
                <a:gd name="connsiteX25" fmla="*/ 9622 w 10000"/>
                <a:gd name="connsiteY25" fmla="*/ 8318 h 10000"/>
                <a:gd name="connsiteX26" fmla="*/ 9137 w 10000"/>
                <a:gd name="connsiteY26" fmla="*/ 7951 h 10000"/>
                <a:gd name="connsiteX27" fmla="*/ 9137 w 10000"/>
                <a:gd name="connsiteY27" fmla="*/ 7920 h 10000"/>
                <a:gd name="connsiteX28" fmla="*/ 9119 w 10000"/>
                <a:gd name="connsiteY28" fmla="*/ 7920 h 10000"/>
                <a:gd name="connsiteX29" fmla="*/ 8813 w 10000"/>
                <a:gd name="connsiteY29" fmla="*/ 7401 h 10000"/>
                <a:gd name="connsiteX30" fmla="*/ 8795 w 10000"/>
                <a:gd name="connsiteY30" fmla="*/ 7370 h 10000"/>
                <a:gd name="connsiteX31" fmla="*/ 8795 w 10000"/>
                <a:gd name="connsiteY31" fmla="*/ 7370 h 10000"/>
                <a:gd name="connsiteX32" fmla="*/ 8795 w 10000"/>
                <a:gd name="connsiteY32" fmla="*/ 6606 h 10000"/>
                <a:gd name="connsiteX33" fmla="*/ 8651 w 10000"/>
                <a:gd name="connsiteY33" fmla="*/ 6208 h 10000"/>
                <a:gd name="connsiteX34" fmla="*/ 8633 w 10000"/>
                <a:gd name="connsiteY34" fmla="*/ 6177 h 10000"/>
                <a:gd name="connsiteX35" fmla="*/ 8651 w 10000"/>
                <a:gd name="connsiteY35" fmla="*/ 6147 h 10000"/>
                <a:gd name="connsiteX36" fmla="*/ 8705 w 10000"/>
                <a:gd name="connsiteY36" fmla="*/ 5596 h 10000"/>
                <a:gd name="connsiteX37" fmla="*/ 8705 w 10000"/>
                <a:gd name="connsiteY37" fmla="*/ 5596 h 10000"/>
                <a:gd name="connsiteX38" fmla="*/ 8723 w 10000"/>
                <a:gd name="connsiteY38" fmla="*/ 5596 h 10000"/>
                <a:gd name="connsiteX39" fmla="*/ 8849 w 10000"/>
                <a:gd name="connsiteY39" fmla="*/ 5076 h 10000"/>
                <a:gd name="connsiteX40" fmla="*/ 8975 w 10000"/>
                <a:gd name="connsiteY40" fmla="*/ 4709 h 10000"/>
                <a:gd name="connsiteX41" fmla="*/ 9065 w 10000"/>
                <a:gd name="connsiteY41" fmla="*/ 4343 h 10000"/>
                <a:gd name="connsiteX42" fmla="*/ 8921 w 10000"/>
                <a:gd name="connsiteY42" fmla="*/ 3945 h 10000"/>
                <a:gd name="connsiteX43" fmla="*/ 8921 w 10000"/>
                <a:gd name="connsiteY43" fmla="*/ 3945 h 10000"/>
                <a:gd name="connsiteX44" fmla="*/ 8921 w 10000"/>
                <a:gd name="connsiteY44" fmla="*/ 3914 h 10000"/>
                <a:gd name="connsiteX45" fmla="*/ 8903 w 10000"/>
                <a:gd name="connsiteY45" fmla="*/ 2446 h 10000"/>
                <a:gd name="connsiteX46" fmla="*/ 8903 w 10000"/>
                <a:gd name="connsiteY46" fmla="*/ 2446 h 10000"/>
                <a:gd name="connsiteX47" fmla="*/ 8972 w 10000"/>
                <a:gd name="connsiteY47" fmla="*/ 2427 h 10000"/>
                <a:gd name="connsiteX48" fmla="*/ 9029 w 10000"/>
                <a:gd name="connsiteY48" fmla="*/ 1957 h 10000"/>
                <a:gd name="connsiteX49" fmla="*/ 8705 w 10000"/>
                <a:gd name="connsiteY49" fmla="*/ 1651 h 10000"/>
                <a:gd name="connsiteX50" fmla="*/ 8543 w 10000"/>
                <a:gd name="connsiteY50" fmla="*/ 1835 h 10000"/>
                <a:gd name="connsiteX51" fmla="*/ 8525 w 10000"/>
                <a:gd name="connsiteY51" fmla="*/ 1865 h 10000"/>
                <a:gd name="connsiteX52" fmla="*/ 8525 w 10000"/>
                <a:gd name="connsiteY52" fmla="*/ 1835 h 10000"/>
                <a:gd name="connsiteX53" fmla="*/ 8129 w 10000"/>
                <a:gd name="connsiteY53" fmla="*/ 1560 h 10000"/>
                <a:gd name="connsiteX54" fmla="*/ 8094 w 10000"/>
                <a:gd name="connsiteY54" fmla="*/ 1529 h 10000"/>
                <a:gd name="connsiteX55" fmla="*/ 8094 w 10000"/>
                <a:gd name="connsiteY55" fmla="*/ 1498 h 10000"/>
                <a:gd name="connsiteX56" fmla="*/ 8094 w 10000"/>
                <a:gd name="connsiteY56" fmla="*/ 765 h 10000"/>
                <a:gd name="connsiteX57" fmla="*/ 8094 w 10000"/>
                <a:gd name="connsiteY57" fmla="*/ 734 h 10000"/>
                <a:gd name="connsiteX58" fmla="*/ 8187 w 10000"/>
                <a:gd name="connsiteY58" fmla="*/ 857 h 10000"/>
                <a:gd name="connsiteX59" fmla="*/ 8237 w 10000"/>
                <a:gd name="connsiteY59" fmla="*/ 520 h 10000"/>
                <a:gd name="connsiteX60" fmla="*/ 8237 w 10000"/>
                <a:gd name="connsiteY60" fmla="*/ 428 h 10000"/>
                <a:gd name="connsiteX61" fmla="*/ 7842 w 10000"/>
                <a:gd name="connsiteY61" fmla="*/ 0 h 10000"/>
                <a:gd name="connsiteX62" fmla="*/ 7572 w 10000"/>
                <a:gd name="connsiteY62" fmla="*/ 275 h 10000"/>
                <a:gd name="connsiteX63" fmla="*/ 7554 w 10000"/>
                <a:gd name="connsiteY63" fmla="*/ 275 h 10000"/>
                <a:gd name="connsiteX64" fmla="*/ 7554 w 10000"/>
                <a:gd name="connsiteY64" fmla="*/ 275 h 10000"/>
                <a:gd name="connsiteX65" fmla="*/ 7176 w 10000"/>
                <a:gd name="connsiteY65" fmla="*/ 306 h 10000"/>
                <a:gd name="connsiteX66" fmla="*/ 7158 w 10000"/>
                <a:gd name="connsiteY66" fmla="*/ 306 h 10000"/>
                <a:gd name="connsiteX67" fmla="*/ 7158 w 10000"/>
                <a:gd name="connsiteY67" fmla="*/ 306 h 10000"/>
                <a:gd name="connsiteX68" fmla="*/ 7032 w 10000"/>
                <a:gd name="connsiteY68" fmla="*/ 153 h 10000"/>
                <a:gd name="connsiteX69" fmla="*/ 6799 w 10000"/>
                <a:gd name="connsiteY69" fmla="*/ 642 h 10000"/>
                <a:gd name="connsiteX70" fmla="*/ 6745 w 10000"/>
                <a:gd name="connsiteY70" fmla="*/ 979 h 10000"/>
                <a:gd name="connsiteX71" fmla="*/ 6745 w 10000"/>
                <a:gd name="connsiteY71" fmla="*/ 979 h 10000"/>
                <a:gd name="connsiteX72" fmla="*/ 6745 w 10000"/>
                <a:gd name="connsiteY72" fmla="*/ 1009 h 10000"/>
                <a:gd name="connsiteX73" fmla="*/ 6277 w 10000"/>
                <a:gd name="connsiteY73" fmla="*/ 1682 h 10000"/>
                <a:gd name="connsiteX74" fmla="*/ 6259 w 10000"/>
                <a:gd name="connsiteY74" fmla="*/ 1713 h 10000"/>
                <a:gd name="connsiteX75" fmla="*/ 6223 w 10000"/>
                <a:gd name="connsiteY75" fmla="*/ 1682 h 10000"/>
                <a:gd name="connsiteX76" fmla="*/ 5935 w 10000"/>
                <a:gd name="connsiteY76" fmla="*/ 1284 h 10000"/>
                <a:gd name="connsiteX77" fmla="*/ 5935 w 10000"/>
                <a:gd name="connsiteY77" fmla="*/ 1284 h 10000"/>
                <a:gd name="connsiteX78" fmla="*/ 5935 w 10000"/>
                <a:gd name="connsiteY78" fmla="*/ 1284 h 10000"/>
                <a:gd name="connsiteX79" fmla="*/ 5522 w 10000"/>
                <a:gd name="connsiteY79" fmla="*/ 459 h 10000"/>
                <a:gd name="connsiteX80" fmla="*/ 5018 w 10000"/>
                <a:gd name="connsiteY80" fmla="*/ 398 h 10000"/>
                <a:gd name="connsiteX81" fmla="*/ 4604 w 10000"/>
                <a:gd name="connsiteY81" fmla="*/ 1009 h 10000"/>
                <a:gd name="connsiteX82" fmla="*/ 4604 w 10000"/>
                <a:gd name="connsiteY82" fmla="*/ 1009 h 10000"/>
                <a:gd name="connsiteX83" fmla="*/ 4586 w 10000"/>
                <a:gd name="connsiteY83" fmla="*/ 1009 h 10000"/>
                <a:gd name="connsiteX84" fmla="*/ 3867 w 10000"/>
                <a:gd name="connsiteY84" fmla="*/ 948 h 10000"/>
                <a:gd name="connsiteX85" fmla="*/ 3219 w 10000"/>
                <a:gd name="connsiteY85" fmla="*/ 1621 h 10000"/>
                <a:gd name="connsiteX86" fmla="*/ 3219 w 10000"/>
                <a:gd name="connsiteY86" fmla="*/ 1651 h 10000"/>
                <a:gd name="connsiteX87" fmla="*/ 3201 w 10000"/>
                <a:gd name="connsiteY87" fmla="*/ 1621 h 10000"/>
                <a:gd name="connsiteX88" fmla="*/ 2932 w 10000"/>
                <a:gd name="connsiteY88" fmla="*/ 1498 h 10000"/>
                <a:gd name="connsiteX89" fmla="*/ 2716 w 10000"/>
                <a:gd name="connsiteY89" fmla="*/ 1713 h 10000"/>
                <a:gd name="connsiteX90" fmla="*/ 2698 w 10000"/>
                <a:gd name="connsiteY90" fmla="*/ 1743 h 10000"/>
                <a:gd name="connsiteX91" fmla="*/ 2680 w 10000"/>
                <a:gd name="connsiteY91" fmla="*/ 1713 h 10000"/>
                <a:gd name="connsiteX92" fmla="*/ 1709 w 10000"/>
                <a:gd name="connsiteY92" fmla="*/ 673 h 10000"/>
                <a:gd name="connsiteX93" fmla="*/ 144 w 10000"/>
                <a:gd name="connsiteY93" fmla="*/ 581 h 10000"/>
                <a:gd name="connsiteX94" fmla="*/ 144 w 10000"/>
                <a:gd name="connsiteY94" fmla="*/ 612 h 10000"/>
                <a:gd name="connsiteX95" fmla="*/ 0 w 10000"/>
                <a:gd name="connsiteY95" fmla="*/ 795 h 10000"/>
                <a:gd name="connsiteX96" fmla="*/ 0 w 10000"/>
                <a:gd name="connsiteY96" fmla="*/ 1040 h 10000"/>
                <a:gd name="connsiteX97" fmla="*/ 0 w 10000"/>
                <a:gd name="connsiteY97" fmla="*/ 1529 h 10000"/>
                <a:gd name="connsiteX98" fmla="*/ 216 w 10000"/>
                <a:gd name="connsiteY98" fmla="*/ 1774 h 10000"/>
                <a:gd name="connsiteX99" fmla="*/ 288 w 10000"/>
                <a:gd name="connsiteY99" fmla="*/ 1590 h 10000"/>
                <a:gd name="connsiteX100" fmla="*/ 396 w 10000"/>
                <a:gd name="connsiteY100" fmla="*/ 1346 h 10000"/>
                <a:gd name="connsiteX101" fmla="*/ 629 w 10000"/>
                <a:gd name="connsiteY101" fmla="*/ 1804 h 10000"/>
                <a:gd name="connsiteX102" fmla="*/ 917 w 10000"/>
                <a:gd name="connsiteY102" fmla="*/ 1804 h 10000"/>
                <a:gd name="connsiteX103" fmla="*/ 1061 w 10000"/>
                <a:gd name="connsiteY103" fmla="*/ 1988 h 10000"/>
                <a:gd name="connsiteX104" fmla="*/ 1223 w 10000"/>
                <a:gd name="connsiteY104" fmla="*/ 2294 h 10000"/>
                <a:gd name="connsiteX105" fmla="*/ 1223 w 10000"/>
                <a:gd name="connsiteY105" fmla="*/ 2844 h 10000"/>
                <a:gd name="connsiteX106" fmla="*/ 1403 w 10000"/>
                <a:gd name="connsiteY106" fmla="*/ 3150 h 10000"/>
                <a:gd name="connsiteX107" fmla="*/ 1493 w 10000"/>
                <a:gd name="connsiteY107" fmla="*/ 4159 h 10000"/>
                <a:gd name="connsiteX108" fmla="*/ 1565 w 10000"/>
                <a:gd name="connsiteY108" fmla="*/ 4618 h 10000"/>
                <a:gd name="connsiteX109" fmla="*/ 1655 w 10000"/>
                <a:gd name="connsiteY109" fmla="*/ 4924 h 10000"/>
                <a:gd name="connsiteX110" fmla="*/ 1745 w 10000"/>
                <a:gd name="connsiteY110" fmla="*/ 5199 h 10000"/>
                <a:gd name="connsiteX111" fmla="*/ 1583 w 10000"/>
                <a:gd name="connsiteY111" fmla="*/ 5352 h 10000"/>
                <a:gd name="connsiteX112" fmla="*/ 1439 w 10000"/>
                <a:gd name="connsiteY112" fmla="*/ 5321 h 10000"/>
                <a:gd name="connsiteX113" fmla="*/ 1259 w 10000"/>
                <a:gd name="connsiteY113" fmla="*/ 4985 h 10000"/>
                <a:gd name="connsiteX114" fmla="*/ 1079 w 10000"/>
                <a:gd name="connsiteY114" fmla="*/ 4954 h 10000"/>
                <a:gd name="connsiteX115" fmla="*/ 989 w 10000"/>
                <a:gd name="connsiteY115" fmla="*/ 5199 h 10000"/>
                <a:gd name="connsiteX116" fmla="*/ 1079 w 10000"/>
                <a:gd name="connsiteY116" fmla="*/ 5474 h 10000"/>
                <a:gd name="connsiteX117" fmla="*/ 1565 w 10000"/>
                <a:gd name="connsiteY117" fmla="*/ 6177 h 10000"/>
                <a:gd name="connsiteX118" fmla="*/ 1691 w 10000"/>
                <a:gd name="connsiteY118" fmla="*/ 6391 h 10000"/>
                <a:gd name="connsiteX119" fmla="*/ 1835 w 10000"/>
                <a:gd name="connsiteY119" fmla="*/ 6055 h 10000"/>
                <a:gd name="connsiteX120" fmla="*/ 2104 w 10000"/>
                <a:gd name="connsiteY120" fmla="*/ 6024 h 10000"/>
                <a:gd name="connsiteX121" fmla="*/ 2536 w 10000"/>
                <a:gd name="connsiteY121" fmla="*/ 6116 h 10000"/>
                <a:gd name="connsiteX122" fmla="*/ 2680 w 10000"/>
                <a:gd name="connsiteY122" fmla="*/ 5933 h 10000"/>
                <a:gd name="connsiteX123" fmla="*/ 3435 w 10000"/>
                <a:gd name="connsiteY123" fmla="*/ 5474 h 10000"/>
                <a:gd name="connsiteX124" fmla="*/ 3633 w 10000"/>
                <a:gd name="connsiteY124" fmla="*/ 5352 h 10000"/>
                <a:gd name="connsiteX125" fmla="*/ 3831 w 10000"/>
                <a:gd name="connsiteY125" fmla="*/ 5229 h 10000"/>
                <a:gd name="connsiteX126" fmla="*/ 4245 w 10000"/>
                <a:gd name="connsiteY126" fmla="*/ 5076 h 10000"/>
                <a:gd name="connsiteX127" fmla="*/ 4388 w 10000"/>
                <a:gd name="connsiteY127" fmla="*/ 5168 h 10000"/>
                <a:gd name="connsiteX128" fmla="*/ 4532 w 10000"/>
                <a:gd name="connsiteY128" fmla="*/ 5229 h 10000"/>
                <a:gd name="connsiteX129" fmla="*/ 4748 w 10000"/>
                <a:gd name="connsiteY129" fmla="*/ 5566 h 10000"/>
                <a:gd name="connsiteX130" fmla="*/ 4928 w 10000"/>
                <a:gd name="connsiteY130" fmla="*/ 5872 h 10000"/>
                <a:gd name="connsiteX131" fmla="*/ 5234 w 10000"/>
                <a:gd name="connsiteY131" fmla="*/ 6177 h 10000"/>
                <a:gd name="connsiteX132" fmla="*/ 5342 w 10000"/>
                <a:gd name="connsiteY132" fmla="*/ 6330 h 10000"/>
                <a:gd name="connsiteX133" fmla="*/ 5432 w 10000"/>
                <a:gd name="connsiteY133" fmla="*/ 6208 h 10000"/>
                <a:gd name="connsiteX134" fmla="*/ 5594 w 10000"/>
                <a:gd name="connsiteY134" fmla="*/ 6024 h 10000"/>
                <a:gd name="connsiteX135" fmla="*/ 5737 w 10000"/>
                <a:gd name="connsiteY135" fmla="*/ 5872 h 10000"/>
                <a:gd name="connsiteX136" fmla="*/ 5899 w 10000"/>
                <a:gd name="connsiteY136" fmla="*/ 5994 h 10000"/>
                <a:gd name="connsiteX137" fmla="*/ 6097 w 10000"/>
                <a:gd name="connsiteY137" fmla="*/ 6147 h 10000"/>
                <a:gd name="connsiteX138" fmla="*/ 6349 w 10000"/>
                <a:gd name="connsiteY138" fmla="*/ 6453 h 10000"/>
                <a:gd name="connsiteX139" fmla="*/ 6313 w 10000"/>
                <a:gd name="connsiteY139" fmla="*/ 7278 h 10000"/>
                <a:gd name="connsiteX140" fmla="*/ 6403 w 10000"/>
                <a:gd name="connsiteY140" fmla="*/ 7339 h 10000"/>
                <a:gd name="connsiteX141" fmla="*/ 6421 w 10000"/>
                <a:gd name="connsiteY141" fmla="*/ 8379 h 10000"/>
                <a:gd name="connsiteX142" fmla="*/ 6367 w 10000"/>
                <a:gd name="connsiteY142" fmla="*/ 8502 h 10000"/>
                <a:gd name="connsiteX143" fmla="*/ 6295 w 10000"/>
                <a:gd name="connsiteY143" fmla="*/ 8869 h 10000"/>
                <a:gd name="connsiteX144" fmla="*/ 6835 w 10000"/>
                <a:gd name="connsiteY144" fmla="*/ 8807 h 10000"/>
                <a:gd name="connsiteX145" fmla="*/ 7032 w 10000"/>
                <a:gd name="connsiteY145" fmla="*/ 8563 h 10000"/>
                <a:gd name="connsiteX0" fmla="*/ 7032 w 10000"/>
                <a:gd name="connsiteY0" fmla="*/ 8563 h 10000"/>
                <a:gd name="connsiteX1" fmla="*/ 7050 w 10000"/>
                <a:gd name="connsiteY1" fmla="*/ 8563 h 10000"/>
                <a:gd name="connsiteX2" fmla="*/ 7068 w 10000"/>
                <a:gd name="connsiteY2" fmla="*/ 8563 h 10000"/>
                <a:gd name="connsiteX3" fmla="*/ 7266 w 10000"/>
                <a:gd name="connsiteY3" fmla="*/ 8746 h 10000"/>
                <a:gd name="connsiteX4" fmla="*/ 7554 w 10000"/>
                <a:gd name="connsiteY4" fmla="*/ 8746 h 10000"/>
                <a:gd name="connsiteX5" fmla="*/ 7590 w 10000"/>
                <a:gd name="connsiteY5" fmla="*/ 8593 h 10000"/>
                <a:gd name="connsiteX6" fmla="*/ 7608 w 10000"/>
                <a:gd name="connsiteY6" fmla="*/ 8532 h 10000"/>
                <a:gd name="connsiteX7" fmla="*/ 7626 w 10000"/>
                <a:gd name="connsiteY7" fmla="*/ 8532 h 10000"/>
                <a:gd name="connsiteX8" fmla="*/ 8058 w 10000"/>
                <a:gd name="connsiteY8" fmla="*/ 8471 h 10000"/>
                <a:gd name="connsiteX9" fmla="*/ 8076 w 10000"/>
                <a:gd name="connsiteY9" fmla="*/ 8471 h 10000"/>
                <a:gd name="connsiteX10" fmla="*/ 8094 w 10000"/>
                <a:gd name="connsiteY10" fmla="*/ 8502 h 10000"/>
                <a:gd name="connsiteX11" fmla="*/ 8219 w 10000"/>
                <a:gd name="connsiteY11" fmla="*/ 8746 h 10000"/>
                <a:gd name="connsiteX12" fmla="*/ 8327 w 10000"/>
                <a:gd name="connsiteY12" fmla="*/ 8930 h 10000"/>
                <a:gd name="connsiteX13" fmla="*/ 8417 w 10000"/>
                <a:gd name="connsiteY13" fmla="*/ 8991 h 10000"/>
                <a:gd name="connsiteX14" fmla="*/ 8579 w 10000"/>
                <a:gd name="connsiteY14" fmla="*/ 8716 h 10000"/>
                <a:gd name="connsiteX15" fmla="*/ 8669 w 10000"/>
                <a:gd name="connsiteY15" fmla="*/ 8440 h 10000"/>
                <a:gd name="connsiteX16" fmla="*/ 8687 w 10000"/>
                <a:gd name="connsiteY16" fmla="*/ 8379 h 10000"/>
                <a:gd name="connsiteX17" fmla="*/ 8723 w 10000"/>
                <a:gd name="connsiteY17" fmla="*/ 8410 h 10000"/>
                <a:gd name="connsiteX18" fmla="*/ 8849 w 10000"/>
                <a:gd name="connsiteY18" fmla="*/ 8593 h 10000"/>
                <a:gd name="connsiteX19" fmla="*/ 9029 w 10000"/>
                <a:gd name="connsiteY19" fmla="*/ 8899 h 10000"/>
                <a:gd name="connsiteX20" fmla="*/ 9406 w 10000"/>
                <a:gd name="connsiteY20" fmla="*/ 9450 h 10000"/>
                <a:gd name="connsiteX21" fmla="*/ 9622 w 10000"/>
                <a:gd name="connsiteY21" fmla="*/ 9694 h 10000"/>
                <a:gd name="connsiteX22" fmla="*/ 9892 w 10000"/>
                <a:gd name="connsiteY22" fmla="*/ 10000 h 10000"/>
                <a:gd name="connsiteX23" fmla="*/ 10000 w 10000"/>
                <a:gd name="connsiteY23" fmla="*/ 9939 h 10000"/>
                <a:gd name="connsiteX24" fmla="*/ 9892 w 10000"/>
                <a:gd name="connsiteY24" fmla="*/ 8532 h 10000"/>
                <a:gd name="connsiteX25" fmla="*/ 9622 w 10000"/>
                <a:gd name="connsiteY25" fmla="*/ 8318 h 10000"/>
                <a:gd name="connsiteX26" fmla="*/ 9137 w 10000"/>
                <a:gd name="connsiteY26" fmla="*/ 7951 h 10000"/>
                <a:gd name="connsiteX27" fmla="*/ 9137 w 10000"/>
                <a:gd name="connsiteY27" fmla="*/ 7920 h 10000"/>
                <a:gd name="connsiteX28" fmla="*/ 9119 w 10000"/>
                <a:gd name="connsiteY28" fmla="*/ 7920 h 10000"/>
                <a:gd name="connsiteX29" fmla="*/ 8813 w 10000"/>
                <a:gd name="connsiteY29" fmla="*/ 7401 h 10000"/>
                <a:gd name="connsiteX30" fmla="*/ 8795 w 10000"/>
                <a:gd name="connsiteY30" fmla="*/ 7370 h 10000"/>
                <a:gd name="connsiteX31" fmla="*/ 8795 w 10000"/>
                <a:gd name="connsiteY31" fmla="*/ 7370 h 10000"/>
                <a:gd name="connsiteX32" fmla="*/ 8795 w 10000"/>
                <a:gd name="connsiteY32" fmla="*/ 6606 h 10000"/>
                <a:gd name="connsiteX33" fmla="*/ 8651 w 10000"/>
                <a:gd name="connsiteY33" fmla="*/ 6208 h 10000"/>
                <a:gd name="connsiteX34" fmla="*/ 8633 w 10000"/>
                <a:gd name="connsiteY34" fmla="*/ 6177 h 10000"/>
                <a:gd name="connsiteX35" fmla="*/ 8651 w 10000"/>
                <a:gd name="connsiteY35" fmla="*/ 6147 h 10000"/>
                <a:gd name="connsiteX36" fmla="*/ 8705 w 10000"/>
                <a:gd name="connsiteY36" fmla="*/ 5596 h 10000"/>
                <a:gd name="connsiteX37" fmla="*/ 8705 w 10000"/>
                <a:gd name="connsiteY37" fmla="*/ 5596 h 10000"/>
                <a:gd name="connsiteX38" fmla="*/ 8723 w 10000"/>
                <a:gd name="connsiteY38" fmla="*/ 5596 h 10000"/>
                <a:gd name="connsiteX39" fmla="*/ 8849 w 10000"/>
                <a:gd name="connsiteY39" fmla="*/ 5076 h 10000"/>
                <a:gd name="connsiteX40" fmla="*/ 8975 w 10000"/>
                <a:gd name="connsiteY40" fmla="*/ 4709 h 10000"/>
                <a:gd name="connsiteX41" fmla="*/ 9065 w 10000"/>
                <a:gd name="connsiteY41" fmla="*/ 4343 h 10000"/>
                <a:gd name="connsiteX42" fmla="*/ 8921 w 10000"/>
                <a:gd name="connsiteY42" fmla="*/ 3945 h 10000"/>
                <a:gd name="connsiteX43" fmla="*/ 8921 w 10000"/>
                <a:gd name="connsiteY43" fmla="*/ 3945 h 10000"/>
                <a:gd name="connsiteX44" fmla="*/ 8921 w 10000"/>
                <a:gd name="connsiteY44" fmla="*/ 3914 h 10000"/>
                <a:gd name="connsiteX45" fmla="*/ 8903 w 10000"/>
                <a:gd name="connsiteY45" fmla="*/ 2446 h 10000"/>
                <a:gd name="connsiteX46" fmla="*/ 8903 w 10000"/>
                <a:gd name="connsiteY46" fmla="*/ 2446 h 10000"/>
                <a:gd name="connsiteX47" fmla="*/ 8972 w 10000"/>
                <a:gd name="connsiteY47" fmla="*/ 2427 h 10000"/>
                <a:gd name="connsiteX48" fmla="*/ 9140 w 10000"/>
                <a:gd name="connsiteY48" fmla="*/ 2028 h 10000"/>
                <a:gd name="connsiteX49" fmla="*/ 8705 w 10000"/>
                <a:gd name="connsiteY49" fmla="*/ 1651 h 10000"/>
                <a:gd name="connsiteX50" fmla="*/ 8543 w 10000"/>
                <a:gd name="connsiteY50" fmla="*/ 1835 h 10000"/>
                <a:gd name="connsiteX51" fmla="*/ 8525 w 10000"/>
                <a:gd name="connsiteY51" fmla="*/ 1865 h 10000"/>
                <a:gd name="connsiteX52" fmla="*/ 8525 w 10000"/>
                <a:gd name="connsiteY52" fmla="*/ 1835 h 10000"/>
                <a:gd name="connsiteX53" fmla="*/ 8129 w 10000"/>
                <a:gd name="connsiteY53" fmla="*/ 1560 h 10000"/>
                <a:gd name="connsiteX54" fmla="*/ 8094 w 10000"/>
                <a:gd name="connsiteY54" fmla="*/ 1529 h 10000"/>
                <a:gd name="connsiteX55" fmla="*/ 8094 w 10000"/>
                <a:gd name="connsiteY55" fmla="*/ 1498 h 10000"/>
                <a:gd name="connsiteX56" fmla="*/ 8094 w 10000"/>
                <a:gd name="connsiteY56" fmla="*/ 765 h 10000"/>
                <a:gd name="connsiteX57" fmla="*/ 8094 w 10000"/>
                <a:gd name="connsiteY57" fmla="*/ 734 h 10000"/>
                <a:gd name="connsiteX58" fmla="*/ 8187 w 10000"/>
                <a:gd name="connsiteY58" fmla="*/ 857 h 10000"/>
                <a:gd name="connsiteX59" fmla="*/ 8237 w 10000"/>
                <a:gd name="connsiteY59" fmla="*/ 520 h 10000"/>
                <a:gd name="connsiteX60" fmla="*/ 8237 w 10000"/>
                <a:gd name="connsiteY60" fmla="*/ 428 h 10000"/>
                <a:gd name="connsiteX61" fmla="*/ 7842 w 10000"/>
                <a:gd name="connsiteY61" fmla="*/ 0 h 10000"/>
                <a:gd name="connsiteX62" fmla="*/ 7572 w 10000"/>
                <a:gd name="connsiteY62" fmla="*/ 275 h 10000"/>
                <a:gd name="connsiteX63" fmla="*/ 7554 w 10000"/>
                <a:gd name="connsiteY63" fmla="*/ 275 h 10000"/>
                <a:gd name="connsiteX64" fmla="*/ 7554 w 10000"/>
                <a:gd name="connsiteY64" fmla="*/ 275 h 10000"/>
                <a:gd name="connsiteX65" fmla="*/ 7176 w 10000"/>
                <a:gd name="connsiteY65" fmla="*/ 306 h 10000"/>
                <a:gd name="connsiteX66" fmla="*/ 7158 w 10000"/>
                <a:gd name="connsiteY66" fmla="*/ 306 h 10000"/>
                <a:gd name="connsiteX67" fmla="*/ 7158 w 10000"/>
                <a:gd name="connsiteY67" fmla="*/ 306 h 10000"/>
                <a:gd name="connsiteX68" fmla="*/ 7032 w 10000"/>
                <a:gd name="connsiteY68" fmla="*/ 153 h 10000"/>
                <a:gd name="connsiteX69" fmla="*/ 6799 w 10000"/>
                <a:gd name="connsiteY69" fmla="*/ 642 h 10000"/>
                <a:gd name="connsiteX70" fmla="*/ 6745 w 10000"/>
                <a:gd name="connsiteY70" fmla="*/ 979 h 10000"/>
                <a:gd name="connsiteX71" fmla="*/ 6745 w 10000"/>
                <a:gd name="connsiteY71" fmla="*/ 979 h 10000"/>
                <a:gd name="connsiteX72" fmla="*/ 6745 w 10000"/>
                <a:gd name="connsiteY72" fmla="*/ 1009 h 10000"/>
                <a:gd name="connsiteX73" fmla="*/ 6277 w 10000"/>
                <a:gd name="connsiteY73" fmla="*/ 1682 h 10000"/>
                <a:gd name="connsiteX74" fmla="*/ 6259 w 10000"/>
                <a:gd name="connsiteY74" fmla="*/ 1713 h 10000"/>
                <a:gd name="connsiteX75" fmla="*/ 6223 w 10000"/>
                <a:gd name="connsiteY75" fmla="*/ 1682 h 10000"/>
                <a:gd name="connsiteX76" fmla="*/ 5935 w 10000"/>
                <a:gd name="connsiteY76" fmla="*/ 1284 h 10000"/>
                <a:gd name="connsiteX77" fmla="*/ 5935 w 10000"/>
                <a:gd name="connsiteY77" fmla="*/ 1284 h 10000"/>
                <a:gd name="connsiteX78" fmla="*/ 5935 w 10000"/>
                <a:gd name="connsiteY78" fmla="*/ 1284 h 10000"/>
                <a:gd name="connsiteX79" fmla="*/ 5522 w 10000"/>
                <a:gd name="connsiteY79" fmla="*/ 459 h 10000"/>
                <a:gd name="connsiteX80" fmla="*/ 5018 w 10000"/>
                <a:gd name="connsiteY80" fmla="*/ 398 h 10000"/>
                <a:gd name="connsiteX81" fmla="*/ 4604 w 10000"/>
                <a:gd name="connsiteY81" fmla="*/ 1009 h 10000"/>
                <a:gd name="connsiteX82" fmla="*/ 4604 w 10000"/>
                <a:gd name="connsiteY82" fmla="*/ 1009 h 10000"/>
                <a:gd name="connsiteX83" fmla="*/ 4586 w 10000"/>
                <a:gd name="connsiteY83" fmla="*/ 1009 h 10000"/>
                <a:gd name="connsiteX84" fmla="*/ 3867 w 10000"/>
                <a:gd name="connsiteY84" fmla="*/ 948 h 10000"/>
                <a:gd name="connsiteX85" fmla="*/ 3219 w 10000"/>
                <a:gd name="connsiteY85" fmla="*/ 1621 h 10000"/>
                <a:gd name="connsiteX86" fmla="*/ 3219 w 10000"/>
                <a:gd name="connsiteY86" fmla="*/ 1651 h 10000"/>
                <a:gd name="connsiteX87" fmla="*/ 3201 w 10000"/>
                <a:gd name="connsiteY87" fmla="*/ 1621 h 10000"/>
                <a:gd name="connsiteX88" fmla="*/ 2932 w 10000"/>
                <a:gd name="connsiteY88" fmla="*/ 1498 h 10000"/>
                <a:gd name="connsiteX89" fmla="*/ 2716 w 10000"/>
                <a:gd name="connsiteY89" fmla="*/ 1713 h 10000"/>
                <a:gd name="connsiteX90" fmla="*/ 2698 w 10000"/>
                <a:gd name="connsiteY90" fmla="*/ 1743 h 10000"/>
                <a:gd name="connsiteX91" fmla="*/ 2680 w 10000"/>
                <a:gd name="connsiteY91" fmla="*/ 1713 h 10000"/>
                <a:gd name="connsiteX92" fmla="*/ 1709 w 10000"/>
                <a:gd name="connsiteY92" fmla="*/ 673 h 10000"/>
                <a:gd name="connsiteX93" fmla="*/ 144 w 10000"/>
                <a:gd name="connsiteY93" fmla="*/ 581 h 10000"/>
                <a:gd name="connsiteX94" fmla="*/ 144 w 10000"/>
                <a:gd name="connsiteY94" fmla="*/ 612 h 10000"/>
                <a:gd name="connsiteX95" fmla="*/ 0 w 10000"/>
                <a:gd name="connsiteY95" fmla="*/ 795 h 10000"/>
                <a:gd name="connsiteX96" fmla="*/ 0 w 10000"/>
                <a:gd name="connsiteY96" fmla="*/ 1040 h 10000"/>
                <a:gd name="connsiteX97" fmla="*/ 0 w 10000"/>
                <a:gd name="connsiteY97" fmla="*/ 1529 h 10000"/>
                <a:gd name="connsiteX98" fmla="*/ 216 w 10000"/>
                <a:gd name="connsiteY98" fmla="*/ 1774 h 10000"/>
                <a:gd name="connsiteX99" fmla="*/ 288 w 10000"/>
                <a:gd name="connsiteY99" fmla="*/ 1590 h 10000"/>
                <a:gd name="connsiteX100" fmla="*/ 396 w 10000"/>
                <a:gd name="connsiteY100" fmla="*/ 1346 h 10000"/>
                <a:gd name="connsiteX101" fmla="*/ 629 w 10000"/>
                <a:gd name="connsiteY101" fmla="*/ 1804 h 10000"/>
                <a:gd name="connsiteX102" fmla="*/ 917 w 10000"/>
                <a:gd name="connsiteY102" fmla="*/ 1804 h 10000"/>
                <a:gd name="connsiteX103" fmla="*/ 1061 w 10000"/>
                <a:gd name="connsiteY103" fmla="*/ 1988 h 10000"/>
                <a:gd name="connsiteX104" fmla="*/ 1223 w 10000"/>
                <a:gd name="connsiteY104" fmla="*/ 2294 h 10000"/>
                <a:gd name="connsiteX105" fmla="*/ 1223 w 10000"/>
                <a:gd name="connsiteY105" fmla="*/ 2844 h 10000"/>
                <a:gd name="connsiteX106" fmla="*/ 1403 w 10000"/>
                <a:gd name="connsiteY106" fmla="*/ 3150 h 10000"/>
                <a:gd name="connsiteX107" fmla="*/ 1493 w 10000"/>
                <a:gd name="connsiteY107" fmla="*/ 4159 h 10000"/>
                <a:gd name="connsiteX108" fmla="*/ 1565 w 10000"/>
                <a:gd name="connsiteY108" fmla="*/ 4618 h 10000"/>
                <a:gd name="connsiteX109" fmla="*/ 1655 w 10000"/>
                <a:gd name="connsiteY109" fmla="*/ 4924 h 10000"/>
                <a:gd name="connsiteX110" fmla="*/ 1745 w 10000"/>
                <a:gd name="connsiteY110" fmla="*/ 5199 h 10000"/>
                <a:gd name="connsiteX111" fmla="*/ 1583 w 10000"/>
                <a:gd name="connsiteY111" fmla="*/ 5352 h 10000"/>
                <a:gd name="connsiteX112" fmla="*/ 1439 w 10000"/>
                <a:gd name="connsiteY112" fmla="*/ 5321 h 10000"/>
                <a:gd name="connsiteX113" fmla="*/ 1259 w 10000"/>
                <a:gd name="connsiteY113" fmla="*/ 4985 h 10000"/>
                <a:gd name="connsiteX114" fmla="*/ 1079 w 10000"/>
                <a:gd name="connsiteY114" fmla="*/ 4954 h 10000"/>
                <a:gd name="connsiteX115" fmla="*/ 989 w 10000"/>
                <a:gd name="connsiteY115" fmla="*/ 5199 h 10000"/>
                <a:gd name="connsiteX116" fmla="*/ 1079 w 10000"/>
                <a:gd name="connsiteY116" fmla="*/ 5474 h 10000"/>
                <a:gd name="connsiteX117" fmla="*/ 1565 w 10000"/>
                <a:gd name="connsiteY117" fmla="*/ 6177 h 10000"/>
                <a:gd name="connsiteX118" fmla="*/ 1691 w 10000"/>
                <a:gd name="connsiteY118" fmla="*/ 6391 h 10000"/>
                <a:gd name="connsiteX119" fmla="*/ 1835 w 10000"/>
                <a:gd name="connsiteY119" fmla="*/ 6055 h 10000"/>
                <a:gd name="connsiteX120" fmla="*/ 2104 w 10000"/>
                <a:gd name="connsiteY120" fmla="*/ 6024 h 10000"/>
                <a:gd name="connsiteX121" fmla="*/ 2536 w 10000"/>
                <a:gd name="connsiteY121" fmla="*/ 6116 h 10000"/>
                <a:gd name="connsiteX122" fmla="*/ 2680 w 10000"/>
                <a:gd name="connsiteY122" fmla="*/ 5933 h 10000"/>
                <a:gd name="connsiteX123" fmla="*/ 3435 w 10000"/>
                <a:gd name="connsiteY123" fmla="*/ 5474 h 10000"/>
                <a:gd name="connsiteX124" fmla="*/ 3633 w 10000"/>
                <a:gd name="connsiteY124" fmla="*/ 5352 h 10000"/>
                <a:gd name="connsiteX125" fmla="*/ 3831 w 10000"/>
                <a:gd name="connsiteY125" fmla="*/ 5229 h 10000"/>
                <a:gd name="connsiteX126" fmla="*/ 4245 w 10000"/>
                <a:gd name="connsiteY126" fmla="*/ 5076 h 10000"/>
                <a:gd name="connsiteX127" fmla="*/ 4388 w 10000"/>
                <a:gd name="connsiteY127" fmla="*/ 5168 h 10000"/>
                <a:gd name="connsiteX128" fmla="*/ 4532 w 10000"/>
                <a:gd name="connsiteY128" fmla="*/ 5229 h 10000"/>
                <a:gd name="connsiteX129" fmla="*/ 4748 w 10000"/>
                <a:gd name="connsiteY129" fmla="*/ 5566 h 10000"/>
                <a:gd name="connsiteX130" fmla="*/ 4928 w 10000"/>
                <a:gd name="connsiteY130" fmla="*/ 5872 h 10000"/>
                <a:gd name="connsiteX131" fmla="*/ 5234 w 10000"/>
                <a:gd name="connsiteY131" fmla="*/ 6177 h 10000"/>
                <a:gd name="connsiteX132" fmla="*/ 5342 w 10000"/>
                <a:gd name="connsiteY132" fmla="*/ 6330 h 10000"/>
                <a:gd name="connsiteX133" fmla="*/ 5432 w 10000"/>
                <a:gd name="connsiteY133" fmla="*/ 6208 h 10000"/>
                <a:gd name="connsiteX134" fmla="*/ 5594 w 10000"/>
                <a:gd name="connsiteY134" fmla="*/ 6024 h 10000"/>
                <a:gd name="connsiteX135" fmla="*/ 5737 w 10000"/>
                <a:gd name="connsiteY135" fmla="*/ 5872 h 10000"/>
                <a:gd name="connsiteX136" fmla="*/ 5899 w 10000"/>
                <a:gd name="connsiteY136" fmla="*/ 5994 h 10000"/>
                <a:gd name="connsiteX137" fmla="*/ 6097 w 10000"/>
                <a:gd name="connsiteY137" fmla="*/ 6147 h 10000"/>
                <a:gd name="connsiteX138" fmla="*/ 6349 w 10000"/>
                <a:gd name="connsiteY138" fmla="*/ 6453 h 10000"/>
                <a:gd name="connsiteX139" fmla="*/ 6313 w 10000"/>
                <a:gd name="connsiteY139" fmla="*/ 7278 h 10000"/>
                <a:gd name="connsiteX140" fmla="*/ 6403 w 10000"/>
                <a:gd name="connsiteY140" fmla="*/ 7339 h 10000"/>
                <a:gd name="connsiteX141" fmla="*/ 6421 w 10000"/>
                <a:gd name="connsiteY141" fmla="*/ 8379 h 10000"/>
                <a:gd name="connsiteX142" fmla="*/ 6367 w 10000"/>
                <a:gd name="connsiteY142" fmla="*/ 8502 h 10000"/>
                <a:gd name="connsiteX143" fmla="*/ 6295 w 10000"/>
                <a:gd name="connsiteY143" fmla="*/ 8869 h 10000"/>
                <a:gd name="connsiteX144" fmla="*/ 6835 w 10000"/>
                <a:gd name="connsiteY144" fmla="*/ 8807 h 10000"/>
                <a:gd name="connsiteX145" fmla="*/ 7032 w 10000"/>
                <a:gd name="connsiteY145" fmla="*/ 8563 h 10000"/>
                <a:gd name="connsiteX0" fmla="*/ 7032 w 10000"/>
                <a:gd name="connsiteY0" fmla="*/ 8563 h 10000"/>
                <a:gd name="connsiteX1" fmla="*/ 7050 w 10000"/>
                <a:gd name="connsiteY1" fmla="*/ 8563 h 10000"/>
                <a:gd name="connsiteX2" fmla="*/ 7068 w 10000"/>
                <a:gd name="connsiteY2" fmla="*/ 8563 h 10000"/>
                <a:gd name="connsiteX3" fmla="*/ 7266 w 10000"/>
                <a:gd name="connsiteY3" fmla="*/ 8746 h 10000"/>
                <a:gd name="connsiteX4" fmla="*/ 7554 w 10000"/>
                <a:gd name="connsiteY4" fmla="*/ 8746 h 10000"/>
                <a:gd name="connsiteX5" fmla="*/ 7590 w 10000"/>
                <a:gd name="connsiteY5" fmla="*/ 8593 h 10000"/>
                <a:gd name="connsiteX6" fmla="*/ 7608 w 10000"/>
                <a:gd name="connsiteY6" fmla="*/ 8532 h 10000"/>
                <a:gd name="connsiteX7" fmla="*/ 7626 w 10000"/>
                <a:gd name="connsiteY7" fmla="*/ 8532 h 10000"/>
                <a:gd name="connsiteX8" fmla="*/ 8058 w 10000"/>
                <a:gd name="connsiteY8" fmla="*/ 8471 h 10000"/>
                <a:gd name="connsiteX9" fmla="*/ 8076 w 10000"/>
                <a:gd name="connsiteY9" fmla="*/ 8471 h 10000"/>
                <a:gd name="connsiteX10" fmla="*/ 8094 w 10000"/>
                <a:gd name="connsiteY10" fmla="*/ 8502 h 10000"/>
                <a:gd name="connsiteX11" fmla="*/ 8219 w 10000"/>
                <a:gd name="connsiteY11" fmla="*/ 8746 h 10000"/>
                <a:gd name="connsiteX12" fmla="*/ 8327 w 10000"/>
                <a:gd name="connsiteY12" fmla="*/ 8930 h 10000"/>
                <a:gd name="connsiteX13" fmla="*/ 8417 w 10000"/>
                <a:gd name="connsiteY13" fmla="*/ 8991 h 10000"/>
                <a:gd name="connsiteX14" fmla="*/ 8579 w 10000"/>
                <a:gd name="connsiteY14" fmla="*/ 8716 h 10000"/>
                <a:gd name="connsiteX15" fmla="*/ 8669 w 10000"/>
                <a:gd name="connsiteY15" fmla="*/ 8440 h 10000"/>
                <a:gd name="connsiteX16" fmla="*/ 8687 w 10000"/>
                <a:gd name="connsiteY16" fmla="*/ 8379 h 10000"/>
                <a:gd name="connsiteX17" fmla="*/ 8723 w 10000"/>
                <a:gd name="connsiteY17" fmla="*/ 8410 h 10000"/>
                <a:gd name="connsiteX18" fmla="*/ 8849 w 10000"/>
                <a:gd name="connsiteY18" fmla="*/ 8593 h 10000"/>
                <a:gd name="connsiteX19" fmla="*/ 9029 w 10000"/>
                <a:gd name="connsiteY19" fmla="*/ 8899 h 10000"/>
                <a:gd name="connsiteX20" fmla="*/ 9406 w 10000"/>
                <a:gd name="connsiteY20" fmla="*/ 9450 h 10000"/>
                <a:gd name="connsiteX21" fmla="*/ 9622 w 10000"/>
                <a:gd name="connsiteY21" fmla="*/ 9694 h 10000"/>
                <a:gd name="connsiteX22" fmla="*/ 9892 w 10000"/>
                <a:gd name="connsiteY22" fmla="*/ 10000 h 10000"/>
                <a:gd name="connsiteX23" fmla="*/ 10000 w 10000"/>
                <a:gd name="connsiteY23" fmla="*/ 9939 h 10000"/>
                <a:gd name="connsiteX24" fmla="*/ 9892 w 10000"/>
                <a:gd name="connsiteY24" fmla="*/ 8532 h 10000"/>
                <a:gd name="connsiteX25" fmla="*/ 9622 w 10000"/>
                <a:gd name="connsiteY25" fmla="*/ 8318 h 10000"/>
                <a:gd name="connsiteX26" fmla="*/ 9137 w 10000"/>
                <a:gd name="connsiteY26" fmla="*/ 7951 h 10000"/>
                <a:gd name="connsiteX27" fmla="*/ 9137 w 10000"/>
                <a:gd name="connsiteY27" fmla="*/ 7920 h 10000"/>
                <a:gd name="connsiteX28" fmla="*/ 9119 w 10000"/>
                <a:gd name="connsiteY28" fmla="*/ 7920 h 10000"/>
                <a:gd name="connsiteX29" fmla="*/ 8813 w 10000"/>
                <a:gd name="connsiteY29" fmla="*/ 7401 h 10000"/>
                <a:gd name="connsiteX30" fmla="*/ 8795 w 10000"/>
                <a:gd name="connsiteY30" fmla="*/ 7370 h 10000"/>
                <a:gd name="connsiteX31" fmla="*/ 8795 w 10000"/>
                <a:gd name="connsiteY31" fmla="*/ 7370 h 10000"/>
                <a:gd name="connsiteX32" fmla="*/ 8795 w 10000"/>
                <a:gd name="connsiteY32" fmla="*/ 6606 h 10000"/>
                <a:gd name="connsiteX33" fmla="*/ 8651 w 10000"/>
                <a:gd name="connsiteY33" fmla="*/ 6208 h 10000"/>
                <a:gd name="connsiteX34" fmla="*/ 8633 w 10000"/>
                <a:gd name="connsiteY34" fmla="*/ 6177 h 10000"/>
                <a:gd name="connsiteX35" fmla="*/ 8651 w 10000"/>
                <a:gd name="connsiteY35" fmla="*/ 6147 h 10000"/>
                <a:gd name="connsiteX36" fmla="*/ 8705 w 10000"/>
                <a:gd name="connsiteY36" fmla="*/ 5596 h 10000"/>
                <a:gd name="connsiteX37" fmla="*/ 8705 w 10000"/>
                <a:gd name="connsiteY37" fmla="*/ 5596 h 10000"/>
                <a:gd name="connsiteX38" fmla="*/ 8723 w 10000"/>
                <a:gd name="connsiteY38" fmla="*/ 5596 h 10000"/>
                <a:gd name="connsiteX39" fmla="*/ 8904 w 10000"/>
                <a:gd name="connsiteY39" fmla="*/ 5188 h 10000"/>
                <a:gd name="connsiteX40" fmla="*/ 8975 w 10000"/>
                <a:gd name="connsiteY40" fmla="*/ 4709 h 10000"/>
                <a:gd name="connsiteX41" fmla="*/ 9065 w 10000"/>
                <a:gd name="connsiteY41" fmla="*/ 4343 h 10000"/>
                <a:gd name="connsiteX42" fmla="*/ 8921 w 10000"/>
                <a:gd name="connsiteY42" fmla="*/ 3945 h 10000"/>
                <a:gd name="connsiteX43" fmla="*/ 8921 w 10000"/>
                <a:gd name="connsiteY43" fmla="*/ 3945 h 10000"/>
                <a:gd name="connsiteX44" fmla="*/ 8921 w 10000"/>
                <a:gd name="connsiteY44" fmla="*/ 3914 h 10000"/>
                <a:gd name="connsiteX45" fmla="*/ 8903 w 10000"/>
                <a:gd name="connsiteY45" fmla="*/ 2446 h 10000"/>
                <a:gd name="connsiteX46" fmla="*/ 8903 w 10000"/>
                <a:gd name="connsiteY46" fmla="*/ 2446 h 10000"/>
                <a:gd name="connsiteX47" fmla="*/ 8972 w 10000"/>
                <a:gd name="connsiteY47" fmla="*/ 2427 h 10000"/>
                <a:gd name="connsiteX48" fmla="*/ 9140 w 10000"/>
                <a:gd name="connsiteY48" fmla="*/ 2028 h 10000"/>
                <a:gd name="connsiteX49" fmla="*/ 8705 w 10000"/>
                <a:gd name="connsiteY49" fmla="*/ 1651 h 10000"/>
                <a:gd name="connsiteX50" fmla="*/ 8543 w 10000"/>
                <a:gd name="connsiteY50" fmla="*/ 1835 h 10000"/>
                <a:gd name="connsiteX51" fmla="*/ 8525 w 10000"/>
                <a:gd name="connsiteY51" fmla="*/ 1865 h 10000"/>
                <a:gd name="connsiteX52" fmla="*/ 8525 w 10000"/>
                <a:gd name="connsiteY52" fmla="*/ 1835 h 10000"/>
                <a:gd name="connsiteX53" fmla="*/ 8129 w 10000"/>
                <a:gd name="connsiteY53" fmla="*/ 1560 h 10000"/>
                <a:gd name="connsiteX54" fmla="*/ 8094 w 10000"/>
                <a:gd name="connsiteY54" fmla="*/ 1529 h 10000"/>
                <a:gd name="connsiteX55" fmla="*/ 8094 w 10000"/>
                <a:gd name="connsiteY55" fmla="*/ 1498 h 10000"/>
                <a:gd name="connsiteX56" fmla="*/ 8094 w 10000"/>
                <a:gd name="connsiteY56" fmla="*/ 765 h 10000"/>
                <a:gd name="connsiteX57" fmla="*/ 8094 w 10000"/>
                <a:gd name="connsiteY57" fmla="*/ 734 h 10000"/>
                <a:gd name="connsiteX58" fmla="*/ 8187 w 10000"/>
                <a:gd name="connsiteY58" fmla="*/ 857 h 10000"/>
                <a:gd name="connsiteX59" fmla="*/ 8237 w 10000"/>
                <a:gd name="connsiteY59" fmla="*/ 520 h 10000"/>
                <a:gd name="connsiteX60" fmla="*/ 8237 w 10000"/>
                <a:gd name="connsiteY60" fmla="*/ 428 h 10000"/>
                <a:gd name="connsiteX61" fmla="*/ 7842 w 10000"/>
                <a:gd name="connsiteY61" fmla="*/ 0 h 10000"/>
                <a:gd name="connsiteX62" fmla="*/ 7572 w 10000"/>
                <a:gd name="connsiteY62" fmla="*/ 275 h 10000"/>
                <a:gd name="connsiteX63" fmla="*/ 7554 w 10000"/>
                <a:gd name="connsiteY63" fmla="*/ 275 h 10000"/>
                <a:gd name="connsiteX64" fmla="*/ 7554 w 10000"/>
                <a:gd name="connsiteY64" fmla="*/ 275 h 10000"/>
                <a:gd name="connsiteX65" fmla="*/ 7176 w 10000"/>
                <a:gd name="connsiteY65" fmla="*/ 306 h 10000"/>
                <a:gd name="connsiteX66" fmla="*/ 7158 w 10000"/>
                <a:gd name="connsiteY66" fmla="*/ 306 h 10000"/>
                <a:gd name="connsiteX67" fmla="*/ 7158 w 10000"/>
                <a:gd name="connsiteY67" fmla="*/ 306 h 10000"/>
                <a:gd name="connsiteX68" fmla="*/ 7032 w 10000"/>
                <a:gd name="connsiteY68" fmla="*/ 153 h 10000"/>
                <a:gd name="connsiteX69" fmla="*/ 6799 w 10000"/>
                <a:gd name="connsiteY69" fmla="*/ 642 h 10000"/>
                <a:gd name="connsiteX70" fmla="*/ 6745 w 10000"/>
                <a:gd name="connsiteY70" fmla="*/ 979 h 10000"/>
                <a:gd name="connsiteX71" fmla="*/ 6745 w 10000"/>
                <a:gd name="connsiteY71" fmla="*/ 979 h 10000"/>
                <a:gd name="connsiteX72" fmla="*/ 6745 w 10000"/>
                <a:gd name="connsiteY72" fmla="*/ 1009 h 10000"/>
                <a:gd name="connsiteX73" fmla="*/ 6277 w 10000"/>
                <a:gd name="connsiteY73" fmla="*/ 1682 h 10000"/>
                <a:gd name="connsiteX74" fmla="*/ 6259 w 10000"/>
                <a:gd name="connsiteY74" fmla="*/ 1713 h 10000"/>
                <a:gd name="connsiteX75" fmla="*/ 6223 w 10000"/>
                <a:gd name="connsiteY75" fmla="*/ 1682 h 10000"/>
                <a:gd name="connsiteX76" fmla="*/ 5935 w 10000"/>
                <a:gd name="connsiteY76" fmla="*/ 1284 h 10000"/>
                <a:gd name="connsiteX77" fmla="*/ 5935 w 10000"/>
                <a:gd name="connsiteY77" fmla="*/ 1284 h 10000"/>
                <a:gd name="connsiteX78" fmla="*/ 5935 w 10000"/>
                <a:gd name="connsiteY78" fmla="*/ 1284 h 10000"/>
                <a:gd name="connsiteX79" fmla="*/ 5522 w 10000"/>
                <a:gd name="connsiteY79" fmla="*/ 459 h 10000"/>
                <a:gd name="connsiteX80" fmla="*/ 5018 w 10000"/>
                <a:gd name="connsiteY80" fmla="*/ 398 h 10000"/>
                <a:gd name="connsiteX81" fmla="*/ 4604 w 10000"/>
                <a:gd name="connsiteY81" fmla="*/ 1009 h 10000"/>
                <a:gd name="connsiteX82" fmla="*/ 4604 w 10000"/>
                <a:gd name="connsiteY82" fmla="*/ 1009 h 10000"/>
                <a:gd name="connsiteX83" fmla="*/ 4586 w 10000"/>
                <a:gd name="connsiteY83" fmla="*/ 1009 h 10000"/>
                <a:gd name="connsiteX84" fmla="*/ 3867 w 10000"/>
                <a:gd name="connsiteY84" fmla="*/ 948 h 10000"/>
                <a:gd name="connsiteX85" fmla="*/ 3219 w 10000"/>
                <a:gd name="connsiteY85" fmla="*/ 1621 h 10000"/>
                <a:gd name="connsiteX86" fmla="*/ 3219 w 10000"/>
                <a:gd name="connsiteY86" fmla="*/ 1651 h 10000"/>
                <a:gd name="connsiteX87" fmla="*/ 3201 w 10000"/>
                <a:gd name="connsiteY87" fmla="*/ 1621 h 10000"/>
                <a:gd name="connsiteX88" fmla="*/ 2932 w 10000"/>
                <a:gd name="connsiteY88" fmla="*/ 1498 h 10000"/>
                <a:gd name="connsiteX89" fmla="*/ 2716 w 10000"/>
                <a:gd name="connsiteY89" fmla="*/ 1713 h 10000"/>
                <a:gd name="connsiteX90" fmla="*/ 2698 w 10000"/>
                <a:gd name="connsiteY90" fmla="*/ 1743 h 10000"/>
                <a:gd name="connsiteX91" fmla="*/ 2680 w 10000"/>
                <a:gd name="connsiteY91" fmla="*/ 1713 h 10000"/>
                <a:gd name="connsiteX92" fmla="*/ 1709 w 10000"/>
                <a:gd name="connsiteY92" fmla="*/ 673 h 10000"/>
                <a:gd name="connsiteX93" fmla="*/ 144 w 10000"/>
                <a:gd name="connsiteY93" fmla="*/ 581 h 10000"/>
                <a:gd name="connsiteX94" fmla="*/ 144 w 10000"/>
                <a:gd name="connsiteY94" fmla="*/ 612 h 10000"/>
                <a:gd name="connsiteX95" fmla="*/ 0 w 10000"/>
                <a:gd name="connsiteY95" fmla="*/ 795 h 10000"/>
                <a:gd name="connsiteX96" fmla="*/ 0 w 10000"/>
                <a:gd name="connsiteY96" fmla="*/ 1040 h 10000"/>
                <a:gd name="connsiteX97" fmla="*/ 0 w 10000"/>
                <a:gd name="connsiteY97" fmla="*/ 1529 h 10000"/>
                <a:gd name="connsiteX98" fmla="*/ 216 w 10000"/>
                <a:gd name="connsiteY98" fmla="*/ 1774 h 10000"/>
                <a:gd name="connsiteX99" fmla="*/ 288 w 10000"/>
                <a:gd name="connsiteY99" fmla="*/ 1590 h 10000"/>
                <a:gd name="connsiteX100" fmla="*/ 396 w 10000"/>
                <a:gd name="connsiteY100" fmla="*/ 1346 h 10000"/>
                <a:gd name="connsiteX101" fmla="*/ 629 w 10000"/>
                <a:gd name="connsiteY101" fmla="*/ 1804 h 10000"/>
                <a:gd name="connsiteX102" fmla="*/ 917 w 10000"/>
                <a:gd name="connsiteY102" fmla="*/ 1804 h 10000"/>
                <a:gd name="connsiteX103" fmla="*/ 1061 w 10000"/>
                <a:gd name="connsiteY103" fmla="*/ 1988 h 10000"/>
                <a:gd name="connsiteX104" fmla="*/ 1223 w 10000"/>
                <a:gd name="connsiteY104" fmla="*/ 2294 h 10000"/>
                <a:gd name="connsiteX105" fmla="*/ 1223 w 10000"/>
                <a:gd name="connsiteY105" fmla="*/ 2844 h 10000"/>
                <a:gd name="connsiteX106" fmla="*/ 1403 w 10000"/>
                <a:gd name="connsiteY106" fmla="*/ 3150 h 10000"/>
                <a:gd name="connsiteX107" fmla="*/ 1493 w 10000"/>
                <a:gd name="connsiteY107" fmla="*/ 4159 h 10000"/>
                <a:gd name="connsiteX108" fmla="*/ 1565 w 10000"/>
                <a:gd name="connsiteY108" fmla="*/ 4618 h 10000"/>
                <a:gd name="connsiteX109" fmla="*/ 1655 w 10000"/>
                <a:gd name="connsiteY109" fmla="*/ 4924 h 10000"/>
                <a:gd name="connsiteX110" fmla="*/ 1745 w 10000"/>
                <a:gd name="connsiteY110" fmla="*/ 5199 h 10000"/>
                <a:gd name="connsiteX111" fmla="*/ 1583 w 10000"/>
                <a:gd name="connsiteY111" fmla="*/ 5352 h 10000"/>
                <a:gd name="connsiteX112" fmla="*/ 1439 w 10000"/>
                <a:gd name="connsiteY112" fmla="*/ 5321 h 10000"/>
                <a:gd name="connsiteX113" fmla="*/ 1259 w 10000"/>
                <a:gd name="connsiteY113" fmla="*/ 4985 h 10000"/>
                <a:gd name="connsiteX114" fmla="*/ 1079 w 10000"/>
                <a:gd name="connsiteY114" fmla="*/ 4954 h 10000"/>
                <a:gd name="connsiteX115" fmla="*/ 989 w 10000"/>
                <a:gd name="connsiteY115" fmla="*/ 5199 h 10000"/>
                <a:gd name="connsiteX116" fmla="*/ 1079 w 10000"/>
                <a:gd name="connsiteY116" fmla="*/ 5474 h 10000"/>
                <a:gd name="connsiteX117" fmla="*/ 1565 w 10000"/>
                <a:gd name="connsiteY117" fmla="*/ 6177 h 10000"/>
                <a:gd name="connsiteX118" fmla="*/ 1691 w 10000"/>
                <a:gd name="connsiteY118" fmla="*/ 6391 h 10000"/>
                <a:gd name="connsiteX119" fmla="*/ 1835 w 10000"/>
                <a:gd name="connsiteY119" fmla="*/ 6055 h 10000"/>
                <a:gd name="connsiteX120" fmla="*/ 2104 w 10000"/>
                <a:gd name="connsiteY120" fmla="*/ 6024 h 10000"/>
                <a:gd name="connsiteX121" fmla="*/ 2536 w 10000"/>
                <a:gd name="connsiteY121" fmla="*/ 6116 h 10000"/>
                <a:gd name="connsiteX122" fmla="*/ 2680 w 10000"/>
                <a:gd name="connsiteY122" fmla="*/ 5933 h 10000"/>
                <a:gd name="connsiteX123" fmla="*/ 3435 w 10000"/>
                <a:gd name="connsiteY123" fmla="*/ 5474 h 10000"/>
                <a:gd name="connsiteX124" fmla="*/ 3633 w 10000"/>
                <a:gd name="connsiteY124" fmla="*/ 5352 h 10000"/>
                <a:gd name="connsiteX125" fmla="*/ 3831 w 10000"/>
                <a:gd name="connsiteY125" fmla="*/ 5229 h 10000"/>
                <a:gd name="connsiteX126" fmla="*/ 4245 w 10000"/>
                <a:gd name="connsiteY126" fmla="*/ 5076 h 10000"/>
                <a:gd name="connsiteX127" fmla="*/ 4388 w 10000"/>
                <a:gd name="connsiteY127" fmla="*/ 5168 h 10000"/>
                <a:gd name="connsiteX128" fmla="*/ 4532 w 10000"/>
                <a:gd name="connsiteY128" fmla="*/ 5229 h 10000"/>
                <a:gd name="connsiteX129" fmla="*/ 4748 w 10000"/>
                <a:gd name="connsiteY129" fmla="*/ 5566 h 10000"/>
                <a:gd name="connsiteX130" fmla="*/ 4928 w 10000"/>
                <a:gd name="connsiteY130" fmla="*/ 5872 h 10000"/>
                <a:gd name="connsiteX131" fmla="*/ 5234 w 10000"/>
                <a:gd name="connsiteY131" fmla="*/ 6177 h 10000"/>
                <a:gd name="connsiteX132" fmla="*/ 5342 w 10000"/>
                <a:gd name="connsiteY132" fmla="*/ 6330 h 10000"/>
                <a:gd name="connsiteX133" fmla="*/ 5432 w 10000"/>
                <a:gd name="connsiteY133" fmla="*/ 6208 h 10000"/>
                <a:gd name="connsiteX134" fmla="*/ 5594 w 10000"/>
                <a:gd name="connsiteY134" fmla="*/ 6024 h 10000"/>
                <a:gd name="connsiteX135" fmla="*/ 5737 w 10000"/>
                <a:gd name="connsiteY135" fmla="*/ 5872 h 10000"/>
                <a:gd name="connsiteX136" fmla="*/ 5899 w 10000"/>
                <a:gd name="connsiteY136" fmla="*/ 5994 h 10000"/>
                <a:gd name="connsiteX137" fmla="*/ 6097 w 10000"/>
                <a:gd name="connsiteY137" fmla="*/ 6147 h 10000"/>
                <a:gd name="connsiteX138" fmla="*/ 6349 w 10000"/>
                <a:gd name="connsiteY138" fmla="*/ 6453 h 10000"/>
                <a:gd name="connsiteX139" fmla="*/ 6313 w 10000"/>
                <a:gd name="connsiteY139" fmla="*/ 7278 h 10000"/>
                <a:gd name="connsiteX140" fmla="*/ 6403 w 10000"/>
                <a:gd name="connsiteY140" fmla="*/ 7339 h 10000"/>
                <a:gd name="connsiteX141" fmla="*/ 6421 w 10000"/>
                <a:gd name="connsiteY141" fmla="*/ 8379 h 10000"/>
                <a:gd name="connsiteX142" fmla="*/ 6367 w 10000"/>
                <a:gd name="connsiteY142" fmla="*/ 8502 h 10000"/>
                <a:gd name="connsiteX143" fmla="*/ 6295 w 10000"/>
                <a:gd name="connsiteY143" fmla="*/ 8869 h 10000"/>
                <a:gd name="connsiteX144" fmla="*/ 6835 w 10000"/>
                <a:gd name="connsiteY144" fmla="*/ 8807 h 10000"/>
                <a:gd name="connsiteX145" fmla="*/ 7032 w 10000"/>
                <a:gd name="connsiteY145" fmla="*/ 8563 h 10000"/>
                <a:gd name="connsiteX0" fmla="*/ 7032 w 10000"/>
                <a:gd name="connsiteY0" fmla="*/ 8563 h 10000"/>
                <a:gd name="connsiteX1" fmla="*/ 7050 w 10000"/>
                <a:gd name="connsiteY1" fmla="*/ 8563 h 10000"/>
                <a:gd name="connsiteX2" fmla="*/ 7068 w 10000"/>
                <a:gd name="connsiteY2" fmla="*/ 8563 h 10000"/>
                <a:gd name="connsiteX3" fmla="*/ 7266 w 10000"/>
                <a:gd name="connsiteY3" fmla="*/ 8746 h 10000"/>
                <a:gd name="connsiteX4" fmla="*/ 7554 w 10000"/>
                <a:gd name="connsiteY4" fmla="*/ 8746 h 10000"/>
                <a:gd name="connsiteX5" fmla="*/ 7590 w 10000"/>
                <a:gd name="connsiteY5" fmla="*/ 8593 h 10000"/>
                <a:gd name="connsiteX6" fmla="*/ 7608 w 10000"/>
                <a:gd name="connsiteY6" fmla="*/ 8532 h 10000"/>
                <a:gd name="connsiteX7" fmla="*/ 7626 w 10000"/>
                <a:gd name="connsiteY7" fmla="*/ 8532 h 10000"/>
                <a:gd name="connsiteX8" fmla="*/ 8058 w 10000"/>
                <a:gd name="connsiteY8" fmla="*/ 8471 h 10000"/>
                <a:gd name="connsiteX9" fmla="*/ 8076 w 10000"/>
                <a:gd name="connsiteY9" fmla="*/ 8471 h 10000"/>
                <a:gd name="connsiteX10" fmla="*/ 8094 w 10000"/>
                <a:gd name="connsiteY10" fmla="*/ 8502 h 10000"/>
                <a:gd name="connsiteX11" fmla="*/ 8219 w 10000"/>
                <a:gd name="connsiteY11" fmla="*/ 8746 h 10000"/>
                <a:gd name="connsiteX12" fmla="*/ 8327 w 10000"/>
                <a:gd name="connsiteY12" fmla="*/ 8930 h 10000"/>
                <a:gd name="connsiteX13" fmla="*/ 8417 w 10000"/>
                <a:gd name="connsiteY13" fmla="*/ 8991 h 10000"/>
                <a:gd name="connsiteX14" fmla="*/ 8579 w 10000"/>
                <a:gd name="connsiteY14" fmla="*/ 8716 h 10000"/>
                <a:gd name="connsiteX15" fmla="*/ 8669 w 10000"/>
                <a:gd name="connsiteY15" fmla="*/ 8440 h 10000"/>
                <a:gd name="connsiteX16" fmla="*/ 8687 w 10000"/>
                <a:gd name="connsiteY16" fmla="*/ 8379 h 10000"/>
                <a:gd name="connsiteX17" fmla="*/ 8723 w 10000"/>
                <a:gd name="connsiteY17" fmla="*/ 8410 h 10000"/>
                <a:gd name="connsiteX18" fmla="*/ 8849 w 10000"/>
                <a:gd name="connsiteY18" fmla="*/ 8593 h 10000"/>
                <a:gd name="connsiteX19" fmla="*/ 9029 w 10000"/>
                <a:gd name="connsiteY19" fmla="*/ 8899 h 10000"/>
                <a:gd name="connsiteX20" fmla="*/ 9406 w 10000"/>
                <a:gd name="connsiteY20" fmla="*/ 9450 h 10000"/>
                <a:gd name="connsiteX21" fmla="*/ 9622 w 10000"/>
                <a:gd name="connsiteY21" fmla="*/ 9694 h 10000"/>
                <a:gd name="connsiteX22" fmla="*/ 9892 w 10000"/>
                <a:gd name="connsiteY22" fmla="*/ 10000 h 10000"/>
                <a:gd name="connsiteX23" fmla="*/ 10000 w 10000"/>
                <a:gd name="connsiteY23" fmla="*/ 9939 h 10000"/>
                <a:gd name="connsiteX24" fmla="*/ 9892 w 10000"/>
                <a:gd name="connsiteY24" fmla="*/ 8532 h 10000"/>
                <a:gd name="connsiteX25" fmla="*/ 9622 w 10000"/>
                <a:gd name="connsiteY25" fmla="*/ 8318 h 10000"/>
                <a:gd name="connsiteX26" fmla="*/ 9137 w 10000"/>
                <a:gd name="connsiteY26" fmla="*/ 7951 h 10000"/>
                <a:gd name="connsiteX27" fmla="*/ 9137 w 10000"/>
                <a:gd name="connsiteY27" fmla="*/ 7920 h 10000"/>
                <a:gd name="connsiteX28" fmla="*/ 9119 w 10000"/>
                <a:gd name="connsiteY28" fmla="*/ 7920 h 10000"/>
                <a:gd name="connsiteX29" fmla="*/ 8813 w 10000"/>
                <a:gd name="connsiteY29" fmla="*/ 7401 h 10000"/>
                <a:gd name="connsiteX30" fmla="*/ 8795 w 10000"/>
                <a:gd name="connsiteY30" fmla="*/ 7370 h 10000"/>
                <a:gd name="connsiteX31" fmla="*/ 8795 w 10000"/>
                <a:gd name="connsiteY31" fmla="*/ 7370 h 10000"/>
                <a:gd name="connsiteX32" fmla="*/ 8795 w 10000"/>
                <a:gd name="connsiteY32" fmla="*/ 6606 h 10000"/>
                <a:gd name="connsiteX33" fmla="*/ 8651 w 10000"/>
                <a:gd name="connsiteY33" fmla="*/ 6208 h 10000"/>
                <a:gd name="connsiteX34" fmla="*/ 8633 w 10000"/>
                <a:gd name="connsiteY34" fmla="*/ 6177 h 10000"/>
                <a:gd name="connsiteX35" fmla="*/ 8651 w 10000"/>
                <a:gd name="connsiteY35" fmla="*/ 6147 h 10000"/>
                <a:gd name="connsiteX36" fmla="*/ 8705 w 10000"/>
                <a:gd name="connsiteY36" fmla="*/ 5596 h 10000"/>
                <a:gd name="connsiteX37" fmla="*/ 8705 w 10000"/>
                <a:gd name="connsiteY37" fmla="*/ 5596 h 10000"/>
                <a:gd name="connsiteX38" fmla="*/ 8723 w 10000"/>
                <a:gd name="connsiteY38" fmla="*/ 5596 h 10000"/>
                <a:gd name="connsiteX39" fmla="*/ 8904 w 10000"/>
                <a:gd name="connsiteY39" fmla="*/ 5188 h 10000"/>
                <a:gd name="connsiteX40" fmla="*/ 9100 w 10000"/>
                <a:gd name="connsiteY40" fmla="*/ 4709 h 10000"/>
                <a:gd name="connsiteX41" fmla="*/ 9065 w 10000"/>
                <a:gd name="connsiteY41" fmla="*/ 4343 h 10000"/>
                <a:gd name="connsiteX42" fmla="*/ 8921 w 10000"/>
                <a:gd name="connsiteY42" fmla="*/ 3945 h 10000"/>
                <a:gd name="connsiteX43" fmla="*/ 8921 w 10000"/>
                <a:gd name="connsiteY43" fmla="*/ 3945 h 10000"/>
                <a:gd name="connsiteX44" fmla="*/ 8921 w 10000"/>
                <a:gd name="connsiteY44" fmla="*/ 3914 h 10000"/>
                <a:gd name="connsiteX45" fmla="*/ 8903 w 10000"/>
                <a:gd name="connsiteY45" fmla="*/ 2446 h 10000"/>
                <a:gd name="connsiteX46" fmla="*/ 8903 w 10000"/>
                <a:gd name="connsiteY46" fmla="*/ 2446 h 10000"/>
                <a:gd name="connsiteX47" fmla="*/ 8972 w 10000"/>
                <a:gd name="connsiteY47" fmla="*/ 2427 h 10000"/>
                <a:gd name="connsiteX48" fmla="*/ 9140 w 10000"/>
                <a:gd name="connsiteY48" fmla="*/ 2028 h 10000"/>
                <a:gd name="connsiteX49" fmla="*/ 8705 w 10000"/>
                <a:gd name="connsiteY49" fmla="*/ 1651 h 10000"/>
                <a:gd name="connsiteX50" fmla="*/ 8543 w 10000"/>
                <a:gd name="connsiteY50" fmla="*/ 1835 h 10000"/>
                <a:gd name="connsiteX51" fmla="*/ 8525 w 10000"/>
                <a:gd name="connsiteY51" fmla="*/ 1865 h 10000"/>
                <a:gd name="connsiteX52" fmla="*/ 8525 w 10000"/>
                <a:gd name="connsiteY52" fmla="*/ 1835 h 10000"/>
                <a:gd name="connsiteX53" fmla="*/ 8129 w 10000"/>
                <a:gd name="connsiteY53" fmla="*/ 1560 h 10000"/>
                <a:gd name="connsiteX54" fmla="*/ 8094 w 10000"/>
                <a:gd name="connsiteY54" fmla="*/ 1529 h 10000"/>
                <a:gd name="connsiteX55" fmla="*/ 8094 w 10000"/>
                <a:gd name="connsiteY55" fmla="*/ 1498 h 10000"/>
                <a:gd name="connsiteX56" fmla="*/ 8094 w 10000"/>
                <a:gd name="connsiteY56" fmla="*/ 765 h 10000"/>
                <a:gd name="connsiteX57" fmla="*/ 8094 w 10000"/>
                <a:gd name="connsiteY57" fmla="*/ 734 h 10000"/>
                <a:gd name="connsiteX58" fmla="*/ 8187 w 10000"/>
                <a:gd name="connsiteY58" fmla="*/ 857 h 10000"/>
                <a:gd name="connsiteX59" fmla="*/ 8237 w 10000"/>
                <a:gd name="connsiteY59" fmla="*/ 520 h 10000"/>
                <a:gd name="connsiteX60" fmla="*/ 8237 w 10000"/>
                <a:gd name="connsiteY60" fmla="*/ 428 h 10000"/>
                <a:gd name="connsiteX61" fmla="*/ 7842 w 10000"/>
                <a:gd name="connsiteY61" fmla="*/ 0 h 10000"/>
                <a:gd name="connsiteX62" fmla="*/ 7572 w 10000"/>
                <a:gd name="connsiteY62" fmla="*/ 275 h 10000"/>
                <a:gd name="connsiteX63" fmla="*/ 7554 w 10000"/>
                <a:gd name="connsiteY63" fmla="*/ 275 h 10000"/>
                <a:gd name="connsiteX64" fmla="*/ 7554 w 10000"/>
                <a:gd name="connsiteY64" fmla="*/ 275 h 10000"/>
                <a:gd name="connsiteX65" fmla="*/ 7176 w 10000"/>
                <a:gd name="connsiteY65" fmla="*/ 306 h 10000"/>
                <a:gd name="connsiteX66" fmla="*/ 7158 w 10000"/>
                <a:gd name="connsiteY66" fmla="*/ 306 h 10000"/>
                <a:gd name="connsiteX67" fmla="*/ 7158 w 10000"/>
                <a:gd name="connsiteY67" fmla="*/ 306 h 10000"/>
                <a:gd name="connsiteX68" fmla="*/ 7032 w 10000"/>
                <a:gd name="connsiteY68" fmla="*/ 153 h 10000"/>
                <a:gd name="connsiteX69" fmla="*/ 6799 w 10000"/>
                <a:gd name="connsiteY69" fmla="*/ 642 h 10000"/>
                <a:gd name="connsiteX70" fmla="*/ 6745 w 10000"/>
                <a:gd name="connsiteY70" fmla="*/ 979 h 10000"/>
                <a:gd name="connsiteX71" fmla="*/ 6745 w 10000"/>
                <a:gd name="connsiteY71" fmla="*/ 979 h 10000"/>
                <a:gd name="connsiteX72" fmla="*/ 6745 w 10000"/>
                <a:gd name="connsiteY72" fmla="*/ 1009 h 10000"/>
                <a:gd name="connsiteX73" fmla="*/ 6277 w 10000"/>
                <a:gd name="connsiteY73" fmla="*/ 1682 h 10000"/>
                <a:gd name="connsiteX74" fmla="*/ 6259 w 10000"/>
                <a:gd name="connsiteY74" fmla="*/ 1713 h 10000"/>
                <a:gd name="connsiteX75" fmla="*/ 6223 w 10000"/>
                <a:gd name="connsiteY75" fmla="*/ 1682 h 10000"/>
                <a:gd name="connsiteX76" fmla="*/ 5935 w 10000"/>
                <a:gd name="connsiteY76" fmla="*/ 1284 h 10000"/>
                <a:gd name="connsiteX77" fmla="*/ 5935 w 10000"/>
                <a:gd name="connsiteY77" fmla="*/ 1284 h 10000"/>
                <a:gd name="connsiteX78" fmla="*/ 5935 w 10000"/>
                <a:gd name="connsiteY78" fmla="*/ 1284 h 10000"/>
                <a:gd name="connsiteX79" fmla="*/ 5522 w 10000"/>
                <a:gd name="connsiteY79" fmla="*/ 459 h 10000"/>
                <a:gd name="connsiteX80" fmla="*/ 5018 w 10000"/>
                <a:gd name="connsiteY80" fmla="*/ 398 h 10000"/>
                <a:gd name="connsiteX81" fmla="*/ 4604 w 10000"/>
                <a:gd name="connsiteY81" fmla="*/ 1009 h 10000"/>
                <a:gd name="connsiteX82" fmla="*/ 4604 w 10000"/>
                <a:gd name="connsiteY82" fmla="*/ 1009 h 10000"/>
                <a:gd name="connsiteX83" fmla="*/ 4586 w 10000"/>
                <a:gd name="connsiteY83" fmla="*/ 1009 h 10000"/>
                <a:gd name="connsiteX84" fmla="*/ 3867 w 10000"/>
                <a:gd name="connsiteY84" fmla="*/ 948 h 10000"/>
                <a:gd name="connsiteX85" fmla="*/ 3219 w 10000"/>
                <a:gd name="connsiteY85" fmla="*/ 1621 h 10000"/>
                <a:gd name="connsiteX86" fmla="*/ 3219 w 10000"/>
                <a:gd name="connsiteY86" fmla="*/ 1651 h 10000"/>
                <a:gd name="connsiteX87" fmla="*/ 3201 w 10000"/>
                <a:gd name="connsiteY87" fmla="*/ 1621 h 10000"/>
                <a:gd name="connsiteX88" fmla="*/ 2932 w 10000"/>
                <a:gd name="connsiteY88" fmla="*/ 1498 h 10000"/>
                <a:gd name="connsiteX89" fmla="*/ 2716 w 10000"/>
                <a:gd name="connsiteY89" fmla="*/ 1713 h 10000"/>
                <a:gd name="connsiteX90" fmla="*/ 2698 w 10000"/>
                <a:gd name="connsiteY90" fmla="*/ 1743 h 10000"/>
                <a:gd name="connsiteX91" fmla="*/ 2680 w 10000"/>
                <a:gd name="connsiteY91" fmla="*/ 1713 h 10000"/>
                <a:gd name="connsiteX92" fmla="*/ 1709 w 10000"/>
                <a:gd name="connsiteY92" fmla="*/ 673 h 10000"/>
                <a:gd name="connsiteX93" fmla="*/ 144 w 10000"/>
                <a:gd name="connsiteY93" fmla="*/ 581 h 10000"/>
                <a:gd name="connsiteX94" fmla="*/ 144 w 10000"/>
                <a:gd name="connsiteY94" fmla="*/ 612 h 10000"/>
                <a:gd name="connsiteX95" fmla="*/ 0 w 10000"/>
                <a:gd name="connsiteY95" fmla="*/ 795 h 10000"/>
                <a:gd name="connsiteX96" fmla="*/ 0 w 10000"/>
                <a:gd name="connsiteY96" fmla="*/ 1040 h 10000"/>
                <a:gd name="connsiteX97" fmla="*/ 0 w 10000"/>
                <a:gd name="connsiteY97" fmla="*/ 1529 h 10000"/>
                <a:gd name="connsiteX98" fmla="*/ 216 w 10000"/>
                <a:gd name="connsiteY98" fmla="*/ 1774 h 10000"/>
                <a:gd name="connsiteX99" fmla="*/ 288 w 10000"/>
                <a:gd name="connsiteY99" fmla="*/ 1590 h 10000"/>
                <a:gd name="connsiteX100" fmla="*/ 396 w 10000"/>
                <a:gd name="connsiteY100" fmla="*/ 1346 h 10000"/>
                <a:gd name="connsiteX101" fmla="*/ 629 w 10000"/>
                <a:gd name="connsiteY101" fmla="*/ 1804 h 10000"/>
                <a:gd name="connsiteX102" fmla="*/ 917 w 10000"/>
                <a:gd name="connsiteY102" fmla="*/ 1804 h 10000"/>
                <a:gd name="connsiteX103" fmla="*/ 1061 w 10000"/>
                <a:gd name="connsiteY103" fmla="*/ 1988 h 10000"/>
                <a:gd name="connsiteX104" fmla="*/ 1223 w 10000"/>
                <a:gd name="connsiteY104" fmla="*/ 2294 h 10000"/>
                <a:gd name="connsiteX105" fmla="*/ 1223 w 10000"/>
                <a:gd name="connsiteY105" fmla="*/ 2844 h 10000"/>
                <a:gd name="connsiteX106" fmla="*/ 1403 w 10000"/>
                <a:gd name="connsiteY106" fmla="*/ 3150 h 10000"/>
                <a:gd name="connsiteX107" fmla="*/ 1493 w 10000"/>
                <a:gd name="connsiteY107" fmla="*/ 4159 h 10000"/>
                <a:gd name="connsiteX108" fmla="*/ 1565 w 10000"/>
                <a:gd name="connsiteY108" fmla="*/ 4618 h 10000"/>
                <a:gd name="connsiteX109" fmla="*/ 1655 w 10000"/>
                <a:gd name="connsiteY109" fmla="*/ 4924 h 10000"/>
                <a:gd name="connsiteX110" fmla="*/ 1745 w 10000"/>
                <a:gd name="connsiteY110" fmla="*/ 5199 h 10000"/>
                <a:gd name="connsiteX111" fmla="*/ 1583 w 10000"/>
                <a:gd name="connsiteY111" fmla="*/ 5352 h 10000"/>
                <a:gd name="connsiteX112" fmla="*/ 1439 w 10000"/>
                <a:gd name="connsiteY112" fmla="*/ 5321 h 10000"/>
                <a:gd name="connsiteX113" fmla="*/ 1259 w 10000"/>
                <a:gd name="connsiteY113" fmla="*/ 4985 h 10000"/>
                <a:gd name="connsiteX114" fmla="*/ 1079 w 10000"/>
                <a:gd name="connsiteY114" fmla="*/ 4954 h 10000"/>
                <a:gd name="connsiteX115" fmla="*/ 989 w 10000"/>
                <a:gd name="connsiteY115" fmla="*/ 5199 h 10000"/>
                <a:gd name="connsiteX116" fmla="*/ 1079 w 10000"/>
                <a:gd name="connsiteY116" fmla="*/ 5474 h 10000"/>
                <a:gd name="connsiteX117" fmla="*/ 1565 w 10000"/>
                <a:gd name="connsiteY117" fmla="*/ 6177 h 10000"/>
                <a:gd name="connsiteX118" fmla="*/ 1691 w 10000"/>
                <a:gd name="connsiteY118" fmla="*/ 6391 h 10000"/>
                <a:gd name="connsiteX119" fmla="*/ 1835 w 10000"/>
                <a:gd name="connsiteY119" fmla="*/ 6055 h 10000"/>
                <a:gd name="connsiteX120" fmla="*/ 2104 w 10000"/>
                <a:gd name="connsiteY120" fmla="*/ 6024 h 10000"/>
                <a:gd name="connsiteX121" fmla="*/ 2536 w 10000"/>
                <a:gd name="connsiteY121" fmla="*/ 6116 h 10000"/>
                <a:gd name="connsiteX122" fmla="*/ 2680 w 10000"/>
                <a:gd name="connsiteY122" fmla="*/ 5933 h 10000"/>
                <a:gd name="connsiteX123" fmla="*/ 3435 w 10000"/>
                <a:gd name="connsiteY123" fmla="*/ 5474 h 10000"/>
                <a:gd name="connsiteX124" fmla="*/ 3633 w 10000"/>
                <a:gd name="connsiteY124" fmla="*/ 5352 h 10000"/>
                <a:gd name="connsiteX125" fmla="*/ 3831 w 10000"/>
                <a:gd name="connsiteY125" fmla="*/ 5229 h 10000"/>
                <a:gd name="connsiteX126" fmla="*/ 4245 w 10000"/>
                <a:gd name="connsiteY126" fmla="*/ 5076 h 10000"/>
                <a:gd name="connsiteX127" fmla="*/ 4388 w 10000"/>
                <a:gd name="connsiteY127" fmla="*/ 5168 h 10000"/>
                <a:gd name="connsiteX128" fmla="*/ 4532 w 10000"/>
                <a:gd name="connsiteY128" fmla="*/ 5229 h 10000"/>
                <a:gd name="connsiteX129" fmla="*/ 4748 w 10000"/>
                <a:gd name="connsiteY129" fmla="*/ 5566 h 10000"/>
                <a:gd name="connsiteX130" fmla="*/ 4928 w 10000"/>
                <a:gd name="connsiteY130" fmla="*/ 5872 h 10000"/>
                <a:gd name="connsiteX131" fmla="*/ 5234 w 10000"/>
                <a:gd name="connsiteY131" fmla="*/ 6177 h 10000"/>
                <a:gd name="connsiteX132" fmla="*/ 5342 w 10000"/>
                <a:gd name="connsiteY132" fmla="*/ 6330 h 10000"/>
                <a:gd name="connsiteX133" fmla="*/ 5432 w 10000"/>
                <a:gd name="connsiteY133" fmla="*/ 6208 h 10000"/>
                <a:gd name="connsiteX134" fmla="*/ 5594 w 10000"/>
                <a:gd name="connsiteY134" fmla="*/ 6024 h 10000"/>
                <a:gd name="connsiteX135" fmla="*/ 5737 w 10000"/>
                <a:gd name="connsiteY135" fmla="*/ 5872 h 10000"/>
                <a:gd name="connsiteX136" fmla="*/ 5899 w 10000"/>
                <a:gd name="connsiteY136" fmla="*/ 5994 h 10000"/>
                <a:gd name="connsiteX137" fmla="*/ 6097 w 10000"/>
                <a:gd name="connsiteY137" fmla="*/ 6147 h 10000"/>
                <a:gd name="connsiteX138" fmla="*/ 6349 w 10000"/>
                <a:gd name="connsiteY138" fmla="*/ 6453 h 10000"/>
                <a:gd name="connsiteX139" fmla="*/ 6313 w 10000"/>
                <a:gd name="connsiteY139" fmla="*/ 7278 h 10000"/>
                <a:gd name="connsiteX140" fmla="*/ 6403 w 10000"/>
                <a:gd name="connsiteY140" fmla="*/ 7339 h 10000"/>
                <a:gd name="connsiteX141" fmla="*/ 6421 w 10000"/>
                <a:gd name="connsiteY141" fmla="*/ 8379 h 10000"/>
                <a:gd name="connsiteX142" fmla="*/ 6367 w 10000"/>
                <a:gd name="connsiteY142" fmla="*/ 8502 h 10000"/>
                <a:gd name="connsiteX143" fmla="*/ 6295 w 10000"/>
                <a:gd name="connsiteY143" fmla="*/ 8869 h 10000"/>
                <a:gd name="connsiteX144" fmla="*/ 6835 w 10000"/>
                <a:gd name="connsiteY144" fmla="*/ 8807 h 10000"/>
                <a:gd name="connsiteX145" fmla="*/ 7032 w 10000"/>
                <a:gd name="connsiteY145" fmla="*/ 8563 h 10000"/>
                <a:gd name="connsiteX0" fmla="*/ 7032 w 10000"/>
                <a:gd name="connsiteY0" fmla="*/ 8563 h 10000"/>
                <a:gd name="connsiteX1" fmla="*/ 7050 w 10000"/>
                <a:gd name="connsiteY1" fmla="*/ 8563 h 10000"/>
                <a:gd name="connsiteX2" fmla="*/ 7068 w 10000"/>
                <a:gd name="connsiteY2" fmla="*/ 8563 h 10000"/>
                <a:gd name="connsiteX3" fmla="*/ 7266 w 10000"/>
                <a:gd name="connsiteY3" fmla="*/ 8746 h 10000"/>
                <a:gd name="connsiteX4" fmla="*/ 7554 w 10000"/>
                <a:gd name="connsiteY4" fmla="*/ 8746 h 10000"/>
                <a:gd name="connsiteX5" fmla="*/ 7590 w 10000"/>
                <a:gd name="connsiteY5" fmla="*/ 8593 h 10000"/>
                <a:gd name="connsiteX6" fmla="*/ 7608 w 10000"/>
                <a:gd name="connsiteY6" fmla="*/ 8532 h 10000"/>
                <a:gd name="connsiteX7" fmla="*/ 7626 w 10000"/>
                <a:gd name="connsiteY7" fmla="*/ 8532 h 10000"/>
                <a:gd name="connsiteX8" fmla="*/ 8058 w 10000"/>
                <a:gd name="connsiteY8" fmla="*/ 8471 h 10000"/>
                <a:gd name="connsiteX9" fmla="*/ 8076 w 10000"/>
                <a:gd name="connsiteY9" fmla="*/ 8471 h 10000"/>
                <a:gd name="connsiteX10" fmla="*/ 8094 w 10000"/>
                <a:gd name="connsiteY10" fmla="*/ 8502 h 10000"/>
                <a:gd name="connsiteX11" fmla="*/ 8219 w 10000"/>
                <a:gd name="connsiteY11" fmla="*/ 8746 h 10000"/>
                <a:gd name="connsiteX12" fmla="*/ 8327 w 10000"/>
                <a:gd name="connsiteY12" fmla="*/ 8930 h 10000"/>
                <a:gd name="connsiteX13" fmla="*/ 8417 w 10000"/>
                <a:gd name="connsiteY13" fmla="*/ 8991 h 10000"/>
                <a:gd name="connsiteX14" fmla="*/ 8579 w 10000"/>
                <a:gd name="connsiteY14" fmla="*/ 8716 h 10000"/>
                <a:gd name="connsiteX15" fmla="*/ 8669 w 10000"/>
                <a:gd name="connsiteY15" fmla="*/ 8440 h 10000"/>
                <a:gd name="connsiteX16" fmla="*/ 8687 w 10000"/>
                <a:gd name="connsiteY16" fmla="*/ 8379 h 10000"/>
                <a:gd name="connsiteX17" fmla="*/ 8723 w 10000"/>
                <a:gd name="connsiteY17" fmla="*/ 8410 h 10000"/>
                <a:gd name="connsiteX18" fmla="*/ 8849 w 10000"/>
                <a:gd name="connsiteY18" fmla="*/ 8593 h 10000"/>
                <a:gd name="connsiteX19" fmla="*/ 9029 w 10000"/>
                <a:gd name="connsiteY19" fmla="*/ 8899 h 10000"/>
                <a:gd name="connsiteX20" fmla="*/ 9406 w 10000"/>
                <a:gd name="connsiteY20" fmla="*/ 9450 h 10000"/>
                <a:gd name="connsiteX21" fmla="*/ 9622 w 10000"/>
                <a:gd name="connsiteY21" fmla="*/ 9694 h 10000"/>
                <a:gd name="connsiteX22" fmla="*/ 9892 w 10000"/>
                <a:gd name="connsiteY22" fmla="*/ 10000 h 10000"/>
                <a:gd name="connsiteX23" fmla="*/ 10000 w 10000"/>
                <a:gd name="connsiteY23" fmla="*/ 9939 h 10000"/>
                <a:gd name="connsiteX24" fmla="*/ 9892 w 10000"/>
                <a:gd name="connsiteY24" fmla="*/ 8532 h 10000"/>
                <a:gd name="connsiteX25" fmla="*/ 9622 w 10000"/>
                <a:gd name="connsiteY25" fmla="*/ 8318 h 10000"/>
                <a:gd name="connsiteX26" fmla="*/ 9137 w 10000"/>
                <a:gd name="connsiteY26" fmla="*/ 7951 h 10000"/>
                <a:gd name="connsiteX27" fmla="*/ 9137 w 10000"/>
                <a:gd name="connsiteY27" fmla="*/ 7920 h 10000"/>
                <a:gd name="connsiteX28" fmla="*/ 9119 w 10000"/>
                <a:gd name="connsiteY28" fmla="*/ 7920 h 10000"/>
                <a:gd name="connsiteX29" fmla="*/ 8813 w 10000"/>
                <a:gd name="connsiteY29" fmla="*/ 7401 h 10000"/>
                <a:gd name="connsiteX30" fmla="*/ 8795 w 10000"/>
                <a:gd name="connsiteY30" fmla="*/ 7370 h 10000"/>
                <a:gd name="connsiteX31" fmla="*/ 8795 w 10000"/>
                <a:gd name="connsiteY31" fmla="*/ 7370 h 10000"/>
                <a:gd name="connsiteX32" fmla="*/ 8795 w 10000"/>
                <a:gd name="connsiteY32" fmla="*/ 6606 h 10000"/>
                <a:gd name="connsiteX33" fmla="*/ 8651 w 10000"/>
                <a:gd name="connsiteY33" fmla="*/ 6208 h 10000"/>
                <a:gd name="connsiteX34" fmla="*/ 8633 w 10000"/>
                <a:gd name="connsiteY34" fmla="*/ 6177 h 10000"/>
                <a:gd name="connsiteX35" fmla="*/ 8651 w 10000"/>
                <a:gd name="connsiteY35" fmla="*/ 6147 h 10000"/>
                <a:gd name="connsiteX36" fmla="*/ 8705 w 10000"/>
                <a:gd name="connsiteY36" fmla="*/ 5596 h 10000"/>
                <a:gd name="connsiteX37" fmla="*/ 8705 w 10000"/>
                <a:gd name="connsiteY37" fmla="*/ 5596 h 10000"/>
                <a:gd name="connsiteX38" fmla="*/ 8765 w 10000"/>
                <a:gd name="connsiteY38" fmla="*/ 5832 h 10000"/>
                <a:gd name="connsiteX39" fmla="*/ 8904 w 10000"/>
                <a:gd name="connsiteY39" fmla="*/ 5188 h 10000"/>
                <a:gd name="connsiteX40" fmla="*/ 9100 w 10000"/>
                <a:gd name="connsiteY40" fmla="*/ 4709 h 10000"/>
                <a:gd name="connsiteX41" fmla="*/ 9065 w 10000"/>
                <a:gd name="connsiteY41" fmla="*/ 4343 h 10000"/>
                <a:gd name="connsiteX42" fmla="*/ 8921 w 10000"/>
                <a:gd name="connsiteY42" fmla="*/ 3945 h 10000"/>
                <a:gd name="connsiteX43" fmla="*/ 8921 w 10000"/>
                <a:gd name="connsiteY43" fmla="*/ 3945 h 10000"/>
                <a:gd name="connsiteX44" fmla="*/ 8921 w 10000"/>
                <a:gd name="connsiteY44" fmla="*/ 3914 h 10000"/>
                <a:gd name="connsiteX45" fmla="*/ 8903 w 10000"/>
                <a:gd name="connsiteY45" fmla="*/ 2446 h 10000"/>
                <a:gd name="connsiteX46" fmla="*/ 8903 w 10000"/>
                <a:gd name="connsiteY46" fmla="*/ 2446 h 10000"/>
                <a:gd name="connsiteX47" fmla="*/ 8972 w 10000"/>
                <a:gd name="connsiteY47" fmla="*/ 2427 h 10000"/>
                <a:gd name="connsiteX48" fmla="*/ 9140 w 10000"/>
                <a:gd name="connsiteY48" fmla="*/ 2028 h 10000"/>
                <a:gd name="connsiteX49" fmla="*/ 8705 w 10000"/>
                <a:gd name="connsiteY49" fmla="*/ 1651 h 10000"/>
                <a:gd name="connsiteX50" fmla="*/ 8543 w 10000"/>
                <a:gd name="connsiteY50" fmla="*/ 1835 h 10000"/>
                <a:gd name="connsiteX51" fmla="*/ 8525 w 10000"/>
                <a:gd name="connsiteY51" fmla="*/ 1865 h 10000"/>
                <a:gd name="connsiteX52" fmla="*/ 8525 w 10000"/>
                <a:gd name="connsiteY52" fmla="*/ 1835 h 10000"/>
                <a:gd name="connsiteX53" fmla="*/ 8129 w 10000"/>
                <a:gd name="connsiteY53" fmla="*/ 1560 h 10000"/>
                <a:gd name="connsiteX54" fmla="*/ 8094 w 10000"/>
                <a:gd name="connsiteY54" fmla="*/ 1529 h 10000"/>
                <a:gd name="connsiteX55" fmla="*/ 8094 w 10000"/>
                <a:gd name="connsiteY55" fmla="*/ 1498 h 10000"/>
                <a:gd name="connsiteX56" fmla="*/ 8094 w 10000"/>
                <a:gd name="connsiteY56" fmla="*/ 765 h 10000"/>
                <a:gd name="connsiteX57" fmla="*/ 8094 w 10000"/>
                <a:gd name="connsiteY57" fmla="*/ 734 h 10000"/>
                <a:gd name="connsiteX58" fmla="*/ 8187 w 10000"/>
                <a:gd name="connsiteY58" fmla="*/ 857 h 10000"/>
                <a:gd name="connsiteX59" fmla="*/ 8237 w 10000"/>
                <a:gd name="connsiteY59" fmla="*/ 520 h 10000"/>
                <a:gd name="connsiteX60" fmla="*/ 8237 w 10000"/>
                <a:gd name="connsiteY60" fmla="*/ 428 h 10000"/>
                <a:gd name="connsiteX61" fmla="*/ 7842 w 10000"/>
                <a:gd name="connsiteY61" fmla="*/ 0 h 10000"/>
                <a:gd name="connsiteX62" fmla="*/ 7572 w 10000"/>
                <a:gd name="connsiteY62" fmla="*/ 275 h 10000"/>
                <a:gd name="connsiteX63" fmla="*/ 7554 w 10000"/>
                <a:gd name="connsiteY63" fmla="*/ 275 h 10000"/>
                <a:gd name="connsiteX64" fmla="*/ 7554 w 10000"/>
                <a:gd name="connsiteY64" fmla="*/ 275 h 10000"/>
                <a:gd name="connsiteX65" fmla="*/ 7176 w 10000"/>
                <a:gd name="connsiteY65" fmla="*/ 306 h 10000"/>
                <a:gd name="connsiteX66" fmla="*/ 7158 w 10000"/>
                <a:gd name="connsiteY66" fmla="*/ 306 h 10000"/>
                <a:gd name="connsiteX67" fmla="*/ 7158 w 10000"/>
                <a:gd name="connsiteY67" fmla="*/ 306 h 10000"/>
                <a:gd name="connsiteX68" fmla="*/ 7032 w 10000"/>
                <a:gd name="connsiteY68" fmla="*/ 153 h 10000"/>
                <a:gd name="connsiteX69" fmla="*/ 6799 w 10000"/>
                <a:gd name="connsiteY69" fmla="*/ 642 h 10000"/>
                <a:gd name="connsiteX70" fmla="*/ 6745 w 10000"/>
                <a:gd name="connsiteY70" fmla="*/ 979 h 10000"/>
                <a:gd name="connsiteX71" fmla="*/ 6745 w 10000"/>
                <a:gd name="connsiteY71" fmla="*/ 979 h 10000"/>
                <a:gd name="connsiteX72" fmla="*/ 6745 w 10000"/>
                <a:gd name="connsiteY72" fmla="*/ 1009 h 10000"/>
                <a:gd name="connsiteX73" fmla="*/ 6277 w 10000"/>
                <a:gd name="connsiteY73" fmla="*/ 1682 h 10000"/>
                <a:gd name="connsiteX74" fmla="*/ 6259 w 10000"/>
                <a:gd name="connsiteY74" fmla="*/ 1713 h 10000"/>
                <a:gd name="connsiteX75" fmla="*/ 6223 w 10000"/>
                <a:gd name="connsiteY75" fmla="*/ 1682 h 10000"/>
                <a:gd name="connsiteX76" fmla="*/ 5935 w 10000"/>
                <a:gd name="connsiteY76" fmla="*/ 1284 h 10000"/>
                <a:gd name="connsiteX77" fmla="*/ 5935 w 10000"/>
                <a:gd name="connsiteY77" fmla="*/ 1284 h 10000"/>
                <a:gd name="connsiteX78" fmla="*/ 5935 w 10000"/>
                <a:gd name="connsiteY78" fmla="*/ 1284 h 10000"/>
                <a:gd name="connsiteX79" fmla="*/ 5522 w 10000"/>
                <a:gd name="connsiteY79" fmla="*/ 459 h 10000"/>
                <a:gd name="connsiteX80" fmla="*/ 5018 w 10000"/>
                <a:gd name="connsiteY80" fmla="*/ 398 h 10000"/>
                <a:gd name="connsiteX81" fmla="*/ 4604 w 10000"/>
                <a:gd name="connsiteY81" fmla="*/ 1009 h 10000"/>
                <a:gd name="connsiteX82" fmla="*/ 4604 w 10000"/>
                <a:gd name="connsiteY82" fmla="*/ 1009 h 10000"/>
                <a:gd name="connsiteX83" fmla="*/ 4586 w 10000"/>
                <a:gd name="connsiteY83" fmla="*/ 1009 h 10000"/>
                <a:gd name="connsiteX84" fmla="*/ 3867 w 10000"/>
                <a:gd name="connsiteY84" fmla="*/ 948 h 10000"/>
                <a:gd name="connsiteX85" fmla="*/ 3219 w 10000"/>
                <a:gd name="connsiteY85" fmla="*/ 1621 h 10000"/>
                <a:gd name="connsiteX86" fmla="*/ 3219 w 10000"/>
                <a:gd name="connsiteY86" fmla="*/ 1651 h 10000"/>
                <a:gd name="connsiteX87" fmla="*/ 3201 w 10000"/>
                <a:gd name="connsiteY87" fmla="*/ 1621 h 10000"/>
                <a:gd name="connsiteX88" fmla="*/ 2932 w 10000"/>
                <a:gd name="connsiteY88" fmla="*/ 1498 h 10000"/>
                <a:gd name="connsiteX89" fmla="*/ 2716 w 10000"/>
                <a:gd name="connsiteY89" fmla="*/ 1713 h 10000"/>
                <a:gd name="connsiteX90" fmla="*/ 2698 w 10000"/>
                <a:gd name="connsiteY90" fmla="*/ 1743 h 10000"/>
                <a:gd name="connsiteX91" fmla="*/ 2680 w 10000"/>
                <a:gd name="connsiteY91" fmla="*/ 1713 h 10000"/>
                <a:gd name="connsiteX92" fmla="*/ 1709 w 10000"/>
                <a:gd name="connsiteY92" fmla="*/ 673 h 10000"/>
                <a:gd name="connsiteX93" fmla="*/ 144 w 10000"/>
                <a:gd name="connsiteY93" fmla="*/ 581 h 10000"/>
                <a:gd name="connsiteX94" fmla="*/ 144 w 10000"/>
                <a:gd name="connsiteY94" fmla="*/ 612 h 10000"/>
                <a:gd name="connsiteX95" fmla="*/ 0 w 10000"/>
                <a:gd name="connsiteY95" fmla="*/ 795 h 10000"/>
                <a:gd name="connsiteX96" fmla="*/ 0 w 10000"/>
                <a:gd name="connsiteY96" fmla="*/ 1040 h 10000"/>
                <a:gd name="connsiteX97" fmla="*/ 0 w 10000"/>
                <a:gd name="connsiteY97" fmla="*/ 1529 h 10000"/>
                <a:gd name="connsiteX98" fmla="*/ 216 w 10000"/>
                <a:gd name="connsiteY98" fmla="*/ 1774 h 10000"/>
                <a:gd name="connsiteX99" fmla="*/ 288 w 10000"/>
                <a:gd name="connsiteY99" fmla="*/ 1590 h 10000"/>
                <a:gd name="connsiteX100" fmla="*/ 396 w 10000"/>
                <a:gd name="connsiteY100" fmla="*/ 1346 h 10000"/>
                <a:gd name="connsiteX101" fmla="*/ 629 w 10000"/>
                <a:gd name="connsiteY101" fmla="*/ 1804 h 10000"/>
                <a:gd name="connsiteX102" fmla="*/ 917 w 10000"/>
                <a:gd name="connsiteY102" fmla="*/ 1804 h 10000"/>
                <a:gd name="connsiteX103" fmla="*/ 1061 w 10000"/>
                <a:gd name="connsiteY103" fmla="*/ 1988 h 10000"/>
                <a:gd name="connsiteX104" fmla="*/ 1223 w 10000"/>
                <a:gd name="connsiteY104" fmla="*/ 2294 h 10000"/>
                <a:gd name="connsiteX105" fmla="*/ 1223 w 10000"/>
                <a:gd name="connsiteY105" fmla="*/ 2844 h 10000"/>
                <a:gd name="connsiteX106" fmla="*/ 1403 w 10000"/>
                <a:gd name="connsiteY106" fmla="*/ 3150 h 10000"/>
                <a:gd name="connsiteX107" fmla="*/ 1493 w 10000"/>
                <a:gd name="connsiteY107" fmla="*/ 4159 h 10000"/>
                <a:gd name="connsiteX108" fmla="*/ 1565 w 10000"/>
                <a:gd name="connsiteY108" fmla="*/ 4618 h 10000"/>
                <a:gd name="connsiteX109" fmla="*/ 1655 w 10000"/>
                <a:gd name="connsiteY109" fmla="*/ 4924 h 10000"/>
                <a:gd name="connsiteX110" fmla="*/ 1745 w 10000"/>
                <a:gd name="connsiteY110" fmla="*/ 5199 h 10000"/>
                <a:gd name="connsiteX111" fmla="*/ 1583 w 10000"/>
                <a:gd name="connsiteY111" fmla="*/ 5352 h 10000"/>
                <a:gd name="connsiteX112" fmla="*/ 1439 w 10000"/>
                <a:gd name="connsiteY112" fmla="*/ 5321 h 10000"/>
                <a:gd name="connsiteX113" fmla="*/ 1259 w 10000"/>
                <a:gd name="connsiteY113" fmla="*/ 4985 h 10000"/>
                <a:gd name="connsiteX114" fmla="*/ 1079 w 10000"/>
                <a:gd name="connsiteY114" fmla="*/ 4954 h 10000"/>
                <a:gd name="connsiteX115" fmla="*/ 989 w 10000"/>
                <a:gd name="connsiteY115" fmla="*/ 5199 h 10000"/>
                <a:gd name="connsiteX116" fmla="*/ 1079 w 10000"/>
                <a:gd name="connsiteY116" fmla="*/ 5474 h 10000"/>
                <a:gd name="connsiteX117" fmla="*/ 1565 w 10000"/>
                <a:gd name="connsiteY117" fmla="*/ 6177 h 10000"/>
                <a:gd name="connsiteX118" fmla="*/ 1691 w 10000"/>
                <a:gd name="connsiteY118" fmla="*/ 6391 h 10000"/>
                <a:gd name="connsiteX119" fmla="*/ 1835 w 10000"/>
                <a:gd name="connsiteY119" fmla="*/ 6055 h 10000"/>
                <a:gd name="connsiteX120" fmla="*/ 2104 w 10000"/>
                <a:gd name="connsiteY120" fmla="*/ 6024 h 10000"/>
                <a:gd name="connsiteX121" fmla="*/ 2536 w 10000"/>
                <a:gd name="connsiteY121" fmla="*/ 6116 h 10000"/>
                <a:gd name="connsiteX122" fmla="*/ 2680 w 10000"/>
                <a:gd name="connsiteY122" fmla="*/ 5933 h 10000"/>
                <a:gd name="connsiteX123" fmla="*/ 3435 w 10000"/>
                <a:gd name="connsiteY123" fmla="*/ 5474 h 10000"/>
                <a:gd name="connsiteX124" fmla="*/ 3633 w 10000"/>
                <a:gd name="connsiteY124" fmla="*/ 5352 h 10000"/>
                <a:gd name="connsiteX125" fmla="*/ 3831 w 10000"/>
                <a:gd name="connsiteY125" fmla="*/ 5229 h 10000"/>
                <a:gd name="connsiteX126" fmla="*/ 4245 w 10000"/>
                <a:gd name="connsiteY126" fmla="*/ 5076 h 10000"/>
                <a:gd name="connsiteX127" fmla="*/ 4388 w 10000"/>
                <a:gd name="connsiteY127" fmla="*/ 5168 h 10000"/>
                <a:gd name="connsiteX128" fmla="*/ 4532 w 10000"/>
                <a:gd name="connsiteY128" fmla="*/ 5229 h 10000"/>
                <a:gd name="connsiteX129" fmla="*/ 4748 w 10000"/>
                <a:gd name="connsiteY129" fmla="*/ 5566 h 10000"/>
                <a:gd name="connsiteX130" fmla="*/ 4928 w 10000"/>
                <a:gd name="connsiteY130" fmla="*/ 5872 h 10000"/>
                <a:gd name="connsiteX131" fmla="*/ 5234 w 10000"/>
                <a:gd name="connsiteY131" fmla="*/ 6177 h 10000"/>
                <a:gd name="connsiteX132" fmla="*/ 5342 w 10000"/>
                <a:gd name="connsiteY132" fmla="*/ 6330 h 10000"/>
                <a:gd name="connsiteX133" fmla="*/ 5432 w 10000"/>
                <a:gd name="connsiteY133" fmla="*/ 6208 h 10000"/>
                <a:gd name="connsiteX134" fmla="*/ 5594 w 10000"/>
                <a:gd name="connsiteY134" fmla="*/ 6024 h 10000"/>
                <a:gd name="connsiteX135" fmla="*/ 5737 w 10000"/>
                <a:gd name="connsiteY135" fmla="*/ 5872 h 10000"/>
                <a:gd name="connsiteX136" fmla="*/ 5899 w 10000"/>
                <a:gd name="connsiteY136" fmla="*/ 5994 h 10000"/>
                <a:gd name="connsiteX137" fmla="*/ 6097 w 10000"/>
                <a:gd name="connsiteY137" fmla="*/ 6147 h 10000"/>
                <a:gd name="connsiteX138" fmla="*/ 6349 w 10000"/>
                <a:gd name="connsiteY138" fmla="*/ 6453 h 10000"/>
                <a:gd name="connsiteX139" fmla="*/ 6313 w 10000"/>
                <a:gd name="connsiteY139" fmla="*/ 7278 h 10000"/>
                <a:gd name="connsiteX140" fmla="*/ 6403 w 10000"/>
                <a:gd name="connsiteY140" fmla="*/ 7339 h 10000"/>
                <a:gd name="connsiteX141" fmla="*/ 6421 w 10000"/>
                <a:gd name="connsiteY141" fmla="*/ 8379 h 10000"/>
                <a:gd name="connsiteX142" fmla="*/ 6367 w 10000"/>
                <a:gd name="connsiteY142" fmla="*/ 8502 h 10000"/>
                <a:gd name="connsiteX143" fmla="*/ 6295 w 10000"/>
                <a:gd name="connsiteY143" fmla="*/ 8869 h 10000"/>
                <a:gd name="connsiteX144" fmla="*/ 6835 w 10000"/>
                <a:gd name="connsiteY144" fmla="*/ 8807 h 10000"/>
                <a:gd name="connsiteX145" fmla="*/ 7032 w 10000"/>
                <a:gd name="connsiteY145" fmla="*/ 8563 h 10000"/>
                <a:gd name="connsiteX0" fmla="*/ 7032 w 10000"/>
                <a:gd name="connsiteY0" fmla="*/ 8563 h 10000"/>
                <a:gd name="connsiteX1" fmla="*/ 7050 w 10000"/>
                <a:gd name="connsiteY1" fmla="*/ 8563 h 10000"/>
                <a:gd name="connsiteX2" fmla="*/ 7068 w 10000"/>
                <a:gd name="connsiteY2" fmla="*/ 8563 h 10000"/>
                <a:gd name="connsiteX3" fmla="*/ 7266 w 10000"/>
                <a:gd name="connsiteY3" fmla="*/ 8746 h 10000"/>
                <a:gd name="connsiteX4" fmla="*/ 7554 w 10000"/>
                <a:gd name="connsiteY4" fmla="*/ 8746 h 10000"/>
                <a:gd name="connsiteX5" fmla="*/ 7590 w 10000"/>
                <a:gd name="connsiteY5" fmla="*/ 8593 h 10000"/>
                <a:gd name="connsiteX6" fmla="*/ 7608 w 10000"/>
                <a:gd name="connsiteY6" fmla="*/ 8532 h 10000"/>
                <a:gd name="connsiteX7" fmla="*/ 7626 w 10000"/>
                <a:gd name="connsiteY7" fmla="*/ 8532 h 10000"/>
                <a:gd name="connsiteX8" fmla="*/ 8058 w 10000"/>
                <a:gd name="connsiteY8" fmla="*/ 8471 h 10000"/>
                <a:gd name="connsiteX9" fmla="*/ 8076 w 10000"/>
                <a:gd name="connsiteY9" fmla="*/ 8471 h 10000"/>
                <a:gd name="connsiteX10" fmla="*/ 8094 w 10000"/>
                <a:gd name="connsiteY10" fmla="*/ 8502 h 10000"/>
                <a:gd name="connsiteX11" fmla="*/ 8219 w 10000"/>
                <a:gd name="connsiteY11" fmla="*/ 8746 h 10000"/>
                <a:gd name="connsiteX12" fmla="*/ 8327 w 10000"/>
                <a:gd name="connsiteY12" fmla="*/ 8930 h 10000"/>
                <a:gd name="connsiteX13" fmla="*/ 8417 w 10000"/>
                <a:gd name="connsiteY13" fmla="*/ 8991 h 10000"/>
                <a:gd name="connsiteX14" fmla="*/ 8579 w 10000"/>
                <a:gd name="connsiteY14" fmla="*/ 8716 h 10000"/>
                <a:gd name="connsiteX15" fmla="*/ 8669 w 10000"/>
                <a:gd name="connsiteY15" fmla="*/ 8440 h 10000"/>
                <a:gd name="connsiteX16" fmla="*/ 8687 w 10000"/>
                <a:gd name="connsiteY16" fmla="*/ 8379 h 10000"/>
                <a:gd name="connsiteX17" fmla="*/ 8723 w 10000"/>
                <a:gd name="connsiteY17" fmla="*/ 8410 h 10000"/>
                <a:gd name="connsiteX18" fmla="*/ 8849 w 10000"/>
                <a:gd name="connsiteY18" fmla="*/ 8593 h 10000"/>
                <a:gd name="connsiteX19" fmla="*/ 9029 w 10000"/>
                <a:gd name="connsiteY19" fmla="*/ 8899 h 10000"/>
                <a:gd name="connsiteX20" fmla="*/ 9406 w 10000"/>
                <a:gd name="connsiteY20" fmla="*/ 9450 h 10000"/>
                <a:gd name="connsiteX21" fmla="*/ 9622 w 10000"/>
                <a:gd name="connsiteY21" fmla="*/ 9694 h 10000"/>
                <a:gd name="connsiteX22" fmla="*/ 9892 w 10000"/>
                <a:gd name="connsiteY22" fmla="*/ 10000 h 10000"/>
                <a:gd name="connsiteX23" fmla="*/ 10000 w 10000"/>
                <a:gd name="connsiteY23" fmla="*/ 9939 h 10000"/>
                <a:gd name="connsiteX24" fmla="*/ 9892 w 10000"/>
                <a:gd name="connsiteY24" fmla="*/ 8532 h 10000"/>
                <a:gd name="connsiteX25" fmla="*/ 9622 w 10000"/>
                <a:gd name="connsiteY25" fmla="*/ 8318 h 10000"/>
                <a:gd name="connsiteX26" fmla="*/ 9137 w 10000"/>
                <a:gd name="connsiteY26" fmla="*/ 7951 h 10000"/>
                <a:gd name="connsiteX27" fmla="*/ 9137 w 10000"/>
                <a:gd name="connsiteY27" fmla="*/ 7920 h 10000"/>
                <a:gd name="connsiteX28" fmla="*/ 9119 w 10000"/>
                <a:gd name="connsiteY28" fmla="*/ 7920 h 10000"/>
                <a:gd name="connsiteX29" fmla="*/ 8813 w 10000"/>
                <a:gd name="connsiteY29" fmla="*/ 7401 h 10000"/>
                <a:gd name="connsiteX30" fmla="*/ 8795 w 10000"/>
                <a:gd name="connsiteY30" fmla="*/ 7370 h 10000"/>
                <a:gd name="connsiteX31" fmla="*/ 8795 w 10000"/>
                <a:gd name="connsiteY31" fmla="*/ 7370 h 10000"/>
                <a:gd name="connsiteX32" fmla="*/ 8795 w 10000"/>
                <a:gd name="connsiteY32" fmla="*/ 6606 h 10000"/>
                <a:gd name="connsiteX33" fmla="*/ 8651 w 10000"/>
                <a:gd name="connsiteY33" fmla="*/ 6208 h 10000"/>
                <a:gd name="connsiteX34" fmla="*/ 8633 w 10000"/>
                <a:gd name="connsiteY34" fmla="*/ 6177 h 10000"/>
                <a:gd name="connsiteX35" fmla="*/ 8651 w 10000"/>
                <a:gd name="connsiteY35" fmla="*/ 6147 h 10000"/>
                <a:gd name="connsiteX36" fmla="*/ 8705 w 10000"/>
                <a:gd name="connsiteY36" fmla="*/ 5596 h 10000"/>
                <a:gd name="connsiteX37" fmla="*/ 8704 w 10000"/>
                <a:gd name="connsiteY37" fmla="*/ 6104 h 10000"/>
                <a:gd name="connsiteX38" fmla="*/ 8765 w 10000"/>
                <a:gd name="connsiteY38" fmla="*/ 5832 h 10000"/>
                <a:gd name="connsiteX39" fmla="*/ 8904 w 10000"/>
                <a:gd name="connsiteY39" fmla="*/ 5188 h 10000"/>
                <a:gd name="connsiteX40" fmla="*/ 9100 w 10000"/>
                <a:gd name="connsiteY40" fmla="*/ 4709 h 10000"/>
                <a:gd name="connsiteX41" fmla="*/ 9065 w 10000"/>
                <a:gd name="connsiteY41" fmla="*/ 4343 h 10000"/>
                <a:gd name="connsiteX42" fmla="*/ 8921 w 10000"/>
                <a:gd name="connsiteY42" fmla="*/ 3945 h 10000"/>
                <a:gd name="connsiteX43" fmla="*/ 8921 w 10000"/>
                <a:gd name="connsiteY43" fmla="*/ 3945 h 10000"/>
                <a:gd name="connsiteX44" fmla="*/ 8921 w 10000"/>
                <a:gd name="connsiteY44" fmla="*/ 3914 h 10000"/>
                <a:gd name="connsiteX45" fmla="*/ 8903 w 10000"/>
                <a:gd name="connsiteY45" fmla="*/ 2446 h 10000"/>
                <a:gd name="connsiteX46" fmla="*/ 8903 w 10000"/>
                <a:gd name="connsiteY46" fmla="*/ 2446 h 10000"/>
                <a:gd name="connsiteX47" fmla="*/ 8972 w 10000"/>
                <a:gd name="connsiteY47" fmla="*/ 2427 h 10000"/>
                <a:gd name="connsiteX48" fmla="*/ 9140 w 10000"/>
                <a:gd name="connsiteY48" fmla="*/ 2028 h 10000"/>
                <a:gd name="connsiteX49" fmla="*/ 8705 w 10000"/>
                <a:gd name="connsiteY49" fmla="*/ 1651 h 10000"/>
                <a:gd name="connsiteX50" fmla="*/ 8543 w 10000"/>
                <a:gd name="connsiteY50" fmla="*/ 1835 h 10000"/>
                <a:gd name="connsiteX51" fmla="*/ 8525 w 10000"/>
                <a:gd name="connsiteY51" fmla="*/ 1865 h 10000"/>
                <a:gd name="connsiteX52" fmla="*/ 8525 w 10000"/>
                <a:gd name="connsiteY52" fmla="*/ 1835 h 10000"/>
                <a:gd name="connsiteX53" fmla="*/ 8129 w 10000"/>
                <a:gd name="connsiteY53" fmla="*/ 1560 h 10000"/>
                <a:gd name="connsiteX54" fmla="*/ 8094 w 10000"/>
                <a:gd name="connsiteY54" fmla="*/ 1529 h 10000"/>
                <a:gd name="connsiteX55" fmla="*/ 8094 w 10000"/>
                <a:gd name="connsiteY55" fmla="*/ 1498 h 10000"/>
                <a:gd name="connsiteX56" fmla="*/ 8094 w 10000"/>
                <a:gd name="connsiteY56" fmla="*/ 765 h 10000"/>
                <a:gd name="connsiteX57" fmla="*/ 8094 w 10000"/>
                <a:gd name="connsiteY57" fmla="*/ 734 h 10000"/>
                <a:gd name="connsiteX58" fmla="*/ 8187 w 10000"/>
                <a:gd name="connsiteY58" fmla="*/ 857 h 10000"/>
                <a:gd name="connsiteX59" fmla="*/ 8237 w 10000"/>
                <a:gd name="connsiteY59" fmla="*/ 520 h 10000"/>
                <a:gd name="connsiteX60" fmla="*/ 8237 w 10000"/>
                <a:gd name="connsiteY60" fmla="*/ 428 h 10000"/>
                <a:gd name="connsiteX61" fmla="*/ 7842 w 10000"/>
                <a:gd name="connsiteY61" fmla="*/ 0 h 10000"/>
                <a:gd name="connsiteX62" fmla="*/ 7572 w 10000"/>
                <a:gd name="connsiteY62" fmla="*/ 275 h 10000"/>
                <a:gd name="connsiteX63" fmla="*/ 7554 w 10000"/>
                <a:gd name="connsiteY63" fmla="*/ 275 h 10000"/>
                <a:gd name="connsiteX64" fmla="*/ 7554 w 10000"/>
                <a:gd name="connsiteY64" fmla="*/ 275 h 10000"/>
                <a:gd name="connsiteX65" fmla="*/ 7176 w 10000"/>
                <a:gd name="connsiteY65" fmla="*/ 306 h 10000"/>
                <a:gd name="connsiteX66" fmla="*/ 7158 w 10000"/>
                <a:gd name="connsiteY66" fmla="*/ 306 h 10000"/>
                <a:gd name="connsiteX67" fmla="*/ 7158 w 10000"/>
                <a:gd name="connsiteY67" fmla="*/ 306 h 10000"/>
                <a:gd name="connsiteX68" fmla="*/ 7032 w 10000"/>
                <a:gd name="connsiteY68" fmla="*/ 153 h 10000"/>
                <a:gd name="connsiteX69" fmla="*/ 6799 w 10000"/>
                <a:gd name="connsiteY69" fmla="*/ 642 h 10000"/>
                <a:gd name="connsiteX70" fmla="*/ 6745 w 10000"/>
                <a:gd name="connsiteY70" fmla="*/ 979 h 10000"/>
                <a:gd name="connsiteX71" fmla="*/ 6745 w 10000"/>
                <a:gd name="connsiteY71" fmla="*/ 979 h 10000"/>
                <a:gd name="connsiteX72" fmla="*/ 6745 w 10000"/>
                <a:gd name="connsiteY72" fmla="*/ 1009 h 10000"/>
                <a:gd name="connsiteX73" fmla="*/ 6277 w 10000"/>
                <a:gd name="connsiteY73" fmla="*/ 1682 h 10000"/>
                <a:gd name="connsiteX74" fmla="*/ 6259 w 10000"/>
                <a:gd name="connsiteY74" fmla="*/ 1713 h 10000"/>
                <a:gd name="connsiteX75" fmla="*/ 6223 w 10000"/>
                <a:gd name="connsiteY75" fmla="*/ 1682 h 10000"/>
                <a:gd name="connsiteX76" fmla="*/ 5935 w 10000"/>
                <a:gd name="connsiteY76" fmla="*/ 1284 h 10000"/>
                <a:gd name="connsiteX77" fmla="*/ 5935 w 10000"/>
                <a:gd name="connsiteY77" fmla="*/ 1284 h 10000"/>
                <a:gd name="connsiteX78" fmla="*/ 5935 w 10000"/>
                <a:gd name="connsiteY78" fmla="*/ 1284 h 10000"/>
                <a:gd name="connsiteX79" fmla="*/ 5522 w 10000"/>
                <a:gd name="connsiteY79" fmla="*/ 459 h 10000"/>
                <a:gd name="connsiteX80" fmla="*/ 5018 w 10000"/>
                <a:gd name="connsiteY80" fmla="*/ 398 h 10000"/>
                <a:gd name="connsiteX81" fmla="*/ 4604 w 10000"/>
                <a:gd name="connsiteY81" fmla="*/ 1009 h 10000"/>
                <a:gd name="connsiteX82" fmla="*/ 4604 w 10000"/>
                <a:gd name="connsiteY82" fmla="*/ 1009 h 10000"/>
                <a:gd name="connsiteX83" fmla="*/ 4586 w 10000"/>
                <a:gd name="connsiteY83" fmla="*/ 1009 h 10000"/>
                <a:gd name="connsiteX84" fmla="*/ 3867 w 10000"/>
                <a:gd name="connsiteY84" fmla="*/ 948 h 10000"/>
                <a:gd name="connsiteX85" fmla="*/ 3219 w 10000"/>
                <a:gd name="connsiteY85" fmla="*/ 1621 h 10000"/>
                <a:gd name="connsiteX86" fmla="*/ 3219 w 10000"/>
                <a:gd name="connsiteY86" fmla="*/ 1651 h 10000"/>
                <a:gd name="connsiteX87" fmla="*/ 3201 w 10000"/>
                <a:gd name="connsiteY87" fmla="*/ 1621 h 10000"/>
                <a:gd name="connsiteX88" fmla="*/ 2932 w 10000"/>
                <a:gd name="connsiteY88" fmla="*/ 1498 h 10000"/>
                <a:gd name="connsiteX89" fmla="*/ 2716 w 10000"/>
                <a:gd name="connsiteY89" fmla="*/ 1713 h 10000"/>
                <a:gd name="connsiteX90" fmla="*/ 2698 w 10000"/>
                <a:gd name="connsiteY90" fmla="*/ 1743 h 10000"/>
                <a:gd name="connsiteX91" fmla="*/ 2680 w 10000"/>
                <a:gd name="connsiteY91" fmla="*/ 1713 h 10000"/>
                <a:gd name="connsiteX92" fmla="*/ 1709 w 10000"/>
                <a:gd name="connsiteY92" fmla="*/ 673 h 10000"/>
                <a:gd name="connsiteX93" fmla="*/ 144 w 10000"/>
                <a:gd name="connsiteY93" fmla="*/ 581 h 10000"/>
                <a:gd name="connsiteX94" fmla="*/ 144 w 10000"/>
                <a:gd name="connsiteY94" fmla="*/ 612 h 10000"/>
                <a:gd name="connsiteX95" fmla="*/ 0 w 10000"/>
                <a:gd name="connsiteY95" fmla="*/ 795 h 10000"/>
                <a:gd name="connsiteX96" fmla="*/ 0 w 10000"/>
                <a:gd name="connsiteY96" fmla="*/ 1040 h 10000"/>
                <a:gd name="connsiteX97" fmla="*/ 0 w 10000"/>
                <a:gd name="connsiteY97" fmla="*/ 1529 h 10000"/>
                <a:gd name="connsiteX98" fmla="*/ 216 w 10000"/>
                <a:gd name="connsiteY98" fmla="*/ 1774 h 10000"/>
                <a:gd name="connsiteX99" fmla="*/ 288 w 10000"/>
                <a:gd name="connsiteY99" fmla="*/ 1590 h 10000"/>
                <a:gd name="connsiteX100" fmla="*/ 396 w 10000"/>
                <a:gd name="connsiteY100" fmla="*/ 1346 h 10000"/>
                <a:gd name="connsiteX101" fmla="*/ 629 w 10000"/>
                <a:gd name="connsiteY101" fmla="*/ 1804 h 10000"/>
                <a:gd name="connsiteX102" fmla="*/ 917 w 10000"/>
                <a:gd name="connsiteY102" fmla="*/ 1804 h 10000"/>
                <a:gd name="connsiteX103" fmla="*/ 1061 w 10000"/>
                <a:gd name="connsiteY103" fmla="*/ 1988 h 10000"/>
                <a:gd name="connsiteX104" fmla="*/ 1223 w 10000"/>
                <a:gd name="connsiteY104" fmla="*/ 2294 h 10000"/>
                <a:gd name="connsiteX105" fmla="*/ 1223 w 10000"/>
                <a:gd name="connsiteY105" fmla="*/ 2844 h 10000"/>
                <a:gd name="connsiteX106" fmla="*/ 1403 w 10000"/>
                <a:gd name="connsiteY106" fmla="*/ 3150 h 10000"/>
                <a:gd name="connsiteX107" fmla="*/ 1493 w 10000"/>
                <a:gd name="connsiteY107" fmla="*/ 4159 h 10000"/>
                <a:gd name="connsiteX108" fmla="*/ 1565 w 10000"/>
                <a:gd name="connsiteY108" fmla="*/ 4618 h 10000"/>
                <a:gd name="connsiteX109" fmla="*/ 1655 w 10000"/>
                <a:gd name="connsiteY109" fmla="*/ 4924 h 10000"/>
                <a:gd name="connsiteX110" fmla="*/ 1745 w 10000"/>
                <a:gd name="connsiteY110" fmla="*/ 5199 h 10000"/>
                <a:gd name="connsiteX111" fmla="*/ 1583 w 10000"/>
                <a:gd name="connsiteY111" fmla="*/ 5352 h 10000"/>
                <a:gd name="connsiteX112" fmla="*/ 1439 w 10000"/>
                <a:gd name="connsiteY112" fmla="*/ 5321 h 10000"/>
                <a:gd name="connsiteX113" fmla="*/ 1259 w 10000"/>
                <a:gd name="connsiteY113" fmla="*/ 4985 h 10000"/>
                <a:gd name="connsiteX114" fmla="*/ 1079 w 10000"/>
                <a:gd name="connsiteY114" fmla="*/ 4954 h 10000"/>
                <a:gd name="connsiteX115" fmla="*/ 989 w 10000"/>
                <a:gd name="connsiteY115" fmla="*/ 5199 h 10000"/>
                <a:gd name="connsiteX116" fmla="*/ 1079 w 10000"/>
                <a:gd name="connsiteY116" fmla="*/ 5474 h 10000"/>
                <a:gd name="connsiteX117" fmla="*/ 1565 w 10000"/>
                <a:gd name="connsiteY117" fmla="*/ 6177 h 10000"/>
                <a:gd name="connsiteX118" fmla="*/ 1691 w 10000"/>
                <a:gd name="connsiteY118" fmla="*/ 6391 h 10000"/>
                <a:gd name="connsiteX119" fmla="*/ 1835 w 10000"/>
                <a:gd name="connsiteY119" fmla="*/ 6055 h 10000"/>
                <a:gd name="connsiteX120" fmla="*/ 2104 w 10000"/>
                <a:gd name="connsiteY120" fmla="*/ 6024 h 10000"/>
                <a:gd name="connsiteX121" fmla="*/ 2536 w 10000"/>
                <a:gd name="connsiteY121" fmla="*/ 6116 h 10000"/>
                <a:gd name="connsiteX122" fmla="*/ 2680 w 10000"/>
                <a:gd name="connsiteY122" fmla="*/ 5933 h 10000"/>
                <a:gd name="connsiteX123" fmla="*/ 3435 w 10000"/>
                <a:gd name="connsiteY123" fmla="*/ 5474 h 10000"/>
                <a:gd name="connsiteX124" fmla="*/ 3633 w 10000"/>
                <a:gd name="connsiteY124" fmla="*/ 5352 h 10000"/>
                <a:gd name="connsiteX125" fmla="*/ 3831 w 10000"/>
                <a:gd name="connsiteY125" fmla="*/ 5229 h 10000"/>
                <a:gd name="connsiteX126" fmla="*/ 4245 w 10000"/>
                <a:gd name="connsiteY126" fmla="*/ 5076 h 10000"/>
                <a:gd name="connsiteX127" fmla="*/ 4388 w 10000"/>
                <a:gd name="connsiteY127" fmla="*/ 5168 h 10000"/>
                <a:gd name="connsiteX128" fmla="*/ 4532 w 10000"/>
                <a:gd name="connsiteY128" fmla="*/ 5229 h 10000"/>
                <a:gd name="connsiteX129" fmla="*/ 4748 w 10000"/>
                <a:gd name="connsiteY129" fmla="*/ 5566 h 10000"/>
                <a:gd name="connsiteX130" fmla="*/ 4928 w 10000"/>
                <a:gd name="connsiteY130" fmla="*/ 5872 h 10000"/>
                <a:gd name="connsiteX131" fmla="*/ 5234 w 10000"/>
                <a:gd name="connsiteY131" fmla="*/ 6177 h 10000"/>
                <a:gd name="connsiteX132" fmla="*/ 5342 w 10000"/>
                <a:gd name="connsiteY132" fmla="*/ 6330 h 10000"/>
                <a:gd name="connsiteX133" fmla="*/ 5432 w 10000"/>
                <a:gd name="connsiteY133" fmla="*/ 6208 h 10000"/>
                <a:gd name="connsiteX134" fmla="*/ 5594 w 10000"/>
                <a:gd name="connsiteY134" fmla="*/ 6024 h 10000"/>
                <a:gd name="connsiteX135" fmla="*/ 5737 w 10000"/>
                <a:gd name="connsiteY135" fmla="*/ 5872 h 10000"/>
                <a:gd name="connsiteX136" fmla="*/ 5899 w 10000"/>
                <a:gd name="connsiteY136" fmla="*/ 5994 h 10000"/>
                <a:gd name="connsiteX137" fmla="*/ 6097 w 10000"/>
                <a:gd name="connsiteY137" fmla="*/ 6147 h 10000"/>
                <a:gd name="connsiteX138" fmla="*/ 6349 w 10000"/>
                <a:gd name="connsiteY138" fmla="*/ 6453 h 10000"/>
                <a:gd name="connsiteX139" fmla="*/ 6313 w 10000"/>
                <a:gd name="connsiteY139" fmla="*/ 7278 h 10000"/>
                <a:gd name="connsiteX140" fmla="*/ 6403 w 10000"/>
                <a:gd name="connsiteY140" fmla="*/ 7339 h 10000"/>
                <a:gd name="connsiteX141" fmla="*/ 6421 w 10000"/>
                <a:gd name="connsiteY141" fmla="*/ 8379 h 10000"/>
                <a:gd name="connsiteX142" fmla="*/ 6367 w 10000"/>
                <a:gd name="connsiteY142" fmla="*/ 8502 h 10000"/>
                <a:gd name="connsiteX143" fmla="*/ 6295 w 10000"/>
                <a:gd name="connsiteY143" fmla="*/ 8869 h 10000"/>
                <a:gd name="connsiteX144" fmla="*/ 6835 w 10000"/>
                <a:gd name="connsiteY144" fmla="*/ 8807 h 10000"/>
                <a:gd name="connsiteX145" fmla="*/ 7032 w 10000"/>
                <a:gd name="connsiteY145" fmla="*/ 8563 h 10000"/>
                <a:gd name="connsiteX0" fmla="*/ 7032 w 10000"/>
                <a:gd name="connsiteY0" fmla="*/ 8563 h 10000"/>
                <a:gd name="connsiteX1" fmla="*/ 7050 w 10000"/>
                <a:gd name="connsiteY1" fmla="*/ 8563 h 10000"/>
                <a:gd name="connsiteX2" fmla="*/ 7068 w 10000"/>
                <a:gd name="connsiteY2" fmla="*/ 8563 h 10000"/>
                <a:gd name="connsiteX3" fmla="*/ 7266 w 10000"/>
                <a:gd name="connsiteY3" fmla="*/ 8746 h 10000"/>
                <a:gd name="connsiteX4" fmla="*/ 7554 w 10000"/>
                <a:gd name="connsiteY4" fmla="*/ 8746 h 10000"/>
                <a:gd name="connsiteX5" fmla="*/ 7590 w 10000"/>
                <a:gd name="connsiteY5" fmla="*/ 8593 h 10000"/>
                <a:gd name="connsiteX6" fmla="*/ 7608 w 10000"/>
                <a:gd name="connsiteY6" fmla="*/ 8532 h 10000"/>
                <a:gd name="connsiteX7" fmla="*/ 7626 w 10000"/>
                <a:gd name="connsiteY7" fmla="*/ 8532 h 10000"/>
                <a:gd name="connsiteX8" fmla="*/ 8058 w 10000"/>
                <a:gd name="connsiteY8" fmla="*/ 8471 h 10000"/>
                <a:gd name="connsiteX9" fmla="*/ 8076 w 10000"/>
                <a:gd name="connsiteY9" fmla="*/ 8471 h 10000"/>
                <a:gd name="connsiteX10" fmla="*/ 8094 w 10000"/>
                <a:gd name="connsiteY10" fmla="*/ 8502 h 10000"/>
                <a:gd name="connsiteX11" fmla="*/ 8219 w 10000"/>
                <a:gd name="connsiteY11" fmla="*/ 8746 h 10000"/>
                <a:gd name="connsiteX12" fmla="*/ 8327 w 10000"/>
                <a:gd name="connsiteY12" fmla="*/ 8930 h 10000"/>
                <a:gd name="connsiteX13" fmla="*/ 8417 w 10000"/>
                <a:gd name="connsiteY13" fmla="*/ 8991 h 10000"/>
                <a:gd name="connsiteX14" fmla="*/ 8579 w 10000"/>
                <a:gd name="connsiteY14" fmla="*/ 8716 h 10000"/>
                <a:gd name="connsiteX15" fmla="*/ 8669 w 10000"/>
                <a:gd name="connsiteY15" fmla="*/ 8440 h 10000"/>
                <a:gd name="connsiteX16" fmla="*/ 8687 w 10000"/>
                <a:gd name="connsiteY16" fmla="*/ 8379 h 10000"/>
                <a:gd name="connsiteX17" fmla="*/ 8723 w 10000"/>
                <a:gd name="connsiteY17" fmla="*/ 8410 h 10000"/>
                <a:gd name="connsiteX18" fmla="*/ 8849 w 10000"/>
                <a:gd name="connsiteY18" fmla="*/ 8593 h 10000"/>
                <a:gd name="connsiteX19" fmla="*/ 9029 w 10000"/>
                <a:gd name="connsiteY19" fmla="*/ 8899 h 10000"/>
                <a:gd name="connsiteX20" fmla="*/ 9406 w 10000"/>
                <a:gd name="connsiteY20" fmla="*/ 9450 h 10000"/>
                <a:gd name="connsiteX21" fmla="*/ 9622 w 10000"/>
                <a:gd name="connsiteY21" fmla="*/ 9694 h 10000"/>
                <a:gd name="connsiteX22" fmla="*/ 9892 w 10000"/>
                <a:gd name="connsiteY22" fmla="*/ 10000 h 10000"/>
                <a:gd name="connsiteX23" fmla="*/ 10000 w 10000"/>
                <a:gd name="connsiteY23" fmla="*/ 9939 h 10000"/>
                <a:gd name="connsiteX24" fmla="*/ 9892 w 10000"/>
                <a:gd name="connsiteY24" fmla="*/ 8532 h 10000"/>
                <a:gd name="connsiteX25" fmla="*/ 9622 w 10000"/>
                <a:gd name="connsiteY25" fmla="*/ 8318 h 10000"/>
                <a:gd name="connsiteX26" fmla="*/ 9137 w 10000"/>
                <a:gd name="connsiteY26" fmla="*/ 7951 h 10000"/>
                <a:gd name="connsiteX27" fmla="*/ 9137 w 10000"/>
                <a:gd name="connsiteY27" fmla="*/ 7920 h 10000"/>
                <a:gd name="connsiteX28" fmla="*/ 9119 w 10000"/>
                <a:gd name="connsiteY28" fmla="*/ 7920 h 10000"/>
                <a:gd name="connsiteX29" fmla="*/ 8813 w 10000"/>
                <a:gd name="connsiteY29" fmla="*/ 7401 h 10000"/>
                <a:gd name="connsiteX30" fmla="*/ 8795 w 10000"/>
                <a:gd name="connsiteY30" fmla="*/ 7370 h 10000"/>
                <a:gd name="connsiteX31" fmla="*/ 8795 w 10000"/>
                <a:gd name="connsiteY31" fmla="*/ 7370 h 10000"/>
                <a:gd name="connsiteX32" fmla="*/ 8795 w 10000"/>
                <a:gd name="connsiteY32" fmla="*/ 6606 h 10000"/>
                <a:gd name="connsiteX33" fmla="*/ 8651 w 10000"/>
                <a:gd name="connsiteY33" fmla="*/ 6208 h 10000"/>
                <a:gd name="connsiteX34" fmla="*/ 8633 w 10000"/>
                <a:gd name="connsiteY34" fmla="*/ 6177 h 10000"/>
                <a:gd name="connsiteX35" fmla="*/ 8651 w 10000"/>
                <a:gd name="connsiteY35" fmla="*/ 6147 h 10000"/>
                <a:gd name="connsiteX36" fmla="*/ 8705 w 10000"/>
                <a:gd name="connsiteY36" fmla="*/ 5596 h 10000"/>
                <a:gd name="connsiteX37" fmla="*/ 8493 w 10000"/>
                <a:gd name="connsiteY37" fmla="*/ 6111 h 10000"/>
                <a:gd name="connsiteX38" fmla="*/ 8765 w 10000"/>
                <a:gd name="connsiteY38" fmla="*/ 5832 h 10000"/>
                <a:gd name="connsiteX39" fmla="*/ 8904 w 10000"/>
                <a:gd name="connsiteY39" fmla="*/ 5188 h 10000"/>
                <a:gd name="connsiteX40" fmla="*/ 9100 w 10000"/>
                <a:gd name="connsiteY40" fmla="*/ 4709 h 10000"/>
                <a:gd name="connsiteX41" fmla="*/ 9065 w 10000"/>
                <a:gd name="connsiteY41" fmla="*/ 4343 h 10000"/>
                <a:gd name="connsiteX42" fmla="*/ 8921 w 10000"/>
                <a:gd name="connsiteY42" fmla="*/ 3945 h 10000"/>
                <a:gd name="connsiteX43" fmla="*/ 8921 w 10000"/>
                <a:gd name="connsiteY43" fmla="*/ 3945 h 10000"/>
                <a:gd name="connsiteX44" fmla="*/ 8921 w 10000"/>
                <a:gd name="connsiteY44" fmla="*/ 3914 h 10000"/>
                <a:gd name="connsiteX45" fmla="*/ 8903 w 10000"/>
                <a:gd name="connsiteY45" fmla="*/ 2446 h 10000"/>
                <a:gd name="connsiteX46" fmla="*/ 8903 w 10000"/>
                <a:gd name="connsiteY46" fmla="*/ 2446 h 10000"/>
                <a:gd name="connsiteX47" fmla="*/ 8972 w 10000"/>
                <a:gd name="connsiteY47" fmla="*/ 2427 h 10000"/>
                <a:gd name="connsiteX48" fmla="*/ 9140 w 10000"/>
                <a:gd name="connsiteY48" fmla="*/ 2028 h 10000"/>
                <a:gd name="connsiteX49" fmla="*/ 8705 w 10000"/>
                <a:gd name="connsiteY49" fmla="*/ 1651 h 10000"/>
                <a:gd name="connsiteX50" fmla="*/ 8543 w 10000"/>
                <a:gd name="connsiteY50" fmla="*/ 1835 h 10000"/>
                <a:gd name="connsiteX51" fmla="*/ 8525 w 10000"/>
                <a:gd name="connsiteY51" fmla="*/ 1865 h 10000"/>
                <a:gd name="connsiteX52" fmla="*/ 8525 w 10000"/>
                <a:gd name="connsiteY52" fmla="*/ 1835 h 10000"/>
                <a:gd name="connsiteX53" fmla="*/ 8129 w 10000"/>
                <a:gd name="connsiteY53" fmla="*/ 1560 h 10000"/>
                <a:gd name="connsiteX54" fmla="*/ 8094 w 10000"/>
                <a:gd name="connsiteY54" fmla="*/ 1529 h 10000"/>
                <a:gd name="connsiteX55" fmla="*/ 8094 w 10000"/>
                <a:gd name="connsiteY55" fmla="*/ 1498 h 10000"/>
                <a:gd name="connsiteX56" fmla="*/ 8094 w 10000"/>
                <a:gd name="connsiteY56" fmla="*/ 765 h 10000"/>
                <a:gd name="connsiteX57" fmla="*/ 8094 w 10000"/>
                <a:gd name="connsiteY57" fmla="*/ 734 h 10000"/>
                <a:gd name="connsiteX58" fmla="*/ 8187 w 10000"/>
                <a:gd name="connsiteY58" fmla="*/ 857 h 10000"/>
                <a:gd name="connsiteX59" fmla="*/ 8237 w 10000"/>
                <a:gd name="connsiteY59" fmla="*/ 520 h 10000"/>
                <a:gd name="connsiteX60" fmla="*/ 8237 w 10000"/>
                <a:gd name="connsiteY60" fmla="*/ 428 h 10000"/>
                <a:gd name="connsiteX61" fmla="*/ 7842 w 10000"/>
                <a:gd name="connsiteY61" fmla="*/ 0 h 10000"/>
                <a:gd name="connsiteX62" fmla="*/ 7572 w 10000"/>
                <a:gd name="connsiteY62" fmla="*/ 275 h 10000"/>
                <a:gd name="connsiteX63" fmla="*/ 7554 w 10000"/>
                <a:gd name="connsiteY63" fmla="*/ 275 h 10000"/>
                <a:gd name="connsiteX64" fmla="*/ 7554 w 10000"/>
                <a:gd name="connsiteY64" fmla="*/ 275 h 10000"/>
                <a:gd name="connsiteX65" fmla="*/ 7176 w 10000"/>
                <a:gd name="connsiteY65" fmla="*/ 306 h 10000"/>
                <a:gd name="connsiteX66" fmla="*/ 7158 w 10000"/>
                <a:gd name="connsiteY66" fmla="*/ 306 h 10000"/>
                <a:gd name="connsiteX67" fmla="*/ 7158 w 10000"/>
                <a:gd name="connsiteY67" fmla="*/ 306 h 10000"/>
                <a:gd name="connsiteX68" fmla="*/ 7032 w 10000"/>
                <a:gd name="connsiteY68" fmla="*/ 153 h 10000"/>
                <a:gd name="connsiteX69" fmla="*/ 6799 w 10000"/>
                <a:gd name="connsiteY69" fmla="*/ 642 h 10000"/>
                <a:gd name="connsiteX70" fmla="*/ 6745 w 10000"/>
                <a:gd name="connsiteY70" fmla="*/ 979 h 10000"/>
                <a:gd name="connsiteX71" fmla="*/ 6745 w 10000"/>
                <a:gd name="connsiteY71" fmla="*/ 979 h 10000"/>
                <a:gd name="connsiteX72" fmla="*/ 6745 w 10000"/>
                <a:gd name="connsiteY72" fmla="*/ 1009 h 10000"/>
                <a:gd name="connsiteX73" fmla="*/ 6277 w 10000"/>
                <a:gd name="connsiteY73" fmla="*/ 1682 h 10000"/>
                <a:gd name="connsiteX74" fmla="*/ 6259 w 10000"/>
                <a:gd name="connsiteY74" fmla="*/ 1713 h 10000"/>
                <a:gd name="connsiteX75" fmla="*/ 6223 w 10000"/>
                <a:gd name="connsiteY75" fmla="*/ 1682 h 10000"/>
                <a:gd name="connsiteX76" fmla="*/ 5935 w 10000"/>
                <a:gd name="connsiteY76" fmla="*/ 1284 h 10000"/>
                <a:gd name="connsiteX77" fmla="*/ 5935 w 10000"/>
                <a:gd name="connsiteY77" fmla="*/ 1284 h 10000"/>
                <a:gd name="connsiteX78" fmla="*/ 5935 w 10000"/>
                <a:gd name="connsiteY78" fmla="*/ 1284 h 10000"/>
                <a:gd name="connsiteX79" fmla="*/ 5522 w 10000"/>
                <a:gd name="connsiteY79" fmla="*/ 459 h 10000"/>
                <a:gd name="connsiteX80" fmla="*/ 5018 w 10000"/>
                <a:gd name="connsiteY80" fmla="*/ 398 h 10000"/>
                <a:gd name="connsiteX81" fmla="*/ 4604 w 10000"/>
                <a:gd name="connsiteY81" fmla="*/ 1009 h 10000"/>
                <a:gd name="connsiteX82" fmla="*/ 4604 w 10000"/>
                <a:gd name="connsiteY82" fmla="*/ 1009 h 10000"/>
                <a:gd name="connsiteX83" fmla="*/ 4586 w 10000"/>
                <a:gd name="connsiteY83" fmla="*/ 1009 h 10000"/>
                <a:gd name="connsiteX84" fmla="*/ 3867 w 10000"/>
                <a:gd name="connsiteY84" fmla="*/ 948 h 10000"/>
                <a:gd name="connsiteX85" fmla="*/ 3219 w 10000"/>
                <a:gd name="connsiteY85" fmla="*/ 1621 h 10000"/>
                <a:gd name="connsiteX86" fmla="*/ 3219 w 10000"/>
                <a:gd name="connsiteY86" fmla="*/ 1651 h 10000"/>
                <a:gd name="connsiteX87" fmla="*/ 3201 w 10000"/>
                <a:gd name="connsiteY87" fmla="*/ 1621 h 10000"/>
                <a:gd name="connsiteX88" fmla="*/ 2932 w 10000"/>
                <a:gd name="connsiteY88" fmla="*/ 1498 h 10000"/>
                <a:gd name="connsiteX89" fmla="*/ 2716 w 10000"/>
                <a:gd name="connsiteY89" fmla="*/ 1713 h 10000"/>
                <a:gd name="connsiteX90" fmla="*/ 2698 w 10000"/>
                <a:gd name="connsiteY90" fmla="*/ 1743 h 10000"/>
                <a:gd name="connsiteX91" fmla="*/ 2680 w 10000"/>
                <a:gd name="connsiteY91" fmla="*/ 1713 h 10000"/>
                <a:gd name="connsiteX92" fmla="*/ 1709 w 10000"/>
                <a:gd name="connsiteY92" fmla="*/ 673 h 10000"/>
                <a:gd name="connsiteX93" fmla="*/ 144 w 10000"/>
                <a:gd name="connsiteY93" fmla="*/ 581 h 10000"/>
                <a:gd name="connsiteX94" fmla="*/ 144 w 10000"/>
                <a:gd name="connsiteY94" fmla="*/ 612 h 10000"/>
                <a:gd name="connsiteX95" fmla="*/ 0 w 10000"/>
                <a:gd name="connsiteY95" fmla="*/ 795 h 10000"/>
                <a:gd name="connsiteX96" fmla="*/ 0 w 10000"/>
                <a:gd name="connsiteY96" fmla="*/ 1040 h 10000"/>
                <a:gd name="connsiteX97" fmla="*/ 0 w 10000"/>
                <a:gd name="connsiteY97" fmla="*/ 1529 h 10000"/>
                <a:gd name="connsiteX98" fmla="*/ 216 w 10000"/>
                <a:gd name="connsiteY98" fmla="*/ 1774 h 10000"/>
                <a:gd name="connsiteX99" fmla="*/ 288 w 10000"/>
                <a:gd name="connsiteY99" fmla="*/ 1590 h 10000"/>
                <a:gd name="connsiteX100" fmla="*/ 396 w 10000"/>
                <a:gd name="connsiteY100" fmla="*/ 1346 h 10000"/>
                <a:gd name="connsiteX101" fmla="*/ 629 w 10000"/>
                <a:gd name="connsiteY101" fmla="*/ 1804 h 10000"/>
                <a:gd name="connsiteX102" fmla="*/ 917 w 10000"/>
                <a:gd name="connsiteY102" fmla="*/ 1804 h 10000"/>
                <a:gd name="connsiteX103" fmla="*/ 1061 w 10000"/>
                <a:gd name="connsiteY103" fmla="*/ 1988 h 10000"/>
                <a:gd name="connsiteX104" fmla="*/ 1223 w 10000"/>
                <a:gd name="connsiteY104" fmla="*/ 2294 h 10000"/>
                <a:gd name="connsiteX105" fmla="*/ 1223 w 10000"/>
                <a:gd name="connsiteY105" fmla="*/ 2844 h 10000"/>
                <a:gd name="connsiteX106" fmla="*/ 1403 w 10000"/>
                <a:gd name="connsiteY106" fmla="*/ 3150 h 10000"/>
                <a:gd name="connsiteX107" fmla="*/ 1493 w 10000"/>
                <a:gd name="connsiteY107" fmla="*/ 4159 h 10000"/>
                <a:gd name="connsiteX108" fmla="*/ 1565 w 10000"/>
                <a:gd name="connsiteY108" fmla="*/ 4618 h 10000"/>
                <a:gd name="connsiteX109" fmla="*/ 1655 w 10000"/>
                <a:gd name="connsiteY109" fmla="*/ 4924 h 10000"/>
                <a:gd name="connsiteX110" fmla="*/ 1745 w 10000"/>
                <a:gd name="connsiteY110" fmla="*/ 5199 h 10000"/>
                <a:gd name="connsiteX111" fmla="*/ 1583 w 10000"/>
                <a:gd name="connsiteY111" fmla="*/ 5352 h 10000"/>
                <a:gd name="connsiteX112" fmla="*/ 1439 w 10000"/>
                <a:gd name="connsiteY112" fmla="*/ 5321 h 10000"/>
                <a:gd name="connsiteX113" fmla="*/ 1259 w 10000"/>
                <a:gd name="connsiteY113" fmla="*/ 4985 h 10000"/>
                <a:gd name="connsiteX114" fmla="*/ 1079 w 10000"/>
                <a:gd name="connsiteY114" fmla="*/ 4954 h 10000"/>
                <a:gd name="connsiteX115" fmla="*/ 989 w 10000"/>
                <a:gd name="connsiteY115" fmla="*/ 5199 h 10000"/>
                <a:gd name="connsiteX116" fmla="*/ 1079 w 10000"/>
                <a:gd name="connsiteY116" fmla="*/ 5474 h 10000"/>
                <a:gd name="connsiteX117" fmla="*/ 1565 w 10000"/>
                <a:gd name="connsiteY117" fmla="*/ 6177 h 10000"/>
                <a:gd name="connsiteX118" fmla="*/ 1691 w 10000"/>
                <a:gd name="connsiteY118" fmla="*/ 6391 h 10000"/>
                <a:gd name="connsiteX119" fmla="*/ 1835 w 10000"/>
                <a:gd name="connsiteY119" fmla="*/ 6055 h 10000"/>
                <a:gd name="connsiteX120" fmla="*/ 2104 w 10000"/>
                <a:gd name="connsiteY120" fmla="*/ 6024 h 10000"/>
                <a:gd name="connsiteX121" fmla="*/ 2536 w 10000"/>
                <a:gd name="connsiteY121" fmla="*/ 6116 h 10000"/>
                <a:gd name="connsiteX122" fmla="*/ 2680 w 10000"/>
                <a:gd name="connsiteY122" fmla="*/ 5933 h 10000"/>
                <a:gd name="connsiteX123" fmla="*/ 3435 w 10000"/>
                <a:gd name="connsiteY123" fmla="*/ 5474 h 10000"/>
                <a:gd name="connsiteX124" fmla="*/ 3633 w 10000"/>
                <a:gd name="connsiteY124" fmla="*/ 5352 h 10000"/>
                <a:gd name="connsiteX125" fmla="*/ 3831 w 10000"/>
                <a:gd name="connsiteY125" fmla="*/ 5229 h 10000"/>
                <a:gd name="connsiteX126" fmla="*/ 4245 w 10000"/>
                <a:gd name="connsiteY126" fmla="*/ 5076 h 10000"/>
                <a:gd name="connsiteX127" fmla="*/ 4388 w 10000"/>
                <a:gd name="connsiteY127" fmla="*/ 5168 h 10000"/>
                <a:gd name="connsiteX128" fmla="*/ 4532 w 10000"/>
                <a:gd name="connsiteY128" fmla="*/ 5229 h 10000"/>
                <a:gd name="connsiteX129" fmla="*/ 4748 w 10000"/>
                <a:gd name="connsiteY129" fmla="*/ 5566 h 10000"/>
                <a:gd name="connsiteX130" fmla="*/ 4928 w 10000"/>
                <a:gd name="connsiteY130" fmla="*/ 5872 h 10000"/>
                <a:gd name="connsiteX131" fmla="*/ 5234 w 10000"/>
                <a:gd name="connsiteY131" fmla="*/ 6177 h 10000"/>
                <a:gd name="connsiteX132" fmla="*/ 5342 w 10000"/>
                <a:gd name="connsiteY132" fmla="*/ 6330 h 10000"/>
                <a:gd name="connsiteX133" fmla="*/ 5432 w 10000"/>
                <a:gd name="connsiteY133" fmla="*/ 6208 h 10000"/>
                <a:gd name="connsiteX134" fmla="*/ 5594 w 10000"/>
                <a:gd name="connsiteY134" fmla="*/ 6024 h 10000"/>
                <a:gd name="connsiteX135" fmla="*/ 5737 w 10000"/>
                <a:gd name="connsiteY135" fmla="*/ 5872 h 10000"/>
                <a:gd name="connsiteX136" fmla="*/ 5899 w 10000"/>
                <a:gd name="connsiteY136" fmla="*/ 5994 h 10000"/>
                <a:gd name="connsiteX137" fmla="*/ 6097 w 10000"/>
                <a:gd name="connsiteY137" fmla="*/ 6147 h 10000"/>
                <a:gd name="connsiteX138" fmla="*/ 6349 w 10000"/>
                <a:gd name="connsiteY138" fmla="*/ 6453 h 10000"/>
                <a:gd name="connsiteX139" fmla="*/ 6313 w 10000"/>
                <a:gd name="connsiteY139" fmla="*/ 7278 h 10000"/>
                <a:gd name="connsiteX140" fmla="*/ 6403 w 10000"/>
                <a:gd name="connsiteY140" fmla="*/ 7339 h 10000"/>
                <a:gd name="connsiteX141" fmla="*/ 6421 w 10000"/>
                <a:gd name="connsiteY141" fmla="*/ 8379 h 10000"/>
                <a:gd name="connsiteX142" fmla="*/ 6367 w 10000"/>
                <a:gd name="connsiteY142" fmla="*/ 8502 h 10000"/>
                <a:gd name="connsiteX143" fmla="*/ 6295 w 10000"/>
                <a:gd name="connsiteY143" fmla="*/ 8869 h 10000"/>
                <a:gd name="connsiteX144" fmla="*/ 6835 w 10000"/>
                <a:gd name="connsiteY144" fmla="*/ 8807 h 10000"/>
                <a:gd name="connsiteX145" fmla="*/ 7032 w 10000"/>
                <a:gd name="connsiteY145" fmla="*/ 8563 h 10000"/>
                <a:gd name="connsiteX0" fmla="*/ 7032 w 10000"/>
                <a:gd name="connsiteY0" fmla="*/ 8563 h 10000"/>
                <a:gd name="connsiteX1" fmla="*/ 7050 w 10000"/>
                <a:gd name="connsiteY1" fmla="*/ 8563 h 10000"/>
                <a:gd name="connsiteX2" fmla="*/ 7068 w 10000"/>
                <a:gd name="connsiteY2" fmla="*/ 8563 h 10000"/>
                <a:gd name="connsiteX3" fmla="*/ 7266 w 10000"/>
                <a:gd name="connsiteY3" fmla="*/ 8746 h 10000"/>
                <a:gd name="connsiteX4" fmla="*/ 7554 w 10000"/>
                <a:gd name="connsiteY4" fmla="*/ 8746 h 10000"/>
                <a:gd name="connsiteX5" fmla="*/ 7590 w 10000"/>
                <a:gd name="connsiteY5" fmla="*/ 8593 h 10000"/>
                <a:gd name="connsiteX6" fmla="*/ 7608 w 10000"/>
                <a:gd name="connsiteY6" fmla="*/ 8532 h 10000"/>
                <a:gd name="connsiteX7" fmla="*/ 7626 w 10000"/>
                <a:gd name="connsiteY7" fmla="*/ 8532 h 10000"/>
                <a:gd name="connsiteX8" fmla="*/ 8058 w 10000"/>
                <a:gd name="connsiteY8" fmla="*/ 8471 h 10000"/>
                <a:gd name="connsiteX9" fmla="*/ 8076 w 10000"/>
                <a:gd name="connsiteY9" fmla="*/ 8471 h 10000"/>
                <a:gd name="connsiteX10" fmla="*/ 8094 w 10000"/>
                <a:gd name="connsiteY10" fmla="*/ 8502 h 10000"/>
                <a:gd name="connsiteX11" fmla="*/ 8219 w 10000"/>
                <a:gd name="connsiteY11" fmla="*/ 8746 h 10000"/>
                <a:gd name="connsiteX12" fmla="*/ 8327 w 10000"/>
                <a:gd name="connsiteY12" fmla="*/ 8930 h 10000"/>
                <a:gd name="connsiteX13" fmla="*/ 8417 w 10000"/>
                <a:gd name="connsiteY13" fmla="*/ 8991 h 10000"/>
                <a:gd name="connsiteX14" fmla="*/ 8579 w 10000"/>
                <a:gd name="connsiteY14" fmla="*/ 8716 h 10000"/>
                <a:gd name="connsiteX15" fmla="*/ 8669 w 10000"/>
                <a:gd name="connsiteY15" fmla="*/ 8440 h 10000"/>
                <a:gd name="connsiteX16" fmla="*/ 8687 w 10000"/>
                <a:gd name="connsiteY16" fmla="*/ 8379 h 10000"/>
                <a:gd name="connsiteX17" fmla="*/ 8723 w 10000"/>
                <a:gd name="connsiteY17" fmla="*/ 8410 h 10000"/>
                <a:gd name="connsiteX18" fmla="*/ 8849 w 10000"/>
                <a:gd name="connsiteY18" fmla="*/ 8593 h 10000"/>
                <a:gd name="connsiteX19" fmla="*/ 9029 w 10000"/>
                <a:gd name="connsiteY19" fmla="*/ 8899 h 10000"/>
                <a:gd name="connsiteX20" fmla="*/ 9406 w 10000"/>
                <a:gd name="connsiteY20" fmla="*/ 9450 h 10000"/>
                <a:gd name="connsiteX21" fmla="*/ 9622 w 10000"/>
                <a:gd name="connsiteY21" fmla="*/ 9694 h 10000"/>
                <a:gd name="connsiteX22" fmla="*/ 9892 w 10000"/>
                <a:gd name="connsiteY22" fmla="*/ 10000 h 10000"/>
                <a:gd name="connsiteX23" fmla="*/ 10000 w 10000"/>
                <a:gd name="connsiteY23" fmla="*/ 9939 h 10000"/>
                <a:gd name="connsiteX24" fmla="*/ 9892 w 10000"/>
                <a:gd name="connsiteY24" fmla="*/ 8532 h 10000"/>
                <a:gd name="connsiteX25" fmla="*/ 9622 w 10000"/>
                <a:gd name="connsiteY25" fmla="*/ 8318 h 10000"/>
                <a:gd name="connsiteX26" fmla="*/ 9137 w 10000"/>
                <a:gd name="connsiteY26" fmla="*/ 7951 h 10000"/>
                <a:gd name="connsiteX27" fmla="*/ 9137 w 10000"/>
                <a:gd name="connsiteY27" fmla="*/ 7920 h 10000"/>
                <a:gd name="connsiteX28" fmla="*/ 9119 w 10000"/>
                <a:gd name="connsiteY28" fmla="*/ 7920 h 10000"/>
                <a:gd name="connsiteX29" fmla="*/ 8813 w 10000"/>
                <a:gd name="connsiteY29" fmla="*/ 7401 h 10000"/>
                <a:gd name="connsiteX30" fmla="*/ 8795 w 10000"/>
                <a:gd name="connsiteY30" fmla="*/ 7370 h 10000"/>
                <a:gd name="connsiteX31" fmla="*/ 8795 w 10000"/>
                <a:gd name="connsiteY31" fmla="*/ 7370 h 10000"/>
                <a:gd name="connsiteX32" fmla="*/ 8795 w 10000"/>
                <a:gd name="connsiteY32" fmla="*/ 6606 h 10000"/>
                <a:gd name="connsiteX33" fmla="*/ 8651 w 10000"/>
                <a:gd name="connsiteY33" fmla="*/ 6208 h 10000"/>
                <a:gd name="connsiteX34" fmla="*/ 8633 w 10000"/>
                <a:gd name="connsiteY34" fmla="*/ 6177 h 10000"/>
                <a:gd name="connsiteX35" fmla="*/ 8651 w 10000"/>
                <a:gd name="connsiteY35" fmla="*/ 6147 h 10000"/>
                <a:gd name="connsiteX36" fmla="*/ 8705 w 10000"/>
                <a:gd name="connsiteY36" fmla="*/ 5596 h 10000"/>
                <a:gd name="connsiteX37" fmla="*/ 8765 w 10000"/>
                <a:gd name="connsiteY37" fmla="*/ 5832 h 10000"/>
                <a:gd name="connsiteX38" fmla="*/ 8904 w 10000"/>
                <a:gd name="connsiteY38" fmla="*/ 5188 h 10000"/>
                <a:gd name="connsiteX39" fmla="*/ 9100 w 10000"/>
                <a:gd name="connsiteY39" fmla="*/ 4709 h 10000"/>
                <a:gd name="connsiteX40" fmla="*/ 9065 w 10000"/>
                <a:gd name="connsiteY40" fmla="*/ 4343 h 10000"/>
                <a:gd name="connsiteX41" fmla="*/ 8921 w 10000"/>
                <a:gd name="connsiteY41" fmla="*/ 3945 h 10000"/>
                <a:gd name="connsiteX42" fmla="*/ 8921 w 10000"/>
                <a:gd name="connsiteY42" fmla="*/ 3945 h 10000"/>
                <a:gd name="connsiteX43" fmla="*/ 8921 w 10000"/>
                <a:gd name="connsiteY43" fmla="*/ 3914 h 10000"/>
                <a:gd name="connsiteX44" fmla="*/ 8903 w 10000"/>
                <a:gd name="connsiteY44" fmla="*/ 2446 h 10000"/>
                <a:gd name="connsiteX45" fmla="*/ 8903 w 10000"/>
                <a:gd name="connsiteY45" fmla="*/ 2446 h 10000"/>
                <a:gd name="connsiteX46" fmla="*/ 8972 w 10000"/>
                <a:gd name="connsiteY46" fmla="*/ 2427 h 10000"/>
                <a:gd name="connsiteX47" fmla="*/ 9140 w 10000"/>
                <a:gd name="connsiteY47" fmla="*/ 2028 h 10000"/>
                <a:gd name="connsiteX48" fmla="*/ 8705 w 10000"/>
                <a:gd name="connsiteY48" fmla="*/ 1651 h 10000"/>
                <a:gd name="connsiteX49" fmla="*/ 8543 w 10000"/>
                <a:gd name="connsiteY49" fmla="*/ 1835 h 10000"/>
                <a:gd name="connsiteX50" fmla="*/ 8525 w 10000"/>
                <a:gd name="connsiteY50" fmla="*/ 1865 h 10000"/>
                <a:gd name="connsiteX51" fmla="*/ 8525 w 10000"/>
                <a:gd name="connsiteY51" fmla="*/ 1835 h 10000"/>
                <a:gd name="connsiteX52" fmla="*/ 8129 w 10000"/>
                <a:gd name="connsiteY52" fmla="*/ 1560 h 10000"/>
                <a:gd name="connsiteX53" fmla="*/ 8094 w 10000"/>
                <a:gd name="connsiteY53" fmla="*/ 1529 h 10000"/>
                <a:gd name="connsiteX54" fmla="*/ 8094 w 10000"/>
                <a:gd name="connsiteY54" fmla="*/ 1498 h 10000"/>
                <a:gd name="connsiteX55" fmla="*/ 8094 w 10000"/>
                <a:gd name="connsiteY55" fmla="*/ 765 h 10000"/>
                <a:gd name="connsiteX56" fmla="*/ 8094 w 10000"/>
                <a:gd name="connsiteY56" fmla="*/ 734 h 10000"/>
                <a:gd name="connsiteX57" fmla="*/ 8187 w 10000"/>
                <a:gd name="connsiteY57" fmla="*/ 857 h 10000"/>
                <a:gd name="connsiteX58" fmla="*/ 8237 w 10000"/>
                <a:gd name="connsiteY58" fmla="*/ 520 h 10000"/>
                <a:gd name="connsiteX59" fmla="*/ 8237 w 10000"/>
                <a:gd name="connsiteY59" fmla="*/ 428 h 10000"/>
                <a:gd name="connsiteX60" fmla="*/ 7842 w 10000"/>
                <a:gd name="connsiteY60" fmla="*/ 0 h 10000"/>
                <a:gd name="connsiteX61" fmla="*/ 7572 w 10000"/>
                <a:gd name="connsiteY61" fmla="*/ 275 h 10000"/>
                <a:gd name="connsiteX62" fmla="*/ 7554 w 10000"/>
                <a:gd name="connsiteY62" fmla="*/ 275 h 10000"/>
                <a:gd name="connsiteX63" fmla="*/ 7554 w 10000"/>
                <a:gd name="connsiteY63" fmla="*/ 275 h 10000"/>
                <a:gd name="connsiteX64" fmla="*/ 7176 w 10000"/>
                <a:gd name="connsiteY64" fmla="*/ 306 h 10000"/>
                <a:gd name="connsiteX65" fmla="*/ 7158 w 10000"/>
                <a:gd name="connsiteY65" fmla="*/ 306 h 10000"/>
                <a:gd name="connsiteX66" fmla="*/ 7158 w 10000"/>
                <a:gd name="connsiteY66" fmla="*/ 306 h 10000"/>
                <a:gd name="connsiteX67" fmla="*/ 7032 w 10000"/>
                <a:gd name="connsiteY67" fmla="*/ 153 h 10000"/>
                <a:gd name="connsiteX68" fmla="*/ 6799 w 10000"/>
                <a:gd name="connsiteY68" fmla="*/ 642 h 10000"/>
                <a:gd name="connsiteX69" fmla="*/ 6745 w 10000"/>
                <a:gd name="connsiteY69" fmla="*/ 979 h 10000"/>
                <a:gd name="connsiteX70" fmla="*/ 6745 w 10000"/>
                <a:gd name="connsiteY70" fmla="*/ 979 h 10000"/>
                <a:gd name="connsiteX71" fmla="*/ 6745 w 10000"/>
                <a:gd name="connsiteY71" fmla="*/ 1009 h 10000"/>
                <a:gd name="connsiteX72" fmla="*/ 6277 w 10000"/>
                <a:gd name="connsiteY72" fmla="*/ 1682 h 10000"/>
                <a:gd name="connsiteX73" fmla="*/ 6259 w 10000"/>
                <a:gd name="connsiteY73" fmla="*/ 1713 h 10000"/>
                <a:gd name="connsiteX74" fmla="*/ 6223 w 10000"/>
                <a:gd name="connsiteY74" fmla="*/ 1682 h 10000"/>
                <a:gd name="connsiteX75" fmla="*/ 5935 w 10000"/>
                <a:gd name="connsiteY75" fmla="*/ 1284 h 10000"/>
                <a:gd name="connsiteX76" fmla="*/ 5935 w 10000"/>
                <a:gd name="connsiteY76" fmla="*/ 1284 h 10000"/>
                <a:gd name="connsiteX77" fmla="*/ 5935 w 10000"/>
                <a:gd name="connsiteY77" fmla="*/ 1284 h 10000"/>
                <a:gd name="connsiteX78" fmla="*/ 5522 w 10000"/>
                <a:gd name="connsiteY78" fmla="*/ 459 h 10000"/>
                <a:gd name="connsiteX79" fmla="*/ 5018 w 10000"/>
                <a:gd name="connsiteY79" fmla="*/ 398 h 10000"/>
                <a:gd name="connsiteX80" fmla="*/ 4604 w 10000"/>
                <a:gd name="connsiteY80" fmla="*/ 1009 h 10000"/>
                <a:gd name="connsiteX81" fmla="*/ 4604 w 10000"/>
                <a:gd name="connsiteY81" fmla="*/ 1009 h 10000"/>
                <a:gd name="connsiteX82" fmla="*/ 4586 w 10000"/>
                <a:gd name="connsiteY82" fmla="*/ 1009 h 10000"/>
                <a:gd name="connsiteX83" fmla="*/ 3867 w 10000"/>
                <a:gd name="connsiteY83" fmla="*/ 948 h 10000"/>
                <a:gd name="connsiteX84" fmla="*/ 3219 w 10000"/>
                <a:gd name="connsiteY84" fmla="*/ 1621 h 10000"/>
                <a:gd name="connsiteX85" fmla="*/ 3219 w 10000"/>
                <a:gd name="connsiteY85" fmla="*/ 1651 h 10000"/>
                <a:gd name="connsiteX86" fmla="*/ 3201 w 10000"/>
                <a:gd name="connsiteY86" fmla="*/ 1621 h 10000"/>
                <a:gd name="connsiteX87" fmla="*/ 2932 w 10000"/>
                <a:gd name="connsiteY87" fmla="*/ 1498 h 10000"/>
                <a:gd name="connsiteX88" fmla="*/ 2716 w 10000"/>
                <a:gd name="connsiteY88" fmla="*/ 1713 h 10000"/>
                <a:gd name="connsiteX89" fmla="*/ 2698 w 10000"/>
                <a:gd name="connsiteY89" fmla="*/ 1743 h 10000"/>
                <a:gd name="connsiteX90" fmla="*/ 2680 w 10000"/>
                <a:gd name="connsiteY90" fmla="*/ 1713 h 10000"/>
                <a:gd name="connsiteX91" fmla="*/ 1709 w 10000"/>
                <a:gd name="connsiteY91" fmla="*/ 673 h 10000"/>
                <a:gd name="connsiteX92" fmla="*/ 144 w 10000"/>
                <a:gd name="connsiteY92" fmla="*/ 581 h 10000"/>
                <a:gd name="connsiteX93" fmla="*/ 144 w 10000"/>
                <a:gd name="connsiteY93" fmla="*/ 612 h 10000"/>
                <a:gd name="connsiteX94" fmla="*/ 0 w 10000"/>
                <a:gd name="connsiteY94" fmla="*/ 795 h 10000"/>
                <a:gd name="connsiteX95" fmla="*/ 0 w 10000"/>
                <a:gd name="connsiteY95" fmla="*/ 1040 h 10000"/>
                <a:gd name="connsiteX96" fmla="*/ 0 w 10000"/>
                <a:gd name="connsiteY96" fmla="*/ 1529 h 10000"/>
                <a:gd name="connsiteX97" fmla="*/ 216 w 10000"/>
                <a:gd name="connsiteY97" fmla="*/ 1774 h 10000"/>
                <a:gd name="connsiteX98" fmla="*/ 288 w 10000"/>
                <a:gd name="connsiteY98" fmla="*/ 1590 h 10000"/>
                <a:gd name="connsiteX99" fmla="*/ 396 w 10000"/>
                <a:gd name="connsiteY99" fmla="*/ 1346 h 10000"/>
                <a:gd name="connsiteX100" fmla="*/ 629 w 10000"/>
                <a:gd name="connsiteY100" fmla="*/ 1804 h 10000"/>
                <a:gd name="connsiteX101" fmla="*/ 917 w 10000"/>
                <a:gd name="connsiteY101" fmla="*/ 1804 h 10000"/>
                <a:gd name="connsiteX102" fmla="*/ 1061 w 10000"/>
                <a:gd name="connsiteY102" fmla="*/ 1988 h 10000"/>
                <a:gd name="connsiteX103" fmla="*/ 1223 w 10000"/>
                <a:gd name="connsiteY103" fmla="*/ 2294 h 10000"/>
                <a:gd name="connsiteX104" fmla="*/ 1223 w 10000"/>
                <a:gd name="connsiteY104" fmla="*/ 2844 h 10000"/>
                <a:gd name="connsiteX105" fmla="*/ 1403 w 10000"/>
                <a:gd name="connsiteY105" fmla="*/ 3150 h 10000"/>
                <a:gd name="connsiteX106" fmla="*/ 1493 w 10000"/>
                <a:gd name="connsiteY106" fmla="*/ 4159 h 10000"/>
                <a:gd name="connsiteX107" fmla="*/ 1565 w 10000"/>
                <a:gd name="connsiteY107" fmla="*/ 4618 h 10000"/>
                <a:gd name="connsiteX108" fmla="*/ 1655 w 10000"/>
                <a:gd name="connsiteY108" fmla="*/ 4924 h 10000"/>
                <a:gd name="connsiteX109" fmla="*/ 1745 w 10000"/>
                <a:gd name="connsiteY109" fmla="*/ 5199 h 10000"/>
                <a:gd name="connsiteX110" fmla="*/ 1583 w 10000"/>
                <a:gd name="connsiteY110" fmla="*/ 5352 h 10000"/>
                <a:gd name="connsiteX111" fmla="*/ 1439 w 10000"/>
                <a:gd name="connsiteY111" fmla="*/ 5321 h 10000"/>
                <a:gd name="connsiteX112" fmla="*/ 1259 w 10000"/>
                <a:gd name="connsiteY112" fmla="*/ 4985 h 10000"/>
                <a:gd name="connsiteX113" fmla="*/ 1079 w 10000"/>
                <a:gd name="connsiteY113" fmla="*/ 4954 h 10000"/>
                <a:gd name="connsiteX114" fmla="*/ 989 w 10000"/>
                <a:gd name="connsiteY114" fmla="*/ 5199 h 10000"/>
                <a:gd name="connsiteX115" fmla="*/ 1079 w 10000"/>
                <a:gd name="connsiteY115" fmla="*/ 5474 h 10000"/>
                <a:gd name="connsiteX116" fmla="*/ 1565 w 10000"/>
                <a:gd name="connsiteY116" fmla="*/ 6177 h 10000"/>
                <a:gd name="connsiteX117" fmla="*/ 1691 w 10000"/>
                <a:gd name="connsiteY117" fmla="*/ 6391 h 10000"/>
                <a:gd name="connsiteX118" fmla="*/ 1835 w 10000"/>
                <a:gd name="connsiteY118" fmla="*/ 6055 h 10000"/>
                <a:gd name="connsiteX119" fmla="*/ 2104 w 10000"/>
                <a:gd name="connsiteY119" fmla="*/ 6024 h 10000"/>
                <a:gd name="connsiteX120" fmla="*/ 2536 w 10000"/>
                <a:gd name="connsiteY120" fmla="*/ 6116 h 10000"/>
                <a:gd name="connsiteX121" fmla="*/ 2680 w 10000"/>
                <a:gd name="connsiteY121" fmla="*/ 5933 h 10000"/>
                <a:gd name="connsiteX122" fmla="*/ 3435 w 10000"/>
                <a:gd name="connsiteY122" fmla="*/ 5474 h 10000"/>
                <a:gd name="connsiteX123" fmla="*/ 3633 w 10000"/>
                <a:gd name="connsiteY123" fmla="*/ 5352 h 10000"/>
                <a:gd name="connsiteX124" fmla="*/ 3831 w 10000"/>
                <a:gd name="connsiteY124" fmla="*/ 5229 h 10000"/>
                <a:gd name="connsiteX125" fmla="*/ 4245 w 10000"/>
                <a:gd name="connsiteY125" fmla="*/ 5076 h 10000"/>
                <a:gd name="connsiteX126" fmla="*/ 4388 w 10000"/>
                <a:gd name="connsiteY126" fmla="*/ 5168 h 10000"/>
                <a:gd name="connsiteX127" fmla="*/ 4532 w 10000"/>
                <a:gd name="connsiteY127" fmla="*/ 5229 h 10000"/>
                <a:gd name="connsiteX128" fmla="*/ 4748 w 10000"/>
                <a:gd name="connsiteY128" fmla="*/ 5566 h 10000"/>
                <a:gd name="connsiteX129" fmla="*/ 4928 w 10000"/>
                <a:gd name="connsiteY129" fmla="*/ 5872 h 10000"/>
                <a:gd name="connsiteX130" fmla="*/ 5234 w 10000"/>
                <a:gd name="connsiteY130" fmla="*/ 6177 h 10000"/>
                <a:gd name="connsiteX131" fmla="*/ 5342 w 10000"/>
                <a:gd name="connsiteY131" fmla="*/ 6330 h 10000"/>
                <a:gd name="connsiteX132" fmla="*/ 5432 w 10000"/>
                <a:gd name="connsiteY132" fmla="*/ 6208 h 10000"/>
                <a:gd name="connsiteX133" fmla="*/ 5594 w 10000"/>
                <a:gd name="connsiteY133" fmla="*/ 6024 h 10000"/>
                <a:gd name="connsiteX134" fmla="*/ 5737 w 10000"/>
                <a:gd name="connsiteY134" fmla="*/ 5872 h 10000"/>
                <a:gd name="connsiteX135" fmla="*/ 5899 w 10000"/>
                <a:gd name="connsiteY135" fmla="*/ 5994 h 10000"/>
                <a:gd name="connsiteX136" fmla="*/ 6097 w 10000"/>
                <a:gd name="connsiteY136" fmla="*/ 6147 h 10000"/>
                <a:gd name="connsiteX137" fmla="*/ 6349 w 10000"/>
                <a:gd name="connsiteY137" fmla="*/ 6453 h 10000"/>
                <a:gd name="connsiteX138" fmla="*/ 6313 w 10000"/>
                <a:gd name="connsiteY138" fmla="*/ 7278 h 10000"/>
                <a:gd name="connsiteX139" fmla="*/ 6403 w 10000"/>
                <a:gd name="connsiteY139" fmla="*/ 7339 h 10000"/>
                <a:gd name="connsiteX140" fmla="*/ 6421 w 10000"/>
                <a:gd name="connsiteY140" fmla="*/ 8379 h 10000"/>
                <a:gd name="connsiteX141" fmla="*/ 6367 w 10000"/>
                <a:gd name="connsiteY141" fmla="*/ 8502 h 10000"/>
                <a:gd name="connsiteX142" fmla="*/ 6295 w 10000"/>
                <a:gd name="connsiteY142" fmla="*/ 8869 h 10000"/>
                <a:gd name="connsiteX143" fmla="*/ 6835 w 10000"/>
                <a:gd name="connsiteY143" fmla="*/ 8807 h 10000"/>
                <a:gd name="connsiteX144" fmla="*/ 7032 w 10000"/>
                <a:gd name="connsiteY144" fmla="*/ 8563 h 10000"/>
                <a:gd name="connsiteX0" fmla="*/ 7032 w 10000"/>
                <a:gd name="connsiteY0" fmla="*/ 8563 h 10000"/>
                <a:gd name="connsiteX1" fmla="*/ 7050 w 10000"/>
                <a:gd name="connsiteY1" fmla="*/ 8563 h 10000"/>
                <a:gd name="connsiteX2" fmla="*/ 7068 w 10000"/>
                <a:gd name="connsiteY2" fmla="*/ 8563 h 10000"/>
                <a:gd name="connsiteX3" fmla="*/ 7266 w 10000"/>
                <a:gd name="connsiteY3" fmla="*/ 8746 h 10000"/>
                <a:gd name="connsiteX4" fmla="*/ 7554 w 10000"/>
                <a:gd name="connsiteY4" fmla="*/ 8746 h 10000"/>
                <a:gd name="connsiteX5" fmla="*/ 7590 w 10000"/>
                <a:gd name="connsiteY5" fmla="*/ 8593 h 10000"/>
                <a:gd name="connsiteX6" fmla="*/ 7608 w 10000"/>
                <a:gd name="connsiteY6" fmla="*/ 8532 h 10000"/>
                <a:gd name="connsiteX7" fmla="*/ 7626 w 10000"/>
                <a:gd name="connsiteY7" fmla="*/ 8532 h 10000"/>
                <a:gd name="connsiteX8" fmla="*/ 8058 w 10000"/>
                <a:gd name="connsiteY8" fmla="*/ 8471 h 10000"/>
                <a:gd name="connsiteX9" fmla="*/ 8076 w 10000"/>
                <a:gd name="connsiteY9" fmla="*/ 8471 h 10000"/>
                <a:gd name="connsiteX10" fmla="*/ 8094 w 10000"/>
                <a:gd name="connsiteY10" fmla="*/ 8502 h 10000"/>
                <a:gd name="connsiteX11" fmla="*/ 8219 w 10000"/>
                <a:gd name="connsiteY11" fmla="*/ 8746 h 10000"/>
                <a:gd name="connsiteX12" fmla="*/ 8327 w 10000"/>
                <a:gd name="connsiteY12" fmla="*/ 8930 h 10000"/>
                <a:gd name="connsiteX13" fmla="*/ 8417 w 10000"/>
                <a:gd name="connsiteY13" fmla="*/ 8991 h 10000"/>
                <a:gd name="connsiteX14" fmla="*/ 8579 w 10000"/>
                <a:gd name="connsiteY14" fmla="*/ 8716 h 10000"/>
                <a:gd name="connsiteX15" fmla="*/ 8669 w 10000"/>
                <a:gd name="connsiteY15" fmla="*/ 8440 h 10000"/>
                <a:gd name="connsiteX16" fmla="*/ 8687 w 10000"/>
                <a:gd name="connsiteY16" fmla="*/ 8379 h 10000"/>
                <a:gd name="connsiteX17" fmla="*/ 8723 w 10000"/>
                <a:gd name="connsiteY17" fmla="*/ 8410 h 10000"/>
                <a:gd name="connsiteX18" fmla="*/ 8849 w 10000"/>
                <a:gd name="connsiteY18" fmla="*/ 8593 h 10000"/>
                <a:gd name="connsiteX19" fmla="*/ 9029 w 10000"/>
                <a:gd name="connsiteY19" fmla="*/ 8899 h 10000"/>
                <a:gd name="connsiteX20" fmla="*/ 9406 w 10000"/>
                <a:gd name="connsiteY20" fmla="*/ 9450 h 10000"/>
                <a:gd name="connsiteX21" fmla="*/ 9622 w 10000"/>
                <a:gd name="connsiteY21" fmla="*/ 9694 h 10000"/>
                <a:gd name="connsiteX22" fmla="*/ 9892 w 10000"/>
                <a:gd name="connsiteY22" fmla="*/ 10000 h 10000"/>
                <a:gd name="connsiteX23" fmla="*/ 10000 w 10000"/>
                <a:gd name="connsiteY23" fmla="*/ 9939 h 10000"/>
                <a:gd name="connsiteX24" fmla="*/ 9892 w 10000"/>
                <a:gd name="connsiteY24" fmla="*/ 8532 h 10000"/>
                <a:gd name="connsiteX25" fmla="*/ 9622 w 10000"/>
                <a:gd name="connsiteY25" fmla="*/ 8318 h 10000"/>
                <a:gd name="connsiteX26" fmla="*/ 9137 w 10000"/>
                <a:gd name="connsiteY26" fmla="*/ 7951 h 10000"/>
                <a:gd name="connsiteX27" fmla="*/ 9137 w 10000"/>
                <a:gd name="connsiteY27" fmla="*/ 7920 h 10000"/>
                <a:gd name="connsiteX28" fmla="*/ 9119 w 10000"/>
                <a:gd name="connsiteY28" fmla="*/ 7920 h 10000"/>
                <a:gd name="connsiteX29" fmla="*/ 8813 w 10000"/>
                <a:gd name="connsiteY29" fmla="*/ 7401 h 10000"/>
                <a:gd name="connsiteX30" fmla="*/ 8795 w 10000"/>
                <a:gd name="connsiteY30" fmla="*/ 7370 h 10000"/>
                <a:gd name="connsiteX31" fmla="*/ 8795 w 10000"/>
                <a:gd name="connsiteY31" fmla="*/ 7370 h 10000"/>
                <a:gd name="connsiteX32" fmla="*/ 8795 w 10000"/>
                <a:gd name="connsiteY32" fmla="*/ 6606 h 10000"/>
                <a:gd name="connsiteX33" fmla="*/ 8651 w 10000"/>
                <a:gd name="connsiteY33" fmla="*/ 6208 h 10000"/>
                <a:gd name="connsiteX34" fmla="*/ 8633 w 10000"/>
                <a:gd name="connsiteY34" fmla="*/ 6177 h 10000"/>
                <a:gd name="connsiteX35" fmla="*/ 8651 w 10000"/>
                <a:gd name="connsiteY35" fmla="*/ 6147 h 10000"/>
                <a:gd name="connsiteX36" fmla="*/ 8913 w 10000"/>
                <a:gd name="connsiteY36" fmla="*/ 6111 h 10000"/>
                <a:gd name="connsiteX37" fmla="*/ 8765 w 10000"/>
                <a:gd name="connsiteY37" fmla="*/ 5832 h 10000"/>
                <a:gd name="connsiteX38" fmla="*/ 8904 w 10000"/>
                <a:gd name="connsiteY38" fmla="*/ 5188 h 10000"/>
                <a:gd name="connsiteX39" fmla="*/ 9100 w 10000"/>
                <a:gd name="connsiteY39" fmla="*/ 4709 h 10000"/>
                <a:gd name="connsiteX40" fmla="*/ 9065 w 10000"/>
                <a:gd name="connsiteY40" fmla="*/ 4343 h 10000"/>
                <a:gd name="connsiteX41" fmla="*/ 8921 w 10000"/>
                <a:gd name="connsiteY41" fmla="*/ 3945 h 10000"/>
                <a:gd name="connsiteX42" fmla="*/ 8921 w 10000"/>
                <a:gd name="connsiteY42" fmla="*/ 3945 h 10000"/>
                <a:gd name="connsiteX43" fmla="*/ 8921 w 10000"/>
                <a:gd name="connsiteY43" fmla="*/ 3914 h 10000"/>
                <a:gd name="connsiteX44" fmla="*/ 8903 w 10000"/>
                <a:gd name="connsiteY44" fmla="*/ 2446 h 10000"/>
                <a:gd name="connsiteX45" fmla="*/ 8903 w 10000"/>
                <a:gd name="connsiteY45" fmla="*/ 2446 h 10000"/>
                <a:gd name="connsiteX46" fmla="*/ 8972 w 10000"/>
                <a:gd name="connsiteY46" fmla="*/ 2427 h 10000"/>
                <a:gd name="connsiteX47" fmla="*/ 9140 w 10000"/>
                <a:gd name="connsiteY47" fmla="*/ 2028 h 10000"/>
                <a:gd name="connsiteX48" fmla="*/ 8705 w 10000"/>
                <a:gd name="connsiteY48" fmla="*/ 1651 h 10000"/>
                <a:gd name="connsiteX49" fmla="*/ 8543 w 10000"/>
                <a:gd name="connsiteY49" fmla="*/ 1835 h 10000"/>
                <a:gd name="connsiteX50" fmla="*/ 8525 w 10000"/>
                <a:gd name="connsiteY50" fmla="*/ 1865 h 10000"/>
                <a:gd name="connsiteX51" fmla="*/ 8525 w 10000"/>
                <a:gd name="connsiteY51" fmla="*/ 1835 h 10000"/>
                <a:gd name="connsiteX52" fmla="*/ 8129 w 10000"/>
                <a:gd name="connsiteY52" fmla="*/ 1560 h 10000"/>
                <a:gd name="connsiteX53" fmla="*/ 8094 w 10000"/>
                <a:gd name="connsiteY53" fmla="*/ 1529 h 10000"/>
                <a:gd name="connsiteX54" fmla="*/ 8094 w 10000"/>
                <a:gd name="connsiteY54" fmla="*/ 1498 h 10000"/>
                <a:gd name="connsiteX55" fmla="*/ 8094 w 10000"/>
                <a:gd name="connsiteY55" fmla="*/ 765 h 10000"/>
                <a:gd name="connsiteX56" fmla="*/ 8094 w 10000"/>
                <a:gd name="connsiteY56" fmla="*/ 734 h 10000"/>
                <a:gd name="connsiteX57" fmla="*/ 8187 w 10000"/>
                <a:gd name="connsiteY57" fmla="*/ 857 h 10000"/>
                <a:gd name="connsiteX58" fmla="*/ 8237 w 10000"/>
                <a:gd name="connsiteY58" fmla="*/ 520 h 10000"/>
                <a:gd name="connsiteX59" fmla="*/ 8237 w 10000"/>
                <a:gd name="connsiteY59" fmla="*/ 428 h 10000"/>
                <a:gd name="connsiteX60" fmla="*/ 7842 w 10000"/>
                <a:gd name="connsiteY60" fmla="*/ 0 h 10000"/>
                <a:gd name="connsiteX61" fmla="*/ 7572 w 10000"/>
                <a:gd name="connsiteY61" fmla="*/ 275 h 10000"/>
                <a:gd name="connsiteX62" fmla="*/ 7554 w 10000"/>
                <a:gd name="connsiteY62" fmla="*/ 275 h 10000"/>
                <a:gd name="connsiteX63" fmla="*/ 7554 w 10000"/>
                <a:gd name="connsiteY63" fmla="*/ 275 h 10000"/>
                <a:gd name="connsiteX64" fmla="*/ 7176 w 10000"/>
                <a:gd name="connsiteY64" fmla="*/ 306 h 10000"/>
                <a:gd name="connsiteX65" fmla="*/ 7158 w 10000"/>
                <a:gd name="connsiteY65" fmla="*/ 306 h 10000"/>
                <a:gd name="connsiteX66" fmla="*/ 7158 w 10000"/>
                <a:gd name="connsiteY66" fmla="*/ 306 h 10000"/>
                <a:gd name="connsiteX67" fmla="*/ 7032 w 10000"/>
                <a:gd name="connsiteY67" fmla="*/ 153 h 10000"/>
                <a:gd name="connsiteX68" fmla="*/ 6799 w 10000"/>
                <a:gd name="connsiteY68" fmla="*/ 642 h 10000"/>
                <a:gd name="connsiteX69" fmla="*/ 6745 w 10000"/>
                <a:gd name="connsiteY69" fmla="*/ 979 h 10000"/>
                <a:gd name="connsiteX70" fmla="*/ 6745 w 10000"/>
                <a:gd name="connsiteY70" fmla="*/ 979 h 10000"/>
                <a:gd name="connsiteX71" fmla="*/ 6745 w 10000"/>
                <a:gd name="connsiteY71" fmla="*/ 1009 h 10000"/>
                <a:gd name="connsiteX72" fmla="*/ 6277 w 10000"/>
                <a:gd name="connsiteY72" fmla="*/ 1682 h 10000"/>
                <a:gd name="connsiteX73" fmla="*/ 6259 w 10000"/>
                <a:gd name="connsiteY73" fmla="*/ 1713 h 10000"/>
                <a:gd name="connsiteX74" fmla="*/ 6223 w 10000"/>
                <a:gd name="connsiteY74" fmla="*/ 1682 h 10000"/>
                <a:gd name="connsiteX75" fmla="*/ 5935 w 10000"/>
                <a:gd name="connsiteY75" fmla="*/ 1284 h 10000"/>
                <a:gd name="connsiteX76" fmla="*/ 5935 w 10000"/>
                <a:gd name="connsiteY76" fmla="*/ 1284 h 10000"/>
                <a:gd name="connsiteX77" fmla="*/ 5935 w 10000"/>
                <a:gd name="connsiteY77" fmla="*/ 1284 h 10000"/>
                <a:gd name="connsiteX78" fmla="*/ 5522 w 10000"/>
                <a:gd name="connsiteY78" fmla="*/ 459 h 10000"/>
                <a:gd name="connsiteX79" fmla="*/ 5018 w 10000"/>
                <a:gd name="connsiteY79" fmla="*/ 398 h 10000"/>
                <a:gd name="connsiteX80" fmla="*/ 4604 w 10000"/>
                <a:gd name="connsiteY80" fmla="*/ 1009 h 10000"/>
                <a:gd name="connsiteX81" fmla="*/ 4604 w 10000"/>
                <a:gd name="connsiteY81" fmla="*/ 1009 h 10000"/>
                <a:gd name="connsiteX82" fmla="*/ 4586 w 10000"/>
                <a:gd name="connsiteY82" fmla="*/ 1009 h 10000"/>
                <a:gd name="connsiteX83" fmla="*/ 3867 w 10000"/>
                <a:gd name="connsiteY83" fmla="*/ 948 h 10000"/>
                <a:gd name="connsiteX84" fmla="*/ 3219 w 10000"/>
                <a:gd name="connsiteY84" fmla="*/ 1621 h 10000"/>
                <a:gd name="connsiteX85" fmla="*/ 3219 w 10000"/>
                <a:gd name="connsiteY85" fmla="*/ 1651 h 10000"/>
                <a:gd name="connsiteX86" fmla="*/ 3201 w 10000"/>
                <a:gd name="connsiteY86" fmla="*/ 1621 h 10000"/>
                <a:gd name="connsiteX87" fmla="*/ 2932 w 10000"/>
                <a:gd name="connsiteY87" fmla="*/ 1498 h 10000"/>
                <a:gd name="connsiteX88" fmla="*/ 2716 w 10000"/>
                <a:gd name="connsiteY88" fmla="*/ 1713 h 10000"/>
                <a:gd name="connsiteX89" fmla="*/ 2698 w 10000"/>
                <a:gd name="connsiteY89" fmla="*/ 1743 h 10000"/>
                <a:gd name="connsiteX90" fmla="*/ 2680 w 10000"/>
                <a:gd name="connsiteY90" fmla="*/ 1713 h 10000"/>
                <a:gd name="connsiteX91" fmla="*/ 1709 w 10000"/>
                <a:gd name="connsiteY91" fmla="*/ 673 h 10000"/>
                <a:gd name="connsiteX92" fmla="*/ 144 w 10000"/>
                <a:gd name="connsiteY92" fmla="*/ 581 h 10000"/>
                <a:gd name="connsiteX93" fmla="*/ 144 w 10000"/>
                <a:gd name="connsiteY93" fmla="*/ 612 h 10000"/>
                <a:gd name="connsiteX94" fmla="*/ 0 w 10000"/>
                <a:gd name="connsiteY94" fmla="*/ 795 h 10000"/>
                <a:gd name="connsiteX95" fmla="*/ 0 w 10000"/>
                <a:gd name="connsiteY95" fmla="*/ 1040 h 10000"/>
                <a:gd name="connsiteX96" fmla="*/ 0 w 10000"/>
                <a:gd name="connsiteY96" fmla="*/ 1529 h 10000"/>
                <a:gd name="connsiteX97" fmla="*/ 216 w 10000"/>
                <a:gd name="connsiteY97" fmla="*/ 1774 h 10000"/>
                <a:gd name="connsiteX98" fmla="*/ 288 w 10000"/>
                <a:gd name="connsiteY98" fmla="*/ 1590 h 10000"/>
                <a:gd name="connsiteX99" fmla="*/ 396 w 10000"/>
                <a:gd name="connsiteY99" fmla="*/ 1346 h 10000"/>
                <a:gd name="connsiteX100" fmla="*/ 629 w 10000"/>
                <a:gd name="connsiteY100" fmla="*/ 1804 h 10000"/>
                <a:gd name="connsiteX101" fmla="*/ 917 w 10000"/>
                <a:gd name="connsiteY101" fmla="*/ 1804 h 10000"/>
                <a:gd name="connsiteX102" fmla="*/ 1061 w 10000"/>
                <a:gd name="connsiteY102" fmla="*/ 1988 h 10000"/>
                <a:gd name="connsiteX103" fmla="*/ 1223 w 10000"/>
                <a:gd name="connsiteY103" fmla="*/ 2294 h 10000"/>
                <a:gd name="connsiteX104" fmla="*/ 1223 w 10000"/>
                <a:gd name="connsiteY104" fmla="*/ 2844 h 10000"/>
                <a:gd name="connsiteX105" fmla="*/ 1403 w 10000"/>
                <a:gd name="connsiteY105" fmla="*/ 3150 h 10000"/>
                <a:gd name="connsiteX106" fmla="*/ 1493 w 10000"/>
                <a:gd name="connsiteY106" fmla="*/ 4159 h 10000"/>
                <a:gd name="connsiteX107" fmla="*/ 1565 w 10000"/>
                <a:gd name="connsiteY107" fmla="*/ 4618 h 10000"/>
                <a:gd name="connsiteX108" fmla="*/ 1655 w 10000"/>
                <a:gd name="connsiteY108" fmla="*/ 4924 h 10000"/>
                <a:gd name="connsiteX109" fmla="*/ 1745 w 10000"/>
                <a:gd name="connsiteY109" fmla="*/ 5199 h 10000"/>
                <a:gd name="connsiteX110" fmla="*/ 1583 w 10000"/>
                <a:gd name="connsiteY110" fmla="*/ 5352 h 10000"/>
                <a:gd name="connsiteX111" fmla="*/ 1439 w 10000"/>
                <a:gd name="connsiteY111" fmla="*/ 5321 h 10000"/>
                <a:gd name="connsiteX112" fmla="*/ 1259 w 10000"/>
                <a:gd name="connsiteY112" fmla="*/ 4985 h 10000"/>
                <a:gd name="connsiteX113" fmla="*/ 1079 w 10000"/>
                <a:gd name="connsiteY113" fmla="*/ 4954 h 10000"/>
                <a:gd name="connsiteX114" fmla="*/ 989 w 10000"/>
                <a:gd name="connsiteY114" fmla="*/ 5199 h 10000"/>
                <a:gd name="connsiteX115" fmla="*/ 1079 w 10000"/>
                <a:gd name="connsiteY115" fmla="*/ 5474 h 10000"/>
                <a:gd name="connsiteX116" fmla="*/ 1565 w 10000"/>
                <a:gd name="connsiteY116" fmla="*/ 6177 h 10000"/>
                <a:gd name="connsiteX117" fmla="*/ 1691 w 10000"/>
                <a:gd name="connsiteY117" fmla="*/ 6391 h 10000"/>
                <a:gd name="connsiteX118" fmla="*/ 1835 w 10000"/>
                <a:gd name="connsiteY118" fmla="*/ 6055 h 10000"/>
                <a:gd name="connsiteX119" fmla="*/ 2104 w 10000"/>
                <a:gd name="connsiteY119" fmla="*/ 6024 h 10000"/>
                <a:gd name="connsiteX120" fmla="*/ 2536 w 10000"/>
                <a:gd name="connsiteY120" fmla="*/ 6116 h 10000"/>
                <a:gd name="connsiteX121" fmla="*/ 2680 w 10000"/>
                <a:gd name="connsiteY121" fmla="*/ 5933 h 10000"/>
                <a:gd name="connsiteX122" fmla="*/ 3435 w 10000"/>
                <a:gd name="connsiteY122" fmla="*/ 5474 h 10000"/>
                <a:gd name="connsiteX123" fmla="*/ 3633 w 10000"/>
                <a:gd name="connsiteY123" fmla="*/ 5352 h 10000"/>
                <a:gd name="connsiteX124" fmla="*/ 3831 w 10000"/>
                <a:gd name="connsiteY124" fmla="*/ 5229 h 10000"/>
                <a:gd name="connsiteX125" fmla="*/ 4245 w 10000"/>
                <a:gd name="connsiteY125" fmla="*/ 5076 h 10000"/>
                <a:gd name="connsiteX126" fmla="*/ 4388 w 10000"/>
                <a:gd name="connsiteY126" fmla="*/ 5168 h 10000"/>
                <a:gd name="connsiteX127" fmla="*/ 4532 w 10000"/>
                <a:gd name="connsiteY127" fmla="*/ 5229 h 10000"/>
                <a:gd name="connsiteX128" fmla="*/ 4748 w 10000"/>
                <a:gd name="connsiteY128" fmla="*/ 5566 h 10000"/>
                <a:gd name="connsiteX129" fmla="*/ 4928 w 10000"/>
                <a:gd name="connsiteY129" fmla="*/ 5872 h 10000"/>
                <a:gd name="connsiteX130" fmla="*/ 5234 w 10000"/>
                <a:gd name="connsiteY130" fmla="*/ 6177 h 10000"/>
                <a:gd name="connsiteX131" fmla="*/ 5342 w 10000"/>
                <a:gd name="connsiteY131" fmla="*/ 6330 h 10000"/>
                <a:gd name="connsiteX132" fmla="*/ 5432 w 10000"/>
                <a:gd name="connsiteY132" fmla="*/ 6208 h 10000"/>
                <a:gd name="connsiteX133" fmla="*/ 5594 w 10000"/>
                <a:gd name="connsiteY133" fmla="*/ 6024 h 10000"/>
                <a:gd name="connsiteX134" fmla="*/ 5737 w 10000"/>
                <a:gd name="connsiteY134" fmla="*/ 5872 h 10000"/>
                <a:gd name="connsiteX135" fmla="*/ 5899 w 10000"/>
                <a:gd name="connsiteY135" fmla="*/ 5994 h 10000"/>
                <a:gd name="connsiteX136" fmla="*/ 6097 w 10000"/>
                <a:gd name="connsiteY136" fmla="*/ 6147 h 10000"/>
                <a:gd name="connsiteX137" fmla="*/ 6349 w 10000"/>
                <a:gd name="connsiteY137" fmla="*/ 6453 h 10000"/>
                <a:gd name="connsiteX138" fmla="*/ 6313 w 10000"/>
                <a:gd name="connsiteY138" fmla="*/ 7278 h 10000"/>
                <a:gd name="connsiteX139" fmla="*/ 6403 w 10000"/>
                <a:gd name="connsiteY139" fmla="*/ 7339 h 10000"/>
                <a:gd name="connsiteX140" fmla="*/ 6421 w 10000"/>
                <a:gd name="connsiteY140" fmla="*/ 8379 h 10000"/>
                <a:gd name="connsiteX141" fmla="*/ 6367 w 10000"/>
                <a:gd name="connsiteY141" fmla="*/ 8502 h 10000"/>
                <a:gd name="connsiteX142" fmla="*/ 6295 w 10000"/>
                <a:gd name="connsiteY142" fmla="*/ 8869 h 10000"/>
                <a:gd name="connsiteX143" fmla="*/ 6835 w 10000"/>
                <a:gd name="connsiteY143" fmla="*/ 8807 h 10000"/>
                <a:gd name="connsiteX144" fmla="*/ 7032 w 10000"/>
                <a:gd name="connsiteY144" fmla="*/ 8563 h 10000"/>
                <a:gd name="connsiteX0" fmla="*/ 7032 w 10000"/>
                <a:gd name="connsiteY0" fmla="*/ 8563 h 10000"/>
                <a:gd name="connsiteX1" fmla="*/ 7050 w 10000"/>
                <a:gd name="connsiteY1" fmla="*/ 8563 h 10000"/>
                <a:gd name="connsiteX2" fmla="*/ 7068 w 10000"/>
                <a:gd name="connsiteY2" fmla="*/ 8563 h 10000"/>
                <a:gd name="connsiteX3" fmla="*/ 7266 w 10000"/>
                <a:gd name="connsiteY3" fmla="*/ 8746 h 10000"/>
                <a:gd name="connsiteX4" fmla="*/ 7554 w 10000"/>
                <a:gd name="connsiteY4" fmla="*/ 8746 h 10000"/>
                <a:gd name="connsiteX5" fmla="*/ 7590 w 10000"/>
                <a:gd name="connsiteY5" fmla="*/ 8593 h 10000"/>
                <a:gd name="connsiteX6" fmla="*/ 7608 w 10000"/>
                <a:gd name="connsiteY6" fmla="*/ 8532 h 10000"/>
                <a:gd name="connsiteX7" fmla="*/ 7626 w 10000"/>
                <a:gd name="connsiteY7" fmla="*/ 8532 h 10000"/>
                <a:gd name="connsiteX8" fmla="*/ 8058 w 10000"/>
                <a:gd name="connsiteY8" fmla="*/ 8471 h 10000"/>
                <a:gd name="connsiteX9" fmla="*/ 8076 w 10000"/>
                <a:gd name="connsiteY9" fmla="*/ 8471 h 10000"/>
                <a:gd name="connsiteX10" fmla="*/ 8094 w 10000"/>
                <a:gd name="connsiteY10" fmla="*/ 8502 h 10000"/>
                <a:gd name="connsiteX11" fmla="*/ 8219 w 10000"/>
                <a:gd name="connsiteY11" fmla="*/ 8746 h 10000"/>
                <a:gd name="connsiteX12" fmla="*/ 8327 w 10000"/>
                <a:gd name="connsiteY12" fmla="*/ 8930 h 10000"/>
                <a:gd name="connsiteX13" fmla="*/ 8417 w 10000"/>
                <a:gd name="connsiteY13" fmla="*/ 8991 h 10000"/>
                <a:gd name="connsiteX14" fmla="*/ 8579 w 10000"/>
                <a:gd name="connsiteY14" fmla="*/ 8716 h 10000"/>
                <a:gd name="connsiteX15" fmla="*/ 8669 w 10000"/>
                <a:gd name="connsiteY15" fmla="*/ 8440 h 10000"/>
                <a:gd name="connsiteX16" fmla="*/ 8687 w 10000"/>
                <a:gd name="connsiteY16" fmla="*/ 8379 h 10000"/>
                <a:gd name="connsiteX17" fmla="*/ 8723 w 10000"/>
                <a:gd name="connsiteY17" fmla="*/ 8410 h 10000"/>
                <a:gd name="connsiteX18" fmla="*/ 8849 w 10000"/>
                <a:gd name="connsiteY18" fmla="*/ 8593 h 10000"/>
                <a:gd name="connsiteX19" fmla="*/ 9029 w 10000"/>
                <a:gd name="connsiteY19" fmla="*/ 8899 h 10000"/>
                <a:gd name="connsiteX20" fmla="*/ 9406 w 10000"/>
                <a:gd name="connsiteY20" fmla="*/ 9450 h 10000"/>
                <a:gd name="connsiteX21" fmla="*/ 9622 w 10000"/>
                <a:gd name="connsiteY21" fmla="*/ 9694 h 10000"/>
                <a:gd name="connsiteX22" fmla="*/ 9892 w 10000"/>
                <a:gd name="connsiteY22" fmla="*/ 10000 h 10000"/>
                <a:gd name="connsiteX23" fmla="*/ 10000 w 10000"/>
                <a:gd name="connsiteY23" fmla="*/ 9939 h 10000"/>
                <a:gd name="connsiteX24" fmla="*/ 9892 w 10000"/>
                <a:gd name="connsiteY24" fmla="*/ 8532 h 10000"/>
                <a:gd name="connsiteX25" fmla="*/ 9622 w 10000"/>
                <a:gd name="connsiteY25" fmla="*/ 8318 h 10000"/>
                <a:gd name="connsiteX26" fmla="*/ 9137 w 10000"/>
                <a:gd name="connsiteY26" fmla="*/ 7951 h 10000"/>
                <a:gd name="connsiteX27" fmla="*/ 9137 w 10000"/>
                <a:gd name="connsiteY27" fmla="*/ 7920 h 10000"/>
                <a:gd name="connsiteX28" fmla="*/ 9119 w 10000"/>
                <a:gd name="connsiteY28" fmla="*/ 7920 h 10000"/>
                <a:gd name="connsiteX29" fmla="*/ 8813 w 10000"/>
                <a:gd name="connsiteY29" fmla="*/ 7401 h 10000"/>
                <a:gd name="connsiteX30" fmla="*/ 8795 w 10000"/>
                <a:gd name="connsiteY30" fmla="*/ 7370 h 10000"/>
                <a:gd name="connsiteX31" fmla="*/ 8795 w 10000"/>
                <a:gd name="connsiteY31" fmla="*/ 7370 h 10000"/>
                <a:gd name="connsiteX32" fmla="*/ 8795 w 10000"/>
                <a:gd name="connsiteY32" fmla="*/ 6606 h 10000"/>
                <a:gd name="connsiteX33" fmla="*/ 8651 w 10000"/>
                <a:gd name="connsiteY33" fmla="*/ 6208 h 10000"/>
                <a:gd name="connsiteX34" fmla="*/ 8633 w 10000"/>
                <a:gd name="connsiteY34" fmla="*/ 6177 h 10000"/>
                <a:gd name="connsiteX35" fmla="*/ 8651 w 10000"/>
                <a:gd name="connsiteY35" fmla="*/ 6147 h 10000"/>
                <a:gd name="connsiteX36" fmla="*/ 8765 w 10000"/>
                <a:gd name="connsiteY36" fmla="*/ 5832 h 10000"/>
                <a:gd name="connsiteX37" fmla="*/ 8904 w 10000"/>
                <a:gd name="connsiteY37" fmla="*/ 5188 h 10000"/>
                <a:gd name="connsiteX38" fmla="*/ 9100 w 10000"/>
                <a:gd name="connsiteY38" fmla="*/ 4709 h 10000"/>
                <a:gd name="connsiteX39" fmla="*/ 9065 w 10000"/>
                <a:gd name="connsiteY39" fmla="*/ 4343 h 10000"/>
                <a:gd name="connsiteX40" fmla="*/ 8921 w 10000"/>
                <a:gd name="connsiteY40" fmla="*/ 3945 h 10000"/>
                <a:gd name="connsiteX41" fmla="*/ 8921 w 10000"/>
                <a:gd name="connsiteY41" fmla="*/ 3945 h 10000"/>
                <a:gd name="connsiteX42" fmla="*/ 8921 w 10000"/>
                <a:gd name="connsiteY42" fmla="*/ 3914 h 10000"/>
                <a:gd name="connsiteX43" fmla="*/ 8903 w 10000"/>
                <a:gd name="connsiteY43" fmla="*/ 2446 h 10000"/>
                <a:gd name="connsiteX44" fmla="*/ 8903 w 10000"/>
                <a:gd name="connsiteY44" fmla="*/ 2446 h 10000"/>
                <a:gd name="connsiteX45" fmla="*/ 8972 w 10000"/>
                <a:gd name="connsiteY45" fmla="*/ 2427 h 10000"/>
                <a:gd name="connsiteX46" fmla="*/ 9140 w 10000"/>
                <a:gd name="connsiteY46" fmla="*/ 2028 h 10000"/>
                <a:gd name="connsiteX47" fmla="*/ 8705 w 10000"/>
                <a:gd name="connsiteY47" fmla="*/ 1651 h 10000"/>
                <a:gd name="connsiteX48" fmla="*/ 8543 w 10000"/>
                <a:gd name="connsiteY48" fmla="*/ 1835 h 10000"/>
                <a:gd name="connsiteX49" fmla="*/ 8525 w 10000"/>
                <a:gd name="connsiteY49" fmla="*/ 1865 h 10000"/>
                <a:gd name="connsiteX50" fmla="*/ 8525 w 10000"/>
                <a:gd name="connsiteY50" fmla="*/ 1835 h 10000"/>
                <a:gd name="connsiteX51" fmla="*/ 8129 w 10000"/>
                <a:gd name="connsiteY51" fmla="*/ 1560 h 10000"/>
                <a:gd name="connsiteX52" fmla="*/ 8094 w 10000"/>
                <a:gd name="connsiteY52" fmla="*/ 1529 h 10000"/>
                <a:gd name="connsiteX53" fmla="*/ 8094 w 10000"/>
                <a:gd name="connsiteY53" fmla="*/ 1498 h 10000"/>
                <a:gd name="connsiteX54" fmla="*/ 8094 w 10000"/>
                <a:gd name="connsiteY54" fmla="*/ 765 h 10000"/>
                <a:gd name="connsiteX55" fmla="*/ 8094 w 10000"/>
                <a:gd name="connsiteY55" fmla="*/ 734 h 10000"/>
                <a:gd name="connsiteX56" fmla="*/ 8187 w 10000"/>
                <a:gd name="connsiteY56" fmla="*/ 857 h 10000"/>
                <a:gd name="connsiteX57" fmla="*/ 8237 w 10000"/>
                <a:gd name="connsiteY57" fmla="*/ 520 h 10000"/>
                <a:gd name="connsiteX58" fmla="*/ 8237 w 10000"/>
                <a:gd name="connsiteY58" fmla="*/ 428 h 10000"/>
                <a:gd name="connsiteX59" fmla="*/ 7842 w 10000"/>
                <a:gd name="connsiteY59" fmla="*/ 0 h 10000"/>
                <a:gd name="connsiteX60" fmla="*/ 7572 w 10000"/>
                <a:gd name="connsiteY60" fmla="*/ 275 h 10000"/>
                <a:gd name="connsiteX61" fmla="*/ 7554 w 10000"/>
                <a:gd name="connsiteY61" fmla="*/ 275 h 10000"/>
                <a:gd name="connsiteX62" fmla="*/ 7554 w 10000"/>
                <a:gd name="connsiteY62" fmla="*/ 275 h 10000"/>
                <a:gd name="connsiteX63" fmla="*/ 7176 w 10000"/>
                <a:gd name="connsiteY63" fmla="*/ 306 h 10000"/>
                <a:gd name="connsiteX64" fmla="*/ 7158 w 10000"/>
                <a:gd name="connsiteY64" fmla="*/ 306 h 10000"/>
                <a:gd name="connsiteX65" fmla="*/ 7158 w 10000"/>
                <a:gd name="connsiteY65" fmla="*/ 306 h 10000"/>
                <a:gd name="connsiteX66" fmla="*/ 7032 w 10000"/>
                <a:gd name="connsiteY66" fmla="*/ 153 h 10000"/>
                <a:gd name="connsiteX67" fmla="*/ 6799 w 10000"/>
                <a:gd name="connsiteY67" fmla="*/ 642 h 10000"/>
                <a:gd name="connsiteX68" fmla="*/ 6745 w 10000"/>
                <a:gd name="connsiteY68" fmla="*/ 979 h 10000"/>
                <a:gd name="connsiteX69" fmla="*/ 6745 w 10000"/>
                <a:gd name="connsiteY69" fmla="*/ 979 h 10000"/>
                <a:gd name="connsiteX70" fmla="*/ 6745 w 10000"/>
                <a:gd name="connsiteY70" fmla="*/ 1009 h 10000"/>
                <a:gd name="connsiteX71" fmla="*/ 6277 w 10000"/>
                <a:gd name="connsiteY71" fmla="*/ 1682 h 10000"/>
                <a:gd name="connsiteX72" fmla="*/ 6259 w 10000"/>
                <a:gd name="connsiteY72" fmla="*/ 1713 h 10000"/>
                <a:gd name="connsiteX73" fmla="*/ 6223 w 10000"/>
                <a:gd name="connsiteY73" fmla="*/ 1682 h 10000"/>
                <a:gd name="connsiteX74" fmla="*/ 5935 w 10000"/>
                <a:gd name="connsiteY74" fmla="*/ 1284 h 10000"/>
                <a:gd name="connsiteX75" fmla="*/ 5935 w 10000"/>
                <a:gd name="connsiteY75" fmla="*/ 1284 h 10000"/>
                <a:gd name="connsiteX76" fmla="*/ 5935 w 10000"/>
                <a:gd name="connsiteY76" fmla="*/ 1284 h 10000"/>
                <a:gd name="connsiteX77" fmla="*/ 5522 w 10000"/>
                <a:gd name="connsiteY77" fmla="*/ 459 h 10000"/>
                <a:gd name="connsiteX78" fmla="*/ 5018 w 10000"/>
                <a:gd name="connsiteY78" fmla="*/ 398 h 10000"/>
                <a:gd name="connsiteX79" fmla="*/ 4604 w 10000"/>
                <a:gd name="connsiteY79" fmla="*/ 1009 h 10000"/>
                <a:gd name="connsiteX80" fmla="*/ 4604 w 10000"/>
                <a:gd name="connsiteY80" fmla="*/ 1009 h 10000"/>
                <a:gd name="connsiteX81" fmla="*/ 4586 w 10000"/>
                <a:gd name="connsiteY81" fmla="*/ 1009 h 10000"/>
                <a:gd name="connsiteX82" fmla="*/ 3867 w 10000"/>
                <a:gd name="connsiteY82" fmla="*/ 948 h 10000"/>
                <a:gd name="connsiteX83" fmla="*/ 3219 w 10000"/>
                <a:gd name="connsiteY83" fmla="*/ 1621 h 10000"/>
                <a:gd name="connsiteX84" fmla="*/ 3219 w 10000"/>
                <a:gd name="connsiteY84" fmla="*/ 1651 h 10000"/>
                <a:gd name="connsiteX85" fmla="*/ 3201 w 10000"/>
                <a:gd name="connsiteY85" fmla="*/ 1621 h 10000"/>
                <a:gd name="connsiteX86" fmla="*/ 2932 w 10000"/>
                <a:gd name="connsiteY86" fmla="*/ 1498 h 10000"/>
                <a:gd name="connsiteX87" fmla="*/ 2716 w 10000"/>
                <a:gd name="connsiteY87" fmla="*/ 1713 h 10000"/>
                <a:gd name="connsiteX88" fmla="*/ 2698 w 10000"/>
                <a:gd name="connsiteY88" fmla="*/ 1743 h 10000"/>
                <a:gd name="connsiteX89" fmla="*/ 2680 w 10000"/>
                <a:gd name="connsiteY89" fmla="*/ 1713 h 10000"/>
                <a:gd name="connsiteX90" fmla="*/ 1709 w 10000"/>
                <a:gd name="connsiteY90" fmla="*/ 673 h 10000"/>
                <a:gd name="connsiteX91" fmla="*/ 144 w 10000"/>
                <a:gd name="connsiteY91" fmla="*/ 581 h 10000"/>
                <a:gd name="connsiteX92" fmla="*/ 144 w 10000"/>
                <a:gd name="connsiteY92" fmla="*/ 612 h 10000"/>
                <a:gd name="connsiteX93" fmla="*/ 0 w 10000"/>
                <a:gd name="connsiteY93" fmla="*/ 795 h 10000"/>
                <a:gd name="connsiteX94" fmla="*/ 0 w 10000"/>
                <a:gd name="connsiteY94" fmla="*/ 1040 h 10000"/>
                <a:gd name="connsiteX95" fmla="*/ 0 w 10000"/>
                <a:gd name="connsiteY95" fmla="*/ 1529 h 10000"/>
                <a:gd name="connsiteX96" fmla="*/ 216 w 10000"/>
                <a:gd name="connsiteY96" fmla="*/ 1774 h 10000"/>
                <a:gd name="connsiteX97" fmla="*/ 288 w 10000"/>
                <a:gd name="connsiteY97" fmla="*/ 1590 h 10000"/>
                <a:gd name="connsiteX98" fmla="*/ 396 w 10000"/>
                <a:gd name="connsiteY98" fmla="*/ 1346 h 10000"/>
                <a:gd name="connsiteX99" fmla="*/ 629 w 10000"/>
                <a:gd name="connsiteY99" fmla="*/ 1804 h 10000"/>
                <a:gd name="connsiteX100" fmla="*/ 917 w 10000"/>
                <a:gd name="connsiteY100" fmla="*/ 1804 h 10000"/>
                <a:gd name="connsiteX101" fmla="*/ 1061 w 10000"/>
                <a:gd name="connsiteY101" fmla="*/ 1988 h 10000"/>
                <a:gd name="connsiteX102" fmla="*/ 1223 w 10000"/>
                <a:gd name="connsiteY102" fmla="*/ 2294 h 10000"/>
                <a:gd name="connsiteX103" fmla="*/ 1223 w 10000"/>
                <a:gd name="connsiteY103" fmla="*/ 2844 h 10000"/>
                <a:gd name="connsiteX104" fmla="*/ 1403 w 10000"/>
                <a:gd name="connsiteY104" fmla="*/ 3150 h 10000"/>
                <a:gd name="connsiteX105" fmla="*/ 1493 w 10000"/>
                <a:gd name="connsiteY105" fmla="*/ 4159 h 10000"/>
                <a:gd name="connsiteX106" fmla="*/ 1565 w 10000"/>
                <a:gd name="connsiteY106" fmla="*/ 4618 h 10000"/>
                <a:gd name="connsiteX107" fmla="*/ 1655 w 10000"/>
                <a:gd name="connsiteY107" fmla="*/ 4924 h 10000"/>
                <a:gd name="connsiteX108" fmla="*/ 1745 w 10000"/>
                <a:gd name="connsiteY108" fmla="*/ 5199 h 10000"/>
                <a:gd name="connsiteX109" fmla="*/ 1583 w 10000"/>
                <a:gd name="connsiteY109" fmla="*/ 5352 h 10000"/>
                <a:gd name="connsiteX110" fmla="*/ 1439 w 10000"/>
                <a:gd name="connsiteY110" fmla="*/ 5321 h 10000"/>
                <a:gd name="connsiteX111" fmla="*/ 1259 w 10000"/>
                <a:gd name="connsiteY111" fmla="*/ 4985 h 10000"/>
                <a:gd name="connsiteX112" fmla="*/ 1079 w 10000"/>
                <a:gd name="connsiteY112" fmla="*/ 4954 h 10000"/>
                <a:gd name="connsiteX113" fmla="*/ 989 w 10000"/>
                <a:gd name="connsiteY113" fmla="*/ 5199 h 10000"/>
                <a:gd name="connsiteX114" fmla="*/ 1079 w 10000"/>
                <a:gd name="connsiteY114" fmla="*/ 5474 h 10000"/>
                <a:gd name="connsiteX115" fmla="*/ 1565 w 10000"/>
                <a:gd name="connsiteY115" fmla="*/ 6177 h 10000"/>
                <a:gd name="connsiteX116" fmla="*/ 1691 w 10000"/>
                <a:gd name="connsiteY116" fmla="*/ 6391 h 10000"/>
                <a:gd name="connsiteX117" fmla="*/ 1835 w 10000"/>
                <a:gd name="connsiteY117" fmla="*/ 6055 h 10000"/>
                <a:gd name="connsiteX118" fmla="*/ 2104 w 10000"/>
                <a:gd name="connsiteY118" fmla="*/ 6024 h 10000"/>
                <a:gd name="connsiteX119" fmla="*/ 2536 w 10000"/>
                <a:gd name="connsiteY119" fmla="*/ 6116 h 10000"/>
                <a:gd name="connsiteX120" fmla="*/ 2680 w 10000"/>
                <a:gd name="connsiteY120" fmla="*/ 5933 h 10000"/>
                <a:gd name="connsiteX121" fmla="*/ 3435 w 10000"/>
                <a:gd name="connsiteY121" fmla="*/ 5474 h 10000"/>
                <a:gd name="connsiteX122" fmla="*/ 3633 w 10000"/>
                <a:gd name="connsiteY122" fmla="*/ 5352 h 10000"/>
                <a:gd name="connsiteX123" fmla="*/ 3831 w 10000"/>
                <a:gd name="connsiteY123" fmla="*/ 5229 h 10000"/>
                <a:gd name="connsiteX124" fmla="*/ 4245 w 10000"/>
                <a:gd name="connsiteY124" fmla="*/ 5076 h 10000"/>
                <a:gd name="connsiteX125" fmla="*/ 4388 w 10000"/>
                <a:gd name="connsiteY125" fmla="*/ 5168 h 10000"/>
                <a:gd name="connsiteX126" fmla="*/ 4532 w 10000"/>
                <a:gd name="connsiteY126" fmla="*/ 5229 h 10000"/>
                <a:gd name="connsiteX127" fmla="*/ 4748 w 10000"/>
                <a:gd name="connsiteY127" fmla="*/ 5566 h 10000"/>
                <a:gd name="connsiteX128" fmla="*/ 4928 w 10000"/>
                <a:gd name="connsiteY128" fmla="*/ 5872 h 10000"/>
                <a:gd name="connsiteX129" fmla="*/ 5234 w 10000"/>
                <a:gd name="connsiteY129" fmla="*/ 6177 h 10000"/>
                <a:gd name="connsiteX130" fmla="*/ 5342 w 10000"/>
                <a:gd name="connsiteY130" fmla="*/ 6330 h 10000"/>
                <a:gd name="connsiteX131" fmla="*/ 5432 w 10000"/>
                <a:gd name="connsiteY131" fmla="*/ 6208 h 10000"/>
                <a:gd name="connsiteX132" fmla="*/ 5594 w 10000"/>
                <a:gd name="connsiteY132" fmla="*/ 6024 h 10000"/>
                <a:gd name="connsiteX133" fmla="*/ 5737 w 10000"/>
                <a:gd name="connsiteY133" fmla="*/ 5872 h 10000"/>
                <a:gd name="connsiteX134" fmla="*/ 5899 w 10000"/>
                <a:gd name="connsiteY134" fmla="*/ 5994 h 10000"/>
                <a:gd name="connsiteX135" fmla="*/ 6097 w 10000"/>
                <a:gd name="connsiteY135" fmla="*/ 6147 h 10000"/>
                <a:gd name="connsiteX136" fmla="*/ 6349 w 10000"/>
                <a:gd name="connsiteY136" fmla="*/ 6453 h 10000"/>
                <a:gd name="connsiteX137" fmla="*/ 6313 w 10000"/>
                <a:gd name="connsiteY137" fmla="*/ 7278 h 10000"/>
                <a:gd name="connsiteX138" fmla="*/ 6403 w 10000"/>
                <a:gd name="connsiteY138" fmla="*/ 7339 h 10000"/>
                <a:gd name="connsiteX139" fmla="*/ 6421 w 10000"/>
                <a:gd name="connsiteY139" fmla="*/ 8379 h 10000"/>
                <a:gd name="connsiteX140" fmla="*/ 6367 w 10000"/>
                <a:gd name="connsiteY140" fmla="*/ 8502 h 10000"/>
                <a:gd name="connsiteX141" fmla="*/ 6295 w 10000"/>
                <a:gd name="connsiteY141" fmla="*/ 8869 h 10000"/>
                <a:gd name="connsiteX142" fmla="*/ 6835 w 10000"/>
                <a:gd name="connsiteY142" fmla="*/ 8807 h 10000"/>
                <a:gd name="connsiteX143" fmla="*/ 7032 w 10000"/>
                <a:gd name="connsiteY143" fmla="*/ 8563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</a:cxnLst>
              <a:rect l="l" t="t" r="r" b="b"/>
              <a:pathLst>
                <a:path w="10000" h="10000">
                  <a:moveTo>
                    <a:pt x="7032" y="8563"/>
                  </a:moveTo>
                  <a:lnTo>
                    <a:pt x="7050" y="8563"/>
                  </a:lnTo>
                  <a:lnTo>
                    <a:pt x="7068" y="8563"/>
                  </a:lnTo>
                  <a:lnTo>
                    <a:pt x="7266" y="8746"/>
                  </a:lnTo>
                  <a:lnTo>
                    <a:pt x="7554" y="8746"/>
                  </a:lnTo>
                  <a:lnTo>
                    <a:pt x="7590" y="8593"/>
                  </a:lnTo>
                  <a:cubicBezTo>
                    <a:pt x="7596" y="8573"/>
                    <a:pt x="7602" y="8552"/>
                    <a:pt x="7608" y="8532"/>
                  </a:cubicBezTo>
                  <a:lnTo>
                    <a:pt x="7626" y="8532"/>
                  </a:lnTo>
                  <a:lnTo>
                    <a:pt x="8058" y="8471"/>
                  </a:lnTo>
                  <a:lnTo>
                    <a:pt x="8076" y="8471"/>
                  </a:lnTo>
                  <a:cubicBezTo>
                    <a:pt x="8082" y="8481"/>
                    <a:pt x="8088" y="8492"/>
                    <a:pt x="8094" y="8502"/>
                  </a:cubicBezTo>
                  <a:cubicBezTo>
                    <a:pt x="8136" y="8583"/>
                    <a:pt x="8177" y="8665"/>
                    <a:pt x="8219" y="8746"/>
                  </a:cubicBezTo>
                  <a:lnTo>
                    <a:pt x="8327" y="8930"/>
                  </a:lnTo>
                  <a:cubicBezTo>
                    <a:pt x="8357" y="8950"/>
                    <a:pt x="8387" y="8971"/>
                    <a:pt x="8417" y="8991"/>
                  </a:cubicBezTo>
                  <a:lnTo>
                    <a:pt x="8579" y="8716"/>
                  </a:lnTo>
                  <a:lnTo>
                    <a:pt x="8669" y="8440"/>
                  </a:lnTo>
                  <a:cubicBezTo>
                    <a:pt x="8675" y="8420"/>
                    <a:pt x="8681" y="8399"/>
                    <a:pt x="8687" y="8379"/>
                  </a:cubicBezTo>
                  <a:cubicBezTo>
                    <a:pt x="8699" y="8389"/>
                    <a:pt x="8711" y="8400"/>
                    <a:pt x="8723" y="8410"/>
                  </a:cubicBezTo>
                  <a:lnTo>
                    <a:pt x="8849" y="8593"/>
                  </a:lnTo>
                  <a:lnTo>
                    <a:pt x="9029" y="8899"/>
                  </a:lnTo>
                  <a:lnTo>
                    <a:pt x="9406" y="9450"/>
                  </a:lnTo>
                  <a:cubicBezTo>
                    <a:pt x="9424" y="9480"/>
                    <a:pt x="9622" y="9694"/>
                    <a:pt x="9622" y="9694"/>
                  </a:cubicBezTo>
                  <a:lnTo>
                    <a:pt x="9892" y="10000"/>
                  </a:lnTo>
                  <a:lnTo>
                    <a:pt x="10000" y="9939"/>
                  </a:lnTo>
                  <a:lnTo>
                    <a:pt x="9892" y="8532"/>
                  </a:lnTo>
                  <a:cubicBezTo>
                    <a:pt x="9838" y="8502"/>
                    <a:pt x="9622" y="8318"/>
                    <a:pt x="9622" y="8318"/>
                  </a:cubicBezTo>
                  <a:lnTo>
                    <a:pt x="9137" y="7951"/>
                  </a:lnTo>
                  <a:lnTo>
                    <a:pt x="9137" y="7920"/>
                  </a:lnTo>
                  <a:lnTo>
                    <a:pt x="9119" y="7920"/>
                  </a:lnTo>
                  <a:lnTo>
                    <a:pt x="8813" y="7401"/>
                  </a:lnTo>
                  <a:cubicBezTo>
                    <a:pt x="8807" y="7391"/>
                    <a:pt x="8801" y="7380"/>
                    <a:pt x="8795" y="7370"/>
                  </a:cubicBezTo>
                  <a:lnTo>
                    <a:pt x="8795" y="7370"/>
                  </a:lnTo>
                  <a:lnTo>
                    <a:pt x="8795" y="6606"/>
                  </a:lnTo>
                  <a:lnTo>
                    <a:pt x="8651" y="6208"/>
                  </a:lnTo>
                  <a:cubicBezTo>
                    <a:pt x="8645" y="6198"/>
                    <a:pt x="8639" y="6187"/>
                    <a:pt x="8633" y="6177"/>
                  </a:cubicBezTo>
                  <a:lnTo>
                    <a:pt x="8651" y="6147"/>
                  </a:lnTo>
                  <a:cubicBezTo>
                    <a:pt x="8673" y="6090"/>
                    <a:pt x="8723" y="5992"/>
                    <a:pt x="8765" y="5832"/>
                  </a:cubicBezTo>
                  <a:cubicBezTo>
                    <a:pt x="8825" y="5696"/>
                    <a:pt x="8844" y="5324"/>
                    <a:pt x="8904" y="5188"/>
                  </a:cubicBezTo>
                  <a:cubicBezTo>
                    <a:pt x="8928" y="5028"/>
                    <a:pt x="9076" y="4869"/>
                    <a:pt x="9100" y="4709"/>
                  </a:cubicBezTo>
                  <a:cubicBezTo>
                    <a:pt x="9088" y="4587"/>
                    <a:pt x="9077" y="4465"/>
                    <a:pt x="9065" y="4343"/>
                  </a:cubicBezTo>
                  <a:lnTo>
                    <a:pt x="8921" y="3945"/>
                  </a:lnTo>
                  <a:lnTo>
                    <a:pt x="8921" y="3945"/>
                  </a:lnTo>
                  <a:lnTo>
                    <a:pt x="8921" y="3914"/>
                  </a:lnTo>
                  <a:cubicBezTo>
                    <a:pt x="8915" y="3425"/>
                    <a:pt x="8909" y="2935"/>
                    <a:pt x="8903" y="2446"/>
                  </a:cubicBezTo>
                  <a:lnTo>
                    <a:pt x="8903" y="2446"/>
                  </a:lnTo>
                  <a:cubicBezTo>
                    <a:pt x="8926" y="2440"/>
                    <a:pt x="8949" y="2433"/>
                    <a:pt x="8972" y="2427"/>
                  </a:cubicBezTo>
                  <a:cubicBezTo>
                    <a:pt x="8991" y="2270"/>
                    <a:pt x="9121" y="2185"/>
                    <a:pt x="9140" y="2028"/>
                  </a:cubicBezTo>
                  <a:lnTo>
                    <a:pt x="8705" y="1651"/>
                  </a:lnTo>
                  <a:lnTo>
                    <a:pt x="8543" y="1835"/>
                  </a:lnTo>
                  <a:lnTo>
                    <a:pt x="8525" y="1865"/>
                  </a:lnTo>
                  <a:lnTo>
                    <a:pt x="8525" y="1835"/>
                  </a:lnTo>
                  <a:lnTo>
                    <a:pt x="8129" y="1560"/>
                  </a:lnTo>
                  <a:cubicBezTo>
                    <a:pt x="8117" y="1550"/>
                    <a:pt x="8106" y="1539"/>
                    <a:pt x="8094" y="1529"/>
                  </a:cubicBezTo>
                  <a:lnTo>
                    <a:pt x="8094" y="1498"/>
                  </a:lnTo>
                  <a:lnTo>
                    <a:pt x="8094" y="765"/>
                  </a:lnTo>
                  <a:lnTo>
                    <a:pt x="8094" y="734"/>
                  </a:lnTo>
                  <a:lnTo>
                    <a:pt x="8187" y="857"/>
                  </a:lnTo>
                  <a:cubicBezTo>
                    <a:pt x="8204" y="745"/>
                    <a:pt x="8220" y="632"/>
                    <a:pt x="8237" y="520"/>
                  </a:cubicBezTo>
                  <a:lnTo>
                    <a:pt x="8237" y="428"/>
                  </a:lnTo>
                  <a:lnTo>
                    <a:pt x="7842" y="0"/>
                  </a:lnTo>
                  <a:lnTo>
                    <a:pt x="7572" y="275"/>
                  </a:lnTo>
                  <a:lnTo>
                    <a:pt x="7554" y="275"/>
                  </a:lnTo>
                  <a:lnTo>
                    <a:pt x="7554" y="275"/>
                  </a:lnTo>
                  <a:lnTo>
                    <a:pt x="7176" y="306"/>
                  </a:lnTo>
                  <a:lnTo>
                    <a:pt x="7158" y="306"/>
                  </a:lnTo>
                  <a:lnTo>
                    <a:pt x="7158" y="306"/>
                  </a:lnTo>
                  <a:lnTo>
                    <a:pt x="7032" y="153"/>
                  </a:lnTo>
                  <a:lnTo>
                    <a:pt x="6799" y="642"/>
                  </a:lnTo>
                  <a:cubicBezTo>
                    <a:pt x="6781" y="754"/>
                    <a:pt x="6763" y="867"/>
                    <a:pt x="6745" y="979"/>
                  </a:cubicBezTo>
                  <a:lnTo>
                    <a:pt x="6745" y="979"/>
                  </a:lnTo>
                  <a:lnTo>
                    <a:pt x="6745" y="1009"/>
                  </a:lnTo>
                  <a:lnTo>
                    <a:pt x="6277" y="1682"/>
                  </a:lnTo>
                  <a:cubicBezTo>
                    <a:pt x="6271" y="1692"/>
                    <a:pt x="6265" y="1703"/>
                    <a:pt x="6259" y="1713"/>
                  </a:cubicBezTo>
                  <a:cubicBezTo>
                    <a:pt x="6247" y="1703"/>
                    <a:pt x="6235" y="1692"/>
                    <a:pt x="6223" y="1682"/>
                  </a:cubicBezTo>
                  <a:lnTo>
                    <a:pt x="5935" y="1284"/>
                  </a:lnTo>
                  <a:lnTo>
                    <a:pt x="5935" y="1284"/>
                  </a:lnTo>
                  <a:lnTo>
                    <a:pt x="5935" y="1284"/>
                  </a:lnTo>
                  <a:lnTo>
                    <a:pt x="5522" y="459"/>
                  </a:lnTo>
                  <a:lnTo>
                    <a:pt x="5018" y="398"/>
                  </a:lnTo>
                  <a:lnTo>
                    <a:pt x="4604" y="1009"/>
                  </a:lnTo>
                  <a:lnTo>
                    <a:pt x="4604" y="1009"/>
                  </a:lnTo>
                  <a:lnTo>
                    <a:pt x="4586" y="1009"/>
                  </a:lnTo>
                  <a:lnTo>
                    <a:pt x="3867" y="948"/>
                  </a:lnTo>
                  <a:lnTo>
                    <a:pt x="3219" y="1621"/>
                  </a:lnTo>
                  <a:lnTo>
                    <a:pt x="3219" y="1651"/>
                  </a:lnTo>
                  <a:lnTo>
                    <a:pt x="3201" y="1621"/>
                  </a:lnTo>
                  <a:lnTo>
                    <a:pt x="2932" y="1498"/>
                  </a:lnTo>
                  <a:lnTo>
                    <a:pt x="2716" y="1713"/>
                  </a:lnTo>
                  <a:lnTo>
                    <a:pt x="2698" y="1743"/>
                  </a:lnTo>
                  <a:lnTo>
                    <a:pt x="2680" y="1713"/>
                  </a:lnTo>
                  <a:lnTo>
                    <a:pt x="1709" y="673"/>
                  </a:lnTo>
                  <a:lnTo>
                    <a:pt x="144" y="581"/>
                  </a:lnTo>
                  <a:lnTo>
                    <a:pt x="144" y="612"/>
                  </a:lnTo>
                  <a:lnTo>
                    <a:pt x="0" y="795"/>
                  </a:lnTo>
                  <a:lnTo>
                    <a:pt x="0" y="1040"/>
                  </a:lnTo>
                  <a:lnTo>
                    <a:pt x="0" y="1529"/>
                  </a:lnTo>
                  <a:lnTo>
                    <a:pt x="216" y="1774"/>
                  </a:lnTo>
                  <a:cubicBezTo>
                    <a:pt x="240" y="1713"/>
                    <a:pt x="264" y="1651"/>
                    <a:pt x="288" y="1590"/>
                  </a:cubicBezTo>
                  <a:lnTo>
                    <a:pt x="396" y="1346"/>
                  </a:lnTo>
                  <a:lnTo>
                    <a:pt x="629" y="1804"/>
                  </a:lnTo>
                  <a:lnTo>
                    <a:pt x="917" y="1804"/>
                  </a:lnTo>
                  <a:lnTo>
                    <a:pt x="1061" y="1988"/>
                  </a:lnTo>
                  <a:lnTo>
                    <a:pt x="1223" y="2294"/>
                  </a:lnTo>
                  <a:lnTo>
                    <a:pt x="1223" y="2844"/>
                  </a:lnTo>
                  <a:lnTo>
                    <a:pt x="1403" y="3150"/>
                  </a:lnTo>
                  <a:cubicBezTo>
                    <a:pt x="1433" y="3486"/>
                    <a:pt x="1463" y="3823"/>
                    <a:pt x="1493" y="4159"/>
                  </a:cubicBezTo>
                  <a:lnTo>
                    <a:pt x="1565" y="4618"/>
                  </a:lnTo>
                  <a:lnTo>
                    <a:pt x="1655" y="4924"/>
                  </a:lnTo>
                  <a:cubicBezTo>
                    <a:pt x="1685" y="5016"/>
                    <a:pt x="1715" y="5107"/>
                    <a:pt x="1745" y="5199"/>
                  </a:cubicBezTo>
                  <a:lnTo>
                    <a:pt x="1583" y="5352"/>
                  </a:lnTo>
                  <a:lnTo>
                    <a:pt x="1439" y="5321"/>
                  </a:lnTo>
                  <a:lnTo>
                    <a:pt x="1259" y="4985"/>
                  </a:lnTo>
                  <a:lnTo>
                    <a:pt x="1079" y="4954"/>
                  </a:lnTo>
                  <a:cubicBezTo>
                    <a:pt x="1049" y="5036"/>
                    <a:pt x="1019" y="5117"/>
                    <a:pt x="989" y="5199"/>
                  </a:cubicBezTo>
                  <a:cubicBezTo>
                    <a:pt x="1019" y="5291"/>
                    <a:pt x="1049" y="5382"/>
                    <a:pt x="1079" y="5474"/>
                  </a:cubicBezTo>
                  <a:lnTo>
                    <a:pt x="1565" y="6177"/>
                  </a:lnTo>
                  <a:lnTo>
                    <a:pt x="1691" y="6391"/>
                  </a:lnTo>
                  <a:lnTo>
                    <a:pt x="1835" y="6055"/>
                  </a:lnTo>
                  <a:lnTo>
                    <a:pt x="2104" y="6024"/>
                  </a:lnTo>
                  <a:lnTo>
                    <a:pt x="2536" y="6116"/>
                  </a:lnTo>
                  <a:lnTo>
                    <a:pt x="2680" y="5933"/>
                  </a:lnTo>
                  <a:lnTo>
                    <a:pt x="3435" y="5474"/>
                  </a:lnTo>
                  <a:lnTo>
                    <a:pt x="3633" y="5352"/>
                  </a:lnTo>
                  <a:lnTo>
                    <a:pt x="3831" y="5229"/>
                  </a:lnTo>
                  <a:lnTo>
                    <a:pt x="4245" y="5076"/>
                  </a:lnTo>
                  <a:lnTo>
                    <a:pt x="4388" y="5168"/>
                  </a:lnTo>
                  <a:lnTo>
                    <a:pt x="4532" y="5229"/>
                  </a:lnTo>
                  <a:lnTo>
                    <a:pt x="4748" y="5566"/>
                  </a:lnTo>
                  <a:lnTo>
                    <a:pt x="4928" y="5872"/>
                  </a:lnTo>
                  <a:lnTo>
                    <a:pt x="5234" y="6177"/>
                  </a:lnTo>
                  <a:lnTo>
                    <a:pt x="5342" y="6330"/>
                  </a:lnTo>
                  <a:cubicBezTo>
                    <a:pt x="5372" y="6289"/>
                    <a:pt x="5402" y="6249"/>
                    <a:pt x="5432" y="6208"/>
                  </a:cubicBezTo>
                  <a:lnTo>
                    <a:pt x="5594" y="6024"/>
                  </a:lnTo>
                  <a:lnTo>
                    <a:pt x="5737" y="5872"/>
                  </a:lnTo>
                  <a:lnTo>
                    <a:pt x="5899" y="5994"/>
                  </a:lnTo>
                  <a:lnTo>
                    <a:pt x="6097" y="6147"/>
                  </a:lnTo>
                  <a:lnTo>
                    <a:pt x="6349" y="6453"/>
                  </a:lnTo>
                  <a:lnTo>
                    <a:pt x="6313" y="7278"/>
                  </a:lnTo>
                  <a:cubicBezTo>
                    <a:pt x="6343" y="7298"/>
                    <a:pt x="6373" y="7319"/>
                    <a:pt x="6403" y="7339"/>
                  </a:cubicBezTo>
                  <a:cubicBezTo>
                    <a:pt x="6409" y="7686"/>
                    <a:pt x="6415" y="8032"/>
                    <a:pt x="6421" y="8379"/>
                  </a:cubicBezTo>
                  <a:lnTo>
                    <a:pt x="6367" y="8502"/>
                  </a:lnTo>
                  <a:cubicBezTo>
                    <a:pt x="6343" y="8624"/>
                    <a:pt x="6319" y="8747"/>
                    <a:pt x="6295" y="8869"/>
                  </a:cubicBezTo>
                  <a:lnTo>
                    <a:pt x="6835" y="8807"/>
                  </a:lnTo>
                  <a:cubicBezTo>
                    <a:pt x="6901" y="8726"/>
                    <a:pt x="6966" y="8644"/>
                    <a:pt x="7032" y="8563"/>
                  </a:cubicBez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solidFill>
                <a:srgbClr val="FFFFFF">
                  <a:lumMod val="75000"/>
                </a:srgbClr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08">
                <a:defRPr/>
              </a:pPr>
              <a:endParaRPr lang="ru-RU" sz="1867" kern="0">
                <a:solidFill>
                  <a:sysClr val="windowText" lastClr="000000"/>
                </a:solidFill>
                <a:latin typeface="Arial"/>
              </a:endParaRPr>
            </a:p>
          </p:txBody>
        </p:sp>
        <p:sp>
          <p:nvSpPr>
            <p:cNvPr id="367" name="Freeform 148">
              <a:extLst/>
            </p:cNvPr>
            <p:cNvSpPr>
              <a:spLocks/>
            </p:cNvSpPr>
            <p:nvPr/>
          </p:nvSpPr>
          <p:spPr bwMode="auto">
            <a:xfrm>
              <a:off x="724303" y="2071369"/>
              <a:ext cx="1657371" cy="990666"/>
            </a:xfrm>
            <a:custGeom>
              <a:avLst/>
              <a:gdLst>
                <a:gd name="T0" fmla="*/ 233 w 1036"/>
                <a:gd name="T1" fmla="*/ 554 h 620"/>
                <a:gd name="T2" fmla="*/ 340 w 1036"/>
                <a:gd name="T3" fmla="*/ 620 h 620"/>
                <a:gd name="T4" fmla="*/ 363 w 1036"/>
                <a:gd name="T5" fmla="*/ 607 h 620"/>
                <a:gd name="T6" fmla="*/ 393 w 1036"/>
                <a:gd name="T7" fmla="*/ 615 h 620"/>
                <a:gd name="T8" fmla="*/ 466 w 1036"/>
                <a:gd name="T9" fmla="*/ 572 h 620"/>
                <a:gd name="T10" fmla="*/ 585 w 1036"/>
                <a:gd name="T11" fmla="*/ 537 h 620"/>
                <a:gd name="T12" fmla="*/ 589 w 1036"/>
                <a:gd name="T13" fmla="*/ 537 h 620"/>
                <a:gd name="T14" fmla="*/ 649 w 1036"/>
                <a:gd name="T15" fmla="*/ 543 h 620"/>
                <a:gd name="T16" fmla="*/ 725 w 1036"/>
                <a:gd name="T17" fmla="*/ 618 h 620"/>
                <a:gd name="T18" fmla="*/ 776 w 1036"/>
                <a:gd name="T19" fmla="*/ 558 h 620"/>
                <a:gd name="T20" fmla="*/ 805 w 1036"/>
                <a:gd name="T21" fmla="*/ 521 h 620"/>
                <a:gd name="T22" fmla="*/ 811 w 1036"/>
                <a:gd name="T23" fmla="*/ 521 h 620"/>
                <a:gd name="T24" fmla="*/ 861 w 1036"/>
                <a:gd name="T25" fmla="*/ 529 h 620"/>
                <a:gd name="T26" fmla="*/ 912 w 1036"/>
                <a:gd name="T27" fmla="*/ 457 h 620"/>
                <a:gd name="T28" fmla="*/ 916 w 1036"/>
                <a:gd name="T29" fmla="*/ 455 h 620"/>
                <a:gd name="T30" fmla="*/ 1036 w 1036"/>
                <a:gd name="T31" fmla="*/ 401 h 620"/>
                <a:gd name="T32" fmla="*/ 1021 w 1036"/>
                <a:gd name="T33" fmla="*/ 331 h 620"/>
                <a:gd name="T34" fmla="*/ 1021 w 1036"/>
                <a:gd name="T35" fmla="*/ 327 h 620"/>
                <a:gd name="T36" fmla="*/ 1019 w 1036"/>
                <a:gd name="T37" fmla="*/ 300 h 620"/>
                <a:gd name="T38" fmla="*/ 1026 w 1036"/>
                <a:gd name="T39" fmla="*/ 241 h 620"/>
                <a:gd name="T40" fmla="*/ 997 w 1036"/>
                <a:gd name="T41" fmla="*/ 201 h 620"/>
                <a:gd name="T42" fmla="*/ 947 w 1036"/>
                <a:gd name="T43" fmla="*/ 160 h 620"/>
                <a:gd name="T44" fmla="*/ 931 w 1036"/>
                <a:gd name="T45" fmla="*/ 107 h 620"/>
                <a:gd name="T46" fmla="*/ 830 w 1036"/>
                <a:gd name="T47" fmla="*/ 92 h 620"/>
                <a:gd name="T48" fmla="*/ 770 w 1036"/>
                <a:gd name="T49" fmla="*/ 43 h 620"/>
                <a:gd name="T50" fmla="*/ 704 w 1036"/>
                <a:gd name="T51" fmla="*/ 65 h 620"/>
                <a:gd name="T52" fmla="*/ 643 w 1036"/>
                <a:gd name="T53" fmla="*/ 18 h 620"/>
                <a:gd name="T54" fmla="*/ 626 w 1036"/>
                <a:gd name="T55" fmla="*/ 24 h 620"/>
                <a:gd name="T56" fmla="*/ 585 w 1036"/>
                <a:gd name="T57" fmla="*/ 51 h 620"/>
                <a:gd name="T58" fmla="*/ 531 w 1036"/>
                <a:gd name="T59" fmla="*/ 76 h 620"/>
                <a:gd name="T60" fmla="*/ 474 w 1036"/>
                <a:gd name="T61" fmla="*/ 86 h 620"/>
                <a:gd name="T62" fmla="*/ 451 w 1036"/>
                <a:gd name="T63" fmla="*/ 131 h 620"/>
                <a:gd name="T64" fmla="*/ 381 w 1036"/>
                <a:gd name="T65" fmla="*/ 154 h 620"/>
                <a:gd name="T66" fmla="*/ 348 w 1036"/>
                <a:gd name="T67" fmla="*/ 222 h 620"/>
                <a:gd name="T68" fmla="*/ 360 w 1036"/>
                <a:gd name="T69" fmla="*/ 278 h 620"/>
                <a:gd name="T70" fmla="*/ 293 w 1036"/>
                <a:gd name="T71" fmla="*/ 286 h 620"/>
                <a:gd name="T72" fmla="*/ 266 w 1036"/>
                <a:gd name="T73" fmla="*/ 220 h 620"/>
                <a:gd name="T74" fmla="*/ 222 w 1036"/>
                <a:gd name="T75" fmla="*/ 148 h 620"/>
                <a:gd name="T76" fmla="*/ 179 w 1036"/>
                <a:gd name="T77" fmla="*/ 179 h 620"/>
                <a:gd name="T78" fmla="*/ 157 w 1036"/>
                <a:gd name="T79" fmla="*/ 232 h 620"/>
                <a:gd name="T80" fmla="*/ 83 w 1036"/>
                <a:gd name="T81" fmla="*/ 325 h 620"/>
                <a:gd name="T82" fmla="*/ 107 w 1036"/>
                <a:gd name="T83" fmla="*/ 358 h 620"/>
                <a:gd name="T84" fmla="*/ 60 w 1036"/>
                <a:gd name="T85" fmla="*/ 393 h 620"/>
                <a:gd name="T86" fmla="*/ 62 w 1036"/>
                <a:gd name="T87" fmla="*/ 523 h 620"/>
                <a:gd name="T88" fmla="*/ 62 w 1036"/>
                <a:gd name="T89" fmla="*/ 548 h 620"/>
                <a:gd name="T90" fmla="*/ 231 w 1036"/>
                <a:gd name="T91" fmla="*/ 554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36" h="620">
                  <a:moveTo>
                    <a:pt x="231" y="554"/>
                  </a:moveTo>
                  <a:lnTo>
                    <a:pt x="233" y="554"/>
                  </a:lnTo>
                  <a:lnTo>
                    <a:pt x="233" y="556"/>
                  </a:lnTo>
                  <a:lnTo>
                    <a:pt x="340" y="620"/>
                  </a:lnTo>
                  <a:lnTo>
                    <a:pt x="361" y="607"/>
                  </a:lnTo>
                  <a:lnTo>
                    <a:pt x="363" y="607"/>
                  </a:lnTo>
                  <a:lnTo>
                    <a:pt x="365" y="607"/>
                  </a:lnTo>
                  <a:lnTo>
                    <a:pt x="393" y="615"/>
                  </a:lnTo>
                  <a:lnTo>
                    <a:pt x="463" y="572"/>
                  </a:lnTo>
                  <a:lnTo>
                    <a:pt x="466" y="572"/>
                  </a:lnTo>
                  <a:lnTo>
                    <a:pt x="540" y="576"/>
                  </a:lnTo>
                  <a:lnTo>
                    <a:pt x="585" y="537"/>
                  </a:lnTo>
                  <a:lnTo>
                    <a:pt x="587" y="537"/>
                  </a:lnTo>
                  <a:lnTo>
                    <a:pt x="589" y="537"/>
                  </a:lnTo>
                  <a:lnTo>
                    <a:pt x="647" y="541"/>
                  </a:lnTo>
                  <a:lnTo>
                    <a:pt x="649" y="543"/>
                  </a:lnTo>
                  <a:lnTo>
                    <a:pt x="696" y="595"/>
                  </a:lnTo>
                  <a:lnTo>
                    <a:pt x="725" y="618"/>
                  </a:lnTo>
                  <a:lnTo>
                    <a:pt x="768" y="578"/>
                  </a:lnTo>
                  <a:lnTo>
                    <a:pt x="776" y="558"/>
                  </a:lnTo>
                  <a:lnTo>
                    <a:pt x="776" y="556"/>
                  </a:lnTo>
                  <a:lnTo>
                    <a:pt x="805" y="521"/>
                  </a:lnTo>
                  <a:lnTo>
                    <a:pt x="807" y="519"/>
                  </a:lnTo>
                  <a:lnTo>
                    <a:pt x="811" y="521"/>
                  </a:lnTo>
                  <a:lnTo>
                    <a:pt x="824" y="531"/>
                  </a:lnTo>
                  <a:lnTo>
                    <a:pt x="861" y="529"/>
                  </a:lnTo>
                  <a:lnTo>
                    <a:pt x="892" y="512"/>
                  </a:lnTo>
                  <a:lnTo>
                    <a:pt x="912" y="457"/>
                  </a:lnTo>
                  <a:lnTo>
                    <a:pt x="914" y="455"/>
                  </a:lnTo>
                  <a:lnTo>
                    <a:pt x="916" y="455"/>
                  </a:lnTo>
                  <a:lnTo>
                    <a:pt x="991" y="455"/>
                  </a:lnTo>
                  <a:lnTo>
                    <a:pt x="1036" y="401"/>
                  </a:lnTo>
                  <a:lnTo>
                    <a:pt x="1030" y="358"/>
                  </a:lnTo>
                  <a:lnTo>
                    <a:pt x="1021" y="331"/>
                  </a:lnTo>
                  <a:lnTo>
                    <a:pt x="1021" y="327"/>
                  </a:lnTo>
                  <a:lnTo>
                    <a:pt x="1021" y="327"/>
                  </a:lnTo>
                  <a:lnTo>
                    <a:pt x="1036" y="302"/>
                  </a:lnTo>
                  <a:lnTo>
                    <a:pt x="1019" y="300"/>
                  </a:lnTo>
                  <a:lnTo>
                    <a:pt x="1011" y="280"/>
                  </a:lnTo>
                  <a:lnTo>
                    <a:pt x="1026" y="241"/>
                  </a:lnTo>
                  <a:lnTo>
                    <a:pt x="999" y="228"/>
                  </a:lnTo>
                  <a:lnTo>
                    <a:pt x="997" y="201"/>
                  </a:lnTo>
                  <a:lnTo>
                    <a:pt x="976" y="175"/>
                  </a:lnTo>
                  <a:lnTo>
                    <a:pt x="947" y="160"/>
                  </a:lnTo>
                  <a:lnTo>
                    <a:pt x="945" y="123"/>
                  </a:lnTo>
                  <a:lnTo>
                    <a:pt x="931" y="107"/>
                  </a:lnTo>
                  <a:lnTo>
                    <a:pt x="906" y="101"/>
                  </a:lnTo>
                  <a:lnTo>
                    <a:pt x="830" y="92"/>
                  </a:lnTo>
                  <a:lnTo>
                    <a:pt x="813" y="37"/>
                  </a:lnTo>
                  <a:lnTo>
                    <a:pt x="770" y="43"/>
                  </a:lnTo>
                  <a:lnTo>
                    <a:pt x="745" y="65"/>
                  </a:lnTo>
                  <a:lnTo>
                    <a:pt x="704" y="65"/>
                  </a:lnTo>
                  <a:lnTo>
                    <a:pt x="684" y="18"/>
                  </a:lnTo>
                  <a:lnTo>
                    <a:pt x="643" y="18"/>
                  </a:lnTo>
                  <a:lnTo>
                    <a:pt x="636" y="0"/>
                  </a:lnTo>
                  <a:lnTo>
                    <a:pt x="626" y="24"/>
                  </a:lnTo>
                  <a:lnTo>
                    <a:pt x="612" y="32"/>
                  </a:lnTo>
                  <a:lnTo>
                    <a:pt x="585" y="51"/>
                  </a:lnTo>
                  <a:lnTo>
                    <a:pt x="568" y="76"/>
                  </a:lnTo>
                  <a:lnTo>
                    <a:pt x="531" y="76"/>
                  </a:lnTo>
                  <a:lnTo>
                    <a:pt x="507" y="94"/>
                  </a:lnTo>
                  <a:lnTo>
                    <a:pt x="474" y="86"/>
                  </a:lnTo>
                  <a:lnTo>
                    <a:pt x="451" y="86"/>
                  </a:lnTo>
                  <a:lnTo>
                    <a:pt x="451" y="131"/>
                  </a:lnTo>
                  <a:lnTo>
                    <a:pt x="412" y="136"/>
                  </a:lnTo>
                  <a:lnTo>
                    <a:pt x="381" y="154"/>
                  </a:lnTo>
                  <a:lnTo>
                    <a:pt x="350" y="146"/>
                  </a:lnTo>
                  <a:lnTo>
                    <a:pt x="348" y="222"/>
                  </a:lnTo>
                  <a:lnTo>
                    <a:pt x="363" y="247"/>
                  </a:lnTo>
                  <a:lnTo>
                    <a:pt x="360" y="278"/>
                  </a:lnTo>
                  <a:lnTo>
                    <a:pt x="336" y="278"/>
                  </a:lnTo>
                  <a:lnTo>
                    <a:pt x="293" y="286"/>
                  </a:lnTo>
                  <a:lnTo>
                    <a:pt x="270" y="263"/>
                  </a:lnTo>
                  <a:lnTo>
                    <a:pt x="266" y="220"/>
                  </a:lnTo>
                  <a:lnTo>
                    <a:pt x="239" y="162"/>
                  </a:lnTo>
                  <a:lnTo>
                    <a:pt x="222" y="148"/>
                  </a:lnTo>
                  <a:lnTo>
                    <a:pt x="194" y="160"/>
                  </a:lnTo>
                  <a:lnTo>
                    <a:pt x="179" y="179"/>
                  </a:lnTo>
                  <a:lnTo>
                    <a:pt x="177" y="216"/>
                  </a:lnTo>
                  <a:lnTo>
                    <a:pt x="157" y="232"/>
                  </a:lnTo>
                  <a:lnTo>
                    <a:pt x="118" y="232"/>
                  </a:lnTo>
                  <a:lnTo>
                    <a:pt x="83" y="325"/>
                  </a:lnTo>
                  <a:lnTo>
                    <a:pt x="105" y="339"/>
                  </a:lnTo>
                  <a:lnTo>
                    <a:pt x="107" y="358"/>
                  </a:lnTo>
                  <a:lnTo>
                    <a:pt x="93" y="383"/>
                  </a:lnTo>
                  <a:lnTo>
                    <a:pt x="60" y="393"/>
                  </a:lnTo>
                  <a:lnTo>
                    <a:pt x="0" y="473"/>
                  </a:lnTo>
                  <a:lnTo>
                    <a:pt x="62" y="523"/>
                  </a:lnTo>
                  <a:lnTo>
                    <a:pt x="62" y="552"/>
                  </a:lnTo>
                  <a:lnTo>
                    <a:pt x="62" y="548"/>
                  </a:lnTo>
                  <a:lnTo>
                    <a:pt x="231" y="554"/>
                  </a:lnTo>
                  <a:lnTo>
                    <a:pt x="231" y="554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solidFill>
                <a:srgbClr val="FFFFFF">
                  <a:lumMod val="75000"/>
                </a:srgbClr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08">
                <a:defRPr/>
              </a:pPr>
              <a:endParaRPr lang="ru-RU" sz="1867" kern="0">
                <a:solidFill>
                  <a:sysClr val="windowText" lastClr="000000"/>
                </a:solidFill>
                <a:latin typeface="Arial"/>
              </a:endParaRPr>
            </a:p>
          </p:txBody>
        </p:sp>
        <p:sp>
          <p:nvSpPr>
            <p:cNvPr id="368" name="Freeform 150">
              <a:extLst/>
            </p:cNvPr>
            <p:cNvSpPr>
              <a:spLocks/>
            </p:cNvSpPr>
            <p:nvPr/>
          </p:nvSpPr>
          <p:spPr bwMode="auto">
            <a:xfrm>
              <a:off x="1175159" y="3747881"/>
              <a:ext cx="1384317" cy="1519868"/>
            </a:xfrm>
            <a:custGeom>
              <a:avLst/>
              <a:gdLst>
                <a:gd name="T0" fmla="*/ 428 w 445"/>
                <a:gd name="T1" fmla="*/ 52 h 489"/>
                <a:gd name="T2" fmla="*/ 411 w 445"/>
                <a:gd name="T3" fmla="*/ 41 h 489"/>
                <a:gd name="T4" fmla="*/ 398 w 445"/>
                <a:gd name="T5" fmla="*/ 33 h 489"/>
                <a:gd name="T6" fmla="*/ 363 w 445"/>
                <a:gd name="T7" fmla="*/ 0 h 489"/>
                <a:gd name="T8" fmla="*/ 359 w 445"/>
                <a:gd name="T9" fmla="*/ 8 h 489"/>
                <a:gd name="T10" fmla="*/ 347 w 445"/>
                <a:gd name="T11" fmla="*/ 18 h 489"/>
                <a:gd name="T12" fmla="*/ 339 w 445"/>
                <a:gd name="T13" fmla="*/ 15 h 489"/>
                <a:gd name="T14" fmla="*/ 304 w 445"/>
                <a:gd name="T15" fmla="*/ 3 h 489"/>
                <a:gd name="T16" fmla="*/ 299 w 445"/>
                <a:gd name="T17" fmla="*/ 10 h 489"/>
                <a:gd name="T18" fmla="*/ 281 w 445"/>
                <a:gd name="T19" fmla="*/ 10 h 489"/>
                <a:gd name="T20" fmla="*/ 259 w 445"/>
                <a:gd name="T21" fmla="*/ 12 h 489"/>
                <a:gd name="T22" fmla="*/ 227 w 445"/>
                <a:gd name="T23" fmla="*/ 12 h 489"/>
                <a:gd name="T24" fmla="*/ 211 w 445"/>
                <a:gd name="T25" fmla="*/ 39 h 489"/>
                <a:gd name="T26" fmla="*/ 214 w 445"/>
                <a:gd name="T27" fmla="*/ 72 h 489"/>
                <a:gd name="T28" fmla="*/ 242 w 445"/>
                <a:gd name="T29" fmla="*/ 84 h 489"/>
                <a:gd name="T30" fmla="*/ 279 w 445"/>
                <a:gd name="T31" fmla="*/ 75 h 489"/>
                <a:gd name="T32" fmla="*/ 276 w 445"/>
                <a:gd name="T33" fmla="*/ 98 h 489"/>
                <a:gd name="T34" fmla="*/ 279 w 445"/>
                <a:gd name="T35" fmla="*/ 124 h 489"/>
                <a:gd name="T36" fmla="*/ 252 w 445"/>
                <a:gd name="T37" fmla="*/ 122 h 489"/>
                <a:gd name="T38" fmla="*/ 261 w 445"/>
                <a:gd name="T39" fmla="*/ 109 h 489"/>
                <a:gd name="T40" fmla="*/ 244 w 445"/>
                <a:gd name="T41" fmla="*/ 92 h 489"/>
                <a:gd name="T42" fmla="*/ 214 w 445"/>
                <a:gd name="T43" fmla="*/ 89 h 489"/>
                <a:gd name="T44" fmla="*/ 110 w 445"/>
                <a:gd name="T45" fmla="*/ 54 h 489"/>
                <a:gd name="T46" fmla="*/ 88 w 445"/>
                <a:gd name="T47" fmla="*/ 59 h 489"/>
                <a:gd name="T48" fmla="*/ 59 w 445"/>
                <a:gd name="T49" fmla="*/ 81 h 489"/>
                <a:gd name="T50" fmla="*/ 93 w 445"/>
                <a:gd name="T51" fmla="*/ 132 h 489"/>
                <a:gd name="T52" fmla="*/ 68 w 445"/>
                <a:gd name="T53" fmla="*/ 128 h 489"/>
                <a:gd name="T54" fmla="*/ 35 w 445"/>
                <a:gd name="T55" fmla="*/ 111 h 489"/>
                <a:gd name="T56" fmla="*/ 1 w 445"/>
                <a:gd name="T57" fmla="*/ 111 h 489"/>
                <a:gd name="T58" fmla="*/ 33 w 445"/>
                <a:gd name="T59" fmla="*/ 147 h 489"/>
                <a:gd name="T60" fmla="*/ 41 w 445"/>
                <a:gd name="T61" fmla="*/ 186 h 489"/>
                <a:gd name="T62" fmla="*/ 51 w 445"/>
                <a:gd name="T63" fmla="*/ 240 h 489"/>
                <a:gd name="T64" fmla="*/ 72 w 445"/>
                <a:gd name="T65" fmla="*/ 259 h 489"/>
                <a:gd name="T66" fmla="*/ 99 w 445"/>
                <a:gd name="T67" fmla="*/ 293 h 489"/>
                <a:gd name="T68" fmla="*/ 121 w 445"/>
                <a:gd name="T69" fmla="*/ 304 h 489"/>
                <a:gd name="T70" fmla="*/ 131 w 445"/>
                <a:gd name="T71" fmla="*/ 333 h 489"/>
                <a:gd name="T72" fmla="*/ 102 w 445"/>
                <a:gd name="T73" fmla="*/ 368 h 489"/>
                <a:gd name="T74" fmla="*/ 96 w 445"/>
                <a:gd name="T75" fmla="*/ 402 h 489"/>
                <a:gd name="T76" fmla="*/ 108 w 445"/>
                <a:gd name="T77" fmla="*/ 401 h 489"/>
                <a:gd name="T78" fmla="*/ 153 w 445"/>
                <a:gd name="T79" fmla="*/ 374 h 489"/>
                <a:gd name="T80" fmla="*/ 277 w 445"/>
                <a:gd name="T81" fmla="*/ 415 h 489"/>
                <a:gd name="T82" fmla="*/ 305 w 445"/>
                <a:gd name="T83" fmla="*/ 489 h 489"/>
                <a:gd name="T84" fmla="*/ 445 w 445"/>
                <a:gd name="T85" fmla="*/ 133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45" h="489">
                  <a:moveTo>
                    <a:pt x="439" y="87"/>
                  </a:moveTo>
                  <a:cubicBezTo>
                    <a:pt x="435" y="50"/>
                    <a:pt x="435" y="50"/>
                    <a:pt x="435" y="50"/>
                  </a:cubicBezTo>
                  <a:cubicBezTo>
                    <a:pt x="428" y="52"/>
                    <a:pt x="428" y="52"/>
                    <a:pt x="428" y="52"/>
                  </a:cubicBezTo>
                  <a:cubicBezTo>
                    <a:pt x="427" y="52"/>
                    <a:pt x="427" y="52"/>
                    <a:pt x="427" y="52"/>
                  </a:cubicBezTo>
                  <a:cubicBezTo>
                    <a:pt x="426" y="51"/>
                    <a:pt x="426" y="51"/>
                    <a:pt x="426" y="51"/>
                  </a:cubicBezTo>
                  <a:cubicBezTo>
                    <a:pt x="411" y="41"/>
                    <a:pt x="411" y="41"/>
                    <a:pt x="411" y="41"/>
                  </a:cubicBezTo>
                  <a:cubicBezTo>
                    <a:pt x="398" y="34"/>
                    <a:pt x="398" y="34"/>
                    <a:pt x="398" y="34"/>
                  </a:cubicBezTo>
                  <a:cubicBezTo>
                    <a:pt x="398" y="34"/>
                    <a:pt x="398" y="34"/>
                    <a:pt x="398" y="34"/>
                  </a:cubicBezTo>
                  <a:cubicBezTo>
                    <a:pt x="398" y="33"/>
                    <a:pt x="398" y="33"/>
                    <a:pt x="398" y="33"/>
                  </a:cubicBezTo>
                  <a:cubicBezTo>
                    <a:pt x="378" y="14"/>
                    <a:pt x="378" y="14"/>
                    <a:pt x="378" y="14"/>
                  </a:cubicBezTo>
                  <a:cubicBezTo>
                    <a:pt x="368" y="4"/>
                    <a:pt x="368" y="4"/>
                    <a:pt x="368" y="4"/>
                  </a:cubicBezTo>
                  <a:cubicBezTo>
                    <a:pt x="363" y="0"/>
                    <a:pt x="363" y="0"/>
                    <a:pt x="363" y="0"/>
                  </a:cubicBezTo>
                  <a:cubicBezTo>
                    <a:pt x="359" y="7"/>
                    <a:pt x="359" y="7"/>
                    <a:pt x="359" y="7"/>
                  </a:cubicBezTo>
                  <a:cubicBezTo>
                    <a:pt x="359" y="8"/>
                    <a:pt x="359" y="8"/>
                    <a:pt x="359" y="8"/>
                  </a:cubicBezTo>
                  <a:cubicBezTo>
                    <a:pt x="359" y="8"/>
                    <a:pt x="359" y="8"/>
                    <a:pt x="359" y="8"/>
                  </a:cubicBezTo>
                  <a:cubicBezTo>
                    <a:pt x="349" y="17"/>
                    <a:pt x="349" y="17"/>
                    <a:pt x="349" y="17"/>
                  </a:cubicBezTo>
                  <a:cubicBezTo>
                    <a:pt x="348" y="18"/>
                    <a:pt x="348" y="18"/>
                    <a:pt x="348" y="18"/>
                  </a:cubicBezTo>
                  <a:cubicBezTo>
                    <a:pt x="347" y="18"/>
                    <a:pt x="347" y="18"/>
                    <a:pt x="347" y="18"/>
                  </a:cubicBezTo>
                  <a:cubicBezTo>
                    <a:pt x="340" y="15"/>
                    <a:pt x="340" y="15"/>
                    <a:pt x="340" y="15"/>
                  </a:cubicBezTo>
                  <a:cubicBezTo>
                    <a:pt x="339" y="15"/>
                    <a:pt x="339" y="15"/>
                    <a:pt x="339" y="15"/>
                  </a:cubicBezTo>
                  <a:cubicBezTo>
                    <a:pt x="339" y="15"/>
                    <a:pt x="339" y="15"/>
                    <a:pt x="339" y="15"/>
                  </a:cubicBezTo>
                  <a:cubicBezTo>
                    <a:pt x="339" y="15"/>
                    <a:pt x="332" y="9"/>
                    <a:pt x="332" y="8"/>
                  </a:cubicBezTo>
                  <a:cubicBezTo>
                    <a:pt x="326" y="2"/>
                    <a:pt x="326" y="2"/>
                    <a:pt x="326" y="2"/>
                  </a:cubicBezTo>
                  <a:cubicBezTo>
                    <a:pt x="304" y="3"/>
                    <a:pt x="304" y="3"/>
                    <a:pt x="304" y="3"/>
                  </a:cubicBezTo>
                  <a:cubicBezTo>
                    <a:pt x="301" y="9"/>
                    <a:pt x="301" y="9"/>
                    <a:pt x="301" y="9"/>
                  </a:cubicBezTo>
                  <a:cubicBezTo>
                    <a:pt x="300" y="10"/>
                    <a:pt x="300" y="10"/>
                    <a:pt x="300" y="10"/>
                  </a:cubicBezTo>
                  <a:cubicBezTo>
                    <a:pt x="299" y="10"/>
                    <a:pt x="299" y="10"/>
                    <a:pt x="299" y="10"/>
                  </a:cubicBezTo>
                  <a:cubicBezTo>
                    <a:pt x="282" y="10"/>
                    <a:pt x="282" y="10"/>
                    <a:pt x="282" y="10"/>
                  </a:cubicBezTo>
                  <a:cubicBezTo>
                    <a:pt x="281" y="10"/>
                    <a:pt x="281" y="10"/>
                    <a:pt x="281" y="10"/>
                  </a:cubicBezTo>
                  <a:cubicBezTo>
                    <a:pt x="281" y="10"/>
                    <a:pt x="281" y="10"/>
                    <a:pt x="281" y="10"/>
                  </a:cubicBezTo>
                  <a:cubicBezTo>
                    <a:pt x="270" y="4"/>
                    <a:pt x="270" y="4"/>
                    <a:pt x="270" y="4"/>
                  </a:cubicBezTo>
                  <a:cubicBezTo>
                    <a:pt x="260" y="12"/>
                    <a:pt x="260" y="12"/>
                    <a:pt x="260" y="12"/>
                  </a:cubicBezTo>
                  <a:cubicBezTo>
                    <a:pt x="259" y="12"/>
                    <a:pt x="259" y="12"/>
                    <a:pt x="259" y="12"/>
                  </a:cubicBezTo>
                  <a:cubicBezTo>
                    <a:pt x="259" y="12"/>
                    <a:pt x="259" y="12"/>
                    <a:pt x="259" y="12"/>
                  </a:cubicBezTo>
                  <a:cubicBezTo>
                    <a:pt x="227" y="14"/>
                    <a:pt x="227" y="14"/>
                    <a:pt x="227" y="14"/>
                  </a:cubicBezTo>
                  <a:cubicBezTo>
                    <a:pt x="227" y="12"/>
                    <a:pt x="227" y="12"/>
                    <a:pt x="227" y="12"/>
                  </a:cubicBezTo>
                  <a:cubicBezTo>
                    <a:pt x="226" y="13"/>
                    <a:pt x="226" y="13"/>
                    <a:pt x="226" y="13"/>
                  </a:cubicBezTo>
                  <a:cubicBezTo>
                    <a:pt x="210" y="34"/>
                    <a:pt x="210" y="34"/>
                    <a:pt x="210" y="34"/>
                  </a:cubicBezTo>
                  <a:cubicBezTo>
                    <a:pt x="211" y="39"/>
                    <a:pt x="211" y="39"/>
                    <a:pt x="211" y="39"/>
                  </a:cubicBezTo>
                  <a:cubicBezTo>
                    <a:pt x="206" y="46"/>
                    <a:pt x="206" y="46"/>
                    <a:pt x="206" y="46"/>
                  </a:cubicBezTo>
                  <a:cubicBezTo>
                    <a:pt x="209" y="56"/>
                    <a:pt x="209" y="56"/>
                    <a:pt x="209" y="56"/>
                  </a:cubicBezTo>
                  <a:cubicBezTo>
                    <a:pt x="214" y="72"/>
                    <a:pt x="214" y="72"/>
                    <a:pt x="214" y="72"/>
                  </a:cubicBezTo>
                  <a:cubicBezTo>
                    <a:pt x="223" y="72"/>
                    <a:pt x="223" y="72"/>
                    <a:pt x="223" y="72"/>
                  </a:cubicBezTo>
                  <a:cubicBezTo>
                    <a:pt x="231" y="83"/>
                    <a:pt x="231" y="83"/>
                    <a:pt x="231" y="83"/>
                  </a:cubicBezTo>
                  <a:cubicBezTo>
                    <a:pt x="242" y="84"/>
                    <a:pt x="242" y="84"/>
                    <a:pt x="242" y="84"/>
                  </a:cubicBezTo>
                  <a:cubicBezTo>
                    <a:pt x="259" y="80"/>
                    <a:pt x="259" y="80"/>
                    <a:pt x="259" y="80"/>
                  </a:cubicBezTo>
                  <a:cubicBezTo>
                    <a:pt x="270" y="68"/>
                    <a:pt x="270" y="68"/>
                    <a:pt x="270" y="68"/>
                  </a:cubicBezTo>
                  <a:cubicBezTo>
                    <a:pt x="279" y="75"/>
                    <a:pt x="279" y="75"/>
                    <a:pt x="279" y="75"/>
                  </a:cubicBezTo>
                  <a:cubicBezTo>
                    <a:pt x="282" y="81"/>
                    <a:pt x="282" y="81"/>
                    <a:pt x="282" y="81"/>
                  </a:cubicBezTo>
                  <a:cubicBezTo>
                    <a:pt x="276" y="84"/>
                    <a:pt x="276" y="84"/>
                    <a:pt x="276" y="84"/>
                  </a:cubicBezTo>
                  <a:cubicBezTo>
                    <a:pt x="276" y="98"/>
                    <a:pt x="276" y="98"/>
                    <a:pt x="276" y="98"/>
                  </a:cubicBezTo>
                  <a:cubicBezTo>
                    <a:pt x="280" y="106"/>
                    <a:pt x="280" y="106"/>
                    <a:pt x="280" y="106"/>
                  </a:cubicBezTo>
                  <a:cubicBezTo>
                    <a:pt x="286" y="119"/>
                    <a:pt x="286" y="119"/>
                    <a:pt x="286" y="119"/>
                  </a:cubicBezTo>
                  <a:cubicBezTo>
                    <a:pt x="279" y="124"/>
                    <a:pt x="279" y="124"/>
                    <a:pt x="279" y="124"/>
                  </a:cubicBezTo>
                  <a:cubicBezTo>
                    <a:pt x="274" y="120"/>
                    <a:pt x="274" y="120"/>
                    <a:pt x="274" y="120"/>
                  </a:cubicBezTo>
                  <a:cubicBezTo>
                    <a:pt x="259" y="123"/>
                    <a:pt x="259" y="123"/>
                    <a:pt x="259" y="123"/>
                  </a:cubicBezTo>
                  <a:cubicBezTo>
                    <a:pt x="252" y="122"/>
                    <a:pt x="252" y="122"/>
                    <a:pt x="252" y="122"/>
                  </a:cubicBezTo>
                  <a:cubicBezTo>
                    <a:pt x="249" y="117"/>
                    <a:pt x="249" y="117"/>
                    <a:pt x="249" y="117"/>
                  </a:cubicBezTo>
                  <a:cubicBezTo>
                    <a:pt x="248" y="112"/>
                    <a:pt x="248" y="112"/>
                    <a:pt x="248" y="112"/>
                  </a:cubicBezTo>
                  <a:cubicBezTo>
                    <a:pt x="261" y="109"/>
                    <a:pt x="261" y="109"/>
                    <a:pt x="261" y="109"/>
                  </a:cubicBezTo>
                  <a:cubicBezTo>
                    <a:pt x="269" y="105"/>
                    <a:pt x="269" y="105"/>
                    <a:pt x="269" y="105"/>
                  </a:cubicBezTo>
                  <a:cubicBezTo>
                    <a:pt x="267" y="93"/>
                    <a:pt x="267" y="93"/>
                    <a:pt x="267" y="93"/>
                  </a:cubicBezTo>
                  <a:cubicBezTo>
                    <a:pt x="244" y="92"/>
                    <a:pt x="244" y="92"/>
                    <a:pt x="244" y="92"/>
                  </a:cubicBezTo>
                  <a:cubicBezTo>
                    <a:pt x="233" y="95"/>
                    <a:pt x="233" y="95"/>
                    <a:pt x="233" y="95"/>
                  </a:cubicBezTo>
                  <a:cubicBezTo>
                    <a:pt x="228" y="87"/>
                    <a:pt x="228" y="87"/>
                    <a:pt x="228" y="87"/>
                  </a:cubicBezTo>
                  <a:cubicBezTo>
                    <a:pt x="214" y="89"/>
                    <a:pt x="214" y="89"/>
                    <a:pt x="214" y="89"/>
                  </a:cubicBezTo>
                  <a:cubicBezTo>
                    <a:pt x="128" y="53"/>
                    <a:pt x="128" y="53"/>
                    <a:pt x="128" y="53"/>
                  </a:cubicBezTo>
                  <a:cubicBezTo>
                    <a:pt x="119" y="49"/>
                    <a:pt x="119" y="49"/>
                    <a:pt x="119" y="49"/>
                  </a:cubicBezTo>
                  <a:cubicBezTo>
                    <a:pt x="110" y="54"/>
                    <a:pt x="110" y="54"/>
                    <a:pt x="110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4" y="51"/>
                    <a:pt x="94" y="51"/>
                    <a:pt x="94" y="51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79" y="77"/>
                    <a:pt x="79" y="77"/>
                    <a:pt x="79" y="77"/>
                  </a:cubicBezTo>
                  <a:cubicBezTo>
                    <a:pt x="67" y="78"/>
                    <a:pt x="67" y="78"/>
                    <a:pt x="67" y="78"/>
                  </a:cubicBezTo>
                  <a:cubicBezTo>
                    <a:pt x="59" y="81"/>
                    <a:pt x="59" y="81"/>
                    <a:pt x="59" y="81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78" y="118"/>
                    <a:pt x="78" y="118"/>
                    <a:pt x="78" y="118"/>
                  </a:cubicBezTo>
                  <a:cubicBezTo>
                    <a:pt x="93" y="132"/>
                    <a:pt x="93" y="132"/>
                    <a:pt x="93" y="132"/>
                  </a:cubicBezTo>
                  <a:cubicBezTo>
                    <a:pt x="83" y="133"/>
                    <a:pt x="83" y="133"/>
                    <a:pt x="83" y="133"/>
                  </a:cubicBezTo>
                  <a:cubicBezTo>
                    <a:pt x="72" y="125"/>
                    <a:pt x="72" y="125"/>
                    <a:pt x="72" y="125"/>
                  </a:cubicBezTo>
                  <a:cubicBezTo>
                    <a:pt x="68" y="128"/>
                    <a:pt x="68" y="128"/>
                    <a:pt x="68" y="128"/>
                  </a:cubicBezTo>
                  <a:cubicBezTo>
                    <a:pt x="61" y="128"/>
                    <a:pt x="61" y="128"/>
                    <a:pt x="61" y="128"/>
                  </a:cubicBezTo>
                  <a:cubicBezTo>
                    <a:pt x="47" y="112"/>
                    <a:pt x="47" y="112"/>
                    <a:pt x="47" y="112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24" y="106"/>
                    <a:pt x="24" y="106"/>
                    <a:pt x="24" y="106"/>
                  </a:cubicBezTo>
                  <a:cubicBezTo>
                    <a:pt x="9" y="102"/>
                    <a:pt x="9" y="102"/>
                    <a:pt x="9" y="102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33" y="147"/>
                    <a:pt x="33" y="147"/>
                    <a:pt x="33" y="147"/>
                  </a:cubicBezTo>
                  <a:cubicBezTo>
                    <a:pt x="33" y="164"/>
                    <a:pt x="33" y="164"/>
                    <a:pt x="33" y="164"/>
                  </a:cubicBezTo>
                  <a:cubicBezTo>
                    <a:pt x="37" y="175"/>
                    <a:pt x="37" y="175"/>
                    <a:pt x="37" y="175"/>
                  </a:cubicBezTo>
                  <a:cubicBezTo>
                    <a:pt x="41" y="186"/>
                    <a:pt x="41" y="186"/>
                    <a:pt x="41" y="186"/>
                  </a:cubicBezTo>
                  <a:cubicBezTo>
                    <a:pt x="42" y="203"/>
                    <a:pt x="42" y="203"/>
                    <a:pt x="42" y="203"/>
                  </a:cubicBezTo>
                  <a:cubicBezTo>
                    <a:pt x="50" y="218"/>
                    <a:pt x="50" y="218"/>
                    <a:pt x="50" y="218"/>
                  </a:cubicBezTo>
                  <a:cubicBezTo>
                    <a:pt x="51" y="240"/>
                    <a:pt x="51" y="240"/>
                    <a:pt x="51" y="240"/>
                  </a:cubicBezTo>
                  <a:cubicBezTo>
                    <a:pt x="47" y="247"/>
                    <a:pt x="47" y="247"/>
                    <a:pt x="47" y="247"/>
                  </a:cubicBezTo>
                  <a:cubicBezTo>
                    <a:pt x="42" y="257"/>
                    <a:pt x="42" y="257"/>
                    <a:pt x="42" y="257"/>
                  </a:cubicBezTo>
                  <a:cubicBezTo>
                    <a:pt x="72" y="259"/>
                    <a:pt x="72" y="259"/>
                    <a:pt x="72" y="259"/>
                  </a:cubicBezTo>
                  <a:cubicBezTo>
                    <a:pt x="76" y="273"/>
                    <a:pt x="76" y="273"/>
                    <a:pt x="76" y="273"/>
                  </a:cubicBezTo>
                  <a:cubicBezTo>
                    <a:pt x="80" y="291"/>
                    <a:pt x="80" y="291"/>
                    <a:pt x="80" y="291"/>
                  </a:cubicBezTo>
                  <a:cubicBezTo>
                    <a:pt x="99" y="293"/>
                    <a:pt x="99" y="293"/>
                    <a:pt x="99" y="293"/>
                  </a:cubicBezTo>
                  <a:cubicBezTo>
                    <a:pt x="106" y="298"/>
                    <a:pt x="106" y="298"/>
                    <a:pt x="106" y="298"/>
                  </a:cubicBezTo>
                  <a:cubicBezTo>
                    <a:pt x="119" y="299"/>
                    <a:pt x="119" y="299"/>
                    <a:pt x="119" y="299"/>
                  </a:cubicBezTo>
                  <a:cubicBezTo>
                    <a:pt x="121" y="304"/>
                    <a:pt x="121" y="304"/>
                    <a:pt x="121" y="304"/>
                  </a:cubicBezTo>
                  <a:cubicBezTo>
                    <a:pt x="129" y="310"/>
                    <a:pt x="129" y="310"/>
                    <a:pt x="129" y="310"/>
                  </a:cubicBezTo>
                  <a:cubicBezTo>
                    <a:pt x="133" y="319"/>
                    <a:pt x="133" y="319"/>
                    <a:pt x="133" y="319"/>
                  </a:cubicBezTo>
                  <a:cubicBezTo>
                    <a:pt x="131" y="333"/>
                    <a:pt x="131" y="333"/>
                    <a:pt x="131" y="333"/>
                  </a:cubicBezTo>
                  <a:cubicBezTo>
                    <a:pt x="123" y="343"/>
                    <a:pt x="123" y="343"/>
                    <a:pt x="123" y="343"/>
                  </a:cubicBezTo>
                  <a:cubicBezTo>
                    <a:pt x="114" y="356"/>
                    <a:pt x="114" y="356"/>
                    <a:pt x="114" y="356"/>
                  </a:cubicBezTo>
                  <a:cubicBezTo>
                    <a:pt x="102" y="368"/>
                    <a:pt x="102" y="368"/>
                    <a:pt x="102" y="368"/>
                  </a:cubicBezTo>
                  <a:cubicBezTo>
                    <a:pt x="106" y="386"/>
                    <a:pt x="106" y="386"/>
                    <a:pt x="106" y="386"/>
                  </a:cubicBezTo>
                  <a:cubicBezTo>
                    <a:pt x="104" y="393"/>
                    <a:pt x="104" y="393"/>
                    <a:pt x="104" y="393"/>
                  </a:cubicBezTo>
                  <a:cubicBezTo>
                    <a:pt x="96" y="402"/>
                    <a:pt x="96" y="402"/>
                    <a:pt x="96" y="402"/>
                  </a:cubicBezTo>
                  <a:cubicBezTo>
                    <a:pt x="102" y="406"/>
                    <a:pt x="102" y="406"/>
                    <a:pt x="102" y="406"/>
                  </a:cubicBezTo>
                  <a:cubicBezTo>
                    <a:pt x="102" y="406"/>
                    <a:pt x="102" y="406"/>
                    <a:pt x="102" y="406"/>
                  </a:cubicBezTo>
                  <a:cubicBezTo>
                    <a:pt x="108" y="401"/>
                    <a:pt x="108" y="401"/>
                    <a:pt x="108" y="401"/>
                  </a:cubicBezTo>
                  <a:cubicBezTo>
                    <a:pt x="116" y="398"/>
                    <a:pt x="116" y="398"/>
                    <a:pt x="116" y="398"/>
                  </a:cubicBezTo>
                  <a:cubicBezTo>
                    <a:pt x="128" y="387"/>
                    <a:pt x="128" y="387"/>
                    <a:pt x="128" y="387"/>
                  </a:cubicBezTo>
                  <a:cubicBezTo>
                    <a:pt x="153" y="374"/>
                    <a:pt x="153" y="374"/>
                    <a:pt x="153" y="374"/>
                  </a:cubicBezTo>
                  <a:cubicBezTo>
                    <a:pt x="172" y="371"/>
                    <a:pt x="172" y="371"/>
                    <a:pt x="172" y="371"/>
                  </a:cubicBezTo>
                  <a:cubicBezTo>
                    <a:pt x="230" y="372"/>
                    <a:pt x="230" y="372"/>
                    <a:pt x="230" y="372"/>
                  </a:cubicBezTo>
                  <a:cubicBezTo>
                    <a:pt x="277" y="415"/>
                    <a:pt x="277" y="415"/>
                    <a:pt x="277" y="415"/>
                  </a:cubicBezTo>
                  <a:cubicBezTo>
                    <a:pt x="276" y="432"/>
                    <a:pt x="276" y="432"/>
                    <a:pt x="276" y="432"/>
                  </a:cubicBezTo>
                  <a:cubicBezTo>
                    <a:pt x="292" y="463"/>
                    <a:pt x="292" y="463"/>
                    <a:pt x="292" y="463"/>
                  </a:cubicBezTo>
                  <a:cubicBezTo>
                    <a:pt x="305" y="489"/>
                    <a:pt x="305" y="489"/>
                    <a:pt x="305" y="489"/>
                  </a:cubicBezTo>
                  <a:cubicBezTo>
                    <a:pt x="343" y="489"/>
                    <a:pt x="343" y="489"/>
                    <a:pt x="343" y="489"/>
                  </a:cubicBezTo>
                  <a:cubicBezTo>
                    <a:pt x="390" y="144"/>
                    <a:pt x="390" y="144"/>
                    <a:pt x="390" y="144"/>
                  </a:cubicBezTo>
                  <a:cubicBezTo>
                    <a:pt x="445" y="133"/>
                    <a:pt x="445" y="133"/>
                    <a:pt x="445" y="133"/>
                  </a:cubicBezTo>
                  <a:cubicBezTo>
                    <a:pt x="443" y="133"/>
                    <a:pt x="443" y="133"/>
                    <a:pt x="443" y="133"/>
                  </a:cubicBezTo>
                  <a:cubicBezTo>
                    <a:pt x="439" y="87"/>
                    <a:pt x="439" y="87"/>
                    <a:pt x="439" y="87"/>
                  </a:cubicBezTo>
                </a:path>
              </a:pathLst>
            </a:custGeom>
            <a:solidFill>
              <a:srgbClr val="FFFFFF">
                <a:lumMod val="85000"/>
              </a:srgbClr>
            </a:solidFill>
            <a:ln>
              <a:solidFill>
                <a:srgbClr val="FFFFFF">
                  <a:lumMod val="75000"/>
                </a:srgbClr>
              </a:solidFill>
            </a:ln>
            <a:effectLst/>
          </p:spPr>
          <p:txBody>
            <a:bodyPr/>
            <a:lstStyle/>
            <a:p>
              <a:pPr defTabSz="914308">
                <a:defRPr/>
              </a:pPr>
              <a:endParaRPr lang="ru-RU" sz="1867" kern="0">
                <a:solidFill>
                  <a:sysClr val="windowText" lastClr="000000"/>
                </a:solidFill>
                <a:latin typeface="Arial"/>
              </a:endParaRPr>
            </a:p>
          </p:txBody>
        </p:sp>
        <p:sp>
          <p:nvSpPr>
            <p:cNvPr id="369" name="Freeform 156">
              <a:extLst/>
            </p:cNvPr>
            <p:cNvSpPr>
              <a:spLocks/>
            </p:cNvSpPr>
            <p:nvPr/>
          </p:nvSpPr>
          <p:spPr bwMode="auto">
            <a:xfrm>
              <a:off x="5165125" y="4065402"/>
              <a:ext cx="1386435" cy="1088039"/>
            </a:xfrm>
            <a:custGeom>
              <a:avLst/>
              <a:gdLst>
                <a:gd name="T0" fmla="*/ 418 w 445"/>
                <a:gd name="T1" fmla="*/ 190 h 350"/>
                <a:gd name="T2" fmla="*/ 418 w 445"/>
                <a:gd name="T3" fmla="*/ 190 h 350"/>
                <a:gd name="T4" fmla="*/ 358 w 445"/>
                <a:gd name="T5" fmla="*/ 120 h 350"/>
                <a:gd name="T6" fmla="*/ 357 w 445"/>
                <a:gd name="T7" fmla="*/ 119 h 350"/>
                <a:gd name="T8" fmla="*/ 330 w 445"/>
                <a:gd name="T9" fmla="*/ 80 h 350"/>
                <a:gd name="T10" fmla="*/ 329 w 445"/>
                <a:gd name="T11" fmla="*/ 79 h 350"/>
                <a:gd name="T12" fmla="*/ 327 w 445"/>
                <a:gd name="T13" fmla="*/ 69 h 350"/>
                <a:gd name="T14" fmla="*/ 308 w 445"/>
                <a:gd name="T15" fmla="*/ 47 h 350"/>
                <a:gd name="T16" fmla="*/ 289 w 445"/>
                <a:gd name="T17" fmla="*/ 22 h 350"/>
                <a:gd name="T18" fmla="*/ 283 w 445"/>
                <a:gd name="T19" fmla="*/ 5 h 350"/>
                <a:gd name="T20" fmla="*/ 281 w 445"/>
                <a:gd name="T21" fmla="*/ 2 h 350"/>
                <a:gd name="T22" fmla="*/ 17 w 445"/>
                <a:gd name="T23" fmla="*/ 3 h 350"/>
                <a:gd name="T24" fmla="*/ 2 w 445"/>
                <a:gd name="T25" fmla="*/ 23 h 350"/>
                <a:gd name="T26" fmla="*/ 43 w 445"/>
                <a:gd name="T27" fmla="*/ 125 h 350"/>
                <a:gd name="T28" fmla="*/ 43 w 445"/>
                <a:gd name="T29" fmla="*/ 126 h 350"/>
                <a:gd name="T30" fmla="*/ 44 w 445"/>
                <a:gd name="T31" fmla="*/ 186 h 350"/>
                <a:gd name="T32" fmla="*/ 37 w 445"/>
                <a:gd name="T33" fmla="*/ 194 h 350"/>
                <a:gd name="T34" fmla="*/ 26 w 445"/>
                <a:gd name="T35" fmla="*/ 241 h 350"/>
                <a:gd name="T36" fmla="*/ 55 w 445"/>
                <a:gd name="T37" fmla="*/ 257 h 350"/>
                <a:gd name="T38" fmla="*/ 57 w 445"/>
                <a:gd name="T39" fmla="*/ 258 h 350"/>
                <a:gd name="T40" fmla="*/ 76 w 445"/>
                <a:gd name="T41" fmla="*/ 288 h 350"/>
                <a:gd name="T42" fmla="*/ 75 w 445"/>
                <a:gd name="T43" fmla="*/ 306 h 350"/>
                <a:gd name="T44" fmla="*/ 130 w 445"/>
                <a:gd name="T45" fmla="*/ 350 h 350"/>
                <a:gd name="T46" fmla="*/ 130 w 445"/>
                <a:gd name="T47" fmla="*/ 328 h 350"/>
                <a:gd name="T48" fmla="*/ 144 w 445"/>
                <a:gd name="T49" fmla="*/ 299 h 350"/>
                <a:gd name="T50" fmla="*/ 187 w 445"/>
                <a:gd name="T51" fmla="*/ 292 h 350"/>
                <a:gd name="T52" fmla="*/ 233 w 445"/>
                <a:gd name="T53" fmla="*/ 300 h 350"/>
                <a:gd name="T54" fmla="*/ 267 w 445"/>
                <a:gd name="T55" fmla="*/ 311 h 350"/>
                <a:gd name="T56" fmla="*/ 299 w 445"/>
                <a:gd name="T57" fmla="*/ 323 h 350"/>
                <a:gd name="T58" fmla="*/ 302 w 445"/>
                <a:gd name="T59" fmla="*/ 302 h 350"/>
                <a:gd name="T60" fmla="*/ 313 w 445"/>
                <a:gd name="T61" fmla="*/ 258 h 350"/>
                <a:gd name="T62" fmla="*/ 346 w 445"/>
                <a:gd name="T63" fmla="*/ 239 h 350"/>
                <a:gd name="T64" fmla="*/ 374 w 445"/>
                <a:gd name="T65" fmla="*/ 247 h 350"/>
                <a:gd name="T66" fmla="*/ 413 w 445"/>
                <a:gd name="T67" fmla="*/ 268 h 350"/>
                <a:gd name="T68" fmla="*/ 445 w 445"/>
                <a:gd name="T69" fmla="*/ 241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5" h="350">
                  <a:moveTo>
                    <a:pt x="438" y="230"/>
                  </a:moveTo>
                  <a:cubicBezTo>
                    <a:pt x="418" y="190"/>
                    <a:pt x="418" y="190"/>
                    <a:pt x="418" y="190"/>
                  </a:cubicBezTo>
                  <a:cubicBezTo>
                    <a:pt x="418" y="190"/>
                    <a:pt x="418" y="190"/>
                    <a:pt x="418" y="190"/>
                  </a:cubicBezTo>
                  <a:cubicBezTo>
                    <a:pt x="418" y="190"/>
                    <a:pt x="418" y="190"/>
                    <a:pt x="418" y="190"/>
                  </a:cubicBezTo>
                  <a:cubicBezTo>
                    <a:pt x="408" y="145"/>
                    <a:pt x="408" y="145"/>
                    <a:pt x="408" y="145"/>
                  </a:cubicBezTo>
                  <a:cubicBezTo>
                    <a:pt x="358" y="120"/>
                    <a:pt x="358" y="120"/>
                    <a:pt x="358" y="120"/>
                  </a:cubicBezTo>
                  <a:cubicBezTo>
                    <a:pt x="357" y="120"/>
                    <a:pt x="357" y="120"/>
                    <a:pt x="357" y="120"/>
                  </a:cubicBezTo>
                  <a:cubicBezTo>
                    <a:pt x="357" y="119"/>
                    <a:pt x="357" y="119"/>
                    <a:pt x="357" y="119"/>
                  </a:cubicBezTo>
                  <a:cubicBezTo>
                    <a:pt x="354" y="100"/>
                    <a:pt x="354" y="100"/>
                    <a:pt x="354" y="100"/>
                  </a:cubicBezTo>
                  <a:cubicBezTo>
                    <a:pt x="330" y="80"/>
                    <a:pt x="330" y="80"/>
                    <a:pt x="330" y="80"/>
                  </a:cubicBezTo>
                  <a:cubicBezTo>
                    <a:pt x="330" y="80"/>
                    <a:pt x="330" y="80"/>
                    <a:pt x="330" y="80"/>
                  </a:cubicBezTo>
                  <a:cubicBezTo>
                    <a:pt x="329" y="79"/>
                    <a:pt x="329" y="79"/>
                    <a:pt x="329" y="79"/>
                  </a:cubicBezTo>
                  <a:cubicBezTo>
                    <a:pt x="325" y="70"/>
                    <a:pt x="325" y="70"/>
                    <a:pt x="325" y="70"/>
                  </a:cubicBezTo>
                  <a:cubicBezTo>
                    <a:pt x="327" y="69"/>
                    <a:pt x="327" y="69"/>
                    <a:pt x="327" y="69"/>
                  </a:cubicBezTo>
                  <a:cubicBezTo>
                    <a:pt x="316" y="49"/>
                    <a:pt x="316" y="49"/>
                    <a:pt x="316" y="49"/>
                  </a:cubicBezTo>
                  <a:cubicBezTo>
                    <a:pt x="308" y="47"/>
                    <a:pt x="308" y="47"/>
                    <a:pt x="308" y="47"/>
                  </a:cubicBezTo>
                  <a:cubicBezTo>
                    <a:pt x="299" y="32"/>
                    <a:pt x="299" y="32"/>
                    <a:pt x="299" y="32"/>
                  </a:cubicBezTo>
                  <a:cubicBezTo>
                    <a:pt x="289" y="22"/>
                    <a:pt x="289" y="22"/>
                    <a:pt x="289" y="22"/>
                  </a:cubicBezTo>
                  <a:cubicBezTo>
                    <a:pt x="278" y="18"/>
                    <a:pt x="278" y="18"/>
                    <a:pt x="278" y="18"/>
                  </a:cubicBezTo>
                  <a:cubicBezTo>
                    <a:pt x="283" y="5"/>
                    <a:pt x="283" y="5"/>
                    <a:pt x="283" y="5"/>
                  </a:cubicBezTo>
                  <a:cubicBezTo>
                    <a:pt x="281" y="0"/>
                    <a:pt x="281" y="0"/>
                    <a:pt x="281" y="0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4" y="27"/>
                    <a:pt x="32" y="94"/>
                    <a:pt x="32" y="94"/>
                  </a:cubicBezTo>
                  <a:cubicBezTo>
                    <a:pt x="43" y="125"/>
                    <a:pt x="43" y="125"/>
                    <a:pt x="43" y="125"/>
                  </a:cubicBezTo>
                  <a:cubicBezTo>
                    <a:pt x="43" y="126"/>
                    <a:pt x="43" y="126"/>
                    <a:pt x="43" y="126"/>
                  </a:cubicBezTo>
                  <a:cubicBezTo>
                    <a:pt x="43" y="126"/>
                    <a:pt x="43" y="126"/>
                    <a:pt x="43" y="126"/>
                  </a:cubicBezTo>
                  <a:cubicBezTo>
                    <a:pt x="44" y="185"/>
                    <a:pt x="44" y="185"/>
                    <a:pt x="44" y="185"/>
                  </a:cubicBezTo>
                  <a:cubicBezTo>
                    <a:pt x="44" y="186"/>
                    <a:pt x="44" y="186"/>
                    <a:pt x="44" y="186"/>
                  </a:cubicBezTo>
                  <a:cubicBezTo>
                    <a:pt x="44" y="186"/>
                    <a:pt x="44" y="186"/>
                    <a:pt x="44" y="186"/>
                  </a:cubicBezTo>
                  <a:cubicBezTo>
                    <a:pt x="37" y="194"/>
                    <a:pt x="37" y="194"/>
                    <a:pt x="37" y="194"/>
                  </a:cubicBezTo>
                  <a:cubicBezTo>
                    <a:pt x="27" y="233"/>
                    <a:pt x="27" y="233"/>
                    <a:pt x="27" y="233"/>
                  </a:cubicBezTo>
                  <a:cubicBezTo>
                    <a:pt x="26" y="241"/>
                    <a:pt x="26" y="241"/>
                    <a:pt x="26" y="241"/>
                  </a:cubicBezTo>
                  <a:cubicBezTo>
                    <a:pt x="42" y="259"/>
                    <a:pt x="42" y="259"/>
                    <a:pt x="42" y="259"/>
                  </a:cubicBezTo>
                  <a:cubicBezTo>
                    <a:pt x="55" y="257"/>
                    <a:pt x="55" y="257"/>
                    <a:pt x="55" y="257"/>
                  </a:cubicBezTo>
                  <a:cubicBezTo>
                    <a:pt x="56" y="257"/>
                    <a:pt x="56" y="257"/>
                    <a:pt x="56" y="257"/>
                  </a:cubicBezTo>
                  <a:cubicBezTo>
                    <a:pt x="57" y="258"/>
                    <a:pt x="57" y="258"/>
                    <a:pt x="57" y="258"/>
                  </a:cubicBezTo>
                  <a:cubicBezTo>
                    <a:pt x="76" y="288"/>
                    <a:pt x="76" y="288"/>
                    <a:pt x="76" y="288"/>
                  </a:cubicBezTo>
                  <a:cubicBezTo>
                    <a:pt x="76" y="288"/>
                    <a:pt x="76" y="288"/>
                    <a:pt x="76" y="288"/>
                  </a:cubicBezTo>
                  <a:cubicBezTo>
                    <a:pt x="76" y="289"/>
                    <a:pt x="76" y="289"/>
                    <a:pt x="76" y="289"/>
                  </a:cubicBezTo>
                  <a:cubicBezTo>
                    <a:pt x="75" y="306"/>
                    <a:pt x="75" y="306"/>
                    <a:pt x="75" y="306"/>
                  </a:cubicBezTo>
                  <a:cubicBezTo>
                    <a:pt x="101" y="332"/>
                    <a:pt x="101" y="332"/>
                    <a:pt x="101" y="332"/>
                  </a:cubicBezTo>
                  <a:cubicBezTo>
                    <a:pt x="130" y="350"/>
                    <a:pt x="130" y="350"/>
                    <a:pt x="130" y="350"/>
                  </a:cubicBezTo>
                  <a:cubicBezTo>
                    <a:pt x="130" y="347"/>
                    <a:pt x="130" y="347"/>
                    <a:pt x="130" y="347"/>
                  </a:cubicBezTo>
                  <a:cubicBezTo>
                    <a:pt x="130" y="328"/>
                    <a:pt x="130" y="328"/>
                    <a:pt x="130" y="328"/>
                  </a:cubicBezTo>
                  <a:cubicBezTo>
                    <a:pt x="143" y="315"/>
                    <a:pt x="143" y="315"/>
                    <a:pt x="143" y="315"/>
                  </a:cubicBezTo>
                  <a:cubicBezTo>
                    <a:pt x="144" y="299"/>
                    <a:pt x="144" y="299"/>
                    <a:pt x="144" y="299"/>
                  </a:cubicBezTo>
                  <a:cubicBezTo>
                    <a:pt x="169" y="296"/>
                    <a:pt x="169" y="296"/>
                    <a:pt x="169" y="296"/>
                  </a:cubicBezTo>
                  <a:cubicBezTo>
                    <a:pt x="187" y="292"/>
                    <a:pt x="187" y="292"/>
                    <a:pt x="187" y="292"/>
                  </a:cubicBezTo>
                  <a:cubicBezTo>
                    <a:pt x="210" y="293"/>
                    <a:pt x="210" y="293"/>
                    <a:pt x="210" y="293"/>
                  </a:cubicBezTo>
                  <a:cubicBezTo>
                    <a:pt x="233" y="300"/>
                    <a:pt x="233" y="300"/>
                    <a:pt x="233" y="300"/>
                  </a:cubicBezTo>
                  <a:cubicBezTo>
                    <a:pt x="251" y="300"/>
                    <a:pt x="251" y="300"/>
                    <a:pt x="251" y="300"/>
                  </a:cubicBezTo>
                  <a:cubicBezTo>
                    <a:pt x="267" y="311"/>
                    <a:pt x="267" y="311"/>
                    <a:pt x="267" y="311"/>
                  </a:cubicBezTo>
                  <a:cubicBezTo>
                    <a:pt x="285" y="312"/>
                    <a:pt x="285" y="312"/>
                    <a:pt x="285" y="312"/>
                  </a:cubicBezTo>
                  <a:cubicBezTo>
                    <a:pt x="299" y="323"/>
                    <a:pt x="299" y="323"/>
                    <a:pt x="299" y="323"/>
                  </a:cubicBezTo>
                  <a:cubicBezTo>
                    <a:pt x="309" y="320"/>
                    <a:pt x="309" y="320"/>
                    <a:pt x="309" y="320"/>
                  </a:cubicBezTo>
                  <a:cubicBezTo>
                    <a:pt x="302" y="302"/>
                    <a:pt x="302" y="302"/>
                    <a:pt x="302" y="302"/>
                  </a:cubicBezTo>
                  <a:cubicBezTo>
                    <a:pt x="306" y="279"/>
                    <a:pt x="306" y="279"/>
                    <a:pt x="306" y="279"/>
                  </a:cubicBezTo>
                  <a:cubicBezTo>
                    <a:pt x="313" y="258"/>
                    <a:pt x="313" y="258"/>
                    <a:pt x="313" y="258"/>
                  </a:cubicBezTo>
                  <a:cubicBezTo>
                    <a:pt x="329" y="250"/>
                    <a:pt x="329" y="250"/>
                    <a:pt x="329" y="250"/>
                  </a:cubicBezTo>
                  <a:cubicBezTo>
                    <a:pt x="346" y="239"/>
                    <a:pt x="346" y="239"/>
                    <a:pt x="346" y="239"/>
                  </a:cubicBezTo>
                  <a:cubicBezTo>
                    <a:pt x="359" y="239"/>
                    <a:pt x="359" y="239"/>
                    <a:pt x="359" y="239"/>
                  </a:cubicBezTo>
                  <a:cubicBezTo>
                    <a:pt x="374" y="247"/>
                    <a:pt x="374" y="247"/>
                    <a:pt x="374" y="247"/>
                  </a:cubicBezTo>
                  <a:cubicBezTo>
                    <a:pt x="394" y="258"/>
                    <a:pt x="394" y="258"/>
                    <a:pt x="394" y="258"/>
                  </a:cubicBezTo>
                  <a:cubicBezTo>
                    <a:pt x="413" y="268"/>
                    <a:pt x="413" y="268"/>
                    <a:pt x="413" y="268"/>
                  </a:cubicBezTo>
                  <a:cubicBezTo>
                    <a:pt x="444" y="268"/>
                    <a:pt x="444" y="268"/>
                    <a:pt x="444" y="268"/>
                  </a:cubicBezTo>
                  <a:cubicBezTo>
                    <a:pt x="445" y="241"/>
                    <a:pt x="445" y="241"/>
                    <a:pt x="445" y="241"/>
                  </a:cubicBezTo>
                  <a:cubicBezTo>
                    <a:pt x="444" y="239"/>
                    <a:pt x="438" y="230"/>
                    <a:pt x="438" y="230"/>
                  </a:cubicBezTo>
                </a:path>
              </a:pathLst>
            </a:custGeom>
            <a:solidFill>
              <a:srgbClr val="00B05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2000" tIns="72000" rIns="72000" bIns="72000" anchor="ctr"/>
            <a:lstStyle/>
            <a:p>
              <a:pPr algn="ctr" defTabSz="914308">
                <a:defRPr/>
              </a:pPr>
              <a:endParaRPr lang="ru-RU" sz="1200" kern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370" name="Freeform 158">
              <a:extLst/>
            </p:cNvPr>
            <p:cNvSpPr>
              <a:spLocks/>
            </p:cNvSpPr>
            <p:nvPr/>
          </p:nvSpPr>
          <p:spPr bwMode="auto">
            <a:xfrm>
              <a:off x="6009687" y="3527733"/>
              <a:ext cx="1907140" cy="1375925"/>
            </a:xfrm>
            <a:custGeom>
              <a:avLst/>
              <a:gdLst>
                <a:gd name="T0" fmla="*/ 543 w 568"/>
                <a:gd name="T1" fmla="*/ 106 h 443"/>
                <a:gd name="T2" fmla="*/ 526 w 568"/>
                <a:gd name="T3" fmla="*/ 103 h 443"/>
                <a:gd name="T4" fmla="*/ 488 w 568"/>
                <a:gd name="T5" fmla="*/ 63 h 443"/>
                <a:gd name="T6" fmla="*/ 471 w 568"/>
                <a:gd name="T7" fmla="*/ 18 h 443"/>
                <a:gd name="T8" fmla="*/ 451 w 568"/>
                <a:gd name="T9" fmla="*/ 23 h 443"/>
                <a:gd name="T10" fmla="*/ 394 w 568"/>
                <a:gd name="T11" fmla="*/ 24 h 443"/>
                <a:gd name="T12" fmla="*/ 365 w 568"/>
                <a:gd name="T13" fmla="*/ 5 h 443"/>
                <a:gd name="T14" fmla="*/ 355 w 568"/>
                <a:gd name="T15" fmla="*/ 16 h 443"/>
                <a:gd name="T16" fmla="*/ 340 w 568"/>
                <a:gd name="T17" fmla="*/ 24 h 443"/>
                <a:gd name="T18" fmla="*/ 321 w 568"/>
                <a:gd name="T19" fmla="*/ 24 h 443"/>
                <a:gd name="T20" fmla="*/ 297 w 568"/>
                <a:gd name="T21" fmla="*/ 12 h 443"/>
                <a:gd name="T22" fmla="*/ 284 w 568"/>
                <a:gd name="T23" fmla="*/ 14 h 443"/>
                <a:gd name="T24" fmla="*/ 270 w 568"/>
                <a:gd name="T25" fmla="*/ 6 h 443"/>
                <a:gd name="T26" fmla="*/ 233 w 568"/>
                <a:gd name="T27" fmla="*/ 6 h 443"/>
                <a:gd name="T28" fmla="*/ 214 w 568"/>
                <a:gd name="T29" fmla="*/ 16 h 443"/>
                <a:gd name="T30" fmla="*/ 206 w 568"/>
                <a:gd name="T31" fmla="*/ 32 h 443"/>
                <a:gd name="T32" fmla="*/ 207 w 568"/>
                <a:gd name="T33" fmla="*/ 57 h 443"/>
                <a:gd name="T34" fmla="*/ 247 w 568"/>
                <a:gd name="T35" fmla="*/ 60 h 443"/>
                <a:gd name="T36" fmla="*/ 272 w 568"/>
                <a:gd name="T37" fmla="*/ 49 h 443"/>
                <a:gd name="T38" fmla="*/ 294 w 568"/>
                <a:gd name="T39" fmla="*/ 36 h 443"/>
                <a:gd name="T40" fmla="*/ 326 w 568"/>
                <a:gd name="T41" fmla="*/ 47 h 443"/>
                <a:gd name="T42" fmla="*/ 304 w 568"/>
                <a:gd name="T43" fmla="*/ 76 h 443"/>
                <a:gd name="T44" fmla="*/ 256 w 568"/>
                <a:gd name="T45" fmla="*/ 86 h 443"/>
                <a:gd name="T46" fmla="*/ 215 w 568"/>
                <a:gd name="T47" fmla="*/ 82 h 443"/>
                <a:gd name="T48" fmla="*/ 180 w 568"/>
                <a:gd name="T49" fmla="*/ 85 h 443"/>
                <a:gd name="T50" fmla="*/ 116 w 568"/>
                <a:gd name="T51" fmla="*/ 87 h 443"/>
                <a:gd name="T52" fmla="*/ 84 w 568"/>
                <a:gd name="T53" fmla="*/ 87 h 443"/>
                <a:gd name="T54" fmla="*/ 53 w 568"/>
                <a:gd name="T55" fmla="*/ 103 h 443"/>
                <a:gd name="T56" fmla="*/ 28 w 568"/>
                <a:gd name="T57" fmla="*/ 145 h 443"/>
                <a:gd name="T58" fmla="*/ 5 w 568"/>
                <a:gd name="T59" fmla="*/ 156 h 443"/>
                <a:gd name="T60" fmla="*/ 0 w 568"/>
                <a:gd name="T61" fmla="*/ 196 h 443"/>
                <a:gd name="T62" fmla="*/ 5 w 568"/>
                <a:gd name="T63" fmla="*/ 242 h 443"/>
                <a:gd name="T64" fmla="*/ 33 w 568"/>
                <a:gd name="T65" fmla="*/ 271 h 443"/>
                <a:gd name="T66" fmla="*/ 87 w 568"/>
                <a:gd name="T67" fmla="*/ 315 h 443"/>
                <a:gd name="T68" fmla="*/ 98 w 568"/>
                <a:gd name="T69" fmla="*/ 362 h 443"/>
                <a:gd name="T70" fmla="*/ 125 w 568"/>
                <a:gd name="T71" fmla="*/ 413 h 443"/>
                <a:gd name="T72" fmla="*/ 132 w 568"/>
                <a:gd name="T73" fmla="*/ 440 h 443"/>
                <a:gd name="T74" fmla="*/ 207 w 568"/>
                <a:gd name="T75" fmla="*/ 418 h 443"/>
                <a:gd name="T76" fmla="*/ 255 w 568"/>
                <a:gd name="T77" fmla="*/ 418 h 443"/>
                <a:gd name="T78" fmla="*/ 338 w 568"/>
                <a:gd name="T79" fmla="*/ 415 h 443"/>
                <a:gd name="T80" fmla="*/ 393 w 568"/>
                <a:gd name="T81" fmla="*/ 433 h 443"/>
                <a:gd name="T82" fmla="*/ 441 w 568"/>
                <a:gd name="T83" fmla="*/ 439 h 443"/>
                <a:gd name="T84" fmla="*/ 461 w 568"/>
                <a:gd name="T85" fmla="*/ 440 h 443"/>
                <a:gd name="T86" fmla="*/ 448 w 568"/>
                <a:gd name="T87" fmla="*/ 399 h 443"/>
                <a:gd name="T88" fmla="*/ 463 w 568"/>
                <a:gd name="T89" fmla="*/ 381 h 443"/>
                <a:gd name="T90" fmla="*/ 484 w 568"/>
                <a:gd name="T91" fmla="*/ 365 h 443"/>
                <a:gd name="T92" fmla="*/ 477 w 568"/>
                <a:gd name="T93" fmla="*/ 332 h 443"/>
                <a:gd name="T94" fmla="*/ 436 w 568"/>
                <a:gd name="T95" fmla="*/ 211 h 443"/>
                <a:gd name="T96" fmla="*/ 395 w 568"/>
                <a:gd name="T97" fmla="*/ 205 h 443"/>
                <a:gd name="T98" fmla="*/ 506 w 568"/>
                <a:gd name="T99" fmla="*/ 140 h 443"/>
                <a:gd name="T100" fmla="*/ 543 w 568"/>
                <a:gd name="T101" fmla="*/ 142 h 443"/>
                <a:gd name="T102" fmla="*/ 540 w 568"/>
                <a:gd name="T103" fmla="*/ 121 h 443"/>
                <a:gd name="connsiteX0" fmla="*/ 9507 w 10000"/>
                <a:gd name="connsiteY0" fmla="*/ 2731 h 10000"/>
                <a:gd name="connsiteX1" fmla="*/ 9560 w 10000"/>
                <a:gd name="connsiteY1" fmla="*/ 2506 h 10000"/>
                <a:gd name="connsiteX2" fmla="*/ 9560 w 10000"/>
                <a:gd name="connsiteY2" fmla="*/ 2393 h 10000"/>
                <a:gd name="connsiteX3" fmla="*/ 9296 w 10000"/>
                <a:gd name="connsiteY3" fmla="*/ 2348 h 10000"/>
                <a:gd name="connsiteX4" fmla="*/ 9261 w 10000"/>
                <a:gd name="connsiteY4" fmla="*/ 2348 h 10000"/>
                <a:gd name="connsiteX5" fmla="*/ 9261 w 10000"/>
                <a:gd name="connsiteY5" fmla="*/ 2325 h 10000"/>
                <a:gd name="connsiteX6" fmla="*/ 9155 w 10000"/>
                <a:gd name="connsiteY6" fmla="*/ 1964 h 10000"/>
                <a:gd name="connsiteX7" fmla="*/ 8592 w 10000"/>
                <a:gd name="connsiteY7" fmla="*/ 1422 h 10000"/>
                <a:gd name="connsiteX8" fmla="*/ 8592 w 10000"/>
                <a:gd name="connsiteY8" fmla="*/ 1422 h 10000"/>
                <a:gd name="connsiteX9" fmla="*/ 8574 w 10000"/>
                <a:gd name="connsiteY9" fmla="*/ 1400 h 10000"/>
                <a:gd name="connsiteX10" fmla="*/ 8521 w 10000"/>
                <a:gd name="connsiteY10" fmla="*/ 1174 h 10000"/>
                <a:gd name="connsiteX11" fmla="*/ 8292 w 10000"/>
                <a:gd name="connsiteY11" fmla="*/ 406 h 10000"/>
                <a:gd name="connsiteX12" fmla="*/ 8134 w 10000"/>
                <a:gd name="connsiteY12" fmla="*/ 384 h 10000"/>
                <a:gd name="connsiteX13" fmla="*/ 7940 w 10000"/>
                <a:gd name="connsiteY13" fmla="*/ 519 h 10000"/>
                <a:gd name="connsiteX14" fmla="*/ 7940 w 10000"/>
                <a:gd name="connsiteY14" fmla="*/ 519 h 10000"/>
                <a:gd name="connsiteX15" fmla="*/ 7923 w 10000"/>
                <a:gd name="connsiteY15" fmla="*/ 519 h 10000"/>
                <a:gd name="connsiteX16" fmla="*/ 6954 w 10000"/>
                <a:gd name="connsiteY16" fmla="*/ 542 h 10000"/>
                <a:gd name="connsiteX17" fmla="*/ 6937 w 10000"/>
                <a:gd name="connsiteY17" fmla="*/ 542 h 10000"/>
                <a:gd name="connsiteX18" fmla="*/ 6919 w 10000"/>
                <a:gd name="connsiteY18" fmla="*/ 542 h 10000"/>
                <a:gd name="connsiteX19" fmla="*/ 6637 w 10000"/>
                <a:gd name="connsiteY19" fmla="*/ 135 h 10000"/>
                <a:gd name="connsiteX20" fmla="*/ 6426 w 10000"/>
                <a:gd name="connsiteY20" fmla="*/ 113 h 10000"/>
                <a:gd name="connsiteX21" fmla="*/ 6268 w 10000"/>
                <a:gd name="connsiteY21" fmla="*/ 339 h 10000"/>
                <a:gd name="connsiteX22" fmla="*/ 6268 w 10000"/>
                <a:gd name="connsiteY22" fmla="*/ 361 h 10000"/>
                <a:gd name="connsiteX23" fmla="*/ 6177 w 10000"/>
                <a:gd name="connsiteY23" fmla="*/ 48 h 10000"/>
                <a:gd name="connsiteX24" fmla="*/ 6109 w 10000"/>
                <a:gd name="connsiteY24" fmla="*/ 406 h 10000"/>
                <a:gd name="connsiteX25" fmla="*/ 6004 w 10000"/>
                <a:gd name="connsiteY25" fmla="*/ 519 h 10000"/>
                <a:gd name="connsiteX26" fmla="*/ 5986 w 10000"/>
                <a:gd name="connsiteY26" fmla="*/ 542 h 10000"/>
                <a:gd name="connsiteX27" fmla="*/ 5968 w 10000"/>
                <a:gd name="connsiteY27" fmla="*/ 542 h 10000"/>
                <a:gd name="connsiteX28" fmla="*/ 5687 w 10000"/>
                <a:gd name="connsiteY28" fmla="*/ 542 h 10000"/>
                <a:gd name="connsiteX29" fmla="*/ 5651 w 10000"/>
                <a:gd name="connsiteY29" fmla="*/ 542 h 10000"/>
                <a:gd name="connsiteX30" fmla="*/ 5651 w 10000"/>
                <a:gd name="connsiteY30" fmla="*/ 519 h 10000"/>
                <a:gd name="connsiteX31" fmla="*/ 5352 w 10000"/>
                <a:gd name="connsiteY31" fmla="*/ 158 h 10000"/>
                <a:gd name="connsiteX32" fmla="*/ 5229 w 10000"/>
                <a:gd name="connsiteY32" fmla="*/ 271 h 10000"/>
                <a:gd name="connsiteX33" fmla="*/ 5211 w 10000"/>
                <a:gd name="connsiteY33" fmla="*/ 271 h 10000"/>
                <a:gd name="connsiteX34" fmla="*/ 5211 w 10000"/>
                <a:gd name="connsiteY34" fmla="*/ 271 h 10000"/>
                <a:gd name="connsiteX35" fmla="*/ 5000 w 10000"/>
                <a:gd name="connsiteY35" fmla="*/ 316 h 10000"/>
                <a:gd name="connsiteX36" fmla="*/ 4982 w 10000"/>
                <a:gd name="connsiteY36" fmla="*/ 316 h 10000"/>
                <a:gd name="connsiteX37" fmla="*/ 4982 w 10000"/>
                <a:gd name="connsiteY37" fmla="*/ 293 h 10000"/>
                <a:gd name="connsiteX38" fmla="*/ 4754 w 10000"/>
                <a:gd name="connsiteY38" fmla="*/ 135 h 10000"/>
                <a:gd name="connsiteX39" fmla="*/ 4507 w 10000"/>
                <a:gd name="connsiteY39" fmla="*/ 0 h 10000"/>
                <a:gd name="connsiteX40" fmla="*/ 4384 w 10000"/>
                <a:gd name="connsiteY40" fmla="*/ 0 h 10000"/>
                <a:gd name="connsiteX41" fmla="*/ 4102 w 10000"/>
                <a:gd name="connsiteY41" fmla="*/ 135 h 10000"/>
                <a:gd name="connsiteX42" fmla="*/ 3785 w 10000"/>
                <a:gd name="connsiteY42" fmla="*/ 361 h 10000"/>
                <a:gd name="connsiteX43" fmla="*/ 3785 w 10000"/>
                <a:gd name="connsiteY43" fmla="*/ 361 h 10000"/>
                <a:gd name="connsiteX44" fmla="*/ 3768 w 10000"/>
                <a:gd name="connsiteY44" fmla="*/ 361 h 10000"/>
                <a:gd name="connsiteX45" fmla="*/ 3644 w 10000"/>
                <a:gd name="connsiteY45" fmla="*/ 406 h 10000"/>
                <a:gd name="connsiteX46" fmla="*/ 3574 w 10000"/>
                <a:gd name="connsiteY46" fmla="*/ 655 h 10000"/>
                <a:gd name="connsiteX47" fmla="*/ 3627 w 10000"/>
                <a:gd name="connsiteY47" fmla="*/ 722 h 10000"/>
                <a:gd name="connsiteX48" fmla="*/ 3627 w 10000"/>
                <a:gd name="connsiteY48" fmla="*/ 722 h 10000"/>
                <a:gd name="connsiteX49" fmla="*/ 3627 w 10000"/>
                <a:gd name="connsiteY49" fmla="*/ 745 h 10000"/>
                <a:gd name="connsiteX50" fmla="*/ 3644 w 10000"/>
                <a:gd name="connsiteY50" fmla="*/ 1287 h 10000"/>
                <a:gd name="connsiteX51" fmla="*/ 3662 w 10000"/>
                <a:gd name="connsiteY51" fmla="*/ 1490 h 10000"/>
                <a:gd name="connsiteX52" fmla="*/ 3944 w 10000"/>
                <a:gd name="connsiteY52" fmla="*/ 1354 h 10000"/>
                <a:gd name="connsiteX53" fmla="*/ 4349 w 10000"/>
                <a:gd name="connsiteY53" fmla="*/ 1354 h 10000"/>
                <a:gd name="connsiteX54" fmla="*/ 4525 w 10000"/>
                <a:gd name="connsiteY54" fmla="*/ 1445 h 10000"/>
                <a:gd name="connsiteX55" fmla="*/ 4701 w 10000"/>
                <a:gd name="connsiteY55" fmla="*/ 1512 h 10000"/>
                <a:gd name="connsiteX56" fmla="*/ 4789 w 10000"/>
                <a:gd name="connsiteY56" fmla="*/ 1106 h 10000"/>
                <a:gd name="connsiteX57" fmla="*/ 5070 w 10000"/>
                <a:gd name="connsiteY57" fmla="*/ 971 h 10000"/>
                <a:gd name="connsiteX58" fmla="*/ 5264 w 10000"/>
                <a:gd name="connsiteY58" fmla="*/ 1016 h 10000"/>
                <a:gd name="connsiteX59" fmla="*/ 5176 w 10000"/>
                <a:gd name="connsiteY59" fmla="*/ 813 h 10000"/>
                <a:gd name="connsiteX60" fmla="*/ 5440 w 10000"/>
                <a:gd name="connsiteY60" fmla="*/ 790 h 10000"/>
                <a:gd name="connsiteX61" fmla="*/ 5599 w 10000"/>
                <a:gd name="connsiteY61" fmla="*/ 790 h 10000"/>
                <a:gd name="connsiteX62" fmla="*/ 5739 w 10000"/>
                <a:gd name="connsiteY62" fmla="*/ 1061 h 10000"/>
                <a:gd name="connsiteX63" fmla="*/ 5546 w 10000"/>
                <a:gd name="connsiteY63" fmla="*/ 1106 h 10000"/>
                <a:gd name="connsiteX64" fmla="*/ 5511 w 10000"/>
                <a:gd name="connsiteY64" fmla="*/ 1535 h 10000"/>
                <a:gd name="connsiteX65" fmla="*/ 5352 w 10000"/>
                <a:gd name="connsiteY65" fmla="*/ 1716 h 10000"/>
                <a:gd name="connsiteX66" fmla="*/ 4982 w 10000"/>
                <a:gd name="connsiteY66" fmla="*/ 1738 h 10000"/>
                <a:gd name="connsiteX67" fmla="*/ 4824 w 10000"/>
                <a:gd name="connsiteY67" fmla="*/ 1738 h 10000"/>
                <a:gd name="connsiteX68" fmla="*/ 4507 w 10000"/>
                <a:gd name="connsiteY68" fmla="*/ 1941 h 10000"/>
                <a:gd name="connsiteX69" fmla="*/ 4296 w 10000"/>
                <a:gd name="connsiteY69" fmla="*/ 1941 h 10000"/>
                <a:gd name="connsiteX70" fmla="*/ 4225 w 10000"/>
                <a:gd name="connsiteY70" fmla="*/ 1851 h 10000"/>
                <a:gd name="connsiteX71" fmla="*/ 3785 w 10000"/>
                <a:gd name="connsiteY71" fmla="*/ 1851 h 10000"/>
                <a:gd name="connsiteX72" fmla="*/ 3644 w 10000"/>
                <a:gd name="connsiteY72" fmla="*/ 1761 h 10000"/>
                <a:gd name="connsiteX73" fmla="*/ 3380 w 10000"/>
                <a:gd name="connsiteY73" fmla="*/ 1828 h 10000"/>
                <a:gd name="connsiteX74" fmla="*/ 3169 w 10000"/>
                <a:gd name="connsiteY74" fmla="*/ 1919 h 10000"/>
                <a:gd name="connsiteX75" fmla="*/ 2975 w 10000"/>
                <a:gd name="connsiteY75" fmla="*/ 1851 h 10000"/>
                <a:gd name="connsiteX76" fmla="*/ 2271 w 10000"/>
                <a:gd name="connsiteY76" fmla="*/ 1851 h 10000"/>
                <a:gd name="connsiteX77" fmla="*/ 2042 w 10000"/>
                <a:gd name="connsiteY77" fmla="*/ 1964 h 10000"/>
                <a:gd name="connsiteX78" fmla="*/ 1796 w 10000"/>
                <a:gd name="connsiteY78" fmla="*/ 1964 h 10000"/>
                <a:gd name="connsiteX79" fmla="*/ 1585 w 10000"/>
                <a:gd name="connsiteY79" fmla="*/ 2009 h 10000"/>
                <a:gd name="connsiteX80" fmla="*/ 1479 w 10000"/>
                <a:gd name="connsiteY80" fmla="*/ 1964 h 10000"/>
                <a:gd name="connsiteX81" fmla="*/ 1285 w 10000"/>
                <a:gd name="connsiteY81" fmla="*/ 2032 h 10000"/>
                <a:gd name="connsiteX82" fmla="*/ 1180 w 10000"/>
                <a:gd name="connsiteY82" fmla="*/ 2144 h 10000"/>
                <a:gd name="connsiteX83" fmla="*/ 933 w 10000"/>
                <a:gd name="connsiteY83" fmla="*/ 2325 h 10000"/>
                <a:gd name="connsiteX84" fmla="*/ 739 w 10000"/>
                <a:gd name="connsiteY84" fmla="*/ 2348 h 10000"/>
                <a:gd name="connsiteX85" fmla="*/ 669 w 10000"/>
                <a:gd name="connsiteY85" fmla="*/ 2957 h 10000"/>
                <a:gd name="connsiteX86" fmla="*/ 493 w 10000"/>
                <a:gd name="connsiteY86" fmla="*/ 3273 h 10000"/>
                <a:gd name="connsiteX87" fmla="*/ 264 w 10000"/>
                <a:gd name="connsiteY87" fmla="*/ 3228 h 10000"/>
                <a:gd name="connsiteX88" fmla="*/ 88 w 10000"/>
                <a:gd name="connsiteY88" fmla="*/ 3341 h 10000"/>
                <a:gd name="connsiteX89" fmla="*/ 88 w 10000"/>
                <a:gd name="connsiteY89" fmla="*/ 3521 h 10000"/>
                <a:gd name="connsiteX90" fmla="*/ 194 w 10000"/>
                <a:gd name="connsiteY90" fmla="*/ 3883 h 10000"/>
                <a:gd name="connsiteX91" fmla="*/ 123 w 10000"/>
                <a:gd name="connsiteY91" fmla="*/ 4153 h 10000"/>
                <a:gd name="connsiteX92" fmla="*/ 0 w 10000"/>
                <a:gd name="connsiteY92" fmla="*/ 4424 h 10000"/>
                <a:gd name="connsiteX93" fmla="*/ 18 w 10000"/>
                <a:gd name="connsiteY93" fmla="*/ 4831 h 10000"/>
                <a:gd name="connsiteX94" fmla="*/ 53 w 10000"/>
                <a:gd name="connsiteY94" fmla="*/ 5463 h 10000"/>
                <a:gd name="connsiteX95" fmla="*/ 88 w 10000"/>
                <a:gd name="connsiteY95" fmla="*/ 5463 h 10000"/>
                <a:gd name="connsiteX96" fmla="*/ 158 w 10000"/>
                <a:gd name="connsiteY96" fmla="*/ 5643 h 10000"/>
                <a:gd name="connsiteX97" fmla="*/ 581 w 10000"/>
                <a:gd name="connsiteY97" fmla="*/ 6095 h 10000"/>
                <a:gd name="connsiteX98" fmla="*/ 581 w 10000"/>
                <a:gd name="connsiteY98" fmla="*/ 6117 h 10000"/>
                <a:gd name="connsiteX99" fmla="*/ 581 w 10000"/>
                <a:gd name="connsiteY99" fmla="*/ 6117 h 10000"/>
                <a:gd name="connsiteX100" fmla="*/ 651 w 10000"/>
                <a:gd name="connsiteY100" fmla="*/ 6546 h 10000"/>
                <a:gd name="connsiteX101" fmla="*/ 1532 w 10000"/>
                <a:gd name="connsiteY101" fmla="*/ 7111 h 10000"/>
                <a:gd name="connsiteX102" fmla="*/ 1549 w 10000"/>
                <a:gd name="connsiteY102" fmla="*/ 7111 h 10000"/>
                <a:gd name="connsiteX103" fmla="*/ 1549 w 10000"/>
                <a:gd name="connsiteY103" fmla="*/ 7133 h 10000"/>
                <a:gd name="connsiteX104" fmla="*/ 1725 w 10000"/>
                <a:gd name="connsiteY104" fmla="*/ 8172 h 10000"/>
                <a:gd name="connsiteX105" fmla="*/ 2077 w 10000"/>
                <a:gd name="connsiteY105" fmla="*/ 9052 h 10000"/>
                <a:gd name="connsiteX106" fmla="*/ 2201 w 10000"/>
                <a:gd name="connsiteY106" fmla="*/ 9323 h 10000"/>
                <a:gd name="connsiteX107" fmla="*/ 2201 w 10000"/>
                <a:gd name="connsiteY107" fmla="*/ 9323 h 10000"/>
                <a:gd name="connsiteX108" fmla="*/ 2201 w 10000"/>
                <a:gd name="connsiteY108" fmla="*/ 9345 h 10000"/>
                <a:gd name="connsiteX109" fmla="*/ 2183 w 10000"/>
                <a:gd name="connsiteY109" fmla="*/ 9932 h 10000"/>
                <a:gd name="connsiteX110" fmla="*/ 2324 w 10000"/>
                <a:gd name="connsiteY110" fmla="*/ 9932 h 10000"/>
                <a:gd name="connsiteX111" fmla="*/ 2430 w 10000"/>
                <a:gd name="connsiteY111" fmla="*/ 9661 h 10000"/>
                <a:gd name="connsiteX112" fmla="*/ 3363 w 10000"/>
                <a:gd name="connsiteY112" fmla="*/ 9661 h 10000"/>
                <a:gd name="connsiteX113" fmla="*/ 3644 w 10000"/>
                <a:gd name="connsiteY113" fmla="*/ 9436 h 10000"/>
                <a:gd name="connsiteX114" fmla="*/ 3961 w 10000"/>
                <a:gd name="connsiteY114" fmla="*/ 9345 h 10000"/>
                <a:gd name="connsiteX115" fmla="*/ 4278 w 10000"/>
                <a:gd name="connsiteY115" fmla="*/ 9503 h 10000"/>
                <a:gd name="connsiteX116" fmla="*/ 4489 w 10000"/>
                <a:gd name="connsiteY116" fmla="*/ 9436 h 10000"/>
                <a:gd name="connsiteX117" fmla="*/ 5440 w 10000"/>
                <a:gd name="connsiteY117" fmla="*/ 9368 h 10000"/>
                <a:gd name="connsiteX118" fmla="*/ 5792 w 10000"/>
                <a:gd name="connsiteY118" fmla="*/ 9210 h 10000"/>
                <a:gd name="connsiteX119" fmla="*/ 5951 w 10000"/>
                <a:gd name="connsiteY119" fmla="*/ 9368 h 10000"/>
                <a:gd name="connsiteX120" fmla="*/ 6602 w 10000"/>
                <a:gd name="connsiteY120" fmla="*/ 9323 h 10000"/>
                <a:gd name="connsiteX121" fmla="*/ 6743 w 10000"/>
                <a:gd name="connsiteY121" fmla="*/ 9571 h 10000"/>
                <a:gd name="connsiteX122" fmla="*/ 6919 w 10000"/>
                <a:gd name="connsiteY122" fmla="*/ 9774 h 10000"/>
                <a:gd name="connsiteX123" fmla="*/ 7482 w 10000"/>
                <a:gd name="connsiteY123" fmla="*/ 9729 h 10000"/>
                <a:gd name="connsiteX124" fmla="*/ 7658 w 10000"/>
                <a:gd name="connsiteY124" fmla="*/ 9865 h 10000"/>
                <a:gd name="connsiteX125" fmla="*/ 7764 w 10000"/>
                <a:gd name="connsiteY125" fmla="*/ 9910 h 10000"/>
                <a:gd name="connsiteX126" fmla="*/ 7835 w 10000"/>
                <a:gd name="connsiteY126" fmla="*/ 9977 h 10000"/>
                <a:gd name="connsiteX127" fmla="*/ 7940 w 10000"/>
                <a:gd name="connsiteY127" fmla="*/ 10000 h 10000"/>
                <a:gd name="connsiteX128" fmla="*/ 8116 w 10000"/>
                <a:gd name="connsiteY128" fmla="*/ 9932 h 10000"/>
                <a:gd name="connsiteX129" fmla="*/ 8063 w 10000"/>
                <a:gd name="connsiteY129" fmla="*/ 9616 h 10000"/>
                <a:gd name="connsiteX130" fmla="*/ 7887 w 10000"/>
                <a:gd name="connsiteY130" fmla="*/ 9391 h 10000"/>
                <a:gd name="connsiteX131" fmla="*/ 7887 w 10000"/>
                <a:gd name="connsiteY131" fmla="*/ 9007 h 10000"/>
                <a:gd name="connsiteX132" fmla="*/ 8063 w 10000"/>
                <a:gd name="connsiteY132" fmla="*/ 8871 h 10000"/>
                <a:gd name="connsiteX133" fmla="*/ 8275 w 10000"/>
                <a:gd name="connsiteY133" fmla="*/ 8691 h 10000"/>
                <a:gd name="connsiteX134" fmla="*/ 8151 w 10000"/>
                <a:gd name="connsiteY134" fmla="*/ 8600 h 10000"/>
                <a:gd name="connsiteX135" fmla="*/ 8063 w 10000"/>
                <a:gd name="connsiteY135" fmla="*/ 8465 h 10000"/>
                <a:gd name="connsiteX136" fmla="*/ 8204 w 10000"/>
                <a:gd name="connsiteY136" fmla="*/ 8239 h 10000"/>
                <a:gd name="connsiteX137" fmla="*/ 8521 w 10000"/>
                <a:gd name="connsiteY137" fmla="*/ 8239 h 10000"/>
                <a:gd name="connsiteX138" fmla="*/ 8521 w 10000"/>
                <a:gd name="connsiteY138" fmla="*/ 7946 h 10000"/>
                <a:gd name="connsiteX139" fmla="*/ 8310 w 10000"/>
                <a:gd name="connsiteY139" fmla="*/ 7833 h 10000"/>
                <a:gd name="connsiteX140" fmla="*/ 8398 w 10000"/>
                <a:gd name="connsiteY140" fmla="*/ 7494 h 10000"/>
                <a:gd name="connsiteX141" fmla="*/ 7676 w 10000"/>
                <a:gd name="connsiteY141" fmla="*/ 6163 h 10000"/>
                <a:gd name="connsiteX142" fmla="*/ 7518 w 10000"/>
                <a:gd name="connsiteY142" fmla="*/ 5440 h 10000"/>
                <a:gd name="connsiteX143" fmla="*/ 7676 w 10000"/>
                <a:gd name="connsiteY143" fmla="*/ 4763 h 10000"/>
                <a:gd name="connsiteX144" fmla="*/ 7007 w 10000"/>
                <a:gd name="connsiteY144" fmla="*/ 4853 h 10000"/>
                <a:gd name="connsiteX145" fmla="*/ 6972 w 10000"/>
                <a:gd name="connsiteY145" fmla="*/ 4808 h 10000"/>
                <a:gd name="connsiteX146" fmla="*/ 6954 w 10000"/>
                <a:gd name="connsiteY146" fmla="*/ 4628 h 10000"/>
                <a:gd name="connsiteX147" fmla="*/ 7095 w 10000"/>
                <a:gd name="connsiteY147" fmla="*/ 4266 h 10000"/>
                <a:gd name="connsiteX148" fmla="*/ 8468 w 10000"/>
                <a:gd name="connsiteY148" fmla="*/ 3341 h 10000"/>
                <a:gd name="connsiteX149" fmla="*/ 8908 w 10000"/>
                <a:gd name="connsiteY149" fmla="*/ 3160 h 10000"/>
                <a:gd name="connsiteX150" fmla="*/ 9102 w 10000"/>
                <a:gd name="connsiteY150" fmla="*/ 3431 h 10000"/>
                <a:gd name="connsiteX151" fmla="*/ 9313 w 10000"/>
                <a:gd name="connsiteY151" fmla="*/ 3431 h 10000"/>
                <a:gd name="connsiteX152" fmla="*/ 9560 w 10000"/>
                <a:gd name="connsiteY152" fmla="*/ 3205 h 10000"/>
                <a:gd name="connsiteX153" fmla="*/ 9965 w 10000"/>
                <a:gd name="connsiteY153" fmla="*/ 3454 h 10000"/>
                <a:gd name="connsiteX154" fmla="*/ 10000 w 10000"/>
                <a:gd name="connsiteY154" fmla="*/ 2731 h 10000"/>
                <a:gd name="connsiteX155" fmla="*/ 9507 w 10000"/>
                <a:gd name="connsiteY155" fmla="*/ 2731 h 10000"/>
                <a:gd name="connsiteX0" fmla="*/ 9507 w 10000"/>
                <a:gd name="connsiteY0" fmla="*/ 2731 h 10000"/>
                <a:gd name="connsiteX1" fmla="*/ 9560 w 10000"/>
                <a:gd name="connsiteY1" fmla="*/ 2506 h 10000"/>
                <a:gd name="connsiteX2" fmla="*/ 9560 w 10000"/>
                <a:gd name="connsiteY2" fmla="*/ 2393 h 10000"/>
                <a:gd name="connsiteX3" fmla="*/ 9296 w 10000"/>
                <a:gd name="connsiteY3" fmla="*/ 2348 h 10000"/>
                <a:gd name="connsiteX4" fmla="*/ 9261 w 10000"/>
                <a:gd name="connsiteY4" fmla="*/ 2348 h 10000"/>
                <a:gd name="connsiteX5" fmla="*/ 9261 w 10000"/>
                <a:gd name="connsiteY5" fmla="*/ 2325 h 10000"/>
                <a:gd name="connsiteX6" fmla="*/ 9155 w 10000"/>
                <a:gd name="connsiteY6" fmla="*/ 1964 h 10000"/>
                <a:gd name="connsiteX7" fmla="*/ 8592 w 10000"/>
                <a:gd name="connsiteY7" fmla="*/ 1422 h 10000"/>
                <a:gd name="connsiteX8" fmla="*/ 8592 w 10000"/>
                <a:gd name="connsiteY8" fmla="*/ 1422 h 10000"/>
                <a:gd name="connsiteX9" fmla="*/ 8574 w 10000"/>
                <a:gd name="connsiteY9" fmla="*/ 1400 h 10000"/>
                <a:gd name="connsiteX10" fmla="*/ 8521 w 10000"/>
                <a:gd name="connsiteY10" fmla="*/ 1174 h 10000"/>
                <a:gd name="connsiteX11" fmla="*/ 8292 w 10000"/>
                <a:gd name="connsiteY11" fmla="*/ 406 h 10000"/>
                <a:gd name="connsiteX12" fmla="*/ 8134 w 10000"/>
                <a:gd name="connsiteY12" fmla="*/ 384 h 10000"/>
                <a:gd name="connsiteX13" fmla="*/ 7940 w 10000"/>
                <a:gd name="connsiteY13" fmla="*/ 519 h 10000"/>
                <a:gd name="connsiteX14" fmla="*/ 7940 w 10000"/>
                <a:gd name="connsiteY14" fmla="*/ 519 h 10000"/>
                <a:gd name="connsiteX15" fmla="*/ 7923 w 10000"/>
                <a:gd name="connsiteY15" fmla="*/ 519 h 10000"/>
                <a:gd name="connsiteX16" fmla="*/ 6954 w 10000"/>
                <a:gd name="connsiteY16" fmla="*/ 542 h 10000"/>
                <a:gd name="connsiteX17" fmla="*/ 6937 w 10000"/>
                <a:gd name="connsiteY17" fmla="*/ 542 h 10000"/>
                <a:gd name="connsiteX18" fmla="*/ 6919 w 10000"/>
                <a:gd name="connsiteY18" fmla="*/ 542 h 10000"/>
                <a:gd name="connsiteX19" fmla="*/ 6637 w 10000"/>
                <a:gd name="connsiteY19" fmla="*/ 135 h 10000"/>
                <a:gd name="connsiteX20" fmla="*/ 6426 w 10000"/>
                <a:gd name="connsiteY20" fmla="*/ 113 h 10000"/>
                <a:gd name="connsiteX21" fmla="*/ 6268 w 10000"/>
                <a:gd name="connsiteY21" fmla="*/ 339 h 10000"/>
                <a:gd name="connsiteX22" fmla="*/ 6177 w 10000"/>
                <a:gd name="connsiteY22" fmla="*/ 48 h 10000"/>
                <a:gd name="connsiteX23" fmla="*/ 6109 w 10000"/>
                <a:gd name="connsiteY23" fmla="*/ 406 h 10000"/>
                <a:gd name="connsiteX24" fmla="*/ 6004 w 10000"/>
                <a:gd name="connsiteY24" fmla="*/ 519 h 10000"/>
                <a:gd name="connsiteX25" fmla="*/ 5986 w 10000"/>
                <a:gd name="connsiteY25" fmla="*/ 542 h 10000"/>
                <a:gd name="connsiteX26" fmla="*/ 5968 w 10000"/>
                <a:gd name="connsiteY26" fmla="*/ 542 h 10000"/>
                <a:gd name="connsiteX27" fmla="*/ 5687 w 10000"/>
                <a:gd name="connsiteY27" fmla="*/ 542 h 10000"/>
                <a:gd name="connsiteX28" fmla="*/ 5651 w 10000"/>
                <a:gd name="connsiteY28" fmla="*/ 542 h 10000"/>
                <a:gd name="connsiteX29" fmla="*/ 5651 w 10000"/>
                <a:gd name="connsiteY29" fmla="*/ 519 h 10000"/>
                <a:gd name="connsiteX30" fmla="*/ 5352 w 10000"/>
                <a:gd name="connsiteY30" fmla="*/ 158 h 10000"/>
                <a:gd name="connsiteX31" fmla="*/ 5229 w 10000"/>
                <a:gd name="connsiteY31" fmla="*/ 271 h 10000"/>
                <a:gd name="connsiteX32" fmla="*/ 5211 w 10000"/>
                <a:gd name="connsiteY32" fmla="*/ 271 h 10000"/>
                <a:gd name="connsiteX33" fmla="*/ 5211 w 10000"/>
                <a:gd name="connsiteY33" fmla="*/ 271 h 10000"/>
                <a:gd name="connsiteX34" fmla="*/ 5000 w 10000"/>
                <a:gd name="connsiteY34" fmla="*/ 316 h 10000"/>
                <a:gd name="connsiteX35" fmla="*/ 4982 w 10000"/>
                <a:gd name="connsiteY35" fmla="*/ 316 h 10000"/>
                <a:gd name="connsiteX36" fmla="*/ 4982 w 10000"/>
                <a:gd name="connsiteY36" fmla="*/ 293 h 10000"/>
                <a:gd name="connsiteX37" fmla="*/ 4754 w 10000"/>
                <a:gd name="connsiteY37" fmla="*/ 135 h 10000"/>
                <a:gd name="connsiteX38" fmla="*/ 4507 w 10000"/>
                <a:gd name="connsiteY38" fmla="*/ 0 h 10000"/>
                <a:gd name="connsiteX39" fmla="*/ 4384 w 10000"/>
                <a:gd name="connsiteY39" fmla="*/ 0 h 10000"/>
                <a:gd name="connsiteX40" fmla="*/ 4102 w 10000"/>
                <a:gd name="connsiteY40" fmla="*/ 135 h 10000"/>
                <a:gd name="connsiteX41" fmla="*/ 3785 w 10000"/>
                <a:gd name="connsiteY41" fmla="*/ 361 h 10000"/>
                <a:gd name="connsiteX42" fmla="*/ 3785 w 10000"/>
                <a:gd name="connsiteY42" fmla="*/ 361 h 10000"/>
                <a:gd name="connsiteX43" fmla="*/ 3768 w 10000"/>
                <a:gd name="connsiteY43" fmla="*/ 361 h 10000"/>
                <a:gd name="connsiteX44" fmla="*/ 3644 w 10000"/>
                <a:gd name="connsiteY44" fmla="*/ 406 h 10000"/>
                <a:gd name="connsiteX45" fmla="*/ 3574 w 10000"/>
                <a:gd name="connsiteY45" fmla="*/ 655 h 10000"/>
                <a:gd name="connsiteX46" fmla="*/ 3627 w 10000"/>
                <a:gd name="connsiteY46" fmla="*/ 722 h 10000"/>
                <a:gd name="connsiteX47" fmla="*/ 3627 w 10000"/>
                <a:gd name="connsiteY47" fmla="*/ 722 h 10000"/>
                <a:gd name="connsiteX48" fmla="*/ 3627 w 10000"/>
                <a:gd name="connsiteY48" fmla="*/ 745 h 10000"/>
                <a:gd name="connsiteX49" fmla="*/ 3644 w 10000"/>
                <a:gd name="connsiteY49" fmla="*/ 1287 h 10000"/>
                <a:gd name="connsiteX50" fmla="*/ 3662 w 10000"/>
                <a:gd name="connsiteY50" fmla="*/ 1490 h 10000"/>
                <a:gd name="connsiteX51" fmla="*/ 3944 w 10000"/>
                <a:gd name="connsiteY51" fmla="*/ 1354 h 10000"/>
                <a:gd name="connsiteX52" fmla="*/ 4349 w 10000"/>
                <a:gd name="connsiteY52" fmla="*/ 1354 h 10000"/>
                <a:gd name="connsiteX53" fmla="*/ 4525 w 10000"/>
                <a:gd name="connsiteY53" fmla="*/ 1445 h 10000"/>
                <a:gd name="connsiteX54" fmla="*/ 4701 w 10000"/>
                <a:gd name="connsiteY54" fmla="*/ 1512 h 10000"/>
                <a:gd name="connsiteX55" fmla="*/ 4789 w 10000"/>
                <a:gd name="connsiteY55" fmla="*/ 1106 h 10000"/>
                <a:gd name="connsiteX56" fmla="*/ 5070 w 10000"/>
                <a:gd name="connsiteY56" fmla="*/ 971 h 10000"/>
                <a:gd name="connsiteX57" fmla="*/ 5264 w 10000"/>
                <a:gd name="connsiteY57" fmla="*/ 1016 h 10000"/>
                <a:gd name="connsiteX58" fmla="*/ 5176 w 10000"/>
                <a:gd name="connsiteY58" fmla="*/ 813 h 10000"/>
                <a:gd name="connsiteX59" fmla="*/ 5440 w 10000"/>
                <a:gd name="connsiteY59" fmla="*/ 790 h 10000"/>
                <a:gd name="connsiteX60" fmla="*/ 5599 w 10000"/>
                <a:gd name="connsiteY60" fmla="*/ 790 h 10000"/>
                <a:gd name="connsiteX61" fmla="*/ 5739 w 10000"/>
                <a:gd name="connsiteY61" fmla="*/ 1061 h 10000"/>
                <a:gd name="connsiteX62" fmla="*/ 5546 w 10000"/>
                <a:gd name="connsiteY62" fmla="*/ 1106 h 10000"/>
                <a:gd name="connsiteX63" fmla="*/ 5511 w 10000"/>
                <a:gd name="connsiteY63" fmla="*/ 1535 h 10000"/>
                <a:gd name="connsiteX64" fmla="*/ 5352 w 10000"/>
                <a:gd name="connsiteY64" fmla="*/ 1716 h 10000"/>
                <a:gd name="connsiteX65" fmla="*/ 4982 w 10000"/>
                <a:gd name="connsiteY65" fmla="*/ 1738 h 10000"/>
                <a:gd name="connsiteX66" fmla="*/ 4824 w 10000"/>
                <a:gd name="connsiteY66" fmla="*/ 1738 h 10000"/>
                <a:gd name="connsiteX67" fmla="*/ 4507 w 10000"/>
                <a:gd name="connsiteY67" fmla="*/ 1941 h 10000"/>
                <a:gd name="connsiteX68" fmla="*/ 4296 w 10000"/>
                <a:gd name="connsiteY68" fmla="*/ 1941 h 10000"/>
                <a:gd name="connsiteX69" fmla="*/ 4225 w 10000"/>
                <a:gd name="connsiteY69" fmla="*/ 1851 h 10000"/>
                <a:gd name="connsiteX70" fmla="*/ 3785 w 10000"/>
                <a:gd name="connsiteY70" fmla="*/ 1851 h 10000"/>
                <a:gd name="connsiteX71" fmla="*/ 3644 w 10000"/>
                <a:gd name="connsiteY71" fmla="*/ 1761 h 10000"/>
                <a:gd name="connsiteX72" fmla="*/ 3380 w 10000"/>
                <a:gd name="connsiteY72" fmla="*/ 1828 h 10000"/>
                <a:gd name="connsiteX73" fmla="*/ 3169 w 10000"/>
                <a:gd name="connsiteY73" fmla="*/ 1919 h 10000"/>
                <a:gd name="connsiteX74" fmla="*/ 2975 w 10000"/>
                <a:gd name="connsiteY74" fmla="*/ 1851 h 10000"/>
                <a:gd name="connsiteX75" fmla="*/ 2271 w 10000"/>
                <a:gd name="connsiteY75" fmla="*/ 1851 h 10000"/>
                <a:gd name="connsiteX76" fmla="*/ 2042 w 10000"/>
                <a:gd name="connsiteY76" fmla="*/ 1964 h 10000"/>
                <a:gd name="connsiteX77" fmla="*/ 1796 w 10000"/>
                <a:gd name="connsiteY77" fmla="*/ 1964 h 10000"/>
                <a:gd name="connsiteX78" fmla="*/ 1585 w 10000"/>
                <a:gd name="connsiteY78" fmla="*/ 2009 h 10000"/>
                <a:gd name="connsiteX79" fmla="*/ 1479 w 10000"/>
                <a:gd name="connsiteY79" fmla="*/ 1964 h 10000"/>
                <a:gd name="connsiteX80" fmla="*/ 1285 w 10000"/>
                <a:gd name="connsiteY80" fmla="*/ 2032 h 10000"/>
                <a:gd name="connsiteX81" fmla="*/ 1180 w 10000"/>
                <a:gd name="connsiteY81" fmla="*/ 2144 h 10000"/>
                <a:gd name="connsiteX82" fmla="*/ 933 w 10000"/>
                <a:gd name="connsiteY82" fmla="*/ 2325 h 10000"/>
                <a:gd name="connsiteX83" fmla="*/ 739 w 10000"/>
                <a:gd name="connsiteY83" fmla="*/ 2348 h 10000"/>
                <a:gd name="connsiteX84" fmla="*/ 669 w 10000"/>
                <a:gd name="connsiteY84" fmla="*/ 2957 h 10000"/>
                <a:gd name="connsiteX85" fmla="*/ 493 w 10000"/>
                <a:gd name="connsiteY85" fmla="*/ 3273 h 10000"/>
                <a:gd name="connsiteX86" fmla="*/ 264 w 10000"/>
                <a:gd name="connsiteY86" fmla="*/ 3228 h 10000"/>
                <a:gd name="connsiteX87" fmla="*/ 88 w 10000"/>
                <a:gd name="connsiteY87" fmla="*/ 3341 h 10000"/>
                <a:gd name="connsiteX88" fmla="*/ 88 w 10000"/>
                <a:gd name="connsiteY88" fmla="*/ 3521 h 10000"/>
                <a:gd name="connsiteX89" fmla="*/ 194 w 10000"/>
                <a:gd name="connsiteY89" fmla="*/ 3883 h 10000"/>
                <a:gd name="connsiteX90" fmla="*/ 123 w 10000"/>
                <a:gd name="connsiteY90" fmla="*/ 4153 h 10000"/>
                <a:gd name="connsiteX91" fmla="*/ 0 w 10000"/>
                <a:gd name="connsiteY91" fmla="*/ 4424 h 10000"/>
                <a:gd name="connsiteX92" fmla="*/ 18 w 10000"/>
                <a:gd name="connsiteY92" fmla="*/ 4831 h 10000"/>
                <a:gd name="connsiteX93" fmla="*/ 53 w 10000"/>
                <a:gd name="connsiteY93" fmla="*/ 5463 h 10000"/>
                <a:gd name="connsiteX94" fmla="*/ 88 w 10000"/>
                <a:gd name="connsiteY94" fmla="*/ 5463 h 10000"/>
                <a:gd name="connsiteX95" fmla="*/ 158 w 10000"/>
                <a:gd name="connsiteY95" fmla="*/ 5643 h 10000"/>
                <a:gd name="connsiteX96" fmla="*/ 581 w 10000"/>
                <a:gd name="connsiteY96" fmla="*/ 6095 h 10000"/>
                <a:gd name="connsiteX97" fmla="*/ 581 w 10000"/>
                <a:gd name="connsiteY97" fmla="*/ 6117 h 10000"/>
                <a:gd name="connsiteX98" fmla="*/ 581 w 10000"/>
                <a:gd name="connsiteY98" fmla="*/ 6117 h 10000"/>
                <a:gd name="connsiteX99" fmla="*/ 651 w 10000"/>
                <a:gd name="connsiteY99" fmla="*/ 6546 h 10000"/>
                <a:gd name="connsiteX100" fmla="*/ 1532 w 10000"/>
                <a:gd name="connsiteY100" fmla="*/ 7111 h 10000"/>
                <a:gd name="connsiteX101" fmla="*/ 1549 w 10000"/>
                <a:gd name="connsiteY101" fmla="*/ 7111 h 10000"/>
                <a:gd name="connsiteX102" fmla="*/ 1549 w 10000"/>
                <a:gd name="connsiteY102" fmla="*/ 7133 h 10000"/>
                <a:gd name="connsiteX103" fmla="*/ 1725 w 10000"/>
                <a:gd name="connsiteY103" fmla="*/ 8172 h 10000"/>
                <a:gd name="connsiteX104" fmla="*/ 2077 w 10000"/>
                <a:gd name="connsiteY104" fmla="*/ 9052 h 10000"/>
                <a:gd name="connsiteX105" fmla="*/ 2201 w 10000"/>
                <a:gd name="connsiteY105" fmla="*/ 9323 h 10000"/>
                <a:gd name="connsiteX106" fmla="*/ 2201 w 10000"/>
                <a:gd name="connsiteY106" fmla="*/ 9323 h 10000"/>
                <a:gd name="connsiteX107" fmla="*/ 2201 w 10000"/>
                <a:gd name="connsiteY107" fmla="*/ 9345 h 10000"/>
                <a:gd name="connsiteX108" fmla="*/ 2183 w 10000"/>
                <a:gd name="connsiteY108" fmla="*/ 9932 h 10000"/>
                <a:gd name="connsiteX109" fmla="*/ 2324 w 10000"/>
                <a:gd name="connsiteY109" fmla="*/ 9932 h 10000"/>
                <a:gd name="connsiteX110" fmla="*/ 2430 w 10000"/>
                <a:gd name="connsiteY110" fmla="*/ 9661 h 10000"/>
                <a:gd name="connsiteX111" fmla="*/ 3363 w 10000"/>
                <a:gd name="connsiteY111" fmla="*/ 9661 h 10000"/>
                <a:gd name="connsiteX112" fmla="*/ 3644 w 10000"/>
                <a:gd name="connsiteY112" fmla="*/ 9436 h 10000"/>
                <a:gd name="connsiteX113" fmla="*/ 3961 w 10000"/>
                <a:gd name="connsiteY113" fmla="*/ 9345 h 10000"/>
                <a:gd name="connsiteX114" fmla="*/ 4278 w 10000"/>
                <a:gd name="connsiteY114" fmla="*/ 9503 h 10000"/>
                <a:gd name="connsiteX115" fmla="*/ 4489 w 10000"/>
                <a:gd name="connsiteY115" fmla="*/ 9436 h 10000"/>
                <a:gd name="connsiteX116" fmla="*/ 5440 w 10000"/>
                <a:gd name="connsiteY116" fmla="*/ 9368 h 10000"/>
                <a:gd name="connsiteX117" fmla="*/ 5792 w 10000"/>
                <a:gd name="connsiteY117" fmla="*/ 9210 h 10000"/>
                <a:gd name="connsiteX118" fmla="*/ 5951 w 10000"/>
                <a:gd name="connsiteY118" fmla="*/ 9368 h 10000"/>
                <a:gd name="connsiteX119" fmla="*/ 6602 w 10000"/>
                <a:gd name="connsiteY119" fmla="*/ 9323 h 10000"/>
                <a:gd name="connsiteX120" fmla="*/ 6743 w 10000"/>
                <a:gd name="connsiteY120" fmla="*/ 9571 h 10000"/>
                <a:gd name="connsiteX121" fmla="*/ 6919 w 10000"/>
                <a:gd name="connsiteY121" fmla="*/ 9774 h 10000"/>
                <a:gd name="connsiteX122" fmla="*/ 7482 w 10000"/>
                <a:gd name="connsiteY122" fmla="*/ 9729 h 10000"/>
                <a:gd name="connsiteX123" fmla="*/ 7658 w 10000"/>
                <a:gd name="connsiteY123" fmla="*/ 9865 h 10000"/>
                <a:gd name="connsiteX124" fmla="*/ 7764 w 10000"/>
                <a:gd name="connsiteY124" fmla="*/ 9910 h 10000"/>
                <a:gd name="connsiteX125" fmla="*/ 7835 w 10000"/>
                <a:gd name="connsiteY125" fmla="*/ 9977 h 10000"/>
                <a:gd name="connsiteX126" fmla="*/ 7940 w 10000"/>
                <a:gd name="connsiteY126" fmla="*/ 10000 h 10000"/>
                <a:gd name="connsiteX127" fmla="*/ 8116 w 10000"/>
                <a:gd name="connsiteY127" fmla="*/ 9932 h 10000"/>
                <a:gd name="connsiteX128" fmla="*/ 8063 w 10000"/>
                <a:gd name="connsiteY128" fmla="*/ 9616 h 10000"/>
                <a:gd name="connsiteX129" fmla="*/ 7887 w 10000"/>
                <a:gd name="connsiteY129" fmla="*/ 9391 h 10000"/>
                <a:gd name="connsiteX130" fmla="*/ 7887 w 10000"/>
                <a:gd name="connsiteY130" fmla="*/ 9007 h 10000"/>
                <a:gd name="connsiteX131" fmla="*/ 8063 w 10000"/>
                <a:gd name="connsiteY131" fmla="*/ 8871 h 10000"/>
                <a:gd name="connsiteX132" fmla="*/ 8275 w 10000"/>
                <a:gd name="connsiteY132" fmla="*/ 8691 h 10000"/>
                <a:gd name="connsiteX133" fmla="*/ 8151 w 10000"/>
                <a:gd name="connsiteY133" fmla="*/ 8600 h 10000"/>
                <a:gd name="connsiteX134" fmla="*/ 8063 w 10000"/>
                <a:gd name="connsiteY134" fmla="*/ 8465 h 10000"/>
                <a:gd name="connsiteX135" fmla="*/ 8204 w 10000"/>
                <a:gd name="connsiteY135" fmla="*/ 8239 h 10000"/>
                <a:gd name="connsiteX136" fmla="*/ 8521 w 10000"/>
                <a:gd name="connsiteY136" fmla="*/ 8239 h 10000"/>
                <a:gd name="connsiteX137" fmla="*/ 8521 w 10000"/>
                <a:gd name="connsiteY137" fmla="*/ 7946 h 10000"/>
                <a:gd name="connsiteX138" fmla="*/ 8310 w 10000"/>
                <a:gd name="connsiteY138" fmla="*/ 7833 h 10000"/>
                <a:gd name="connsiteX139" fmla="*/ 8398 w 10000"/>
                <a:gd name="connsiteY139" fmla="*/ 7494 h 10000"/>
                <a:gd name="connsiteX140" fmla="*/ 7676 w 10000"/>
                <a:gd name="connsiteY140" fmla="*/ 6163 h 10000"/>
                <a:gd name="connsiteX141" fmla="*/ 7518 w 10000"/>
                <a:gd name="connsiteY141" fmla="*/ 5440 h 10000"/>
                <a:gd name="connsiteX142" fmla="*/ 7676 w 10000"/>
                <a:gd name="connsiteY142" fmla="*/ 4763 h 10000"/>
                <a:gd name="connsiteX143" fmla="*/ 7007 w 10000"/>
                <a:gd name="connsiteY143" fmla="*/ 4853 h 10000"/>
                <a:gd name="connsiteX144" fmla="*/ 6972 w 10000"/>
                <a:gd name="connsiteY144" fmla="*/ 4808 h 10000"/>
                <a:gd name="connsiteX145" fmla="*/ 6954 w 10000"/>
                <a:gd name="connsiteY145" fmla="*/ 4628 h 10000"/>
                <a:gd name="connsiteX146" fmla="*/ 7095 w 10000"/>
                <a:gd name="connsiteY146" fmla="*/ 4266 h 10000"/>
                <a:gd name="connsiteX147" fmla="*/ 8468 w 10000"/>
                <a:gd name="connsiteY147" fmla="*/ 3341 h 10000"/>
                <a:gd name="connsiteX148" fmla="*/ 8908 w 10000"/>
                <a:gd name="connsiteY148" fmla="*/ 3160 h 10000"/>
                <a:gd name="connsiteX149" fmla="*/ 9102 w 10000"/>
                <a:gd name="connsiteY149" fmla="*/ 3431 h 10000"/>
                <a:gd name="connsiteX150" fmla="*/ 9313 w 10000"/>
                <a:gd name="connsiteY150" fmla="*/ 3431 h 10000"/>
                <a:gd name="connsiteX151" fmla="*/ 9560 w 10000"/>
                <a:gd name="connsiteY151" fmla="*/ 3205 h 10000"/>
                <a:gd name="connsiteX152" fmla="*/ 9965 w 10000"/>
                <a:gd name="connsiteY152" fmla="*/ 3454 h 10000"/>
                <a:gd name="connsiteX153" fmla="*/ 10000 w 10000"/>
                <a:gd name="connsiteY153" fmla="*/ 2731 h 10000"/>
                <a:gd name="connsiteX154" fmla="*/ 9507 w 10000"/>
                <a:gd name="connsiteY154" fmla="*/ 2731 h 10000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944 w 10000"/>
                <a:gd name="connsiteY50" fmla="*/ 1355 h 10001"/>
                <a:gd name="connsiteX51" fmla="*/ 4349 w 10000"/>
                <a:gd name="connsiteY51" fmla="*/ 1355 h 10001"/>
                <a:gd name="connsiteX52" fmla="*/ 4525 w 10000"/>
                <a:gd name="connsiteY52" fmla="*/ 1446 h 10001"/>
                <a:gd name="connsiteX53" fmla="*/ 4701 w 10000"/>
                <a:gd name="connsiteY53" fmla="*/ 1513 h 10001"/>
                <a:gd name="connsiteX54" fmla="*/ 4789 w 10000"/>
                <a:gd name="connsiteY54" fmla="*/ 1107 h 10001"/>
                <a:gd name="connsiteX55" fmla="*/ 5070 w 10000"/>
                <a:gd name="connsiteY55" fmla="*/ 972 h 10001"/>
                <a:gd name="connsiteX56" fmla="*/ 5264 w 10000"/>
                <a:gd name="connsiteY56" fmla="*/ 1017 h 10001"/>
                <a:gd name="connsiteX57" fmla="*/ 5176 w 10000"/>
                <a:gd name="connsiteY57" fmla="*/ 814 h 10001"/>
                <a:gd name="connsiteX58" fmla="*/ 5440 w 10000"/>
                <a:gd name="connsiteY58" fmla="*/ 791 h 10001"/>
                <a:gd name="connsiteX59" fmla="*/ 5599 w 10000"/>
                <a:gd name="connsiteY59" fmla="*/ 791 h 10001"/>
                <a:gd name="connsiteX60" fmla="*/ 5739 w 10000"/>
                <a:gd name="connsiteY60" fmla="*/ 1062 h 10001"/>
                <a:gd name="connsiteX61" fmla="*/ 5546 w 10000"/>
                <a:gd name="connsiteY61" fmla="*/ 1107 h 10001"/>
                <a:gd name="connsiteX62" fmla="*/ 5511 w 10000"/>
                <a:gd name="connsiteY62" fmla="*/ 1536 h 10001"/>
                <a:gd name="connsiteX63" fmla="*/ 5352 w 10000"/>
                <a:gd name="connsiteY63" fmla="*/ 1717 h 10001"/>
                <a:gd name="connsiteX64" fmla="*/ 4982 w 10000"/>
                <a:gd name="connsiteY64" fmla="*/ 1739 h 10001"/>
                <a:gd name="connsiteX65" fmla="*/ 4824 w 10000"/>
                <a:gd name="connsiteY65" fmla="*/ 1739 h 10001"/>
                <a:gd name="connsiteX66" fmla="*/ 4507 w 10000"/>
                <a:gd name="connsiteY66" fmla="*/ 1942 h 10001"/>
                <a:gd name="connsiteX67" fmla="*/ 4296 w 10000"/>
                <a:gd name="connsiteY67" fmla="*/ 1942 h 10001"/>
                <a:gd name="connsiteX68" fmla="*/ 4225 w 10000"/>
                <a:gd name="connsiteY68" fmla="*/ 1852 h 10001"/>
                <a:gd name="connsiteX69" fmla="*/ 3785 w 10000"/>
                <a:gd name="connsiteY69" fmla="*/ 1852 h 10001"/>
                <a:gd name="connsiteX70" fmla="*/ 3644 w 10000"/>
                <a:gd name="connsiteY70" fmla="*/ 1762 h 10001"/>
                <a:gd name="connsiteX71" fmla="*/ 3380 w 10000"/>
                <a:gd name="connsiteY71" fmla="*/ 1829 h 10001"/>
                <a:gd name="connsiteX72" fmla="*/ 3169 w 10000"/>
                <a:gd name="connsiteY72" fmla="*/ 1920 h 10001"/>
                <a:gd name="connsiteX73" fmla="*/ 2975 w 10000"/>
                <a:gd name="connsiteY73" fmla="*/ 1852 h 10001"/>
                <a:gd name="connsiteX74" fmla="*/ 2271 w 10000"/>
                <a:gd name="connsiteY74" fmla="*/ 1852 h 10001"/>
                <a:gd name="connsiteX75" fmla="*/ 2042 w 10000"/>
                <a:gd name="connsiteY75" fmla="*/ 1965 h 10001"/>
                <a:gd name="connsiteX76" fmla="*/ 1796 w 10000"/>
                <a:gd name="connsiteY76" fmla="*/ 1965 h 10001"/>
                <a:gd name="connsiteX77" fmla="*/ 1585 w 10000"/>
                <a:gd name="connsiteY77" fmla="*/ 2010 h 10001"/>
                <a:gd name="connsiteX78" fmla="*/ 1479 w 10000"/>
                <a:gd name="connsiteY78" fmla="*/ 1965 h 10001"/>
                <a:gd name="connsiteX79" fmla="*/ 1285 w 10000"/>
                <a:gd name="connsiteY79" fmla="*/ 2033 h 10001"/>
                <a:gd name="connsiteX80" fmla="*/ 1180 w 10000"/>
                <a:gd name="connsiteY80" fmla="*/ 2145 h 10001"/>
                <a:gd name="connsiteX81" fmla="*/ 933 w 10000"/>
                <a:gd name="connsiteY81" fmla="*/ 2326 h 10001"/>
                <a:gd name="connsiteX82" fmla="*/ 739 w 10000"/>
                <a:gd name="connsiteY82" fmla="*/ 2349 h 10001"/>
                <a:gd name="connsiteX83" fmla="*/ 669 w 10000"/>
                <a:gd name="connsiteY83" fmla="*/ 2958 h 10001"/>
                <a:gd name="connsiteX84" fmla="*/ 493 w 10000"/>
                <a:gd name="connsiteY84" fmla="*/ 3274 h 10001"/>
                <a:gd name="connsiteX85" fmla="*/ 264 w 10000"/>
                <a:gd name="connsiteY85" fmla="*/ 3229 h 10001"/>
                <a:gd name="connsiteX86" fmla="*/ 88 w 10000"/>
                <a:gd name="connsiteY86" fmla="*/ 3342 h 10001"/>
                <a:gd name="connsiteX87" fmla="*/ 88 w 10000"/>
                <a:gd name="connsiteY87" fmla="*/ 3522 h 10001"/>
                <a:gd name="connsiteX88" fmla="*/ 194 w 10000"/>
                <a:gd name="connsiteY88" fmla="*/ 3884 h 10001"/>
                <a:gd name="connsiteX89" fmla="*/ 123 w 10000"/>
                <a:gd name="connsiteY89" fmla="*/ 4154 h 10001"/>
                <a:gd name="connsiteX90" fmla="*/ 0 w 10000"/>
                <a:gd name="connsiteY90" fmla="*/ 4425 h 10001"/>
                <a:gd name="connsiteX91" fmla="*/ 18 w 10000"/>
                <a:gd name="connsiteY91" fmla="*/ 4832 h 10001"/>
                <a:gd name="connsiteX92" fmla="*/ 53 w 10000"/>
                <a:gd name="connsiteY92" fmla="*/ 5464 h 10001"/>
                <a:gd name="connsiteX93" fmla="*/ 88 w 10000"/>
                <a:gd name="connsiteY93" fmla="*/ 5464 h 10001"/>
                <a:gd name="connsiteX94" fmla="*/ 158 w 10000"/>
                <a:gd name="connsiteY94" fmla="*/ 5644 h 10001"/>
                <a:gd name="connsiteX95" fmla="*/ 581 w 10000"/>
                <a:gd name="connsiteY95" fmla="*/ 6096 h 10001"/>
                <a:gd name="connsiteX96" fmla="*/ 581 w 10000"/>
                <a:gd name="connsiteY96" fmla="*/ 6118 h 10001"/>
                <a:gd name="connsiteX97" fmla="*/ 581 w 10000"/>
                <a:gd name="connsiteY97" fmla="*/ 6118 h 10001"/>
                <a:gd name="connsiteX98" fmla="*/ 651 w 10000"/>
                <a:gd name="connsiteY98" fmla="*/ 6547 h 10001"/>
                <a:gd name="connsiteX99" fmla="*/ 1532 w 10000"/>
                <a:gd name="connsiteY99" fmla="*/ 7112 h 10001"/>
                <a:gd name="connsiteX100" fmla="*/ 1549 w 10000"/>
                <a:gd name="connsiteY100" fmla="*/ 7112 h 10001"/>
                <a:gd name="connsiteX101" fmla="*/ 1549 w 10000"/>
                <a:gd name="connsiteY101" fmla="*/ 7134 h 10001"/>
                <a:gd name="connsiteX102" fmla="*/ 1725 w 10000"/>
                <a:gd name="connsiteY102" fmla="*/ 8173 h 10001"/>
                <a:gd name="connsiteX103" fmla="*/ 2077 w 10000"/>
                <a:gd name="connsiteY103" fmla="*/ 9053 h 10001"/>
                <a:gd name="connsiteX104" fmla="*/ 2201 w 10000"/>
                <a:gd name="connsiteY104" fmla="*/ 9324 h 10001"/>
                <a:gd name="connsiteX105" fmla="*/ 2201 w 10000"/>
                <a:gd name="connsiteY105" fmla="*/ 9324 h 10001"/>
                <a:gd name="connsiteX106" fmla="*/ 2201 w 10000"/>
                <a:gd name="connsiteY106" fmla="*/ 9346 h 10001"/>
                <a:gd name="connsiteX107" fmla="*/ 2183 w 10000"/>
                <a:gd name="connsiteY107" fmla="*/ 9933 h 10001"/>
                <a:gd name="connsiteX108" fmla="*/ 2324 w 10000"/>
                <a:gd name="connsiteY108" fmla="*/ 9933 h 10001"/>
                <a:gd name="connsiteX109" fmla="*/ 2430 w 10000"/>
                <a:gd name="connsiteY109" fmla="*/ 9662 h 10001"/>
                <a:gd name="connsiteX110" fmla="*/ 3363 w 10000"/>
                <a:gd name="connsiteY110" fmla="*/ 9662 h 10001"/>
                <a:gd name="connsiteX111" fmla="*/ 3644 w 10000"/>
                <a:gd name="connsiteY111" fmla="*/ 9437 h 10001"/>
                <a:gd name="connsiteX112" fmla="*/ 3961 w 10000"/>
                <a:gd name="connsiteY112" fmla="*/ 9346 h 10001"/>
                <a:gd name="connsiteX113" fmla="*/ 4278 w 10000"/>
                <a:gd name="connsiteY113" fmla="*/ 9504 h 10001"/>
                <a:gd name="connsiteX114" fmla="*/ 4489 w 10000"/>
                <a:gd name="connsiteY114" fmla="*/ 9437 h 10001"/>
                <a:gd name="connsiteX115" fmla="*/ 5440 w 10000"/>
                <a:gd name="connsiteY115" fmla="*/ 9369 h 10001"/>
                <a:gd name="connsiteX116" fmla="*/ 5792 w 10000"/>
                <a:gd name="connsiteY116" fmla="*/ 9211 h 10001"/>
                <a:gd name="connsiteX117" fmla="*/ 5951 w 10000"/>
                <a:gd name="connsiteY117" fmla="*/ 9369 h 10001"/>
                <a:gd name="connsiteX118" fmla="*/ 6602 w 10000"/>
                <a:gd name="connsiteY118" fmla="*/ 9324 h 10001"/>
                <a:gd name="connsiteX119" fmla="*/ 6743 w 10000"/>
                <a:gd name="connsiteY119" fmla="*/ 9572 h 10001"/>
                <a:gd name="connsiteX120" fmla="*/ 6919 w 10000"/>
                <a:gd name="connsiteY120" fmla="*/ 9775 h 10001"/>
                <a:gd name="connsiteX121" fmla="*/ 7482 w 10000"/>
                <a:gd name="connsiteY121" fmla="*/ 9730 h 10001"/>
                <a:gd name="connsiteX122" fmla="*/ 7658 w 10000"/>
                <a:gd name="connsiteY122" fmla="*/ 9866 h 10001"/>
                <a:gd name="connsiteX123" fmla="*/ 7764 w 10000"/>
                <a:gd name="connsiteY123" fmla="*/ 9911 h 10001"/>
                <a:gd name="connsiteX124" fmla="*/ 7835 w 10000"/>
                <a:gd name="connsiteY124" fmla="*/ 9978 h 10001"/>
                <a:gd name="connsiteX125" fmla="*/ 7940 w 10000"/>
                <a:gd name="connsiteY125" fmla="*/ 10001 h 10001"/>
                <a:gd name="connsiteX126" fmla="*/ 8116 w 10000"/>
                <a:gd name="connsiteY126" fmla="*/ 9933 h 10001"/>
                <a:gd name="connsiteX127" fmla="*/ 8063 w 10000"/>
                <a:gd name="connsiteY127" fmla="*/ 9617 h 10001"/>
                <a:gd name="connsiteX128" fmla="*/ 7887 w 10000"/>
                <a:gd name="connsiteY128" fmla="*/ 9392 h 10001"/>
                <a:gd name="connsiteX129" fmla="*/ 7887 w 10000"/>
                <a:gd name="connsiteY129" fmla="*/ 9008 h 10001"/>
                <a:gd name="connsiteX130" fmla="*/ 8063 w 10000"/>
                <a:gd name="connsiteY130" fmla="*/ 8872 h 10001"/>
                <a:gd name="connsiteX131" fmla="*/ 8275 w 10000"/>
                <a:gd name="connsiteY131" fmla="*/ 8692 h 10001"/>
                <a:gd name="connsiteX132" fmla="*/ 8151 w 10000"/>
                <a:gd name="connsiteY132" fmla="*/ 8601 h 10001"/>
                <a:gd name="connsiteX133" fmla="*/ 8063 w 10000"/>
                <a:gd name="connsiteY133" fmla="*/ 8466 h 10001"/>
                <a:gd name="connsiteX134" fmla="*/ 8204 w 10000"/>
                <a:gd name="connsiteY134" fmla="*/ 8240 h 10001"/>
                <a:gd name="connsiteX135" fmla="*/ 8521 w 10000"/>
                <a:gd name="connsiteY135" fmla="*/ 8240 h 10001"/>
                <a:gd name="connsiteX136" fmla="*/ 8521 w 10000"/>
                <a:gd name="connsiteY136" fmla="*/ 7947 h 10001"/>
                <a:gd name="connsiteX137" fmla="*/ 8310 w 10000"/>
                <a:gd name="connsiteY137" fmla="*/ 7834 h 10001"/>
                <a:gd name="connsiteX138" fmla="*/ 8398 w 10000"/>
                <a:gd name="connsiteY138" fmla="*/ 7495 h 10001"/>
                <a:gd name="connsiteX139" fmla="*/ 7676 w 10000"/>
                <a:gd name="connsiteY139" fmla="*/ 6164 h 10001"/>
                <a:gd name="connsiteX140" fmla="*/ 7518 w 10000"/>
                <a:gd name="connsiteY140" fmla="*/ 5441 h 10001"/>
                <a:gd name="connsiteX141" fmla="*/ 7676 w 10000"/>
                <a:gd name="connsiteY141" fmla="*/ 4764 h 10001"/>
                <a:gd name="connsiteX142" fmla="*/ 7007 w 10000"/>
                <a:gd name="connsiteY142" fmla="*/ 4854 h 10001"/>
                <a:gd name="connsiteX143" fmla="*/ 6972 w 10000"/>
                <a:gd name="connsiteY143" fmla="*/ 4809 h 10001"/>
                <a:gd name="connsiteX144" fmla="*/ 6954 w 10000"/>
                <a:gd name="connsiteY144" fmla="*/ 4629 h 10001"/>
                <a:gd name="connsiteX145" fmla="*/ 7095 w 10000"/>
                <a:gd name="connsiteY145" fmla="*/ 4267 h 10001"/>
                <a:gd name="connsiteX146" fmla="*/ 8468 w 10000"/>
                <a:gd name="connsiteY146" fmla="*/ 3342 h 10001"/>
                <a:gd name="connsiteX147" fmla="*/ 8908 w 10000"/>
                <a:gd name="connsiteY147" fmla="*/ 3161 h 10001"/>
                <a:gd name="connsiteX148" fmla="*/ 9102 w 10000"/>
                <a:gd name="connsiteY148" fmla="*/ 3432 h 10001"/>
                <a:gd name="connsiteX149" fmla="*/ 9313 w 10000"/>
                <a:gd name="connsiteY149" fmla="*/ 3432 h 10001"/>
                <a:gd name="connsiteX150" fmla="*/ 9560 w 10000"/>
                <a:gd name="connsiteY150" fmla="*/ 3206 h 10001"/>
                <a:gd name="connsiteX151" fmla="*/ 9965 w 10000"/>
                <a:gd name="connsiteY151" fmla="*/ 3455 h 10001"/>
                <a:gd name="connsiteX152" fmla="*/ 10000 w 10000"/>
                <a:gd name="connsiteY152" fmla="*/ 2732 h 10001"/>
                <a:gd name="connsiteX153" fmla="*/ 9507 w 10000"/>
                <a:gd name="connsiteY153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944 w 10000"/>
                <a:gd name="connsiteY50" fmla="*/ 1355 h 10001"/>
                <a:gd name="connsiteX51" fmla="*/ 4349 w 10000"/>
                <a:gd name="connsiteY51" fmla="*/ 1355 h 10001"/>
                <a:gd name="connsiteX52" fmla="*/ 4525 w 10000"/>
                <a:gd name="connsiteY52" fmla="*/ 1446 h 10001"/>
                <a:gd name="connsiteX53" fmla="*/ 4701 w 10000"/>
                <a:gd name="connsiteY53" fmla="*/ 1513 h 10001"/>
                <a:gd name="connsiteX54" fmla="*/ 4789 w 10000"/>
                <a:gd name="connsiteY54" fmla="*/ 1107 h 10001"/>
                <a:gd name="connsiteX55" fmla="*/ 5070 w 10000"/>
                <a:gd name="connsiteY55" fmla="*/ 972 h 10001"/>
                <a:gd name="connsiteX56" fmla="*/ 5264 w 10000"/>
                <a:gd name="connsiteY56" fmla="*/ 1017 h 10001"/>
                <a:gd name="connsiteX57" fmla="*/ 5176 w 10000"/>
                <a:gd name="connsiteY57" fmla="*/ 814 h 10001"/>
                <a:gd name="connsiteX58" fmla="*/ 5440 w 10000"/>
                <a:gd name="connsiteY58" fmla="*/ 791 h 10001"/>
                <a:gd name="connsiteX59" fmla="*/ 5599 w 10000"/>
                <a:gd name="connsiteY59" fmla="*/ 791 h 10001"/>
                <a:gd name="connsiteX60" fmla="*/ 5546 w 10000"/>
                <a:gd name="connsiteY60" fmla="*/ 1107 h 10001"/>
                <a:gd name="connsiteX61" fmla="*/ 5511 w 10000"/>
                <a:gd name="connsiteY61" fmla="*/ 1536 h 10001"/>
                <a:gd name="connsiteX62" fmla="*/ 5352 w 10000"/>
                <a:gd name="connsiteY62" fmla="*/ 1717 h 10001"/>
                <a:gd name="connsiteX63" fmla="*/ 4982 w 10000"/>
                <a:gd name="connsiteY63" fmla="*/ 1739 h 10001"/>
                <a:gd name="connsiteX64" fmla="*/ 4824 w 10000"/>
                <a:gd name="connsiteY64" fmla="*/ 1739 h 10001"/>
                <a:gd name="connsiteX65" fmla="*/ 4507 w 10000"/>
                <a:gd name="connsiteY65" fmla="*/ 1942 h 10001"/>
                <a:gd name="connsiteX66" fmla="*/ 4296 w 10000"/>
                <a:gd name="connsiteY66" fmla="*/ 1942 h 10001"/>
                <a:gd name="connsiteX67" fmla="*/ 4225 w 10000"/>
                <a:gd name="connsiteY67" fmla="*/ 1852 h 10001"/>
                <a:gd name="connsiteX68" fmla="*/ 3785 w 10000"/>
                <a:gd name="connsiteY68" fmla="*/ 1852 h 10001"/>
                <a:gd name="connsiteX69" fmla="*/ 3644 w 10000"/>
                <a:gd name="connsiteY69" fmla="*/ 1762 h 10001"/>
                <a:gd name="connsiteX70" fmla="*/ 3380 w 10000"/>
                <a:gd name="connsiteY70" fmla="*/ 1829 h 10001"/>
                <a:gd name="connsiteX71" fmla="*/ 3169 w 10000"/>
                <a:gd name="connsiteY71" fmla="*/ 1920 h 10001"/>
                <a:gd name="connsiteX72" fmla="*/ 2975 w 10000"/>
                <a:gd name="connsiteY72" fmla="*/ 1852 h 10001"/>
                <a:gd name="connsiteX73" fmla="*/ 2271 w 10000"/>
                <a:gd name="connsiteY73" fmla="*/ 1852 h 10001"/>
                <a:gd name="connsiteX74" fmla="*/ 2042 w 10000"/>
                <a:gd name="connsiteY74" fmla="*/ 1965 h 10001"/>
                <a:gd name="connsiteX75" fmla="*/ 1796 w 10000"/>
                <a:gd name="connsiteY75" fmla="*/ 1965 h 10001"/>
                <a:gd name="connsiteX76" fmla="*/ 1585 w 10000"/>
                <a:gd name="connsiteY76" fmla="*/ 2010 h 10001"/>
                <a:gd name="connsiteX77" fmla="*/ 1479 w 10000"/>
                <a:gd name="connsiteY77" fmla="*/ 1965 h 10001"/>
                <a:gd name="connsiteX78" fmla="*/ 1285 w 10000"/>
                <a:gd name="connsiteY78" fmla="*/ 2033 h 10001"/>
                <a:gd name="connsiteX79" fmla="*/ 1180 w 10000"/>
                <a:gd name="connsiteY79" fmla="*/ 2145 h 10001"/>
                <a:gd name="connsiteX80" fmla="*/ 933 w 10000"/>
                <a:gd name="connsiteY80" fmla="*/ 2326 h 10001"/>
                <a:gd name="connsiteX81" fmla="*/ 739 w 10000"/>
                <a:gd name="connsiteY81" fmla="*/ 2349 h 10001"/>
                <a:gd name="connsiteX82" fmla="*/ 669 w 10000"/>
                <a:gd name="connsiteY82" fmla="*/ 2958 h 10001"/>
                <a:gd name="connsiteX83" fmla="*/ 493 w 10000"/>
                <a:gd name="connsiteY83" fmla="*/ 3274 h 10001"/>
                <a:gd name="connsiteX84" fmla="*/ 264 w 10000"/>
                <a:gd name="connsiteY84" fmla="*/ 3229 h 10001"/>
                <a:gd name="connsiteX85" fmla="*/ 88 w 10000"/>
                <a:gd name="connsiteY85" fmla="*/ 3342 h 10001"/>
                <a:gd name="connsiteX86" fmla="*/ 88 w 10000"/>
                <a:gd name="connsiteY86" fmla="*/ 3522 h 10001"/>
                <a:gd name="connsiteX87" fmla="*/ 194 w 10000"/>
                <a:gd name="connsiteY87" fmla="*/ 3884 h 10001"/>
                <a:gd name="connsiteX88" fmla="*/ 123 w 10000"/>
                <a:gd name="connsiteY88" fmla="*/ 4154 h 10001"/>
                <a:gd name="connsiteX89" fmla="*/ 0 w 10000"/>
                <a:gd name="connsiteY89" fmla="*/ 4425 h 10001"/>
                <a:gd name="connsiteX90" fmla="*/ 18 w 10000"/>
                <a:gd name="connsiteY90" fmla="*/ 4832 h 10001"/>
                <a:gd name="connsiteX91" fmla="*/ 53 w 10000"/>
                <a:gd name="connsiteY91" fmla="*/ 5464 h 10001"/>
                <a:gd name="connsiteX92" fmla="*/ 88 w 10000"/>
                <a:gd name="connsiteY92" fmla="*/ 5464 h 10001"/>
                <a:gd name="connsiteX93" fmla="*/ 158 w 10000"/>
                <a:gd name="connsiteY93" fmla="*/ 5644 h 10001"/>
                <a:gd name="connsiteX94" fmla="*/ 581 w 10000"/>
                <a:gd name="connsiteY94" fmla="*/ 6096 h 10001"/>
                <a:gd name="connsiteX95" fmla="*/ 581 w 10000"/>
                <a:gd name="connsiteY95" fmla="*/ 6118 h 10001"/>
                <a:gd name="connsiteX96" fmla="*/ 581 w 10000"/>
                <a:gd name="connsiteY96" fmla="*/ 6118 h 10001"/>
                <a:gd name="connsiteX97" fmla="*/ 651 w 10000"/>
                <a:gd name="connsiteY97" fmla="*/ 6547 h 10001"/>
                <a:gd name="connsiteX98" fmla="*/ 1532 w 10000"/>
                <a:gd name="connsiteY98" fmla="*/ 7112 h 10001"/>
                <a:gd name="connsiteX99" fmla="*/ 1549 w 10000"/>
                <a:gd name="connsiteY99" fmla="*/ 7112 h 10001"/>
                <a:gd name="connsiteX100" fmla="*/ 1549 w 10000"/>
                <a:gd name="connsiteY100" fmla="*/ 7134 h 10001"/>
                <a:gd name="connsiteX101" fmla="*/ 1725 w 10000"/>
                <a:gd name="connsiteY101" fmla="*/ 8173 h 10001"/>
                <a:gd name="connsiteX102" fmla="*/ 2077 w 10000"/>
                <a:gd name="connsiteY102" fmla="*/ 9053 h 10001"/>
                <a:gd name="connsiteX103" fmla="*/ 2201 w 10000"/>
                <a:gd name="connsiteY103" fmla="*/ 9324 h 10001"/>
                <a:gd name="connsiteX104" fmla="*/ 2201 w 10000"/>
                <a:gd name="connsiteY104" fmla="*/ 9324 h 10001"/>
                <a:gd name="connsiteX105" fmla="*/ 2201 w 10000"/>
                <a:gd name="connsiteY105" fmla="*/ 9346 h 10001"/>
                <a:gd name="connsiteX106" fmla="*/ 2183 w 10000"/>
                <a:gd name="connsiteY106" fmla="*/ 9933 h 10001"/>
                <a:gd name="connsiteX107" fmla="*/ 2324 w 10000"/>
                <a:gd name="connsiteY107" fmla="*/ 9933 h 10001"/>
                <a:gd name="connsiteX108" fmla="*/ 2430 w 10000"/>
                <a:gd name="connsiteY108" fmla="*/ 9662 h 10001"/>
                <a:gd name="connsiteX109" fmla="*/ 3363 w 10000"/>
                <a:gd name="connsiteY109" fmla="*/ 9662 h 10001"/>
                <a:gd name="connsiteX110" fmla="*/ 3644 w 10000"/>
                <a:gd name="connsiteY110" fmla="*/ 9437 h 10001"/>
                <a:gd name="connsiteX111" fmla="*/ 3961 w 10000"/>
                <a:gd name="connsiteY111" fmla="*/ 9346 h 10001"/>
                <a:gd name="connsiteX112" fmla="*/ 4278 w 10000"/>
                <a:gd name="connsiteY112" fmla="*/ 9504 h 10001"/>
                <a:gd name="connsiteX113" fmla="*/ 4489 w 10000"/>
                <a:gd name="connsiteY113" fmla="*/ 9437 h 10001"/>
                <a:gd name="connsiteX114" fmla="*/ 5440 w 10000"/>
                <a:gd name="connsiteY114" fmla="*/ 9369 h 10001"/>
                <a:gd name="connsiteX115" fmla="*/ 5792 w 10000"/>
                <a:gd name="connsiteY115" fmla="*/ 9211 h 10001"/>
                <a:gd name="connsiteX116" fmla="*/ 5951 w 10000"/>
                <a:gd name="connsiteY116" fmla="*/ 9369 h 10001"/>
                <a:gd name="connsiteX117" fmla="*/ 6602 w 10000"/>
                <a:gd name="connsiteY117" fmla="*/ 9324 h 10001"/>
                <a:gd name="connsiteX118" fmla="*/ 6743 w 10000"/>
                <a:gd name="connsiteY118" fmla="*/ 9572 h 10001"/>
                <a:gd name="connsiteX119" fmla="*/ 6919 w 10000"/>
                <a:gd name="connsiteY119" fmla="*/ 9775 h 10001"/>
                <a:gd name="connsiteX120" fmla="*/ 7482 w 10000"/>
                <a:gd name="connsiteY120" fmla="*/ 9730 h 10001"/>
                <a:gd name="connsiteX121" fmla="*/ 7658 w 10000"/>
                <a:gd name="connsiteY121" fmla="*/ 9866 h 10001"/>
                <a:gd name="connsiteX122" fmla="*/ 7764 w 10000"/>
                <a:gd name="connsiteY122" fmla="*/ 9911 h 10001"/>
                <a:gd name="connsiteX123" fmla="*/ 7835 w 10000"/>
                <a:gd name="connsiteY123" fmla="*/ 9978 h 10001"/>
                <a:gd name="connsiteX124" fmla="*/ 7940 w 10000"/>
                <a:gd name="connsiteY124" fmla="*/ 10001 h 10001"/>
                <a:gd name="connsiteX125" fmla="*/ 8116 w 10000"/>
                <a:gd name="connsiteY125" fmla="*/ 9933 h 10001"/>
                <a:gd name="connsiteX126" fmla="*/ 8063 w 10000"/>
                <a:gd name="connsiteY126" fmla="*/ 9617 h 10001"/>
                <a:gd name="connsiteX127" fmla="*/ 7887 w 10000"/>
                <a:gd name="connsiteY127" fmla="*/ 9392 h 10001"/>
                <a:gd name="connsiteX128" fmla="*/ 7887 w 10000"/>
                <a:gd name="connsiteY128" fmla="*/ 9008 h 10001"/>
                <a:gd name="connsiteX129" fmla="*/ 8063 w 10000"/>
                <a:gd name="connsiteY129" fmla="*/ 8872 h 10001"/>
                <a:gd name="connsiteX130" fmla="*/ 8275 w 10000"/>
                <a:gd name="connsiteY130" fmla="*/ 8692 h 10001"/>
                <a:gd name="connsiteX131" fmla="*/ 8151 w 10000"/>
                <a:gd name="connsiteY131" fmla="*/ 8601 h 10001"/>
                <a:gd name="connsiteX132" fmla="*/ 8063 w 10000"/>
                <a:gd name="connsiteY132" fmla="*/ 8466 h 10001"/>
                <a:gd name="connsiteX133" fmla="*/ 8204 w 10000"/>
                <a:gd name="connsiteY133" fmla="*/ 8240 h 10001"/>
                <a:gd name="connsiteX134" fmla="*/ 8521 w 10000"/>
                <a:gd name="connsiteY134" fmla="*/ 8240 h 10001"/>
                <a:gd name="connsiteX135" fmla="*/ 8521 w 10000"/>
                <a:gd name="connsiteY135" fmla="*/ 7947 h 10001"/>
                <a:gd name="connsiteX136" fmla="*/ 8310 w 10000"/>
                <a:gd name="connsiteY136" fmla="*/ 7834 h 10001"/>
                <a:gd name="connsiteX137" fmla="*/ 8398 w 10000"/>
                <a:gd name="connsiteY137" fmla="*/ 7495 h 10001"/>
                <a:gd name="connsiteX138" fmla="*/ 7676 w 10000"/>
                <a:gd name="connsiteY138" fmla="*/ 6164 h 10001"/>
                <a:gd name="connsiteX139" fmla="*/ 7518 w 10000"/>
                <a:gd name="connsiteY139" fmla="*/ 5441 h 10001"/>
                <a:gd name="connsiteX140" fmla="*/ 7676 w 10000"/>
                <a:gd name="connsiteY140" fmla="*/ 4764 h 10001"/>
                <a:gd name="connsiteX141" fmla="*/ 7007 w 10000"/>
                <a:gd name="connsiteY141" fmla="*/ 4854 h 10001"/>
                <a:gd name="connsiteX142" fmla="*/ 6972 w 10000"/>
                <a:gd name="connsiteY142" fmla="*/ 4809 h 10001"/>
                <a:gd name="connsiteX143" fmla="*/ 6954 w 10000"/>
                <a:gd name="connsiteY143" fmla="*/ 4629 h 10001"/>
                <a:gd name="connsiteX144" fmla="*/ 7095 w 10000"/>
                <a:gd name="connsiteY144" fmla="*/ 4267 h 10001"/>
                <a:gd name="connsiteX145" fmla="*/ 8468 w 10000"/>
                <a:gd name="connsiteY145" fmla="*/ 3342 h 10001"/>
                <a:gd name="connsiteX146" fmla="*/ 8908 w 10000"/>
                <a:gd name="connsiteY146" fmla="*/ 3161 h 10001"/>
                <a:gd name="connsiteX147" fmla="*/ 9102 w 10000"/>
                <a:gd name="connsiteY147" fmla="*/ 3432 h 10001"/>
                <a:gd name="connsiteX148" fmla="*/ 9313 w 10000"/>
                <a:gd name="connsiteY148" fmla="*/ 3432 h 10001"/>
                <a:gd name="connsiteX149" fmla="*/ 9560 w 10000"/>
                <a:gd name="connsiteY149" fmla="*/ 3206 h 10001"/>
                <a:gd name="connsiteX150" fmla="*/ 9965 w 10000"/>
                <a:gd name="connsiteY150" fmla="*/ 3455 h 10001"/>
                <a:gd name="connsiteX151" fmla="*/ 10000 w 10000"/>
                <a:gd name="connsiteY151" fmla="*/ 2732 h 10001"/>
                <a:gd name="connsiteX152" fmla="*/ 9507 w 10000"/>
                <a:gd name="connsiteY152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944 w 10000"/>
                <a:gd name="connsiteY50" fmla="*/ 1355 h 10001"/>
                <a:gd name="connsiteX51" fmla="*/ 4349 w 10000"/>
                <a:gd name="connsiteY51" fmla="*/ 1355 h 10001"/>
                <a:gd name="connsiteX52" fmla="*/ 4525 w 10000"/>
                <a:gd name="connsiteY52" fmla="*/ 1446 h 10001"/>
                <a:gd name="connsiteX53" fmla="*/ 4701 w 10000"/>
                <a:gd name="connsiteY53" fmla="*/ 1513 h 10001"/>
                <a:gd name="connsiteX54" fmla="*/ 4789 w 10000"/>
                <a:gd name="connsiteY54" fmla="*/ 1107 h 10001"/>
                <a:gd name="connsiteX55" fmla="*/ 5070 w 10000"/>
                <a:gd name="connsiteY55" fmla="*/ 972 h 10001"/>
                <a:gd name="connsiteX56" fmla="*/ 5264 w 10000"/>
                <a:gd name="connsiteY56" fmla="*/ 1017 h 10001"/>
                <a:gd name="connsiteX57" fmla="*/ 5176 w 10000"/>
                <a:gd name="connsiteY57" fmla="*/ 814 h 10001"/>
                <a:gd name="connsiteX58" fmla="*/ 5440 w 10000"/>
                <a:gd name="connsiteY58" fmla="*/ 791 h 10001"/>
                <a:gd name="connsiteX59" fmla="*/ 5599 w 10000"/>
                <a:gd name="connsiteY59" fmla="*/ 791 h 10001"/>
                <a:gd name="connsiteX60" fmla="*/ 5511 w 10000"/>
                <a:gd name="connsiteY60" fmla="*/ 1536 h 10001"/>
                <a:gd name="connsiteX61" fmla="*/ 5352 w 10000"/>
                <a:gd name="connsiteY61" fmla="*/ 1717 h 10001"/>
                <a:gd name="connsiteX62" fmla="*/ 4982 w 10000"/>
                <a:gd name="connsiteY62" fmla="*/ 1739 h 10001"/>
                <a:gd name="connsiteX63" fmla="*/ 4824 w 10000"/>
                <a:gd name="connsiteY63" fmla="*/ 1739 h 10001"/>
                <a:gd name="connsiteX64" fmla="*/ 4507 w 10000"/>
                <a:gd name="connsiteY64" fmla="*/ 1942 h 10001"/>
                <a:gd name="connsiteX65" fmla="*/ 4296 w 10000"/>
                <a:gd name="connsiteY65" fmla="*/ 1942 h 10001"/>
                <a:gd name="connsiteX66" fmla="*/ 4225 w 10000"/>
                <a:gd name="connsiteY66" fmla="*/ 1852 h 10001"/>
                <a:gd name="connsiteX67" fmla="*/ 3785 w 10000"/>
                <a:gd name="connsiteY67" fmla="*/ 1852 h 10001"/>
                <a:gd name="connsiteX68" fmla="*/ 3644 w 10000"/>
                <a:gd name="connsiteY68" fmla="*/ 1762 h 10001"/>
                <a:gd name="connsiteX69" fmla="*/ 3380 w 10000"/>
                <a:gd name="connsiteY69" fmla="*/ 1829 h 10001"/>
                <a:gd name="connsiteX70" fmla="*/ 3169 w 10000"/>
                <a:gd name="connsiteY70" fmla="*/ 1920 h 10001"/>
                <a:gd name="connsiteX71" fmla="*/ 2975 w 10000"/>
                <a:gd name="connsiteY71" fmla="*/ 1852 h 10001"/>
                <a:gd name="connsiteX72" fmla="*/ 2271 w 10000"/>
                <a:gd name="connsiteY72" fmla="*/ 1852 h 10001"/>
                <a:gd name="connsiteX73" fmla="*/ 2042 w 10000"/>
                <a:gd name="connsiteY73" fmla="*/ 1965 h 10001"/>
                <a:gd name="connsiteX74" fmla="*/ 1796 w 10000"/>
                <a:gd name="connsiteY74" fmla="*/ 1965 h 10001"/>
                <a:gd name="connsiteX75" fmla="*/ 1585 w 10000"/>
                <a:gd name="connsiteY75" fmla="*/ 2010 h 10001"/>
                <a:gd name="connsiteX76" fmla="*/ 1479 w 10000"/>
                <a:gd name="connsiteY76" fmla="*/ 1965 h 10001"/>
                <a:gd name="connsiteX77" fmla="*/ 1285 w 10000"/>
                <a:gd name="connsiteY77" fmla="*/ 2033 h 10001"/>
                <a:gd name="connsiteX78" fmla="*/ 1180 w 10000"/>
                <a:gd name="connsiteY78" fmla="*/ 2145 h 10001"/>
                <a:gd name="connsiteX79" fmla="*/ 933 w 10000"/>
                <a:gd name="connsiteY79" fmla="*/ 2326 h 10001"/>
                <a:gd name="connsiteX80" fmla="*/ 739 w 10000"/>
                <a:gd name="connsiteY80" fmla="*/ 2349 h 10001"/>
                <a:gd name="connsiteX81" fmla="*/ 669 w 10000"/>
                <a:gd name="connsiteY81" fmla="*/ 2958 h 10001"/>
                <a:gd name="connsiteX82" fmla="*/ 493 w 10000"/>
                <a:gd name="connsiteY82" fmla="*/ 3274 h 10001"/>
                <a:gd name="connsiteX83" fmla="*/ 264 w 10000"/>
                <a:gd name="connsiteY83" fmla="*/ 3229 h 10001"/>
                <a:gd name="connsiteX84" fmla="*/ 88 w 10000"/>
                <a:gd name="connsiteY84" fmla="*/ 3342 h 10001"/>
                <a:gd name="connsiteX85" fmla="*/ 88 w 10000"/>
                <a:gd name="connsiteY85" fmla="*/ 3522 h 10001"/>
                <a:gd name="connsiteX86" fmla="*/ 194 w 10000"/>
                <a:gd name="connsiteY86" fmla="*/ 3884 h 10001"/>
                <a:gd name="connsiteX87" fmla="*/ 123 w 10000"/>
                <a:gd name="connsiteY87" fmla="*/ 4154 h 10001"/>
                <a:gd name="connsiteX88" fmla="*/ 0 w 10000"/>
                <a:gd name="connsiteY88" fmla="*/ 4425 h 10001"/>
                <a:gd name="connsiteX89" fmla="*/ 18 w 10000"/>
                <a:gd name="connsiteY89" fmla="*/ 4832 h 10001"/>
                <a:gd name="connsiteX90" fmla="*/ 53 w 10000"/>
                <a:gd name="connsiteY90" fmla="*/ 5464 h 10001"/>
                <a:gd name="connsiteX91" fmla="*/ 88 w 10000"/>
                <a:gd name="connsiteY91" fmla="*/ 5464 h 10001"/>
                <a:gd name="connsiteX92" fmla="*/ 158 w 10000"/>
                <a:gd name="connsiteY92" fmla="*/ 5644 h 10001"/>
                <a:gd name="connsiteX93" fmla="*/ 581 w 10000"/>
                <a:gd name="connsiteY93" fmla="*/ 6096 h 10001"/>
                <a:gd name="connsiteX94" fmla="*/ 581 w 10000"/>
                <a:gd name="connsiteY94" fmla="*/ 6118 h 10001"/>
                <a:gd name="connsiteX95" fmla="*/ 581 w 10000"/>
                <a:gd name="connsiteY95" fmla="*/ 6118 h 10001"/>
                <a:gd name="connsiteX96" fmla="*/ 651 w 10000"/>
                <a:gd name="connsiteY96" fmla="*/ 6547 h 10001"/>
                <a:gd name="connsiteX97" fmla="*/ 1532 w 10000"/>
                <a:gd name="connsiteY97" fmla="*/ 7112 h 10001"/>
                <a:gd name="connsiteX98" fmla="*/ 1549 w 10000"/>
                <a:gd name="connsiteY98" fmla="*/ 7112 h 10001"/>
                <a:gd name="connsiteX99" fmla="*/ 1549 w 10000"/>
                <a:gd name="connsiteY99" fmla="*/ 7134 h 10001"/>
                <a:gd name="connsiteX100" fmla="*/ 1725 w 10000"/>
                <a:gd name="connsiteY100" fmla="*/ 8173 h 10001"/>
                <a:gd name="connsiteX101" fmla="*/ 2077 w 10000"/>
                <a:gd name="connsiteY101" fmla="*/ 9053 h 10001"/>
                <a:gd name="connsiteX102" fmla="*/ 2201 w 10000"/>
                <a:gd name="connsiteY102" fmla="*/ 9324 h 10001"/>
                <a:gd name="connsiteX103" fmla="*/ 2201 w 10000"/>
                <a:gd name="connsiteY103" fmla="*/ 9324 h 10001"/>
                <a:gd name="connsiteX104" fmla="*/ 2201 w 10000"/>
                <a:gd name="connsiteY104" fmla="*/ 9346 h 10001"/>
                <a:gd name="connsiteX105" fmla="*/ 2183 w 10000"/>
                <a:gd name="connsiteY105" fmla="*/ 9933 h 10001"/>
                <a:gd name="connsiteX106" fmla="*/ 2324 w 10000"/>
                <a:gd name="connsiteY106" fmla="*/ 9933 h 10001"/>
                <a:gd name="connsiteX107" fmla="*/ 2430 w 10000"/>
                <a:gd name="connsiteY107" fmla="*/ 9662 h 10001"/>
                <a:gd name="connsiteX108" fmla="*/ 3363 w 10000"/>
                <a:gd name="connsiteY108" fmla="*/ 9662 h 10001"/>
                <a:gd name="connsiteX109" fmla="*/ 3644 w 10000"/>
                <a:gd name="connsiteY109" fmla="*/ 9437 h 10001"/>
                <a:gd name="connsiteX110" fmla="*/ 3961 w 10000"/>
                <a:gd name="connsiteY110" fmla="*/ 9346 h 10001"/>
                <a:gd name="connsiteX111" fmla="*/ 4278 w 10000"/>
                <a:gd name="connsiteY111" fmla="*/ 9504 h 10001"/>
                <a:gd name="connsiteX112" fmla="*/ 4489 w 10000"/>
                <a:gd name="connsiteY112" fmla="*/ 9437 h 10001"/>
                <a:gd name="connsiteX113" fmla="*/ 5440 w 10000"/>
                <a:gd name="connsiteY113" fmla="*/ 9369 h 10001"/>
                <a:gd name="connsiteX114" fmla="*/ 5792 w 10000"/>
                <a:gd name="connsiteY114" fmla="*/ 9211 h 10001"/>
                <a:gd name="connsiteX115" fmla="*/ 5951 w 10000"/>
                <a:gd name="connsiteY115" fmla="*/ 9369 h 10001"/>
                <a:gd name="connsiteX116" fmla="*/ 6602 w 10000"/>
                <a:gd name="connsiteY116" fmla="*/ 9324 h 10001"/>
                <a:gd name="connsiteX117" fmla="*/ 6743 w 10000"/>
                <a:gd name="connsiteY117" fmla="*/ 9572 h 10001"/>
                <a:gd name="connsiteX118" fmla="*/ 6919 w 10000"/>
                <a:gd name="connsiteY118" fmla="*/ 9775 h 10001"/>
                <a:gd name="connsiteX119" fmla="*/ 7482 w 10000"/>
                <a:gd name="connsiteY119" fmla="*/ 9730 h 10001"/>
                <a:gd name="connsiteX120" fmla="*/ 7658 w 10000"/>
                <a:gd name="connsiteY120" fmla="*/ 9866 h 10001"/>
                <a:gd name="connsiteX121" fmla="*/ 7764 w 10000"/>
                <a:gd name="connsiteY121" fmla="*/ 9911 h 10001"/>
                <a:gd name="connsiteX122" fmla="*/ 7835 w 10000"/>
                <a:gd name="connsiteY122" fmla="*/ 9978 h 10001"/>
                <a:gd name="connsiteX123" fmla="*/ 7940 w 10000"/>
                <a:gd name="connsiteY123" fmla="*/ 10001 h 10001"/>
                <a:gd name="connsiteX124" fmla="*/ 8116 w 10000"/>
                <a:gd name="connsiteY124" fmla="*/ 9933 h 10001"/>
                <a:gd name="connsiteX125" fmla="*/ 8063 w 10000"/>
                <a:gd name="connsiteY125" fmla="*/ 9617 h 10001"/>
                <a:gd name="connsiteX126" fmla="*/ 7887 w 10000"/>
                <a:gd name="connsiteY126" fmla="*/ 9392 h 10001"/>
                <a:gd name="connsiteX127" fmla="*/ 7887 w 10000"/>
                <a:gd name="connsiteY127" fmla="*/ 9008 h 10001"/>
                <a:gd name="connsiteX128" fmla="*/ 8063 w 10000"/>
                <a:gd name="connsiteY128" fmla="*/ 8872 h 10001"/>
                <a:gd name="connsiteX129" fmla="*/ 8275 w 10000"/>
                <a:gd name="connsiteY129" fmla="*/ 8692 h 10001"/>
                <a:gd name="connsiteX130" fmla="*/ 8151 w 10000"/>
                <a:gd name="connsiteY130" fmla="*/ 8601 h 10001"/>
                <a:gd name="connsiteX131" fmla="*/ 8063 w 10000"/>
                <a:gd name="connsiteY131" fmla="*/ 8466 h 10001"/>
                <a:gd name="connsiteX132" fmla="*/ 8204 w 10000"/>
                <a:gd name="connsiteY132" fmla="*/ 8240 h 10001"/>
                <a:gd name="connsiteX133" fmla="*/ 8521 w 10000"/>
                <a:gd name="connsiteY133" fmla="*/ 8240 h 10001"/>
                <a:gd name="connsiteX134" fmla="*/ 8521 w 10000"/>
                <a:gd name="connsiteY134" fmla="*/ 7947 h 10001"/>
                <a:gd name="connsiteX135" fmla="*/ 8310 w 10000"/>
                <a:gd name="connsiteY135" fmla="*/ 7834 h 10001"/>
                <a:gd name="connsiteX136" fmla="*/ 8398 w 10000"/>
                <a:gd name="connsiteY136" fmla="*/ 7495 h 10001"/>
                <a:gd name="connsiteX137" fmla="*/ 7676 w 10000"/>
                <a:gd name="connsiteY137" fmla="*/ 6164 h 10001"/>
                <a:gd name="connsiteX138" fmla="*/ 7518 w 10000"/>
                <a:gd name="connsiteY138" fmla="*/ 5441 h 10001"/>
                <a:gd name="connsiteX139" fmla="*/ 7676 w 10000"/>
                <a:gd name="connsiteY139" fmla="*/ 4764 h 10001"/>
                <a:gd name="connsiteX140" fmla="*/ 7007 w 10000"/>
                <a:gd name="connsiteY140" fmla="*/ 4854 h 10001"/>
                <a:gd name="connsiteX141" fmla="*/ 6972 w 10000"/>
                <a:gd name="connsiteY141" fmla="*/ 4809 h 10001"/>
                <a:gd name="connsiteX142" fmla="*/ 6954 w 10000"/>
                <a:gd name="connsiteY142" fmla="*/ 4629 h 10001"/>
                <a:gd name="connsiteX143" fmla="*/ 7095 w 10000"/>
                <a:gd name="connsiteY143" fmla="*/ 4267 h 10001"/>
                <a:gd name="connsiteX144" fmla="*/ 8468 w 10000"/>
                <a:gd name="connsiteY144" fmla="*/ 3342 h 10001"/>
                <a:gd name="connsiteX145" fmla="*/ 8908 w 10000"/>
                <a:gd name="connsiteY145" fmla="*/ 3161 h 10001"/>
                <a:gd name="connsiteX146" fmla="*/ 9102 w 10000"/>
                <a:gd name="connsiteY146" fmla="*/ 3432 h 10001"/>
                <a:gd name="connsiteX147" fmla="*/ 9313 w 10000"/>
                <a:gd name="connsiteY147" fmla="*/ 3432 h 10001"/>
                <a:gd name="connsiteX148" fmla="*/ 9560 w 10000"/>
                <a:gd name="connsiteY148" fmla="*/ 3206 h 10001"/>
                <a:gd name="connsiteX149" fmla="*/ 9965 w 10000"/>
                <a:gd name="connsiteY149" fmla="*/ 3455 h 10001"/>
                <a:gd name="connsiteX150" fmla="*/ 10000 w 10000"/>
                <a:gd name="connsiteY150" fmla="*/ 2732 h 10001"/>
                <a:gd name="connsiteX151" fmla="*/ 9507 w 10000"/>
                <a:gd name="connsiteY151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944 w 10000"/>
                <a:gd name="connsiteY50" fmla="*/ 1355 h 10001"/>
                <a:gd name="connsiteX51" fmla="*/ 4349 w 10000"/>
                <a:gd name="connsiteY51" fmla="*/ 1355 h 10001"/>
                <a:gd name="connsiteX52" fmla="*/ 4525 w 10000"/>
                <a:gd name="connsiteY52" fmla="*/ 1446 h 10001"/>
                <a:gd name="connsiteX53" fmla="*/ 4701 w 10000"/>
                <a:gd name="connsiteY53" fmla="*/ 1513 h 10001"/>
                <a:gd name="connsiteX54" fmla="*/ 4789 w 10000"/>
                <a:gd name="connsiteY54" fmla="*/ 1107 h 10001"/>
                <a:gd name="connsiteX55" fmla="*/ 5070 w 10000"/>
                <a:gd name="connsiteY55" fmla="*/ 972 h 10001"/>
                <a:gd name="connsiteX56" fmla="*/ 5264 w 10000"/>
                <a:gd name="connsiteY56" fmla="*/ 1017 h 10001"/>
                <a:gd name="connsiteX57" fmla="*/ 5176 w 10000"/>
                <a:gd name="connsiteY57" fmla="*/ 814 h 10001"/>
                <a:gd name="connsiteX58" fmla="*/ 5440 w 10000"/>
                <a:gd name="connsiteY58" fmla="*/ 791 h 10001"/>
                <a:gd name="connsiteX59" fmla="*/ 5511 w 10000"/>
                <a:gd name="connsiteY59" fmla="*/ 1536 h 10001"/>
                <a:gd name="connsiteX60" fmla="*/ 5352 w 10000"/>
                <a:gd name="connsiteY60" fmla="*/ 1717 h 10001"/>
                <a:gd name="connsiteX61" fmla="*/ 4982 w 10000"/>
                <a:gd name="connsiteY61" fmla="*/ 1739 h 10001"/>
                <a:gd name="connsiteX62" fmla="*/ 4824 w 10000"/>
                <a:gd name="connsiteY62" fmla="*/ 1739 h 10001"/>
                <a:gd name="connsiteX63" fmla="*/ 4507 w 10000"/>
                <a:gd name="connsiteY63" fmla="*/ 1942 h 10001"/>
                <a:gd name="connsiteX64" fmla="*/ 4296 w 10000"/>
                <a:gd name="connsiteY64" fmla="*/ 1942 h 10001"/>
                <a:gd name="connsiteX65" fmla="*/ 4225 w 10000"/>
                <a:gd name="connsiteY65" fmla="*/ 1852 h 10001"/>
                <a:gd name="connsiteX66" fmla="*/ 3785 w 10000"/>
                <a:gd name="connsiteY66" fmla="*/ 1852 h 10001"/>
                <a:gd name="connsiteX67" fmla="*/ 3644 w 10000"/>
                <a:gd name="connsiteY67" fmla="*/ 1762 h 10001"/>
                <a:gd name="connsiteX68" fmla="*/ 3380 w 10000"/>
                <a:gd name="connsiteY68" fmla="*/ 1829 h 10001"/>
                <a:gd name="connsiteX69" fmla="*/ 3169 w 10000"/>
                <a:gd name="connsiteY69" fmla="*/ 1920 h 10001"/>
                <a:gd name="connsiteX70" fmla="*/ 2975 w 10000"/>
                <a:gd name="connsiteY70" fmla="*/ 1852 h 10001"/>
                <a:gd name="connsiteX71" fmla="*/ 2271 w 10000"/>
                <a:gd name="connsiteY71" fmla="*/ 1852 h 10001"/>
                <a:gd name="connsiteX72" fmla="*/ 2042 w 10000"/>
                <a:gd name="connsiteY72" fmla="*/ 1965 h 10001"/>
                <a:gd name="connsiteX73" fmla="*/ 1796 w 10000"/>
                <a:gd name="connsiteY73" fmla="*/ 1965 h 10001"/>
                <a:gd name="connsiteX74" fmla="*/ 1585 w 10000"/>
                <a:gd name="connsiteY74" fmla="*/ 2010 h 10001"/>
                <a:gd name="connsiteX75" fmla="*/ 1479 w 10000"/>
                <a:gd name="connsiteY75" fmla="*/ 1965 h 10001"/>
                <a:gd name="connsiteX76" fmla="*/ 1285 w 10000"/>
                <a:gd name="connsiteY76" fmla="*/ 2033 h 10001"/>
                <a:gd name="connsiteX77" fmla="*/ 1180 w 10000"/>
                <a:gd name="connsiteY77" fmla="*/ 2145 h 10001"/>
                <a:gd name="connsiteX78" fmla="*/ 933 w 10000"/>
                <a:gd name="connsiteY78" fmla="*/ 2326 h 10001"/>
                <a:gd name="connsiteX79" fmla="*/ 739 w 10000"/>
                <a:gd name="connsiteY79" fmla="*/ 2349 h 10001"/>
                <a:gd name="connsiteX80" fmla="*/ 669 w 10000"/>
                <a:gd name="connsiteY80" fmla="*/ 2958 h 10001"/>
                <a:gd name="connsiteX81" fmla="*/ 493 w 10000"/>
                <a:gd name="connsiteY81" fmla="*/ 3274 h 10001"/>
                <a:gd name="connsiteX82" fmla="*/ 264 w 10000"/>
                <a:gd name="connsiteY82" fmla="*/ 3229 h 10001"/>
                <a:gd name="connsiteX83" fmla="*/ 88 w 10000"/>
                <a:gd name="connsiteY83" fmla="*/ 3342 h 10001"/>
                <a:gd name="connsiteX84" fmla="*/ 88 w 10000"/>
                <a:gd name="connsiteY84" fmla="*/ 3522 h 10001"/>
                <a:gd name="connsiteX85" fmla="*/ 194 w 10000"/>
                <a:gd name="connsiteY85" fmla="*/ 3884 h 10001"/>
                <a:gd name="connsiteX86" fmla="*/ 123 w 10000"/>
                <a:gd name="connsiteY86" fmla="*/ 4154 h 10001"/>
                <a:gd name="connsiteX87" fmla="*/ 0 w 10000"/>
                <a:gd name="connsiteY87" fmla="*/ 4425 h 10001"/>
                <a:gd name="connsiteX88" fmla="*/ 18 w 10000"/>
                <a:gd name="connsiteY88" fmla="*/ 4832 h 10001"/>
                <a:gd name="connsiteX89" fmla="*/ 53 w 10000"/>
                <a:gd name="connsiteY89" fmla="*/ 5464 h 10001"/>
                <a:gd name="connsiteX90" fmla="*/ 88 w 10000"/>
                <a:gd name="connsiteY90" fmla="*/ 5464 h 10001"/>
                <a:gd name="connsiteX91" fmla="*/ 158 w 10000"/>
                <a:gd name="connsiteY91" fmla="*/ 5644 h 10001"/>
                <a:gd name="connsiteX92" fmla="*/ 581 w 10000"/>
                <a:gd name="connsiteY92" fmla="*/ 6096 h 10001"/>
                <a:gd name="connsiteX93" fmla="*/ 581 w 10000"/>
                <a:gd name="connsiteY93" fmla="*/ 6118 h 10001"/>
                <a:gd name="connsiteX94" fmla="*/ 581 w 10000"/>
                <a:gd name="connsiteY94" fmla="*/ 6118 h 10001"/>
                <a:gd name="connsiteX95" fmla="*/ 651 w 10000"/>
                <a:gd name="connsiteY95" fmla="*/ 6547 h 10001"/>
                <a:gd name="connsiteX96" fmla="*/ 1532 w 10000"/>
                <a:gd name="connsiteY96" fmla="*/ 7112 h 10001"/>
                <a:gd name="connsiteX97" fmla="*/ 1549 w 10000"/>
                <a:gd name="connsiteY97" fmla="*/ 7112 h 10001"/>
                <a:gd name="connsiteX98" fmla="*/ 1549 w 10000"/>
                <a:gd name="connsiteY98" fmla="*/ 7134 h 10001"/>
                <a:gd name="connsiteX99" fmla="*/ 1725 w 10000"/>
                <a:gd name="connsiteY99" fmla="*/ 8173 h 10001"/>
                <a:gd name="connsiteX100" fmla="*/ 2077 w 10000"/>
                <a:gd name="connsiteY100" fmla="*/ 9053 h 10001"/>
                <a:gd name="connsiteX101" fmla="*/ 2201 w 10000"/>
                <a:gd name="connsiteY101" fmla="*/ 9324 h 10001"/>
                <a:gd name="connsiteX102" fmla="*/ 2201 w 10000"/>
                <a:gd name="connsiteY102" fmla="*/ 9324 h 10001"/>
                <a:gd name="connsiteX103" fmla="*/ 2201 w 10000"/>
                <a:gd name="connsiteY103" fmla="*/ 9346 h 10001"/>
                <a:gd name="connsiteX104" fmla="*/ 2183 w 10000"/>
                <a:gd name="connsiteY104" fmla="*/ 9933 h 10001"/>
                <a:gd name="connsiteX105" fmla="*/ 2324 w 10000"/>
                <a:gd name="connsiteY105" fmla="*/ 9933 h 10001"/>
                <a:gd name="connsiteX106" fmla="*/ 2430 w 10000"/>
                <a:gd name="connsiteY106" fmla="*/ 9662 h 10001"/>
                <a:gd name="connsiteX107" fmla="*/ 3363 w 10000"/>
                <a:gd name="connsiteY107" fmla="*/ 9662 h 10001"/>
                <a:gd name="connsiteX108" fmla="*/ 3644 w 10000"/>
                <a:gd name="connsiteY108" fmla="*/ 9437 h 10001"/>
                <a:gd name="connsiteX109" fmla="*/ 3961 w 10000"/>
                <a:gd name="connsiteY109" fmla="*/ 9346 h 10001"/>
                <a:gd name="connsiteX110" fmla="*/ 4278 w 10000"/>
                <a:gd name="connsiteY110" fmla="*/ 9504 h 10001"/>
                <a:gd name="connsiteX111" fmla="*/ 4489 w 10000"/>
                <a:gd name="connsiteY111" fmla="*/ 9437 h 10001"/>
                <a:gd name="connsiteX112" fmla="*/ 5440 w 10000"/>
                <a:gd name="connsiteY112" fmla="*/ 9369 h 10001"/>
                <a:gd name="connsiteX113" fmla="*/ 5792 w 10000"/>
                <a:gd name="connsiteY113" fmla="*/ 9211 h 10001"/>
                <a:gd name="connsiteX114" fmla="*/ 5951 w 10000"/>
                <a:gd name="connsiteY114" fmla="*/ 9369 h 10001"/>
                <a:gd name="connsiteX115" fmla="*/ 6602 w 10000"/>
                <a:gd name="connsiteY115" fmla="*/ 9324 h 10001"/>
                <a:gd name="connsiteX116" fmla="*/ 6743 w 10000"/>
                <a:gd name="connsiteY116" fmla="*/ 9572 h 10001"/>
                <a:gd name="connsiteX117" fmla="*/ 6919 w 10000"/>
                <a:gd name="connsiteY117" fmla="*/ 9775 h 10001"/>
                <a:gd name="connsiteX118" fmla="*/ 7482 w 10000"/>
                <a:gd name="connsiteY118" fmla="*/ 9730 h 10001"/>
                <a:gd name="connsiteX119" fmla="*/ 7658 w 10000"/>
                <a:gd name="connsiteY119" fmla="*/ 9866 h 10001"/>
                <a:gd name="connsiteX120" fmla="*/ 7764 w 10000"/>
                <a:gd name="connsiteY120" fmla="*/ 9911 h 10001"/>
                <a:gd name="connsiteX121" fmla="*/ 7835 w 10000"/>
                <a:gd name="connsiteY121" fmla="*/ 9978 h 10001"/>
                <a:gd name="connsiteX122" fmla="*/ 7940 w 10000"/>
                <a:gd name="connsiteY122" fmla="*/ 10001 h 10001"/>
                <a:gd name="connsiteX123" fmla="*/ 8116 w 10000"/>
                <a:gd name="connsiteY123" fmla="*/ 9933 h 10001"/>
                <a:gd name="connsiteX124" fmla="*/ 8063 w 10000"/>
                <a:gd name="connsiteY124" fmla="*/ 9617 h 10001"/>
                <a:gd name="connsiteX125" fmla="*/ 7887 w 10000"/>
                <a:gd name="connsiteY125" fmla="*/ 9392 h 10001"/>
                <a:gd name="connsiteX126" fmla="*/ 7887 w 10000"/>
                <a:gd name="connsiteY126" fmla="*/ 9008 h 10001"/>
                <a:gd name="connsiteX127" fmla="*/ 8063 w 10000"/>
                <a:gd name="connsiteY127" fmla="*/ 8872 h 10001"/>
                <a:gd name="connsiteX128" fmla="*/ 8275 w 10000"/>
                <a:gd name="connsiteY128" fmla="*/ 8692 h 10001"/>
                <a:gd name="connsiteX129" fmla="*/ 8151 w 10000"/>
                <a:gd name="connsiteY129" fmla="*/ 8601 h 10001"/>
                <a:gd name="connsiteX130" fmla="*/ 8063 w 10000"/>
                <a:gd name="connsiteY130" fmla="*/ 8466 h 10001"/>
                <a:gd name="connsiteX131" fmla="*/ 8204 w 10000"/>
                <a:gd name="connsiteY131" fmla="*/ 8240 h 10001"/>
                <a:gd name="connsiteX132" fmla="*/ 8521 w 10000"/>
                <a:gd name="connsiteY132" fmla="*/ 8240 h 10001"/>
                <a:gd name="connsiteX133" fmla="*/ 8521 w 10000"/>
                <a:gd name="connsiteY133" fmla="*/ 7947 h 10001"/>
                <a:gd name="connsiteX134" fmla="*/ 8310 w 10000"/>
                <a:gd name="connsiteY134" fmla="*/ 7834 h 10001"/>
                <a:gd name="connsiteX135" fmla="*/ 8398 w 10000"/>
                <a:gd name="connsiteY135" fmla="*/ 7495 h 10001"/>
                <a:gd name="connsiteX136" fmla="*/ 7676 w 10000"/>
                <a:gd name="connsiteY136" fmla="*/ 6164 h 10001"/>
                <a:gd name="connsiteX137" fmla="*/ 7518 w 10000"/>
                <a:gd name="connsiteY137" fmla="*/ 5441 h 10001"/>
                <a:gd name="connsiteX138" fmla="*/ 7676 w 10000"/>
                <a:gd name="connsiteY138" fmla="*/ 4764 h 10001"/>
                <a:gd name="connsiteX139" fmla="*/ 7007 w 10000"/>
                <a:gd name="connsiteY139" fmla="*/ 4854 h 10001"/>
                <a:gd name="connsiteX140" fmla="*/ 6972 w 10000"/>
                <a:gd name="connsiteY140" fmla="*/ 4809 h 10001"/>
                <a:gd name="connsiteX141" fmla="*/ 6954 w 10000"/>
                <a:gd name="connsiteY141" fmla="*/ 4629 h 10001"/>
                <a:gd name="connsiteX142" fmla="*/ 7095 w 10000"/>
                <a:gd name="connsiteY142" fmla="*/ 4267 h 10001"/>
                <a:gd name="connsiteX143" fmla="*/ 8468 w 10000"/>
                <a:gd name="connsiteY143" fmla="*/ 3342 h 10001"/>
                <a:gd name="connsiteX144" fmla="*/ 8908 w 10000"/>
                <a:gd name="connsiteY144" fmla="*/ 3161 h 10001"/>
                <a:gd name="connsiteX145" fmla="*/ 9102 w 10000"/>
                <a:gd name="connsiteY145" fmla="*/ 3432 h 10001"/>
                <a:gd name="connsiteX146" fmla="*/ 9313 w 10000"/>
                <a:gd name="connsiteY146" fmla="*/ 3432 h 10001"/>
                <a:gd name="connsiteX147" fmla="*/ 9560 w 10000"/>
                <a:gd name="connsiteY147" fmla="*/ 3206 h 10001"/>
                <a:gd name="connsiteX148" fmla="*/ 9965 w 10000"/>
                <a:gd name="connsiteY148" fmla="*/ 3455 h 10001"/>
                <a:gd name="connsiteX149" fmla="*/ 10000 w 10000"/>
                <a:gd name="connsiteY149" fmla="*/ 2732 h 10001"/>
                <a:gd name="connsiteX150" fmla="*/ 9507 w 10000"/>
                <a:gd name="connsiteY150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944 w 10000"/>
                <a:gd name="connsiteY50" fmla="*/ 1355 h 10001"/>
                <a:gd name="connsiteX51" fmla="*/ 4349 w 10000"/>
                <a:gd name="connsiteY51" fmla="*/ 1355 h 10001"/>
                <a:gd name="connsiteX52" fmla="*/ 4525 w 10000"/>
                <a:gd name="connsiteY52" fmla="*/ 1446 h 10001"/>
                <a:gd name="connsiteX53" fmla="*/ 4701 w 10000"/>
                <a:gd name="connsiteY53" fmla="*/ 1513 h 10001"/>
                <a:gd name="connsiteX54" fmla="*/ 4789 w 10000"/>
                <a:gd name="connsiteY54" fmla="*/ 1107 h 10001"/>
                <a:gd name="connsiteX55" fmla="*/ 5070 w 10000"/>
                <a:gd name="connsiteY55" fmla="*/ 972 h 10001"/>
                <a:gd name="connsiteX56" fmla="*/ 5264 w 10000"/>
                <a:gd name="connsiteY56" fmla="*/ 1017 h 10001"/>
                <a:gd name="connsiteX57" fmla="*/ 5176 w 10000"/>
                <a:gd name="connsiteY57" fmla="*/ 814 h 10001"/>
                <a:gd name="connsiteX58" fmla="*/ 5440 w 10000"/>
                <a:gd name="connsiteY58" fmla="*/ 791 h 10001"/>
                <a:gd name="connsiteX59" fmla="*/ 5352 w 10000"/>
                <a:gd name="connsiteY59" fmla="*/ 1717 h 10001"/>
                <a:gd name="connsiteX60" fmla="*/ 4982 w 10000"/>
                <a:gd name="connsiteY60" fmla="*/ 1739 h 10001"/>
                <a:gd name="connsiteX61" fmla="*/ 4824 w 10000"/>
                <a:gd name="connsiteY61" fmla="*/ 1739 h 10001"/>
                <a:gd name="connsiteX62" fmla="*/ 4507 w 10000"/>
                <a:gd name="connsiteY62" fmla="*/ 1942 h 10001"/>
                <a:gd name="connsiteX63" fmla="*/ 4296 w 10000"/>
                <a:gd name="connsiteY63" fmla="*/ 1942 h 10001"/>
                <a:gd name="connsiteX64" fmla="*/ 4225 w 10000"/>
                <a:gd name="connsiteY64" fmla="*/ 1852 h 10001"/>
                <a:gd name="connsiteX65" fmla="*/ 3785 w 10000"/>
                <a:gd name="connsiteY65" fmla="*/ 1852 h 10001"/>
                <a:gd name="connsiteX66" fmla="*/ 3644 w 10000"/>
                <a:gd name="connsiteY66" fmla="*/ 1762 h 10001"/>
                <a:gd name="connsiteX67" fmla="*/ 3380 w 10000"/>
                <a:gd name="connsiteY67" fmla="*/ 1829 h 10001"/>
                <a:gd name="connsiteX68" fmla="*/ 3169 w 10000"/>
                <a:gd name="connsiteY68" fmla="*/ 1920 h 10001"/>
                <a:gd name="connsiteX69" fmla="*/ 2975 w 10000"/>
                <a:gd name="connsiteY69" fmla="*/ 1852 h 10001"/>
                <a:gd name="connsiteX70" fmla="*/ 2271 w 10000"/>
                <a:gd name="connsiteY70" fmla="*/ 1852 h 10001"/>
                <a:gd name="connsiteX71" fmla="*/ 2042 w 10000"/>
                <a:gd name="connsiteY71" fmla="*/ 1965 h 10001"/>
                <a:gd name="connsiteX72" fmla="*/ 1796 w 10000"/>
                <a:gd name="connsiteY72" fmla="*/ 1965 h 10001"/>
                <a:gd name="connsiteX73" fmla="*/ 1585 w 10000"/>
                <a:gd name="connsiteY73" fmla="*/ 2010 h 10001"/>
                <a:gd name="connsiteX74" fmla="*/ 1479 w 10000"/>
                <a:gd name="connsiteY74" fmla="*/ 1965 h 10001"/>
                <a:gd name="connsiteX75" fmla="*/ 1285 w 10000"/>
                <a:gd name="connsiteY75" fmla="*/ 2033 h 10001"/>
                <a:gd name="connsiteX76" fmla="*/ 1180 w 10000"/>
                <a:gd name="connsiteY76" fmla="*/ 2145 h 10001"/>
                <a:gd name="connsiteX77" fmla="*/ 933 w 10000"/>
                <a:gd name="connsiteY77" fmla="*/ 2326 h 10001"/>
                <a:gd name="connsiteX78" fmla="*/ 739 w 10000"/>
                <a:gd name="connsiteY78" fmla="*/ 2349 h 10001"/>
                <a:gd name="connsiteX79" fmla="*/ 669 w 10000"/>
                <a:gd name="connsiteY79" fmla="*/ 2958 h 10001"/>
                <a:gd name="connsiteX80" fmla="*/ 493 w 10000"/>
                <a:gd name="connsiteY80" fmla="*/ 3274 h 10001"/>
                <a:gd name="connsiteX81" fmla="*/ 264 w 10000"/>
                <a:gd name="connsiteY81" fmla="*/ 3229 h 10001"/>
                <a:gd name="connsiteX82" fmla="*/ 88 w 10000"/>
                <a:gd name="connsiteY82" fmla="*/ 3342 h 10001"/>
                <a:gd name="connsiteX83" fmla="*/ 88 w 10000"/>
                <a:gd name="connsiteY83" fmla="*/ 3522 h 10001"/>
                <a:gd name="connsiteX84" fmla="*/ 194 w 10000"/>
                <a:gd name="connsiteY84" fmla="*/ 3884 h 10001"/>
                <a:gd name="connsiteX85" fmla="*/ 123 w 10000"/>
                <a:gd name="connsiteY85" fmla="*/ 4154 h 10001"/>
                <a:gd name="connsiteX86" fmla="*/ 0 w 10000"/>
                <a:gd name="connsiteY86" fmla="*/ 4425 h 10001"/>
                <a:gd name="connsiteX87" fmla="*/ 18 w 10000"/>
                <a:gd name="connsiteY87" fmla="*/ 4832 h 10001"/>
                <a:gd name="connsiteX88" fmla="*/ 53 w 10000"/>
                <a:gd name="connsiteY88" fmla="*/ 5464 h 10001"/>
                <a:gd name="connsiteX89" fmla="*/ 88 w 10000"/>
                <a:gd name="connsiteY89" fmla="*/ 5464 h 10001"/>
                <a:gd name="connsiteX90" fmla="*/ 158 w 10000"/>
                <a:gd name="connsiteY90" fmla="*/ 5644 h 10001"/>
                <a:gd name="connsiteX91" fmla="*/ 581 w 10000"/>
                <a:gd name="connsiteY91" fmla="*/ 6096 h 10001"/>
                <a:gd name="connsiteX92" fmla="*/ 581 w 10000"/>
                <a:gd name="connsiteY92" fmla="*/ 6118 h 10001"/>
                <a:gd name="connsiteX93" fmla="*/ 581 w 10000"/>
                <a:gd name="connsiteY93" fmla="*/ 6118 h 10001"/>
                <a:gd name="connsiteX94" fmla="*/ 651 w 10000"/>
                <a:gd name="connsiteY94" fmla="*/ 6547 h 10001"/>
                <a:gd name="connsiteX95" fmla="*/ 1532 w 10000"/>
                <a:gd name="connsiteY95" fmla="*/ 7112 h 10001"/>
                <a:gd name="connsiteX96" fmla="*/ 1549 w 10000"/>
                <a:gd name="connsiteY96" fmla="*/ 7112 h 10001"/>
                <a:gd name="connsiteX97" fmla="*/ 1549 w 10000"/>
                <a:gd name="connsiteY97" fmla="*/ 7134 h 10001"/>
                <a:gd name="connsiteX98" fmla="*/ 1725 w 10000"/>
                <a:gd name="connsiteY98" fmla="*/ 8173 h 10001"/>
                <a:gd name="connsiteX99" fmla="*/ 2077 w 10000"/>
                <a:gd name="connsiteY99" fmla="*/ 9053 h 10001"/>
                <a:gd name="connsiteX100" fmla="*/ 2201 w 10000"/>
                <a:gd name="connsiteY100" fmla="*/ 9324 h 10001"/>
                <a:gd name="connsiteX101" fmla="*/ 2201 w 10000"/>
                <a:gd name="connsiteY101" fmla="*/ 9324 h 10001"/>
                <a:gd name="connsiteX102" fmla="*/ 2201 w 10000"/>
                <a:gd name="connsiteY102" fmla="*/ 9346 h 10001"/>
                <a:gd name="connsiteX103" fmla="*/ 2183 w 10000"/>
                <a:gd name="connsiteY103" fmla="*/ 9933 h 10001"/>
                <a:gd name="connsiteX104" fmla="*/ 2324 w 10000"/>
                <a:gd name="connsiteY104" fmla="*/ 9933 h 10001"/>
                <a:gd name="connsiteX105" fmla="*/ 2430 w 10000"/>
                <a:gd name="connsiteY105" fmla="*/ 9662 h 10001"/>
                <a:gd name="connsiteX106" fmla="*/ 3363 w 10000"/>
                <a:gd name="connsiteY106" fmla="*/ 9662 h 10001"/>
                <a:gd name="connsiteX107" fmla="*/ 3644 w 10000"/>
                <a:gd name="connsiteY107" fmla="*/ 9437 h 10001"/>
                <a:gd name="connsiteX108" fmla="*/ 3961 w 10000"/>
                <a:gd name="connsiteY108" fmla="*/ 9346 h 10001"/>
                <a:gd name="connsiteX109" fmla="*/ 4278 w 10000"/>
                <a:gd name="connsiteY109" fmla="*/ 9504 h 10001"/>
                <a:gd name="connsiteX110" fmla="*/ 4489 w 10000"/>
                <a:gd name="connsiteY110" fmla="*/ 9437 h 10001"/>
                <a:gd name="connsiteX111" fmla="*/ 5440 w 10000"/>
                <a:gd name="connsiteY111" fmla="*/ 9369 h 10001"/>
                <a:gd name="connsiteX112" fmla="*/ 5792 w 10000"/>
                <a:gd name="connsiteY112" fmla="*/ 9211 h 10001"/>
                <a:gd name="connsiteX113" fmla="*/ 5951 w 10000"/>
                <a:gd name="connsiteY113" fmla="*/ 9369 h 10001"/>
                <a:gd name="connsiteX114" fmla="*/ 6602 w 10000"/>
                <a:gd name="connsiteY114" fmla="*/ 9324 h 10001"/>
                <a:gd name="connsiteX115" fmla="*/ 6743 w 10000"/>
                <a:gd name="connsiteY115" fmla="*/ 9572 h 10001"/>
                <a:gd name="connsiteX116" fmla="*/ 6919 w 10000"/>
                <a:gd name="connsiteY116" fmla="*/ 9775 h 10001"/>
                <a:gd name="connsiteX117" fmla="*/ 7482 w 10000"/>
                <a:gd name="connsiteY117" fmla="*/ 9730 h 10001"/>
                <a:gd name="connsiteX118" fmla="*/ 7658 w 10000"/>
                <a:gd name="connsiteY118" fmla="*/ 9866 h 10001"/>
                <a:gd name="connsiteX119" fmla="*/ 7764 w 10000"/>
                <a:gd name="connsiteY119" fmla="*/ 9911 h 10001"/>
                <a:gd name="connsiteX120" fmla="*/ 7835 w 10000"/>
                <a:gd name="connsiteY120" fmla="*/ 9978 h 10001"/>
                <a:gd name="connsiteX121" fmla="*/ 7940 w 10000"/>
                <a:gd name="connsiteY121" fmla="*/ 10001 h 10001"/>
                <a:gd name="connsiteX122" fmla="*/ 8116 w 10000"/>
                <a:gd name="connsiteY122" fmla="*/ 9933 h 10001"/>
                <a:gd name="connsiteX123" fmla="*/ 8063 w 10000"/>
                <a:gd name="connsiteY123" fmla="*/ 9617 h 10001"/>
                <a:gd name="connsiteX124" fmla="*/ 7887 w 10000"/>
                <a:gd name="connsiteY124" fmla="*/ 9392 h 10001"/>
                <a:gd name="connsiteX125" fmla="*/ 7887 w 10000"/>
                <a:gd name="connsiteY125" fmla="*/ 9008 h 10001"/>
                <a:gd name="connsiteX126" fmla="*/ 8063 w 10000"/>
                <a:gd name="connsiteY126" fmla="*/ 8872 h 10001"/>
                <a:gd name="connsiteX127" fmla="*/ 8275 w 10000"/>
                <a:gd name="connsiteY127" fmla="*/ 8692 h 10001"/>
                <a:gd name="connsiteX128" fmla="*/ 8151 w 10000"/>
                <a:gd name="connsiteY128" fmla="*/ 8601 h 10001"/>
                <a:gd name="connsiteX129" fmla="*/ 8063 w 10000"/>
                <a:gd name="connsiteY129" fmla="*/ 8466 h 10001"/>
                <a:gd name="connsiteX130" fmla="*/ 8204 w 10000"/>
                <a:gd name="connsiteY130" fmla="*/ 8240 h 10001"/>
                <a:gd name="connsiteX131" fmla="*/ 8521 w 10000"/>
                <a:gd name="connsiteY131" fmla="*/ 8240 h 10001"/>
                <a:gd name="connsiteX132" fmla="*/ 8521 w 10000"/>
                <a:gd name="connsiteY132" fmla="*/ 7947 h 10001"/>
                <a:gd name="connsiteX133" fmla="*/ 8310 w 10000"/>
                <a:gd name="connsiteY133" fmla="*/ 7834 h 10001"/>
                <a:gd name="connsiteX134" fmla="*/ 8398 w 10000"/>
                <a:gd name="connsiteY134" fmla="*/ 7495 h 10001"/>
                <a:gd name="connsiteX135" fmla="*/ 7676 w 10000"/>
                <a:gd name="connsiteY135" fmla="*/ 6164 h 10001"/>
                <a:gd name="connsiteX136" fmla="*/ 7518 w 10000"/>
                <a:gd name="connsiteY136" fmla="*/ 5441 h 10001"/>
                <a:gd name="connsiteX137" fmla="*/ 7676 w 10000"/>
                <a:gd name="connsiteY137" fmla="*/ 4764 h 10001"/>
                <a:gd name="connsiteX138" fmla="*/ 7007 w 10000"/>
                <a:gd name="connsiteY138" fmla="*/ 4854 h 10001"/>
                <a:gd name="connsiteX139" fmla="*/ 6972 w 10000"/>
                <a:gd name="connsiteY139" fmla="*/ 4809 h 10001"/>
                <a:gd name="connsiteX140" fmla="*/ 6954 w 10000"/>
                <a:gd name="connsiteY140" fmla="*/ 4629 h 10001"/>
                <a:gd name="connsiteX141" fmla="*/ 7095 w 10000"/>
                <a:gd name="connsiteY141" fmla="*/ 4267 h 10001"/>
                <a:gd name="connsiteX142" fmla="*/ 8468 w 10000"/>
                <a:gd name="connsiteY142" fmla="*/ 3342 h 10001"/>
                <a:gd name="connsiteX143" fmla="*/ 8908 w 10000"/>
                <a:gd name="connsiteY143" fmla="*/ 3161 h 10001"/>
                <a:gd name="connsiteX144" fmla="*/ 9102 w 10000"/>
                <a:gd name="connsiteY144" fmla="*/ 3432 h 10001"/>
                <a:gd name="connsiteX145" fmla="*/ 9313 w 10000"/>
                <a:gd name="connsiteY145" fmla="*/ 3432 h 10001"/>
                <a:gd name="connsiteX146" fmla="*/ 9560 w 10000"/>
                <a:gd name="connsiteY146" fmla="*/ 3206 h 10001"/>
                <a:gd name="connsiteX147" fmla="*/ 9965 w 10000"/>
                <a:gd name="connsiteY147" fmla="*/ 3455 h 10001"/>
                <a:gd name="connsiteX148" fmla="*/ 10000 w 10000"/>
                <a:gd name="connsiteY148" fmla="*/ 2732 h 10001"/>
                <a:gd name="connsiteX149" fmla="*/ 9507 w 10000"/>
                <a:gd name="connsiteY149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944 w 10000"/>
                <a:gd name="connsiteY50" fmla="*/ 1355 h 10001"/>
                <a:gd name="connsiteX51" fmla="*/ 4349 w 10000"/>
                <a:gd name="connsiteY51" fmla="*/ 1355 h 10001"/>
                <a:gd name="connsiteX52" fmla="*/ 4525 w 10000"/>
                <a:gd name="connsiteY52" fmla="*/ 1446 h 10001"/>
                <a:gd name="connsiteX53" fmla="*/ 4701 w 10000"/>
                <a:gd name="connsiteY53" fmla="*/ 1513 h 10001"/>
                <a:gd name="connsiteX54" fmla="*/ 4789 w 10000"/>
                <a:gd name="connsiteY54" fmla="*/ 1107 h 10001"/>
                <a:gd name="connsiteX55" fmla="*/ 5070 w 10000"/>
                <a:gd name="connsiteY55" fmla="*/ 972 h 10001"/>
                <a:gd name="connsiteX56" fmla="*/ 5264 w 10000"/>
                <a:gd name="connsiteY56" fmla="*/ 1017 h 10001"/>
                <a:gd name="connsiteX57" fmla="*/ 5176 w 10000"/>
                <a:gd name="connsiteY57" fmla="*/ 814 h 10001"/>
                <a:gd name="connsiteX58" fmla="*/ 5440 w 10000"/>
                <a:gd name="connsiteY58" fmla="*/ 791 h 10001"/>
                <a:gd name="connsiteX59" fmla="*/ 4982 w 10000"/>
                <a:gd name="connsiteY59" fmla="*/ 1739 h 10001"/>
                <a:gd name="connsiteX60" fmla="*/ 4824 w 10000"/>
                <a:gd name="connsiteY60" fmla="*/ 1739 h 10001"/>
                <a:gd name="connsiteX61" fmla="*/ 4507 w 10000"/>
                <a:gd name="connsiteY61" fmla="*/ 1942 h 10001"/>
                <a:gd name="connsiteX62" fmla="*/ 4296 w 10000"/>
                <a:gd name="connsiteY62" fmla="*/ 1942 h 10001"/>
                <a:gd name="connsiteX63" fmla="*/ 4225 w 10000"/>
                <a:gd name="connsiteY63" fmla="*/ 1852 h 10001"/>
                <a:gd name="connsiteX64" fmla="*/ 3785 w 10000"/>
                <a:gd name="connsiteY64" fmla="*/ 1852 h 10001"/>
                <a:gd name="connsiteX65" fmla="*/ 3644 w 10000"/>
                <a:gd name="connsiteY65" fmla="*/ 1762 h 10001"/>
                <a:gd name="connsiteX66" fmla="*/ 3380 w 10000"/>
                <a:gd name="connsiteY66" fmla="*/ 1829 h 10001"/>
                <a:gd name="connsiteX67" fmla="*/ 3169 w 10000"/>
                <a:gd name="connsiteY67" fmla="*/ 1920 h 10001"/>
                <a:gd name="connsiteX68" fmla="*/ 2975 w 10000"/>
                <a:gd name="connsiteY68" fmla="*/ 1852 h 10001"/>
                <a:gd name="connsiteX69" fmla="*/ 2271 w 10000"/>
                <a:gd name="connsiteY69" fmla="*/ 1852 h 10001"/>
                <a:gd name="connsiteX70" fmla="*/ 2042 w 10000"/>
                <a:gd name="connsiteY70" fmla="*/ 1965 h 10001"/>
                <a:gd name="connsiteX71" fmla="*/ 1796 w 10000"/>
                <a:gd name="connsiteY71" fmla="*/ 1965 h 10001"/>
                <a:gd name="connsiteX72" fmla="*/ 1585 w 10000"/>
                <a:gd name="connsiteY72" fmla="*/ 2010 h 10001"/>
                <a:gd name="connsiteX73" fmla="*/ 1479 w 10000"/>
                <a:gd name="connsiteY73" fmla="*/ 1965 h 10001"/>
                <a:gd name="connsiteX74" fmla="*/ 1285 w 10000"/>
                <a:gd name="connsiteY74" fmla="*/ 2033 h 10001"/>
                <a:gd name="connsiteX75" fmla="*/ 1180 w 10000"/>
                <a:gd name="connsiteY75" fmla="*/ 2145 h 10001"/>
                <a:gd name="connsiteX76" fmla="*/ 933 w 10000"/>
                <a:gd name="connsiteY76" fmla="*/ 2326 h 10001"/>
                <a:gd name="connsiteX77" fmla="*/ 739 w 10000"/>
                <a:gd name="connsiteY77" fmla="*/ 2349 h 10001"/>
                <a:gd name="connsiteX78" fmla="*/ 669 w 10000"/>
                <a:gd name="connsiteY78" fmla="*/ 2958 h 10001"/>
                <a:gd name="connsiteX79" fmla="*/ 493 w 10000"/>
                <a:gd name="connsiteY79" fmla="*/ 3274 h 10001"/>
                <a:gd name="connsiteX80" fmla="*/ 264 w 10000"/>
                <a:gd name="connsiteY80" fmla="*/ 3229 h 10001"/>
                <a:gd name="connsiteX81" fmla="*/ 88 w 10000"/>
                <a:gd name="connsiteY81" fmla="*/ 3342 h 10001"/>
                <a:gd name="connsiteX82" fmla="*/ 88 w 10000"/>
                <a:gd name="connsiteY82" fmla="*/ 3522 h 10001"/>
                <a:gd name="connsiteX83" fmla="*/ 194 w 10000"/>
                <a:gd name="connsiteY83" fmla="*/ 3884 h 10001"/>
                <a:gd name="connsiteX84" fmla="*/ 123 w 10000"/>
                <a:gd name="connsiteY84" fmla="*/ 4154 h 10001"/>
                <a:gd name="connsiteX85" fmla="*/ 0 w 10000"/>
                <a:gd name="connsiteY85" fmla="*/ 4425 h 10001"/>
                <a:gd name="connsiteX86" fmla="*/ 18 w 10000"/>
                <a:gd name="connsiteY86" fmla="*/ 4832 h 10001"/>
                <a:gd name="connsiteX87" fmla="*/ 53 w 10000"/>
                <a:gd name="connsiteY87" fmla="*/ 5464 h 10001"/>
                <a:gd name="connsiteX88" fmla="*/ 88 w 10000"/>
                <a:gd name="connsiteY88" fmla="*/ 5464 h 10001"/>
                <a:gd name="connsiteX89" fmla="*/ 158 w 10000"/>
                <a:gd name="connsiteY89" fmla="*/ 5644 h 10001"/>
                <a:gd name="connsiteX90" fmla="*/ 581 w 10000"/>
                <a:gd name="connsiteY90" fmla="*/ 6096 h 10001"/>
                <a:gd name="connsiteX91" fmla="*/ 581 w 10000"/>
                <a:gd name="connsiteY91" fmla="*/ 6118 h 10001"/>
                <a:gd name="connsiteX92" fmla="*/ 581 w 10000"/>
                <a:gd name="connsiteY92" fmla="*/ 6118 h 10001"/>
                <a:gd name="connsiteX93" fmla="*/ 651 w 10000"/>
                <a:gd name="connsiteY93" fmla="*/ 6547 h 10001"/>
                <a:gd name="connsiteX94" fmla="*/ 1532 w 10000"/>
                <a:gd name="connsiteY94" fmla="*/ 7112 h 10001"/>
                <a:gd name="connsiteX95" fmla="*/ 1549 w 10000"/>
                <a:gd name="connsiteY95" fmla="*/ 7112 h 10001"/>
                <a:gd name="connsiteX96" fmla="*/ 1549 w 10000"/>
                <a:gd name="connsiteY96" fmla="*/ 7134 h 10001"/>
                <a:gd name="connsiteX97" fmla="*/ 1725 w 10000"/>
                <a:gd name="connsiteY97" fmla="*/ 8173 h 10001"/>
                <a:gd name="connsiteX98" fmla="*/ 2077 w 10000"/>
                <a:gd name="connsiteY98" fmla="*/ 9053 h 10001"/>
                <a:gd name="connsiteX99" fmla="*/ 2201 w 10000"/>
                <a:gd name="connsiteY99" fmla="*/ 9324 h 10001"/>
                <a:gd name="connsiteX100" fmla="*/ 2201 w 10000"/>
                <a:gd name="connsiteY100" fmla="*/ 9324 h 10001"/>
                <a:gd name="connsiteX101" fmla="*/ 2201 w 10000"/>
                <a:gd name="connsiteY101" fmla="*/ 9346 h 10001"/>
                <a:gd name="connsiteX102" fmla="*/ 2183 w 10000"/>
                <a:gd name="connsiteY102" fmla="*/ 9933 h 10001"/>
                <a:gd name="connsiteX103" fmla="*/ 2324 w 10000"/>
                <a:gd name="connsiteY103" fmla="*/ 9933 h 10001"/>
                <a:gd name="connsiteX104" fmla="*/ 2430 w 10000"/>
                <a:gd name="connsiteY104" fmla="*/ 9662 h 10001"/>
                <a:gd name="connsiteX105" fmla="*/ 3363 w 10000"/>
                <a:gd name="connsiteY105" fmla="*/ 9662 h 10001"/>
                <a:gd name="connsiteX106" fmla="*/ 3644 w 10000"/>
                <a:gd name="connsiteY106" fmla="*/ 9437 h 10001"/>
                <a:gd name="connsiteX107" fmla="*/ 3961 w 10000"/>
                <a:gd name="connsiteY107" fmla="*/ 9346 h 10001"/>
                <a:gd name="connsiteX108" fmla="*/ 4278 w 10000"/>
                <a:gd name="connsiteY108" fmla="*/ 9504 h 10001"/>
                <a:gd name="connsiteX109" fmla="*/ 4489 w 10000"/>
                <a:gd name="connsiteY109" fmla="*/ 9437 h 10001"/>
                <a:gd name="connsiteX110" fmla="*/ 5440 w 10000"/>
                <a:gd name="connsiteY110" fmla="*/ 9369 h 10001"/>
                <a:gd name="connsiteX111" fmla="*/ 5792 w 10000"/>
                <a:gd name="connsiteY111" fmla="*/ 9211 h 10001"/>
                <a:gd name="connsiteX112" fmla="*/ 5951 w 10000"/>
                <a:gd name="connsiteY112" fmla="*/ 9369 h 10001"/>
                <a:gd name="connsiteX113" fmla="*/ 6602 w 10000"/>
                <a:gd name="connsiteY113" fmla="*/ 9324 h 10001"/>
                <a:gd name="connsiteX114" fmla="*/ 6743 w 10000"/>
                <a:gd name="connsiteY114" fmla="*/ 9572 h 10001"/>
                <a:gd name="connsiteX115" fmla="*/ 6919 w 10000"/>
                <a:gd name="connsiteY115" fmla="*/ 9775 h 10001"/>
                <a:gd name="connsiteX116" fmla="*/ 7482 w 10000"/>
                <a:gd name="connsiteY116" fmla="*/ 9730 h 10001"/>
                <a:gd name="connsiteX117" fmla="*/ 7658 w 10000"/>
                <a:gd name="connsiteY117" fmla="*/ 9866 h 10001"/>
                <a:gd name="connsiteX118" fmla="*/ 7764 w 10000"/>
                <a:gd name="connsiteY118" fmla="*/ 9911 h 10001"/>
                <a:gd name="connsiteX119" fmla="*/ 7835 w 10000"/>
                <a:gd name="connsiteY119" fmla="*/ 9978 h 10001"/>
                <a:gd name="connsiteX120" fmla="*/ 7940 w 10000"/>
                <a:gd name="connsiteY120" fmla="*/ 10001 h 10001"/>
                <a:gd name="connsiteX121" fmla="*/ 8116 w 10000"/>
                <a:gd name="connsiteY121" fmla="*/ 9933 h 10001"/>
                <a:gd name="connsiteX122" fmla="*/ 8063 w 10000"/>
                <a:gd name="connsiteY122" fmla="*/ 9617 h 10001"/>
                <a:gd name="connsiteX123" fmla="*/ 7887 w 10000"/>
                <a:gd name="connsiteY123" fmla="*/ 9392 h 10001"/>
                <a:gd name="connsiteX124" fmla="*/ 7887 w 10000"/>
                <a:gd name="connsiteY124" fmla="*/ 9008 h 10001"/>
                <a:gd name="connsiteX125" fmla="*/ 8063 w 10000"/>
                <a:gd name="connsiteY125" fmla="*/ 8872 h 10001"/>
                <a:gd name="connsiteX126" fmla="*/ 8275 w 10000"/>
                <a:gd name="connsiteY126" fmla="*/ 8692 h 10001"/>
                <a:gd name="connsiteX127" fmla="*/ 8151 w 10000"/>
                <a:gd name="connsiteY127" fmla="*/ 8601 h 10001"/>
                <a:gd name="connsiteX128" fmla="*/ 8063 w 10000"/>
                <a:gd name="connsiteY128" fmla="*/ 8466 h 10001"/>
                <a:gd name="connsiteX129" fmla="*/ 8204 w 10000"/>
                <a:gd name="connsiteY129" fmla="*/ 8240 h 10001"/>
                <a:gd name="connsiteX130" fmla="*/ 8521 w 10000"/>
                <a:gd name="connsiteY130" fmla="*/ 8240 h 10001"/>
                <a:gd name="connsiteX131" fmla="*/ 8521 w 10000"/>
                <a:gd name="connsiteY131" fmla="*/ 7947 h 10001"/>
                <a:gd name="connsiteX132" fmla="*/ 8310 w 10000"/>
                <a:gd name="connsiteY132" fmla="*/ 7834 h 10001"/>
                <a:gd name="connsiteX133" fmla="*/ 8398 w 10000"/>
                <a:gd name="connsiteY133" fmla="*/ 7495 h 10001"/>
                <a:gd name="connsiteX134" fmla="*/ 7676 w 10000"/>
                <a:gd name="connsiteY134" fmla="*/ 6164 h 10001"/>
                <a:gd name="connsiteX135" fmla="*/ 7518 w 10000"/>
                <a:gd name="connsiteY135" fmla="*/ 5441 h 10001"/>
                <a:gd name="connsiteX136" fmla="*/ 7676 w 10000"/>
                <a:gd name="connsiteY136" fmla="*/ 4764 h 10001"/>
                <a:gd name="connsiteX137" fmla="*/ 7007 w 10000"/>
                <a:gd name="connsiteY137" fmla="*/ 4854 h 10001"/>
                <a:gd name="connsiteX138" fmla="*/ 6972 w 10000"/>
                <a:gd name="connsiteY138" fmla="*/ 4809 h 10001"/>
                <a:gd name="connsiteX139" fmla="*/ 6954 w 10000"/>
                <a:gd name="connsiteY139" fmla="*/ 4629 h 10001"/>
                <a:gd name="connsiteX140" fmla="*/ 7095 w 10000"/>
                <a:gd name="connsiteY140" fmla="*/ 4267 h 10001"/>
                <a:gd name="connsiteX141" fmla="*/ 8468 w 10000"/>
                <a:gd name="connsiteY141" fmla="*/ 3342 h 10001"/>
                <a:gd name="connsiteX142" fmla="*/ 8908 w 10000"/>
                <a:gd name="connsiteY142" fmla="*/ 3161 h 10001"/>
                <a:gd name="connsiteX143" fmla="*/ 9102 w 10000"/>
                <a:gd name="connsiteY143" fmla="*/ 3432 h 10001"/>
                <a:gd name="connsiteX144" fmla="*/ 9313 w 10000"/>
                <a:gd name="connsiteY144" fmla="*/ 3432 h 10001"/>
                <a:gd name="connsiteX145" fmla="*/ 9560 w 10000"/>
                <a:gd name="connsiteY145" fmla="*/ 3206 h 10001"/>
                <a:gd name="connsiteX146" fmla="*/ 9965 w 10000"/>
                <a:gd name="connsiteY146" fmla="*/ 3455 h 10001"/>
                <a:gd name="connsiteX147" fmla="*/ 10000 w 10000"/>
                <a:gd name="connsiteY147" fmla="*/ 2732 h 10001"/>
                <a:gd name="connsiteX148" fmla="*/ 9507 w 10000"/>
                <a:gd name="connsiteY148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944 w 10000"/>
                <a:gd name="connsiteY50" fmla="*/ 1355 h 10001"/>
                <a:gd name="connsiteX51" fmla="*/ 4349 w 10000"/>
                <a:gd name="connsiteY51" fmla="*/ 1355 h 10001"/>
                <a:gd name="connsiteX52" fmla="*/ 4525 w 10000"/>
                <a:gd name="connsiteY52" fmla="*/ 1446 h 10001"/>
                <a:gd name="connsiteX53" fmla="*/ 4701 w 10000"/>
                <a:gd name="connsiteY53" fmla="*/ 1513 h 10001"/>
                <a:gd name="connsiteX54" fmla="*/ 4789 w 10000"/>
                <a:gd name="connsiteY54" fmla="*/ 1107 h 10001"/>
                <a:gd name="connsiteX55" fmla="*/ 5070 w 10000"/>
                <a:gd name="connsiteY55" fmla="*/ 972 h 10001"/>
                <a:gd name="connsiteX56" fmla="*/ 5176 w 10000"/>
                <a:gd name="connsiteY56" fmla="*/ 814 h 10001"/>
                <a:gd name="connsiteX57" fmla="*/ 5440 w 10000"/>
                <a:gd name="connsiteY57" fmla="*/ 791 h 10001"/>
                <a:gd name="connsiteX58" fmla="*/ 4982 w 10000"/>
                <a:gd name="connsiteY58" fmla="*/ 1739 h 10001"/>
                <a:gd name="connsiteX59" fmla="*/ 4824 w 10000"/>
                <a:gd name="connsiteY59" fmla="*/ 1739 h 10001"/>
                <a:gd name="connsiteX60" fmla="*/ 4507 w 10000"/>
                <a:gd name="connsiteY60" fmla="*/ 1942 h 10001"/>
                <a:gd name="connsiteX61" fmla="*/ 4296 w 10000"/>
                <a:gd name="connsiteY61" fmla="*/ 1942 h 10001"/>
                <a:gd name="connsiteX62" fmla="*/ 4225 w 10000"/>
                <a:gd name="connsiteY62" fmla="*/ 1852 h 10001"/>
                <a:gd name="connsiteX63" fmla="*/ 3785 w 10000"/>
                <a:gd name="connsiteY63" fmla="*/ 1852 h 10001"/>
                <a:gd name="connsiteX64" fmla="*/ 3644 w 10000"/>
                <a:gd name="connsiteY64" fmla="*/ 1762 h 10001"/>
                <a:gd name="connsiteX65" fmla="*/ 3380 w 10000"/>
                <a:gd name="connsiteY65" fmla="*/ 1829 h 10001"/>
                <a:gd name="connsiteX66" fmla="*/ 3169 w 10000"/>
                <a:gd name="connsiteY66" fmla="*/ 1920 h 10001"/>
                <a:gd name="connsiteX67" fmla="*/ 2975 w 10000"/>
                <a:gd name="connsiteY67" fmla="*/ 1852 h 10001"/>
                <a:gd name="connsiteX68" fmla="*/ 2271 w 10000"/>
                <a:gd name="connsiteY68" fmla="*/ 1852 h 10001"/>
                <a:gd name="connsiteX69" fmla="*/ 2042 w 10000"/>
                <a:gd name="connsiteY69" fmla="*/ 1965 h 10001"/>
                <a:gd name="connsiteX70" fmla="*/ 1796 w 10000"/>
                <a:gd name="connsiteY70" fmla="*/ 1965 h 10001"/>
                <a:gd name="connsiteX71" fmla="*/ 1585 w 10000"/>
                <a:gd name="connsiteY71" fmla="*/ 2010 h 10001"/>
                <a:gd name="connsiteX72" fmla="*/ 1479 w 10000"/>
                <a:gd name="connsiteY72" fmla="*/ 1965 h 10001"/>
                <a:gd name="connsiteX73" fmla="*/ 1285 w 10000"/>
                <a:gd name="connsiteY73" fmla="*/ 2033 h 10001"/>
                <a:gd name="connsiteX74" fmla="*/ 1180 w 10000"/>
                <a:gd name="connsiteY74" fmla="*/ 2145 h 10001"/>
                <a:gd name="connsiteX75" fmla="*/ 933 w 10000"/>
                <a:gd name="connsiteY75" fmla="*/ 2326 h 10001"/>
                <a:gd name="connsiteX76" fmla="*/ 739 w 10000"/>
                <a:gd name="connsiteY76" fmla="*/ 2349 h 10001"/>
                <a:gd name="connsiteX77" fmla="*/ 669 w 10000"/>
                <a:gd name="connsiteY77" fmla="*/ 2958 h 10001"/>
                <a:gd name="connsiteX78" fmla="*/ 493 w 10000"/>
                <a:gd name="connsiteY78" fmla="*/ 3274 h 10001"/>
                <a:gd name="connsiteX79" fmla="*/ 264 w 10000"/>
                <a:gd name="connsiteY79" fmla="*/ 3229 h 10001"/>
                <a:gd name="connsiteX80" fmla="*/ 88 w 10000"/>
                <a:gd name="connsiteY80" fmla="*/ 3342 h 10001"/>
                <a:gd name="connsiteX81" fmla="*/ 88 w 10000"/>
                <a:gd name="connsiteY81" fmla="*/ 3522 h 10001"/>
                <a:gd name="connsiteX82" fmla="*/ 194 w 10000"/>
                <a:gd name="connsiteY82" fmla="*/ 3884 h 10001"/>
                <a:gd name="connsiteX83" fmla="*/ 123 w 10000"/>
                <a:gd name="connsiteY83" fmla="*/ 4154 h 10001"/>
                <a:gd name="connsiteX84" fmla="*/ 0 w 10000"/>
                <a:gd name="connsiteY84" fmla="*/ 4425 h 10001"/>
                <a:gd name="connsiteX85" fmla="*/ 18 w 10000"/>
                <a:gd name="connsiteY85" fmla="*/ 4832 h 10001"/>
                <a:gd name="connsiteX86" fmla="*/ 53 w 10000"/>
                <a:gd name="connsiteY86" fmla="*/ 5464 h 10001"/>
                <a:gd name="connsiteX87" fmla="*/ 88 w 10000"/>
                <a:gd name="connsiteY87" fmla="*/ 5464 h 10001"/>
                <a:gd name="connsiteX88" fmla="*/ 158 w 10000"/>
                <a:gd name="connsiteY88" fmla="*/ 5644 h 10001"/>
                <a:gd name="connsiteX89" fmla="*/ 581 w 10000"/>
                <a:gd name="connsiteY89" fmla="*/ 6096 h 10001"/>
                <a:gd name="connsiteX90" fmla="*/ 581 w 10000"/>
                <a:gd name="connsiteY90" fmla="*/ 6118 h 10001"/>
                <a:gd name="connsiteX91" fmla="*/ 581 w 10000"/>
                <a:gd name="connsiteY91" fmla="*/ 6118 h 10001"/>
                <a:gd name="connsiteX92" fmla="*/ 651 w 10000"/>
                <a:gd name="connsiteY92" fmla="*/ 6547 h 10001"/>
                <a:gd name="connsiteX93" fmla="*/ 1532 w 10000"/>
                <a:gd name="connsiteY93" fmla="*/ 7112 h 10001"/>
                <a:gd name="connsiteX94" fmla="*/ 1549 w 10000"/>
                <a:gd name="connsiteY94" fmla="*/ 7112 h 10001"/>
                <a:gd name="connsiteX95" fmla="*/ 1549 w 10000"/>
                <a:gd name="connsiteY95" fmla="*/ 7134 h 10001"/>
                <a:gd name="connsiteX96" fmla="*/ 1725 w 10000"/>
                <a:gd name="connsiteY96" fmla="*/ 8173 h 10001"/>
                <a:gd name="connsiteX97" fmla="*/ 2077 w 10000"/>
                <a:gd name="connsiteY97" fmla="*/ 9053 h 10001"/>
                <a:gd name="connsiteX98" fmla="*/ 2201 w 10000"/>
                <a:gd name="connsiteY98" fmla="*/ 9324 h 10001"/>
                <a:gd name="connsiteX99" fmla="*/ 2201 w 10000"/>
                <a:gd name="connsiteY99" fmla="*/ 9324 h 10001"/>
                <a:gd name="connsiteX100" fmla="*/ 2201 w 10000"/>
                <a:gd name="connsiteY100" fmla="*/ 9346 h 10001"/>
                <a:gd name="connsiteX101" fmla="*/ 2183 w 10000"/>
                <a:gd name="connsiteY101" fmla="*/ 9933 h 10001"/>
                <a:gd name="connsiteX102" fmla="*/ 2324 w 10000"/>
                <a:gd name="connsiteY102" fmla="*/ 9933 h 10001"/>
                <a:gd name="connsiteX103" fmla="*/ 2430 w 10000"/>
                <a:gd name="connsiteY103" fmla="*/ 9662 h 10001"/>
                <a:gd name="connsiteX104" fmla="*/ 3363 w 10000"/>
                <a:gd name="connsiteY104" fmla="*/ 9662 h 10001"/>
                <a:gd name="connsiteX105" fmla="*/ 3644 w 10000"/>
                <a:gd name="connsiteY105" fmla="*/ 9437 h 10001"/>
                <a:gd name="connsiteX106" fmla="*/ 3961 w 10000"/>
                <a:gd name="connsiteY106" fmla="*/ 9346 h 10001"/>
                <a:gd name="connsiteX107" fmla="*/ 4278 w 10000"/>
                <a:gd name="connsiteY107" fmla="*/ 9504 h 10001"/>
                <a:gd name="connsiteX108" fmla="*/ 4489 w 10000"/>
                <a:gd name="connsiteY108" fmla="*/ 9437 h 10001"/>
                <a:gd name="connsiteX109" fmla="*/ 5440 w 10000"/>
                <a:gd name="connsiteY109" fmla="*/ 9369 h 10001"/>
                <a:gd name="connsiteX110" fmla="*/ 5792 w 10000"/>
                <a:gd name="connsiteY110" fmla="*/ 9211 h 10001"/>
                <a:gd name="connsiteX111" fmla="*/ 5951 w 10000"/>
                <a:gd name="connsiteY111" fmla="*/ 9369 h 10001"/>
                <a:gd name="connsiteX112" fmla="*/ 6602 w 10000"/>
                <a:gd name="connsiteY112" fmla="*/ 9324 h 10001"/>
                <a:gd name="connsiteX113" fmla="*/ 6743 w 10000"/>
                <a:gd name="connsiteY113" fmla="*/ 9572 h 10001"/>
                <a:gd name="connsiteX114" fmla="*/ 6919 w 10000"/>
                <a:gd name="connsiteY114" fmla="*/ 9775 h 10001"/>
                <a:gd name="connsiteX115" fmla="*/ 7482 w 10000"/>
                <a:gd name="connsiteY115" fmla="*/ 9730 h 10001"/>
                <a:gd name="connsiteX116" fmla="*/ 7658 w 10000"/>
                <a:gd name="connsiteY116" fmla="*/ 9866 h 10001"/>
                <a:gd name="connsiteX117" fmla="*/ 7764 w 10000"/>
                <a:gd name="connsiteY117" fmla="*/ 9911 h 10001"/>
                <a:gd name="connsiteX118" fmla="*/ 7835 w 10000"/>
                <a:gd name="connsiteY118" fmla="*/ 9978 h 10001"/>
                <a:gd name="connsiteX119" fmla="*/ 7940 w 10000"/>
                <a:gd name="connsiteY119" fmla="*/ 10001 h 10001"/>
                <a:gd name="connsiteX120" fmla="*/ 8116 w 10000"/>
                <a:gd name="connsiteY120" fmla="*/ 9933 h 10001"/>
                <a:gd name="connsiteX121" fmla="*/ 8063 w 10000"/>
                <a:gd name="connsiteY121" fmla="*/ 9617 h 10001"/>
                <a:gd name="connsiteX122" fmla="*/ 7887 w 10000"/>
                <a:gd name="connsiteY122" fmla="*/ 9392 h 10001"/>
                <a:gd name="connsiteX123" fmla="*/ 7887 w 10000"/>
                <a:gd name="connsiteY123" fmla="*/ 9008 h 10001"/>
                <a:gd name="connsiteX124" fmla="*/ 8063 w 10000"/>
                <a:gd name="connsiteY124" fmla="*/ 8872 h 10001"/>
                <a:gd name="connsiteX125" fmla="*/ 8275 w 10000"/>
                <a:gd name="connsiteY125" fmla="*/ 8692 h 10001"/>
                <a:gd name="connsiteX126" fmla="*/ 8151 w 10000"/>
                <a:gd name="connsiteY126" fmla="*/ 8601 h 10001"/>
                <a:gd name="connsiteX127" fmla="*/ 8063 w 10000"/>
                <a:gd name="connsiteY127" fmla="*/ 8466 h 10001"/>
                <a:gd name="connsiteX128" fmla="*/ 8204 w 10000"/>
                <a:gd name="connsiteY128" fmla="*/ 8240 h 10001"/>
                <a:gd name="connsiteX129" fmla="*/ 8521 w 10000"/>
                <a:gd name="connsiteY129" fmla="*/ 8240 h 10001"/>
                <a:gd name="connsiteX130" fmla="*/ 8521 w 10000"/>
                <a:gd name="connsiteY130" fmla="*/ 7947 h 10001"/>
                <a:gd name="connsiteX131" fmla="*/ 8310 w 10000"/>
                <a:gd name="connsiteY131" fmla="*/ 7834 h 10001"/>
                <a:gd name="connsiteX132" fmla="*/ 8398 w 10000"/>
                <a:gd name="connsiteY132" fmla="*/ 7495 h 10001"/>
                <a:gd name="connsiteX133" fmla="*/ 7676 w 10000"/>
                <a:gd name="connsiteY133" fmla="*/ 6164 h 10001"/>
                <a:gd name="connsiteX134" fmla="*/ 7518 w 10000"/>
                <a:gd name="connsiteY134" fmla="*/ 5441 h 10001"/>
                <a:gd name="connsiteX135" fmla="*/ 7676 w 10000"/>
                <a:gd name="connsiteY135" fmla="*/ 4764 h 10001"/>
                <a:gd name="connsiteX136" fmla="*/ 7007 w 10000"/>
                <a:gd name="connsiteY136" fmla="*/ 4854 h 10001"/>
                <a:gd name="connsiteX137" fmla="*/ 6972 w 10000"/>
                <a:gd name="connsiteY137" fmla="*/ 4809 h 10001"/>
                <a:gd name="connsiteX138" fmla="*/ 6954 w 10000"/>
                <a:gd name="connsiteY138" fmla="*/ 4629 h 10001"/>
                <a:gd name="connsiteX139" fmla="*/ 7095 w 10000"/>
                <a:gd name="connsiteY139" fmla="*/ 4267 h 10001"/>
                <a:gd name="connsiteX140" fmla="*/ 8468 w 10000"/>
                <a:gd name="connsiteY140" fmla="*/ 3342 h 10001"/>
                <a:gd name="connsiteX141" fmla="*/ 8908 w 10000"/>
                <a:gd name="connsiteY141" fmla="*/ 3161 h 10001"/>
                <a:gd name="connsiteX142" fmla="*/ 9102 w 10000"/>
                <a:gd name="connsiteY142" fmla="*/ 3432 h 10001"/>
                <a:gd name="connsiteX143" fmla="*/ 9313 w 10000"/>
                <a:gd name="connsiteY143" fmla="*/ 3432 h 10001"/>
                <a:gd name="connsiteX144" fmla="*/ 9560 w 10000"/>
                <a:gd name="connsiteY144" fmla="*/ 3206 h 10001"/>
                <a:gd name="connsiteX145" fmla="*/ 9965 w 10000"/>
                <a:gd name="connsiteY145" fmla="*/ 3455 h 10001"/>
                <a:gd name="connsiteX146" fmla="*/ 10000 w 10000"/>
                <a:gd name="connsiteY146" fmla="*/ 2732 h 10001"/>
                <a:gd name="connsiteX147" fmla="*/ 9507 w 10000"/>
                <a:gd name="connsiteY147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944 w 10000"/>
                <a:gd name="connsiteY50" fmla="*/ 1355 h 10001"/>
                <a:gd name="connsiteX51" fmla="*/ 4349 w 10000"/>
                <a:gd name="connsiteY51" fmla="*/ 1355 h 10001"/>
                <a:gd name="connsiteX52" fmla="*/ 4525 w 10000"/>
                <a:gd name="connsiteY52" fmla="*/ 1446 h 10001"/>
                <a:gd name="connsiteX53" fmla="*/ 4701 w 10000"/>
                <a:gd name="connsiteY53" fmla="*/ 1513 h 10001"/>
                <a:gd name="connsiteX54" fmla="*/ 4789 w 10000"/>
                <a:gd name="connsiteY54" fmla="*/ 1107 h 10001"/>
                <a:gd name="connsiteX55" fmla="*/ 5070 w 10000"/>
                <a:gd name="connsiteY55" fmla="*/ 972 h 10001"/>
                <a:gd name="connsiteX56" fmla="*/ 5440 w 10000"/>
                <a:gd name="connsiteY56" fmla="*/ 791 h 10001"/>
                <a:gd name="connsiteX57" fmla="*/ 4982 w 10000"/>
                <a:gd name="connsiteY57" fmla="*/ 1739 h 10001"/>
                <a:gd name="connsiteX58" fmla="*/ 4824 w 10000"/>
                <a:gd name="connsiteY58" fmla="*/ 1739 h 10001"/>
                <a:gd name="connsiteX59" fmla="*/ 4507 w 10000"/>
                <a:gd name="connsiteY59" fmla="*/ 1942 h 10001"/>
                <a:gd name="connsiteX60" fmla="*/ 4296 w 10000"/>
                <a:gd name="connsiteY60" fmla="*/ 1942 h 10001"/>
                <a:gd name="connsiteX61" fmla="*/ 4225 w 10000"/>
                <a:gd name="connsiteY61" fmla="*/ 1852 h 10001"/>
                <a:gd name="connsiteX62" fmla="*/ 3785 w 10000"/>
                <a:gd name="connsiteY62" fmla="*/ 1852 h 10001"/>
                <a:gd name="connsiteX63" fmla="*/ 3644 w 10000"/>
                <a:gd name="connsiteY63" fmla="*/ 1762 h 10001"/>
                <a:gd name="connsiteX64" fmla="*/ 3380 w 10000"/>
                <a:gd name="connsiteY64" fmla="*/ 1829 h 10001"/>
                <a:gd name="connsiteX65" fmla="*/ 3169 w 10000"/>
                <a:gd name="connsiteY65" fmla="*/ 1920 h 10001"/>
                <a:gd name="connsiteX66" fmla="*/ 2975 w 10000"/>
                <a:gd name="connsiteY66" fmla="*/ 1852 h 10001"/>
                <a:gd name="connsiteX67" fmla="*/ 2271 w 10000"/>
                <a:gd name="connsiteY67" fmla="*/ 1852 h 10001"/>
                <a:gd name="connsiteX68" fmla="*/ 2042 w 10000"/>
                <a:gd name="connsiteY68" fmla="*/ 1965 h 10001"/>
                <a:gd name="connsiteX69" fmla="*/ 1796 w 10000"/>
                <a:gd name="connsiteY69" fmla="*/ 1965 h 10001"/>
                <a:gd name="connsiteX70" fmla="*/ 1585 w 10000"/>
                <a:gd name="connsiteY70" fmla="*/ 2010 h 10001"/>
                <a:gd name="connsiteX71" fmla="*/ 1479 w 10000"/>
                <a:gd name="connsiteY71" fmla="*/ 1965 h 10001"/>
                <a:gd name="connsiteX72" fmla="*/ 1285 w 10000"/>
                <a:gd name="connsiteY72" fmla="*/ 2033 h 10001"/>
                <a:gd name="connsiteX73" fmla="*/ 1180 w 10000"/>
                <a:gd name="connsiteY73" fmla="*/ 2145 h 10001"/>
                <a:gd name="connsiteX74" fmla="*/ 933 w 10000"/>
                <a:gd name="connsiteY74" fmla="*/ 2326 h 10001"/>
                <a:gd name="connsiteX75" fmla="*/ 739 w 10000"/>
                <a:gd name="connsiteY75" fmla="*/ 2349 h 10001"/>
                <a:gd name="connsiteX76" fmla="*/ 669 w 10000"/>
                <a:gd name="connsiteY76" fmla="*/ 2958 h 10001"/>
                <a:gd name="connsiteX77" fmla="*/ 493 w 10000"/>
                <a:gd name="connsiteY77" fmla="*/ 3274 h 10001"/>
                <a:gd name="connsiteX78" fmla="*/ 264 w 10000"/>
                <a:gd name="connsiteY78" fmla="*/ 3229 h 10001"/>
                <a:gd name="connsiteX79" fmla="*/ 88 w 10000"/>
                <a:gd name="connsiteY79" fmla="*/ 3342 h 10001"/>
                <a:gd name="connsiteX80" fmla="*/ 88 w 10000"/>
                <a:gd name="connsiteY80" fmla="*/ 3522 h 10001"/>
                <a:gd name="connsiteX81" fmla="*/ 194 w 10000"/>
                <a:gd name="connsiteY81" fmla="*/ 3884 h 10001"/>
                <a:gd name="connsiteX82" fmla="*/ 123 w 10000"/>
                <a:gd name="connsiteY82" fmla="*/ 4154 h 10001"/>
                <a:gd name="connsiteX83" fmla="*/ 0 w 10000"/>
                <a:gd name="connsiteY83" fmla="*/ 4425 h 10001"/>
                <a:gd name="connsiteX84" fmla="*/ 18 w 10000"/>
                <a:gd name="connsiteY84" fmla="*/ 4832 h 10001"/>
                <a:gd name="connsiteX85" fmla="*/ 53 w 10000"/>
                <a:gd name="connsiteY85" fmla="*/ 5464 h 10001"/>
                <a:gd name="connsiteX86" fmla="*/ 88 w 10000"/>
                <a:gd name="connsiteY86" fmla="*/ 5464 h 10001"/>
                <a:gd name="connsiteX87" fmla="*/ 158 w 10000"/>
                <a:gd name="connsiteY87" fmla="*/ 5644 h 10001"/>
                <a:gd name="connsiteX88" fmla="*/ 581 w 10000"/>
                <a:gd name="connsiteY88" fmla="*/ 6096 h 10001"/>
                <a:gd name="connsiteX89" fmla="*/ 581 w 10000"/>
                <a:gd name="connsiteY89" fmla="*/ 6118 h 10001"/>
                <a:gd name="connsiteX90" fmla="*/ 581 w 10000"/>
                <a:gd name="connsiteY90" fmla="*/ 6118 h 10001"/>
                <a:gd name="connsiteX91" fmla="*/ 651 w 10000"/>
                <a:gd name="connsiteY91" fmla="*/ 6547 h 10001"/>
                <a:gd name="connsiteX92" fmla="*/ 1532 w 10000"/>
                <a:gd name="connsiteY92" fmla="*/ 7112 h 10001"/>
                <a:gd name="connsiteX93" fmla="*/ 1549 w 10000"/>
                <a:gd name="connsiteY93" fmla="*/ 7112 h 10001"/>
                <a:gd name="connsiteX94" fmla="*/ 1549 w 10000"/>
                <a:gd name="connsiteY94" fmla="*/ 7134 h 10001"/>
                <a:gd name="connsiteX95" fmla="*/ 1725 w 10000"/>
                <a:gd name="connsiteY95" fmla="*/ 8173 h 10001"/>
                <a:gd name="connsiteX96" fmla="*/ 2077 w 10000"/>
                <a:gd name="connsiteY96" fmla="*/ 9053 h 10001"/>
                <a:gd name="connsiteX97" fmla="*/ 2201 w 10000"/>
                <a:gd name="connsiteY97" fmla="*/ 9324 h 10001"/>
                <a:gd name="connsiteX98" fmla="*/ 2201 w 10000"/>
                <a:gd name="connsiteY98" fmla="*/ 9324 h 10001"/>
                <a:gd name="connsiteX99" fmla="*/ 2201 w 10000"/>
                <a:gd name="connsiteY99" fmla="*/ 9346 h 10001"/>
                <a:gd name="connsiteX100" fmla="*/ 2183 w 10000"/>
                <a:gd name="connsiteY100" fmla="*/ 9933 h 10001"/>
                <a:gd name="connsiteX101" fmla="*/ 2324 w 10000"/>
                <a:gd name="connsiteY101" fmla="*/ 9933 h 10001"/>
                <a:gd name="connsiteX102" fmla="*/ 2430 w 10000"/>
                <a:gd name="connsiteY102" fmla="*/ 9662 h 10001"/>
                <a:gd name="connsiteX103" fmla="*/ 3363 w 10000"/>
                <a:gd name="connsiteY103" fmla="*/ 9662 h 10001"/>
                <a:gd name="connsiteX104" fmla="*/ 3644 w 10000"/>
                <a:gd name="connsiteY104" fmla="*/ 9437 h 10001"/>
                <a:gd name="connsiteX105" fmla="*/ 3961 w 10000"/>
                <a:gd name="connsiteY105" fmla="*/ 9346 h 10001"/>
                <a:gd name="connsiteX106" fmla="*/ 4278 w 10000"/>
                <a:gd name="connsiteY106" fmla="*/ 9504 h 10001"/>
                <a:gd name="connsiteX107" fmla="*/ 4489 w 10000"/>
                <a:gd name="connsiteY107" fmla="*/ 9437 h 10001"/>
                <a:gd name="connsiteX108" fmla="*/ 5440 w 10000"/>
                <a:gd name="connsiteY108" fmla="*/ 9369 h 10001"/>
                <a:gd name="connsiteX109" fmla="*/ 5792 w 10000"/>
                <a:gd name="connsiteY109" fmla="*/ 9211 h 10001"/>
                <a:gd name="connsiteX110" fmla="*/ 5951 w 10000"/>
                <a:gd name="connsiteY110" fmla="*/ 9369 h 10001"/>
                <a:gd name="connsiteX111" fmla="*/ 6602 w 10000"/>
                <a:gd name="connsiteY111" fmla="*/ 9324 h 10001"/>
                <a:gd name="connsiteX112" fmla="*/ 6743 w 10000"/>
                <a:gd name="connsiteY112" fmla="*/ 9572 h 10001"/>
                <a:gd name="connsiteX113" fmla="*/ 6919 w 10000"/>
                <a:gd name="connsiteY113" fmla="*/ 9775 h 10001"/>
                <a:gd name="connsiteX114" fmla="*/ 7482 w 10000"/>
                <a:gd name="connsiteY114" fmla="*/ 9730 h 10001"/>
                <a:gd name="connsiteX115" fmla="*/ 7658 w 10000"/>
                <a:gd name="connsiteY115" fmla="*/ 9866 h 10001"/>
                <a:gd name="connsiteX116" fmla="*/ 7764 w 10000"/>
                <a:gd name="connsiteY116" fmla="*/ 9911 h 10001"/>
                <a:gd name="connsiteX117" fmla="*/ 7835 w 10000"/>
                <a:gd name="connsiteY117" fmla="*/ 9978 h 10001"/>
                <a:gd name="connsiteX118" fmla="*/ 7940 w 10000"/>
                <a:gd name="connsiteY118" fmla="*/ 10001 h 10001"/>
                <a:gd name="connsiteX119" fmla="*/ 8116 w 10000"/>
                <a:gd name="connsiteY119" fmla="*/ 9933 h 10001"/>
                <a:gd name="connsiteX120" fmla="*/ 8063 w 10000"/>
                <a:gd name="connsiteY120" fmla="*/ 9617 h 10001"/>
                <a:gd name="connsiteX121" fmla="*/ 7887 w 10000"/>
                <a:gd name="connsiteY121" fmla="*/ 9392 h 10001"/>
                <a:gd name="connsiteX122" fmla="*/ 7887 w 10000"/>
                <a:gd name="connsiteY122" fmla="*/ 9008 h 10001"/>
                <a:gd name="connsiteX123" fmla="*/ 8063 w 10000"/>
                <a:gd name="connsiteY123" fmla="*/ 8872 h 10001"/>
                <a:gd name="connsiteX124" fmla="*/ 8275 w 10000"/>
                <a:gd name="connsiteY124" fmla="*/ 8692 h 10001"/>
                <a:gd name="connsiteX125" fmla="*/ 8151 w 10000"/>
                <a:gd name="connsiteY125" fmla="*/ 8601 h 10001"/>
                <a:gd name="connsiteX126" fmla="*/ 8063 w 10000"/>
                <a:gd name="connsiteY126" fmla="*/ 8466 h 10001"/>
                <a:gd name="connsiteX127" fmla="*/ 8204 w 10000"/>
                <a:gd name="connsiteY127" fmla="*/ 8240 h 10001"/>
                <a:gd name="connsiteX128" fmla="*/ 8521 w 10000"/>
                <a:gd name="connsiteY128" fmla="*/ 8240 h 10001"/>
                <a:gd name="connsiteX129" fmla="*/ 8521 w 10000"/>
                <a:gd name="connsiteY129" fmla="*/ 7947 h 10001"/>
                <a:gd name="connsiteX130" fmla="*/ 8310 w 10000"/>
                <a:gd name="connsiteY130" fmla="*/ 7834 h 10001"/>
                <a:gd name="connsiteX131" fmla="*/ 8398 w 10000"/>
                <a:gd name="connsiteY131" fmla="*/ 7495 h 10001"/>
                <a:gd name="connsiteX132" fmla="*/ 7676 w 10000"/>
                <a:gd name="connsiteY132" fmla="*/ 6164 h 10001"/>
                <a:gd name="connsiteX133" fmla="*/ 7518 w 10000"/>
                <a:gd name="connsiteY133" fmla="*/ 5441 h 10001"/>
                <a:gd name="connsiteX134" fmla="*/ 7676 w 10000"/>
                <a:gd name="connsiteY134" fmla="*/ 4764 h 10001"/>
                <a:gd name="connsiteX135" fmla="*/ 7007 w 10000"/>
                <a:gd name="connsiteY135" fmla="*/ 4854 h 10001"/>
                <a:gd name="connsiteX136" fmla="*/ 6972 w 10000"/>
                <a:gd name="connsiteY136" fmla="*/ 4809 h 10001"/>
                <a:gd name="connsiteX137" fmla="*/ 6954 w 10000"/>
                <a:gd name="connsiteY137" fmla="*/ 4629 h 10001"/>
                <a:gd name="connsiteX138" fmla="*/ 7095 w 10000"/>
                <a:gd name="connsiteY138" fmla="*/ 4267 h 10001"/>
                <a:gd name="connsiteX139" fmla="*/ 8468 w 10000"/>
                <a:gd name="connsiteY139" fmla="*/ 3342 h 10001"/>
                <a:gd name="connsiteX140" fmla="*/ 8908 w 10000"/>
                <a:gd name="connsiteY140" fmla="*/ 3161 h 10001"/>
                <a:gd name="connsiteX141" fmla="*/ 9102 w 10000"/>
                <a:gd name="connsiteY141" fmla="*/ 3432 h 10001"/>
                <a:gd name="connsiteX142" fmla="*/ 9313 w 10000"/>
                <a:gd name="connsiteY142" fmla="*/ 3432 h 10001"/>
                <a:gd name="connsiteX143" fmla="*/ 9560 w 10000"/>
                <a:gd name="connsiteY143" fmla="*/ 3206 h 10001"/>
                <a:gd name="connsiteX144" fmla="*/ 9965 w 10000"/>
                <a:gd name="connsiteY144" fmla="*/ 3455 h 10001"/>
                <a:gd name="connsiteX145" fmla="*/ 10000 w 10000"/>
                <a:gd name="connsiteY145" fmla="*/ 2732 h 10001"/>
                <a:gd name="connsiteX146" fmla="*/ 9507 w 10000"/>
                <a:gd name="connsiteY146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944 w 10000"/>
                <a:gd name="connsiteY50" fmla="*/ 1355 h 10001"/>
                <a:gd name="connsiteX51" fmla="*/ 4349 w 10000"/>
                <a:gd name="connsiteY51" fmla="*/ 1355 h 10001"/>
                <a:gd name="connsiteX52" fmla="*/ 4525 w 10000"/>
                <a:gd name="connsiteY52" fmla="*/ 1446 h 10001"/>
                <a:gd name="connsiteX53" fmla="*/ 4701 w 10000"/>
                <a:gd name="connsiteY53" fmla="*/ 1513 h 10001"/>
                <a:gd name="connsiteX54" fmla="*/ 4789 w 10000"/>
                <a:gd name="connsiteY54" fmla="*/ 1107 h 10001"/>
                <a:gd name="connsiteX55" fmla="*/ 5440 w 10000"/>
                <a:gd name="connsiteY55" fmla="*/ 791 h 10001"/>
                <a:gd name="connsiteX56" fmla="*/ 4982 w 10000"/>
                <a:gd name="connsiteY56" fmla="*/ 1739 h 10001"/>
                <a:gd name="connsiteX57" fmla="*/ 4824 w 10000"/>
                <a:gd name="connsiteY57" fmla="*/ 1739 h 10001"/>
                <a:gd name="connsiteX58" fmla="*/ 4507 w 10000"/>
                <a:gd name="connsiteY58" fmla="*/ 1942 h 10001"/>
                <a:gd name="connsiteX59" fmla="*/ 4296 w 10000"/>
                <a:gd name="connsiteY59" fmla="*/ 1942 h 10001"/>
                <a:gd name="connsiteX60" fmla="*/ 4225 w 10000"/>
                <a:gd name="connsiteY60" fmla="*/ 1852 h 10001"/>
                <a:gd name="connsiteX61" fmla="*/ 3785 w 10000"/>
                <a:gd name="connsiteY61" fmla="*/ 1852 h 10001"/>
                <a:gd name="connsiteX62" fmla="*/ 3644 w 10000"/>
                <a:gd name="connsiteY62" fmla="*/ 1762 h 10001"/>
                <a:gd name="connsiteX63" fmla="*/ 3380 w 10000"/>
                <a:gd name="connsiteY63" fmla="*/ 1829 h 10001"/>
                <a:gd name="connsiteX64" fmla="*/ 3169 w 10000"/>
                <a:gd name="connsiteY64" fmla="*/ 1920 h 10001"/>
                <a:gd name="connsiteX65" fmla="*/ 2975 w 10000"/>
                <a:gd name="connsiteY65" fmla="*/ 1852 h 10001"/>
                <a:gd name="connsiteX66" fmla="*/ 2271 w 10000"/>
                <a:gd name="connsiteY66" fmla="*/ 1852 h 10001"/>
                <a:gd name="connsiteX67" fmla="*/ 2042 w 10000"/>
                <a:gd name="connsiteY67" fmla="*/ 1965 h 10001"/>
                <a:gd name="connsiteX68" fmla="*/ 1796 w 10000"/>
                <a:gd name="connsiteY68" fmla="*/ 1965 h 10001"/>
                <a:gd name="connsiteX69" fmla="*/ 1585 w 10000"/>
                <a:gd name="connsiteY69" fmla="*/ 2010 h 10001"/>
                <a:gd name="connsiteX70" fmla="*/ 1479 w 10000"/>
                <a:gd name="connsiteY70" fmla="*/ 1965 h 10001"/>
                <a:gd name="connsiteX71" fmla="*/ 1285 w 10000"/>
                <a:gd name="connsiteY71" fmla="*/ 2033 h 10001"/>
                <a:gd name="connsiteX72" fmla="*/ 1180 w 10000"/>
                <a:gd name="connsiteY72" fmla="*/ 2145 h 10001"/>
                <a:gd name="connsiteX73" fmla="*/ 933 w 10000"/>
                <a:gd name="connsiteY73" fmla="*/ 2326 h 10001"/>
                <a:gd name="connsiteX74" fmla="*/ 739 w 10000"/>
                <a:gd name="connsiteY74" fmla="*/ 2349 h 10001"/>
                <a:gd name="connsiteX75" fmla="*/ 669 w 10000"/>
                <a:gd name="connsiteY75" fmla="*/ 2958 h 10001"/>
                <a:gd name="connsiteX76" fmla="*/ 493 w 10000"/>
                <a:gd name="connsiteY76" fmla="*/ 3274 h 10001"/>
                <a:gd name="connsiteX77" fmla="*/ 264 w 10000"/>
                <a:gd name="connsiteY77" fmla="*/ 3229 h 10001"/>
                <a:gd name="connsiteX78" fmla="*/ 88 w 10000"/>
                <a:gd name="connsiteY78" fmla="*/ 3342 h 10001"/>
                <a:gd name="connsiteX79" fmla="*/ 88 w 10000"/>
                <a:gd name="connsiteY79" fmla="*/ 3522 h 10001"/>
                <a:gd name="connsiteX80" fmla="*/ 194 w 10000"/>
                <a:gd name="connsiteY80" fmla="*/ 3884 h 10001"/>
                <a:gd name="connsiteX81" fmla="*/ 123 w 10000"/>
                <a:gd name="connsiteY81" fmla="*/ 4154 h 10001"/>
                <a:gd name="connsiteX82" fmla="*/ 0 w 10000"/>
                <a:gd name="connsiteY82" fmla="*/ 4425 h 10001"/>
                <a:gd name="connsiteX83" fmla="*/ 18 w 10000"/>
                <a:gd name="connsiteY83" fmla="*/ 4832 h 10001"/>
                <a:gd name="connsiteX84" fmla="*/ 53 w 10000"/>
                <a:gd name="connsiteY84" fmla="*/ 5464 h 10001"/>
                <a:gd name="connsiteX85" fmla="*/ 88 w 10000"/>
                <a:gd name="connsiteY85" fmla="*/ 5464 h 10001"/>
                <a:gd name="connsiteX86" fmla="*/ 158 w 10000"/>
                <a:gd name="connsiteY86" fmla="*/ 5644 h 10001"/>
                <a:gd name="connsiteX87" fmla="*/ 581 w 10000"/>
                <a:gd name="connsiteY87" fmla="*/ 6096 h 10001"/>
                <a:gd name="connsiteX88" fmla="*/ 581 w 10000"/>
                <a:gd name="connsiteY88" fmla="*/ 6118 h 10001"/>
                <a:gd name="connsiteX89" fmla="*/ 581 w 10000"/>
                <a:gd name="connsiteY89" fmla="*/ 6118 h 10001"/>
                <a:gd name="connsiteX90" fmla="*/ 651 w 10000"/>
                <a:gd name="connsiteY90" fmla="*/ 6547 h 10001"/>
                <a:gd name="connsiteX91" fmla="*/ 1532 w 10000"/>
                <a:gd name="connsiteY91" fmla="*/ 7112 h 10001"/>
                <a:gd name="connsiteX92" fmla="*/ 1549 w 10000"/>
                <a:gd name="connsiteY92" fmla="*/ 7112 h 10001"/>
                <a:gd name="connsiteX93" fmla="*/ 1549 w 10000"/>
                <a:gd name="connsiteY93" fmla="*/ 7134 h 10001"/>
                <a:gd name="connsiteX94" fmla="*/ 1725 w 10000"/>
                <a:gd name="connsiteY94" fmla="*/ 8173 h 10001"/>
                <a:gd name="connsiteX95" fmla="*/ 2077 w 10000"/>
                <a:gd name="connsiteY95" fmla="*/ 9053 h 10001"/>
                <a:gd name="connsiteX96" fmla="*/ 2201 w 10000"/>
                <a:gd name="connsiteY96" fmla="*/ 9324 h 10001"/>
                <a:gd name="connsiteX97" fmla="*/ 2201 w 10000"/>
                <a:gd name="connsiteY97" fmla="*/ 9324 h 10001"/>
                <a:gd name="connsiteX98" fmla="*/ 2201 w 10000"/>
                <a:gd name="connsiteY98" fmla="*/ 9346 h 10001"/>
                <a:gd name="connsiteX99" fmla="*/ 2183 w 10000"/>
                <a:gd name="connsiteY99" fmla="*/ 9933 h 10001"/>
                <a:gd name="connsiteX100" fmla="*/ 2324 w 10000"/>
                <a:gd name="connsiteY100" fmla="*/ 9933 h 10001"/>
                <a:gd name="connsiteX101" fmla="*/ 2430 w 10000"/>
                <a:gd name="connsiteY101" fmla="*/ 9662 h 10001"/>
                <a:gd name="connsiteX102" fmla="*/ 3363 w 10000"/>
                <a:gd name="connsiteY102" fmla="*/ 9662 h 10001"/>
                <a:gd name="connsiteX103" fmla="*/ 3644 w 10000"/>
                <a:gd name="connsiteY103" fmla="*/ 9437 h 10001"/>
                <a:gd name="connsiteX104" fmla="*/ 3961 w 10000"/>
                <a:gd name="connsiteY104" fmla="*/ 9346 h 10001"/>
                <a:gd name="connsiteX105" fmla="*/ 4278 w 10000"/>
                <a:gd name="connsiteY105" fmla="*/ 9504 h 10001"/>
                <a:gd name="connsiteX106" fmla="*/ 4489 w 10000"/>
                <a:gd name="connsiteY106" fmla="*/ 9437 h 10001"/>
                <a:gd name="connsiteX107" fmla="*/ 5440 w 10000"/>
                <a:gd name="connsiteY107" fmla="*/ 9369 h 10001"/>
                <a:gd name="connsiteX108" fmla="*/ 5792 w 10000"/>
                <a:gd name="connsiteY108" fmla="*/ 9211 h 10001"/>
                <a:gd name="connsiteX109" fmla="*/ 5951 w 10000"/>
                <a:gd name="connsiteY109" fmla="*/ 9369 h 10001"/>
                <a:gd name="connsiteX110" fmla="*/ 6602 w 10000"/>
                <a:gd name="connsiteY110" fmla="*/ 9324 h 10001"/>
                <a:gd name="connsiteX111" fmla="*/ 6743 w 10000"/>
                <a:gd name="connsiteY111" fmla="*/ 9572 h 10001"/>
                <a:gd name="connsiteX112" fmla="*/ 6919 w 10000"/>
                <a:gd name="connsiteY112" fmla="*/ 9775 h 10001"/>
                <a:gd name="connsiteX113" fmla="*/ 7482 w 10000"/>
                <a:gd name="connsiteY113" fmla="*/ 9730 h 10001"/>
                <a:gd name="connsiteX114" fmla="*/ 7658 w 10000"/>
                <a:gd name="connsiteY114" fmla="*/ 9866 h 10001"/>
                <a:gd name="connsiteX115" fmla="*/ 7764 w 10000"/>
                <a:gd name="connsiteY115" fmla="*/ 9911 h 10001"/>
                <a:gd name="connsiteX116" fmla="*/ 7835 w 10000"/>
                <a:gd name="connsiteY116" fmla="*/ 9978 h 10001"/>
                <a:gd name="connsiteX117" fmla="*/ 7940 w 10000"/>
                <a:gd name="connsiteY117" fmla="*/ 10001 h 10001"/>
                <a:gd name="connsiteX118" fmla="*/ 8116 w 10000"/>
                <a:gd name="connsiteY118" fmla="*/ 9933 h 10001"/>
                <a:gd name="connsiteX119" fmla="*/ 8063 w 10000"/>
                <a:gd name="connsiteY119" fmla="*/ 9617 h 10001"/>
                <a:gd name="connsiteX120" fmla="*/ 7887 w 10000"/>
                <a:gd name="connsiteY120" fmla="*/ 9392 h 10001"/>
                <a:gd name="connsiteX121" fmla="*/ 7887 w 10000"/>
                <a:gd name="connsiteY121" fmla="*/ 9008 h 10001"/>
                <a:gd name="connsiteX122" fmla="*/ 8063 w 10000"/>
                <a:gd name="connsiteY122" fmla="*/ 8872 h 10001"/>
                <a:gd name="connsiteX123" fmla="*/ 8275 w 10000"/>
                <a:gd name="connsiteY123" fmla="*/ 8692 h 10001"/>
                <a:gd name="connsiteX124" fmla="*/ 8151 w 10000"/>
                <a:gd name="connsiteY124" fmla="*/ 8601 h 10001"/>
                <a:gd name="connsiteX125" fmla="*/ 8063 w 10000"/>
                <a:gd name="connsiteY125" fmla="*/ 8466 h 10001"/>
                <a:gd name="connsiteX126" fmla="*/ 8204 w 10000"/>
                <a:gd name="connsiteY126" fmla="*/ 8240 h 10001"/>
                <a:gd name="connsiteX127" fmla="*/ 8521 w 10000"/>
                <a:gd name="connsiteY127" fmla="*/ 8240 h 10001"/>
                <a:gd name="connsiteX128" fmla="*/ 8521 w 10000"/>
                <a:gd name="connsiteY128" fmla="*/ 7947 h 10001"/>
                <a:gd name="connsiteX129" fmla="*/ 8310 w 10000"/>
                <a:gd name="connsiteY129" fmla="*/ 7834 h 10001"/>
                <a:gd name="connsiteX130" fmla="*/ 8398 w 10000"/>
                <a:gd name="connsiteY130" fmla="*/ 7495 h 10001"/>
                <a:gd name="connsiteX131" fmla="*/ 7676 w 10000"/>
                <a:gd name="connsiteY131" fmla="*/ 6164 h 10001"/>
                <a:gd name="connsiteX132" fmla="*/ 7518 w 10000"/>
                <a:gd name="connsiteY132" fmla="*/ 5441 h 10001"/>
                <a:gd name="connsiteX133" fmla="*/ 7676 w 10000"/>
                <a:gd name="connsiteY133" fmla="*/ 4764 h 10001"/>
                <a:gd name="connsiteX134" fmla="*/ 7007 w 10000"/>
                <a:gd name="connsiteY134" fmla="*/ 4854 h 10001"/>
                <a:gd name="connsiteX135" fmla="*/ 6972 w 10000"/>
                <a:gd name="connsiteY135" fmla="*/ 4809 h 10001"/>
                <a:gd name="connsiteX136" fmla="*/ 6954 w 10000"/>
                <a:gd name="connsiteY136" fmla="*/ 4629 h 10001"/>
                <a:gd name="connsiteX137" fmla="*/ 7095 w 10000"/>
                <a:gd name="connsiteY137" fmla="*/ 4267 h 10001"/>
                <a:gd name="connsiteX138" fmla="*/ 8468 w 10000"/>
                <a:gd name="connsiteY138" fmla="*/ 3342 h 10001"/>
                <a:gd name="connsiteX139" fmla="*/ 8908 w 10000"/>
                <a:gd name="connsiteY139" fmla="*/ 3161 h 10001"/>
                <a:gd name="connsiteX140" fmla="*/ 9102 w 10000"/>
                <a:gd name="connsiteY140" fmla="*/ 3432 h 10001"/>
                <a:gd name="connsiteX141" fmla="*/ 9313 w 10000"/>
                <a:gd name="connsiteY141" fmla="*/ 3432 h 10001"/>
                <a:gd name="connsiteX142" fmla="*/ 9560 w 10000"/>
                <a:gd name="connsiteY142" fmla="*/ 3206 h 10001"/>
                <a:gd name="connsiteX143" fmla="*/ 9965 w 10000"/>
                <a:gd name="connsiteY143" fmla="*/ 3455 h 10001"/>
                <a:gd name="connsiteX144" fmla="*/ 10000 w 10000"/>
                <a:gd name="connsiteY144" fmla="*/ 2732 h 10001"/>
                <a:gd name="connsiteX145" fmla="*/ 9507 w 10000"/>
                <a:gd name="connsiteY145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944 w 10000"/>
                <a:gd name="connsiteY50" fmla="*/ 1355 h 10001"/>
                <a:gd name="connsiteX51" fmla="*/ 4349 w 10000"/>
                <a:gd name="connsiteY51" fmla="*/ 1355 h 10001"/>
                <a:gd name="connsiteX52" fmla="*/ 4525 w 10000"/>
                <a:gd name="connsiteY52" fmla="*/ 1446 h 10001"/>
                <a:gd name="connsiteX53" fmla="*/ 4701 w 10000"/>
                <a:gd name="connsiteY53" fmla="*/ 1513 h 10001"/>
                <a:gd name="connsiteX54" fmla="*/ 5440 w 10000"/>
                <a:gd name="connsiteY54" fmla="*/ 791 h 10001"/>
                <a:gd name="connsiteX55" fmla="*/ 4982 w 10000"/>
                <a:gd name="connsiteY55" fmla="*/ 1739 h 10001"/>
                <a:gd name="connsiteX56" fmla="*/ 4824 w 10000"/>
                <a:gd name="connsiteY56" fmla="*/ 1739 h 10001"/>
                <a:gd name="connsiteX57" fmla="*/ 4507 w 10000"/>
                <a:gd name="connsiteY57" fmla="*/ 1942 h 10001"/>
                <a:gd name="connsiteX58" fmla="*/ 4296 w 10000"/>
                <a:gd name="connsiteY58" fmla="*/ 1942 h 10001"/>
                <a:gd name="connsiteX59" fmla="*/ 4225 w 10000"/>
                <a:gd name="connsiteY59" fmla="*/ 1852 h 10001"/>
                <a:gd name="connsiteX60" fmla="*/ 3785 w 10000"/>
                <a:gd name="connsiteY60" fmla="*/ 1852 h 10001"/>
                <a:gd name="connsiteX61" fmla="*/ 3644 w 10000"/>
                <a:gd name="connsiteY61" fmla="*/ 1762 h 10001"/>
                <a:gd name="connsiteX62" fmla="*/ 3380 w 10000"/>
                <a:gd name="connsiteY62" fmla="*/ 1829 h 10001"/>
                <a:gd name="connsiteX63" fmla="*/ 3169 w 10000"/>
                <a:gd name="connsiteY63" fmla="*/ 1920 h 10001"/>
                <a:gd name="connsiteX64" fmla="*/ 2975 w 10000"/>
                <a:gd name="connsiteY64" fmla="*/ 1852 h 10001"/>
                <a:gd name="connsiteX65" fmla="*/ 2271 w 10000"/>
                <a:gd name="connsiteY65" fmla="*/ 1852 h 10001"/>
                <a:gd name="connsiteX66" fmla="*/ 2042 w 10000"/>
                <a:gd name="connsiteY66" fmla="*/ 1965 h 10001"/>
                <a:gd name="connsiteX67" fmla="*/ 1796 w 10000"/>
                <a:gd name="connsiteY67" fmla="*/ 1965 h 10001"/>
                <a:gd name="connsiteX68" fmla="*/ 1585 w 10000"/>
                <a:gd name="connsiteY68" fmla="*/ 2010 h 10001"/>
                <a:gd name="connsiteX69" fmla="*/ 1479 w 10000"/>
                <a:gd name="connsiteY69" fmla="*/ 1965 h 10001"/>
                <a:gd name="connsiteX70" fmla="*/ 1285 w 10000"/>
                <a:gd name="connsiteY70" fmla="*/ 2033 h 10001"/>
                <a:gd name="connsiteX71" fmla="*/ 1180 w 10000"/>
                <a:gd name="connsiteY71" fmla="*/ 2145 h 10001"/>
                <a:gd name="connsiteX72" fmla="*/ 933 w 10000"/>
                <a:gd name="connsiteY72" fmla="*/ 2326 h 10001"/>
                <a:gd name="connsiteX73" fmla="*/ 739 w 10000"/>
                <a:gd name="connsiteY73" fmla="*/ 2349 h 10001"/>
                <a:gd name="connsiteX74" fmla="*/ 669 w 10000"/>
                <a:gd name="connsiteY74" fmla="*/ 2958 h 10001"/>
                <a:gd name="connsiteX75" fmla="*/ 493 w 10000"/>
                <a:gd name="connsiteY75" fmla="*/ 3274 h 10001"/>
                <a:gd name="connsiteX76" fmla="*/ 264 w 10000"/>
                <a:gd name="connsiteY76" fmla="*/ 3229 h 10001"/>
                <a:gd name="connsiteX77" fmla="*/ 88 w 10000"/>
                <a:gd name="connsiteY77" fmla="*/ 3342 h 10001"/>
                <a:gd name="connsiteX78" fmla="*/ 88 w 10000"/>
                <a:gd name="connsiteY78" fmla="*/ 3522 h 10001"/>
                <a:gd name="connsiteX79" fmla="*/ 194 w 10000"/>
                <a:gd name="connsiteY79" fmla="*/ 3884 h 10001"/>
                <a:gd name="connsiteX80" fmla="*/ 123 w 10000"/>
                <a:gd name="connsiteY80" fmla="*/ 4154 h 10001"/>
                <a:gd name="connsiteX81" fmla="*/ 0 w 10000"/>
                <a:gd name="connsiteY81" fmla="*/ 4425 h 10001"/>
                <a:gd name="connsiteX82" fmla="*/ 18 w 10000"/>
                <a:gd name="connsiteY82" fmla="*/ 4832 h 10001"/>
                <a:gd name="connsiteX83" fmla="*/ 53 w 10000"/>
                <a:gd name="connsiteY83" fmla="*/ 5464 h 10001"/>
                <a:gd name="connsiteX84" fmla="*/ 88 w 10000"/>
                <a:gd name="connsiteY84" fmla="*/ 5464 h 10001"/>
                <a:gd name="connsiteX85" fmla="*/ 158 w 10000"/>
                <a:gd name="connsiteY85" fmla="*/ 5644 h 10001"/>
                <a:gd name="connsiteX86" fmla="*/ 581 w 10000"/>
                <a:gd name="connsiteY86" fmla="*/ 6096 h 10001"/>
                <a:gd name="connsiteX87" fmla="*/ 581 w 10000"/>
                <a:gd name="connsiteY87" fmla="*/ 6118 h 10001"/>
                <a:gd name="connsiteX88" fmla="*/ 581 w 10000"/>
                <a:gd name="connsiteY88" fmla="*/ 6118 h 10001"/>
                <a:gd name="connsiteX89" fmla="*/ 651 w 10000"/>
                <a:gd name="connsiteY89" fmla="*/ 6547 h 10001"/>
                <a:gd name="connsiteX90" fmla="*/ 1532 w 10000"/>
                <a:gd name="connsiteY90" fmla="*/ 7112 h 10001"/>
                <a:gd name="connsiteX91" fmla="*/ 1549 w 10000"/>
                <a:gd name="connsiteY91" fmla="*/ 7112 h 10001"/>
                <a:gd name="connsiteX92" fmla="*/ 1549 w 10000"/>
                <a:gd name="connsiteY92" fmla="*/ 7134 h 10001"/>
                <a:gd name="connsiteX93" fmla="*/ 1725 w 10000"/>
                <a:gd name="connsiteY93" fmla="*/ 8173 h 10001"/>
                <a:gd name="connsiteX94" fmla="*/ 2077 w 10000"/>
                <a:gd name="connsiteY94" fmla="*/ 9053 h 10001"/>
                <a:gd name="connsiteX95" fmla="*/ 2201 w 10000"/>
                <a:gd name="connsiteY95" fmla="*/ 9324 h 10001"/>
                <a:gd name="connsiteX96" fmla="*/ 2201 w 10000"/>
                <a:gd name="connsiteY96" fmla="*/ 9324 h 10001"/>
                <a:gd name="connsiteX97" fmla="*/ 2201 w 10000"/>
                <a:gd name="connsiteY97" fmla="*/ 9346 h 10001"/>
                <a:gd name="connsiteX98" fmla="*/ 2183 w 10000"/>
                <a:gd name="connsiteY98" fmla="*/ 9933 h 10001"/>
                <a:gd name="connsiteX99" fmla="*/ 2324 w 10000"/>
                <a:gd name="connsiteY99" fmla="*/ 9933 h 10001"/>
                <a:gd name="connsiteX100" fmla="*/ 2430 w 10000"/>
                <a:gd name="connsiteY100" fmla="*/ 9662 h 10001"/>
                <a:gd name="connsiteX101" fmla="*/ 3363 w 10000"/>
                <a:gd name="connsiteY101" fmla="*/ 9662 h 10001"/>
                <a:gd name="connsiteX102" fmla="*/ 3644 w 10000"/>
                <a:gd name="connsiteY102" fmla="*/ 9437 h 10001"/>
                <a:gd name="connsiteX103" fmla="*/ 3961 w 10000"/>
                <a:gd name="connsiteY103" fmla="*/ 9346 h 10001"/>
                <a:gd name="connsiteX104" fmla="*/ 4278 w 10000"/>
                <a:gd name="connsiteY104" fmla="*/ 9504 h 10001"/>
                <a:gd name="connsiteX105" fmla="*/ 4489 w 10000"/>
                <a:gd name="connsiteY105" fmla="*/ 9437 h 10001"/>
                <a:gd name="connsiteX106" fmla="*/ 5440 w 10000"/>
                <a:gd name="connsiteY106" fmla="*/ 9369 h 10001"/>
                <a:gd name="connsiteX107" fmla="*/ 5792 w 10000"/>
                <a:gd name="connsiteY107" fmla="*/ 9211 h 10001"/>
                <a:gd name="connsiteX108" fmla="*/ 5951 w 10000"/>
                <a:gd name="connsiteY108" fmla="*/ 9369 h 10001"/>
                <a:gd name="connsiteX109" fmla="*/ 6602 w 10000"/>
                <a:gd name="connsiteY109" fmla="*/ 9324 h 10001"/>
                <a:gd name="connsiteX110" fmla="*/ 6743 w 10000"/>
                <a:gd name="connsiteY110" fmla="*/ 9572 h 10001"/>
                <a:gd name="connsiteX111" fmla="*/ 6919 w 10000"/>
                <a:gd name="connsiteY111" fmla="*/ 9775 h 10001"/>
                <a:gd name="connsiteX112" fmla="*/ 7482 w 10000"/>
                <a:gd name="connsiteY112" fmla="*/ 9730 h 10001"/>
                <a:gd name="connsiteX113" fmla="*/ 7658 w 10000"/>
                <a:gd name="connsiteY113" fmla="*/ 9866 h 10001"/>
                <a:gd name="connsiteX114" fmla="*/ 7764 w 10000"/>
                <a:gd name="connsiteY114" fmla="*/ 9911 h 10001"/>
                <a:gd name="connsiteX115" fmla="*/ 7835 w 10000"/>
                <a:gd name="connsiteY115" fmla="*/ 9978 h 10001"/>
                <a:gd name="connsiteX116" fmla="*/ 7940 w 10000"/>
                <a:gd name="connsiteY116" fmla="*/ 10001 h 10001"/>
                <a:gd name="connsiteX117" fmla="*/ 8116 w 10000"/>
                <a:gd name="connsiteY117" fmla="*/ 9933 h 10001"/>
                <a:gd name="connsiteX118" fmla="*/ 8063 w 10000"/>
                <a:gd name="connsiteY118" fmla="*/ 9617 h 10001"/>
                <a:gd name="connsiteX119" fmla="*/ 7887 w 10000"/>
                <a:gd name="connsiteY119" fmla="*/ 9392 h 10001"/>
                <a:gd name="connsiteX120" fmla="*/ 7887 w 10000"/>
                <a:gd name="connsiteY120" fmla="*/ 9008 h 10001"/>
                <a:gd name="connsiteX121" fmla="*/ 8063 w 10000"/>
                <a:gd name="connsiteY121" fmla="*/ 8872 h 10001"/>
                <a:gd name="connsiteX122" fmla="*/ 8275 w 10000"/>
                <a:gd name="connsiteY122" fmla="*/ 8692 h 10001"/>
                <a:gd name="connsiteX123" fmla="*/ 8151 w 10000"/>
                <a:gd name="connsiteY123" fmla="*/ 8601 h 10001"/>
                <a:gd name="connsiteX124" fmla="*/ 8063 w 10000"/>
                <a:gd name="connsiteY124" fmla="*/ 8466 h 10001"/>
                <a:gd name="connsiteX125" fmla="*/ 8204 w 10000"/>
                <a:gd name="connsiteY125" fmla="*/ 8240 h 10001"/>
                <a:gd name="connsiteX126" fmla="*/ 8521 w 10000"/>
                <a:gd name="connsiteY126" fmla="*/ 8240 h 10001"/>
                <a:gd name="connsiteX127" fmla="*/ 8521 w 10000"/>
                <a:gd name="connsiteY127" fmla="*/ 7947 h 10001"/>
                <a:gd name="connsiteX128" fmla="*/ 8310 w 10000"/>
                <a:gd name="connsiteY128" fmla="*/ 7834 h 10001"/>
                <a:gd name="connsiteX129" fmla="*/ 8398 w 10000"/>
                <a:gd name="connsiteY129" fmla="*/ 7495 h 10001"/>
                <a:gd name="connsiteX130" fmla="*/ 7676 w 10000"/>
                <a:gd name="connsiteY130" fmla="*/ 6164 h 10001"/>
                <a:gd name="connsiteX131" fmla="*/ 7518 w 10000"/>
                <a:gd name="connsiteY131" fmla="*/ 5441 h 10001"/>
                <a:gd name="connsiteX132" fmla="*/ 7676 w 10000"/>
                <a:gd name="connsiteY132" fmla="*/ 4764 h 10001"/>
                <a:gd name="connsiteX133" fmla="*/ 7007 w 10000"/>
                <a:gd name="connsiteY133" fmla="*/ 4854 h 10001"/>
                <a:gd name="connsiteX134" fmla="*/ 6972 w 10000"/>
                <a:gd name="connsiteY134" fmla="*/ 4809 h 10001"/>
                <a:gd name="connsiteX135" fmla="*/ 6954 w 10000"/>
                <a:gd name="connsiteY135" fmla="*/ 4629 h 10001"/>
                <a:gd name="connsiteX136" fmla="*/ 7095 w 10000"/>
                <a:gd name="connsiteY136" fmla="*/ 4267 h 10001"/>
                <a:gd name="connsiteX137" fmla="*/ 8468 w 10000"/>
                <a:gd name="connsiteY137" fmla="*/ 3342 h 10001"/>
                <a:gd name="connsiteX138" fmla="*/ 8908 w 10000"/>
                <a:gd name="connsiteY138" fmla="*/ 3161 h 10001"/>
                <a:gd name="connsiteX139" fmla="*/ 9102 w 10000"/>
                <a:gd name="connsiteY139" fmla="*/ 3432 h 10001"/>
                <a:gd name="connsiteX140" fmla="*/ 9313 w 10000"/>
                <a:gd name="connsiteY140" fmla="*/ 3432 h 10001"/>
                <a:gd name="connsiteX141" fmla="*/ 9560 w 10000"/>
                <a:gd name="connsiteY141" fmla="*/ 3206 h 10001"/>
                <a:gd name="connsiteX142" fmla="*/ 9965 w 10000"/>
                <a:gd name="connsiteY142" fmla="*/ 3455 h 10001"/>
                <a:gd name="connsiteX143" fmla="*/ 10000 w 10000"/>
                <a:gd name="connsiteY143" fmla="*/ 2732 h 10001"/>
                <a:gd name="connsiteX144" fmla="*/ 9507 w 10000"/>
                <a:gd name="connsiteY144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944 w 10000"/>
                <a:gd name="connsiteY50" fmla="*/ 1355 h 10001"/>
                <a:gd name="connsiteX51" fmla="*/ 4349 w 10000"/>
                <a:gd name="connsiteY51" fmla="*/ 1355 h 10001"/>
                <a:gd name="connsiteX52" fmla="*/ 4525 w 10000"/>
                <a:gd name="connsiteY52" fmla="*/ 1446 h 10001"/>
                <a:gd name="connsiteX53" fmla="*/ 5440 w 10000"/>
                <a:gd name="connsiteY53" fmla="*/ 791 h 10001"/>
                <a:gd name="connsiteX54" fmla="*/ 4982 w 10000"/>
                <a:gd name="connsiteY54" fmla="*/ 1739 h 10001"/>
                <a:gd name="connsiteX55" fmla="*/ 4824 w 10000"/>
                <a:gd name="connsiteY55" fmla="*/ 1739 h 10001"/>
                <a:gd name="connsiteX56" fmla="*/ 4507 w 10000"/>
                <a:gd name="connsiteY56" fmla="*/ 1942 h 10001"/>
                <a:gd name="connsiteX57" fmla="*/ 4296 w 10000"/>
                <a:gd name="connsiteY57" fmla="*/ 1942 h 10001"/>
                <a:gd name="connsiteX58" fmla="*/ 4225 w 10000"/>
                <a:gd name="connsiteY58" fmla="*/ 1852 h 10001"/>
                <a:gd name="connsiteX59" fmla="*/ 3785 w 10000"/>
                <a:gd name="connsiteY59" fmla="*/ 1852 h 10001"/>
                <a:gd name="connsiteX60" fmla="*/ 3644 w 10000"/>
                <a:gd name="connsiteY60" fmla="*/ 1762 h 10001"/>
                <a:gd name="connsiteX61" fmla="*/ 3380 w 10000"/>
                <a:gd name="connsiteY61" fmla="*/ 1829 h 10001"/>
                <a:gd name="connsiteX62" fmla="*/ 3169 w 10000"/>
                <a:gd name="connsiteY62" fmla="*/ 1920 h 10001"/>
                <a:gd name="connsiteX63" fmla="*/ 2975 w 10000"/>
                <a:gd name="connsiteY63" fmla="*/ 1852 h 10001"/>
                <a:gd name="connsiteX64" fmla="*/ 2271 w 10000"/>
                <a:gd name="connsiteY64" fmla="*/ 1852 h 10001"/>
                <a:gd name="connsiteX65" fmla="*/ 2042 w 10000"/>
                <a:gd name="connsiteY65" fmla="*/ 1965 h 10001"/>
                <a:gd name="connsiteX66" fmla="*/ 1796 w 10000"/>
                <a:gd name="connsiteY66" fmla="*/ 1965 h 10001"/>
                <a:gd name="connsiteX67" fmla="*/ 1585 w 10000"/>
                <a:gd name="connsiteY67" fmla="*/ 2010 h 10001"/>
                <a:gd name="connsiteX68" fmla="*/ 1479 w 10000"/>
                <a:gd name="connsiteY68" fmla="*/ 1965 h 10001"/>
                <a:gd name="connsiteX69" fmla="*/ 1285 w 10000"/>
                <a:gd name="connsiteY69" fmla="*/ 2033 h 10001"/>
                <a:gd name="connsiteX70" fmla="*/ 1180 w 10000"/>
                <a:gd name="connsiteY70" fmla="*/ 2145 h 10001"/>
                <a:gd name="connsiteX71" fmla="*/ 933 w 10000"/>
                <a:gd name="connsiteY71" fmla="*/ 2326 h 10001"/>
                <a:gd name="connsiteX72" fmla="*/ 739 w 10000"/>
                <a:gd name="connsiteY72" fmla="*/ 2349 h 10001"/>
                <a:gd name="connsiteX73" fmla="*/ 669 w 10000"/>
                <a:gd name="connsiteY73" fmla="*/ 2958 h 10001"/>
                <a:gd name="connsiteX74" fmla="*/ 493 w 10000"/>
                <a:gd name="connsiteY74" fmla="*/ 3274 h 10001"/>
                <a:gd name="connsiteX75" fmla="*/ 264 w 10000"/>
                <a:gd name="connsiteY75" fmla="*/ 3229 h 10001"/>
                <a:gd name="connsiteX76" fmla="*/ 88 w 10000"/>
                <a:gd name="connsiteY76" fmla="*/ 3342 h 10001"/>
                <a:gd name="connsiteX77" fmla="*/ 88 w 10000"/>
                <a:gd name="connsiteY77" fmla="*/ 3522 h 10001"/>
                <a:gd name="connsiteX78" fmla="*/ 194 w 10000"/>
                <a:gd name="connsiteY78" fmla="*/ 3884 h 10001"/>
                <a:gd name="connsiteX79" fmla="*/ 123 w 10000"/>
                <a:gd name="connsiteY79" fmla="*/ 4154 h 10001"/>
                <a:gd name="connsiteX80" fmla="*/ 0 w 10000"/>
                <a:gd name="connsiteY80" fmla="*/ 4425 h 10001"/>
                <a:gd name="connsiteX81" fmla="*/ 18 w 10000"/>
                <a:gd name="connsiteY81" fmla="*/ 4832 h 10001"/>
                <a:gd name="connsiteX82" fmla="*/ 53 w 10000"/>
                <a:gd name="connsiteY82" fmla="*/ 5464 h 10001"/>
                <a:gd name="connsiteX83" fmla="*/ 88 w 10000"/>
                <a:gd name="connsiteY83" fmla="*/ 5464 h 10001"/>
                <a:gd name="connsiteX84" fmla="*/ 158 w 10000"/>
                <a:gd name="connsiteY84" fmla="*/ 5644 h 10001"/>
                <a:gd name="connsiteX85" fmla="*/ 581 w 10000"/>
                <a:gd name="connsiteY85" fmla="*/ 6096 h 10001"/>
                <a:gd name="connsiteX86" fmla="*/ 581 w 10000"/>
                <a:gd name="connsiteY86" fmla="*/ 6118 h 10001"/>
                <a:gd name="connsiteX87" fmla="*/ 581 w 10000"/>
                <a:gd name="connsiteY87" fmla="*/ 6118 h 10001"/>
                <a:gd name="connsiteX88" fmla="*/ 651 w 10000"/>
                <a:gd name="connsiteY88" fmla="*/ 6547 h 10001"/>
                <a:gd name="connsiteX89" fmla="*/ 1532 w 10000"/>
                <a:gd name="connsiteY89" fmla="*/ 7112 h 10001"/>
                <a:gd name="connsiteX90" fmla="*/ 1549 w 10000"/>
                <a:gd name="connsiteY90" fmla="*/ 7112 h 10001"/>
                <a:gd name="connsiteX91" fmla="*/ 1549 w 10000"/>
                <a:gd name="connsiteY91" fmla="*/ 7134 h 10001"/>
                <a:gd name="connsiteX92" fmla="*/ 1725 w 10000"/>
                <a:gd name="connsiteY92" fmla="*/ 8173 h 10001"/>
                <a:gd name="connsiteX93" fmla="*/ 2077 w 10000"/>
                <a:gd name="connsiteY93" fmla="*/ 9053 h 10001"/>
                <a:gd name="connsiteX94" fmla="*/ 2201 w 10000"/>
                <a:gd name="connsiteY94" fmla="*/ 9324 h 10001"/>
                <a:gd name="connsiteX95" fmla="*/ 2201 w 10000"/>
                <a:gd name="connsiteY95" fmla="*/ 9324 h 10001"/>
                <a:gd name="connsiteX96" fmla="*/ 2201 w 10000"/>
                <a:gd name="connsiteY96" fmla="*/ 9346 h 10001"/>
                <a:gd name="connsiteX97" fmla="*/ 2183 w 10000"/>
                <a:gd name="connsiteY97" fmla="*/ 9933 h 10001"/>
                <a:gd name="connsiteX98" fmla="*/ 2324 w 10000"/>
                <a:gd name="connsiteY98" fmla="*/ 9933 h 10001"/>
                <a:gd name="connsiteX99" fmla="*/ 2430 w 10000"/>
                <a:gd name="connsiteY99" fmla="*/ 9662 h 10001"/>
                <a:gd name="connsiteX100" fmla="*/ 3363 w 10000"/>
                <a:gd name="connsiteY100" fmla="*/ 9662 h 10001"/>
                <a:gd name="connsiteX101" fmla="*/ 3644 w 10000"/>
                <a:gd name="connsiteY101" fmla="*/ 9437 h 10001"/>
                <a:gd name="connsiteX102" fmla="*/ 3961 w 10000"/>
                <a:gd name="connsiteY102" fmla="*/ 9346 h 10001"/>
                <a:gd name="connsiteX103" fmla="*/ 4278 w 10000"/>
                <a:gd name="connsiteY103" fmla="*/ 9504 h 10001"/>
                <a:gd name="connsiteX104" fmla="*/ 4489 w 10000"/>
                <a:gd name="connsiteY104" fmla="*/ 9437 h 10001"/>
                <a:gd name="connsiteX105" fmla="*/ 5440 w 10000"/>
                <a:gd name="connsiteY105" fmla="*/ 9369 h 10001"/>
                <a:gd name="connsiteX106" fmla="*/ 5792 w 10000"/>
                <a:gd name="connsiteY106" fmla="*/ 9211 h 10001"/>
                <a:gd name="connsiteX107" fmla="*/ 5951 w 10000"/>
                <a:gd name="connsiteY107" fmla="*/ 9369 h 10001"/>
                <a:gd name="connsiteX108" fmla="*/ 6602 w 10000"/>
                <a:gd name="connsiteY108" fmla="*/ 9324 h 10001"/>
                <a:gd name="connsiteX109" fmla="*/ 6743 w 10000"/>
                <a:gd name="connsiteY109" fmla="*/ 9572 h 10001"/>
                <a:gd name="connsiteX110" fmla="*/ 6919 w 10000"/>
                <a:gd name="connsiteY110" fmla="*/ 9775 h 10001"/>
                <a:gd name="connsiteX111" fmla="*/ 7482 w 10000"/>
                <a:gd name="connsiteY111" fmla="*/ 9730 h 10001"/>
                <a:gd name="connsiteX112" fmla="*/ 7658 w 10000"/>
                <a:gd name="connsiteY112" fmla="*/ 9866 h 10001"/>
                <a:gd name="connsiteX113" fmla="*/ 7764 w 10000"/>
                <a:gd name="connsiteY113" fmla="*/ 9911 h 10001"/>
                <a:gd name="connsiteX114" fmla="*/ 7835 w 10000"/>
                <a:gd name="connsiteY114" fmla="*/ 9978 h 10001"/>
                <a:gd name="connsiteX115" fmla="*/ 7940 w 10000"/>
                <a:gd name="connsiteY115" fmla="*/ 10001 h 10001"/>
                <a:gd name="connsiteX116" fmla="*/ 8116 w 10000"/>
                <a:gd name="connsiteY116" fmla="*/ 9933 h 10001"/>
                <a:gd name="connsiteX117" fmla="*/ 8063 w 10000"/>
                <a:gd name="connsiteY117" fmla="*/ 9617 h 10001"/>
                <a:gd name="connsiteX118" fmla="*/ 7887 w 10000"/>
                <a:gd name="connsiteY118" fmla="*/ 9392 h 10001"/>
                <a:gd name="connsiteX119" fmla="*/ 7887 w 10000"/>
                <a:gd name="connsiteY119" fmla="*/ 9008 h 10001"/>
                <a:gd name="connsiteX120" fmla="*/ 8063 w 10000"/>
                <a:gd name="connsiteY120" fmla="*/ 8872 h 10001"/>
                <a:gd name="connsiteX121" fmla="*/ 8275 w 10000"/>
                <a:gd name="connsiteY121" fmla="*/ 8692 h 10001"/>
                <a:gd name="connsiteX122" fmla="*/ 8151 w 10000"/>
                <a:gd name="connsiteY122" fmla="*/ 8601 h 10001"/>
                <a:gd name="connsiteX123" fmla="*/ 8063 w 10000"/>
                <a:gd name="connsiteY123" fmla="*/ 8466 h 10001"/>
                <a:gd name="connsiteX124" fmla="*/ 8204 w 10000"/>
                <a:gd name="connsiteY124" fmla="*/ 8240 h 10001"/>
                <a:gd name="connsiteX125" fmla="*/ 8521 w 10000"/>
                <a:gd name="connsiteY125" fmla="*/ 8240 h 10001"/>
                <a:gd name="connsiteX126" fmla="*/ 8521 w 10000"/>
                <a:gd name="connsiteY126" fmla="*/ 7947 h 10001"/>
                <a:gd name="connsiteX127" fmla="*/ 8310 w 10000"/>
                <a:gd name="connsiteY127" fmla="*/ 7834 h 10001"/>
                <a:gd name="connsiteX128" fmla="*/ 8398 w 10000"/>
                <a:gd name="connsiteY128" fmla="*/ 7495 h 10001"/>
                <a:gd name="connsiteX129" fmla="*/ 7676 w 10000"/>
                <a:gd name="connsiteY129" fmla="*/ 6164 h 10001"/>
                <a:gd name="connsiteX130" fmla="*/ 7518 w 10000"/>
                <a:gd name="connsiteY130" fmla="*/ 5441 h 10001"/>
                <a:gd name="connsiteX131" fmla="*/ 7676 w 10000"/>
                <a:gd name="connsiteY131" fmla="*/ 4764 h 10001"/>
                <a:gd name="connsiteX132" fmla="*/ 7007 w 10000"/>
                <a:gd name="connsiteY132" fmla="*/ 4854 h 10001"/>
                <a:gd name="connsiteX133" fmla="*/ 6972 w 10000"/>
                <a:gd name="connsiteY133" fmla="*/ 4809 h 10001"/>
                <a:gd name="connsiteX134" fmla="*/ 6954 w 10000"/>
                <a:gd name="connsiteY134" fmla="*/ 4629 h 10001"/>
                <a:gd name="connsiteX135" fmla="*/ 7095 w 10000"/>
                <a:gd name="connsiteY135" fmla="*/ 4267 h 10001"/>
                <a:gd name="connsiteX136" fmla="*/ 8468 w 10000"/>
                <a:gd name="connsiteY136" fmla="*/ 3342 h 10001"/>
                <a:gd name="connsiteX137" fmla="*/ 8908 w 10000"/>
                <a:gd name="connsiteY137" fmla="*/ 3161 h 10001"/>
                <a:gd name="connsiteX138" fmla="*/ 9102 w 10000"/>
                <a:gd name="connsiteY138" fmla="*/ 3432 h 10001"/>
                <a:gd name="connsiteX139" fmla="*/ 9313 w 10000"/>
                <a:gd name="connsiteY139" fmla="*/ 3432 h 10001"/>
                <a:gd name="connsiteX140" fmla="*/ 9560 w 10000"/>
                <a:gd name="connsiteY140" fmla="*/ 3206 h 10001"/>
                <a:gd name="connsiteX141" fmla="*/ 9965 w 10000"/>
                <a:gd name="connsiteY141" fmla="*/ 3455 h 10001"/>
                <a:gd name="connsiteX142" fmla="*/ 10000 w 10000"/>
                <a:gd name="connsiteY142" fmla="*/ 2732 h 10001"/>
                <a:gd name="connsiteX143" fmla="*/ 9507 w 10000"/>
                <a:gd name="connsiteY143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944 w 10000"/>
                <a:gd name="connsiteY50" fmla="*/ 1355 h 10001"/>
                <a:gd name="connsiteX51" fmla="*/ 4349 w 10000"/>
                <a:gd name="connsiteY51" fmla="*/ 1355 h 10001"/>
                <a:gd name="connsiteX52" fmla="*/ 5440 w 10000"/>
                <a:gd name="connsiteY52" fmla="*/ 791 h 10001"/>
                <a:gd name="connsiteX53" fmla="*/ 4982 w 10000"/>
                <a:gd name="connsiteY53" fmla="*/ 1739 h 10001"/>
                <a:gd name="connsiteX54" fmla="*/ 4824 w 10000"/>
                <a:gd name="connsiteY54" fmla="*/ 1739 h 10001"/>
                <a:gd name="connsiteX55" fmla="*/ 4507 w 10000"/>
                <a:gd name="connsiteY55" fmla="*/ 1942 h 10001"/>
                <a:gd name="connsiteX56" fmla="*/ 4296 w 10000"/>
                <a:gd name="connsiteY56" fmla="*/ 1942 h 10001"/>
                <a:gd name="connsiteX57" fmla="*/ 4225 w 10000"/>
                <a:gd name="connsiteY57" fmla="*/ 1852 h 10001"/>
                <a:gd name="connsiteX58" fmla="*/ 3785 w 10000"/>
                <a:gd name="connsiteY58" fmla="*/ 1852 h 10001"/>
                <a:gd name="connsiteX59" fmla="*/ 3644 w 10000"/>
                <a:gd name="connsiteY59" fmla="*/ 1762 h 10001"/>
                <a:gd name="connsiteX60" fmla="*/ 3380 w 10000"/>
                <a:gd name="connsiteY60" fmla="*/ 1829 h 10001"/>
                <a:gd name="connsiteX61" fmla="*/ 3169 w 10000"/>
                <a:gd name="connsiteY61" fmla="*/ 1920 h 10001"/>
                <a:gd name="connsiteX62" fmla="*/ 2975 w 10000"/>
                <a:gd name="connsiteY62" fmla="*/ 1852 h 10001"/>
                <a:gd name="connsiteX63" fmla="*/ 2271 w 10000"/>
                <a:gd name="connsiteY63" fmla="*/ 1852 h 10001"/>
                <a:gd name="connsiteX64" fmla="*/ 2042 w 10000"/>
                <a:gd name="connsiteY64" fmla="*/ 1965 h 10001"/>
                <a:gd name="connsiteX65" fmla="*/ 1796 w 10000"/>
                <a:gd name="connsiteY65" fmla="*/ 1965 h 10001"/>
                <a:gd name="connsiteX66" fmla="*/ 1585 w 10000"/>
                <a:gd name="connsiteY66" fmla="*/ 2010 h 10001"/>
                <a:gd name="connsiteX67" fmla="*/ 1479 w 10000"/>
                <a:gd name="connsiteY67" fmla="*/ 1965 h 10001"/>
                <a:gd name="connsiteX68" fmla="*/ 1285 w 10000"/>
                <a:gd name="connsiteY68" fmla="*/ 2033 h 10001"/>
                <a:gd name="connsiteX69" fmla="*/ 1180 w 10000"/>
                <a:gd name="connsiteY69" fmla="*/ 2145 h 10001"/>
                <a:gd name="connsiteX70" fmla="*/ 933 w 10000"/>
                <a:gd name="connsiteY70" fmla="*/ 2326 h 10001"/>
                <a:gd name="connsiteX71" fmla="*/ 739 w 10000"/>
                <a:gd name="connsiteY71" fmla="*/ 2349 h 10001"/>
                <a:gd name="connsiteX72" fmla="*/ 669 w 10000"/>
                <a:gd name="connsiteY72" fmla="*/ 2958 h 10001"/>
                <a:gd name="connsiteX73" fmla="*/ 493 w 10000"/>
                <a:gd name="connsiteY73" fmla="*/ 3274 h 10001"/>
                <a:gd name="connsiteX74" fmla="*/ 264 w 10000"/>
                <a:gd name="connsiteY74" fmla="*/ 3229 h 10001"/>
                <a:gd name="connsiteX75" fmla="*/ 88 w 10000"/>
                <a:gd name="connsiteY75" fmla="*/ 3342 h 10001"/>
                <a:gd name="connsiteX76" fmla="*/ 88 w 10000"/>
                <a:gd name="connsiteY76" fmla="*/ 3522 h 10001"/>
                <a:gd name="connsiteX77" fmla="*/ 194 w 10000"/>
                <a:gd name="connsiteY77" fmla="*/ 3884 h 10001"/>
                <a:gd name="connsiteX78" fmla="*/ 123 w 10000"/>
                <a:gd name="connsiteY78" fmla="*/ 4154 h 10001"/>
                <a:gd name="connsiteX79" fmla="*/ 0 w 10000"/>
                <a:gd name="connsiteY79" fmla="*/ 4425 h 10001"/>
                <a:gd name="connsiteX80" fmla="*/ 18 w 10000"/>
                <a:gd name="connsiteY80" fmla="*/ 4832 h 10001"/>
                <a:gd name="connsiteX81" fmla="*/ 53 w 10000"/>
                <a:gd name="connsiteY81" fmla="*/ 5464 h 10001"/>
                <a:gd name="connsiteX82" fmla="*/ 88 w 10000"/>
                <a:gd name="connsiteY82" fmla="*/ 5464 h 10001"/>
                <a:gd name="connsiteX83" fmla="*/ 158 w 10000"/>
                <a:gd name="connsiteY83" fmla="*/ 5644 h 10001"/>
                <a:gd name="connsiteX84" fmla="*/ 581 w 10000"/>
                <a:gd name="connsiteY84" fmla="*/ 6096 h 10001"/>
                <a:gd name="connsiteX85" fmla="*/ 581 w 10000"/>
                <a:gd name="connsiteY85" fmla="*/ 6118 h 10001"/>
                <a:gd name="connsiteX86" fmla="*/ 581 w 10000"/>
                <a:gd name="connsiteY86" fmla="*/ 6118 h 10001"/>
                <a:gd name="connsiteX87" fmla="*/ 651 w 10000"/>
                <a:gd name="connsiteY87" fmla="*/ 6547 h 10001"/>
                <a:gd name="connsiteX88" fmla="*/ 1532 w 10000"/>
                <a:gd name="connsiteY88" fmla="*/ 7112 h 10001"/>
                <a:gd name="connsiteX89" fmla="*/ 1549 w 10000"/>
                <a:gd name="connsiteY89" fmla="*/ 7112 h 10001"/>
                <a:gd name="connsiteX90" fmla="*/ 1549 w 10000"/>
                <a:gd name="connsiteY90" fmla="*/ 7134 h 10001"/>
                <a:gd name="connsiteX91" fmla="*/ 1725 w 10000"/>
                <a:gd name="connsiteY91" fmla="*/ 8173 h 10001"/>
                <a:gd name="connsiteX92" fmla="*/ 2077 w 10000"/>
                <a:gd name="connsiteY92" fmla="*/ 9053 h 10001"/>
                <a:gd name="connsiteX93" fmla="*/ 2201 w 10000"/>
                <a:gd name="connsiteY93" fmla="*/ 9324 h 10001"/>
                <a:gd name="connsiteX94" fmla="*/ 2201 w 10000"/>
                <a:gd name="connsiteY94" fmla="*/ 9324 h 10001"/>
                <a:gd name="connsiteX95" fmla="*/ 2201 w 10000"/>
                <a:gd name="connsiteY95" fmla="*/ 9346 h 10001"/>
                <a:gd name="connsiteX96" fmla="*/ 2183 w 10000"/>
                <a:gd name="connsiteY96" fmla="*/ 9933 h 10001"/>
                <a:gd name="connsiteX97" fmla="*/ 2324 w 10000"/>
                <a:gd name="connsiteY97" fmla="*/ 9933 h 10001"/>
                <a:gd name="connsiteX98" fmla="*/ 2430 w 10000"/>
                <a:gd name="connsiteY98" fmla="*/ 9662 h 10001"/>
                <a:gd name="connsiteX99" fmla="*/ 3363 w 10000"/>
                <a:gd name="connsiteY99" fmla="*/ 9662 h 10001"/>
                <a:gd name="connsiteX100" fmla="*/ 3644 w 10000"/>
                <a:gd name="connsiteY100" fmla="*/ 9437 h 10001"/>
                <a:gd name="connsiteX101" fmla="*/ 3961 w 10000"/>
                <a:gd name="connsiteY101" fmla="*/ 9346 h 10001"/>
                <a:gd name="connsiteX102" fmla="*/ 4278 w 10000"/>
                <a:gd name="connsiteY102" fmla="*/ 9504 h 10001"/>
                <a:gd name="connsiteX103" fmla="*/ 4489 w 10000"/>
                <a:gd name="connsiteY103" fmla="*/ 9437 h 10001"/>
                <a:gd name="connsiteX104" fmla="*/ 5440 w 10000"/>
                <a:gd name="connsiteY104" fmla="*/ 9369 h 10001"/>
                <a:gd name="connsiteX105" fmla="*/ 5792 w 10000"/>
                <a:gd name="connsiteY105" fmla="*/ 9211 h 10001"/>
                <a:gd name="connsiteX106" fmla="*/ 5951 w 10000"/>
                <a:gd name="connsiteY106" fmla="*/ 9369 h 10001"/>
                <a:gd name="connsiteX107" fmla="*/ 6602 w 10000"/>
                <a:gd name="connsiteY107" fmla="*/ 9324 h 10001"/>
                <a:gd name="connsiteX108" fmla="*/ 6743 w 10000"/>
                <a:gd name="connsiteY108" fmla="*/ 9572 h 10001"/>
                <a:gd name="connsiteX109" fmla="*/ 6919 w 10000"/>
                <a:gd name="connsiteY109" fmla="*/ 9775 h 10001"/>
                <a:gd name="connsiteX110" fmla="*/ 7482 w 10000"/>
                <a:gd name="connsiteY110" fmla="*/ 9730 h 10001"/>
                <a:gd name="connsiteX111" fmla="*/ 7658 w 10000"/>
                <a:gd name="connsiteY111" fmla="*/ 9866 h 10001"/>
                <a:gd name="connsiteX112" fmla="*/ 7764 w 10000"/>
                <a:gd name="connsiteY112" fmla="*/ 9911 h 10001"/>
                <a:gd name="connsiteX113" fmla="*/ 7835 w 10000"/>
                <a:gd name="connsiteY113" fmla="*/ 9978 h 10001"/>
                <a:gd name="connsiteX114" fmla="*/ 7940 w 10000"/>
                <a:gd name="connsiteY114" fmla="*/ 10001 h 10001"/>
                <a:gd name="connsiteX115" fmla="*/ 8116 w 10000"/>
                <a:gd name="connsiteY115" fmla="*/ 9933 h 10001"/>
                <a:gd name="connsiteX116" fmla="*/ 8063 w 10000"/>
                <a:gd name="connsiteY116" fmla="*/ 9617 h 10001"/>
                <a:gd name="connsiteX117" fmla="*/ 7887 w 10000"/>
                <a:gd name="connsiteY117" fmla="*/ 9392 h 10001"/>
                <a:gd name="connsiteX118" fmla="*/ 7887 w 10000"/>
                <a:gd name="connsiteY118" fmla="*/ 9008 h 10001"/>
                <a:gd name="connsiteX119" fmla="*/ 8063 w 10000"/>
                <a:gd name="connsiteY119" fmla="*/ 8872 h 10001"/>
                <a:gd name="connsiteX120" fmla="*/ 8275 w 10000"/>
                <a:gd name="connsiteY120" fmla="*/ 8692 h 10001"/>
                <a:gd name="connsiteX121" fmla="*/ 8151 w 10000"/>
                <a:gd name="connsiteY121" fmla="*/ 8601 h 10001"/>
                <a:gd name="connsiteX122" fmla="*/ 8063 w 10000"/>
                <a:gd name="connsiteY122" fmla="*/ 8466 h 10001"/>
                <a:gd name="connsiteX123" fmla="*/ 8204 w 10000"/>
                <a:gd name="connsiteY123" fmla="*/ 8240 h 10001"/>
                <a:gd name="connsiteX124" fmla="*/ 8521 w 10000"/>
                <a:gd name="connsiteY124" fmla="*/ 8240 h 10001"/>
                <a:gd name="connsiteX125" fmla="*/ 8521 w 10000"/>
                <a:gd name="connsiteY125" fmla="*/ 7947 h 10001"/>
                <a:gd name="connsiteX126" fmla="*/ 8310 w 10000"/>
                <a:gd name="connsiteY126" fmla="*/ 7834 h 10001"/>
                <a:gd name="connsiteX127" fmla="*/ 8398 w 10000"/>
                <a:gd name="connsiteY127" fmla="*/ 7495 h 10001"/>
                <a:gd name="connsiteX128" fmla="*/ 7676 w 10000"/>
                <a:gd name="connsiteY128" fmla="*/ 6164 h 10001"/>
                <a:gd name="connsiteX129" fmla="*/ 7518 w 10000"/>
                <a:gd name="connsiteY129" fmla="*/ 5441 h 10001"/>
                <a:gd name="connsiteX130" fmla="*/ 7676 w 10000"/>
                <a:gd name="connsiteY130" fmla="*/ 4764 h 10001"/>
                <a:gd name="connsiteX131" fmla="*/ 7007 w 10000"/>
                <a:gd name="connsiteY131" fmla="*/ 4854 h 10001"/>
                <a:gd name="connsiteX132" fmla="*/ 6972 w 10000"/>
                <a:gd name="connsiteY132" fmla="*/ 4809 h 10001"/>
                <a:gd name="connsiteX133" fmla="*/ 6954 w 10000"/>
                <a:gd name="connsiteY133" fmla="*/ 4629 h 10001"/>
                <a:gd name="connsiteX134" fmla="*/ 7095 w 10000"/>
                <a:gd name="connsiteY134" fmla="*/ 4267 h 10001"/>
                <a:gd name="connsiteX135" fmla="*/ 8468 w 10000"/>
                <a:gd name="connsiteY135" fmla="*/ 3342 h 10001"/>
                <a:gd name="connsiteX136" fmla="*/ 8908 w 10000"/>
                <a:gd name="connsiteY136" fmla="*/ 3161 h 10001"/>
                <a:gd name="connsiteX137" fmla="*/ 9102 w 10000"/>
                <a:gd name="connsiteY137" fmla="*/ 3432 h 10001"/>
                <a:gd name="connsiteX138" fmla="*/ 9313 w 10000"/>
                <a:gd name="connsiteY138" fmla="*/ 3432 h 10001"/>
                <a:gd name="connsiteX139" fmla="*/ 9560 w 10000"/>
                <a:gd name="connsiteY139" fmla="*/ 3206 h 10001"/>
                <a:gd name="connsiteX140" fmla="*/ 9965 w 10000"/>
                <a:gd name="connsiteY140" fmla="*/ 3455 h 10001"/>
                <a:gd name="connsiteX141" fmla="*/ 10000 w 10000"/>
                <a:gd name="connsiteY141" fmla="*/ 2732 h 10001"/>
                <a:gd name="connsiteX142" fmla="*/ 9507 w 10000"/>
                <a:gd name="connsiteY142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944 w 10000"/>
                <a:gd name="connsiteY50" fmla="*/ 1355 h 10001"/>
                <a:gd name="connsiteX51" fmla="*/ 5440 w 10000"/>
                <a:gd name="connsiteY51" fmla="*/ 791 h 10001"/>
                <a:gd name="connsiteX52" fmla="*/ 4982 w 10000"/>
                <a:gd name="connsiteY52" fmla="*/ 1739 h 10001"/>
                <a:gd name="connsiteX53" fmla="*/ 4824 w 10000"/>
                <a:gd name="connsiteY53" fmla="*/ 1739 h 10001"/>
                <a:gd name="connsiteX54" fmla="*/ 4507 w 10000"/>
                <a:gd name="connsiteY54" fmla="*/ 1942 h 10001"/>
                <a:gd name="connsiteX55" fmla="*/ 4296 w 10000"/>
                <a:gd name="connsiteY55" fmla="*/ 1942 h 10001"/>
                <a:gd name="connsiteX56" fmla="*/ 4225 w 10000"/>
                <a:gd name="connsiteY56" fmla="*/ 1852 h 10001"/>
                <a:gd name="connsiteX57" fmla="*/ 3785 w 10000"/>
                <a:gd name="connsiteY57" fmla="*/ 1852 h 10001"/>
                <a:gd name="connsiteX58" fmla="*/ 3644 w 10000"/>
                <a:gd name="connsiteY58" fmla="*/ 1762 h 10001"/>
                <a:gd name="connsiteX59" fmla="*/ 3380 w 10000"/>
                <a:gd name="connsiteY59" fmla="*/ 1829 h 10001"/>
                <a:gd name="connsiteX60" fmla="*/ 3169 w 10000"/>
                <a:gd name="connsiteY60" fmla="*/ 1920 h 10001"/>
                <a:gd name="connsiteX61" fmla="*/ 2975 w 10000"/>
                <a:gd name="connsiteY61" fmla="*/ 1852 h 10001"/>
                <a:gd name="connsiteX62" fmla="*/ 2271 w 10000"/>
                <a:gd name="connsiteY62" fmla="*/ 1852 h 10001"/>
                <a:gd name="connsiteX63" fmla="*/ 2042 w 10000"/>
                <a:gd name="connsiteY63" fmla="*/ 1965 h 10001"/>
                <a:gd name="connsiteX64" fmla="*/ 1796 w 10000"/>
                <a:gd name="connsiteY64" fmla="*/ 1965 h 10001"/>
                <a:gd name="connsiteX65" fmla="*/ 1585 w 10000"/>
                <a:gd name="connsiteY65" fmla="*/ 2010 h 10001"/>
                <a:gd name="connsiteX66" fmla="*/ 1479 w 10000"/>
                <a:gd name="connsiteY66" fmla="*/ 1965 h 10001"/>
                <a:gd name="connsiteX67" fmla="*/ 1285 w 10000"/>
                <a:gd name="connsiteY67" fmla="*/ 2033 h 10001"/>
                <a:gd name="connsiteX68" fmla="*/ 1180 w 10000"/>
                <a:gd name="connsiteY68" fmla="*/ 2145 h 10001"/>
                <a:gd name="connsiteX69" fmla="*/ 933 w 10000"/>
                <a:gd name="connsiteY69" fmla="*/ 2326 h 10001"/>
                <a:gd name="connsiteX70" fmla="*/ 739 w 10000"/>
                <a:gd name="connsiteY70" fmla="*/ 2349 h 10001"/>
                <a:gd name="connsiteX71" fmla="*/ 669 w 10000"/>
                <a:gd name="connsiteY71" fmla="*/ 2958 h 10001"/>
                <a:gd name="connsiteX72" fmla="*/ 493 w 10000"/>
                <a:gd name="connsiteY72" fmla="*/ 3274 h 10001"/>
                <a:gd name="connsiteX73" fmla="*/ 264 w 10000"/>
                <a:gd name="connsiteY73" fmla="*/ 3229 h 10001"/>
                <a:gd name="connsiteX74" fmla="*/ 88 w 10000"/>
                <a:gd name="connsiteY74" fmla="*/ 3342 h 10001"/>
                <a:gd name="connsiteX75" fmla="*/ 88 w 10000"/>
                <a:gd name="connsiteY75" fmla="*/ 3522 h 10001"/>
                <a:gd name="connsiteX76" fmla="*/ 194 w 10000"/>
                <a:gd name="connsiteY76" fmla="*/ 3884 h 10001"/>
                <a:gd name="connsiteX77" fmla="*/ 123 w 10000"/>
                <a:gd name="connsiteY77" fmla="*/ 4154 h 10001"/>
                <a:gd name="connsiteX78" fmla="*/ 0 w 10000"/>
                <a:gd name="connsiteY78" fmla="*/ 4425 h 10001"/>
                <a:gd name="connsiteX79" fmla="*/ 18 w 10000"/>
                <a:gd name="connsiteY79" fmla="*/ 4832 h 10001"/>
                <a:gd name="connsiteX80" fmla="*/ 53 w 10000"/>
                <a:gd name="connsiteY80" fmla="*/ 5464 h 10001"/>
                <a:gd name="connsiteX81" fmla="*/ 88 w 10000"/>
                <a:gd name="connsiteY81" fmla="*/ 5464 h 10001"/>
                <a:gd name="connsiteX82" fmla="*/ 158 w 10000"/>
                <a:gd name="connsiteY82" fmla="*/ 5644 h 10001"/>
                <a:gd name="connsiteX83" fmla="*/ 581 w 10000"/>
                <a:gd name="connsiteY83" fmla="*/ 6096 h 10001"/>
                <a:gd name="connsiteX84" fmla="*/ 581 w 10000"/>
                <a:gd name="connsiteY84" fmla="*/ 6118 h 10001"/>
                <a:gd name="connsiteX85" fmla="*/ 581 w 10000"/>
                <a:gd name="connsiteY85" fmla="*/ 6118 h 10001"/>
                <a:gd name="connsiteX86" fmla="*/ 651 w 10000"/>
                <a:gd name="connsiteY86" fmla="*/ 6547 h 10001"/>
                <a:gd name="connsiteX87" fmla="*/ 1532 w 10000"/>
                <a:gd name="connsiteY87" fmla="*/ 7112 h 10001"/>
                <a:gd name="connsiteX88" fmla="*/ 1549 w 10000"/>
                <a:gd name="connsiteY88" fmla="*/ 7112 h 10001"/>
                <a:gd name="connsiteX89" fmla="*/ 1549 w 10000"/>
                <a:gd name="connsiteY89" fmla="*/ 7134 h 10001"/>
                <a:gd name="connsiteX90" fmla="*/ 1725 w 10000"/>
                <a:gd name="connsiteY90" fmla="*/ 8173 h 10001"/>
                <a:gd name="connsiteX91" fmla="*/ 2077 w 10000"/>
                <a:gd name="connsiteY91" fmla="*/ 9053 h 10001"/>
                <a:gd name="connsiteX92" fmla="*/ 2201 w 10000"/>
                <a:gd name="connsiteY92" fmla="*/ 9324 h 10001"/>
                <a:gd name="connsiteX93" fmla="*/ 2201 w 10000"/>
                <a:gd name="connsiteY93" fmla="*/ 9324 h 10001"/>
                <a:gd name="connsiteX94" fmla="*/ 2201 w 10000"/>
                <a:gd name="connsiteY94" fmla="*/ 9346 h 10001"/>
                <a:gd name="connsiteX95" fmla="*/ 2183 w 10000"/>
                <a:gd name="connsiteY95" fmla="*/ 9933 h 10001"/>
                <a:gd name="connsiteX96" fmla="*/ 2324 w 10000"/>
                <a:gd name="connsiteY96" fmla="*/ 9933 h 10001"/>
                <a:gd name="connsiteX97" fmla="*/ 2430 w 10000"/>
                <a:gd name="connsiteY97" fmla="*/ 9662 h 10001"/>
                <a:gd name="connsiteX98" fmla="*/ 3363 w 10000"/>
                <a:gd name="connsiteY98" fmla="*/ 9662 h 10001"/>
                <a:gd name="connsiteX99" fmla="*/ 3644 w 10000"/>
                <a:gd name="connsiteY99" fmla="*/ 9437 h 10001"/>
                <a:gd name="connsiteX100" fmla="*/ 3961 w 10000"/>
                <a:gd name="connsiteY100" fmla="*/ 9346 h 10001"/>
                <a:gd name="connsiteX101" fmla="*/ 4278 w 10000"/>
                <a:gd name="connsiteY101" fmla="*/ 9504 h 10001"/>
                <a:gd name="connsiteX102" fmla="*/ 4489 w 10000"/>
                <a:gd name="connsiteY102" fmla="*/ 9437 h 10001"/>
                <a:gd name="connsiteX103" fmla="*/ 5440 w 10000"/>
                <a:gd name="connsiteY103" fmla="*/ 9369 h 10001"/>
                <a:gd name="connsiteX104" fmla="*/ 5792 w 10000"/>
                <a:gd name="connsiteY104" fmla="*/ 9211 h 10001"/>
                <a:gd name="connsiteX105" fmla="*/ 5951 w 10000"/>
                <a:gd name="connsiteY105" fmla="*/ 9369 h 10001"/>
                <a:gd name="connsiteX106" fmla="*/ 6602 w 10000"/>
                <a:gd name="connsiteY106" fmla="*/ 9324 h 10001"/>
                <a:gd name="connsiteX107" fmla="*/ 6743 w 10000"/>
                <a:gd name="connsiteY107" fmla="*/ 9572 h 10001"/>
                <a:gd name="connsiteX108" fmla="*/ 6919 w 10000"/>
                <a:gd name="connsiteY108" fmla="*/ 9775 h 10001"/>
                <a:gd name="connsiteX109" fmla="*/ 7482 w 10000"/>
                <a:gd name="connsiteY109" fmla="*/ 9730 h 10001"/>
                <a:gd name="connsiteX110" fmla="*/ 7658 w 10000"/>
                <a:gd name="connsiteY110" fmla="*/ 9866 h 10001"/>
                <a:gd name="connsiteX111" fmla="*/ 7764 w 10000"/>
                <a:gd name="connsiteY111" fmla="*/ 9911 h 10001"/>
                <a:gd name="connsiteX112" fmla="*/ 7835 w 10000"/>
                <a:gd name="connsiteY112" fmla="*/ 9978 h 10001"/>
                <a:gd name="connsiteX113" fmla="*/ 7940 w 10000"/>
                <a:gd name="connsiteY113" fmla="*/ 10001 h 10001"/>
                <a:gd name="connsiteX114" fmla="*/ 8116 w 10000"/>
                <a:gd name="connsiteY114" fmla="*/ 9933 h 10001"/>
                <a:gd name="connsiteX115" fmla="*/ 8063 w 10000"/>
                <a:gd name="connsiteY115" fmla="*/ 9617 h 10001"/>
                <a:gd name="connsiteX116" fmla="*/ 7887 w 10000"/>
                <a:gd name="connsiteY116" fmla="*/ 9392 h 10001"/>
                <a:gd name="connsiteX117" fmla="*/ 7887 w 10000"/>
                <a:gd name="connsiteY117" fmla="*/ 9008 h 10001"/>
                <a:gd name="connsiteX118" fmla="*/ 8063 w 10000"/>
                <a:gd name="connsiteY118" fmla="*/ 8872 h 10001"/>
                <a:gd name="connsiteX119" fmla="*/ 8275 w 10000"/>
                <a:gd name="connsiteY119" fmla="*/ 8692 h 10001"/>
                <a:gd name="connsiteX120" fmla="*/ 8151 w 10000"/>
                <a:gd name="connsiteY120" fmla="*/ 8601 h 10001"/>
                <a:gd name="connsiteX121" fmla="*/ 8063 w 10000"/>
                <a:gd name="connsiteY121" fmla="*/ 8466 h 10001"/>
                <a:gd name="connsiteX122" fmla="*/ 8204 w 10000"/>
                <a:gd name="connsiteY122" fmla="*/ 8240 h 10001"/>
                <a:gd name="connsiteX123" fmla="*/ 8521 w 10000"/>
                <a:gd name="connsiteY123" fmla="*/ 8240 h 10001"/>
                <a:gd name="connsiteX124" fmla="*/ 8521 w 10000"/>
                <a:gd name="connsiteY124" fmla="*/ 7947 h 10001"/>
                <a:gd name="connsiteX125" fmla="*/ 8310 w 10000"/>
                <a:gd name="connsiteY125" fmla="*/ 7834 h 10001"/>
                <a:gd name="connsiteX126" fmla="*/ 8398 w 10000"/>
                <a:gd name="connsiteY126" fmla="*/ 7495 h 10001"/>
                <a:gd name="connsiteX127" fmla="*/ 7676 w 10000"/>
                <a:gd name="connsiteY127" fmla="*/ 6164 h 10001"/>
                <a:gd name="connsiteX128" fmla="*/ 7518 w 10000"/>
                <a:gd name="connsiteY128" fmla="*/ 5441 h 10001"/>
                <a:gd name="connsiteX129" fmla="*/ 7676 w 10000"/>
                <a:gd name="connsiteY129" fmla="*/ 4764 h 10001"/>
                <a:gd name="connsiteX130" fmla="*/ 7007 w 10000"/>
                <a:gd name="connsiteY130" fmla="*/ 4854 h 10001"/>
                <a:gd name="connsiteX131" fmla="*/ 6972 w 10000"/>
                <a:gd name="connsiteY131" fmla="*/ 4809 h 10001"/>
                <a:gd name="connsiteX132" fmla="*/ 6954 w 10000"/>
                <a:gd name="connsiteY132" fmla="*/ 4629 h 10001"/>
                <a:gd name="connsiteX133" fmla="*/ 7095 w 10000"/>
                <a:gd name="connsiteY133" fmla="*/ 4267 h 10001"/>
                <a:gd name="connsiteX134" fmla="*/ 8468 w 10000"/>
                <a:gd name="connsiteY134" fmla="*/ 3342 h 10001"/>
                <a:gd name="connsiteX135" fmla="*/ 8908 w 10000"/>
                <a:gd name="connsiteY135" fmla="*/ 3161 h 10001"/>
                <a:gd name="connsiteX136" fmla="*/ 9102 w 10000"/>
                <a:gd name="connsiteY136" fmla="*/ 3432 h 10001"/>
                <a:gd name="connsiteX137" fmla="*/ 9313 w 10000"/>
                <a:gd name="connsiteY137" fmla="*/ 3432 h 10001"/>
                <a:gd name="connsiteX138" fmla="*/ 9560 w 10000"/>
                <a:gd name="connsiteY138" fmla="*/ 3206 h 10001"/>
                <a:gd name="connsiteX139" fmla="*/ 9965 w 10000"/>
                <a:gd name="connsiteY139" fmla="*/ 3455 h 10001"/>
                <a:gd name="connsiteX140" fmla="*/ 10000 w 10000"/>
                <a:gd name="connsiteY140" fmla="*/ 2732 h 10001"/>
                <a:gd name="connsiteX141" fmla="*/ 9507 w 10000"/>
                <a:gd name="connsiteY141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5440 w 10000"/>
                <a:gd name="connsiteY50" fmla="*/ 791 h 10001"/>
                <a:gd name="connsiteX51" fmla="*/ 4982 w 10000"/>
                <a:gd name="connsiteY51" fmla="*/ 1739 h 10001"/>
                <a:gd name="connsiteX52" fmla="*/ 4824 w 10000"/>
                <a:gd name="connsiteY52" fmla="*/ 1739 h 10001"/>
                <a:gd name="connsiteX53" fmla="*/ 4507 w 10000"/>
                <a:gd name="connsiteY53" fmla="*/ 1942 h 10001"/>
                <a:gd name="connsiteX54" fmla="*/ 4296 w 10000"/>
                <a:gd name="connsiteY54" fmla="*/ 1942 h 10001"/>
                <a:gd name="connsiteX55" fmla="*/ 4225 w 10000"/>
                <a:gd name="connsiteY55" fmla="*/ 1852 h 10001"/>
                <a:gd name="connsiteX56" fmla="*/ 3785 w 10000"/>
                <a:gd name="connsiteY56" fmla="*/ 1852 h 10001"/>
                <a:gd name="connsiteX57" fmla="*/ 3644 w 10000"/>
                <a:gd name="connsiteY57" fmla="*/ 1762 h 10001"/>
                <a:gd name="connsiteX58" fmla="*/ 3380 w 10000"/>
                <a:gd name="connsiteY58" fmla="*/ 1829 h 10001"/>
                <a:gd name="connsiteX59" fmla="*/ 3169 w 10000"/>
                <a:gd name="connsiteY59" fmla="*/ 1920 h 10001"/>
                <a:gd name="connsiteX60" fmla="*/ 2975 w 10000"/>
                <a:gd name="connsiteY60" fmla="*/ 1852 h 10001"/>
                <a:gd name="connsiteX61" fmla="*/ 2271 w 10000"/>
                <a:gd name="connsiteY61" fmla="*/ 1852 h 10001"/>
                <a:gd name="connsiteX62" fmla="*/ 2042 w 10000"/>
                <a:gd name="connsiteY62" fmla="*/ 1965 h 10001"/>
                <a:gd name="connsiteX63" fmla="*/ 1796 w 10000"/>
                <a:gd name="connsiteY63" fmla="*/ 1965 h 10001"/>
                <a:gd name="connsiteX64" fmla="*/ 1585 w 10000"/>
                <a:gd name="connsiteY64" fmla="*/ 2010 h 10001"/>
                <a:gd name="connsiteX65" fmla="*/ 1479 w 10000"/>
                <a:gd name="connsiteY65" fmla="*/ 1965 h 10001"/>
                <a:gd name="connsiteX66" fmla="*/ 1285 w 10000"/>
                <a:gd name="connsiteY66" fmla="*/ 2033 h 10001"/>
                <a:gd name="connsiteX67" fmla="*/ 1180 w 10000"/>
                <a:gd name="connsiteY67" fmla="*/ 2145 h 10001"/>
                <a:gd name="connsiteX68" fmla="*/ 933 w 10000"/>
                <a:gd name="connsiteY68" fmla="*/ 2326 h 10001"/>
                <a:gd name="connsiteX69" fmla="*/ 739 w 10000"/>
                <a:gd name="connsiteY69" fmla="*/ 2349 h 10001"/>
                <a:gd name="connsiteX70" fmla="*/ 669 w 10000"/>
                <a:gd name="connsiteY70" fmla="*/ 2958 h 10001"/>
                <a:gd name="connsiteX71" fmla="*/ 493 w 10000"/>
                <a:gd name="connsiteY71" fmla="*/ 3274 h 10001"/>
                <a:gd name="connsiteX72" fmla="*/ 264 w 10000"/>
                <a:gd name="connsiteY72" fmla="*/ 3229 h 10001"/>
                <a:gd name="connsiteX73" fmla="*/ 88 w 10000"/>
                <a:gd name="connsiteY73" fmla="*/ 3342 h 10001"/>
                <a:gd name="connsiteX74" fmla="*/ 88 w 10000"/>
                <a:gd name="connsiteY74" fmla="*/ 3522 h 10001"/>
                <a:gd name="connsiteX75" fmla="*/ 194 w 10000"/>
                <a:gd name="connsiteY75" fmla="*/ 3884 h 10001"/>
                <a:gd name="connsiteX76" fmla="*/ 123 w 10000"/>
                <a:gd name="connsiteY76" fmla="*/ 4154 h 10001"/>
                <a:gd name="connsiteX77" fmla="*/ 0 w 10000"/>
                <a:gd name="connsiteY77" fmla="*/ 4425 h 10001"/>
                <a:gd name="connsiteX78" fmla="*/ 18 w 10000"/>
                <a:gd name="connsiteY78" fmla="*/ 4832 h 10001"/>
                <a:gd name="connsiteX79" fmla="*/ 53 w 10000"/>
                <a:gd name="connsiteY79" fmla="*/ 5464 h 10001"/>
                <a:gd name="connsiteX80" fmla="*/ 88 w 10000"/>
                <a:gd name="connsiteY80" fmla="*/ 5464 h 10001"/>
                <a:gd name="connsiteX81" fmla="*/ 158 w 10000"/>
                <a:gd name="connsiteY81" fmla="*/ 5644 h 10001"/>
                <a:gd name="connsiteX82" fmla="*/ 581 w 10000"/>
                <a:gd name="connsiteY82" fmla="*/ 6096 h 10001"/>
                <a:gd name="connsiteX83" fmla="*/ 581 w 10000"/>
                <a:gd name="connsiteY83" fmla="*/ 6118 h 10001"/>
                <a:gd name="connsiteX84" fmla="*/ 581 w 10000"/>
                <a:gd name="connsiteY84" fmla="*/ 6118 h 10001"/>
                <a:gd name="connsiteX85" fmla="*/ 651 w 10000"/>
                <a:gd name="connsiteY85" fmla="*/ 6547 h 10001"/>
                <a:gd name="connsiteX86" fmla="*/ 1532 w 10000"/>
                <a:gd name="connsiteY86" fmla="*/ 7112 h 10001"/>
                <a:gd name="connsiteX87" fmla="*/ 1549 w 10000"/>
                <a:gd name="connsiteY87" fmla="*/ 7112 h 10001"/>
                <a:gd name="connsiteX88" fmla="*/ 1549 w 10000"/>
                <a:gd name="connsiteY88" fmla="*/ 7134 h 10001"/>
                <a:gd name="connsiteX89" fmla="*/ 1725 w 10000"/>
                <a:gd name="connsiteY89" fmla="*/ 8173 h 10001"/>
                <a:gd name="connsiteX90" fmla="*/ 2077 w 10000"/>
                <a:gd name="connsiteY90" fmla="*/ 9053 h 10001"/>
                <a:gd name="connsiteX91" fmla="*/ 2201 w 10000"/>
                <a:gd name="connsiteY91" fmla="*/ 9324 h 10001"/>
                <a:gd name="connsiteX92" fmla="*/ 2201 w 10000"/>
                <a:gd name="connsiteY92" fmla="*/ 9324 h 10001"/>
                <a:gd name="connsiteX93" fmla="*/ 2201 w 10000"/>
                <a:gd name="connsiteY93" fmla="*/ 9346 h 10001"/>
                <a:gd name="connsiteX94" fmla="*/ 2183 w 10000"/>
                <a:gd name="connsiteY94" fmla="*/ 9933 h 10001"/>
                <a:gd name="connsiteX95" fmla="*/ 2324 w 10000"/>
                <a:gd name="connsiteY95" fmla="*/ 9933 h 10001"/>
                <a:gd name="connsiteX96" fmla="*/ 2430 w 10000"/>
                <a:gd name="connsiteY96" fmla="*/ 9662 h 10001"/>
                <a:gd name="connsiteX97" fmla="*/ 3363 w 10000"/>
                <a:gd name="connsiteY97" fmla="*/ 9662 h 10001"/>
                <a:gd name="connsiteX98" fmla="*/ 3644 w 10000"/>
                <a:gd name="connsiteY98" fmla="*/ 9437 h 10001"/>
                <a:gd name="connsiteX99" fmla="*/ 3961 w 10000"/>
                <a:gd name="connsiteY99" fmla="*/ 9346 h 10001"/>
                <a:gd name="connsiteX100" fmla="*/ 4278 w 10000"/>
                <a:gd name="connsiteY100" fmla="*/ 9504 h 10001"/>
                <a:gd name="connsiteX101" fmla="*/ 4489 w 10000"/>
                <a:gd name="connsiteY101" fmla="*/ 9437 h 10001"/>
                <a:gd name="connsiteX102" fmla="*/ 5440 w 10000"/>
                <a:gd name="connsiteY102" fmla="*/ 9369 h 10001"/>
                <a:gd name="connsiteX103" fmla="*/ 5792 w 10000"/>
                <a:gd name="connsiteY103" fmla="*/ 9211 h 10001"/>
                <a:gd name="connsiteX104" fmla="*/ 5951 w 10000"/>
                <a:gd name="connsiteY104" fmla="*/ 9369 h 10001"/>
                <a:gd name="connsiteX105" fmla="*/ 6602 w 10000"/>
                <a:gd name="connsiteY105" fmla="*/ 9324 h 10001"/>
                <a:gd name="connsiteX106" fmla="*/ 6743 w 10000"/>
                <a:gd name="connsiteY106" fmla="*/ 9572 h 10001"/>
                <a:gd name="connsiteX107" fmla="*/ 6919 w 10000"/>
                <a:gd name="connsiteY107" fmla="*/ 9775 h 10001"/>
                <a:gd name="connsiteX108" fmla="*/ 7482 w 10000"/>
                <a:gd name="connsiteY108" fmla="*/ 9730 h 10001"/>
                <a:gd name="connsiteX109" fmla="*/ 7658 w 10000"/>
                <a:gd name="connsiteY109" fmla="*/ 9866 h 10001"/>
                <a:gd name="connsiteX110" fmla="*/ 7764 w 10000"/>
                <a:gd name="connsiteY110" fmla="*/ 9911 h 10001"/>
                <a:gd name="connsiteX111" fmla="*/ 7835 w 10000"/>
                <a:gd name="connsiteY111" fmla="*/ 9978 h 10001"/>
                <a:gd name="connsiteX112" fmla="*/ 7940 w 10000"/>
                <a:gd name="connsiteY112" fmla="*/ 10001 h 10001"/>
                <a:gd name="connsiteX113" fmla="*/ 8116 w 10000"/>
                <a:gd name="connsiteY113" fmla="*/ 9933 h 10001"/>
                <a:gd name="connsiteX114" fmla="*/ 8063 w 10000"/>
                <a:gd name="connsiteY114" fmla="*/ 9617 h 10001"/>
                <a:gd name="connsiteX115" fmla="*/ 7887 w 10000"/>
                <a:gd name="connsiteY115" fmla="*/ 9392 h 10001"/>
                <a:gd name="connsiteX116" fmla="*/ 7887 w 10000"/>
                <a:gd name="connsiteY116" fmla="*/ 9008 h 10001"/>
                <a:gd name="connsiteX117" fmla="*/ 8063 w 10000"/>
                <a:gd name="connsiteY117" fmla="*/ 8872 h 10001"/>
                <a:gd name="connsiteX118" fmla="*/ 8275 w 10000"/>
                <a:gd name="connsiteY118" fmla="*/ 8692 h 10001"/>
                <a:gd name="connsiteX119" fmla="*/ 8151 w 10000"/>
                <a:gd name="connsiteY119" fmla="*/ 8601 h 10001"/>
                <a:gd name="connsiteX120" fmla="*/ 8063 w 10000"/>
                <a:gd name="connsiteY120" fmla="*/ 8466 h 10001"/>
                <a:gd name="connsiteX121" fmla="*/ 8204 w 10000"/>
                <a:gd name="connsiteY121" fmla="*/ 8240 h 10001"/>
                <a:gd name="connsiteX122" fmla="*/ 8521 w 10000"/>
                <a:gd name="connsiteY122" fmla="*/ 8240 h 10001"/>
                <a:gd name="connsiteX123" fmla="*/ 8521 w 10000"/>
                <a:gd name="connsiteY123" fmla="*/ 7947 h 10001"/>
                <a:gd name="connsiteX124" fmla="*/ 8310 w 10000"/>
                <a:gd name="connsiteY124" fmla="*/ 7834 h 10001"/>
                <a:gd name="connsiteX125" fmla="*/ 8398 w 10000"/>
                <a:gd name="connsiteY125" fmla="*/ 7495 h 10001"/>
                <a:gd name="connsiteX126" fmla="*/ 7676 w 10000"/>
                <a:gd name="connsiteY126" fmla="*/ 6164 h 10001"/>
                <a:gd name="connsiteX127" fmla="*/ 7518 w 10000"/>
                <a:gd name="connsiteY127" fmla="*/ 5441 h 10001"/>
                <a:gd name="connsiteX128" fmla="*/ 7676 w 10000"/>
                <a:gd name="connsiteY128" fmla="*/ 4764 h 10001"/>
                <a:gd name="connsiteX129" fmla="*/ 7007 w 10000"/>
                <a:gd name="connsiteY129" fmla="*/ 4854 h 10001"/>
                <a:gd name="connsiteX130" fmla="*/ 6972 w 10000"/>
                <a:gd name="connsiteY130" fmla="*/ 4809 h 10001"/>
                <a:gd name="connsiteX131" fmla="*/ 6954 w 10000"/>
                <a:gd name="connsiteY131" fmla="*/ 4629 h 10001"/>
                <a:gd name="connsiteX132" fmla="*/ 7095 w 10000"/>
                <a:gd name="connsiteY132" fmla="*/ 4267 h 10001"/>
                <a:gd name="connsiteX133" fmla="*/ 8468 w 10000"/>
                <a:gd name="connsiteY133" fmla="*/ 3342 h 10001"/>
                <a:gd name="connsiteX134" fmla="*/ 8908 w 10000"/>
                <a:gd name="connsiteY134" fmla="*/ 3161 h 10001"/>
                <a:gd name="connsiteX135" fmla="*/ 9102 w 10000"/>
                <a:gd name="connsiteY135" fmla="*/ 3432 h 10001"/>
                <a:gd name="connsiteX136" fmla="*/ 9313 w 10000"/>
                <a:gd name="connsiteY136" fmla="*/ 3432 h 10001"/>
                <a:gd name="connsiteX137" fmla="*/ 9560 w 10000"/>
                <a:gd name="connsiteY137" fmla="*/ 3206 h 10001"/>
                <a:gd name="connsiteX138" fmla="*/ 9965 w 10000"/>
                <a:gd name="connsiteY138" fmla="*/ 3455 h 10001"/>
                <a:gd name="connsiteX139" fmla="*/ 10000 w 10000"/>
                <a:gd name="connsiteY139" fmla="*/ 2732 h 10001"/>
                <a:gd name="connsiteX140" fmla="*/ 9507 w 10000"/>
                <a:gd name="connsiteY140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4982 w 10000"/>
                <a:gd name="connsiteY50" fmla="*/ 1739 h 10001"/>
                <a:gd name="connsiteX51" fmla="*/ 4824 w 10000"/>
                <a:gd name="connsiteY51" fmla="*/ 1739 h 10001"/>
                <a:gd name="connsiteX52" fmla="*/ 4507 w 10000"/>
                <a:gd name="connsiteY52" fmla="*/ 1942 h 10001"/>
                <a:gd name="connsiteX53" fmla="*/ 4296 w 10000"/>
                <a:gd name="connsiteY53" fmla="*/ 1942 h 10001"/>
                <a:gd name="connsiteX54" fmla="*/ 4225 w 10000"/>
                <a:gd name="connsiteY54" fmla="*/ 1852 h 10001"/>
                <a:gd name="connsiteX55" fmla="*/ 3785 w 10000"/>
                <a:gd name="connsiteY55" fmla="*/ 1852 h 10001"/>
                <a:gd name="connsiteX56" fmla="*/ 3644 w 10000"/>
                <a:gd name="connsiteY56" fmla="*/ 1762 h 10001"/>
                <a:gd name="connsiteX57" fmla="*/ 3380 w 10000"/>
                <a:gd name="connsiteY57" fmla="*/ 1829 h 10001"/>
                <a:gd name="connsiteX58" fmla="*/ 3169 w 10000"/>
                <a:gd name="connsiteY58" fmla="*/ 1920 h 10001"/>
                <a:gd name="connsiteX59" fmla="*/ 2975 w 10000"/>
                <a:gd name="connsiteY59" fmla="*/ 1852 h 10001"/>
                <a:gd name="connsiteX60" fmla="*/ 2271 w 10000"/>
                <a:gd name="connsiteY60" fmla="*/ 1852 h 10001"/>
                <a:gd name="connsiteX61" fmla="*/ 2042 w 10000"/>
                <a:gd name="connsiteY61" fmla="*/ 1965 h 10001"/>
                <a:gd name="connsiteX62" fmla="*/ 1796 w 10000"/>
                <a:gd name="connsiteY62" fmla="*/ 1965 h 10001"/>
                <a:gd name="connsiteX63" fmla="*/ 1585 w 10000"/>
                <a:gd name="connsiteY63" fmla="*/ 2010 h 10001"/>
                <a:gd name="connsiteX64" fmla="*/ 1479 w 10000"/>
                <a:gd name="connsiteY64" fmla="*/ 1965 h 10001"/>
                <a:gd name="connsiteX65" fmla="*/ 1285 w 10000"/>
                <a:gd name="connsiteY65" fmla="*/ 2033 h 10001"/>
                <a:gd name="connsiteX66" fmla="*/ 1180 w 10000"/>
                <a:gd name="connsiteY66" fmla="*/ 2145 h 10001"/>
                <a:gd name="connsiteX67" fmla="*/ 933 w 10000"/>
                <a:gd name="connsiteY67" fmla="*/ 2326 h 10001"/>
                <a:gd name="connsiteX68" fmla="*/ 739 w 10000"/>
                <a:gd name="connsiteY68" fmla="*/ 2349 h 10001"/>
                <a:gd name="connsiteX69" fmla="*/ 669 w 10000"/>
                <a:gd name="connsiteY69" fmla="*/ 2958 h 10001"/>
                <a:gd name="connsiteX70" fmla="*/ 493 w 10000"/>
                <a:gd name="connsiteY70" fmla="*/ 3274 h 10001"/>
                <a:gd name="connsiteX71" fmla="*/ 264 w 10000"/>
                <a:gd name="connsiteY71" fmla="*/ 3229 h 10001"/>
                <a:gd name="connsiteX72" fmla="*/ 88 w 10000"/>
                <a:gd name="connsiteY72" fmla="*/ 3342 h 10001"/>
                <a:gd name="connsiteX73" fmla="*/ 88 w 10000"/>
                <a:gd name="connsiteY73" fmla="*/ 3522 h 10001"/>
                <a:gd name="connsiteX74" fmla="*/ 194 w 10000"/>
                <a:gd name="connsiteY74" fmla="*/ 3884 h 10001"/>
                <a:gd name="connsiteX75" fmla="*/ 123 w 10000"/>
                <a:gd name="connsiteY75" fmla="*/ 4154 h 10001"/>
                <a:gd name="connsiteX76" fmla="*/ 0 w 10000"/>
                <a:gd name="connsiteY76" fmla="*/ 4425 h 10001"/>
                <a:gd name="connsiteX77" fmla="*/ 18 w 10000"/>
                <a:gd name="connsiteY77" fmla="*/ 4832 h 10001"/>
                <a:gd name="connsiteX78" fmla="*/ 53 w 10000"/>
                <a:gd name="connsiteY78" fmla="*/ 5464 h 10001"/>
                <a:gd name="connsiteX79" fmla="*/ 88 w 10000"/>
                <a:gd name="connsiteY79" fmla="*/ 5464 h 10001"/>
                <a:gd name="connsiteX80" fmla="*/ 158 w 10000"/>
                <a:gd name="connsiteY80" fmla="*/ 5644 h 10001"/>
                <a:gd name="connsiteX81" fmla="*/ 581 w 10000"/>
                <a:gd name="connsiteY81" fmla="*/ 6096 h 10001"/>
                <a:gd name="connsiteX82" fmla="*/ 581 w 10000"/>
                <a:gd name="connsiteY82" fmla="*/ 6118 h 10001"/>
                <a:gd name="connsiteX83" fmla="*/ 581 w 10000"/>
                <a:gd name="connsiteY83" fmla="*/ 6118 h 10001"/>
                <a:gd name="connsiteX84" fmla="*/ 651 w 10000"/>
                <a:gd name="connsiteY84" fmla="*/ 6547 h 10001"/>
                <a:gd name="connsiteX85" fmla="*/ 1532 w 10000"/>
                <a:gd name="connsiteY85" fmla="*/ 7112 h 10001"/>
                <a:gd name="connsiteX86" fmla="*/ 1549 w 10000"/>
                <a:gd name="connsiteY86" fmla="*/ 7112 h 10001"/>
                <a:gd name="connsiteX87" fmla="*/ 1549 w 10000"/>
                <a:gd name="connsiteY87" fmla="*/ 7134 h 10001"/>
                <a:gd name="connsiteX88" fmla="*/ 1725 w 10000"/>
                <a:gd name="connsiteY88" fmla="*/ 8173 h 10001"/>
                <a:gd name="connsiteX89" fmla="*/ 2077 w 10000"/>
                <a:gd name="connsiteY89" fmla="*/ 9053 h 10001"/>
                <a:gd name="connsiteX90" fmla="*/ 2201 w 10000"/>
                <a:gd name="connsiteY90" fmla="*/ 9324 h 10001"/>
                <a:gd name="connsiteX91" fmla="*/ 2201 w 10000"/>
                <a:gd name="connsiteY91" fmla="*/ 9324 h 10001"/>
                <a:gd name="connsiteX92" fmla="*/ 2201 w 10000"/>
                <a:gd name="connsiteY92" fmla="*/ 9346 h 10001"/>
                <a:gd name="connsiteX93" fmla="*/ 2183 w 10000"/>
                <a:gd name="connsiteY93" fmla="*/ 9933 h 10001"/>
                <a:gd name="connsiteX94" fmla="*/ 2324 w 10000"/>
                <a:gd name="connsiteY94" fmla="*/ 9933 h 10001"/>
                <a:gd name="connsiteX95" fmla="*/ 2430 w 10000"/>
                <a:gd name="connsiteY95" fmla="*/ 9662 h 10001"/>
                <a:gd name="connsiteX96" fmla="*/ 3363 w 10000"/>
                <a:gd name="connsiteY96" fmla="*/ 9662 h 10001"/>
                <a:gd name="connsiteX97" fmla="*/ 3644 w 10000"/>
                <a:gd name="connsiteY97" fmla="*/ 9437 h 10001"/>
                <a:gd name="connsiteX98" fmla="*/ 3961 w 10000"/>
                <a:gd name="connsiteY98" fmla="*/ 9346 h 10001"/>
                <a:gd name="connsiteX99" fmla="*/ 4278 w 10000"/>
                <a:gd name="connsiteY99" fmla="*/ 9504 h 10001"/>
                <a:gd name="connsiteX100" fmla="*/ 4489 w 10000"/>
                <a:gd name="connsiteY100" fmla="*/ 9437 h 10001"/>
                <a:gd name="connsiteX101" fmla="*/ 5440 w 10000"/>
                <a:gd name="connsiteY101" fmla="*/ 9369 h 10001"/>
                <a:gd name="connsiteX102" fmla="*/ 5792 w 10000"/>
                <a:gd name="connsiteY102" fmla="*/ 9211 h 10001"/>
                <a:gd name="connsiteX103" fmla="*/ 5951 w 10000"/>
                <a:gd name="connsiteY103" fmla="*/ 9369 h 10001"/>
                <a:gd name="connsiteX104" fmla="*/ 6602 w 10000"/>
                <a:gd name="connsiteY104" fmla="*/ 9324 h 10001"/>
                <a:gd name="connsiteX105" fmla="*/ 6743 w 10000"/>
                <a:gd name="connsiteY105" fmla="*/ 9572 h 10001"/>
                <a:gd name="connsiteX106" fmla="*/ 6919 w 10000"/>
                <a:gd name="connsiteY106" fmla="*/ 9775 h 10001"/>
                <a:gd name="connsiteX107" fmla="*/ 7482 w 10000"/>
                <a:gd name="connsiteY107" fmla="*/ 9730 h 10001"/>
                <a:gd name="connsiteX108" fmla="*/ 7658 w 10000"/>
                <a:gd name="connsiteY108" fmla="*/ 9866 h 10001"/>
                <a:gd name="connsiteX109" fmla="*/ 7764 w 10000"/>
                <a:gd name="connsiteY109" fmla="*/ 9911 h 10001"/>
                <a:gd name="connsiteX110" fmla="*/ 7835 w 10000"/>
                <a:gd name="connsiteY110" fmla="*/ 9978 h 10001"/>
                <a:gd name="connsiteX111" fmla="*/ 7940 w 10000"/>
                <a:gd name="connsiteY111" fmla="*/ 10001 h 10001"/>
                <a:gd name="connsiteX112" fmla="*/ 8116 w 10000"/>
                <a:gd name="connsiteY112" fmla="*/ 9933 h 10001"/>
                <a:gd name="connsiteX113" fmla="*/ 8063 w 10000"/>
                <a:gd name="connsiteY113" fmla="*/ 9617 h 10001"/>
                <a:gd name="connsiteX114" fmla="*/ 7887 w 10000"/>
                <a:gd name="connsiteY114" fmla="*/ 9392 h 10001"/>
                <a:gd name="connsiteX115" fmla="*/ 7887 w 10000"/>
                <a:gd name="connsiteY115" fmla="*/ 9008 h 10001"/>
                <a:gd name="connsiteX116" fmla="*/ 8063 w 10000"/>
                <a:gd name="connsiteY116" fmla="*/ 8872 h 10001"/>
                <a:gd name="connsiteX117" fmla="*/ 8275 w 10000"/>
                <a:gd name="connsiteY117" fmla="*/ 8692 h 10001"/>
                <a:gd name="connsiteX118" fmla="*/ 8151 w 10000"/>
                <a:gd name="connsiteY118" fmla="*/ 8601 h 10001"/>
                <a:gd name="connsiteX119" fmla="*/ 8063 w 10000"/>
                <a:gd name="connsiteY119" fmla="*/ 8466 h 10001"/>
                <a:gd name="connsiteX120" fmla="*/ 8204 w 10000"/>
                <a:gd name="connsiteY120" fmla="*/ 8240 h 10001"/>
                <a:gd name="connsiteX121" fmla="*/ 8521 w 10000"/>
                <a:gd name="connsiteY121" fmla="*/ 8240 h 10001"/>
                <a:gd name="connsiteX122" fmla="*/ 8521 w 10000"/>
                <a:gd name="connsiteY122" fmla="*/ 7947 h 10001"/>
                <a:gd name="connsiteX123" fmla="*/ 8310 w 10000"/>
                <a:gd name="connsiteY123" fmla="*/ 7834 h 10001"/>
                <a:gd name="connsiteX124" fmla="*/ 8398 w 10000"/>
                <a:gd name="connsiteY124" fmla="*/ 7495 h 10001"/>
                <a:gd name="connsiteX125" fmla="*/ 7676 w 10000"/>
                <a:gd name="connsiteY125" fmla="*/ 6164 h 10001"/>
                <a:gd name="connsiteX126" fmla="*/ 7518 w 10000"/>
                <a:gd name="connsiteY126" fmla="*/ 5441 h 10001"/>
                <a:gd name="connsiteX127" fmla="*/ 7676 w 10000"/>
                <a:gd name="connsiteY127" fmla="*/ 4764 h 10001"/>
                <a:gd name="connsiteX128" fmla="*/ 7007 w 10000"/>
                <a:gd name="connsiteY128" fmla="*/ 4854 h 10001"/>
                <a:gd name="connsiteX129" fmla="*/ 6972 w 10000"/>
                <a:gd name="connsiteY129" fmla="*/ 4809 h 10001"/>
                <a:gd name="connsiteX130" fmla="*/ 6954 w 10000"/>
                <a:gd name="connsiteY130" fmla="*/ 4629 h 10001"/>
                <a:gd name="connsiteX131" fmla="*/ 7095 w 10000"/>
                <a:gd name="connsiteY131" fmla="*/ 4267 h 10001"/>
                <a:gd name="connsiteX132" fmla="*/ 8468 w 10000"/>
                <a:gd name="connsiteY132" fmla="*/ 3342 h 10001"/>
                <a:gd name="connsiteX133" fmla="*/ 8908 w 10000"/>
                <a:gd name="connsiteY133" fmla="*/ 3161 h 10001"/>
                <a:gd name="connsiteX134" fmla="*/ 9102 w 10000"/>
                <a:gd name="connsiteY134" fmla="*/ 3432 h 10001"/>
                <a:gd name="connsiteX135" fmla="*/ 9313 w 10000"/>
                <a:gd name="connsiteY135" fmla="*/ 3432 h 10001"/>
                <a:gd name="connsiteX136" fmla="*/ 9560 w 10000"/>
                <a:gd name="connsiteY136" fmla="*/ 3206 h 10001"/>
                <a:gd name="connsiteX137" fmla="*/ 9965 w 10000"/>
                <a:gd name="connsiteY137" fmla="*/ 3455 h 10001"/>
                <a:gd name="connsiteX138" fmla="*/ 10000 w 10000"/>
                <a:gd name="connsiteY138" fmla="*/ 2732 h 10001"/>
                <a:gd name="connsiteX139" fmla="*/ 9507 w 10000"/>
                <a:gd name="connsiteY139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4982 w 10000"/>
                <a:gd name="connsiteY50" fmla="*/ 1739 h 10001"/>
                <a:gd name="connsiteX51" fmla="*/ 4507 w 10000"/>
                <a:gd name="connsiteY51" fmla="*/ 1942 h 10001"/>
                <a:gd name="connsiteX52" fmla="*/ 4296 w 10000"/>
                <a:gd name="connsiteY52" fmla="*/ 1942 h 10001"/>
                <a:gd name="connsiteX53" fmla="*/ 4225 w 10000"/>
                <a:gd name="connsiteY53" fmla="*/ 1852 h 10001"/>
                <a:gd name="connsiteX54" fmla="*/ 3785 w 10000"/>
                <a:gd name="connsiteY54" fmla="*/ 1852 h 10001"/>
                <a:gd name="connsiteX55" fmla="*/ 3644 w 10000"/>
                <a:gd name="connsiteY55" fmla="*/ 1762 h 10001"/>
                <a:gd name="connsiteX56" fmla="*/ 3380 w 10000"/>
                <a:gd name="connsiteY56" fmla="*/ 1829 h 10001"/>
                <a:gd name="connsiteX57" fmla="*/ 3169 w 10000"/>
                <a:gd name="connsiteY57" fmla="*/ 1920 h 10001"/>
                <a:gd name="connsiteX58" fmla="*/ 2975 w 10000"/>
                <a:gd name="connsiteY58" fmla="*/ 1852 h 10001"/>
                <a:gd name="connsiteX59" fmla="*/ 2271 w 10000"/>
                <a:gd name="connsiteY59" fmla="*/ 1852 h 10001"/>
                <a:gd name="connsiteX60" fmla="*/ 2042 w 10000"/>
                <a:gd name="connsiteY60" fmla="*/ 1965 h 10001"/>
                <a:gd name="connsiteX61" fmla="*/ 1796 w 10000"/>
                <a:gd name="connsiteY61" fmla="*/ 1965 h 10001"/>
                <a:gd name="connsiteX62" fmla="*/ 1585 w 10000"/>
                <a:gd name="connsiteY62" fmla="*/ 2010 h 10001"/>
                <a:gd name="connsiteX63" fmla="*/ 1479 w 10000"/>
                <a:gd name="connsiteY63" fmla="*/ 1965 h 10001"/>
                <a:gd name="connsiteX64" fmla="*/ 1285 w 10000"/>
                <a:gd name="connsiteY64" fmla="*/ 2033 h 10001"/>
                <a:gd name="connsiteX65" fmla="*/ 1180 w 10000"/>
                <a:gd name="connsiteY65" fmla="*/ 2145 h 10001"/>
                <a:gd name="connsiteX66" fmla="*/ 933 w 10000"/>
                <a:gd name="connsiteY66" fmla="*/ 2326 h 10001"/>
                <a:gd name="connsiteX67" fmla="*/ 739 w 10000"/>
                <a:gd name="connsiteY67" fmla="*/ 2349 h 10001"/>
                <a:gd name="connsiteX68" fmla="*/ 669 w 10000"/>
                <a:gd name="connsiteY68" fmla="*/ 2958 h 10001"/>
                <a:gd name="connsiteX69" fmla="*/ 493 w 10000"/>
                <a:gd name="connsiteY69" fmla="*/ 3274 h 10001"/>
                <a:gd name="connsiteX70" fmla="*/ 264 w 10000"/>
                <a:gd name="connsiteY70" fmla="*/ 3229 h 10001"/>
                <a:gd name="connsiteX71" fmla="*/ 88 w 10000"/>
                <a:gd name="connsiteY71" fmla="*/ 3342 h 10001"/>
                <a:gd name="connsiteX72" fmla="*/ 88 w 10000"/>
                <a:gd name="connsiteY72" fmla="*/ 3522 h 10001"/>
                <a:gd name="connsiteX73" fmla="*/ 194 w 10000"/>
                <a:gd name="connsiteY73" fmla="*/ 3884 h 10001"/>
                <a:gd name="connsiteX74" fmla="*/ 123 w 10000"/>
                <a:gd name="connsiteY74" fmla="*/ 4154 h 10001"/>
                <a:gd name="connsiteX75" fmla="*/ 0 w 10000"/>
                <a:gd name="connsiteY75" fmla="*/ 4425 h 10001"/>
                <a:gd name="connsiteX76" fmla="*/ 18 w 10000"/>
                <a:gd name="connsiteY76" fmla="*/ 4832 h 10001"/>
                <a:gd name="connsiteX77" fmla="*/ 53 w 10000"/>
                <a:gd name="connsiteY77" fmla="*/ 5464 h 10001"/>
                <a:gd name="connsiteX78" fmla="*/ 88 w 10000"/>
                <a:gd name="connsiteY78" fmla="*/ 5464 h 10001"/>
                <a:gd name="connsiteX79" fmla="*/ 158 w 10000"/>
                <a:gd name="connsiteY79" fmla="*/ 5644 h 10001"/>
                <a:gd name="connsiteX80" fmla="*/ 581 w 10000"/>
                <a:gd name="connsiteY80" fmla="*/ 6096 h 10001"/>
                <a:gd name="connsiteX81" fmla="*/ 581 w 10000"/>
                <a:gd name="connsiteY81" fmla="*/ 6118 h 10001"/>
                <a:gd name="connsiteX82" fmla="*/ 581 w 10000"/>
                <a:gd name="connsiteY82" fmla="*/ 6118 h 10001"/>
                <a:gd name="connsiteX83" fmla="*/ 651 w 10000"/>
                <a:gd name="connsiteY83" fmla="*/ 6547 h 10001"/>
                <a:gd name="connsiteX84" fmla="*/ 1532 w 10000"/>
                <a:gd name="connsiteY84" fmla="*/ 7112 h 10001"/>
                <a:gd name="connsiteX85" fmla="*/ 1549 w 10000"/>
                <a:gd name="connsiteY85" fmla="*/ 7112 h 10001"/>
                <a:gd name="connsiteX86" fmla="*/ 1549 w 10000"/>
                <a:gd name="connsiteY86" fmla="*/ 7134 h 10001"/>
                <a:gd name="connsiteX87" fmla="*/ 1725 w 10000"/>
                <a:gd name="connsiteY87" fmla="*/ 8173 h 10001"/>
                <a:gd name="connsiteX88" fmla="*/ 2077 w 10000"/>
                <a:gd name="connsiteY88" fmla="*/ 9053 h 10001"/>
                <a:gd name="connsiteX89" fmla="*/ 2201 w 10000"/>
                <a:gd name="connsiteY89" fmla="*/ 9324 h 10001"/>
                <a:gd name="connsiteX90" fmla="*/ 2201 w 10000"/>
                <a:gd name="connsiteY90" fmla="*/ 9324 h 10001"/>
                <a:gd name="connsiteX91" fmla="*/ 2201 w 10000"/>
                <a:gd name="connsiteY91" fmla="*/ 9346 h 10001"/>
                <a:gd name="connsiteX92" fmla="*/ 2183 w 10000"/>
                <a:gd name="connsiteY92" fmla="*/ 9933 h 10001"/>
                <a:gd name="connsiteX93" fmla="*/ 2324 w 10000"/>
                <a:gd name="connsiteY93" fmla="*/ 9933 h 10001"/>
                <a:gd name="connsiteX94" fmla="*/ 2430 w 10000"/>
                <a:gd name="connsiteY94" fmla="*/ 9662 h 10001"/>
                <a:gd name="connsiteX95" fmla="*/ 3363 w 10000"/>
                <a:gd name="connsiteY95" fmla="*/ 9662 h 10001"/>
                <a:gd name="connsiteX96" fmla="*/ 3644 w 10000"/>
                <a:gd name="connsiteY96" fmla="*/ 9437 h 10001"/>
                <a:gd name="connsiteX97" fmla="*/ 3961 w 10000"/>
                <a:gd name="connsiteY97" fmla="*/ 9346 h 10001"/>
                <a:gd name="connsiteX98" fmla="*/ 4278 w 10000"/>
                <a:gd name="connsiteY98" fmla="*/ 9504 h 10001"/>
                <a:gd name="connsiteX99" fmla="*/ 4489 w 10000"/>
                <a:gd name="connsiteY99" fmla="*/ 9437 h 10001"/>
                <a:gd name="connsiteX100" fmla="*/ 5440 w 10000"/>
                <a:gd name="connsiteY100" fmla="*/ 9369 h 10001"/>
                <a:gd name="connsiteX101" fmla="*/ 5792 w 10000"/>
                <a:gd name="connsiteY101" fmla="*/ 9211 h 10001"/>
                <a:gd name="connsiteX102" fmla="*/ 5951 w 10000"/>
                <a:gd name="connsiteY102" fmla="*/ 9369 h 10001"/>
                <a:gd name="connsiteX103" fmla="*/ 6602 w 10000"/>
                <a:gd name="connsiteY103" fmla="*/ 9324 h 10001"/>
                <a:gd name="connsiteX104" fmla="*/ 6743 w 10000"/>
                <a:gd name="connsiteY104" fmla="*/ 9572 h 10001"/>
                <a:gd name="connsiteX105" fmla="*/ 6919 w 10000"/>
                <a:gd name="connsiteY105" fmla="*/ 9775 h 10001"/>
                <a:gd name="connsiteX106" fmla="*/ 7482 w 10000"/>
                <a:gd name="connsiteY106" fmla="*/ 9730 h 10001"/>
                <a:gd name="connsiteX107" fmla="*/ 7658 w 10000"/>
                <a:gd name="connsiteY107" fmla="*/ 9866 h 10001"/>
                <a:gd name="connsiteX108" fmla="*/ 7764 w 10000"/>
                <a:gd name="connsiteY108" fmla="*/ 9911 h 10001"/>
                <a:gd name="connsiteX109" fmla="*/ 7835 w 10000"/>
                <a:gd name="connsiteY109" fmla="*/ 9978 h 10001"/>
                <a:gd name="connsiteX110" fmla="*/ 7940 w 10000"/>
                <a:gd name="connsiteY110" fmla="*/ 10001 h 10001"/>
                <a:gd name="connsiteX111" fmla="*/ 8116 w 10000"/>
                <a:gd name="connsiteY111" fmla="*/ 9933 h 10001"/>
                <a:gd name="connsiteX112" fmla="*/ 8063 w 10000"/>
                <a:gd name="connsiteY112" fmla="*/ 9617 h 10001"/>
                <a:gd name="connsiteX113" fmla="*/ 7887 w 10000"/>
                <a:gd name="connsiteY113" fmla="*/ 9392 h 10001"/>
                <a:gd name="connsiteX114" fmla="*/ 7887 w 10000"/>
                <a:gd name="connsiteY114" fmla="*/ 9008 h 10001"/>
                <a:gd name="connsiteX115" fmla="*/ 8063 w 10000"/>
                <a:gd name="connsiteY115" fmla="*/ 8872 h 10001"/>
                <a:gd name="connsiteX116" fmla="*/ 8275 w 10000"/>
                <a:gd name="connsiteY116" fmla="*/ 8692 h 10001"/>
                <a:gd name="connsiteX117" fmla="*/ 8151 w 10000"/>
                <a:gd name="connsiteY117" fmla="*/ 8601 h 10001"/>
                <a:gd name="connsiteX118" fmla="*/ 8063 w 10000"/>
                <a:gd name="connsiteY118" fmla="*/ 8466 h 10001"/>
                <a:gd name="connsiteX119" fmla="*/ 8204 w 10000"/>
                <a:gd name="connsiteY119" fmla="*/ 8240 h 10001"/>
                <a:gd name="connsiteX120" fmla="*/ 8521 w 10000"/>
                <a:gd name="connsiteY120" fmla="*/ 8240 h 10001"/>
                <a:gd name="connsiteX121" fmla="*/ 8521 w 10000"/>
                <a:gd name="connsiteY121" fmla="*/ 7947 h 10001"/>
                <a:gd name="connsiteX122" fmla="*/ 8310 w 10000"/>
                <a:gd name="connsiteY122" fmla="*/ 7834 h 10001"/>
                <a:gd name="connsiteX123" fmla="*/ 8398 w 10000"/>
                <a:gd name="connsiteY123" fmla="*/ 7495 h 10001"/>
                <a:gd name="connsiteX124" fmla="*/ 7676 w 10000"/>
                <a:gd name="connsiteY124" fmla="*/ 6164 h 10001"/>
                <a:gd name="connsiteX125" fmla="*/ 7518 w 10000"/>
                <a:gd name="connsiteY125" fmla="*/ 5441 h 10001"/>
                <a:gd name="connsiteX126" fmla="*/ 7676 w 10000"/>
                <a:gd name="connsiteY126" fmla="*/ 4764 h 10001"/>
                <a:gd name="connsiteX127" fmla="*/ 7007 w 10000"/>
                <a:gd name="connsiteY127" fmla="*/ 4854 h 10001"/>
                <a:gd name="connsiteX128" fmla="*/ 6972 w 10000"/>
                <a:gd name="connsiteY128" fmla="*/ 4809 h 10001"/>
                <a:gd name="connsiteX129" fmla="*/ 6954 w 10000"/>
                <a:gd name="connsiteY129" fmla="*/ 4629 h 10001"/>
                <a:gd name="connsiteX130" fmla="*/ 7095 w 10000"/>
                <a:gd name="connsiteY130" fmla="*/ 4267 h 10001"/>
                <a:gd name="connsiteX131" fmla="*/ 8468 w 10000"/>
                <a:gd name="connsiteY131" fmla="*/ 3342 h 10001"/>
                <a:gd name="connsiteX132" fmla="*/ 8908 w 10000"/>
                <a:gd name="connsiteY132" fmla="*/ 3161 h 10001"/>
                <a:gd name="connsiteX133" fmla="*/ 9102 w 10000"/>
                <a:gd name="connsiteY133" fmla="*/ 3432 h 10001"/>
                <a:gd name="connsiteX134" fmla="*/ 9313 w 10000"/>
                <a:gd name="connsiteY134" fmla="*/ 3432 h 10001"/>
                <a:gd name="connsiteX135" fmla="*/ 9560 w 10000"/>
                <a:gd name="connsiteY135" fmla="*/ 3206 h 10001"/>
                <a:gd name="connsiteX136" fmla="*/ 9965 w 10000"/>
                <a:gd name="connsiteY136" fmla="*/ 3455 h 10001"/>
                <a:gd name="connsiteX137" fmla="*/ 10000 w 10000"/>
                <a:gd name="connsiteY137" fmla="*/ 2732 h 10001"/>
                <a:gd name="connsiteX138" fmla="*/ 9507 w 10000"/>
                <a:gd name="connsiteY138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4507 w 10000"/>
                <a:gd name="connsiteY50" fmla="*/ 1942 h 10001"/>
                <a:gd name="connsiteX51" fmla="*/ 4296 w 10000"/>
                <a:gd name="connsiteY51" fmla="*/ 1942 h 10001"/>
                <a:gd name="connsiteX52" fmla="*/ 4225 w 10000"/>
                <a:gd name="connsiteY52" fmla="*/ 1852 h 10001"/>
                <a:gd name="connsiteX53" fmla="*/ 3785 w 10000"/>
                <a:gd name="connsiteY53" fmla="*/ 1852 h 10001"/>
                <a:gd name="connsiteX54" fmla="*/ 3644 w 10000"/>
                <a:gd name="connsiteY54" fmla="*/ 1762 h 10001"/>
                <a:gd name="connsiteX55" fmla="*/ 3380 w 10000"/>
                <a:gd name="connsiteY55" fmla="*/ 1829 h 10001"/>
                <a:gd name="connsiteX56" fmla="*/ 3169 w 10000"/>
                <a:gd name="connsiteY56" fmla="*/ 1920 h 10001"/>
                <a:gd name="connsiteX57" fmla="*/ 2975 w 10000"/>
                <a:gd name="connsiteY57" fmla="*/ 1852 h 10001"/>
                <a:gd name="connsiteX58" fmla="*/ 2271 w 10000"/>
                <a:gd name="connsiteY58" fmla="*/ 1852 h 10001"/>
                <a:gd name="connsiteX59" fmla="*/ 2042 w 10000"/>
                <a:gd name="connsiteY59" fmla="*/ 1965 h 10001"/>
                <a:gd name="connsiteX60" fmla="*/ 1796 w 10000"/>
                <a:gd name="connsiteY60" fmla="*/ 1965 h 10001"/>
                <a:gd name="connsiteX61" fmla="*/ 1585 w 10000"/>
                <a:gd name="connsiteY61" fmla="*/ 2010 h 10001"/>
                <a:gd name="connsiteX62" fmla="*/ 1479 w 10000"/>
                <a:gd name="connsiteY62" fmla="*/ 1965 h 10001"/>
                <a:gd name="connsiteX63" fmla="*/ 1285 w 10000"/>
                <a:gd name="connsiteY63" fmla="*/ 2033 h 10001"/>
                <a:gd name="connsiteX64" fmla="*/ 1180 w 10000"/>
                <a:gd name="connsiteY64" fmla="*/ 2145 h 10001"/>
                <a:gd name="connsiteX65" fmla="*/ 933 w 10000"/>
                <a:gd name="connsiteY65" fmla="*/ 2326 h 10001"/>
                <a:gd name="connsiteX66" fmla="*/ 739 w 10000"/>
                <a:gd name="connsiteY66" fmla="*/ 2349 h 10001"/>
                <a:gd name="connsiteX67" fmla="*/ 669 w 10000"/>
                <a:gd name="connsiteY67" fmla="*/ 2958 h 10001"/>
                <a:gd name="connsiteX68" fmla="*/ 493 w 10000"/>
                <a:gd name="connsiteY68" fmla="*/ 3274 h 10001"/>
                <a:gd name="connsiteX69" fmla="*/ 264 w 10000"/>
                <a:gd name="connsiteY69" fmla="*/ 3229 h 10001"/>
                <a:gd name="connsiteX70" fmla="*/ 88 w 10000"/>
                <a:gd name="connsiteY70" fmla="*/ 3342 h 10001"/>
                <a:gd name="connsiteX71" fmla="*/ 88 w 10000"/>
                <a:gd name="connsiteY71" fmla="*/ 3522 h 10001"/>
                <a:gd name="connsiteX72" fmla="*/ 194 w 10000"/>
                <a:gd name="connsiteY72" fmla="*/ 3884 h 10001"/>
                <a:gd name="connsiteX73" fmla="*/ 123 w 10000"/>
                <a:gd name="connsiteY73" fmla="*/ 4154 h 10001"/>
                <a:gd name="connsiteX74" fmla="*/ 0 w 10000"/>
                <a:gd name="connsiteY74" fmla="*/ 4425 h 10001"/>
                <a:gd name="connsiteX75" fmla="*/ 18 w 10000"/>
                <a:gd name="connsiteY75" fmla="*/ 4832 h 10001"/>
                <a:gd name="connsiteX76" fmla="*/ 53 w 10000"/>
                <a:gd name="connsiteY76" fmla="*/ 5464 h 10001"/>
                <a:gd name="connsiteX77" fmla="*/ 88 w 10000"/>
                <a:gd name="connsiteY77" fmla="*/ 5464 h 10001"/>
                <a:gd name="connsiteX78" fmla="*/ 158 w 10000"/>
                <a:gd name="connsiteY78" fmla="*/ 5644 h 10001"/>
                <a:gd name="connsiteX79" fmla="*/ 581 w 10000"/>
                <a:gd name="connsiteY79" fmla="*/ 6096 h 10001"/>
                <a:gd name="connsiteX80" fmla="*/ 581 w 10000"/>
                <a:gd name="connsiteY80" fmla="*/ 6118 h 10001"/>
                <a:gd name="connsiteX81" fmla="*/ 581 w 10000"/>
                <a:gd name="connsiteY81" fmla="*/ 6118 h 10001"/>
                <a:gd name="connsiteX82" fmla="*/ 651 w 10000"/>
                <a:gd name="connsiteY82" fmla="*/ 6547 h 10001"/>
                <a:gd name="connsiteX83" fmla="*/ 1532 w 10000"/>
                <a:gd name="connsiteY83" fmla="*/ 7112 h 10001"/>
                <a:gd name="connsiteX84" fmla="*/ 1549 w 10000"/>
                <a:gd name="connsiteY84" fmla="*/ 7112 h 10001"/>
                <a:gd name="connsiteX85" fmla="*/ 1549 w 10000"/>
                <a:gd name="connsiteY85" fmla="*/ 7134 h 10001"/>
                <a:gd name="connsiteX86" fmla="*/ 1725 w 10000"/>
                <a:gd name="connsiteY86" fmla="*/ 8173 h 10001"/>
                <a:gd name="connsiteX87" fmla="*/ 2077 w 10000"/>
                <a:gd name="connsiteY87" fmla="*/ 9053 h 10001"/>
                <a:gd name="connsiteX88" fmla="*/ 2201 w 10000"/>
                <a:gd name="connsiteY88" fmla="*/ 9324 h 10001"/>
                <a:gd name="connsiteX89" fmla="*/ 2201 w 10000"/>
                <a:gd name="connsiteY89" fmla="*/ 9324 h 10001"/>
                <a:gd name="connsiteX90" fmla="*/ 2201 w 10000"/>
                <a:gd name="connsiteY90" fmla="*/ 9346 h 10001"/>
                <a:gd name="connsiteX91" fmla="*/ 2183 w 10000"/>
                <a:gd name="connsiteY91" fmla="*/ 9933 h 10001"/>
                <a:gd name="connsiteX92" fmla="*/ 2324 w 10000"/>
                <a:gd name="connsiteY92" fmla="*/ 9933 h 10001"/>
                <a:gd name="connsiteX93" fmla="*/ 2430 w 10000"/>
                <a:gd name="connsiteY93" fmla="*/ 9662 h 10001"/>
                <a:gd name="connsiteX94" fmla="*/ 3363 w 10000"/>
                <a:gd name="connsiteY94" fmla="*/ 9662 h 10001"/>
                <a:gd name="connsiteX95" fmla="*/ 3644 w 10000"/>
                <a:gd name="connsiteY95" fmla="*/ 9437 h 10001"/>
                <a:gd name="connsiteX96" fmla="*/ 3961 w 10000"/>
                <a:gd name="connsiteY96" fmla="*/ 9346 h 10001"/>
                <a:gd name="connsiteX97" fmla="*/ 4278 w 10000"/>
                <a:gd name="connsiteY97" fmla="*/ 9504 h 10001"/>
                <a:gd name="connsiteX98" fmla="*/ 4489 w 10000"/>
                <a:gd name="connsiteY98" fmla="*/ 9437 h 10001"/>
                <a:gd name="connsiteX99" fmla="*/ 5440 w 10000"/>
                <a:gd name="connsiteY99" fmla="*/ 9369 h 10001"/>
                <a:gd name="connsiteX100" fmla="*/ 5792 w 10000"/>
                <a:gd name="connsiteY100" fmla="*/ 9211 h 10001"/>
                <a:gd name="connsiteX101" fmla="*/ 5951 w 10000"/>
                <a:gd name="connsiteY101" fmla="*/ 9369 h 10001"/>
                <a:gd name="connsiteX102" fmla="*/ 6602 w 10000"/>
                <a:gd name="connsiteY102" fmla="*/ 9324 h 10001"/>
                <a:gd name="connsiteX103" fmla="*/ 6743 w 10000"/>
                <a:gd name="connsiteY103" fmla="*/ 9572 h 10001"/>
                <a:gd name="connsiteX104" fmla="*/ 6919 w 10000"/>
                <a:gd name="connsiteY104" fmla="*/ 9775 h 10001"/>
                <a:gd name="connsiteX105" fmla="*/ 7482 w 10000"/>
                <a:gd name="connsiteY105" fmla="*/ 9730 h 10001"/>
                <a:gd name="connsiteX106" fmla="*/ 7658 w 10000"/>
                <a:gd name="connsiteY106" fmla="*/ 9866 h 10001"/>
                <a:gd name="connsiteX107" fmla="*/ 7764 w 10000"/>
                <a:gd name="connsiteY107" fmla="*/ 9911 h 10001"/>
                <a:gd name="connsiteX108" fmla="*/ 7835 w 10000"/>
                <a:gd name="connsiteY108" fmla="*/ 9978 h 10001"/>
                <a:gd name="connsiteX109" fmla="*/ 7940 w 10000"/>
                <a:gd name="connsiteY109" fmla="*/ 10001 h 10001"/>
                <a:gd name="connsiteX110" fmla="*/ 8116 w 10000"/>
                <a:gd name="connsiteY110" fmla="*/ 9933 h 10001"/>
                <a:gd name="connsiteX111" fmla="*/ 8063 w 10000"/>
                <a:gd name="connsiteY111" fmla="*/ 9617 h 10001"/>
                <a:gd name="connsiteX112" fmla="*/ 7887 w 10000"/>
                <a:gd name="connsiteY112" fmla="*/ 9392 h 10001"/>
                <a:gd name="connsiteX113" fmla="*/ 7887 w 10000"/>
                <a:gd name="connsiteY113" fmla="*/ 9008 h 10001"/>
                <a:gd name="connsiteX114" fmla="*/ 8063 w 10000"/>
                <a:gd name="connsiteY114" fmla="*/ 8872 h 10001"/>
                <a:gd name="connsiteX115" fmla="*/ 8275 w 10000"/>
                <a:gd name="connsiteY115" fmla="*/ 8692 h 10001"/>
                <a:gd name="connsiteX116" fmla="*/ 8151 w 10000"/>
                <a:gd name="connsiteY116" fmla="*/ 8601 h 10001"/>
                <a:gd name="connsiteX117" fmla="*/ 8063 w 10000"/>
                <a:gd name="connsiteY117" fmla="*/ 8466 h 10001"/>
                <a:gd name="connsiteX118" fmla="*/ 8204 w 10000"/>
                <a:gd name="connsiteY118" fmla="*/ 8240 h 10001"/>
                <a:gd name="connsiteX119" fmla="*/ 8521 w 10000"/>
                <a:gd name="connsiteY119" fmla="*/ 8240 h 10001"/>
                <a:gd name="connsiteX120" fmla="*/ 8521 w 10000"/>
                <a:gd name="connsiteY120" fmla="*/ 7947 h 10001"/>
                <a:gd name="connsiteX121" fmla="*/ 8310 w 10000"/>
                <a:gd name="connsiteY121" fmla="*/ 7834 h 10001"/>
                <a:gd name="connsiteX122" fmla="*/ 8398 w 10000"/>
                <a:gd name="connsiteY122" fmla="*/ 7495 h 10001"/>
                <a:gd name="connsiteX123" fmla="*/ 7676 w 10000"/>
                <a:gd name="connsiteY123" fmla="*/ 6164 h 10001"/>
                <a:gd name="connsiteX124" fmla="*/ 7518 w 10000"/>
                <a:gd name="connsiteY124" fmla="*/ 5441 h 10001"/>
                <a:gd name="connsiteX125" fmla="*/ 7676 w 10000"/>
                <a:gd name="connsiteY125" fmla="*/ 4764 h 10001"/>
                <a:gd name="connsiteX126" fmla="*/ 7007 w 10000"/>
                <a:gd name="connsiteY126" fmla="*/ 4854 h 10001"/>
                <a:gd name="connsiteX127" fmla="*/ 6972 w 10000"/>
                <a:gd name="connsiteY127" fmla="*/ 4809 h 10001"/>
                <a:gd name="connsiteX128" fmla="*/ 6954 w 10000"/>
                <a:gd name="connsiteY128" fmla="*/ 4629 h 10001"/>
                <a:gd name="connsiteX129" fmla="*/ 7095 w 10000"/>
                <a:gd name="connsiteY129" fmla="*/ 4267 h 10001"/>
                <a:gd name="connsiteX130" fmla="*/ 8468 w 10000"/>
                <a:gd name="connsiteY130" fmla="*/ 3342 h 10001"/>
                <a:gd name="connsiteX131" fmla="*/ 8908 w 10000"/>
                <a:gd name="connsiteY131" fmla="*/ 3161 h 10001"/>
                <a:gd name="connsiteX132" fmla="*/ 9102 w 10000"/>
                <a:gd name="connsiteY132" fmla="*/ 3432 h 10001"/>
                <a:gd name="connsiteX133" fmla="*/ 9313 w 10000"/>
                <a:gd name="connsiteY133" fmla="*/ 3432 h 10001"/>
                <a:gd name="connsiteX134" fmla="*/ 9560 w 10000"/>
                <a:gd name="connsiteY134" fmla="*/ 3206 h 10001"/>
                <a:gd name="connsiteX135" fmla="*/ 9965 w 10000"/>
                <a:gd name="connsiteY135" fmla="*/ 3455 h 10001"/>
                <a:gd name="connsiteX136" fmla="*/ 10000 w 10000"/>
                <a:gd name="connsiteY136" fmla="*/ 2732 h 10001"/>
                <a:gd name="connsiteX137" fmla="*/ 9507 w 10000"/>
                <a:gd name="connsiteY137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4296 w 10000"/>
                <a:gd name="connsiteY50" fmla="*/ 1942 h 10001"/>
                <a:gd name="connsiteX51" fmla="*/ 4225 w 10000"/>
                <a:gd name="connsiteY51" fmla="*/ 1852 h 10001"/>
                <a:gd name="connsiteX52" fmla="*/ 3785 w 10000"/>
                <a:gd name="connsiteY52" fmla="*/ 1852 h 10001"/>
                <a:gd name="connsiteX53" fmla="*/ 3644 w 10000"/>
                <a:gd name="connsiteY53" fmla="*/ 1762 h 10001"/>
                <a:gd name="connsiteX54" fmla="*/ 3380 w 10000"/>
                <a:gd name="connsiteY54" fmla="*/ 1829 h 10001"/>
                <a:gd name="connsiteX55" fmla="*/ 3169 w 10000"/>
                <a:gd name="connsiteY55" fmla="*/ 1920 h 10001"/>
                <a:gd name="connsiteX56" fmla="*/ 2975 w 10000"/>
                <a:gd name="connsiteY56" fmla="*/ 1852 h 10001"/>
                <a:gd name="connsiteX57" fmla="*/ 2271 w 10000"/>
                <a:gd name="connsiteY57" fmla="*/ 1852 h 10001"/>
                <a:gd name="connsiteX58" fmla="*/ 2042 w 10000"/>
                <a:gd name="connsiteY58" fmla="*/ 1965 h 10001"/>
                <a:gd name="connsiteX59" fmla="*/ 1796 w 10000"/>
                <a:gd name="connsiteY59" fmla="*/ 1965 h 10001"/>
                <a:gd name="connsiteX60" fmla="*/ 1585 w 10000"/>
                <a:gd name="connsiteY60" fmla="*/ 2010 h 10001"/>
                <a:gd name="connsiteX61" fmla="*/ 1479 w 10000"/>
                <a:gd name="connsiteY61" fmla="*/ 1965 h 10001"/>
                <a:gd name="connsiteX62" fmla="*/ 1285 w 10000"/>
                <a:gd name="connsiteY62" fmla="*/ 2033 h 10001"/>
                <a:gd name="connsiteX63" fmla="*/ 1180 w 10000"/>
                <a:gd name="connsiteY63" fmla="*/ 2145 h 10001"/>
                <a:gd name="connsiteX64" fmla="*/ 933 w 10000"/>
                <a:gd name="connsiteY64" fmla="*/ 2326 h 10001"/>
                <a:gd name="connsiteX65" fmla="*/ 739 w 10000"/>
                <a:gd name="connsiteY65" fmla="*/ 2349 h 10001"/>
                <a:gd name="connsiteX66" fmla="*/ 669 w 10000"/>
                <a:gd name="connsiteY66" fmla="*/ 2958 h 10001"/>
                <a:gd name="connsiteX67" fmla="*/ 493 w 10000"/>
                <a:gd name="connsiteY67" fmla="*/ 3274 h 10001"/>
                <a:gd name="connsiteX68" fmla="*/ 264 w 10000"/>
                <a:gd name="connsiteY68" fmla="*/ 3229 h 10001"/>
                <a:gd name="connsiteX69" fmla="*/ 88 w 10000"/>
                <a:gd name="connsiteY69" fmla="*/ 3342 h 10001"/>
                <a:gd name="connsiteX70" fmla="*/ 88 w 10000"/>
                <a:gd name="connsiteY70" fmla="*/ 3522 h 10001"/>
                <a:gd name="connsiteX71" fmla="*/ 194 w 10000"/>
                <a:gd name="connsiteY71" fmla="*/ 3884 h 10001"/>
                <a:gd name="connsiteX72" fmla="*/ 123 w 10000"/>
                <a:gd name="connsiteY72" fmla="*/ 4154 h 10001"/>
                <a:gd name="connsiteX73" fmla="*/ 0 w 10000"/>
                <a:gd name="connsiteY73" fmla="*/ 4425 h 10001"/>
                <a:gd name="connsiteX74" fmla="*/ 18 w 10000"/>
                <a:gd name="connsiteY74" fmla="*/ 4832 h 10001"/>
                <a:gd name="connsiteX75" fmla="*/ 53 w 10000"/>
                <a:gd name="connsiteY75" fmla="*/ 5464 h 10001"/>
                <a:gd name="connsiteX76" fmla="*/ 88 w 10000"/>
                <a:gd name="connsiteY76" fmla="*/ 5464 h 10001"/>
                <a:gd name="connsiteX77" fmla="*/ 158 w 10000"/>
                <a:gd name="connsiteY77" fmla="*/ 5644 h 10001"/>
                <a:gd name="connsiteX78" fmla="*/ 581 w 10000"/>
                <a:gd name="connsiteY78" fmla="*/ 6096 h 10001"/>
                <a:gd name="connsiteX79" fmla="*/ 581 w 10000"/>
                <a:gd name="connsiteY79" fmla="*/ 6118 h 10001"/>
                <a:gd name="connsiteX80" fmla="*/ 581 w 10000"/>
                <a:gd name="connsiteY80" fmla="*/ 6118 h 10001"/>
                <a:gd name="connsiteX81" fmla="*/ 651 w 10000"/>
                <a:gd name="connsiteY81" fmla="*/ 6547 h 10001"/>
                <a:gd name="connsiteX82" fmla="*/ 1532 w 10000"/>
                <a:gd name="connsiteY82" fmla="*/ 7112 h 10001"/>
                <a:gd name="connsiteX83" fmla="*/ 1549 w 10000"/>
                <a:gd name="connsiteY83" fmla="*/ 7112 h 10001"/>
                <a:gd name="connsiteX84" fmla="*/ 1549 w 10000"/>
                <a:gd name="connsiteY84" fmla="*/ 7134 h 10001"/>
                <a:gd name="connsiteX85" fmla="*/ 1725 w 10000"/>
                <a:gd name="connsiteY85" fmla="*/ 8173 h 10001"/>
                <a:gd name="connsiteX86" fmla="*/ 2077 w 10000"/>
                <a:gd name="connsiteY86" fmla="*/ 9053 h 10001"/>
                <a:gd name="connsiteX87" fmla="*/ 2201 w 10000"/>
                <a:gd name="connsiteY87" fmla="*/ 9324 h 10001"/>
                <a:gd name="connsiteX88" fmla="*/ 2201 w 10000"/>
                <a:gd name="connsiteY88" fmla="*/ 9324 h 10001"/>
                <a:gd name="connsiteX89" fmla="*/ 2201 w 10000"/>
                <a:gd name="connsiteY89" fmla="*/ 9346 h 10001"/>
                <a:gd name="connsiteX90" fmla="*/ 2183 w 10000"/>
                <a:gd name="connsiteY90" fmla="*/ 9933 h 10001"/>
                <a:gd name="connsiteX91" fmla="*/ 2324 w 10000"/>
                <a:gd name="connsiteY91" fmla="*/ 9933 h 10001"/>
                <a:gd name="connsiteX92" fmla="*/ 2430 w 10000"/>
                <a:gd name="connsiteY92" fmla="*/ 9662 h 10001"/>
                <a:gd name="connsiteX93" fmla="*/ 3363 w 10000"/>
                <a:gd name="connsiteY93" fmla="*/ 9662 h 10001"/>
                <a:gd name="connsiteX94" fmla="*/ 3644 w 10000"/>
                <a:gd name="connsiteY94" fmla="*/ 9437 h 10001"/>
                <a:gd name="connsiteX95" fmla="*/ 3961 w 10000"/>
                <a:gd name="connsiteY95" fmla="*/ 9346 h 10001"/>
                <a:gd name="connsiteX96" fmla="*/ 4278 w 10000"/>
                <a:gd name="connsiteY96" fmla="*/ 9504 h 10001"/>
                <a:gd name="connsiteX97" fmla="*/ 4489 w 10000"/>
                <a:gd name="connsiteY97" fmla="*/ 9437 h 10001"/>
                <a:gd name="connsiteX98" fmla="*/ 5440 w 10000"/>
                <a:gd name="connsiteY98" fmla="*/ 9369 h 10001"/>
                <a:gd name="connsiteX99" fmla="*/ 5792 w 10000"/>
                <a:gd name="connsiteY99" fmla="*/ 9211 h 10001"/>
                <a:gd name="connsiteX100" fmla="*/ 5951 w 10000"/>
                <a:gd name="connsiteY100" fmla="*/ 9369 h 10001"/>
                <a:gd name="connsiteX101" fmla="*/ 6602 w 10000"/>
                <a:gd name="connsiteY101" fmla="*/ 9324 h 10001"/>
                <a:gd name="connsiteX102" fmla="*/ 6743 w 10000"/>
                <a:gd name="connsiteY102" fmla="*/ 9572 h 10001"/>
                <a:gd name="connsiteX103" fmla="*/ 6919 w 10000"/>
                <a:gd name="connsiteY103" fmla="*/ 9775 h 10001"/>
                <a:gd name="connsiteX104" fmla="*/ 7482 w 10000"/>
                <a:gd name="connsiteY104" fmla="*/ 9730 h 10001"/>
                <a:gd name="connsiteX105" fmla="*/ 7658 w 10000"/>
                <a:gd name="connsiteY105" fmla="*/ 9866 h 10001"/>
                <a:gd name="connsiteX106" fmla="*/ 7764 w 10000"/>
                <a:gd name="connsiteY106" fmla="*/ 9911 h 10001"/>
                <a:gd name="connsiteX107" fmla="*/ 7835 w 10000"/>
                <a:gd name="connsiteY107" fmla="*/ 9978 h 10001"/>
                <a:gd name="connsiteX108" fmla="*/ 7940 w 10000"/>
                <a:gd name="connsiteY108" fmla="*/ 10001 h 10001"/>
                <a:gd name="connsiteX109" fmla="*/ 8116 w 10000"/>
                <a:gd name="connsiteY109" fmla="*/ 9933 h 10001"/>
                <a:gd name="connsiteX110" fmla="*/ 8063 w 10000"/>
                <a:gd name="connsiteY110" fmla="*/ 9617 h 10001"/>
                <a:gd name="connsiteX111" fmla="*/ 7887 w 10000"/>
                <a:gd name="connsiteY111" fmla="*/ 9392 h 10001"/>
                <a:gd name="connsiteX112" fmla="*/ 7887 w 10000"/>
                <a:gd name="connsiteY112" fmla="*/ 9008 h 10001"/>
                <a:gd name="connsiteX113" fmla="*/ 8063 w 10000"/>
                <a:gd name="connsiteY113" fmla="*/ 8872 h 10001"/>
                <a:gd name="connsiteX114" fmla="*/ 8275 w 10000"/>
                <a:gd name="connsiteY114" fmla="*/ 8692 h 10001"/>
                <a:gd name="connsiteX115" fmla="*/ 8151 w 10000"/>
                <a:gd name="connsiteY115" fmla="*/ 8601 h 10001"/>
                <a:gd name="connsiteX116" fmla="*/ 8063 w 10000"/>
                <a:gd name="connsiteY116" fmla="*/ 8466 h 10001"/>
                <a:gd name="connsiteX117" fmla="*/ 8204 w 10000"/>
                <a:gd name="connsiteY117" fmla="*/ 8240 h 10001"/>
                <a:gd name="connsiteX118" fmla="*/ 8521 w 10000"/>
                <a:gd name="connsiteY118" fmla="*/ 8240 h 10001"/>
                <a:gd name="connsiteX119" fmla="*/ 8521 w 10000"/>
                <a:gd name="connsiteY119" fmla="*/ 7947 h 10001"/>
                <a:gd name="connsiteX120" fmla="*/ 8310 w 10000"/>
                <a:gd name="connsiteY120" fmla="*/ 7834 h 10001"/>
                <a:gd name="connsiteX121" fmla="*/ 8398 w 10000"/>
                <a:gd name="connsiteY121" fmla="*/ 7495 h 10001"/>
                <a:gd name="connsiteX122" fmla="*/ 7676 w 10000"/>
                <a:gd name="connsiteY122" fmla="*/ 6164 h 10001"/>
                <a:gd name="connsiteX123" fmla="*/ 7518 w 10000"/>
                <a:gd name="connsiteY123" fmla="*/ 5441 h 10001"/>
                <a:gd name="connsiteX124" fmla="*/ 7676 w 10000"/>
                <a:gd name="connsiteY124" fmla="*/ 4764 h 10001"/>
                <a:gd name="connsiteX125" fmla="*/ 7007 w 10000"/>
                <a:gd name="connsiteY125" fmla="*/ 4854 h 10001"/>
                <a:gd name="connsiteX126" fmla="*/ 6972 w 10000"/>
                <a:gd name="connsiteY126" fmla="*/ 4809 h 10001"/>
                <a:gd name="connsiteX127" fmla="*/ 6954 w 10000"/>
                <a:gd name="connsiteY127" fmla="*/ 4629 h 10001"/>
                <a:gd name="connsiteX128" fmla="*/ 7095 w 10000"/>
                <a:gd name="connsiteY128" fmla="*/ 4267 h 10001"/>
                <a:gd name="connsiteX129" fmla="*/ 8468 w 10000"/>
                <a:gd name="connsiteY129" fmla="*/ 3342 h 10001"/>
                <a:gd name="connsiteX130" fmla="*/ 8908 w 10000"/>
                <a:gd name="connsiteY130" fmla="*/ 3161 h 10001"/>
                <a:gd name="connsiteX131" fmla="*/ 9102 w 10000"/>
                <a:gd name="connsiteY131" fmla="*/ 3432 h 10001"/>
                <a:gd name="connsiteX132" fmla="*/ 9313 w 10000"/>
                <a:gd name="connsiteY132" fmla="*/ 3432 h 10001"/>
                <a:gd name="connsiteX133" fmla="*/ 9560 w 10000"/>
                <a:gd name="connsiteY133" fmla="*/ 3206 h 10001"/>
                <a:gd name="connsiteX134" fmla="*/ 9965 w 10000"/>
                <a:gd name="connsiteY134" fmla="*/ 3455 h 10001"/>
                <a:gd name="connsiteX135" fmla="*/ 10000 w 10000"/>
                <a:gd name="connsiteY135" fmla="*/ 2732 h 10001"/>
                <a:gd name="connsiteX136" fmla="*/ 9507 w 10000"/>
                <a:gd name="connsiteY136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4225 w 10000"/>
                <a:gd name="connsiteY50" fmla="*/ 1852 h 10001"/>
                <a:gd name="connsiteX51" fmla="*/ 3785 w 10000"/>
                <a:gd name="connsiteY51" fmla="*/ 1852 h 10001"/>
                <a:gd name="connsiteX52" fmla="*/ 3644 w 10000"/>
                <a:gd name="connsiteY52" fmla="*/ 1762 h 10001"/>
                <a:gd name="connsiteX53" fmla="*/ 3380 w 10000"/>
                <a:gd name="connsiteY53" fmla="*/ 1829 h 10001"/>
                <a:gd name="connsiteX54" fmla="*/ 3169 w 10000"/>
                <a:gd name="connsiteY54" fmla="*/ 1920 h 10001"/>
                <a:gd name="connsiteX55" fmla="*/ 2975 w 10000"/>
                <a:gd name="connsiteY55" fmla="*/ 1852 h 10001"/>
                <a:gd name="connsiteX56" fmla="*/ 2271 w 10000"/>
                <a:gd name="connsiteY56" fmla="*/ 1852 h 10001"/>
                <a:gd name="connsiteX57" fmla="*/ 2042 w 10000"/>
                <a:gd name="connsiteY57" fmla="*/ 1965 h 10001"/>
                <a:gd name="connsiteX58" fmla="*/ 1796 w 10000"/>
                <a:gd name="connsiteY58" fmla="*/ 1965 h 10001"/>
                <a:gd name="connsiteX59" fmla="*/ 1585 w 10000"/>
                <a:gd name="connsiteY59" fmla="*/ 2010 h 10001"/>
                <a:gd name="connsiteX60" fmla="*/ 1479 w 10000"/>
                <a:gd name="connsiteY60" fmla="*/ 1965 h 10001"/>
                <a:gd name="connsiteX61" fmla="*/ 1285 w 10000"/>
                <a:gd name="connsiteY61" fmla="*/ 2033 h 10001"/>
                <a:gd name="connsiteX62" fmla="*/ 1180 w 10000"/>
                <a:gd name="connsiteY62" fmla="*/ 2145 h 10001"/>
                <a:gd name="connsiteX63" fmla="*/ 933 w 10000"/>
                <a:gd name="connsiteY63" fmla="*/ 2326 h 10001"/>
                <a:gd name="connsiteX64" fmla="*/ 739 w 10000"/>
                <a:gd name="connsiteY64" fmla="*/ 2349 h 10001"/>
                <a:gd name="connsiteX65" fmla="*/ 669 w 10000"/>
                <a:gd name="connsiteY65" fmla="*/ 2958 h 10001"/>
                <a:gd name="connsiteX66" fmla="*/ 493 w 10000"/>
                <a:gd name="connsiteY66" fmla="*/ 3274 h 10001"/>
                <a:gd name="connsiteX67" fmla="*/ 264 w 10000"/>
                <a:gd name="connsiteY67" fmla="*/ 3229 h 10001"/>
                <a:gd name="connsiteX68" fmla="*/ 88 w 10000"/>
                <a:gd name="connsiteY68" fmla="*/ 3342 h 10001"/>
                <a:gd name="connsiteX69" fmla="*/ 88 w 10000"/>
                <a:gd name="connsiteY69" fmla="*/ 3522 h 10001"/>
                <a:gd name="connsiteX70" fmla="*/ 194 w 10000"/>
                <a:gd name="connsiteY70" fmla="*/ 3884 h 10001"/>
                <a:gd name="connsiteX71" fmla="*/ 123 w 10000"/>
                <a:gd name="connsiteY71" fmla="*/ 4154 h 10001"/>
                <a:gd name="connsiteX72" fmla="*/ 0 w 10000"/>
                <a:gd name="connsiteY72" fmla="*/ 4425 h 10001"/>
                <a:gd name="connsiteX73" fmla="*/ 18 w 10000"/>
                <a:gd name="connsiteY73" fmla="*/ 4832 h 10001"/>
                <a:gd name="connsiteX74" fmla="*/ 53 w 10000"/>
                <a:gd name="connsiteY74" fmla="*/ 5464 h 10001"/>
                <a:gd name="connsiteX75" fmla="*/ 88 w 10000"/>
                <a:gd name="connsiteY75" fmla="*/ 5464 h 10001"/>
                <a:gd name="connsiteX76" fmla="*/ 158 w 10000"/>
                <a:gd name="connsiteY76" fmla="*/ 5644 h 10001"/>
                <a:gd name="connsiteX77" fmla="*/ 581 w 10000"/>
                <a:gd name="connsiteY77" fmla="*/ 6096 h 10001"/>
                <a:gd name="connsiteX78" fmla="*/ 581 w 10000"/>
                <a:gd name="connsiteY78" fmla="*/ 6118 h 10001"/>
                <a:gd name="connsiteX79" fmla="*/ 581 w 10000"/>
                <a:gd name="connsiteY79" fmla="*/ 6118 h 10001"/>
                <a:gd name="connsiteX80" fmla="*/ 651 w 10000"/>
                <a:gd name="connsiteY80" fmla="*/ 6547 h 10001"/>
                <a:gd name="connsiteX81" fmla="*/ 1532 w 10000"/>
                <a:gd name="connsiteY81" fmla="*/ 7112 h 10001"/>
                <a:gd name="connsiteX82" fmla="*/ 1549 w 10000"/>
                <a:gd name="connsiteY82" fmla="*/ 7112 h 10001"/>
                <a:gd name="connsiteX83" fmla="*/ 1549 w 10000"/>
                <a:gd name="connsiteY83" fmla="*/ 7134 h 10001"/>
                <a:gd name="connsiteX84" fmla="*/ 1725 w 10000"/>
                <a:gd name="connsiteY84" fmla="*/ 8173 h 10001"/>
                <a:gd name="connsiteX85" fmla="*/ 2077 w 10000"/>
                <a:gd name="connsiteY85" fmla="*/ 9053 h 10001"/>
                <a:gd name="connsiteX86" fmla="*/ 2201 w 10000"/>
                <a:gd name="connsiteY86" fmla="*/ 9324 h 10001"/>
                <a:gd name="connsiteX87" fmla="*/ 2201 w 10000"/>
                <a:gd name="connsiteY87" fmla="*/ 9324 h 10001"/>
                <a:gd name="connsiteX88" fmla="*/ 2201 w 10000"/>
                <a:gd name="connsiteY88" fmla="*/ 9346 h 10001"/>
                <a:gd name="connsiteX89" fmla="*/ 2183 w 10000"/>
                <a:gd name="connsiteY89" fmla="*/ 9933 h 10001"/>
                <a:gd name="connsiteX90" fmla="*/ 2324 w 10000"/>
                <a:gd name="connsiteY90" fmla="*/ 9933 h 10001"/>
                <a:gd name="connsiteX91" fmla="*/ 2430 w 10000"/>
                <a:gd name="connsiteY91" fmla="*/ 9662 h 10001"/>
                <a:gd name="connsiteX92" fmla="*/ 3363 w 10000"/>
                <a:gd name="connsiteY92" fmla="*/ 9662 h 10001"/>
                <a:gd name="connsiteX93" fmla="*/ 3644 w 10000"/>
                <a:gd name="connsiteY93" fmla="*/ 9437 h 10001"/>
                <a:gd name="connsiteX94" fmla="*/ 3961 w 10000"/>
                <a:gd name="connsiteY94" fmla="*/ 9346 h 10001"/>
                <a:gd name="connsiteX95" fmla="*/ 4278 w 10000"/>
                <a:gd name="connsiteY95" fmla="*/ 9504 h 10001"/>
                <a:gd name="connsiteX96" fmla="*/ 4489 w 10000"/>
                <a:gd name="connsiteY96" fmla="*/ 9437 h 10001"/>
                <a:gd name="connsiteX97" fmla="*/ 5440 w 10000"/>
                <a:gd name="connsiteY97" fmla="*/ 9369 h 10001"/>
                <a:gd name="connsiteX98" fmla="*/ 5792 w 10000"/>
                <a:gd name="connsiteY98" fmla="*/ 9211 h 10001"/>
                <a:gd name="connsiteX99" fmla="*/ 5951 w 10000"/>
                <a:gd name="connsiteY99" fmla="*/ 9369 h 10001"/>
                <a:gd name="connsiteX100" fmla="*/ 6602 w 10000"/>
                <a:gd name="connsiteY100" fmla="*/ 9324 h 10001"/>
                <a:gd name="connsiteX101" fmla="*/ 6743 w 10000"/>
                <a:gd name="connsiteY101" fmla="*/ 9572 h 10001"/>
                <a:gd name="connsiteX102" fmla="*/ 6919 w 10000"/>
                <a:gd name="connsiteY102" fmla="*/ 9775 h 10001"/>
                <a:gd name="connsiteX103" fmla="*/ 7482 w 10000"/>
                <a:gd name="connsiteY103" fmla="*/ 9730 h 10001"/>
                <a:gd name="connsiteX104" fmla="*/ 7658 w 10000"/>
                <a:gd name="connsiteY104" fmla="*/ 9866 h 10001"/>
                <a:gd name="connsiteX105" fmla="*/ 7764 w 10000"/>
                <a:gd name="connsiteY105" fmla="*/ 9911 h 10001"/>
                <a:gd name="connsiteX106" fmla="*/ 7835 w 10000"/>
                <a:gd name="connsiteY106" fmla="*/ 9978 h 10001"/>
                <a:gd name="connsiteX107" fmla="*/ 7940 w 10000"/>
                <a:gd name="connsiteY107" fmla="*/ 10001 h 10001"/>
                <a:gd name="connsiteX108" fmla="*/ 8116 w 10000"/>
                <a:gd name="connsiteY108" fmla="*/ 9933 h 10001"/>
                <a:gd name="connsiteX109" fmla="*/ 8063 w 10000"/>
                <a:gd name="connsiteY109" fmla="*/ 9617 h 10001"/>
                <a:gd name="connsiteX110" fmla="*/ 7887 w 10000"/>
                <a:gd name="connsiteY110" fmla="*/ 9392 h 10001"/>
                <a:gd name="connsiteX111" fmla="*/ 7887 w 10000"/>
                <a:gd name="connsiteY111" fmla="*/ 9008 h 10001"/>
                <a:gd name="connsiteX112" fmla="*/ 8063 w 10000"/>
                <a:gd name="connsiteY112" fmla="*/ 8872 h 10001"/>
                <a:gd name="connsiteX113" fmla="*/ 8275 w 10000"/>
                <a:gd name="connsiteY113" fmla="*/ 8692 h 10001"/>
                <a:gd name="connsiteX114" fmla="*/ 8151 w 10000"/>
                <a:gd name="connsiteY114" fmla="*/ 8601 h 10001"/>
                <a:gd name="connsiteX115" fmla="*/ 8063 w 10000"/>
                <a:gd name="connsiteY115" fmla="*/ 8466 h 10001"/>
                <a:gd name="connsiteX116" fmla="*/ 8204 w 10000"/>
                <a:gd name="connsiteY116" fmla="*/ 8240 h 10001"/>
                <a:gd name="connsiteX117" fmla="*/ 8521 w 10000"/>
                <a:gd name="connsiteY117" fmla="*/ 8240 h 10001"/>
                <a:gd name="connsiteX118" fmla="*/ 8521 w 10000"/>
                <a:gd name="connsiteY118" fmla="*/ 7947 h 10001"/>
                <a:gd name="connsiteX119" fmla="*/ 8310 w 10000"/>
                <a:gd name="connsiteY119" fmla="*/ 7834 h 10001"/>
                <a:gd name="connsiteX120" fmla="*/ 8398 w 10000"/>
                <a:gd name="connsiteY120" fmla="*/ 7495 h 10001"/>
                <a:gd name="connsiteX121" fmla="*/ 7676 w 10000"/>
                <a:gd name="connsiteY121" fmla="*/ 6164 h 10001"/>
                <a:gd name="connsiteX122" fmla="*/ 7518 w 10000"/>
                <a:gd name="connsiteY122" fmla="*/ 5441 h 10001"/>
                <a:gd name="connsiteX123" fmla="*/ 7676 w 10000"/>
                <a:gd name="connsiteY123" fmla="*/ 4764 h 10001"/>
                <a:gd name="connsiteX124" fmla="*/ 7007 w 10000"/>
                <a:gd name="connsiteY124" fmla="*/ 4854 h 10001"/>
                <a:gd name="connsiteX125" fmla="*/ 6972 w 10000"/>
                <a:gd name="connsiteY125" fmla="*/ 4809 h 10001"/>
                <a:gd name="connsiteX126" fmla="*/ 6954 w 10000"/>
                <a:gd name="connsiteY126" fmla="*/ 4629 h 10001"/>
                <a:gd name="connsiteX127" fmla="*/ 7095 w 10000"/>
                <a:gd name="connsiteY127" fmla="*/ 4267 h 10001"/>
                <a:gd name="connsiteX128" fmla="*/ 8468 w 10000"/>
                <a:gd name="connsiteY128" fmla="*/ 3342 h 10001"/>
                <a:gd name="connsiteX129" fmla="*/ 8908 w 10000"/>
                <a:gd name="connsiteY129" fmla="*/ 3161 h 10001"/>
                <a:gd name="connsiteX130" fmla="*/ 9102 w 10000"/>
                <a:gd name="connsiteY130" fmla="*/ 3432 h 10001"/>
                <a:gd name="connsiteX131" fmla="*/ 9313 w 10000"/>
                <a:gd name="connsiteY131" fmla="*/ 3432 h 10001"/>
                <a:gd name="connsiteX132" fmla="*/ 9560 w 10000"/>
                <a:gd name="connsiteY132" fmla="*/ 3206 h 10001"/>
                <a:gd name="connsiteX133" fmla="*/ 9965 w 10000"/>
                <a:gd name="connsiteY133" fmla="*/ 3455 h 10001"/>
                <a:gd name="connsiteX134" fmla="*/ 10000 w 10000"/>
                <a:gd name="connsiteY134" fmla="*/ 2732 h 10001"/>
                <a:gd name="connsiteX135" fmla="*/ 9507 w 10000"/>
                <a:gd name="connsiteY135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785 w 10000"/>
                <a:gd name="connsiteY50" fmla="*/ 1852 h 10001"/>
                <a:gd name="connsiteX51" fmla="*/ 3644 w 10000"/>
                <a:gd name="connsiteY51" fmla="*/ 1762 h 10001"/>
                <a:gd name="connsiteX52" fmla="*/ 3380 w 10000"/>
                <a:gd name="connsiteY52" fmla="*/ 1829 h 10001"/>
                <a:gd name="connsiteX53" fmla="*/ 3169 w 10000"/>
                <a:gd name="connsiteY53" fmla="*/ 1920 h 10001"/>
                <a:gd name="connsiteX54" fmla="*/ 2975 w 10000"/>
                <a:gd name="connsiteY54" fmla="*/ 1852 h 10001"/>
                <a:gd name="connsiteX55" fmla="*/ 2271 w 10000"/>
                <a:gd name="connsiteY55" fmla="*/ 1852 h 10001"/>
                <a:gd name="connsiteX56" fmla="*/ 2042 w 10000"/>
                <a:gd name="connsiteY56" fmla="*/ 1965 h 10001"/>
                <a:gd name="connsiteX57" fmla="*/ 1796 w 10000"/>
                <a:gd name="connsiteY57" fmla="*/ 1965 h 10001"/>
                <a:gd name="connsiteX58" fmla="*/ 1585 w 10000"/>
                <a:gd name="connsiteY58" fmla="*/ 2010 h 10001"/>
                <a:gd name="connsiteX59" fmla="*/ 1479 w 10000"/>
                <a:gd name="connsiteY59" fmla="*/ 1965 h 10001"/>
                <a:gd name="connsiteX60" fmla="*/ 1285 w 10000"/>
                <a:gd name="connsiteY60" fmla="*/ 2033 h 10001"/>
                <a:gd name="connsiteX61" fmla="*/ 1180 w 10000"/>
                <a:gd name="connsiteY61" fmla="*/ 2145 h 10001"/>
                <a:gd name="connsiteX62" fmla="*/ 933 w 10000"/>
                <a:gd name="connsiteY62" fmla="*/ 2326 h 10001"/>
                <a:gd name="connsiteX63" fmla="*/ 739 w 10000"/>
                <a:gd name="connsiteY63" fmla="*/ 2349 h 10001"/>
                <a:gd name="connsiteX64" fmla="*/ 669 w 10000"/>
                <a:gd name="connsiteY64" fmla="*/ 2958 h 10001"/>
                <a:gd name="connsiteX65" fmla="*/ 493 w 10000"/>
                <a:gd name="connsiteY65" fmla="*/ 3274 h 10001"/>
                <a:gd name="connsiteX66" fmla="*/ 264 w 10000"/>
                <a:gd name="connsiteY66" fmla="*/ 3229 h 10001"/>
                <a:gd name="connsiteX67" fmla="*/ 88 w 10000"/>
                <a:gd name="connsiteY67" fmla="*/ 3342 h 10001"/>
                <a:gd name="connsiteX68" fmla="*/ 88 w 10000"/>
                <a:gd name="connsiteY68" fmla="*/ 3522 h 10001"/>
                <a:gd name="connsiteX69" fmla="*/ 194 w 10000"/>
                <a:gd name="connsiteY69" fmla="*/ 3884 h 10001"/>
                <a:gd name="connsiteX70" fmla="*/ 123 w 10000"/>
                <a:gd name="connsiteY70" fmla="*/ 4154 h 10001"/>
                <a:gd name="connsiteX71" fmla="*/ 0 w 10000"/>
                <a:gd name="connsiteY71" fmla="*/ 4425 h 10001"/>
                <a:gd name="connsiteX72" fmla="*/ 18 w 10000"/>
                <a:gd name="connsiteY72" fmla="*/ 4832 h 10001"/>
                <a:gd name="connsiteX73" fmla="*/ 53 w 10000"/>
                <a:gd name="connsiteY73" fmla="*/ 5464 h 10001"/>
                <a:gd name="connsiteX74" fmla="*/ 88 w 10000"/>
                <a:gd name="connsiteY74" fmla="*/ 5464 h 10001"/>
                <a:gd name="connsiteX75" fmla="*/ 158 w 10000"/>
                <a:gd name="connsiteY75" fmla="*/ 5644 h 10001"/>
                <a:gd name="connsiteX76" fmla="*/ 581 w 10000"/>
                <a:gd name="connsiteY76" fmla="*/ 6096 h 10001"/>
                <a:gd name="connsiteX77" fmla="*/ 581 w 10000"/>
                <a:gd name="connsiteY77" fmla="*/ 6118 h 10001"/>
                <a:gd name="connsiteX78" fmla="*/ 581 w 10000"/>
                <a:gd name="connsiteY78" fmla="*/ 6118 h 10001"/>
                <a:gd name="connsiteX79" fmla="*/ 651 w 10000"/>
                <a:gd name="connsiteY79" fmla="*/ 6547 h 10001"/>
                <a:gd name="connsiteX80" fmla="*/ 1532 w 10000"/>
                <a:gd name="connsiteY80" fmla="*/ 7112 h 10001"/>
                <a:gd name="connsiteX81" fmla="*/ 1549 w 10000"/>
                <a:gd name="connsiteY81" fmla="*/ 7112 h 10001"/>
                <a:gd name="connsiteX82" fmla="*/ 1549 w 10000"/>
                <a:gd name="connsiteY82" fmla="*/ 7134 h 10001"/>
                <a:gd name="connsiteX83" fmla="*/ 1725 w 10000"/>
                <a:gd name="connsiteY83" fmla="*/ 8173 h 10001"/>
                <a:gd name="connsiteX84" fmla="*/ 2077 w 10000"/>
                <a:gd name="connsiteY84" fmla="*/ 9053 h 10001"/>
                <a:gd name="connsiteX85" fmla="*/ 2201 w 10000"/>
                <a:gd name="connsiteY85" fmla="*/ 9324 h 10001"/>
                <a:gd name="connsiteX86" fmla="*/ 2201 w 10000"/>
                <a:gd name="connsiteY86" fmla="*/ 9324 h 10001"/>
                <a:gd name="connsiteX87" fmla="*/ 2201 w 10000"/>
                <a:gd name="connsiteY87" fmla="*/ 9346 h 10001"/>
                <a:gd name="connsiteX88" fmla="*/ 2183 w 10000"/>
                <a:gd name="connsiteY88" fmla="*/ 9933 h 10001"/>
                <a:gd name="connsiteX89" fmla="*/ 2324 w 10000"/>
                <a:gd name="connsiteY89" fmla="*/ 9933 h 10001"/>
                <a:gd name="connsiteX90" fmla="*/ 2430 w 10000"/>
                <a:gd name="connsiteY90" fmla="*/ 9662 h 10001"/>
                <a:gd name="connsiteX91" fmla="*/ 3363 w 10000"/>
                <a:gd name="connsiteY91" fmla="*/ 9662 h 10001"/>
                <a:gd name="connsiteX92" fmla="*/ 3644 w 10000"/>
                <a:gd name="connsiteY92" fmla="*/ 9437 h 10001"/>
                <a:gd name="connsiteX93" fmla="*/ 3961 w 10000"/>
                <a:gd name="connsiteY93" fmla="*/ 9346 h 10001"/>
                <a:gd name="connsiteX94" fmla="*/ 4278 w 10000"/>
                <a:gd name="connsiteY94" fmla="*/ 9504 h 10001"/>
                <a:gd name="connsiteX95" fmla="*/ 4489 w 10000"/>
                <a:gd name="connsiteY95" fmla="*/ 9437 h 10001"/>
                <a:gd name="connsiteX96" fmla="*/ 5440 w 10000"/>
                <a:gd name="connsiteY96" fmla="*/ 9369 h 10001"/>
                <a:gd name="connsiteX97" fmla="*/ 5792 w 10000"/>
                <a:gd name="connsiteY97" fmla="*/ 9211 h 10001"/>
                <a:gd name="connsiteX98" fmla="*/ 5951 w 10000"/>
                <a:gd name="connsiteY98" fmla="*/ 9369 h 10001"/>
                <a:gd name="connsiteX99" fmla="*/ 6602 w 10000"/>
                <a:gd name="connsiteY99" fmla="*/ 9324 h 10001"/>
                <a:gd name="connsiteX100" fmla="*/ 6743 w 10000"/>
                <a:gd name="connsiteY100" fmla="*/ 9572 h 10001"/>
                <a:gd name="connsiteX101" fmla="*/ 6919 w 10000"/>
                <a:gd name="connsiteY101" fmla="*/ 9775 h 10001"/>
                <a:gd name="connsiteX102" fmla="*/ 7482 w 10000"/>
                <a:gd name="connsiteY102" fmla="*/ 9730 h 10001"/>
                <a:gd name="connsiteX103" fmla="*/ 7658 w 10000"/>
                <a:gd name="connsiteY103" fmla="*/ 9866 h 10001"/>
                <a:gd name="connsiteX104" fmla="*/ 7764 w 10000"/>
                <a:gd name="connsiteY104" fmla="*/ 9911 h 10001"/>
                <a:gd name="connsiteX105" fmla="*/ 7835 w 10000"/>
                <a:gd name="connsiteY105" fmla="*/ 9978 h 10001"/>
                <a:gd name="connsiteX106" fmla="*/ 7940 w 10000"/>
                <a:gd name="connsiteY106" fmla="*/ 10001 h 10001"/>
                <a:gd name="connsiteX107" fmla="*/ 8116 w 10000"/>
                <a:gd name="connsiteY107" fmla="*/ 9933 h 10001"/>
                <a:gd name="connsiteX108" fmla="*/ 8063 w 10000"/>
                <a:gd name="connsiteY108" fmla="*/ 9617 h 10001"/>
                <a:gd name="connsiteX109" fmla="*/ 7887 w 10000"/>
                <a:gd name="connsiteY109" fmla="*/ 9392 h 10001"/>
                <a:gd name="connsiteX110" fmla="*/ 7887 w 10000"/>
                <a:gd name="connsiteY110" fmla="*/ 9008 h 10001"/>
                <a:gd name="connsiteX111" fmla="*/ 8063 w 10000"/>
                <a:gd name="connsiteY111" fmla="*/ 8872 h 10001"/>
                <a:gd name="connsiteX112" fmla="*/ 8275 w 10000"/>
                <a:gd name="connsiteY112" fmla="*/ 8692 h 10001"/>
                <a:gd name="connsiteX113" fmla="*/ 8151 w 10000"/>
                <a:gd name="connsiteY113" fmla="*/ 8601 h 10001"/>
                <a:gd name="connsiteX114" fmla="*/ 8063 w 10000"/>
                <a:gd name="connsiteY114" fmla="*/ 8466 h 10001"/>
                <a:gd name="connsiteX115" fmla="*/ 8204 w 10000"/>
                <a:gd name="connsiteY115" fmla="*/ 8240 h 10001"/>
                <a:gd name="connsiteX116" fmla="*/ 8521 w 10000"/>
                <a:gd name="connsiteY116" fmla="*/ 8240 h 10001"/>
                <a:gd name="connsiteX117" fmla="*/ 8521 w 10000"/>
                <a:gd name="connsiteY117" fmla="*/ 7947 h 10001"/>
                <a:gd name="connsiteX118" fmla="*/ 8310 w 10000"/>
                <a:gd name="connsiteY118" fmla="*/ 7834 h 10001"/>
                <a:gd name="connsiteX119" fmla="*/ 8398 w 10000"/>
                <a:gd name="connsiteY119" fmla="*/ 7495 h 10001"/>
                <a:gd name="connsiteX120" fmla="*/ 7676 w 10000"/>
                <a:gd name="connsiteY120" fmla="*/ 6164 h 10001"/>
                <a:gd name="connsiteX121" fmla="*/ 7518 w 10000"/>
                <a:gd name="connsiteY121" fmla="*/ 5441 h 10001"/>
                <a:gd name="connsiteX122" fmla="*/ 7676 w 10000"/>
                <a:gd name="connsiteY122" fmla="*/ 4764 h 10001"/>
                <a:gd name="connsiteX123" fmla="*/ 7007 w 10000"/>
                <a:gd name="connsiteY123" fmla="*/ 4854 h 10001"/>
                <a:gd name="connsiteX124" fmla="*/ 6972 w 10000"/>
                <a:gd name="connsiteY124" fmla="*/ 4809 h 10001"/>
                <a:gd name="connsiteX125" fmla="*/ 6954 w 10000"/>
                <a:gd name="connsiteY125" fmla="*/ 4629 h 10001"/>
                <a:gd name="connsiteX126" fmla="*/ 7095 w 10000"/>
                <a:gd name="connsiteY126" fmla="*/ 4267 h 10001"/>
                <a:gd name="connsiteX127" fmla="*/ 8468 w 10000"/>
                <a:gd name="connsiteY127" fmla="*/ 3342 h 10001"/>
                <a:gd name="connsiteX128" fmla="*/ 8908 w 10000"/>
                <a:gd name="connsiteY128" fmla="*/ 3161 h 10001"/>
                <a:gd name="connsiteX129" fmla="*/ 9102 w 10000"/>
                <a:gd name="connsiteY129" fmla="*/ 3432 h 10001"/>
                <a:gd name="connsiteX130" fmla="*/ 9313 w 10000"/>
                <a:gd name="connsiteY130" fmla="*/ 3432 h 10001"/>
                <a:gd name="connsiteX131" fmla="*/ 9560 w 10000"/>
                <a:gd name="connsiteY131" fmla="*/ 3206 h 10001"/>
                <a:gd name="connsiteX132" fmla="*/ 9965 w 10000"/>
                <a:gd name="connsiteY132" fmla="*/ 3455 h 10001"/>
                <a:gd name="connsiteX133" fmla="*/ 10000 w 10000"/>
                <a:gd name="connsiteY133" fmla="*/ 2732 h 10001"/>
                <a:gd name="connsiteX134" fmla="*/ 9507 w 10000"/>
                <a:gd name="connsiteY134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644 w 10000"/>
                <a:gd name="connsiteY50" fmla="*/ 1762 h 10001"/>
                <a:gd name="connsiteX51" fmla="*/ 3380 w 10000"/>
                <a:gd name="connsiteY51" fmla="*/ 1829 h 10001"/>
                <a:gd name="connsiteX52" fmla="*/ 3169 w 10000"/>
                <a:gd name="connsiteY52" fmla="*/ 1920 h 10001"/>
                <a:gd name="connsiteX53" fmla="*/ 2975 w 10000"/>
                <a:gd name="connsiteY53" fmla="*/ 1852 h 10001"/>
                <a:gd name="connsiteX54" fmla="*/ 2271 w 10000"/>
                <a:gd name="connsiteY54" fmla="*/ 1852 h 10001"/>
                <a:gd name="connsiteX55" fmla="*/ 2042 w 10000"/>
                <a:gd name="connsiteY55" fmla="*/ 1965 h 10001"/>
                <a:gd name="connsiteX56" fmla="*/ 1796 w 10000"/>
                <a:gd name="connsiteY56" fmla="*/ 1965 h 10001"/>
                <a:gd name="connsiteX57" fmla="*/ 1585 w 10000"/>
                <a:gd name="connsiteY57" fmla="*/ 2010 h 10001"/>
                <a:gd name="connsiteX58" fmla="*/ 1479 w 10000"/>
                <a:gd name="connsiteY58" fmla="*/ 1965 h 10001"/>
                <a:gd name="connsiteX59" fmla="*/ 1285 w 10000"/>
                <a:gd name="connsiteY59" fmla="*/ 2033 h 10001"/>
                <a:gd name="connsiteX60" fmla="*/ 1180 w 10000"/>
                <a:gd name="connsiteY60" fmla="*/ 2145 h 10001"/>
                <a:gd name="connsiteX61" fmla="*/ 933 w 10000"/>
                <a:gd name="connsiteY61" fmla="*/ 2326 h 10001"/>
                <a:gd name="connsiteX62" fmla="*/ 739 w 10000"/>
                <a:gd name="connsiteY62" fmla="*/ 2349 h 10001"/>
                <a:gd name="connsiteX63" fmla="*/ 669 w 10000"/>
                <a:gd name="connsiteY63" fmla="*/ 2958 h 10001"/>
                <a:gd name="connsiteX64" fmla="*/ 493 w 10000"/>
                <a:gd name="connsiteY64" fmla="*/ 3274 h 10001"/>
                <a:gd name="connsiteX65" fmla="*/ 264 w 10000"/>
                <a:gd name="connsiteY65" fmla="*/ 3229 h 10001"/>
                <a:gd name="connsiteX66" fmla="*/ 88 w 10000"/>
                <a:gd name="connsiteY66" fmla="*/ 3342 h 10001"/>
                <a:gd name="connsiteX67" fmla="*/ 88 w 10000"/>
                <a:gd name="connsiteY67" fmla="*/ 3522 h 10001"/>
                <a:gd name="connsiteX68" fmla="*/ 194 w 10000"/>
                <a:gd name="connsiteY68" fmla="*/ 3884 h 10001"/>
                <a:gd name="connsiteX69" fmla="*/ 123 w 10000"/>
                <a:gd name="connsiteY69" fmla="*/ 4154 h 10001"/>
                <a:gd name="connsiteX70" fmla="*/ 0 w 10000"/>
                <a:gd name="connsiteY70" fmla="*/ 4425 h 10001"/>
                <a:gd name="connsiteX71" fmla="*/ 18 w 10000"/>
                <a:gd name="connsiteY71" fmla="*/ 4832 h 10001"/>
                <a:gd name="connsiteX72" fmla="*/ 53 w 10000"/>
                <a:gd name="connsiteY72" fmla="*/ 5464 h 10001"/>
                <a:gd name="connsiteX73" fmla="*/ 88 w 10000"/>
                <a:gd name="connsiteY73" fmla="*/ 5464 h 10001"/>
                <a:gd name="connsiteX74" fmla="*/ 158 w 10000"/>
                <a:gd name="connsiteY74" fmla="*/ 5644 h 10001"/>
                <a:gd name="connsiteX75" fmla="*/ 581 w 10000"/>
                <a:gd name="connsiteY75" fmla="*/ 6096 h 10001"/>
                <a:gd name="connsiteX76" fmla="*/ 581 w 10000"/>
                <a:gd name="connsiteY76" fmla="*/ 6118 h 10001"/>
                <a:gd name="connsiteX77" fmla="*/ 581 w 10000"/>
                <a:gd name="connsiteY77" fmla="*/ 6118 h 10001"/>
                <a:gd name="connsiteX78" fmla="*/ 651 w 10000"/>
                <a:gd name="connsiteY78" fmla="*/ 6547 h 10001"/>
                <a:gd name="connsiteX79" fmla="*/ 1532 w 10000"/>
                <a:gd name="connsiteY79" fmla="*/ 7112 h 10001"/>
                <a:gd name="connsiteX80" fmla="*/ 1549 w 10000"/>
                <a:gd name="connsiteY80" fmla="*/ 7112 h 10001"/>
                <a:gd name="connsiteX81" fmla="*/ 1549 w 10000"/>
                <a:gd name="connsiteY81" fmla="*/ 7134 h 10001"/>
                <a:gd name="connsiteX82" fmla="*/ 1725 w 10000"/>
                <a:gd name="connsiteY82" fmla="*/ 8173 h 10001"/>
                <a:gd name="connsiteX83" fmla="*/ 2077 w 10000"/>
                <a:gd name="connsiteY83" fmla="*/ 9053 h 10001"/>
                <a:gd name="connsiteX84" fmla="*/ 2201 w 10000"/>
                <a:gd name="connsiteY84" fmla="*/ 9324 h 10001"/>
                <a:gd name="connsiteX85" fmla="*/ 2201 w 10000"/>
                <a:gd name="connsiteY85" fmla="*/ 9324 h 10001"/>
                <a:gd name="connsiteX86" fmla="*/ 2201 w 10000"/>
                <a:gd name="connsiteY86" fmla="*/ 9346 h 10001"/>
                <a:gd name="connsiteX87" fmla="*/ 2183 w 10000"/>
                <a:gd name="connsiteY87" fmla="*/ 9933 h 10001"/>
                <a:gd name="connsiteX88" fmla="*/ 2324 w 10000"/>
                <a:gd name="connsiteY88" fmla="*/ 9933 h 10001"/>
                <a:gd name="connsiteX89" fmla="*/ 2430 w 10000"/>
                <a:gd name="connsiteY89" fmla="*/ 9662 h 10001"/>
                <a:gd name="connsiteX90" fmla="*/ 3363 w 10000"/>
                <a:gd name="connsiteY90" fmla="*/ 9662 h 10001"/>
                <a:gd name="connsiteX91" fmla="*/ 3644 w 10000"/>
                <a:gd name="connsiteY91" fmla="*/ 9437 h 10001"/>
                <a:gd name="connsiteX92" fmla="*/ 3961 w 10000"/>
                <a:gd name="connsiteY92" fmla="*/ 9346 h 10001"/>
                <a:gd name="connsiteX93" fmla="*/ 4278 w 10000"/>
                <a:gd name="connsiteY93" fmla="*/ 9504 h 10001"/>
                <a:gd name="connsiteX94" fmla="*/ 4489 w 10000"/>
                <a:gd name="connsiteY94" fmla="*/ 9437 h 10001"/>
                <a:gd name="connsiteX95" fmla="*/ 5440 w 10000"/>
                <a:gd name="connsiteY95" fmla="*/ 9369 h 10001"/>
                <a:gd name="connsiteX96" fmla="*/ 5792 w 10000"/>
                <a:gd name="connsiteY96" fmla="*/ 9211 h 10001"/>
                <a:gd name="connsiteX97" fmla="*/ 5951 w 10000"/>
                <a:gd name="connsiteY97" fmla="*/ 9369 h 10001"/>
                <a:gd name="connsiteX98" fmla="*/ 6602 w 10000"/>
                <a:gd name="connsiteY98" fmla="*/ 9324 h 10001"/>
                <a:gd name="connsiteX99" fmla="*/ 6743 w 10000"/>
                <a:gd name="connsiteY99" fmla="*/ 9572 h 10001"/>
                <a:gd name="connsiteX100" fmla="*/ 6919 w 10000"/>
                <a:gd name="connsiteY100" fmla="*/ 9775 h 10001"/>
                <a:gd name="connsiteX101" fmla="*/ 7482 w 10000"/>
                <a:gd name="connsiteY101" fmla="*/ 9730 h 10001"/>
                <a:gd name="connsiteX102" fmla="*/ 7658 w 10000"/>
                <a:gd name="connsiteY102" fmla="*/ 9866 h 10001"/>
                <a:gd name="connsiteX103" fmla="*/ 7764 w 10000"/>
                <a:gd name="connsiteY103" fmla="*/ 9911 h 10001"/>
                <a:gd name="connsiteX104" fmla="*/ 7835 w 10000"/>
                <a:gd name="connsiteY104" fmla="*/ 9978 h 10001"/>
                <a:gd name="connsiteX105" fmla="*/ 7940 w 10000"/>
                <a:gd name="connsiteY105" fmla="*/ 10001 h 10001"/>
                <a:gd name="connsiteX106" fmla="*/ 8116 w 10000"/>
                <a:gd name="connsiteY106" fmla="*/ 9933 h 10001"/>
                <a:gd name="connsiteX107" fmla="*/ 8063 w 10000"/>
                <a:gd name="connsiteY107" fmla="*/ 9617 h 10001"/>
                <a:gd name="connsiteX108" fmla="*/ 7887 w 10000"/>
                <a:gd name="connsiteY108" fmla="*/ 9392 h 10001"/>
                <a:gd name="connsiteX109" fmla="*/ 7887 w 10000"/>
                <a:gd name="connsiteY109" fmla="*/ 9008 h 10001"/>
                <a:gd name="connsiteX110" fmla="*/ 8063 w 10000"/>
                <a:gd name="connsiteY110" fmla="*/ 8872 h 10001"/>
                <a:gd name="connsiteX111" fmla="*/ 8275 w 10000"/>
                <a:gd name="connsiteY111" fmla="*/ 8692 h 10001"/>
                <a:gd name="connsiteX112" fmla="*/ 8151 w 10000"/>
                <a:gd name="connsiteY112" fmla="*/ 8601 h 10001"/>
                <a:gd name="connsiteX113" fmla="*/ 8063 w 10000"/>
                <a:gd name="connsiteY113" fmla="*/ 8466 h 10001"/>
                <a:gd name="connsiteX114" fmla="*/ 8204 w 10000"/>
                <a:gd name="connsiteY114" fmla="*/ 8240 h 10001"/>
                <a:gd name="connsiteX115" fmla="*/ 8521 w 10000"/>
                <a:gd name="connsiteY115" fmla="*/ 8240 h 10001"/>
                <a:gd name="connsiteX116" fmla="*/ 8521 w 10000"/>
                <a:gd name="connsiteY116" fmla="*/ 7947 h 10001"/>
                <a:gd name="connsiteX117" fmla="*/ 8310 w 10000"/>
                <a:gd name="connsiteY117" fmla="*/ 7834 h 10001"/>
                <a:gd name="connsiteX118" fmla="*/ 8398 w 10000"/>
                <a:gd name="connsiteY118" fmla="*/ 7495 h 10001"/>
                <a:gd name="connsiteX119" fmla="*/ 7676 w 10000"/>
                <a:gd name="connsiteY119" fmla="*/ 6164 h 10001"/>
                <a:gd name="connsiteX120" fmla="*/ 7518 w 10000"/>
                <a:gd name="connsiteY120" fmla="*/ 5441 h 10001"/>
                <a:gd name="connsiteX121" fmla="*/ 7676 w 10000"/>
                <a:gd name="connsiteY121" fmla="*/ 4764 h 10001"/>
                <a:gd name="connsiteX122" fmla="*/ 7007 w 10000"/>
                <a:gd name="connsiteY122" fmla="*/ 4854 h 10001"/>
                <a:gd name="connsiteX123" fmla="*/ 6972 w 10000"/>
                <a:gd name="connsiteY123" fmla="*/ 4809 h 10001"/>
                <a:gd name="connsiteX124" fmla="*/ 6954 w 10000"/>
                <a:gd name="connsiteY124" fmla="*/ 4629 h 10001"/>
                <a:gd name="connsiteX125" fmla="*/ 7095 w 10000"/>
                <a:gd name="connsiteY125" fmla="*/ 4267 h 10001"/>
                <a:gd name="connsiteX126" fmla="*/ 8468 w 10000"/>
                <a:gd name="connsiteY126" fmla="*/ 3342 h 10001"/>
                <a:gd name="connsiteX127" fmla="*/ 8908 w 10000"/>
                <a:gd name="connsiteY127" fmla="*/ 3161 h 10001"/>
                <a:gd name="connsiteX128" fmla="*/ 9102 w 10000"/>
                <a:gd name="connsiteY128" fmla="*/ 3432 h 10001"/>
                <a:gd name="connsiteX129" fmla="*/ 9313 w 10000"/>
                <a:gd name="connsiteY129" fmla="*/ 3432 h 10001"/>
                <a:gd name="connsiteX130" fmla="*/ 9560 w 10000"/>
                <a:gd name="connsiteY130" fmla="*/ 3206 h 10001"/>
                <a:gd name="connsiteX131" fmla="*/ 9965 w 10000"/>
                <a:gd name="connsiteY131" fmla="*/ 3455 h 10001"/>
                <a:gd name="connsiteX132" fmla="*/ 10000 w 10000"/>
                <a:gd name="connsiteY132" fmla="*/ 2732 h 10001"/>
                <a:gd name="connsiteX133" fmla="*/ 9507 w 10000"/>
                <a:gd name="connsiteY133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361 w 10000"/>
                <a:gd name="connsiteY50" fmla="*/ 1399 h 10001"/>
                <a:gd name="connsiteX51" fmla="*/ 3380 w 10000"/>
                <a:gd name="connsiteY51" fmla="*/ 1829 h 10001"/>
                <a:gd name="connsiteX52" fmla="*/ 3169 w 10000"/>
                <a:gd name="connsiteY52" fmla="*/ 1920 h 10001"/>
                <a:gd name="connsiteX53" fmla="*/ 2975 w 10000"/>
                <a:gd name="connsiteY53" fmla="*/ 1852 h 10001"/>
                <a:gd name="connsiteX54" fmla="*/ 2271 w 10000"/>
                <a:gd name="connsiteY54" fmla="*/ 1852 h 10001"/>
                <a:gd name="connsiteX55" fmla="*/ 2042 w 10000"/>
                <a:gd name="connsiteY55" fmla="*/ 1965 h 10001"/>
                <a:gd name="connsiteX56" fmla="*/ 1796 w 10000"/>
                <a:gd name="connsiteY56" fmla="*/ 1965 h 10001"/>
                <a:gd name="connsiteX57" fmla="*/ 1585 w 10000"/>
                <a:gd name="connsiteY57" fmla="*/ 2010 h 10001"/>
                <a:gd name="connsiteX58" fmla="*/ 1479 w 10000"/>
                <a:gd name="connsiteY58" fmla="*/ 1965 h 10001"/>
                <a:gd name="connsiteX59" fmla="*/ 1285 w 10000"/>
                <a:gd name="connsiteY59" fmla="*/ 2033 h 10001"/>
                <a:gd name="connsiteX60" fmla="*/ 1180 w 10000"/>
                <a:gd name="connsiteY60" fmla="*/ 2145 h 10001"/>
                <a:gd name="connsiteX61" fmla="*/ 933 w 10000"/>
                <a:gd name="connsiteY61" fmla="*/ 2326 h 10001"/>
                <a:gd name="connsiteX62" fmla="*/ 739 w 10000"/>
                <a:gd name="connsiteY62" fmla="*/ 2349 h 10001"/>
                <a:gd name="connsiteX63" fmla="*/ 669 w 10000"/>
                <a:gd name="connsiteY63" fmla="*/ 2958 h 10001"/>
                <a:gd name="connsiteX64" fmla="*/ 493 w 10000"/>
                <a:gd name="connsiteY64" fmla="*/ 3274 h 10001"/>
                <a:gd name="connsiteX65" fmla="*/ 264 w 10000"/>
                <a:gd name="connsiteY65" fmla="*/ 3229 h 10001"/>
                <a:gd name="connsiteX66" fmla="*/ 88 w 10000"/>
                <a:gd name="connsiteY66" fmla="*/ 3342 h 10001"/>
                <a:gd name="connsiteX67" fmla="*/ 88 w 10000"/>
                <a:gd name="connsiteY67" fmla="*/ 3522 h 10001"/>
                <a:gd name="connsiteX68" fmla="*/ 194 w 10000"/>
                <a:gd name="connsiteY68" fmla="*/ 3884 h 10001"/>
                <a:gd name="connsiteX69" fmla="*/ 123 w 10000"/>
                <a:gd name="connsiteY69" fmla="*/ 4154 h 10001"/>
                <a:gd name="connsiteX70" fmla="*/ 0 w 10000"/>
                <a:gd name="connsiteY70" fmla="*/ 4425 h 10001"/>
                <a:gd name="connsiteX71" fmla="*/ 18 w 10000"/>
                <a:gd name="connsiteY71" fmla="*/ 4832 h 10001"/>
                <a:gd name="connsiteX72" fmla="*/ 53 w 10000"/>
                <a:gd name="connsiteY72" fmla="*/ 5464 h 10001"/>
                <a:gd name="connsiteX73" fmla="*/ 88 w 10000"/>
                <a:gd name="connsiteY73" fmla="*/ 5464 h 10001"/>
                <a:gd name="connsiteX74" fmla="*/ 158 w 10000"/>
                <a:gd name="connsiteY74" fmla="*/ 5644 h 10001"/>
                <a:gd name="connsiteX75" fmla="*/ 581 w 10000"/>
                <a:gd name="connsiteY75" fmla="*/ 6096 h 10001"/>
                <a:gd name="connsiteX76" fmla="*/ 581 w 10000"/>
                <a:gd name="connsiteY76" fmla="*/ 6118 h 10001"/>
                <a:gd name="connsiteX77" fmla="*/ 581 w 10000"/>
                <a:gd name="connsiteY77" fmla="*/ 6118 h 10001"/>
                <a:gd name="connsiteX78" fmla="*/ 651 w 10000"/>
                <a:gd name="connsiteY78" fmla="*/ 6547 h 10001"/>
                <a:gd name="connsiteX79" fmla="*/ 1532 w 10000"/>
                <a:gd name="connsiteY79" fmla="*/ 7112 h 10001"/>
                <a:gd name="connsiteX80" fmla="*/ 1549 w 10000"/>
                <a:gd name="connsiteY80" fmla="*/ 7112 h 10001"/>
                <a:gd name="connsiteX81" fmla="*/ 1549 w 10000"/>
                <a:gd name="connsiteY81" fmla="*/ 7134 h 10001"/>
                <a:gd name="connsiteX82" fmla="*/ 1725 w 10000"/>
                <a:gd name="connsiteY82" fmla="*/ 8173 h 10001"/>
                <a:gd name="connsiteX83" fmla="*/ 2077 w 10000"/>
                <a:gd name="connsiteY83" fmla="*/ 9053 h 10001"/>
                <a:gd name="connsiteX84" fmla="*/ 2201 w 10000"/>
                <a:gd name="connsiteY84" fmla="*/ 9324 h 10001"/>
                <a:gd name="connsiteX85" fmla="*/ 2201 w 10000"/>
                <a:gd name="connsiteY85" fmla="*/ 9324 h 10001"/>
                <a:gd name="connsiteX86" fmla="*/ 2201 w 10000"/>
                <a:gd name="connsiteY86" fmla="*/ 9346 h 10001"/>
                <a:gd name="connsiteX87" fmla="*/ 2183 w 10000"/>
                <a:gd name="connsiteY87" fmla="*/ 9933 h 10001"/>
                <a:gd name="connsiteX88" fmla="*/ 2324 w 10000"/>
                <a:gd name="connsiteY88" fmla="*/ 9933 h 10001"/>
                <a:gd name="connsiteX89" fmla="*/ 2430 w 10000"/>
                <a:gd name="connsiteY89" fmla="*/ 9662 h 10001"/>
                <a:gd name="connsiteX90" fmla="*/ 3363 w 10000"/>
                <a:gd name="connsiteY90" fmla="*/ 9662 h 10001"/>
                <a:gd name="connsiteX91" fmla="*/ 3644 w 10000"/>
                <a:gd name="connsiteY91" fmla="*/ 9437 h 10001"/>
                <a:gd name="connsiteX92" fmla="*/ 3961 w 10000"/>
                <a:gd name="connsiteY92" fmla="*/ 9346 h 10001"/>
                <a:gd name="connsiteX93" fmla="*/ 4278 w 10000"/>
                <a:gd name="connsiteY93" fmla="*/ 9504 h 10001"/>
                <a:gd name="connsiteX94" fmla="*/ 4489 w 10000"/>
                <a:gd name="connsiteY94" fmla="*/ 9437 h 10001"/>
                <a:gd name="connsiteX95" fmla="*/ 5440 w 10000"/>
                <a:gd name="connsiteY95" fmla="*/ 9369 h 10001"/>
                <a:gd name="connsiteX96" fmla="*/ 5792 w 10000"/>
                <a:gd name="connsiteY96" fmla="*/ 9211 h 10001"/>
                <a:gd name="connsiteX97" fmla="*/ 5951 w 10000"/>
                <a:gd name="connsiteY97" fmla="*/ 9369 h 10001"/>
                <a:gd name="connsiteX98" fmla="*/ 6602 w 10000"/>
                <a:gd name="connsiteY98" fmla="*/ 9324 h 10001"/>
                <a:gd name="connsiteX99" fmla="*/ 6743 w 10000"/>
                <a:gd name="connsiteY99" fmla="*/ 9572 h 10001"/>
                <a:gd name="connsiteX100" fmla="*/ 6919 w 10000"/>
                <a:gd name="connsiteY100" fmla="*/ 9775 h 10001"/>
                <a:gd name="connsiteX101" fmla="*/ 7482 w 10000"/>
                <a:gd name="connsiteY101" fmla="*/ 9730 h 10001"/>
                <a:gd name="connsiteX102" fmla="*/ 7658 w 10000"/>
                <a:gd name="connsiteY102" fmla="*/ 9866 h 10001"/>
                <a:gd name="connsiteX103" fmla="*/ 7764 w 10000"/>
                <a:gd name="connsiteY103" fmla="*/ 9911 h 10001"/>
                <a:gd name="connsiteX104" fmla="*/ 7835 w 10000"/>
                <a:gd name="connsiteY104" fmla="*/ 9978 h 10001"/>
                <a:gd name="connsiteX105" fmla="*/ 7940 w 10000"/>
                <a:gd name="connsiteY105" fmla="*/ 10001 h 10001"/>
                <a:gd name="connsiteX106" fmla="*/ 8116 w 10000"/>
                <a:gd name="connsiteY106" fmla="*/ 9933 h 10001"/>
                <a:gd name="connsiteX107" fmla="*/ 8063 w 10000"/>
                <a:gd name="connsiteY107" fmla="*/ 9617 h 10001"/>
                <a:gd name="connsiteX108" fmla="*/ 7887 w 10000"/>
                <a:gd name="connsiteY108" fmla="*/ 9392 h 10001"/>
                <a:gd name="connsiteX109" fmla="*/ 7887 w 10000"/>
                <a:gd name="connsiteY109" fmla="*/ 9008 h 10001"/>
                <a:gd name="connsiteX110" fmla="*/ 8063 w 10000"/>
                <a:gd name="connsiteY110" fmla="*/ 8872 h 10001"/>
                <a:gd name="connsiteX111" fmla="*/ 8275 w 10000"/>
                <a:gd name="connsiteY111" fmla="*/ 8692 h 10001"/>
                <a:gd name="connsiteX112" fmla="*/ 8151 w 10000"/>
                <a:gd name="connsiteY112" fmla="*/ 8601 h 10001"/>
                <a:gd name="connsiteX113" fmla="*/ 8063 w 10000"/>
                <a:gd name="connsiteY113" fmla="*/ 8466 h 10001"/>
                <a:gd name="connsiteX114" fmla="*/ 8204 w 10000"/>
                <a:gd name="connsiteY114" fmla="*/ 8240 h 10001"/>
                <a:gd name="connsiteX115" fmla="*/ 8521 w 10000"/>
                <a:gd name="connsiteY115" fmla="*/ 8240 h 10001"/>
                <a:gd name="connsiteX116" fmla="*/ 8521 w 10000"/>
                <a:gd name="connsiteY116" fmla="*/ 7947 h 10001"/>
                <a:gd name="connsiteX117" fmla="*/ 8310 w 10000"/>
                <a:gd name="connsiteY117" fmla="*/ 7834 h 10001"/>
                <a:gd name="connsiteX118" fmla="*/ 8398 w 10000"/>
                <a:gd name="connsiteY118" fmla="*/ 7495 h 10001"/>
                <a:gd name="connsiteX119" fmla="*/ 7676 w 10000"/>
                <a:gd name="connsiteY119" fmla="*/ 6164 h 10001"/>
                <a:gd name="connsiteX120" fmla="*/ 7518 w 10000"/>
                <a:gd name="connsiteY120" fmla="*/ 5441 h 10001"/>
                <a:gd name="connsiteX121" fmla="*/ 7676 w 10000"/>
                <a:gd name="connsiteY121" fmla="*/ 4764 h 10001"/>
                <a:gd name="connsiteX122" fmla="*/ 7007 w 10000"/>
                <a:gd name="connsiteY122" fmla="*/ 4854 h 10001"/>
                <a:gd name="connsiteX123" fmla="*/ 6972 w 10000"/>
                <a:gd name="connsiteY123" fmla="*/ 4809 h 10001"/>
                <a:gd name="connsiteX124" fmla="*/ 6954 w 10000"/>
                <a:gd name="connsiteY124" fmla="*/ 4629 h 10001"/>
                <a:gd name="connsiteX125" fmla="*/ 7095 w 10000"/>
                <a:gd name="connsiteY125" fmla="*/ 4267 h 10001"/>
                <a:gd name="connsiteX126" fmla="*/ 8468 w 10000"/>
                <a:gd name="connsiteY126" fmla="*/ 3342 h 10001"/>
                <a:gd name="connsiteX127" fmla="*/ 8908 w 10000"/>
                <a:gd name="connsiteY127" fmla="*/ 3161 h 10001"/>
                <a:gd name="connsiteX128" fmla="*/ 9102 w 10000"/>
                <a:gd name="connsiteY128" fmla="*/ 3432 h 10001"/>
                <a:gd name="connsiteX129" fmla="*/ 9313 w 10000"/>
                <a:gd name="connsiteY129" fmla="*/ 3432 h 10001"/>
                <a:gd name="connsiteX130" fmla="*/ 9560 w 10000"/>
                <a:gd name="connsiteY130" fmla="*/ 3206 h 10001"/>
                <a:gd name="connsiteX131" fmla="*/ 9965 w 10000"/>
                <a:gd name="connsiteY131" fmla="*/ 3455 h 10001"/>
                <a:gd name="connsiteX132" fmla="*/ 10000 w 10000"/>
                <a:gd name="connsiteY132" fmla="*/ 2732 h 10001"/>
                <a:gd name="connsiteX133" fmla="*/ 9507 w 10000"/>
                <a:gd name="connsiteY133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361 w 10000"/>
                <a:gd name="connsiteY50" fmla="*/ 1399 h 10001"/>
                <a:gd name="connsiteX51" fmla="*/ 3169 w 10000"/>
                <a:gd name="connsiteY51" fmla="*/ 1920 h 10001"/>
                <a:gd name="connsiteX52" fmla="*/ 2975 w 10000"/>
                <a:gd name="connsiteY52" fmla="*/ 1852 h 10001"/>
                <a:gd name="connsiteX53" fmla="*/ 2271 w 10000"/>
                <a:gd name="connsiteY53" fmla="*/ 1852 h 10001"/>
                <a:gd name="connsiteX54" fmla="*/ 2042 w 10000"/>
                <a:gd name="connsiteY54" fmla="*/ 1965 h 10001"/>
                <a:gd name="connsiteX55" fmla="*/ 1796 w 10000"/>
                <a:gd name="connsiteY55" fmla="*/ 1965 h 10001"/>
                <a:gd name="connsiteX56" fmla="*/ 1585 w 10000"/>
                <a:gd name="connsiteY56" fmla="*/ 2010 h 10001"/>
                <a:gd name="connsiteX57" fmla="*/ 1479 w 10000"/>
                <a:gd name="connsiteY57" fmla="*/ 1965 h 10001"/>
                <a:gd name="connsiteX58" fmla="*/ 1285 w 10000"/>
                <a:gd name="connsiteY58" fmla="*/ 2033 h 10001"/>
                <a:gd name="connsiteX59" fmla="*/ 1180 w 10000"/>
                <a:gd name="connsiteY59" fmla="*/ 2145 h 10001"/>
                <a:gd name="connsiteX60" fmla="*/ 933 w 10000"/>
                <a:gd name="connsiteY60" fmla="*/ 2326 h 10001"/>
                <a:gd name="connsiteX61" fmla="*/ 739 w 10000"/>
                <a:gd name="connsiteY61" fmla="*/ 2349 h 10001"/>
                <a:gd name="connsiteX62" fmla="*/ 669 w 10000"/>
                <a:gd name="connsiteY62" fmla="*/ 2958 h 10001"/>
                <a:gd name="connsiteX63" fmla="*/ 493 w 10000"/>
                <a:gd name="connsiteY63" fmla="*/ 3274 h 10001"/>
                <a:gd name="connsiteX64" fmla="*/ 264 w 10000"/>
                <a:gd name="connsiteY64" fmla="*/ 3229 h 10001"/>
                <a:gd name="connsiteX65" fmla="*/ 88 w 10000"/>
                <a:gd name="connsiteY65" fmla="*/ 3342 h 10001"/>
                <a:gd name="connsiteX66" fmla="*/ 88 w 10000"/>
                <a:gd name="connsiteY66" fmla="*/ 3522 h 10001"/>
                <a:gd name="connsiteX67" fmla="*/ 194 w 10000"/>
                <a:gd name="connsiteY67" fmla="*/ 3884 h 10001"/>
                <a:gd name="connsiteX68" fmla="*/ 123 w 10000"/>
                <a:gd name="connsiteY68" fmla="*/ 4154 h 10001"/>
                <a:gd name="connsiteX69" fmla="*/ 0 w 10000"/>
                <a:gd name="connsiteY69" fmla="*/ 4425 h 10001"/>
                <a:gd name="connsiteX70" fmla="*/ 18 w 10000"/>
                <a:gd name="connsiteY70" fmla="*/ 4832 h 10001"/>
                <a:gd name="connsiteX71" fmla="*/ 53 w 10000"/>
                <a:gd name="connsiteY71" fmla="*/ 5464 h 10001"/>
                <a:gd name="connsiteX72" fmla="*/ 88 w 10000"/>
                <a:gd name="connsiteY72" fmla="*/ 5464 h 10001"/>
                <a:gd name="connsiteX73" fmla="*/ 158 w 10000"/>
                <a:gd name="connsiteY73" fmla="*/ 5644 h 10001"/>
                <a:gd name="connsiteX74" fmla="*/ 581 w 10000"/>
                <a:gd name="connsiteY74" fmla="*/ 6096 h 10001"/>
                <a:gd name="connsiteX75" fmla="*/ 581 w 10000"/>
                <a:gd name="connsiteY75" fmla="*/ 6118 h 10001"/>
                <a:gd name="connsiteX76" fmla="*/ 581 w 10000"/>
                <a:gd name="connsiteY76" fmla="*/ 6118 h 10001"/>
                <a:gd name="connsiteX77" fmla="*/ 651 w 10000"/>
                <a:gd name="connsiteY77" fmla="*/ 6547 h 10001"/>
                <a:gd name="connsiteX78" fmla="*/ 1532 w 10000"/>
                <a:gd name="connsiteY78" fmla="*/ 7112 h 10001"/>
                <a:gd name="connsiteX79" fmla="*/ 1549 w 10000"/>
                <a:gd name="connsiteY79" fmla="*/ 7112 h 10001"/>
                <a:gd name="connsiteX80" fmla="*/ 1549 w 10000"/>
                <a:gd name="connsiteY80" fmla="*/ 7134 h 10001"/>
                <a:gd name="connsiteX81" fmla="*/ 1725 w 10000"/>
                <a:gd name="connsiteY81" fmla="*/ 8173 h 10001"/>
                <a:gd name="connsiteX82" fmla="*/ 2077 w 10000"/>
                <a:gd name="connsiteY82" fmla="*/ 9053 h 10001"/>
                <a:gd name="connsiteX83" fmla="*/ 2201 w 10000"/>
                <a:gd name="connsiteY83" fmla="*/ 9324 h 10001"/>
                <a:gd name="connsiteX84" fmla="*/ 2201 w 10000"/>
                <a:gd name="connsiteY84" fmla="*/ 9324 h 10001"/>
                <a:gd name="connsiteX85" fmla="*/ 2201 w 10000"/>
                <a:gd name="connsiteY85" fmla="*/ 9346 h 10001"/>
                <a:gd name="connsiteX86" fmla="*/ 2183 w 10000"/>
                <a:gd name="connsiteY86" fmla="*/ 9933 h 10001"/>
                <a:gd name="connsiteX87" fmla="*/ 2324 w 10000"/>
                <a:gd name="connsiteY87" fmla="*/ 9933 h 10001"/>
                <a:gd name="connsiteX88" fmla="*/ 2430 w 10000"/>
                <a:gd name="connsiteY88" fmla="*/ 9662 h 10001"/>
                <a:gd name="connsiteX89" fmla="*/ 3363 w 10000"/>
                <a:gd name="connsiteY89" fmla="*/ 9662 h 10001"/>
                <a:gd name="connsiteX90" fmla="*/ 3644 w 10000"/>
                <a:gd name="connsiteY90" fmla="*/ 9437 h 10001"/>
                <a:gd name="connsiteX91" fmla="*/ 3961 w 10000"/>
                <a:gd name="connsiteY91" fmla="*/ 9346 h 10001"/>
                <a:gd name="connsiteX92" fmla="*/ 4278 w 10000"/>
                <a:gd name="connsiteY92" fmla="*/ 9504 h 10001"/>
                <a:gd name="connsiteX93" fmla="*/ 4489 w 10000"/>
                <a:gd name="connsiteY93" fmla="*/ 9437 h 10001"/>
                <a:gd name="connsiteX94" fmla="*/ 5440 w 10000"/>
                <a:gd name="connsiteY94" fmla="*/ 9369 h 10001"/>
                <a:gd name="connsiteX95" fmla="*/ 5792 w 10000"/>
                <a:gd name="connsiteY95" fmla="*/ 9211 h 10001"/>
                <a:gd name="connsiteX96" fmla="*/ 5951 w 10000"/>
                <a:gd name="connsiteY96" fmla="*/ 9369 h 10001"/>
                <a:gd name="connsiteX97" fmla="*/ 6602 w 10000"/>
                <a:gd name="connsiteY97" fmla="*/ 9324 h 10001"/>
                <a:gd name="connsiteX98" fmla="*/ 6743 w 10000"/>
                <a:gd name="connsiteY98" fmla="*/ 9572 h 10001"/>
                <a:gd name="connsiteX99" fmla="*/ 6919 w 10000"/>
                <a:gd name="connsiteY99" fmla="*/ 9775 h 10001"/>
                <a:gd name="connsiteX100" fmla="*/ 7482 w 10000"/>
                <a:gd name="connsiteY100" fmla="*/ 9730 h 10001"/>
                <a:gd name="connsiteX101" fmla="*/ 7658 w 10000"/>
                <a:gd name="connsiteY101" fmla="*/ 9866 h 10001"/>
                <a:gd name="connsiteX102" fmla="*/ 7764 w 10000"/>
                <a:gd name="connsiteY102" fmla="*/ 9911 h 10001"/>
                <a:gd name="connsiteX103" fmla="*/ 7835 w 10000"/>
                <a:gd name="connsiteY103" fmla="*/ 9978 h 10001"/>
                <a:gd name="connsiteX104" fmla="*/ 7940 w 10000"/>
                <a:gd name="connsiteY104" fmla="*/ 10001 h 10001"/>
                <a:gd name="connsiteX105" fmla="*/ 8116 w 10000"/>
                <a:gd name="connsiteY105" fmla="*/ 9933 h 10001"/>
                <a:gd name="connsiteX106" fmla="*/ 8063 w 10000"/>
                <a:gd name="connsiteY106" fmla="*/ 9617 h 10001"/>
                <a:gd name="connsiteX107" fmla="*/ 7887 w 10000"/>
                <a:gd name="connsiteY107" fmla="*/ 9392 h 10001"/>
                <a:gd name="connsiteX108" fmla="*/ 7887 w 10000"/>
                <a:gd name="connsiteY108" fmla="*/ 9008 h 10001"/>
                <a:gd name="connsiteX109" fmla="*/ 8063 w 10000"/>
                <a:gd name="connsiteY109" fmla="*/ 8872 h 10001"/>
                <a:gd name="connsiteX110" fmla="*/ 8275 w 10000"/>
                <a:gd name="connsiteY110" fmla="*/ 8692 h 10001"/>
                <a:gd name="connsiteX111" fmla="*/ 8151 w 10000"/>
                <a:gd name="connsiteY111" fmla="*/ 8601 h 10001"/>
                <a:gd name="connsiteX112" fmla="*/ 8063 w 10000"/>
                <a:gd name="connsiteY112" fmla="*/ 8466 h 10001"/>
                <a:gd name="connsiteX113" fmla="*/ 8204 w 10000"/>
                <a:gd name="connsiteY113" fmla="*/ 8240 h 10001"/>
                <a:gd name="connsiteX114" fmla="*/ 8521 w 10000"/>
                <a:gd name="connsiteY114" fmla="*/ 8240 h 10001"/>
                <a:gd name="connsiteX115" fmla="*/ 8521 w 10000"/>
                <a:gd name="connsiteY115" fmla="*/ 7947 h 10001"/>
                <a:gd name="connsiteX116" fmla="*/ 8310 w 10000"/>
                <a:gd name="connsiteY116" fmla="*/ 7834 h 10001"/>
                <a:gd name="connsiteX117" fmla="*/ 8398 w 10000"/>
                <a:gd name="connsiteY117" fmla="*/ 7495 h 10001"/>
                <a:gd name="connsiteX118" fmla="*/ 7676 w 10000"/>
                <a:gd name="connsiteY118" fmla="*/ 6164 h 10001"/>
                <a:gd name="connsiteX119" fmla="*/ 7518 w 10000"/>
                <a:gd name="connsiteY119" fmla="*/ 5441 h 10001"/>
                <a:gd name="connsiteX120" fmla="*/ 7676 w 10000"/>
                <a:gd name="connsiteY120" fmla="*/ 4764 h 10001"/>
                <a:gd name="connsiteX121" fmla="*/ 7007 w 10000"/>
                <a:gd name="connsiteY121" fmla="*/ 4854 h 10001"/>
                <a:gd name="connsiteX122" fmla="*/ 6972 w 10000"/>
                <a:gd name="connsiteY122" fmla="*/ 4809 h 10001"/>
                <a:gd name="connsiteX123" fmla="*/ 6954 w 10000"/>
                <a:gd name="connsiteY123" fmla="*/ 4629 h 10001"/>
                <a:gd name="connsiteX124" fmla="*/ 7095 w 10000"/>
                <a:gd name="connsiteY124" fmla="*/ 4267 h 10001"/>
                <a:gd name="connsiteX125" fmla="*/ 8468 w 10000"/>
                <a:gd name="connsiteY125" fmla="*/ 3342 h 10001"/>
                <a:gd name="connsiteX126" fmla="*/ 8908 w 10000"/>
                <a:gd name="connsiteY126" fmla="*/ 3161 h 10001"/>
                <a:gd name="connsiteX127" fmla="*/ 9102 w 10000"/>
                <a:gd name="connsiteY127" fmla="*/ 3432 h 10001"/>
                <a:gd name="connsiteX128" fmla="*/ 9313 w 10000"/>
                <a:gd name="connsiteY128" fmla="*/ 3432 h 10001"/>
                <a:gd name="connsiteX129" fmla="*/ 9560 w 10000"/>
                <a:gd name="connsiteY129" fmla="*/ 3206 h 10001"/>
                <a:gd name="connsiteX130" fmla="*/ 9965 w 10000"/>
                <a:gd name="connsiteY130" fmla="*/ 3455 h 10001"/>
                <a:gd name="connsiteX131" fmla="*/ 10000 w 10000"/>
                <a:gd name="connsiteY131" fmla="*/ 2732 h 10001"/>
                <a:gd name="connsiteX132" fmla="*/ 9507 w 10000"/>
                <a:gd name="connsiteY132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374 w 10000"/>
                <a:gd name="connsiteY50" fmla="*/ 1589 h 10001"/>
                <a:gd name="connsiteX51" fmla="*/ 3169 w 10000"/>
                <a:gd name="connsiteY51" fmla="*/ 1920 h 10001"/>
                <a:gd name="connsiteX52" fmla="*/ 2975 w 10000"/>
                <a:gd name="connsiteY52" fmla="*/ 1852 h 10001"/>
                <a:gd name="connsiteX53" fmla="*/ 2271 w 10000"/>
                <a:gd name="connsiteY53" fmla="*/ 1852 h 10001"/>
                <a:gd name="connsiteX54" fmla="*/ 2042 w 10000"/>
                <a:gd name="connsiteY54" fmla="*/ 1965 h 10001"/>
                <a:gd name="connsiteX55" fmla="*/ 1796 w 10000"/>
                <a:gd name="connsiteY55" fmla="*/ 1965 h 10001"/>
                <a:gd name="connsiteX56" fmla="*/ 1585 w 10000"/>
                <a:gd name="connsiteY56" fmla="*/ 2010 h 10001"/>
                <a:gd name="connsiteX57" fmla="*/ 1479 w 10000"/>
                <a:gd name="connsiteY57" fmla="*/ 1965 h 10001"/>
                <a:gd name="connsiteX58" fmla="*/ 1285 w 10000"/>
                <a:gd name="connsiteY58" fmla="*/ 2033 h 10001"/>
                <a:gd name="connsiteX59" fmla="*/ 1180 w 10000"/>
                <a:gd name="connsiteY59" fmla="*/ 2145 h 10001"/>
                <a:gd name="connsiteX60" fmla="*/ 933 w 10000"/>
                <a:gd name="connsiteY60" fmla="*/ 2326 h 10001"/>
                <a:gd name="connsiteX61" fmla="*/ 739 w 10000"/>
                <a:gd name="connsiteY61" fmla="*/ 2349 h 10001"/>
                <a:gd name="connsiteX62" fmla="*/ 669 w 10000"/>
                <a:gd name="connsiteY62" fmla="*/ 2958 h 10001"/>
                <a:gd name="connsiteX63" fmla="*/ 493 w 10000"/>
                <a:gd name="connsiteY63" fmla="*/ 3274 h 10001"/>
                <a:gd name="connsiteX64" fmla="*/ 264 w 10000"/>
                <a:gd name="connsiteY64" fmla="*/ 3229 h 10001"/>
                <a:gd name="connsiteX65" fmla="*/ 88 w 10000"/>
                <a:gd name="connsiteY65" fmla="*/ 3342 h 10001"/>
                <a:gd name="connsiteX66" fmla="*/ 88 w 10000"/>
                <a:gd name="connsiteY66" fmla="*/ 3522 h 10001"/>
                <a:gd name="connsiteX67" fmla="*/ 194 w 10000"/>
                <a:gd name="connsiteY67" fmla="*/ 3884 h 10001"/>
                <a:gd name="connsiteX68" fmla="*/ 123 w 10000"/>
                <a:gd name="connsiteY68" fmla="*/ 4154 h 10001"/>
                <a:gd name="connsiteX69" fmla="*/ 0 w 10000"/>
                <a:gd name="connsiteY69" fmla="*/ 4425 h 10001"/>
                <a:gd name="connsiteX70" fmla="*/ 18 w 10000"/>
                <a:gd name="connsiteY70" fmla="*/ 4832 h 10001"/>
                <a:gd name="connsiteX71" fmla="*/ 53 w 10000"/>
                <a:gd name="connsiteY71" fmla="*/ 5464 h 10001"/>
                <a:gd name="connsiteX72" fmla="*/ 88 w 10000"/>
                <a:gd name="connsiteY72" fmla="*/ 5464 h 10001"/>
                <a:gd name="connsiteX73" fmla="*/ 158 w 10000"/>
                <a:gd name="connsiteY73" fmla="*/ 5644 h 10001"/>
                <a:gd name="connsiteX74" fmla="*/ 581 w 10000"/>
                <a:gd name="connsiteY74" fmla="*/ 6096 h 10001"/>
                <a:gd name="connsiteX75" fmla="*/ 581 w 10000"/>
                <a:gd name="connsiteY75" fmla="*/ 6118 h 10001"/>
                <a:gd name="connsiteX76" fmla="*/ 581 w 10000"/>
                <a:gd name="connsiteY76" fmla="*/ 6118 h 10001"/>
                <a:gd name="connsiteX77" fmla="*/ 651 w 10000"/>
                <a:gd name="connsiteY77" fmla="*/ 6547 h 10001"/>
                <a:gd name="connsiteX78" fmla="*/ 1532 w 10000"/>
                <a:gd name="connsiteY78" fmla="*/ 7112 h 10001"/>
                <a:gd name="connsiteX79" fmla="*/ 1549 w 10000"/>
                <a:gd name="connsiteY79" fmla="*/ 7112 h 10001"/>
                <a:gd name="connsiteX80" fmla="*/ 1549 w 10000"/>
                <a:gd name="connsiteY80" fmla="*/ 7134 h 10001"/>
                <a:gd name="connsiteX81" fmla="*/ 1725 w 10000"/>
                <a:gd name="connsiteY81" fmla="*/ 8173 h 10001"/>
                <a:gd name="connsiteX82" fmla="*/ 2077 w 10000"/>
                <a:gd name="connsiteY82" fmla="*/ 9053 h 10001"/>
                <a:gd name="connsiteX83" fmla="*/ 2201 w 10000"/>
                <a:gd name="connsiteY83" fmla="*/ 9324 h 10001"/>
                <a:gd name="connsiteX84" fmla="*/ 2201 w 10000"/>
                <a:gd name="connsiteY84" fmla="*/ 9324 h 10001"/>
                <a:gd name="connsiteX85" fmla="*/ 2201 w 10000"/>
                <a:gd name="connsiteY85" fmla="*/ 9346 h 10001"/>
                <a:gd name="connsiteX86" fmla="*/ 2183 w 10000"/>
                <a:gd name="connsiteY86" fmla="*/ 9933 h 10001"/>
                <a:gd name="connsiteX87" fmla="*/ 2324 w 10000"/>
                <a:gd name="connsiteY87" fmla="*/ 9933 h 10001"/>
                <a:gd name="connsiteX88" fmla="*/ 2430 w 10000"/>
                <a:gd name="connsiteY88" fmla="*/ 9662 h 10001"/>
                <a:gd name="connsiteX89" fmla="*/ 3363 w 10000"/>
                <a:gd name="connsiteY89" fmla="*/ 9662 h 10001"/>
                <a:gd name="connsiteX90" fmla="*/ 3644 w 10000"/>
                <a:gd name="connsiteY90" fmla="*/ 9437 h 10001"/>
                <a:gd name="connsiteX91" fmla="*/ 3961 w 10000"/>
                <a:gd name="connsiteY91" fmla="*/ 9346 h 10001"/>
                <a:gd name="connsiteX92" fmla="*/ 4278 w 10000"/>
                <a:gd name="connsiteY92" fmla="*/ 9504 h 10001"/>
                <a:gd name="connsiteX93" fmla="*/ 4489 w 10000"/>
                <a:gd name="connsiteY93" fmla="*/ 9437 h 10001"/>
                <a:gd name="connsiteX94" fmla="*/ 5440 w 10000"/>
                <a:gd name="connsiteY94" fmla="*/ 9369 h 10001"/>
                <a:gd name="connsiteX95" fmla="*/ 5792 w 10000"/>
                <a:gd name="connsiteY95" fmla="*/ 9211 h 10001"/>
                <a:gd name="connsiteX96" fmla="*/ 5951 w 10000"/>
                <a:gd name="connsiteY96" fmla="*/ 9369 h 10001"/>
                <a:gd name="connsiteX97" fmla="*/ 6602 w 10000"/>
                <a:gd name="connsiteY97" fmla="*/ 9324 h 10001"/>
                <a:gd name="connsiteX98" fmla="*/ 6743 w 10000"/>
                <a:gd name="connsiteY98" fmla="*/ 9572 h 10001"/>
                <a:gd name="connsiteX99" fmla="*/ 6919 w 10000"/>
                <a:gd name="connsiteY99" fmla="*/ 9775 h 10001"/>
                <a:gd name="connsiteX100" fmla="*/ 7482 w 10000"/>
                <a:gd name="connsiteY100" fmla="*/ 9730 h 10001"/>
                <a:gd name="connsiteX101" fmla="*/ 7658 w 10000"/>
                <a:gd name="connsiteY101" fmla="*/ 9866 h 10001"/>
                <a:gd name="connsiteX102" fmla="*/ 7764 w 10000"/>
                <a:gd name="connsiteY102" fmla="*/ 9911 h 10001"/>
                <a:gd name="connsiteX103" fmla="*/ 7835 w 10000"/>
                <a:gd name="connsiteY103" fmla="*/ 9978 h 10001"/>
                <a:gd name="connsiteX104" fmla="*/ 7940 w 10000"/>
                <a:gd name="connsiteY104" fmla="*/ 10001 h 10001"/>
                <a:gd name="connsiteX105" fmla="*/ 8116 w 10000"/>
                <a:gd name="connsiteY105" fmla="*/ 9933 h 10001"/>
                <a:gd name="connsiteX106" fmla="*/ 8063 w 10000"/>
                <a:gd name="connsiteY106" fmla="*/ 9617 h 10001"/>
                <a:gd name="connsiteX107" fmla="*/ 7887 w 10000"/>
                <a:gd name="connsiteY107" fmla="*/ 9392 h 10001"/>
                <a:gd name="connsiteX108" fmla="*/ 7887 w 10000"/>
                <a:gd name="connsiteY108" fmla="*/ 9008 h 10001"/>
                <a:gd name="connsiteX109" fmla="*/ 8063 w 10000"/>
                <a:gd name="connsiteY109" fmla="*/ 8872 h 10001"/>
                <a:gd name="connsiteX110" fmla="*/ 8275 w 10000"/>
                <a:gd name="connsiteY110" fmla="*/ 8692 h 10001"/>
                <a:gd name="connsiteX111" fmla="*/ 8151 w 10000"/>
                <a:gd name="connsiteY111" fmla="*/ 8601 h 10001"/>
                <a:gd name="connsiteX112" fmla="*/ 8063 w 10000"/>
                <a:gd name="connsiteY112" fmla="*/ 8466 h 10001"/>
                <a:gd name="connsiteX113" fmla="*/ 8204 w 10000"/>
                <a:gd name="connsiteY113" fmla="*/ 8240 h 10001"/>
                <a:gd name="connsiteX114" fmla="*/ 8521 w 10000"/>
                <a:gd name="connsiteY114" fmla="*/ 8240 h 10001"/>
                <a:gd name="connsiteX115" fmla="*/ 8521 w 10000"/>
                <a:gd name="connsiteY115" fmla="*/ 7947 h 10001"/>
                <a:gd name="connsiteX116" fmla="*/ 8310 w 10000"/>
                <a:gd name="connsiteY116" fmla="*/ 7834 h 10001"/>
                <a:gd name="connsiteX117" fmla="*/ 8398 w 10000"/>
                <a:gd name="connsiteY117" fmla="*/ 7495 h 10001"/>
                <a:gd name="connsiteX118" fmla="*/ 7676 w 10000"/>
                <a:gd name="connsiteY118" fmla="*/ 6164 h 10001"/>
                <a:gd name="connsiteX119" fmla="*/ 7518 w 10000"/>
                <a:gd name="connsiteY119" fmla="*/ 5441 h 10001"/>
                <a:gd name="connsiteX120" fmla="*/ 7676 w 10000"/>
                <a:gd name="connsiteY120" fmla="*/ 4764 h 10001"/>
                <a:gd name="connsiteX121" fmla="*/ 7007 w 10000"/>
                <a:gd name="connsiteY121" fmla="*/ 4854 h 10001"/>
                <a:gd name="connsiteX122" fmla="*/ 6972 w 10000"/>
                <a:gd name="connsiteY122" fmla="*/ 4809 h 10001"/>
                <a:gd name="connsiteX123" fmla="*/ 6954 w 10000"/>
                <a:gd name="connsiteY123" fmla="*/ 4629 h 10001"/>
                <a:gd name="connsiteX124" fmla="*/ 7095 w 10000"/>
                <a:gd name="connsiteY124" fmla="*/ 4267 h 10001"/>
                <a:gd name="connsiteX125" fmla="*/ 8468 w 10000"/>
                <a:gd name="connsiteY125" fmla="*/ 3342 h 10001"/>
                <a:gd name="connsiteX126" fmla="*/ 8908 w 10000"/>
                <a:gd name="connsiteY126" fmla="*/ 3161 h 10001"/>
                <a:gd name="connsiteX127" fmla="*/ 9102 w 10000"/>
                <a:gd name="connsiteY127" fmla="*/ 3432 h 10001"/>
                <a:gd name="connsiteX128" fmla="*/ 9313 w 10000"/>
                <a:gd name="connsiteY128" fmla="*/ 3432 h 10001"/>
                <a:gd name="connsiteX129" fmla="*/ 9560 w 10000"/>
                <a:gd name="connsiteY129" fmla="*/ 3206 h 10001"/>
                <a:gd name="connsiteX130" fmla="*/ 9965 w 10000"/>
                <a:gd name="connsiteY130" fmla="*/ 3455 h 10001"/>
                <a:gd name="connsiteX131" fmla="*/ 10000 w 10000"/>
                <a:gd name="connsiteY131" fmla="*/ 2732 h 10001"/>
                <a:gd name="connsiteX132" fmla="*/ 9507 w 10000"/>
                <a:gd name="connsiteY132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374 w 10000"/>
                <a:gd name="connsiteY50" fmla="*/ 1589 h 10001"/>
                <a:gd name="connsiteX51" fmla="*/ 3223 w 10000"/>
                <a:gd name="connsiteY51" fmla="*/ 1540 h 10001"/>
                <a:gd name="connsiteX52" fmla="*/ 2975 w 10000"/>
                <a:gd name="connsiteY52" fmla="*/ 1852 h 10001"/>
                <a:gd name="connsiteX53" fmla="*/ 2271 w 10000"/>
                <a:gd name="connsiteY53" fmla="*/ 1852 h 10001"/>
                <a:gd name="connsiteX54" fmla="*/ 2042 w 10000"/>
                <a:gd name="connsiteY54" fmla="*/ 1965 h 10001"/>
                <a:gd name="connsiteX55" fmla="*/ 1796 w 10000"/>
                <a:gd name="connsiteY55" fmla="*/ 1965 h 10001"/>
                <a:gd name="connsiteX56" fmla="*/ 1585 w 10000"/>
                <a:gd name="connsiteY56" fmla="*/ 2010 h 10001"/>
                <a:gd name="connsiteX57" fmla="*/ 1479 w 10000"/>
                <a:gd name="connsiteY57" fmla="*/ 1965 h 10001"/>
                <a:gd name="connsiteX58" fmla="*/ 1285 w 10000"/>
                <a:gd name="connsiteY58" fmla="*/ 2033 h 10001"/>
                <a:gd name="connsiteX59" fmla="*/ 1180 w 10000"/>
                <a:gd name="connsiteY59" fmla="*/ 2145 h 10001"/>
                <a:gd name="connsiteX60" fmla="*/ 933 w 10000"/>
                <a:gd name="connsiteY60" fmla="*/ 2326 h 10001"/>
                <a:gd name="connsiteX61" fmla="*/ 739 w 10000"/>
                <a:gd name="connsiteY61" fmla="*/ 2349 h 10001"/>
                <a:gd name="connsiteX62" fmla="*/ 669 w 10000"/>
                <a:gd name="connsiteY62" fmla="*/ 2958 h 10001"/>
                <a:gd name="connsiteX63" fmla="*/ 493 w 10000"/>
                <a:gd name="connsiteY63" fmla="*/ 3274 h 10001"/>
                <a:gd name="connsiteX64" fmla="*/ 264 w 10000"/>
                <a:gd name="connsiteY64" fmla="*/ 3229 h 10001"/>
                <a:gd name="connsiteX65" fmla="*/ 88 w 10000"/>
                <a:gd name="connsiteY65" fmla="*/ 3342 h 10001"/>
                <a:gd name="connsiteX66" fmla="*/ 88 w 10000"/>
                <a:gd name="connsiteY66" fmla="*/ 3522 h 10001"/>
                <a:gd name="connsiteX67" fmla="*/ 194 w 10000"/>
                <a:gd name="connsiteY67" fmla="*/ 3884 h 10001"/>
                <a:gd name="connsiteX68" fmla="*/ 123 w 10000"/>
                <a:gd name="connsiteY68" fmla="*/ 4154 h 10001"/>
                <a:gd name="connsiteX69" fmla="*/ 0 w 10000"/>
                <a:gd name="connsiteY69" fmla="*/ 4425 h 10001"/>
                <a:gd name="connsiteX70" fmla="*/ 18 w 10000"/>
                <a:gd name="connsiteY70" fmla="*/ 4832 h 10001"/>
                <a:gd name="connsiteX71" fmla="*/ 53 w 10000"/>
                <a:gd name="connsiteY71" fmla="*/ 5464 h 10001"/>
                <a:gd name="connsiteX72" fmla="*/ 88 w 10000"/>
                <a:gd name="connsiteY72" fmla="*/ 5464 h 10001"/>
                <a:gd name="connsiteX73" fmla="*/ 158 w 10000"/>
                <a:gd name="connsiteY73" fmla="*/ 5644 h 10001"/>
                <a:gd name="connsiteX74" fmla="*/ 581 w 10000"/>
                <a:gd name="connsiteY74" fmla="*/ 6096 h 10001"/>
                <a:gd name="connsiteX75" fmla="*/ 581 w 10000"/>
                <a:gd name="connsiteY75" fmla="*/ 6118 h 10001"/>
                <a:gd name="connsiteX76" fmla="*/ 581 w 10000"/>
                <a:gd name="connsiteY76" fmla="*/ 6118 h 10001"/>
                <a:gd name="connsiteX77" fmla="*/ 651 w 10000"/>
                <a:gd name="connsiteY77" fmla="*/ 6547 h 10001"/>
                <a:gd name="connsiteX78" fmla="*/ 1532 w 10000"/>
                <a:gd name="connsiteY78" fmla="*/ 7112 h 10001"/>
                <a:gd name="connsiteX79" fmla="*/ 1549 w 10000"/>
                <a:gd name="connsiteY79" fmla="*/ 7112 h 10001"/>
                <a:gd name="connsiteX80" fmla="*/ 1549 w 10000"/>
                <a:gd name="connsiteY80" fmla="*/ 7134 h 10001"/>
                <a:gd name="connsiteX81" fmla="*/ 1725 w 10000"/>
                <a:gd name="connsiteY81" fmla="*/ 8173 h 10001"/>
                <a:gd name="connsiteX82" fmla="*/ 2077 w 10000"/>
                <a:gd name="connsiteY82" fmla="*/ 9053 h 10001"/>
                <a:gd name="connsiteX83" fmla="*/ 2201 w 10000"/>
                <a:gd name="connsiteY83" fmla="*/ 9324 h 10001"/>
                <a:gd name="connsiteX84" fmla="*/ 2201 w 10000"/>
                <a:gd name="connsiteY84" fmla="*/ 9324 h 10001"/>
                <a:gd name="connsiteX85" fmla="*/ 2201 w 10000"/>
                <a:gd name="connsiteY85" fmla="*/ 9346 h 10001"/>
                <a:gd name="connsiteX86" fmla="*/ 2183 w 10000"/>
                <a:gd name="connsiteY86" fmla="*/ 9933 h 10001"/>
                <a:gd name="connsiteX87" fmla="*/ 2324 w 10000"/>
                <a:gd name="connsiteY87" fmla="*/ 9933 h 10001"/>
                <a:gd name="connsiteX88" fmla="*/ 2430 w 10000"/>
                <a:gd name="connsiteY88" fmla="*/ 9662 h 10001"/>
                <a:gd name="connsiteX89" fmla="*/ 3363 w 10000"/>
                <a:gd name="connsiteY89" fmla="*/ 9662 h 10001"/>
                <a:gd name="connsiteX90" fmla="*/ 3644 w 10000"/>
                <a:gd name="connsiteY90" fmla="*/ 9437 h 10001"/>
                <a:gd name="connsiteX91" fmla="*/ 3961 w 10000"/>
                <a:gd name="connsiteY91" fmla="*/ 9346 h 10001"/>
                <a:gd name="connsiteX92" fmla="*/ 4278 w 10000"/>
                <a:gd name="connsiteY92" fmla="*/ 9504 h 10001"/>
                <a:gd name="connsiteX93" fmla="*/ 4489 w 10000"/>
                <a:gd name="connsiteY93" fmla="*/ 9437 h 10001"/>
                <a:gd name="connsiteX94" fmla="*/ 5440 w 10000"/>
                <a:gd name="connsiteY94" fmla="*/ 9369 h 10001"/>
                <a:gd name="connsiteX95" fmla="*/ 5792 w 10000"/>
                <a:gd name="connsiteY95" fmla="*/ 9211 h 10001"/>
                <a:gd name="connsiteX96" fmla="*/ 5951 w 10000"/>
                <a:gd name="connsiteY96" fmla="*/ 9369 h 10001"/>
                <a:gd name="connsiteX97" fmla="*/ 6602 w 10000"/>
                <a:gd name="connsiteY97" fmla="*/ 9324 h 10001"/>
                <a:gd name="connsiteX98" fmla="*/ 6743 w 10000"/>
                <a:gd name="connsiteY98" fmla="*/ 9572 h 10001"/>
                <a:gd name="connsiteX99" fmla="*/ 6919 w 10000"/>
                <a:gd name="connsiteY99" fmla="*/ 9775 h 10001"/>
                <a:gd name="connsiteX100" fmla="*/ 7482 w 10000"/>
                <a:gd name="connsiteY100" fmla="*/ 9730 h 10001"/>
                <a:gd name="connsiteX101" fmla="*/ 7658 w 10000"/>
                <a:gd name="connsiteY101" fmla="*/ 9866 h 10001"/>
                <a:gd name="connsiteX102" fmla="*/ 7764 w 10000"/>
                <a:gd name="connsiteY102" fmla="*/ 9911 h 10001"/>
                <a:gd name="connsiteX103" fmla="*/ 7835 w 10000"/>
                <a:gd name="connsiteY103" fmla="*/ 9978 h 10001"/>
                <a:gd name="connsiteX104" fmla="*/ 7940 w 10000"/>
                <a:gd name="connsiteY104" fmla="*/ 10001 h 10001"/>
                <a:gd name="connsiteX105" fmla="*/ 8116 w 10000"/>
                <a:gd name="connsiteY105" fmla="*/ 9933 h 10001"/>
                <a:gd name="connsiteX106" fmla="*/ 8063 w 10000"/>
                <a:gd name="connsiteY106" fmla="*/ 9617 h 10001"/>
                <a:gd name="connsiteX107" fmla="*/ 7887 w 10000"/>
                <a:gd name="connsiteY107" fmla="*/ 9392 h 10001"/>
                <a:gd name="connsiteX108" fmla="*/ 7887 w 10000"/>
                <a:gd name="connsiteY108" fmla="*/ 9008 h 10001"/>
                <a:gd name="connsiteX109" fmla="*/ 8063 w 10000"/>
                <a:gd name="connsiteY109" fmla="*/ 8872 h 10001"/>
                <a:gd name="connsiteX110" fmla="*/ 8275 w 10000"/>
                <a:gd name="connsiteY110" fmla="*/ 8692 h 10001"/>
                <a:gd name="connsiteX111" fmla="*/ 8151 w 10000"/>
                <a:gd name="connsiteY111" fmla="*/ 8601 h 10001"/>
                <a:gd name="connsiteX112" fmla="*/ 8063 w 10000"/>
                <a:gd name="connsiteY112" fmla="*/ 8466 h 10001"/>
                <a:gd name="connsiteX113" fmla="*/ 8204 w 10000"/>
                <a:gd name="connsiteY113" fmla="*/ 8240 h 10001"/>
                <a:gd name="connsiteX114" fmla="*/ 8521 w 10000"/>
                <a:gd name="connsiteY114" fmla="*/ 8240 h 10001"/>
                <a:gd name="connsiteX115" fmla="*/ 8521 w 10000"/>
                <a:gd name="connsiteY115" fmla="*/ 7947 h 10001"/>
                <a:gd name="connsiteX116" fmla="*/ 8310 w 10000"/>
                <a:gd name="connsiteY116" fmla="*/ 7834 h 10001"/>
                <a:gd name="connsiteX117" fmla="*/ 8398 w 10000"/>
                <a:gd name="connsiteY117" fmla="*/ 7495 h 10001"/>
                <a:gd name="connsiteX118" fmla="*/ 7676 w 10000"/>
                <a:gd name="connsiteY118" fmla="*/ 6164 h 10001"/>
                <a:gd name="connsiteX119" fmla="*/ 7518 w 10000"/>
                <a:gd name="connsiteY119" fmla="*/ 5441 h 10001"/>
                <a:gd name="connsiteX120" fmla="*/ 7676 w 10000"/>
                <a:gd name="connsiteY120" fmla="*/ 4764 h 10001"/>
                <a:gd name="connsiteX121" fmla="*/ 7007 w 10000"/>
                <a:gd name="connsiteY121" fmla="*/ 4854 h 10001"/>
                <a:gd name="connsiteX122" fmla="*/ 6972 w 10000"/>
                <a:gd name="connsiteY122" fmla="*/ 4809 h 10001"/>
                <a:gd name="connsiteX123" fmla="*/ 6954 w 10000"/>
                <a:gd name="connsiteY123" fmla="*/ 4629 h 10001"/>
                <a:gd name="connsiteX124" fmla="*/ 7095 w 10000"/>
                <a:gd name="connsiteY124" fmla="*/ 4267 h 10001"/>
                <a:gd name="connsiteX125" fmla="*/ 8468 w 10000"/>
                <a:gd name="connsiteY125" fmla="*/ 3342 h 10001"/>
                <a:gd name="connsiteX126" fmla="*/ 8908 w 10000"/>
                <a:gd name="connsiteY126" fmla="*/ 3161 h 10001"/>
                <a:gd name="connsiteX127" fmla="*/ 9102 w 10000"/>
                <a:gd name="connsiteY127" fmla="*/ 3432 h 10001"/>
                <a:gd name="connsiteX128" fmla="*/ 9313 w 10000"/>
                <a:gd name="connsiteY128" fmla="*/ 3432 h 10001"/>
                <a:gd name="connsiteX129" fmla="*/ 9560 w 10000"/>
                <a:gd name="connsiteY129" fmla="*/ 3206 h 10001"/>
                <a:gd name="connsiteX130" fmla="*/ 9965 w 10000"/>
                <a:gd name="connsiteY130" fmla="*/ 3455 h 10001"/>
                <a:gd name="connsiteX131" fmla="*/ 10000 w 10000"/>
                <a:gd name="connsiteY131" fmla="*/ 2732 h 10001"/>
                <a:gd name="connsiteX132" fmla="*/ 9507 w 10000"/>
                <a:gd name="connsiteY132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374 w 10000"/>
                <a:gd name="connsiteY50" fmla="*/ 1589 h 10001"/>
                <a:gd name="connsiteX51" fmla="*/ 3223 w 10000"/>
                <a:gd name="connsiteY51" fmla="*/ 1540 h 10001"/>
                <a:gd name="connsiteX52" fmla="*/ 2962 w 10000"/>
                <a:gd name="connsiteY52" fmla="*/ 1558 h 10001"/>
                <a:gd name="connsiteX53" fmla="*/ 2271 w 10000"/>
                <a:gd name="connsiteY53" fmla="*/ 1852 h 10001"/>
                <a:gd name="connsiteX54" fmla="*/ 2042 w 10000"/>
                <a:gd name="connsiteY54" fmla="*/ 1965 h 10001"/>
                <a:gd name="connsiteX55" fmla="*/ 1796 w 10000"/>
                <a:gd name="connsiteY55" fmla="*/ 1965 h 10001"/>
                <a:gd name="connsiteX56" fmla="*/ 1585 w 10000"/>
                <a:gd name="connsiteY56" fmla="*/ 2010 h 10001"/>
                <a:gd name="connsiteX57" fmla="*/ 1479 w 10000"/>
                <a:gd name="connsiteY57" fmla="*/ 1965 h 10001"/>
                <a:gd name="connsiteX58" fmla="*/ 1285 w 10000"/>
                <a:gd name="connsiteY58" fmla="*/ 2033 h 10001"/>
                <a:gd name="connsiteX59" fmla="*/ 1180 w 10000"/>
                <a:gd name="connsiteY59" fmla="*/ 2145 h 10001"/>
                <a:gd name="connsiteX60" fmla="*/ 933 w 10000"/>
                <a:gd name="connsiteY60" fmla="*/ 2326 h 10001"/>
                <a:gd name="connsiteX61" fmla="*/ 739 w 10000"/>
                <a:gd name="connsiteY61" fmla="*/ 2349 h 10001"/>
                <a:gd name="connsiteX62" fmla="*/ 669 w 10000"/>
                <a:gd name="connsiteY62" fmla="*/ 2958 h 10001"/>
                <a:gd name="connsiteX63" fmla="*/ 493 w 10000"/>
                <a:gd name="connsiteY63" fmla="*/ 3274 h 10001"/>
                <a:gd name="connsiteX64" fmla="*/ 264 w 10000"/>
                <a:gd name="connsiteY64" fmla="*/ 3229 h 10001"/>
                <a:gd name="connsiteX65" fmla="*/ 88 w 10000"/>
                <a:gd name="connsiteY65" fmla="*/ 3342 h 10001"/>
                <a:gd name="connsiteX66" fmla="*/ 88 w 10000"/>
                <a:gd name="connsiteY66" fmla="*/ 3522 h 10001"/>
                <a:gd name="connsiteX67" fmla="*/ 194 w 10000"/>
                <a:gd name="connsiteY67" fmla="*/ 3884 h 10001"/>
                <a:gd name="connsiteX68" fmla="*/ 123 w 10000"/>
                <a:gd name="connsiteY68" fmla="*/ 4154 h 10001"/>
                <a:gd name="connsiteX69" fmla="*/ 0 w 10000"/>
                <a:gd name="connsiteY69" fmla="*/ 4425 h 10001"/>
                <a:gd name="connsiteX70" fmla="*/ 18 w 10000"/>
                <a:gd name="connsiteY70" fmla="*/ 4832 h 10001"/>
                <a:gd name="connsiteX71" fmla="*/ 53 w 10000"/>
                <a:gd name="connsiteY71" fmla="*/ 5464 h 10001"/>
                <a:gd name="connsiteX72" fmla="*/ 88 w 10000"/>
                <a:gd name="connsiteY72" fmla="*/ 5464 h 10001"/>
                <a:gd name="connsiteX73" fmla="*/ 158 w 10000"/>
                <a:gd name="connsiteY73" fmla="*/ 5644 h 10001"/>
                <a:gd name="connsiteX74" fmla="*/ 581 w 10000"/>
                <a:gd name="connsiteY74" fmla="*/ 6096 h 10001"/>
                <a:gd name="connsiteX75" fmla="*/ 581 w 10000"/>
                <a:gd name="connsiteY75" fmla="*/ 6118 h 10001"/>
                <a:gd name="connsiteX76" fmla="*/ 581 w 10000"/>
                <a:gd name="connsiteY76" fmla="*/ 6118 h 10001"/>
                <a:gd name="connsiteX77" fmla="*/ 651 w 10000"/>
                <a:gd name="connsiteY77" fmla="*/ 6547 h 10001"/>
                <a:gd name="connsiteX78" fmla="*/ 1532 w 10000"/>
                <a:gd name="connsiteY78" fmla="*/ 7112 h 10001"/>
                <a:gd name="connsiteX79" fmla="*/ 1549 w 10000"/>
                <a:gd name="connsiteY79" fmla="*/ 7112 h 10001"/>
                <a:gd name="connsiteX80" fmla="*/ 1549 w 10000"/>
                <a:gd name="connsiteY80" fmla="*/ 7134 h 10001"/>
                <a:gd name="connsiteX81" fmla="*/ 1725 w 10000"/>
                <a:gd name="connsiteY81" fmla="*/ 8173 h 10001"/>
                <a:gd name="connsiteX82" fmla="*/ 2077 w 10000"/>
                <a:gd name="connsiteY82" fmla="*/ 9053 h 10001"/>
                <a:gd name="connsiteX83" fmla="*/ 2201 w 10000"/>
                <a:gd name="connsiteY83" fmla="*/ 9324 h 10001"/>
                <a:gd name="connsiteX84" fmla="*/ 2201 w 10000"/>
                <a:gd name="connsiteY84" fmla="*/ 9324 h 10001"/>
                <a:gd name="connsiteX85" fmla="*/ 2201 w 10000"/>
                <a:gd name="connsiteY85" fmla="*/ 9346 h 10001"/>
                <a:gd name="connsiteX86" fmla="*/ 2183 w 10000"/>
                <a:gd name="connsiteY86" fmla="*/ 9933 h 10001"/>
                <a:gd name="connsiteX87" fmla="*/ 2324 w 10000"/>
                <a:gd name="connsiteY87" fmla="*/ 9933 h 10001"/>
                <a:gd name="connsiteX88" fmla="*/ 2430 w 10000"/>
                <a:gd name="connsiteY88" fmla="*/ 9662 h 10001"/>
                <a:gd name="connsiteX89" fmla="*/ 3363 w 10000"/>
                <a:gd name="connsiteY89" fmla="*/ 9662 h 10001"/>
                <a:gd name="connsiteX90" fmla="*/ 3644 w 10000"/>
                <a:gd name="connsiteY90" fmla="*/ 9437 h 10001"/>
                <a:gd name="connsiteX91" fmla="*/ 3961 w 10000"/>
                <a:gd name="connsiteY91" fmla="*/ 9346 h 10001"/>
                <a:gd name="connsiteX92" fmla="*/ 4278 w 10000"/>
                <a:gd name="connsiteY92" fmla="*/ 9504 h 10001"/>
                <a:gd name="connsiteX93" fmla="*/ 4489 w 10000"/>
                <a:gd name="connsiteY93" fmla="*/ 9437 h 10001"/>
                <a:gd name="connsiteX94" fmla="*/ 5440 w 10000"/>
                <a:gd name="connsiteY94" fmla="*/ 9369 h 10001"/>
                <a:gd name="connsiteX95" fmla="*/ 5792 w 10000"/>
                <a:gd name="connsiteY95" fmla="*/ 9211 h 10001"/>
                <a:gd name="connsiteX96" fmla="*/ 5951 w 10000"/>
                <a:gd name="connsiteY96" fmla="*/ 9369 h 10001"/>
                <a:gd name="connsiteX97" fmla="*/ 6602 w 10000"/>
                <a:gd name="connsiteY97" fmla="*/ 9324 h 10001"/>
                <a:gd name="connsiteX98" fmla="*/ 6743 w 10000"/>
                <a:gd name="connsiteY98" fmla="*/ 9572 h 10001"/>
                <a:gd name="connsiteX99" fmla="*/ 6919 w 10000"/>
                <a:gd name="connsiteY99" fmla="*/ 9775 h 10001"/>
                <a:gd name="connsiteX100" fmla="*/ 7482 w 10000"/>
                <a:gd name="connsiteY100" fmla="*/ 9730 h 10001"/>
                <a:gd name="connsiteX101" fmla="*/ 7658 w 10000"/>
                <a:gd name="connsiteY101" fmla="*/ 9866 h 10001"/>
                <a:gd name="connsiteX102" fmla="*/ 7764 w 10000"/>
                <a:gd name="connsiteY102" fmla="*/ 9911 h 10001"/>
                <a:gd name="connsiteX103" fmla="*/ 7835 w 10000"/>
                <a:gd name="connsiteY103" fmla="*/ 9978 h 10001"/>
                <a:gd name="connsiteX104" fmla="*/ 7940 w 10000"/>
                <a:gd name="connsiteY104" fmla="*/ 10001 h 10001"/>
                <a:gd name="connsiteX105" fmla="*/ 8116 w 10000"/>
                <a:gd name="connsiteY105" fmla="*/ 9933 h 10001"/>
                <a:gd name="connsiteX106" fmla="*/ 8063 w 10000"/>
                <a:gd name="connsiteY106" fmla="*/ 9617 h 10001"/>
                <a:gd name="connsiteX107" fmla="*/ 7887 w 10000"/>
                <a:gd name="connsiteY107" fmla="*/ 9392 h 10001"/>
                <a:gd name="connsiteX108" fmla="*/ 7887 w 10000"/>
                <a:gd name="connsiteY108" fmla="*/ 9008 h 10001"/>
                <a:gd name="connsiteX109" fmla="*/ 8063 w 10000"/>
                <a:gd name="connsiteY109" fmla="*/ 8872 h 10001"/>
                <a:gd name="connsiteX110" fmla="*/ 8275 w 10000"/>
                <a:gd name="connsiteY110" fmla="*/ 8692 h 10001"/>
                <a:gd name="connsiteX111" fmla="*/ 8151 w 10000"/>
                <a:gd name="connsiteY111" fmla="*/ 8601 h 10001"/>
                <a:gd name="connsiteX112" fmla="*/ 8063 w 10000"/>
                <a:gd name="connsiteY112" fmla="*/ 8466 h 10001"/>
                <a:gd name="connsiteX113" fmla="*/ 8204 w 10000"/>
                <a:gd name="connsiteY113" fmla="*/ 8240 h 10001"/>
                <a:gd name="connsiteX114" fmla="*/ 8521 w 10000"/>
                <a:gd name="connsiteY114" fmla="*/ 8240 h 10001"/>
                <a:gd name="connsiteX115" fmla="*/ 8521 w 10000"/>
                <a:gd name="connsiteY115" fmla="*/ 7947 h 10001"/>
                <a:gd name="connsiteX116" fmla="*/ 8310 w 10000"/>
                <a:gd name="connsiteY116" fmla="*/ 7834 h 10001"/>
                <a:gd name="connsiteX117" fmla="*/ 8398 w 10000"/>
                <a:gd name="connsiteY117" fmla="*/ 7495 h 10001"/>
                <a:gd name="connsiteX118" fmla="*/ 7676 w 10000"/>
                <a:gd name="connsiteY118" fmla="*/ 6164 h 10001"/>
                <a:gd name="connsiteX119" fmla="*/ 7518 w 10000"/>
                <a:gd name="connsiteY119" fmla="*/ 5441 h 10001"/>
                <a:gd name="connsiteX120" fmla="*/ 7676 w 10000"/>
                <a:gd name="connsiteY120" fmla="*/ 4764 h 10001"/>
                <a:gd name="connsiteX121" fmla="*/ 7007 w 10000"/>
                <a:gd name="connsiteY121" fmla="*/ 4854 h 10001"/>
                <a:gd name="connsiteX122" fmla="*/ 6972 w 10000"/>
                <a:gd name="connsiteY122" fmla="*/ 4809 h 10001"/>
                <a:gd name="connsiteX123" fmla="*/ 6954 w 10000"/>
                <a:gd name="connsiteY123" fmla="*/ 4629 h 10001"/>
                <a:gd name="connsiteX124" fmla="*/ 7095 w 10000"/>
                <a:gd name="connsiteY124" fmla="*/ 4267 h 10001"/>
                <a:gd name="connsiteX125" fmla="*/ 8468 w 10000"/>
                <a:gd name="connsiteY125" fmla="*/ 3342 h 10001"/>
                <a:gd name="connsiteX126" fmla="*/ 8908 w 10000"/>
                <a:gd name="connsiteY126" fmla="*/ 3161 h 10001"/>
                <a:gd name="connsiteX127" fmla="*/ 9102 w 10000"/>
                <a:gd name="connsiteY127" fmla="*/ 3432 h 10001"/>
                <a:gd name="connsiteX128" fmla="*/ 9313 w 10000"/>
                <a:gd name="connsiteY128" fmla="*/ 3432 h 10001"/>
                <a:gd name="connsiteX129" fmla="*/ 9560 w 10000"/>
                <a:gd name="connsiteY129" fmla="*/ 3206 h 10001"/>
                <a:gd name="connsiteX130" fmla="*/ 9965 w 10000"/>
                <a:gd name="connsiteY130" fmla="*/ 3455 h 10001"/>
                <a:gd name="connsiteX131" fmla="*/ 10000 w 10000"/>
                <a:gd name="connsiteY131" fmla="*/ 2732 h 10001"/>
                <a:gd name="connsiteX132" fmla="*/ 9507 w 10000"/>
                <a:gd name="connsiteY132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374 w 10000"/>
                <a:gd name="connsiteY50" fmla="*/ 1589 h 10001"/>
                <a:gd name="connsiteX51" fmla="*/ 3223 w 10000"/>
                <a:gd name="connsiteY51" fmla="*/ 1540 h 10001"/>
                <a:gd name="connsiteX52" fmla="*/ 2962 w 10000"/>
                <a:gd name="connsiteY52" fmla="*/ 1558 h 10001"/>
                <a:gd name="connsiteX53" fmla="*/ 2810 w 10000"/>
                <a:gd name="connsiteY53" fmla="*/ 1437 h 10001"/>
                <a:gd name="connsiteX54" fmla="*/ 2042 w 10000"/>
                <a:gd name="connsiteY54" fmla="*/ 1965 h 10001"/>
                <a:gd name="connsiteX55" fmla="*/ 1796 w 10000"/>
                <a:gd name="connsiteY55" fmla="*/ 1965 h 10001"/>
                <a:gd name="connsiteX56" fmla="*/ 1585 w 10000"/>
                <a:gd name="connsiteY56" fmla="*/ 2010 h 10001"/>
                <a:gd name="connsiteX57" fmla="*/ 1479 w 10000"/>
                <a:gd name="connsiteY57" fmla="*/ 1965 h 10001"/>
                <a:gd name="connsiteX58" fmla="*/ 1285 w 10000"/>
                <a:gd name="connsiteY58" fmla="*/ 2033 h 10001"/>
                <a:gd name="connsiteX59" fmla="*/ 1180 w 10000"/>
                <a:gd name="connsiteY59" fmla="*/ 2145 h 10001"/>
                <a:gd name="connsiteX60" fmla="*/ 933 w 10000"/>
                <a:gd name="connsiteY60" fmla="*/ 2326 h 10001"/>
                <a:gd name="connsiteX61" fmla="*/ 739 w 10000"/>
                <a:gd name="connsiteY61" fmla="*/ 2349 h 10001"/>
                <a:gd name="connsiteX62" fmla="*/ 669 w 10000"/>
                <a:gd name="connsiteY62" fmla="*/ 2958 h 10001"/>
                <a:gd name="connsiteX63" fmla="*/ 493 w 10000"/>
                <a:gd name="connsiteY63" fmla="*/ 3274 h 10001"/>
                <a:gd name="connsiteX64" fmla="*/ 264 w 10000"/>
                <a:gd name="connsiteY64" fmla="*/ 3229 h 10001"/>
                <a:gd name="connsiteX65" fmla="*/ 88 w 10000"/>
                <a:gd name="connsiteY65" fmla="*/ 3342 h 10001"/>
                <a:gd name="connsiteX66" fmla="*/ 88 w 10000"/>
                <a:gd name="connsiteY66" fmla="*/ 3522 h 10001"/>
                <a:gd name="connsiteX67" fmla="*/ 194 w 10000"/>
                <a:gd name="connsiteY67" fmla="*/ 3884 h 10001"/>
                <a:gd name="connsiteX68" fmla="*/ 123 w 10000"/>
                <a:gd name="connsiteY68" fmla="*/ 4154 h 10001"/>
                <a:gd name="connsiteX69" fmla="*/ 0 w 10000"/>
                <a:gd name="connsiteY69" fmla="*/ 4425 h 10001"/>
                <a:gd name="connsiteX70" fmla="*/ 18 w 10000"/>
                <a:gd name="connsiteY70" fmla="*/ 4832 h 10001"/>
                <a:gd name="connsiteX71" fmla="*/ 53 w 10000"/>
                <a:gd name="connsiteY71" fmla="*/ 5464 h 10001"/>
                <a:gd name="connsiteX72" fmla="*/ 88 w 10000"/>
                <a:gd name="connsiteY72" fmla="*/ 5464 h 10001"/>
                <a:gd name="connsiteX73" fmla="*/ 158 w 10000"/>
                <a:gd name="connsiteY73" fmla="*/ 5644 h 10001"/>
                <a:gd name="connsiteX74" fmla="*/ 581 w 10000"/>
                <a:gd name="connsiteY74" fmla="*/ 6096 h 10001"/>
                <a:gd name="connsiteX75" fmla="*/ 581 w 10000"/>
                <a:gd name="connsiteY75" fmla="*/ 6118 h 10001"/>
                <a:gd name="connsiteX76" fmla="*/ 581 w 10000"/>
                <a:gd name="connsiteY76" fmla="*/ 6118 h 10001"/>
                <a:gd name="connsiteX77" fmla="*/ 651 w 10000"/>
                <a:gd name="connsiteY77" fmla="*/ 6547 h 10001"/>
                <a:gd name="connsiteX78" fmla="*/ 1532 w 10000"/>
                <a:gd name="connsiteY78" fmla="*/ 7112 h 10001"/>
                <a:gd name="connsiteX79" fmla="*/ 1549 w 10000"/>
                <a:gd name="connsiteY79" fmla="*/ 7112 h 10001"/>
                <a:gd name="connsiteX80" fmla="*/ 1549 w 10000"/>
                <a:gd name="connsiteY80" fmla="*/ 7134 h 10001"/>
                <a:gd name="connsiteX81" fmla="*/ 1725 w 10000"/>
                <a:gd name="connsiteY81" fmla="*/ 8173 h 10001"/>
                <a:gd name="connsiteX82" fmla="*/ 2077 w 10000"/>
                <a:gd name="connsiteY82" fmla="*/ 9053 h 10001"/>
                <a:gd name="connsiteX83" fmla="*/ 2201 w 10000"/>
                <a:gd name="connsiteY83" fmla="*/ 9324 h 10001"/>
                <a:gd name="connsiteX84" fmla="*/ 2201 w 10000"/>
                <a:gd name="connsiteY84" fmla="*/ 9324 h 10001"/>
                <a:gd name="connsiteX85" fmla="*/ 2201 w 10000"/>
                <a:gd name="connsiteY85" fmla="*/ 9346 h 10001"/>
                <a:gd name="connsiteX86" fmla="*/ 2183 w 10000"/>
                <a:gd name="connsiteY86" fmla="*/ 9933 h 10001"/>
                <a:gd name="connsiteX87" fmla="*/ 2324 w 10000"/>
                <a:gd name="connsiteY87" fmla="*/ 9933 h 10001"/>
                <a:gd name="connsiteX88" fmla="*/ 2430 w 10000"/>
                <a:gd name="connsiteY88" fmla="*/ 9662 h 10001"/>
                <a:gd name="connsiteX89" fmla="*/ 3363 w 10000"/>
                <a:gd name="connsiteY89" fmla="*/ 9662 h 10001"/>
                <a:gd name="connsiteX90" fmla="*/ 3644 w 10000"/>
                <a:gd name="connsiteY90" fmla="*/ 9437 h 10001"/>
                <a:gd name="connsiteX91" fmla="*/ 3961 w 10000"/>
                <a:gd name="connsiteY91" fmla="*/ 9346 h 10001"/>
                <a:gd name="connsiteX92" fmla="*/ 4278 w 10000"/>
                <a:gd name="connsiteY92" fmla="*/ 9504 h 10001"/>
                <a:gd name="connsiteX93" fmla="*/ 4489 w 10000"/>
                <a:gd name="connsiteY93" fmla="*/ 9437 h 10001"/>
                <a:gd name="connsiteX94" fmla="*/ 5440 w 10000"/>
                <a:gd name="connsiteY94" fmla="*/ 9369 h 10001"/>
                <a:gd name="connsiteX95" fmla="*/ 5792 w 10000"/>
                <a:gd name="connsiteY95" fmla="*/ 9211 h 10001"/>
                <a:gd name="connsiteX96" fmla="*/ 5951 w 10000"/>
                <a:gd name="connsiteY96" fmla="*/ 9369 h 10001"/>
                <a:gd name="connsiteX97" fmla="*/ 6602 w 10000"/>
                <a:gd name="connsiteY97" fmla="*/ 9324 h 10001"/>
                <a:gd name="connsiteX98" fmla="*/ 6743 w 10000"/>
                <a:gd name="connsiteY98" fmla="*/ 9572 h 10001"/>
                <a:gd name="connsiteX99" fmla="*/ 6919 w 10000"/>
                <a:gd name="connsiteY99" fmla="*/ 9775 h 10001"/>
                <a:gd name="connsiteX100" fmla="*/ 7482 w 10000"/>
                <a:gd name="connsiteY100" fmla="*/ 9730 h 10001"/>
                <a:gd name="connsiteX101" fmla="*/ 7658 w 10000"/>
                <a:gd name="connsiteY101" fmla="*/ 9866 h 10001"/>
                <a:gd name="connsiteX102" fmla="*/ 7764 w 10000"/>
                <a:gd name="connsiteY102" fmla="*/ 9911 h 10001"/>
                <a:gd name="connsiteX103" fmla="*/ 7835 w 10000"/>
                <a:gd name="connsiteY103" fmla="*/ 9978 h 10001"/>
                <a:gd name="connsiteX104" fmla="*/ 7940 w 10000"/>
                <a:gd name="connsiteY104" fmla="*/ 10001 h 10001"/>
                <a:gd name="connsiteX105" fmla="*/ 8116 w 10000"/>
                <a:gd name="connsiteY105" fmla="*/ 9933 h 10001"/>
                <a:gd name="connsiteX106" fmla="*/ 8063 w 10000"/>
                <a:gd name="connsiteY106" fmla="*/ 9617 h 10001"/>
                <a:gd name="connsiteX107" fmla="*/ 7887 w 10000"/>
                <a:gd name="connsiteY107" fmla="*/ 9392 h 10001"/>
                <a:gd name="connsiteX108" fmla="*/ 7887 w 10000"/>
                <a:gd name="connsiteY108" fmla="*/ 9008 h 10001"/>
                <a:gd name="connsiteX109" fmla="*/ 8063 w 10000"/>
                <a:gd name="connsiteY109" fmla="*/ 8872 h 10001"/>
                <a:gd name="connsiteX110" fmla="*/ 8275 w 10000"/>
                <a:gd name="connsiteY110" fmla="*/ 8692 h 10001"/>
                <a:gd name="connsiteX111" fmla="*/ 8151 w 10000"/>
                <a:gd name="connsiteY111" fmla="*/ 8601 h 10001"/>
                <a:gd name="connsiteX112" fmla="*/ 8063 w 10000"/>
                <a:gd name="connsiteY112" fmla="*/ 8466 h 10001"/>
                <a:gd name="connsiteX113" fmla="*/ 8204 w 10000"/>
                <a:gd name="connsiteY113" fmla="*/ 8240 h 10001"/>
                <a:gd name="connsiteX114" fmla="*/ 8521 w 10000"/>
                <a:gd name="connsiteY114" fmla="*/ 8240 h 10001"/>
                <a:gd name="connsiteX115" fmla="*/ 8521 w 10000"/>
                <a:gd name="connsiteY115" fmla="*/ 7947 h 10001"/>
                <a:gd name="connsiteX116" fmla="*/ 8310 w 10000"/>
                <a:gd name="connsiteY116" fmla="*/ 7834 h 10001"/>
                <a:gd name="connsiteX117" fmla="*/ 8398 w 10000"/>
                <a:gd name="connsiteY117" fmla="*/ 7495 h 10001"/>
                <a:gd name="connsiteX118" fmla="*/ 7676 w 10000"/>
                <a:gd name="connsiteY118" fmla="*/ 6164 h 10001"/>
                <a:gd name="connsiteX119" fmla="*/ 7518 w 10000"/>
                <a:gd name="connsiteY119" fmla="*/ 5441 h 10001"/>
                <a:gd name="connsiteX120" fmla="*/ 7676 w 10000"/>
                <a:gd name="connsiteY120" fmla="*/ 4764 h 10001"/>
                <a:gd name="connsiteX121" fmla="*/ 7007 w 10000"/>
                <a:gd name="connsiteY121" fmla="*/ 4854 h 10001"/>
                <a:gd name="connsiteX122" fmla="*/ 6972 w 10000"/>
                <a:gd name="connsiteY122" fmla="*/ 4809 h 10001"/>
                <a:gd name="connsiteX123" fmla="*/ 6954 w 10000"/>
                <a:gd name="connsiteY123" fmla="*/ 4629 h 10001"/>
                <a:gd name="connsiteX124" fmla="*/ 7095 w 10000"/>
                <a:gd name="connsiteY124" fmla="*/ 4267 h 10001"/>
                <a:gd name="connsiteX125" fmla="*/ 8468 w 10000"/>
                <a:gd name="connsiteY125" fmla="*/ 3342 h 10001"/>
                <a:gd name="connsiteX126" fmla="*/ 8908 w 10000"/>
                <a:gd name="connsiteY126" fmla="*/ 3161 h 10001"/>
                <a:gd name="connsiteX127" fmla="*/ 9102 w 10000"/>
                <a:gd name="connsiteY127" fmla="*/ 3432 h 10001"/>
                <a:gd name="connsiteX128" fmla="*/ 9313 w 10000"/>
                <a:gd name="connsiteY128" fmla="*/ 3432 h 10001"/>
                <a:gd name="connsiteX129" fmla="*/ 9560 w 10000"/>
                <a:gd name="connsiteY129" fmla="*/ 3206 h 10001"/>
                <a:gd name="connsiteX130" fmla="*/ 9965 w 10000"/>
                <a:gd name="connsiteY130" fmla="*/ 3455 h 10001"/>
                <a:gd name="connsiteX131" fmla="*/ 10000 w 10000"/>
                <a:gd name="connsiteY131" fmla="*/ 2732 h 10001"/>
                <a:gd name="connsiteX132" fmla="*/ 9507 w 10000"/>
                <a:gd name="connsiteY132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374 w 10000"/>
                <a:gd name="connsiteY50" fmla="*/ 1589 h 10001"/>
                <a:gd name="connsiteX51" fmla="*/ 3223 w 10000"/>
                <a:gd name="connsiteY51" fmla="*/ 1540 h 10001"/>
                <a:gd name="connsiteX52" fmla="*/ 2962 w 10000"/>
                <a:gd name="connsiteY52" fmla="*/ 1558 h 10001"/>
                <a:gd name="connsiteX53" fmla="*/ 2810 w 10000"/>
                <a:gd name="connsiteY53" fmla="*/ 1437 h 10001"/>
                <a:gd name="connsiteX54" fmla="*/ 2540 w 10000"/>
                <a:gd name="connsiteY54" fmla="*/ 1619 h 10001"/>
                <a:gd name="connsiteX55" fmla="*/ 1796 w 10000"/>
                <a:gd name="connsiteY55" fmla="*/ 1965 h 10001"/>
                <a:gd name="connsiteX56" fmla="*/ 1585 w 10000"/>
                <a:gd name="connsiteY56" fmla="*/ 2010 h 10001"/>
                <a:gd name="connsiteX57" fmla="*/ 1479 w 10000"/>
                <a:gd name="connsiteY57" fmla="*/ 1965 h 10001"/>
                <a:gd name="connsiteX58" fmla="*/ 1285 w 10000"/>
                <a:gd name="connsiteY58" fmla="*/ 2033 h 10001"/>
                <a:gd name="connsiteX59" fmla="*/ 1180 w 10000"/>
                <a:gd name="connsiteY59" fmla="*/ 2145 h 10001"/>
                <a:gd name="connsiteX60" fmla="*/ 933 w 10000"/>
                <a:gd name="connsiteY60" fmla="*/ 2326 h 10001"/>
                <a:gd name="connsiteX61" fmla="*/ 739 w 10000"/>
                <a:gd name="connsiteY61" fmla="*/ 2349 h 10001"/>
                <a:gd name="connsiteX62" fmla="*/ 669 w 10000"/>
                <a:gd name="connsiteY62" fmla="*/ 2958 h 10001"/>
                <a:gd name="connsiteX63" fmla="*/ 493 w 10000"/>
                <a:gd name="connsiteY63" fmla="*/ 3274 h 10001"/>
                <a:gd name="connsiteX64" fmla="*/ 264 w 10000"/>
                <a:gd name="connsiteY64" fmla="*/ 3229 h 10001"/>
                <a:gd name="connsiteX65" fmla="*/ 88 w 10000"/>
                <a:gd name="connsiteY65" fmla="*/ 3342 h 10001"/>
                <a:gd name="connsiteX66" fmla="*/ 88 w 10000"/>
                <a:gd name="connsiteY66" fmla="*/ 3522 h 10001"/>
                <a:gd name="connsiteX67" fmla="*/ 194 w 10000"/>
                <a:gd name="connsiteY67" fmla="*/ 3884 h 10001"/>
                <a:gd name="connsiteX68" fmla="*/ 123 w 10000"/>
                <a:gd name="connsiteY68" fmla="*/ 4154 h 10001"/>
                <a:gd name="connsiteX69" fmla="*/ 0 w 10000"/>
                <a:gd name="connsiteY69" fmla="*/ 4425 h 10001"/>
                <a:gd name="connsiteX70" fmla="*/ 18 w 10000"/>
                <a:gd name="connsiteY70" fmla="*/ 4832 h 10001"/>
                <a:gd name="connsiteX71" fmla="*/ 53 w 10000"/>
                <a:gd name="connsiteY71" fmla="*/ 5464 h 10001"/>
                <a:gd name="connsiteX72" fmla="*/ 88 w 10000"/>
                <a:gd name="connsiteY72" fmla="*/ 5464 h 10001"/>
                <a:gd name="connsiteX73" fmla="*/ 158 w 10000"/>
                <a:gd name="connsiteY73" fmla="*/ 5644 h 10001"/>
                <a:gd name="connsiteX74" fmla="*/ 581 w 10000"/>
                <a:gd name="connsiteY74" fmla="*/ 6096 h 10001"/>
                <a:gd name="connsiteX75" fmla="*/ 581 w 10000"/>
                <a:gd name="connsiteY75" fmla="*/ 6118 h 10001"/>
                <a:gd name="connsiteX76" fmla="*/ 581 w 10000"/>
                <a:gd name="connsiteY76" fmla="*/ 6118 h 10001"/>
                <a:gd name="connsiteX77" fmla="*/ 651 w 10000"/>
                <a:gd name="connsiteY77" fmla="*/ 6547 h 10001"/>
                <a:gd name="connsiteX78" fmla="*/ 1532 w 10000"/>
                <a:gd name="connsiteY78" fmla="*/ 7112 h 10001"/>
                <a:gd name="connsiteX79" fmla="*/ 1549 w 10000"/>
                <a:gd name="connsiteY79" fmla="*/ 7112 h 10001"/>
                <a:gd name="connsiteX80" fmla="*/ 1549 w 10000"/>
                <a:gd name="connsiteY80" fmla="*/ 7134 h 10001"/>
                <a:gd name="connsiteX81" fmla="*/ 1725 w 10000"/>
                <a:gd name="connsiteY81" fmla="*/ 8173 h 10001"/>
                <a:gd name="connsiteX82" fmla="*/ 2077 w 10000"/>
                <a:gd name="connsiteY82" fmla="*/ 9053 h 10001"/>
                <a:gd name="connsiteX83" fmla="*/ 2201 w 10000"/>
                <a:gd name="connsiteY83" fmla="*/ 9324 h 10001"/>
                <a:gd name="connsiteX84" fmla="*/ 2201 w 10000"/>
                <a:gd name="connsiteY84" fmla="*/ 9324 h 10001"/>
                <a:gd name="connsiteX85" fmla="*/ 2201 w 10000"/>
                <a:gd name="connsiteY85" fmla="*/ 9346 h 10001"/>
                <a:gd name="connsiteX86" fmla="*/ 2183 w 10000"/>
                <a:gd name="connsiteY86" fmla="*/ 9933 h 10001"/>
                <a:gd name="connsiteX87" fmla="*/ 2324 w 10000"/>
                <a:gd name="connsiteY87" fmla="*/ 9933 h 10001"/>
                <a:gd name="connsiteX88" fmla="*/ 2430 w 10000"/>
                <a:gd name="connsiteY88" fmla="*/ 9662 h 10001"/>
                <a:gd name="connsiteX89" fmla="*/ 3363 w 10000"/>
                <a:gd name="connsiteY89" fmla="*/ 9662 h 10001"/>
                <a:gd name="connsiteX90" fmla="*/ 3644 w 10000"/>
                <a:gd name="connsiteY90" fmla="*/ 9437 h 10001"/>
                <a:gd name="connsiteX91" fmla="*/ 3961 w 10000"/>
                <a:gd name="connsiteY91" fmla="*/ 9346 h 10001"/>
                <a:gd name="connsiteX92" fmla="*/ 4278 w 10000"/>
                <a:gd name="connsiteY92" fmla="*/ 9504 h 10001"/>
                <a:gd name="connsiteX93" fmla="*/ 4489 w 10000"/>
                <a:gd name="connsiteY93" fmla="*/ 9437 h 10001"/>
                <a:gd name="connsiteX94" fmla="*/ 5440 w 10000"/>
                <a:gd name="connsiteY94" fmla="*/ 9369 h 10001"/>
                <a:gd name="connsiteX95" fmla="*/ 5792 w 10000"/>
                <a:gd name="connsiteY95" fmla="*/ 9211 h 10001"/>
                <a:gd name="connsiteX96" fmla="*/ 5951 w 10000"/>
                <a:gd name="connsiteY96" fmla="*/ 9369 h 10001"/>
                <a:gd name="connsiteX97" fmla="*/ 6602 w 10000"/>
                <a:gd name="connsiteY97" fmla="*/ 9324 h 10001"/>
                <a:gd name="connsiteX98" fmla="*/ 6743 w 10000"/>
                <a:gd name="connsiteY98" fmla="*/ 9572 h 10001"/>
                <a:gd name="connsiteX99" fmla="*/ 6919 w 10000"/>
                <a:gd name="connsiteY99" fmla="*/ 9775 h 10001"/>
                <a:gd name="connsiteX100" fmla="*/ 7482 w 10000"/>
                <a:gd name="connsiteY100" fmla="*/ 9730 h 10001"/>
                <a:gd name="connsiteX101" fmla="*/ 7658 w 10000"/>
                <a:gd name="connsiteY101" fmla="*/ 9866 h 10001"/>
                <a:gd name="connsiteX102" fmla="*/ 7764 w 10000"/>
                <a:gd name="connsiteY102" fmla="*/ 9911 h 10001"/>
                <a:gd name="connsiteX103" fmla="*/ 7835 w 10000"/>
                <a:gd name="connsiteY103" fmla="*/ 9978 h 10001"/>
                <a:gd name="connsiteX104" fmla="*/ 7940 w 10000"/>
                <a:gd name="connsiteY104" fmla="*/ 10001 h 10001"/>
                <a:gd name="connsiteX105" fmla="*/ 8116 w 10000"/>
                <a:gd name="connsiteY105" fmla="*/ 9933 h 10001"/>
                <a:gd name="connsiteX106" fmla="*/ 8063 w 10000"/>
                <a:gd name="connsiteY106" fmla="*/ 9617 h 10001"/>
                <a:gd name="connsiteX107" fmla="*/ 7887 w 10000"/>
                <a:gd name="connsiteY107" fmla="*/ 9392 h 10001"/>
                <a:gd name="connsiteX108" fmla="*/ 7887 w 10000"/>
                <a:gd name="connsiteY108" fmla="*/ 9008 h 10001"/>
                <a:gd name="connsiteX109" fmla="*/ 8063 w 10000"/>
                <a:gd name="connsiteY109" fmla="*/ 8872 h 10001"/>
                <a:gd name="connsiteX110" fmla="*/ 8275 w 10000"/>
                <a:gd name="connsiteY110" fmla="*/ 8692 h 10001"/>
                <a:gd name="connsiteX111" fmla="*/ 8151 w 10000"/>
                <a:gd name="connsiteY111" fmla="*/ 8601 h 10001"/>
                <a:gd name="connsiteX112" fmla="*/ 8063 w 10000"/>
                <a:gd name="connsiteY112" fmla="*/ 8466 h 10001"/>
                <a:gd name="connsiteX113" fmla="*/ 8204 w 10000"/>
                <a:gd name="connsiteY113" fmla="*/ 8240 h 10001"/>
                <a:gd name="connsiteX114" fmla="*/ 8521 w 10000"/>
                <a:gd name="connsiteY114" fmla="*/ 8240 h 10001"/>
                <a:gd name="connsiteX115" fmla="*/ 8521 w 10000"/>
                <a:gd name="connsiteY115" fmla="*/ 7947 h 10001"/>
                <a:gd name="connsiteX116" fmla="*/ 8310 w 10000"/>
                <a:gd name="connsiteY116" fmla="*/ 7834 h 10001"/>
                <a:gd name="connsiteX117" fmla="*/ 8398 w 10000"/>
                <a:gd name="connsiteY117" fmla="*/ 7495 h 10001"/>
                <a:gd name="connsiteX118" fmla="*/ 7676 w 10000"/>
                <a:gd name="connsiteY118" fmla="*/ 6164 h 10001"/>
                <a:gd name="connsiteX119" fmla="*/ 7518 w 10000"/>
                <a:gd name="connsiteY119" fmla="*/ 5441 h 10001"/>
                <a:gd name="connsiteX120" fmla="*/ 7676 w 10000"/>
                <a:gd name="connsiteY120" fmla="*/ 4764 h 10001"/>
                <a:gd name="connsiteX121" fmla="*/ 7007 w 10000"/>
                <a:gd name="connsiteY121" fmla="*/ 4854 h 10001"/>
                <a:gd name="connsiteX122" fmla="*/ 6972 w 10000"/>
                <a:gd name="connsiteY122" fmla="*/ 4809 h 10001"/>
                <a:gd name="connsiteX123" fmla="*/ 6954 w 10000"/>
                <a:gd name="connsiteY123" fmla="*/ 4629 h 10001"/>
                <a:gd name="connsiteX124" fmla="*/ 7095 w 10000"/>
                <a:gd name="connsiteY124" fmla="*/ 4267 h 10001"/>
                <a:gd name="connsiteX125" fmla="*/ 8468 w 10000"/>
                <a:gd name="connsiteY125" fmla="*/ 3342 h 10001"/>
                <a:gd name="connsiteX126" fmla="*/ 8908 w 10000"/>
                <a:gd name="connsiteY126" fmla="*/ 3161 h 10001"/>
                <a:gd name="connsiteX127" fmla="*/ 9102 w 10000"/>
                <a:gd name="connsiteY127" fmla="*/ 3432 h 10001"/>
                <a:gd name="connsiteX128" fmla="*/ 9313 w 10000"/>
                <a:gd name="connsiteY128" fmla="*/ 3432 h 10001"/>
                <a:gd name="connsiteX129" fmla="*/ 9560 w 10000"/>
                <a:gd name="connsiteY129" fmla="*/ 3206 h 10001"/>
                <a:gd name="connsiteX130" fmla="*/ 9965 w 10000"/>
                <a:gd name="connsiteY130" fmla="*/ 3455 h 10001"/>
                <a:gd name="connsiteX131" fmla="*/ 10000 w 10000"/>
                <a:gd name="connsiteY131" fmla="*/ 2732 h 10001"/>
                <a:gd name="connsiteX132" fmla="*/ 9507 w 10000"/>
                <a:gd name="connsiteY132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374 w 10000"/>
                <a:gd name="connsiteY50" fmla="*/ 1589 h 10001"/>
                <a:gd name="connsiteX51" fmla="*/ 3223 w 10000"/>
                <a:gd name="connsiteY51" fmla="*/ 1540 h 10001"/>
                <a:gd name="connsiteX52" fmla="*/ 2962 w 10000"/>
                <a:gd name="connsiteY52" fmla="*/ 1558 h 10001"/>
                <a:gd name="connsiteX53" fmla="*/ 2810 w 10000"/>
                <a:gd name="connsiteY53" fmla="*/ 1437 h 10001"/>
                <a:gd name="connsiteX54" fmla="*/ 2540 w 10000"/>
                <a:gd name="connsiteY54" fmla="*/ 1619 h 10001"/>
                <a:gd name="connsiteX55" fmla="*/ 1836 w 10000"/>
                <a:gd name="connsiteY55" fmla="*/ 1135 h 10001"/>
                <a:gd name="connsiteX56" fmla="*/ 1585 w 10000"/>
                <a:gd name="connsiteY56" fmla="*/ 2010 h 10001"/>
                <a:gd name="connsiteX57" fmla="*/ 1479 w 10000"/>
                <a:gd name="connsiteY57" fmla="*/ 1965 h 10001"/>
                <a:gd name="connsiteX58" fmla="*/ 1285 w 10000"/>
                <a:gd name="connsiteY58" fmla="*/ 2033 h 10001"/>
                <a:gd name="connsiteX59" fmla="*/ 1180 w 10000"/>
                <a:gd name="connsiteY59" fmla="*/ 2145 h 10001"/>
                <a:gd name="connsiteX60" fmla="*/ 933 w 10000"/>
                <a:gd name="connsiteY60" fmla="*/ 2326 h 10001"/>
                <a:gd name="connsiteX61" fmla="*/ 739 w 10000"/>
                <a:gd name="connsiteY61" fmla="*/ 2349 h 10001"/>
                <a:gd name="connsiteX62" fmla="*/ 669 w 10000"/>
                <a:gd name="connsiteY62" fmla="*/ 2958 h 10001"/>
                <a:gd name="connsiteX63" fmla="*/ 493 w 10000"/>
                <a:gd name="connsiteY63" fmla="*/ 3274 h 10001"/>
                <a:gd name="connsiteX64" fmla="*/ 264 w 10000"/>
                <a:gd name="connsiteY64" fmla="*/ 3229 h 10001"/>
                <a:gd name="connsiteX65" fmla="*/ 88 w 10000"/>
                <a:gd name="connsiteY65" fmla="*/ 3342 h 10001"/>
                <a:gd name="connsiteX66" fmla="*/ 88 w 10000"/>
                <a:gd name="connsiteY66" fmla="*/ 3522 h 10001"/>
                <a:gd name="connsiteX67" fmla="*/ 194 w 10000"/>
                <a:gd name="connsiteY67" fmla="*/ 3884 h 10001"/>
                <a:gd name="connsiteX68" fmla="*/ 123 w 10000"/>
                <a:gd name="connsiteY68" fmla="*/ 4154 h 10001"/>
                <a:gd name="connsiteX69" fmla="*/ 0 w 10000"/>
                <a:gd name="connsiteY69" fmla="*/ 4425 h 10001"/>
                <a:gd name="connsiteX70" fmla="*/ 18 w 10000"/>
                <a:gd name="connsiteY70" fmla="*/ 4832 h 10001"/>
                <a:gd name="connsiteX71" fmla="*/ 53 w 10000"/>
                <a:gd name="connsiteY71" fmla="*/ 5464 h 10001"/>
                <a:gd name="connsiteX72" fmla="*/ 88 w 10000"/>
                <a:gd name="connsiteY72" fmla="*/ 5464 h 10001"/>
                <a:gd name="connsiteX73" fmla="*/ 158 w 10000"/>
                <a:gd name="connsiteY73" fmla="*/ 5644 h 10001"/>
                <a:gd name="connsiteX74" fmla="*/ 581 w 10000"/>
                <a:gd name="connsiteY74" fmla="*/ 6096 h 10001"/>
                <a:gd name="connsiteX75" fmla="*/ 581 w 10000"/>
                <a:gd name="connsiteY75" fmla="*/ 6118 h 10001"/>
                <a:gd name="connsiteX76" fmla="*/ 581 w 10000"/>
                <a:gd name="connsiteY76" fmla="*/ 6118 h 10001"/>
                <a:gd name="connsiteX77" fmla="*/ 651 w 10000"/>
                <a:gd name="connsiteY77" fmla="*/ 6547 h 10001"/>
                <a:gd name="connsiteX78" fmla="*/ 1532 w 10000"/>
                <a:gd name="connsiteY78" fmla="*/ 7112 h 10001"/>
                <a:gd name="connsiteX79" fmla="*/ 1549 w 10000"/>
                <a:gd name="connsiteY79" fmla="*/ 7112 h 10001"/>
                <a:gd name="connsiteX80" fmla="*/ 1549 w 10000"/>
                <a:gd name="connsiteY80" fmla="*/ 7134 h 10001"/>
                <a:gd name="connsiteX81" fmla="*/ 1725 w 10000"/>
                <a:gd name="connsiteY81" fmla="*/ 8173 h 10001"/>
                <a:gd name="connsiteX82" fmla="*/ 2077 w 10000"/>
                <a:gd name="connsiteY82" fmla="*/ 9053 h 10001"/>
                <a:gd name="connsiteX83" fmla="*/ 2201 w 10000"/>
                <a:gd name="connsiteY83" fmla="*/ 9324 h 10001"/>
                <a:gd name="connsiteX84" fmla="*/ 2201 w 10000"/>
                <a:gd name="connsiteY84" fmla="*/ 9324 h 10001"/>
                <a:gd name="connsiteX85" fmla="*/ 2201 w 10000"/>
                <a:gd name="connsiteY85" fmla="*/ 9346 h 10001"/>
                <a:gd name="connsiteX86" fmla="*/ 2183 w 10000"/>
                <a:gd name="connsiteY86" fmla="*/ 9933 h 10001"/>
                <a:gd name="connsiteX87" fmla="*/ 2324 w 10000"/>
                <a:gd name="connsiteY87" fmla="*/ 9933 h 10001"/>
                <a:gd name="connsiteX88" fmla="*/ 2430 w 10000"/>
                <a:gd name="connsiteY88" fmla="*/ 9662 h 10001"/>
                <a:gd name="connsiteX89" fmla="*/ 3363 w 10000"/>
                <a:gd name="connsiteY89" fmla="*/ 9662 h 10001"/>
                <a:gd name="connsiteX90" fmla="*/ 3644 w 10000"/>
                <a:gd name="connsiteY90" fmla="*/ 9437 h 10001"/>
                <a:gd name="connsiteX91" fmla="*/ 3961 w 10000"/>
                <a:gd name="connsiteY91" fmla="*/ 9346 h 10001"/>
                <a:gd name="connsiteX92" fmla="*/ 4278 w 10000"/>
                <a:gd name="connsiteY92" fmla="*/ 9504 h 10001"/>
                <a:gd name="connsiteX93" fmla="*/ 4489 w 10000"/>
                <a:gd name="connsiteY93" fmla="*/ 9437 h 10001"/>
                <a:gd name="connsiteX94" fmla="*/ 5440 w 10000"/>
                <a:gd name="connsiteY94" fmla="*/ 9369 h 10001"/>
                <a:gd name="connsiteX95" fmla="*/ 5792 w 10000"/>
                <a:gd name="connsiteY95" fmla="*/ 9211 h 10001"/>
                <a:gd name="connsiteX96" fmla="*/ 5951 w 10000"/>
                <a:gd name="connsiteY96" fmla="*/ 9369 h 10001"/>
                <a:gd name="connsiteX97" fmla="*/ 6602 w 10000"/>
                <a:gd name="connsiteY97" fmla="*/ 9324 h 10001"/>
                <a:gd name="connsiteX98" fmla="*/ 6743 w 10000"/>
                <a:gd name="connsiteY98" fmla="*/ 9572 h 10001"/>
                <a:gd name="connsiteX99" fmla="*/ 6919 w 10000"/>
                <a:gd name="connsiteY99" fmla="*/ 9775 h 10001"/>
                <a:gd name="connsiteX100" fmla="*/ 7482 w 10000"/>
                <a:gd name="connsiteY100" fmla="*/ 9730 h 10001"/>
                <a:gd name="connsiteX101" fmla="*/ 7658 w 10000"/>
                <a:gd name="connsiteY101" fmla="*/ 9866 h 10001"/>
                <a:gd name="connsiteX102" fmla="*/ 7764 w 10000"/>
                <a:gd name="connsiteY102" fmla="*/ 9911 h 10001"/>
                <a:gd name="connsiteX103" fmla="*/ 7835 w 10000"/>
                <a:gd name="connsiteY103" fmla="*/ 9978 h 10001"/>
                <a:gd name="connsiteX104" fmla="*/ 7940 w 10000"/>
                <a:gd name="connsiteY104" fmla="*/ 10001 h 10001"/>
                <a:gd name="connsiteX105" fmla="*/ 8116 w 10000"/>
                <a:gd name="connsiteY105" fmla="*/ 9933 h 10001"/>
                <a:gd name="connsiteX106" fmla="*/ 8063 w 10000"/>
                <a:gd name="connsiteY106" fmla="*/ 9617 h 10001"/>
                <a:gd name="connsiteX107" fmla="*/ 7887 w 10000"/>
                <a:gd name="connsiteY107" fmla="*/ 9392 h 10001"/>
                <a:gd name="connsiteX108" fmla="*/ 7887 w 10000"/>
                <a:gd name="connsiteY108" fmla="*/ 9008 h 10001"/>
                <a:gd name="connsiteX109" fmla="*/ 8063 w 10000"/>
                <a:gd name="connsiteY109" fmla="*/ 8872 h 10001"/>
                <a:gd name="connsiteX110" fmla="*/ 8275 w 10000"/>
                <a:gd name="connsiteY110" fmla="*/ 8692 h 10001"/>
                <a:gd name="connsiteX111" fmla="*/ 8151 w 10000"/>
                <a:gd name="connsiteY111" fmla="*/ 8601 h 10001"/>
                <a:gd name="connsiteX112" fmla="*/ 8063 w 10000"/>
                <a:gd name="connsiteY112" fmla="*/ 8466 h 10001"/>
                <a:gd name="connsiteX113" fmla="*/ 8204 w 10000"/>
                <a:gd name="connsiteY113" fmla="*/ 8240 h 10001"/>
                <a:gd name="connsiteX114" fmla="*/ 8521 w 10000"/>
                <a:gd name="connsiteY114" fmla="*/ 8240 h 10001"/>
                <a:gd name="connsiteX115" fmla="*/ 8521 w 10000"/>
                <a:gd name="connsiteY115" fmla="*/ 7947 h 10001"/>
                <a:gd name="connsiteX116" fmla="*/ 8310 w 10000"/>
                <a:gd name="connsiteY116" fmla="*/ 7834 h 10001"/>
                <a:gd name="connsiteX117" fmla="*/ 8398 w 10000"/>
                <a:gd name="connsiteY117" fmla="*/ 7495 h 10001"/>
                <a:gd name="connsiteX118" fmla="*/ 7676 w 10000"/>
                <a:gd name="connsiteY118" fmla="*/ 6164 h 10001"/>
                <a:gd name="connsiteX119" fmla="*/ 7518 w 10000"/>
                <a:gd name="connsiteY119" fmla="*/ 5441 h 10001"/>
                <a:gd name="connsiteX120" fmla="*/ 7676 w 10000"/>
                <a:gd name="connsiteY120" fmla="*/ 4764 h 10001"/>
                <a:gd name="connsiteX121" fmla="*/ 7007 w 10000"/>
                <a:gd name="connsiteY121" fmla="*/ 4854 h 10001"/>
                <a:gd name="connsiteX122" fmla="*/ 6972 w 10000"/>
                <a:gd name="connsiteY122" fmla="*/ 4809 h 10001"/>
                <a:gd name="connsiteX123" fmla="*/ 6954 w 10000"/>
                <a:gd name="connsiteY123" fmla="*/ 4629 h 10001"/>
                <a:gd name="connsiteX124" fmla="*/ 7095 w 10000"/>
                <a:gd name="connsiteY124" fmla="*/ 4267 h 10001"/>
                <a:gd name="connsiteX125" fmla="*/ 8468 w 10000"/>
                <a:gd name="connsiteY125" fmla="*/ 3342 h 10001"/>
                <a:gd name="connsiteX126" fmla="*/ 8908 w 10000"/>
                <a:gd name="connsiteY126" fmla="*/ 3161 h 10001"/>
                <a:gd name="connsiteX127" fmla="*/ 9102 w 10000"/>
                <a:gd name="connsiteY127" fmla="*/ 3432 h 10001"/>
                <a:gd name="connsiteX128" fmla="*/ 9313 w 10000"/>
                <a:gd name="connsiteY128" fmla="*/ 3432 h 10001"/>
                <a:gd name="connsiteX129" fmla="*/ 9560 w 10000"/>
                <a:gd name="connsiteY129" fmla="*/ 3206 h 10001"/>
                <a:gd name="connsiteX130" fmla="*/ 9965 w 10000"/>
                <a:gd name="connsiteY130" fmla="*/ 3455 h 10001"/>
                <a:gd name="connsiteX131" fmla="*/ 10000 w 10000"/>
                <a:gd name="connsiteY131" fmla="*/ 2732 h 10001"/>
                <a:gd name="connsiteX132" fmla="*/ 9507 w 10000"/>
                <a:gd name="connsiteY132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374 w 10000"/>
                <a:gd name="connsiteY50" fmla="*/ 1589 h 10001"/>
                <a:gd name="connsiteX51" fmla="*/ 3223 w 10000"/>
                <a:gd name="connsiteY51" fmla="*/ 1540 h 10001"/>
                <a:gd name="connsiteX52" fmla="*/ 2962 w 10000"/>
                <a:gd name="connsiteY52" fmla="*/ 1558 h 10001"/>
                <a:gd name="connsiteX53" fmla="*/ 2810 w 10000"/>
                <a:gd name="connsiteY53" fmla="*/ 1437 h 10001"/>
                <a:gd name="connsiteX54" fmla="*/ 2540 w 10000"/>
                <a:gd name="connsiteY54" fmla="*/ 1619 h 10001"/>
                <a:gd name="connsiteX55" fmla="*/ 1836 w 10000"/>
                <a:gd name="connsiteY55" fmla="*/ 1135 h 10001"/>
                <a:gd name="connsiteX56" fmla="*/ 1491 w 10000"/>
                <a:gd name="connsiteY56" fmla="*/ 1215 h 10001"/>
                <a:gd name="connsiteX57" fmla="*/ 1479 w 10000"/>
                <a:gd name="connsiteY57" fmla="*/ 1965 h 10001"/>
                <a:gd name="connsiteX58" fmla="*/ 1285 w 10000"/>
                <a:gd name="connsiteY58" fmla="*/ 2033 h 10001"/>
                <a:gd name="connsiteX59" fmla="*/ 1180 w 10000"/>
                <a:gd name="connsiteY59" fmla="*/ 2145 h 10001"/>
                <a:gd name="connsiteX60" fmla="*/ 933 w 10000"/>
                <a:gd name="connsiteY60" fmla="*/ 2326 h 10001"/>
                <a:gd name="connsiteX61" fmla="*/ 739 w 10000"/>
                <a:gd name="connsiteY61" fmla="*/ 2349 h 10001"/>
                <a:gd name="connsiteX62" fmla="*/ 669 w 10000"/>
                <a:gd name="connsiteY62" fmla="*/ 2958 h 10001"/>
                <a:gd name="connsiteX63" fmla="*/ 493 w 10000"/>
                <a:gd name="connsiteY63" fmla="*/ 3274 h 10001"/>
                <a:gd name="connsiteX64" fmla="*/ 264 w 10000"/>
                <a:gd name="connsiteY64" fmla="*/ 3229 h 10001"/>
                <a:gd name="connsiteX65" fmla="*/ 88 w 10000"/>
                <a:gd name="connsiteY65" fmla="*/ 3342 h 10001"/>
                <a:gd name="connsiteX66" fmla="*/ 88 w 10000"/>
                <a:gd name="connsiteY66" fmla="*/ 3522 h 10001"/>
                <a:gd name="connsiteX67" fmla="*/ 194 w 10000"/>
                <a:gd name="connsiteY67" fmla="*/ 3884 h 10001"/>
                <a:gd name="connsiteX68" fmla="*/ 123 w 10000"/>
                <a:gd name="connsiteY68" fmla="*/ 4154 h 10001"/>
                <a:gd name="connsiteX69" fmla="*/ 0 w 10000"/>
                <a:gd name="connsiteY69" fmla="*/ 4425 h 10001"/>
                <a:gd name="connsiteX70" fmla="*/ 18 w 10000"/>
                <a:gd name="connsiteY70" fmla="*/ 4832 h 10001"/>
                <a:gd name="connsiteX71" fmla="*/ 53 w 10000"/>
                <a:gd name="connsiteY71" fmla="*/ 5464 h 10001"/>
                <a:gd name="connsiteX72" fmla="*/ 88 w 10000"/>
                <a:gd name="connsiteY72" fmla="*/ 5464 h 10001"/>
                <a:gd name="connsiteX73" fmla="*/ 158 w 10000"/>
                <a:gd name="connsiteY73" fmla="*/ 5644 h 10001"/>
                <a:gd name="connsiteX74" fmla="*/ 581 w 10000"/>
                <a:gd name="connsiteY74" fmla="*/ 6096 h 10001"/>
                <a:gd name="connsiteX75" fmla="*/ 581 w 10000"/>
                <a:gd name="connsiteY75" fmla="*/ 6118 h 10001"/>
                <a:gd name="connsiteX76" fmla="*/ 581 w 10000"/>
                <a:gd name="connsiteY76" fmla="*/ 6118 h 10001"/>
                <a:gd name="connsiteX77" fmla="*/ 651 w 10000"/>
                <a:gd name="connsiteY77" fmla="*/ 6547 h 10001"/>
                <a:gd name="connsiteX78" fmla="*/ 1532 w 10000"/>
                <a:gd name="connsiteY78" fmla="*/ 7112 h 10001"/>
                <a:gd name="connsiteX79" fmla="*/ 1549 w 10000"/>
                <a:gd name="connsiteY79" fmla="*/ 7112 h 10001"/>
                <a:gd name="connsiteX80" fmla="*/ 1549 w 10000"/>
                <a:gd name="connsiteY80" fmla="*/ 7134 h 10001"/>
                <a:gd name="connsiteX81" fmla="*/ 1725 w 10000"/>
                <a:gd name="connsiteY81" fmla="*/ 8173 h 10001"/>
                <a:gd name="connsiteX82" fmla="*/ 2077 w 10000"/>
                <a:gd name="connsiteY82" fmla="*/ 9053 h 10001"/>
                <a:gd name="connsiteX83" fmla="*/ 2201 w 10000"/>
                <a:gd name="connsiteY83" fmla="*/ 9324 h 10001"/>
                <a:gd name="connsiteX84" fmla="*/ 2201 w 10000"/>
                <a:gd name="connsiteY84" fmla="*/ 9324 h 10001"/>
                <a:gd name="connsiteX85" fmla="*/ 2201 w 10000"/>
                <a:gd name="connsiteY85" fmla="*/ 9346 h 10001"/>
                <a:gd name="connsiteX86" fmla="*/ 2183 w 10000"/>
                <a:gd name="connsiteY86" fmla="*/ 9933 h 10001"/>
                <a:gd name="connsiteX87" fmla="*/ 2324 w 10000"/>
                <a:gd name="connsiteY87" fmla="*/ 9933 h 10001"/>
                <a:gd name="connsiteX88" fmla="*/ 2430 w 10000"/>
                <a:gd name="connsiteY88" fmla="*/ 9662 h 10001"/>
                <a:gd name="connsiteX89" fmla="*/ 3363 w 10000"/>
                <a:gd name="connsiteY89" fmla="*/ 9662 h 10001"/>
                <a:gd name="connsiteX90" fmla="*/ 3644 w 10000"/>
                <a:gd name="connsiteY90" fmla="*/ 9437 h 10001"/>
                <a:gd name="connsiteX91" fmla="*/ 3961 w 10000"/>
                <a:gd name="connsiteY91" fmla="*/ 9346 h 10001"/>
                <a:gd name="connsiteX92" fmla="*/ 4278 w 10000"/>
                <a:gd name="connsiteY92" fmla="*/ 9504 h 10001"/>
                <a:gd name="connsiteX93" fmla="*/ 4489 w 10000"/>
                <a:gd name="connsiteY93" fmla="*/ 9437 h 10001"/>
                <a:gd name="connsiteX94" fmla="*/ 5440 w 10000"/>
                <a:gd name="connsiteY94" fmla="*/ 9369 h 10001"/>
                <a:gd name="connsiteX95" fmla="*/ 5792 w 10000"/>
                <a:gd name="connsiteY95" fmla="*/ 9211 h 10001"/>
                <a:gd name="connsiteX96" fmla="*/ 5951 w 10000"/>
                <a:gd name="connsiteY96" fmla="*/ 9369 h 10001"/>
                <a:gd name="connsiteX97" fmla="*/ 6602 w 10000"/>
                <a:gd name="connsiteY97" fmla="*/ 9324 h 10001"/>
                <a:gd name="connsiteX98" fmla="*/ 6743 w 10000"/>
                <a:gd name="connsiteY98" fmla="*/ 9572 h 10001"/>
                <a:gd name="connsiteX99" fmla="*/ 6919 w 10000"/>
                <a:gd name="connsiteY99" fmla="*/ 9775 h 10001"/>
                <a:gd name="connsiteX100" fmla="*/ 7482 w 10000"/>
                <a:gd name="connsiteY100" fmla="*/ 9730 h 10001"/>
                <a:gd name="connsiteX101" fmla="*/ 7658 w 10000"/>
                <a:gd name="connsiteY101" fmla="*/ 9866 h 10001"/>
                <a:gd name="connsiteX102" fmla="*/ 7764 w 10000"/>
                <a:gd name="connsiteY102" fmla="*/ 9911 h 10001"/>
                <a:gd name="connsiteX103" fmla="*/ 7835 w 10000"/>
                <a:gd name="connsiteY103" fmla="*/ 9978 h 10001"/>
                <a:gd name="connsiteX104" fmla="*/ 7940 w 10000"/>
                <a:gd name="connsiteY104" fmla="*/ 10001 h 10001"/>
                <a:gd name="connsiteX105" fmla="*/ 8116 w 10000"/>
                <a:gd name="connsiteY105" fmla="*/ 9933 h 10001"/>
                <a:gd name="connsiteX106" fmla="*/ 8063 w 10000"/>
                <a:gd name="connsiteY106" fmla="*/ 9617 h 10001"/>
                <a:gd name="connsiteX107" fmla="*/ 7887 w 10000"/>
                <a:gd name="connsiteY107" fmla="*/ 9392 h 10001"/>
                <a:gd name="connsiteX108" fmla="*/ 7887 w 10000"/>
                <a:gd name="connsiteY108" fmla="*/ 9008 h 10001"/>
                <a:gd name="connsiteX109" fmla="*/ 8063 w 10000"/>
                <a:gd name="connsiteY109" fmla="*/ 8872 h 10001"/>
                <a:gd name="connsiteX110" fmla="*/ 8275 w 10000"/>
                <a:gd name="connsiteY110" fmla="*/ 8692 h 10001"/>
                <a:gd name="connsiteX111" fmla="*/ 8151 w 10000"/>
                <a:gd name="connsiteY111" fmla="*/ 8601 h 10001"/>
                <a:gd name="connsiteX112" fmla="*/ 8063 w 10000"/>
                <a:gd name="connsiteY112" fmla="*/ 8466 h 10001"/>
                <a:gd name="connsiteX113" fmla="*/ 8204 w 10000"/>
                <a:gd name="connsiteY113" fmla="*/ 8240 h 10001"/>
                <a:gd name="connsiteX114" fmla="*/ 8521 w 10000"/>
                <a:gd name="connsiteY114" fmla="*/ 8240 h 10001"/>
                <a:gd name="connsiteX115" fmla="*/ 8521 w 10000"/>
                <a:gd name="connsiteY115" fmla="*/ 7947 h 10001"/>
                <a:gd name="connsiteX116" fmla="*/ 8310 w 10000"/>
                <a:gd name="connsiteY116" fmla="*/ 7834 h 10001"/>
                <a:gd name="connsiteX117" fmla="*/ 8398 w 10000"/>
                <a:gd name="connsiteY117" fmla="*/ 7495 h 10001"/>
                <a:gd name="connsiteX118" fmla="*/ 7676 w 10000"/>
                <a:gd name="connsiteY118" fmla="*/ 6164 h 10001"/>
                <a:gd name="connsiteX119" fmla="*/ 7518 w 10000"/>
                <a:gd name="connsiteY119" fmla="*/ 5441 h 10001"/>
                <a:gd name="connsiteX120" fmla="*/ 7676 w 10000"/>
                <a:gd name="connsiteY120" fmla="*/ 4764 h 10001"/>
                <a:gd name="connsiteX121" fmla="*/ 7007 w 10000"/>
                <a:gd name="connsiteY121" fmla="*/ 4854 h 10001"/>
                <a:gd name="connsiteX122" fmla="*/ 6972 w 10000"/>
                <a:gd name="connsiteY122" fmla="*/ 4809 h 10001"/>
                <a:gd name="connsiteX123" fmla="*/ 6954 w 10000"/>
                <a:gd name="connsiteY123" fmla="*/ 4629 h 10001"/>
                <a:gd name="connsiteX124" fmla="*/ 7095 w 10000"/>
                <a:gd name="connsiteY124" fmla="*/ 4267 h 10001"/>
                <a:gd name="connsiteX125" fmla="*/ 8468 w 10000"/>
                <a:gd name="connsiteY125" fmla="*/ 3342 h 10001"/>
                <a:gd name="connsiteX126" fmla="*/ 8908 w 10000"/>
                <a:gd name="connsiteY126" fmla="*/ 3161 h 10001"/>
                <a:gd name="connsiteX127" fmla="*/ 9102 w 10000"/>
                <a:gd name="connsiteY127" fmla="*/ 3432 h 10001"/>
                <a:gd name="connsiteX128" fmla="*/ 9313 w 10000"/>
                <a:gd name="connsiteY128" fmla="*/ 3432 h 10001"/>
                <a:gd name="connsiteX129" fmla="*/ 9560 w 10000"/>
                <a:gd name="connsiteY129" fmla="*/ 3206 h 10001"/>
                <a:gd name="connsiteX130" fmla="*/ 9965 w 10000"/>
                <a:gd name="connsiteY130" fmla="*/ 3455 h 10001"/>
                <a:gd name="connsiteX131" fmla="*/ 10000 w 10000"/>
                <a:gd name="connsiteY131" fmla="*/ 2732 h 10001"/>
                <a:gd name="connsiteX132" fmla="*/ 9507 w 10000"/>
                <a:gd name="connsiteY132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374 w 10000"/>
                <a:gd name="connsiteY50" fmla="*/ 1589 h 10001"/>
                <a:gd name="connsiteX51" fmla="*/ 3223 w 10000"/>
                <a:gd name="connsiteY51" fmla="*/ 1540 h 10001"/>
                <a:gd name="connsiteX52" fmla="*/ 2962 w 10000"/>
                <a:gd name="connsiteY52" fmla="*/ 1558 h 10001"/>
                <a:gd name="connsiteX53" fmla="*/ 2810 w 10000"/>
                <a:gd name="connsiteY53" fmla="*/ 1437 h 10001"/>
                <a:gd name="connsiteX54" fmla="*/ 2540 w 10000"/>
                <a:gd name="connsiteY54" fmla="*/ 1619 h 10001"/>
                <a:gd name="connsiteX55" fmla="*/ 1836 w 10000"/>
                <a:gd name="connsiteY55" fmla="*/ 1135 h 10001"/>
                <a:gd name="connsiteX56" fmla="*/ 1491 w 10000"/>
                <a:gd name="connsiteY56" fmla="*/ 1215 h 10001"/>
                <a:gd name="connsiteX57" fmla="*/ 1142 w 10000"/>
                <a:gd name="connsiteY57" fmla="*/ 1446 h 10001"/>
                <a:gd name="connsiteX58" fmla="*/ 1285 w 10000"/>
                <a:gd name="connsiteY58" fmla="*/ 2033 h 10001"/>
                <a:gd name="connsiteX59" fmla="*/ 1180 w 10000"/>
                <a:gd name="connsiteY59" fmla="*/ 2145 h 10001"/>
                <a:gd name="connsiteX60" fmla="*/ 933 w 10000"/>
                <a:gd name="connsiteY60" fmla="*/ 2326 h 10001"/>
                <a:gd name="connsiteX61" fmla="*/ 739 w 10000"/>
                <a:gd name="connsiteY61" fmla="*/ 2349 h 10001"/>
                <a:gd name="connsiteX62" fmla="*/ 669 w 10000"/>
                <a:gd name="connsiteY62" fmla="*/ 2958 h 10001"/>
                <a:gd name="connsiteX63" fmla="*/ 493 w 10000"/>
                <a:gd name="connsiteY63" fmla="*/ 3274 h 10001"/>
                <a:gd name="connsiteX64" fmla="*/ 264 w 10000"/>
                <a:gd name="connsiteY64" fmla="*/ 3229 h 10001"/>
                <a:gd name="connsiteX65" fmla="*/ 88 w 10000"/>
                <a:gd name="connsiteY65" fmla="*/ 3342 h 10001"/>
                <a:gd name="connsiteX66" fmla="*/ 88 w 10000"/>
                <a:gd name="connsiteY66" fmla="*/ 3522 h 10001"/>
                <a:gd name="connsiteX67" fmla="*/ 194 w 10000"/>
                <a:gd name="connsiteY67" fmla="*/ 3884 h 10001"/>
                <a:gd name="connsiteX68" fmla="*/ 123 w 10000"/>
                <a:gd name="connsiteY68" fmla="*/ 4154 h 10001"/>
                <a:gd name="connsiteX69" fmla="*/ 0 w 10000"/>
                <a:gd name="connsiteY69" fmla="*/ 4425 h 10001"/>
                <a:gd name="connsiteX70" fmla="*/ 18 w 10000"/>
                <a:gd name="connsiteY70" fmla="*/ 4832 h 10001"/>
                <a:gd name="connsiteX71" fmla="*/ 53 w 10000"/>
                <a:gd name="connsiteY71" fmla="*/ 5464 h 10001"/>
                <a:gd name="connsiteX72" fmla="*/ 88 w 10000"/>
                <a:gd name="connsiteY72" fmla="*/ 5464 h 10001"/>
                <a:gd name="connsiteX73" fmla="*/ 158 w 10000"/>
                <a:gd name="connsiteY73" fmla="*/ 5644 h 10001"/>
                <a:gd name="connsiteX74" fmla="*/ 581 w 10000"/>
                <a:gd name="connsiteY74" fmla="*/ 6096 h 10001"/>
                <a:gd name="connsiteX75" fmla="*/ 581 w 10000"/>
                <a:gd name="connsiteY75" fmla="*/ 6118 h 10001"/>
                <a:gd name="connsiteX76" fmla="*/ 581 w 10000"/>
                <a:gd name="connsiteY76" fmla="*/ 6118 h 10001"/>
                <a:gd name="connsiteX77" fmla="*/ 651 w 10000"/>
                <a:gd name="connsiteY77" fmla="*/ 6547 h 10001"/>
                <a:gd name="connsiteX78" fmla="*/ 1532 w 10000"/>
                <a:gd name="connsiteY78" fmla="*/ 7112 h 10001"/>
                <a:gd name="connsiteX79" fmla="*/ 1549 w 10000"/>
                <a:gd name="connsiteY79" fmla="*/ 7112 h 10001"/>
                <a:gd name="connsiteX80" fmla="*/ 1549 w 10000"/>
                <a:gd name="connsiteY80" fmla="*/ 7134 h 10001"/>
                <a:gd name="connsiteX81" fmla="*/ 1725 w 10000"/>
                <a:gd name="connsiteY81" fmla="*/ 8173 h 10001"/>
                <a:gd name="connsiteX82" fmla="*/ 2077 w 10000"/>
                <a:gd name="connsiteY82" fmla="*/ 9053 h 10001"/>
                <a:gd name="connsiteX83" fmla="*/ 2201 w 10000"/>
                <a:gd name="connsiteY83" fmla="*/ 9324 h 10001"/>
                <a:gd name="connsiteX84" fmla="*/ 2201 w 10000"/>
                <a:gd name="connsiteY84" fmla="*/ 9324 h 10001"/>
                <a:gd name="connsiteX85" fmla="*/ 2201 w 10000"/>
                <a:gd name="connsiteY85" fmla="*/ 9346 h 10001"/>
                <a:gd name="connsiteX86" fmla="*/ 2183 w 10000"/>
                <a:gd name="connsiteY86" fmla="*/ 9933 h 10001"/>
                <a:gd name="connsiteX87" fmla="*/ 2324 w 10000"/>
                <a:gd name="connsiteY87" fmla="*/ 9933 h 10001"/>
                <a:gd name="connsiteX88" fmla="*/ 2430 w 10000"/>
                <a:gd name="connsiteY88" fmla="*/ 9662 h 10001"/>
                <a:gd name="connsiteX89" fmla="*/ 3363 w 10000"/>
                <a:gd name="connsiteY89" fmla="*/ 9662 h 10001"/>
                <a:gd name="connsiteX90" fmla="*/ 3644 w 10000"/>
                <a:gd name="connsiteY90" fmla="*/ 9437 h 10001"/>
                <a:gd name="connsiteX91" fmla="*/ 3961 w 10000"/>
                <a:gd name="connsiteY91" fmla="*/ 9346 h 10001"/>
                <a:gd name="connsiteX92" fmla="*/ 4278 w 10000"/>
                <a:gd name="connsiteY92" fmla="*/ 9504 h 10001"/>
                <a:gd name="connsiteX93" fmla="*/ 4489 w 10000"/>
                <a:gd name="connsiteY93" fmla="*/ 9437 h 10001"/>
                <a:gd name="connsiteX94" fmla="*/ 5440 w 10000"/>
                <a:gd name="connsiteY94" fmla="*/ 9369 h 10001"/>
                <a:gd name="connsiteX95" fmla="*/ 5792 w 10000"/>
                <a:gd name="connsiteY95" fmla="*/ 9211 h 10001"/>
                <a:gd name="connsiteX96" fmla="*/ 5951 w 10000"/>
                <a:gd name="connsiteY96" fmla="*/ 9369 h 10001"/>
                <a:gd name="connsiteX97" fmla="*/ 6602 w 10000"/>
                <a:gd name="connsiteY97" fmla="*/ 9324 h 10001"/>
                <a:gd name="connsiteX98" fmla="*/ 6743 w 10000"/>
                <a:gd name="connsiteY98" fmla="*/ 9572 h 10001"/>
                <a:gd name="connsiteX99" fmla="*/ 6919 w 10000"/>
                <a:gd name="connsiteY99" fmla="*/ 9775 h 10001"/>
                <a:gd name="connsiteX100" fmla="*/ 7482 w 10000"/>
                <a:gd name="connsiteY100" fmla="*/ 9730 h 10001"/>
                <a:gd name="connsiteX101" fmla="*/ 7658 w 10000"/>
                <a:gd name="connsiteY101" fmla="*/ 9866 h 10001"/>
                <a:gd name="connsiteX102" fmla="*/ 7764 w 10000"/>
                <a:gd name="connsiteY102" fmla="*/ 9911 h 10001"/>
                <a:gd name="connsiteX103" fmla="*/ 7835 w 10000"/>
                <a:gd name="connsiteY103" fmla="*/ 9978 h 10001"/>
                <a:gd name="connsiteX104" fmla="*/ 7940 w 10000"/>
                <a:gd name="connsiteY104" fmla="*/ 10001 h 10001"/>
                <a:gd name="connsiteX105" fmla="*/ 8116 w 10000"/>
                <a:gd name="connsiteY105" fmla="*/ 9933 h 10001"/>
                <a:gd name="connsiteX106" fmla="*/ 8063 w 10000"/>
                <a:gd name="connsiteY106" fmla="*/ 9617 h 10001"/>
                <a:gd name="connsiteX107" fmla="*/ 7887 w 10000"/>
                <a:gd name="connsiteY107" fmla="*/ 9392 h 10001"/>
                <a:gd name="connsiteX108" fmla="*/ 7887 w 10000"/>
                <a:gd name="connsiteY108" fmla="*/ 9008 h 10001"/>
                <a:gd name="connsiteX109" fmla="*/ 8063 w 10000"/>
                <a:gd name="connsiteY109" fmla="*/ 8872 h 10001"/>
                <a:gd name="connsiteX110" fmla="*/ 8275 w 10000"/>
                <a:gd name="connsiteY110" fmla="*/ 8692 h 10001"/>
                <a:gd name="connsiteX111" fmla="*/ 8151 w 10000"/>
                <a:gd name="connsiteY111" fmla="*/ 8601 h 10001"/>
                <a:gd name="connsiteX112" fmla="*/ 8063 w 10000"/>
                <a:gd name="connsiteY112" fmla="*/ 8466 h 10001"/>
                <a:gd name="connsiteX113" fmla="*/ 8204 w 10000"/>
                <a:gd name="connsiteY113" fmla="*/ 8240 h 10001"/>
                <a:gd name="connsiteX114" fmla="*/ 8521 w 10000"/>
                <a:gd name="connsiteY114" fmla="*/ 8240 h 10001"/>
                <a:gd name="connsiteX115" fmla="*/ 8521 w 10000"/>
                <a:gd name="connsiteY115" fmla="*/ 7947 h 10001"/>
                <a:gd name="connsiteX116" fmla="*/ 8310 w 10000"/>
                <a:gd name="connsiteY116" fmla="*/ 7834 h 10001"/>
                <a:gd name="connsiteX117" fmla="*/ 8398 w 10000"/>
                <a:gd name="connsiteY117" fmla="*/ 7495 h 10001"/>
                <a:gd name="connsiteX118" fmla="*/ 7676 w 10000"/>
                <a:gd name="connsiteY118" fmla="*/ 6164 h 10001"/>
                <a:gd name="connsiteX119" fmla="*/ 7518 w 10000"/>
                <a:gd name="connsiteY119" fmla="*/ 5441 h 10001"/>
                <a:gd name="connsiteX120" fmla="*/ 7676 w 10000"/>
                <a:gd name="connsiteY120" fmla="*/ 4764 h 10001"/>
                <a:gd name="connsiteX121" fmla="*/ 7007 w 10000"/>
                <a:gd name="connsiteY121" fmla="*/ 4854 h 10001"/>
                <a:gd name="connsiteX122" fmla="*/ 6972 w 10000"/>
                <a:gd name="connsiteY122" fmla="*/ 4809 h 10001"/>
                <a:gd name="connsiteX123" fmla="*/ 6954 w 10000"/>
                <a:gd name="connsiteY123" fmla="*/ 4629 h 10001"/>
                <a:gd name="connsiteX124" fmla="*/ 7095 w 10000"/>
                <a:gd name="connsiteY124" fmla="*/ 4267 h 10001"/>
                <a:gd name="connsiteX125" fmla="*/ 8468 w 10000"/>
                <a:gd name="connsiteY125" fmla="*/ 3342 h 10001"/>
                <a:gd name="connsiteX126" fmla="*/ 8908 w 10000"/>
                <a:gd name="connsiteY126" fmla="*/ 3161 h 10001"/>
                <a:gd name="connsiteX127" fmla="*/ 9102 w 10000"/>
                <a:gd name="connsiteY127" fmla="*/ 3432 h 10001"/>
                <a:gd name="connsiteX128" fmla="*/ 9313 w 10000"/>
                <a:gd name="connsiteY128" fmla="*/ 3432 h 10001"/>
                <a:gd name="connsiteX129" fmla="*/ 9560 w 10000"/>
                <a:gd name="connsiteY129" fmla="*/ 3206 h 10001"/>
                <a:gd name="connsiteX130" fmla="*/ 9965 w 10000"/>
                <a:gd name="connsiteY130" fmla="*/ 3455 h 10001"/>
                <a:gd name="connsiteX131" fmla="*/ 10000 w 10000"/>
                <a:gd name="connsiteY131" fmla="*/ 2732 h 10001"/>
                <a:gd name="connsiteX132" fmla="*/ 9507 w 10000"/>
                <a:gd name="connsiteY132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374 w 10000"/>
                <a:gd name="connsiteY50" fmla="*/ 1589 h 10001"/>
                <a:gd name="connsiteX51" fmla="*/ 3223 w 10000"/>
                <a:gd name="connsiteY51" fmla="*/ 1540 h 10001"/>
                <a:gd name="connsiteX52" fmla="*/ 2962 w 10000"/>
                <a:gd name="connsiteY52" fmla="*/ 1558 h 10001"/>
                <a:gd name="connsiteX53" fmla="*/ 2810 w 10000"/>
                <a:gd name="connsiteY53" fmla="*/ 1437 h 10001"/>
                <a:gd name="connsiteX54" fmla="*/ 2540 w 10000"/>
                <a:gd name="connsiteY54" fmla="*/ 1619 h 10001"/>
                <a:gd name="connsiteX55" fmla="*/ 1836 w 10000"/>
                <a:gd name="connsiteY55" fmla="*/ 1135 h 10001"/>
                <a:gd name="connsiteX56" fmla="*/ 1491 w 10000"/>
                <a:gd name="connsiteY56" fmla="*/ 1215 h 10001"/>
                <a:gd name="connsiteX57" fmla="*/ 1142 w 10000"/>
                <a:gd name="connsiteY57" fmla="*/ 1446 h 10001"/>
                <a:gd name="connsiteX58" fmla="*/ 867 w 10000"/>
                <a:gd name="connsiteY58" fmla="*/ 1756 h 10001"/>
                <a:gd name="connsiteX59" fmla="*/ 1180 w 10000"/>
                <a:gd name="connsiteY59" fmla="*/ 2145 h 10001"/>
                <a:gd name="connsiteX60" fmla="*/ 933 w 10000"/>
                <a:gd name="connsiteY60" fmla="*/ 2326 h 10001"/>
                <a:gd name="connsiteX61" fmla="*/ 739 w 10000"/>
                <a:gd name="connsiteY61" fmla="*/ 2349 h 10001"/>
                <a:gd name="connsiteX62" fmla="*/ 669 w 10000"/>
                <a:gd name="connsiteY62" fmla="*/ 2958 h 10001"/>
                <a:gd name="connsiteX63" fmla="*/ 493 w 10000"/>
                <a:gd name="connsiteY63" fmla="*/ 3274 h 10001"/>
                <a:gd name="connsiteX64" fmla="*/ 264 w 10000"/>
                <a:gd name="connsiteY64" fmla="*/ 3229 h 10001"/>
                <a:gd name="connsiteX65" fmla="*/ 88 w 10000"/>
                <a:gd name="connsiteY65" fmla="*/ 3342 h 10001"/>
                <a:gd name="connsiteX66" fmla="*/ 88 w 10000"/>
                <a:gd name="connsiteY66" fmla="*/ 3522 h 10001"/>
                <a:gd name="connsiteX67" fmla="*/ 194 w 10000"/>
                <a:gd name="connsiteY67" fmla="*/ 3884 h 10001"/>
                <a:gd name="connsiteX68" fmla="*/ 123 w 10000"/>
                <a:gd name="connsiteY68" fmla="*/ 4154 h 10001"/>
                <a:gd name="connsiteX69" fmla="*/ 0 w 10000"/>
                <a:gd name="connsiteY69" fmla="*/ 4425 h 10001"/>
                <a:gd name="connsiteX70" fmla="*/ 18 w 10000"/>
                <a:gd name="connsiteY70" fmla="*/ 4832 h 10001"/>
                <a:gd name="connsiteX71" fmla="*/ 53 w 10000"/>
                <a:gd name="connsiteY71" fmla="*/ 5464 h 10001"/>
                <a:gd name="connsiteX72" fmla="*/ 88 w 10000"/>
                <a:gd name="connsiteY72" fmla="*/ 5464 h 10001"/>
                <a:gd name="connsiteX73" fmla="*/ 158 w 10000"/>
                <a:gd name="connsiteY73" fmla="*/ 5644 h 10001"/>
                <a:gd name="connsiteX74" fmla="*/ 581 w 10000"/>
                <a:gd name="connsiteY74" fmla="*/ 6096 h 10001"/>
                <a:gd name="connsiteX75" fmla="*/ 581 w 10000"/>
                <a:gd name="connsiteY75" fmla="*/ 6118 h 10001"/>
                <a:gd name="connsiteX76" fmla="*/ 581 w 10000"/>
                <a:gd name="connsiteY76" fmla="*/ 6118 h 10001"/>
                <a:gd name="connsiteX77" fmla="*/ 651 w 10000"/>
                <a:gd name="connsiteY77" fmla="*/ 6547 h 10001"/>
                <a:gd name="connsiteX78" fmla="*/ 1532 w 10000"/>
                <a:gd name="connsiteY78" fmla="*/ 7112 h 10001"/>
                <a:gd name="connsiteX79" fmla="*/ 1549 w 10000"/>
                <a:gd name="connsiteY79" fmla="*/ 7112 h 10001"/>
                <a:gd name="connsiteX80" fmla="*/ 1549 w 10000"/>
                <a:gd name="connsiteY80" fmla="*/ 7134 h 10001"/>
                <a:gd name="connsiteX81" fmla="*/ 1725 w 10000"/>
                <a:gd name="connsiteY81" fmla="*/ 8173 h 10001"/>
                <a:gd name="connsiteX82" fmla="*/ 2077 w 10000"/>
                <a:gd name="connsiteY82" fmla="*/ 9053 h 10001"/>
                <a:gd name="connsiteX83" fmla="*/ 2201 w 10000"/>
                <a:gd name="connsiteY83" fmla="*/ 9324 h 10001"/>
                <a:gd name="connsiteX84" fmla="*/ 2201 w 10000"/>
                <a:gd name="connsiteY84" fmla="*/ 9324 h 10001"/>
                <a:gd name="connsiteX85" fmla="*/ 2201 w 10000"/>
                <a:gd name="connsiteY85" fmla="*/ 9346 h 10001"/>
                <a:gd name="connsiteX86" fmla="*/ 2183 w 10000"/>
                <a:gd name="connsiteY86" fmla="*/ 9933 h 10001"/>
                <a:gd name="connsiteX87" fmla="*/ 2324 w 10000"/>
                <a:gd name="connsiteY87" fmla="*/ 9933 h 10001"/>
                <a:gd name="connsiteX88" fmla="*/ 2430 w 10000"/>
                <a:gd name="connsiteY88" fmla="*/ 9662 h 10001"/>
                <a:gd name="connsiteX89" fmla="*/ 3363 w 10000"/>
                <a:gd name="connsiteY89" fmla="*/ 9662 h 10001"/>
                <a:gd name="connsiteX90" fmla="*/ 3644 w 10000"/>
                <a:gd name="connsiteY90" fmla="*/ 9437 h 10001"/>
                <a:gd name="connsiteX91" fmla="*/ 3961 w 10000"/>
                <a:gd name="connsiteY91" fmla="*/ 9346 h 10001"/>
                <a:gd name="connsiteX92" fmla="*/ 4278 w 10000"/>
                <a:gd name="connsiteY92" fmla="*/ 9504 h 10001"/>
                <a:gd name="connsiteX93" fmla="*/ 4489 w 10000"/>
                <a:gd name="connsiteY93" fmla="*/ 9437 h 10001"/>
                <a:gd name="connsiteX94" fmla="*/ 5440 w 10000"/>
                <a:gd name="connsiteY94" fmla="*/ 9369 h 10001"/>
                <a:gd name="connsiteX95" fmla="*/ 5792 w 10000"/>
                <a:gd name="connsiteY95" fmla="*/ 9211 h 10001"/>
                <a:gd name="connsiteX96" fmla="*/ 5951 w 10000"/>
                <a:gd name="connsiteY96" fmla="*/ 9369 h 10001"/>
                <a:gd name="connsiteX97" fmla="*/ 6602 w 10000"/>
                <a:gd name="connsiteY97" fmla="*/ 9324 h 10001"/>
                <a:gd name="connsiteX98" fmla="*/ 6743 w 10000"/>
                <a:gd name="connsiteY98" fmla="*/ 9572 h 10001"/>
                <a:gd name="connsiteX99" fmla="*/ 6919 w 10000"/>
                <a:gd name="connsiteY99" fmla="*/ 9775 h 10001"/>
                <a:gd name="connsiteX100" fmla="*/ 7482 w 10000"/>
                <a:gd name="connsiteY100" fmla="*/ 9730 h 10001"/>
                <a:gd name="connsiteX101" fmla="*/ 7658 w 10000"/>
                <a:gd name="connsiteY101" fmla="*/ 9866 h 10001"/>
                <a:gd name="connsiteX102" fmla="*/ 7764 w 10000"/>
                <a:gd name="connsiteY102" fmla="*/ 9911 h 10001"/>
                <a:gd name="connsiteX103" fmla="*/ 7835 w 10000"/>
                <a:gd name="connsiteY103" fmla="*/ 9978 h 10001"/>
                <a:gd name="connsiteX104" fmla="*/ 7940 w 10000"/>
                <a:gd name="connsiteY104" fmla="*/ 10001 h 10001"/>
                <a:gd name="connsiteX105" fmla="*/ 8116 w 10000"/>
                <a:gd name="connsiteY105" fmla="*/ 9933 h 10001"/>
                <a:gd name="connsiteX106" fmla="*/ 8063 w 10000"/>
                <a:gd name="connsiteY106" fmla="*/ 9617 h 10001"/>
                <a:gd name="connsiteX107" fmla="*/ 7887 w 10000"/>
                <a:gd name="connsiteY107" fmla="*/ 9392 h 10001"/>
                <a:gd name="connsiteX108" fmla="*/ 7887 w 10000"/>
                <a:gd name="connsiteY108" fmla="*/ 9008 h 10001"/>
                <a:gd name="connsiteX109" fmla="*/ 8063 w 10000"/>
                <a:gd name="connsiteY109" fmla="*/ 8872 h 10001"/>
                <a:gd name="connsiteX110" fmla="*/ 8275 w 10000"/>
                <a:gd name="connsiteY110" fmla="*/ 8692 h 10001"/>
                <a:gd name="connsiteX111" fmla="*/ 8151 w 10000"/>
                <a:gd name="connsiteY111" fmla="*/ 8601 h 10001"/>
                <a:gd name="connsiteX112" fmla="*/ 8063 w 10000"/>
                <a:gd name="connsiteY112" fmla="*/ 8466 h 10001"/>
                <a:gd name="connsiteX113" fmla="*/ 8204 w 10000"/>
                <a:gd name="connsiteY113" fmla="*/ 8240 h 10001"/>
                <a:gd name="connsiteX114" fmla="*/ 8521 w 10000"/>
                <a:gd name="connsiteY114" fmla="*/ 8240 h 10001"/>
                <a:gd name="connsiteX115" fmla="*/ 8521 w 10000"/>
                <a:gd name="connsiteY115" fmla="*/ 7947 h 10001"/>
                <a:gd name="connsiteX116" fmla="*/ 8310 w 10000"/>
                <a:gd name="connsiteY116" fmla="*/ 7834 h 10001"/>
                <a:gd name="connsiteX117" fmla="*/ 8398 w 10000"/>
                <a:gd name="connsiteY117" fmla="*/ 7495 h 10001"/>
                <a:gd name="connsiteX118" fmla="*/ 7676 w 10000"/>
                <a:gd name="connsiteY118" fmla="*/ 6164 h 10001"/>
                <a:gd name="connsiteX119" fmla="*/ 7518 w 10000"/>
                <a:gd name="connsiteY119" fmla="*/ 5441 h 10001"/>
                <a:gd name="connsiteX120" fmla="*/ 7676 w 10000"/>
                <a:gd name="connsiteY120" fmla="*/ 4764 h 10001"/>
                <a:gd name="connsiteX121" fmla="*/ 7007 w 10000"/>
                <a:gd name="connsiteY121" fmla="*/ 4854 h 10001"/>
                <a:gd name="connsiteX122" fmla="*/ 6972 w 10000"/>
                <a:gd name="connsiteY122" fmla="*/ 4809 h 10001"/>
                <a:gd name="connsiteX123" fmla="*/ 6954 w 10000"/>
                <a:gd name="connsiteY123" fmla="*/ 4629 h 10001"/>
                <a:gd name="connsiteX124" fmla="*/ 7095 w 10000"/>
                <a:gd name="connsiteY124" fmla="*/ 4267 h 10001"/>
                <a:gd name="connsiteX125" fmla="*/ 8468 w 10000"/>
                <a:gd name="connsiteY125" fmla="*/ 3342 h 10001"/>
                <a:gd name="connsiteX126" fmla="*/ 8908 w 10000"/>
                <a:gd name="connsiteY126" fmla="*/ 3161 h 10001"/>
                <a:gd name="connsiteX127" fmla="*/ 9102 w 10000"/>
                <a:gd name="connsiteY127" fmla="*/ 3432 h 10001"/>
                <a:gd name="connsiteX128" fmla="*/ 9313 w 10000"/>
                <a:gd name="connsiteY128" fmla="*/ 3432 h 10001"/>
                <a:gd name="connsiteX129" fmla="*/ 9560 w 10000"/>
                <a:gd name="connsiteY129" fmla="*/ 3206 h 10001"/>
                <a:gd name="connsiteX130" fmla="*/ 9965 w 10000"/>
                <a:gd name="connsiteY130" fmla="*/ 3455 h 10001"/>
                <a:gd name="connsiteX131" fmla="*/ 10000 w 10000"/>
                <a:gd name="connsiteY131" fmla="*/ 2732 h 10001"/>
                <a:gd name="connsiteX132" fmla="*/ 9507 w 10000"/>
                <a:gd name="connsiteY132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374 w 10000"/>
                <a:gd name="connsiteY50" fmla="*/ 1589 h 10001"/>
                <a:gd name="connsiteX51" fmla="*/ 3223 w 10000"/>
                <a:gd name="connsiteY51" fmla="*/ 1540 h 10001"/>
                <a:gd name="connsiteX52" fmla="*/ 2962 w 10000"/>
                <a:gd name="connsiteY52" fmla="*/ 1558 h 10001"/>
                <a:gd name="connsiteX53" fmla="*/ 2810 w 10000"/>
                <a:gd name="connsiteY53" fmla="*/ 1437 h 10001"/>
                <a:gd name="connsiteX54" fmla="*/ 2540 w 10000"/>
                <a:gd name="connsiteY54" fmla="*/ 1619 h 10001"/>
                <a:gd name="connsiteX55" fmla="*/ 1836 w 10000"/>
                <a:gd name="connsiteY55" fmla="*/ 1135 h 10001"/>
                <a:gd name="connsiteX56" fmla="*/ 1491 w 10000"/>
                <a:gd name="connsiteY56" fmla="*/ 1215 h 10001"/>
                <a:gd name="connsiteX57" fmla="*/ 1142 w 10000"/>
                <a:gd name="connsiteY57" fmla="*/ 1446 h 10001"/>
                <a:gd name="connsiteX58" fmla="*/ 867 w 10000"/>
                <a:gd name="connsiteY58" fmla="*/ 1756 h 10001"/>
                <a:gd name="connsiteX59" fmla="*/ 560 w 10000"/>
                <a:gd name="connsiteY59" fmla="*/ 1644 h 10001"/>
                <a:gd name="connsiteX60" fmla="*/ 933 w 10000"/>
                <a:gd name="connsiteY60" fmla="*/ 2326 h 10001"/>
                <a:gd name="connsiteX61" fmla="*/ 739 w 10000"/>
                <a:gd name="connsiteY61" fmla="*/ 2349 h 10001"/>
                <a:gd name="connsiteX62" fmla="*/ 669 w 10000"/>
                <a:gd name="connsiteY62" fmla="*/ 2958 h 10001"/>
                <a:gd name="connsiteX63" fmla="*/ 493 w 10000"/>
                <a:gd name="connsiteY63" fmla="*/ 3274 h 10001"/>
                <a:gd name="connsiteX64" fmla="*/ 264 w 10000"/>
                <a:gd name="connsiteY64" fmla="*/ 3229 h 10001"/>
                <a:gd name="connsiteX65" fmla="*/ 88 w 10000"/>
                <a:gd name="connsiteY65" fmla="*/ 3342 h 10001"/>
                <a:gd name="connsiteX66" fmla="*/ 88 w 10000"/>
                <a:gd name="connsiteY66" fmla="*/ 3522 h 10001"/>
                <a:gd name="connsiteX67" fmla="*/ 194 w 10000"/>
                <a:gd name="connsiteY67" fmla="*/ 3884 h 10001"/>
                <a:gd name="connsiteX68" fmla="*/ 123 w 10000"/>
                <a:gd name="connsiteY68" fmla="*/ 4154 h 10001"/>
                <a:gd name="connsiteX69" fmla="*/ 0 w 10000"/>
                <a:gd name="connsiteY69" fmla="*/ 4425 h 10001"/>
                <a:gd name="connsiteX70" fmla="*/ 18 w 10000"/>
                <a:gd name="connsiteY70" fmla="*/ 4832 h 10001"/>
                <a:gd name="connsiteX71" fmla="*/ 53 w 10000"/>
                <a:gd name="connsiteY71" fmla="*/ 5464 h 10001"/>
                <a:gd name="connsiteX72" fmla="*/ 88 w 10000"/>
                <a:gd name="connsiteY72" fmla="*/ 5464 h 10001"/>
                <a:gd name="connsiteX73" fmla="*/ 158 w 10000"/>
                <a:gd name="connsiteY73" fmla="*/ 5644 h 10001"/>
                <a:gd name="connsiteX74" fmla="*/ 581 w 10000"/>
                <a:gd name="connsiteY74" fmla="*/ 6096 h 10001"/>
                <a:gd name="connsiteX75" fmla="*/ 581 w 10000"/>
                <a:gd name="connsiteY75" fmla="*/ 6118 h 10001"/>
                <a:gd name="connsiteX76" fmla="*/ 581 w 10000"/>
                <a:gd name="connsiteY76" fmla="*/ 6118 h 10001"/>
                <a:gd name="connsiteX77" fmla="*/ 651 w 10000"/>
                <a:gd name="connsiteY77" fmla="*/ 6547 h 10001"/>
                <a:gd name="connsiteX78" fmla="*/ 1532 w 10000"/>
                <a:gd name="connsiteY78" fmla="*/ 7112 h 10001"/>
                <a:gd name="connsiteX79" fmla="*/ 1549 w 10000"/>
                <a:gd name="connsiteY79" fmla="*/ 7112 h 10001"/>
                <a:gd name="connsiteX80" fmla="*/ 1549 w 10000"/>
                <a:gd name="connsiteY80" fmla="*/ 7134 h 10001"/>
                <a:gd name="connsiteX81" fmla="*/ 1725 w 10000"/>
                <a:gd name="connsiteY81" fmla="*/ 8173 h 10001"/>
                <a:gd name="connsiteX82" fmla="*/ 2077 w 10000"/>
                <a:gd name="connsiteY82" fmla="*/ 9053 h 10001"/>
                <a:gd name="connsiteX83" fmla="*/ 2201 w 10000"/>
                <a:gd name="connsiteY83" fmla="*/ 9324 h 10001"/>
                <a:gd name="connsiteX84" fmla="*/ 2201 w 10000"/>
                <a:gd name="connsiteY84" fmla="*/ 9324 h 10001"/>
                <a:gd name="connsiteX85" fmla="*/ 2201 w 10000"/>
                <a:gd name="connsiteY85" fmla="*/ 9346 h 10001"/>
                <a:gd name="connsiteX86" fmla="*/ 2183 w 10000"/>
                <a:gd name="connsiteY86" fmla="*/ 9933 h 10001"/>
                <a:gd name="connsiteX87" fmla="*/ 2324 w 10000"/>
                <a:gd name="connsiteY87" fmla="*/ 9933 h 10001"/>
                <a:gd name="connsiteX88" fmla="*/ 2430 w 10000"/>
                <a:gd name="connsiteY88" fmla="*/ 9662 h 10001"/>
                <a:gd name="connsiteX89" fmla="*/ 3363 w 10000"/>
                <a:gd name="connsiteY89" fmla="*/ 9662 h 10001"/>
                <a:gd name="connsiteX90" fmla="*/ 3644 w 10000"/>
                <a:gd name="connsiteY90" fmla="*/ 9437 h 10001"/>
                <a:gd name="connsiteX91" fmla="*/ 3961 w 10000"/>
                <a:gd name="connsiteY91" fmla="*/ 9346 h 10001"/>
                <a:gd name="connsiteX92" fmla="*/ 4278 w 10000"/>
                <a:gd name="connsiteY92" fmla="*/ 9504 h 10001"/>
                <a:gd name="connsiteX93" fmla="*/ 4489 w 10000"/>
                <a:gd name="connsiteY93" fmla="*/ 9437 h 10001"/>
                <a:gd name="connsiteX94" fmla="*/ 5440 w 10000"/>
                <a:gd name="connsiteY94" fmla="*/ 9369 h 10001"/>
                <a:gd name="connsiteX95" fmla="*/ 5792 w 10000"/>
                <a:gd name="connsiteY95" fmla="*/ 9211 h 10001"/>
                <a:gd name="connsiteX96" fmla="*/ 5951 w 10000"/>
                <a:gd name="connsiteY96" fmla="*/ 9369 h 10001"/>
                <a:gd name="connsiteX97" fmla="*/ 6602 w 10000"/>
                <a:gd name="connsiteY97" fmla="*/ 9324 h 10001"/>
                <a:gd name="connsiteX98" fmla="*/ 6743 w 10000"/>
                <a:gd name="connsiteY98" fmla="*/ 9572 h 10001"/>
                <a:gd name="connsiteX99" fmla="*/ 6919 w 10000"/>
                <a:gd name="connsiteY99" fmla="*/ 9775 h 10001"/>
                <a:gd name="connsiteX100" fmla="*/ 7482 w 10000"/>
                <a:gd name="connsiteY100" fmla="*/ 9730 h 10001"/>
                <a:gd name="connsiteX101" fmla="*/ 7658 w 10000"/>
                <a:gd name="connsiteY101" fmla="*/ 9866 h 10001"/>
                <a:gd name="connsiteX102" fmla="*/ 7764 w 10000"/>
                <a:gd name="connsiteY102" fmla="*/ 9911 h 10001"/>
                <a:gd name="connsiteX103" fmla="*/ 7835 w 10000"/>
                <a:gd name="connsiteY103" fmla="*/ 9978 h 10001"/>
                <a:gd name="connsiteX104" fmla="*/ 7940 w 10000"/>
                <a:gd name="connsiteY104" fmla="*/ 10001 h 10001"/>
                <a:gd name="connsiteX105" fmla="*/ 8116 w 10000"/>
                <a:gd name="connsiteY105" fmla="*/ 9933 h 10001"/>
                <a:gd name="connsiteX106" fmla="*/ 8063 w 10000"/>
                <a:gd name="connsiteY106" fmla="*/ 9617 h 10001"/>
                <a:gd name="connsiteX107" fmla="*/ 7887 w 10000"/>
                <a:gd name="connsiteY107" fmla="*/ 9392 h 10001"/>
                <a:gd name="connsiteX108" fmla="*/ 7887 w 10000"/>
                <a:gd name="connsiteY108" fmla="*/ 9008 h 10001"/>
                <a:gd name="connsiteX109" fmla="*/ 8063 w 10000"/>
                <a:gd name="connsiteY109" fmla="*/ 8872 h 10001"/>
                <a:gd name="connsiteX110" fmla="*/ 8275 w 10000"/>
                <a:gd name="connsiteY110" fmla="*/ 8692 h 10001"/>
                <a:gd name="connsiteX111" fmla="*/ 8151 w 10000"/>
                <a:gd name="connsiteY111" fmla="*/ 8601 h 10001"/>
                <a:gd name="connsiteX112" fmla="*/ 8063 w 10000"/>
                <a:gd name="connsiteY112" fmla="*/ 8466 h 10001"/>
                <a:gd name="connsiteX113" fmla="*/ 8204 w 10000"/>
                <a:gd name="connsiteY113" fmla="*/ 8240 h 10001"/>
                <a:gd name="connsiteX114" fmla="*/ 8521 w 10000"/>
                <a:gd name="connsiteY114" fmla="*/ 8240 h 10001"/>
                <a:gd name="connsiteX115" fmla="*/ 8521 w 10000"/>
                <a:gd name="connsiteY115" fmla="*/ 7947 h 10001"/>
                <a:gd name="connsiteX116" fmla="*/ 8310 w 10000"/>
                <a:gd name="connsiteY116" fmla="*/ 7834 h 10001"/>
                <a:gd name="connsiteX117" fmla="*/ 8398 w 10000"/>
                <a:gd name="connsiteY117" fmla="*/ 7495 h 10001"/>
                <a:gd name="connsiteX118" fmla="*/ 7676 w 10000"/>
                <a:gd name="connsiteY118" fmla="*/ 6164 h 10001"/>
                <a:gd name="connsiteX119" fmla="*/ 7518 w 10000"/>
                <a:gd name="connsiteY119" fmla="*/ 5441 h 10001"/>
                <a:gd name="connsiteX120" fmla="*/ 7676 w 10000"/>
                <a:gd name="connsiteY120" fmla="*/ 4764 h 10001"/>
                <a:gd name="connsiteX121" fmla="*/ 7007 w 10000"/>
                <a:gd name="connsiteY121" fmla="*/ 4854 h 10001"/>
                <a:gd name="connsiteX122" fmla="*/ 6972 w 10000"/>
                <a:gd name="connsiteY122" fmla="*/ 4809 h 10001"/>
                <a:gd name="connsiteX123" fmla="*/ 6954 w 10000"/>
                <a:gd name="connsiteY123" fmla="*/ 4629 h 10001"/>
                <a:gd name="connsiteX124" fmla="*/ 7095 w 10000"/>
                <a:gd name="connsiteY124" fmla="*/ 4267 h 10001"/>
                <a:gd name="connsiteX125" fmla="*/ 8468 w 10000"/>
                <a:gd name="connsiteY125" fmla="*/ 3342 h 10001"/>
                <a:gd name="connsiteX126" fmla="*/ 8908 w 10000"/>
                <a:gd name="connsiteY126" fmla="*/ 3161 h 10001"/>
                <a:gd name="connsiteX127" fmla="*/ 9102 w 10000"/>
                <a:gd name="connsiteY127" fmla="*/ 3432 h 10001"/>
                <a:gd name="connsiteX128" fmla="*/ 9313 w 10000"/>
                <a:gd name="connsiteY128" fmla="*/ 3432 h 10001"/>
                <a:gd name="connsiteX129" fmla="*/ 9560 w 10000"/>
                <a:gd name="connsiteY129" fmla="*/ 3206 h 10001"/>
                <a:gd name="connsiteX130" fmla="*/ 9965 w 10000"/>
                <a:gd name="connsiteY130" fmla="*/ 3455 h 10001"/>
                <a:gd name="connsiteX131" fmla="*/ 10000 w 10000"/>
                <a:gd name="connsiteY131" fmla="*/ 2732 h 10001"/>
                <a:gd name="connsiteX132" fmla="*/ 9507 w 10000"/>
                <a:gd name="connsiteY132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374 w 10000"/>
                <a:gd name="connsiteY50" fmla="*/ 1589 h 10001"/>
                <a:gd name="connsiteX51" fmla="*/ 3223 w 10000"/>
                <a:gd name="connsiteY51" fmla="*/ 1540 h 10001"/>
                <a:gd name="connsiteX52" fmla="*/ 2962 w 10000"/>
                <a:gd name="connsiteY52" fmla="*/ 1558 h 10001"/>
                <a:gd name="connsiteX53" fmla="*/ 2810 w 10000"/>
                <a:gd name="connsiteY53" fmla="*/ 1437 h 10001"/>
                <a:gd name="connsiteX54" fmla="*/ 2540 w 10000"/>
                <a:gd name="connsiteY54" fmla="*/ 1619 h 10001"/>
                <a:gd name="connsiteX55" fmla="*/ 1836 w 10000"/>
                <a:gd name="connsiteY55" fmla="*/ 1135 h 10001"/>
                <a:gd name="connsiteX56" fmla="*/ 1491 w 10000"/>
                <a:gd name="connsiteY56" fmla="*/ 1215 h 10001"/>
                <a:gd name="connsiteX57" fmla="*/ 1142 w 10000"/>
                <a:gd name="connsiteY57" fmla="*/ 1446 h 10001"/>
                <a:gd name="connsiteX58" fmla="*/ 867 w 10000"/>
                <a:gd name="connsiteY58" fmla="*/ 1756 h 10001"/>
                <a:gd name="connsiteX59" fmla="*/ 560 w 10000"/>
                <a:gd name="connsiteY59" fmla="*/ 1644 h 10001"/>
                <a:gd name="connsiteX60" fmla="*/ 381 w 10000"/>
                <a:gd name="connsiteY60" fmla="*/ 1773 h 10001"/>
                <a:gd name="connsiteX61" fmla="*/ 739 w 10000"/>
                <a:gd name="connsiteY61" fmla="*/ 2349 h 10001"/>
                <a:gd name="connsiteX62" fmla="*/ 669 w 10000"/>
                <a:gd name="connsiteY62" fmla="*/ 2958 h 10001"/>
                <a:gd name="connsiteX63" fmla="*/ 493 w 10000"/>
                <a:gd name="connsiteY63" fmla="*/ 3274 h 10001"/>
                <a:gd name="connsiteX64" fmla="*/ 264 w 10000"/>
                <a:gd name="connsiteY64" fmla="*/ 3229 h 10001"/>
                <a:gd name="connsiteX65" fmla="*/ 88 w 10000"/>
                <a:gd name="connsiteY65" fmla="*/ 3342 h 10001"/>
                <a:gd name="connsiteX66" fmla="*/ 88 w 10000"/>
                <a:gd name="connsiteY66" fmla="*/ 3522 h 10001"/>
                <a:gd name="connsiteX67" fmla="*/ 194 w 10000"/>
                <a:gd name="connsiteY67" fmla="*/ 3884 h 10001"/>
                <a:gd name="connsiteX68" fmla="*/ 123 w 10000"/>
                <a:gd name="connsiteY68" fmla="*/ 4154 h 10001"/>
                <a:gd name="connsiteX69" fmla="*/ 0 w 10000"/>
                <a:gd name="connsiteY69" fmla="*/ 4425 h 10001"/>
                <a:gd name="connsiteX70" fmla="*/ 18 w 10000"/>
                <a:gd name="connsiteY70" fmla="*/ 4832 h 10001"/>
                <a:gd name="connsiteX71" fmla="*/ 53 w 10000"/>
                <a:gd name="connsiteY71" fmla="*/ 5464 h 10001"/>
                <a:gd name="connsiteX72" fmla="*/ 88 w 10000"/>
                <a:gd name="connsiteY72" fmla="*/ 5464 h 10001"/>
                <a:gd name="connsiteX73" fmla="*/ 158 w 10000"/>
                <a:gd name="connsiteY73" fmla="*/ 5644 h 10001"/>
                <a:gd name="connsiteX74" fmla="*/ 581 w 10000"/>
                <a:gd name="connsiteY74" fmla="*/ 6096 h 10001"/>
                <a:gd name="connsiteX75" fmla="*/ 581 w 10000"/>
                <a:gd name="connsiteY75" fmla="*/ 6118 h 10001"/>
                <a:gd name="connsiteX76" fmla="*/ 581 w 10000"/>
                <a:gd name="connsiteY76" fmla="*/ 6118 h 10001"/>
                <a:gd name="connsiteX77" fmla="*/ 651 w 10000"/>
                <a:gd name="connsiteY77" fmla="*/ 6547 h 10001"/>
                <a:gd name="connsiteX78" fmla="*/ 1532 w 10000"/>
                <a:gd name="connsiteY78" fmla="*/ 7112 h 10001"/>
                <a:gd name="connsiteX79" fmla="*/ 1549 w 10000"/>
                <a:gd name="connsiteY79" fmla="*/ 7112 h 10001"/>
                <a:gd name="connsiteX80" fmla="*/ 1549 w 10000"/>
                <a:gd name="connsiteY80" fmla="*/ 7134 h 10001"/>
                <a:gd name="connsiteX81" fmla="*/ 1725 w 10000"/>
                <a:gd name="connsiteY81" fmla="*/ 8173 h 10001"/>
                <a:gd name="connsiteX82" fmla="*/ 2077 w 10000"/>
                <a:gd name="connsiteY82" fmla="*/ 9053 h 10001"/>
                <a:gd name="connsiteX83" fmla="*/ 2201 w 10000"/>
                <a:gd name="connsiteY83" fmla="*/ 9324 h 10001"/>
                <a:gd name="connsiteX84" fmla="*/ 2201 w 10000"/>
                <a:gd name="connsiteY84" fmla="*/ 9324 h 10001"/>
                <a:gd name="connsiteX85" fmla="*/ 2201 w 10000"/>
                <a:gd name="connsiteY85" fmla="*/ 9346 h 10001"/>
                <a:gd name="connsiteX86" fmla="*/ 2183 w 10000"/>
                <a:gd name="connsiteY86" fmla="*/ 9933 h 10001"/>
                <a:gd name="connsiteX87" fmla="*/ 2324 w 10000"/>
                <a:gd name="connsiteY87" fmla="*/ 9933 h 10001"/>
                <a:gd name="connsiteX88" fmla="*/ 2430 w 10000"/>
                <a:gd name="connsiteY88" fmla="*/ 9662 h 10001"/>
                <a:gd name="connsiteX89" fmla="*/ 3363 w 10000"/>
                <a:gd name="connsiteY89" fmla="*/ 9662 h 10001"/>
                <a:gd name="connsiteX90" fmla="*/ 3644 w 10000"/>
                <a:gd name="connsiteY90" fmla="*/ 9437 h 10001"/>
                <a:gd name="connsiteX91" fmla="*/ 3961 w 10000"/>
                <a:gd name="connsiteY91" fmla="*/ 9346 h 10001"/>
                <a:gd name="connsiteX92" fmla="*/ 4278 w 10000"/>
                <a:gd name="connsiteY92" fmla="*/ 9504 h 10001"/>
                <a:gd name="connsiteX93" fmla="*/ 4489 w 10000"/>
                <a:gd name="connsiteY93" fmla="*/ 9437 h 10001"/>
                <a:gd name="connsiteX94" fmla="*/ 5440 w 10000"/>
                <a:gd name="connsiteY94" fmla="*/ 9369 h 10001"/>
                <a:gd name="connsiteX95" fmla="*/ 5792 w 10000"/>
                <a:gd name="connsiteY95" fmla="*/ 9211 h 10001"/>
                <a:gd name="connsiteX96" fmla="*/ 5951 w 10000"/>
                <a:gd name="connsiteY96" fmla="*/ 9369 h 10001"/>
                <a:gd name="connsiteX97" fmla="*/ 6602 w 10000"/>
                <a:gd name="connsiteY97" fmla="*/ 9324 h 10001"/>
                <a:gd name="connsiteX98" fmla="*/ 6743 w 10000"/>
                <a:gd name="connsiteY98" fmla="*/ 9572 h 10001"/>
                <a:gd name="connsiteX99" fmla="*/ 6919 w 10000"/>
                <a:gd name="connsiteY99" fmla="*/ 9775 h 10001"/>
                <a:gd name="connsiteX100" fmla="*/ 7482 w 10000"/>
                <a:gd name="connsiteY100" fmla="*/ 9730 h 10001"/>
                <a:gd name="connsiteX101" fmla="*/ 7658 w 10000"/>
                <a:gd name="connsiteY101" fmla="*/ 9866 h 10001"/>
                <a:gd name="connsiteX102" fmla="*/ 7764 w 10000"/>
                <a:gd name="connsiteY102" fmla="*/ 9911 h 10001"/>
                <a:gd name="connsiteX103" fmla="*/ 7835 w 10000"/>
                <a:gd name="connsiteY103" fmla="*/ 9978 h 10001"/>
                <a:gd name="connsiteX104" fmla="*/ 7940 w 10000"/>
                <a:gd name="connsiteY104" fmla="*/ 10001 h 10001"/>
                <a:gd name="connsiteX105" fmla="*/ 8116 w 10000"/>
                <a:gd name="connsiteY105" fmla="*/ 9933 h 10001"/>
                <a:gd name="connsiteX106" fmla="*/ 8063 w 10000"/>
                <a:gd name="connsiteY106" fmla="*/ 9617 h 10001"/>
                <a:gd name="connsiteX107" fmla="*/ 7887 w 10000"/>
                <a:gd name="connsiteY107" fmla="*/ 9392 h 10001"/>
                <a:gd name="connsiteX108" fmla="*/ 7887 w 10000"/>
                <a:gd name="connsiteY108" fmla="*/ 9008 h 10001"/>
                <a:gd name="connsiteX109" fmla="*/ 8063 w 10000"/>
                <a:gd name="connsiteY109" fmla="*/ 8872 h 10001"/>
                <a:gd name="connsiteX110" fmla="*/ 8275 w 10000"/>
                <a:gd name="connsiteY110" fmla="*/ 8692 h 10001"/>
                <a:gd name="connsiteX111" fmla="*/ 8151 w 10000"/>
                <a:gd name="connsiteY111" fmla="*/ 8601 h 10001"/>
                <a:gd name="connsiteX112" fmla="*/ 8063 w 10000"/>
                <a:gd name="connsiteY112" fmla="*/ 8466 h 10001"/>
                <a:gd name="connsiteX113" fmla="*/ 8204 w 10000"/>
                <a:gd name="connsiteY113" fmla="*/ 8240 h 10001"/>
                <a:gd name="connsiteX114" fmla="*/ 8521 w 10000"/>
                <a:gd name="connsiteY114" fmla="*/ 8240 h 10001"/>
                <a:gd name="connsiteX115" fmla="*/ 8521 w 10000"/>
                <a:gd name="connsiteY115" fmla="*/ 7947 h 10001"/>
                <a:gd name="connsiteX116" fmla="*/ 8310 w 10000"/>
                <a:gd name="connsiteY116" fmla="*/ 7834 h 10001"/>
                <a:gd name="connsiteX117" fmla="*/ 8398 w 10000"/>
                <a:gd name="connsiteY117" fmla="*/ 7495 h 10001"/>
                <a:gd name="connsiteX118" fmla="*/ 7676 w 10000"/>
                <a:gd name="connsiteY118" fmla="*/ 6164 h 10001"/>
                <a:gd name="connsiteX119" fmla="*/ 7518 w 10000"/>
                <a:gd name="connsiteY119" fmla="*/ 5441 h 10001"/>
                <a:gd name="connsiteX120" fmla="*/ 7676 w 10000"/>
                <a:gd name="connsiteY120" fmla="*/ 4764 h 10001"/>
                <a:gd name="connsiteX121" fmla="*/ 7007 w 10000"/>
                <a:gd name="connsiteY121" fmla="*/ 4854 h 10001"/>
                <a:gd name="connsiteX122" fmla="*/ 6972 w 10000"/>
                <a:gd name="connsiteY122" fmla="*/ 4809 h 10001"/>
                <a:gd name="connsiteX123" fmla="*/ 6954 w 10000"/>
                <a:gd name="connsiteY123" fmla="*/ 4629 h 10001"/>
                <a:gd name="connsiteX124" fmla="*/ 7095 w 10000"/>
                <a:gd name="connsiteY124" fmla="*/ 4267 h 10001"/>
                <a:gd name="connsiteX125" fmla="*/ 8468 w 10000"/>
                <a:gd name="connsiteY125" fmla="*/ 3342 h 10001"/>
                <a:gd name="connsiteX126" fmla="*/ 8908 w 10000"/>
                <a:gd name="connsiteY126" fmla="*/ 3161 h 10001"/>
                <a:gd name="connsiteX127" fmla="*/ 9102 w 10000"/>
                <a:gd name="connsiteY127" fmla="*/ 3432 h 10001"/>
                <a:gd name="connsiteX128" fmla="*/ 9313 w 10000"/>
                <a:gd name="connsiteY128" fmla="*/ 3432 h 10001"/>
                <a:gd name="connsiteX129" fmla="*/ 9560 w 10000"/>
                <a:gd name="connsiteY129" fmla="*/ 3206 h 10001"/>
                <a:gd name="connsiteX130" fmla="*/ 9965 w 10000"/>
                <a:gd name="connsiteY130" fmla="*/ 3455 h 10001"/>
                <a:gd name="connsiteX131" fmla="*/ 10000 w 10000"/>
                <a:gd name="connsiteY131" fmla="*/ 2732 h 10001"/>
                <a:gd name="connsiteX132" fmla="*/ 9507 w 10000"/>
                <a:gd name="connsiteY132" fmla="*/ 2732 h 10001"/>
                <a:gd name="connsiteX0" fmla="*/ 9507 w 10000"/>
                <a:gd name="connsiteY0" fmla="*/ 2732 h 10001"/>
                <a:gd name="connsiteX1" fmla="*/ 9560 w 10000"/>
                <a:gd name="connsiteY1" fmla="*/ 2507 h 10001"/>
                <a:gd name="connsiteX2" fmla="*/ 9560 w 10000"/>
                <a:gd name="connsiteY2" fmla="*/ 2394 h 10001"/>
                <a:gd name="connsiteX3" fmla="*/ 9296 w 10000"/>
                <a:gd name="connsiteY3" fmla="*/ 2349 h 10001"/>
                <a:gd name="connsiteX4" fmla="*/ 9261 w 10000"/>
                <a:gd name="connsiteY4" fmla="*/ 2349 h 10001"/>
                <a:gd name="connsiteX5" fmla="*/ 9261 w 10000"/>
                <a:gd name="connsiteY5" fmla="*/ 2326 h 10001"/>
                <a:gd name="connsiteX6" fmla="*/ 9155 w 10000"/>
                <a:gd name="connsiteY6" fmla="*/ 1965 h 10001"/>
                <a:gd name="connsiteX7" fmla="*/ 8592 w 10000"/>
                <a:gd name="connsiteY7" fmla="*/ 1423 h 10001"/>
                <a:gd name="connsiteX8" fmla="*/ 8592 w 10000"/>
                <a:gd name="connsiteY8" fmla="*/ 1423 h 10001"/>
                <a:gd name="connsiteX9" fmla="*/ 8574 w 10000"/>
                <a:gd name="connsiteY9" fmla="*/ 1401 h 10001"/>
                <a:gd name="connsiteX10" fmla="*/ 8521 w 10000"/>
                <a:gd name="connsiteY10" fmla="*/ 1175 h 10001"/>
                <a:gd name="connsiteX11" fmla="*/ 8292 w 10000"/>
                <a:gd name="connsiteY11" fmla="*/ 407 h 10001"/>
                <a:gd name="connsiteX12" fmla="*/ 8134 w 10000"/>
                <a:gd name="connsiteY12" fmla="*/ 385 h 10001"/>
                <a:gd name="connsiteX13" fmla="*/ 7940 w 10000"/>
                <a:gd name="connsiteY13" fmla="*/ 520 h 10001"/>
                <a:gd name="connsiteX14" fmla="*/ 7940 w 10000"/>
                <a:gd name="connsiteY14" fmla="*/ 520 h 10001"/>
                <a:gd name="connsiteX15" fmla="*/ 7923 w 10000"/>
                <a:gd name="connsiteY15" fmla="*/ 520 h 10001"/>
                <a:gd name="connsiteX16" fmla="*/ 6954 w 10000"/>
                <a:gd name="connsiteY16" fmla="*/ 543 h 10001"/>
                <a:gd name="connsiteX17" fmla="*/ 6937 w 10000"/>
                <a:gd name="connsiteY17" fmla="*/ 543 h 10001"/>
                <a:gd name="connsiteX18" fmla="*/ 6919 w 10000"/>
                <a:gd name="connsiteY18" fmla="*/ 543 h 10001"/>
                <a:gd name="connsiteX19" fmla="*/ 6637 w 10000"/>
                <a:gd name="connsiteY19" fmla="*/ 136 h 10001"/>
                <a:gd name="connsiteX20" fmla="*/ 6426 w 10000"/>
                <a:gd name="connsiteY20" fmla="*/ 114 h 10001"/>
                <a:gd name="connsiteX21" fmla="*/ 6177 w 10000"/>
                <a:gd name="connsiteY21" fmla="*/ 49 h 10001"/>
                <a:gd name="connsiteX22" fmla="*/ 6109 w 10000"/>
                <a:gd name="connsiteY22" fmla="*/ 407 h 10001"/>
                <a:gd name="connsiteX23" fmla="*/ 6004 w 10000"/>
                <a:gd name="connsiteY23" fmla="*/ 520 h 10001"/>
                <a:gd name="connsiteX24" fmla="*/ 5986 w 10000"/>
                <a:gd name="connsiteY24" fmla="*/ 543 h 10001"/>
                <a:gd name="connsiteX25" fmla="*/ 5968 w 10000"/>
                <a:gd name="connsiteY25" fmla="*/ 543 h 10001"/>
                <a:gd name="connsiteX26" fmla="*/ 5687 w 10000"/>
                <a:gd name="connsiteY26" fmla="*/ 543 h 10001"/>
                <a:gd name="connsiteX27" fmla="*/ 5651 w 10000"/>
                <a:gd name="connsiteY27" fmla="*/ 543 h 10001"/>
                <a:gd name="connsiteX28" fmla="*/ 5651 w 10000"/>
                <a:gd name="connsiteY28" fmla="*/ 520 h 10001"/>
                <a:gd name="connsiteX29" fmla="*/ 5352 w 10000"/>
                <a:gd name="connsiteY29" fmla="*/ 159 h 10001"/>
                <a:gd name="connsiteX30" fmla="*/ 5229 w 10000"/>
                <a:gd name="connsiteY30" fmla="*/ 272 h 10001"/>
                <a:gd name="connsiteX31" fmla="*/ 5211 w 10000"/>
                <a:gd name="connsiteY31" fmla="*/ 272 h 10001"/>
                <a:gd name="connsiteX32" fmla="*/ 5211 w 10000"/>
                <a:gd name="connsiteY32" fmla="*/ 272 h 10001"/>
                <a:gd name="connsiteX33" fmla="*/ 5000 w 10000"/>
                <a:gd name="connsiteY33" fmla="*/ 317 h 10001"/>
                <a:gd name="connsiteX34" fmla="*/ 4982 w 10000"/>
                <a:gd name="connsiteY34" fmla="*/ 317 h 10001"/>
                <a:gd name="connsiteX35" fmla="*/ 4982 w 10000"/>
                <a:gd name="connsiteY35" fmla="*/ 294 h 10001"/>
                <a:gd name="connsiteX36" fmla="*/ 4754 w 10000"/>
                <a:gd name="connsiteY36" fmla="*/ 136 h 10001"/>
                <a:gd name="connsiteX37" fmla="*/ 4507 w 10000"/>
                <a:gd name="connsiteY37" fmla="*/ 1 h 10001"/>
                <a:gd name="connsiteX38" fmla="*/ 4384 w 10000"/>
                <a:gd name="connsiteY38" fmla="*/ 1 h 10001"/>
                <a:gd name="connsiteX39" fmla="*/ 4102 w 10000"/>
                <a:gd name="connsiteY39" fmla="*/ 136 h 10001"/>
                <a:gd name="connsiteX40" fmla="*/ 3785 w 10000"/>
                <a:gd name="connsiteY40" fmla="*/ 362 h 10001"/>
                <a:gd name="connsiteX41" fmla="*/ 3785 w 10000"/>
                <a:gd name="connsiteY41" fmla="*/ 362 h 10001"/>
                <a:gd name="connsiteX42" fmla="*/ 3768 w 10000"/>
                <a:gd name="connsiteY42" fmla="*/ 362 h 10001"/>
                <a:gd name="connsiteX43" fmla="*/ 3644 w 10000"/>
                <a:gd name="connsiteY43" fmla="*/ 407 h 10001"/>
                <a:gd name="connsiteX44" fmla="*/ 3574 w 10000"/>
                <a:gd name="connsiteY44" fmla="*/ 656 h 10001"/>
                <a:gd name="connsiteX45" fmla="*/ 3627 w 10000"/>
                <a:gd name="connsiteY45" fmla="*/ 723 h 10001"/>
                <a:gd name="connsiteX46" fmla="*/ 3627 w 10000"/>
                <a:gd name="connsiteY46" fmla="*/ 723 h 10001"/>
                <a:gd name="connsiteX47" fmla="*/ 3627 w 10000"/>
                <a:gd name="connsiteY47" fmla="*/ 746 h 10001"/>
                <a:gd name="connsiteX48" fmla="*/ 3644 w 10000"/>
                <a:gd name="connsiteY48" fmla="*/ 1288 h 10001"/>
                <a:gd name="connsiteX49" fmla="*/ 3662 w 10000"/>
                <a:gd name="connsiteY49" fmla="*/ 1491 h 10001"/>
                <a:gd name="connsiteX50" fmla="*/ 3374 w 10000"/>
                <a:gd name="connsiteY50" fmla="*/ 1589 h 10001"/>
                <a:gd name="connsiteX51" fmla="*/ 3223 w 10000"/>
                <a:gd name="connsiteY51" fmla="*/ 1540 h 10001"/>
                <a:gd name="connsiteX52" fmla="*/ 2962 w 10000"/>
                <a:gd name="connsiteY52" fmla="*/ 1558 h 10001"/>
                <a:gd name="connsiteX53" fmla="*/ 2810 w 10000"/>
                <a:gd name="connsiteY53" fmla="*/ 1437 h 10001"/>
                <a:gd name="connsiteX54" fmla="*/ 2540 w 10000"/>
                <a:gd name="connsiteY54" fmla="*/ 1619 h 10001"/>
                <a:gd name="connsiteX55" fmla="*/ 1836 w 10000"/>
                <a:gd name="connsiteY55" fmla="*/ 1135 h 10001"/>
                <a:gd name="connsiteX56" fmla="*/ 1491 w 10000"/>
                <a:gd name="connsiteY56" fmla="*/ 1215 h 10001"/>
                <a:gd name="connsiteX57" fmla="*/ 1142 w 10000"/>
                <a:gd name="connsiteY57" fmla="*/ 1446 h 10001"/>
                <a:gd name="connsiteX58" fmla="*/ 867 w 10000"/>
                <a:gd name="connsiteY58" fmla="*/ 1756 h 10001"/>
                <a:gd name="connsiteX59" fmla="*/ 560 w 10000"/>
                <a:gd name="connsiteY59" fmla="*/ 1644 h 10001"/>
                <a:gd name="connsiteX60" fmla="*/ 381 w 10000"/>
                <a:gd name="connsiteY60" fmla="*/ 1773 h 10001"/>
                <a:gd name="connsiteX61" fmla="*/ 241 w 10000"/>
                <a:gd name="connsiteY61" fmla="*/ 2211 h 10001"/>
                <a:gd name="connsiteX62" fmla="*/ 669 w 10000"/>
                <a:gd name="connsiteY62" fmla="*/ 2958 h 10001"/>
                <a:gd name="connsiteX63" fmla="*/ 493 w 10000"/>
                <a:gd name="connsiteY63" fmla="*/ 3274 h 10001"/>
                <a:gd name="connsiteX64" fmla="*/ 264 w 10000"/>
                <a:gd name="connsiteY64" fmla="*/ 3229 h 10001"/>
                <a:gd name="connsiteX65" fmla="*/ 88 w 10000"/>
                <a:gd name="connsiteY65" fmla="*/ 3342 h 10001"/>
                <a:gd name="connsiteX66" fmla="*/ 88 w 10000"/>
                <a:gd name="connsiteY66" fmla="*/ 3522 h 10001"/>
                <a:gd name="connsiteX67" fmla="*/ 194 w 10000"/>
                <a:gd name="connsiteY67" fmla="*/ 3884 h 10001"/>
                <a:gd name="connsiteX68" fmla="*/ 123 w 10000"/>
                <a:gd name="connsiteY68" fmla="*/ 4154 h 10001"/>
                <a:gd name="connsiteX69" fmla="*/ 0 w 10000"/>
                <a:gd name="connsiteY69" fmla="*/ 4425 h 10001"/>
                <a:gd name="connsiteX70" fmla="*/ 18 w 10000"/>
                <a:gd name="connsiteY70" fmla="*/ 4832 h 10001"/>
                <a:gd name="connsiteX71" fmla="*/ 53 w 10000"/>
                <a:gd name="connsiteY71" fmla="*/ 5464 h 10001"/>
                <a:gd name="connsiteX72" fmla="*/ 88 w 10000"/>
                <a:gd name="connsiteY72" fmla="*/ 5464 h 10001"/>
                <a:gd name="connsiteX73" fmla="*/ 158 w 10000"/>
                <a:gd name="connsiteY73" fmla="*/ 5644 h 10001"/>
                <a:gd name="connsiteX74" fmla="*/ 581 w 10000"/>
                <a:gd name="connsiteY74" fmla="*/ 6096 h 10001"/>
                <a:gd name="connsiteX75" fmla="*/ 581 w 10000"/>
                <a:gd name="connsiteY75" fmla="*/ 6118 h 10001"/>
                <a:gd name="connsiteX76" fmla="*/ 581 w 10000"/>
                <a:gd name="connsiteY76" fmla="*/ 6118 h 10001"/>
                <a:gd name="connsiteX77" fmla="*/ 651 w 10000"/>
                <a:gd name="connsiteY77" fmla="*/ 6547 h 10001"/>
                <a:gd name="connsiteX78" fmla="*/ 1532 w 10000"/>
                <a:gd name="connsiteY78" fmla="*/ 7112 h 10001"/>
                <a:gd name="connsiteX79" fmla="*/ 1549 w 10000"/>
                <a:gd name="connsiteY79" fmla="*/ 7112 h 10001"/>
                <a:gd name="connsiteX80" fmla="*/ 1549 w 10000"/>
                <a:gd name="connsiteY80" fmla="*/ 7134 h 10001"/>
                <a:gd name="connsiteX81" fmla="*/ 1725 w 10000"/>
                <a:gd name="connsiteY81" fmla="*/ 8173 h 10001"/>
                <a:gd name="connsiteX82" fmla="*/ 2077 w 10000"/>
                <a:gd name="connsiteY82" fmla="*/ 9053 h 10001"/>
                <a:gd name="connsiteX83" fmla="*/ 2201 w 10000"/>
                <a:gd name="connsiteY83" fmla="*/ 9324 h 10001"/>
                <a:gd name="connsiteX84" fmla="*/ 2201 w 10000"/>
                <a:gd name="connsiteY84" fmla="*/ 9324 h 10001"/>
                <a:gd name="connsiteX85" fmla="*/ 2201 w 10000"/>
                <a:gd name="connsiteY85" fmla="*/ 9346 h 10001"/>
                <a:gd name="connsiteX86" fmla="*/ 2183 w 10000"/>
                <a:gd name="connsiteY86" fmla="*/ 9933 h 10001"/>
                <a:gd name="connsiteX87" fmla="*/ 2324 w 10000"/>
                <a:gd name="connsiteY87" fmla="*/ 9933 h 10001"/>
                <a:gd name="connsiteX88" fmla="*/ 2430 w 10000"/>
                <a:gd name="connsiteY88" fmla="*/ 9662 h 10001"/>
                <a:gd name="connsiteX89" fmla="*/ 3363 w 10000"/>
                <a:gd name="connsiteY89" fmla="*/ 9662 h 10001"/>
                <a:gd name="connsiteX90" fmla="*/ 3644 w 10000"/>
                <a:gd name="connsiteY90" fmla="*/ 9437 h 10001"/>
                <a:gd name="connsiteX91" fmla="*/ 3961 w 10000"/>
                <a:gd name="connsiteY91" fmla="*/ 9346 h 10001"/>
                <a:gd name="connsiteX92" fmla="*/ 4278 w 10000"/>
                <a:gd name="connsiteY92" fmla="*/ 9504 h 10001"/>
                <a:gd name="connsiteX93" fmla="*/ 4489 w 10000"/>
                <a:gd name="connsiteY93" fmla="*/ 9437 h 10001"/>
                <a:gd name="connsiteX94" fmla="*/ 5440 w 10000"/>
                <a:gd name="connsiteY94" fmla="*/ 9369 h 10001"/>
                <a:gd name="connsiteX95" fmla="*/ 5792 w 10000"/>
                <a:gd name="connsiteY95" fmla="*/ 9211 h 10001"/>
                <a:gd name="connsiteX96" fmla="*/ 5951 w 10000"/>
                <a:gd name="connsiteY96" fmla="*/ 9369 h 10001"/>
                <a:gd name="connsiteX97" fmla="*/ 6602 w 10000"/>
                <a:gd name="connsiteY97" fmla="*/ 9324 h 10001"/>
                <a:gd name="connsiteX98" fmla="*/ 6743 w 10000"/>
                <a:gd name="connsiteY98" fmla="*/ 9572 h 10001"/>
                <a:gd name="connsiteX99" fmla="*/ 6919 w 10000"/>
                <a:gd name="connsiteY99" fmla="*/ 9775 h 10001"/>
                <a:gd name="connsiteX100" fmla="*/ 7482 w 10000"/>
                <a:gd name="connsiteY100" fmla="*/ 9730 h 10001"/>
                <a:gd name="connsiteX101" fmla="*/ 7658 w 10000"/>
                <a:gd name="connsiteY101" fmla="*/ 9866 h 10001"/>
                <a:gd name="connsiteX102" fmla="*/ 7764 w 10000"/>
                <a:gd name="connsiteY102" fmla="*/ 9911 h 10001"/>
                <a:gd name="connsiteX103" fmla="*/ 7835 w 10000"/>
                <a:gd name="connsiteY103" fmla="*/ 9978 h 10001"/>
                <a:gd name="connsiteX104" fmla="*/ 7940 w 10000"/>
                <a:gd name="connsiteY104" fmla="*/ 10001 h 10001"/>
                <a:gd name="connsiteX105" fmla="*/ 8116 w 10000"/>
                <a:gd name="connsiteY105" fmla="*/ 9933 h 10001"/>
                <a:gd name="connsiteX106" fmla="*/ 8063 w 10000"/>
                <a:gd name="connsiteY106" fmla="*/ 9617 h 10001"/>
                <a:gd name="connsiteX107" fmla="*/ 7887 w 10000"/>
                <a:gd name="connsiteY107" fmla="*/ 9392 h 10001"/>
                <a:gd name="connsiteX108" fmla="*/ 7887 w 10000"/>
                <a:gd name="connsiteY108" fmla="*/ 9008 h 10001"/>
                <a:gd name="connsiteX109" fmla="*/ 8063 w 10000"/>
                <a:gd name="connsiteY109" fmla="*/ 8872 h 10001"/>
                <a:gd name="connsiteX110" fmla="*/ 8275 w 10000"/>
                <a:gd name="connsiteY110" fmla="*/ 8692 h 10001"/>
                <a:gd name="connsiteX111" fmla="*/ 8151 w 10000"/>
                <a:gd name="connsiteY111" fmla="*/ 8601 h 10001"/>
                <a:gd name="connsiteX112" fmla="*/ 8063 w 10000"/>
                <a:gd name="connsiteY112" fmla="*/ 8466 h 10001"/>
                <a:gd name="connsiteX113" fmla="*/ 8204 w 10000"/>
                <a:gd name="connsiteY113" fmla="*/ 8240 h 10001"/>
                <a:gd name="connsiteX114" fmla="*/ 8521 w 10000"/>
                <a:gd name="connsiteY114" fmla="*/ 8240 h 10001"/>
                <a:gd name="connsiteX115" fmla="*/ 8521 w 10000"/>
                <a:gd name="connsiteY115" fmla="*/ 7947 h 10001"/>
                <a:gd name="connsiteX116" fmla="*/ 8310 w 10000"/>
                <a:gd name="connsiteY116" fmla="*/ 7834 h 10001"/>
                <a:gd name="connsiteX117" fmla="*/ 8398 w 10000"/>
                <a:gd name="connsiteY117" fmla="*/ 7495 h 10001"/>
                <a:gd name="connsiteX118" fmla="*/ 7676 w 10000"/>
                <a:gd name="connsiteY118" fmla="*/ 6164 h 10001"/>
                <a:gd name="connsiteX119" fmla="*/ 7518 w 10000"/>
                <a:gd name="connsiteY119" fmla="*/ 5441 h 10001"/>
                <a:gd name="connsiteX120" fmla="*/ 7676 w 10000"/>
                <a:gd name="connsiteY120" fmla="*/ 4764 h 10001"/>
                <a:gd name="connsiteX121" fmla="*/ 7007 w 10000"/>
                <a:gd name="connsiteY121" fmla="*/ 4854 h 10001"/>
                <a:gd name="connsiteX122" fmla="*/ 6972 w 10000"/>
                <a:gd name="connsiteY122" fmla="*/ 4809 h 10001"/>
                <a:gd name="connsiteX123" fmla="*/ 6954 w 10000"/>
                <a:gd name="connsiteY123" fmla="*/ 4629 h 10001"/>
                <a:gd name="connsiteX124" fmla="*/ 7095 w 10000"/>
                <a:gd name="connsiteY124" fmla="*/ 4267 h 10001"/>
                <a:gd name="connsiteX125" fmla="*/ 8468 w 10000"/>
                <a:gd name="connsiteY125" fmla="*/ 3342 h 10001"/>
                <a:gd name="connsiteX126" fmla="*/ 8908 w 10000"/>
                <a:gd name="connsiteY126" fmla="*/ 3161 h 10001"/>
                <a:gd name="connsiteX127" fmla="*/ 9102 w 10000"/>
                <a:gd name="connsiteY127" fmla="*/ 3432 h 10001"/>
                <a:gd name="connsiteX128" fmla="*/ 9313 w 10000"/>
                <a:gd name="connsiteY128" fmla="*/ 3432 h 10001"/>
                <a:gd name="connsiteX129" fmla="*/ 9560 w 10000"/>
                <a:gd name="connsiteY129" fmla="*/ 3206 h 10001"/>
                <a:gd name="connsiteX130" fmla="*/ 9965 w 10000"/>
                <a:gd name="connsiteY130" fmla="*/ 3455 h 10001"/>
                <a:gd name="connsiteX131" fmla="*/ 10000 w 10000"/>
                <a:gd name="connsiteY131" fmla="*/ 2732 h 10001"/>
                <a:gd name="connsiteX132" fmla="*/ 9507 w 10000"/>
                <a:gd name="connsiteY132" fmla="*/ 2732 h 10001"/>
                <a:gd name="connsiteX0" fmla="*/ 9597 w 10090"/>
                <a:gd name="connsiteY0" fmla="*/ 2732 h 10001"/>
                <a:gd name="connsiteX1" fmla="*/ 9650 w 10090"/>
                <a:gd name="connsiteY1" fmla="*/ 2507 h 10001"/>
                <a:gd name="connsiteX2" fmla="*/ 9650 w 10090"/>
                <a:gd name="connsiteY2" fmla="*/ 2394 h 10001"/>
                <a:gd name="connsiteX3" fmla="*/ 9386 w 10090"/>
                <a:gd name="connsiteY3" fmla="*/ 2349 h 10001"/>
                <a:gd name="connsiteX4" fmla="*/ 9351 w 10090"/>
                <a:gd name="connsiteY4" fmla="*/ 2349 h 10001"/>
                <a:gd name="connsiteX5" fmla="*/ 9351 w 10090"/>
                <a:gd name="connsiteY5" fmla="*/ 2326 h 10001"/>
                <a:gd name="connsiteX6" fmla="*/ 9245 w 10090"/>
                <a:gd name="connsiteY6" fmla="*/ 1965 h 10001"/>
                <a:gd name="connsiteX7" fmla="*/ 8682 w 10090"/>
                <a:gd name="connsiteY7" fmla="*/ 1423 h 10001"/>
                <a:gd name="connsiteX8" fmla="*/ 8682 w 10090"/>
                <a:gd name="connsiteY8" fmla="*/ 1423 h 10001"/>
                <a:gd name="connsiteX9" fmla="*/ 8664 w 10090"/>
                <a:gd name="connsiteY9" fmla="*/ 1401 h 10001"/>
                <a:gd name="connsiteX10" fmla="*/ 8611 w 10090"/>
                <a:gd name="connsiteY10" fmla="*/ 1175 h 10001"/>
                <a:gd name="connsiteX11" fmla="*/ 8382 w 10090"/>
                <a:gd name="connsiteY11" fmla="*/ 407 h 10001"/>
                <a:gd name="connsiteX12" fmla="*/ 8224 w 10090"/>
                <a:gd name="connsiteY12" fmla="*/ 385 h 10001"/>
                <a:gd name="connsiteX13" fmla="*/ 8030 w 10090"/>
                <a:gd name="connsiteY13" fmla="*/ 520 h 10001"/>
                <a:gd name="connsiteX14" fmla="*/ 8030 w 10090"/>
                <a:gd name="connsiteY14" fmla="*/ 520 h 10001"/>
                <a:gd name="connsiteX15" fmla="*/ 8013 w 10090"/>
                <a:gd name="connsiteY15" fmla="*/ 520 h 10001"/>
                <a:gd name="connsiteX16" fmla="*/ 7044 w 10090"/>
                <a:gd name="connsiteY16" fmla="*/ 543 h 10001"/>
                <a:gd name="connsiteX17" fmla="*/ 7027 w 10090"/>
                <a:gd name="connsiteY17" fmla="*/ 543 h 10001"/>
                <a:gd name="connsiteX18" fmla="*/ 7009 w 10090"/>
                <a:gd name="connsiteY18" fmla="*/ 543 h 10001"/>
                <a:gd name="connsiteX19" fmla="*/ 6727 w 10090"/>
                <a:gd name="connsiteY19" fmla="*/ 136 h 10001"/>
                <a:gd name="connsiteX20" fmla="*/ 6516 w 10090"/>
                <a:gd name="connsiteY20" fmla="*/ 114 h 10001"/>
                <a:gd name="connsiteX21" fmla="*/ 6267 w 10090"/>
                <a:gd name="connsiteY21" fmla="*/ 49 h 10001"/>
                <a:gd name="connsiteX22" fmla="*/ 6199 w 10090"/>
                <a:gd name="connsiteY22" fmla="*/ 407 h 10001"/>
                <a:gd name="connsiteX23" fmla="*/ 6094 w 10090"/>
                <a:gd name="connsiteY23" fmla="*/ 520 h 10001"/>
                <a:gd name="connsiteX24" fmla="*/ 6076 w 10090"/>
                <a:gd name="connsiteY24" fmla="*/ 543 h 10001"/>
                <a:gd name="connsiteX25" fmla="*/ 6058 w 10090"/>
                <a:gd name="connsiteY25" fmla="*/ 543 h 10001"/>
                <a:gd name="connsiteX26" fmla="*/ 5777 w 10090"/>
                <a:gd name="connsiteY26" fmla="*/ 543 h 10001"/>
                <a:gd name="connsiteX27" fmla="*/ 5741 w 10090"/>
                <a:gd name="connsiteY27" fmla="*/ 543 h 10001"/>
                <a:gd name="connsiteX28" fmla="*/ 5741 w 10090"/>
                <a:gd name="connsiteY28" fmla="*/ 520 h 10001"/>
                <a:gd name="connsiteX29" fmla="*/ 5442 w 10090"/>
                <a:gd name="connsiteY29" fmla="*/ 159 h 10001"/>
                <a:gd name="connsiteX30" fmla="*/ 5319 w 10090"/>
                <a:gd name="connsiteY30" fmla="*/ 272 h 10001"/>
                <a:gd name="connsiteX31" fmla="*/ 5301 w 10090"/>
                <a:gd name="connsiteY31" fmla="*/ 272 h 10001"/>
                <a:gd name="connsiteX32" fmla="*/ 5301 w 10090"/>
                <a:gd name="connsiteY32" fmla="*/ 272 h 10001"/>
                <a:gd name="connsiteX33" fmla="*/ 5090 w 10090"/>
                <a:gd name="connsiteY33" fmla="*/ 317 h 10001"/>
                <a:gd name="connsiteX34" fmla="*/ 5072 w 10090"/>
                <a:gd name="connsiteY34" fmla="*/ 317 h 10001"/>
                <a:gd name="connsiteX35" fmla="*/ 5072 w 10090"/>
                <a:gd name="connsiteY35" fmla="*/ 294 h 10001"/>
                <a:gd name="connsiteX36" fmla="*/ 4844 w 10090"/>
                <a:gd name="connsiteY36" fmla="*/ 136 h 10001"/>
                <a:gd name="connsiteX37" fmla="*/ 4597 w 10090"/>
                <a:gd name="connsiteY37" fmla="*/ 1 h 10001"/>
                <a:gd name="connsiteX38" fmla="*/ 4474 w 10090"/>
                <a:gd name="connsiteY38" fmla="*/ 1 h 10001"/>
                <a:gd name="connsiteX39" fmla="*/ 4192 w 10090"/>
                <a:gd name="connsiteY39" fmla="*/ 136 h 10001"/>
                <a:gd name="connsiteX40" fmla="*/ 3875 w 10090"/>
                <a:gd name="connsiteY40" fmla="*/ 362 h 10001"/>
                <a:gd name="connsiteX41" fmla="*/ 3875 w 10090"/>
                <a:gd name="connsiteY41" fmla="*/ 362 h 10001"/>
                <a:gd name="connsiteX42" fmla="*/ 3858 w 10090"/>
                <a:gd name="connsiteY42" fmla="*/ 362 h 10001"/>
                <a:gd name="connsiteX43" fmla="*/ 3734 w 10090"/>
                <a:gd name="connsiteY43" fmla="*/ 407 h 10001"/>
                <a:gd name="connsiteX44" fmla="*/ 3664 w 10090"/>
                <a:gd name="connsiteY44" fmla="*/ 656 h 10001"/>
                <a:gd name="connsiteX45" fmla="*/ 3717 w 10090"/>
                <a:gd name="connsiteY45" fmla="*/ 723 h 10001"/>
                <a:gd name="connsiteX46" fmla="*/ 3717 w 10090"/>
                <a:gd name="connsiteY46" fmla="*/ 723 h 10001"/>
                <a:gd name="connsiteX47" fmla="*/ 3717 w 10090"/>
                <a:gd name="connsiteY47" fmla="*/ 746 h 10001"/>
                <a:gd name="connsiteX48" fmla="*/ 3734 w 10090"/>
                <a:gd name="connsiteY48" fmla="*/ 1288 h 10001"/>
                <a:gd name="connsiteX49" fmla="*/ 3752 w 10090"/>
                <a:gd name="connsiteY49" fmla="*/ 1491 h 10001"/>
                <a:gd name="connsiteX50" fmla="*/ 3464 w 10090"/>
                <a:gd name="connsiteY50" fmla="*/ 1589 h 10001"/>
                <a:gd name="connsiteX51" fmla="*/ 3313 w 10090"/>
                <a:gd name="connsiteY51" fmla="*/ 1540 h 10001"/>
                <a:gd name="connsiteX52" fmla="*/ 3052 w 10090"/>
                <a:gd name="connsiteY52" fmla="*/ 1558 h 10001"/>
                <a:gd name="connsiteX53" fmla="*/ 2900 w 10090"/>
                <a:gd name="connsiteY53" fmla="*/ 1437 h 10001"/>
                <a:gd name="connsiteX54" fmla="*/ 2630 w 10090"/>
                <a:gd name="connsiteY54" fmla="*/ 1619 h 10001"/>
                <a:gd name="connsiteX55" fmla="*/ 1926 w 10090"/>
                <a:gd name="connsiteY55" fmla="*/ 1135 h 10001"/>
                <a:gd name="connsiteX56" fmla="*/ 1581 w 10090"/>
                <a:gd name="connsiteY56" fmla="*/ 1215 h 10001"/>
                <a:gd name="connsiteX57" fmla="*/ 1232 w 10090"/>
                <a:gd name="connsiteY57" fmla="*/ 1446 h 10001"/>
                <a:gd name="connsiteX58" fmla="*/ 957 w 10090"/>
                <a:gd name="connsiteY58" fmla="*/ 1756 h 10001"/>
                <a:gd name="connsiteX59" fmla="*/ 650 w 10090"/>
                <a:gd name="connsiteY59" fmla="*/ 1644 h 10001"/>
                <a:gd name="connsiteX60" fmla="*/ 471 w 10090"/>
                <a:gd name="connsiteY60" fmla="*/ 1773 h 10001"/>
                <a:gd name="connsiteX61" fmla="*/ 331 w 10090"/>
                <a:gd name="connsiteY61" fmla="*/ 2211 h 10001"/>
                <a:gd name="connsiteX62" fmla="*/ 59 w 10090"/>
                <a:gd name="connsiteY62" fmla="*/ 2699 h 10001"/>
                <a:gd name="connsiteX63" fmla="*/ 583 w 10090"/>
                <a:gd name="connsiteY63" fmla="*/ 3274 h 10001"/>
                <a:gd name="connsiteX64" fmla="*/ 354 w 10090"/>
                <a:gd name="connsiteY64" fmla="*/ 3229 h 10001"/>
                <a:gd name="connsiteX65" fmla="*/ 178 w 10090"/>
                <a:gd name="connsiteY65" fmla="*/ 3342 h 10001"/>
                <a:gd name="connsiteX66" fmla="*/ 178 w 10090"/>
                <a:gd name="connsiteY66" fmla="*/ 3522 h 10001"/>
                <a:gd name="connsiteX67" fmla="*/ 284 w 10090"/>
                <a:gd name="connsiteY67" fmla="*/ 3884 h 10001"/>
                <a:gd name="connsiteX68" fmla="*/ 213 w 10090"/>
                <a:gd name="connsiteY68" fmla="*/ 4154 h 10001"/>
                <a:gd name="connsiteX69" fmla="*/ 90 w 10090"/>
                <a:gd name="connsiteY69" fmla="*/ 4425 h 10001"/>
                <a:gd name="connsiteX70" fmla="*/ 108 w 10090"/>
                <a:gd name="connsiteY70" fmla="*/ 4832 h 10001"/>
                <a:gd name="connsiteX71" fmla="*/ 143 w 10090"/>
                <a:gd name="connsiteY71" fmla="*/ 5464 h 10001"/>
                <a:gd name="connsiteX72" fmla="*/ 178 w 10090"/>
                <a:gd name="connsiteY72" fmla="*/ 5464 h 10001"/>
                <a:gd name="connsiteX73" fmla="*/ 248 w 10090"/>
                <a:gd name="connsiteY73" fmla="*/ 5644 h 10001"/>
                <a:gd name="connsiteX74" fmla="*/ 671 w 10090"/>
                <a:gd name="connsiteY74" fmla="*/ 6096 h 10001"/>
                <a:gd name="connsiteX75" fmla="*/ 671 w 10090"/>
                <a:gd name="connsiteY75" fmla="*/ 6118 h 10001"/>
                <a:gd name="connsiteX76" fmla="*/ 671 w 10090"/>
                <a:gd name="connsiteY76" fmla="*/ 6118 h 10001"/>
                <a:gd name="connsiteX77" fmla="*/ 741 w 10090"/>
                <a:gd name="connsiteY77" fmla="*/ 6547 h 10001"/>
                <a:gd name="connsiteX78" fmla="*/ 1622 w 10090"/>
                <a:gd name="connsiteY78" fmla="*/ 7112 h 10001"/>
                <a:gd name="connsiteX79" fmla="*/ 1639 w 10090"/>
                <a:gd name="connsiteY79" fmla="*/ 7112 h 10001"/>
                <a:gd name="connsiteX80" fmla="*/ 1639 w 10090"/>
                <a:gd name="connsiteY80" fmla="*/ 7134 h 10001"/>
                <a:gd name="connsiteX81" fmla="*/ 1815 w 10090"/>
                <a:gd name="connsiteY81" fmla="*/ 8173 h 10001"/>
                <a:gd name="connsiteX82" fmla="*/ 2167 w 10090"/>
                <a:gd name="connsiteY82" fmla="*/ 9053 h 10001"/>
                <a:gd name="connsiteX83" fmla="*/ 2291 w 10090"/>
                <a:gd name="connsiteY83" fmla="*/ 9324 h 10001"/>
                <a:gd name="connsiteX84" fmla="*/ 2291 w 10090"/>
                <a:gd name="connsiteY84" fmla="*/ 9324 h 10001"/>
                <a:gd name="connsiteX85" fmla="*/ 2291 w 10090"/>
                <a:gd name="connsiteY85" fmla="*/ 9346 h 10001"/>
                <a:gd name="connsiteX86" fmla="*/ 2273 w 10090"/>
                <a:gd name="connsiteY86" fmla="*/ 9933 h 10001"/>
                <a:gd name="connsiteX87" fmla="*/ 2414 w 10090"/>
                <a:gd name="connsiteY87" fmla="*/ 9933 h 10001"/>
                <a:gd name="connsiteX88" fmla="*/ 2520 w 10090"/>
                <a:gd name="connsiteY88" fmla="*/ 9662 h 10001"/>
                <a:gd name="connsiteX89" fmla="*/ 3453 w 10090"/>
                <a:gd name="connsiteY89" fmla="*/ 9662 h 10001"/>
                <a:gd name="connsiteX90" fmla="*/ 3734 w 10090"/>
                <a:gd name="connsiteY90" fmla="*/ 9437 h 10001"/>
                <a:gd name="connsiteX91" fmla="*/ 4051 w 10090"/>
                <a:gd name="connsiteY91" fmla="*/ 9346 h 10001"/>
                <a:gd name="connsiteX92" fmla="*/ 4368 w 10090"/>
                <a:gd name="connsiteY92" fmla="*/ 9504 h 10001"/>
                <a:gd name="connsiteX93" fmla="*/ 4579 w 10090"/>
                <a:gd name="connsiteY93" fmla="*/ 9437 h 10001"/>
                <a:gd name="connsiteX94" fmla="*/ 5530 w 10090"/>
                <a:gd name="connsiteY94" fmla="*/ 9369 h 10001"/>
                <a:gd name="connsiteX95" fmla="*/ 5882 w 10090"/>
                <a:gd name="connsiteY95" fmla="*/ 9211 h 10001"/>
                <a:gd name="connsiteX96" fmla="*/ 6041 w 10090"/>
                <a:gd name="connsiteY96" fmla="*/ 9369 h 10001"/>
                <a:gd name="connsiteX97" fmla="*/ 6692 w 10090"/>
                <a:gd name="connsiteY97" fmla="*/ 9324 h 10001"/>
                <a:gd name="connsiteX98" fmla="*/ 6833 w 10090"/>
                <a:gd name="connsiteY98" fmla="*/ 9572 h 10001"/>
                <a:gd name="connsiteX99" fmla="*/ 7009 w 10090"/>
                <a:gd name="connsiteY99" fmla="*/ 9775 h 10001"/>
                <a:gd name="connsiteX100" fmla="*/ 7572 w 10090"/>
                <a:gd name="connsiteY100" fmla="*/ 9730 h 10001"/>
                <a:gd name="connsiteX101" fmla="*/ 7748 w 10090"/>
                <a:gd name="connsiteY101" fmla="*/ 9866 h 10001"/>
                <a:gd name="connsiteX102" fmla="*/ 7854 w 10090"/>
                <a:gd name="connsiteY102" fmla="*/ 9911 h 10001"/>
                <a:gd name="connsiteX103" fmla="*/ 7925 w 10090"/>
                <a:gd name="connsiteY103" fmla="*/ 9978 h 10001"/>
                <a:gd name="connsiteX104" fmla="*/ 8030 w 10090"/>
                <a:gd name="connsiteY104" fmla="*/ 10001 h 10001"/>
                <a:gd name="connsiteX105" fmla="*/ 8206 w 10090"/>
                <a:gd name="connsiteY105" fmla="*/ 9933 h 10001"/>
                <a:gd name="connsiteX106" fmla="*/ 8153 w 10090"/>
                <a:gd name="connsiteY106" fmla="*/ 9617 h 10001"/>
                <a:gd name="connsiteX107" fmla="*/ 7977 w 10090"/>
                <a:gd name="connsiteY107" fmla="*/ 9392 h 10001"/>
                <a:gd name="connsiteX108" fmla="*/ 7977 w 10090"/>
                <a:gd name="connsiteY108" fmla="*/ 9008 h 10001"/>
                <a:gd name="connsiteX109" fmla="*/ 8153 w 10090"/>
                <a:gd name="connsiteY109" fmla="*/ 8872 h 10001"/>
                <a:gd name="connsiteX110" fmla="*/ 8365 w 10090"/>
                <a:gd name="connsiteY110" fmla="*/ 8692 h 10001"/>
                <a:gd name="connsiteX111" fmla="*/ 8241 w 10090"/>
                <a:gd name="connsiteY111" fmla="*/ 8601 h 10001"/>
                <a:gd name="connsiteX112" fmla="*/ 8153 w 10090"/>
                <a:gd name="connsiteY112" fmla="*/ 8466 h 10001"/>
                <a:gd name="connsiteX113" fmla="*/ 8294 w 10090"/>
                <a:gd name="connsiteY113" fmla="*/ 8240 h 10001"/>
                <a:gd name="connsiteX114" fmla="*/ 8611 w 10090"/>
                <a:gd name="connsiteY114" fmla="*/ 8240 h 10001"/>
                <a:gd name="connsiteX115" fmla="*/ 8611 w 10090"/>
                <a:gd name="connsiteY115" fmla="*/ 7947 h 10001"/>
                <a:gd name="connsiteX116" fmla="*/ 8400 w 10090"/>
                <a:gd name="connsiteY116" fmla="*/ 7834 h 10001"/>
                <a:gd name="connsiteX117" fmla="*/ 8488 w 10090"/>
                <a:gd name="connsiteY117" fmla="*/ 7495 h 10001"/>
                <a:gd name="connsiteX118" fmla="*/ 7766 w 10090"/>
                <a:gd name="connsiteY118" fmla="*/ 6164 h 10001"/>
                <a:gd name="connsiteX119" fmla="*/ 7608 w 10090"/>
                <a:gd name="connsiteY119" fmla="*/ 5441 h 10001"/>
                <a:gd name="connsiteX120" fmla="*/ 7766 w 10090"/>
                <a:gd name="connsiteY120" fmla="*/ 4764 h 10001"/>
                <a:gd name="connsiteX121" fmla="*/ 7097 w 10090"/>
                <a:gd name="connsiteY121" fmla="*/ 4854 h 10001"/>
                <a:gd name="connsiteX122" fmla="*/ 7062 w 10090"/>
                <a:gd name="connsiteY122" fmla="*/ 4809 h 10001"/>
                <a:gd name="connsiteX123" fmla="*/ 7044 w 10090"/>
                <a:gd name="connsiteY123" fmla="*/ 4629 h 10001"/>
                <a:gd name="connsiteX124" fmla="*/ 7185 w 10090"/>
                <a:gd name="connsiteY124" fmla="*/ 4267 h 10001"/>
                <a:gd name="connsiteX125" fmla="*/ 8558 w 10090"/>
                <a:gd name="connsiteY125" fmla="*/ 3342 h 10001"/>
                <a:gd name="connsiteX126" fmla="*/ 8998 w 10090"/>
                <a:gd name="connsiteY126" fmla="*/ 3161 h 10001"/>
                <a:gd name="connsiteX127" fmla="*/ 9192 w 10090"/>
                <a:gd name="connsiteY127" fmla="*/ 3432 h 10001"/>
                <a:gd name="connsiteX128" fmla="*/ 9403 w 10090"/>
                <a:gd name="connsiteY128" fmla="*/ 3432 h 10001"/>
                <a:gd name="connsiteX129" fmla="*/ 9650 w 10090"/>
                <a:gd name="connsiteY129" fmla="*/ 3206 h 10001"/>
                <a:gd name="connsiteX130" fmla="*/ 10055 w 10090"/>
                <a:gd name="connsiteY130" fmla="*/ 3455 h 10001"/>
                <a:gd name="connsiteX131" fmla="*/ 10090 w 10090"/>
                <a:gd name="connsiteY131" fmla="*/ 2732 h 10001"/>
                <a:gd name="connsiteX132" fmla="*/ 9597 w 10090"/>
                <a:gd name="connsiteY132" fmla="*/ 2732 h 10001"/>
                <a:gd name="connsiteX0" fmla="*/ 9809 w 10302"/>
                <a:gd name="connsiteY0" fmla="*/ 2732 h 10001"/>
                <a:gd name="connsiteX1" fmla="*/ 9862 w 10302"/>
                <a:gd name="connsiteY1" fmla="*/ 2507 h 10001"/>
                <a:gd name="connsiteX2" fmla="*/ 9862 w 10302"/>
                <a:gd name="connsiteY2" fmla="*/ 2394 h 10001"/>
                <a:gd name="connsiteX3" fmla="*/ 9598 w 10302"/>
                <a:gd name="connsiteY3" fmla="*/ 2349 h 10001"/>
                <a:gd name="connsiteX4" fmla="*/ 9563 w 10302"/>
                <a:gd name="connsiteY4" fmla="*/ 2349 h 10001"/>
                <a:gd name="connsiteX5" fmla="*/ 9563 w 10302"/>
                <a:gd name="connsiteY5" fmla="*/ 2326 h 10001"/>
                <a:gd name="connsiteX6" fmla="*/ 9457 w 10302"/>
                <a:gd name="connsiteY6" fmla="*/ 1965 h 10001"/>
                <a:gd name="connsiteX7" fmla="*/ 8894 w 10302"/>
                <a:gd name="connsiteY7" fmla="*/ 1423 h 10001"/>
                <a:gd name="connsiteX8" fmla="*/ 8894 w 10302"/>
                <a:gd name="connsiteY8" fmla="*/ 1423 h 10001"/>
                <a:gd name="connsiteX9" fmla="*/ 8876 w 10302"/>
                <a:gd name="connsiteY9" fmla="*/ 1401 h 10001"/>
                <a:gd name="connsiteX10" fmla="*/ 8823 w 10302"/>
                <a:gd name="connsiteY10" fmla="*/ 1175 h 10001"/>
                <a:gd name="connsiteX11" fmla="*/ 8594 w 10302"/>
                <a:gd name="connsiteY11" fmla="*/ 407 h 10001"/>
                <a:gd name="connsiteX12" fmla="*/ 8436 w 10302"/>
                <a:gd name="connsiteY12" fmla="*/ 385 h 10001"/>
                <a:gd name="connsiteX13" fmla="*/ 8242 w 10302"/>
                <a:gd name="connsiteY13" fmla="*/ 520 h 10001"/>
                <a:gd name="connsiteX14" fmla="*/ 8242 w 10302"/>
                <a:gd name="connsiteY14" fmla="*/ 520 h 10001"/>
                <a:gd name="connsiteX15" fmla="*/ 8225 w 10302"/>
                <a:gd name="connsiteY15" fmla="*/ 520 h 10001"/>
                <a:gd name="connsiteX16" fmla="*/ 7256 w 10302"/>
                <a:gd name="connsiteY16" fmla="*/ 543 h 10001"/>
                <a:gd name="connsiteX17" fmla="*/ 7239 w 10302"/>
                <a:gd name="connsiteY17" fmla="*/ 543 h 10001"/>
                <a:gd name="connsiteX18" fmla="*/ 7221 w 10302"/>
                <a:gd name="connsiteY18" fmla="*/ 543 h 10001"/>
                <a:gd name="connsiteX19" fmla="*/ 6939 w 10302"/>
                <a:gd name="connsiteY19" fmla="*/ 136 h 10001"/>
                <a:gd name="connsiteX20" fmla="*/ 6728 w 10302"/>
                <a:gd name="connsiteY20" fmla="*/ 114 h 10001"/>
                <a:gd name="connsiteX21" fmla="*/ 6479 w 10302"/>
                <a:gd name="connsiteY21" fmla="*/ 49 h 10001"/>
                <a:gd name="connsiteX22" fmla="*/ 6411 w 10302"/>
                <a:gd name="connsiteY22" fmla="*/ 407 h 10001"/>
                <a:gd name="connsiteX23" fmla="*/ 6306 w 10302"/>
                <a:gd name="connsiteY23" fmla="*/ 520 h 10001"/>
                <a:gd name="connsiteX24" fmla="*/ 6288 w 10302"/>
                <a:gd name="connsiteY24" fmla="*/ 543 h 10001"/>
                <a:gd name="connsiteX25" fmla="*/ 6270 w 10302"/>
                <a:gd name="connsiteY25" fmla="*/ 543 h 10001"/>
                <a:gd name="connsiteX26" fmla="*/ 5989 w 10302"/>
                <a:gd name="connsiteY26" fmla="*/ 543 h 10001"/>
                <a:gd name="connsiteX27" fmla="*/ 5953 w 10302"/>
                <a:gd name="connsiteY27" fmla="*/ 543 h 10001"/>
                <a:gd name="connsiteX28" fmla="*/ 5953 w 10302"/>
                <a:gd name="connsiteY28" fmla="*/ 520 h 10001"/>
                <a:gd name="connsiteX29" fmla="*/ 5654 w 10302"/>
                <a:gd name="connsiteY29" fmla="*/ 159 h 10001"/>
                <a:gd name="connsiteX30" fmla="*/ 5531 w 10302"/>
                <a:gd name="connsiteY30" fmla="*/ 272 h 10001"/>
                <a:gd name="connsiteX31" fmla="*/ 5513 w 10302"/>
                <a:gd name="connsiteY31" fmla="*/ 272 h 10001"/>
                <a:gd name="connsiteX32" fmla="*/ 5513 w 10302"/>
                <a:gd name="connsiteY32" fmla="*/ 272 h 10001"/>
                <a:gd name="connsiteX33" fmla="*/ 5302 w 10302"/>
                <a:gd name="connsiteY33" fmla="*/ 317 h 10001"/>
                <a:gd name="connsiteX34" fmla="*/ 5284 w 10302"/>
                <a:gd name="connsiteY34" fmla="*/ 317 h 10001"/>
                <a:gd name="connsiteX35" fmla="*/ 5284 w 10302"/>
                <a:gd name="connsiteY35" fmla="*/ 294 h 10001"/>
                <a:gd name="connsiteX36" fmla="*/ 5056 w 10302"/>
                <a:gd name="connsiteY36" fmla="*/ 136 h 10001"/>
                <a:gd name="connsiteX37" fmla="*/ 4809 w 10302"/>
                <a:gd name="connsiteY37" fmla="*/ 1 h 10001"/>
                <a:gd name="connsiteX38" fmla="*/ 4686 w 10302"/>
                <a:gd name="connsiteY38" fmla="*/ 1 h 10001"/>
                <a:gd name="connsiteX39" fmla="*/ 4404 w 10302"/>
                <a:gd name="connsiteY39" fmla="*/ 136 h 10001"/>
                <a:gd name="connsiteX40" fmla="*/ 4087 w 10302"/>
                <a:gd name="connsiteY40" fmla="*/ 362 h 10001"/>
                <a:gd name="connsiteX41" fmla="*/ 4087 w 10302"/>
                <a:gd name="connsiteY41" fmla="*/ 362 h 10001"/>
                <a:gd name="connsiteX42" fmla="*/ 4070 w 10302"/>
                <a:gd name="connsiteY42" fmla="*/ 362 h 10001"/>
                <a:gd name="connsiteX43" fmla="*/ 3946 w 10302"/>
                <a:gd name="connsiteY43" fmla="*/ 407 h 10001"/>
                <a:gd name="connsiteX44" fmla="*/ 3876 w 10302"/>
                <a:gd name="connsiteY44" fmla="*/ 656 h 10001"/>
                <a:gd name="connsiteX45" fmla="*/ 3929 w 10302"/>
                <a:gd name="connsiteY45" fmla="*/ 723 h 10001"/>
                <a:gd name="connsiteX46" fmla="*/ 3929 w 10302"/>
                <a:gd name="connsiteY46" fmla="*/ 723 h 10001"/>
                <a:gd name="connsiteX47" fmla="*/ 3929 w 10302"/>
                <a:gd name="connsiteY47" fmla="*/ 746 h 10001"/>
                <a:gd name="connsiteX48" fmla="*/ 3946 w 10302"/>
                <a:gd name="connsiteY48" fmla="*/ 1288 h 10001"/>
                <a:gd name="connsiteX49" fmla="*/ 3964 w 10302"/>
                <a:gd name="connsiteY49" fmla="*/ 1491 h 10001"/>
                <a:gd name="connsiteX50" fmla="*/ 3676 w 10302"/>
                <a:gd name="connsiteY50" fmla="*/ 1589 h 10001"/>
                <a:gd name="connsiteX51" fmla="*/ 3525 w 10302"/>
                <a:gd name="connsiteY51" fmla="*/ 1540 h 10001"/>
                <a:gd name="connsiteX52" fmla="*/ 3264 w 10302"/>
                <a:gd name="connsiteY52" fmla="*/ 1558 h 10001"/>
                <a:gd name="connsiteX53" fmla="*/ 3112 w 10302"/>
                <a:gd name="connsiteY53" fmla="*/ 1437 h 10001"/>
                <a:gd name="connsiteX54" fmla="*/ 2842 w 10302"/>
                <a:gd name="connsiteY54" fmla="*/ 1619 h 10001"/>
                <a:gd name="connsiteX55" fmla="*/ 2138 w 10302"/>
                <a:gd name="connsiteY55" fmla="*/ 1135 h 10001"/>
                <a:gd name="connsiteX56" fmla="*/ 1793 w 10302"/>
                <a:gd name="connsiteY56" fmla="*/ 1215 h 10001"/>
                <a:gd name="connsiteX57" fmla="*/ 1444 w 10302"/>
                <a:gd name="connsiteY57" fmla="*/ 1446 h 10001"/>
                <a:gd name="connsiteX58" fmla="*/ 1169 w 10302"/>
                <a:gd name="connsiteY58" fmla="*/ 1756 h 10001"/>
                <a:gd name="connsiteX59" fmla="*/ 862 w 10302"/>
                <a:gd name="connsiteY59" fmla="*/ 1644 h 10001"/>
                <a:gd name="connsiteX60" fmla="*/ 683 w 10302"/>
                <a:gd name="connsiteY60" fmla="*/ 1773 h 10001"/>
                <a:gd name="connsiteX61" fmla="*/ 543 w 10302"/>
                <a:gd name="connsiteY61" fmla="*/ 2211 h 10001"/>
                <a:gd name="connsiteX62" fmla="*/ 271 w 10302"/>
                <a:gd name="connsiteY62" fmla="*/ 2699 h 10001"/>
                <a:gd name="connsiteX63" fmla="*/ 0 w 10302"/>
                <a:gd name="connsiteY63" fmla="*/ 3084 h 10001"/>
                <a:gd name="connsiteX64" fmla="*/ 566 w 10302"/>
                <a:gd name="connsiteY64" fmla="*/ 3229 h 10001"/>
                <a:gd name="connsiteX65" fmla="*/ 390 w 10302"/>
                <a:gd name="connsiteY65" fmla="*/ 3342 h 10001"/>
                <a:gd name="connsiteX66" fmla="*/ 390 w 10302"/>
                <a:gd name="connsiteY66" fmla="*/ 3522 h 10001"/>
                <a:gd name="connsiteX67" fmla="*/ 496 w 10302"/>
                <a:gd name="connsiteY67" fmla="*/ 3884 h 10001"/>
                <a:gd name="connsiteX68" fmla="*/ 425 w 10302"/>
                <a:gd name="connsiteY68" fmla="*/ 4154 h 10001"/>
                <a:gd name="connsiteX69" fmla="*/ 302 w 10302"/>
                <a:gd name="connsiteY69" fmla="*/ 4425 h 10001"/>
                <a:gd name="connsiteX70" fmla="*/ 320 w 10302"/>
                <a:gd name="connsiteY70" fmla="*/ 4832 h 10001"/>
                <a:gd name="connsiteX71" fmla="*/ 355 w 10302"/>
                <a:gd name="connsiteY71" fmla="*/ 5464 h 10001"/>
                <a:gd name="connsiteX72" fmla="*/ 390 w 10302"/>
                <a:gd name="connsiteY72" fmla="*/ 5464 h 10001"/>
                <a:gd name="connsiteX73" fmla="*/ 460 w 10302"/>
                <a:gd name="connsiteY73" fmla="*/ 5644 h 10001"/>
                <a:gd name="connsiteX74" fmla="*/ 883 w 10302"/>
                <a:gd name="connsiteY74" fmla="*/ 6096 h 10001"/>
                <a:gd name="connsiteX75" fmla="*/ 883 w 10302"/>
                <a:gd name="connsiteY75" fmla="*/ 6118 h 10001"/>
                <a:gd name="connsiteX76" fmla="*/ 883 w 10302"/>
                <a:gd name="connsiteY76" fmla="*/ 6118 h 10001"/>
                <a:gd name="connsiteX77" fmla="*/ 953 w 10302"/>
                <a:gd name="connsiteY77" fmla="*/ 6547 h 10001"/>
                <a:gd name="connsiteX78" fmla="*/ 1834 w 10302"/>
                <a:gd name="connsiteY78" fmla="*/ 7112 h 10001"/>
                <a:gd name="connsiteX79" fmla="*/ 1851 w 10302"/>
                <a:gd name="connsiteY79" fmla="*/ 7112 h 10001"/>
                <a:gd name="connsiteX80" fmla="*/ 1851 w 10302"/>
                <a:gd name="connsiteY80" fmla="*/ 7134 h 10001"/>
                <a:gd name="connsiteX81" fmla="*/ 2027 w 10302"/>
                <a:gd name="connsiteY81" fmla="*/ 8173 h 10001"/>
                <a:gd name="connsiteX82" fmla="*/ 2379 w 10302"/>
                <a:gd name="connsiteY82" fmla="*/ 9053 h 10001"/>
                <a:gd name="connsiteX83" fmla="*/ 2503 w 10302"/>
                <a:gd name="connsiteY83" fmla="*/ 9324 h 10001"/>
                <a:gd name="connsiteX84" fmla="*/ 2503 w 10302"/>
                <a:gd name="connsiteY84" fmla="*/ 9324 h 10001"/>
                <a:gd name="connsiteX85" fmla="*/ 2503 w 10302"/>
                <a:gd name="connsiteY85" fmla="*/ 9346 h 10001"/>
                <a:gd name="connsiteX86" fmla="*/ 2485 w 10302"/>
                <a:gd name="connsiteY86" fmla="*/ 9933 h 10001"/>
                <a:gd name="connsiteX87" fmla="*/ 2626 w 10302"/>
                <a:gd name="connsiteY87" fmla="*/ 9933 h 10001"/>
                <a:gd name="connsiteX88" fmla="*/ 2732 w 10302"/>
                <a:gd name="connsiteY88" fmla="*/ 9662 h 10001"/>
                <a:gd name="connsiteX89" fmla="*/ 3665 w 10302"/>
                <a:gd name="connsiteY89" fmla="*/ 9662 h 10001"/>
                <a:gd name="connsiteX90" fmla="*/ 3946 w 10302"/>
                <a:gd name="connsiteY90" fmla="*/ 9437 h 10001"/>
                <a:gd name="connsiteX91" fmla="*/ 4263 w 10302"/>
                <a:gd name="connsiteY91" fmla="*/ 9346 h 10001"/>
                <a:gd name="connsiteX92" fmla="*/ 4580 w 10302"/>
                <a:gd name="connsiteY92" fmla="*/ 9504 h 10001"/>
                <a:gd name="connsiteX93" fmla="*/ 4791 w 10302"/>
                <a:gd name="connsiteY93" fmla="*/ 9437 h 10001"/>
                <a:gd name="connsiteX94" fmla="*/ 5742 w 10302"/>
                <a:gd name="connsiteY94" fmla="*/ 9369 h 10001"/>
                <a:gd name="connsiteX95" fmla="*/ 6094 w 10302"/>
                <a:gd name="connsiteY95" fmla="*/ 9211 h 10001"/>
                <a:gd name="connsiteX96" fmla="*/ 6253 w 10302"/>
                <a:gd name="connsiteY96" fmla="*/ 9369 h 10001"/>
                <a:gd name="connsiteX97" fmla="*/ 6904 w 10302"/>
                <a:gd name="connsiteY97" fmla="*/ 9324 h 10001"/>
                <a:gd name="connsiteX98" fmla="*/ 7045 w 10302"/>
                <a:gd name="connsiteY98" fmla="*/ 9572 h 10001"/>
                <a:gd name="connsiteX99" fmla="*/ 7221 w 10302"/>
                <a:gd name="connsiteY99" fmla="*/ 9775 h 10001"/>
                <a:gd name="connsiteX100" fmla="*/ 7784 w 10302"/>
                <a:gd name="connsiteY100" fmla="*/ 9730 h 10001"/>
                <a:gd name="connsiteX101" fmla="*/ 7960 w 10302"/>
                <a:gd name="connsiteY101" fmla="*/ 9866 h 10001"/>
                <a:gd name="connsiteX102" fmla="*/ 8066 w 10302"/>
                <a:gd name="connsiteY102" fmla="*/ 9911 h 10001"/>
                <a:gd name="connsiteX103" fmla="*/ 8137 w 10302"/>
                <a:gd name="connsiteY103" fmla="*/ 9978 h 10001"/>
                <a:gd name="connsiteX104" fmla="*/ 8242 w 10302"/>
                <a:gd name="connsiteY104" fmla="*/ 10001 h 10001"/>
                <a:gd name="connsiteX105" fmla="*/ 8418 w 10302"/>
                <a:gd name="connsiteY105" fmla="*/ 9933 h 10001"/>
                <a:gd name="connsiteX106" fmla="*/ 8365 w 10302"/>
                <a:gd name="connsiteY106" fmla="*/ 9617 h 10001"/>
                <a:gd name="connsiteX107" fmla="*/ 8189 w 10302"/>
                <a:gd name="connsiteY107" fmla="*/ 9392 h 10001"/>
                <a:gd name="connsiteX108" fmla="*/ 8189 w 10302"/>
                <a:gd name="connsiteY108" fmla="*/ 9008 h 10001"/>
                <a:gd name="connsiteX109" fmla="*/ 8365 w 10302"/>
                <a:gd name="connsiteY109" fmla="*/ 8872 h 10001"/>
                <a:gd name="connsiteX110" fmla="*/ 8577 w 10302"/>
                <a:gd name="connsiteY110" fmla="*/ 8692 h 10001"/>
                <a:gd name="connsiteX111" fmla="*/ 8453 w 10302"/>
                <a:gd name="connsiteY111" fmla="*/ 8601 h 10001"/>
                <a:gd name="connsiteX112" fmla="*/ 8365 w 10302"/>
                <a:gd name="connsiteY112" fmla="*/ 8466 h 10001"/>
                <a:gd name="connsiteX113" fmla="*/ 8506 w 10302"/>
                <a:gd name="connsiteY113" fmla="*/ 8240 h 10001"/>
                <a:gd name="connsiteX114" fmla="*/ 8823 w 10302"/>
                <a:gd name="connsiteY114" fmla="*/ 8240 h 10001"/>
                <a:gd name="connsiteX115" fmla="*/ 8823 w 10302"/>
                <a:gd name="connsiteY115" fmla="*/ 7947 h 10001"/>
                <a:gd name="connsiteX116" fmla="*/ 8612 w 10302"/>
                <a:gd name="connsiteY116" fmla="*/ 7834 h 10001"/>
                <a:gd name="connsiteX117" fmla="*/ 8700 w 10302"/>
                <a:gd name="connsiteY117" fmla="*/ 7495 h 10001"/>
                <a:gd name="connsiteX118" fmla="*/ 7978 w 10302"/>
                <a:gd name="connsiteY118" fmla="*/ 6164 h 10001"/>
                <a:gd name="connsiteX119" fmla="*/ 7820 w 10302"/>
                <a:gd name="connsiteY119" fmla="*/ 5441 h 10001"/>
                <a:gd name="connsiteX120" fmla="*/ 7978 w 10302"/>
                <a:gd name="connsiteY120" fmla="*/ 4764 h 10001"/>
                <a:gd name="connsiteX121" fmla="*/ 7309 w 10302"/>
                <a:gd name="connsiteY121" fmla="*/ 4854 h 10001"/>
                <a:gd name="connsiteX122" fmla="*/ 7274 w 10302"/>
                <a:gd name="connsiteY122" fmla="*/ 4809 h 10001"/>
                <a:gd name="connsiteX123" fmla="*/ 7256 w 10302"/>
                <a:gd name="connsiteY123" fmla="*/ 4629 h 10001"/>
                <a:gd name="connsiteX124" fmla="*/ 7397 w 10302"/>
                <a:gd name="connsiteY124" fmla="*/ 4267 h 10001"/>
                <a:gd name="connsiteX125" fmla="*/ 8770 w 10302"/>
                <a:gd name="connsiteY125" fmla="*/ 3342 h 10001"/>
                <a:gd name="connsiteX126" fmla="*/ 9210 w 10302"/>
                <a:gd name="connsiteY126" fmla="*/ 3161 h 10001"/>
                <a:gd name="connsiteX127" fmla="*/ 9404 w 10302"/>
                <a:gd name="connsiteY127" fmla="*/ 3432 h 10001"/>
                <a:gd name="connsiteX128" fmla="*/ 9615 w 10302"/>
                <a:gd name="connsiteY128" fmla="*/ 3432 h 10001"/>
                <a:gd name="connsiteX129" fmla="*/ 9862 w 10302"/>
                <a:gd name="connsiteY129" fmla="*/ 3206 h 10001"/>
                <a:gd name="connsiteX130" fmla="*/ 10267 w 10302"/>
                <a:gd name="connsiteY130" fmla="*/ 3455 h 10001"/>
                <a:gd name="connsiteX131" fmla="*/ 10302 w 10302"/>
                <a:gd name="connsiteY131" fmla="*/ 2732 h 10001"/>
                <a:gd name="connsiteX132" fmla="*/ 9809 w 10302"/>
                <a:gd name="connsiteY132" fmla="*/ 2732 h 10001"/>
                <a:gd name="connsiteX0" fmla="*/ 9970 w 10463"/>
                <a:gd name="connsiteY0" fmla="*/ 2732 h 10001"/>
                <a:gd name="connsiteX1" fmla="*/ 10023 w 10463"/>
                <a:gd name="connsiteY1" fmla="*/ 2507 h 10001"/>
                <a:gd name="connsiteX2" fmla="*/ 10023 w 10463"/>
                <a:gd name="connsiteY2" fmla="*/ 2394 h 10001"/>
                <a:gd name="connsiteX3" fmla="*/ 9759 w 10463"/>
                <a:gd name="connsiteY3" fmla="*/ 2349 h 10001"/>
                <a:gd name="connsiteX4" fmla="*/ 9724 w 10463"/>
                <a:gd name="connsiteY4" fmla="*/ 2349 h 10001"/>
                <a:gd name="connsiteX5" fmla="*/ 9724 w 10463"/>
                <a:gd name="connsiteY5" fmla="*/ 2326 h 10001"/>
                <a:gd name="connsiteX6" fmla="*/ 9618 w 10463"/>
                <a:gd name="connsiteY6" fmla="*/ 1965 h 10001"/>
                <a:gd name="connsiteX7" fmla="*/ 9055 w 10463"/>
                <a:gd name="connsiteY7" fmla="*/ 1423 h 10001"/>
                <a:gd name="connsiteX8" fmla="*/ 9055 w 10463"/>
                <a:gd name="connsiteY8" fmla="*/ 1423 h 10001"/>
                <a:gd name="connsiteX9" fmla="*/ 9037 w 10463"/>
                <a:gd name="connsiteY9" fmla="*/ 1401 h 10001"/>
                <a:gd name="connsiteX10" fmla="*/ 8984 w 10463"/>
                <a:gd name="connsiteY10" fmla="*/ 1175 h 10001"/>
                <a:gd name="connsiteX11" fmla="*/ 8755 w 10463"/>
                <a:gd name="connsiteY11" fmla="*/ 407 h 10001"/>
                <a:gd name="connsiteX12" fmla="*/ 8597 w 10463"/>
                <a:gd name="connsiteY12" fmla="*/ 385 h 10001"/>
                <a:gd name="connsiteX13" fmla="*/ 8403 w 10463"/>
                <a:gd name="connsiteY13" fmla="*/ 520 h 10001"/>
                <a:gd name="connsiteX14" fmla="*/ 8403 w 10463"/>
                <a:gd name="connsiteY14" fmla="*/ 520 h 10001"/>
                <a:gd name="connsiteX15" fmla="*/ 8386 w 10463"/>
                <a:gd name="connsiteY15" fmla="*/ 520 h 10001"/>
                <a:gd name="connsiteX16" fmla="*/ 7417 w 10463"/>
                <a:gd name="connsiteY16" fmla="*/ 543 h 10001"/>
                <a:gd name="connsiteX17" fmla="*/ 7400 w 10463"/>
                <a:gd name="connsiteY17" fmla="*/ 543 h 10001"/>
                <a:gd name="connsiteX18" fmla="*/ 7382 w 10463"/>
                <a:gd name="connsiteY18" fmla="*/ 543 h 10001"/>
                <a:gd name="connsiteX19" fmla="*/ 7100 w 10463"/>
                <a:gd name="connsiteY19" fmla="*/ 136 h 10001"/>
                <a:gd name="connsiteX20" fmla="*/ 6889 w 10463"/>
                <a:gd name="connsiteY20" fmla="*/ 114 h 10001"/>
                <a:gd name="connsiteX21" fmla="*/ 6640 w 10463"/>
                <a:gd name="connsiteY21" fmla="*/ 49 h 10001"/>
                <a:gd name="connsiteX22" fmla="*/ 6572 w 10463"/>
                <a:gd name="connsiteY22" fmla="*/ 407 h 10001"/>
                <a:gd name="connsiteX23" fmla="*/ 6467 w 10463"/>
                <a:gd name="connsiteY23" fmla="*/ 520 h 10001"/>
                <a:gd name="connsiteX24" fmla="*/ 6449 w 10463"/>
                <a:gd name="connsiteY24" fmla="*/ 543 h 10001"/>
                <a:gd name="connsiteX25" fmla="*/ 6431 w 10463"/>
                <a:gd name="connsiteY25" fmla="*/ 543 h 10001"/>
                <a:gd name="connsiteX26" fmla="*/ 6150 w 10463"/>
                <a:gd name="connsiteY26" fmla="*/ 543 h 10001"/>
                <a:gd name="connsiteX27" fmla="*/ 6114 w 10463"/>
                <a:gd name="connsiteY27" fmla="*/ 543 h 10001"/>
                <a:gd name="connsiteX28" fmla="*/ 6114 w 10463"/>
                <a:gd name="connsiteY28" fmla="*/ 520 h 10001"/>
                <a:gd name="connsiteX29" fmla="*/ 5815 w 10463"/>
                <a:gd name="connsiteY29" fmla="*/ 159 h 10001"/>
                <a:gd name="connsiteX30" fmla="*/ 5692 w 10463"/>
                <a:gd name="connsiteY30" fmla="*/ 272 h 10001"/>
                <a:gd name="connsiteX31" fmla="*/ 5674 w 10463"/>
                <a:gd name="connsiteY31" fmla="*/ 272 h 10001"/>
                <a:gd name="connsiteX32" fmla="*/ 5674 w 10463"/>
                <a:gd name="connsiteY32" fmla="*/ 272 h 10001"/>
                <a:gd name="connsiteX33" fmla="*/ 5463 w 10463"/>
                <a:gd name="connsiteY33" fmla="*/ 317 h 10001"/>
                <a:gd name="connsiteX34" fmla="*/ 5445 w 10463"/>
                <a:gd name="connsiteY34" fmla="*/ 317 h 10001"/>
                <a:gd name="connsiteX35" fmla="*/ 5445 w 10463"/>
                <a:gd name="connsiteY35" fmla="*/ 294 h 10001"/>
                <a:gd name="connsiteX36" fmla="*/ 5217 w 10463"/>
                <a:gd name="connsiteY36" fmla="*/ 136 h 10001"/>
                <a:gd name="connsiteX37" fmla="*/ 4970 w 10463"/>
                <a:gd name="connsiteY37" fmla="*/ 1 h 10001"/>
                <a:gd name="connsiteX38" fmla="*/ 4847 w 10463"/>
                <a:gd name="connsiteY38" fmla="*/ 1 h 10001"/>
                <a:gd name="connsiteX39" fmla="*/ 4565 w 10463"/>
                <a:gd name="connsiteY39" fmla="*/ 136 h 10001"/>
                <a:gd name="connsiteX40" fmla="*/ 4248 w 10463"/>
                <a:gd name="connsiteY40" fmla="*/ 362 h 10001"/>
                <a:gd name="connsiteX41" fmla="*/ 4248 w 10463"/>
                <a:gd name="connsiteY41" fmla="*/ 362 h 10001"/>
                <a:gd name="connsiteX42" fmla="*/ 4231 w 10463"/>
                <a:gd name="connsiteY42" fmla="*/ 362 h 10001"/>
                <a:gd name="connsiteX43" fmla="*/ 4107 w 10463"/>
                <a:gd name="connsiteY43" fmla="*/ 407 h 10001"/>
                <a:gd name="connsiteX44" fmla="*/ 4037 w 10463"/>
                <a:gd name="connsiteY44" fmla="*/ 656 h 10001"/>
                <a:gd name="connsiteX45" fmla="*/ 4090 w 10463"/>
                <a:gd name="connsiteY45" fmla="*/ 723 h 10001"/>
                <a:gd name="connsiteX46" fmla="*/ 4090 w 10463"/>
                <a:gd name="connsiteY46" fmla="*/ 723 h 10001"/>
                <a:gd name="connsiteX47" fmla="*/ 4090 w 10463"/>
                <a:gd name="connsiteY47" fmla="*/ 746 h 10001"/>
                <a:gd name="connsiteX48" fmla="*/ 4107 w 10463"/>
                <a:gd name="connsiteY48" fmla="*/ 1288 h 10001"/>
                <a:gd name="connsiteX49" fmla="*/ 4125 w 10463"/>
                <a:gd name="connsiteY49" fmla="*/ 1491 h 10001"/>
                <a:gd name="connsiteX50" fmla="*/ 3837 w 10463"/>
                <a:gd name="connsiteY50" fmla="*/ 1589 h 10001"/>
                <a:gd name="connsiteX51" fmla="*/ 3686 w 10463"/>
                <a:gd name="connsiteY51" fmla="*/ 1540 h 10001"/>
                <a:gd name="connsiteX52" fmla="*/ 3425 w 10463"/>
                <a:gd name="connsiteY52" fmla="*/ 1558 h 10001"/>
                <a:gd name="connsiteX53" fmla="*/ 3273 w 10463"/>
                <a:gd name="connsiteY53" fmla="*/ 1437 h 10001"/>
                <a:gd name="connsiteX54" fmla="*/ 3003 w 10463"/>
                <a:gd name="connsiteY54" fmla="*/ 1619 h 10001"/>
                <a:gd name="connsiteX55" fmla="*/ 2299 w 10463"/>
                <a:gd name="connsiteY55" fmla="*/ 1135 h 10001"/>
                <a:gd name="connsiteX56" fmla="*/ 1954 w 10463"/>
                <a:gd name="connsiteY56" fmla="*/ 1215 h 10001"/>
                <a:gd name="connsiteX57" fmla="*/ 1605 w 10463"/>
                <a:gd name="connsiteY57" fmla="*/ 1446 h 10001"/>
                <a:gd name="connsiteX58" fmla="*/ 1330 w 10463"/>
                <a:gd name="connsiteY58" fmla="*/ 1756 h 10001"/>
                <a:gd name="connsiteX59" fmla="*/ 1023 w 10463"/>
                <a:gd name="connsiteY59" fmla="*/ 1644 h 10001"/>
                <a:gd name="connsiteX60" fmla="*/ 844 w 10463"/>
                <a:gd name="connsiteY60" fmla="*/ 1773 h 10001"/>
                <a:gd name="connsiteX61" fmla="*/ 704 w 10463"/>
                <a:gd name="connsiteY61" fmla="*/ 2211 h 10001"/>
                <a:gd name="connsiteX62" fmla="*/ 432 w 10463"/>
                <a:gd name="connsiteY62" fmla="*/ 2699 h 10001"/>
                <a:gd name="connsiteX63" fmla="*/ 161 w 10463"/>
                <a:gd name="connsiteY63" fmla="*/ 3084 h 10001"/>
                <a:gd name="connsiteX64" fmla="*/ 0 w 10463"/>
                <a:gd name="connsiteY64" fmla="*/ 3419 h 10001"/>
                <a:gd name="connsiteX65" fmla="*/ 551 w 10463"/>
                <a:gd name="connsiteY65" fmla="*/ 3342 h 10001"/>
                <a:gd name="connsiteX66" fmla="*/ 551 w 10463"/>
                <a:gd name="connsiteY66" fmla="*/ 3522 h 10001"/>
                <a:gd name="connsiteX67" fmla="*/ 657 w 10463"/>
                <a:gd name="connsiteY67" fmla="*/ 3884 h 10001"/>
                <a:gd name="connsiteX68" fmla="*/ 586 w 10463"/>
                <a:gd name="connsiteY68" fmla="*/ 4154 h 10001"/>
                <a:gd name="connsiteX69" fmla="*/ 463 w 10463"/>
                <a:gd name="connsiteY69" fmla="*/ 4425 h 10001"/>
                <a:gd name="connsiteX70" fmla="*/ 481 w 10463"/>
                <a:gd name="connsiteY70" fmla="*/ 4832 h 10001"/>
                <a:gd name="connsiteX71" fmla="*/ 516 w 10463"/>
                <a:gd name="connsiteY71" fmla="*/ 5464 h 10001"/>
                <a:gd name="connsiteX72" fmla="*/ 551 w 10463"/>
                <a:gd name="connsiteY72" fmla="*/ 5464 h 10001"/>
                <a:gd name="connsiteX73" fmla="*/ 621 w 10463"/>
                <a:gd name="connsiteY73" fmla="*/ 5644 h 10001"/>
                <a:gd name="connsiteX74" fmla="*/ 1044 w 10463"/>
                <a:gd name="connsiteY74" fmla="*/ 6096 h 10001"/>
                <a:gd name="connsiteX75" fmla="*/ 1044 w 10463"/>
                <a:gd name="connsiteY75" fmla="*/ 6118 h 10001"/>
                <a:gd name="connsiteX76" fmla="*/ 1044 w 10463"/>
                <a:gd name="connsiteY76" fmla="*/ 6118 h 10001"/>
                <a:gd name="connsiteX77" fmla="*/ 1114 w 10463"/>
                <a:gd name="connsiteY77" fmla="*/ 6547 h 10001"/>
                <a:gd name="connsiteX78" fmla="*/ 1995 w 10463"/>
                <a:gd name="connsiteY78" fmla="*/ 7112 h 10001"/>
                <a:gd name="connsiteX79" fmla="*/ 2012 w 10463"/>
                <a:gd name="connsiteY79" fmla="*/ 7112 h 10001"/>
                <a:gd name="connsiteX80" fmla="*/ 2012 w 10463"/>
                <a:gd name="connsiteY80" fmla="*/ 7134 h 10001"/>
                <a:gd name="connsiteX81" fmla="*/ 2188 w 10463"/>
                <a:gd name="connsiteY81" fmla="*/ 8173 h 10001"/>
                <a:gd name="connsiteX82" fmla="*/ 2540 w 10463"/>
                <a:gd name="connsiteY82" fmla="*/ 9053 h 10001"/>
                <a:gd name="connsiteX83" fmla="*/ 2664 w 10463"/>
                <a:gd name="connsiteY83" fmla="*/ 9324 h 10001"/>
                <a:gd name="connsiteX84" fmla="*/ 2664 w 10463"/>
                <a:gd name="connsiteY84" fmla="*/ 9324 h 10001"/>
                <a:gd name="connsiteX85" fmla="*/ 2664 w 10463"/>
                <a:gd name="connsiteY85" fmla="*/ 9346 h 10001"/>
                <a:gd name="connsiteX86" fmla="*/ 2646 w 10463"/>
                <a:gd name="connsiteY86" fmla="*/ 9933 h 10001"/>
                <a:gd name="connsiteX87" fmla="*/ 2787 w 10463"/>
                <a:gd name="connsiteY87" fmla="*/ 9933 h 10001"/>
                <a:gd name="connsiteX88" fmla="*/ 2893 w 10463"/>
                <a:gd name="connsiteY88" fmla="*/ 9662 h 10001"/>
                <a:gd name="connsiteX89" fmla="*/ 3826 w 10463"/>
                <a:gd name="connsiteY89" fmla="*/ 9662 h 10001"/>
                <a:gd name="connsiteX90" fmla="*/ 4107 w 10463"/>
                <a:gd name="connsiteY90" fmla="*/ 9437 h 10001"/>
                <a:gd name="connsiteX91" fmla="*/ 4424 w 10463"/>
                <a:gd name="connsiteY91" fmla="*/ 9346 h 10001"/>
                <a:gd name="connsiteX92" fmla="*/ 4741 w 10463"/>
                <a:gd name="connsiteY92" fmla="*/ 9504 h 10001"/>
                <a:gd name="connsiteX93" fmla="*/ 4952 w 10463"/>
                <a:gd name="connsiteY93" fmla="*/ 9437 h 10001"/>
                <a:gd name="connsiteX94" fmla="*/ 5903 w 10463"/>
                <a:gd name="connsiteY94" fmla="*/ 9369 h 10001"/>
                <a:gd name="connsiteX95" fmla="*/ 6255 w 10463"/>
                <a:gd name="connsiteY95" fmla="*/ 9211 h 10001"/>
                <a:gd name="connsiteX96" fmla="*/ 6414 w 10463"/>
                <a:gd name="connsiteY96" fmla="*/ 9369 h 10001"/>
                <a:gd name="connsiteX97" fmla="*/ 7065 w 10463"/>
                <a:gd name="connsiteY97" fmla="*/ 9324 h 10001"/>
                <a:gd name="connsiteX98" fmla="*/ 7206 w 10463"/>
                <a:gd name="connsiteY98" fmla="*/ 9572 h 10001"/>
                <a:gd name="connsiteX99" fmla="*/ 7382 w 10463"/>
                <a:gd name="connsiteY99" fmla="*/ 9775 h 10001"/>
                <a:gd name="connsiteX100" fmla="*/ 7945 w 10463"/>
                <a:gd name="connsiteY100" fmla="*/ 9730 h 10001"/>
                <a:gd name="connsiteX101" fmla="*/ 8121 w 10463"/>
                <a:gd name="connsiteY101" fmla="*/ 9866 h 10001"/>
                <a:gd name="connsiteX102" fmla="*/ 8227 w 10463"/>
                <a:gd name="connsiteY102" fmla="*/ 9911 h 10001"/>
                <a:gd name="connsiteX103" fmla="*/ 8298 w 10463"/>
                <a:gd name="connsiteY103" fmla="*/ 9978 h 10001"/>
                <a:gd name="connsiteX104" fmla="*/ 8403 w 10463"/>
                <a:gd name="connsiteY104" fmla="*/ 10001 h 10001"/>
                <a:gd name="connsiteX105" fmla="*/ 8579 w 10463"/>
                <a:gd name="connsiteY105" fmla="*/ 9933 h 10001"/>
                <a:gd name="connsiteX106" fmla="*/ 8526 w 10463"/>
                <a:gd name="connsiteY106" fmla="*/ 9617 h 10001"/>
                <a:gd name="connsiteX107" fmla="*/ 8350 w 10463"/>
                <a:gd name="connsiteY107" fmla="*/ 9392 h 10001"/>
                <a:gd name="connsiteX108" fmla="*/ 8350 w 10463"/>
                <a:gd name="connsiteY108" fmla="*/ 9008 h 10001"/>
                <a:gd name="connsiteX109" fmla="*/ 8526 w 10463"/>
                <a:gd name="connsiteY109" fmla="*/ 8872 h 10001"/>
                <a:gd name="connsiteX110" fmla="*/ 8738 w 10463"/>
                <a:gd name="connsiteY110" fmla="*/ 8692 h 10001"/>
                <a:gd name="connsiteX111" fmla="*/ 8614 w 10463"/>
                <a:gd name="connsiteY111" fmla="*/ 8601 h 10001"/>
                <a:gd name="connsiteX112" fmla="*/ 8526 w 10463"/>
                <a:gd name="connsiteY112" fmla="*/ 8466 h 10001"/>
                <a:gd name="connsiteX113" fmla="*/ 8667 w 10463"/>
                <a:gd name="connsiteY113" fmla="*/ 8240 h 10001"/>
                <a:gd name="connsiteX114" fmla="*/ 8984 w 10463"/>
                <a:gd name="connsiteY114" fmla="*/ 8240 h 10001"/>
                <a:gd name="connsiteX115" fmla="*/ 8984 w 10463"/>
                <a:gd name="connsiteY115" fmla="*/ 7947 h 10001"/>
                <a:gd name="connsiteX116" fmla="*/ 8773 w 10463"/>
                <a:gd name="connsiteY116" fmla="*/ 7834 h 10001"/>
                <a:gd name="connsiteX117" fmla="*/ 8861 w 10463"/>
                <a:gd name="connsiteY117" fmla="*/ 7495 h 10001"/>
                <a:gd name="connsiteX118" fmla="*/ 8139 w 10463"/>
                <a:gd name="connsiteY118" fmla="*/ 6164 h 10001"/>
                <a:gd name="connsiteX119" fmla="*/ 7981 w 10463"/>
                <a:gd name="connsiteY119" fmla="*/ 5441 h 10001"/>
                <a:gd name="connsiteX120" fmla="*/ 8139 w 10463"/>
                <a:gd name="connsiteY120" fmla="*/ 4764 h 10001"/>
                <a:gd name="connsiteX121" fmla="*/ 7470 w 10463"/>
                <a:gd name="connsiteY121" fmla="*/ 4854 h 10001"/>
                <a:gd name="connsiteX122" fmla="*/ 7435 w 10463"/>
                <a:gd name="connsiteY122" fmla="*/ 4809 h 10001"/>
                <a:gd name="connsiteX123" fmla="*/ 7417 w 10463"/>
                <a:gd name="connsiteY123" fmla="*/ 4629 h 10001"/>
                <a:gd name="connsiteX124" fmla="*/ 7558 w 10463"/>
                <a:gd name="connsiteY124" fmla="*/ 4267 h 10001"/>
                <a:gd name="connsiteX125" fmla="*/ 8931 w 10463"/>
                <a:gd name="connsiteY125" fmla="*/ 3342 h 10001"/>
                <a:gd name="connsiteX126" fmla="*/ 9371 w 10463"/>
                <a:gd name="connsiteY126" fmla="*/ 3161 h 10001"/>
                <a:gd name="connsiteX127" fmla="*/ 9565 w 10463"/>
                <a:gd name="connsiteY127" fmla="*/ 3432 h 10001"/>
                <a:gd name="connsiteX128" fmla="*/ 9776 w 10463"/>
                <a:gd name="connsiteY128" fmla="*/ 3432 h 10001"/>
                <a:gd name="connsiteX129" fmla="*/ 10023 w 10463"/>
                <a:gd name="connsiteY129" fmla="*/ 3206 h 10001"/>
                <a:gd name="connsiteX130" fmla="*/ 10428 w 10463"/>
                <a:gd name="connsiteY130" fmla="*/ 3455 h 10001"/>
                <a:gd name="connsiteX131" fmla="*/ 10463 w 10463"/>
                <a:gd name="connsiteY131" fmla="*/ 2732 h 10001"/>
                <a:gd name="connsiteX132" fmla="*/ 9970 w 10463"/>
                <a:gd name="connsiteY132" fmla="*/ 2732 h 10001"/>
                <a:gd name="connsiteX0" fmla="*/ 10146 w 10639"/>
                <a:gd name="connsiteY0" fmla="*/ 2732 h 10001"/>
                <a:gd name="connsiteX1" fmla="*/ 10199 w 10639"/>
                <a:gd name="connsiteY1" fmla="*/ 2507 h 10001"/>
                <a:gd name="connsiteX2" fmla="*/ 10199 w 10639"/>
                <a:gd name="connsiteY2" fmla="*/ 2394 h 10001"/>
                <a:gd name="connsiteX3" fmla="*/ 9935 w 10639"/>
                <a:gd name="connsiteY3" fmla="*/ 2349 h 10001"/>
                <a:gd name="connsiteX4" fmla="*/ 9900 w 10639"/>
                <a:gd name="connsiteY4" fmla="*/ 2349 h 10001"/>
                <a:gd name="connsiteX5" fmla="*/ 9900 w 10639"/>
                <a:gd name="connsiteY5" fmla="*/ 2326 h 10001"/>
                <a:gd name="connsiteX6" fmla="*/ 9794 w 10639"/>
                <a:gd name="connsiteY6" fmla="*/ 1965 h 10001"/>
                <a:gd name="connsiteX7" fmla="*/ 9231 w 10639"/>
                <a:gd name="connsiteY7" fmla="*/ 1423 h 10001"/>
                <a:gd name="connsiteX8" fmla="*/ 9231 w 10639"/>
                <a:gd name="connsiteY8" fmla="*/ 1423 h 10001"/>
                <a:gd name="connsiteX9" fmla="*/ 9213 w 10639"/>
                <a:gd name="connsiteY9" fmla="*/ 1401 h 10001"/>
                <a:gd name="connsiteX10" fmla="*/ 9160 w 10639"/>
                <a:gd name="connsiteY10" fmla="*/ 1175 h 10001"/>
                <a:gd name="connsiteX11" fmla="*/ 8931 w 10639"/>
                <a:gd name="connsiteY11" fmla="*/ 407 h 10001"/>
                <a:gd name="connsiteX12" fmla="*/ 8773 w 10639"/>
                <a:gd name="connsiteY12" fmla="*/ 385 h 10001"/>
                <a:gd name="connsiteX13" fmla="*/ 8579 w 10639"/>
                <a:gd name="connsiteY13" fmla="*/ 520 h 10001"/>
                <a:gd name="connsiteX14" fmla="*/ 8579 w 10639"/>
                <a:gd name="connsiteY14" fmla="*/ 520 h 10001"/>
                <a:gd name="connsiteX15" fmla="*/ 8562 w 10639"/>
                <a:gd name="connsiteY15" fmla="*/ 520 h 10001"/>
                <a:gd name="connsiteX16" fmla="*/ 7593 w 10639"/>
                <a:gd name="connsiteY16" fmla="*/ 543 h 10001"/>
                <a:gd name="connsiteX17" fmla="*/ 7576 w 10639"/>
                <a:gd name="connsiteY17" fmla="*/ 543 h 10001"/>
                <a:gd name="connsiteX18" fmla="*/ 7558 w 10639"/>
                <a:gd name="connsiteY18" fmla="*/ 543 h 10001"/>
                <a:gd name="connsiteX19" fmla="*/ 7276 w 10639"/>
                <a:gd name="connsiteY19" fmla="*/ 136 h 10001"/>
                <a:gd name="connsiteX20" fmla="*/ 7065 w 10639"/>
                <a:gd name="connsiteY20" fmla="*/ 114 h 10001"/>
                <a:gd name="connsiteX21" fmla="*/ 6816 w 10639"/>
                <a:gd name="connsiteY21" fmla="*/ 49 h 10001"/>
                <a:gd name="connsiteX22" fmla="*/ 6748 w 10639"/>
                <a:gd name="connsiteY22" fmla="*/ 407 h 10001"/>
                <a:gd name="connsiteX23" fmla="*/ 6643 w 10639"/>
                <a:gd name="connsiteY23" fmla="*/ 520 h 10001"/>
                <a:gd name="connsiteX24" fmla="*/ 6625 w 10639"/>
                <a:gd name="connsiteY24" fmla="*/ 543 h 10001"/>
                <a:gd name="connsiteX25" fmla="*/ 6607 w 10639"/>
                <a:gd name="connsiteY25" fmla="*/ 543 h 10001"/>
                <a:gd name="connsiteX26" fmla="*/ 6326 w 10639"/>
                <a:gd name="connsiteY26" fmla="*/ 543 h 10001"/>
                <a:gd name="connsiteX27" fmla="*/ 6290 w 10639"/>
                <a:gd name="connsiteY27" fmla="*/ 543 h 10001"/>
                <a:gd name="connsiteX28" fmla="*/ 6290 w 10639"/>
                <a:gd name="connsiteY28" fmla="*/ 520 h 10001"/>
                <a:gd name="connsiteX29" fmla="*/ 5991 w 10639"/>
                <a:gd name="connsiteY29" fmla="*/ 159 h 10001"/>
                <a:gd name="connsiteX30" fmla="*/ 5868 w 10639"/>
                <a:gd name="connsiteY30" fmla="*/ 272 h 10001"/>
                <a:gd name="connsiteX31" fmla="*/ 5850 w 10639"/>
                <a:gd name="connsiteY31" fmla="*/ 272 h 10001"/>
                <a:gd name="connsiteX32" fmla="*/ 5850 w 10639"/>
                <a:gd name="connsiteY32" fmla="*/ 272 h 10001"/>
                <a:gd name="connsiteX33" fmla="*/ 5639 w 10639"/>
                <a:gd name="connsiteY33" fmla="*/ 317 h 10001"/>
                <a:gd name="connsiteX34" fmla="*/ 5621 w 10639"/>
                <a:gd name="connsiteY34" fmla="*/ 317 h 10001"/>
                <a:gd name="connsiteX35" fmla="*/ 5621 w 10639"/>
                <a:gd name="connsiteY35" fmla="*/ 294 h 10001"/>
                <a:gd name="connsiteX36" fmla="*/ 5393 w 10639"/>
                <a:gd name="connsiteY36" fmla="*/ 136 h 10001"/>
                <a:gd name="connsiteX37" fmla="*/ 5146 w 10639"/>
                <a:gd name="connsiteY37" fmla="*/ 1 h 10001"/>
                <a:gd name="connsiteX38" fmla="*/ 5023 w 10639"/>
                <a:gd name="connsiteY38" fmla="*/ 1 h 10001"/>
                <a:gd name="connsiteX39" fmla="*/ 4741 w 10639"/>
                <a:gd name="connsiteY39" fmla="*/ 136 h 10001"/>
                <a:gd name="connsiteX40" fmla="*/ 4424 w 10639"/>
                <a:gd name="connsiteY40" fmla="*/ 362 h 10001"/>
                <a:gd name="connsiteX41" fmla="*/ 4424 w 10639"/>
                <a:gd name="connsiteY41" fmla="*/ 362 h 10001"/>
                <a:gd name="connsiteX42" fmla="*/ 4407 w 10639"/>
                <a:gd name="connsiteY42" fmla="*/ 362 h 10001"/>
                <a:gd name="connsiteX43" fmla="*/ 4283 w 10639"/>
                <a:gd name="connsiteY43" fmla="*/ 407 h 10001"/>
                <a:gd name="connsiteX44" fmla="*/ 4213 w 10639"/>
                <a:gd name="connsiteY44" fmla="*/ 656 h 10001"/>
                <a:gd name="connsiteX45" fmla="*/ 4266 w 10639"/>
                <a:gd name="connsiteY45" fmla="*/ 723 h 10001"/>
                <a:gd name="connsiteX46" fmla="*/ 4266 w 10639"/>
                <a:gd name="connsiteY46" fmla="*/ 723 h 10001"/>
                <a:gd name="connsiteX47" fmla="*/ 4266 w 10639"/>
                <a:gd name="connsiteY47" fmla="*/ 746 h 10001"/>
                <a:gd name="connsiteX48" fmla="*/ 4283 w 10639"/>
                <a:gd name="connsiteY48" fmla="*/ 1288 h 10001"/>
                <a:gd name="connsiteX49" fmla="*/ 4301 w 10639"/>
                <a:gd name="connsiteY49" fmla="*/ 1491 h 10001"/>
                <a:gd name="connsiteX50" fmla="*/ 4013 w 10639"/>
                <a:gd name="connsiteY50" fmla="*/ 1589 h 10001"/>
                <a:gd name="connsiteX51" fmla="*/ 3862 w 10639"/>
                <a:gd name="connsiteY51" fmla="*/ 1540 h 10001"/>
                <a:gd name="connsiteX52" fmla="*/ 3601 w 10639"/>
                <a:gd name="connsiteY52" fmla="*/ 1558 h 10001"/>
                <a:gd name="connsiteX53" fmla="*/ 3449 w 10639"/>
                <a:gd name="connsiteY53" fmla="*/ 1437 h 10001"/>
                <a:gd name="connsiteX54" fmla="*/ 3179 w 10639"/>
                <a:gd name="connsiteY54" fmla="*/ 1619 h 10001"/>
                <a:gd name="connsiteX55" fmla="*/ 2475 w 10639"/>
                <a:gd name="connsiteY55" fmla="*/ 1135 h 10001"/>
                <a:gd name="connsiteX56" fmla="*/ 2130 w 10639"/>
                <a:gd name="connsiteY56" fmla="*/ 1215 h 10001"/>
                <a:gd name="connsiteX57" fmla="*/ 1781 w 10639"/>
                <a:gd name="connsiteY57" fmla="*/ 1446 h 10001"/>
                <a:gd name="connsiteX58" fmla="*/ 1506 w 10639"/>
                <a:gd name="connsiteY58" fmla="*/ 1756 h 10001"/>
                <a:gd name="connsiteX59" fmla="*/ 1199 w 10639"/>
                <a:gd name="connsiteY59" fmla="*/ 1644 h 10001"/>
                <a:gd name="connsiteX60" fmla="*/ 1020 w 10639"/>
                <a:gd name="connsiteY60" fmla="*/ 1773 h 10001"/>
                <a:gd name="connsiteX61" fmla="*/ 880 w 10639"/>
                <a:gd name="connsiteY61" fmla="*/ 2211 h 10001"/>
                <a:gd name="connsiteX62" fmla="*/ 608 w 10639"/>
                <a:gd name="connsiteY62" fmla="*/ 2699 h 10001"/>
                <a:gd name="connsiteX63" fmla="*/ 337 w 10639"/>
                <a:gd name="connsiteY63" fmla="*/ 3084 h 10001"/>
                <a:gd name="connsiteX64" fmla="*/ 176 w 10639"/>
                <a:gd name="connsiteY64" fmla="*/ 3419 h 10001"/>
                <a:gd name="connsiteX65" fmla="*/ 0 w 10639"/>
                <a:gd name="connsiteY65" fmla="*/ 3809 h 10001"/>
                <a:gd name="connsiteX66" fmla="*/ 727 w 10639"/>
                <a:gd name="connsiteY66" fmla="*/ 3522 h 10001"/>
                <a:gd name="connsiteX67" fmla="*/ 833 w 10639"/>
                <a:gd name="connsiteY67" fmla="*/ 3884 h 10001"/>
                <a:gd name="connsiteX68" fmla="*/ 762 w 10639"/>
                <a:gd name="connsiteY68" fmla="*/ 4154 h 10001"/>
                <a:gd name="connsiteX69" fmla="*/ 639 w 10639"/>
                <a:gd name="connsiteY69" fmla="*/ 4425 h 10001"/>
                <a:gd name="connsiteX70" fmla="*/ 657 w 10639"/>
                <a:gd name="connsiteY70" fmla="*/ 4832 h 10001"/>
                <a:gd name="connsiteX71" fmla="*/ 692 w 10639"/>
                <a:gd name="connsiteY71" fmla="*/ 5464 h 10001"/>
                <a:gd name="connsiteX72" fmla="*/ 727 w 10639"/>
                <a:gd name="connsiteY72" fmla="*/ 5464 h 10001"/>
                <a:gd name="connsiteX73" fmla="*/ 797 w 10639"/>
                <a:gd name="connsiteY73" fmla="*/ 5644 h 10001"/>
                <a:gd name="connsiteX74" fmla="*/ 1220 w 10639"/>
                <a:gd name="connsiteY74" fmla="*/ 6096 h 10001"/>
                <a:gd name="connsiteX75" fmla="*/ 1220 w 10639"/>
                <a:gd name="connsiteY75" fmla="*/ 6118 h 10001"/>
                <a:gd name="connsiteX76" fmla="*/ 1220 w 10639"/>
                <a:gd name="connsiteY76" fmla="*/ 6118 h 10001"/>
                <a:gd name="connsiteX77" fmla="*/ 1290 w 10639"/>
                <a:gd name="connsiteY77" fmla="*/ 6547 h 10001"/>
                <a:gd name="connsiteX78" fmla="*/ 2171 w 10639"/>
                <a:gd name="connsiteY78" fmla="*/ 7112 h 10001"/>
                <a:gd name="connsiteX79" fmla="*/ 2188 w 10639"/>
                <a:gd name="connsiteY79" fmla="*/ 7112 h 10001"/>
                <a:gd name="connsiteX80" fmla="*/ 2188 w 10639"/>
                <a:gd name="connsiteY80" fmla="*/ 7134 h 10001"/>
                <a:gd name="connsiteX81" fmla="*/ 2364 w 10639"/>
                <a:gd name="connsiteY81" fmla="*/ 8173 h 10001"/>
                <a:gd name="connsiteX82" fmla="*/ 2716 w 10639"/>
                <a:gd name="connsiteY82" fmla="*/ 9053 h 10001"/>
                <a:gd name="connsiteX83" fmla="*/ 2840 w 10639"/>
                <a:gd name="connsiteY83" fmla="*/ 9324 h 10001"/>
                <a:gd name="connsiteX84" fmla="*/ 2840 w 10639"/>
                <a:gd name="connsiteY84" fmla="*/ 9324 h 10001"/>
                <a:gd name="connsiteX85" fmla="*/ 2840 w 10639"/>
                <a:gd name="connsiteY85" fmla="*/ 9346 h 10001"/>
                <a:gd name="connsiteX86" fmla="*/ 2822 w 10639"/>
                <a:gd name="connsiteY86" fmla="*/ 9933 h 10001"/>
                <a:gd name="connsiteX87" fmla="*/ 2963 w 10639"/>
                <a:gd name="connsiteY87" fmla="*/ 9933 h 10001"/>
                <a:gd name="connsiteX88" fmla="*/ 3069 w 10639"/>
                <a:gd name="connsiteY88" fmla="*/ 9662 h 10001"/>
                <a:gd name="connsiteX89" fmla="*/ 4002 w 10639"/>
                <a:gd name="connsiteY89" fmla="*/ 9662 h 10001"/>
                <a:gd name="connsiteX90" fmla="*/ 4283 w 10639"/>
                <a:gd name="connsiteY90" fmla="*/ 9437 h 10001"/>
                <a:gd name="connsiteX91" fmla="*/ 4600 w 10639"/>
                <a:gd name="connsiteY91" fmla="*/ 9346 h 10001"/>
                <a:gd name="connsiteX92" fmla="*/ 4917 w 10639"/>
                <a:gd name="connsiteY92" fmla="*/ 9504 h 10001"/>
                <a:gd name="connsiteX93" fmla="*/ 5128 w 10639"/>
                <a:gd name="connsiteY93" fmla="*/ 9437 h 10001"/>
                <a:gd name="connsiteX94" fmla="*/ 6079 w 10639"/>
                <a:gd name="connsiteY94" fmla="*/ 9369 h 10001"/>
                <a:gd name="connsiteX95" fmla="*/ 6431 w 10639"/>
                <a:gd name="connsiteY95" fmla="*/ 9211 h 10001"/>
                <a:gd name="connsiteX96" fmla="*/ 6590 w 10639"/>
                <a:gd name="connsiteY96" fmla="*/ 9369 h 10001"/>
                <a:gd name="connsiteX97" fmla="*/ 7241 w 10639"/>
                <a:gd name="connsiteY97" fmla="*/ 9324 h 10001"/>
                <a:gd name="connsiteX98" fmla="*/ 7382 w 10639"/>
                <a:gd name="connsiteY98" fmla="*/ 9572 h 10001"/>
                <a:gd name="connsiteX99" fmla="*/ 7558 w 10639"/>
                <a:gd name="connsiteY99" fmla="*/ 9775 h 10001"/>
                <a:gd name="connsiteX100" fmla="*/ 8121 w 10639"/>
                <a:gd name="connsiteY100" fmla="*/ 9730 h 10001"/>
                <a:gd name="connsiteX101" fmla="*/ 8297 w 10639"/>
                <a:gd name="connsiteY101" fmla="*/ 9866 h 10001"/>
                <a:gd name="connsiteX102" fmla="*/ 8403 w 10639"/>
                <a:gd name="connsiteY102" fmla="*/ 9911 h 10001"/>
                <a:gd name="connsiteX103" fmla="*/ 8474 w 10639"/>
                <a:gd name="connsiteY103" fmla="*/ 9978 h 10001"/>
                <a:gd name="connsiteX104" fmla="*/ 8579 w 10639"/>
                <a:gd name="connsiteY104" fmla="*/ 10001 h 10001"/>
                <a:gd name="connsiteX105" fmla="*/ 8755 w 10639"/>
                <a:gd name="connsiteY105" fmla="*/ 9933 h 10001"/>
                <a:gd name="connsiteX106" fmla="*/ 8702 w 10639"/>
                <a:gd name="connsiteY106" fmla="*/ 9617 h 10001"/>
                <a:gd name="connsiteX107" fmla="*/ 8526 w 10639"/>
                <a:gd name="connsiteY107" fmla="*/ 9392 h 10001"/>
                <a:gd name="connsiteX108" fmla="*/ 8526 w 10639"/>
                <a:gd name="connsiteY108" fmla="*/ 9008 h 10001"/>
                <a:gd name="connsiteX109" fmla="*/ 8702 w 10639"/>
                <a:gd name="connsiteY109" fmla="*/ 8872 h 10001"/>
                <a:gd name="connsiteX110" fmla="*/ 8914 w 10639"/>
                <a:gd name="connsiteY110" fmla="*/ 8692 h 10001"/>
                <a:gd name="connsiteX111" fmla="*/ 8790 w 10639"/>
                <a:gd name="connsiteY111" fmla="*/ 8601 h 10001"/>
                <a:gd name="connsiteX112" fmla="*/ 8702 w 10639"/>
                <a:gd name="connsiteY112" fmla="*/ 8466 h 10001"/>
                <a:gd name="connsiteX113" fmla="*/ 8843 w 10639"/>
                <a:gd name="connsiteY113" fmla="*/ 8240 h 10001"/>
                <a:gd name="connsiteX114" fmla="*/ 9160 w 10639"/>
                <a:gd name="connsiteY114" fmla="*/ 8240 h 10001"/>
                <a:gd name="connsiteX115" fmla="*/ 9160 w 10639"/>
                <a:gd name="connsiteY115" fmla="*/ 7947 h 10001"/>
                <a:gd name="connsiteX116" fmla="*/ 8949 w 10639"/>
                <a:gd name="connsiteY116" fmla="*/ 7834 h 10001"/>
                <a:gd name="connsiteX117" fmla="*/ 9037 w 10639"/>
                <a:gd name="connsiteY117" fmla="*/ 7495 h 10001"/>
                <a:gd name="connsiteX118" fmla="*/ 8315 w 10639"/>
                <a:gd name="connsiteY118" fmla="*/ 6164 h 10001"/>
                <a:gd name="connsiteX119" fmla="*/ 8157 w 10639"/>
                <a:gd name="connsiteY119" fmla="*/ 5441 h 10001"/>
                <a:gd name="connsiteX120" fmla="*/ 8315 w 10639"/>
                <a:gd name="connsiteY120" fmla="*/ 4764 h 10001"/>
                <a:gd name="connsiteX121" fmla="*/ 7646 w 10639"/>
                <a:gd name="connsiteY121" fmla="*/ 4854 h 10001"/>
                <a:gd name="connsiteX122" fmla="*/ 7611 w 10639"/>
                <a:gd name="connsiteY122" fmla="*/ 4809 h 10001"/>
                <a:gd name="connsiteX123" fmla="*/ 7593 w 10639"/>
                <a:gd name="connsiteY123" fmla="*/ 4629 h 10001"/>
                <a:gd name="connsiteX124" fmla="*/ 7734 w 10639"/>
                <a:gd name="connsiteY124" fmla="*/ 4267 h 10001"/>
                <a:gd name="connsiteX125" fmla="*/ 9107 w 10639"/>
                <a:gd name="connsiteY125" fmla="*/ 3342 h 10001"/>
                <a:gd name="connsiteX126" fmla="*/ 9547 w 10639"/>
                <a:gd name="connsiteY126" fmla="*/ 3161 h 10001"/>
                <a:gd name="connsiteX127" fmla="*/ 9741 w 10639"/>
                <a:gd name="connsiteY127" fmla="*/ 3432 h 10001"/>
                <a:gd name="connsiteX128" fmla="*/ 9952 w 10639"/>
                <a:gd name="connsiteY128" fmla="*/ 3432 h 10001"/>
                <a:gd name="connsiteX129" fmla="*/ 10199 w 10639"/>
                <a:gd name="connsiteY129" fmla="*/ 3206 h 10001"/>
                <a:gd name="connsiteX130" fmla="*/ 10604 w 10639"/>
                <a:gd name="connsiteY130" fmla="*/ 3455 h 10001"/>
                <a:gd name="connsiteX131" fmla="*/ 10639 w 10639"/>
                <a:gd name="connsiteY131" fmla="*/ 2732 h 10001"/>
                <a:gd name="connsiteX132" fmla="*/ 10146 w 10639"/>
                <a:gd name="connsiteY132" fmla="*/ 2732 h 10001"/>
                <a:gd name="connsiteX0" fmla="*/ 10146 w 10639"/>
                <a:gd name="connsiteY0" fmla="*/ 2732 h 10001"/>
                <a:gd name="connsiteX1" fmla="*/ 10199 w 10639"/>
                <a:gd name="connsiteY1" fmla="*/ 2507 h 10001"/>
                <a:gd name="connsiteX2" fmla="*/ 10199 w 10639"/>
                <a:gd name="connsiteY2" fmla="*/ 2394 h 10001"/>
                <a:gd name="connsiteX3" fmla="*/ 9935 w 10639"/>
                <a:gd name="connsiteY3" fmla="*/ 2349 h 10001"/>
                <a:gd name="connsiteX4" fmla="*/ 9900 w 10639"/>
                <a:gd name="connsiteY4" fmla="*/ 2349 h 10001"/>
                <a:gd name="connsiteX5" fmla="*/ 9900 w 10639"/>
                <a:gd name="connsiteY5" fmla="*/ 2326 h 10001"/>
                <a:gd name="connsiteX6" fmla="*/ 9794 w 10639"/>
                <a:gd name="connsiteY6" fmla="*/ 1965 h 10001"/>
                <a:gd name="connsiteX7" fmla="*/ 9231 w 10639"/>
                <a:gd name="connsiteY7" fmla="*/ 1423 h 10001"/>
                <a:gd name="connsiteX8" fmla="*/ 9231 w 10639"/>
                <a:gd name="connsiteY8" fmla="*/ 1423 h 10001"/>
                <a:gd name="connsiteX9" fmla="*/ 9213 w 10639"/>
                <a:gd name="connsiteY9" fmla="*/ 1401 h 10001"/>
                <a:gd name="connsiteX10" fmla="*/ 9160 w 10639"/>
                <a:gd name="connsiteY10" fmla="*/ 1175 h 10001"/>
                <a:gd name="connsiteX11" fmla="*/ 8931 w 10639"/>
                <a:gd name="connsiteY11" fmla="*/ 407 h 10001"/>
                <a:gd name="connsiteX12" fmla="*/ 8773 w 10639"/>
                <a:gd name="connsiteY12" fmla="*/ 385 h 10001"/>
                <a:gd name="connsiteX13" fmla="*/ 8579 w 10639"/>
                <a:gd name="connsiteY13" fmla="*/ 520 h 10001"/>
                <a:gd name="connsiteX14" fmla="*/ 8579 w 10639"/>
                <a:gd name="connsiteY14" fmla="*/ 520 h 10001"/>
                <a:gd name="connsiteX15" fmla="*/ 8562 w 10639"/>
                <a:gd name="connsiteY15" fmla="*/ 520 h 10001"/>
                <a:gd name="connsiteX16" fmla="*/ 7593 w 10639"/>
                <a:gd name="connsiteY16" fmla="*/ 543 h 10001"/>
                <a:gd name="connsiteX17" fmla="*/ 7576 w 10639"/>
                <a:gd name="connsiteY17" fmla="*/ 543 h 10001"/>
                <a:gd name="connsiteX18" fmla="*/ 7558 w 10639"/>
                <a:gd name="connsiteY18" fmla="*/ 543 h 10001"/>
                <a:gd name="connsiteX19" fmla="*/ 7276 w 10639"/>
                <a:gd name="connsiteY19" fmla="*/ 136 h 10001"/>
                <a:gd name="connsiteX20" fmla="*/ 7065 w 10639"/>
                <a:gd name="connsiteY20" fmla="*/ 114 h 10001"/>
                <a:gd name="connsiteX21" fmla="*/ 6816 w 10639"/>
                <a:gd name="connsiteY21" fmla="*/ 49 h 10001"/>
                <a:gd name="connsiteX22" fmla="*/ 6748 w 10639"/>
                <a:gd name="connsiteY22" fmla="*/ 407 h 10001"/>
                <a:gd name="connsiteX23" fmla="*/ 6643 w 10639"/>
                <a:gd name="connsiteY23" fmla="*/ 520 h 10001"/>
                <a:gd name="connsiteX24" fmla="*/ 6625 w 10639"/>
                <a:gd name="connsiteY24" fmla="*/ 543 h 10001"/>
                <a:gd name="connsiteX25" fmla="*/ 6607 w 10639"/>
                <a:gd name="connsiteY25" fmla="*/ 543 h 10001"/>
                <a:gd name="connsiteX26" fmla="*/ 6326 w 10639"/>
                <a:gd name="connsiteY26" fmla="*/ 543 h 10001"/>
                <a:gd name="connsiteX27" fmla="*/ 6290 w 10639"/>
                <a:gd name="connsiteY27" fmla="*/ 543 h 10001"/>
                <a:gd name="connsiteX28" fmla="*/ 6290 w 10639"/>
                <a:gd name="connsiteY28" fmla="*/ 520 h 10001"/>
                <a:gd name="connsiteX29" fmla="*/ 5991 w 10639"/>
                <a:gd name="connsiteY29" fmla="*/ 159 h 10001"/>
                <a:gd name="connsiteX30" fmla="*/ 5868 w 10639"/>
                <a:gd name="connsiteY30" fmla="*/ 272 h 10001"/>
                <a:gd name="connsiteX31" fmla="*/ 5850 w 10639"/>
                <a:gd name="connsiteY31" fmla="*/ 272 h 10001"/>
                <a:gd name="connsiteX32" fmla="*/ 5850 w 10639"/>
                <a:gd name="connsiteY32" fmla="*/ 272 h 10001"/>
                <a:gd name="connsiteX33" fmla="*/ 5639 w 10639"/>
                <a:gd name="connsiteY33" fmla="*/ 317 h 10001"/>
                <a:gd name="connsiteX34" fmla="*/ 5621 w 10639"/>
                <a:gd name="connsiteY34" fmla="*/ 317 h 10001"/>
                <a:gd name="connsiteX35" fmla="*/ 5621 w 10639"/>
                <a:gd name="connsiteY35" fmla="*/ 294 h 10001"/>
                <a:gd name="connsiteX36" fmla="*/ 5393 w 10639"/>
                <a:gd name="connsiteY36" fmla="*/ 136 h 10001"/>
                <a:gd name="connsiteX37" fmla="*/ 5146 w 10639"/>
                <a:gd name="connsiteY37" fmla="*/ 1 h 10001"/>
                <a:gd name="connsiteX38" fmla="*/ 5023 w 10639"/>
                <a:gd name="connsiteY38" fmla="*/ 1 h 10001"/>
                <a:gd name="connsiteX39" fmla="*/ 4741 w 10639"/>
                <a:gd name="connsiteY39" fmla="*/ 136 h 10001"/>
                <a:gd name="connsiteX40" fmla="*/ 4424 w 10639"/>
                <a:gd name="connsiteY40" fmla="*/ 362 h 10001"/>
                <a:gd name="connsiteX41" fmla="*/ 4424 w 10639"/>
                <a:gd name="connsiteY41" fmla="*/ 362 h 10001"/>
                <a:gd name="connsiteX42" fmla="*/ 4407 w 10639"/>
                <a:gd name="connsiteY42" fmla="*/ 362 h 10001"/>
                <a:gd name="connsiteX43" fmla="*/ 4283 w 10639"/>
                <a:gd name="connsiteY43" fmla="*/ 407 h 10001"/>
                <a:gd name="connsiteX44" fmla="*/ 4213 w 10639"/>
                <a:gd name="connsiteY44" fmla="*/ 656 h 10001"/>
                <a:gd name="connsiteX45" fmla="*/ 4266 w 10639"/>
                <a:gd name="connsiteY45" fmla="*/ 723 h 10001"/>
                <a:gd name="connsiteX46" fmla="*/ 4266 w 10639"/>
                <a:gd name="connsiteY46" fmla="*/ 723 h 10001"/>
                <a:gd name="connsiteX47" fmla="*/ 4266 w 10639"/>
                <a:gd name="connsiteY47" fmla="*/ 746 h 10001"/>
                <a:gd name="connsiteX48" fmla="*/ 4283 w 10639"/>
                <a:gd name="connsiteY48" fmla="*/ 1288 h 10001"/>
                <a:gd name="connsiteX49" fmla="*/ 4301 w 10639"/>
                <a:gd name="connsiteY49" fmla="*/ 1491 h 10001"/>
                <a:gd name="connsiteX50" fmla="*/ 4013 w 10639"/>
                <a:gd name="connsiteY50" fmla="*/ 1589 h 10001"/>
                <a:gd name="connsiteX51" fmla="*/ 3862 w 10639"/>
                <a:gd name="connsiteY51" fmla="*/ 1540 h 10001"/>
                <a:gd name="connsiteX52" fmla="*/ 3601 w 10639"/>
                <a:gd name="connsiteY52" fmla="*/ 1558 h 10001"/>
                <a:gd name="connsiteX53" fmla="*/ 3449 w 10639"/>
                <a:gd name="connsiteY53" fmla="*/ 1437 h 10001"/>
                <a:gd name="connsiteX54" fmla="*/ 3179 w 10639"/>
                <a:gd name="connsiteY54" fmla="*/ 1619 h 10001"/>
                <a:gd name="connsiteX55" fmla="*/ 2475 w 10639"/>
                <a:gd name="connsiteY55" fmla="*/ 1135 h 10001"/>
                <a:gd name="connsiteX56" fmla="*/ 2130 w 10639"/>
                <a:gd name="connsiteY56" fmla="*/ 1215 h 10001"/>
                <a:gd name="connsiteX57" fmla="*/ 1781 w 10639"/>
                <a:gd name="connsiteY57" fmla="*/ 1446 h 10001"/>
                <a:gd name="connsiteX58" fmla="*/ 1506 w 10639"/>
                <a:gd name="connsiteY58" fmla="*/ 1756 h 10001"/>
                <a:gd name="connsiteX59" fmla="*/ 1199 w 10639"/>
                <a:gd name="connsiteY59" fmla="*/ 1644 h 10001"/>
                <a:gd name="connsiteX60" fmla="*/ 1020 w 10639"/>
                <a:gd name="connsiteY60" fmla="*/ 1773 h 10001"/>
                <a:gd name="connsiteX61" fmla="*/ 880 w 10639"/>
                <a:gd name="connsiteY61" fmla="*/ 2211 h 10001"/>
                <a:gd name="connsiteX62" fmla="*/ 608 w 10639"/>
                <a:gd name="connsiteY62" fmla="*/ 2699 h 10001"/>
                <a:gd name="connsiteX63" fmla="*/ 337 w 10639"/>
                <a:gd name="connsiteY63" fmla="*/ 3084 h 10001"/>
                <a:gd name="connsiteX64" fmla="*/ 176 w 10639"/>
                <a:gd name="connsiteY64" fmla="*/ 3419 h 10001"/>
                <a:gd name="connsiteX65" fmla="*/ 0 w 10639"/>
                <a:gd name="connsiteY65" fmla="*/ 3809 h 10001"/>
                <a:gd name="connsiteX66" fmla="*/ 67 w 10639"/>
                <a:gd name="connsiteY66" fmla="*/ 3954 h 10001"/>
                <a:gd name="connsiteX67" fmla="*/ 833 w 10639"/>
                <a:gd name="connsiteY67" fmla="*/ 3884 h 10001"/>
                <a:gd name="connsiteX68" fmla="*/ 762 w 10639"/>
                <a:gd name="connsiteY68" fmla="*/ 4154 h 10001"/>
                <a:gd name="connsiteX69" fmla="*/ 639 w 10639"/>
                <a:gd name="connsiteY69" fmla="*/ 4425 h 10001"/>
                <a:gd name="connsiteX70" fmla="*/ 657 w 10639"/>
                <a:gd name="connsiteY70" fmla="*/ 4832 h 10001"/>
                <a:gd name="connsiteX71" fmla="*/ 692 w 10639"/>
                <a:gd name="connsiteY71" fmla="*/ 5464 h 10001"/>
                <a:gd name="connsiteX72" fmla="*/ 727 w 10639"/>
                <a:gd name="connsiteY72" fmla="*/ 5464 h 10001"/>
                <a:gd name="connsiteX73" fmla="*/ 797 w 10639"/>
                <a:gd name="connsiteY73" fmla="*/ 5644 h 10001"/>
                <a:gd name="connsiteX74" fmla="*/ 1220 w 10639"/>
                <a:gd name="connsiteY74" fmla="*/ 6096 h 10001"/>
                <a:gd name="connsiteX75" fmla="*/ 1220 w 10639"/>
                <a:gd name="connsiteY75" fmla="*/ 6118 h 10001"/>
                <a:gd name="connsiteX76" fmla="*/ 1220 w 10639"/>
                <a:gd name="connsiteY76" fmla="*/ 6118 h 10001"/>
                <a:gd name="connsiteX77" fmla="*/ 1290 w 10639"/>
                <a:gd name="connsiteY77" fmla="*/ 6547 h 10001"/>
                <a:gd name="connsiteX78" fmla="*/ 2171 w 10639"/>
                <a:gd name="connsiteY78" fmla="*/ 7112 h 10001"/>
                <a:gd name="connsiteX79" fmla="*/ 2188 w 10639"/>
                <a:gd name="connsiteY79" fmla="*/ 7112 h 10001"/>
                <a:gd name="connsiteX80" fmla="*/ 2188 w 10639"/>
                <a:gd name="connsiteY80" fmla="*/ 7134 h 10001"/>
                <a:gd name="connsiteX81" fmla="*/ 2364 w 10639"/>
                <a:gd name="connsiteY81" fmla="*/ 8173 h 10001"/>
                <a:gd name="connsiteX82" fmla="*/ 2716 w 10639"/>
                <a:gd name="connsiteY82" fmla="*/ 9053 h 10001"/>
                <a:gd name="connsiteX83" fmla="*/ 2840 w 10639"/>
                <a:gd name="connsiteY83" fmla="*/ 9324 h 10001"/>
                <a:gd name="connsiteX84" fmla="*/ 2840 w 10639"/>
                <a:gd name="connsiteY84" fmla="*/ 9324 h 10001"/>
                <a:gd name="connsiteX85" fmla="*/ 2840 w 10639"/>
                <a:gd name="connsiteY85" fmla="*/ 9346 h 10001"/>
                <a:gd name="connsiteX86" fmla="*/ 2822 w 10639"/>
                <a:gd name="connsiteY86" fmla="*/ 9933 h 10001"/>
                <a:gd name="connsiteX87" fmla="*/ 2963 w 10639"/>
                <a:gd name="connsiteY87" fmla="*/ 9933 h 10001"/>
                <a:gd name="connsiteX88" fmla="*/ 3069 w 10639"/>
                <a:gd name="connsiteY88" fmla="*/ 9662 h 10001"/>
                <a:gd name="connsiteX89" fmla="*/ 4002 w 10639"/>
                <a:gd name="connsiteY89" fmla="*/ 9662 h 10001"/>
                <a:gd name="connsiteX90" fmla="*/ 4283 w 10639"/>
                <a:gd name="connsiteY90" fmla="*/ 9437 h 10001"/>
                <a:gd name="connsiteX91" fmla="*/ 4600 w 10639"/>
                <a:gd name="connsiteY91" fmla="*/ 9346 h 10001"/>
                <a:gd name="connsiteX92" fmla="*/ 4917 w 10639"/>
                <a:gd name="connsiteY92" fmla="*/ 9504 h 10001"/>
                <a:gd name="connsiteX93" fmla="*/ 5128 w 10639"/>
                <a:gd name="connsiteY93" fmla="*/ 9437 h 10001"/>
                <a:gd name="connsiteX94" fmla="*/ 6079 w 10639"/>
                <a:gd name="connsiteY94" fmla="*/ 9369 h 10001"/>
                <a:gd name="connsiteX95" fmla="*/ 6431 w 10639"/>
                <a:gd name="connsiteY95" fmla="*/ 9211 h 10001"/>
                <a:gd name="connsiteX96" fmla="*/ 6590 w 10639"/>
                <a:gd name="connsiteY96" fmla="*/ 9369 h 10001"/>
                <a:gd name="connsiteX97" fmla="*/ 7241 w 10639"/>
                <a:gd name="connsiteY97" fmla="*/ 9324 h 10001"/>
                <a:gd name="connsiteX98" fmla="*/ 7382 w 10639"/>
                <a:gd name="connsiteY98" fmla="*/ 9572 h 10001"/>
                <a:gd name="connsiteX99" fmla="*/ 7558 w 10639"/>
                <a:gd name="connsiteY99" fmla="*/ 9775 h 10001"/>
                <a:gd name="connsiteX100" fmla="*/ 8121 w 10639"/>
                <a:gd name="connsiteY100" fmla="*/ 9730 h 10001"/>
                <a:gd name="connsiteX101" fmla="*/ 8297 w 10639"/>
                <a:gd name="connsiteY101" fmla="*/ 9866 h 10001"/>
                <a:gd name="connsiteX102" fmla="*/ 8403 w 10639"/>
                <a:gd name="connsiteY102" fmla="*/ 9911 h 10001"/>
                <a:gd name="connsiteX103" fmla="*/ 8474 w 10639"/>
                <a:gd name="connsiteY103" fmla="*/ 9978 h 10001"/>
                <a:gd name="connsiteX104" fmla="*/ 8579 w 10639"/>
                <a:gd name="connsiteY104" fmla="*/ 10001 h 10001"/>
                <a:gd name="connsiteX105" fmla="*/ 8755 w 10639"/>
                <a:gd name="connsiteY105" fmla="*/ 9933 h 10001"/>
                <a:gd name="connsiteX106" fmla="*/ 8702 w 10639"/>
                <a:gd name="connsiteY106" fmla="*/ 9617 h 10001"/>
                <a:gd name="connsiteX107" fmla="*/ 8526 w 10639"/>
                <a:gd name="connsiteY107" fmla="*/ 9392 h 10001"/>
                <a:gd name="connsiteX108" fmla="*/ 8526 w 10639"/>
                <a:gd name="connsiteY108" fmla="*/ 9008 h 10001"/>
                <a:gd name="connsiteX109" fmla="*/ 8702 w 10639"/>
                <a:gd name="connsiteY109" fmla="*/ 8872 h 10001"/>
                <a:gd name="connsiteX110" fmla="*/ 8914 w 10639"/>
                <a:gd name="connsiteY110" fmla="*/ 8692 h 10001"/>
                <a:gd name="connsiteX111" fmla="*/ 8790 w 10639"/>
                <a:gd name="connsiteY111" fmla="*/ 8601 h 10001"/>
                <a:gd name="connsiteX112" fmla="*/ 8702 w 10639"/>
                <a:gd name="connsiteY112" fmla="*/ 8466 h 10001"/>
                <a:gd name="connsiteX113" fmla="*/ 8843 w 10639"/>
                <a:gd name="connsiteY113" fmla="*/ 8240 h 10001"/>
                <a:gd name="connsiteX114" fmla="*/ 9160 w 10639"/>
                <a:gd name="connsiteY114" fmla="*/ 8240 h 10001"/>
                <a:gd name="connsiteX115" fmla="*/ 9160 w 10639"/>
                <a:gd name="connsiteY115" fmla="*/ 7947 h 10001"/>
                <a:gd name="connsiteX116" fmla="*/ 8949 w 10639"/>
                <a:gd name="connsiteY116" fmla="*/ 7834 h 10001"/>
                <a:gd name="connsiteX117" fmla="*/ 9037 w 10639"/>
                <a:gd name="connsiteY117" fmla="*/ 7495 h 10001"/>
                <a:gd name="connsiteX118" fmla="*/ 8315 w 10639"/>
                <a:gd name="connsiteY118" fmla="*/ 6164 h 10001"/>
                <a:gd name="connsiteX119" fmla="*/ 8157 w 10639"/>
                <a:gd name="connsiteY119" fmla="*/ 5441 h 10001"/>
                <a:gd name="connsiteX120" fmla="*/ 8315 w 10639"/>
                <a:gd name="connsiteY120" fmla="*/ 4764 h 10001"/>
                <a:gd name="connsiteX121" fmla="*/ 7646 w 10639"/>
                <a:gd name="connsiteY121" fmla="*/ 4854 h 10001"/>
                <a:gd name="connsiteX122" fmla="*/ 7611 w 10639"/>
                <a:gd name="connsiteY122" fmla="*/ 4809 h 10001"/>
                <a:gd name="connsiteX123" fmla="*/ 7593 w 10639"/>
                <a:gd name="connsiteY123" fmla="*/ 4629 h 10001"/>
                <a:gd name="connsiteX124" fmla="*/ 7734 w 10639"/>
                <a:gd name="connsiteY124" fmla="*/ 4267 h 10001"/>
                <a:gd name="connsiteX125" fmla="*/ 9107 w 10639"/>
                <a:gd name="connsiteY125" fmla="*/ 3342 h 10001"/>
                <a:gd name="connsiteX126" fmla="*/ 9547 w 10639"/>
                <a:gd name="connsiteY126" fmla="*/ 3161 h 10001"/>
                <a:gd name="connsiteX127" fmla="*/ 9741 w 10639"/>
                <a:gd name="connsiteY127" fmla="*/ 3432 h 10001"/>
                <a:gd name="connsiteX128" fmla="*/ 9952 w 10639"/>
                <a:gd name="connsiteY128" fmla="*/ 3432 h 10001"/>
                <a:gd name="connsiteX129" fmla="*/ 10199 w 10639"/>
                <a:gd name="connsiteY129" fmla="*/ 3206 h 10001"/>
                <a:gd name="connsiteX130" fmla="*/ 10604 w 10639"/>
                <a:gd name="connsiteY130" fmla="*/ 3455 h 10001"/>
                <a:gd name="connsiteX131" fmla="*/ 10639 w 10639"/>
                <a:gd name="connsiteY131" fmla="*/ 2732 h 10001"/>
                <a:gd name="connsiteX132" fmla="*/ 10146 w 10639"/>
                <a:gd name="connsiteY132" fmla="*/ 2732 h 10001"/>
                <a:gd name="connsiteX0" fmla="*/ 10197 w 10690"/>
                <a:gd name="connsiteY0" fmla="*/ 2732 h 10001"/>
                <a:gd name="connsiteX1" fmla="*/ 10250 w 10690"/>
                <a:gd name="connsiteY1" fmla="*/ 2507 h 10001"/>
                <a:gd name="connsiteX2" fmla="*/ 10250 w 10690"/>
                <a:gd name="connsiteY2" fmla="*/ 2394 h 10001"/>
                <a:gd name="connsiteX3" fmla="*/ 9986 w 10690"/>
                <a:gd name="connsiteY3" fmla="*/ 2349 h 10001"/>
                <a:gd name="connsiteX4" fmla="*/ 9951 w 10690"/>
                <a:gd name="connsiteY4" fmla="*/ 2349 h 10001"/>
                <a:gd name="connsiteX5" fmla="*/ 9951 w 10690"/>
                <a:gd name="connsiteY5" fmla="*/ 2326 h 10001"/>
                <a:gd name="connsiteX6" fmla="*/ 9845 w 10690"/>
                <a:gd name="connsiteY6" fmla="*/ 1965 h 10001"/>
                <a:gd name="connsiteX7" fmla="*/ 9282 w 10690"/>
                <a:gd name="connsiteY7" fmla="*/ 1423 h 10001"/>
                <a:gd name="connsiteX8" fmla="*/ 9282 w 10690"/>
                <a:gd name="connsiteY8" fmla="*/ 1423 h 10001"/>
                <a:gd name="connsiteX9" fmla="*/ 9264 w 10690"/>
                <a:gd name="connsiteY9" fmla="*/ 1401 h 10001"/>
                <a:gd name="connsiteX10" fmla="*/ 9211 w 10690"/>
                <a:gd name="connsiteY10" fmla="*/ 1175 h 10001"/>
                <a:gd name="connsiteX11" fmla="*/ 8982 w 10690"/>
                <a:gd name="connsiteY11" fmla="*/ 407 h 10001"/>
                <a:gd name="connsiteX12" fmla="*/ 8824 w 10690"/>
                <a:gd name="connsiteY12" fmla="*/ 385 h 10001"/>
                <a:gd name="connsiteX13" fmla="*/ 8630 w 10690"/>
                <a:gd name="connsiteY13" fmla="*/ 520 h 10001"/>
                <a:gd name="connsiteX14" fmla="*/ 8630 w 10690"/>
                <a:gd name="connsiteY14" fmla="*/ 520 h 10001"/>
                <a:gd name="connsiteX15" fmla="*/ 8613 w 10690"/>
                <a:gd name="connsiteY15" fmla="*/ 520 h 10001"/>
                <a:gd name="connsiteX16" fmla="*/ 7644 w 10690"/>
                <a:gd name="connsiteY16" fmla="*/ 543 h 10001"/>
                <a:gd name="connsiteX17" fmla="*/ 7627 w 10690"/>
                <a:gd name="connsiteY17" fmla="*/ 543 h 10001"/>
                <a:gd name="connsiteX18" fmla="*/ 7609 w 10690"/>
                <a:gd name="connsiteY18" fmla="*/ 543 h 10001"/>
                <a:gd name="connsiteX19" fmla="*/ 7327 w 10690"/>
                <a:gd name="connsiteY19" fmla="*/ 136 h 10001"/>
                <a:gd name="connsiteX20" fmla="*/ 7116 w 10690"/>
                <a:gd name="connsiteY20" fmla="*/ 114 h 10001"/>
                <a:gd name="connsiteX21" fmla="*/ 6867 w 10690"/>
                <a:gd name="connsiteY21" fmla="*/ 49 h 10001"/>
                <a:gd name="connsiteX22" fmla="*/ 6799 w 10690"/>
                <a:gd name="connsiteY22" fmla="*/ 407 h 10001"/>
                <a:gd name="connsiteX23" fmla="*/ 6694 w 10690"/>
                <a:gd name="connsiteY23" fmla="*/ 520 h 10001"/>
                <a:gd name="connsiteX24" fmla="*/ 6676 w 10690"/>
                <a:gd name="connsiteY24" fmla="*/ 543 h 10001"/>
                <a:gd name="connsiteX25" fmla="*/ 6658 w 10690"/>
                <a:gd name="connsiteY25" fmla="*/ 543 h 10001"/>
                <a:gd name="connsiteX26" fmla="*/ 6377 w 10690"/>
                <a:gd name="connsiteY26" fmla="*/ 543 h 10001"/>
                <a:gd name="connsiteX27" fmla="*/ 6341 w 10690"/>
                <a:gd name="connsiteY27" fmla="*/ 543 h 10001"/>
                <a:gd name="connsiteX28" fmla="*/ 6341 w 10690"/>
                <a:gd name="connsiteY28" fmla="*/ 520 h 10001"/>
                <a:gd name="connsiteX29" fmla="*/ 6042 w 10690"/>
                <a:gd name="connsiteY29" fmla="*/ 159 h 10001"/>
                <a:gd name="connsiteX30" fmla="*/ 5919 w 10690"/>
                <a:gd name="connsiteY30" fmla="*/ 272 h 10001"/>
                <a:gd name="connsiteX31" fmla="*/ 5901 w 10690"/>
                <a:gd name="connsiteY31" fmla="*/ 272 h 10001"/>
                <a:gd name="connsiteX32" fmla="*/ 5901 w 10690"/>
                <a:gd name="connsiteY32" fmla="*/ 272 h 10001"/>
                <a:gd name="connsiteX33" fmla="*/ 5690 w 10690"/>
                <a:gd name="connsiteY33" fmla="*/ 317 h 10001"/>
                <a:gd name="connsiteX34" fmla="*/ 5672 w 10690"/>
                <a:gd name="connsiteY34" fmla="*/ 317 h 10001"/>
                <a:gd name="connsiteX35" fmla="*/ 5672 w 10690"/>
                <a:gd name="connsiteY35" fmla="*/ 294 h 10001"/>
                <a:gd name="connsiteX36" fmla="*/ 5444 w 10690"/>
                <a:gd name="connsiteY36" fmla="*/ 136 h 10001"/>
                <a:gd name="connsiteX37" fmla="*/ 5197 w 10690"/>
                <a:gd name="connsiteY37" fmla="*/ 1 h 10001"/>
                <a:gd name="connsiteX38" fmla="*/ 5074 w 10690"/>
                <a:gd name="connsiteY38" fmla="*/ 1 h 10001"/>
                <a:gd name="connsiteX39" fmla="*/ 4792 w 10690"/>
                <a:gd name="connsiteY39" fmla="*/ 136 h 10001"/>
                <a:gd name="connsiteX40" fmla="*/ 4475 w 10690"/>
                <a:gd name="connsiteY40" fmla="*/ 362 h 10001"/>
                <a:gd name="connsiteX41" fmla="*/ 4475 w 10690"/>
                <a:gd name="connsiteY41" fmla="*/ 362 h 10001"/>
                <a:gd name="connsiteX42" fmla="*/ 4458 w 10690"/>
                <a:gd name="connsiteY42" fmla="*/ 362 h 10001"/>
                <a:gd name="connsiteX43" fmla="*/ 4334 w 10690"/>
                <a:gd name="connsiteY43" fmla="*/ 407 h 10001"/>
                <a:gd name="connsiteX44" fmla="*/ 4264 w 10690"/>
                <a:gd name="connsiteY44" fmla="*/ 656 h 10001"/>
                <a:gd name="connsiteX45" fmla="*/ 4317 w 10690"/>
                <a:gd name="connsiteY45" fmla="*/ 723 h 10001"/>
                <a:gd name="connsiteX46" fmla="*/ 4317 w 10690"/>
                <a:gd name="connsiteY46" fmla="*/ 723 h 10001"/>
                <a:gd name="connsiteX47" fmla="*/ 4317 w 10690"/>
                <a:gd name="connsiteY47" fmla="*/ 746 h 10001"/>
                <a:gd name="connsiteX48" fmla="*/ 4334 w 10690"/>
                <a:gd name="connsiteY48" fmla="*/ 1288 h 10001"/>
                <a:gd name="connsiteX49" fmla="*/ 4352 w 10690"/>
                <a:gd name="connsiteY49" fmla="*/ 1491 h 10001"/>
                <a:gd name="connsiteX50" fmla="*/ 4064 w 10690"/>
                <a:gd name="connsiteY50" fmla="*/ 1589 h 10001"/>
                <a:gd name="connsiteX51" fmla="*/ 3913 w 10690"/>
                <a:gd name="connsiteY51" fmla="*/ 1540 h 10001"/>
                <a:gd name="connsiteX52" fmla="*/ 3652 w 10690"/>
                <a:gd name="connsiteY52" fmla="*/ 1558 h 10001"/>
                <a:gd name="connsiteX53" fmla="*/ 3500 w 10690"/>
                <a:gd name="connsiteY53" fmla="*/ 1437 h 10001"/>
                <a:gd name="connsiteX54" fmla="*/ 3230 w 10690"/>
                <a:gd name="connsiteY54" fmla="*/ 1619 h 10001"/>
                <a:gd name="connsiteX55" fmla="*/ 2526 w 10690"/>
                <a:gd name="connsiteY55" fmla="*/ 1135 h 10001"/>
                <a:gd name="connsiteX56" fmla="*/ 2181 w 10690"/>
                <a:gd name="connsiteY56" fmla="*/ 1215 h 10001"/>
                <a:gd name="connsiteX57" fmla="*/ 1832 w 10690"/>
                <a:gd name="connsiteY57" fmla="*/ 1446 h 10001"/>
                <a:gd name="connsiteX58" fmla="*/ 1557 w 10690"/>
                <a:gd name="connsiteY58" fmla="*/ 1756 h 10001"/>
                <a:gd name="connsiteX59" fmla="*/ 1250 w 10690"/>
                <a:gd name="connsiteY59" fmla="*/ 1644 h 10001"/>
                <a:gd name="connsiteX60" fmla="*/ 1071 w 10690"/>
                <a:gd name="connsiteY60" fmla="*/ 1773 h 10001"/>
                <a:gd name="connsiteX61" fmla="*/ 931 w 10690"/>
                <a:gd name="connsiteY61" fmla="*/ 2211 h 10001"/>
                <a:gd name="connsiteX62" fmla="*/ 659 w 10690"/>
                <a:gd name="connsiteY62" fmla="*/ 2699 h 10001"/>
                <a:gd name="connsiteX63" fmla="*/ 388 w 10690"/>
                <a:gd name="connsiteY63" fmla="*/ 3084 h 10001"/>
                <a:gd name="connsiteX64" fmla="*/ 227 w 10690"/>
                <a:gd name="connsiteY64" fmla="*/ 3419 h 10001"/>
                <a:gd name="connsiteX65" fmla="*/ 51 w 10690"/>
                <a:gd name="connsiteY65" fmla="*/ 3809 h 10001"/>
                <a:gd name="connsiteX66" fmla="*/ 118 w 10690"/>
                <a:gd name="connsiteY66" fmla="*/ 3954 h 10001"/>
                <a:gd name="connsiteX67" fmla="*/ 35 w 10690"/>
                <a:gd name="connsiteY67" fmla="*/ 4333 h 10001"/>
                <a:gd name="connsiteX68" fmla="*/ 813 w 10690"/>
                <a:gd name="connsiteY68" fmla="*/ 4154 h 10001"/>
                <a:gd name="connsiteX69" fmla="*/ 690 w 10690"/>
                <a:gd name="connsiteY69" fmla="*/ 4425 h 10001"/>
                <a:gd name="connsiteX70" fmla="*/ 708 w 10690"/>
                <a:gd name="connsiteY70" fmla="*/ 4832 h 10001"/>
                <a:gd name="connsiteX71" fmla="*/ 743 w 10690"/>
                <a:gd name="connsiteY71" fmla="*/ 5464 h 10001"/>
                <a:gd name="connsiteX72" fmla="*/ 778 w 10690"/>
                <a:gd name="connsiteY72" fmla="*/ 5464 h 10001"/>
                <a:gd name="connsiteX73" fmla="*/ 848 w 10690"/>
                <a:gd name="connsiteY73" fmla="*/ 5644 h 10001"/>
                <a:gd name="connsiteX74" fmla="*/ 1271 w 10690"/>
                <a:gd name="connsiteY74" fmla="*/ 6096 h 10001"/>
                <a:gd name="connsiteX75" fmla="*/ 1271 w 10690"/>
                <a:gd name="connsiteY75" fmla="*/ 6118 h 10001"/>
                <a:gd name="connsiteX76" fmla="*/ 1271 w 10690"/>
                <a:gd name="connsiteY76" fmla="*/ 6118 h 10001"/>
                <a:gd name="connsiteX77" fmla="*/ 1341 w 10690"/>
                <a:gd name="connsiteY77" fmla="*/ 6547 h 10001"/>
                <a:gd name="connsiteX78" fmla="*/ 2222 w 10690"/>
                <a:gd name="connsiteY78" fmla="*/ 7112 h 10001"/>
                <a:gd name="connsiteX79" fmla="*/ 2239 w 10690"/>
                <a:gd name="connsiteY79" fmla="*/ 7112 h 10001"/>
                <a:gd name="connsiteX80" fmla="*/ 2239 w 10690"/>
                <a:gd name="connsiteY80" fmla="*/ 7134 h 10001"/>
                <a:gd name="connsiteX81" fmla="*/ 2415 w 10690"/>
                <a:gd name="connsiteY81" fmla="*/ 8173 h 10001"/>
                <a:gd name="connsiteX82" fmla="*/ 2767 w 10690"/>
                <a:gd name="connsiteY82" fmla="*/ 9053 h 10001"/>
                <a:gd name="connsiteX83" fmla="*/ 2891 w 10690"/>
                <a:gd name="connsiteY83" fmla="*/ 9324 h 10001"/>
                <a:gd name="connsiteX84" fmla="*/ 2891 w 10690"/>
                <a:gd name="connsiteY84" fmla="*/ 9324 h 10001"/>
                <a:gd name="connsiteX85" fmla="*/ 2891 w 10690"/>
                <a:gd name="connsiteY85" fmla="*/ 9346 h 10001"/>
                <a:gd name="connsiteX86" fmla="*/ 2873 w 10690"/>
                <a:gd name="connsiteY86" fmla="*/ 9933 h 10001"/>
                <a:gd name="connsiteX87" fmla="*/ 3014 w 10690"/>
                <a:gd name="connsiteY87" fmla="*/ 9933 h 10001"/>
                <a:gd name="connsiteX88" fmla="*/ 3120 w 10690"/>
                <a:gd name="connsiteY88" fmla="*/ 9662 h 10001"/>
                <a:gd name="connsiteX89" fmla="*/ 4053 w 10690"/>
                <a:gd name="connsiteY89" fmla="*/ 9662 h 10001"/>
                <a:gd name="connsiteX90" fmla="*/ 4334 w 10690"/>
                <a:gd name="connsiteY90" fmla="*/ 9437 h 10001"/>
                <a:gd name="connsiteX91" fmla="*/ 4651 w 10690"/>
                <a:gd name="connsiteY91" fmla="*/ 9346 h 10001"/>
                <a:gd name="connsiteX92" fmla="*/ 4968 w 10690"/>
                <a:gd name="connsiteY92" fmla="*/ 9504 h 10001"/>
                <a:gd name="connsiteX93" fmla="*/ 5179 w 10690"/>
                <a:gd name="connsiteY93" fmla="*/ 9437 h 10001"/>
                <a:gd name="connsiteX94" fmla="*/ 6130 w 10690"/>
                <a:gd name="connsiteY94" fmla="*/ 9369 h 10001"/>
                <a:gd name="connsiteX95" fmla="*/ 6482 w 10690"/>
                <a:gd name="connsiteY95" fmla="*/ 9211 h 10001"/>
                <a:gd name="connsiteX96" fmla="*/ 6641 w 10690"/>
                <a:gd name="connsiteY96" fmla="*/ 9369 h 10001"/>
                <a:gd name="connsiteX97" fmla="*/ 7292 w 10690"/>
                <a:gd name="connsiteY97" fmla="*/ 9324 h 10001"/>
                <a:gd name="connsiteX98" fmla="*/ 7433 w 10690"/>
                <a:gd name="connsiteY98" fmla="*/ 9572 h 10001"/>
                <a:gd name="connsiteX99" fmla="*/ 7609 w 10690"/>
                <a:gd name="connsiteY99" fmla="*/ 9775 h 10001"/>
                <a:gd name="connsiteX100" fmla="*/ 8172 w 10690"/>
                <a:gd name="connsiteY100" fmla="*/ 9730 h 10001"/>
                <a:gd name="connsiteX101" fmla="*/ 8348 w 10690"/>
                <a:gd name="connsiteY101" fmla="*/ 9866 h 10001"/>
                <a:gd name="connsiteX102" fmla="*/ 8454 w 10690"/>
                <a:gd name="connsiteY102" fmla="*/ 9911 h 10001"/>
                <a:gd name="connsiteX103" fmla="*/ 8525 w 10690"/>
                <a:gd name="connsiteY103" fmla="*/ 9978 h 10001"/>
                <a:gd name="connsiteX104" fmla="*/ 8630 w 10690"/>
                <a:gd name="connsiteY104" fmla="*/ 10001 h 10001"/>
                <a:gd name="connsiteX105" fmla="*/ 8806 w 10690"/>
                <a:gd name="connsiteY105" fmla="*/ 9933 h 10001"/>
                <a:gd name="connsiteX106" fmla="*/ 8753 w 10690"/>
                <a:gd name="connsiteY106" fmla="*/ 9617 h 10001"/>
                <a:gd name="connsiteX107" fmla="*/ 8577 w 10690"/>
                <a:gd name="connsiteY107" fmla="*/ 9392 h 10001"/>
                <a:gd name="connsiteX108" fmla="*/ 8577 w 10690"/>
                <a:gd name="connsiteY108" fmla="*/ 9008 h 10001"/>
                <a:gd name="connsiteX109" fmla="*/ 8753 w 10690"/>
                <a:gd name="connsiteY109" fmla="*/ 8872 h 10001"/>
                <a:gd name="connsiteX110" fmla="*/ 8965 w 10690"/>
                <a:gd name="connsiteY110" fmla="*/ 8692 h 10001"/>
                <a:gd name="connsiteX111" fmla="*/ 8841 w 10690"/>
                <a:gd name="connsiteY111" fmla="*/ 8601 h 10001"/>
                <a:gd name="connsiteX112" fmla="*/ 8753 w 10690"/>
                <a:gd name="connsiteY112" fmla="*/ 8466 h 10001"/>
                <a:gd name="connsiteX113" fmla="*/ 8894 w 10690"/>
                <a:gd name="connsiteY113" fmla="*/ 8240 h 10001"/>
                <a:gd name="connsiteX114" fmla="*/ 9211 w 10690"/>
                <a:gd name="connsiteY114" fmla="*/ 8240 h 10001"/>
                <a:gd name="connsiteX115" fmla="*/ 9211 w 10690"/>
                <a:gd name="connsiteY115" fmla="*/ 7947 h 10001"/>
                <a:gd name="connsiteX116" fmla="*/ 9000 w 10690"/>
                <a:gd name="connsiteY116" fmla="*/ 7834 h 10001"/>
                <a:gd name="connsiteX117" fmla="*/ 9088 w 10690"/>
                <a:gd name="connsiteY117" fmla="*/ 7495 h 10001"/>
                <a:gd name="connsiteX118" fmla="*/ 8366 w 10690"/>
                <a:gd name="connsiteY118" fmla="*/ 6164 h 10001"/>
                <a:gd name="connsiteX119" fmla="*/ 8208 w 10690"/>
                <a:gd name="connsiteY119" fmla="*/ 5441 h 10001"/>
                <a:gd name="connsiteX120" fmla="*/ 8366 w 10690"/>
                <a:gd name="connsiteY120" fmla="*/ 4764 h 10001"/>
                <a:gd name="connsiteX121" fmla="*/ 7697 w 10690"/>
                <a:gd name="connsiteY121" fmla="*/ 4854 h 10001"/>
                <a:gd name="connsiteX122" fmla="*/ 7662 w 10690"/>
                <a:gd name="connsiteY122" fmla="*/ 4809 h 10001"/>
                <a:gd name="connsiteX123" fmla="*/ 7644 w 10690"/>
                <a:gd name="connsiteY123" fmla="*/ 4629 h 10001"/>
                <a:gd name="connsiteX124" fmla="*/ 7785 w 10690"/>
                <a:gd name="connsiteY124" fmla="*/ 4267 h 10001"/>
                <a:gd name="connsiteX125" fmla="*/ 9158 w 10690"/>
                <a:gd name="connsiteY125" fmla="*/ 3342 h 10001"/>
                <a:gd name="connsiteX126" fmla="*/ 9598 w 10690"/>
                <a:gd name="connsiteY126" fmla="*/ 3161 h 10001"/>
                <a:gd name="connsiteX127" fmla="*/ 9792 w 10690"/>
                <a:gd name="connsiteY127" fmla="*/ 3432 h 10001"/>
                <a:gd name="connsiteX128" fmla="*/ 10003 w 10690"/>
                <a:gd name="connsiteY128" fmla="*/ 3432 h 10001"/>
                <a:gd name="connsiteX129" fmla="*/ 10250 w 10690"/>
                <a:gd name="connsiteY129" fmla="*/ 3206 h 10001"/>
                <a:gd name="connsiteX130" fmla="*/ 10655 w 10690"/>
                <a:gd name="connsiteY130" fmla="*/ 3455 h 10001"/>
                <a:gd name="connsiteX131" fmla="*/ 10690 w 10690"/>
                <a:gd name="connsiteY131" fmla="*/ 2732 h 10001"/>
                <a:gd name="connsiteX132" fmla="*/ 10197 w 10690"/>
                <a:gd name="connsiteY132" fmla="*/ 2732 h 10001"/>
                <a:gd name="connsiteX0" fmla="*/ 10197 w 10690"/>
                <a:gd name="connsiteY0" fmla="*/ 2732 h 10001"/>
                <a:gd name="connsiteX1" fmla="*/ 10250 w 10690"/>
                <a:gd name="connsiteY1" fmla="*/ 2507 h 10001"/>
                <a:gd name="connsiteX2" fmla="*/ 10250 w 10690"/>
                <a:gd name="connsiteY2" fmla="*/ 2394 h 10001"/>
                <a:gd name="connsiteX3" fmla="*/ 9986 w 10690"/>
                <a:gd name="connsiteY3" fmla="*/ 2349 h 10001"/>
                <a:gd name="connsiteX4" fmla="*/ 9951 w 10690"/>
                <a:gd name="connsiteY4" fmla="*/ 2349 h 10001"/>
                <a:gd name="connsiteX5" fmla="*/ 9951 w 10690"/>
                <a:gd name="connsiteY5" fmla="*/ 2326 h 10001"/>
                <a:gd name="connsiteX6" fmla="*/ 9845 w 10690"/>
                <a:gd name="connsiteY6" fmla="*/ 1965 h 10001"/>
                <a:gd name="connsiteX7" fmla="*/ 9282 w 10690"/>
                <a:gd name="connsiteY7" fmla="*/ 1423 h 10001"/>
                <a:gd name="connsiteX8" fmla="*/ 9282 w 10690"/>
                <a:gd name="connsiteY8" fmla="*/ 1423 h 10001"/>
                <a:gd name="connsiteX9" fmla="*/ 9264 w 10690"/>
                <a:gd name="connsiteY9" fmla="*/ 1401 h 10001"/>
                <a:gd name="connsiteX10" fmla="*/ 9211 w 10690"/>
                <a:gd name="connsiteY10" fmla="*/ 1175 h 10001"/>
                <a:gd name="connsiteX11" fmla="*/ 8982 w 10690"/>
                <a:gd name="connsiteY11" fmla="*/ 407 h 10001"/>
                <a:gd name="connsiteX12" fmla="*/ 8824 w 10690"/>
                <a:gd name="connsiteY12" fmla="*/ 385 h 10001"/>
                <a:gd name="connsiteX13" fmla="*/ 8630 w 10690"/>
                <a:gd name="connsiteY13" fmla="*/ 520 h 10001"/>
                <a:gd name="connsiteX14" fmla="*/ 8630 w 10690"/>
                <a:gd name="connsiteY14" fmla="*/ 520 h 10001"/>
                <a:gd name="connsiteX15" fmla="*/ 8613 w 10690"/>
                <a:gd name="connsiteY15" fmla="*/ 520 h 10001"/>
                <a:gd name="connsiteX16" fmla="*/ 7644 w 10690"/>
                <a:gd name="connsiteY16" fmla="*/ 543 h 10001"/>
                <a:gd name="connsiteX17" fmla="*/ 7627 w 10690"/>
                <a:gd name="connsiteY17" fmla="*/ 543 h 10001"/>
                <a:gd name="connsiteX18" fmla="*/ 7609 w 10690"/>
                <a:gd name="connsiteY18" fmla="*/ 543 h 10001"/>
                <a:gd name="connsiteX19" fmla="*/ 7327 w 10690"/>
                <a:gd name="connsiteY19" fmla="*/ 136 h 10001"/>
                <a:gd name="connsiteX20" fmla="*/ 7116 w 10690"/>
                <a:gd name="connsiteY20" fmla="*/ 114 h 10001"/>
                <a:gd name="connsiteX21" fmla="*/ 6867 w 10690"/>
                <a:gd name="connsiteY21" fmla="*/ 49 h 10001"/>
                <a:gd name="connsiteX22" fmla="*/ 6799 w 10690"/>
                <a:gd name="connsiteY22" fmla="*/ 407 h 10001"/>
                <a:gd name="connsiteX23" fmla="*/ 6694 w 10690"/>
                <a:gd name="connsiteY23" fmla="*/ 520 h 10001"/>
                <a:gd name="connsiteX24" fmla="*/ 6676 w 10690"/>
                <a:gd name="connsiteY24" fmla="*/ 543 h 10001"/>
                <a:gd name="connsiteX25" fmla="*/ 6658 w 10690"/>
                <a:gd name="connsiteY25" fmla="*/ 543 h 10001"/>
                <a:gd name="connsiteX26" fmla="*/ 6377 w 10690"/>
                <a:gd name="connsiteY26" fmla="*/ 543 h 10001"/>
                <a:gd name="connsiteX27" fmla="*/ 6341 w 10690"/>
                <a:gd name="connsiteY27" fmla="*/ 543 h 10001"/>
                <a:gd name="connsiteX28" fmla="*/ 6341 w 10690"/>
                <a:gd name="connsiteY28" fmla="*/ 520 h 10001"/>
                <a:gd name="connsiteX29" fmla="*/ 6042 w 10690"/>
                <a:gd name="connsiteY29" fmla="*/ 159 h 10001"/>
                <a:gd name="connsiteX30" fmla="*/ 5919 w 10690"/>
                <a:gd name="connsiteY30" fmla="*/ 272 h 10001"/>
                <a:gd name="connsiteX31" fmla="*/ 5901 w 10690"/>
                <a:gd name="connsiteY31" fmla="*/ 272 h 10001"/>
                <a:gd name="connsiteX32" fmla="*/ 5901 w 10690"/>
                <a:gd name="connsiteY32" fmla="*/ 272 h 10001"/>
                <a:gd name="connsiteX33" fmla="*/ 5690 w 10690"/>
                <a:gd name="connsiteY33" fmla="*/ 317 h 10001"/>
                <a:gd name="connsiteX34" fmla="*/ 5672 w 10690"/>
                <a:gd name="connsiteY34" fmla="*/ 317 h 10001"/>
                <a:gd name="connsiteX35" fmla="*/ 5672 w 10690"/>
                <a:gd name="connsiteY35" fmla="*/ 294 h 10001"/>
                <a:gd name="connsiteX36" fmla="*/ 5444 w 10690"/>
                <a:gd name="connsiteY36" fmla="*/ 136 h 10001"/>
                <a:gd name="connsiteX37" fmla="*/ 5197 w 10690"/>
                <a:gd name="connsiteY37" fmla="*/ 1 h 10001"/>
                <a:gd name="connsiteX38" fmla="*/ 5074 w 10690"/>
                <a:gd name="connsiteY38" fmla="*/ 1 h 10001"/>
                <a:gd name="connsiteX39" fmla="*/ 4792 w 10690"/>
                <a:gd name="connsiteY39" fmla="*/ 136 h 10001"/>
                <a:gd name="connsiteX40" fmla="*/ 4475 w 10690"/>
                <a:gd name="connsiteY40" fmla="*/ 362 h 10001"/>
                <a:gd name="connsiteX41" fmla="*/ 4475 w 10690"/>
                <a:gd name="connsiteY41" fmla="*/ 362 h 10001"/>
                <a:gd name="connsiteX42" fmla="*/ 4458 w 10690"/>
                <a:gd name="connsiteY42" fmla="*/ 362 h 10001"/>
                <a:gd name="connsiteX43" fmla="*/ 4334 w 10690"/>
                <a:gd name="connsiteY43" fmla="*/ 407 h 10001"/>
                <a:gd name="connsiteX44" fmla="*/ 4264 w 10690"/>
                <a:gd name="connsiteY44" fmla="*/ 656 h 10001"/>
                <a:gd name="connsiteX45" fmla="*/ 4317 w 10690"/>
                <a:gd name="connsiteY45" fmla="*/ 723 h 10001"/>
                <a:gd name="connsiteX46" fmla="*/ 4317 w 10690"/>
                <a:gd name="connsiteY46" fmla="*/ 723 h 10001"/>
                <a:gd name="connsiteX47" fmla="*/ 4317 w 10690"/>
                <a:gd name="connsiteY47" fmla="*/ 746 h 10001"/>
                <a:gd name="connsiteX48" fmla="*/ 4334 w 10690"/>
                <a:gd name="connsiteY48" fmla="*/ 1288 h 10001"/>
                <a:gd name="connsiteX49" fmla="*/ 4352 w 10690"/>
                <a:gd name="connsiteY49" fmla="*/ 1491 h 10001"/>
                <a:gd name="connsiteX50" fmla="*/ 4064 w 10690"/>
                <a:gd name="connsiteY50" fmla="*/ 1589 h 10001"/>
                <a:gd name="connsiteX51" fmla="*/ 3913 w 10690"/>
                <a:gd name="connsiteY51" fmla="*/ 1540 h 10001"/>
                <a:gd name="connsiteX52" fmla="*/ 3652 w 10690"/>
                <a:gd name="connsiteY52" fmla="*/ 1558 h 10001"/>
                <a:gd name="connsiteX53" fmla="*/ 3500 w 10690"/>
                <a:gd name="connsiteY53" fmla="*/ 1437 h 10001"/>
                <a:gd name="connsiteX54" fmla="*/ 3230 w 10690"/>
                <a:gd name="connsiteY54" fmla="*/ 1619 h 10001"/>
                <a:gd name="connsiteX55" fmla="*/ 2526 w 10690"/>
                <a:gd name="connsiteY55" fmla="*/ 1135 h 10001"/>
                <a:gd name="connsiteX56" fmla="*/ 2181 w 10690"/>
                <a:gd name="connsiteY56" fmla="*/ 1215 h 10001"/>
                <a:gd name="connsiteX57" fmla="*/ 1832 w 10690"/>
                <a:gd name="connsiteY57" fmla="*/ 1446 h 10001"/>
                <a:gd name="connsiteX58" fmla="*/ 1557 w 10690"/>
                <a:gd name="connsiteY58" fmla="*/ 1756 h 10001"/>
                <a:gd name="connsiteX59" fmla="*/ 1250 w 10690"/>
                <a:gd name="connsiteY59" fmla="*/ 1644 h 10001"/>
                <a:gd name="connsiteX60" fmla="*/ 1071 w 10690"/>
                <a:gd name="connsiteY60" fmla="*/ 1773 h 10001"/>
                <a:gd name="connsiteX61" fmla="*/ 931 w 10690"/>
                <a:gd name="connsiteY61" fmla="*/ 2211 h 10001"/>
                <a:gd name="connsiteX62" fmla="*/ 659 w 10690"/>
                <a:gd name="connsiteY62" fmla="*/ 2699 h 10001"/>
                <a:gd name="connsiteX63" fmla="*/ 388 w 10690"/>
                <a:gd name="connsiteY63" fmla="*/ 3084 h 10001"/>
                <a:gd name="connsiteX64" fmla="*/ 227 w 10690"/>
                <a:gd name="connsiteY64" fmla="*/ 3419 h 10001"/>
                <a:gd name="connsiteX65" fmla="*/ 51 w 10690"/>
                <a:gd name="connsiteY65" fmla="*/ 3809 h 10001"/>
                <a:gd name="connsiteX66" fmla="*/ 118 w 10690"/>
                <a:gd name="connsiteY66" fmla="*/ 3954 h 10001"/>
                <a:gd name="connsiteX67" fmla="*/ 35 w 10690"/>
                <a:gd name="connsiteY67" fmla="*/ 4333 h 10001"/>
                <a:gd name="connsiteX68" fmla="*/ 220 w 10690"/>
                <a:gd name="connsiteY68" fmla="*/ 4448 h 10001"/>
                <a:gd name="connsiteX69" fmla="*/ 690 w 10690"/>
                <a:gd name="connsiteY69" fmla="*/ 4425 h 10001"/>
                <a:gd name="connsiteX70" fmla="*/ 708 w 10690"/>
                <a:gd name="connsiteY70" fmla="*/ 4832 h 10001"/>
                <a:gd name="connsiteX71" fmla="*/ 743 w 10690"/>
                <a:gd name="connsiteY71" fmla="*/ 5464 h 10001"/>
                <a:gd name="connsiteX72" fmla="*/ 778 w 10690"/>
                <a:gd name="connsiteY72" fmla="*/ 5464 h 10001"/>
                <a:gd name="connsiteX73" fmla="*/ 848 w 10690"/>
                <a:gd name="connsiteY73" fmla="*/ 5644 h 10001"/>
                <a:gd name="connsiteX74" fmla="*/ 1271 w 10690"/>
                <a:gd name="connsiteY74" fmla="*/ 6096 h 10001"/>
                <a:gd name="connsiteX75" fmla="*/ 1271 w 10690"/>
                <a:gd name="connsiteY75" fmla="*/ 6118 h 10001"/>
                <a:gd name="connsiteX76" fmla="*/ 1271 w 10690"/>
                <a:gd name="connsiteY76" fmla="*/ 6118 h 10001"/>
                <a:gd name="connsiteX77" fmla="*/ 1341 w 10690"/>
                <a:gd name="connsiteY77" fmla="*/ 6547 h 10001"/>
                <a:gd name="connsiteX78" fmla="*/ 2222 w 10690"/>
                <a:gd name="connsiteY78" fmla="*/ 7112 h 10001"/>
                <a:gd name="connsiteX79" fmla="*/ 2239 w 10690"/>
                <a:gd name="connsiteY79" fmla="*/ 7112 h 10001"/>
                <a:gd name="connsiteX80" fmla="*/ 2239 w 10690"/>
                <a:gd name="connsiteY80" fmla="*/ 7134 h 10001"/>
                <a:gd name="connsiteX81" fmla="*/ 2415 w 10690"/>
                <a:gd name="connsiteY81" fmla="*/ 8173 h 10001"/>
                <a:gd name="connsiteX82" fmla="*/ 2767 w 10690"/>
                <a:gd name="connsiteY82" fmla="*/ 9053 h 10001"/>
                <a:gd name="connsiteX83" fmla="*/ 2891 w 10690"/>
                <a:gd name="connsiteY83" fmla="*/ 9324 h 10001"/>
                <a:gd name="connsiteX84" fmla="*/ 2891 w 10690"/>
                <a:gd name="connsiteY84" fmla="*/ 9324 h 10001"/>
                <a:gd name="connsiteX85" fmla="*/ 2891 w 10690"/>
                <a:gd name="connsiteY85" fmla="*/ 9346 h 10001"/>
                <a:gd name="connsiteX86" fmla="*/ 2873 w 10690"/>
                <a:gd name="connsiteY86" fmla="*/ 9933 h 10001"/>
                <a:gd name="connsiteX87" fmla="*/ 3014 w 10690"/>
                <a:gd name="connsiteY87" fmla="*/ 9933 h 10001"/>
                <a:gd name="connsiteX88" fmla="*/ 3120 w 10690"/>
                <a:gd name="connsiteY88" fmla="*/ 9662 h 10001"/>
                <a:gd name="connsiteX89" fmla="*/ 4053 w 10690"/>
                <a:gd name="connsiteY89" fmla="*/ 9662 h 10001"/>
                <a:gd name="connsiteX90" fmla="*/ 4334 w 10690"/>
                <a:gd name="connsiteY90" fmla="*/ 9437 h 10001"/>
                <a:gd name="connsiteX91" fmla="*/ 4651 w 10690"/>
                <a:gd name="connsiteY91" fmla="*/ 9346 h 10001"/>
                <a:gd name="connsiteX92" fmla="*/ 4968 w 10690"/>
                <a:gd name="connsiteY92" fmla="*/ 9504 h 10001"/>
                <a:gd name="connsiteX93" fmla="*/ 5179 w 10690"/>
                <a:gd name="connsiteY93" fmla="*/ 9437 h 10001"/>
                <a:gd name="connsiteX94" fmla="*/ 6130 w 10690"/>
                <a:gd name="connsiteY94" fmla="*/ 9369 h 10001"/>
                <a:gd name="connsiteX95" fmla="*/ 6482 w 10690"/>
                <a:gd name="connsiteY95" fmla="*/ 9211 h 10001"/>
                <a:gd name="connsiteX96" fmla="*/ 6641 w 10690"/>
                <a:gd name="connsiteY96" fmla="*/ 9369 h 10001"/>
                <a:gd name="connsiteX97" fmla="*/ 7292 w 10690"/>
                <a:gd name="connsiteY97" fmla="*/ 9324 h 10001"/>
                <a:gd name="connsiteX98" fmla="*/ 7433 w 10690"/>
                <a:gd name="connsiteY98" fmla="*/ 9572 h 10001"/>
                <a:gd name="connsiteX99" fmla="*/ 7609 w 10690"/>
                <a:gd name="connsiteY99" fmla="*/ 9775 h 10001"/>
                <a:gd name="connsiteX100" fmla="*/ 8172 w 10690"/>
                <a:gd name="connsiteY100" fmla="*/ 9730 h 10001"/>
                <a:gd name="connsiteX101" fmla="*/ 8348 w 10690"/>
                <a:gd name="connsiteY101" fmla="*/ 9866 h 10001"/>
                <a:gd name="connsiteX102" fmla="*/ 8454 w 10690"/>
                <a:gd name="connsiteY102" fmla="*/ 9911 h 10001"/>
                <a:gd name="connsiteX103" fmla="*/ 8525 w 10690"/>
                <a:gd name="connsiteY103" fmla="*/ 9978 h 10001"/>
                <a:gd name="connsiteX104" fmla="*/ 8630 w 10690"/>
                <a:gd name="connsiteY104" fmla="*/ 10001 h 10001"/>
                <a:gd name="connsiteX105" fmla="*/ 8806 w 10690"/>
                <a:gd name="connsiteY105" fmla="*/ 9933 h 10001"/>
                <a:gd name="connsiteX106" fmla="*/ 8753 w 10690"/>
                <a:gd name="connsiteY106" fmla="*/ 9617 h 10001"/>
                <a:gd name="connsiteX107" fmla="*/ 8577 w 10690"/>
                <a:gd name="connsiteY107" fmla="*/ 9392 h 10001"/>
                <a:gd name="connsiteX108" fmla="*/ 8577 w 10690"/>
                <a:gd name="connsiteY108" fmla="*/ 9008 h 10001"/>
                <a:gd name="connsiteX109" fmla="*/ 8753 w 10690"/>
                <a:gd name="connsiteY109" fmla="*/ 8872 h 10001"/>
                <a:gd name="connsiteX110" fmla="*/ 8965 w 10690"/>
                <a:gd name="connsiteY110" fmla="*/ 8692 h 10001"/>
                <a:gd name="connsiteX111" fmla="*/ 8841 w 10690"/>
                <a:gd name="connsiteY111" fmla="*/ 8601 h 10001"/>
                <a:gd name="connsiteX112" fmla="*/ 8753 w 10690"/>
                <a:gd name="connsiteY112" fmla="*/ 8466 h 10001"/>
                <a:gd name="connsiteX113" fmla="*/ 8894 w 10690"/>
                <a:gd name="connsiteY113" fmla="*/ 8240 h 10001"/>
                <a:gd name="connsiteX114" fmla="*/ 9211 w 10690"/>
                <a:gd name="connsiteY114" fmla="*/ 8240 h 10001"/>
                <a:gd name="connsiteX115" fmla="*/ 9211 w 10690"/>
                <a:gd name="connsiteY115" fmla="*/ 7947 h 10001"/>
                <a:gd name="connsiteX116" fmla="*/ 9000 w 10690"/>
                <a:gd name="connsiteY116" fmla="*/ 7834 h 10001"/>
                <a:gd name="connsiteX117" fmla="*/ 9088 w 10690"/>
                <a:gd name="connsiteY117" fmla="*/ 7495 h 10001"/>
                <a:gd name="connsiteX118" fmla="*/ 8366 w 10690"/>
                <a:gd name="connsiteY118" fmla="*/ 6164 h 10001"/>
                <a:gd name="connsiteX119" fmla="*/ 8208 w 10690"/>
                <a:gd name="connsiteY119" fmla="*/ 5441 h 10001"/>
                <a:gd name="connsiteX120" fmla="*/ 8366 w 10690"/>
                <a:gd name="connsiteY120" fmla="*/ 4764 h 10001"/>
                <a:gd name="connsiteX121" fmla="*/ 7697 w 10690"/>
                <a:gd name="connsiteY121" fmla="*/ 4854 h 10001"/>
                <a:gd name="connsiteX122" fmla="*/ 7662 w 10690"/>
                <a:gd name="connsiteY122" fmla="*/ 4809 h 10001"/>
                <a:gd name="connsiteX123" fmla="*/ 7644 w 10690"/>
                <a:gd name="connsiteY123" fmla="*/ 4629 h 10001"/>
                <a:gd name="connsiteX124" fmla="*/ 7785 w 10690"/>
                <a:gd name="connsiteY124" fmla="*/ 4267 h 10001"/>
                <a:gd name="connsiteX125" fmla="*/ 9158 w 10690"/>
                <a:gd name="connsiteY125" fmla="*/ 3342 h 10001"/>
                <a:gd name="connsiteX126" fmla="*/ 9598 w 10690"/>
                <a:gd name="connsiteY126" fmla="*/ 3161 h 10001"/>
                <a:gd name="connsiteX127" fmla="*/ 9792 w 10690"/>
                <a:gd name="connsiteY127" fmla="*/ 3432 h 10001"/>
                <a:gd name="connsiteX128" fmla="*/ 10003 w 10690"/>
                <a:gd name="connsiteY128" fmla="*/ 3432 h 10001"/>
                <a:gd name="connsiteX129" fmla="*/ 10250 w 10690"/>
                <a:gd name="connsiteY129" fmla="*/ 3206 h 10001"/>
                <a:gd name="connsiteX130" fmla="*/ 10655 w 10690"/>
                <a:gd name="connsiteY130" fmla="*/ 3455 h 10001"/>
                <a:gd name="connsiteX131" fmla="*/ 10690 w 10690"/>
                <a:gd name="connsiteY131" fmla="*/ 2732 h 10001"/>
                <a:gd name="connsiteX132" fmla="*/ 10197 w 10690"/>
                <a:gd name="connsiteY132" fmla="*/ 2732 h 10001"/>
                <a:gd name="connsiteX0" fmla="*/ 10197 w 10690"/>
                <a:gd name="connsiteY0" fmla="*/ 2732 h 10001"/>
                <a:gd name="connsiteX1" fmla="*/ 10250 w 10690"/>
                <a:gd name="connsiteY1" fmla="*/ 2507 h 10001"/>
                <a:gd name="connsiteX2" fmla="*/ 10250 w 10690"/>
                <a:gd name="connsiteY2" fmla="*/ 2394 h 10001"/>
                <a:gd name="connsiteX3" fmla="*/ 9986 w 10690"/>
                <a:gd name="connsiteY3" fmla="*/ 2349 h 10001"/>
                <a:gd name="connsiteX4" fmla="*/ 9951 w 10690"/>
                <a:gd name="connsiteY4" fmla="*/ 2349 h 10001"/>
                <a:gd name="connsiteX5" fmla="*/ 9951 w 10690"/>
                <a:gd name="connsiteY5" fmla="*/ 2326 h 10001"/>
                <a:gd name="connsiteX6" fmla="*/ 9845 w 10690"/>
                <a:gd name="connsiteY6" fmla="*/ 1965 h 10001"/>
                <a:gd name="connsiteX7" fmla="*/ 9282 w 10690"/>
                <a:gd name="connsiteY7" fmla="*/ 1423 h 10001"/>
                <a:gd name="connsiteX8" fmla="*/ 9282 w 10690"/>
                <a:gd name="connsiteY8" fmla="*/ 1423 h 10001"/>
                <a:gd name="connsiteX9" fmla="*/ 9264 w 10690"/>
                <a:gd name="connsiteY9" fmla="*/ 1401 h 10001"/>
                <a:gd name="connsiteX10" fmla="*/ 9211 w 10690"/>
                <a:gd name="connsiteY10" fmla="*/ 1175 h 10001"/>
                <a:gd name="connsiteX11" fmla="*/ 8982 w 10690"/>
                <a:gd name="connsiteY11" fmla="*/ 407 h 10001"/>
                <a:gd name="connsiteX12" fmla="*/ 8824 w 10690"/>
                <a:gd name="connsiteY12" fmla="*/ 385 h 10001"/>
                <a:gd name="connsiteX13" fmla="*/ 8630 w 10690"/>
                <a:gd name="connsiteY13" fmla="*/ 520 h 10001"/>
                <a:gd name="connsiteX14" fmla="*/ 8630 w 10690"/>
                <a:gd name="connsiteY14" fmla="*/ 520 h 10001"/>
                <a:gd name="connsiteX15" fmla="*/ 8613 w 10690"/>
                <a:gd name="connsiteY15" fmla="*/ 520 h 10001"/>
                <a:gd name="connsiteX16" fmla="*/ 7644 w 10690"/>
                <a:gd name="connsiteY16" fmla="*/ 543 h 10001"/>
                <a:gd name="connsiteX17" fmla="*/ 7627 w 10690"/>
                <a:gd name="connsiteY17" fmla="*/ 543 h 10001"/>
                <a:gd name="connsiteX18" fmla="*/ 7609 w 10690"/>
                <a:gd name="connsiteY18" fmla="*/ 543 h 10001"/>
                <a:gd name="connsiteX19" fmla="*/ 7327 w 10690"/>
                <a:gd name="connsiteY19" fmla="*/ 136 h 10001"/>
                <a:gd name="connsiteX20" fmla="*/ 7116 w 10690"/>
                <a:gd name="connsiteY20" fmla="*/ 114 h 10001"/>
                <a:gd name="connsiteX21" fmla="*/ 6867 w 10690"/>
                <a:gd name="connsiteY21" fmla="*/ 49 h 10001"/>
                <a:gd name="connsiteX22" fmla="*/ 6799 w 10690"/>
                <a:gd name="connsiteY22" fmla="*/ 407 h 10001"/>
                <a:gd name="connsiteX23" fmla="*/ 6694 w 10690"/>
                <a:gd name="connsiteY23" fmla="*/ 520 h 10001"/>
                <a:gd name="connsiteX24" fmla="*/ 6676 w 10690"/>
                <a:gd name="connsiteY24" fmla="*/ 543 h 10001"/>
                <a:gd name="connsiteX25" fmla="*/ 6658 w 10690"/>
                <a:gd name="connsiteY25" fmla="*/ 543 h 10001"/>
                <a:gd name="connsiteX26" fmla="*/ 6377 w 10690"/>
                <a:gd name="connsiteY26" fmla="*/ 543 h 10001"/>
                <a:gd name="connsiteX27" fmla="*/ 6341 w 10690"/>
                <a:gd name="connsiteY27" fmla="*/ 543 h 10001"/>
                <a:gd name="connsiteX28" fmla="*/ 6341 w 10690"/>
                <a:gd name="connsiteY28" fmla="*/ 520 h 10001"/>
                <a:gd name="connsiteX29" fmla="*/ 6042 w 10690"/>
                <a:gd name="connsiteY29" fmla="*/ 159 h 10001"/>
                <a:gd name="connsiteX30" fmla="*/ 5919 w 10690"/>
                <a:gd name="connsiteY30" fmla="*/ 272 h 10001"/>
                <a:gd name="connsiteX31" fmla="*/ 5901 w 10690"/>
                <a:gd name="connsiteY31" fmla="*/ 272 h 10001"/>
                <a:gd name="connsiteX32" fmla="*/ 5901 w 10690"/>
                <a:gd name="connsiteY32" fmla="*/ 272 h 10001"/>
                <a:gd name="connsiteX33" fmla="*/ 5690 w 10690"/>
                <a:gd name="connsiteY33" fmla="*/ 317 h 10001"/>
                <a:gd name="connsiteX34" fmla="*/ 5672 w 10690"/>
                <a:gd name="connsiteY34" fmla="*/ 317 h 10001"/>
                <a:gd name="connsiteX35" fmla="*/ 5672 w 10690"/>
                <a:gd name="connsiteY35" fmla="*/ 294 h 10001"/>
                <a:gd name="connsiteX36" fmla="*/ 5444 w 10690"/>
                <a:gd name="connsiteY36" fmla="*/ 136 h 10001"/>
                <a:gd name="connsiteX37" fmla="*/ 5197 w 10690"/>
                <a:gd name="connsiteY37" fmla="*/ 1 h 10001"/>
                <a:gd name="connsiteX38" fmla="*/ 5074 w 10690"/>
                <a:gd name="connsiteY38" fmla="*/ 1 h 10001"/>
                <a:gd name="connsiteX39" fmla="*/ 4792 w 10690"/>
                <a:gd name="connsiteY39" fmla="*/ 136 h 10001"/>
                <a:gd name="connsiteX40" fmla="*/ 4475 w 10690"/>
                <a:gd name="connsiteY40" fmla="*/ 362 h 10001"/>
                <a:gd name="connsiteX41" fmla="*/ 4475 w 10690"/>
                <a:gd name="connsiteY41" fmla="*/ 362 h 10001"/>
                <a:gd name="connsiteX42" fmla="*/ 4458 w 10690"/>
                <a:gd name="connsiteY42" fmla="*/ 362 h 10001"/>
                <a:gd name="connsiteX43" fmla="*/ 4334 w 10690"/>
                <a:gd name="connsiteY43" fmla="*/ 407 h 10001"/>
                <a:gd name="connsiteX44" fmla="*/ 4264 w 10690"/>
                <a:gd name="connsiteY44" fmla="*/ 656 h 10001"/>
                <a:gd name="connsiteX45" fmla="*/ 4317 w 10690"/>
                <a:gd name="connsiteY45" fmla="*/ 723 h 10001"/>
                <a:gd name="connsiteX46" fmla="*/ 4317 w 10690"/>
                <a:gd name="connsiteY46" fmla="*/ 723 h 10001"/>
                <a:gd name="connsiteX47" fmla="*/ 4317 w 10690"/>
                <a:gd name="connsiteY47" fmla="*/ 746 h 10001"/>
                <a:gd name="connsiteX48" fmla="*/ 4334 w 10690"/>
                <a:gd name="connsiteY48" fmla="*/ 1288 h 10001"/>
                <a:gd name="connsiteX49" fmla="*/ 4352 w 10690"/>
                <a:gd name="connsiteY49" fmla="*/ 1491 h 10001"/>
                <a:gd name="connsiteX50" fmla="*/ 4064 w 10690"/>
                <a:gd name="connsiteY50" fmla="*/ 1589 h 10001"/>
                <a:gd name="connsiteX51" fmla="*/ 3913 w 10690"/>
                <a:gd name="connsiteY51" fmla="*/ 1540 h 10001"/>
                <a:gd name="connsiteX52" fmla="*/ 3652 w 10690"/>
                <a:gd name="connsiteY52" fmla="*/ 1558 h 10001"/>
                <a:gd name="connsiteX53" fmla="*/ 3500 w 10690"/>
                <a:gd name="connsiteY53" fmla="*/ 1437 h 10001"/>
                <a:gd name="connsiteX54" fmla="*/ 3230 w 10690"/>
                <a:gd name="connsiteY54" fmla="*/ 1619 h 10001"/>
                <a:gd name="connsiteX55" fmla="*/ 2526 w 10690"/>
                <a:gd name="connsiteY55" fmla="*/ 1135 h 10001"/>
                <a:gd name="connsiteX56" fmla="*/ 2181 w 10690"/>
                <a:gd name="connsiteY56" fmla="*/ 1215 h 10001"/>
                <a:gd name="connsiteX57" fmla="*/ 1832 w 10690"/>
                <a:gd name="connsiteY57" fmla="*/ 1446 h 10001"/>
                <a:gd name="connsiteX58" fmla="*/ 1557 w 10690"/>
                <a:gd name="connsiteY58" fmla="*/ 1756 h 10001"/>
                <a:gd name="connsiteX59" fmla="*/ 1250 w 10690"/>
                <a:gd name="connsiteY59" fmla="*/ 1644 h 10001"/>
                <a:gd name="connsiteX60" fmla="*/ 1071 w 10690"/>
                <a:gd name="connsiteY60" fmla="*/ 1773 h 10001"/>
                <a:gd name="connsiteX61" fmla="*/ 931 w 10690"/>
                <a:gd name="connsiteY61" fmla="*/ 2211 h 10001"/>
                <a:gd name="connsiteX62" fmla="*/ 659 w 10690"/>
                <a:gd name="connsiteY62" fmla="*/ 2699 h 10001"/>
                <a:gd name="connsiteX63" fmla="*/ 388 w 10690"/>
                <a:gd name="connsiteY63" fmla="*/ 3084 h 10001"/>
                <a:gd name="connsiteX64" fmla="*/ 227 w 10690"/>
                <a:gd name="connsiteY64" fmla="*/ 3419 h 10001"/>
                <a:gd name="connsiteX65" fmla="*/ 51 w 10690"/>
                <a:gd name="connsiteY65" fmla="*/ 3809 h 10001"/>
                <a:gd name="connsiteX66" fmla="*/ 118 w 10690"/>
                <a:gd name="connsiteY66" fmla="*/ 3954 h 10001"/>
                <a:gd name="connsiteX67" fmla="*/ 35 w 10690"/>
                <a:gd name="connsiteY67" fmla="*/ 4333 h 10001"/>
                <a:gd name="connsiteX68" fmla="*/ 220 w 10690"/>
                <a:gd name="connsiteY68" fmla="*/ 4448 h 10001"/>
                <a:gd name="connsiteX69" fmla="*/ 407 w 10690"/>
                <a:gd name="connsiteY69" fmla="*/ 4650 h 10001"/>
                <a:gd name="connsiteX70" fmla="*/ 708 w 10690"/>
                <a:gd name="connsiteY70" fmla="*/ 4832 h 10001"/>
                <a:gd name="connsiteX71" fmla="*/ 743 w 10690"/>
                <a:gd name="connsiteY71" fmla="*/ 5464 h 10001"/>
                <a:gd name="connsiteX72" fmla="*/ 778 w 10690"/>
                <a:gd name="connsiteY72" fmla="*/ 5464 h 10001"/>
                <a:gd name="connsiteX73" fmla="*/ 848 w 10690"/>
                <a:gd name="connsiteY73" fmla="*/ 5644 h 10001"/>
                <a:gd name="connsiteX74" fmla="*/ 1271 w 10690"/>
                <a:gd name="connsiteY74" fmla="*/ 6096 h 10001"/>
                <a:gd name="connsiteX75" fmla="*/ 1271 w 10690"/>
                <a:gd name="connsiteY75" fmla="*/ 6118 h 10001"/>
                <a:gd name="connsiteX76" fmla="*/ 1271 w 10690"/>
                <a:gd name="connsiteY76" fmla="*/ 6118 h 10001"/>
                <a:gd name="connsiteX77" fmla="*/ 1341 w 10690"/>
                <a:gd name="connsiteY77" fmla="*/ 6547 h 10001"/>
                <a:gd name="connsiteX78" fmla="*/ 2222 w 10690"/>
                <a:gd name="connsiteY78" fmla="*/ 7112 h 10001"/>
                <a:gd name="connsiteX79" fmla="*/ 2239 w 10690"/>
                <a:gd name="connsiteY79" fmla="*/ 7112 h 10001"/>
                <a:gd name="connsiteX80" fmla="*/ 2239 w 10690"/>
                <a:gd name="connsiteY80" fmla="*/ 7134 h 10001"/>
                <a:gd name="connsiteX81" fmla="*/ 2415 w 10690"/>
                <a:gd name="connsiteY81" fmla="*/ 8173 h 10001"/>
                <a:gd name="connsiteX82" fmla="*/ 2767 w 10690"/>
                <a:gd name="connsiteY82" fmla="*/ 9053 h 10001"/>
                <a:gd name="connsiteX83" fmla="*/ 2891 w 10690"/>
                <a:gd name="connsiteY83" fmla="*/ 9324 h 10001"/>
                <a:gd name="connsiteX84" fmla="*/ 2891 w 10690"/>
                <a:gd name="connsiteY84" fmla="*/ 9324 h 10001"/>
                <a:gd name="connsiteX85" fmla="*/ 2891 w 10690"/>
                <a:gd name="connsiteY85" fmla="*/ 9346 h 10001"/>
                <a:gd name="connsiteX86" fmla="*/ 2873 w 10690"/>
                <a:gd name="connsiteY86" fmla="*/ 9933 h 10001"/>
                <a:gd name="connsiteX87" fmla="*/ 3014 w 10690"/>
                <a:gd name="connsiteY87" fmla="*/ 9933 h 10001"/>
                <a:gd name="connsiteX88" fmla="*/ 3120 w 10690"/>
                <a:gd name="connsiteY88" fmla="*/ 9662 h 10001"/>
                <a:gd name="connsiteX89" fmla="*/ 4053 w 10690"/>
                <a:gd name="connsiteY89" fmla="*/ 9662 h 10001"/>
                <a:gd name="connsiteX90" fmla="*/ 4334 w 10690"/>
                <a:gd name="connsiteY90" fmla="*/ 9437 h 10001"/>
                <a:gd name="connsiteX91" fmla="*/ 4651 w 10690"/>
                <a:gd name="connsiteY91" fmla="*/ 9346 h 10001"/>
                <a:gd name="connsiteX92" fmla="*/ 4968 w 10690"/>
                <a:gd name="connsiteY92" fmla="*/ 9504 h 10001"/>
                <a:gd name="connsiteX93" fmla="*/ 5179 w 10690"/>
                <a:gd name="connsiteY93" fmla="*/ 9437 h 10001"/>
                <a:gd name="connsiteX94" fmla="*/ 6130 w 10690"/>
                <a:gd name="connsiteY94" fmla="*/ 9369 h 10001"/>
                <a:gd name="connsiteX95" fmla="*/ 6482 w 10690"/>
                <a:gd name="connsiteY95" fmla="*/ 9211 h 10001"/>
                <a:gd name="connsiteX96" fmla="*/ 6641 w 10690"/>
                <a:gd name="connsiteY96" fmla="*/ 9369 h 10001"/>
                <a:gd name="connsiteX97" fmla="*/ 7292 w 10690"/>
                <a:gd name="connsiteY97" fmla="*/ 9324 h 10001"/>
                <a:gd name="connsiteX98" fmla="*/ 7433 w 10690"/>
                <a:gd name="connsiteY98" fmla="*/ 9572 h 10001"/>
                <a:gd name="connsiteX99" fmla="*/ 7609 w 10690"/>
                <a:gd name="connsiteY99" fmla="*/ 9775 h 10001"/>
                <a:gd name="connsiteX100" fmla="*/ 8172 w 10690"/>
                <a:gd name="connsiteY100" fmla="*/ 9730 h 10001"/>
                <a:gd name="connsiteX101" fmla="*/ 8348 w 10690"/>
                <a:gd name="connsiteY101" fmla="*/ 9866 h 10001"/>
                <a:gd name="connsiteX102" fmla="*/ 8454 w 10690"/>
                <a:gd name="connsiteY102" fmla="*/ 9911 h 10001"/>
                <a:gd name="connsiteX103" fmla="*/ 8525 w 10690"/>
                <a:gd name="connsiteY103" fmla="*/ 9978 h 10001"/>
                <a:gd name="connsiteX104" fmla="*/ 8630 w 10690"/>
                <a:gd name="connsiteY104" fmla="*/ 10001 h 10001"/>
                <a:gd name="connsiteX105" fmla="*/ 8806 w 10690"/>
                <a:gd name="connsiteY105" fmla="*/ 9933 h 10001"/>
                <a:gd name="connsiteX106" fmla="*/ 8753 w 10690"/>
                <a:gd name="connsiteY106" fmla="*/ 9617 h 10001"/>
                <a:gd name="connsiteX107" fmla="*/ 8577 w 10690"/>
                <a:gd name="connsiteY107" fmla="*/ 9392 h 10001"/>
                <a:gd name="connsiteX108" fmla="*/ 8577 w 10690"/>
                <a:gd name="connsiteY108" fmla="*/ 9008 h 10001"/>
                <a:gd name="connsiteX109" fmla="*/ 8753 w 10690"/>
                <a:gd name="connsiteY109" fmla="*/ 8872 h 10001"/>
                <a:gd name="connsiteX110" fmla="*/ 8965 w 10690"/>
                <a:gd name="connsiteY110" fmla="*/ 8692 h 10001"/>
                <a:gd name="connsiteX111" fmla="*/ 8841 w 10690"/>
                <a:gd name="connsiteY111" fmla="*/ 8601 h 10001"/>
                <a:gd name="connsiteX112" fmla="*/ 8753 w 10690"/>
                <a:gd name="connsiteY112" fmla="*/ 8466 h 10001"/>
                <a:gd name="connsiteX113" fmla="*/ 8894 w 10690"/>
                <a:gd name="connsiteY113" fmla="*/ 8240 h 10001"/>
                <a:gd name="connsiteX114" fmla="*/ 9211 w 10690"/>
                <a:gd name="connsiteY114" fmla="*/ 8240 h 10001"/>
                <a:gd name="connsiteX115" fmla="*/ 9211 w 10690"/>
                <a:gd name="connsiteY115" fmla="*/ 7947 h 10001"/>
                <a:gd name="connsiteX116" fmla="*/ 9000 w 10690"/>
                <a:gd name="connsiteY116" fmla="*/ 7834 h 10001"/>
                <a:gd name="connsiteX117" fmla="*/ 9088 w 10690"/>
                <a:gd name="connsiteY117" fmla="*/ 7495 h 10001"/>
                <a:gd name="connsiteX118" fmla="*/ 8366 w 10690"/>
                <a:gd name="connsiteY118" fmla="*/ 6164 h 10001"/>
                <a:gd name="connsiteX119" fmla="*/ 8208 w 10690"/>
                <a:gd name="connsiteY119" fmla="*/ 5441 h 10001"/>
                <a:gd name="connsiteX120" fmla="*/ 8366 w 10690"/>
                <a:gd name="connsiteY120" fmla="*/ 4764 h 10001"/>
                <a:gd name="connsiteX121" fmla="*/ 7697 w 10690"/>
                <a:gd name="connsiteY121" fmla="*/ 4854 h 10001"/>
                <a:gd name="connsiteX122" fmla="*/ 7662 w 10690"/>
                <a:gd name="connsiteY122" fmla="*/ 4809 h 10001"/>
                <a:gd name="connsiteX123" fmla="*/ 7644 w 10690"/>
                <a:gd name="connsiteY123" fmla="*/ 4629 h 10001"/>
                <a:gd name="connsiteX124" fmla="*/ 7785 w 10690"/>
                <a:gd name="connsiteY124" fmla="*/ 4267 h 10001"/>
                <a:gd name="connsiteX125" fmla="*/ 9158 w 10690"/>
                <a:gd name="connsiteY125" fmla="*/ 3342 h 10001"/>
                <a:gd name="connsiteX126" fmla="*/ 9598 w 10690"/>
                <a:gd name="connsiteY126" fmla="*/ 3161 h 10001"/>
                <a:gd name="connsiteX127" fmla="*/ 9792 w 10690"/>
                <a:gd name="connsiteY127" fmla="*/ 3432 h 10001"/>
                <a:gd name="connsiteX128" fmla="*/ 10003 w 10690"/>
                <a:gd name="connsiteY128" fmla="*/ 3432 h 10001"/>
                <a:gd name="connsiteX129" fmla="*/ 10250 w 10690"/>
                <a:gd name="connsiteY129" fmla="*/ 3206 h 10001"/>
                <a:gd name="connsiteX130" fmla="*/ 10655 w 10690"/>
                <a:gd name="connsiteY130" fmla="*/ 3455 h 10001"/>
                <a:gd name="connsiteX131" fmla="*/ 10690 w 10690"/>
                <a:gd name="connsiteY131" fmla="*/ 2732 h 10001"/>
                <a:gd name="connsiteX132" fmla="*/ 10197 w 10690"/>
                <a:gd name="connsiteY132" fmla="*/ 2732 h 10001"/>
                <a:gd name="connsiteX0" fmla="*/ 10197 w 10690"/>
                <a:gd name="connsiteY0" fmla="*/ 2732 h 10001"/>
                <a:gd name="connsiteX1" fmla="*/ 10250 w 10690"/>
                <a:gd name="connsiteY1" fmla="*/ 2507 h 10001"/>
                <a:gd name="connsiteX2" fmla="*/ 10250 w 10690"/>
                <a:gd name="connsiteY2" fmla="*/ 2394 h 10001"/>
                <a:gd name="connsiteX3" fmla="*/ 9986 w 10690"/>
                <a:gd name="connsiteY3" fmla="*/ 2349 h 10001"/>
                <a:gd name="connsiteX4" fmla="*/ 9951 w 10690"/>
                <a:gd name="connsiteY4" fmla="*/ 2349 h 10001"/>
                <a:gd name="connsiteX5" fmla="*/ 9951 w 10690"/>
                <a:gd name="connsiteY5" fmla="*/ 2326 h 10001"/>
                <a:gd name="connsiteX6" fmla="*/ 9845 w 10690"/>
                <a:gd name="connsiteY6" fmla="*/ 1965 h 10001"/>
                <a:gd name="connsiteX7" fmla="*/ 9282 w 10690"/>
                <a:gd name="connsiteY7" fmla="*/ 1423 h 10001"/>
                <a:gd name="connsiteX8" fmla="*/ 9282 w 10690"/>
                <a:gd name="connsiteY8" fmla="*/ 1423 h 10001"/>
                <a:gd name="connsiteX9" fmla="*/ 9264 w 10690"/>
                <a:gd name="connsiteY9" fmla="*/ 1401 h 10001"/>
                <a:gd name="connsiteX10" fmla="*/ 9211 w 10690"/>
                <a:gd name="connsiteY10" fmla="*/ 1175 h 10001"/>
                <a:gd name="connsiteX11" fmla="*/ 8982 w 10690"/>
                <a:gd name="connsiteY11" fmla="*/ 407 h 10001"/>
                <a:gd name="connsiteX12" fmla="*/ 8824 w 10690"/>
                <a:gd name="connsiteY12" fmla="*/ 385 h 10001"/>
                <a:gd name="connsiteX13" fmla="*/ 8630 w 10690"/>
                <a:gd name="connsiteY13" fmla="*/ 520 h 10001"/>
                <a:gd name="connsiteX14" fmla="*/ 8630 w 10690"/>
                <a:gd name="connsiteY14" fmla="*/ 520 h 10001"/>
                <a:gd name="connsiteX15" fmla="*/ 8613 w 10690"/>
                <a:gd name="connsiteY15" fmla="*/ 520 h 10001"/>
                <a:gd name="connsiteX16" fmla="*/ 7644 w 10690"/>
                <a:gd name="connsiteY16" fmla="*/ 543 h 10001"/>
                <a:gd name="connsiteX17" fmla="*/ 7627 w 10690"/>
                <a:gd name="connsiteY17" fmla="*/ 543 h 10001"/>
                <a:gd name="connsiteX18" fmla="*/ 7609 w 10690"/>
                <a:gd name="connsiteY18" fmla="*/ 543 h 10001"/>
                <a:gd name="connsiteX19" fmla="*/ 7327 w 10690"/>
                <a:gd name="connsiteY19" fmla="*/ 136 h 10001"/>
                <a:gd name="connsiteX20" fmla="*/ 7116 w 10690"/>
                <a:gd name="connsiteY20" fmla="*/ 114 h 10001"/>
                <a:gd name="connsiteX21" fmla="*/ 6867 w 10690"/>
                <a:gd name="connsiteY21" fmla="*/ 49 h 10001"/>
                <a:gd name="connsiteX22" fmla="*/ 6799 w 10690"/>
                <a:gd name="connsiteY22" fmla="*/ 407 h 10001"/>
                <a:gd name="connsiteX23" fmla="*/ 6694 w 10690"/>
                <a:gd name="connsiteY23" fmla="*/ 520 h 10001"/>
                <a:gd name="connsiteX24" fmla="*/ 6676 w 10690"/>
                <a:gd name="connsiteY24" fmla="*/ 543 h 10001"/>
                <a:gd name="connsiteX25" fmla="*/ 6658 w 10690"/>
                <a:gd name="connsiteY25" fmla="*/ 543 h 10001"/>
                <a:gd name="connsiteX26" fmla="*/ 6377 w 10690"/>
                <a:gd name="connsiteY26" fmla="*/ 543 h 10001"/>
                <a:gd name="connsiteX27" fmla="*/ 6341 w 10690"/>
                <a:gd name="connsiteY27" fmla="*/ 543 h 10001"/>
                <a:gd name="connsiteX28" fmla="*/ 6341 w 10690"/>
                <a:gd name="connsiteY28" fmla="*/ 520 h 10001"/>
                <a:gd name="connsiteX29" fmla="*/ 6042 w 10690"/>
                <a:gd name="connsiteY29" fmla="*/ 159 h 10001"/>
                <a:gd name="connsiteX30" fmla="*/ 5919 w 10690"/>
                <a:gd name="connsiteY30" fmla="*/ 272 h 10001"/>
                <a:gd name="connsiteX31" fmla="*/ 5901 w 10690"/>
                <a:gd name="connsiteY31" fmla="*/ 272 h 10001"/>
                <a:gd name="connsiteX32" fmla="*/ 5901 w 10690"/>
                <a:gd name="connsiteY32" fmla="*/ 272 h 10001"/>
                <a:gd name="connsiteX33" fmla="*/ 5690 w 10690"/>
                <a:gd name="connsiteY33" fmla="*/ 317 h 10001"/>
                <a:gd name="connsiteX34" fmla="*/ 5672 w 10690"/>
                <a:gd name="connsiteY34" fmla="*/ 317 h 10001"/>
                <a:gd name="connsiteX35" fmla="*/ 5672 w 10690"/>
                <a:gd name="connsiteY35" fmla="*/ 294 h 10001"/>
                <a:gd name="connsiteX36" fmla="*/ 5444 w 10690"/>
                <a:gd name="connsiteY36" fmla="*/ 136 h 10001"/>
                <a:gd name="connsiteX37" fmla="*/ 5197 w 10690"/>
                <a:gd name="connsiteY37" fmla="*/ 1 h 10001"/>
                <a:gd name="connsiteX38" fmla="*/ 5074 w 10690"/>
                <a:gd name="connsiteY38" fmla="*/ 1 h 10001"/>
                <a:gd name="connsiteX39" fmla="*/ 4792 w 10690"/>
                <a:gd name="connsiteY39" fmla="*/ 136 h 10001"/>
                <a:gd name="connsiteX40" fmla="*/ 4475 w 10690"/>
                <a:gd name="connsiteY40" fmla="*/ 362 h 10001"/>
                <a:gd name="connsiteX41" fmla="*/ 4475 w 10690"/>
                <a:gd name="connsiteY41" fmla="*/ 362 h 10001"/>
                <a:gd name="connsiteX42" fmla="*/ 4458 w 10690"/>
                <a:gd name="connsiteY42" fmla="*/ 362 h 10001"/>
                <a:gd name="connsiteX43" fmla="*/ 4334 w 10690"/>
                <a:gd name="connsiteY43" fmla="*/ 407 h 10001"/>
                <a:gd name="connsiteX44" fmla="*/ 4264 w 10690"/>
                <a:gd name="connsiteY44" fmla="*/ 656 h 10001"/>
                <a:gd name="connsiteX45" fmla="*/ 4317 w 10690"/>
                <a:gd name="connsiteY45" fmla="*/ 723 h 10001"/>
                <a:gd name="connsiteX46" fmla="*/ 4317 w 10690"/>
                <a:gd name="connsiteY46" fmla="*/ 723 h 10001"/>
                <a:gd name="connsiteX47" fmla="*/ 4317 w 10690"/>
                <a:gd name="connsiteY47" fmla="*/ 746 h 10001"/>
                <a:gd name="connsiteX48" fmla="*/ 4334 w 10690"/>
                <a:gd name="connsiteY48" fmla="*/ 1288 h 10001"/>
                <a:gd name="connsiteX49" fmla="*/ 4352 w 10690"/>
                <a:gd name="connsiteY49" fmla="*/ 1491 h 10001"/>
                <a:gd name="connsiteX50" fmla="*/ 4064 w 10690"/>
                <a:gd name="connsiteY50" fmla="*/ 1589 h 10001"/>
                <a:gd name="connsiteX51" fmla="*/ 3913 w 10690"/>
                <a:gd name="connsiteY51" fmla="*/ 1540 h 10001"/>
                <a:gd name="connsiteX52" fmla="*/ 3652 w 10690"/>
                <a:gd name="connsiteY52" fmla="*/ 1558 h 10001"/>
                <a:gd name="connsiteX53" fmla="*/ 3500 w 10690"/>
                <a:gd name="connsiteY53" fmla="*/ 1437 h 10001"/>
                <a:gd name="connsiteX54" fmla="*/ 3230 w 10690"/>
                <a:gd name="connsiteY54" fmla="*/ 1619 h 10001"/>
                <a:gd name="connsiteX55" fmla="*/ 2526 w 10690"/>
                <a:gd name="connsiteY55" fmla="*/ 1135 h 10001"/>
                <a:gd name="connsiteX56" fmla="*/ 2181 w 10690"/>
                <a:gd name="connsiteY56" fmla="*/ 1215 h 10001"/>
                <a:gd name="connsiteX57" fmla="*/ 1832 w 10690"/>
                <a:gd name="connsiteY57" fmla="*/ 1446 h 10001"/>
                <a:gd name="connsiteX58" fmla="*/ 1557 w 10690"/>
                <a:gd name="connsiteY58" fmla="*/ 1756 h 10001"/>
                <a:gd name="connsiteX59" fmla="*/ 1250 w 10690"/>
                <a:gd name="connsiteY59" fmla="*/ 1644 h 10001"/>
                <a:gd name="connsiteX60" fmla="*/ 1071 w 10690"/>
                <a:gd name="connsiteY60" fmla="*/ 1773 h 10001"/>
                <a:gd name="connsiteX61" fmla="*/ 931 w 10690"/>
                <a:gd name="connsiteY61" fmla="*/ 2211 h 10001"/>
                <a:gd name="connsiteX62" fmla="*/ 659 w 10690"/>
                <a:gd name="connsiteY62" fmla="*/ 2699 h 10001"/>
                <a:gd name="connsiteX63" fmla="*/ 388 w 10690"/>
                <a:gd name="connsiteY63" fmla="*/ 3084 h 10001"/>
                <a:gd name="connsiteX64" fmla="*/ 227 w 10690"/>
                <a:gd name="connsiteY64" fmla="*/ 3419 h 10001"/>
                <a:gd name="connsiteX65" fmla="*/ 51 w 10690"/>
                <a:gd name="connsiteY65" fmla="*/ 3809 h 10001"/>
                <a:gd name="connsiteX66" fmla="*/ 118 w 10690"/>
                <a:gd name="connsiteY66" fmla="*/ 3954 h 10001"/>
                <a:gd name="connsiteX67" fmla="*/ 35 w 10690"/>
                <a:gd name="connsiteY67" fmla="*/ 4333 h 10001"/>
                <a:gd name="connsiteX68" fmla="*/ 220 w 10690"/>
                <a:gd name="connsiteY68" fmla="*/ 4448 h 10001"/>
                <a:gd name="connsiteX69" fmla="*/ 407 w 10690"/>
                <a:gd name="connsiteY69" fmla="*/ 4650 h 10001"/>
                <a:gd name="connsiteX70" fmla="*/ 533 w 10690"/>
                <a:gd name="connsiteY70" fmla="*/ 4953 h 10001"/>
                <a:gd name="connsiteX71" fmla="*/ 743 w 10690"/>
                <a:gd name="connsiteY71" fmla="*/ 5464 h 10001"/>
                <a:gd name="connsiteX72" fmla="*/ 778 w 10690"/>
                <a:gd name="connsiteY72" fmla="*/ 5464 h 10001"/>
                <a:gd name="connsiteX73" fmla="*/ 848 w 10690"/>
                <a:gd name="connsiteY73" fmla="*/ 5644 h 10001"/>
                <a:gd name="connsiteX74" fmla="*/ 1271 w 10690"/>
                <a:gd name="connsiteY74" fmla="*/ 6096 h 10001"/>
                <a:gd name="connsiteX75" fmla="*/ 1271 w 10690"/>
                <a:gd name="connsiteY75" fmla="*/ 6118 h 10001"/>
                <a:gd name="connsiteX76" fmla="*/ 1271 w 10690"/>
                <a:gd name="connsiteY76" fmla="*/ 6118 h 10001"/>
                <a:gd name="connsiteX77" fmla="*/ 1341 w 10690"/>
                <a:gd name="connsiteY77" fmla="*/ 6547 h 10001"/>
                <a:gd name="connsiteX78" fmla="*/ 2222 w 10690"/>
                <a:gd name="connsiteY78" fmla="*/ 7112 h 10001"/>
                <a:gd name="connsiteX79" fmla="*/ 2239 w 10690"/>
                <a:gd name="connsiteY79" fmla="*/ 7112 h 10001"/>
                <a:gd name="connsiteX80" fmla="*/ 2239 w 10690"/>
                <a:gd name="connsiteY80" fmla="*/ 7134 h 10001"/>
                <a:gd name="connsiteX81" fmla="*/ 2415 w 10690"/>
                <a:gd name="connsiteY81" fmla="*/ 8173 h 10001"/>
                <a:gd name="connsiteX82" fmla="*/ 2767 w 10690"/>
                <a:gd name="connsiteY82" fmla="*/ 9053 h 10001"/>
                <a:gd name="connsiteX83" fmla="*/ 2891 w 10690"/>
                <a:gd name="connsiteY83" fmla="*/ 9324 h 10001"/>
                <a:gd name="connsiteX84" fmla="*/ 2891 w 10690"/>
                <a:gd name="connsiteY84" fmla="*/ 9324 h 10001"/>
                <a:gd name="connsiteX85" fmla="*/ 2891 w 10690"/>
                <a:gd name="connsiteY85" fmla="*/ 9346 h 10001"/>
                <a:gd name="connsiteX86" fmla="*/ 2873 w 10690"/>
                <a:gd name="connsiteY86" fmla="*/ 9933 h 10001"/>
                <a:gd name="connsiteX87" fmla="*/ 3014 w 10690"/>
                <a:gd name="connsiteY87" fmla="*/ 9933 h 10001"/>
                <a:gd name="connsiteX88" fmla="*/ 3120 w 10690"/>
                <a:gd name="connsiteY88" fmla="*/ 9662 h 10001"/>
                <a:gd name="connsiteX89" fmla="*/ 4053 w 10690"/>
                <a:gd name="connsiteY89" fmla="*/ 9662 h 10001"/>
                <a:gd name="connsiteX90" fmla="*/ 4334 w 10690"/>
                <a:gd name="connsiteY90" fmla="*/ 9437 h 10001"/>
                <a:gd name="connsiteX91" fmla="*/ 4651 w 10690"/>
                <a:gd name="connsiteY91" fmla="*/ 9346 h 10001"/>
                <a:gd name="connsiteX92" fmla="*/ 4968 w 10690"/>
                <a:gd name="connsiteY92" fmla="*/ 9504 h 10001"/>
                <a:gd name="connsiteX93" fmla="*/ 5179 w 10690"/>
                <a:gd name="connsiteY93" fmla="*/ 9437 h 10001"/>
                <a:gd name="connsiteX94" fmla="*/ 6130 w 10690"/>
                <a:gd name="connsiteY94" fmla="*/ 9369 h 10001"/>
                <a:gd name="connsiteX95" fmla="*/ 6482 w 10690"/>
                <a:gd name="connsiteY95" fmla="*/ 9211 h 10001"/>
                <a:gd name="connsiteX96" fmla="*/ 6641 w 10690"/>
                <a:gd name="connsiteY96" fmla="*/ 9369 h 10001"/>
                <a:gd name="connsiteX97" fmla="*/ 7292 w 10690"/>
                <a:gd name="connsiteY97" fmla="*/ 9324 h 10001"/>
                <a:gd name="connsiteX98" fmla="*/ 7433 w 10690"/>
                <a:gd name="connsiteY98" fmla="*/ 9572 h 10001"/>
                <a:gd name="connsiteX99" fmla="*/ 7609 w 10690"/>
                <a:gd name="connsiteY99" fmla="*/ 9775 h 10001"/>
                <a:gd name="connsiteX100" fmla="*/ 8172 w 10690"/>
                <a:gd name="connsiteY100" fmla="*/ 9730 h 10001"/>
                <a:gd name="connsiteX101" fmla="*/ 8348 w 10690"/>
                <a:gd name="connsiteY101" fmla="*/ 9866 h 10001"/>
                <a:gd name="connsiteX102" fmla="*/ 8454 w 10690"/>
                <a:gd name="connsiteY102" fmla="*/ 9911 h 10001"/>
                <a:gd name="connsiteX103" fmla="*/ 8525 w 10690"/>
                <a:gd name="connsiteY103" fmla="*/ 9978 h 10001"/>
                <a:gd name="connsiteX104" fmla="*/ 8630 w 10690"/>
                <a:gd name="connsiteY104" fmla="*/ 10001 h 10001"/>
                <a:gd name="connsiteX105" fmla="*/ 8806 w 10690"/>
                <a:gd name="connsiteY105" fmla="*/ 9933 h 10001"/>
                <a:gd name="connsiteX106" fmla="*/ 8753 w 10690"/>
                <a:gd name="connsiteY106" fmla="*/ 9617 h 10001"/>
                <a:gd name="connsiteX107" fmla="*/ 8577 w 10690"/>
                <a:gd name="connsiteY107" fmla="*/ 9392 h 10001"/>
                <a:gd name="connsiteX108" fmla="*/ 8577 w 10690"/>
                <a:gd name="connsiteY108" fmla="*/ 9008 h 10001"/>
                <a:gd name="connsiteX109" fmla="*/ 8753 w 10690"/>
                <a:gd name="connsiteY109" fmla="*/ 8872 h 10001"/>
                <a:gd name="connsiteX110" fmla="*/ 8965 w 10690"/>
                <a:gd name="connsiteY110" fmla="*/ 8692 h 10001"/>
                <a:gd name="connsiteX111" fmla="*/ 8841 w 10690"/>
                <a:gd name="connsiteY111" fmla="*/ 8601 h 10001"/>
                <a:gd name="connsiteX112" fmla="*/ 8753 w 10690"/>
                <a:gd name="connsiteY112" fmla="*/ 8466 h 10001"/>
                <a:gd name="connsiteX113" fmla="*/ 8894 w 10690"/>
                <a:gd name="connsiteY113" fmla="*/ 8240 h 10001"/>
                <a:gd name="connsiteX114" fmla="*/ 9211 w 10690"/>
                <a:gd name="connsiteY114" fmla="*/ 8240 h 10001"/>
                <a:gd name="connsiteX115" fmla="*/ 9211 w 10690"/>
                <a:gd name="connsiteY115" fmla="*/ 7947 h 10001"/>
                <a:gd name="connsiteX116" fmla="*/ 9000 w 10690"/>
                <a:gd name="connsiteY116" fmla="*/ 7834 h 10001"/>
                <a:gd name="connsiteX117" fmla="*/ 9088 w 10690"/>
                <a:gd name="connsiteY117" fmla="*/ 7495 h 10001"/>
                <a:gd name="connsiteX118" fmla="*/ 8366 w 10690"/>
                <a:gd name="connsiteY118" fmla="*/ 6164 h 10001"/>
                <a:gd name="connsiteX119" fmla="*/ 8208 w 10690"/>
                <a:gd name="connsiteY119" fmla="*/ 5441 h 10001"/>
                <a:gd name="connsiteX120" fmla="*/ 8366 w 10690"/>
                <a:gd name="connsiteY120" fmla="*/ 4764 h 10001"/>
                <a:gd name="connsiteX121" fmla="*/ 7697 w 10690"/>
                <a:gd name="connsiteY121" fmla="*/ 4854 h 10001"/>
                <a:gd name="connsiteX122" fmla="*/ 7662 w 10690"/>
                <a:gd name="connsiteY122" fmla="*/ 4809 h 10001"/>
                <a:gd name="connsiteX123" fmla="*/ 7644 w 10690"/>
                <a:gd name="connsiteY123" fmla="*/ 4629 h 10001"/>
                <a:gd name="connsiteX124" fmla="*/ 7785 w 10690"/>
                <a:gd name="connsiteY124" fmla="*/ 4267 h 10001"/>
                <a:gd name="connsiteX125" fmla="*/ 9158 w 10690"/>
                <a:gd name="connsiteY125" fmla="*/ 3342 h 10001"/>
                <a:gd name="connsiteX126" fmla="*/ 9598 w 10690"/>
                <a:gd name="connsiteY126" fmla="*/ 3161 h 10001"/>
                <a:gd name="connsiteX127" fmla="*/ 9792 w 10690"/>
                <a:gd name="connsiteY127" fmla="*/ 3432 h 10001"/>
                <a:gd name="connsiteX128" fmla="*/ 10003 w 10690"/>
                <a:gd name="connsiteY128" fmla="*/ 3432 h 10001"/>
                <a:gd name="connsiteX129" fmla="*/ 10250 w 10690"/>
                <a:gd name="connsiteY129" fmla="*/ 3206 h 10001"/>
                <a:gd name="connsiteX130" fmla="*/ 10655 w 10690"/>
                <a:gd name="connsiteY130" fmla="*/ 3455 h 10001"/>
                <a:gd name="connsiteX131" fmla="*/ 10690 w 10690"/>
                <a:gd name="connsiteY131" fmla="*/ 2732 h 10001"/>
                <a:gd name="connsiteX132" fmla="*/ 10197 w 10690"/>
                <a:gd name="connsiteY132" fmla="*/ 2732 h 10001"/>
                <a:gd name="connsiteX0" fmla="*/ 10197 w 10690"/>
                <a:gd name="connsiteY0" fmla="*/ 2732 h 10001"/>
                <a:gd name="connsiteX1" fmla="*/ 10250 w 10690"/>
                <a:gd name="connsiteY1" fmla="*/ 2507 h 10001"/>
                <a:gd name="connsiteX2" fmla="*/ 10250 w 10690"/>
                <a:gd name="connsiteY2" fmla="*/ 2394 h 10001"/>
                <a:gd name="connsiteX3" fmla="*/ 9986 w 10690"/>
                <a:gd name="connsiteY3" fmla="*/ 2349 h 10001"/>
                <a:gd name="connsiteX4" fmla="*/ 9951 w 10690"/>
                <a:gd name="connsiteY4" fmla="*/ 2349 h 10001"/>
                <a:gd name="connsiteX5" fmla="*/ 9951 w 10690"/>
                <a:gd name="connsiteY5" fmla="*/ 2326 h 10001"/>
                <a:gd name="connsiteX6" fmla="*/ 9845 w 10690"/>
                <a:gd name="connsiteY6" fmla="*/ 1965 h 10001"/>
                <a:gd name="connsiteX7" fmla="*/ 9282 w 10690"/>
                <a:gd name="connsiteY7" fmla="*/ 1423 h 10001"/>
                <a:gd name="connsiteX8" fmla="*/ 9282 w 10690"/>
                <a:gd name="connsiteY8" fmla="*/ 1423 h 10001"/>
                <a:gd name="connsiteX9" fmla="*/ 9264 w 10690"/>
                <a:gd name="connsiteY9" fmla="*/ 1401 h 10001"/>
                <a:gd name="connsiteX10" fmla="*/ 9211 w 10690"/>
                <a:gd name="connsiteY10" fmla="*/ 1175 h 10001"/>
                <a:gd name="connsiteX11" fmla="*/ 8982 w 10690"/>
                <a:gd name="connsiteY11" fmla="*/ 407 h 10001"/>
                <a:gd name="connsiteX12" fmla="*/ 8824 w 10690"/>
                <a:gd name="connsiteY12" fmla="*/ 385 h 10001"/>
                <a:gd name="connsiteX13" fmla="*/ 8630 w 10690"/>
                <a:gd name="connsiteY13" fmla="*/ 520 h 10001"/>
                <a:gd name="connsiteX14" fmla="*/ 8630 w 10690"/>
                <a:gd name="connsiteY14" fmla="*/ 520 h 10001"/>
                <a:gd name="connsiteX15" fmla="*/ 8613 w 10690"/>
                <a:gd name="connsiteY15" fmla="*/ 520 h 10001"/>
                <a:gd name="connsiteX16" fmla="*/ 7644 w 10690"/>
                <a:gd name="connsiteY16" fmla="*/ 543 h 10001"/>
                <a:gd name="connsiteX17" fmla="*/ 7627 w 10690"/>
                <a:gd name="connsiteY17" fmla="*/ 543 h 10001"/>
                <a:gd name="connsiteX18" fmla="*/ 7609 w 10690"/>
                <a:gd name="connsiteY18" fmla="*/ 543 h 10001"/>
                <a:gd name="connsiteX19" fmla="*/ 7327 w 10690"/>
                <a:gd name="connsiteY19" fmla="*/ 136 h 10001"/>
                <a:gd name="connsiteX20" fmla="*/ 7116 w 10690"/>
                <a:gd name="connsiteY20" fmla="*/ 114 h 10001"/>
                <a:gd name="connsiteX21" fmla="*/ 6867 w 10690"/>
                <a:gd name="connsiteY21" fmla="*/ 49 h 10001"/>
                <a:gd name="connsiteX22" fmla="*/ 6799 w 10690"/>
                <a:gd name="connsiteY22" fmla="*/ 407 h 10001"/>
                <a:gd name="connsiteX23" fmla="*/ 6694 w 10690"/>
                <a:gd name="connsiteY23" fmla="*/ 520 h 10001"/>
                <a:gd name="connsiteX24" fmla="*/ 6676 w 10690"/>
                <a:gd name="connsiteY24" fmla="*/ 543 h 10001"/>
                <a:gd name="connsiteX25" fmla="*/ 6658 w 10690"/>
                <a:gd name="connsiteY25" fmla="*/ 543 h 10001"/>
                <a:gd name="connsiteX26" fmla="*/ 6377 w 10690"/>
                <a:gd name="connsiteY26" fmla="*/ 543 h 10001"/>
                <a:gd name="connsiteX27" fmla="*/ 6341 w 10690"/>
                <a:gd name="connsiteY27" fmla="*/ 543 h 10001"/>
                <a:gd name="connsiteX28" fmla="*/ 6341 w 10690"/>
                <a:gd name="connsiteY28" fmla="*/ 520 h 10001"/>
                <a:gd name="connsiteX29" fmla="*/ 6042 w 10690"/>
                <a:gd name="connsiteY29" fmla="*/ 159 h 10001"/>
                <a:gd name="connsiteX30" fmla="*/ 5919 w 10690"/>
                <a:gd name="connsiteY30" fmla="*/ 272 h 10001"/>
                <a:gd name="connsiteX31" fmla="*/ 5901 w 10690"/>
                <a:gd name="connsiteY31" fmla="*/ 272 h 10001"/>
                <a:gd name="connsiteX32" fmla="*/ 5901 w 10690"/>
                <a:gd name="connsiteY32" fmla="*/ 272 h 10001"/>
                <a:gd name="connsiteX33" fmla="*/ 5690 w 10690"/>
                <a:gd name="connsiteY33" fmla="*/ 317 h 10001"/>
                <a:gd name="connsiteX34" fmla="*/ 5672 w 10690"/>
                <a:gd name="connsiteY34" fmla="*/ 317 h 10001"/>
                <a:gd name="connsiteX35" fmla="*/ 5672 w 10690"/>
                <a:gd name="connsiteY35" fmla="*/ 294 h 10001"/>
                <a:gd name="connsiteX36" fmla="*/ 5444 w 10690"/>
                <a:gd name="connsiteY36" fmla="*/ 136 h 10001"/>
                <a:gd name="connsiteX37" fmla="*/ 5197 w 10690"/>
                <a:gd name="connsiteY37" fmla="*/ 1 h 10001"/>
                <a:gd name="connsiteX38" fmla="*/ 5074 w 10690"/>
                <a:gd name="connsiteY38" fmla="*/ 1 h 10001"/>
                <a:gd name="connsiteX39" fmla="*/ 4792 w 10690"/>
                <a:gd name="connsiteY39" fmla="*/ 136 h 10001"/>
                <a:gd name="connsiteX40" fmla="*/ 4475 w 10690"/>
                <a:gd name="connsiteY40" fmla="*/ 362 h 10001"/>
                <a:gd name="connsiteX41" fmla="*/ 4475 w 10690"/>
                <a:gd name="connsiteY41" fmla="*/ 362 h 10001"/>
                <a:gd name="connsiteX42" fmla="*/ 4458 w 10690"/>
                <a:gd name="connsiteY42" fmla="*/ 362 h 10001"/>
                <a:gd name="connsiteX43" fmla="*/ 4334 w 10690"/>
                <a:gd name="connsiteY43" fmla="*/ 407 h 10001"/>
                <a:gd name="connsiteX44" fmla="*/ 4264 w 10690"/>
                <a:gd name="connsiteY44" fmla="*/ 656 h 10001"/>
                <a:gd name="connsiteX45" fmla="*/ 4317 w 10690"/>
                <a:gd name="connsiteY45" fmla="*/ 723 h 10001"/>
                <a:gd name="connsiteX46" fmla="*/ 4317 w 10690"/>
                <a:gd name="connsiteY46" fmla="*/ 723 h 10001"/>
                <a:gd name="connsiteX47" fmla="*/ 4317 w 10690"/>
                <a:gd name="connsiteY47" fmla="*/ 746 h 10001"/>
                <a:gd name="connsiteX48" fmla="*/ 4334 w 10690"/>
                <a:gd name="connsiteY48" fmla="*/ 1288 h 10001"/>
                <a:gd name="connsiteX49" fmla="*/ 4352 w 10690"/>
                <a:gd name="connsiteY49" fmla="*/ 1491 h 10001"/>
                <a:gd name="connsiteX50" fmla="*/ 4064 w 10690"/>
                <a:gd name="connsiteY50" fmla="*/ 1589 h 10001"/>
                <a:gd name="connsiteX51" fmla="*/ 3913 w 10690"/>
                <a:gd name="connsiteY51" fmla="*/ 1540 h 10001"/>
                <a:gd name="connsiteX52" fmla="*/ 3652 w 10690"/>
                <a:gd name="connsiteY52" fmla="*/ 1558 h 10001"/>
                <a:gd name="connsiteX53" fmla="*/ 3500 w 10690"/>
                <a:gd name="connsiteY53" fmla="*/ 1437 h 10001"/>
                <a:gd name="connsiteX54" fmla="*/ 3230 w 10690"/>
                <a:gd name="connsiteY54" fmla="*/ 1619 h 10001"/>
                <a:gd name="connsiteX55" fmla="*/ 2526 w 10690"/>
                <a:gd name="connsiteY55" fmla="*/ 1135 h 10001"/>
                <a:gd name="connsiteX56" fmla="*/ 2181 w 10690"/>
                <a:gd name="connsiteY56" fmla="*/ 1215 h 10001"/>
                <a:gd name="connsiteX57" fmla="*/ 1832 w 10690"/>
                <a:gd name="connsiteY57" fmla="*/ 1446 h 10001"/>
                <a:gd name="connsiteX58" fmla="*/ 1557 w 10690"/>
                <a:gd name="connsiteY58" fmla="*/ 1756 h 10001"/>
                <a:gd name="connsiteX59" fmla="*/ 1250 w 10690"/>
                <a:gd name="connsiteY59" fmla="*/ 1644 h 10001"/>
                <a:gd name="connsiteX60" fmla="*/ 1071 w 10690"/>
                <a:gd name="connsiteY60" fmla="*/ 1773 h 10001"/>
                <a:gd name="connsiteX61" fmla="*/ 931 w 10690"/>
                <a:gd name="connsiteY61" fmla="*/ 2211 h 10001"/>
                <a:gd name="connsiteX62" fmla="*/ 659 w 10690"/>
                <a:gd name="connsiteY62" fmla="*/ 2699 h 10001"/>
                <a:gd name="connsiteX63" fmla="*/ 388 w 10690"/>
                <a:gd name="connsiteY63" fmla="*/ 3084 h 10001"/>
                <a:gd name="connsiteX64" fmla="*/ 227 w 10690"/>
                <a:gd name="connsiteY64" fmla="*/ 3419 h 10001"/>
                <a:gd name="connsiteX65" fmla="*/ 51 w 10690"/>
                <a:gd name="connsiteY65" fmla="*/ 3809 h 10001"/>
                <a:gd name="connsiteX66" fmla="*/ 118 w 10690"/>
                <a:gd name="connsiteY66" fmla="*/ 3954 h 10001"/>
                <a:gd name="connsiteX67" fmla="*/ 35 w 10690"/>
                <a:gd name="connsiteY67" fmla="*/ 4333 h 10001"/>
                <a:gd name="connsiteX68" fmla="*/ 220 w 10690"/>
                <a:gd name="connsiteY68" fmla="*/ 4448 h 10001"/>
                <a:gd name="connsiteX69" fmla="*/ 407 w 10690"/>
                <a:gd name="connsiteY69" fmla="*/ 4650 h 10001"/>
                <a:gd name="connsiteX70" fmla="*/ 533 w 10690"/>
                <a:gd name="connsiteY70" fmla="*/ 4953 h 10001"/>
                <a:gd name="connsiteX71" fmla="*/ 738 w 10690"/>
                <a:gd name="connsiteY71" fmla="*/ 5166 h 10001"/>
                <a:gd name="connsiteX72" fmla="*/ 743 w 10690"/>
                <a:gd name="connsiteY72" fmla="*/ 5464 h 10001"/>
                <a:gd name="connsiteX73" fmla="*/ 778 w 10690"/>
                <a:gd name="connsiteY73" fmla="*/ 5464 h 10001"/>
                <a:gd name="connsiteX74" fmla="*/ 848 w 10690"/>
                <a:gd name="connsiteY74" fmla="*/ 5644 h 10001"/>
                <a:gd name="connsiteX75" fmla="*/ 1271 w 10690"/>
                <a:gd name="connsiteY75" fmla="*/ 6096 h 10001"/>
                <a:gd name="connsiteX76" fmla="*/ 1271 w 10690"/>
                <a:gd name="connsiteY76" fmla="*/ 6118 h 10001"/>
                <a:gd name="connsiteX77" fmla="*/ 1271 w 10690"/>
                <a:gd name="connsiteY77" fmla="*/ 6118 h 10001"/>
                <a:gd name="connsiteX78" fmla="*/ 1341 w 10690"/>
                <a:gd name="connsiteY78" fmla="*/ 6547 h 10001"/>
                <a:gd name="connsiteX79" fmla="*/ 2222 w 10690"/>
                <a:gd name="connsiteY79" fmla="*/ 7112 h 10001"/>
                <a:gd name="connsiteX80" fmla="*/ 2239 w 10690"/>
                <a:gd name="connsiteY80" fmla="*/ 7112 h 10001"/>
                <a:gd name="connsiteX81" fmla="*/ 2239 w 10690"/>
                <a:gd name="connsiteY81" fmla="*/ 7134 h 10001"/>
                <a:gd name="connsiteX82" fmla="*/ 2415 w 10690"/>
                <a:gd name="connsiteY82" fmla="*/ 8173 h 10001"/>
                <a:gd name="connsiteX83" fmla="*/ 2767 w 10690"/>
                <a:gd name="connsiteY83" fmla="*/ 9053 h 10001"/>
                <a:gd name="connsiteX84" fmla="*/ 2891 w 10690"/>
                <a:gd name="connsiteY84" fmla="*/ 9324 h 10001"/>
                <a:gd name="connsiteX85" fmla="*/ 2891 w 10690"/>
                <a:gd name="connsiteY85" fmla="*/ 9324 h 10001"/>
                <a:gd name="connsiteX86" fmla="*/ 2891 w 10690"/>
                <a:gd name="connsiteY86" fmla="*/ 9346 h 10001"/>
                <a:gd name="connsiteX87" fmla="*/ 2873 w 10690"/>
                <a:gd name="connsiteY87" fmla="*/ 9933 h 10001"/>
                <a:gd name="connsiteX88" fmla="*/ 3014 w 10690"/>
                <a:gd name="connsiteY88" fmla="*/ 9933 h 10001"/>
                <a:gd name="connsiteX89" fmla="*/ 3120 w 10690"/>
                <a:gd name="connsiteY89" fmla="*/ 9662 h 10001"/>
                <a:gd name="connsiteX90" fmla="*/ 4053 w 10690"/>
                <a:gd name="connsiteY90" fmla="*/ 9662 h 10001"/>
                <a:gd name="connsiteX91" fmla="*/ 4334 w 10690"/>
                <a:gd name="connsiteY91" fmla="*/ 9437 h 10001"/>
                <a:gd name="connsiteX92" fmla="*/ 4651 w 10690"/>
                <a:gd name="connsiteY92" fmla="*/ 9346 h 10001"/>
                <a:gd name="connsiteX93" fmla="*/ 4968 w 10690"/>
                <a:gd name="connsiteY93" fmla="*/ 9504 h 10001"/>
                <a:gd name="connsiteX94" fmla="*/ 5179 w 10690"/>
                <a:gd name="connsiteY94" fmla="*/ 9437 h 10001"/>
                <a:gd name="connsiteX95" fmla="*/ 6130 w 10690"/>
                <a:gd name="connsiteY95" fmla="*/ 9369 h 10001"/>
                <a:gd name="connsiteX96" fmla="*/ 6482 w 10690"/>
                <a:gd name="connsiteY96" fmla="*/ 9211 h 10001"/>
                <a:gd name="connsiteX97" fmla="*/ 6641 w 10690"/>
                <a:gd name="connsiteY97" fmla="*/ 9369 h 10001"/>
                <a:gd name="connsiteX98" fmla="*/ 7292 w 10690"/>
                <a:gd name="connsiteY98" fmla="*/ 9324 h 10001"/>
                <a:gd name="connsiteX99" fmla="*/ 7433 w 10690"/>
                <a:gd name="connsiteY99" fmla="*/ 9572 h 10001"/>
                <a:gd name="connsiteX100" fmla="*/ 7609 w 10690"/>
                <a:gd name="connsiteY100" fmla="*/ 9775 h 10001"/>
                <a:gd name="connsiteX101" fmla="*/ 8172 w 10690"/>
                <a:gd name="connsiteY101" fmla="*/ 9730 h 10001"/>
                <a:gd name="connsiteX102" fmla="*/ 8348 w 10690"/>
                <a:gd name="connsiteY102" fmla="*/ 9866 h 10001"/>
                <a:gd name="connsiteX103" fmla="*/ 8454 w 10690"/>
                <a:gd name="connsiteY103" fmla="*/ 9911 h 10001"/>
                <a:gd name="connsiteX104" fmla="*/ 8525 w 10690"/>
                <a:gd name="connsiteY104" fmla="*/ 9978 h 10001"/>
                <a:gd name="connsiteX105" fmla="*/ 8630 w 10690"/>
                <a:gd name="connsiteY105" fmla="*/ 10001 h 10001"/>
                <a:gd name="connsiteX106" fmla="*/ 8806 w 10690"/>
                <a:gd name="connsiteY106" fmla="*/ 9933 h 10001"/>
                <a:gd name="connsiteX107" fmla="*/ 8753 w 10690"/>
                <a:gd name="connsiteY107" fmla="*/ 9617 h 10001"/>
                <a:gd name="connsiteX108" fmla="*/ 8577 w 10690"/>
                <a:gd name="connsiteY108" fmla="*/ 9392 h 10001"/>
                <a:gd name="connsiteX109" fmla="*/ 8577 w 10690"/>
                <a:gd name="connsiteY109" fmla="*/ 9008 h 10001"/>
                <a:gd name="connsiteX110" fmla="*/ 8753 w 10690"/>
                <a:gd name="connsiteY110" fmla="*/ 8872 h 10001"/>
                <a:gd name="connsiteX111" fmla="*/ 8965 w 10690"/>
                <a:gd name="connsiteY111" fmla="*/ 8692 h 10001"/>
                <a:gd name="connsiteX112" fmla="*/ 8841 w 10690"/>
                <a:gd name="connsiteY112" fmla="*/ 8601 h 10001"/>
                <a:gd name="connsiteX113" fmla="*/ 8753 w 10690"/>
                <a:gd name="connsiteY113" fmla="*/ 8466 h 10001"/>
                <a:gd name="connsiteX114" fmla="*/ 8894 w 10690"/>
                <a:gd name="connsiteY114" fmla="*/ 8240 h 10001"/>
                <a:gd name="connsiteX115" fmla="*/ 9211 w 10690"/>
                <a:gd name="connsiteY115" fmla="*/ 8240 h 10001"/>
                <a:gd name="connsiteX116" fmla="*/ 9211 w 10690"/>
                <a:gd name="connsiteY116" fmla="*/ 7947 h 10001"/>
                <a:gd name="connsiteX117" fmla="*/ 9000 w 10690"/>
                <a:gd name="connsiteY117" fmla="*/ 7834 h 10001"/>
                <a:gd name="connsiteX118" fmla="*/ 9088 w 10690"/>
                <a:gd name="connsiteY118" fmla="*/ 7495 h 10001"/>
                <a:gd name="connsiteX119" fmla="*/ 8366 w 10690"/>
                <a:gd name="connsiteY119" fmla="*/ 6164 h 10001"/>
                <a:gd name="connsiteX120" fmla="*/ 8208 w 10690"/>
                <a:gd name="connsiteY120" fmla="*/ 5441 h 10001"/>
                <a:gd name="connsiteX121" fmla="*/ 8366 w 10690"/>
                <a:gd name="connsiteY121" fmla="*/ 4764 h 10001"/>
                <a:gd name="connsiteX122" fmla="*/ 7697 w 10690"/>
                <a:gd name="connsiteY122" fmla="*/ 4854 h 10001"/>
                <a:gd name="connsiteX123" fmla="*/ 7662 w 10690"/>
                <a:gd name="connsiteY123" fmla="*/ 4809 h 10001"/>
                <a:gd name="connsiteX124" fmla="*/ 7644 w 10690"/>
                <a:gd name="connsiteY124" fmla="*/ 4629 h 10001"/>
                <a:gd name="connsiteX125" fmla="*/ 7785 w 10690"/>
                <a:gd name="connsiteY125" fmla="*/ 4267 h 10001"/>
                <a:gd name="connsiteX126" fmla="*/ 9158 w 10690"/>
                <a:gd name="connsiteY126" fmla="*/ 3342 h 10001"/>
                <a:gd name="connsiteX127" fmla="*/ 9598 w 10690"/>
                <a:gd name="connsiteY127" fmla="*/ 3161 h 10001"/>
                <a:gd name="connsiteX128" fmla="*/ 9792 w 10690"/>
                <a:gd name="connsiteY128" fmla="*/ 3432 h 10001"/>
                <a:gd name="connsiteX129" fmla="*/ 10003 w 10690"/>
                <a:gd name="connsiteY129" fmla="*/ 3432 h 10001"/>
                <a:gd name="connsiteX130" fmla="*/ 10250 w 10690"/>
                <a:gd name="connsiteY130" fmla="*/ 3206 h 10001"/>
                <a:gd name="connsiteX131" fmla="*/ 10655 w 10690"/>
                <a:gd name="connsiteY131" fmla="*/ 3455 h 10001"/>
                <a:gd name="connsiteX132" fmla="*/ 10690 w 10690"/>
                <a:gd name="connsiteY132" fmla="*/ 2732 h 10001"/>
                <a:gd name="connsiteX133" fmla="*/ 10197 w 10690"/>
                <a:gd name="connsiteY133" fmla="*/ 2732 h 10001"/>
                <a:gd name="connsiteX0" fmla="*/ 10197 w 10690"/>
                <a:gd name="connsiteY0" fmla="*/ 2732 h 10001"/>
                <a:gd name="connsiteX1" fmla="*/ 10250 w 10690"/>
                <a:gd name="connsiteY1" fmla="*/ 2507 h 10001"/>
                <a:gd name="connsiteX2" fmla="*/ 10250 w 10690"/>
                <a:gd name="connsiteY2" fmla="*/ 2394 h 10001"/>
                <a:gd name="connsiteX3" fmla="*/ 9986 w 10690"/>
                <a:gd name="connsiteY3" fmla="*/ 2349 h 10001"/>
                <a:gd name="connsiteX4" fmla="*/ 9951 w 10690"/>
                <a:gd name="connsiteY4" fmla="*/ 2349 h 10001"/>
                <a:gd name="connsiteX5" fmla="*/ 9951 w 10690"/>
                <a:gd name="connsiteY5" fmla="*/ 2326 h 10001"/>
                <a:gd name="connsiteX6" fmla="*/ 9845 w 10690"/>
                <a:gd name="connsiteY6" fmla="*/ 1965 h 10001"/>
                <a:gd name="connsiteX7" fmla="*/ 9282 w 10690"/>
                <a:gd name="connsiteY7" fmla="*/ 1423 h 10001"/>
                <a:gd name="connsiteX8" fmla="*/ 9282 w 10690"/>
                <a:gd name="connsiteY8" fmla="*/ 1423 h 10001"/>
                <a:gd name="connsiteX9" fmla="*/ 9264 w 10690"/>
                <a:gd name="connsiteY9" fmla="*/ 1401 h 10001"/>
                <a:gd name="connsiteX10" fmla="*/ 9211 w 10690"/>
                <a:gd name="connsiteY10" fmla="*/ 1175 h 10001"/>
                <a:gd name="connsiteX11" fmla="*/ 8982 w 10690"/>
                <a:gd name="connsiteY11" fmla="*/ 407 h 10001"/>
                <a:gd name="connsiteX12" fmla="*/ 8824 w 10690"/>
                <a:gd name="connsiteY12" fmla="*/ 385 h 10001"/>
                <a:gd name="connsiteX13" fmla="*/ 8630 w 10690"/>
                <a:gd name="connsiteY13" fmla="*/ 520 h 10001"/>
                <a:gd name="connsiteX14" fmla="*/ 8630 w 10690"/>
                <a:gd name="connsiteY14" fmla="*/ 520 h 10001"/>
                <a:gd name="connsiteX15" fmla="*/ 8613 w 10690"/>
                <a:gd name="connsiteY15" fmla="*/ 520 h 10001"/>
                <a:gd name="connsiteX16" fmla="*/ 7644 w 10690"/>
                <a:gd name="connsiteY16" fmla="*/ 543 h 10001"/>
                <a:gd name="connsiteX17" fmla="*/ 7627 w 10690"/>
                <a:gd name="connsiteY17" fmla="*/ 543 h 10001"/>
                <a:gd name="connsiteX18" fmla="*/ 7609 w 10690"/>
                <a:gd name="connsiteY18" fmla="*/ 543 h 10001"/>
                <a:gd name="connsiteX19" fmla="*/ 7327 w 10690"/>
                <a:gd name="connsiteY19" fmla="*/ 136 h 10001"/>
                <a:gd name="connsiteX20" fmla="*/ 7116 w 10690"/>
                <a:gd name="connsiteY20" fmla="*/ 114 h 10001"/>
                <a:gd name="connsiteX21" fmla="*/ 6867 w 10690"/>
                <a:gd name="connsiteY21" fmla="*/ 49 h 10001"/>
                <a:gd name="connsiteX22" fmla="*/ 6799 w 10690"/>
                <a:gd name="connsiteY22" fmla="*/ 407 h 10001"/>
                <a:gd name="connsiteX23" fmla="*/ 6694 w 10690"/>
                <a:gd name="connsiteY23" fmla="*/ 520 h 10001"/>
                <a:gd name="connsiteX24" fmla="*/ 6676 w 10690"/>
                <a:gd name="connsiteY24" fmla="*/ 543 h 10001"/>
                <a:gd name="connsiteX25" fmla="*/ 6658 w 10690"/>
                <a:gd name="connsiteY25" fmla="*/ 543 h 10001"/>
                <a:gd name="connsiteX26" fmla="*/ 6377 w 10690"/>
                <a:gd name="connsiteY26" fmla="*/ 543 h 10001"/>
                <a:gd name="connsiteX27" fmla="*/ 6341 w 10690"/>
                <a:gd name="connsiteY27" fmla="*/ 543 h 10001"/>
                <a:gd name="connsiteX28" fmla="*/ 6341 w 10690"/>
                <a:gd name="connsiteY28" fmla="*/ 520 h 10001"/>
                <a:gd name="connsiteX29" fmla="*/ 6042 w 10690"/>
                <a:gd name="connsiteY29" fmla="*/ 159 h 10001"/>
                <a:gd name="connsiteX30" fmla="*/ 5919 w 10690"/>
                <a:gd name="connsiteY30" fmla="*/ 272 h 10001"/>
                <a:gd name="connsiteX31" fmla="*/ 5901 w 10690"/>
                <a:gd name="connsiteY31" fmla="*/ 272 h 10001"/>
                <a:gd name="connsiteX32" fmla="*/ 5901 w 10690"/>
                <a:gd name="connsiteY32" fmla="*/ 272 h 10001"/>
                <a:gd name="connsiteX33" fmla="*/ 5690 w 10690"/>
                <a:gd name="connsiteY33" fmla="*/ 317 h 10001"/>
                <a:gd name="connsiteX34" fmla="*/ 5672 w 10690"/>
                <a:gd name="connsiteY34" fmla="*/ 317 h 10001"/>
                <a:gd name="connsiteX35" fmla="*/ 5672 w 10690"/>
                <a:gd name="connsiteY35" fmla="*/ 294 h 10001"/>
                <a:gd name="connsiteX36" fmla="*/ 5444 w 10690"/>
                <a:gd name="connsiteY36" fmla="*/ 136 h 10001"/>
                <a:gd name="connsiteX37" fmla="*/ 5197 w 10690"/>
                <a:gd name="connsiteY37" fmla="*/ 1 h 10001"/>
                <a:gd name="connsiteX38" fmla="*/ 5074 w 10690"/>
                <a:gd name="connsiteY38" fmla="*/ 1 h 10001"/>
                <a:gd name="connsiteX39" fmla="*/ 4792 w 10690"/>
                <a:gd name="connsiteY39" fmla="*/ 136 h 10001"/>
                <a:gd name="connsiteX40" fmla="*/ 4475 w 10690"/>
                <a:gd name="connsiteY40" fmla="*/ 362 h 10001"/>
                <a:gd name="connsiteX41" fmla="*/ 4475 w 10690"/>
                <a:gd name="connsiteY41" fmla="*/ 362 h 10001"/>
                <a:gd name="connsiteX42" fmla="*/ 4458 w 10690"/>
                <a:gd name="connsiteY42" fmla="*/ 362 h 10001"/>
                <a:gd name="connsiteX43" fmla="*/ 4334 w 10690"/>
                <a:gd name="connsiteY43" fmla="*/ 407 h 10001"/>
                <a:gd name="connsiteX44" fmla="*/ 4264 w 10690"/>
                <a:gd name="connsiteY44" fmla="*/ 656 h 10001"/>
                <a:gd name="connsiteX45" fmla="*/ 4317 w 10690"/>
                <a:gd name="connsiteY45" fmla="*/ 723 h 10001"/>
                <a:gd name="connsiteX46" fmla="*/ 4317 w 10690"/>
                <a:gd name="connsiteY46" fmla="*/ 723 h 10001"/>
                <a:gd name="connsiteX47" fmla="*/ 4317 w 10690"/>
                <a:gd name="connsiteY47" fmla="*/ 746 h 10001"/>
                <a:gd name="connsiteX48" fmla="*/ 4334 w 10690"/>
                <a:gd name="connsiteY48" fmla="*/ 1288 h 10001"/>
                <a:gd name="connsiteX49" fmla="*/ 4352 w 10690"/>
                <a:gd name="connsiteY49" fmla="*/ 1491 h 10001"/>
                <a:gd name="connsiteX50" fmla="*/ 4064 w 10690"/>
                <a:gd name="connsiteY50" fmla="*/ 1589 h 10001"/>
                <a:gd name="connsiteX51" fmla="*/ 3913 w 10690"/>
                <a:gd name="connsiteY51" fmla="*/ 1540 h 10001"/>
                <a:gd name="connsiteX52" fmla="*/ 3652 w 10690"/>
                <a:gd name="connsiteY52" fmla="*/ 1558 h 10001"/>
                <a:gd name="connsiteX53" fmla="*/ 3500 w 10690"/>
                <a:gd name="connsiteY53" fmla="*/ 1437 h 10001"/>
                <a:gd name="connsiteX54" fmla="*/ 3230 w 10690"/>
                <a:gd name="connsiteY54" fmla="*/ 1619 h 10001"/>
                <a:gd name="connsiteX55" fmla="*/ 2526 w 10690"/>
                <a:gd name="connsiteY55" fmla="*/ 1135 h 10001"/>
                <a:gd name="connsiteX56" fmla="*/ 2181 w 10690"/>
                <a:gd name="connsiteY56" fmla="*/ 1215 h 10001"/>
                <a:gd name="connsiteX57" fmla="*/ 1832 w 10690"/>
                <a:gd name="connsiteY57" fmla="*/ 1446 h 10001"/>
                <a:gd name="connsiteX58" fmla="*/ 1557 w 10690"/>
                <a:gd name="connsiteY58" fmla="*/ 1756 h 10001"/>
                <a:gd name="connsiteX59" fmla="*/ 1250 w 10690"/>
                <a:gd name="connsiteY59" fmla="*/ 1644 h 10001"/>
                <a:gd name="connsiteX60" fmla="*/ 1071 w 10690"/>
                <a:gd name="connsiteY60" fmla="*/ 1773 h 10001"/>
                <a:gd name="connsiteX61" fmla="*/ 931 w 10690"/>
                <a:gd name="connsiteY61" fmla="*/ 2211 h 10001"/>
                <a:gd name="connsiteX62" fmla="*/ 491 w 10690"/>
                <a:gd name="connsiteY62" fmla="*/ 2699 h 10001"/>
                <a:gd name="connsiteX63" fmla="*/ 388 w 10690"/>
                <a:gd name="connsiteY63" fmla="*/ 3084 h 10001"/>
                <a:gd name="connsiteX64" fmla="*/ 227 w 10690"/>
                <a:gd name="connsiteY64" fmla="*/ 3419 h 10001"/>
                <a:gd name="connsiteX65" fmla="*/ 51 w 10690"/>
                <a:gd name="connsiteY65" fmla="*/ 3809 h 10001"/>
                <a:gd name="connsiteX66" fmla="*/ 118 w 10690"/>
                <a:gd name="connsiteY66" fmla="*/ 3954 h 10001"/>
                <a:gd name="connsiteX67" fmla="*/ 35 w 10690"/>
                <a:gd name="connsiteY67" fmla="*/ 4333 h 10001"/>
                <a:gd name="connsiteX68" fmla="*/ 220 w 10690"/>
                <a:gd name="connsiteY68" fmla="*/ 4448 h 10001"/>
                <a:gd name="connsiteX69" fmla="*/ 407 w 10690"/>
                <a:gd name="connsiteY69" fmla="*/ 4650 h 10001"/>
                <a:gd name="connsiteX70" fmla="*/ 533 w 10690"/>
                <a:gd name="connsiteY70" fmla="*/ 4953 h 10001"/>
                <a:gd name="connsiteX71" fmla="*/ 738 w 10690"/>
                <a:gd name="connsiteY71" fmla="*/ 5166 h 10001"/>
                <a:gd name="connsiteX72" fmla="*/ 743 w 10690"/>
                <a:gd name="connsiteY72" fmla="*/ 5464 h 10001"/>
                <a:gd name="connsiteX73" fmla="*/ 778 w 10690"/>
                <a:gd name="connsiteY73" fmla="*/ 5464 h 10001"/>
                <a:gd name="connsiteX74" fmla="*/ 848 w 10690"/>
                <a:gd name="connsiteY74" fmla="*/ 5644 h 10001"/>
                <a:gd name="connsiteX75" fmla="*/ 1271 w 10690"/>
                <a:gd name="connsiteY75" fmla="*/ 6096 h 10001"/>
                <a:gd name="connsiteX76" fmla="*/ 1271 w 10690"/>
                <a:gd name="connsiteY76" fmla="*/ 6118 h 10001"/>
                <a:gd name="connsiteX77" fmla="*/ 1271 w 10690"/>
                <a:gd name="connsiteY77" fmla="*/ 6118 h 10001"/>
                <a:gd name="connsiteX78" fmla="*/ 1341 w 10690"/>
                <a:gd name="connsiteY78" fmla="*/ 6547 h 10001"/>
                <a:gd name="connsiteX79" fmla="*/ 2222 w 10690"/>
                <a:gd name="connsiteY79" fmla="*/ 7112 h 10001"/>
                <a:gd name="connsiteX80" fmla="*/ 2239 w 10690"/>
                <a:gd name="connsiteY80" fmla="*/ 7112 h 10001"/>
                <a:gd name="connsiteX81" fmla="*/ 2239 w 10690"/>
                <a:gd name="connsiteY81" fmla="*/ 7134 h 10001"/>
                <a:gd name="connsiteX82" fmla="*/ 2415 w 10690"/>
                <a:gd name="connsiteY82" fmla="*/ 8173 h 10001"/>
                <a:gd name="connsiteX83" fmla="*/ 2767 w 10690"/>
                <a:gd name="connsiteY83" fmla="*/ 9053 h 10001"/>
                <a:gd name="connsiteX84" fmla="*/ 2891 w 10690"/>
                <a:gd name="connsiteY84" fmla="*/ 9324 h 10001"/>
                <a:gd name="connsiteX85" fmla="*/ 2891 w 10690"/>
                <a:gd name="connsiteY85" fmla="*/ 9324 h 10001"/>
                <a:gd name="connsiteX86" fmla="*/ 2891 w 10690"/>
                <a:gd name="connsiteY86" fmla="*/ 9346 h 10001"/>
                <a:gd name="connsiteX87" fmla="*/ 2873 w 10690"/>
                <a:gd name="connsiteY87" fmla="*/ 9933 h 10001"/>
                <a:gd name="connsiteX88" fmla="*/ 3014 w 10690"/>
                <a:gd name="connsiteY88" fmla="*/ 9933 h 10001"/>
                <a:gd name="connsiteX89" fmla="*/ 3120 w 10690"/>
                <a:gd name="connsiteY89" fmla="*/ 9662 h 10001"/>
                <a:gd name="connsiteX90" fmla="*/ 4053 w 10690"/>
                <a:gd name="connsiteY90" fmla="*/ 9662 h 10001"/>
                <a:gd name="connsiteX91" fmla="*/ 4334 w 10690"/>
                <a:gd name="connsiteY91" fmla="*/ 9437 h 10001"/>
                <a:gd name="connsiteX92" fmla="*/ 4651 w 10690"/>
                <a:gd name="connsiteY92" fmla="*/ 9346 h 10001"/>
                <a:gd name="connsiteX93" fmla="*/ 4968 w 10690"/>
                <a:gd name="connsiteY93" fmla="*/ 9504 h 10001"/>
                <a:gd name="connsiteX94" fmla="*/ 5179 w 10690"/>
                <a:gd name="connsiteY94" fmla="*/ 9437 h 10001"/>
                <a:gd name="connsiteX95" fmla="*/ 6130 w 10690"/>
                <a:gd name="connsiteY95" fmla="*/ 9369 h 10001"/>
                <a:gd name="connsiteX96" fmla="*/ 6482 w 10690"/>
                <a:gd name="connsiteY96" fmla="*/ 9211 h 10001"/>
                <a:gd name="connsiteX97" fmla="*/ 6641 w 10690"/>
                <a:gd name="connsiteY97" fmla="*/ 9369 h 10001"/>
                <a:gd name="connsiteX98" fmla="*/ 7292 w 10690"/>
                <a:gd name="connsiteY98" fmla="*/ 9324 h 10001"/>
                <a:gd name="connsiteX99" fmla="*/ 7433 w 10690"/>
                <a:gd name="connsiteY99" fmla="*/ 9572 h 10001"/>
                <a:gd name="connsiteX100" fmla="*/ 7609 w 10690"/>
                <a:gd name="connsiteY100" fmla="*/ 9775 h 10001"/>
                <a:gd name="connsiteX101" fmla="*/ 8172 w 10690"/>
                <a:gd name="connsiteY101" fmla="*/ 9730 h 10001"/>
                <a:gd name="connsiteX102" fmla="*/ 8348 w 10690"/>
                <a:gd name="connsiteY102" fmla="*/ 9866 h 10001"/>
                <a:gd name="connsiteX103" fmla="*/ 8454 w 10690"/>
                <a:gd name="connsiteY103" fmla="*/ 9911 h 10001"/>
                <a:gd name="connsiteX104" fmla="*/ 8525 w 10690"/>
                <a:gd name="connsiteY104" fmla="*/ 9978 h 10001"/>
                <a:gd name="connsiteX105" fmla="*/ 8630 w 10690"/>
                <a:gd name="connsiteY105" fmla="*/ 10001 h 10001"/>
                <a:gd name="connsiteX106" fmla="*/ 8806 w 10690"/>
                <a:gd name="connsiteY106" fmla="*/ 9933 h 10001"/>
                <a:gd name="connsiteX107" fmla="*/ 8753 w 10690"/>
                <a:gd name="connsiteY107" fmla="*/ 9617 h 10001"/>
                <a:gd name="connsiteX108" fmla="*/ 8577 w 10690"/>
                <a:gd name="connsiteY108" fmla="*/ 9392 h 10001"/>
                <a:gd name="connsiteX109" fmla="*/ 8577 w 10690"/>
                <a:gd name="connsiteY109" fmla="*/ 9008 h 10001"/>
                <a:gd name="connsiteX110" fmla="*/ 8753 w 10690"/>
                <a:gd name="connsiteY110" fmla="*/ 8872 h 10001"/>
                <a:gd name="connsiteX111" fmla="*/ 8965 w 10690"/>
                <a:gd name="connsiteY111" fmla="*/ 8692 h 10001"/>
                <a:gd name="connsiteX112" fmla="*/ 8841 w 10690"/>
                <a:gd name="connsiteY112" fmla="*/ 8601 h 10001"/>
                <a:gd name="connsiteX113" fmla="*/ 8753 w 10690"/>
                <a:gd name="connsiteY113" fmla="*/ 8466 h 10001"/>
                <a:gd name="connsiteX114" fmla="*/ 8894 w 10690"/>
                <a:gd name="connsiteY114" fmla="*/ 8240 h 10001"/>
                <a:gd name="connsiteX115" fmla="*/ 9211 w 10690"/>
                <a:gd name="connsiteY115" fmla="*/ 8240 h 10001"/>
                <a:gd name="connsiteX116" fmla="*/ 9211 w 10690"/>
                <a:gd name="connsiteY116" fmla="*/ 7947 h 10001"/>
                <a:gd name="connsiteX117" fmla="*/ 9000 w 10690"/>
                <a:gd name="connsiteY117" fmla="*/ 7834 h 10001"/>
                <a:gd name="connsiteX118" fmla="*/ 9088 w 10690"/>
                <a:gd name="connsiteY118" fmla="*/ 7495 h 10001"/>
                <a:gd name="connsiteX119" fmla="*/ 8366 w 10690"/>
                <a:gd name="connsiteY119" fmla="*/ 6164 h 10001"/>
                <a:gd name="connsiteX120" fmla="*/ 8208 w 10690"/>
                <a:gd name="connsiteY120" fmla="*/ 5441 h 10001"/>
                <a:gd name="connsiteX121" fmla="*/ 8366 w 10690"/>
                <a:gd name="connsiteY121" fmla="*/ 4764 h 10001"/>
                <a:gd name="connsiteX122" fmla="*/ 7697 w 10690"/>
                <a:gd name="connsiteY122" fmla="*/ 4854 h 10001"/>
                <a:gd name="connsiteX123" fmla="*/ 7662 w 10690"/>
                <a:gd name="connsiteY123" fmla="*/ 4809 h 10001"/>
                <a:gd name="connsiteX124" fmla="*/ 7644 w 10690"/>
                <a:gd name="connsiteY124" fmla="*/ 4629 h 10001"/>
                <a:gd name="connsiteX125" fmla="*/ 7785 w 10690"/>
                <a:gd name="connsiteY125" fmla="*/ 4267 h 10001"/>
                <a:gd name="connsiteX126" fmla="*/ 9158 w 10690"/>
                <a:gd name="connsiteY126" fmla="*/ 3342 h 10001"/>
                <a:gd name="connsiteX127" fmla="*/ 9598 w 10690"/>
                <a:gd name="connsiteY127" fmla="*/ 3161 h 10001"/>
                <a:gd name="connsiteX128" fmla="*/ 9792 w 10690"/>
                <a:gd name="connsiteY128" fmla="*/ 3432 h 10001"/>
                <a:gd name="connsiteX129" fmla="*/ 10003 w 10690"/>
                <a:gd name="connsiteY129" fmla="*/ 3432 h 10001"/>
                <a:gd name="connsiteX130" fmla="*/ 10250 w 10690"/>
                <a:gd name="connsiteY130" fmla="*/ 3206 h 10001"/>
                <a:gd name="connsiteX131" fmla="*/ 10655 w 10690"/>
                <a:gd name="connsiteY131" fmla="*/ 3455 h 10001"/>
                <a:gd name="connsiteX132" fmla="*/ 10690 w 10690"/>
                <a:gd name="connsiteY132" fmla="*/ 2732 h 10001"/>
                <a:gd name="connsiteX133" fmla="*/ 10197 w 10690"/>
                <a:gd name="connsiteY133" fmla="*/ 2732 h 10001"/>
                <a:gd name="connsiteX0" fmla="*/ 10197 w 10690"/>
                <a:gd name="connsiteY0" fmla="*/ 2732 h 10001"/>
                <a:gd name="connsiteX1" fmla="*/ 10250 w 10690"/>
                <a:gd name="connsiteY1" fmla="*/ 2507 h 10001"/>
                <a:gd name="connsiteX2" fmla="*/ 10250 w 10690"/>
                <a:gd name="connsiteY2" fmla="*/ 2394 h 10001"/>
                <a:gd name="connsiteX3" fmla="*/ 9986 w 10690"/>
                <a:gd name="connsiteY3" fmla="*/ 2349 h 10001"/>
                <a:gd name="connsiteX4" fmla="*/ 9951 w 10690"/>
                <a:gd name="connsiteY4" fmla="*/ 2349 h 10001"/>
                <a:gd name="connsiteX5" fmla="*/ 9951 w 10690"/>
                <a:gd name="connsiteY5" fmla="*/ 2326 h 10001"/>
                <a:gd name="connsiteX6" fmla="*/ 9845 w 10690"/>
                <a:gd name="connsiteY6" fmla="*/ 1965 h 10001"/>
                <a:gd name="connsiteX7" fmla="*/ 9282 w 10690"/>
                <a:gd name="connsiteY7" fmla="*/ 1423 h 10001"/>
                <a:gd name="connsiteX8" fmla="*/ 9282 w 10690"/>
                <a:gd name="connsiteY8" fmla="*/ 1423 h 10001"/>
                <a:gd name="connsiteX9" fmla="*/ 9264 w 10690"/>
                <a:gd name="connsiteY9" fmla="*/ 1401 h 10001"/>
                <a:gd name="connsiteX10" fmla="*/ 9211 w 10690"/>
                <a:gd name="connsiteY10" fmla="*/ 1175 h 10001"/>
                <a:gd name="connsiteX11" fmla="*/ 8982 w 10690"/>
                <a:gd name="connsiteY11" fmla="*/ 407 h 10001"/>
                <a:gd name="connsiteX12" fmla="*/ 8824 w 10690"/>
                <a:gd name="connsiteY12" fmla="*/ 385 h 10001"/>
                <a:gd name="connsiteX13" fmla="*/ 8630 w 10690"/>
                <a:gd name="connsiteY13" fmla="*/ 520 h 10001"/>
                <a:gd name="connsiteX14" fmla="*/ 8630 w 10690"/>
                <a:gd name="connsiteY14" fmla="*/ 520 h 10001"/>
                <a:gd name="connsiteX15" fmla="*/ 8613 w 10690"/>
                <a:gd name="connsiteY15" fmla="*/ 520 h 10001"/>
                <a:gd name="connsiteX16" fmla="*/ 7644 w 10690"/>
                <a:gd name="connsiteY16" fmla="*/ 543 h 10001"/>
                <a:gd name="connsiteX17" fmla="*/ 7627 w 10690"/>
                <a:gd name="connsiteY17" fmla="*/ 543 h 10001"/>
                <a:gd name="connsiteX18" fmla="*/ 7609 w 10690"/>
                <a:gd name="connsiteY18" fmla="*/ 543 h 10001"/>
                <a:gd name="connsiteX19" fmla="*/ 7327 w 10690"/>
                <a:gd name="connsiteY19" fmla="*/ 136 h 10001"/>
                <a:gd name="connsiteX20" fmla="*/ 7116 w 10690"/>
                <a:gd name="connsiteY20" fmla="*/ 114 h 10001"/>
                <a:gd name="connsiteX21" fmla="*/ 6867 w 10690"/>
                <a:gd name="connsiteY21" fmla="*/ 49 h 10001"/>
                <a:gd name="connsiteX22" fmla="*/ 6799 w 10690"/>
                <a:gd name="connsiteY22" fmla="*/ 407 h 10001"/>
                <a:gd name="connsiteX23" fmla="*/ 6694 w 10690"/>
                <a:gd name="connsiteY23" fmla="*/ 520 h 10001"/>
                <a:gd name="connsiteX24" fmla="*/ 6676 w 10690"/>
                <a:gd name="connsiteY24" fmla="*/ 543 h 10001"/>
                <a:gd name="connsiteX25" fmla="*/ 6658 w 10690"/>
                <a:gd name="connsiteY25" fmla="*/ 543 h 10001"/>
                <a:gd name="connsiteX26" fmla="*/ 6377 w 10690"/>
                <a:gd name="connsiteY26" fmla="*/ 543 h 10001"/>
                <a:gd name="connsiteX27" fmla="*/ 6341 w 10690"/>
                <a:gd name="connsiteY27" fmla="*/ 543 h 10001"/>
                <a:gd name="connsiteX28" fmla="*/ 6341 w 10690"/>
                <a:gd name="connsiteY28" fmla="*/ 520 h 10001"/>
                <a:gd name="connsiteX29" fmla="*/ 6042 w 10690"/>
                <a:gd name="connsiteY29" fmla="*/ 159 h 10001"/>
                <a:gd name="connsiteX30" fmla="*/ 5919 w 10690"/>
                <a:gd name="connsiteY30" fmla="*/ 272 h 10001"/>
                <a:gd name="connsiteX31" fmla="*/ 5901 w 10690"/>
                <a:gd name="connsiteY31" fmla="*/ 272 h 10001"/>
                <a:gd name="connsiteX32" fmla="*/ 5901 w 10690"/>
                <a:gd name="connsiteY32" fmla="*/ 272 h 10001"/>
                <a:gd name="connsiteX33" fmla="*/ 5690 w 10690"/>
                <a:gd name="connsiteY33" fmla="*/ 317 h 10001"/>
                <a:gd name="connsiteX34" fmla="*/ 5672 w 10690"/>
                <a:gd name="connsiteY34" fmla="*/ 317 h 10001"/>
                <a:gd name="connsiteX35" fmla="*/ 5672 w 10690"/>
                <a:gd name="connsiteY35" fmla="*/ 294 h 10001"/>
                <a:gd name="connsiteX36" fmla="*/ 5444 w 10690"/>
                <a:gd name="connsiteY36" fmla="*/ 136 h 10001"/>
                <a:gd name="connsiteX37" fmla="*/ 5197 w 10690"/>
                <a:gd name="connsiteY37" fmla="*/ 1 h 10001"/>
                <a:gd name="connsiteX38" fmla="*/ 5074 w 10690"/>
                <a:gd name="connsiteY38" fmla="*/ 1 h 10001"/>
                <a:gd name="connsiteX39" fmla="*/ 4792 w 10690"/>
                <a:gd name="connsiteY39" fmla="*/ 136 h 10001"/>
                <a:gd name="connsiteX40" fmla="*/ 4475 w 10690"/>
                <a:gd name="connsiteY40" fmla="*/ 362 h 10001"/>
                <a:gd name="connsiteX41" fmla="*/ 4475 w 10690"/>
                <a:gd name="connsiteY41" fmla="*/ 362 h 10001"/>
                <a:gd name="connsiteX42" fmla="*/ 4458 w 10690"/>
                <a:gd name="connsiteY42" fmla="*/ 362 h 10001"/>
                <a:gd name="connsiteX43" fmla="*/ 4334 w 10690"/>
                <a:gd name="connsiteY43" fmla="*/ 407 h 10001"/>
                <a:gd name="connsiteX44" fmla="*/ 4264 w 10690"/>
                <a:gd name="connsiteY44" fmla="*/ 656 h 10001"/>
                <a:gd name="connsiteX45" fmla="*/ 4317 w 10690"/>
                <a:gd name="connsiteY45" fmla="*/ 723 h 10001"/>
                <a:gd name="connsiteX46" fmla="*/ 4317 w 10690"/>
                <a:gd name="connsiteY46" fmla="*/ 723 h 10001"/>
                <a:gd name="connsiteX47" fmla="*/ 4317 w 10690"/>
                <a:gd name="connsiteY47" fmla="*/ 746 h 10001"/>
                <a:gd name="connsiteX48" fmla="*/ 4334 w 10690"/>
                <a:gd name="connsiteY48" fmla="*/ 1288 h 10001"/>
                <a:gd name="connsiteX49" fmla="*/ 4352 w 10690"/>
                <a:gd name="connsiteY49" fmla="*/ 1491 h 10001"/>
                <a:gd name="connsiteX50" fmla="*/ 4064 w 10690"/>
                <a:gd name="connsiteY50" fmla="*/ 1589 h 10001"/>
                <a:gd name="connsiteX51" fmla="*/ 3913 w 10690"/>
                <a:gd name="connsiteY51" fmla="*/ 1540 h 10001"/>
                <a:gd name="connsiteX52" fmla="*/ 3652 w 10690"/>
                <a:gd name="connsiteY52" fmla="*/ 1558 h 10001"/>
                <a:gd name="connsiteX53" fmla="*/ 3500 w 10690"/>
                <a:gd name="connsiteY53" fmla="*/ 1437 h 10001"/>
                <a:gd name="connsiteX54" fmla="*/ 3230 w 10690"/>
                <a:gd name="connsiteY54" fmla="*/ 1619 h 10001"/>
                <a:gd name="connsiteX55" fmla="*/ 2526 w 10690"/>
                <a:gd name="connsiteY55" fmla="*/ 1135 h 10001"/>
                <a:gd name="connsiteX56" fmla="*/ 2181 w 10690"/>
                <a:gd name="connsiteY56" fmla="*/ 1215 h 10001"/>
                <a:gd name="connsiteX57" fmla="*/ 1832 w 10690"/>
                <a:gd name="connsiteY57" fmla="*/ 1446 h 10001"/>
                <a:gd name="connsiteX58" fmla="*/ 1557 w 10690"/>
                <a:gd name="connsiteY58" fmla="*/ 1756 h 10001"/>
                <a:gd name="connsiteX59" fmla="*/ 1250 w 10690"/>
                <a:gd name="connsiteY59" fmla="*/ 1644 h 10001"/>
                <a:gd name="connsiteX60" fmla="*/ 1071 w 10690"/>
                <a:gd name="connsiteY60" fmla="*/ 1773 h 10001"/>
                <a:gd name="connsiteX61" fmla="*/ 931 w 10690"/>
                <a:gd name="connsiteY61" fmla="*/ 2211 h 10001"/>
                <a:gd name="connsiteX62" fmla="*/ 491 w 10690"/>
                <a:gd name="connsiteY62" fmla="*/ 2699 h 10001"/>
                <a:gd name="connsiteX63" fmla="*/ 97 w 10690"/>
                <a:gd name="connsiteY63" fmla="*/ 3005 h 10001"/>
                <a:gd name="connsiteX64" fmla="*/ 227 w 10690"/>
                <a:gd name="connsiteY64" fmla="*/ 3419 h 10001"/>
                <a:gd name="connsiteX65" fmla="*/ 51 w 10690"/>
                <a:gd name="connsiteY65" fmla="*/ 3809 h 10001"/>
                <a:gd name="connsiteX66" fmla="*/ 118 w 10690"/>
                <a:gd name="connsiteY66" fmla="*/ 3954 h 10001"/>
                <a:gd name="connsiteX67" fmla="*/ 35 w 10690"/>
                <a:gd name="connsiteY67" fmla="*/ 4333 h 10001"/>
                <a:gd name="connsiteX68" fmla="*/ 220 w 10690"/>
                <a:gd name="connsiteY68" fmla="*/ 4448 h 10001"/>
                <a:gd name="connsiteX69" fmla="*/ 407 w 10690"/>
                <a:gd name="connsiteY69" fmla="*/ 4650 h 10001"/>
                <a:gd name="connsiteX70" fmla="*/ 533 w 10690"/>
                <a:gd name="connsiteY70" fmla="*/ 4953 h 10001"/>
                <a:gd name="connsiteX71" fmla="*/ 738 w 10690"/>
                <a:gd name="connsiteY71" fmla="*/ 5166 h 10001"/>
                <a:gd name="connsiteX72" fmla="*/ 743 w 10690"/>
                <a:gd name="connsiteY72" fmla="*/ 5464 h 10001"/>
                <a:gd name="connsiteX73" fmla="*/ 778 w 10690"/>
                <a:gd name="connsiteY73" fmla="*/ 5464 h 10001"/>
                <a:gd name="connsiteX74" fmla="*/ 848 w 10690"/>
                <a:gd name="connsiteY74" fmla="*/ 5644 h 10001"/>
                <a:gd name="connsiteX75" fmla="*/ 1271 w 10690"/>
                <a:gd name="connsiteY75" fmla="*/ 6096 h 10001"/>
                <a:gd name="connsiteX76" fmla="*/ 1271 w 10690"/>
                <a:gd name="connsiteY76" fmla="*/ 6118 h 10001"/>
                <a:gd name="connsiteX77" fmla="*/ 1271 w 10690"/>
                <a:gd name="connsiteY77" fmla="*/ 6118 h 10001"/>
                <a:gd name="connsiteX78" fmla="*/ 1341 w 10690"/>
                <a:gd name="connsiteY78" fmla="*/ 6547 h 10001"/>
                <a:gd name="connsiteX79" fmla="*/ 2222 w 10690"/>
                <a:gd name="connsiteY79" fmla="*/ 7112 h 10001"/>
                <a:gd name="connsiteX80" fmla="*/ 2239 w 10690"/>
                <a:gd name="connsiteY80" fmla="*/ 7112 h 10001"/>
                <a:gd name="connsiteX81" fmla="*/ 2239 w 10690"/>
                <a:gd name="connsiteY81" fmla="*/ 7134 h 10001"/>
                <a:gd name="connsiteX82" fmla="*/ 2415 w 10690"/>
                <a:gd name="connsiteY82" fmla="*/ 8173 h 10001"/>
                <a:gd name="connsiteX83" fmla="*/ 2767 w 10690"/>
                <a:gd name="connsiteY83" fmla="*/ 9053 h 10001"/>
                <a:gd name="connsiteX84" fmla="*/ 2891 w 10690"/>
                <a:gd name="connsiteY84" fmla="*/ 9324 h 10001"/>
                <a:gd name="connsiteX85" fmla="*/ 2891 w 10690"/>
                <a:gd name="connsiteY85" fmla="*/ 9324 h 10001"/>
                <a:gd name="connsiteX86" fmla="*/ 2891 w 10690"/>
                <a:gd name="connsiteY86" fmla="*/ 9346 h 10001"/>
                <a:gd name="connsiteX87" fmla="*/ 2873 w 10690"/>
                <a:gd name="connsiteY87" fmla="*/ 9933 h 10001"/>
                <a:gd name="connsiteX88" fmla="*/ 3014 w 10690"/>
                <a:gd name="connsiteY88" fmla="*/ 9933 h 10001"/>
                <a:gd name="connsiteX89" fmla="*/ 3120 w 10690"/>
                <a:gd name="connsiteY89" fmla="*/ 9662 h 10001"/>
                <a:gd name="connsiteX90" fmla="*/ 4053 w 10690"/>
                <a:gd name="connsiteY90" fmla="*/ 9662 h 10001"/>
                <a:gd name="connsiteX91" fmla="*/ 4334 w 10690"/>
                <a:gd name="connsiteY91" fmla="*/ 9437 h 10001"/>
                <a:gd name="connsiteX92" fmla="*/ 4651 w 10690"/>
                <a:gd name="connsiteY92" fmla="*/ 9346 h 10001"/>
                <a:gd name="connsiteX93" fmla="*/ 4968 w 10690"/>
                <a:gd name="connsiteY93" fmla="*/ 9504 h 10001"/>
                <a:gd name="connsiteX94" fmla="*/ 5179 w 10690"/>
                <a:gd name="connsiteY94" fmla="*/ 9437 h 10001"/>
                <a:gd name="connsiteX95" fmla="*/ 6130 w 10690"/>
                <a:gd name="connsiteY95" fmla="*/ 9369 h 10001"/>
                <a:gd name="connsiteX96" fmla="*/ 6482 w 10690"/>
                <a:gd name="connsiteY96" fmla="*/ 9211 h 10001"/>
                <a:gd name="connsiteX97" fmla="*/ 6641 w 10690"/>
                <a:gd name="connsiteY97" fmla="*/ 9369 h 10001"/>
                <a:gd name="connsiteX98" fmla="*/ 7292 w 10690"/>
                <a:gd name="connsiteY98" fmla="*/ 9324 h 10001"/>
                <a:gd name="connsiteX99" fmla="*/ 7433 w 10690"/>
                <a:gd name="connsiteY99" fmla="*/ 9572 h 10001"/>
                <a:gd name="connsiteX100" fmla="*/ 7609 w 10690"/>
                <a:gd name="connsiteY100" fmla="*/ 9775 h 10001"/>
                <a:gd name="connsiteX101" fmla="*/ 8172 w 10690"/>
                <a:gd name="connsiteY101" fmla="*/ 9730 h 10001"/>
                <a:gd name="connsiteX102" fmla="*/ 8348 w 10690"/>
                <a:gd name="connsiteY102" fmla="*/ 9866 h 10001"/>
                <a:gd name="connsiteX103" fmla="*/ 8454 w 10690"/>
                <a:gd name="connsiteY103" fmla="*/ 9911 h 10001"/>
                <a:gd name="connsiteX104" fmla="*/ 8525 w 10690"/>
                <a:gd name="connsiteY104" fmla="*/ 9978 h 10001"/>
                <a:gd name="connsiteX105" fmla="*/ 8630 w 10690"/>
                <a:gd name="connsiteY105" fmla="*/ 10001 h 10001"/>
                <a:gd name="connsiteX106" fmla="*/ 8806 w 10690"/>
                <a:gd name="connsiteY106" fmla="*/ 9933 h 10001"/>
                <a:gd name="connsiteX107" fmla="*/ 8753 w 10690"/>
                <a:gd name="connsiteY107" fmla="*/ 9617 h 10001"/>
                <a:gd name="connsiteX108" fmla="*/ 8577 w 10690"/>
                <a:gd name="connsiteY108" fmla="*/ 9392 h 10001"/>
                <a:gd name="connsiteX109" fmla="*/ 8577 w 10690"/>
                <a:gd name="connsiteY109" fmla="*/ 9008 h 10001"/>
                <a:gd name="connsiteX110" fmla="*/ 8753 w 10690"/>
                <a:gd name="connsiteY110" fmla="*/ 8872 h 10001"/>
                <a:gd name="connsiteX111" fmla="*/ 8965 w 10690"/>
                <a:gd name="connsiteY111" fmla="*/ 8692 h 10001"/>
                <a:gd name="connsiteX112" fmla="*/ 8841 w 10690"/>
                <a:gd name="connsiteY112" fmla="*/ 8601 h 10001"/>
                <a:gd name="connsiteX113" fmla="*/ 8753 w 10690"/>
                <a:gd name="connsiteY113" fmla="*/ 8466 h 10001"/>
                <a:gd name="connsiteX114" fmla="*/ 8894 w 10690"/>
                <a:gd name="connsiteY114" fmla="*/ 8240 h 10001"/>
                <a:gd name="connsiteX115" fmla="*/ 9211 w 10690"/>
                <a:gd name="connsiteY115" fmla="*/ 8240 h 10001"/>
                <a:gd name="connsiteX116" fmla="*/ 9211 w 10690"/>
                <a:gd name="connsiteY116" fmla="*/ 7947 h 10001"/>
                <a:gd name="connsiteX117" fmla="*/ 9000 w 10690"/>
                <a:gd name="connsiteY117" fmla="*/ 7834 h 10001"/>
                <a:gd name="connsiteX118" fmla="*/ 9088 w 10690"/>
                <a:gd name="connsiteY118" fmla="*/ 7495 h 10001"/>
                <a:gd name="connsiteX119" fmla="*/ 8366 w 10690"/>
                <a:gd name="connsiteY119" fmla="*/ 6164 h 10001"/>
                <a:gd name="connsiteX120" fmla="*/ 8208 w 10690"/>
                <a:gd name="connsiteY120" fmla="*/ 5441 h 10001"/>
                <a:gd name="connsiteX121" fmla="*/ 8366 w 10690"/>
                <a:gd name="connsiteY121" fmla="*/ 4764 h 10001"/>
                <a:gd name="connsiteX122" fmla="*/ 7697 w 10690"/>
                <a:gd name="connsiteY122" fmla="*/ 4854 h 10001"/>
                <a:gd name="connsiteX123" fmla="*/ 7662 w 10690"/>
                <a:gd name="connsiteY123" fmla="*/ 4809 h 10001"/>
                <a:gd name="connsiteX124" fmla="*/ 7644 w 10690"/>
                <a:gd name="connsiteY124" fmla="*/ 4629 h 10001"/>
                <a:gd name="connsiteX125" fmla="*/ 7785 w 10690"/>
                <a:gd name="connsiteY125" fmla="*/ 4267 h 10001"/>
                <a:gd name="connsiteX126" fmla="*/ 9158 w 10690"/>
                <a:gd name="connsiteY126" fmla="*/ 3342 h 10001"/>
                <a:gd name="connsiteX127" fmla="*/ 9598 w 10690"/>
                <a:gd name="connsiteY127" fmla="*/ 3161 h 10001"/>
                <a:gd name="connsiteX128" fmla="*/ 9792 w 10690"/>
                <a:gd name="connsiteY128" fmla="*/ 3432 h 10001"/>
                <a:gd name="connsiteX129" fmla="*/ 10003 w 10690"/>
                <a:gd name="connsiteY129" fmla="*/ 3432 h 10001"/>
                <a:gd name="connsiteX130" fmla="*/ 10250 w 10690"/>
                <a:gd name="connsiteY130" fmla="*/ 3206 h 10001"/>
                <a:gd name="connsiteX131" fmla="*/ 10655 w 10690"/>
                <a:gd name="connsiteY131" fmla="*/ 3455 h 10001"/>
                <a:gd name="connsiteX132" fmla="*/ 10690 w 10690"/>
                <a:gd name="connsiteY132" fmla="*/ 2732 h 10001"/>
                <a:gd name="connsiteX133" fmla="*/ 10197 w 10690"/>
                <a:gd name="connsiteY133" fmla="*/ 2732 h 10001"/>
                <a:gd name="connsiteX0" fmla="*/ 10197 w 10690"/>
                <a:gd name="connsiteY0" fmla="*/ 2732 h 10001"/>
                <a:gd name="connsiteX1" fmla="*/ 10250 w 10690"/>
                <a:gd name="connsiteY1" fmla="*/ 2507 h 10001"/>
                <a:gd name="connsiteX2" fmla="*/ 10250 w 10690"/>
                <a:gd name="connsiteY2" fmla="*/ 2394 h 10001"/>
                <a:gd name="connsiteX3" fmla="*/ 9986 w 10690"/>
                <a:gd name="connsiteY3" fmla="*/ 2349 h 10001"/>
                <a:gd name="connsiteX4" fmla="*/ 9951 w 10690"/>
                <a:gd name="connsiteY4" fmla="*/ 2349 h 10001"/>
                <a:gd name="connsiteX5" fmla="*/ 9951 w 10690"/>
                <a:gd name="connsiteY5" fmla="*/ 2326 h 10001"/>
                <a:gd name="connsiteX6" fmla="*/ 9845 w 10690"/>
                <a:gd name="connsiteY6" fmla="*/ 1965 h 10001"/>
                <a:gd name="connsiteX7" fmla="*/ 9282 w 10690"/>
                <a:gd name="connsiteY7" fmla="*/ 1423 h 10001"/>
                <a:gd name="connsiteX8" fmla="*/ 9282 w 10690"/>
                <a:gd name="connsiteY8" fmla="*/ 1423 h 10001"/>
                <a:gd name="connsiteX9" fmla="*/ 9264 w 10690"/>
                <a:gd name="connsiteY9" fmla="*/ 1401 h 10001"/>
                <a:gd name="connsiteX10" fmla="*/ 9211 w 10690"/>
                <a:gd name="connsiteY10" fmla="*/ 1175 h 10001"/>
                <a:gd name="connsiteX11" fmla="*/ 8982 w 10690"/>
                <a:gd name="connsiteY11" fmla="*/ 407 h 10001"/>
                <a:gd name="connsiteX12" fmla="*/ 8824 w 10690"/>
                <a:gd name="connsiteY12" fmla="*/ 385 h 10001"/>
                <a:gd name="connsiteX13" fmla="*/ 8630 w 10690"/>
                <a:gd name="connsiteY13" fmla="*/ 520 h 10001"/>
                <a:gd name="connsiteX14" fmla="*/ 8630 w 10690"/>
                <a:gd name="connsiteY14" fmla="*/ 520 h 10001"/>
                <a:gd name="connsiteX15" fmla="*/ 8613 w 10690"/>
                <a:gd name="connsiteY15" fmla="*/ 520 h 10001"/>
                <a:gd name="connsiteX16" fmla="*/ 7644 w 10690"/>
                <a:gd name="connsiteY16" fmla="*/ 543 h 10001"/>
                <a:gd name="connsiteX17" fmla="*/ 7627 w 10690"/>
                <a:gd name="connsiteY17" fmla="*/ 543 h 10001"/>
                <a:gd name="connsiteX18" fmla="*/ 7609 w 10690"/>
                <a:gd name="connsiteY18" fmla="*/ 543 h 10001"/>
                <a:gd name="connsiteX19" fmla="*/ 7327 w 10690"/>
                <a:gd name="connsiteY19" fmla="*/ 136 h 10001"/>
                <a:gd name="connsiteX20" fmla="*/ 7116 w 10690"/>
                <a:gd name="connsiteY20" fmla="*/ 114 h 10001"/>
                <a:gd name="connsiteX21" fmla="*/ 6867 w 10690"/>
                <a:gd name="connsiteY21" fmla="*/ 49 h 10001"/>
                <a:gd name="connsiteX22" fmla="*/ 6799 w 10690"/>
                <a:gd name="connsiteY22" fmla="*/ 407 h 10001"/>
                <a:gd name="connsiteX23" fmla="*/ 6694 w 10690"/>
                <a:gd name="connsiteY23" fmla="*/ 520 h 10001"/>
                <a:gd name="connsiteX24" fmla="*/ 6676 w 10690"/>
                <a:gd name="connsiteY24" fmla="*/ 543 h 10001"/>
                <a:gd name="connsiteX25" fmla="*/ 6658 w 10690"/>
                <a:gd name="connsiteY25" fmla="*/ 543 h 10001"/>
                <a:gd name="connsiteX26" fmla="*/ 6377 w 10690"/>
                <a:gd name="connsiteY26" fmla="*/ 543 h 10001"/>
                <a:gd name="connsiteX27" fmla="*/ 6341 w 10690"/>
                <a:gd name="connsiteY27" fmla="*/ 543 h 10001"/>
                <a:gd name="connsiteX28" fmla="*/ 6341 w 10690"/>
                <a:gd name="connsiteY28" fmla="*/ 520 h 10001"/>
                <a:gd name="connsiteX29" fmla="*/ 6042 w 10690"/>
                <a:gd name="connsiteY29" fmla="*/ 159 h 10001"/>
                <a:gd name="connsiteX30" fmla="*/ 5919 w 10690"/>
                <a:gd name="connsiteY30" fmla="*/ 272 h 10001"/>
                <a:gd name="connsiteX31" fmla="*/ 5901 w 10690"/>
                <a:gd name="connsiteY31" fmla="*/ 272 h 10001"/>
                <a:gd name="connsiteX32" fmla="*/ 5901 w 10690"/>
                <a:gd name="connsiteY32" fmla="*/ 272 h 10001"/>
                <a:gd name="connsiteX33" fmla="*/ 5690 w 10690"/>
                <a:gd name="connsiteY33" fmla="*/ 317 h 10001"/>
                <a:gd name="connsiteX34" fmla="*/ 5672 w 10690"/>
                <a:gd name="connsiteY34" fmla="*/ 317 h 10001"/>
                <a:gd name="connsiteX35" fmla="*/ 5672 w 10690"/>
                <a:gd name="connsiteY35" fmla="*/ 294 h 10001"/>
                <a:gd name="connsiteX36" fmla="*/ 5444 w 10690"/>
                <a:gd name="connsiteY36" fmla="*/ 136 h 10001"/>
                <a:gd name="connsiteX37" fmla="*/ 5197 w 10690"/>
                <a:gd name="connsiteY37" fmla="*/ 1 h 10001"/>
                <a:gd name="connsiteX38" fmla="*/ 5074 w 10690"/>
                <a:gd name="connsiteY38" fmla="*/ 1 h 10001"/>
                <a:gd name="connsiteX39" fmla="*/ 4792 w 10690"/>
                <a:gd name="connsiteY39" fmla="*/ 136 h 10001"/>
                <a:gd name="connsiteX40" fmla="*/ 4475 w 10690"/>
                <a:gd name="connsiteY40" fmla="*/ 362 h 10001"/>
                <a:gd name="connsiteX41" fmla="*/ 4475 w 10690"/>
                <a:gd name="connsiteY41" fmla="*/ 362 h 10001"/>
                <a:gd name="connsiteX42" fmla="*/ 4458 w 10690"/>
                <a:gd name="connsiteY42" fmla="*/ 362 h 10001"/>
                <a:gd name="connsiteX43" fmla="*/ 4334 w 10690"/>
                <a:gd name="connsiteY43" fmla="*/ 407 h 10001"/>
                <a:gd name="connsiteX44" fmla="*/ 4264 w 10690"/>
                <a:gd name="connsiteY44" fmla="*/ 656 h 10001"/>
                <a:gd name="connsiteX45" fmla="*/ 4317 w 10690"/>
                <a:gd name="connsiteY45" fmla="*/ 723 h 10001"/>
                <a:gd name="connsiteX46" fmla="*/ 4317 w 10690"/>
                <a:gd name="connsiteY46" fmla="*/ 723 h 10001"/>
                <a:gd name="connsiteX47" fmla="*/ 4317 w 10690"/>
                <a:gd name="connsiteY47" fmla="*/ 746 h 10001"/>
                <a:gd name="connsiteX48" fmla="*/ 4334 w 10690"/>
                <a:gd name="connsiteY48" fmla="*/ 1288 h 10001"/>
                <a:gd name="connsiteX49" fmla="*/ 4352 w 10690"/>
                <a:gd name="connsiteY49" fmla="*/ 1491 h 10001"/>
                <a:gd name="connsiteX50" fmla="*/ 4064 w 10690"/>
                <a:gd name="connsiteY50" fmla="*/ 1589 h 10001"/>
                <a:gd name="connsiteX51" fmla="*/ 3913 w 10690"/>
                <a:gd name="connsiteY51" fmla="*/ 1540 h 10001"/>
                <a:gd name="connsiteX52" fmla="*/ 3652 w 10690"/>
                <a:gd name="connsiteY52" fmla="*/ 1558 h 10001"/>
                <a:gd name="connsiteX53" fmla="*/ 3500 w 10690"/>
                <a:gd name="connsiteY53" fmla="*/ 1437 h 10001"/>
                <a:gd name="connsiteX54" fmla="*/ 3230 w 10690"/>
                <a:gd name="connsiteY54" fmla="*/ 1619 h 10001"/>
                <a:gd name="connsiteX55" fmla="*/ 2526 w 10690"/>
                <a:gd name="connsiteY55" fmla="*/ 1135 h 10001"/>
                <a:gd name="connsiteX56" fmla="*/ 2181 w 10690"/>
                <a:gd name="connsiteY56" fmla="*/ 1215 h 10001"/>
                <a:gd name="connsiteX57" fmla="*/ 1832 w 10690"/>
                <a:gd name="connsiteY57" fmla="*/ 1446 h 10001"/>
                <a:gd name="connsiteX58" fmla="*/ 1557 w 10690"/>
                <a:gd name="connsiteY58" fmla="*/ 1756 h 10001"/>
                <a:gd name="connsiteX59" fmla="*/ 1250 w 10690"/>
                <a:gd name="connsiteY59" fmla="*/ 1644 h 10001"/>
                <a:gd name="connsiteX60" fmla="*/ 1071 w 10690"/>
                <a:gd name="connsiteY60" fmla="*/ 1773 h 10001"/>
                <a:gd name="connsiteX61" fmla="*/ 931 w 10690"/>
                <a:gd name="connsiteY61" fmla="*/ 2211 h 10001"/>
                <a:gd name="connsiteX62" fmla="*/ 491 w 10690"/>
                <a:gd name="connsiteY62" fmla="*/ 2699 h 10001"/>
                <a:gd name="connsiteX63" fmla="*/ 97 w 10690"/>
                <a:gd name="connsiteY63" fmla="*/ 3005 h 10001"/>
                <a:gd name="connsiteX64" fmla="*/ 89 w 10690"/>
                <a:gd name="connsiteY64" fmla="*/ 3458 h 10001"/>
                <a:gd name="connsiteX65" fmla="*/ 51 w 10690"/>
                <a:gd name="connsiteY65" fmla="*/ 3809 h 10001"/>
                <a:gd name="connsiteX66" fmla="*/ 118 w 10690"/>
                <a:gd name="connsiteY66" fmla="*/ 3954 h 10001"/>
                <a:gd name="connsiteX67" fmla="*/ 35 w 10690"/>
                <a:gd name="connsiteY67" fmla="*/ 4333 h 10001"/>
                <a:gd name="connsiteX68" fmla="*/ 220 w 10690"/>
                <a:gd name="connsiteY68" fmla="*/ 4448 h 10001"/>
                <a:gd name="connsiteX69" fmla="*/ 407 w 10690"/>
                <a:gd name="connsiteY69" fmla="*/ 4650 h 10001"/>
                <a:gd name="connsiteX70" fmla="*/ 533 w 10690"/>
                <a:gd name="connsiteY70" fmla="*/ 4953 h 10001"/>
                <a:gd name="connsiteX71" fmla="*/ 738 w 10690"/>
                <a:gd name="connsiteY71" fmla="*/ 5166 h 10001"/>
                <a:gd name="connsiteX72" fmla="*/ 743 w 10690"/>
                <a:gd name="connsiteY72" fmla="*/ 5464 h 10001"/>
                <a:gd name="connsiteX73" fmla="*/ 778 w 10690"/>
                <a:gd name="connsiteY73" fmla="*/ 5464 h 10001"/>
                <a:gd name="connsiteX74" fmla="*/ 848 w 10690"/>
                <a:gd name="connsiteY74" fmla="*/ 5644 h 10001"/>
                <a:gd name="connsiteX75" fmla="*/ 1271 w 10690"/>
                <a:gd name="connsiteY75" fmla="*/ 6096 h 10001"/>
                <a:gd name="connsiteX76" fmla="*/ 1271 w 10690"/>
                <a:gd name="connsiteY76" fmla="*/ 6118 h 10001"/>
                <a:gd name="connsiteX77" fmla="*/ 1271 w 10690"/>
                <a:gd name="connsiteY77" fmla="*/ 6118 h 10001"/>
                <a:gd name="connsiteX78" fmla="*/ 1341 w 10690"/>
                <a:gd name="connsiteY78" fmla="*/ 6547 h 10001"/>
                <a:gd name="connsiteX79" fmla="*/ 2222 w 10690"/>
                <a:gd name="connsiteY79" fmla="*/ 7112 h 10001"/>
                <a:gd name="connsiteX80" fmla="*/ 2239 w 10690"/>
                <a:gd name="connsiteY80" fmla="*/ 7112 h 10001"/>
                <a:gd name="connsiteX81" fmla="*/ 2239 w 10690"/>
                <a:gd name="connsiteY81" fmla="*/ 7134 h 10001"/>
                <a:gd name="connsiteX82" fmla="*/ 2415 w 10690"/>
                <a:gd name="connsiteY82" fmla="*/ 8173 h 10001"/>
                <a:gd name="connsiteX83" fmla="*/ 2767 w 10690"/>
                <a:gd name="connsiteY83" fmla="*/ 9053 h 10001"/>
                <a:gd name="connsiteX84" fmla="*/ 2891 w 10690"/>
                <a:gd name="connsiteY84" fmla="*/ 9324 h 10001"/>
                <a:gd name="connsiteX85" fmla="*/ 2891 w 10690"/>
                <a:gd name="connsiteY85" fmla="*/ 9324 h 10001"/>
                <a:gd name="connsiteX86" fmla="*/ 2891 w 10690"/>
                <a:gd name="connsiteY86" fmla="*/ 9346 h 10001"/>
                <a:gd name="connsiteX87" fmla="*/ 2873 w 10690"/>
                <a:gd name="connsiteY87" fmla="*/ 9933 h 10001"/>
                <a:gd name="connsiteX88" fmla="*/ 3014 w 10690"/>
                <a:gd name="connsiteY88" fmla="*/ 9933 h 10001"/>
                <a:gd name="connsiteX89" fmla="*/ 3120 w 10690"/>
                <a:gd name="connsiteY89" fmla="*/ 9662 h 10001"/>
                <a:gd name="connsiteX90" fmla="*/ 4053 w 10690"/>
                <a:gd name="connsiteY90" fmla="*/ 9662 h 10001"/>
                <a:gd name="connsiteX91" fmla="*/ 4334 w 10690"/>
                <a:gd name="connsiteY91" fmla="*/ 9437 h 10001"/>
                <a:gd name="connsiteX92" fmla="*/ 4651 w 10690"/>
                <a:gd name="connsiteY92" fmla="*/ 9346 h 10001"/>
                <a:gd name="connsiteX93" fmla="*/ 4968 w 10690"/>
                <a:gd name="connsiteY93" fmla="*/ 9504 h 10001"/>
                <a:gd name="connsiteX94" fmla="*/ 5179 w 10690"/>
                <a:gd name="connsiteY94" fmla="*/ 9437 h 10001"/>
                <a:gd name="connsiteX95" fmla="*/ 6130 w 10690"/>
                <a:gd name="connsiteY95" fmla="*/ 9369 h 10001"/>
                <a:gd name="connsiteX96" fmla="*/ 6482 w 10690"/>
                <a:gd name="connsiteY96" fmla="*/ 9211 h 10001"/>
                <a:gd name="connsiteX97" fmla="*/ 6641 w 10690"/>
                <a:gd name="connsiteY97" fmla="*/ 9369 h 10001"/>
                <a:gd name="connsiteX98" fmla="*/ 7292 w 10690"/>
                <a:gd name="connsiteY98" fmla="*/ 9324 h 10001"/>
                <a:gd name="connsiteX99" fmla="*/ 7433 w 10690"/>
                <a:gd name="connsiteY99" fmla="*/ 9572 h 10001"/>
                <a:gd name="connsiteX100" fmla="*/ 7609 w 10690"/>
                <a:gd name="connsiteY100" fmla="*/ 9775 h 10001"/>
                <a:gd name="connsiteX101" fmla="*/ 8172 w 10690"/>
                <a:gd name="connsiteY101" fmla="*/ 9730 h 10001"/>
                <a:gd name="connsiteX102" fmla="*/ 8348 w 10690"/>
                <a:gd name="connsiteY102" fmla="*/ 9866 h 10001"/>
                <a:gd name="connsiteX103" fmla="*/ 8454 w 10690"/>
                <a:gd name="connsiteY103" fmla="*/ 9911 h 10001"/>
                <a:gd name="connsiteX104" fmla="*/ 8525 w 10690"/>
                <a:gd name="connsiteY104" fmla="*/ 9978 h 10001"/>
                <a:gd name="connsiteX105" fmla="*/ 8630 w 10690"/>
                <a:gd name="connsiteY105" fmla="*/ 10001 h 10001"/>
                <a:gd name="connsiteX106" fmla="*/ 8806 w 10690"/>
                <a:gd name="connsiteY106" fmla="*/ 9933 h 10001"/>
                <a:gd name="connsiteX107" fmla="*/ 8753 w 10690"/>
                <a:gd name="connsiteY107" fmla="*/ 9617 h 10001"/>
                <a:gd name="connsiteX108" fmla="*/ 8577 w 10690"/>
                <a:gd name="connsiteY108" fmla="*/ 9392 h 10001"/>
                <a:gd name="connsiteX109" fmla="*/ 8577 w 10690"/>
                <a:gd name="connsiteY109" fmla="*/ 9008 h 10001"/>
                <a:gd name="connsiteX110" fmla="*/ 8753 w 10690"/>
                <a:gd name="connsiteY110" fmla="*/ 8872 h 10001"/>
                <a:gd name="connsiteX111" fmla="*/ 8965 w 10690"/>
                <a:gd name="connsiteY111" fmla="*/ 8692 h 10001"/>
                <a:gd name="connsiteX112" fmla="*/ 8841 w 10690"/>
                <a:gd name="connsiteY112" fmla="*/ 8601 h 10001"/>
                <a:gd name="connsiteX113" fmla="*/ 8753 w 10690"/>
                <a:gd name="connsiteY113" fmla="*/ 8466 h 10001"/>
                <a:gd name="connsiteX114" fmla="*/ 8894 w 10690"/>
                <a:gd name="connsiteY114" fmla="*/ 8240 h 10001"/>
                <a:gd name="connsiteX115" fmla="*/ 9211 w 10690"/>
                <a:gd name="connsiteY115" fmla="*/ 8240 h 10001"/>
                <a:gd name="connsiteX116" fmla="*/ 9211 w 10690"/>
                <a:gd name="connsiteY116" fmla="*/ 7947 h 10001"/>
                <a:gd name="connsiteX117" fmla="*/ 9000 w 10690"/>
                <a:gd name="connsiteY117" fmla="*/ 7834 h 10001"/>
                <a:gd name="connsiteX118" fmla="*/ 9088 w 10690"/>
                <a:gd name="connsiteY118" fmla="*/ 7495 h 10001"/>
                <a:gd name="connsiteX119" fmla="*/ 8366 w 10690"/>
                <a:gd name="connsiteY119" fmla="*/ 6164 h 10001"/>
                <a:gd name="connsiteX120" fmla="*/ 8208 w 10690"/>
                <a:gd name="connsiteY120" fmla="*/ 5441 h 10001"/>
                <a:gd name="connsiteX121" fmla="*/ 8366 w 10690"/>
                <a:gd name="connsiteY121" fmla="*/ 4764 h 10001"/>
                <a:gd name="connsiteX122" fmla="*/ 7697 w 10690"/>
                <a:gd name="connsiteY122" fmla="*/ 4854 h 10001"/>
                <a:gd name="connsiteX123" fmla="*/ 7662 w 10690"/>
                <a:gd name="connsiteY123" fmla="*/ 4809 h 10001"/>
                <a:gd name="connsiteX124" fmla="*/ 7644 w 10690"/>
                <a:gd name="connsiteY124" fmla="*/ 4629 h 10001"/>
                <a:gd name="connsiteX125" fmla="*/ 7785 w 10690"/>
                <a:gd name="connsiteY125" fmla="*/ 4267 h 10001"/>
                <a:gd name="connsiteX126" fmla="*/ 9158 w 10690"/>
                <a:gd name="connsiteY126" fmla="*/ 3342 h 10001"/>
                <a:gd name="connsiteX127" fmla="*/ 9598 w 10690"/>
                <a:gd name="connsiteY127" fmla="*/ 3161 h 10001"/>
                <a:gd name="connsiteX128" fmla="*/ 9792 w 10690"/>
                <a:gd name="connsiteY128" fmla="*/ 3432 h 10001"/>
                <a:gd name="connsiteX129" fmla="*/ 10003 w 10690"/>
                <a:gd name="connsiteY129" fmla="*/ 3432 h 10001"/>
                <a:gd name="connsiteX130" fmla="*/ 10250 w 10690"/>
                <a:gd name="connsiteY130" fmla="*/ 3206 h 10001"/>
                <a:gd name="connsiteX131" fmla="*/ 10655 w 10690"/>
                <a:gd name="connsiteY131" fmla="*/ 3455 h 10001"/>
                <a:gd name="connsiteX132" fmla="*/ 10690 w 10690"/>
                <a:gd name="connsiteY132" fmla="*/ 2732 h 10001"/>
                <a:gd name="connsiteX133" fmla="*/ 10197 w 10690"/>
                <a:gd name="connsiteY133" fmla="*/ 2732 h 10001"/>
                <a:gd name="connsiteX0" fmla="*/ 10299 w 10792"/>
                <a:gd name="connsiteY0" fmla="*/ 2732 h 10001"/>
                <a:gd name="connsiteX1" fmla="*/ 10352 w 10792"/>
                <a:gd name="connsiteY1" fmla="*/ 2507 h 10001"/>
                <a:gd name="connsiteX2" fmla="*/ 10352 w 10792"/>
                <a:gd name="connsiteY2" fmla="*/ 2394 h 10001"/>
                <a:gd name="connsiteX3" fmla="*/ 10088 w 10792"/>
                <a:gd name="connsiteY3" fmla="*/ 2349 h 10001"/>
                <a:gd name="connsiteX4" fmla="*/ 10053 w 10792"/>
                <a:gd name="connsiteY4" fmla="*/ 2349 h 10001"/>
                <a:gd name="connsiteX5" fmla="*/ 10053 w 10792"/>
                <a:gd name="connsiteY5" fmla="*/ 2326 h 10001"/>
                <a:gd name="connsiteX6" fmla="*/ 9947 w 10792"/>
                <a:gd name="connsiteY6" fmla="*/ 1965 h 10001"/>
                <a:gd name="connsiteX7" fmla="*/ 9384 w 10792"/>
                <a:gd name="connsiteY7" fmla="*/ 1423 h 10001"/>
                <a:gd name="connsiteX8" fmla="*/ 9384 w 10792"/>
                <a:gd name="connsiteY8" fmla="*/ 1423 h 10001"/>
                <a:gd name="connsiteX9" fmla="*/ 9366 w 10792"/>
                <a:gd name="connsiteY9" fmla="*/ 1401 h 10001"/>
                <a:gd name="connsiteX10" fmla="*/ 9313 w 10792"/>
                <a:gd name="connsiteY10" fmla="*/ 1175 h 10001"/>
                <a:gd name="connsiteX11" fmla="*/ 9084 w 10792"/>
                <a:gd name="connsiteY11" fmla="*/ 407 h 10001"/>
                <a:gd name="connsiteX12" fmla="*/ 8926 w 10792"/>
                <a:gd name="connsiteY12" fmla="*/ 385 h 10001"/>
                <a:gd name="connsiteX13" fmla="*/ 8732 w 10792"/>
                <a:gd name="connsiteY13" fmla="*/ 520 h 10001"/>
                <a:gd name="connsiteX14" fmla="*/ 8732 w 10792"/>
                <a:gd name="connsiteY14" fmla="*/ 520 h 10001"/>
                <a:gd name="connsiteX15" fmla="*/ 8715 w 10792"/>
                <a:gd name="connsiteY15" fmla="*/ 520 h 10001"/>
                <a:gd name="connsiteX16" fmla="*/ 7746 w 10792"/>
                <a:gd name="connsiteY16" fmla="*/ 543 h 10001"/>
                <a:gd name="connsiteX17" fmla="*/ 7729 w 10792"/>
                <a:gd name="connsiteY17" fmla="*/ 543 h 10001"/>
                <a:gd name="connsiteX18" fmla="*/ 7711 w 10792"/>
                <a:gd name="connsiteY18" fmla="*/ 543 h 10001"/>
                <a:gd name="connsiteX19" fmla="*/ 7429 w 10792"/>
                <a:gd name="connsiteY19" fmla="*/ 136 h 10001"/>
                <a:gd name="connsiteX20" fmla="*/ 7218 w 10792"/>
                <a:gd name="connsiteY20" fmla="*/ 114 h 10001"/>
                <a:gd name="connsiteX21" fmla="*/ 6969 w 10792"/>
                <a:gd name="connsiteY21" fmla="*/ 49 h 10001"/>
                <a:gd name="connsiteX22" fmla="*/ 6901 w 10792"/>
                <a:gd name="connsiteY22" fmla="*/ 407 h 10001"/>
                <a:gd name="connsiteX23" fmla="*/ 6796 w 10792"/>
                <a:gd name="connsiteY23" fmla="*/ 520 h 10001"/>
                <a:gd name="connsiteX24" fmla="*/ 6778 w 10792"/>
                <a:gd name="connsiteY24" fmla="*/ 543 h 10001"/>
                <a:gd name="connsiteX25" fmla="*/ 6760 w 10792"/>
                <a:gd name="connsiteY25" fmla="*/ 543 h 10001"/>
                <a:gd name="connsiteX26" fmla="*/ 6479 w 10792"/>
                <a:gd name="connsiteY26" fmla="*/ 543 h 10001"/>
                <a:gd name="connsiteX27" fmla="*/ 6443 w 10792"/>
                <a:gd name="connsiteY27" fmla="*/ 543 h 10001"/>
                <a:gd name="connsiteX28" fmla="*/ 6443 w 10792"/>
                <a:gd name="connsiteY28" fmla="*/ 520 h 10001"/>
                <a:gd name="connsiteX29" fmla="*/ 6144 w 10792"/>
                <a:gd name="connsiteY29" fmla="*/ 159 h 10001"/>
                <a:gd name="connsiteX30" fmla="*/ 6021 w 10792"/>
                <a:gd name="connsiteY30" fmla="*/ 272 h 10001"/>
                <a:gd name="connsiteX31" fmla="*/ 6003 w 10792"/>
                <a:gd name="connsiteY31" fmla="*/ 272 h 10001"/>
                <a:gd name="connsiteX32" fmla="*/ 6003 w 10792"/>
                <a:gd name="connsiteY32" fmla="*/ 272 h 10001"/>
                <a:gd name="connsiteX33" fmla="*/ 5792 w 10792"/>
                <a:gd name="connsiteY33" fmla="*/ 317 h 10001"/>
                <a:gd name="connsiteX34" fmla="*/ 5774 w 10792"/>
                <a:gd name="connsiteY34" fmla="*/ 317 h 10001"/>
                <a:gd name="connsiteX35" fmla="*/ 5774 w 10792"/>
                <a:gd name="connsiteY35" fmla="*/ 294 h 10001"/>
                <a:gd name="connsiteX36" fmla="*/ 5546 w 10792"/>
                <a:gd name="connsiteY36" fmla="*/ 136 h 10001"/>
                <a:gd name="connsiteX37" fmla="*/ 5299 w 10792"/>
                <a:gd name="connsiteY37" fmla="*/ 1 h 10001"/>
                <a:gd name="connsiteX38" fmla="*/ 5176 w 10792"/>
                <a:gd name="connsiteY38" fmla="*/ 1 h 10001"/>
                <a:gd name="connsiteX39" fmla="*/ 4894 w 10792"/>
                <a:gd name="connsiteY39" fmla="*/ 136 h 10001"/>
                <a:gd name="connsiteX40" fmla="*/ 4577 w 10792"/>
                <a:gd name="connsiteY40" fmla="*/ 362 h 10001"/>
                <a:gd name="connsiteX41" fmla="*/ 4577 w 10792"/>
                <a:gd name="connsiteY41" fmla="*/ 362 h 10001"/>
                <a:gd name="connsiteX42" fmla="*/ 4560 w 10792"/>
                <a:gd name="connsiteY42" fmla="*/ 362 h 10001"/>
                <a:gd name="connsiteX43" fmla="*/ 4436 w 10792"/>
                <a:gd name="connsiteY43" fmla="*/ 407 h 10001"/>
                <a:gd name="connsiteX44" fmla="*/ 4366 w 10792"/>
                <a:gd name="connsiteY44" fmla="*/ 656 h 10001"/>
                <a:gd name="connsiteX45" fmla="*/ 4419 w 10792"/>
                <a:gd name="connsiteY45" fmla="*/ 723 h 10001"/>
                <a:gd name="connsiteX46" fmla="*/ 4419 w 10792"/>
                <a:gd name="connsiteY46" fmla="*/ 723 h 10001"/>
                <a:gd name="connsiteX47" fmla="*/ 4419 w 10792"/>
                <a:gd name="connsiteY47" fmla="*/ 746 h 10001"/>
                <a:gd name="connsiteX48" fmla="*/ 4436 w 10792"/>
                <a:gd name="connsiteY48" fmla="*/ 1288 h 10001"/>
                <a:gd name="connsiteX49" fmla="*/ 4454 w 10792"/>
                <a:gd name="connsiteY49" fmla="*/ 1491 h 10001"/>
                <a:gd name="connsiteX50" fmla="*/ 4166 w 10792"/>
                <a:gd name="connsiteY50" fmla="*/ 1589 h 10001"/>
                <a:gd name="connsiteX51" fmla="*/ 4015 w 10792"/>
                <a:gd name="connsiteY51" fmla="*/ 1540 h 10001"/>
                <a:gd name="connsiteX52" fmla="*/ 3754 w 10792"/>
                <a:gd name="connsiteY52" fmla="*/ 1558 h 10001"/>
                <a:gd name="connsiteX53" fmla="*/ 3602 w 10792"/>
                <a:gd name="connsiteY53" fmla="*/ 1437 h 10001"/>
                <a:gd name="connsiteX54" fmla="*/ 3332 w 10792"/>
                <a:gd name="connsiteY54" fmla="*/ 1619 h 10001"/>
                <a:gd name="connsiteX55" fmla="*/ 2628 w 10792"/>
                <a:gd name="connsiteY55" fmla="*/ 1135 h 10001"/>
                <a:gd name="connsiteX56" fmla="*/ 2283 w 10792"/>
                <a:gd name="connsiteY56" fmla="*/ 1215 h 10001"/>
                <a:gd name="connsiteX57" fmla="*/ 1934 w 10792"/>
                <a:gd name="connsiteY57" fmla="*/ 1446 h 10001"/>
                <a:gd name="connsiteX58" fmla="*/ 1659 w 10792"/>
                <a:gd name="connsiteY58" fmla="*/ 1756 h 10001"/>
                <a:gd name="connsiteX59" fmla="*/ 1352 w 10792"/>
                <a:gd name="connsiteY59" fmla="*/ 1644 h 10001"/>
                <a:gd name="connsiteX60" fmla="*/ 1173 w 10792"/>
                <a:gd name="connsiteY60" fmla="*/ 1773 h 10001"/>
                <a:gd name="connsiteX61" fmla="*/ 1033 w 10792"/>
                <a:gd name="connsiteY61" fmla="*/ 2211 h 10001"/>
                <a:gd name="connsiteX62" fmla="*/ 593 w 10792"/>
                <a:gd name="connsiteY62" fmla="*/ 2699 h 10001"/>
                <a:gd name="connsiteX63" fmla="*/ 199 w 10792"/>
                <a:gd name="connsiteY63" fmla="*/ 3005 h 10001"/>
                <a:gd name="connsiteX64" fmla="*/ 191 w 10792"/>
                <a:gd name="connsiteY64" fmla="*/ 3458 h 10001"/>
                <a:gd name="connsiteX65" fmla="*/ 0 w 10792"/>
                <a:gd name="connsiteY65" fmla="*/ 3829 h 10001"/>
                <a:gd name="connsiteX66" fmla="*/ 220 w 10792"/>
                <a:gd name="connsiteY66" fmla="*/ 3954 h 10001"/>
                <a:gd name="connsiteX67" fmla="*/ 137 w 10792"/>
                <a:gd name="connsiteY67" fmla="*/ 4333 h 10001"/>
                <a:gd name="connsiteX68" fmla="*/ 322 w 10792"/>
                <a:gd name="connsiteY68" fmla="*/ 4448 h 10001"/>
                <a:gd name="connsiteX69" fmla="*/ 509 w 10792"/>
                <a:gd name="connsiteY69" fmla="*/ 4650 h 10001"/>
                <a:gd name="connsiteX70" fmla="*/ 635 w 10792"/>
                <a:gd name="connsiteY70" fmla="*/ 4953 h 10001"/>
                <a:gd name="connsiteX71" fmla="*/ 840 w 10792"/>
                <a:gd name="connsiteY71" fmla="*/ 5166 h 10001"/>
                <a:gd name="connsiteX72" fmla="*/ 845 w 10792"/>
                <a:gd name="connsiteY72" fmla="*/ 5464 h 10001"/>
                <a:gd name="connsiteX73" fmla="*/ 880 w 10792"/>
                <a:gd name="connsiteY73" fmla="*/ 5464 h 10001"/>
                <a:gd name="connsiteX74" fmla="*/ 950 w 10792"/>
                <a:gd name="connsiteY74" fmla="*/ 5644 h 10001"/>
                <a:gd name="connsiteX75" fmla="*/ 1373 w 10792"/>
                <a:gd name="connsiteY75" fmla="*/ 6096 h 10001"/>
                <a:gd name="connsiteX76" fmla="*/ 1373 w 10792"/>
                <a:gd name="connsiteY76" fmla="*/ 6118 h 10001"/>
                <a:gd name="connsiteX77" fmla="*/ 1373 w 10792"/>
                <a:gd name="connsiteY77" fmla="*/ 6118 h 10001"/>
                <a:gd name="connsiteX78" fmla="*/ 1443 w 10792"/>
                <a:gd name="connsiteY78" fmla="*/ 6547 h 10001"/>
                <a:gd name="connsiteX79" fmla="*/ 2324 w 10792"/>
                <a:gd name="connsiteY79" fmla="*/ 7112 h 10001"/>
                <a:gd name="connsiteX80" fmla="*/ 2341 w 10792"/>
                <a:gd name="connsiteY80" fmla="*/ 7112 h 10001"/>
                <a:gd name="connsiteX81" fmla="*/ 2341 w 10792"/>
                <a:gd name="connsiteY81" fmla="*/ 7134 h 10001"/>
                <a:gd name="connsiteX82" fmla="*/ 2517 w 10792"/>
                <a:gd name="connsiteY82" fmla="*/ 8173 h 10001"/>
                <a:gd name="connsiteX83" fmla="*/ 2869 w 10792"/>
                <a:gd name="connsiteY83" fmla="*/ 9053 h 10001"/>
                <a:gd name="connsiteX84" fmla="*/ 2993 w 10792"/>
                <a:gd name="connsiteY84" fmla="*/ 9324 h 10001"/>
                <a:gd name="connsiteX85" fmla="*/ 2993 w 10792"/>
                <a:gd name="connsiteY85" fmla="*/ 9324 h 10001"/>
                <a:gd name="connsiteX86" fmla="*/ 2993 w 10792"/>
                <a:gd name="connsiteY86" fmla="*/ 9346 h 10001"/>
                <a:gd name="connsiteX87" fmla="*/ 2975 w 10792"/>
                <a:gd name="connsiteY87" fmla="*/ 9933 h 10001"/>
                <a:gd name="connsiteX88" fmla="*/ 3116 w 10792"/>
                <a:gd name="connsiteY88" fmla="*/ 9933 h 10001"/>
                <a:gd name="connsiteX89" fmla="*/ 3222 w 10792"/>
                <a:gd name="connsiteY89" fmla="*/ 9662 h 10001"/>
                <a:gd name="connsiteX90" fmla="*/ 4155 w 10792"/>
                <a:gd name="connsiteY90" fmla="*/ 9662 h 10001"/>
                <a:gd name="connsiteX91" fmla="*/ 4436 w 10792"/>
                <a:gd name="connsiteY91" fmla="*/ 9437 h 10001"/>
                <a:gd name="connsiteX92" fmla="*/ 4753 w 10792"/>
                <a:gd name="connsiteY92" fmla="*/ 9346 h 10001"/>
                <a:gd name="connsiteX93" fmla="*/ 5070 w 10792"/>
                <a:gd name="connsiteY93" fmla="*/ 9504 h 10001"/>
                <a:gd name="connsiteX94" fmla="*/ 5281 w 10792"/>
                <a:gd name="connsiteY94" fmla="*/ 9437 h 10001"/>
                <a:gd name="connsiteX95" fmla="*/ 6232 w 10792"/>
                <a:gd name="connsiteY95" fmla="*/ 9369 h 10001"/>
                <a:gd name="connsiteX96" fmla="*/ 6584 w 10792"/>
                <a:gd name="connsiteY96" fmla="*/ 9211 h 10001"/>
                <a:gd name="connsiteX97" fmla="*/ 6743 w 10792"/>
                <a:gd name="connsiteY97" fmla="*/ 9369 h 10001"/>
                <a:gd name="connsiteX98" fmla="*/ 7394 w 10792"/>
                <a:gd name="connsiteY98" fmla="*/ 9324 h 10001"/>
                <a:gd name="connsiteX99" fmla="*/ 7535 w 10792"/>
                <a:gd name="connsiteY99" fmla="*/ 9572 h 10001"/>
                <a:gd name="connsiteX100" fmla="*/ 7711 w 10792"/>
                <a:gd name="connsiteY100" fmla="*/ 9775 h 10001"/>
                <a:gd name="connsiteX101" fmla="*/ 8274 w 10792"/>
                <a:gd name="connsiteY101" fmla="*/ 9730 h 10001"/>
                <a:gd name="connsiteX102" fmla="*/ 8450 w 10792"/>
                <a:gd name="connsiteY102" fmla="*/ 9866 h 10001"/>
                <a:gd name="connsiteX103" fmla="*/ 8556 w 10792"/>
                <a:gd name="connsiteY103" fmla="*/ 9911 h 10001"/>
                <a:gd name="connsiteX104" fmla="*/ 8627 w 10792"/>
                <a:gd name="connsiteY104" fmla="*/ 9978 h 10001"/>
                <a:gd name="connsiteX105" fmla="*/ 8732 w 10792"/>
                <a:gd name="connsiteY105" fmla="*/ 10001 h 10001"/>
                <a:gd name="connsiteX106" fmla="*/ 8908 w 10792"/>
                <a:gd name="connsiteY106" fmla="*/ 9933 h 10001"/>
                <a:gd name="connsiteX107" fmla="*/ 8855 w 10792"/>
                <a:gd name="connsiteY107" fmla="*/ 9617 h 10001"/>
                <a:gd name="connsiteX108" fmla="*/ 8679 w 10792"/>
                <a:gd name="connsiteY108" fmla="*/ 9392 h 10001"/>
                <a:gd name="connsiteX109" fmla="*/ 8679 w 10792"/>
                <a:gd name="connsiteY109" fmla="*/ 9008 h 10001"/>
                <a:gd name="connsiteX110" fmla="*/ 8855 w 10792"/>
                <a:gd name="connsiteY110" fmla="*/ 8872 h 10001"/>
                <a:gd name="connsiteX111" fmla="*/ 9067 w 10792"/>
                <a:gd name="connsiteY111" fmla="*/ 8692 h 10001"/>
                <a:gd name="connsiteX112" fmla="*/ 8943 w 10792"/>
                <a:gd name="connsiteY112" fmla="*/ 8601 h 10001"/>
                <a:gd name="connsiteX113" fmla="*/ 8855 w 10792"/>
                <a:gd name="connsiteY113" fmla="*/ 8466 h 10001"/>
                <a:gd name="connsiteX114" fmla="*/ 8996 w 10792"/>
                <a:gd name="connsiteY114" fmla="*/ 8240 h 10001"/>
                <a:gd name="connsiteX115" fmla="*/ 9313 w 10792"/>
                <a:gd name="connsiteY115" fmla="*/ 8240 h 10001"/>
                <a:gd name="connsiteX116" fmla="*/ 9313 w 10792"/>
                <a:gd name="connsiteY116" fmla="*/ 7947 h 10001"/>
                <a:gd name="connsiteX117" fmla="*/ 9102 w 10792"/>
                <a:gd name="connsiteY117" fmla="*/ 7834 h 10001"/>
                <a:gd name="connsiteX118" fmla="*/ 9190 w 10792"/>
                <a:gd name="connsiteY118" fmla="*/ 7495 h 10001"/>
                <a:gd name="connsiteX119" fmla="*/ 8468 w 10792"/>
                <a:gd name="connsiteY119" fmla="*/ 6164 h 10001"/>
                <a:gd name="connsiteX120" fmla="*/ 8310 w 10792"/>
                <a:gd name="connsiteY120" fmla="*/ 5441 h 10001"/>
                <a:gd name="connsiteX121" fmla="*/ 8468 w 10792"/>
                <a:gd name="connsiteY121" fmla="*/ 4764 h 10001"/>
                <a:gd name="connsiteX122" fmla="*/ 7799 w 10792"/>
                <a:gd name="connsiteY122" fmla="*/ 4854 h 10001"/>
                <a:gd name="connsiteX123" fmla="*/ 7764 w 10792"/>
                <a:gd name="connsiteY123" fmla="*/ 4809 h 10001"/>
                <a:gd name="connsiteX124" fmla="*/ 7746 w 10792"/>
                <a:gd name="connsiteY124" fmla="*/ 4629 h 10001"/>
                <a:gd name="connsiteX125" fmla="*/ 7887 w 10792"/>
                <a:gd name="connsiteY125" fmla="*/ 4267 h 10001"/>
                <a:gd name="connsiteX126" fmla="*/ 9260 w 10792"/>
                <a:gd name="connsiteY126" fmla="*/ 3342 h 10001"/>
                <a:gd name="connsiteX127" fmla="*/ 9700 w 10792"/>
                <a:gd name="connsiteY127" fmla="*/ 3161 h 10001"/>
                <a:gd name="connsiteX128" fmla="*/ 9894 w 10792"/>
                <a:gd name="connsiteY128" fmla="*/ 3432 h 10001"/>
                <a:gd name="connsiteX129" fmla="*/ 10105 w 10792"/>
                <a:gd name="connsiteY129" fmla="*/ 3432 h 10001"/>
                <a:gd name="connsiteX130" fmla="*/ 10352 w 10792"/>
                <a:gd name="connsiteY130" fmla="*/ 3206 h 10001"/>
                <a:gd name="connsiteX131" fmla="*/ 10757 w 10792"/>
                <a:gd name="connsiteY131" fmla="*/ 3455 h 10001"/>
                <a:gd name="connsiteX132" fmla="*/ 10792 w 10792"/>
                <a:gd name="connsiteY132" fmla="*/ 2732 h 10001"/>
                <a:gd name="connsiteX133" fmla="*/ 10299 w 10792"/>
                <a:gd name="connsiteY133" fmla="*/ 2732 h 10001"/>
                <a:gd name="connsiteX0" fmla="*/ 10299 w 10792"/>
                <a:gd name="connsiteY0" fmla="*/ 2732 h 10001"/>
                <a:gd name="connsiteX1" fmla="*/ 10352 w 10792"/>
                <a:gd name="connsiteY1" fmla="*/ 2507 h 10001"/>
                <a:gd name="connsiteX2" fmla="*/ 10352 w 10792"/>
                <a:gd name="connsiteY2" fmla="*/ 2394 h 10001"/>
                <a:gd name="connsiteX3" fmla="*/ 10088 w 10792"/>
                <a:gd name="connsiteY3" fmla="*/ 2349 h 10001"/>
                <a:gd name="connsiteX4" fmla="*/ 10053 w 10792"/>
                <a:gd name="connsiteY4" fmla="*/ 2349 h 10001"/>
                <a:gd name="connsiteX5" fmla="*/ 10053 w 10792"/>
                <a:gd name="connsiteY5" fmla="*/ 2326 h 10001"/>
                <a:gd name="connsiteX6" fmla="*/ 9947 w 10792"/>
                <a:gd name="connsiteY6" fmla="*/ 1965 h 10001"/>
                <a:gd name="connsiteX7" fmla="*/ 9384 w 10792"/>
                <a:gd name="connsiteY7" fmla="*/ 1423 h 10001"/>
                <a:gd name="connsiteX8" fmla="*/ 9384 w 10792"/>
                <a:gd name="connsiteY8" fmla="*/ 1423 h 10001"/>
                <a:gd name="connsiteX9" fmla="*/ 9366 w 10792"/>
                <a:gd name="connsiteY9" fmla="*/ 1401 h 10001"/>
                <a:gd name="connsiteX10" fmla="*/ 9313 w 10792"/>
                <a:gd name="connsiteY10" fmla="*/ 1175 h 10001"/>
                <a:gd name="connsiteX11" fmla="*/ 9084 w 10792"/>
                <a:gd name="connsiteY11" fmla="*/ 407 h 10001"/>
                <a:gd name="connsiteX12" fmla="*/ 8926 w 10792"/>
                <a:gd name="connsiteY12" fmla="*/ 385 h 10001"/>
                <a:gd name="connsiteX13" fmla="*/ 8732 w 10792"/>
                <a:gd name="connsiteY13" fmla="*/ 520 h 10001"/>
                <a:gd name="connsiteX14" fmla="*/ 8732 w 10792"/>
                <a:gd name="connsiteY14" fmla="*/ 520 h 10001"/>
                <a:gd name="connsiteX15" fmla="*/ 8715 w 10792"/>
                <a:gd name="connsiteY15" fmla="*/ 520 h 10001"/>
                <a:gd name="connsiteX16" fmla="*/ 7746 w 10792"/>
                <a:gd name="connsiteY16" fmla="*/ 543 h 10001"/>
                <a:gd name="connsiteX17" fmla="*/ 7729 w 10792"/>
                <a:gd name="connsiteY17" fmla="*/ 543 h 10001"/>
                <a:gd name="connsiteX18" fmla="*/ 7711 w 10792"/>
                <a:gd name="connsiteY18" fmla="*/ 543 h 10001"/>
                <a:gd name="connsiteX19" fmla="*/ 7429 w 10792"/>
                <a:gd name="connsiteY19" fmla="*/ 136 h 10001"/>
                <a:gd name="connsiteX20" fmla="*/ 7218 w 10792"/>
                <a:gd name="connsiteY20" fmla="*/ 114 h 10001"/>
                <a:gd name="connsiteX21" fmla="*/ 6969 w 10792"/>
                <a:gd name="connsiteY21" fmla="*/ 49 h 10001"/>
                <a:gd name="connsiteX22" fmla="*/ 6901 w 10792"/>
                <a:gd name="connsiteY22" fmla="*/ 407 h 10001"/>
                <a:gd name="connsiteX23" fmla="*/ 6796 w 10792"/>
                <a:gd name="connsiteY23" fmla="*/ 520 h 10001"/>
                <a:gd name="connsiteX24" fmla="*/ 6778 w 10792"/>
                <a:gd name="connsiteY24" fmla="*/ 543 h 10001"/>
                <a:gd name="connsiteX25" fmla="*/ 6760 w 10792"/>
                <a:gd name="connsiteY25" fmla="*/ 543 h 10001"/>
                <a:gd name="connsiteX26" fmla="*/ 6479 w 10792"/>
                <a:gd name="connsiteY26" fmla="*/ 543 h 10001"/>
                <a:gd name="connsiteX27" fmla="*/ 6443 w 10792"/>
                <a:gd name="connsiteY27" fmla="*/ 543 h 10001"/>
                <a:gd name="connsiteX28" fmla="*/ 6443 w 10792"/>
                <a:gd name="connsiteY28" fmla="*/ 520 h 10001"/>
                <a:gd name="connsiteX29" fmla="*/ 6144 w 10792"/>
                <a:gd name="connsiteY29" fmla="*/ 159 h 10001"/>
                <a:gd name="connsiteX30" fmla="*/ 6021 w 10792"/>
                <a:gd name="connsiteY30" fmla="*/ 272 h 10001"/>
                <a:gd name="connsiteX31" fmla="*/ 6003 w 10792"/>
                <a:gd name="connsiteY31" fmla="*/ 272 h 10001"/>
                <a:gd name="connsiteX32" fmla="*/ 6003 w 10792"/>
                <a:gd name="connsiteY32" fmla="*/ 272 h 10001"/>
                <a:gd name="connsiteX33" fmla="*/ 5792 w 10792"/>
                <a:gd name="connsiteY33" fmla="*/ 317 h 10001"/>
                <a:gd name="connsiteX34" fmla="*/ 5774 w 10792"/>
                <a:gd name="connsiteY34" fmla="*/ 317 h 10001"/>
                <a:gd name="connsiteX35" fmla="*/ 5774 w 10792"/>
                <a:gd name="connsiteY35" fmla="*/ 294 h 10001"/>
                <a:gd name="connsiteX36" fmla="*/ 5546 w 10792"/>
                <a:gd name="connsiteY36" fmla="*/ 136 h 10001"/>
                <a:gd name="connsiteX37" fmla="*/ 5299 w 10792"/>
                <a:gd name="connsiteY37" fmla="*/ 1 h 10001"/>
                <a:gd name="connsiteX38" fmla="*/ 5176 w 10792"/>
                <a:gd name="connsiteY38" fmla="*/ 1 h 10001"/>
                <a:gd name="connsiteX39" fmla="*/ 4894 w 10792"/>
                <a:gd name="connsiteY39" fmla="*/ 136 h 10001"/>
                <a:gd name="connsiteX40" fmla="*/ 4577 w 10792"/>
                <a:gd name="connsiteY40" fmla="*/ 362 h 10001"/>
                <a:gd name="connsiteX41" fmla="*/ 4577 w 10792"/>
                <a:gd name="connsiteY41" fmla="*/ 362 h 10001"/>
                <a:gd name="connsiteX42" fmla="*/ 4560 w 10792"/>
                <a:gd name="connsiteY42" fmla="*/ 362 h 10001"/>
                <a:gd name="connsiteX43" fmla="*/ 4436 w 10792"/>
                <a:gd name="connsiteY43" fmla="*/ 407 h 10001"/>
                <a:gd name="connsiteX44" fmla="*/ 4366 w 10792"/>
                <a:gd name="connsiteY44" fmla="*/ 656 h 10001"/>
                <a:gd name="connsiteX45" fmla="*/ 4419 w 10792"/>
                <a:gd name="connsiteY45" fmla="*/ 723 h 10001"/>
                <a:gd name="connsiteX46" fmla="*/ 4419 w 10792"/>
                <a:gd name="connsiteY46" fmla="*/ 723 h 10001"/>
                <a:gd name="connsiteX47" fmla="*/ 4419 w 10792"/>
                <a:gd name="connsiteY47" fmla="*/ 746 h 10001"/>
                <a:gd name="connsiteX48" fmla="*/ 4436 w 10792"/>
                <a:gd name="connsiteY48" fmla="*/ 1288 h 10001"/>
                <a:gd name="connsiteX49" fmla="*/ 4454 w 10792"/>
                <a:gd name="connsiteY49" fmla="*/ 1491 h 10001"/>
                <a:gd name="connsiteX50" fmla="*/ 4166 w 10792"/>
                <a:gd name="connsiteY50" fmla="*/ 1589 h 10001"/>
                <a:gd name="connsiteX51" fmla="*/ 4015 w 10792"/>
                <a:gd name="connsiteY51" fmla="*/ 1540 h 10001"/>
                <a:gd name="connsiteX52" fmla="*/ 3754 w 10792"/>
                <a:gd name="connsiteY52" fmla="*/ 1558 h 10001"/>
                <a:gd name="connsiteX53" fmla="*/ 3602 w 10792"/>
                <a:gd name="connsiteY53" fmla="*/ 1437 h 10001"/>
                <a:gd name="connsiteX54" fmla="*/ 3332 w 10792"/>
                <a:gd name="connsiteY54" fmla="*/ 1619 h 10001"/>
                <a:gd name="connsiteX55" fmla="*/ 2628 w 10792"/>
                <a:gd name="connsiteY55" fmla="*/ 1135 h 10001"/>
                <a:gd name="connsiteX56" fmla="*/ 2283 w 10792"/>
                <a:gd name="connsiteY56" fmla="*/ 1215 h 10001"/>
                <a:gd name="connsiteX57" fmla="*/ 1934 w 10792"/>
                <a:gd name="connsiteY57" fmla="*/ 1446 h 10001"/>
                <a:gd name="connsiteX58" fmla="*/ 1659 w 10792"/>
                <a:gd name="connsiteY58" fmla="*/ 1756 h 10001"/>
                <a:gd name="connsiteX59" fmla="*/ 1352 w 10792"/>
                <a:gd name="connsiteY59" fmla="*/ 1644 h 10001"/>
                <a:gd name="connsiteX60" fmla="*/ 1173 w 10792"/>
                <a:gd name="connsiteY60" fmla="*/ 1773 h 10001"/>
                <a:gd name="connsiteX61" fmla="*/ 1033 w 10792"/>
                <a:gd name="connsiteY61" fmla="*/ 2211 h 10001"/>
                <a:gd name="connsiteX62" fmla="*/ 593 w 10792"/>
                <a:gd name="connsiteY62" fmla="*/ 2699 h 10001"/>
                <a:gd name="connsiteX63" fmla="*/ 199 w 10792"/>
                <a:gd name="connsiteY63" fmla="*/ 3005 h 10001"/>
                <a:gd name="connsiteX64" fmla="*/ 191 w 10792"/>
                <a:gd name="connsiteY64" fmla="*/ 3458 h 10001"/>
                <a:gd name="connsiteX65" fmla="*/ 0 w 10792"/>
                <a:gd name="connsiteY65" fmla="*/ 3829 h 10001"/>
                <a:gd name="connsiteX66" fmla="*/ 98 w 10792"/>
                <a:gd name="connsiteY66" fmla="*/ 3974 h 10001"/>
                <a:gd name="connsiteX67" fmla="*/ 137 w 10792"/>
                <a:gd name="connsiteY67" fmla="*/ 4333 h 10001"/>
                <a:gd name="connsiteX68" fmla="*/ 322 w 10792"/>
                <a:gd name="connsiteY68" fmla="*/ 4448 h 10001"/>
                <a:gd name="connsiteX69" fmla="*/ 509 w 10792"/>
                <a:gd name="connsiteY69" fmla="*/ 4650 h 10001"/>
                <a:gd name="connsiteX70" fmla="*/ 635 w 10792"/>
                <a:gd name="connsiteY70" fmla="*/ 4953 h 10001"/>
                <a:gd name="connsiteX71" fmla="*/ 840 w 10792"/>
                <a:gd name="connsiteY71" fmla="*/ 5166 h 10001"/>
                <a:gd name="connsiteX72" fmla="*/ 845 w 10792"/>
                <a:gd name="connsiteY72" fmla="*/ 5464 h 10001"/>
                <a:gd name="connsiteX73" fmla="*/ 880 w 10792"/>
                <a:gd name="connsiteY73" fmla="*/ 5464 h 10001"/>
                <a:gd name="connsiteX74" fmla="*/ 950 w 10792"/>
                <a:gd name="connsiteY74" fmla="*/ 5644 h 10001"/>
                <a:gd name="connsiteX75" fmla="*/ 1373 w 10792"/>
                <a:gd name="connsiteY75" fmla="*/ 6096 h 10001"/>
                <a:gd name="connsiteX76" fmla="*/ 1373 w 10792"/>
                <a:gd name="connsiteY76" fmla="*/ 6118 h 10001"/>
                <a:gd name="connsiteX77" fmla="*/ 1373 w 10792"/>
                <a:gd name="connsiteY77" fmla="*/ 6118 h 10001"/>
                <a:gd name="connsiteX78" fmla="*/ 1443 w 10792"/>
                <a:gd name="connsiteY78" fmla="*/ 6547 h 10001"/>
                <a:gd name="connsiteX79" fmla="*/ 2324 w 10792"/>
                <a:gd name="connsiteY79" fmla="*/ 7112 h 10001"/>
                <a:gd name="connsiteX80" fmla="*/ 2341 w 10792"/>
                <a:gd name="connsiteY80" fmla="*/ 7112 h 10001"/>
                <a:gd name="connsiteX81" fmla="*/ 2341 w 10792"/>
                <a:gd name="connsiteY81" fmla="*/ 7134 h 10001"/>
                <a:gd name="connsiteX82" fmla="*/ 2517 w 10792"/>
                <a:gd name="connsiteY82" fmla="*/ 8173 h 10001"/>
                <a:gd name="connsiteX83" fmla="*/ 2869 w 10792"/>
                <a:gd name="connsiteY83" fmla="*/ 9053 h 10001"/>
                <a:gd name="connsiteX84" fmla="*/ 2993 w 10792"/>
                <a:gd name="connsiteY84" fmla="*/ 9324 h 10001"/>
                <a:gd name="connsiteX85" fmla="*/ 2993 w 10792"/>
                <a:gd name="connsiteY85" fmla="*/ 9324 h 10001"/>
                <a:gd name="connsiteX86" fmla="*/ 2993 w 10792"/>
                <a:gd name="connsiteY86" fmla="*/ 9346 h 10001"/>
                <a:gd name="connsiteX87" fmla="*/ 2975 w 10792"/>
                <a:gd name="connsiteY87" fmla="*/ 9933 h 10001"/>
                <a:gd name="connsiteX88" fmla="*/ 3116 w 10792"/>
                <a:gd name="connsiteY88" fmla="*/ 9933 h 10001"/>
                <a:gd name="connsiteX89" fmla="*/ 3222 w 10792"/>
                <a:gd name="connsiteY89" fmla="*/ 9662 h 10001"/>
                <a:gd name="connsiteX90" fmla="*/ 4155 w 10792"/>
                <a:gd name="connsiteY90" fmla="*/ 9662 h 10001"/>
                <a:gd name="connsiteX91" fmla="*/ 4436 w 10792"/>
                <a:gd name="connsiteY91" fmla="*/ 9437 h 10001"/>
                <a:gd name="connsiteX92" fmla="*/ 4753 w 10792"/>
                <a:gd name="connsiteY92" fmla="*/ 9346 h 10001"/>
                <a:gd name="connsiteX93" fmla="*/ 5070 w 10792"/>
                <a:gd name="connsiteY93" fmla="*/ 9504 h 10001"/>
                <a:gd name="connsiteX94" fmla="*/ 5281 w 10792"/>
                <a:gd name="connsiteY94" fmla="*/ 9437 h 10001"/>
                <a:gd name="connsiteX95" fmla="*/ 6232 w 10792"/>
                <a:gd name="connsiteY95" fmla="*/ 9369 h 10001"/>
                <a:gd name="connsiteX96" fmla="*/ 6584 w 10792"/>
                <a:gd name="connsiteY96" fmla="*/ 9211 h 10001"/>
                <a:gd name="connsiteX97" fmla="*/ 6743 w 10792"/>
                <a:gd name="connsiteY97" fmla="*/ 9369 h 10001"/>
                <a:gd name="connsiteX98" fmla="*/ 7394 w 10792"/>
                <a:gd name="connsiteY98" fmla="*/ 9324 h 10001"/>
                <a:gd name="connsiteX99" fmla="*/ 7535 w 10792"/>
                <a:gd name="connsiteY99" fmla="*/ 9572 h 10001"/>
                <a:gd name="connsiteX100" fmla="*/ 7711 w 10792"/>
                <a:gd name="connsiteY100" fmla="*/ 9775 h 10001"/>
                <a:gd name="connsiteX101" fmla="*/ 8274 w 10792"/>
                <a:gd name="connsiteY101" fmla="*/ 9730 h 10001"/>
                <a:gd name="connsiteX102" fmla="*/ 8450 w 10792"/>
                <a:gd name="connsiteY102" fmla="*/ 9866 h 10001"/>
                <a:gd name="connsiteX103" fmla="*/ 8556 w 10792"/>
                <a:gd name="connsiteY103" fmla="*/ 9911 h 10001"/>
                <a:gd name="connsiteX104" fmla="*/ 8627 w 10792"/>
                <a:gd name="connsiteY104" fmla="*/ 9978 h 10001"/>
                <a:gd name="connsiteX105" fmla="*/ 8732 w 10792"/>
                <a:gd name="connsiteY105" fmla="*/ 10001 h 10001"/>
                <a:gd name="connsiteX106" fmla="*/ 8908 w 10792"/>
                <a:gd name="connsiteY106" fmla="*/ 9933 h 10001"/>
                <a:gd name="connsiteX107" fmla="*/ 8855 w 10792"/>
                <a:gd name="connsiteY107" fmla="*/ 9617 h 10001"/>
                <a:gd name="connsiteX108" fmla="*/ 8679 w 10792"/>
                <a:gd name="connsiteY108" fmla="*/ 9392 h 10001"/>
                <a:gd name="connsiteX109" fmla="*/ 8679 w 10792"/>
                <a:gd name="connsiteY109" fmla="*/ 9008 h 10001"/>
                <a:gd name="connsiteX110" fmla="*/ 8855 w 10792"/>
                <a:gd name="connsiteY110" fmla="*/ 8872 h 10001"/>
                <a:gd name="connsiteX111" fmla="*/ 9067 w 10792"/>
                <a:gd name="connsiteY111" fmla="*/ 8692 h 10001"/>
                <a:gd name="connsiteX112" fmla="*/ 8943 w 10792"/>
                <a:gd name="connsiteY112" fmla="*/ 8601 h 10001"/>
                <a:gd name="connsiteX113" fmla="*/ 8855 w 10792"/>
                <a:gd name="connsiteY113" fmla="*/ 8466 h 10001"/>
                <a:gd name="connsiteX114" fmla="*/ 8996 w 10792"/>
                <a:gd name="connsiteY114" fmla="*/ 8240 h 10001"/>
                <a:gd name="connsiteX115" fmla="*/ 9313 w 10792"/>
                <a:gd name="connsiteY115" fmla="*/ 8240 h 10001"/>
                <a:gd name="connsiteX116" fmla="*/ 9313 w 10792"/>
                <a:gd name="connsiteY116" fmla="*/ 7947 h 10001"/>
                <a:gd name="connsiteX117" fmla="*/ 9102 w 10792"/>
                <a:gd name="connsiteY117" fmla="*/ 7834 h 10001"/>
                <a:gd name="connsiteX118" fmla="*/ 9190 w 10792"/>
                <a:gd name="connsiteY118" fmla="*/ 7495 h 10001"/>
                <a:gd name="connsiteX119" fmla="*/ 8468 w 10792"/>
                <a:gd name="connsiteY119" fmla="*/ 6164 h 10001"/>
                <a:gd name="connsiteX120" fmla="*/ 8310 w 10792"/>
                <a:gd name="connsiteY120" fmla="*/ 5441 h 10001"/>
                <a:gd name="connsiteX121" fmla="*/ 8468 w 10792"/>
                <a:gd name="connsiteY121" fmla="*/ 4764 h 10001"/>
                <a:gd name="connsiteX122" fmla="*/ 7799 w 10792"/>
                <a:gd name="connsiteY122" fmla="*/ 4854 h 10001"/>
                <a:gd name="connsiteX123" fmla="*/ 7764 w 10792"/>
                <a:gd name="connsiteY123" fmla="*/ 4809 h 10001"/>
                <a:gd name="connsiteX124" fmla="*/ 7746 w 10792"/>
                <a:gd name="connsiteY124" fmla="*/ 4629 h 10001"/>
                <a:gd name="connsiteX125" fmla="*/ 7887 w 10792"/>
                <a:gd name="connsiteY125" fmla="*/ 4267 h 10001"/>
                <a:gd name="connsiteX126" fmla="*/ 9260 w 10792"/>
                <a:gd name="connsiteY126" fmla="*/ 3342 h 10001"/>
                <a:gd name="connsiteX127" fmla="*/ 9700 w 10792"/>
                <a:gd name="connsiteY127" fmla="*/ 3161 h 10001"/>
                <a:gd name="connsiteX128" fmla="*/ 9894 w 10792"/>
                <a:gd name="connsiteY128" fmla="*/ 3432 h 10001"/>
                <a:gd name="connsiteX129" fmla="*/ 10105 w 10792"/>
                <a:gd name="connsiteY129" fmla="*/ 3432 h 10001"/>
                <a:gd name="connsiteX130" fmla="*/ 10352 w 10792"/>
                <a:gd name="connsiteY130" fmla="*/ 3206 h 10001"/>
                <a:gd name="connsiteX131" fmla="*/ 10757 w 10792"/>
                <a:gd name="connsiteY131" fmla="*/ 3455 h 10001"/>
                <a:gd name="connsiteX132" fmla="*/ 10792 w 10792"/>
                <a:gd name="connsiteY132" fmla="*/ 2732 h 10001"/>
                <a:gd name="connsiteX133" fmla="*/ 10299 w 10792"/>
                <a:gd name="connsiteY133" fmla="*/ 2732 h 10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</a:cxnLst>
              <a:rect l="l" t="t" r="r" b="b"/>
              <a:pathLst>
                <a:path w="10792" h="10001">
                  <a:moveTo>
                    <a:pt x="10299" y="2732"/>
                  </a:moveTo>
                  <a:cubicBezTo>
                    <a:pt x="10317" y="2657"/>
                    <a:pt x="10334" y="2582"/>
                    <a:pt x="10352" y="2507"/>
                  </a:cubicBezTo>
                  <a:lnTo>
                    <a:pt x="10352" y="2394"/>
                  </a:lnTo>
                  <a:lnTo>
                    <a:pt x="10088" y="2349"/>
                  </a:lnTo>
                  <a:lnTo>
                    <a:pt x="10053" y="2349"/>
                  </a:lnTo>
                  <a:lnTo>
                    <a:pt x="10053" y="2326"/>
                  </a:lnTo>
                  <a:cubicBezTo>
                    <a:pt x="10018" y="2206"/>
                    <a:pt x="9982" y="2085"/>
                    <a:pt x="9947" y="1965"/>
                  </a:cubicBezTo>
                  <a:lnTo>
                    <a:pt x="9384" y="1423"/>
                  </a:lnTo>
                  <a:lnTo>
                    <a:pt x="9384" y="1423"/>
                  </a:lnTo>
                  <a:cubicBezTo>
                    <a:pt x="9378" y="1416"/>
                    <a:pt x="9372" y="1408"/>
                    <a:pt x="9366" y="1401"/>
                  </a:cubicBezTo>
                  <a:cubicBezTo>
                    <a:pt x="9366" y="1401"/>
                    <a:pt x="9313" y="1197"/>
                    <a:pt x="9313" y="1175"/>
                  </a:cubicBezTo>
                  <a:cubicBezTo>
                    <a:pt x="9237" y="919"/>
                    <a:pt x="9160" y="663"/>
                    <a:pt x="9084" y="407"/>
                  </a:cubicBezTo>
                  <a:lnTo>
                    <a:pt x="8926" y="385"/>
                  </a:lnTo>
                  <a:lnTo>
                    <a:pt x="8732" y="520"/>
                  </a:lnTo>
                  <a:lnTo>
                    <a:pt x="8732" y="520"/>
                  </a:lnTo>
                  <a:lnTo>
                    <a:pt x="8715" y="520"/>
                  </a:lnTo>
                  <a:lnTo>
                    <a:pt x="7746" y="543"/>
                  </a:lnTo>
                  <a:lnTo>
                    <a:pt x="7729" y="543"/>
                  </a:lnTo>
                  <a:lnTo>
                    <a:pt x="7711" y="543"/>
                  </a:lnTo>
                  <a:lnTo>
                    <a:pt x="7429" y="136"/>
                  </a:lnTo>
                  <a:lnTo>
                    <a:pt x="7218" y="114"/>
                  </a:lnTo>
                  <a:cubicBezTo>
                    <a:pt x="7141" y="100"/>
                    <a:pt x="7022" y="0"/>
                    <a:pt x="6969" y="49"/>
                  </a:cubicBezTo>
                  <a:cubicBezTo>
                    <a:pt x="6946" y="168"/>
                    <a:pt x="6924" y="288"/>
                    <a:pt x="6901" y="407"/>
                  </a:cubicBezTo>
                  <a:lnTo>
                    <a:pt x="6796" y="520"/>
                  </a:lnTo>
                  <a:cubicBezTo>
                    <a:pt x="6790" y="528"/>
                    <a:pt x="6784" y="535"/>
                    <a:pt x="6778" y="543"/>
                  </a:cubicBezTo>
                  <a:lnTo>
                    <a:pt x="6760" y="543"/>
                  </a:lnTo>
                  <a:lnTo>
                    <a:pt x="6479" y="543"/>
                  </a:lnTo>
                  <a:lnTo>
                    <a:pt x="6443" y="543"/>
                  </a:lnTo>
                  <a:lnTo>
                    <a:pt x="6443" y="520"/>
                  </a:lnTo>
                  <a:lnTo>
                    <a:pt x="6144" y="159"/>
                  </a:lnTo>
                  <a:lnTo>
                    <a:pt x="6021" y="272"/>
                  </a:lnTo>
                  <a:lnTo>
                    <a:pt x="6003" y="272"/>
                  </a:lnTo>
                  <a:lnTo>
                    <a:pt x="6003" y="272"/>
                  </a:lnTo>
                  <a:lnTo>
                    <a:pt x="5792" y="317"/>
                  </a:lnTo>
                  <a:lnTo>
                    <a:pt x="5774" y="317"/>
                  </a:lnTo>
                  <a:lnTo>
                    <a:pt x="5774" y="294"/>
                  </a:lnTo>
                  <a:lnTo>
                    <a:pt x="5546" y="136"/>
                  </a:lnTo>
                  <a:lnTo>
                    <a:pt x="5299" y="1"/>
                  </a:lnTo>
                  <a:lnTo>
                    <a:pt x="5176" y="1"/>
                  </a:lnTo>
                  <a:lnTo>
                    <a:pt x="4894" y="136"/>
                  </a:lnTo>
                  <a:lnTo>
                    <a:pt x="4577" y="362"/>
                  </a:lnTo>
                  <a:lnTo>
                    <a:pt x="4577" y="362"/>
                  </a:lnTo>
                  <a:lnTo>
                    <a:pt x="4560" y="362"/>
                  </a:lnTo>
                  <a:lnTo>
                    <a:pt x="4436" y="407"/>
                  </a:lnTo>
                  <a:cubicBezTo>
                    <a:pt x="4413" y="490"/>
                    <a:pt x="4389" y="573"/>
                    <a:pt x="4366" y="656"/>
                  </a:cubicBezTo>
                  <a:cubicBezTo>
                    <a:pt x="4384" y="678"/>
                    <a:pt x="4401" y="701"/>
                    <a:pt x="4419" y="723"/>
                  </a:cubicBezTo>
                  <a:lnTo>
                    <a:pt x="4419" y="723"/>
                  </a:lnTo>
                  <a:lnTo>
                    <a:pt x="4419" y="746"/>
                  </a:lnTo>
                  <a:cubicBezTo>
                    <a:pt x="4425" y="927"/>
                    <a:pt x="4430" y="1107"/>
                    <a:pt x="4436" y="1288"/>
                  </a:cubicBezTo>
                  <a:cubicBezTo>
                    <a:pt x="4442" y="1356"/>
                    <a:pt x="4448" y="1423"/>
                    <a:pt x="4454" y="1491"/>
                  </a:cubicBezTo>
                  <a:cubicBezTo>
                    <a:pt x="4448" y="1581"/>
                    <a:pt x="4172" y="1499"/>
                    <a:pt x="4166" y="1589"/>
                  </a:cubicBezTo>
                  <a:cubicBezTo>
                    <a:pt x="4084" y="1660"/>
                    <a:pt x="4079" y="1465"/>
                    <a:pt x="4015" y="1540"/>
                  </a:cubicBezTo>
                  <a:lnTo>
                    <a:pt x="3754" y="1558"/>
                  </a:lnTo>
                  <a:cubicBezTo>
                    <a:pt x="3703" y="1518"/>
                    <a:pt x="3653" y="1477"/>
                    <a:pt x="3602" y="1437"/>
                  </a:cubicBezTo>
                  <a:lnTo>
                    <a:pt x="3332" y="1619"/>
                  </a:lnTo>
                  <a:lnTo>
                    <a:pt x="2628" y="1135"/>
                  </a:lnTo>
                  <a:lnTo>
                    <a:pt x="2283" y="1215"/>
                  </a:lnTo>
                  <a:cubicBezTo>
                    <a:pt x="2212" y="1147"/>
                    <a:pt x="1863" y="1288"/>
                    <a:pt x="1934" y="1446"/>
                  </a:cubicBezTo>
                  <a:cubicBezTo>
                    <a:pt x="1982" y="1642"/>
                    <a:pt x="1611" y="1560"/>
                    <a:pt x="1659" y="1756"/>
                  </a:cubicBezTo>
                  <a:lnTo>
                    <a:pt x="1352" y="1644"/>
                  </a:lnTo>
                  <a:lnTo>
                    <a:pt x="1173" y="1773"/>
                  </a:lnTo>
                  <a:cubicBezTo>
                    <a:pt x="1126" y="1919"/>
                    <a:pt x="1080" y="2065"/>
                    <a:pt x="1033" y="2211"/>
                  </a:cubicBezTo>
                  <a:cubicBezTo>
                    <a:pt x="1010" y="2414"/>
                    <a:pt x="616" y="2496"/>
                    <a:pt x="593" y="2699"/>
                  </a:cubicBezTo>
                  <a:cubicBezTo>
                    <a:pt x="534" y="2804"/>
                    <a:pt x="258" y="2900"/>
                    <a:pt x="199" y="3005"/>
                  </a:cubicBezTo>
                  <a:cubicBezTo>
                    <a:pt x="242" y="3143"/>
                    <a:pt x="148" y="3320"/>
                    <a:pt x="191" y="3458"/>
                  </a:cubicBezTo>
                  <a:cubicBezTo>
                    <a:pt x="132" y="3588"/>
                    <a:pt x="59" y="3699"/>
                    <a:pt x="0" y="3829"/>
                  </a:cubicBezTo>
                  <a:cubicBezTo>
                    <a:pt x="22" y="3877"/>
                    <a:pt x="76" y="3926"/>
                    <a:pt x="98" y="3974"/>
                  </a:cubicBezTo>
                  <a:cubicBezTo>
                    <a:pt x="133" y="4095"/>
                    <a:pt x="102" y="4212"/>
                    <a:pt x="137" y="4333"/>
                  </a:cubicBezTo>
                  <a:cubicBezTo>
                    <a:pt x="113" y="4423"/>
                    <a:pt x="346" y="4358"/>
                    <a:pt x="322" y="4448"/>
                  </a:cubicBezTo>
                  <a:lnTo>
                    <a:pt x="509" y="4650"/>
                  </a:lnTo>
                  <a:cubicBezTo>
                    <a:pt x="515" y="4786"/>
                    <a:pt x="629" y="4817"/>
                    <a:pt x="635" y="4953"/>
                  </a:cubicBezTo>
                  <a:cubicBezTo>
                    <a:pt x="677" y="5056"/>
                    <a:pt x="805" y="5081"/>
                    <a:pt x="840" y="5166"/>
                  </a:cubicBezTo>
                  <a:cubicBezTo>
                    <a:pt x="875" y="5251"/>
                    <a:pt x="825" y="5432"/>
                    <a:pt x="845" y="5464"/>
                  </a:cubicBezTo>
                  <a:lnTo>
                    <a:pt x="880" y="5464"/>
                  </a:lnTo>
                  <a:cubicBezTo>
                    <a:pt x="903" y="5524"/>
                    <a:pt x="927" y="5584"/>
                    <a:pt x="950" y="5644"/>
                  </a:cubicBezTo>
                  <a:lnTo>
                    <a:pt x="1373" y="6096"/>
                  </a:lnTo>
                  <a:lnTo>
                    <a:pt x="1373" y="6118"/>
                  </a:lnTo>
                  <a:lnTo>
                    <a:pt x="1373" y="6118"/>
                  </a:lnTo>
                  <a:cubicBezTo>
                    <a:pt x="1396" y="6261"/>
                    <a:pt x="1420" y="6404"/>
                    <a:pt x="1443" y="6547"/>
                  </a:cubicBezTo>
                  <a:lnTo>
                    <a:pt x="2324" y="7112"/>
                  </a:lnTo>
                  <a:lnTo>
                    <a:pt x="2341" y="7112"/>
                  </a:lnTo>
                  <a:lnTo>
                    <a:pt x="2341" y="7134"/>
                  </a:lnTo>
                  <a:cubicBezTo>
                    <a:pt x="2400" y="7480"/>
                    <a:pt x="2458" y="7827"/>
                    <a:pt x="2517" y="8173"/>
                  </a:cubicBezTo>
                  <a:cubicBezTo>
                    <a:pt x="2535" y="8240"/>
                    <a:pt x="2869" y="9053"/>
                    <a:pt x="2869" y="9053"/>
                  </a:cubicBezTo>
                  <a:lnTo>
                    <a:pt x="2993" y="9324"/>
                  </a:lnTo>
                  <a:lnTo>
                    <a:pt x="2993" y="9324"/>
                  </a:lnTo>
                  <a:lnTo>
                    <a:pt x="2993" y="9346"/>
                  </a:lnTo>
                  <a:cubicBezTo>
                    <a:pt x="2987" y="9542"/>
                    <a:pt x="2981" y="9737"/>
                    <a:pt x="2975" y="9933"/>
                  </a:cubicBezTo>
                  <a:lnTo>
                    <a:pt x="3116" y="9933"/>
                  </a:lnTo>
                  <a:cubicBezTo>
                    <a:pt x="3151" y="9843"/>
                    <a:pt x="3187" y="9752"/>
                    <a:pt x="3222" y="9662"/>
                  </a:cubicBezTo>
                  <a:lnTo>
                    <a:pt x="4155" y="9662"/>
                  </a:lnTo>
                  <a:lnTo>
                    <a:pt x="4436" y="9437"/>
                  </a:lnTo>
                  <a:lnTo>
                    <a:pt x="4753" y="9346"/>
                  </a:lnTo>
                  <a:lnTo>
                    <a:pt x="5070" y="9504"/>
                  </a:lnTo>
                  <a:lnTo>
                    <a:pt x="5281" y="9437"/>
                  </a:lnTo>
                  <a:lnTo>
                    <a:pt x="6232" y="9369"/>
                  </a:lnTo>
                  <a:lnTo>
                    <a:pt x="6584" y="9211"/>
                  </a:lnTo>
                  <a:lnTo>
                    <a:pt x="6743" y="9369"/>
                  </a:lnTo>
                  <a:lnTo>
                    <a:pt x="7394" y="9324"/>
                  </a:lnTo>
                  <a:lnTo>
                    <a:pt x="7535" y="9572"/>
                  </a:lnTo>
                  <a:lnTo>
                    <a:pt x="7711" y="9775"/>
                  </a:lnTo>
                  <a:lnTo>
                    <a:pt x="8274" y="9730"/>
                  </a:lnTo>
                  <a:cubicBezTo>
                    <a:pt x="8333" y="9775"/>
                    <a:pt x="8391" y="9821"/>
                    <a:pt x="8450" y="9866"/>
                  </a:cubicBezTo>
                  <a:lnTo>
                    <a:pt x="8556" y="9911"/>
                  </a:lnTo>
                  <a:cubicBezTo>
                    <a:pt x="8580" y="9933"/>
                    <a:pt x="8603" y="9956"/>
                    <a:pt x="8627" y="9978"/>
                  </a:cubicBezTo>
                  <a:lnTo>
                    <a:pt x="8732" y="10001"/>
                  </a:lnTo>
                  <a:lnTo>
                    <a:pt x="8908" y="9933"/>
                  </a:lnTo>
                  <a:cubicBezTo>
                    <a:pt x="8890" y="9828"/>
                    <a:pt x="8873" y="9722"/>
                    <a:pt x="8855" y="9617"/>
                  </a:cubicBezTo>
                  <a:lnTo>
                    <a:pt x="8679" y="9392"/>
                  </a:lnTo>
                  <a:lnTo>
                    <a:pt x="8679" y="9008"/>
                  </a:lnTo>
                  <a:cubicBezTo>
                    <a:pt x="8679" y="8872"/>
                    <a:pt x="8855" y="8872"/>
                    <a:pt x="8855" y="8872"/>
                  </a:cubicBezTo>
                  <a:lnTo>
                    <a:pt x="9067" y="8692"/>
                  </a:lnTo>
                  <a:lnTo>
                    <a:pt x="8943" y="8601"/>
                  </a:lnTo>
                  <a:cubicBezTo>
                    <a:pt x="8914" y="8556"/>
                    <a:pt x="8884" y="8511"/>
                    <a:pt x="8855" y="8466"/>
                  </a:cubicBezTo>
                  <a:lnTo>
                    <a:pt x="8996" y="8240"/>
                  </a:lnTo>
                  <a:lnTo>
                    <a:pt x="9313" y="8240"/>
                  </a:lnTo>
                  <a:lnTo>
                    <a:pt x="9313" y="7947"/>
                  </a:lnTo>
                  <a:lnTo>
                    <a:pt x="9102" y="7834"/>
                  </a:lnTo>
                  <a:cubicBezTo>
                    <a:pt x="9131" y="7721"/>
                    <a:pt x="9161" y="7608"/>
                    <a:pt x="9190" y="7495"/>
                  </a:cubicBezTo>
                  <a:lnTo>
                    <a:pt x="8468" y="6164"/>
                  </a:lnTo>
                  <a:cubicBezTo>
                    <a:pt x="8415" y="5923"/>
                    <a:pt x="8363" y="5682"/>
                    <a:pt x="8310" y="5441"/>
                  </a:cubicBezTo>
                  <a:cubicBezTo>
                    <a:pt x="8363" y="5215"/>
                    <a:pt x="8415" y="4990"/>
                    <a:pt x="8468" y="4764"/>
                  </a:cubicBezTo>
                  <a:lnTo>
                    <a:pt x="7799" y="4854"/>
                  </a:lnTo>
                  <a:cubicBezTo>
                    <a:pt x="7787" y="4839"/>
                    <a:pt x="7776" y="4824"/>
                    <a:pt x="7764" y="4809"/>
                  </a:cubicBezTo>
                  <a:lnTo>
                    <a:pt x="7746" y="4629"/>
                  </a:lnTo>
                  <a:lnTo>
                    <a:pt x="7887" y="4267"/>
                  </a:lnTo>
                  <a:lnTo>
                    <a:pt x="9260" y="3342"/>
                  </a:lnTo>
                  <a:lnTo>
                    <a:pt x="9700" y="3161"/>
                  </a:lnTo>
                  <a:cubicBezTo>
                    <a:pt x="9765" y="3251"/>
                    <a:pt x="9829" y="3342"/>
                    <a:pt x="9894" y="3432"/>
                  </a:cubicBezTo>
                  <a:lnTo>
                    <a:pt x="10105" y="3432"/>
                  </a:lnTo>
                  <a:lnTo>
                    <a:pt x="10352" y="3206"/>
                  </a:lnTo>
                  <a:lnTo>
                    <a:pt x="10757" y="3455"/>
                  </a:lnTo>
                  <a:cubicBezTo>
                    <a:pt x="10769" y="3214"/>
                    <a:pt x="10780" y="2973"/>
                    <a:pt x="10792" y="2732"/>
                  </a:cubicBezTo>
                  <a:lnTo>
                    <a:pt x="10299" y="2732"/>
                  </a:lnTo>
                  <a:close/>
                </a:path>
              </a:pathLst>
            </a:custGeom>
            <a:solidFill>
              <a:srgbClr val="00B05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2000" tIns="72000" rIns="72000" bIns="72000" anchor="ctr"/>
            <a:lstStyle/>
            <a:p>
              <a:pPr algn="ctr" defTabSz="914308">
                <a:defRPr/>
              </a:pPr>
              <a:endParaRPr lang="ru-RU" sz="1200" kern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371" name="Freeform 161">
              <a:extLst/>
            </p:cNvPr>
            <p:cNvSpPr>
              <a:spLocks/>
            </p:cNvSpPr>
            <p:nvPr/>
          </p:nvSpPr>
          <p:spPr bwMode="auto">
            <a:xfrm>
              <a:off x="3440021" y="1514649"/>
              <a:ext cx="1439351" cy="1898776"/>
            </a:xfrm>
            <a:custGeom>
              <a:avLst/>
              <a:gdLst>
                <a:gd name="T0" fmla="*/ 106 w 463"/>
                <a:gd name="T1" fmla="*/ 333 h 611"/>
                <a:gd name="T2" fmla="*/ 123 w 463"/>
                <a:gd name="T3" fmla="*/ 331 h 611"/>
                <a:gd name="T4" fmla="*/ 134 w 463"/>
                <a:gd name="T5" fmla="*/ 349 h 611"/>
                <a:gd name="T6" fmla="*/ 127 w 463"/>
                <a:gd name="T7" fmla="*/ 370 h 611"/>
                <a:gd name="T8" fmla="*/ 144 w 463"/>
                <a:gd name="T9" fmla="*/ 390 h 611"/>
                <a:gd name="T10" fmla="*/ 149 w 463"/>
                <a:gd name="T11" fmla="*/ 416 h 611"/>
                <a:gd name="T12" fmla="*/ 158 w 463"/>
                <a:gd name="T13" fmla="*/ 445 h 611"/>
                <a:gd name="T14" fmla="*/ 151 w 463"/>
                <a:gd name="T15" fmla="*/ 452 h 611"/>
                <a:gd name="T16" fmla="*/ 123 w 463"/>
                <a:gd name="T17" fmla="*/ 480 h 611"/>
                <a:gd name="T18" fmla="*/ 122 w 463"/>
                <a:gd name="T19" fmla="*/ 494 h 611"/>
                <a:gd name="T20" fmla="*/ 122 w 463"/>
                <a:gd name="T21" fmla="*/ 507 h 611"/>
                <a:gd name="T22" fmla="*/ 145 w 463"/>
                <a:gd name="T23" fmla="*/ 540 h 611"/>
                <a:gd name="T24" fmla="*/ 152 w 463"/>
                <a:gd name="T25" fmla="*/ 538 h 611"/>
                <a:gd name="T26" fmla="*/ 161 w 463"/>
                <a:gd name="T27" fmla="*/ 547 h 611"/>
                <a:gd name="T28" fmla="*/ 203 w 463"/>
                <a:gd name="T29" fmla="*/ 583 h 611"/>
                <a:gd name="T30" fmla="*/ 219 w 463"/>
                <a:gd name="T31" fmla="*/ 611 h 611"/>
                <a:gd name="T32" fmla="*/ 232 w 463"/>
                <a:gd name="T33" fmla="*/ 591 h 611"/>
                <a:gd name="T34" fmla="*/ 248 w 463"/>
                <a:gd name="T35" fmla="*/ 573 h 611"/>
                <a:gd name="T36" fmla="*/ 257 w 463"/>
                <a:gd name="T37" fmla="*/ 556 h 611"/>
                <a:gd name="T38" fmla="*/ 264 w 463"/>
                <a:gd name="T39" fmla="*/ 544 h 611"/>
                <a:gd name="T40" fmla="*/ 281 w 463"/>
                <a:gd name="T41" fmla="*/ 552 h 611"/>
                <a:gd name="T42" fmla="*/ 331 w 463"/>
                <a:gd name="T43" fmla="*/ 546 h 611"/>
                <a:gd name="T44" fmla="*/ 352 w 463"/>
                <a:gd name="T45" fmla="*/ 530 h 611"/>
                <a:gd name="T46" fmla="*/ 370 w 463"/>
                <a:gd name="T47" fmla="*/ 497 h 611"/>
                <a:gd name="T48" fmla="*/ 431 w 463"/>
                <a:gd name="T49" fmla="*/ 424 h 611"/>
                <a:gd name="T50" fmla="*/ 463 w 463"/>
                <a:gd name="T51" fmla="*/ 388 h 611"/>
                <a:gd name="T52" fmla="*/ 398 w 463"/>
                <a:gd name="T53" fmla="*/ 374 h 611"/>
                <a:gd name="T54" fmla="*/ 364 w 463"/>
                <a:gd name="T55" fmla="*/ 361 h 611"/>
                <a:gd name="T56" fmla="*/ 317 w 463"/>
                <a:gd name="T57" fmla="*/ 340 h 611"/>
                <a:gd name="T58" fmla="*/ 303 w 463"/>
                <a:gd name="T59" fmla="*/ 279 h 611"/>
                <a:gd name="T60" fmla="*/ 347 w 463"/>
                <a:gd name="T61" fmla="*/ 212 h 611"/>
                <a:gd name="T62" fmla="*/ 354 w 463"/>
                <a:gd name="T63" fmla="*/ 142 h 611"/>
                <a:gd name="T64" fmla="*/ 366 w 463"/>
                <a:gd name="T65" fmla="*/ 137 h 611"/>
                <a:gd name="T66" fmla="*/ 361 w 463"/>
                <a:gd name="T67" fmla="*/ 122 h 611"/>
                <a:gd name="T68" fmla="*/ 360 w 463"/>
                <a:gd name="T69" fmla="*/ 111 h 611"/>
                <a:gd name="T70" fmla="*/ 359 w 463"/>
                <a:gd name="T71" fmla="*/ 100 h 611"/>
                <a:gd name="T72" fmla="*/ 366 w 463"/>
                <a:gd name="T73" fmla="*/ 85 h 611"/>
                <a:gd name="T74" fmla="*/ 351 w 463"/>
                <a:gd name="T75" fmla="*/ 72 h 611"/>
                <a:gd name="T76" fmla="*/ 371 w 463"/>
                <a:gd name="T77" fmla="*/ 51 h 611"/>
                <a:gd name="T78" fmla="*/ 356 w 463"/>
                <a:gd name="T79" fmla="*/ 39 h 611"/>
                <a:gd name="T80" fmla="*/ 362 w 463"/>
                <a:gd name="T81" fmla="*/ 27 h 611"/>
                <a:gd name="T82" fmla="*/ 359 w 463"/>
                <a:gd name="T83" fmla="*/ 3 h 611"/>
                <a:gd name="T84" fmla="*/ 303 w 463"/>
                <a:gd name="T85" fmla="*/ 32 h 611"/>
                <a:gd name="T86" fmla="*/ 198 w 463"/>
                <a:gd name="T87" fmla="*/ 45 h 611"/>
                <a:gd name="T88" fmla="*/ 115 w 463"/>
                <a:gd name="T89" fmla="*/ 55 h 611"/>
                <a:gd name="T90" fmla="*/ 64 w 463"/>
                <a:gd name="T91" fmla="*/ 60 h 611"/>
                <a:gd name="T92" fmla="*/ 74 w 463"/>
                <a:gd name="T93" fmla="*/ 92 h 611"/>
                <a:gd name="T94" fmla="*/ 67 w 463"/>
                <a:gd name="T95" fmla="*/ 110 h 611"/>
                <a:gd name="T96" fmla="*/ 123 w 463"/>
                <a:gd name="T97" fmla="*/ 138 h 611"/>
                <a:gd name="T98" fmla="*/ 76 w 463"/>
                <a:gd name="T99" fmla="*/ 149 h 611"/>
                <a:gd name="T100" fmla="*/ 52 w 463"/>
                <a:gd name="T101" fmla="*/ 192 h 611"/>
                <a:gd name="T102" fmla="*/ 0 w 463"/>
                <a:gd name="T103" fmla="*/ 242 h 611"/>
                <a:gd name="T104" fmla="*/ 16 w 463"/>
                <a:gd name="T105" fmla="*/ 279 h 611"/>
                <a:gd name="T106" fmla="*/ 79 w 463"/>
                <a:gd name="T107" fmla="*/ 305 h 611"/>
                <a:gd name="connsiteX0" fmla="*/ 2289 w 10000"/>
                <a:gd name="connsiteY0" fmla="*/ 5074 h 10000"/>
                <a:gd name="connsiteX1" fmla="*/ 2289 w 10000"/>
                <a:gd name="connsiteY1" fmla="*/ 5123 h 10000"/>
                <a:gd name="connsiteX2" fmla="*/ 2225 w 10000"/>
                <a:gd name="connsiteY2" fmla="*/ 5368 h 10000"/>
                <a:gd name="connsiteX3" fmla="*/ 2358 w 10000"/>
                <a:gd name="connsiteY3" fmla="*/ 5567 h 10000"/>
                <a:gd name="connsiteX4" fmla="*/ 2462 w 10000"/>
                <a:gd name="connsiteY4" fmla="*/ 5319 h 10000"/>
                <a:gd name="connsiteX5" fmla="*/ 2484 w 10000"/>
                <a:gd name="connsiteY5" fmla="*/ 5303 h 10000"/>
                <a:gd name="connsiteX6" fmla="*/ 2527 w 10000"/>
                <a:gd name="connsiteY6" fmla="*/ 5319 h 10000"/>
                <a:gd name="connsiteX7" fmla="*/ 2657 w 10000"/>
                <a:gd name="connsiteY7" fmla="*/ 5417 h 10000"/>
                <a:gd name="connsiteX8" fmla="*/ 2678 w 10000"/>
                <a:gd name="connsiteY8" fmla="*/ 5417 h 10000"/>
                <a:gd name="connsiteX9" fmla="*/ 2678 w 10000"/>
                <a:gd name="connsiteY9" fmla="*/ 5434 h 10000"/>
                <a:gd name="connsiteX10" fmla="*/ 2721 w 10000"/>
                <a:gd name="connsiteY10" fmla="*/ 5581 h 10000"/>
                <a:gd name="connsiteX11" fmla="*/ 2894 w 10000"/>
                <a:gd name="connsiteY11" fmla="*/ 5712 h 10000"/>
                <a:gd name="connsiteX12" fmla="*/ 2916 w 10000"/>
                <a:gd name="connsiteY12" fmla="*/ 5728 h 10000"/>
                <a:gd name="connsiteX13" fmla="*/ 2894 w 10000"/>
                <a:gd name="connsiteY13" fmla="*/ 5761 h 10000"/>
                <a:gd name="connsiteX14" fmla="*/ 2743 w 10000"/>
                <a:gd name="connsiteY14" fmla="*/ 5859 h 10000"/>
                <a:gd name="connsiteX15" fmla="*/ 2743 w 10000"/>
                <a:gd name="connsiteY15" fmla="*/ 6056 h 10000"/>
                <a:gd name="connsiteX16" fmla="*/ 2916 w 10000"/>
                <a:gd name="connsiteY16" fmla="*/ 6219 h 10000"/>
                <a:gd name="connsiteX17" fmla="*/ 3110 w 10000"/>
                <a:gd name="connsiteY17" fmla="*/ 6383 h 10000"/>
                <a:gd name="connsiteX18" fmla="*/ 3110 w 10000"/>
                <a:gd name="connsiteY18" fmla="*/ 6383 h 10000"/>
                <a:gd name="connsiteX19" fmla="*/ 3110 w 10000"/>
                <a:gd name="connsiteY19" fmla="*/ 6383 h 10000"/>
                <a:gd name="connsiteX20" fmla="*/ 3218 w 10000"/>
                <a:gd name="connsiteY20" fmla="*/ 6678 h 10000"/>
                <a:gd name="connsiteX21" fmla="*/ 3218 w 10000"/>
                <a:gd name="connsiteY21" fmla="*/ 6678 h 10000"/>
                <a:gd name="connsiteX22" fmla="*/ 3218 w 10000"/>
                <a:gd name="connsiteY22" fmla="*/ 6678 h 10000"/>
                <a:gd name="connsiteX23" fmla="*/ 3218 w 10000"/>
                <a:gd name="connsiteY23" fmla="*/ 6809 h 10000"/>
                <a:gd name="connsiteX24" fmla="*/ 3326 w 10000"/>
                <a:gd name="connsiteY24" fmla="*/ 6874 h 10000"/>
                <a:gd name="connsiteX25" fmla="*/ 3348 w 10000"/>
                <a:gd name="connsiteY25" fmla="*/ 6890 h 10000"/>
                <a:gd name="connsiteX26" fmla="*/ 3348 w 10000"/>
                <a:gd name="connsiteY26" fmla="*/ 6890 h 10000"/>
                <a:gd name="connsiteX27" fmla="*/ 3413 w 10000"/>
                <a:gd name="connsiteY27" fmla="*/ 7283 h 10000"/>
                <a:gd name="connsiteX28" fmla="*/ 3413 w 10000"/>
                <a:gd name="connsiteY28" fmla="*/ 7300 h 10000"/>
                <a:gd name="connsiteX29" fmla="*/ 3391 w 10000"/>
                <a:gd name="connsiteY29" fmla="*/ 7316 h 10000"/>
                <a:gd name="connsiteX30" fmla="*/ 3261 w 10000"/>
                <a:gd name="connsiteY30" fmla="*/ 7398 h 10000"/>
                <a:gd name="connsiteX31" fmla="*/ 3261 w 10000"/>
                <a:gd name="connsiteY31" fmla="*/ 7398 h 10000"/>
                <a:gd name="connsiteX32" fmla="*/ 3261 w 10000"/>
                <a:gd name="connsiteY32" fmla="*/ 7398 h 10000"/>
                <a:gd name="connsiteX33" fmla="*/ 2916 w 10000"/>
                <a:gd name="connsiteY33" fmla="*/ 7545 h 10000"/>
                <a:gd name="connsiteX34" fmla="*/ 2657 w 10000"/>
                <a:gd name="connsiteY34" fmla="*/ 7856 h 10000"/>
                <a:gd name="connsiteX35" fmla="*/ 2657 w 10000"/>
                <a:gd name="connsiteY35" fmla="*/ 7856 h 10000"/>
                <a:gd name="connsiteX36" fmla="*/ 2635 w 10000"/>
                <a:gd name="connsiteY36" fmla="*/ 7872 h 10000"/>
                <a:gd name="connsiteX37" fmla="*/ 2505 w 10000"/>
                <a:gd name="connsiteY37" fmla="*/ 7954 h 10000"/>
                <a:gd name="connsiteX38" fmla="*/ 2635 w 10000"/>
                <a:gd name="connsiteY38" fmla="*/ 8085 h 10000"/>
                <a:gd name="connsiteX39" fmla="*/ 2635 w 10000"/>
                <a:gd name="connsiteY39" fmla="*/ 8085 h 10000"/>
                <a:gd name="connsiteX40" fmla="*/ 2635 w 10000"/>
                <a:gd name="connsiteY40" fmla="*/ 8101 h 10000"/>
                <a:gd name="connsiteX41" fmla="*/ 2635 w 10000"/>
                <a:gd name="connsiteY41" fmla="*/ 8282 h 10000"/>
                <a:gd name="connsiteX42" fmla="*/ 2635 w 10000"/>
                <a:gd name="connsiteY42" fmla="*/ 8298 h 10000"/>
                <a:gd name="connsiteX43" fmla="*/ 2635 w 10000"/>
                <a:gd name="connsiteY43" fmla="*/ 8298 h 10000"/>
                <a:gd name="connsiteX44" fmla="*/ 2505 w 10000"/>
                <a:gd name="connsiteY44" fmla="*/ 8543 h 10000"/>
                <a:gd name="connsiteX45" fmla="*/ 2937 w 10000"/>
                <a:gd name="connsiteY45" fmla="*/ 8903 h 10000"/>
                <a:gd name="connsiteX46" fmla="*/ 3067 w 10000"/>
                <a:gd name="connsiteY46" fmla="*/ 8936 h 10000"/>
                <a:gd name="connsiteX47" fmla="*/ 3132 w 10000"/>
                <a:gd name="connsiteY47" fmla="*/ 8838 h 10000"/>
                <a:gd name="connsiteX48" fmla="*/ 3132 w 10000"/>
                <a:gd name="connsiteY48" fmla="*/ 8822 h 10000"/>
                <a:gd name="connsiteX49" fmla="*/ 3153 w 10000"/>
                <a:gd name="connsiteY49" fmla="*/ 8822 h 10000"/>
                <a:gd name="connsiteX50" fmla="*/ 3283 w 10000"/>
                <a:gd name="connsiteY50" fmla="*/ 8805 h 10000"/>
                <a:gd name="connsiteX51" fmla="*/ 3283 w 10000"/>
                <a:gd name="connsiteY51" fmla="*/ 8805 h 10000"/>
                <a:gd name="connsiteX52" fmla="*/ 3305 w 10000"/>
                <a:gd name="connsiteY52" fmla="*/ 8822 h 10000"/>
                <a:gd name="connsiteX53" fmla="*/ 3456 w 10000"/>
                <a:gd name="connsiteY53" fmla="*/ 8903 h 10000"/>
                <a:gd name="connsiteX54" fmla="*/ 3477 w 10000"/>
                <a:gd name="connsiteY54" fmla="*/ 8903 h 10000"/>
                <a:gd name="connsiteX55" fmla="*/ 3477 w 10000"/>
                <a:gd name="connsiteY55" fmla="*/ 8953 h 10000"/>
                <a:gd name="connsiteX56" fmla="*/ 3369 w 10000"/>
                <a:gd name="connsiteY56" fmla="*/ 9116 h 10000"/>
                <a:gd name="connsiteX57" fmla="*/ 3650 w 10000"/>
                <a:gd name="connsiteY57" fmla="*/ 9280 h 10000"/>
                <a:gd name="connsiteX58" fmla="*/ 3952 w 10000"/>
                <a:gd name="connsiteY58" fmla="*/ 9427 h 10000"/>
                <a:gd name="connsiteX59" fmla="*/ 4384 w 10000"/>
                <a:gd name="connsiteY59" fmla="*/ 9542 h 10000"/>
                <a:gd name="connsiteX60" fmla="*/ 4384 w 10000"/>
                <a:gd name="connsiteY60" fmla="*/ 9558 h 10000"/>
                <a:gd name="connsiteX61" fmla="*/ 4384 w 10000"/>
                <a:gd name="connsiteY61" fmla="*/ 9558 h 10000"/>
                <a:gd name="connsiteX62" fmla="*/ 4730 w 10000"/>
                <a:gd name="connsiteY62" fmla="*/ 10000 h 10000"/>
                <a:gd name="connsiteX63" fmla="*/ 4730 w 10000"/>
                <a:gd name="connsiteY63" fmla="*/ 10000 h 10000"/>
                <a:gd name="connsiteX64" fmla="*/ 4924 w 10000"/>
                <a:gd name="connsiteY64" fmla="*/ 9984 h 10000"/>
                <a:gd name="connsiteX65" fmla="*/ 4946 w 10000"/>
                <a:gd name="connsiteY65" fmla="*/ 9869 h 10000"/>
                <a:gd name="connsiteX66" fmla="*/ 5011 w 10000"/>
                <a:gd name="connsiteY66" fmla="*/ 9689 h 10000"/>
                <a:gd name="connsiteX67" fmla="*/ 5011 w 10000"/>
                <a:gd name="connsiteY67" fmla="*/ 9673 h 10000"/>
                <a:gd name="connsiteX68" fmla="*/ 5032 w 10000"/>
                <a:gd name="connsiteY68" fmla="*/ 9656 h 10000"/>
                <a:gd name="connsiteX69" fmla="*/ 5248 w 10000"/>
                <a:gd name="connsiteY69" fmla="*/ 9574 h 10000"/>
                <a:gd name="connsiteX70" fmla="*/ 5356 w 10000"/>
                <a:gd name="connsiteY70" fmla="*/ 9394 h 10000"/>
                <a:gd name="connsiteX71" fmla="*/ 5356 w 10000"/>
                <a:gd name="connsiteY71" fmla="*/ 9378 h 10000"/>
                <a:gd name="connsiteX72" fmla="*/ 5378 w 10000"/>
                <a:gd name="connsiteY72" fmla="*/ 9378 h 10000"/>
                <a:gd name="connsiteX73" fmla="*/ 5529 w 10000"/>
                <a:gd name="connsiteY73" fmla="*/ 9296 h 10000"/>
                <a:gd name="connsiteX74" fmla="*/ 5551 w 10000"/>
                <a:gd name="connsiteY74" fmla="*/ 9100 h 10000"/>
                <a:gd name="connsiteX75" fmla="*/ 5551 w 10000"/>
                <a:gd name="connsiteY75" fmla="*/ 9100 h 10000"/>
                <a:gd name="connsiteX76" fmla="*/ 5551 w 10000"/>
                <a:gd name="connsiteY76" fmla="*/ 9100 h 10000"/>
                <a:gd name="connsiteX77" fmla="*/ 5659 w 10000"/>
                <a:gd name="connsiteY77" fmla="*/ 8936 h 10000"/>
                <a:gd name="connsiteX78" fmla="*/ 5680 w 10000"/>
                <a:gd name="connsiteY78" fmla="*/ 8903 h 10000"/>
                <a:gd name="connsiteX79" fmla="*/ 5702 w 10000"/>
                <a:gd name="connsiteY79" fmla="*/ 8903 h 10000"/>
                <a:gd name="connsiteX80" fmla="*/ 5918 w 10000"/>
                <a:gd name="connsiteY80" fmla="*/ 8903 h 10000"/>
                <a:gd name="connsiteX81" fmla="*/ 5940 w 10000"/>
                <a:gd name="connsiteY81" fmla="*/ 8903 h 10000"/>
                <a:gd name="connsiteX82" fmla="*/ 5961 w 10000"/>
                <a:gd name="connsiteY82" fmla="*/ 8936 h 10000"/>
                <a:gd name="connsiteX83" fmla="*/ 6069 w 10000"/>
                <a:gd name="connsiteY83" fmla="*/ 9034 h 10000"/>
                <a:gd name="connsiteX84" fmla="*/ 6847 w 10000"/>
                <a:gd name="connsiteY84" fmla="*/ 9133 h 10000"/>
                <a:gd name="connsiteX85" fmla="*/ 7127 w 10000"/>
                <a:gd name="connsiteY85" fmla="*/ 8936 h 10000"/>
                <a:gd name="connsiteX86" fmla="*/ 7149 w 10000"/>
                <a:gd name="connsiteY86" fmla="*/ 8936 h 10000"/>
                <a:gd name="connsiteX87" fmla="*/ 7149 w 10000"/>
                <a:gd name="connsiteY87" fmla="*/ 8936 h 10000"/>
                <a:gd name="connsiteX88" fmla="*/ 7408 w 10000"/>
                <a:gd name="connsiteY88" fmla="*/ 8953 h 10000"/>
                <a:gd name="connsiteX89" fmla="*/ 7603 w 10000"/>
                <a:gd name="connsiteY89" fmla="*/ 8674 h 10000"/>
                <a:gd name="connsiteX90" fmla="*/ 7603 w 10000"/>
                <a:gd name="connsiteY90" fmla="*/ 8674 h 10000"/>
                <a:gd name="connsiteX91" fmla="*/ 7603 w 10000"/>
                <a:gd name="connsiteY91" fmla="*/ 8674 h 10000"/>
                <a:gd name="connsiteX92" fmla="*/ 7948 w 10000"/>
                <a:gd name="connsiteY92" fmla="*/ 8462 h 10000"/>
                <a:gd name="connsiteX93" fmla="*/ 7970 w 10000"/>
                <a:gd name="connsiteY93" fmla="*/ 8151 h 10000"/>
                <a:gd name="connsiteX94" fmla="*/ 7991 w 10000"/>
                <a:gd name="connsiteY94" fmla="*/ 8134 h 10000"/>
                <a:gd name="connsiteX95" fmla="*/ 7991 w 10000"/>
                <a:gd name="connsiteY95" fmla="*/ 8134 h 10000"/>
                <a:gd name="connsiteX96" fmla="*/ 8467 w 10000"/>
                <a:gd name="connsiteY96" fmla="*/ 7823 h 10000"/>
                <a:gd name="connsiteX97" fmla="*/ 8920 w 10000"/>
                <a:gd name="connsiteY97" fmla="*/ 7512 h 10000"/>
                <a:gd name="connsiteX98" fmla="*/ 9309 w 10000"/>
                <a:gd name="connsiteY98" fmla="*/ 6956 h 10000"/>
                <a:gd name="connsiteX99" fmla="*/ 9309 w 10000"/>
                <a:gd name="connsiteY99" fmla="*/ 6939 h 10000"/>
                <a:gd name="connsiteX100" fmla="*/ 9330 w 10000"/>
                <a:gd name="connsiteY100" fmla="*/ 6939 h 10000"/>
                <a:gd name="connsiteX101" fmla="*/ 9806 w 10000"/>
                <a:gd name="connsiteY101" fmla="*/ 6661 h 10000"/>
                <a:gd name="connsiteX102" fmla="*/ 10000 w 10000"/>
                <a:gd name="connsiteY102" fmla="*/ 6563 h 10000"/>
                <a:gd name="connsiteX103" fmla="*/ 10000 w 10000"/>
                <a:gd name="connsiteY103" fmla="*/ 6350 h 10000"/>
                <a:gd name="connsiteX104" fmla="*/ 9136 w 10000"/>
                <a:gd name="connsiteY104" fmla="*/ 6383 h 10000"/>
                <a:gd name="connsiteX105" fmla="*/ 9114 w 10000"/>
                <a:gd name="connsiteY105" fmla="*/ 6383 h 10000"/>
                <a:gd name="connsiteX106" fmla="*/ 9114 w 10000"/>
                <a:gd name="connsiteY106" fmla="*/ 6383 h 10000"/>
                <a:gd name="connsiteX107" fmla="*/ 8596 w 10000"/>
                <a:gd name="connsiteY107" fmla="*/ 6121 h 10000"/>
                <a:gd name="connsiteX108" fmla="*/ 8553 w 10000"/>
                <a:gd name="connsiteY108" fmla="*/ 6121 h 10000"/>
                <a:gd name="connsiteX109" fmla="*/ 8553 w 10000"/>
                <a:gd name="connsiteY109" fmla="*/ 6105 h 10000"/>
                <a:gd name="connsiteX110" fmla="*/ 8467 w 10000"/>
                <a:gd name="connsiteY110" fmla="*/ 5908 h 10000"/>
                <a:gd name="connsiteX111" fmla="*/ 7862 w 10000"/>
                <a:gd name="connsiteY111" fmla="*/ 5908 h 10000"/>
                <a:gd name="connsiteX112" fmla="*/ 7840 w 10000"/>
                <a:gd name="connsiteY112" fmla="*/ 5908 h 10000"/>
                <a:gd name="connsiteX113" fmla="*/ 7819 w 10000"/>
                <a:gd name="connsiteY113" fmla="*/ 5892 h 10000"/>
                <a:gd name="connsiteX114" fmla="*/ 7495 w 10000"/>
                <a:gd name="connsiteY114" fmla="*/ 5565 h 10000"/>
                <a:gd name="connsiteX115" fmla="*/ 6847 w 10000"/>
                <a:gd name="connsiteY115" fmla="*/ 5565 h 10000"/>
                <a:gd name="connsiteX116" fmla="*/ 6803 w 10000"/>
                <a:gd name="connsiteY116" fmla="*/ 5565 h 10000"/>
                <a:gd name="connsiteX117" fmla="*/ 6803 w 10000"/>
                <a:gd name="connsiteY117" fmla="*/ 5532 h 10000"/>
                <a:gd name="connsiteX118" fmla="*/ 6803 w 10000"/>
                <a:gd name="connsiteY118" fmla="*/ 4763 h 10000"/>
                <a:gd name="connsiteX119" fmla="*/ 6544 w 10000"/>
                <a:gd name="connsiteY119" fmla="*/ 4566 h 10000"/>
                <a:gd name="connsiteX120" fmla="*/ 6523 w 10000"/>
                <a:gd name="connsiteY120" fmla="*/ 4534 h 10000"/>
                <a:gd name="connsiteX121" fmla="*/ 6544 w 10000"/>
                <a:gd name="connsiteY121" fmla="*/ 4517 h 10000"/>
                <a:gd name="connsiteX122" fmla="*/ 7171 w 10000"/>
                <a:gd name="connsiteY122" fmla="*/ 3961 h 10000"/>
                <a:gd name="connsiteX123" fmla="*/ 7495 w 10000"/>
                <a:gd name="connsiteY123" fmla="*/ 3470 h 10000"/>
                <a:gd name="connsiteX124" fmla="*/ 7516 w 10000"/>
                <a:gd name="connsiteY124" fmla="*/ 2488 h 10000"/>
                <a:gd name="connsiteX125" fmla="*/ 7516 w 10000"/>
                <a:gd name="connsiteY125" fmla="*/ 2488 h 10000"/>
                <a:gd name="connsiteX126" fmla="*/ 7538 w 10000"/>
                <a:gd name="connsiteY126" fmla="*/ 2471 h 10000"/>
                <a:gd name="connsiteX127" fmla="*/ 7646 w 10000"/>
                <a:gd name="connsiteY127" fmla="*/ 2324 h 10000"/>
                <a:gd name="connsiteX128" fmla="*/ 7646 w 10000"/>
                <a:gd name="connsiteY128" fmla="*/ 2308 h 10000"/>
                <a:gd name="connsiteX129" fmla="*/ 7667 w 10000"/>
                <a:gd name="connsiteY129" fmla="*/ 2308 h 10000"/>
                <a:gd name="connsiteX130" fmla="*/ 7883 w 10000"/>
                <a:gd name="connsiteY130" fmla="*/ 2275 h 10000"/>
                <a:gd name="connsiteX131" fmla="*/ 7905 w 10000"/>
                <a:gd name="connsiteY131" fmla="*/ 2242 h 10000"/>
                <a:gd name="connsiteX132" fmla="*/ 7754 w 10000"/>
                <a:gd name="connsiteY132" fmla="*/ 2144 h 10000"/>
                <a:gd name="connsiteX133" fmla="*/ 7732 w 10000"/>
                <a:gd name="connsiteY133" fmla="*/ 2128 h 10000"/>
                <a:gd name="connsiteX134" fmla="*/ 7754 w 10000"/>
                <a:gd name="connsiteY134" fmla="*/ 2111 h 10000"/>
                <a:gd name="connsiteX135" fmla="*/ 7797 w 10000"/>
                <a:gd name="connsiteY135" fmla="*/ 1997 h 10000"/>
                <a:gd name="connsiteX136" fmla="*/ 7797 w 10000"/>
                <a:gd name="connsiteY136" fmla="*/ 1980 h 10000"/>
                <a:gd name="connsiteX137" fmla="*/ 7819 w 10000"/>
                <a:gd name="connsiteY137" fmla="*/ 1980 h 10000"/>
                <a:gd name="connsiteX138" fmla="*/ 7927 w 10000"/>
                <a:gd name="connsiteY138" fmla="*/ 1915 h 10000"/>
                <a:gd name="connsiteX139" fmla="*/ 7775 w 10000"/>
                <a:gd name="connsiteY139" fmla="*/ 1817 h 10000"/>
                <a:gd name="connsiteX140" fmla="*/ 7754 w 10000"/>
                <a:gd name="connsiteY140" fmla="*/ 1817 h 10000"/>
                <a:gd name="connsiteX141" fmla="*/ 7754 w 10000"/>
                <a:gd name="connsiteY141" fmla="*/ 1800 h 10000"/>
                <a:gd name="connsiteX142" fmla="*/ 7754 w 10000"/>
                <a:gd name="connsiteY142" fmla="*/ 1669 h 10000"/>
                <a:gd name="connsiteX143" fmla="*/ 7754 w 10000"/>
                <a:gd name="connsiteY143" fmla="*/ 1637 h 10000"/>
                <a:gd name="connsiteX144" fmla="*/ 7775 w 10000"/>
                <a:gd name="connsiteY144" fmla="*/ 1637 h 10000"/>
                <a:gd name="connsiteX145" fmla="*/ 7927 w 10000"/>
                <a:gd name="connsiteY145" fmla="*/ 1571 h 10000"/>
                <a:gd name="connsiteX146" fmla="*/ 7991 w 10000"/>
                <a:gd name="connsiteY146" fmla="*/ 1473 h 10000"/>
                <a:gd name="connsiteX147" fmla="*/ 7905 w 10000"/>
                <a:gd name="connsiteY147" fmla="*/ 1391 h 10000"/>
                <a:gd name="connsiteX148" fmla="*/ 7667 w 10000"/>
                <a:gd name="connsiteY148" fmla="*/ 1260 h 10000"/>
                <a:gd name="connsiteX149" fmla="*/ 7667 w 10000"/>
                <a:gd name="connsiteY149" fmla="*/ 1260 h 10000"/>
                <a:gd name="connsiteX150" fmla="*/ 7667 w 10000"/>
                <a:gd name="connsiteY150" fmla="*/ 1260 h 10000"/>
                <a:gd name="connsiteX151" fmla="*/ 7581 w 10000"/>
                <a:gd name="connsiteY151" fmla="*/ 1178 h 10000"/>
                <a:gd name="connsiteX152" fmla="*/ 7559 w 10000"/>
                <a:gd name="connsiteY152" fmla="*/ 1162 h 10000"/>
                <a:gd name="connsiteX153" fmla="*/ 7603 w 10000"/>
                <a:gd name="connsiteY153" fmla="*/ 1129 h 10000"/>
                <a:gd name="connsiteX154" fmla="*/ 8013 w 10000"/>
                <a:gd name="connsiteY154" fmla="*/ 900 h 10000"/>
                <a:gd name="connsiteX155" fmla="*/ 8013 w 10000"/>
                <a:gd name="connsiteY155" fmla="*/ 835 h 10000"/>
                <a:gd name="connsiteX156" fmla="*/ 7711 w 10000"/>
                <a:gd name="connsiteY156" fmla="*/ 769 h 10000"/>
                <a:gd name="connsiteX157" fmla="*/ 7689 w 10000"/>
                <a:gd name="connsiteY157" fmla="*/ 753 h 10000"/>
                <a:gd name="connsiteX158" fmla="*/ 7689 w 10000"/>
                <a:gd name="connsiteY158" fmla="*/ 736 h 10000"/>
                <a:gd name="connsiteX159" fmla="*/ 7689 w 10000"/>
                <a:gd name="connsiteY159" fmla="*/ 638 h 10000"/>
                <a:gd name="connsiteX160" fmla="*/ 7689 w 10000"/>
                <a:gd name="connsiteY160" fmla="*/ 622 h 10000"/>
                <a:gd name="connsiteX161" fmla="*/ 7711 w 10000"/>
                <a:gd name="connsiteY161" fmla="*/ 606 h 10000"/>
                <a:gd name="connsiteX162" fmla="*/ 7883 w 10000"/>
                <a:gd name="connsiteY162" fmla="*/ 507 h 10000"/>
                <a:gd name="connsiteX163" fmla="*/ 7819 w 10000"/>
                <a:gd name="connsiteY163" fmla="*/ 442 h 10000"/>
                <a:gd name="connsiteX164" fmla="*/ 7819 w 10000"/>
                <a:gd name="connsiteY164" fmla="*/ 442 h 10000"/>
                <a:gd name="connsiteX165" fmla="*/ 7819 w 10000"/>
                <a:gd name="connsiteY165" fmla="*/ 426 h 10000"/>
                <a:gd name="connsiteX166" fmla="*/ 7711 w 10000"/>
                <a:gd name="connsiteY166" fmla="*/ 65 h 10000"/>
                <a:gd name="connsiteX167" fmla="*/ 7754 w 10000"/>
                <a:gd name="connsiteY167" fmla="*/ 49 h 10000"/>
                <a:gd name="connsiteX168" fmla="*/ 7430 w 10000"/>
                <a:gd name="connsiteY168" fmla="*/ 0 h 10000"/>
                <a:gd name="connsiteX169" fmla="*/ 6955 w 10000"/>
                <a:gd name="connsiteY169" fmla="*/ 115 h 10000"/>
                <a:gd name="connsiteX170" fmla="*/ 6544 w 10000"/>
                <a:gd name="connsiteY170" fmla="*/ 262 h 10000"/>
                <a:gd name="connsiteX171" fmla="*/ 6544 w 10000"/>
                <a:gd name="connsiteY171" fmla="*/ 524 h 10000"/>
                <a:gd name="connsiteX172" fmla="*/ 6393 w 10000"/>
                <a:gd name="connsiteY172" fmla="*/ 589 h 10000"/>
                <a:gd name="connsiteX173" fmla="*/ 5270 w 10000"/>
                <a:gd name="connsiteY173" fmla="*/ 507 h 10000"/>
                <a:gd name="connsiteX174" fmla="*/ 4924 w 10000"/>
                <a:gd name="connsiteY174" fmla="*/ 655 h 10000"/>
                <a:gd name="connsiteX175" fmla="*/ 4276 w 10000"/>
                <a:gd name="connsiteY175" fmla="*/ 736 h 10000"/>
                <a:gd name="connsiteX176" fmla="*/ 3974 w 10000"/>
                <a:gd name="connsiteY176" fmla="*/ 851 h 10000"/>
                <a:gd name="connsiteX177" fmla="*/ 3153 w 10000"/>
                <a:gd name="connsiteY177" fmla="*/ 900 h 10000"/>
                <a:gd name="connsiteX178" fmla="*/ 3002 w 10000"/>
                <a:gd name="connsiteY178" fmla="*/ 900 h 10000"/>
                <a:gd name="connsiteX179" fmla="*/ 2484 w 10000"/>
                <a:gd name="connsiteY179" fmla="*/ 900 h 10000"/>
                <a:gd name="connsiteX180" fmla="*/ 2117 w 10000"/>
                <a:gd name="connsiteY180" fmla="*/ 884 h 10000"/>
                <a:gd name="connsiteX181" fmla="*/ 1922 w 10000"/>
                <a:gd name="connsiteY181" fmla="*/ 769 h 10000"/>
                <a:gd name="connsiteX182" fmla="*/ 1598 w 10000"/>
                <a:gd name="connsiteY182" fmla="*/ 786 h 10000"/>
                <a:gd name="connsiteX183" fmla="*/ 1382 w 10000"/>
                <a:gd name="connsiteY183" fmla="*/ 982 h 10000"/>
                <a:gd name="connsiteX184" fmla="*/ 1620 w 10000"/>
                <a:gd name="connsiteY184" fmla="*/ 1097 h 10000"/>
                <a:gd name="connsiteX185" fmla="*/ 1512 w 10000"/>
                <a:gd name="connsiteY185" fmla="*/ 1244 h 10000"/>
                <a:gd name="connsiteX186" fmla="*/ 1296 w 10000"/>
                <a:gd name="connsiteY186" fmla="*/ 1424 h 10000"/>
                <a:gd name="connsiteX187" fmla="*/ 1598 w 10000"/>
                <a:gd name="connsiteY187" fmla="*/ 1506 h 10000"/>
                <a:gd name="connsiteX188" fmla="*/ 1965 w 10000"/>
                <a:gd name="connsiteY188" fmla="*/ 1506 h 10000"/>
                <a:gd name="connsiteX189" fmla="*/ 2117 w 10000"/>
                <a:gd name="connsiteY189" fmla="*/ 1604 h 10000"/>
                <a:gd name="connsiteX190" fmla="*/ 1706 w 10000"/>
                <a:gd name="connsiteY190" fmla="*/ 1751 h 10000"/>
                <a:gd name="connsiteX191" fmla="*/ 1447 w 10000"/>
                <a:gd name="connsiteY191" fmla="*/ 1800 h 10000"/>
                <a:gd name="connsiteX192" fmla="*/ 1447 w 10000"/>
                <a:gd name="connsiteY192" fmla="*/ 1980 h 10000"/>
                <a:gd name="connsiteX193" fmla="*/ 1922 w 10000"/>
                <a:gd name="connsiteY193" fmla="*/ 2013 h 10000"/>
                <a:gd name="connsiteX194" fmla="*/ 2354 w 10000"/>
                <a:gd name="connsiteY194" fmla="*/ 2144 h 10000"/>
                <a:gd name="connsiteX195" fmla="*/ 2657 w 10000"/>
                <a:gd name="connsiteY195" fmla="*/ 2259 h 10000"/>
                <a:gd name="connsiteX196" fmla="*/ 2635 w 10000"/>
                <a:gd name="connsiteY196" fmla="*/ 2422 h 10000"/>
                <a:gd name="connsiteX197" fmla="*/ 2441 w 10000"/>
                <a:gd name="connsiteY197" fmla="*/ 2520 h 10000"/>
                <a:gd name="connsiteX198" fmla="*/ 2009 w 10000"/>
                <a:gd name="connsiteY198" fmla="*/ 2520 h 10000"/>
                <a:gd name="connsiteX199" fmla="*/ 1641 w 10000"/>
                <a:gd name="connsiteY199" fmla="*/ 2439 h 10000"/>
                <a:gd name="connsiteX200" fmla="*/ 1382 w 10000"/>
                <a:gd name="connsiteY200" fmla="*/ 2439 h 10000"/>
                <a:gd name="connsiteX201" fmla="*/ 1123 w 10000"/>
                <a:gd name="connsiteY201" fmla="*/ 2619 h 10000"/>
                <a:gd name="connsiteX202" fmla="*/ 821 w 10000"/>
                <a:gd name="connsiteY202" fmla="*/ 2848 h 10000"/>
                <a:gd name="connsiteX203" fmla="*/ 1123 w 10000"/>
                <a:gd name="connsiteY203" fmla="*/ 3142 h 10000"/>
                <a:gd name="connsiteX204" fmla="*/ 1188 w 10000"/>
                <a:gd name="connsiteY204" fmla="*/ 3437 h 10000"/>
                <a:gd name="connsiteX205" fmla="*/ 864 w 10000"/>
                <a:gd name="connsiteY205" fmla="*/ 3666 h 10000"/>
                <a:gd name="connsiteX206" fmla="*/ 346 w 10000"/>
                <a:gd name="connsiteY206" fmla="*/ 3781 h 10000"/>
                <a:gd name="connsiteX207" fmla="*/ 0 w 10000"/>
                <a:gd name="connsiteY207" fmla="*/ 3961 h 10000"/>
                <a:gd name="connsiteX208" fmla="*/ 0 w 10000"/>
                <a:gd name="connsiteY208" fmla="*/ 4075 h 10000"/>
                <a:gd name="connsiteX209" fmla="*/ 389 w 10000"/>
                <a:gd name="connsiteY209" fmla="*/ 4288 h 10000"/>
                <a:gd name="connsiteX210" fmla="*/ 302 w 10000"/>
                <a:gd name="connsiteY210" fmla="*/ 4419 h 10000"/>
                <a:gd name="connsiteX211" fmla="*/ 346 w 10000"/>
                <a:gd name="connsiteY211" fmla="*/ 4566 h 10000"/>
                <a:gd name="connsiteX212" fmla="*/ 907 w 10000"/>
                <a:gd name="connsiteY212" fmla="*/ 4566 h 10000"/>
                <a:gd name="connsiteX213" fmla="*/ 994 w 10000"/>
                <a:gd name="connsiteY213" fmla="*/ 4779 h 10000"/>
                <a:gd name="connsiteX214" fmla="*/ 1382 w 10000"/>
                <a:gd name="connsiteY214" fmla="*/ 4779 h 10000"/>
                <a:gd name="connsiteX215" fmla="*/ 1706 w 10000"/>
                <a:gd name="connsiteY215" fmla="*/ 4992 h 10000"/>
                <a:gd name="connsiteX216" fmla="*/ 1706 w 10000"/>
                <a:gd name="connsiteY216" fmla="*/ 5074 h 10000"/>
                <a:gd name="connsiteX217" fmla="*/ 2246 w 10000"/>
                <a:gd name="connsiteY217" fmla="*/ 5074 h 10000"/>
                <a:gd name="connsiteX218" fmla="*/ 2289 w 10000"/>
                <a:gd name="connsiteY218" fmla="*/ 5074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</a:cxnLst>
              <a:rect l="l" t="t" r="r" b="b"/>
              <a:pathLst>
                <a:path w="10000" h="10000">
                  <a:moveTo>
                    <a:pt x="2289" y="5074"/>
                  </a:moveTo>
                  <a:lnTo>
                    <a:pt x="2289" y="5123"/>
                  </a:lnTo>
                  <a:lnTo>
                    <a:pt x="2225" y="5368"/>
                  </a:lnTo>
                  <a:lnTo>
                    <a:pt x="2358" y="5567"/>
                  </a:lnTo>
                  <a:cubicBezTo>
                    <a:pt x="2393" y="5484"/>
                    <a:pt x="2427" y="5402"/>
                    <a:pt x="2462" y="5319"/>
                  </a:cubicBezTo>
                  <a:lnTo>
                    <a:pt x="2484" y="5303"/>
                  </a:lnTo>
                  <a:lnTo>
                    <a:pt x="2527" y="5319"/>
                  </a:lnTo>
                  <a:lnTo>
                    <a:pt x="2657" y="5417"/>
                  </a:lnTo>
                  <a:lnTo>
                    <a:pt x="2678" y="5417"/>
                  </a:lnTo>
                  <a:lnTo>
                    <a:pt x="2678" y="5434"/>
                  </a:lnTo>
                  <a:lnTo>
                    <a:pt x="2721" y="5581"/>
                  </a:lnTo>
                  <a:lnTo>
                    <a:pt x="2894" y="5712"/>
                  </a:lnTo>
                  <a:lnTo>
                    <a:pt x="2916" y="5728"/>
                  </a:lnTo>
                  <a:lnTo>
                    <a:pt x="2894" y="5761"/>
                  </a:lnTo>
                  <a:lnTo>
                    <a:pt x="2743" y="5859"/>
                  </a:lnTo>
                  <a:lnTo>
                    <a:pt x="2743" y="6056"/>
                  </a:lnTo>
                  <a:cubicBezTo>
                    <a:pt x="2786" y="6088"/>
                    <a:pt x="2916" y="6203"/>
                    <a:pt x="2916" y="6219"/>
                  </a:cubicBezTo>
                  <a:lnTo>
                    <a:pt x="3110" y="6383"/>
                  </a:lnTo>
                  <a:lnTo>
                    <a:pt x="3110" y="6383"/>
                  </a:lnTo>
                  <a:lnTo>
                    <a:pt x="3110" y="6383"/>
                  </a:lnTo>
                  <a:lnTo>
                    <a:pt x="3218" y="6678"/>
                  </a:lnTo>
                  <a:lnTo>
                    <a:pt x="3218" y="6678"/>
                  </a:lnTo>
                  <a:lnTo>
                    <a:pt x="3218" y="6678"/>
                  </a:lnTo>
                  <a:lnTo>
                    <a:pt x="3218" y="6809"/>
                  </a:lnTo>
                  <a:lnTo>
                    <a:pt x="3326" y="6874"/>
                  </a:lnTo>
                  <a:lnTo>
                    <a:pt x="3348" y="6890"/>
                  </a:lnTo>
                  <a:lnTo>
                    <a:pt x="3348" y="6890"/>
                  </a:lnTo>
                  <a:lnTo>
                    <a:pt x="3413" y="7283"/>
                  </a:lnTo>
                  <a:lnTo>
                    <a:pt x="3413" y="7300"/>
                  </a:lnTo>
                  <a:lnTo>
                    <a:pt x="3391" y="7316"/>
                  </a:lnTo>
                  <a:lnTo>
                    <a:pt x="3261" y="7398"/>
                  </a:lnTo>
                  <a:lnTo>
                    <a:pt x="3261" y="7398"/>
                  </a:lnTo>
                  <a:lnTo>
                    <a:pt x="3261" y="7398"/>
                  </a:lnTo>
                  <a:lnTo>
                    <a:pt x="2916" y="7545"/>
                  </a:lnTo>
                  <a:lnTo>
                    <a:pt x="2657" y="7856"/>
                  </a:lnTo>
                  <a:lnTo>
                    <a:pt x="2657" y="7856"/>
                  </a:lnTo>
                  <a:lnTo>
                    <a:pt x="2635" y="7872"/>
                  </a:lnTo>
                  <a:lnTo>
                    <a:pt x="2505" y="7954"/>
                  </a:lnTo>
                  <a:lnTo>
                    <a:pt x="2635" y="8085"/>
                  </a:lnTo>
                  <a:lnTo>
                    <a:pt x="2635" y="8085"/>
                  </a:lnTo>
                  <a:lnTo>
                    <a:pt x="2635" y="8101"/>
                  </a:lnTo>
                  <a:lnTo>
                    <a:pt x="2635" y="8282"/>
                  </a:lnTo>
                  <a:lnTo>
                    <a:pt x="2635" y="8298"/>
                  </a:lnTo>
                  <a:lnTo>
                    <a:pt x="2635" y="8298"/>
                  </a:lnTo>
                  <a:lnTo>
                    <a:pt x="2505" y="8543"/>
                  </a:lnTo>
                  <a:lnTo>
                    <a:pt x="2937" y="8903"/>
                  </a:lnTo>
                  <a:lnTo>
                    <a:pt x="3067" y="8936"/>
                  </a:lnTo>
                  <a:lnTo>
                    <a:pt x="3132" y="8838"/>
                  </a:lnTo>
                  <a:lnTo>
                    <a:pt x="3132" y="8822"/>
                  </a:lnTo>
                  <a:lnTo>
                    <a:pt x="3153" y="8822"/>
                  </a:lnTo>
                  <a:lnTo>
                    <a:pt x="3283" y="8805"/>
                  </a:lnTo>
                  <a:lnTo>
                    <a:pt x="3283" y="8805"/>
                  </a:lnTo>
                  <a:lnTo>
                    <a:pt x="3305" y="8822"/>
                  </a:lnTo>
                  <a:lnTo>
                    <a:pt x="3456" y="8903"/>
                  </a:lnTo>
                  <a:lnTo>
                    <a:pt x="3477" y="8903"/>
                  </a:lnTo>
                  <a:lnTo>
                    <a:pt x="3477" y="8953"/>
                  </a:lnTo>
                  <a:lnTo>
                    <a:pt x="3369" y="9116"/>
                  </a:lnTo>
                  <a:cubicBezTo>
                    <a:pt x="3434" y="9165"/>
                    <a:pt x="3650" y="9280"/>
                    <a:pt x="3650" y="9280"/>
                  </a:cubicBezTo>
                  <a:lnTo>
                    <a:pt x="3952" y="9427"/>
                  </a:lnTo>
                  <a:lnTo>
                    <a:pt x="4384" y="9542"/>
                  </a:lnTo>
                  <a:lnTo>
                    <a:pt x="4384" y="9558"/>
                  </a:lnTo>
                  <a:lnTo>
                    <a:pt x="4384" y="9558"/>
                  </a:lnTo>
                  <a:lnTo>
                    <a:pt x="4730" y="10000"/>
                  </a:lnTo>
                  <a:lnTo>
                    <a:pt x="4730" y="10000"/>
                  </a:lnTo>
                  <a:lnTo>
                    <a:pt x="4924" y="9984"/>
                  </a:lnTo>
                  <a:cubicBezTo>
                    <a:pt x="4924" y="9935"/>
                    <a:pt x="4946" y="9869"/>
                    <a:pt x="4946" y="9869"/>
                  </a:cubicBezTo>
                  <a:lnTo>
                    <a:pt x="5011" y="9689"/>
                  </a:lnTo>
                  <a:lnTo>
                    <a:pt x="5011" y="9673"/>
                  </a:lnTo>
                  <a:lnTo>
                    <a:pt x="5032" y="9656"/>
                  </a:lnTo>
                  <a:lnTo>
                    <a:pt x="5248" y="9574"/>
                  </a:lnTo>
                  <a:lnTo>
                    <a:pt x="5356" y="9394"/>
                  </a:lnTo>
                  <a:lnTo>
                    <a:pt x="5356" y="9378"/>
                  </a:lnTo>
                  <a:lnTo>
                    <a:pt x="5378" y="9378"/>
                  </a:lnTo>
                  <a:lnTo>
                    <a:pt x="5529" y="9296"/>
                  </a:lnTo>
                  <a:lnTo>
                    <a:pt x="5551" y="9100"/>
                  </a:lnTo>
                  <a:lnTo>
                    <a:pt x="5551" y="9100"/>
                  </a:lnTo>
                  <a:lnTo>
                    <a:pt x="5551" y="9100"/>
                  </a:lnTo>
                  <a:lnTo>
                    <a:pt x="5659" y="8936"/>
                  </a:lnTo>
                  <a:lnTo>
                    <a:pt x="5680" y="8903"/>
                  </a:lnTo>
                  <a:lnTo>
                    <a:pt x="5702" y="8903"/>
                  </a:lnTo>
                  <a:lnTo>
                    <a:pt x="5918" y="8903"/>
                  </a:lnTo>
                  <a:lnTo>
                    <a:pt x="5940" y="8903"/>
                  </a:lnTo>
                  <a:lnTo>
                    <a:pt x="5961" y="8936"/>
                  </a:lnTo>
                  <a:lnTo>
                    <a:pt x="6069" y="9034"/>
                  </a:lnTo>
                  <a:lnTo>
                    <a:pt x="6847" y="9133"/>
                  </a:lnTo>
                  <a:lnTo>
                    <a:pt x="7127" y="8936"/>
                  </a:lnTo>
                  <a:lnTo>
                    <a:pt x="7149" y="8936"/>
                  </a:lnTo>
                  <a:lnTo>
                    <a:pt x="7149" y="8936"/>
                  </a:lnTo>
                  <a:lnTo>
                    <a:pt x="7408" y="8953"/>
                  </a:lnTo>
                  <a:lnTo>
                    <a:pt x="7603" y="8674"/>
                  </a:lnTo>
                  <a:lnTo>
                    <a:pt x="7603" y="8674"/>
                  </a:lnTo>
                  <a:lnTo>
                    <a:pt x="7603" y="8674"/>
                  </a:lnTo>
                  <a:lnTo>
                    <a:pt x="7948" y="8462"/>
                  </a:lnTo>
                  <a:lnTo>
                    <a:pt x="7970" y="8151"/>
                  </a:lnTo>
                  <a:lnTo>
                    <a:pt x="7991" y="8134"/>
                  </a:lnTo>
                  <a:lnTo>
                    <a:pt x="7991" y="8134"/>
                  </a:lnTo>
                  <a:lnTo>
                    <a:pt x="8467" y="7823"/>
                  </a:lnTo>
                  <a:lnTo>
                    <a:pt x="8920" y="7512"/>
                  </a:lnTo>
                  <a:lnTo>
                    <a:pt x="9309" y="6956"/>
                  </a:lnTo>
                  <a:lnTo>
                    <a:pt x="9309" y="6939"/>
                  </a:lnTo>
                  <a:lnTo>
                    <a:pt x="9330" y="6939"/>
                  </a:lnTo>
                  <a:lnTo>
                    <a:pt x="9806" y="6661"/>
                  </a:lnTo>
                  <a:lnTo>
                    <a:pt x="10000" y="6563"/>
                  </a:lnTo>
                  <a:lnTo>
                    <a:pt x="10000" y="6350"/>
                  </a:lnTo>
                  <a:lnTo>
                    <a:pt x="9136" y="6383"/>
                  </a:lnTo>
                  <a:lnTo>
                    <a:pt x="9114" y="6383"/>
                  </a:lnTo>
                  <a:lnTo>
                    <a:pt x="9114" y="6383"/>
                  </a:lnTo>
                  <a:lnTo>
                    <a:pt x="8596" y="6121"/>
                  </a:lnTo>
                  <a:lnTo>
                    <a:pt x="8553" y="6121"/>
                  </a:lnTo>
                  <a:lnTo>
                    <a:pt x="8553" y="6105"/>
                  </a:lnTo>
                  <a:lnTo>
                    <a:pt x="8467" y="5908"/>
                  </a:lnTo>
                  <a:lnTo>
                    <a:pt x="7862" y="5908"/>
                  </a:lnTo>
                  <a:lnTo>
                    <a:pt x="7840" y="5908"/>
                  </a:lnTo>
                  <a:lnTo>
                    <a:pt x="7819" y="5892"/>
                  </a:lnTo>
                  <a:lnTo>
                    <a:pt x="7495" y="5565"/>
                  </a:lnTo>
                  <a:lnTo>
                    <a:pt x="6847" y="5565"/>
                  </a:lnTo>
                  <a:lnTo>
                    <a:pt x="6803" y="5565"/>
                  </a:lnTo>
                  <a:lnTo>
                    <a:pt x="6803" y="5532"/>
                  </a:lnTo>
                  <a:lnTo>
                    <a:pt x="6803" y="4763"/>
                  </a:lnTo>
                  <a:lnTo>
                    <a:pt x="6544" y="4566"/>
                  </a:lnTo>
                  <a:lnTo>
                    <a:pt x="6523" y="4534"/>
                  </a:lnTo>
                  <a:lnTo>
                    <a:pt x="6544" y="4517"/>
                  </a:lnTo>
                  <a:lnTo>
                    <a:pt x="7171" y="3961"/>
                  </a:lnTo>
                  <a:lnTo>
                    <a:pt x="7495" y="3470"/>
                  </a:lnTo>
                  <a:lnTo>
                    <a:pt x="7516" y="2488"/>
                  </a:lnTo>
                  <a:lnTo>
                    <a:pt x="7516" y="2488"/>
                  </a:lnTo>
                  <a:lnTo>
                    <a:pt x="7538" y="2471"/>
                  </a:lnTo>
                  <a:lnTo>
                    <a:pt x="7646" y="2324"/>
                  </a:lnTo>
                  <a:lnTo>
                    <a:pt x="7646" y="2308"/>
                  </a:lnTo>
                  <a:lnTo>
                    <a:pt x="7667" y="2308"/>
                  </a:lnTo>
                  <a:lnTo>
                    <a:pt x="7883" y="2275"/>
                  </a:lnTo>
                  <a:lnTo>
                    <a:pt x="7905" y="2242"/>
                  </a:lnTo>
                  <a:lnTo>
                    <a:pt x="7754" y="2144"/>
                  </a:lnTo>
                  <a:lnTo>
                    <a:pt x="7732" y="2128"/>
                  </a:lnTo>
                  <a:lnTo>
                    <a:pt x="7754" y="2111"/>
                  </a:lnTo>
                  <a:lnTo>
                    <a:pt x="7797" y="1997"/>
                  </a:lnTo>
                  <a:lnTo>
                    <a:pt x="7797" y="1980"/>
                  </a:lnTo>
                  <a:lnTo>
                    <a:pt x="7819" y="1980"/>
                  </a:lnTo>
                  <a:lnTo>
                    <a:pt x="7927" y="1915"/>
                  </a:lnTo>
                  <a:lnTo>
                    <a:pt x="7775" y="1817"/>
                  </a:lnTo>
                  <a:lnTo>
                    <a:pt x="7754" y="1817"/>
                  </a:lnTo>
                  <a:lnTo>
                    <a:pt x="7754" y="1800"/>
                  </a:lnTo>
                  <a:lnTo>
                    <a:pt x="7754" y="1669"/>
                  </a:lnTo>
                  <a:lnTo>
                    <a:pt x="7754" y="1637"/>
                  </a:lnTo>
                  <a:lnTo>
                    <a:pt x="7775" y="1637"/>
                  </a:lnTo>
                  <a:lnTo>
                    <a:pt x="7927" y="1571"/>
                  </a:lnTo>
                  <a:lnTo>
                    <a:pt x="7991" y="1473"/>
                  </a:lnTo>
                  <a:lnTo>
                    <a:pt x="7905" y="1391"/>
                  </a:lnTo>
                  <a:lnTo>
                    <a:pt x="7667" y="1260"/>
                  </a:lnTo>
                  <a:lnTo>
                    <a:pt x="7667" y="1260"/>
                  </a:lnTo>
                  <a:lnTo>
                    <a:pt x="7667" y="1260"/>
                  </a:lnTo>
                  <a:lnTo>
                    <a:pt x="7581" y="1178"/>
                  </a:lnTo>
                  <a:lnTo>
                    <a:pt x="7559" y="1162"/>
                  </a:lnTo>
                  <a:lnTo>
                    <a:pt x="7603" y="1129"/>
                  </a:lnTo>
                  <a:lnTo>
                    <a:pt x="8013" y="900"/>
                  </a:lnTo>
                  <a:lnTo>
                    <a:pt x="8013" y="835"/>
                  </a:lnTo>
                  <a:lnTo>
                    <a:pt x="7711" y="769"/>
                  </a:lnTo>
                  <a:lnTo>
                    <a:pt x="7689" y="753"/>
                  </a:lnTo>
                  <a:lnTo>
                    <a:pt x="7689" y="736"/>
                  </a:lnTo>
                  <a:lnTo>
                    <a:pt x="7689" y="638"/>
                  </a:lnTo>
                  <a:lnTo>
                    <a:pt x="7689" y="622"/>
                  </a:lnTo>
                  <a:lnTo>
                    <a:pt x="7711" y="606"/>
                  </a:lnTo>
                  <a:lnTo>
                    <a:pt x="7883" y="507"/>
                  </a:lnTo>
                  <a:lnTo>
                    <a:pt x="7819" y="442"/>
                  </a:lnTo>
                  <a:lnTo>
                    <a:pt x="7819" y="442"/>
                  </a:lnTo>
                  <a:lnTo>
                    <a:pt x="7819" y="426"/>
                  </a:lnTo>
                  <a:lnTo>
                    <a:pt x="7711" y="65"/>
                  </a:lnTo>
                  <a:lnTo>
                    <a:pt x="7754" y="49"/>
                  </a:lnTo>
                  <a:lnTo>
                    <a:pt x="7430" y="0"/>
                  </a:lnTo>
                  <a:lnTo>
                    <a:pt x="6955" y="115"/>
                  </a:lnTo>
                  <a:lnTo>
                    <a:pt x="6544" y="262"/>
                  </a:lnTo>
                  <a:lnTo>
                    <a:pt x="6544" y="524"/>
                  </a:lnTo>
                  <a:lnTo>
                    <a:pt x="6393" y="589"/>
                  </a:lnTo>
                  <a:lnTo>
                    <a:pt x="5270" y="507"/>
                  </a:lnTo>
                  <a:lnTo>
                    <a:pt x="4924" y="655"/>
                  </a:lnTo>
                  <a:lnTo>
                    <a:pt x="4276" y="736"/>
                  </a:lnTo>
                  <a:lnTo>
                    <a:pt x="3974" y="851"/>
                  </a:lnTo>
                  <a:lnTo>
                    <a:pt x="3153" y="900"/>
                  </a:lnTo>
                  <a:lnTo>
                    <a:pt x="3002" y="900"/>
                  </a:lnTo>
                  <a:lnTo>
                    <a:pt x="2484" y="900"/>
                  </a:lnTo>
                  <a:lnTo>
                    <a:pt x="2117" y="884"/>
                  </a:lnTo>
                  <a:lnTo>
                    <a:pt x="1922" y="769"/>
                  </a:lnTo>
                  <a:lnTo>
                    <a:pt x="1598" y="786"/>
                  </a:lnTo>
                  <a:lnTo>
                    <a:pt x="1382" y="982"/>
                  </a:lnTo>
                  <a:lnTo>
                    <a:pt x="1620" y="1097"/>
                  </a:lnTo>
                  <a:lnTo>
                    <a:pt x="1512" y="1244"/>
                  </a:lnTo>
                  <a:lnTo>
                    <a:pt x="1296" y="1424"/>
                  </a:lnTo>
                  <a:lnTo>
                    <a:pt x="1598" y="1506"/>
                  </a:lnTo>
                  <a:lnTo>
                    <a:pt x="1965" y="1506"/>
                  </a:lnTo>
                  <a:lnTo>
                    <a:pt x="2117" y="1604"/>
                  </a:lnTo>
                  <a:lnTo>
                    <a:pt x="1706" y="1751"/>
                  </a:lnTo>
                  <a:lnTo>
                    <a:pt x="1447" y="1800"/>
                  </a:lnTo>
                  <a:lnTo>
                    <a:pt x="1447" y="1980"/>
                  </a:lnTo>
                  <a:lnTo>
                    <a:pt x="1922" y="2013"/>
                  </a:lnTo>
                  <a:lnTo>
                    <a:pt x="2354" y="2144"/>
                  </a:lnTo>
                  <a:lnTo>
                    <a:pt x="2657" y="2259"/>
                  </a:lnTo>
                  <a:lnTo>
                    <a:pt x="2635" y="2422"/>
                  </a:lnTo>
                  <a:lnTo>
                    <a:pt x="2441" y="2520"/>
                  </a:lnTo>
                  <a:lnTo>
                    <a:pt x="2009" y="2520"/>
                  </a:lnTo>
                  <a:lnTo>
                    <a:pt x="1641" y="2439"/>
                  </a:lnTo>
                  <a:lnTo>
                    <a:pt x="1382" y="2439"/>
                  </a:lnTo>
                  <a:lnTo>
                    <a:pt x="1123" y="2619"/>
                  </a:lnTo>
                  <a:lnTo>
                    <a:pt x="821" y="2848"/>
                  </a:lnTo>
                  <a:lnTo>
                    <a:pt x="1123" y="3142"/>
                  </a:lnTo>
                  <a:lnTo>
                    <a:pt x="1188" y="3437"/>
                  </a:lnTo>
                  <a:lnTo>
                    <a:pt x="864" y="3666"/>
                  </a:lnTo>
                  <a:lnTo>
                    <a:pt x="346" y="3781"/>
                  </a:lnTo>
                  <a:lnTo>
                    <a:pt x="0" y="3961"/>
                  </a:lnTo>
                  <a:lnTo>
                    <a:pt x="0" y="4075"/>
                  </a:lnTo>
                  <a:lnTo>
                    <a:pt x="389" y="4288"/>
                  </a:lnTo>
                  <a:lnTo>
                    <a:pt x="302" y="4419"/>
                  </a:lnTo>
                  <a:lnTo>
                    <a:pt x="346" y="4566"/>
                  </a:lnTo>
                  <a:lnTo>
                    <a:pt x="907" y="4566"/>
                  </a:lnTo>
                  <a:lnTo>
                    <a:pt x="994" y="4779"/>
                  </a:lnTo>
                  <a:lnTo>
                    <a:pt x="1382" y="4779"/>
                  </a:lnTo>
                  <a:lnTo>
                    <a:pt x="1706" y="4992"/>
                  </a:lnTo>
                  <a:lnTo>
                    <a:pt x="1706" y="5074"/>
                  </a:lnTo>
                  <a:lnTo>
                    <a:pt x="2246" y="5074"/>
                  </a:lnTo>
                  <a:lnTo>
                    <a:pt x="2289" y="5074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solidFill>
                <a:srgbClr val="FFFFFF">
                  <a:lumMod val="75000"/>
                </a:srgbClr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08">
                <a:defRPr/>
              </a:pPr>
              <a:endParaRPr lang="ru-RU" sz="1867" kern="0">
                <a:solidFill>
                  <a:sysClr val="windowText" lastClr="000000"/>
                </a:solidFill>
                <a:latin typeface="Arial"/>
              </a:endParaRPr>
            </a:p>
          </p:txBody>
        </p:sp>
        <p:sp>
          <p:nvSpPr>
            <p:cNvPr id="372" name="Freeform 163">
              <a:extLst/>
            </p:cNvPr>
            <p:cNvSpPr>
              <a:spLocks/>
            </p:cNvSpPr>
            <p:nvPr/>
          </p:nvSpPr>
          <p:spPr bwMode="auto">
            <a:xfrm>
              <a:off x="5787433" y="1489248"/>
              <a:ext cx="1092214" cy="1320888"/>
            </a:xfrm>
            <a:custGeom>
              <a:avLst/>
              <a:gdLst>
                <a:gd name="T0" fmla="*/ 14 w 351"/>
                <a:gd name="T1" fmla="*/ 118 h 423"/>
                <a:gd name="T2" fmla="*/ 21 w 351"/>
                <a:gd name="T3" fmla="*/ 126 h 423"/>
                <a:gd name="T4" fmla="*/ 13 w 351"/>
                <a:gd name="T5" fmla="*/ 135 h 423"/>
                <a:gd name="T6" fmla="*/ 17 w 351"/>
                <a:gd name="T7" fmla="*/ 148 h 423"/>
                <a:gd name="T8" fmla="*/ 26 w 351"/>
                <a:gd name="T9" fmla="*/ 147 h 423"/>
                <a:gd name="T10" fmla="*/ 34 w 351"/>
                <a:gd name="T11" fmla="*/ 153 h 423"/>
                <a:gd name="T12" fmla="*/ 32 w 351"/>
                <a:gd name="T13" fmla="*/ 164 h 423"/>
                <a:gd name="T14" fmla="*/ 29 w 351"/>
                <a:gd name="T15" fmla="*/ 172 h 423"/>
                <a:gd name="T16" fmla="*/ 32 w 351"/>
                <a:gd name="T17" fmla="*/ 178 h 423"/>
                <a:gd name="T18" fmla="*/ 45 w 351"/>
                <a:gd name="T19" fmla="*/ 210 h 423"/>
                <a:gd name="T20" fmla="*/ 45 w 351"/>
                <a:gd name="T21" fmla="*/ 244 h 423"/>
                <a:gd name="T22" fmla="*/ 37 w 351"/>
                <a:gd name="T23" fmla="*/ 257 h 423"/>
                <a:gd name="T24" fmla="*/ 51 w 351"/>
                <a:gd name="T25" fmla="*/ 281 h 423"/>
                <a:gd name="T26" fmla="*/ 29 w 351"/>
                <a:gd name="T27" fmla="*/ 308 h 423"/>
                <a:gd name="T28" fmla="*/ 38 w 351"/>
                <a:gd name="T29" fmla="*/ 311 h 423"/>
                <a:gd name="T30" fmla="*/ 60 w 351"/>
                <a:gd name="T31" fmla="*/ 341 h 423"/>
                <a:gd name="T32" fmla="*/ 50 w 351"/>
                <a:gd name="T33" fmla="*/ 351 h 423"/>
                <a:gd name="T34" fmla="*/ 90 w 351"/>
                <a:gd name="T35" fmla="*/ 370 h 423"/>
                <a:gd name="T36" fmla="*/ 99 w 351"/>
                <a:gd name="T37" fmla="*/ 380 h 423"/>
                <a:gd name="T38" fmla="*/ 110 w 351"/>
                <a:gd name="T39" fmla="*/ 380 h 423"/>
                <a:gd name="T40" fmla="*/ 126 w 351"/>
                <a:gd name="T41" fmla="*/ 391 h 423"/>
                <a:gd name="T42" fmla="*/ 128 w 351"/>
                <a:gd name="T43" fmla="*/ 410 h 423"/>
                <a:gd name="T44" fmla="*/ 145 w 351"/>
                <a:gd name="T45" fmla="*/ 405 h 423"/>
                <a:gd name="T46" fmla="*/ 160 w 351"/>
                <a:gd name="T47" fmla="*/ 401 h 423"/>
                <a:gd name="T48" fmla="*/ 175 w 351"/>
                <a:gd name="T49" fmla="*/ 394 h 423"/>
                <a:gd name="T50" fmla="*/ 231 w 351"/>
                <a:gd name="T51" fmla="*/ 349 h 423"/>
                <a:gd name="T52" fmla="*/ 248 w 351"/>
                <a:gd name="T53" fmla="*/ 348 h 423"/>
                <a:gd name="T54" fmla="*/ 254 w 351"/>
                <a:gd name="T55" fmla="*/ 353 h 423"/>
                <a:gd name="T56" fmla="*/ 274 w 351"/>
                <a:gd name="T57" fmla="*/ 355 h 423"/>
                <a:gd name="T58" fmla="*/ 284 w 351"/>
                <a:gd name="T59" fmla="*/ 362 h 423"/>
                <a:gd name="T60" fmla="*/ 290 w 351"/>
                <a:gd name="T61" fmla="*/ 392 h 423"/>
                <a:gd name="T62" fmla="*/ 340 w 351"/>
                <a:gd name="T63" fmla="*/ 373 h 423"/>
                <a:gd name="T64" fmla="*/ 343 w 351"/>
                <a:gd name="T65" fmla="*/ 368 h 423"/>
                <a:gd name="T66" fmla="*/ 338 w 351"/>
                <a:gd name="T67" fmla="*/ 352 h 423"/>
                <a:gd name="T68" fmla="*/ 305 w 351"/>
                <a:gd name="T69" fmla="*/ 308 h 423"/>
                <a:gd name="T70" fmla="*/ 305 w 351"/>
                <a:gd name="T71" fmla="*/ 289 h 423"/>
                <a:gd name="T72" fmla="*/ 328 w 351"/>
                <a:gd name="T73" fmla="*/ 268 h 423"/>
                <a:gd name="T74" fmla="*/ 351 w 351"/>
                <a:gd name="T75" fmla="*/ 222 h 423"/>
                <a:gd name="T76" fmla="*/ 229 w 351"/>
                <a:gd name="T77" fmla="*/ 78 h 423"/>
                <a:gd name="T78" fmla="*/ 172 w 351"/>
                <a:gd name="T79" fmla="*/ 30 h 423"/>
                <a:gd name="T80" fmla="*/ 189 w 351"/>
                <a:gd name="T81" fmla="*/ 0 h 423"/>
                <a:gd name="T82" fmla="*/ 151 w 351"/>
                <a:gd name="T83" fmla="*/ 15 h 423"/>
                <a:gd name="T84" fmla="*/ 115 w 351"/>
                <a:gd name="T85" fmla="*/ 42 h 423"/>
                <a:gd name="T86" fmla="*/ 65 w 351"/>
                <a:gd name="T87" fmla="*/ 85 h 423"/>
                <a:gd name="T88" fmla="*/ 35 w 351"/>
                <a:gd name="T89" fmla="*/ 93 h 423"/>
                <a:gd name="T90" fmla="*/ 0 w 351"/>
                <a:gd name="T91" fmla="*/ 108 h 423"/>
                <a:gd name="connsiteX0" fmla="*/ 57 w 10000"/>
                <a:gd name="connsiteY0" fmla="*/ 2861 h 10000"/>
                <a:gd name="connsiteX1" fmla="*/ 85 w 10000"/>
                <a:gd name="connsiteY1" fmla="*/ 2861 h 10000"/>
                <a:gd name="connsiteX2" fmla="*/ 399 w 10000"/>
                <a:gd name="connsiteY2" fmla="*/ 2790 h 10000"/>
                <a:gd name="connsiteX3" fmla="*/ 427 w 10000"/>
                <a:gd name="connsiteY3" fmla="*/ 2790 h 10000"/>
                <a:gd name="connsiteX4" fmla="*/ 456 w 10000"/>
                <a:gd name="connsiteY4" fmla="*/ 2837 h 10000"/>
                <a:gd name="connsiteX5" fmla="*/ 598 w 10000"/>
                <a:gd name="connsiteY5" fmla="*/ 2979 h 10000"/>
                <a:gd name="connsiteX6" fmla="*/ 627 w 10000"/>
                <a:gd name="connsiteY6" fmla="*/ 3002 h 10000"/>
                <a:gd name="connsiteX7" fmla="*/ 570 w 10000"/>
                <a:gd name="connsiteY7" fmla="*/ 3026 h 10000"/>
                <a:gd name="connsiteX8" fmla="*/ 370 w 10000"/>
                <a:gd name="connsiteY8" fmla="*/ 3191 h 10000"/>
                <a:gd name="connsiteX9" fmla="*/ 256 w 10000"/>
                <a:gd name="connsiteY9" fmla="*/ 3310 h 10000"/>
                <a:gd name="connsiteX10" fmla="*/ 285 w 10000"/>
                <a:gd name="connsiteY10" fmla="*/ 3357 h 10000"/>
                <a:gd name="connsiteX11" fmla="*/ 484 w 10000"/>
                <a:gd name="connsiteY11" fmla="*/ 3499 h 10000"/>
                <a:gd name="connsiteX12" fmla="*/ 712 w 10000"/>
                <a:gd name="connsiteY12" fmla="*/ 3475 h 10000"/>
                <a:gd name="connsiteX13" fmla="*/ 741 w 10000"/>
                <a:gd name="connsiteY13" fmla="*/ 3475 h 10000"/>
                <a:gd name="connsiteX14" fmla="*/ 741 w 10000"/>
                <a:gd name="connsiteY14" fmla="*/ 3475 h 10000"/>
                <a:gd name="connsiteX15" fmla="*/ 940 w 10000"/>
                <a:gd name="connsiteY15" fmla="*/ 3570 h 10000"/>
                <a:gd name="connsiteX16" fmla="*/ 997 w 10000"/>
                <a:gd name="connsiteY16" fmla="*/ 3593 h 10000"/>
                <a:gd name="connsiteX17" fmla="*/ 969 w 10000"/>
                <a:gd name="connsiteY17" fmla="*/ 3617 h 10000"/>
                <a:gd name="connsiteX18" fmla="*/ 969 w 10000"/>
                <a:gd name="connsiteY18" fmla="*/ 3830 h 10000"/>
                <a:gd name="connsiteX19" fmla="*/ 969 w 10000"/>
                <a:gd name="connsiteY19" fmla="*/ 3877 h 10000"/>
                <a:gd name="connsiteX20" fmla="*/ 912 w 10000"/>
                <a:gd name="connsiteY20" fmla="*/ 3877 h 10000"/>
                <a:gd name="connsiteX21" fmla="*/ 712 w 10000"/>
                <a:gd name="connsiteY21" fmla="*/ 3901 h 10000"/>
                <a:gd name="connsiteX22" fmla="*/ 826 w 10000"/>
                <a:gd name="connsiteY22" fmla="*/ 4066 h 10000"/>
                <a:gd name="connsiteX23" fmla="*/ 826 w 10000"/>
                <a:gd name="connsiteY23" fmla="*/ 4066 h 10000"/>
                <a:gd name="connsiteX24" fmla="*/ 826 w 10000"/>
                <a:gd name="connsiteY24" fmla="*/ 4066 h 10000"/>
                <a:gd name="connsiteX25" fmla="*/ 912 w 10000"/>
                <a:gd name="connsiteY25" fmla="*/ 4208 h 10000"/>
                <a:gd name="connsiteX26" fmla="*/ 912 w 10000"/>
                <a:gd name="connsiteY26" fmla="*/ 4208 h 10000"/>
                <a:gd name="connsiteX27" fmla="*/ 912 w 10000"/>
                <a:gd name="connsiteY27" fmla="*/ 4208 h 10000"/>
                <a:gd name="connsiteX28" fmla="*/ 997 w 10000"/>
                <a:gd name="connsiteY28" fmla="*/ 4374 h 10000"/>
                <a:gd name="connsiteX29" fmla="*/ 1282 w 10000"/>
                <a:gd name="connsiteY29" fmla="*/ 4965 h 10000"/>
                <a:gd name="connsiteX30" fmla="*/ 1282 w 10000"/>
                <a:gd name="connsiteY30" fmla="*/ 4965 h 10000"/>
                <a:gd name="connsiteX31" fmla="*/ 1282 w 10000"/>
                <a:gd name="connsiteY31" fmla="*/ 4965 h 10000"/>
                <a:gd name="connsiteX32" fmla="*/ 1282 w 10000"/>
                <a:gd name="connsiteY32" fmla="*/ 5768 h 10000"/>
                <a:gd name="connsiteX33" fmla="*/ 1282 w 10000"/>
                <a:gd name="connsiteY33" fmla="*/ 5768 h 10000"/>
                <a:gd name="connsiteX34" fmla="*/ 1254 w 10000"/>
                <a:gd name="connsiteY34" fmla="*/ 5792 h 10000"/>
                <a:gd name="connsiteX35" fmla="*/ 1054 w 10000"/>
                <a:gd name="connsiteY35" fmla="*/ 6076 h 10000"/>
                <a:gd name="connsiteX36" fmla="*/ 1083 w 10000"/>
                <a:gd name="connsiteY36" fmla="*/ 6288 h 10000"/>
                <a:gd name="connsiteX37" fmla="*/ 1396 w 10000"/>
                <a:gd name="connsiteY37" fmla="*/ 6596 h 10000"/>
                <a:gd name="connsiteX38" fmla="*/ 1453 w 10000"/>
                <a:gd name="connsiteY38" fmla="*/ 6643 h 10000"/>
                <a:gd name="connsiteX39" fmla="*/ 1396 w 10000"/>
                <a:gd name="connsiteY39" fmla="*/ 6667 h 10000"/>
                <a:gd name="connsiteX40" fmla="*/ 1197 w 10000"/>
                <a:gd name="connsiteY40" fmla="*/ 6761 h 10000"/>
                <a:gd name="connsiteX41" fmla="*/ 826 w 10000"/>
                <a:gd name="connsiteY41" fmla="*/ 7281 h 10000"/>
                <a:gd name="connsiteX42" fmla="*/ 1026 w 10000"/>
                <a:gd name="connsiteY42" fmla="*/ 7305 h 10000"/>
                <a:gd name="connsiteX43" fmla="*/ 1054 w 10000"/>
                <a:gd name="connsiteY43" fmla="*/ 7305 h 10000"/>
                <a:gd name="connsiteX44" fmla="*/ 1083 w 10000"/>
                <a:gd name="connsiteY44" fmla="*/ 7352 h 10000"/>
                <a:gd name="connsiteX45" fmla="*/ 1140 w 10000"/>
                <a:gd name="connsiteY45" fmla="*/ 7541 h 10000"/>
                <a:gd name="connsiteX46" fmla="*/ 1453 w 10000"/>
                <a:gd name="connsiteY46" fmla="*/ 7801 h 10000"/>
                <a:gd name="connsiteX47" fmla="*/ 1709 w 10000"/>
                <a:gd name="connsiteY47" fmla="*/ 8061 h 10000"/>
                <a:gd name="connsiteX48" fmla="*/ 1766 w 10000"/>
                <a:gd name="connsiteY48" fmla="*/ 8109 h 10000"/>
                <a:gd name="connsiteX49" fmla="*/ 1425 w 10000"/>
                <a:gd name="connsiteY49" fmla="*/ 8298 h 10000"/>
                <a:gd name="connsiteX50" fmla="*/ 1425 w 10000"/>
                <a:gd name="connsiteY50" fmla="*/ 8440 h 10000"/>
                <a:gd name="connsiteX51" fmla="*/ 1624 w 10000"/>
                <a:gd name="connsiteY51" fmla="*/ 8700 h 10000"/>
                <a:gd name="connsiteX52" fmla="*/ 2564 w 10000"/>
                <a:gd name="connsiteY52" fmla="*/ 8747 h 10000"/>
                <a:gd name="connsiteX53" fmla="*/ 2593 w 10000"/>
                <a:gd name="connsiteY53" fmla="*/ 8747 h 10000"/>
                <a:gd name="connsiteX54" fmla="*/ 2593 w 10000"/>
                <a:gd name="connsiteY54" fmla="*/ 8771 h 10000"/>
                <a:gd name="connsiteX55" fmla="*/ 2821 w 10000"/>
                <a:gd name="connsiteY55" fmla="*/ 8983 h 10000"/>
                <a:gd name="connsiteX56" fmla="*/ 3105 w 10000"/>
                <a:gd name="connsiteY56" fmla="*/ 8983 h 10000"/>
                <a:gd name="connsiteX57" fmla="*/ 3105 w 10000"/>
                <a:gd name="connsiteY57" fmla="*/ 8983 h 10000"/>
                <a:gd name="connsiteX58" fmla="*/ 3134 w 10000"/>
                <a:gd name="connsiteY58" fmla="*/ 8983 h 10000"/>
                <a:gd name="connsiteX59" fmla="*/ 3561 w 10000"/>
                <a:gd name="connsiteY59" fmla="*/ 9196 h 10000"/>
                <a:gd name="connsiteX60" fmla="*/ 3590 w 10000"/>
                <a:gd name="connsiteY60" fmla="*/ 9220 h 10000"/>
                <a:gd name="connsiteX61" fmla="*/ 3590 w 10000"/>
                <a:gd name="connsiteY61" fmla="*/ 9243 h 10000"/>
                <a:gd name="connsiteX62" fmla="*/ 3675 w 10000"/>
                <a:gd name="connsiteY62" fmla="*/ 9669 h 10000"/>
                <a:gd name="connsiteX63" fmla="*/ 3675 w 10000"/>
                <a:gd name="connsiteY63" fmla="*/ 9669 h 10000"/>
                <a:gd name="connsiteX64" fmla="*/ 3647 w 10000"/>
                <a:gd name="connsiteY64" fmla="*/ 9693 h 10000"/>
                <a:gd name="connsiteX65" fmla="*/ 3476 w 10000"/>
                <a:gd name="connsiteY65" fmla="*/ 9953 h 10000"/>
                <a:gd name="connsiteX66" fmla="*/ 3704 w 10000"/>
                <a:gd name="connsiteY66" fmla="*/ 10000 h 10000"/>
                <a:gd name="connsiteX67" fmla="*/ 4131 w 10000"/>
                <a:gd name="connsiteY67" fmla="*/ 9574 h 10000"/>
                <a:gd name="connsiteX68" fmla="*/ 4131 w 10000"/>
                <a:gd name="connsiteY68" fmla="*/ 9574 h 10000"/>
                <a:gd name="connsiteX69" fmla="*/ 4160 w 10000"/>
                <a:gd name="connsiteY69" fmla="*/ 9574 h 10000"/>
                <a:gd name="connsiteX70" fmla="*/ 4558 w 10000"/>
                <a:gd name="connsiteY70" fmla="*/ 9480 h 10000"/>
                <a:gd name="connsiteX71" fmla="*/ 4929 w 10000"/>
                <a:gd name="connsiteY71" fmla="*/ 9314 h 10000"/>
                <a:gd name="connsiteX72" fmla="*/ 4957 w 10000"/>
                <a:gd name="connsiteY72" fmla="*/ 9314 h 10000"/>
                <a:gd name="connsiteX73" fmla="*/ 4986 w 10000"/>
                <a:gd name="connsiteY73" fmla="*/ 9314 h 10000"/>
                <a:gd name="connsiteX74" fmla="*/ 5442 w 10000"/>
                <a:gd name="connsiteY74" fmla="*/ 9338 h 10000"/>
                <a:gd name="connsiteX75" fmla="*/ 6154 w 10000"/>
                <a:gd name="connsiteY75" fmla="*/ 9007 h 10000"/>
                <a:gd name="connsiteX76" fmla="*/ 6581 w 10000"/>
                <a:gd name="connsiteY76" fmla="*/ 8251 h 10000"/>
                <a:gd name="connsiteX77" fmla="*/ 6581 w 10000"/>
                <a:gd name="connsiteY77" fmla="*/ 8227 h 10000"/>
                <a:gd name="connsiteX78" fmla="*/ 6610 w 10000"/>
                <a:gd name="connsiteY78" fmla="*/ 8227 h 10000"/>
                <a:gd name="connsiteX79" fmla="*/ 7066 w 10000"/>
                <a:gd name="connsiteY79" fmla="*/ 8227 h 10000"/>
                <a:gd name="connsiteX80" fmla="*/ 7066 w 10000"/>
                <a:gd name="connsiteY80" fmla="*/ 8227 h 10000"/>
                <a:gd name="connsiteX81" fmla="*/ 7094 w 10000"/>
                <a:gd name="connsiteY81" fmla="*/ 8251 h 10000"/>
                <a:gd name="connsiteX82" fmla="*/ 7236 w 10000"/>
                <a:gd name="connsiteY82" fmla="*/ 8345 h 10000"/>
                <a:gd name="connsiteX83" fmla="*/ 7778 w 10000"/>
                <a:gd name="connsiteY83" fmla="*/ 8369 h 10000"/>
                <a:gd name="connsiteX84" fmla="*/ 7806 w 10000"/>
                <a:gd name="connsiteY84" fmla="*/ 8369 h 10000"/>
                <a:gd name="connsiteX85" fmla="*/ 7806 w 10000"/>
                <a:gd name="connsiteY85" fmla="*/ 8392 h 10000"/>
                <a:gd name="connsiteX86" fmla="*/ 8063 w 10000"/>
                <a:gd name="connsiteY86" fmla="*/ 8511 h 10000"/>
                <a:gd name="connsiteX87" fmla="*/ 8091 w 10000"/>
                <a:gd name="connsiteY87" fmla="*/ 8511 h 10000"/>
                <a:gd name="connsiteX88" fmla="*/ 8091 w 10000"/>
                <a:gd name="connsiteY88" fmla="*/ 8558 h 10000"/>
                <a:gd name="connsiteX89" fmla="*/ 8006 w 10000"/>
                <a:gd name="connsiteY89" fmla="*/ 8913 h 10000"/>
                <a:gd name="connsiteX90" fmla="*/ 8291 w 10000"/>
                <a:gd name="connsiteY90" fmla="*/ 9243 h 10000"/>
                <a:gd name="connsiteX91" fmla="*/ 8262 w 10000"/>
                <a:gd name="connsiteY91" fmla="*/ 9267 h 10000"/>
                <a:gd name="connsiteX92" fmla="*/ 8490 w 10000"/>
                <a:gd name="connsiteY92" fmla="*/ 9385 h 10000"/>
                <a:gd name="connsiteX93" fmla="*/ 9373 w 10000"/>
                <a:gd name="connsiteY93" fmla="*/ 9314 h 10000"/>
                <a:gd name="connsiteX94" fmla="*/ 9687 w 10000"/>
                <a:gd name="connsiteY94" fmla="*/ 8818 h 10000"/>
                <a:gd name="connsiteX95" fmla="*/ 9687 w 10000"/>
                <a:gd name="connsiteY95" fmla="*/ 8771 h 10000"/>
                <a:gd name="connsiteX96" fmla="*/ 9687 w 10000"/>
                <a:gd name="connsiteY96" fmla="*/ 8771 h 10000"/>
                <a:gd name="connsiteX97" fmla="*/ 9772 w 10000"/>
                <a:gd name="connsiteY97" fmla="*/ 8700 h 10000"/>
                <a:gd name="connsiteX98" fmla="*/ 9744 w 10000"/>
                <a:gd name="connsiteY98" fmla="*/ 8440 h 10000"/>
                <a:gd name="connsiteX99" fmla="*/ 9630 w 10000"/>
                <a:gd name="connsiteY99" fmla="*/ 8345 h 10000"/>
                <a:gd name="connsiteX100" fmla="*/ 9630 w 10000"/>
                <a:gd name="connsiteY100" fmla="*/ 8322 h 10000"/>
                <a:gd name="connsiteX101" fmla="*/ 9630 w 10000"/>
                <a:gd name="connsiteY101" fmla="*/ 8298 h 10000"/>
                <a:gd name="connsiteX102" fmla="*/ 9630 w 10000"/>
                <a:gd name="connsiteY102" fmla="*/ 8061 h 10000"/>
                <a:gd name="connsiteX103" fmla="*/ 8689 w 10000"/>
                <a:gd name="connsiteY103" fmla="*/ 7281 h 10000"/>
                <a:gd name="connsiteX104" fmla="*/ 8689 w 10000"/>
                <a:gd name="connsiteY104" fmla="*/ 7281 h 10000"/>
                <a:gd name="connsiteX105" fmla="*/ 8689 w 10000"/>
                <a:gd name="connsiteY105" fmla="*/ 7258 h 10000"/>
                <a:gd name="connsiteX106" fmla="*/ 8689 w 10000"/>
                <a:gd name="connsiteY106" fmla="*/ 6832 h 10000"/>
                <a:gd name="connsiteX107" fmla="*/ 8689 w 10000"/>
                <a:gd name="connsiteY107" fmla="*/ 6832 h 10000"/>
                <a:gd name="connsiteX108" fmla="*/ 8689 w 10000"/>
                <a:gd name="connsiteY108" fmla="*/ 6809 h 10000"/>
                <a:gd name="connsiteX109" fmla="*/ 9345 w 10000"/>
                <a:gd name="connsiteY109" fmla="*/ 6336 h 10000"/>
                <a:gd name="connsiteX110" fmla="*/ 9801 w 10000"/>
                <a:gd name="connsiteY110" fmla="*/ 5863 h 10000"/>
                <a:gd name="connsiteX111" fmla="*/ 9972 w 10000"/>
                <a:gd name="connsiteY111" fmla="*/ 5248 h 10000"/>
                <a:gd name="connsiteX112" fmla="*/ 10000 w 10000"/>
                <a:gd name="connsiteY112" fmla="*/ 5248 h 10000"/>
                <a:gd name="connsiteX113" fmla="*/ 7920 w 10000"/>
                <a:gd name="connsiteY113" fmla="*/ 2979 h 10000"/>
                <a:gd name="connsiteX114" fmla="*/ 7179 w 10000"/>
                <a:gd name="connsiteY114" fmla="*/ 2246 h 10000"/>
                <a:gd name="connsiteX115" fmla="*/ 6524 w 10000"/>
                <a:gd name="connsiteY115" fmla="*/ 1844 h 10000"/>
                <a:gd name="connsiteX116" fmla="*/ 5014 w 10000"/>
                <a:gd name="connsiteY116" fmla="*/ 1158 h 10000"/>
                <a:gd name="connsiteX117" fmla="*/ 4672 w 10000"/>
                <a:gd name="connsiteY117" fmla="*/ 709 h 10000"/>
                <a:gd name="connsiteX118" fmla="*/ 4900 w 10000"/>
                <a:gd name="connsiteY118" fmla="*/ 709 h 10000"/>
                <a:gd name="connsiteX119" fmla="*/ 5242 w 10000"/>
                <a:gd name="connsiteY119" fmla="*/ 709 h 10000"/>
                <a:gd name="connsiteX120" fmla="*/ 5442 w 10000"/>
                <a:gd name="connsiteY120" fmla="*/ 355 h 10000"/>
                <a:gd name="connsiteX121" fmla="*/ 5385 w 10000"/>
                <a:gd name="connsiteY121" fmla="*/ 0 h 10000"/>
                <a:gd name="connsiteX122" fmla="*/ 5128 w 10000"/>
                <a:gd name="connsiteY122" fmla="*/ 95 h 10000"/>
                <a:gd name="connsiteX123" fmla="*/ 4701 w 10000"/>
                <a:gd name="connsiteY123" fmla="*/ 355 h 10000"/>
                <a:gd name="connsiteX124" fmla="*/ 4302 w 10000"/>
                <a:gd name="connsiteY124" fmla="*/ 355 h 10000"/>
                <a:gd name="connsiteX125" fmla="*/ 4274 w 10000"/>
                <a:gd name="connsiteY125" fmla="*/ 567 h 10000"/>
                <a:gd name="connsiteX126" fmla="*/ 3732 w 10000"/>
                <a:gd name="connsiteY126" fmla="*/ 922 h 10000"/>
                <a:gd name="connsiteX127" fmla="*/ 3276 w 10000"/>
                <a:gd name="connsiteY127" fmla="*/ 993 h 10000"/>
                <a:gd name="connsiteX128" fmla="*/ 2906 w 10000"/>
                <a:gd name="connsiteY128" fmla="*/ 1537 h 10000"/>
                <a:gd name="connsiteX129" fmla="*/ 2365 w 10000"/>
                <a:gd name="connsiteY129" fmla="*/ 1726 h 10000"/>
                <a:gd name="connsiteX130" fmla="*/ 1852 w 10000"/>
                <a:gd name="connsiteY130" fmla="*/ 2009 h 10000"/>
                <a:gd name="connsiteX131" fmla="*/ 1709 w 10000"/>
                <a:gd name="connsiteY131" fmla="*/ 2459 h 10000"/>
                <a:gd name="connsiteX132" fmla="*/ 1425 w 10000"/>
                <a:gd name="connsiteY132" fmla="*/ 2411 h 10000"/>
                <a:gd name="connsiteX133" fmla="*/ 997 w 10000"/>
                <a:gd name="connsiteY133" fmla="*/ 2199 h 10000"/>
                <a:gd name="connsiteX134" fmla="*/ 570 w 10000"/>
                <a:gd name="connsiteY134" fmla="*/ 2411 h 10000"/>
                <a:gd name="connsiteX135" fmla="*/ 199 w 10000"/>
                <a:gd name="connsiteY135" fmla="*/ 2600 h 10000"/>
                <a:gd name="connsiteX136" fmla="*/ 0 w 10000"/>
                <a:gd name="connsiteY136" fmla="*/ 2553 h 10000"/>
                <a:gd name="connsiteX137" fmla="*/ 57 w 10000"/>
                <a:gd name="connsiteY137" fmla="*/ 2861 h 10000"/>
                <a:gd name="connsiteX0" fmla="*/ 57 w 10000"/>
                <a:gd name="connsiteY0" fmla="*/ 2861 h 10000"/>
                <a:gd name="connsiteX1" fmla="*/ 85 w 10000"/>
                <a:gd name="connsiteY1" fmla="*/ 2861 h 10000"/>
                <a:gd name="connsiteX2" fmla="*/ 399 w 10000"/>
                <a:gd name="connsiteY2" fmla="*/ 2790 h 10000"/>
                <a:gd name="connsiteX3" fmla="*/ 427 w 10000"/>
                <a:gd name="connsiteY3" fmla="*/ 2790 h 10000"/>
                <a:gd name="connsiteX4" fmla="*/ 456 w 10000"/>
                <a:gd name="connsiteY4" fmla="*/ 2837 h 10000"/>
                <a:gd name="connsiteX5" fmla="*/ 598 w 10000"/>
                <a:gd name="connsiteY5" fmla="*/ 2979 h 10000"/>
                <a:gd name="connsiteX6" fmla="*/ 627 w 10000"/>
                <a:gd name="connsiteY6" fmla="*/ 3002 h 10000"/>
                <a:gd name="connsiteX7" fmla="*/ 570 w 10000"/>
                <a:gd name="connsiteY7" fmla="*/ 3026 h 10000"/>
                <a:gd name="connsiteX8" fmla="*/ 370 w 10000"/>
                <a:gd name="connsiteY8" fmla="*/ 3191 h 10000"/>
                <a:gd name="connsiteX9" fmla="*/ 256 w 10000"/>
                <a:gd name="connsiteY9" fmla="*/ 3310 h 10000"/>
                <a:gd name="connsiteX10" fmla="*/ 285 w 10000"/>
                <a:gd name="connsiteY10" fmla="*/ 3357 h 10000"/>
                <a:gd name="connsiteX11" fmla="*/ 484 w 10000"/>
                <a:gd name="connsiteY11" fmla="*/ 3499 h 10000"/>
                <a:gd name="connsiteX12" fmla="*/ 712 w 10000"/>
                <a:gd name="connsiteY12" fmla="*/ 3475 h 10000"/>
                <a:gd name="connsiteX13" fmla="*/ 741 w 10000"/>
                <a:gd name="connsiteY13" fmla="*/ 3475 h 10000"/>
                <a:gd name="connsiteX14" fmla="*/ 741 w 10000"/>
                <a:gd name="connsiteY14" fmla="*/ 3475 h 10000"/>
                <a:gd name="connsiteX15" fmla="*/ 940 w 10000"/>
                <a:gd name="connsiteY15" fmla="*/ 3570 h 10000"/>
                <a:gd name="connsiteX16" fmla="*/ 997 w 10000"/>
                <a:gd name="connsiteY16" fmla="*/ 3593 h 10000"/>
                <a:gd name="connsiteX17" fmla="*/ 969 w 10000"/>
                <a:gd name="connsiteY17" fmla="*/ 3617 h 10000"/>
                <a:gd name="connsiteX18" fmla="*/ 969 w 10000"/>
                <a:gd name="connsiteY18" fmla="*/ 3830 h 10000"/>
                <a:gd name="connsiteX19" fmla="*/ 969 w 10000"/>
                <a:gd name="connsiteY19" fmla="*/ 3877 h 10000"/>
                <a:gd name="connsiteX20" fmla="*/ 912 w 10000"/>
                <a:gd name="connsiteY20" fmla="*/ 3877 h 10000"/>
                <a:gd name="connsiteX21" fmla="*/ 712 w 10000"/>
                <a:gd name="connsiteY21" fmla="*/ 3901 h 10000"/>
                <a:gd name="connsiteX22" fmla="*/ 826 w 10000"/>
                <a:gd name="connsiteY22" fmla="*/ 4066 h 10000"/>
                <a:gd name="connsiteX23" fmla="*/ 826 w 10000"/>
                <a:gd name="connsiteY23" fmla="*/ 4066 h 10000"/>
                <a:gd name="connsiteX24" fmla="*/ 826 w 10000"/>
                <a:gd name="connsiteY24" fmla="*/ 4066 h 10000"/>
                <a:gd name="connsiteX25" fmla="*/ 912 w 10000"/>
                <a:gd name="connsiteY25" fmla="*/ 4208 h 10000"/>
                <a:gd name="connsiteX26" fmla="*/ 912 w 10000"/>
                <a:gd name="connsiteY26" fmla="*/ 4208 h 10000"/>
                <a:gd name="connsiteX27" fmla="*/ 912 w 10000"/>
                <a:gd name="connsiteY27" fmla="*/ 4208 h 10000"/>
                <a:gd name="connsiteX28" fmla="*/ 997 w 10000"/>
                <a:gd name="connsiteY28" fmla="*/ 4374 h 10000"/>
                <a:gd name="connsiteX29" fmla="*/ 1282 w 10000"/>
                <a:gd name="connsiteY29" fmla="*/ 4965 h 10000"/>
                <a:gd name="connsiteX30" fmla="*/ 1282 w 10000"/>
                <a:gd name="connsiteY30" fmla="*/ 4965 h 10000"/>
                <a:gd name="connsiteX31" fmla="*/ 1282 w 10000"/>
                <a:gd name="connsiteY31" fmla="*/ 4965 h 10000"/>
                <a:gd name="connsiteX32" fmla="*/ 1282 w 10000"/>
                <a:gd name="connsiteY32" fmla="*/ 5768 h 10000"/>
                <a:gd name="connsiteX33" fmla="*/ 1282 w 10000"/>
                <a:gd name="connsiteY33" fmla="*/ 5768 h 10000"/>
                <a:gd name="connsiteX34" fmla="*/ 1254 w 10000"/>
                <a:gd name="connsiteY34" fmla="*/ 5792 h 10000"/>
                <a:gd name="connsiteX35" fmla="*/ 1054 w 10000"/>
                <a:gd name="connsiteY35" fmla="*/ 6076 h 10000"/>
                <a:gd name="connsiteX36" fmla="*/ 1083 w 10000"/>
                <a:gd name="connsiteY36" fmla="*/ 6288 h 10000"/>
                <a:gd name="connsiteX37" fmla="*/ 1396 w 10000"/>
                <a:gd name="connsiteY37" fmla="*/ 6596 h 10000"/>
                <a:gd name="connsiteX38" fmla="*/ 1453 w 10000"/>
                <a:gd name="connsiteY38" fmla="*/ 6643 h 10000"/>
                <a:gd name="connsiteX39" fmla="*/ 1396 w 10000"/>
                <a:gd name="connsiteY39" fmla="*/ 6667 h 10000"/>
                <a:gd name="connsiteX40" fmla="*/ 1197 w 10000"/>
                <a:gd name="connsiteY40" fmla="*/ 6761 h 10000"/>
                <a:gd name="connsiteX41" fmla="*/ 826 w 10000"/>
                <a:gd name="connsiteY41" fmla="*/ 7281 h 10000"/>
                <a:gd name="connsiteX42" fmla="*/ 1026 w 10000"/>
                <a:gd name="connsiteY42" fmla="*/ 7305 h 10000"/>
                <a:gd name="connsiteX43" fmla="*/ 1054 w 10000"/>
                <a:gd name="connsiteY43" fmla="*/ 7305 h 10000"/>
                <a:gd name="connsiteX44" fmla="*/ 1083 w 10000"/>
                <a:gd name="connsiteY44" fmla="*/ 7352 h 10000"/>
                <a:gd name="connsiteX45" fmla="*/ 1140 w 10000"/>
                <a:gd name="connsiteY45" fmla="*/ 7541 h 10000"/>
                <a:gd name="connsiteX46" fmla="*/ 1453 w 10000"/>
                <a:gd name="connsiteY46" fmla="*/ 7801 h 10000"/>
                <a:gd name="connsiteX47" fmla="*/ 1709 w 10000"/>
                <a:gd name="connsiteY47" fmla="*/ 8061 h 10000"/>
                <a:gd name="connsiteX48" fmla="*/ 1425 w 10000"/>
                <a:gd name="connsiteY48" fmla="*/ 8298 h 10000"/>
                <a:gd name="connsiteX49" fmla="*/ 1425 w 10000"/>
                <a:gd name="connsiteY49" fmla="*/ 8440 h 10000"/>
                <a:gd name="connsiteX50" fmla="*/ 1624 w 10000"/>
                <a:gd name="connsiteY50" fmla="*/ 8700 h 10000"/>
                <a:gd name="connsiteX51" fmla="*/ 2564 w 10000"/>
                <a:gd name="connsiteY51" fmla="*/ 8747 h 10000"/>
                <a:gd name="connsiteX52" fmla="*/ 2593 w 10000"/>
                <a:gd name="connsiteY52" fmla="*/ 8747 h 10000"/>
                <a:gd name="connsiteX53" fmla="*/ 2593 w 10000"/>
                <a:gd name="connsiteY53" fmla="*/ 8771 h 10000"/>
                <a:gd name="connsiteX54" fmla="*/ 2821 w 10000"/>
                <a:gd name="connsiteY54" fmla="*/ 8983 h 10000"/>
                <a:gd name="connsiteX55" fmla="*/ 3105 w 10000"/>
                <a:gd name="connsiteY55" fmla="*/ 8983 h 10000"/>
                <a:gd name="connsiteX56" fmla="*/ 3105 w 10000"/>
                <a:gd name="connsiteY56" fmla="*/ 8983 h 10000"/>
                <a:gd name="connsiteX57" fmla="*/ 3134 w 10000"/>
                <a:gd name="connsiteY57" fmla="*/ 8983 h 10000"/>
                <a:gd name="connsiteX58" fmla="*/ 3561 w 10000"/>
                <a:gd name="connsiteY58" fmla="*/ 9196 h 10000"/>
                <a:gd name="connsiteX59" fmla="*/ 3590 w 10000"/>
                <a:gd name="connsiteY59" fmla="*/ 9220 h 10000"/>
                <a:gd name="connsiteX60" fmla="*/ 3590 w 10000"/>
                <a:gd name="connsiteY60" fmla="*/ 9243 h 10000"/>
                <a:gd name="connsiteX61" fmla="*/ 3675 w 10000"/>
                <a:gd name="connsiteY61" fmla="*/ 9669 h 10000"/>
                <a:gd name="connsiteX62" fmla="*/ 3675 w 10000"/>
                <a:gd name="connsiteY62" fmla="*/ 9669 h 10000"/>
                <a:gd name="connsiteX63" fmla="*/ 3647 w 10000"/>
                <a:gd name="connsiteY63" fmla="*/ 9693 h 10000"/>
                <a:gd name="connsiteX64" fmla="*/ 3476 w 10000"/>
                <a:gd name="connsiteY64" fmla="*/ 9953 h 10000"/>
                <a:gd name="connsiteX65" fmla="*/ 3704 w 10000"/>
                <a:gd name="connsiteY65" fmla="*/ 10000 h 10000"/>
                <a:gd name="connsiteX66" fmla="*/ 4131 w 10000"/>
                <a:gd name="connsiteY66" fmla="*/ 9574 h 10000"/>
                <a:gd name="connsiteX67" fmla="*/ 4131 w 10000"/>
                <a:gd name="connsiteY67" fmla="*/ 9574 h 10000"/>
                <a:gd name="connsiteX68" fmla="*/ 4160 w 10000"/>
                <a:gd name="connsiteY68" fmla="*/ 9574 h 10000"/>
                <a:gd name="connsiteX69" fmla="*/ 4558 w 10000"/>
                <a:gd name="connsiteY69" fmla="*/ 9480 h 10000"/>
                <a:gd name="connsiteX70" fmla="*/ 4929 w 10000"/>
                <a:gd name="connsiteY70" fmla="*/ 9314 h 10000"/>
                <a:gd name="connsiteX71" fmla="*/ 4957 w 10000"/>
                <a:gd name="connsiteY71" fmla="*/ 9314 h 10000"/>
                <a:gd name="connsiteX72" fmla="*/ 4986 w 10000"/>
                <a:gd name="connsiteY72" fmla="*/ 9314 h 10000"/>
                <a:gd name="connsiteX73" fmla="*/ 5442 w 10000"/>
                <a:gd name="connsiteY73" fmla="*/ 9338 h 10000"/>
                <a:gd name="connsiteX74" fmla="*/ 6154 w 10000"/>
                <a:gd name="connsiteY74" fmla="*/ 9007 h 10000"/>
                <a:gd name="connsiteX75" fmla="*/ 6581 w 10000"/>
                <a:gd name="connsiteY75" fmla="*/ 8251 h 10000"/>
                <a:gd name="connsiteX76" fmla="*/ 6581 w 10000"/>
                <a:gd name="connsiteY76" fmla="*/ 8227 h 10000"/>
                <a:gd name="connsiteX77" fmla="*/ 6610 w 10000"/>
                <a:gd name="connsiteY77" fmla="*/ 8227 h 10000"/>
                <a:gd name="connsiteX78" fmla="*/ 7066 w 10000"/>
                <a:gd name="connsiteY78" fmla="*/ 8227 h 10000"/>
                <a:gd name="connsiteX79" fmla="*/ 7066 w 10000"/>
                <a:gd name="connsiteY79" fmla="*/ 8227 h 10000"/>
                <a:gd name="connsiteX80" fmla="*/ 7094 w 10000"/>
                <a:gd name="connsiteY80" fmla="*/ 8251 h 10000"/>
                <a:gd name="connsiteX81" fmla="*/ 7236 w 10000"/>
                <a:gd name="connsiteY81" fmla="*/ 8345 h 10000"/>
                <a:gd name="connsiteX82" fmla="*/ 7778 w 10000"/>
                <a:gd name="connsiteY82" fmla="*/ 8369 h 10000"/>
                <a:gd name="connsiteX83" fmla="*/ 7806 w 10000"/>
                <a:gd name="connsiteY83" fmla="*/ 8369 h 10000"/>
                <a:gd name="connsiteX84" fmla="*/ 7806 w 10000"/>
                <a:gd name="connsiteY84" fmla="*/ 8392 h 10000"/>
                <a:gd name="connsiteX85" fmla="*/ 8063 w 10000"/>
                <a:gd name="connsiteY85" fmla="*/ 8511 h 10000"/>
                <a:gd name="connsiteX86" fmla="*/ 8091 w 10000"/>
                <a:gd name="connsiteY86" fmla="*/ 8511 h 10000"/>
                <a:gd name="connsiteX87" fmla="*/ 8091 w 10000"/>
                <a:gd name="connsiteY87" fmla="*/ 8558 h 10000"/>
                <a:gd name="connsiteX88" fmla="*/ 8006 w 10000"/>
                <a:gd name="connsiteY88" fmla="*/ 8913 h 10000"/>
                <a:gd name="connsiteX89" fmla="*/ 8291 w 10000"/>
                <a:gd name="connsiteY89" fmla="*/ 9243 h 10000"/>
                <a:gd name="connsiteX90" fmla="*/ 8262 w 10000"/>
                <a:gd name="connsiteY90" fmla="*/ 9267 h 10000"/>
                <a:gd name="connsiteX91" fmla="*/ 8490 w 10000"/>
                <a:gd name="connsiteY91" fmla="*/ 9385 h 10000"/>
                <a:gd name="connsiteX92" fmla="*/ 9373 w 10000"/>
                <a:gd name="connsiteY92" fmla="*/ 9314 h 10000"/>
                <a:gd name="connsiteX93" fmla="*/ 9687 w 10000"/>
                <a:gd name="connsiteY93" fmla="*/ 8818 h 10000"/>
                <a:gd name="connsiteX94" fmla="*/ 9687 w 10000"/>
                <a:gd name="connsiteY94" fmla="*/ 8771 h 10000"/>
                <a:gd name="connsiteX95" fmla="*/ 9687 w 10000"/>
                <a:gd name="connsiteY95" fmla="*/ 8771 h 10000"/>
                <a:gd name="connsiteX96" fmla="*/ 9772 w 10000"/>
                <a:gd name="connsiteY96" fmla="*/ 8700 h 10000"/>
                <a:gd name="connsiteX97" fmla="*/ 9744 w 10000"/>
                <a:gd name="connsiteY97" fmla="*/ 8440 h 10000"/>
                <a:gd name="connsiteX98" fmla="*/ 9630 w 10000"/>
                <a:gd name="connsiteY98" fmla="*/ 8345 h 10000"/>
                <a:gd name="connsiteX99" fmla="*/ 9630 w 10000"/>
                <a:gd name="connsiteY99" fmla="*/ 8322 h 10000"/>
                <a:gd name="connsiteX100" fmla="*/ 9630 w 10000"/>
                <a:gd name="connsiteY100" fmla="*/ 8298 h 10000"/>
                <a:gd name="connsiteX101" fmla="*/ 9630 w 10000"/>
                <a:gd name="connsiteY101" fmla="*/ 8061 h 10000"/>
                <a:gd name="connsiteX102" fmla="*/ 8689 w 10000"/>
                <a:gd name="connsiteY102" fmla="*/ 7281 h 10000"/>
                <a:gd name="connsiteX103" fmla="*/ 8689 w 10000"/>
                <a:gd name="connsiteY103" fmla="*/ 7281 h 10000"/>
                <a:gd name="connsiteX104" fmla="*/ 8689 w 10000"/>
                <a:gd name="connsiteY104" fmla="*/ 7258 h 10000"/>
                <a:gd name="connsiteX105" fmla="*/ 8689 w 10000"/>
                <a:gd name="connsiteY105" fmla="*/ 6832 h 10000"/>
                <a:gd name="connsiteX106" fmla="*/ 8689 w 10000"/>
                <a:gd name="connsiteY106" fmla="*/ 6832 h 10000"/>
                <a:gd name="connsiteX107" fmla="*/ 8689 w 10000"/>
                <a:gd name="connsiteY107" fmla="*/ 6809 h 10000"/>
                <a:gd name="connsiteX108" fmla="*/ 9345 w 10000"/>
                <a:gd name="connsiteY108" fmla="*/ 6336 h 10000"/>
                <a:gd name="connsiteX109" fmla="*/ 9801 w 10000"/>
                <a:gd name="connsiteY109" fmla="*/ 5863 h 10000"/>
                <a:gd name="connsiteX110" fmla="*/ 9972 w 10000"/>
                <a:gd name="connsiteY110" fmla="*/ 5248 h 10000"/>
                <a:gd name="connsiteX111" fmla="*/ 10000 w 10000"/>
                <a:gd name="connsiteY111" fmla="*/ 5248 h 10000"/>
                <a:gd name="connsiteX112" fmla="*/ 7920 w 10000"/>
                <a:gd name="connsiteY112" fmla="*/ 2979 h 10000"/>
                <a:gd name="connsiteX113" fmla="*/ 7179 w 10000"/>
                <a:gd name="connsiteY113" fmla="*/ 2246 h 10000"/>
                <a:gd name="connsiteX114" fmla="*/ 6524 w 10000"/>
                <a:gd name="connsiteY114" fmla="*/ 1844 h 10000"/>
                <a:gd name="connsiteX115" fmla="*/ 5014 w 10000"/>
                <a:gd name="connsiteY115" fmla="*/ 1158 h 10000"/>
                <a:gd name="connsiteX116" fmla="*/ 4672 w 10000"/>
                <a:gd name="connsiteY116" fmla="*/ 709 h 10000"/>
                <a:gd name="connsiteX117" fmla="*/ 4900 w 10000"/>
                <a:gd name="connsiteY117" fmla="*/ 709 h 10000"/>
                <a:gd name="connsiteX118" fmla="*/ 5242 w 10000"/>
                <a:gd name="connsiteY118" fmla="*/ 709 h 10000"/>
                <a:gd name="connsiteX119" fmla="*/ 5442 w 10000"/>
                <a:gd name="connsiteY119" fmla="*/ 355 h 10000"/>
                <a:gd name="connsiteX120" fmla="*/ 5385 w 10000"/>
                <a:gd name="connsiteY120" fmla="*/ 0 h 10000"/>
                <a:gd name="connsiteX121" fmla="*/ 5128 w 10000"/>
                <a:gd name="connsiteY121" fmla="*/ 95 h 10000"/>
                <a:gd name="connsiteX122" fmla="*/ 4701 w 10000"/>
                <a:gd name="connsiteY122" fmla="*/ 355 h 10000"/>
                <a:gd name="connsiteX123" fmla="*/ 4302 w 10000"/>
                <a:gd name="connsiteY123" fmla="*/ 355 h 10000"/>
                <a:gd name="connsiteX124" fmla="*/ 4274 w 10000"/>
                <a:gd name="connsiteY124" fmla="*/ 567 h 10000"/>
                <a:gd name="connsiteX125" fmla="*/ 3732 w 10000"/>
                <a:gd name="connsiteY125" fmla="*/ 922 h 10000"/>
                <a:gd name="connsiteX126" fmla="*/ 3276 w 10000"/>
                <a:gd name="connsiteY126" fmla="*/ 993 h 10000"/>
                <a:gd name="connsiteX127" fmla="*/ 2906 w 10000"/>
                <a:gd name="connsiteY127" fmla="*/ 1537 h 10000"/>
                <a:gd name="connsiteX128" fmla="*/ 2365 w 10000"/>
                <a:gd name="connsiteY128" fmla="*/ 1726 h 10000"/>
                <a:gd name="connsiteX129" fmla="*/ 1852 w 10000"/>
                <a:gd name="connsiteY129" fmla="*/ 2009 h 10000"/>
                <a:gd name="connsiteX130" fmla="*/ 1709 w 10000"/>
                <a:gd name="connsiteY130" fmla="*/ 2459 h 10000"/>
                <a:gd name="connsiteX131" fmla="*/ 1425 w 10000"/>
                <a:gd name="connsiteY131" fmla="*/ 2411 h 10000"/>
                <a:gd name="connsiteX132" fmla="*/ 997 w 10000"/>
                <a:gd name="connsiteY132" fmla="*/ 2199 h 10000"/>
                <a:gd name="connsiteX133" fmla="*/ 570 w 10000"/>
                <a:gd name="connsiteY133" fmla="*/ 2411 h 10000"/>
                <a:gd name="connsiteX134" fmla="*/ 199 w 10000"/>
                <a:gd name="connsiteY134" fmla="*/ 2600 h 10000"/>
                <a:gd name="connsiteX135" fmla="*/ 0 w 10000"/>
                <a:gd name="connsiteY135" fmla="*/ 2553 h 10000"/>
                <a:gd name="connsiteX136" fmla="*/ 57 w 10000"/>
                <a:gd name="connsiteY136" fmla="*/ 2861 h 10000"/>
                <a:gd name="connsiteX0" fmla="*/ 57 w 10000"/>
                <a:gd name="connsiteY0" fmla="*/ 2861 h 10000"/>
                <a:gd name="connsiteX1" fmla="*/ 85 w 10000"/>
                <a:gd name="connsiteY1" fmla="*/ 2861 h 10000"/>
                <a:gd name="connsiteX2" fmla="*/ 399 w 10000"/>
                <a:gd name="connsiteY2" fmla="*/ 2790 h 10000"/>
                <a:gd name="connsiteX3" fmla="*/ 427 w 10000"/>
                <a:gd name="connsiteY3" fmla="*/ 2790 h 10000"/>
                <a:gd name="connsiteX4" fmla="*/ 456 w 10000"/>
                <a:gd name="connsiteY4" fmla="*/ 2837 h 10000"/>
                <a:gd name="connsiteX5" fmla="*/ 598 w 10000"/>
                <a:gd name="connsiteY5" fmla="*/ 2979 h 10000"/>
                <a:gd name="connsiteX6" fmla="*/ 627 w 10000"/>
                <a:gd name="connsiteY6" fmla="*/ 3002 h 10000"/>
                <a:gd name="connsiteX7" fmla="*/ 570 w 10000"/>
                <a:gd name="connsiteY7" fmla="*/ 3026 h 10000"/>
                <a:gd name="connsiteX8" fmla="*/ 370 w 10000"/>
                <a:gd name="connsiteY8" fmla="*/ 3191 h 10000"/>
                <a:gd name="connsiteX9" fmla="*/ 256 w 10000"/>
                <a:gd name="connsiteY9" fmla="*/ 3310 h 10000"/>
                <a:gd name="connsiteX10" fmla="*/ 285 w 10000"/>
                <a:gd name="connsiteY10" fmla="*/ 3357 h 10000"/>
                <a:gd name="connsiteX11" fmla="*/ 484 w 10000"/>
                <a:gd name="connsiteY11" fmla="*/ 3499 h 10000"/>
                <a:gd name="connsiteX12" fmla="*/ 712 w 10000"/>
                <a:gd name="connsiteY12" fmla="*/ 3475 h 10000"/>
                <a:gd name="connsiteX13" fmla="*/ 741 w 10000"/>
                <a:gd name="connsiteY13" fmla="*/ 3475 h 10000"/>
                <a:gd name="connsiteX14" fmla="*/ 741 w 10000"/>
                <a:gd name="connsiteY14" fmla="*/ 3475 h 10000"/>
                <a:gd name="connsiteX15" fmla="*/ 940 w 10000"/>
                <a:gd name="connsiteY15" fmla="*/ 3570 h 10000"/>
                <a:gd name="connsiteX16" fmla="*/ 997 w 10000"/>
                <a:gd name="connsiteY16" fmla="*/ 3593 h 10000"/>
                <a:gd name="connsiteX17" fmla="*/ 969 w 10000"/>
                <a:gd name="connsiteY17" fmla="*/ 3617 h 10000"/>
                <a:gd name="connsiteX18" fmla="*/ 969 w 10000"/>
                <a:gd name="connsiteY18" fmla="*/ 3830 h 10000"/>
                <a:gd name="connsiteX19" fmla="*/ 969 w 10000"/>
                <a:gd name="connsiteY19" fmla="*/ 3877 h 10000"/>
                <a:gd name="connsiteX20" fmla="*/ 912 w 10000"/>
                <a:gd name="connsiteY20" fmla="*/ 3877 h 10000"/>
                <a:gd name="connsiteX21" fmla="*/ 712 w 10000"/>
                <a:gd name="connsiteY21" fmla="*/ 3901 h 10000"/>
                <a:gd name="connsiteX22" fmla="*/ 826 w 10000"/>
                <a:gd name="connsiteY22" fmla="*/ 4066 h 10000"/>
                <a:gd name="connsiteX23" fmla="*/ 826 w 10000"/>
                <a:gd name="connsiteY23" fmla="*/ 4066 h 10000"/>
                <a:gd name="connsiteX24" fmla="*/ 826 w 10000"/>
                <a:gd name="connsiteY24" fmla="*/ 4066 h 10000"/>
                <a:gd name="connsiteX25" fmla="*/ 912 w 10000"/>
                <a:gd name="connsiteY25" fmla="*/ 4208 h 10000"/>
                <a:gd name="connsiteX26" fmla="*/ 912 w 10000"/>
                <a:gd name="connsiteY26" fmla="*/ 4208 h 10000"/>
                <a:gd name="connsiteX27" fmla="*/ 912 w 10000"/>
                <a:gd name="connsiteY27" fmla="*/ 4208 h 10000"/>
                <a:gd name="connsiteX28" fmla="*/ 997 w 10000"/>
                <a:gd name="connsiteY28" fmla="*/ 4374 h 10000"/>
                <a:gd name="connsiteX29" fmla="*/ 1282 w 10000"/>
                <a:gd name="connsiteY29" fmla="*/ 4965 h 10000"/>
                <a:gd name="connsiteX30" fmla="*/ 1282 w 10000"/>
                <a:gd name="connsiteY30" fmla="*/ 4965 h 10000"/>
                <a:gd name="connsiteX31" fmla="*/ 1282 w 10000"/>
                <a:gd name="connsiteY31" fmla="*/ 4965 h 10000"/>
                <a:gd name="connsiteX32" fmla="*/ 1282 w 10000"/>
                <a:gd name="connsiteY32" fmla="*/ 5768 h 10000"/>
                <a:gd name="connsiteX33" fmla="*/ 1282 w 10000"/>
                <a:gd name="connsiteY33" fmla="*/ 5768 h 10000"/>
                <a:gd name="connsiteX34" fmla="*/ 1254 w 10000"/>
                <a:gd name="connsiteY34" fmla="*/ 5792 h 10000"/>
                <a:gd name="connsiteX35" fmla="*/ 1054 w 10000"/>
                <a:gd name="connsiteY35" fmla="*/ 6076 h 10000"/>
                <a:gd name="connsiteX36" fmla="*/ 1083 w 10000"/>
                <a:gd name="connsiteY36" fmla="*/ 6288 h 10000"/>
                <a:gd name="connsiteX37" fmla="*/ 1396 w 10000"/>
                <a:gd name="connsiteY37" fmla="*/ 6596 h 10000"/>
                <a:gd name="connsiteX38" fmla="*/ 1453 w 10000"/>
                <a:gd name="connsiteY38" fmla="*/ 6643 h 10000"/>
                <a:gd name="connsiteX39" fmla="*/ 1396 w 10000"/>
                <a:gd name="connsiteY39" fmla="*/ 6667 h 10000"/>
                <a:gd name="connsiteX40" fmla="*/ 1197 w 10000"/>
                <a:gd name="connsiteY40" fmla="*/ 6761 h 10000"/>
                <a:gd name="connsiteX41" fmla="*/ 826 w 10000"/>
                <a:gd name="connsiteY41" fmla="*/ 7281 h 10000"/>
                <a:gd name="connsiteX42" fmla="*/ 1026 w 10000"/>
                <a:gd name="connsiteY42" fmla="*/ 7305 h 10000"/>
                <a:gd name="connsiteX43" fmla="*/ 1054 w 10000"/>
                <a:gd name="connsiteY43" fmla="*/ 7305 h 10000"/>
                <a:gd name="connsiteX44" fmla="*/ 1083 w 10000"/>
                <a:gd name="connsiteY44" fmla="*/ 7352 h 10000"/>
                <a:gd name="connsiteX45" fmla="*/ 1140 w 10000"/>
                <a:gd name="connsiteY45" fmla="*/ 7541 h 10000"/>
                <a:gd name="connsiteX46" fmla="*/ 1453 w 10000"/>
                <a:gd name="connsiteY46" fmla="*/ 7801 h 10000"/>
                <a:gd name="connsiteX47" fmla="*/ 1422 w 10000"/>
                <a:gd name="connsiteY47" fmla="*/ 7995 h 10000"/>
                <a:gd name="connsiteX48" fmla="*/ 1425 w 10000"/>
                <a:gd name="connsiteY48" fmla="*/ 8298 h 10000"/>
                <a:gd name="connsiteX49" fmla="*/ 1425 w 10000"/>
                <a:gd name="connsiteY49" fmla="*/ 8440 h 10000"/>
                <a:gd name="connsiteX50" fmla="*/ 1624 w 10000"/>
                <a:gd name="connsiteY50" fmla="*/ 8700 h 10000"/>
                <a:gd name="connsiteX51" fmla="*/ 2564 w 10000"/>
                <a:gd name="connsiteY51" fmla="*/ 8747 h 10000"/>
                <a:gd name="connsiteX52" fmla="*/ 2593 w 10000"/>
                <a:gd name="connsiteY52" fmla="*/ 8747 h 10000"/>
                <a:gd name="connsiteX53" fmla="*/ 2593 w 10000"/>
                <a:gd name="connsiteY53" fmla="*/ 8771 h 10000"/>
                <a:gd name="connsiteX54" fmla="*/ 2821 w 10000"/>
                <a:gd name="connsiteY54" fmla="*/ 8983 h 10000"/>
                <a:gd name="connsiteX55" fmla="*/ 3105 w 10000"/>
                <a:gd name="connsiteY55" fmla="*/ 8983 h 10000"/>
                <a:gd name="connsiteX56" fmla="*/ 3105 w 10000"/>
                <a:gd name="connsiteY56" fmla="*/ 8983 h 10000"/>
                <a:gd name="connsiteX57" fmla="*/ 3134 w 10000"/>
                <a:gd name="connsiteY57" fmla="*/ 8983 h 10000"/>
                <a:gd name="connsiteX58" fmla="*/ 3561 w 10000"/>
                <a:gd name="connsiteY58" fmla="*/ 9196 h 10000"/>
                <a:gd name="connsiteX59" fmla="*/ 3590 w 10000"/>
                <a:gd name="connsiteY59" fmla="*/ 9220 h 10000"/>
                <a:gd name="connsiteX60" fmla="*/ 3590 w 10000"/>
                <a:gd name="connsiteY60" fmla="*/ 9243 h 10000"/>
                <a:gd name="connsiteX61" fmla="*/ 3675 w 10000"/>
                <a:gd name="connsiteY61" fmla="*/ 9669 h 10000"/>
                <a:gd name="connsiteX62" fmla="*/ 3675 w 10000"/>
                <a:gd name="connsiteY62" fmla="*/ 9669 h 10000"/>
                <a:gd name="connsiteX63" fmla="*/ 3647 w 10000"/>
                <a:gd name="connsiteY63" fmla="*/ 9693 h 10000"/>
                <a:gd name="connsiteX64" fmla="*/ 3476 w 10000"/>
                <a:gd name="connsiteY64" fmla="*/ 9953 h 10000"/>
                <a:gd name="connsiteX65" fmla="*/ 3704 w 10000"/>
                <a:gd name="connsiteY65" fmla="*/ 10000 h 10000"/>
                <a:gd name="connsiteX66" fmla="*/ 4131 w 10000"/>
                <a:gd name="connsiteY66" fmla="*/ 9574 h 10000"/>
                <a:gd name="connsiteX67" fmla="*/ 4131 w 10000"/>
                <a:gd name="connsiteY67" fmla="*/ 9574 h 10000"/>
                <a:gd name="connsiteX68" fmla="*/ 4160 w 10000"/>
                <a:gd name="connsiteY68" fmla="*/ 9574 h 10000"/>
                <a:gd name="connsiteX69" fmla="*/ 4558 w 10000"/>
                <a:gd name="connsiteY69" fmla="*/ 9480 h 10000"/>
                <a:gd name="connsiteX70" fmla="*/ 4929 w 10000"/>
                <a:gd name="connsiteY70" fmla="*/ 9314 h 10000"/>
                <a:gd name="connsiteX71" fmla="*/ 4957 w 10000"/>
                <a:gd name="connsiteY71" fmla="*/ 9314 h 10000"/>
                <a:gd name="connsiteX72" fmla="*/ 4986 w 10000"/>
                <a:gd name="connsiteY72" fmla="*/ 9314 h 10000"/>
                <a:gd name="connsiteX73" fmla="*/ 5442 w 10000"/>
                <a:gd name="connsiteY73" fmla="*/ 9338 h 10000"/>
                <a:gd name="connsiteX74" fmla="*/ 6154 w 10000"/>
                <a:gd name="connsiteY74" fmla="*/ 9007 h 10000"/>
                <a:gd name="connsiteX75" fmla="*/ 6581 w 10000"/>
                <a:gd name="connsiteY75" fmla="*/ 8251 h 10000"/>
                <a:gd name="connsiteX76" fmla="*/ 6581 w 10000"/>
                <a:gd name="connsiteY76" fmla="*/ 8227 h 10000"/>
                <a:gd name="connsiteX77" fmla="*/ 6610 w 10000"/>
                <a:gd name="connsiteY77" fmla="*/ 8227 h 10000"/>
                <a:gd name="connsiteX78" fmla="*/ 7066 w 10000"/>
                <a:gd name="connsiteY78" fmla="*/ 8227 h 10000"/>
                <a:gd name="connsiteX79" fmla="*/ 7066 w 10000"/>
                <a:gd name="connsiteY79" fmla="*/ 8227 h 10000"/>
                <a:gd name="connsiteX80" fmla="*/ 7094 w 10000"/>
                <a:gd name="connsiteY80" fmla="*/ 8251 h 10000"/>
                <a:gd name="connsiteX81" fmla="*/ 7236 w 10000"/>
                <a:gd name="connsiteY81" fmla="*/ 8345 h 10000"/>
                <a:gd name="connsiteX82" fmla="*/ 7778 w 10000"/>
                <a:gd name="connsiteY82" fmla="*/ 8369 h 10000"/>
                <a:gd name="connsiteX83" fmla="*/ 7806 w 10000"/>
                <a:gd name="connsiteY83" fmla="*/ 8369 h 10000"/>
                <a:gd name="connsiteX84" fmla="*/ 7806 w 10000"/>
                <a:gd name="connsiteY84" fmla="*/ 8392 h 10000"/>
                <a:gd name="connsiteX85" fmla="*/ 8063 w 10000"/>
                <a:gd name="connsiteY85" fmla="*/ 8511 h 10000"/>
                <a:gd name="connsiteX86" fmla="*/ 8091 w 10000"/>
                <a:gd name="connsiteY86" fmla="*/ 8511 h 10000"/>
                <a:gd name="connsiteX87" fmla="*/ 8091 w 10000"/>
                <a:gd name="connsiteY87" fmla="*/ 8558 h 10000"/>
                <a:gd name="connsiteX88" fmla="*/ 8006 w 10000"/>
                <a:gd name="connsiteY88" fmla="*/ 8913 h 10000"/>
                <a:gd name="connsiteX89" fmla="*/ 8291 w 10000"/>
                <a:gd name="connsiteY89" fmla="*/ 9243 h 10000"/>
                <a:gd name="connsiteX90" fmla="*/ 8262 w 10000"/>
                <a:gd name="connsiteY90" fmla="*/ 9267 h 10000"/>
                <a:gd name="connsiteX91" fmla="*/ 8490 w 10000"/>
                <a:gd name="connsiteY91" fmla="*/ 9385 h 10000"/>
                <a:gd name="connsiteX92" fmla="*/ 9373 w 10000"/>
                <a:gd name="connsiteY92" fmla="*/ 9314 h 10000"/>
                <a:gd name="connsiteX93" fmla="*/ 9687 w 10000"/>
                <a:gd name="connsiteY93" fmla="*/ 8818 h 10000"/>
                <a:gd name="connsiteX94" fmla="*/ 9687 w 10000"/>
                <a:gd name="connsiteY94" fmla="*/ 8771 h 10000"/>
                <a:gd name="connsiteX95" fmla="*/ 9687 w 10000"/>
                <a:gd name="connsiteY95" fmla="*/ 8771 h 10000"/>
                <a:gd name="connsiteX96" fmla="*/ 9772 w 10000"/>
                <a:gd name="connsiteY96" fmla="*/ 8700 h 10000"/>
                <a:gd name="connsiteX97" fmla="*/ 9744 w 10000"/>
                <a:gd name="connsiteY97" fmla="*/ 8440 h 10000"/>
                <a:gd name="connsiteX98" fmla="*/ 9630 w 10000"/>
                <a:gd name="connsiteY98" fmla="*/ 8345 h 10000"/>
                <a:gd name="connsiteX99" fmla="*/ 9630 w 10000"/>
                <a:gd name="connsiteY99" fmla="*/ 8322 h 10000"/>
                <a:gd name="connsiteX100" fmla="*/ 9630 w 10000"/>
                <a:gd name="connsiteY100" fmla="*/ 8298 h 10000"/>
                <a:gd name="connsiteX101" fmla="*/ 9630 w 10000"/>
                <a:gd name="connsiteY101" fmla="*/ 8061 h 10000"/>
                <a:gd name="connsiteX102" fmla="*/ 8689 w 10000"/>
                <a:gd name="connsiteY102" fmla="*/ 7281 h 10000"/>
                <a:gd name="connsiteX103" fmla="*/ 8689 w 10000"/>
                <a:gd name="connsiteY103" fmla="*/ 7281 h 10000"/>
                <a:gd name="connsiteX104" fmla="*/ 8689 w 10000"/>
                <a:gd name="connsiteY104" fmla="*/ 7258 h 10000"/>
                <a:gd name="connsiteX105" fmla="*/ 8689 w 10000"/>
                <a:gd name="connsiteY105" fmla="*/ 6832 h 10000"/>
                <a:gd name="connsiteX106" fmla="*/ 8689 w 10000"/>
                <a:gd name="connsiteY106" fmla="*/ 6832 h 10000"/>
                <a:gd name="connsiteX107" fmla="*/ 8689 w 10000"/>
                <a:gd name="connsiteY107" fmla="*/ 6809 h 10000"/>
                <a:gd name="connsiteX108" fmla="*/ 9345 w 10000"/>
                <a:gd name="connsiteY108" fmla="*/ 6336 h 10000"/>
                <a:gd name="connsiteX109" fmla="*/ 9801 w 10000"/>
                <a:gd name="connsiteY109" fmla="*/ 5863 h 10000"/>
                <a:gd name="connsiteX110" fmla="*/ 9972 w 10000"/>
                <a:gd name="connsiteY110" fmla="*/ 5248 h 10000"/>
                <a:gd name="connsiteX111" fmla="*/ 10000 w 10000"/>
                <a:gd name="connsiteY111" fmla="*/ 5248 h 10000"/>
                <a:gd name="connsiteX112" fmla="*/ 7920 w 10000"/>
                <a:gd name="connsiteY112" fmla="*/ 2979 h 10000"/>
                <a:gd name="connsiteX113" fmla="*/ 7179 w 10000"/>
                <a:gd name="connsiteY113" fmla="*/ 2246 h 10000"/>
                <a:gd name="connsiteX114" fmla="*/ 6524 w 10000"/>
                <a:gd name="connsiteY114" fmla="*/ 1844 h 10000"/>
                <a:gd name="connsiteX115" fmla="*/ 5014 w 10000"/>
                <a:gd name="connsiteY115" fmla="*/ 1158 h 10000"/>
                <a:gd name="connsiteX116" fmla="*/ 4672 w 10000"/>
                <a:gd name="connsiteY116" fmla="*/ 709 h 10000"/>
                <a:gd name="connsiteX117" fmla="*/ 4900 w 10000"/>
                <a:gd name="connsiteY117" fmla="*/ 709 h 10000"/>
                <a:gd name="connsiteX118" fmla="*/ 5242 w 10000"/>
                <a:gd name="connsiteY118" fmla="*/ 709 h 10000"/>
                <a:gd name="connsiteX119" fmla="*/ 5442 w 10000"/>
                <a:gd name="connsiteY119" fmla="*/ 355 h 10000"/>
                <a:gd name="connsiteX120" fmla="*/ 5385 w 10000"/>
                <a:gd name="connsiteY120" fmla="*/ 0 h 10000"/>
                <a:gd name="connsiteX121" fmla="*/ 5128 w 10000"/>
                <a:gd name="connsiteY121" fmla="*/ 95 h 10000"/>
                <a:gd name="connsiteX122" fmla="*/ 4701 w 10000"/>
                <a:gd name="connsiteY122" fmla="*/ 355 h 10000"/>
                <a:gd name="connsiteX123" fmla="*/ 4302 w 10000"/>
                <a:gd name="connsiteY123" fmla="*/ 355 h 10000"/>
                <a:gd name="connsiteX124" fmla="*/ 4274 w 10000"/>
                <a:gd name="connsiteY124" fmla="*/ 567 h 10000"/>
                <a:gd name="connsiteX125" fmla="*/ 3732 w 10000"/>
                <a:gd name="connsiteY125" fmla="*/ 922 h 10000"/>
                <a:gd name="connsiteX126" fmla="*/ 3276 w 10000"/>
                <a:gd name="connsiteY126" fmla="*/ 993 h 10000"/>
                <a:gd name="connsiteX127" fmla="*/ 2906 w 10000"/>
                <a:gd name="connsiteY127" fmla="*/ 1537 h 10000"/>
                <a:gd name="connsiteX128" fmla="*/ 2365 w 10000"/>
                <a:gd name="connsiteY128" fmla="*/ 1726 h 10000"/>
                <a:gd name="connsiteX129" fmla="*/ 1852 w 10000"/>
                <a:gd name="connsiteY129" fmla="*/ 2009 h 10000"/>
                <a:gd name="connsiteX130" fmla="*/ 1709 w 10000"/>
                <a:gd name="connsiteY130" fmla="*/ 2459 h 10000"/>
                <a:gd name="connsiteX131" fmla="*/ 1425 w 10000"/>
                <a:gd name="connsiteY131" fmla="*/ 2411 h 10000"/>
                <a:gd name="connsiteX132" fmla="*/ 997 w 10000"/>
                <a:gd name="connsiteY132" fmla="*/ 2199 h 10000"/>
                <a:gd name="connsiteX133" fmla="*/ 570 w 10000"/>
                <a:gd name="connsiteY133" fmla="*/ 2411 h 10000"/>
                <a:gd name="connsiteX134" fmla="*/ 199 w 10000"/>
                <a:gd name="connsiteY134" fmla="*/ 2600 h 10000"/>
                <a:gd name="connsiteX135" fmla="*/ 0 w 10000"/>
                <a:gd name="connsiteY135" fmla="*/ 2553 h 10000"/>
                <a:gd name="connsiteX136" fmla="*/ 57 w 10000"/>
                <a:gd name="connsiteY136" fmla="*/ 2861 h 10000"/>
                <a:gd name="connsiteX0" fmla="*/ 57 w 10000"/>
                <a:gd name="connsiteY0" fmla="*/ 2861 h 10036"/>
                <a:gd name="connsiteX1" fmla="*/ 85 w 10000"/>
                <a:gd name="connsiteY1" fmla="*/ 2861 h 10036"/>
                <a:gd name="connsiteX2" fmla="*/ 399 w 10000"/>
                <a:gd name="connsiteY2" fmla="*/ 2790 h 10036"/>
                <a:gd name="connsiteX3" fmla="*/ 427 w 10000"/>
                <a:gd name="connsiteY3" fmla="*/ 2790 h 10036"/>
                <a:gd name="connsiteX4" fmla="*/ 456 w 10000"/>
                <a:gd name="connsiteY4" fmla="*/ 2837 h 10036"/>
                <a:gd name="connsiteX5" fmla="*/ 598 w 10000"/>
                <a:gd name="connsiteY5" fmla="*/ 2979 h 10036"/>
                <a:gd name="connsiteX6" fmla="*/ 627 w 10000"/>
                <a:gd name="connsiteY6" fmla="*/ 3002 h 10036"/>
                <a:gd name="connsiteX7" fmla="*/ 570 w 10000"/>
                <a:gd name="connsiteY7" fmla="*/ 3026 h 10036"/>
                <a:gd name="connsiteX8" fmla="*/ 370 w 10000"/>
                <a:gd name="connsiteY8" fmla="*/ 3191 h 10036"/>
                <a:gd name="connsiteX9" fmla="*/ 256 w 10000"/>
                <a:gd name="connsiteY9" fmla="*/ 3310 h 10036"/>
                <a:gd name="connsiteX10" fmla="*/ 285 w 10000"/>
                <a:gd name="connsiteY10" fmla="*/ 3357 h 10036"/>
                <a:gd name="connsiteX11" fmla="*/ 484 w 10000"/>
                <a:gd name="connsiteY11" fmla="*/ 3499 h 10036"/>
                <a:gd name="connsiteX12" fmla="*/ 712 w 10000"/>
                <a:gd name="connsiteY12" fmla="*/ 3475 h 10036"/>
                <a:gd name="connsiteX13" fmla="*/ 741 w 10000"/>
                <a:gd name="connsiteY13" fmla="*/ 3475 h 10036"/>
                <a:gd name="connsiteX14" fmla="*/ 741 w 10000"/>
                <a:gd name="connsiteY14" fmla="*/ 3475 h 10036"/>
                <a:gd name="connsiteX15" fmla="*/ 940 w 10000"/>
                <a:gd name="connsiteY15" fmla="*/ 3570 h 10036"/>
                <a:gd name="connsiteX16" fmla="*/ 997 w 10000"/>
                <a:gd name="connsiteY16" fmla="*/ 3593 h 10036"/>
                <a:gd name="connsiteX17" fmla="*/ 969 w 10000"/>
                <a:gd name="connsiteY17" fmla="*/ 3617 h 10036"/>
                <a:gd name="connsiteX18" fmla="*/ 969 w 10000"/>
                <a:gd name="connsiteY18" fmla="*/ 3830 h 10036"/>
                <a:gd name="connsiteX19" fmla="*/ 969 w 10000"/>
                <a:gd name="connsiteY19" fmla="*/ 3877 h 10036"/>
                <a:gd name="connsiteX20" fmla="*/ 912 w 10000"/>
                <a:gd name="connsiteY20" fmla="*/ 3877 h 10036"/>
                <a:gd name="connsiteX21" fmla="*/ 712 w 10000"/>
                <a:gd name="connsiteY21" fmla="*/ 3901 h 10036"/>
                <a:gd name="connsiteX22" fmla="*/ 826 w 10000"/>
                <a:gd name="connsiteY22" fmla="*/ 4066 h 10036"/>
                <a:gd name="connsiteX23" fmla="*/ 826 w 10000"/>
                <a:gd name="connsiteY23" fmla="*/ 4066 h 10036"/>
                <a:gd name="connsiteX24" fmla="*/ 826 w 10000"/>
                <a:gd name="connsiteY24" fmla="*/ 4066 h 10036"/>
                <a:gd name="connsiteX25" fmla="*/ 912 w 10000"/>
                <a:gd name="connsiteY25" fmla="*/ 4208 h 10036"/>
                <a:gd name="connsiteX26" fmla="*/ 912 w 10000"/>
                <a:gd name="connsiteY26" fmla="*/ 4208 h 10036"/>
                <a:gd name="connsiteX27" fmla="*/ 912 w 10000"/>
                <a:gd name="connsiteY27" fmla="*/ 4208 h 10036"/>
                <a:gd name="connsiteX28" fmla="*/ 997 w 10000"/>
                <a:gd name="connsiteY28" fmla="*/ 4374 h 10036"/>
                <a:gd name="connsiteX29" fmla="*/ 1282 w 10000"/>
                <a:gd name="connsiteY29" fmla="*/ 4965 h 10036"/>
                <a:gd name="connsiteX30" fmla="*/ 1282 w 10000"/>
                <a:gd name="connsiteY30" fmla="*/ 4965 h 10036"/>
                <a:gd name="connsiteX31" fmla="*/ 1282 w 10000"/>
                <a:gd name="connsiteY31" fmla="*/ 4965 h 10036"/>
                <a:gd name="connsiteX32" fmla="*/ 1282 w 10000"/>
                <a:gd name="connsiteY32" fmla="*/ 5768 h 10036"/>
                <a:gd name="connsiteX33" fmla="*/ 1282 w 10000"/>
                <a:gd name="connsiteY33" fmla="*/ 5768 h 10036"/>
                <a:gd name="connsiteX34" fmla="*/ 1254 w 10000"/>
                <a:gd name="connsiteY34" fmla="*/ 5792 h 10036"/>
                <a:gd name="connsiteX35" fmla="*/ 1054 w 10000"/>
                <a:gd name="connsiteY35" fmla="*/ 6076 h 10036"/>
                <a:gd name="connsiteX36" fmla="*/ 1083 w 10000"/>
                <a:gd name="connsiteY36" fmla="*/ 6288 h 10036"/>
                <a:gd name="connsiteX37" fmla="*/ 1396 w 10000"/>
                <a:gd name="connsiteY37" fmla="*/ 6596 h 10036"/>
                <a:gd name="connsiteX38" fmla="*/ 1453 w 10000"/>
                <a:gd name="connsiteY38" fmla="*/ 6643 h 10036"/>
                <a:gd name="connsiteX39" fmla="*/ 1396 w 10000"/>
                <a:gd name="connsiteY39" fmla="*/ 6667 h 10036"/>
                <a:gd name="connsiteX40" fmla="*/ 1197 w 10000"/>
                <a:gd name="connsiteY40" fmla="*/ 6761 h 10036"/>
                <a:gd name="connsiteX41" fmla="*/ 826 w 10000"/>
                <a:gd name="connsiteY41" fmla="*/ 7281 h 10036"/>
                <a:gd name="connsiteX42" fmla="*/ 1026 w 10000"/>
                <a:gd name="connsiteY42" fmla="*/ 7305 h 10036"/>
                <a:gd name="connsiteX43" fmla="*/ 1054 w 10000"/>
                <a:gd name="connsiteY43" fmla="*/ 7305 h 10036"/>
                <a:gd name="connsiteX44" fmla="*/ 1083 w 10000"/>
                <a:gd name="connsiteY44" fmla="*/ 7352 h 10036"/>
                <a:gd name="connsiteX45" fmla="*/ 1140 w 10000"/>
                <a:gd name="connsiteY45" fmla="*/ 7541 h 10036"/>
                <a:gd name="connsiteX46" fmla="*/ 1453 w 10000"/>
                <a:gd name="connsiteY46" fmla="*/ 7801 h 10036"/>
                <a:gd name="connsiteX47" fmla="*/ 1422 w 10000"/>
                <a:gd name="connsiteY47" fmla="*/ 7995 h 10036"/>
                <a:gd name="connsiteX48" fmla="*/ 1425 w 10000"/>
                <a:gd name="connsiteY48" fmla="*/ 8298 h 10036"/>
                <a:gd name="connsiteX49" fmla="*/ 1425 w 10000"/>
                <a:gd name="connsiteY49" fmla="*/ 8440 h 10036"/>
                <a:gd name="connsiteX50" fmla="*/ 1624 w 10000"/>
                <a:gd name="connsiteY50" fmla="*/ 8700 h 10036"/>
                <a:gd name="connsiteX51" fmla="*/ 2564 w 10000"/>
                <a:gd name="connsiteY51" fmla="*/ 8747 h 10036"/>
                <a:gd name="connsiteX52" fmla="*/ 2593 w 10000"/>
                <a:gd name="connsiteY52" fmla="*/ 8747 h 10036"/>
                <a:gd name="connsiteX53" fmla="*/ 2593 w 10000"/>
                <a:gd name="connsiteY53" fmla="*/ 8771 h 10036"/>
                <a:gd name="connsiteX54" fmla="*/ 2821 w 10000"/>
                <a:gd name="connsiteY54" fmla="*/ 8983 h 10036"/>
                <a:gd name="connsiteX55" fmla="*/ 3105 w 10000"/>
                <a:gd name="connsiteY55" fmla="*/ 8983 h 10036"/>
                <a:gd name="connsiteX56" fmla="*/ 3105 w 10000"/>
                <a:gd name="connsiteY56" fmla="*/ 8983 h 10036"/>
                <a:gd name="connsiteX57" fmla="*/ 3134 w 10000"/>
                <a:gd name="connsiteY57" fmla="*/ 8983 h 10036"/>
                <a:gd name="connsiteX58" fmla="*/ 3561 w 10000"/>
                <a:gd name="connsiteY58" fmla="*/ 9196 h 10036"/>
                <a:gd name="connsiteX59" fmla="*/ 3590 w 10000"/>
                <a:gd name="connsiteY59" fmla="*/ 9220 h 10036"/>
                <a:gd name="connsiteX60" fmla="*/ 3590 w 10000"/>
                <a:gd name="connsiteY60" fmla="*/ 9243 h 10036"/>
                <a:gd name="connsiteX61" fmla="*/ 3675 w 10000"/>
                <a:gd name="connsiteY61" fmla="*/ 9669 h 10036"/>
                <a:gd name="connsiteX62" fmla="*/ 3675 w 10000"/>
                <a:gd name="connsiteY62" fmla="*/ 9669 h 10036"/>
                <a:gd name="connsiteX63" fmla="*/ 3647 w 10000"/>
                <a:gd name="connsiteY63" fmla="*/ 9693 h 10036"/>
                <a:gd name="connsiteX64" fmla="*/ 3476 w 10000"/>
                <a:gd name="connsiteY64" fmla="*/ 9953 h 10036"/>
                <a:gd name="connsiteX65" fmla="*/ 4056 w 10000"/>
                <a:gd name="connsiteY65" fmla="*/ 10036 h 10036"/>
                <a:gd name="connsiteX66" fmla="*/ 4131 w 10000"/>
                <a:gd name="connsiteY66" fmla="*/ 9574 h 10036"/>
                <a:gd name="connsiteX67" fmla="*/ 4131 w 10000"/>
                <a:gd name="connsiteY67" fmla="*/ 9574 h 10036"/>
                <a:gd name="connsiteX68" fmla="*/ 4160 w 10000"/>
                <a:gd name="connsiteY68" fmla="*/ 9574 h 10036"/>
                <a:gd name="connsiteX69" fmla="*/ 4558 w 10000"/>
                <a:gd name="connsiteY69" fmla="*/ 9480 h 10036"/>
                <a:gd name="connsiteX70" fmla="*/ 4929 w 10000"/>
                <a:gd name="connsiteY70" fmla="*/ 9314 h 10036"/>
                <a:gd name="connsiteX71" fmla="*/ 4957 w 10000"/>
                <a:gd name="connsiteY71" fmla="*/ 9314 h 10036"/>
                <a:gd name="connsiteX72" fmla="*/ 4986 w 10000"/>
                <a:gd name="connsiteY72" fmla="*/ 9314 h 10036"/>
                <a:gd name="connsiteX73" fmla="*/ 5442 w 10000"/>
                <a:gd name="connsiteY73" fmla="*/ 9338 h 10036"/>
                <a:gd name="connsiteX74" fmla="*/ 6154 w 10000"/>
                <a:gd name="connsiteY74" fmla="*/ 9007 h 10036"/>
                <a:gd name="connsiteX75" fmla="*/ 6581 w 10000"/>
                <a:gd name="connsiteY75" fmla="*/ 8251 h 10036"/>
                <a:gd name="connsiteX76" fmla="*/ 6581 w 10000"/>
                <a:gd name="connsiteY76" fmla="*/ 8227 h 10036"/>
                <a:gd name="connsiteX77" fmla="*/ 6610 w 10000"/>
                <a:gd name="connsiteY77" fmla="*/ 8227 h 10036"/>
                <a:gd name="connsiteX78" fmla="*/ 7066 w 10000"/>
                <a:gd name="connsiteY78" fmla="*/ 8227 h 10036"/>
                <a:gd name="connsiteX79" fmla="*/ 7066 w 10000"/>
                <a:gd name="connsiteY79" fmla="*/ 8227 h 10036"/>
                <a:gd name="connsiteX80" fmla="*/ 7094 w 10000"/>
                <a:gd name="connsiteY80" fmla="*/ 8251 h 10036"/>
                <a:gd name="connsiteX81" fmla="*/ 7236 w 10000"/>
                <a:gd name="connsiteY81" fmla="*/ 8345 h 10036"/>
                <a:gd name="connsiteX82" fmla="*/ 7778 w 10000"/>
                <a:gd name="connsiteY82" fmla="*/ 8369 h 10036"/>
                <a:gd name="connsiteX83" fmla="*/ 7806 w 10000"/>
                <a:gd name="connsiteY83" fmla="*/ 8369 h 10036"/>
                <a:gd name="connsiteX84" fmla="*/ 7806 w 10000"/>
                <a:gd name="connsiteY84" fmla="*/ 8392 h 10036"/>
                <a:gd name="connsiteX85" fmla="*/ 8063 w 10000"/>
                <a:gd name="connsiteY85" fmla="*/ 8511 h 10036"/>
                <a:gd name="connsiteX86" fmla="*/ 8091 w 10000"/>
                <a:gd name="connsiteY86" fmla="*/ 8511 h 10036"/>
                <a:gd name="connsiteX87" fmla="*/ 8091 w 10000"/>
                <a:gd name="connsiteY87" fmla="*/ 8558 h 10036"/>
                <a:gd name="connsiteX88" fmla="*/ 8006 w 10000"/>
                <a:gd name="connsiteY88" fmla="*/ 8913 h 10036"/>
                <a:gd name="connsiteX89" fmla="*/ 8291 w 10000"/>
                <a:gd name="connsiteY89" fmla="*/ 9243 h 10036"/>
                <a:gd name="connsiteX90" fmla="*/ 8262 w 10000"/>
                <a:gd name="connsiteY90" fmla="*/ 9267 h 10036"/>
                <a:gd name="connsiteX91" fmla="*/ 8490 w 10000"/>
                <a:gd name="connsiteY91" fmla="*/ 9385 h 10036"/>
                <a:gd name="connsiteX92" fmla="*/ 9373 w 10000"/>
                <a:gd name="connsiteY92" fmla="*/ 9314 h 10036"/>
                <a:gd name="connsiteX93" fmla="*/ 9687 w 10000"/>
                <a:gd name="connsiteY93" fmla="*/ 8818 h 10036"/>
                <a:gd name="connsiteX94" fmla="*/ 9687 w 10000"/>
                <a:gd name="connsiteY94" fmla="*/ 8771 h 10036"/>
                <a:gd name="connsiteX95" fmla="*/ 9687 w 10000"/>
                <a:gd name="connsiteY95" fmla="*/ 8771 h 10036"/>
                <a:gd name="connsiteX96" fmla="*/ 9772 w 10000"/>
                <a:gd name="connsiteY96" fmla="*/ 8700 h 10036"/>
                <a:gd name="connsiteX97" fmla="*/ 9744 w 10000"/>
                <a:gd name="connsiteY97" fmla="*/ 8440 h 10036"/>
                <a:gd name="connsiteX98" fmla="*/ 9630 w 10000"/>
                <a:gd name="connsiteY98" fmla="*/ 8345 h 10036"/>
                <a:gd name="connsiteX99" fmla="*/ 9630 w 10000"/>
                <a:gd name="connsiteY99" fmla="*/ 8322 h 10036"/>
                <a:gd name="connsiteX100" fmla="*/ 9630 w 10000"/>
                <a:gd name="connsiteY100" fmla="*/ 8298 h 10036"/>
                <a:gd name="connsiteX101" fmla="*/ 9630 w 10000"/>
                <a:gd name="connsiteY101" fmla="*/ 8061 h 10036"/>
                <a:gd name="connsiteX102" fmla="*/ 8689 w 10000"/>
                <a:gd name="connsiteY102" fmla="*/ 7281 h 10036"/>
                <a:gd name="connsiteX103" fmla="*/ 8689 w 10000"/>
                <a:gd name="connsiteY103" fmla="*/ 7281 h 10036"/>
                <a:gd name="connsiteX104" fmla="*/ 8689 w 10000"/>
                <a:gd name="connsiteY104" fmla="*/ 7258 h 10036"/>
                <a:gd name="connsiteX105" fmla="*/ 8689 w 10000"/>
                <a:gd name="connsiteY105" fmla="*/ 6832 h 10036"/>
                <a:gd name="connsiteX106" fmla="*/ 8689 w 10000"/>
                <a:gd name="connsiteY106" fmla="*/ 6832 h 10036"/>
                <a:gd name="connsiteX107" fmla="*/ 8689 w 10000"/>
                <a:gd name="connsiteY107" fmla="*/ 6809 h 10036"/>
                <a:gd name="connsiteX108" fmla="*/ 9345 w 10000"/>
                <a:gd name="connsiteY108" fmla="*/ 6336 h 10036"/>
                <a:gd name="connsiteX109" fmla="*/ 9801 w 10000"/>
                <a:gd name="connsiteY109" fmla="*/ 5863 h 10036"/>
                <a:gd name="connsiteX110" fmla="*/ 9972 w 10000"/>
                <a:gd name="connsiteY110" fmla="*/ 5248 h 10036"/>
                <a:gd name="connsiteX111" fmla="*/ 10000 w 10000"/>
                <a:gd name="connsiteY111" fmla="*/ 5248 h 10036"/>
                <a:gd name="connsiteX112" fmla="*/ 7920 w 10000"/>
                <a:gd name="connsiteY112" fmla="*/ 2979 h 10036"/>
                <a:gd name="connsiteX113" fmla="*/ 7179 w 10000"/>
                <a:gd name="connsiteY113" fmla="*/ 2246 h 10036"/>
                <a:gd name="connsiteX114" fmla="*/ 6524 w 10000"/>
                <a:gd name="connsiteY114" fmla="*/ 1844 h 10036"/>
                <a:gd name="connsiteX115" fmla="*/ 5014 w 10000"/>
                <a:gd name="connsiteY115" fmla="*/ 1158 h 10036"/>
                <a:gd name="connsiteX116" fmla="*/ 4672 w 10000"/>
                <a:gd name="connsiteY116" fmla="*/ 709 h 10036"/>
                <a:gd name="connsiteX117" fmla="*/ 4900 w 10000"/>
                <a:gd name="connsiteY117" fmla="*/ 709 h 10036"/>
                <a:gd name="connsiteX118" fmla="*/ 5242 w 10000"/>
                <a:gd name="connsiteY118" fmla="*/ 709 h 10036"/>
                <a:gd name="connsiteX119" fmla="*/ 5442 w 10000"/>
                <a:gd name="connsiteY119" fmla="*/ 355 h 10036"/>
                <a:gd name="connsiteX120" fmla="*/ 5385 w 10000"/>
                <a:gd name="connsiteY120" fmla="*/ 0 h 10036"/>
                <a:gd name="connsiteX121" fmla="*/ 5128 w 10000"/>
                <a:gd name="connsiteY121" fmla="*/ 95 h 10036"/>
                <a:gd name="connsiteX122" fmla="*/ 4701 w 10000"/>
                <a:gd name="connsiteY122" fmla="*/ 355 h 10036"/>
                <a:gd name="connsiteX123" fmla="*/ 4302 w 10000"/>
                <a:gd name="connsiteY123" fmla="*/ 355 h 10036"/>
                <a:gd name="connsiteX124" fmla="*/ 4274 w 10000"/>
                <a:gd name="connsiteY124" fmla="*/ 567 h 10036"/>
                <a:gd name="connsiteX125" fmla="*/ 3732 w 10000"/>
                <a:gd name="connsiteY125" fmla="*/ 922 h 10036"/>
                <a:gd name="connsiteX126" fmla="*/ 3276 w 10000"/>
                <a:gd name="connsiteY126" fmla="*/ 993 h 10036"/>
                <a:gd name="connsiteX127" fmla="*/ 2906 w 10000"/>
                <a:gd name="connsiteY127" fmla="*/ 1537 h 10036"/>
                <a:gd name="connsiteX128" fmla="*/ 2365 w 10000"/>
                <a:gd name="connsiteY128" fmla="*/ 1726 h 10036"/>
                <a:gd name="connsiteX129" fmla="*/ 1852 w 10000"/>
                <a:gd name="connsiteY129" fmla="*/ 2009 h 10036"/>
                <a:gd name="connsiteX130" fmla="*/ 1709 w 10000"/>
                <a:gd name="connsiteY130" fmla="*/ 2459 h 10036"/>
                <a:gd name="connsiteX131" fmla="*/ 1425 w 10000"/>
                <a:gd name="connsiteY131" fmla="*/ 2411 h 10036"/>
                <a:gd name="connsiteX132" fmla="*/ 997 w 10000"/>
                <a:gd name="connsiteY132" fmla="*/ 2199 h 10036"/>
                <a:gd name="connsiteX133" fmla="*/ 570 w 10000"/>
                <a:gd name="connsiteY133" fmla="*/ 2411 h 10036"/>
                <a:gd name="connsiteX134" fmla="*/ 199 w 10000"/>
                <a:gd name="connsiteY134" fmla="*/ 2600 h 10036"/>
                <a:gd name="connsiteX135" fmla="*/ 0 w 10000"/>
                <a:gd name="connsiteY135" fmla="*/ 2553 h 10036"/>
                <a:gd name="connsiteX136" fmla="*/ 57 w 10000"/>
                <a:gd name="connsiteY136" fmla="*/ 2861 h 10036"/>
                <a:gd name="connsiteX0" fmla="*/ 57 w 10000"/>
                <a:gd name="connsiteY0" fmla="*/ 2861 h 10036"/>
                <a:gd name="connsiteX1" fmla="*/ 85 w 10000"/>
                <a:gd name="connsiteY1" fmla="*/ 2861 h 10036"/>
                <a:gd name="connsiteX2" fmla="*/ 399 w 10000"/>
                <a:gd name="connsiteY2" fmla="*/ 2790 h 10036"/>
                <a:gd name="connsiteX3" fmla="*/ 427 w 10000"/>
                <a:gd name="connsiteY3" fmla="*/ 2790 h 10036"/>
                <a:gd name="connsiteX4" fmla="*/ 456 w 10000"/>
                <a:gd name="connsiteY4" fmla="*/ 2837 h 10036"/>
                <a:gd name="connsiteX5" fmla="*/ 598 w 10000"/>
                <a:gd name="connsiteY5" fmla="*/ 2979 h 10036"/>
                <a:gd name="connsiteX6" fmla="*/ 627 w 10000"/>
                <a:gd name="connsiteY6" fmla="*/ 3002 h 10036"/>
                <a:gd name="connsiteX7" fmla="*/ 570 w 10000"/>
                <a:gd name="connsiteY7" fmla="*/ 3026 h 10036"/>
                <a:gd name="connsiteX8" fmla="*/ 370 w 10000"/>
                <a:gd name="connsiteY8" fmla="*/ 3191 h 10036"/>
                <a:gd name="connsiteX9" fmla="*/ 256 w 10000"/>
                <a:gd name="connsiteY9" fmla="*/ 3310 h 10036"/>
                <a:gd name="connsiteX10" fmla="*/ 285 w 10000"/>
                <a:gd name="connsiteY10" fmla="*/ 3357 h 10036"/>
                <a:gd name="connsiteX11" fmla="*/ 484 w 10000"/>
                <a:gd name="connsiteY11" fmla="*/ 3499 h 10036"/>
                <a:gd name="connsiteX12" fmla="*/ 712 w 10000"/>
                <a:gd name="connsiteY12" fmla="*/ 3475 h 10036"/>
                <a:gd name="connsiteX13" fmla="*/ 741 w 10000"/>
                <a:gd name="connsiteY13" fmla="*/ 3475 h 10036"/>
                <a:gd name="connsiteX14" fmla="*/ 741 w 10000"/>
                <a:gd name="connsiteY14" fmla="*/ 3475 h 10036"/>
                <a:gd name="connsiteX15" fmla="*/ 940 w 10000"/>
                <a:gd name="connsiteY15" fmla="*/ 3570 h 10036"/>
                <a:gd name="connsiteX16" fmla="*/ 997 w 10000"/>
                <a:gd name="connsiteY16" fmla="*/ 3593 h 10036"/>
                <a:gd name="connsiteX17" fmla="*/ 969 w 10000"/>
                <a:gd name="connsiteY17" fmla="*/ 3617 h 10036"/>
                <a:gd name="connsiteX18" fmla="*/ 969 w 10000"/>
                <a:gd name="connsiteY18" fmla="*/ 3830 h 10036"/>
                <a:gd name="connsiteX19" fmla="*/ 969 w 10000"/>
                <a:gd name="connsiteY19" fmla="*/ 3877 h 10036"/>
                <a:gd name="connsiteX20" fmla="*/ 912 w 10000"/>
                <a:gd name="connsiteY20" fmla="*/ 3877 h 10036"/>
                <a:gd name="connsiteX21" fmla="*/ 712 w 10000"/>
                <a:gd name="connsiteY21" fmla="*/ 3901 h 10036"/>
                <a:gd name="connsiteX22" fmla="*/ 826 w 10000"/>
                <a:gd name="connsiteY22" fmla="*/ 4066 h 10036"/>
                <a:gd name="connsiteX23" fmla="*/ 826 w 10000"/>
                <a:gd name="connsiteY23" fmla="*/ 4066 h 10036"/>
                <a:gd name="connsiteX24" fmla="*/ 826 w 10000"/>
                <a:gd name="connsiteY24" fmla="*/ 4066 h 10036"/>
                <a:gd name="connsiteX25" fmla="*/ 912 w 10000"/>
                <a:gd name="connsiteY25" fmla="*/ 4208 h 10036"/>
                <a:gd name="connsiteX26" fmla="*/ 912 w 10000"/>
                <a:gd name="connsiteY26" fmla="*/ 4208 h 10036"/>
                <a:gd name="connsiteX27" fmla="*/ 912 w 10000"/>
                <a:gd name="connsiteY27" fmla="*/ 4208 h 10036"/>
                <a:gd name="connsiteX28" fmla="*/ 997 w 10000"/>
                <a:gd name="connsiteY28" fmla="*/ 4374 h 10036"/>
                <a:gd name="connsiteX29" fmla="*/ 1282 w 10000"/>
                <a:gd name="connsiteY29" fmla="*/ 4965 h 10036"/>
                <a:gd name="connsiteX30" fmla="*/ 1282 w 10000"/>
                <a:gd name="connsiteY30" fmla="*/ 4965 h 10036"/>
                <a:gd name="connsiteX31" fmla="*/ 1282 w 10000"/>
                <a:gd name="connsiteY31" fmla="*/ 4965 h 10036"/>
                <a:gd name="connsiteX32" fmla="*/ 1282 w 10000"/>
                <a:gd name="connsiteY32" fmla="*/ 5768 h 10036"/>
                <a:gd name="connsiteX33" fmla="*/ 1282 w 10000"/>
                <a:gd name="connsiteY33" fmla="*/ 5768 h 10036"/>
                <a:gd name="connsiteX34" fmla="*/ 1254 w 10000"/>
                <a:gd name="connsiteY34" fmla="*/ 5792 h 10036"/>
                <a:gd name="connsiteX35" fmla="*/ 1054 w 10000"/>
                <a:gd name="connsiteY35" fmla="*/ 6076 h 10036"/>
                <a:gd name="connsiteX36" fmla="*/ 1083 w 10000"/>
                <a:gd name="connsiteY36" fmla="*/ 6288 h 10036"/>
                <a:gd name="connsiteX37" fmla="*/ 1396 w 10000"/>
                <a:gd name="connsiteY37" fmla="*/ 6596 h 10036"/>
                <a:gd name="connsiteX38" fmla="*/ 1453 w 10000"/>
                <a:gd name="connsiteY38" fmla="*/ 6643 h 10036"/>
                <a:gd name="connsiteX39" fmla="*/ 1396 w 10000"/>
                <a:gd name="connsiteY39" fmla="*/ 6667 h 10036"/>
                <a:gd name="connsiteX40" fmla="*/ 1197 w 10000"/>
                <a:gd name="connsiteY40" fmla="*/ 6761 h 10036"/>
                <a:gd name="connsiteX41" fmla="*/ 826 w 10000"/>
                <a:gd name="connsiteY41" fmla="*/ 7281 h 10036"/>
                <a:gd name="connsiteX42" fmla="*/ 1026 w 10000"/>
                <a:gd name="connsiteY42" fmla="*/ 7305 h 10036"/>
                <a:gd name="connsiteX43" fmla="*/ 1054 w 10000"/>
                <a:gd name="connsiteY43" fmla="*/ 7305 h 10036"/>
                <a:gd name="connsiteX44" fmla="*/ 1083 w 10000"/>
                <a:gd name="connsiteY44" fmla="*/ 7352 h 10036"/>
                <a:gd name="connsiteX45" fmla="*/ 1140 w 10000"/>
                <a:gd name="connsiteY45" fmla="*/ 7541 h 10036"/>
                <a:gd name="connsiteX46" fmla="*/ 1453 w 10000"/>
                <a:gd name="connsiteY46" fmla="*/ 7801 h 10036"/>
                <a:gd name="connsiteX47" fmla="*/ 1422 w 10000"/>
                <a:gd name="connsiteY47" fmla="*/ 7995 h 10036"/>
                <a:gd name="connsiteX48" fmla="*/ 1425 w 10000"/>
                <a:gd name="connsiteY48" fmla="*/ 8298 h 10036"/>
                <a:gd name="connsiteX49" fmla="*/ 1425 w 10000"/>
                <a:gd name="connsiteY49" fmla="*/ 8440 h 10036"/>
                <a:gd name="connsiteX50" fmla="*/ 1624 w 10000"/>
                <a:gd name="connsiteY50" fmla="*/ 8700 h 10036"/>
                <a:gd name="connsiteX51" fmla="*/ 2564 w 10000"/>
                <a:gd name="connsiteY51" fmla="*/ 8747 h 10036"/>
                <a:gd name="connsiteX52" fmla="*/ 2593 w 10000"/>
                <a:gd name="connsiteY52" fmla="*/ 8747 h 10036"/>
                <a:gd name="connsiteX53" fmla="*/ 2593 w 10000"/>
                <a:gd name="connsiteY53" fmla="*/ 8771 h 10036"/>
                <a:gd name="connsiteX54" fmla="*/ 2821 w 10000"/>
                <a:gd name="connsiteY54" fmla="*/ 8983 h 10036"/>
                <a:gd name="connsiteX55" fmla="*/ 3105 w 10000"/>
                <a:gd name="connsiteY55" fmla="*/ 8983 h 10036"/>
                <a:gd name="connsiteX56" fmla="*/ 3105 w 10000"/>
                <a:gd name="connsiteY56" fmla="*/ 8983 h 10036"/>
                <a:gd name="connsiteX57" fmla="*/ 3134 w 10000"/>
                <a:gd name="connsiteY57" fmla="*/ 8983 h 10036"/>
                <a:gd name="connsiteX58" fmla="*/ 3561 w 10000"/>
                <a:gd name="connsiteY58" fmla="*/ 9196 h 10036"/>
                <a:gd name="connsiteX59" fmla="*/ 3590 w 10000"/>
                <a:gd name="connsiteY59" fmla="*/ 9220 h 10036"/>
                <a:gd name="connsiteX60" fmla="*/ 3590 w 10000"/>
                <a:gd name="connsiteY60" fmla="*/ 9243 h 10036"/>
                <a:gd name="connsiteX61" fmla="*/ 3675 w 10000"/>
                <a:gd name="connsiteY61" fmla="*/ 9669 h 10036"/>
                <a:gd name="connsiteX62" fmla="*/ 3675 w 10000"/>
                <a:gd name="connsiteY62" fmla="*/ 9669 h 10036"/>
                <a:gd name="connsiteX63" fmla="*/ 3647 w 10000"/>
                <a:gd name="connsiteY63" fmla="*/ 9693 h 10036"/>
                <a:gd name="connsiteX64" fmla="*/ 3476 w 10000"/>
                <a:gd name="connsiteY64" fmla="*/ 9953 h 10036"/>
                <a:gd name="connsiteX65" fmla="*/ 4056 w 10000"/>
                <a:gd name="connsiteY65" fmla="*/ 10036 h 10036"/>
                <a:gd name="connsiteX66" fmla="*/ 4131 w 10000"/>
                <a:gd name="connsiteY66" fmla="*/ 9574 h 10036"/>
                <a:gd name="connsiteX67" fmla="*/ 4131 w 10000"/>
                <a:gd name="connsiteY67" fmla="*/ 9574 h 10036"/>
                <a:gd name="connsiteX68" fmla="*/ 4358 w 10000"/>
                <a:gd name="connsiteY68" fmla="*/ 9574 h 10036"/>
                <a:gd name="connsiteX69" fmla="*/ 4558 w 10000"/>
                <a:gd name="connsiteY69" fmla="*/ 9480 h 10036"/>
                <a:gd name="connsiteX70" fmla="*/ 4929 w 10000"/>
                <a:gd name="connsiteY70" fmla="*/ 9314 h 10036"/>
                <a:gd name="connsiteX71" fmla="*/ 4957 w 10000"/>
                <a:gd name="connsiteY71" fmla="*/ 9314 h 10036"/>
                <a:gd name="connsiteX72" fmla="*/ 4986 w 10000"/>
                <a:gd name="connsiteY72" fmla="*/ 9314 h 10036"/>
                <a:gd name="connsiteX73" fmla="*/ 5442 w 10000"/>
                <a:gd name="connsiteY73" fmla="*/ 9338 h 10036"/>
                <a:gd name="connsiteX74" fmla="*/ 6154 w 10000"/>
                <a:gd name="connsiteY74" fmla="*/ 9007 h 10036"/>
                <a:gd name="connsiteX75" fmla="*/ 6581 w 10000"/>
                <a:gd name="connsiteY75" fmla="*/ 8251 h 10036"/>
                <a:gd name="connsiteX76" fmla="*/ 6581 w 10000"/>
                <a:gd name="connsiteY76" fmla="*/ 8227 h 10036"/>
                <a:gd name="connsiteX77" fmla="*/ 6610 w 10000"/>
                <a:gd name="connsiteY77" fmla="*/ 8227 h 10036"/>
                <a:gd name="connsiteX78" fmla="*/ 7066 w 10000"/>
                <a:gd name="connsiteY78" fmla="*/ 8227 h 10036"/>
                <a:gd name="connsiteX79" fmla="*/ 7066 w 10000"/>
                <a:gd name="connsiteY79" fmla="*/ 8227 h 10036"/>
                <a:gd name="connsiteX80" fmla="*/ 7094 w 10000"/>
                <a:gd name="connsiteY80" fmla="*/ 8251 h 10036"/>
                <a:gd name="connsiteX81" fmla="*/ 7236 w 10000"/>
                <a:gd name="connsiteY81" fmla="*/ 8345 h 10036"/>
                <a:gd name="connsiteX82" fmla="*/ 7778 w 10000"/>
                <a:gd name="connsiteY82" fmla="*/ 8369 h 10036"/>
                <a:gd name="connsiteX83" fmla="*/ 7806 w 10000"/>
                <a:gd name="connsiteY83" fmla="*/ 8369 h 10036"/>
                <a:gd name="connsiteX84" fmla="*/ 7806 w 10000"/>
                <a:gd name="connsiteY84" fmla="*/ 8392 h 10036"/>
                <a:gd name="connsiteX85" fmla="*/ 8063 w 10000"/>
                <a:gd name="connsiteY85" fmla="*/ 8511 h 10036"/>
                <a:gd name="connsiteX86" fmla="*/ 8091 w 10000"/>
                <a:gd name="connsiteY86" fmla="*/ 8511 h 10036"/>
                <a:gd name="connsiteX87" fmla="*/ 8091 w 10000"/>
                <a:gd name="connsiteY87" fmla="*/ 8558 h 10036"/>
                <a:gd name="connsiteX88" fmla="*/ 8006 w 10000"/>
                <a:gd name="connsiteY88" fmla="*/ 8913 h 10036"/>
                <a:gd name="connsiteX89" fmla="*/ 8291 w 10000"/>
                <a:gd name="connsiteY89" fmla="*/ 9243 h 10036"/>
                <a:gd name="connsiteX90" fmla="*/ 8262 w 10000"/>
                <a:gd name="connsiteY90" fmla="*/ 9267 h 10036"/>
                <a:gd name="connsiteX91" fmla="*/ 8490 w 10000"/>
                <a:gd name="connsiteY91" fmla="*/ 9385 h 10036"/>
                <a:gd name="connsiteX92" fmla="*/ 9373 w 10000"/>
                <a:gd name="connsiteY92" fmla="*/ 9314 h 10036"/>
                <a:gd name="connsiteX93" fmla="*/ 9687 w 10000"/>
                <a:gd name="connsiteY93" fmla="*/ 8818 h 10036"/>
                <a:gd name="connsiteX94" fmla="*/ 9687 w 10000"/>
                <a:gd name="connsiteY94" fmla="*/ 8771 h 10036"/>
                <a:gd name="connsiteX95" fmla="*/ 9687 w 10000"/>
                <a:gd name="connsiteY95" fmla="*/ 8771 h 10036"/>
                <a:gd name="connsiteX96" fmla="*/ 9772 w 10000"/>
                <a:gd name="connsiteY96" fmla="*/ 8700 h 10036"/>
                <a:gd name="connsiteX97" fmla="*/ 9744 w 10000"/>
                <a:gd name="connsiteY97" fmla="*/ 8440 h 10036"/>
                <a:gd name="connsiteX98" fmla="*/ 9630 w 10000"/>
                <a:gd name="connsiteY98" fmla="*/ 8345 h 10036"/>
                <a:gd name="connsiteX99" fmla="*/ 9630 w 10000"/>
                <a:gd name="connsiteY99" fmla="*/ 8322 h 10036"/>
                <a:gd name="connsiteX100" fmla="*/ 9630 w 10000"/>
                <a:gd name="connsiteY100" fmla="*/ 8298 h 10036"/>
                <a:gd name="connsiteX101" fmla="*/ 9630 w 10000"/>
                <a:gd name="connsiteY101" fmla="*/ 8061 h 10036"/>
                <a:gd name="connsiteX102" fmla="*/ 8689 w 10000"/>
                <a:gd name="connsiteY102" fmla="*/ 7281 h 10036"/>
                <a:gd name="connsiteX103" fmla="*/ 8689 w 10000"/>
                <a:gd name="connsiteY103" fmla="*/ 7281 h 10036"/>
                <a:gd name="connsiteX104" fmla="*/ 8689 w 10000"/>
                <a:gd name="connsiteY104" fmla="*/ 7258 h 10036"/>
                <a:gd name="connsiteX105" fmla="*/ 8689 w 10000"/>
                <a:gd name="connsiteY105" fmla="*/ 6832 h 10036"/>
                <a:gd name="connsiteX106" fmla="*/ 8689 w 10000"/>
                <a:gd name="connsiteY106" fmla="*/ 6832 h 10036"/>
                <a:gd name="connsiteX107" fmla="*/ 8689 w 10000"/>
                <a:gd name="connsiteY107" fmla="*/ 6809 h 10036"/>
                <a:gd name="connsiteX108" fmla="*/ 9345 w 10000"/>
                <a:gd name="connsiteY108" fmla="*/ 6336 h 10036"/>
                <a:gd name="connsiteX109" fmla="*/ 9801 w 10000"/>
                <a:gd name="connsiteY109" fmla="*/ 5863 h 10036"/>
                <a:gd name="connsiteX110" fmla="*/ 9972 w 10000"/>
                <a:gd name="connsiteY110" fmla="*/ 5248 h 10036"/>
                <a:gd name="connsiteX111" fmla="*/ 10000 w 10000"/>
                <a:gd name="connsiteY111" fmla="*/ 5248 h 10036"/>
                <a:gd name="connsiteX112" fmla="*/ 7920 w 10000"/>
                <a:gd name="connsiteY112" fmla="*/ 2979 h 10036"/>
                <a:gd name="connsiteX113" fmla="*/ 7179 w 10000"/>
                <a:gd name="connsiteY113" fmla="*/ 2246 h 10036"/>
                <a:gd name="connsiteX114" fmla="*/ 6524 w 10000"/>
                <a:gd name="connsiteY114" fmla="*/ 1844 h 10036"/>
                <a:gd name="connsiteX115" fmla="*/ 5014 w 10000"/>
                <a:gd name="connsiteY115" fmla="*/ 1158 h 10036"/>
                <a:gd name="connsiteX116" fmla="*/ 4672 w 10000"/>
                <a:gd name="connsiteY116" fmla="*/ 709 h 10036"/>
                <a:gd name="connsiteX117" fmla="*/ 4900 w 10000"/>
                <a:gd name="connsiteY117" fmla="*/ 709 h 10036"/>
                <a:gd name="connsiteX118" fmla="*/ 5242 w 10000"/>
                <a:gd name="connsiteY118" fmla="*/ 709 h 10036"/>
                <a:gd name="connsiteX119" fmla="*/ 5442 w 10000"/>
                <a:gd name="connsiteY119" fmla="*/ 355 h 10036"/>
                <a:gd name="connsiteX120" fmla="*/ 5385 w 10000"/>
                <a:gd name="connsiteY120" fmla="*/ 0 h 10036"/>
                <a:gd name="connsiteX121" fmla="*/ 5128 w 10000"/>
                <a:gd name="connsiteY121" fmla="*/ 95 h 10036"/>
                <a:gd name="connsiteX122" fmla="*/ 4701 w 10000"/>
                <a:gd name="connsiteY122" fmla="*/ 355 h 10036"/>
                <a:gd name="connsiteX123" fmla="*/ 4302 w 10000"/>
                <a:gd name="connsiteY123" fmla="*/ 355 h 10036"/>
                <a:gd name="connsiteX124" fmla="*/ 4274 w 10000"/>
                <a:gd name="connsiteY124" fmla="*/ 567 h 10036"/>
                <a:gd name="connsiteX125" fmla="*/ 3732 w 10000"/>
                <a:gd name="connsiteY125" fmla="*/ 922 h 10036"/>
                <a:gd name="connsiteX126" fmla="*/ 3276 w 10000"/>
                <a:gd name="connsiteY126" fmla="*/ 993 h 10036"/>
                <a:gd name="connsiteX127" fmla="*/ 2906 w 10000"/>
                <a:gd name="connsiteY127" fmla="*/ 1537 h 10036"/>
                <a:gd name="connsiteX128" fmla="*/ 2365 w 10000"/>
                <a:gd name="connsiteY128" fmla="*/ 1726 h 10036"/>
                <a:gd name="connsiteX129" fmla="*/ 1852 w 10000"/>
                <a:gd name="connsiteY129" fmla="*/ 2009 h 10036"/>
                <a:gd name="connsiteX130" fmla="*/ 1709 w 10000"/>
                <a:gd name="connsiteY130" fmla="*/ 2459 h 10036"/>
                <a:gd name="connsiteX131" fmla="*/ 1425 w 10000"/>
                <a:gd name="connsiteY131" fmla="*/ 2411 h 10036"/>
                <a:gd name="connsiteX132" fmla="*/ 997 w 10000"/>
                <a:gd name="connsiteY132" fmla="*/ 2199 h 10036"/>
                <a:gd name="connsiteX133" fmla="*/ 570 w 10000"/>
                <a:gd name="connsiteY133" fmla="*/ 2411 h 10036"/>
                <a:gd name="connsiteX134" fmla="*/ 199 w 10000"/>
                <a:gd name="connsiteY134" fmla="*/ 2600 h 10036"/>
                <a:gd name="connsiteX135" fmla="*/ 0 w 10000"/>
                <a:gd name="connsiteY135" fmla="*/ 2553 h 10036"/>
                <a:gd name="connsiteX136" fmla="*/ 57 w 10000"/>
                <a:gd name="connsiteY136" fmla="*/ 2861 h 10036"/>
                <a:gd name="connsiteX0" fmla="*/ 57 w 10000"/>
                <a:gd name="connsiteY0" fmla="*/ 2861 h 10036"/>
                <a:gd name="connsiteX1" fmla="*/ 85 w 10000"/>
                <a:gd name="connsiteY1" fmla="*/ 2861 h 10036"/>
                <a:gd name="connsiteX2" fmla="*/ 399 w 10000"/>
                <a:gd name="connsiteY2" fmla="*/ 2790 h 10036"/>
                <a:gd name="connsiteX3" fmla="*/ 427 w 10000"/>
                <a:gd name="connsiteY3" fmla="*/ 2790 h 10036"/>
                <a:gd name="connsiteX4" fmla="*/ 456 w 10000"/>
                <a:gd name="connsiteY4" fmla="*/ 2837 h 10036"/>
                <a:gd name="connsiteX5" fmla="*/ 598 w 10000"/>
                <a:gd name="connsiteY5" fmla="*/ 2979 h 10036"/>
                <a:gd name="connsiteX6" fmla="*/ 627 w 10000"/>
                <a:gd name="connsiteY6" fmla="*/ 3002 h 10036"/>
                <a:gd name="connsiteX7" fmla="*/ 570 w 10000"/>
                <a:gd name="connsiteY7" fmla="*/ 3026 h 10036"/>
                <a:gd name="connsiteX8" fmla="*/ 370 w 10000"/>
                <a:gd name="connsiteY8" fmla="*/ 3191 h 10036"/>
                <a:gd name="connsiteX9" fmla="*/ 256 w 10000"/>
                <a:gd name="connsiteY9" fmla="*/ 3310 h 10036"/>
                <a:gd name="connsiteX10" fmla="*/ 285 w 10000"/>
                <a:gd name="connsiteY10" fmla="*/ 3357 h 10036"/>
                <a:gd name="connsiteX11" fmla="*/ 484 w 10000"/>
                <a:gd name="connsiteY11" fmla="*/ 3499 h 10036"/>
                <a:gd name="connsiteX12" fmla="*/ 712 w 10000"/>
                <a:gd name="connsiteY12" fmla="*/ 3475 h 10036"/>
                <a:gd name="connsiteX13" fmla="*/ 741 w 10000"/>
                <a:gd name="connsiteY13" fmla="*/ 3475 h 10036"/>
                <a:gd name="connsiteX14" fmla="*/ 741 w 10000"/>
                <a:gd name="connsiteY14" fmla="*/ 3475 h 10036"/>
                <a:gd name="connsiteX15" fmla="*/ 940 w 10000"/>
                <a:gd name="connsiteY15" fmla="*/ 3570 h 10036"/>
                <a:gd name="connsiteX16" fmla="*/ 997 w 10000"/>
                <a:gd name="connsiteY16" fmla="*/ 3593 h 10036"/>
                <a:gd name="connsiteX17" fmla="*/ 969 w 10000"/>
                <a:gd name="connsiteY17" fmla="*/ 3617 h 10036"/>
                <a:gd name="connsiteX18" fmla="*/ 969 w 10000"/>
                <a:gd name="connsiteY18" fmla="*/ 3830 h 10036"/>
                <a:gd name="connsiteX19" fmla="*/ 969 w 10000"/>
                <a:gd name="connsiteY19" fmla="*/ 3877 h 10036"/>
                <a:gd name="connsiteX20" fmla="*/ 912 w 10000"/>
                <a:gd name="connsiteY20" fmla="*/ 3877 h 10036"/>
                <a:gd name="connsiteX21" fmla="*/ 712 w 10000"/>
                <a:gd name="connsiteY21" fmla="*/ 3901 h 10036"/>
                <a:gd name="connsiteX22" fmla="*/ 826 w 10000"/>
                <a:gd name="connsiteY22" fmla="*/ 4066 h 10036"/>
                <a:gd name="connsiteX23" fmla="*/ 826 w 10000"/>
                <a:gd name="connsiteY23" fmla="*/ 4066 h 10036"/>
                <a:gd name="connsiteX24" fmla="*/ 826 w 10000"/>
                <a:gd name="connsiteY24" fmla="*/ 4066 h 10036"/>
                <a:gd name="connsiteX25" fmla="*/ 912 w 10000"/>
                <a:gd name="connsiteY25" fmla="*/ 4208 h 10036"/>
                <a:gd name="connsiteX26" fmla="*/ 912 w 10000"/>
                <a:gd name="connsiteY26" fmla="*/ 4208 h 10036"/>
                <a:gd name="connsiteX27" fmla="*/ 912 w 10000"/>
                <a:gd name="connsiteY27" fmla="*/ 4208 h 10036"/>
                <a:gd name="connsiteX28" fmla="*/ 997 w 10000"/>
                <a:gd name="connsiteY28" fmla="*/ 4374 h 10036"/>
                <a:gd name="connsiteX29" fmla="*/ 1282 w 10000"/>
                <a:gd name="connsiteY29" fmla="*/ 4965 h 10036"/>
                <a:gd name="connsiteX30" fmla="*/ 1282 w 10000"/>
                <a:gd name="connsiteY30" fmla="*/ 4965 h 10036"/>
                <a:gd name="connsiteX31" fmla="*/ 1282 w 10000"/>
                <a:gd name="connsiteY31" fmla="*/ 4965 h 10036"/>
                <a:gd name="connsiteX32" fmla="*/ 1282 w 10000"/>
                <a:gd name="connsiteY32" fmla="*/ 5768 h 10036"/>
                <a:gd name="connsiteX33" fmla="*/ 1282 w 10000"/>
                <a:gd name="connsiteY33" fmla="*/ 5768 h 10036"/>
                <a:gd name="connsiteX34" fmla="*/ 1254 w 10000"/>
                <a:gd name="connsiteY34" fmla="*/ 5792 h 10036"/>
                <a:gd name="connsiteX35" fmla="*/ 1054 w 10000"/>
                <a:gd name="connsiteY35" fmla="*/ 6076 h 10036"/>
                <a:gd name="connsiteX36" fmla="*/ 1083 w 10000"/>
                <a:gd name="connsiteY36" fmla="*/ 6288 h 10036"/>
                <a:gd name="connsiteX37" fmla="*/ 1396 w 10000"/>
                <a:gd name="connsiteY37" fmla="*/ 6596 h 10036"/>
                <a:gd name="connsiteX38" fmla="*/ 1453 w 10000"/>
                <a:gd name="connsiteY38" fmla="*/ 6643 h 10036"/>
                <a:gd name="connsiteX39" fmla="*/ 1396 w 10000"/>
                <a:gd name="connsiteY39" fmla="*/ 6667 h 10036"/>
                <a:gd name="connsiteX40" fmla="*/ 1197 w 10000"/>
                <a:gd name="connsiteY40" fmla="*/ 6761 h 10036"/>
                <a:gd name="connsiteX41" fmla="*/ 826 w 10000"/>
                <a:gd name="connsiteY41" fmla="*/ 7281 h 10036"/>
                <a:gd name="connsiteX42" fmla="*/ 1026 w 10000"/>
                <a:gd name="connsiteY42" fmla="*/ 7305 h 10036"/>
                <a:gd name="connsiteX43" fmla="*/ 1054 w 10000"/>
                <a:gd name="connsiteY43" fmla="*/ 7305 h 10036"/>
                <a:gd name="connsiteX44" fmla="*/ 1083 w 10000"/>
                <a:gd name="connsiteY44" fmla="*/ 7352 h 10036"/>
                <a:gd name="connsiteX45" fmla="*/ 1140 w 10000"/>
                <a:gd name="connsiteY45" fmla="*/ 7541 h 10036"/>
                <a:gd name="connsiteX46" fmla="*/ 1453 w 10000"/>
                <a:gd name="connsiteY46" fmla="*/ 7801 h 10036"/>
                <a:gd name="connsiteX47" fmla="*/ 1422 w 10000"/>
                <a:gd name="connsiteY47" fmla="*/ 7995 h 10036"/>
                <a:gd name="connsiteX48" fmla="*/ 1425 w 10000"/>
                <a:gd name="connsiteY48" fmla="*/ 8298 h 10036"/>
                <a:gd name="connsiteX49" fmla="*/ 1425 w 10000"/>
                <a:gd name="connsiteY49" fmla="*/ 8440 h 10036"/>
                <a:gd name="connsiteX50" fmla="*/ 1624 w 10000"/>
                <a:gd name="connsiteY50" fmla="*/ 8700 h 10036"/>
                <a:gd name="connsiteX51" fmla="*/ 2564 w 10000"/>
                <a:gd name="connsiteY51" fmla="*/ 8747 h 10036"/>
                <a:gd name="connsiteX52" fmla="*/ 2593 w 10000"/>
                <a:gd name="connsiteY52" fmla="*/ 8747 h 10036"/>
                <a:gd name="connsiteX53" fmla="*/ 2593 w 10000"/>
                <a:gd name="connsiteY53" fmla="*/ 8771 h 10036"/>
                <a:gd name="connsiteX54" fmla="*/ 2821 w 10000"/>
                <a:gd name="connsiteY54" fmla="*/ 8983 h 10036"/>
                <a:gd name="connsiteX55" fmla="*/ 3105 w 10000"/>
                <a:gd name="connsiteY55" fmla="*/ 8983 h 10036"/>
                <a:gd name="connsiteX56" fmla="*/ 3105 w 10000"/>
                <a:gd name="connsiteY56" fmla="*/ 8983 h 10036"/>
                <a:gd name="connsiteX57" fmla="*/ 3134 w 10000"/>
                <a:gd name="connsiteY57" fmla="*/ 8983 h 10036"/>
                <a:gd name="connsiteX58" fmla="*/ 3561 w 10000"/>
                <a:gd name="connsiteY58" fmla="*/ 9196 h 10036"/>
                <a:gd name="connsiteX59" fmla="*/ 3590 w 10000"/>
                <a:gd name="connsiteY59" fmla="*/ 9220 h 10036"/>
                <a:gd name="connsiteX60" fmla="*/ 3590 w 10000"/>
                <a:gd name="connsiteY60" fmla="*/ 9243 h 10036"/>
                <a:gd name="connsiteX61" fmla="*/ 3675 w 10000"/>
                <a:gd name="connsiteY61" fmla="*/ 9669 h 10036"/>
                <a:gd name="connsiteX62" fmla="*/ 3675 w 10000"/>
                <a:gd name="connsiteY62" fmla="*/ 9669 h 10036"/>
                <a:gd name="connsiteX63" fmla="*/ 3647 w 10000"/>
                <a:gd name="connsiteY63" fmla="*/ 9693 h 10036"/>
                <a:gd name="connsiteX64" fmla="*/ 3476 w 10000"/>
                <a:gd name="connsiteY64" fmla="*/ 9953 h 10036"/>
                <a:gd name="connsiteX65" fmla="*/ 4056 w 10000"/>
                <a:gd name="connsiteY65" fmla="*/ 10036 h 10036"/>
                <a:gd name="connsiteX66" fmla="*/ 4131 w 10000"/>
                <a:gd name="connsiteY66" fmla="*/ 9574 h 10036"/>
                <a:gd name="connsiteX67" fmla="*/ 4395 w 10000"/>
                <a:gd name="connsiteY67" fmla="*/ 9647 h 10036"/>
                <a:gd name="connsiteX68" fmla="*/ 4358 w 10000"/>
                <a:gd name="connsiteY68" fmla="*/ 9574 h 10036"/>
                <a:gd name="connsiteX69" fmla="*/ 4558 w 10000"/>
                <a:gd name="connsiteY69" fmla="*/ 9480 h 10036"/>
                <a:gd name="connsiteX70" fmla="*/ 4929 w 10000"/>
                <a:gd name="connsiteY70" fmla="*/ 9314 h 10036"/>
                <a:gd name="connsiteX71" fmla="*/ 4957 w 10000"/>
                <a:gd name="connsiteY71" fmla="*/ 9314 h 10036"/>
                <a:gd name="connsiteX72" fmla="*/ 4986 w 10000"/>
                <a:gd name="connsiteY72" fmla="*/ 9314 h 10036"/>
                <a:gd name="connsiteX73" fmla="*/ 5442 w 10000"/>
                <a:gd name="connsiteY73" fmla="*/ 9338 h 10036"/>
                <a:gd name="connsiteX74" fmla="*/ 6154 w 10000"/>
                <a:gd name="connsiteY74" fmla="*/ 9007 h 10036"/>
                <a:gd name="connsiteX75" fmla="*/ 6581 w 10000"/>
                <a:gd name="connsiteY75" fmla="*/ 8251 h 10036"/>
                <a:gd name="connsiteX76" fmla="*/ 6581 w 10000"/>
                <a:gd name="connsiteY76" fmla="*/ 8227 h 10036"/>
                <a:gd name="connsiteX77" fmla="*/ 6610 w 10000"/>
                <a:gd name="connsiteY77" fmla="*/ 8227 h 10036"/>
                <a:gd name="connsiteX78" fmla="*/ 7066 w 10000"/>
                <a:gd name="connsiteY78" fmla="*/ 8227 h 10036"/>
                <a:gd name="connsiteX79" fmla="*/ 7066 w 10000"/>
                <a:gd name="connsiteY79" fmla="*/ 8227 h 10036"/>
                <a:gd name="connsiteX80" fmla="*/ 7094 w 10000"/>
                <a:gd name="connsiteY80" fmla="*/ 8251 h 10036"/>
                <a:gd name="connsiteX81" fmla="*/ 7236 w 10000"/>
                <a:gd name="connsiteY81" fmla="*/ 8345 h 10036"/>
                <a:gd name="connsiteX82" fmla="*/ 7778 w 10000"/>
                <a:gd name="connsiteY82" fmla="*/ 8369 h 10036"/>
                <a:gd name="connsiteX83" fmla="*/ 7806 w 10000"/>
                <a:gd name="connsiteY83" fmla="*/ 8369 h 10036"/>
                <a:gd name="connsiteX84" fmla="*/ 7806 w 10000"/>
                <a:gd name="connsiteY84" fmla="*/ 8392 h 10036"/>
                <a:gd name="connsiteX85" fmla="*/ 8063 w 10000"/>
                <a:gd name="connsiteY85" fmla="*/ 8511 h 10036"/>
                <a:gd name="connsiteX86" fmla="*/ 8091 w 10000"/>
                <a:gd name="connsiteY86" fmla="*/ 8511 h 10036"/>
                <a:gd name="connsiteX87" fmla="*/ 8091 w 10000"/>
                <a:gd name="connsiteY87" fmla="*/ 8558 h 10036"/>
                <a:gd name="connsiteX88" fmla="*/ 8006 w 10000"/>
                <a:gd name="connsiteY88" fmla="*/ 8913 h 10036"/>
                <a:gd name="connsiteX89" fmla="*/ 8291 w 10000"/>
                <a:gd name="connsiteY89" fmla="*/ 9243 h 10036"/>
                <a:gd name="connsiteX90" fmla="*/ 8262 w 10000"/>
                <a:gd name="connsiteY90" fmla="*/ 9267 h 10036"/>
                <a:gd name="connsiteX91" fmla="*/ 8490 w 10000"/>
                <a:gd name="connsiteY91" fmla="*/ 9385 h 10036"/>
                <a:gd name="connsiteX92" fmla="*/ 9373 w 10000"/>
                <a:gd name="connsiteY92" fmla="*/ 9314 h 10036"/>
                <a:gd name="connsiteX93" fmla="*/ 9687 w 10000"/>
                <a:gd name="connsiteY93" fmla="*/ 8818 h 10036"/>
                <a:gd name="connsiteX94" fmla="*/ 9687 w 10000"/>
                <a:gd name="connsiteY94" fmla="*/ 8771 h 10036"/>
                <a:gd name="connsiteX95" fmla="*/ 9687 w 10000"/>
                <a:gd name="connsiteY95" fmla="*/ 8771 h 10036"/>
                <a:gd name="connsiteX96" fmla="*/ 9772 w 10000"/>
                <a:gd name="connsiteY96" fmla="*/ 8700 h 10036"/>
                <a:gd name="connsiteX97" fmla="*/ 9744 w 10000"/>
                <a:gd name="connsiteY97" fmla="*/ 8440 h 10036"/>
                <a:gd name="connsiteX98" fmla="*/ 9630 w 10000"/>
                <a:gd name="connsiteY98" fmla="*/ 8345 h 10036"/>
                <a:gd name="connsiteX99" fmla="*/ 9630 w 10000"/>
                <a:gd name="connsiteY99" fmla="*/ 8322 h 10036"/>
                <a:gd name="connsiteX100" fmla="*/ 9630 w 10000"/>
                <a:gd name="connsiteY100" fmla="*/ 8298 h 10036"/>
                <a:gd name="connsiteX101" fmla="*/ 9630 w 10000"/>
                <a:gd name="connsiteY101" fmla="*/ 8061 h 10036"/>
                <a:gd name="connsiteX102" fmla="*/ 8689 w 10000"/>
                <a:gd name="connsiteY102" fmla="*/ 7281 h 10036"/>
                <a:gd name="connsiteX103" fmla="*/ 8689 w 10000"/>
                <a:gd name="connsiteY103" fmla="*/ 7281 h 10036"/>
                <a:gd name="connsiteX104" fmla="*/ 8689 w 10000"/>
                <a:gd name="connsiteY104" fmla="*/ 7258 h 10036"/>
                <a:gd name="connsiteX105" fmla="*/ 8689 w 10000"/>
                <a:gd name="connsiteY105" fmla="*/ 6832 h 10036"/>
                <a:gd name="connsiteX106" fmla="*/ 8689 w 10000"/>
                <a:gd name="connsiteY106" fmla="*/ 6832 h 10036"/>
                <a:gd name="connsiteX107" fmla="*/ 8689 w 10000"/>
                <a:gd name="connsiteY107" fmla="*/ 6809 h 10036"/>
                <a:gd name="connsiteX108" fmla="*/ 9345 w 10000"/>
                <a:gd name="connsiteY108" fmla="*/ 6336 h 10036"/>
                <a:gd name="connsiteX109" fmla="*/ 9801 w 10000"/>
                <a:gd name="connsiteY109" fmla="*/ 5863 h 10036"/>
                <a:gd name="connsiteX110" fmla="*/ 9972 w 10000"/>
                <a:gd name="connsiteY110" fmla="*/ 5248 h 10036"/>
                <a:gd name="connsiteX111" fmla="*/ 10000 w 10000"/>
                <a:gd name="connsiteY111" fmla="*/ 5248 h 10036"/>
                <a:gd name="connsiteX112" fmla="*/ 7920 w 10000"/>
                <a:gd name="connsiteY112" fmla="*/ 2979 h 10036"/>
                <a:gd name="connsiteX113" fmla="*/ 7179 w 10000"/>
                <a:gd name="connsiteY113" fmla="*/ 2246 h 10036"/>
                <a:gd name="connsiteX114" fmla="*/ 6524 w 10000"/>
                <a:gd name="connsiteY114" fmla="*/ 1844 h 10036"/>
                <a:gd name="connsiteX115" fmla="*/ 5014 w 10000"/>
                <a:gd name="connsiteY115" fmla="*/ 1158 h 10036"/>
                <a:gd name="connsiteX116" fmla="*/ 4672 w 10000"/>
                <a:gd name="connsiteY116" fmla="*/ 709 h 10036"/>
                <a:gd name="connsiteX117" fmla="*/ 4900 w 10000"/>
                <a:gd name="connsiteY117" fmla="*/ 709 h 10036"/>
                <a:gd name="connsiteX118" fmla="*/ 5242 w 10000"/>
                <a:gd name="connsiteY118" fmla="*/ 709 h 10036"/>
                <a:gd name="connsiteX119" fmla="*/ 5442 w 10000"/>
                <a:gd name="connsiteY119" fmla="*/ 355 h 10036"/>
                <a:gd name="connsiteX120" fmla="*/ 5385 w 10000"/>
                <a:gd name="connsiteY120" fmla="*/ 0 h 10036"/>
                <a:gd name="connsiteX121" fmla="*/ 5128 w 10000"/>
                <a:gd name="connsiteY121" fmla="*/ 95 h 10036"/>
                <a:gd name="connsiteX122" fmla="*/ 4701 w 10000"/>
                <a:gd name="connsiteY122" fmla="*/ 355 h 10036"/>
                <a:gd name="connsiteX123" fmla="*/ 4302 w 10000"/>
                <a:gd name="connsiteY123" fmla="*/ 355 h 10036"/>
                <a:gd name="connsiteX124" fmla="*/ 4274 w 10000"/>
                <a:gd name="connsiteY124" fmla="*/ 567 h 10036"/>
                <a:gd name="connsiteX125" fmla="*/ 3732 w 10000"/>
                <a:gd name="connsiteY125" fmla="*/ 922 h 10036"/>
                <a:gd name="connsiteX126" fmla="*/ 3276 w 10000"/>
                <a:gd name="connsiteY126" fmla="*/ 993 h 10036"/>
                <a:gd name="connsiteX127" fmla="*/ 2906 w 10000"/>
                <a:gd name="connsiteY127" fmla="*/ 1537 h 10036"/>
                <a:gd name="connsiteX128" fmla="*/ 2365 w 10000"/>
                <a:gd name="connsiteY128" fmla="*/ 1726 h 10036"/>
                <a:gd name="connsiteX129" fmla="*/ 1852 w 10000"/>
                <a:gd name="connsiteY129" fmla="*/ 2009 h 10036"/>
                <a:gd name="connsiteX130" fmla="*/ 1709 w 10000"/>
                <a:gd name="connsiteY130" fmla="*/ 2459 h 10036"/>
                <a:gd name="connsiteX131" fmla="*/ 1425 w 10000"/>
                <a:gd name="connsiteY131" fmla="*/ 2411 h 10036"/>
                <a:gd name="connsiteX132" fmla="*/ 997 w 10000"/>
                <a:gd name="connsiteY132" fmla="*/ 2199 h 10036"/>
                <a:gd name="connsiteX133" fmla="*/ 570 w 10000"/>
                <a:gd name="connsiteY133" fmla="*/ 2411 h 10036"/>
                <a:gd name="connsiteX134" fmla="*/ 199 w 10000"/>
                <a:gd name="connsiteY134" fmla="*/ 2600 h 10036"/>
                <a:gd name="connsiteX135" fmla="*/ 0 w 10000"/>
                <a:gd name="connsiteY135" fmla="*/ 2553 h 10036"/>
                <a:gd name="connsiteX136" fmla="*/ 57 w 10000"/>
                <a:gd name="connsiteY136" fmla="*/ 2861 h 10036"/>
                <a:gd name="connsiteX0" fmla="*/ 57 w 10000"/>
                <a:gd name="connsiteY0" fmla="*/ 2861 h 10036"/>
                <a:gd name="connsiteX1" fmla="*/ 85 w 10000"/>
                <a:gd name="connsiteY1" fmla="*/ 2861 h 10036"/>
                <a:gd name="connsiteX2" fmla="*/ 399 w 10000"/>
                <a:gd name="connsiteY2" fmla="*/ 2790 h 10036"/>
                <a:gd name="connsiteX3" fmla="*/ 427 w 10000"/>
                <a:gd name="connsiteY3" fmla="*/ 2790 h 10036"/>
                <a:gd name="connsiteX4" fmla="*/ 456 w 10000"/>
                <a:gd name="connsiteY4" fmla="*/ 2837 h 10036"/>
                <a:gd name="connsiteX5" fmla="*/ 598 w 10000"/>
                <a:gd name="connsiteY5" fmla="*/ 2979 h 10036"/>
                <a:gd name="connsiteX6" fmla="*/ 627 w 10000"/>
                <a:gd name="connsiteY6" fmla="*/ 3002 h 10036"/>
                <a:gd name="connsiteX7" fmla="*/ 570 w 10000"/>
                <a:gd name="connsiteY7" fmla="*/ 3026 h 10036"/>
                <a:gd name="connsiteX8" fmla="*/ 370 w 10000"/>
                <a:gd name="connsiteY8" fmla="*/ 3191 h 10036"/>
                <a:gd name="connsiteX9" fmla="*/ 256 w 10000"/>
                <a:gd name="connsiteY9" fmla="*/ 3310 h 10036"/>
                <a:gd name="connsiteX10" fmla="*/ 285 w 10000"/>
                <a:gd name="connsiteY10" fmla="*/ 3357 h 10036"/>
                <a:gd name="connsiteX11" fmla="*/ 484 w 10000"/>
                <a:gd name="connsiteY11" fmla="*/ 3499 h 10036"/>
                <a:gd name="connsiteX12" fmla="*/ 712 w 10000"/>
                <a:gd name="connsiteY12" fmla="*/ 3475 h 10036"/>
                <a:gd name="connsiteX13" fmla="*/ 741 w 10000"/>
                <a:gd name="connsiteY13" fmla="*/ 3475 h 10036"/>
                <a:gd name="connsiteX14" fmla="*/ 741 w 10000"/>
                <a:gd name="connsiteY14" fmla="*/ 3475 h 10036"/>
                <a:gd name="connsiteX15" fmla="*/ 940 w 10000"/>
                <a:gd name="connsiteY15" fmla="*/ 3570 h 10036"/>
                <a:gd name="connsiteX16" fmla="*/ 997 w 10000"/>
                <a:gd name="connsiteY16" fmla="*/ 3593 h 10036"/>
                <a:gd name="connsiteX17" fmla="*/ 969 w 10000"/>
                <a:gd name="connsiteY17" fmla="*/ 3617 h 10036"/>
                <a:gd name="connsiteX18" fmla="*/ 969 w 10000"/>
                <a:gd name="connsiteY18" fmla="*/ 3830 h 10036"/>
                <a:gd name="connsiteX19" fmla="*/ 969 w 10000"/>
                <a:gd name="connsiteY19" fmla="*/ 3877 h 10036"/>
                <a:gd name="connsiteX20" fmla="*/ 912 w 10000"/>
                <a:gd name="connsiteY20" fmla="*/ 3877 h 10036"/>
                <a:gd name="connsiteX21" fmla="*/ 712 w 10000"/>
                <a:gd name="connsiteY21" fmla="*/ 3901 h 10036"/>
                <a:gd name="connsiteX22" fmla="*/ 826 w 10000"/>
                <a:gd name="connsiteY22" fmla="*/ 4066 h 10036"/>
                <a:gd name="connsiteX23" fmla="*/ 826 w 10000"/>
                <a:gd name="connsiteY23" fmla="*/ 4066 h 10036"/>
                <a:gd name="connsiteX24" fmla="*/ 826 w 10000"/>
                <a:gd name="connsiteY24" fmla="*/ 4066 h 10036"/>
                <a:gd name="connsiteX25" fmla="*/ 912 w 10000"/>
                <a:gd name="connsiteY25" fmla="*/ 4208 h 10036"/>
                <a:gd name="connsiteX26" fmla="*/ 912 w 10000"/>
                <a:gd name="connsiteY26" fmla="*/ 4208 h 10036"/>
                <a:gd name="connsiteX27" fmla="*/ 912 w 10000"/>
                <a:gd name="connsiteY27" fmla="*/ 4208 h 10036"/>
                <a:gd name="connsiteX28" fmla="*/ 997 w 10000"/>
                <a:gd name="connsiteY28" fmla="*/ 4374 h 10036"/>
                <a:gd name="connsiteX29" fmla="*/ 1282 w 10000"/>
                <a:gd name="connsiteY29" fmla="*/ 4965 h 10036"/>
                <a:gd name="connsiteX30" fmla="*/ 1282 w 10000"/>
                <a:gd name="connsiteY30" fmla="*/ 4965 h 10036"/>
                <a:gd name="connsiteX31" fmla="*/ 1282 w 10000"/>
                <a:gd name="connsiteY31" fmla="*/ 4965 h 10036"/>
                <a:gd name="connsiteX32" fmla="*/ 1282 w 10000"/>
                <a:gd name="connsiteY32" fmla="*/ 5768 h 10036"/>
                <a:gd name="connsiteX33" fmla="*/ 1282 w 10000"/>
                <a:gd name="connsiteY33" fmla="*/ 5768 h 10036"/>
                <a:gd name="connsiteX34" fmla="*/ 1254 w 10000"/>
                <a:gd name="connsiteY34" fmla="*/ 5792 h 10036"/>
                <a:gd name="connsiteX35" fmla="*/ 1054 w 10000"/>
                <a:gd name="connsiteY35" fmla="*/ 6076 h 10036"/>
                <a:gd name="connsiteX36" fmla="*/ 1083 w 10000"/>
                <a:gd name="connsiteY36" fmla="*/ 6288 h 10036"/>
                <a:gd name="connsiteX37" fmla="*/ 1396 w 10000"/>
                <a:gd name="connsiteY37" fmla="*/ 6596 h 10036"/>
                <a:gd name="connsiteX38" fmla="*/ 1453 w 10000"/>
                <a:gd name="connsiteY38" fmla="*/ 6643 h 10036"/>
                <a:gd name="connsiteX39" fmla="*/ 1396 w 10000"/>
                <a:gd name="connsiteY39" fmla="*/ 6667 h 10036"/>
                <a:gd name="connsiteX40" fmla="*/ 1197 w 10000"/>
                <a:gd name="connsiteY40" fmla="*/ 6761 h 10036"/>
                <a:gd name="connsiteX41" fmla="*/ 826 w 10000"/>
                <a:gd name="connsiteY41" fmla="*/ 7281 h 10036"/>
                <a:gd name="connsiteX42" fmla="*/ 1026 w 10000"/>
                <a:gd name="connsiteY42" fmla="*/ 7305 h 10036"/>
                <a:gd name="connsiteX43" fmla="*/ 1054 w 10000"/>
                <a:gd name="connsiteY43" fmla="*/ 7305 h 10036"/>
                <a:gd name="connsiteX44" fmla="*/ 1083 w 10000"/>
                <a:gd name="connsiteY44" fmla="*/ 7352 h 10036"/>
                <a:gd name="connsiteX45" fmla="*/ 1140 w 10000"/>
                <a:gd name="connsiteY45" fmla="*/ 7541 h 10036"/>
                <a:gd name="connsiteX46" fmla="*/ 1453 w 10000"/>
                <a:gd name="connsiteY46" fmla="*/ 7801 h 10036"/>
                <a:gd name="connsiteX47" fmla="*/ 1422 w 10000"/>
                <a:gd name="connsiteY47" fmla="*/ 7995 h 10036"/>
                <a:gd name="connsiteX48" fmla="*/ 1425 w 10000"/>
                <a:gd name="connsiteY48" fmla="*/ 8298 h 10036"/>
                <a:gd name="connsiteX49" fmla="*/ 1425 w 10000"/>
                <a:gd name="connsiteY49" fmla="*/ 8440 h 10036"/>
                <a:gd name="connsiteX50" fmla="*/ 1624 w 10000"/>
                <a:gd name="connsiteY50" fmla="*/ 8700 h 10036"/>
                <a:gd name="connsiteX51" fmla="*/ 2564 w 10000"/>
                <a:gd name="connsiteY51" fmla="*/ 8747 h 10036"/>
                <a:gd name="connsiteX52" fmla="*/ 2593 w 10000"/>
                <a:gd name="connsiteY52" fmla="*/ 8747 h 10036"/>
                <a:gd name="connsiteX53" fmla="*/ 2593 w 10000"/>
                <a:gd name="connsiteY53" fmla="*/ 8771 h 10036"/>
                <a:gd name="connsiteX54" fmla="*/ 2821 w 10000"/>
                <a:gd name="connsiteY54" fmla="*/ 8983 h 10036"/>
                <a:gd name="connsiteX55" fmla="*/ 3105 w 10000"/>
                <a:gd name="connsiteY55" fmla="*/ 8983 h 10036"/>
                <a:gd name="connsiteX56" fmla="*/ 3105 w 10000"/>
                <a:gd name="connsiteY56" fmla="*/ 8983 h 10036"/>
                <a:gd name="connsiteX57" fmla="*/ 3134 w 10000"/>
                <a:gd name="connsiteY57" fmla="*/ 8983 h 10036"/>
                <a:gd name="connsiteX58" fmla="*/ 3561 w 10000"/>
                <a:gd name="connsiteY58" fmla="*/ 9196 h 10036"/>
                <a:gd name="connsiteX59" fmla="*/ 3590 w 10000"/>
                <a:gd name="connsiteY59" fmla="*/ 9220 h 10036"/>
                <a:gd name="connsiteX60" fmla="*/ 3590 w 10000"/>
                <a:gd name="connsiteY60" fmla="*/ 9243 h 10036"/>
                <a:gd name="connsiteX61" fmla="*/ 3675 w 10000"/>
                <a:gd name="connsiteY61" fmla="*/ 9669 h 10036"/>
                <a:gd name="connsiteX62" fmla="*/ 3675 w 10000"/>
                <a:gd name="connsiteY62" fmla="*/ 9669 h 10036"/>
                <a:gd name="connsiteX63" fmla="*/ 3647 w 10000"/>
                <a:gd name="connsiteY63" fmla="*/ 9693 h 10036"/>
                <a:gd name="connsiteX64" fmla="*/ 3476 w 10000"/>
                <a:gd name="connsiteY64" fmla="*/ 9953 h 10036"/>
                <a:gd name="connsiteX65" fmla="*/ 4056 w 10000"/>
                <a:gd name="connsiteY65" fmla="*/ 10036 h 10036"/>
                <a:gd name="connsiteX66" fmla="*/ 4131 w 10000"/>
                <a:gd name="connsiteY66" fmla="*/ 9574 h 10036"/>
                <a:gd name="connsiteX67" fmla="*/ 4395 w 10000"/>
                <a:gd name="connsiteY67" fmla="*/ 9647 h 10036"/>
                <a:gd name="connsiteX68" fmla="*/ 4558 w 10000"/>
                <a:gd name="connsiteY68" fmla="*/ 9480 h 10036"/>
                <a:gd name="connsiteX69" fmla="*/ 4929 w 10000"/>
                <a:gd name="connsiteY69" fmla="*/ 9314 h 10036"/>
                <a:gd name="connsiteX70" fmla="*/ 4957 w 10000"/>
                <a:gd name="connsiteY70" fmla="*/ 9314 h 10036"/>
                <a:gd name="connsiteX71" fmla="*/ 4986 w 10000"/>
                <a:gd name="connsiteY71" fmla="*/ 9314 h 10036"/>
                <a:gd name="connsiteX72" fmla="*/ 5442 w 10000"/>
                <a:gd name="connsiteY72" fmla="*/ 9338 h 10036"/>
                <a:gd name="connsiteX73" fmla="*/ 6154 w 10000"/>
                <a:gd name="connsiteY73" fmla="*/ 9007 h 10036"/>
                <a:gd name="connsiteX74" fmla="*/ 6581 w 10000"/>
                <a:gd name="connsiteY74" fmla="*/ 8251 h 10036"/>
                <a:gd name="connsiteX75" fmla="*/ 6581 w 10000"/>
                <a:gd name="connsiteY75" fmla="*/ 8227 h 10036"/>
                <a:gd name="connsiteX76" fmla="*/ 6610 w 10000"/>
                <a:gd name="connsiteY76" fmla="*/ 8227 h 10036"/>
                <a:gd name="connsiteX77" fmla="*/ 7066 w 10000"/>
                <a:gd name="connsiteY77" fmla="*/ 8227 h 10036"/>
                <a:gd name="connsiteX78" fmla="*/ 7066 w 10000"/>
                <a:gd name="connsiteY78" fmla="*/ 8227 h 10036"/>
                <a:gd name="connsiteX79" fmla="*/ 7094 w 10000"/>
                <a:gd name="connsiteY79" fmla="*/ 8251 h 10036"/>
                <a:gd name="connsiteX80" fmla="*/ 7236 w 10000"/>
                <a:gd name="connsiteY80" fmla="*/ 8345 h 10036"/>
                <a:gd name="connsiteX81" fmla="*/ 7778 w 10000"/>
                <a:gd name="connsiteY81" fmla="*/ 8369 h 10036"/>
                <a:gd name="connsiteX82" fmla="*/ 7806 w 10000"/>
                <a:gd name="connsiteY82" fmla="*/ 8369 h 10036"/>
                <a:gd name="connsiteX83" fmla="*/ 7806 w 10000"/>
                <a:gd name="connsiteY83" fmla="*/ 8392 h 10036"/>
                <a:gd name="connsiteX84" fmla="*/ 8063 w 10000"/>
                <a:gd name="connsiteY84" fmla="*/ 8511 h 10036"/>
                <a:gd name="connsiteX85" fmla="*/ 8091 w 10000"/>
                <a:gd name="connsiteY85" fmla="*/ 8511 h 10036"/>
                <a:gd name="connsiteX86" fmla="*/ 8091 w 10000"/>
                <a:gd name="connsiteY86" fmla="*/ 8558 h 10036"/>
                <a:gd name="connsiteX87" fmla="*/ 8006 w 10000"/>
                <a:gd name="connsiteY87" fmla="*/ 8913 h 10036"/>
                <a:gd name="connsiteX88" fmla="*/ 8291 w 10000"/>
                <a:gd name="connsiteY88" fmla="*/ 9243 h 10036"/>
                <a:gd name="connsiteX89" fmla="*/ 8262 w 10000"/>
                <a:gd name="connsiteY89" fmla="*/ 9267 h 10036"/>
                <a:gd name="connsiteX90" fmla="*/ 8490 w 10000"/>
                <a:gd name="connsiteY90" fmla="*/ 9385 h 10036"/>
                <a:gd name="connsiteX91" fmla="*/ 9373 w 10000"/>
                <a:gd name="connsiteY91" fmla="*/ 9314 h 10036"/>
                <a:gd name="connsiteX92" fmla="*/ 9687 w 10000"/>
                <a:gd name="connsiteY92" fmla="*/ 8818 h 10036"/>
                <a:gd name="connsiteX93" fmla="*/ 9687 w 10000"/>
                <a:gd name="connsiteY93" fmla="*/ 8771 h 10036"/>
                <a:gd name="connsiteX94" fmla="*/ 9687 w 10000"/>
                <a:gd name="connsiteY94" fmla="*/ 8771 h 10036"/>
                <a:gd name="connsiteX95" fmla="*/ 9772 w 10000"/>
                <a:gd name="connsiteY95" fmla="*/ 8700 h 10036"/>
                <a:gd name="connsiteX96" fmla="*/ 9744 w 10000"/>
                <a:gd name="connsiteY96" fmla="*/ 8440 h 10036"/>
                <a:gd name="connsiteX97" fmla="*/ 9630 w 10000"/>
                <a:gd name="connsiteY97" fmla="*/ 8345 h 10036"/>
                <a:gd name="connsiteX98" fmla="*/ 9630 w 10000"/>
                <a:gd name="connsiteY98" fmla="*/ 8322 h 10036"/>
                <a:gd name="connsiteX99" fmla="*/ 9630 w 10000"/>
                <a:gd name="connsiteY99" fmla="*/ 8298 h 10036"/>
                <a:gd name="connsiteX100" fmla="*/ 9630 w 10000"/>
                <a:gd name="connsiteY100" fmla="*/ 8061 h 10036"/>
                <a:gd name="connsiteX101" fmla="*/ 8689 w 10000"/>
                <a:gd name="connsiteY101" fmla="*/ 7281 h 10036"/>
                <a:gd name="connsiteX102" fmla="*/ 8689 w 10000"/>
                <a:gd name="connsiteY102" fmla="*/ 7281 h 10036"/>
                <a:gd name="connsiteX103" fmla="*/ 8689 w 10000"/>
                <a:gd name="connsiteY103" fmla="*/ 7258 h 10036"/>
                <a:gd name="connsiteX104" fmla="*/ 8689 w 10000"/>
                <a:gd name="connsiteY104" fmla="*/ 6832 h 10036"/>
                <a:gd name="connsiteX105" fmla="*/ 8689 w 10000"/>
                <a:gd name="connsiteY105" fmla="*/ 6832 h 10036"/>
                <a:gd name="connsiteX106" fmla="*/ 8689 w 10000"/>
                <a:gd name="connsiteY106" fmla="*/ 6809 h 10036"/>
                <a:gd name="connsiteX107" fmla="*/ 9345 w 10000"/>
                <a:gd name="connsiteY107" fmla="*/ 6336 h 10036"/>
                <a:gd name="connsiteX108" fmla="*/ 9801 w 10000"/>
                <a:gd name="connsiteY108" fmla="*/ 5863 h 10036"/>
                <a:gd name="connsiteX109" fmla="*/ 9972 w 10000"/>
                <a:gd name="connsiteY109" fmla="*/ 5248 h 10036"/>
                <a:gd name="connsiteX110" fmla="*/ 10000 w 10000"/>
                <a:gd name="connsiteY110" fmla="*/ 5248 h 10036"/>
                <a:gd name="connsiteX111" fmla="*/ 7920 w 10000"/>
                <a:gd name="connsiteY111" fmla="*/ 2979 h 10036"/>
                <a:gd name="connsiteX112" fmla="*/ 7179 w 10000"/>
                <a:gd name="connsiteY112" fmla="*/ 2246 h 10036"/>
                <a:gd name="connsiteX113" fmla="*/ 6524 w 10000"/>
                <a:gd name="connsiteY113" fmla="*/ 1844 h 10036"/>
                <a:gd name="connsiteX114" fmla="*/ 5014 w 10000"/>
                <a:gd name="connsiteY114" fmla="*/ 1158 h 10036"/>
                <a:gd name="connsiteX115" fmla="*/ 4672 w 10000"/>
                <a:gd name="connsiteY115" fmla="*/ 709 h 10036"/>
                <a:gd name="connsiteX116" fmla="*/ 4900 w 10000"/>
                <a:gd name="connsiteY116" fmla="*/ 709 h 10036"/>
                <a:gd name="connsiteX117" fmla="*/ 5242 w 10000"/>
                <a:gd name="connsiteY117" fmla="*/ 709 h 10036"/>
                <a:gd name="connsiteX118" fmla="*/ 5442 w 10000"/>
                <a:gd name="connsiteY118" fmla="*/ 355 h 10036"/>
                <a:gd name="connsiteX119" fmla="*/ 5385 w 10000"/>
                <a:gd name="connsiteY119" fmla="*/ 0 h 10036"/>
                <a:gd name="connsiteX120" fmla="*/ 5128 w 10000"/>
                <a:gd name="connsiteY120" fmla="*/ 95 h 10036"/>
                <a:gd name="connsiteX121" fmla="*/ 4701 w 10000"/>
                <a:gd name="connsiteY121" fmla="*/ 355 h 10036"/>
                <a:gd name="connsiteX122" fmla="*/ 4302 w 10000"/>
                <a:gd name="connsiteY122" fmla="*/ 355 h 10036"/>
                <a:gd name="connsiteX123" fmla="*/ 4274 w 10000"/>
                <a:gd name="connsiteY123" fmla="*/ 567 h 10036"/>
                <a:gd name="connsiteX124" fmla="*/ 3732 w 10000"/>
                <a:gd name="connsiteY124" fmla="*/ 922 h 10036"/>
                <a:gd name="connsiteX125" fmla="*/ 3276 w 10000"/>
                <a:gd name="connsiteY125" fmla="*/ 993 h 10036"/>
                <a:gd name="connsiteX126" fmla="*/ 2906 w 10000"/>
                <a:gd name="connsiteY126" fmla="*/ 1537 h 10036"/>
                <a:gd name="connsiteX127" fmla="*/ 2365 w 10000"/>
                <a:gd name="connsiteY127" fmla="*/ 1726 h 10036"/>
                <a:gd name="connsiteX128" fmla="*/ 1852 w 10000"/>
                <a:gd name="connsiteY128" fmla="*/ 2009 h 10036"/>
                <a:gd name="connsiteX129" fmla="*/ 1709 w 10000"/>
                <a:gd name="connsiteY129" fmla="*/ 2459 h 10036"/>
                <a:gd name="connsiteX130" fmla="*/ 1425 w 10000"/>
                <a:gd name="connsiteY130" fmla="*/ 2411 h 10036"/>
                <a:gd name="connsiteX131" fmla="*/ 997 w 10000"/>
                <a:gd name="connsiteY131" fmla="*/ 2199 h 10036"/>
                <a:gd name="connsiteX132" fmla="*/ 570 w 10000"/>
                <a:gd name="connsiteY132" fmla="*/ 2411 h 10036"/>
                <a:gd name="connsiteX133" fmla="*/ 199 w 10000"/>
                <a:gd name="connsiteY133" fmla="*/ 2600 h 10036"/>
                <a:gd name="connsiteX134" fmla="*/ 0 w 10000"/>
                <a:gd name="connsiteY134" fmla="*/ 2553 h 10036"/>
                <a:gd name="connsiteX135" fmla="*/ 57 w 10000"/>
                <a:gd name="connsiteY135" fmla="*/ 2861 h 10036"/>
                <a:gd name="connsiteX0" fmla="*/ 57 w 10000"/>
                <a:gd name="connsiteY0" fmla="*/ 2861 h 10036"/>
                <a:gd name="connsiteX1" fmla="*/ 85 w 10000"/>
                <a:gd name="connsiteY1" fmla="*/ 2861 h 10036"/>
                <a:gd name="connsiteX2" fmla="*/ 399 w 10000"/>
                <a:gd name="connsiteY2" fmla="*/ 2790 h 10036"/>
                <a:gd name="connsiteX3" fmla="*/ 427 w 10000"/>
                <a:gd name="connsiteY3" fmla="*/ 2790 h 10036"/>
                <a:gd name="connsiteX4" fmla="*/ 456 w 10000"/>
                <a:gd name="connsiteY4" fmla="*/ 2837 h 10036"/>
                <a:gd name="connsiteX5" fmla="*/ 598 w 10000"/>
                <a:gd name="connsiteY5" fmla="*/ 2979 h 10036"/>
                <a:gd name="connsiteX6" fmla="*/ 627 w 10000"/>
                <a:gd name="connsiteY6" fmla="*/ 3002 h 10036"/>
                <a:gd name="connsiteX7" fmla="*/ 570 w 10000"/>
                <a:gd name="connsiteY7" fmla="*/ 3026 h 10036"/>
                <a:gd name="connsiteX8" fmla="*/ 370 w 10000"/>
                <a:gd name="connsiteY8" fmla="*/ 3191 h 10036"/>
                <a:gd name="connsiteX9" fmla="*/ 256 w 10000"/>
                <a:gd name="connsiteY9" fmla="*/ 3310 h 10036"/>
                <a:gd name="connsiteX10" fmla="*/ 285 w 10000"/>
                <a:gd name="connsiteY10" fmla="*/ 3357 h 10036"/>
                <a:gd name="connsiteX11" fmla="*/ 484 w 10000"/>
                <a:gd name="connsiteY11" fmla="*/ 3499 h 10036"/>
                <a:gd name="connsiteX12" fmla="*/ 712 w 10000"/>
                <a:gd name="connsiteY12" fmla="*/ 3475 h 10036"/>
                <a:gd name="connsiteX13" fmla="*/ 741 w 10000"/>
                <a:gd name="connsiteY13" fmla="*/ 3475 h 10036"/>
                <a:gd name="connsiteX14" fmla="*/ 741 w 10000"/>
                <a:gd name="connsiteY14" fmla="*/ 3475 h 10036"/>
                <a:gd name="connsiteX15" fmla="*/ 940 w 10000"/>
                <a:gd name="connsiteY15" fmla="*/ 3570 h 10036"/>
                <a:gd name="connsiteX16" fmla="*/ 997 w 10000"/>
                <a:gd name="connsiteY16" fmla="*/ 3593 h 10036"/>
                <a:gd name="connsiteX17" fmla="*/ 969 w 10000"/>
                <a:gd name="connsiteY17" fmla="*/ 3617 h 10036"/>
                <a:gd name="connsiteX18" fmla="*/ 969 w 10000"/>
                <a:gd name="connsiteY18" fmla="*/ 3830 h 10036"/>
                <a:gd name="connsiteX19" fmla="*/ 969 w 10000"/>
                <a:gd name="connsiteY19" fmla="*/ 3877 h 10036"/>
                <a:gd name="connsiteX20" fmla="*/ 912 w 10000"/>
                <a:gd name="connsiteY20" fmla="*/ 3877 h 10036"/>
                <a:gd name="connsiteX21" fmla="*/ 712 w 10000"/>
                <a:gd name="connsiteY21" fmla="*/ 3901 h 10036"/>
                <a:gd name="connsiteX22" fmla="*/ 826 w 10000"/>
                <a:gd name="connsiteY22" fmla="*/ 4066 h 10036"/>
                <a:gd name="connsiteX23" fmla="*/ 826 w 10000"/>
                <a:gd name="connsiteY23" fmla="*/ 4066 h 10036"/>
                <a:gd name="connsiteX24" fmla="*/ 826 w 10000"/>
                <a:gd name="connsiteY24" fmla="*/ 4066 h 10036"/>
                <a:gd name="connsiteX25" fmla="*/ 912 w 10000"/>
                <a:gd name="connsiteY25" fmla="*/ 4208 h 10036"/>
                <a:gd name="connsiteX26" fmla="*/ 912 w 10000"/>
                <a:gd name="connsiteY26" fmla="*/ 4208 h 10036"/>
                <a:gd name="connsiteX27" fmla="*/ 912 w 10000"/>
                <a:gd name="connsiteY27" fmla="*/ 4208 h 10036"/>
                <a:gd name="connsiteX28" fmla="*/ 997 w 10000"/>
                <a:gd name="connsiteY28" fmla="*/ 4374 h 10036"/>
                <a:gd name="connsiteX29" fmla="*/ 1282 w 10000"/>
                <a:gd name="connsiteY29" fmla="*/ 4965 h 10036"/>
                <a:gd name="connsiteX30" fmla="*/ 1282 w 10000"/>
                <a:gd name="connsiteY30" fmla="*/ 4965 h 10036"/>
                <a:gd name="connsiteX31" fmla="*/ 1282 w 10000"/>
                <a:gd name="connsiteY31" fmla="*/ 4965 h 10036"/>
                <a:gd name="connsiteX32" fmla="*/ 1282 w 10000"/>
                <a:gd name="connsiteY32" fmla="*/ 5768 h 10036"/>
                <a:gd name="connsiteX33" fmla="*/ 1282 w 10000"/>
                <a:gd name="connsiteY33" fmla="*/ 5768 h 10036"/>
                <a:gd name="connsiteX34" fmla="*/ 1254 w 10000"/>
                <a:gd name="connsiteY34" fmla="*/ 5792 h 10036"/>
                <a:gd name="connsiteX35" fmla="*/ 1054 w 10000"/>
                <a:gd name="connsiteY35" fmla="*/ 6076 h 10036"/>
                <a:gd name="connsiteX36" fmla="*/ 1083 w 10000"/>
                <a:gd name="connsiteY36" fmla="*/ 6288 h 10036"/>
                <a:gd name="connsiteX37" fmla="*/ 1396 w 10000"/>
                <a:gd name="connsiteY37" fmla="*/ 6596 h 10036"/>
                <a:gd name="connsiteX38" fmla="*/ 1453 w 10000"/>
                <a:gd name="connsiteY38" fmla="*/ 6643 h 10036"/>
                <a:gd name="connsiteX39" fmla="*/ 1396 w 10000"/>
                <a:gd name="connsiteY39" fmla="*/ 6667 h 10036"/>
                <a:gd name="connsiteX40" fmla="*/ 1197 w 10000"/>
                <a:gd name="connsiteY40" fmla="*/ 6761 h 10036"/>
                <a:gd name="connsiteX41" fmla="*/ 826 w 10000"/>
                <a:gd name="connsiteY41" fmla="*/ 7281 h 10036"/>
                <a:gd name="connsiteX42" fmla="*/ 1026 w 10000"/>
                <a:gd name="connsiteY42" fmla="*/ 7305 h 10036"/>
                <a:gd name="connsiteX43" fmla="*/ 1054 w 10000"/>
                <a:gd name="connsiteY43" fmla="*/ 7305 h 10036"/>
                <a:gd name="connsiteX44" fmla="*/ 1083 w 10000"/>
                <a:gd name="connsiteY44" fmla="*/ 7352 h 10036"/>
                <a:gd name="connsiteX45" fmla="*/ 1140 w 10000"/>
                <a:gd name="connsiteY45" fmla="*/ 7541 h 10036"/>
                <a:gd name="connsiteX46" fmla="*/ 1453 w 10000"/>
                <a:gd name="connsiteY46" fmla="*/ 7801 h 10036"/>
                <a:gd name="connsiteX47" fmla="*/ 1422 w 10000"/>
                <a:gd name="connsiteY47" fmla="*/ 7995 h 10036"/>
                <a:gd name="connsiteX48" fmla="*/ 1425 w 10000"/>
                <a:gd name="connsiteY48" fmla="*/ 8298 h 10036"/>
                <a:gd name="connsiteX49" fmla="*/ 1425 w 10000"/>
                <a:gd name="connsiteY49" fmla="*/ 8440 h 10036"/>
                <a:gd name="connsiteX50" fmla="*/ 1624 w 10000"/>
                <a:gd name="connsiteY50" fmla="*/ 8700 h 10036"/>
                <a:gd name="connsiteX51" fmla="*/ 2564 w 10000"/>
                <a:gd name="connsiteY51" fmla="*/ 8747 h 10036"/>
                <a:gd name="connsiteX52" fmla="*/ 2593 w 10000"/>
                <a:gd name="connsiteY52" fmla="*/ 8747 h 10036"/>
                <a:gd name="connsiteX53" fmla="*/ 2593 w 10000"/>
                <a:gd name="connsiteY53" fmla="*/ 8771 h 10036"/>
                <a:gd name="connsiteX54" fmla="*/ 2821 w 10000"/>
                <a:gd name="connsiteY54" fmla="*/ 8983 h 10036"/>
                <a:gd name="connsiteX55" fmla="*/ 3105 w 10000"/>
                <a:gd name="connsiteY55" fmla="*/ 8983 h 10036"/>
                <a:gd name="connsiteX56" fmla="*/ 3105 w 10000"/>
                <a:gd name="connsiteY56" fmla="*/ 8983 h 10036"/>
                <a:gd name="connsiteX57" fmla="*/ 3134 w 10000"/>
                <a:gd name="connsiteY57" fmla="*/ 8983 h 10036"/>
                <a:gd name="connsiteX58" fmla="*/ 3561 w 10000"/>
                <a:gd name="connsiteY58" fmla="*/ 9196 h 10036"/>
                <a:gd name="connsiteX59" fmla="*/ 3590 w 10000"/>
                <a:gd name="connsiteY59" fmla="*/ 9220 h 10036"/>
                <a:gd name="connsiteX60" fmla="*/ 3590 w 10000"/>
                <a:gd name="connsiteY60" fmla="*/ 9243 h 10036"/>
                <a:gd name="connsiteX61" fmla="*/ 3675 w 10000"/>
                <a:gd name="connsiteY61" fmla="*/ 9669 h 10036"/>
                <a:gd name="connsiteX62" fmla="*/ 3675 w 10000"/>
                <a:gd name="connsiteY62" fmla="*/ 9669 h 10036"/>
                <a:gd name="connsiteX63" fmla="*/ 3647 w 10000"/>
                <a:gd name="connsiteY63" fmla="*/ 9693 h 10036"/>
                <a:gd name="connsiteX64" fmla="*/ 3476 w 10000"/>
                <a:gd name="connsiteY64" fmla="*/ 9953 h 10036"/>
                <a:gd name="connsiteX65" fmla="*/ 4056 w 10000"/>
                <a:gd name="connsiteY65" fmla="*/ 10036 h 10036"/>
                <a:gd name="connsiteX66" fmla="*/ 4087 w 10000"/>
                <a:gd name="connsiteY66" fmla="*/ 9992 h 10036"/>
                <a:gd name="connsiteX67" fmla="*/ 4395 w 10000"/>
                <a:gd name="connsiteY67" fmla="*/ 9647 h 10036"/>
                <a:gd name="connsiteX68" fmla="*/ 4558 w 10000"/>
                <a:gd name="connsiteY68" fmla="*/ 9480 h 10036"/>
                <a:gd name="connsiteX69" fmla="*/ 4929 w 10000"/>
                <a:gd name="connsiteY69" fmla="*/ 9314 h 10036"/>
                <a:gd name="connsiteX70" fmla="*/ 4957 w 10000"/>
                <a:gd name="connsiteY70" fmla="*/ 9314 h 10036"/>
                <a:gd name="connsiteX71" fmla="*/ 4986 w 10000"/>
                <a:gd name="connsiteY71" fmla="*/ 9314 h 10036"/>
                <a:gd name="connsiteX72" fmla="*/ 5442 w 10000"/>
                <a:gd name="connsiteY72" fmla="*/ 9338 h 10036"/>
                <a:gd name="connsiteX73" fmla="*/ 6154 w 10000"/>
                <a:gd name="connsiteY73" fmla="*/ 9007 h 10036"/>
                <a:gd name="connsiteX74" fmla="*/ 6581 w 10000"/>
                <a:gd name="connsiteY74" fmla="*/ 8251 h 10036"/>
                <a:gd name="connsiteX75" fmla="*/ 6581 w 10000"/>
                <a:gd name="connsiteY75" fmla="*/ 8227 h 10036"/>
                <a:gd name="connsiteX76" fmla="*/ 6610 w 10000"/>
                <a:gd name="connsiteY76" fmla="*/ 8227 h 10036"/>
                <a:gd name="connsiteX77" fmla="*/ 7066 w 10000"/>
                <a:gd name="connsiteY77" fmla="*/ 8227 h 10036"/>
                <a:gd name="connsiteX78" fmla="*/ 7066 w 10000"/>
                <a:gd name="connsiteY78" fmla="*/ 8227 h 10036"/>
                <a:gd name="connsiteX79" fmla="*/ 7094 w 10000"/>
                <a:gd name="connsiteY79" fmla="*/ 8251 h 10036"/>
                <a:gd name="connsiteX80" fmla="*/ 7236 w 10000"/>
                <a:gd name="connsiteY80" fmla="*/ 8345 h 10036"/>
                <a:gd name="connsiteX81" fmla="*/ 7778 w 10000"/>
                <a:gd name="connsiteY81" fmla="*/ 8369 h 10036"/>
                <a:gd name="connsiteX82" fmla="*/ 7806 w 10000"/>
                <a:gd name="connsiteY82" fmla="*/ 8369 h 10036"/>
                <a:gd name="connsiteX83" fmla="*/ 7806 w 10000"/>
                <a:gd name="connsiteY83" fmla="*/ 8392 h 10036"/>
                <a:gd name="connsiteX84" fmla="*/ 8063 w 10000"/>
                <a:gd name="connsiteY84" fmla="*/ 8511 h 10036"/>
                <a:gd name="connsiteX85" fmla="*/ 8091 w 10000"/>
                <a:gd name="connsiteY85" fmla="*/ 8511 h 10036"/>
                <a:gd name="connsiteX86" fmla="*/ 8091 w 10000"/>
                <a:gd name="connsiteY86" fmla="*/ 8558 h 10036"/>
                <a:gd name="connsiteX87" fmla="*/ 8006 w 10000"/>
                <a:gd name="connsiteY87" fmla="*/ 8913 h 10036"/>
                <a:gd name="connsiteX88" fmla="*/ 8291 w 10000"/>
                <a:gd name="connsiteY88" fmla="*/ 9243 h 10036"/>
                <a:gd name="connsiteX89" fmla="*/ 8262 w 10000"/>
                <a:gd name="connsiteY89" fmla="*/ 9267 h 10036"/>
                <a:gd name="connsiteX90" fmla="*/ 8490 w 10000"/>
                <a:gd name="connsiteY90" fmla="*/ 9385 h 10036"/>
                <a:gd name="connsiteX91" fmla="*/ 9373 w 10000"/>
                <a:gd name="connsiteY91" fmla="*/ 9314 h 10036"/>
                <a:gd name="connsiteX92" fmla="*/ 9687 w 10000"/>
                <a:gd name="connsiteY92" fmla="*/ 8818 h 10036"/>
                <a:gd name="connsiteX93" fmla="*/ 9687 w 10000"/>
                <a:gd name="connsiteY93" fmla="*/ 8771 h 10036"/>
                <a:gd name="connsiteX94" fmla="*/ 9687 w 10000"/>
                <a:gd name="connsiteY94" fmla="*/ 8771 h 10036"/>
                <a:gd name="connsiteX95" fmla="*/ 9772 w 10000"/>
                <a:gd name="connsiteY95" fmla="*/ 8700 h 10036"/>
                <a:gd name="connsiteX96" fmla="*/ 9744 w 10000"/>
                <a:gd name="connsiteY96" fmla="*/ 8440 h 10036"/>
                <a:gd name="connsiteX97" fmla="*/ 9630 w 10000"/>
                <a:gd name="connsiteY97" fmla="*/ 8345 h 10036"/>
                <a:gd name="connsiteX98" fmla="*/ 9630 w 10000"/>
                <a:gd name="connsiteY98" fmla="*/ 8322 h 10036"/>
                <a:gd name="connsiteX99" fmla="*/ 9630 w 10000"/>
                <a:gd name="connsiteY99" fmla="*/ 8298 h 10036"/>
                <a:gd name="connsiteX100" fmla="*/ 9630 w 10000"/>
                <a:gd name="connsiteY100" fmla="*/ 8061 h 10036"/>
                <a:gd name="connsiteX101" fmla="*/ 8689 w 10000"/>
                <a:gd name="connsiteY101" fmla="*/ 7281 h 10036"/>
                <a:gd name="connsiteX102" fmla="*/ 8689 w 10000"/>
                <a:gd name="connsiteY102" fmla="*/ 7281 h 10036"/>
                <a:gd name="connsiteX103" fmla="*/ 8689 w 10000"/>
                <a:gd name="connsiteY103" fmla="*/ 7258 h 10036"/>
                <a:gd name="connsiteX104" fmla="*/ 8689 w 10000"/>
                <a:gd name="connsiteY104" fmla="*/ 6832 h 10036"/>
                <a:gd name="connsiteX105" fmla="*/ 8689 w 10000"/>
                <a:gd name="connsiteY105" fmla="*/ 6832 h 10036"/>
                <a:gd name="connsiteX106" fmla="*/ 8689 w 10000"/>
                <a:gd name="connsiteY106" fmla="*/ 6809 h 10036"/>
                <a:gd name="connsiteX107" fmla="*/ 9345 w 10000"/>
                <a:gd name="connsiteY107" fmla="*/ 6336 h 10036"/>
                <a:gd name="connsiteX108" fmla="*/ 9801 w 10000"/>
                <a:gd name="connsiteY108" fmla="*/ 5863 h 10036"/>
                <a:gd name="connsiteX109" fmla="*/ 9972 w 10000"/>
                <a:gd name="connsiteY109" fmla="*/ 5248 h 10036"/>
                <a:gd name="connsiteX110" fmla="*/ 10000 w 10000"/>
                <a:gd name="connsiteY110" fmla="*/ 5248 h 10036"/>
                <a:gd name="connsiteX111" fmla="*/ 7920 w 10000"/>
                <a:gd name="connsiteY111" fmla="*/ 2979 h 10036"/>
                <a:gd name="connsiteX112" fmla="*/ 7179 w 10000"/>
                <a:gd name="connsiteY112" fmla="*/ 2246 h 10036"/>
                <a:gd name="connsiteX113" fmla="*/ 6524 w 10000"/>
                <a:gd name="connsiteY113" fmla="*/ 1844 h 10036"/>
                <a:gd name="connsiteX114" fmla="*/ 5014 w 10000"/>
                <a:gd name="connsiteY114" fmla="*/ 1158 h 10036"/>
                <a:gd name="connsiteX115" fmla="*/ 4672 w 10000"/>
                <a:gd name="connsiteY115" fmla="*/ 709 h 10036"/>
                <a:gd name="connsiteX116" fmla="*/ 4900 w 10000"/>
                <a:gd name="connsiteY116" fmla="*/ 709 h 10036"/>
                <a:gd name="connsiteX117" fmla="*/ 5242 w 10000"/>
                <a:gd name="connsiteY117" fmla="*/ 709 h 10036"/>
                <a:gd name="connsiteX118" fmla="*/ 5442 w 10000"/>
                <a:gd name="connsiteY118" fmla="*/ 355 h 10036"/>
                <a:gd name="connsiteX119" fmla="*/ 5385 w 10000"/>
                <a:gd name="connsiteY119" fmla="*/ 0 h 10036"/>
                <a:gd name="connsiteX120" fmla="*/ 5128 w 10000"/>
                <a:gd name="connsiteY120" fmla="*/ 95 h 10036"/>
                <a:gd name="connsiteX121" fmla="*/ 4701 w 10000"/>
                <a:gd name="connsiteY121" fmla="*/ 355 h 10036"/>
                <a:gd name="connsiteX122" fmla="*/ 4302 w 10000"/>
                <a:gd name="connsiteY122" fmla="*/ 355 h 10036"/>
                <a:gd name="connsiteX123" fmla="*/ 4274 w 10000"/>
                <a:gd name="connsiteY123" fmla="*/ 567 h 10036"/>
                <a:gd name="connsiteX124" fmla="*/ 3732 w 10000"/>
                <a:gd name="connsiteY124" fmla="*/ 922 h 10036"/>
                <a:gd name="connsiteX125" fmla="*/ 3276 w 10000"/>
                <a:gd name="connsiteY125" fmla="*/ 993 h 10036"/>
                <a:gd name="connsiteX126" fmla="*/ 2906 w 10000"/>
                <a:gd name="connsiteY126" fmla="*/ 1537 h 10036"/>
                <a:gd name="connsiteX127" fmla="*/ 2365 w 10000"/>
                <a:gd name="connsiteY127" fmla="*/ 1726 h 10036"/>
                <a:gd name="connsiteX128" fmla="*/ 1852 w 10000"/>
                <a:gd name="connsiteY128" fmla="*/ 2009 h 10036"/>
                <a:gd name="connsiteX129" fmla="*/ 1709 w 10000"/>
                <a:gd name="connsiteY129" fmla="*/ 2459 h 10036"/>
                <a:gd name="connsiteX130" fmla="*/ 1425 w 10000"/>
                <a:gd name="connsiteY130" fmla="*/ 2411 h 10036"/>
                <a:gd name="connsiteX131" fmla="*/ 997 w 10000"/>
                <a:gd name="connsiteY131" fmla="*/ 2199 h 10036"/>
                <a:gd name="connsiteX132" fmla="*/ 570 w 10000"/>
                <a:gd name="connsiteY132" fmla="*/ 2411 h 10036"/>
                <a:gd name="connsiteX133" fmla="*/ 199 w 10000"/>
                <a:gd name="connsiteY133" fmla="*/ 2600 h 10036"/>
                <a:gd name="connsiteX134" fmla="*/ 0 w 10000"/>
                <a:gd name="connsiteY134" fmla="*/ 2553 h 10036"/>
                <a:gd name="connsiteX135" fmla="*/ 57 w 10000"/>
                <a:gd name="connsiteY135" fmla="*/ 2861 h 10036"/>
                <a:gd name="connsiteX0" fmla="*/ 57 w 10000"/>
                <a:gd name="connsiteY0" fmla="*/ 2861 h 10036"/>
                <a:gd name="connsiteX1" fmla="*/ 85 w 10000"/>
                <a:gd name="connsiteY1" fmla="*/ 2861 h 10036"/>
                <a:gd name="connsiteX2" fmla="*/ 399 w 10000"/>
                <a:gd name="connsiteY2" fmla="*/ 2790 h 10036"/>
                <a:gd name="connsiteX3" fmla="*/ 427 w 10000"/>
                <a:gd name="connsiteY3" fmla="*/ 2790 h 10036"/>
                <a:gd name="connsiteX4" fmla="*/ 456 w 10000"/>
                <a:gd name="connsiteY4" fmla="*/ 2837 h 10036"/>
                <a:gd name="connsiteX5" fmla="*/ 598 w 10000"/>
                <a:gd name="connsiteY5" fmla="*/ 2979 h 10036"/>
                <a:gd name="connsiteX6" fmla="*/ 627 w 10000"/>
                <a:gd name="connsiteY6" fmla="*/ 3002 h 10036"/>
                <a:gd name="connsiteX7" fmla="*/ 570 w 10000"/>
                <a:gd name="connsiteY7" fmla="*/ 3026 h 10036"/>
                <a:gd name="connsiteX8" fmla="*/ 370 w 10000"/>
                <a:gd name="connsiteY8" fmla="*/ 3191 h 10036"/>
                <a:gd name="connsiteX9" fmla="*/ 256 w 10000"/>
                <a:gd name="connsiteY9" fmla="*/ 3310 h 10036"/>
                <a:gd name="connsiteX10" fmla="*/ 285 w 10000"/>
                <a:gd name="connsiteY10" fmla="*/ 3357 h 10036"/>
                <a:gd name="connsiteX11" fmla="*/ 484 w 10000"/>
                <a:gd name="connsiteY11" fmla="*/ 3499 h 10036"/>
                <a:gd name="connsiteX12" fmla="*/ 712 w 10000"/>
                <a:gd name="connsiteY12" fmla="*/ 3475 h 10036"/>
                <a:gd name="connsiteX13" fmla="*/ 741 w 10000"/>
                <a:gd name="connsiteY13" fmla="*/ 3475 h 10036"/>
                <a:gd name="connsiteX14" fmla="*/ 741 w 10000"/>
                <a:gd name="connsiteY14" fmla="*/ 3475 h 10036"/>
                <a:gd name="connsiteX15" fmla="*/ 940 w 10000"/>
                <a:gd name="connsiteY15" fmla="*/ 3570 h 10036"/>
                <a:gd name="connsiteX16" fmla="*/ 997 w 10000"/>
                <a:gd name="connsiteY16" fmla="*/ 3593 h 10036"/>
                <a:gd name="connsiteX17" fmla="*/ 969 w 10000"/>
                <a:gd name="connsiteY17" fmla="*/ 3617 h 10036"/>
                <a:gd name="connsiteX18" fmla="*/ 969 w 10000"/>
                <a:gd name="connsiteY18" fmla="*/ 3830 h 10036"/>
                <a:gd name="connsiteX19" fmla="*/ 969 w 10000"/>
                <a:gd name="connsiteY19" fmla="*/ 3877 h 10036"/>
                <a:gd name="connsiteX20" fmla="*/ 912 w 10000"/>
                <a:gd name="connsiteY20" fmla="*/ 3877 h 10036"/>
                <a:gd name="connsiteX21" fmla="*/ 712 w 10000"/>
                <a:gd name="connsiteY21" fmla="*/ 3901 h 10036"/>
                <a:gd name="connsiteX22" fmla="*/ 826 w 10000"/>
                <a:gd name="connsiteY22" fmla="*/ 4066 h 10036"/>
                <a:gd name="connsiteX23" fmla="*/ 826 w 10000"/>
                <a:gd name="connsiteY23" fmla="*/ 4066 h 10036"/>
                <a:gd name="connsiteX24" fmla="*/ 826 w 10000"/>
                <a:gd name="connsiteY24" fmla="*/ 4066 h 10036"/>
                <a:gd name="connsiteX25" fmla="*/ 912 w 10000"/>
                <a:gd name="connsiteY25" fmla="*/ 4208 h 10036"/>
                <a:gd name="connsiteX26" fmla="*/ 912 w 10000"/>
                <a:gd name="connsiteY26" fmla="*/ 4208 h 10036"/>
                <a:gd name="connsiteX27" fmla="*/ 912 w 10000"/>
                <a:gd name="connsiteY27" fmla="*/ 4208 h 10036"/>
                <a:gd name="connsiteX28" fmla="*/ 997 w 10000"/>
                <a:gd name="connsiteY28" fmla="*/ 4374 h 10036"/>
                <a:gd name="connsiteX29" fmla="*/ 1282 w 10000"/>
                <a:gd name="connsiteY29" fmla="*/ 4965 h 10036"/>
                <a:gd name="connsiteX30" fmla="*/ 1282 w 10000"/>
                <a:gd name="connsiteY30" fmla="*/ 4965 h 10036"/>
                <a:gd name="connsiteX31" fmla="*/ 1282 w 10000"/>
                <a:gd name="connsiteY31" fmla="*/ 4965 h 10036"/>
                <a:gd name="connsiteX32" fmla="*/ 1282 w 10000"/>
                <a:gd name="connsiteY32" fmla="*/ 5768 h 10036"/>
                <a:gd name="connsiteX33" fmla="*/ 1282 w 10000"/>
                <a:gd name="connsiteY33" fmla="*/ 5768 h 10036"/>
                <a:gd name="connsiteX34" fmla="*/ 1254 w 10000"/>
                <a:gd name="connsiteY34" fmla="*/ 5792 h 10036"/>
                <a:gd name="connsiteX35" fmla="*/ 1054 w 10000"/>
                <a:gd name="connsiteY35" fmla="*/ 6076 h 10036"/>
                <a:gd name="connsiteX36" fmla="*/ 1083 w 10000"/>
                <a:gd name="connsiteY36" fmla="*/ 6288 h 10036"/>
                <a:gd name="connsiteX37" fmla="*/ 1396 w 10000"/>
                <a:gd name="connsiteY37" fmla="*/ 6596 h 10036"/>
                <a:gd name="connsiteX38" fmla="*/ 1453 w 10000"/>
                <a:gd name="connsiteY38" fmla="*/ 6643 h 10036"/>
                <a:gd name="connsiteX39" fmla="*/ 1396 w 10000"/>
                <a:gd name="connsiteY39" fmla="*/ 6667 h 10036"/>
                <a:gd name="connsiteX40" fmla="*/ 1197 w 10000"/>
                <a:gd name="connsiteY40" fmla="*/ 6761 h 10036"/>
                <a:gd name="connsiteX41" fmla="*/ 826 w 10000"/>
                <a:gd name="connsiteY41" fmla="*/ 7281 h 10036"/>
                <a:gd name="connsiteX42" fmla="*/ 1026 w 10000"/>
                <a:gd name="connsiteY42" fmla="*/ 7305 h 10036"/>
                <a:gd name="connsiteX43" fmla="*/ 1054 w 10000"/>
                <a:gd name="connsiteY43" fmla="*/ 7305 h 10036"/>
                <a:gd name="connsiteX44" fmla="*/ 1083 w 10000"/>
                <a:gd name="connsiteY44" fmla="*/ 7352 h 10036"/>
                <a:gd name="connsiteX45" fmla="*/ 1140 w 10000"/>
                <a:gd name="connsiteY45" fmla="*/ 7541 h 10036"/>
                <a:gd name="connsiteX46" fmla="*/ 1453 w 10000"/>
                <a:gd name="connsiteY46" fmla="*/ 7801 h 10036"/>
                <a:gd name="connsiteX47" fmla="*/ 1422 w 10000"/>
                <a:gd name="connsiteY47" fmla="*/ 7995 h 10036"/>
                <a:gd name="connsiteX48" fmla="*/ 1425 w 10000"/>
                <a:gd name="connsiteY48" fmla="*/ 8298 h 10036"/>
                <a:gd name="connsiteX49" fmla="*/ 1425 w 10000"/>
                <a:gd name="connsiteY49" fmla="*/ 8440 h 10036"/>
                <a:gd name="connsiteX50" fmla="*/ 1624 w 10000"/>
                <a:gd name="connsiteY50" fmla="*/ 8700 h 10036"/>
                <a:gd name="connsiteX51" fmla="*/ 2564 w 10000"/>
                <a:gd name="connsiteY51" fmla="*/ 8747 h 10036"/>
                <a:gd name="connsiteX52" fmla="*/ 2593 w 10000"/>
                <a:gd name="connsiteY52" fmla="*/ 8747 h 10036"/>
                <a:gd name="connsiteX53" fmla="*/ 2593 w 10000"/>
                <a:gd name="connsiteY53" fmla="*/ 8771 h 10036"/>
                <a:gd name="connsiteX54" fmla="*/ 2821 w 10000"/>
                <a:gd name="connsiteY54" fmla="*/ 8983 h 10036"/>
                <a:gd name="connsiteX55" fmla="*/ 3105 w 10000"/>
                <a:gd name="connsiteY55" fmla="*/ 8983 h 10036"/>
                <a:gd name="connsiteX56" fmla="*/ 3105 w 10000"/>
                <a:gd name="connsiteY56" fmla="*/ 8983 h 10036"/>
                <a:gd name="connsiteX57" fmla="*/ 3134 w 10000"/>
                <a:gd name="connsiteY57" fmla="*/ 8983 h 10036"/>
                <a:gd name="connsiteX58" fmla="*/ 3561 w 10000"/>
                <a:gd name="connsiteY58" fmla="*/ 9196 h 10036"/>
                <a:gd name="connsiteX59" fmla="*/ 3590 w 10000"/>
                <a:gd name="connsiteY59" fmla="*/ 9220 h 10036"/>
                <a:gd name="connsiteX60" fmla="*/ 3590 w 10000"/>
                <a:gd name="connsiteY60" fmla="*/ 9243 h 10036"/>
                <a:gd name="connsiteX61" fmla="*/ 3675 w 10000"/>
                <a:gd name="connsiteY61" fmla="*/ 9669 h 10036"/>
                <a:gd name="connsiteX62" fmla="*/ 3675 w 10000"/>
                <a:gd name="connsiteY62" fmla="*/ 9669 h 10036"/>
                <a:gd name="connsiteX63" fmla="*/ 3647 w 10000"/>
                <a:gd name="connsiteY63" fmla="*/ 9693 h 10036"/>
                <a:gd name="connsiteX64" fmla="*/ 3476 w 10000"/>
                <a:gd name="connsiteY64" fmla="*/ 9953 h 10036"/>
                <a:gd name="connsiteX65" fmla="*/ 4056 w 10000"/>
                <a:gd name="connsiteY65" fmla="*/ 10036 h 10036"/>
                <a:gd name="connsiteX66" fmla="*/ 4087 w 10000"/>
                <a:gd name="connsiteY66" fmla="*/ 9992 h 10036"/>
                <a:gd name="connsiteX67" fmla="*/ 4395 w 10000"/>
                <a:gd name="connsiteY67" fmla="*/ 9647 h 10036"/>
                <a:gd name="connsiteX68" fmla="*/ 4558 w 10000"/>
                <a:gd name="connsiteY68" fmla="*/ 9480 h 10036"/>
                <a:gd name="connsiteX69" fmla="*/ 4929 w 10000"/>
                <a:gd name="connsiteY69" fmla="*/ 9314 h 10036"/>
                <a:gd name="connsiteX70" fmla="*/ 4957 w 10000"/>
                <a:gd name="connsiteY70" fmla="*/ 9314 h 10036"/>
                <a:gd name="connsiteX71" fmla="*/ 4986 w 10000"/>
                <a:gd name="connsiteY71" fmla="*/ 9314 h 10036"/>
                <a:gd name="connsiteX72" fmla="*/ 5442 w 10000"/>
                <a:gd name="connsiteY72" fmla="*/ 9338 h 10036"/>
                <a:gd name="connsiteX73" fmla="*/ 6534 w 10000"/>
                <a:gd name="connsiteY73" fmla="*/ 9024 h 10036"/>
                <a:gd name="connsiteX74" fmla="*/ 6581 w 10000"/>
                <a:gd name="connsiteY74" fmla="*/ 8251 h 10036"/>
                <a:gd name="connsiteX75" fmla="*/ 6581 w 10000"/>
                <a:gd name="connsiteY75" fmla="*/ 8227 h 10036"/>
                <a:gd name="connsiteX76" fmla="*/ 6610 w 10000"/>
                <a:gd name="connsiteY76" fmla="*/ 8227 h 10036"/>
                <a:gd name="connsiteX77" fmla="*/ 7066 w 10000"/>
                <a:gd name="connsiteY77" fmla="*/ 8227 h 10036"/>
                <a:gd name="connsiteX78" fmla="*/ 7066 w 10000"/>
                <a:gd name="connsiteY78" fmla="*/ 8227 h 10036"/>
                <a:gd name="connsiteX79" fmla="*/ 7094 w 10000"/>
                <a:gd name="connsiteY79" fmla="*/ 8251 h 10036"/>
                <a:gd name="connsiteX80" fmla="*/ 7236 w 10000"/>
                <a:gd name="connsiteY80" fmla="*/ 8345 h 10036"/>
                <a:gd name="connsiteX81" fmla="*/ 7778 w 10000"/>
                <a:gd name="connsiteY81" fmla="*/ 8369 h 10036"/>
                <a:gd name="connsiteX82" fmla="*/ 7806 w 10000"/>
                <a:gd name="connsiteY82" fmla="*/ 8369 h 10036"/>
                <a:gd name="connsiteX83" fmla="*/ 7806 w 10000"/>
                <a:gd name="connsiteY83" fmla="*/ 8392 h 10036"/>
                <a:gd name="connsiteX84" fmla="*/ 8063 w 10000"/>
                <a:gd name="connsiteY84" fmla="*/ 8511 h 10036"/>
                <a:gd name="connsiteX85" fmla="*/ 8091 w 10000"/>
                <a:gd name="connsiteY85" fmla="*/ 8511 h 10036"/>
                <a:gd name="connsiteX86" fmla="*/ 8091 w 10000"/>
                <a:gd name="connsiteY86" fmla="*/ 8558 h 10036"/>
                <a:gd name="connsiteX87" fmla="*/ 8006 w 10000"/>
                <a:gd name="connsiteY87" fmla="*/ 8913 h 10036"/>
                <a:gd name="connsiteX88" fmla="*/ 8291 w 10000"/>
                <a:gd name="connsiteY88" fmla="*/ 9243 h 10036"/>
                <a:gd name="connsiteX89" fmla="*/ 8262 w 10000"/>
                <a:gd name="connsiteY89" fmla="*/ 9267 h 10036"/>
                <a:gd name="connsiteX90" fmla="*/ 8490 w 10000"/>
                <a:gd name="connsiteY90" fmla="*/ 9385 h 10036"/>
                <a:gd name="connsiteX91" fmla="*/ 9373 w 10000"/>
                <a:gd name="connsiteY91" fmla="*/ 9314 h 10036"/>
                <a:gd name="connsiteX92" fmla="*/ 9687 w 10000"/>
                <a:gd name="connsiteY92" fmla="*/ 8818 h 10036"/>
                <a:gd name="connsiteX93" fmla="*/ 9687 w 10000"/>
                <a:gd name="connsiteY93" fmla="*/ 8771 h 10036"/>
                <a:gd name="connsiteX94" fmla="*/ 9687 w 10000"/>
                <a:gd name="connsiteY94" fmla="*/ 8771 h 10036"/>
                <a:gd name="connsiteX95" fmla="*/ 9772 w 10000"/>
                <a:gd name="connsiteY95" fmla="*/ 8700 h 10036"/>
                <a:gd name="connsiteX96" fmla="*/ 9744 w 10000"/>
                <a:gd name="connsiteY96" fmla="*/ 8440 h 10036"/>
                <a:gd name="connsiteX97" fmla="*/ 9630 w 10000"/>
                <a:gd name="connsiteY97" fmla="*/ 8345 h 10036"/>
                <a:gd name="connsiteX98" fmla="*/ 9630 w 10000"/>
                <a:gd name="connsiteY98" fmla="*/ 8322 h 10036"/>
                <a:gd name="connsiteX99" fmla="*/ 9630 w 10000"/>
                <a:gd name="connsiteY99" fmla="*/ 8298 h 10036"/>
                <a:gd name="connsiteX100" fmla="*/ 9630 w 10000"/>
                <a:gd name="connsiteY100" fmla="*/ 8061 h 10036"/>
                <a:gd name="connsiteX101" fmla="*/ 8689 w 10000"/>
                <a:gd name="connsiteY101" fmla="*/ 7281 h 10036"/>
                <a:gd name="connsiteX102" fmla="*/ 8689 w 10000"/>
                <a:gd name="connsiteY102" fmla="*/ 7281 h 10036"/>
                <a:gd name="connsiteX103" fmla="*/ 8689 w 10000"/>
                <a:gd name="connsiteY103" fmla="*/ 7258 h 10036"/>
                <a:gd name="connsiteX104" fmla="*/ 8689 w 10000"/>
                <a:gd name="connsiteY104" fmla="*/ 6832 h 10036"/>
                <a:gd name="connsiteX105" fmla="*/ 8689 w 10000"/>
                <a:gd name="connsiteY105" fmla="*/ 6832 h 10036"/>
                <a:gd name="connsiteX106" fmla="*/ 8689 w 10000"/>
                <a:gd name="connsiteY106" fmla="*/ 6809 h 10036"/>
                <a:gd name="connsiteX107" fmla="*/ 9345 w 10000"/>
                <a:gd name="connsiteY107" fmla="*/ 6336 h 10036"/>
                <a:gd name="connsiteX108" fmla="*/ 9801 w 10000"/>
                <a:gd name="connsiteY108" fmla="*/ 5863 h 10036"/>
                <a:gd name="connsiteX109" fmla="*/ 9972 w 10000"/>
                <a:gd name="connsiteY109" fmla="*/ 5248 h 10036"/>
                <a:gd name="connsiteX110" fmla="*/ 10000 w 10000"/>
                <a:gd name="connsiteY110" fmla="*/ 5248 h 10036"/>
                <a:gd name="connsiteX111" fmla="*/ 7920 w 10000"/>
                <a:gd name="connsiteY111" fmla="*/ 2979 h 10036"/>
                <a:gd name="connsiteX112" fmla="*/ 7179 w 10000"/>
                <a:gd name="connsiteY112" fmla="*/ 2246 h 10036"/>
                <a:gd name="connsiteX113" fmla="*/ 6524 w 10000"/>
                <a:gd name="connsiteY113" fmla="*/ 1844 h 10036"/>
                <a:gd name="connsiteX114" fmla="*/ 5014 w 10000"/>
                <a:gd name="connsiteY114" fmla="*/ 1158 h 10036"/>
                <a:gd name="connsiteX115" fmla="*/ 4672 w 10000"/>
                <a:gd name="connsiteY115" fmla="*/ 709 h 10036"/>
                <a:gd name="connsiteX116" fmla="*/ 4900 w 10000"/>
                <a:gd name="connsiteY116" fmla="*/ 709 h 10036"/>
                <a:gd name="connsiteX117" fmla="*/ 5242 w 10000"/>
                <a:gd name="connsiteY117" fmla="*/ 709 h 10036"/>
                <a:gd name="connsiteX118" fmla="*/ 5442 w 10000"/>
                <a:gd name="connsiteY118" fmla="*/ 355 h 10036"/>
                <a:gd name="connsiteX119" fmla="*/ 5385 w 10000"/>
                <a:gd name="connsiteY119" fmla="*/ 0 h 10036"/>
                <a:gd name="connsiteX120" fmla="*/ 5128 w 10000"/>
                <a:gd name="connsiteY120" fmla="*/ 95 h 10036"/>
                <a:gd name="connsiteX121" fmla="*/ 4701 w 10000"/>
                <a:gd name="connsiteY121" fmla="*/ 355 h 10036"/>
                <a:gd name="connsiteX122" fmla="*/ 4302 w 10000"/>
                <a:gd name="connsiteY122" fmla="*/ 355 h 10036"/>
                <a:gd name="connsiteX123" fmla="*/ 4274 w 10000"/>
                <a:gd name="connsiteY123" fmla="*/ 567 h 10036"/>
                <a:gd name="connsiteX124" fmla="*/ 3732 w 10000"/>
                <a:gd name="connsiteY124" fmla="*/ 922 h 10036"/>
                <a:gd name="connsiteX125" fmla="*/ 3276 w 10000"/>
                <a:gd name="connsiteY125" fmla="*/ 993 h 10036"/>
                <a:gd name="connsiteX126" fmla="*/ 2906 w 10000"/>
                <a:gd name="connsiteY126" fmla="*/ 1537 h 10036"/>
                <a:gd name="connsiteX127" fmla="*/ 2365 w 10000"/>
                <a:gd name="connsiteY127" fmla="*/ 1726 h 10036"/>
                <a:gd name="connsiteX128" fmla="*/ 1852 w 10000"/>
                <a:gd name="connsiteY128" fmla="*/ 2009 h 10036"/>
                <a:gd name="connsiteX129" fmla="*/ 1709 w 10000"/>
                <a:gd name="connsiteY129" fmla="*/ 2459 h 10036"/>
                <a:gd name="connsiteX130" fmla="*/ 1425 w 10000"/>
                <a:gd name="connsiteY130" fmla="*/ 2411 h 10036"/>
                <a:gd name="connsiteX131" fmla="*/ 997 w 10000"/>
                <a:gd name="connsiteY131" fmla="*/ 2199 h 10036"/>
                <a:gd name="connsiteX132" fmla="*/ 570 w 10000"/>
                <a:gd name="connsiteY132" fmla="*/ 2411 h 10036"/>
                <a:gd name="connsiteX133" fmla="*/ 199 w 10000"/>
                <a:gd name="connsiteY133" fmla="*/ 2600 h 10036"/>
                <a:gd name="connsiteX134" fmla="*/ 0 w 10000"/>
                <a:gd name="connsiteY134" fmla="*/ 2553 h 10036"/>
                <a:gd name="connsiteX135" fmla="*/ 57 w 10000"/>
                <a:gd name="connsiteY135" fmla="*/ 2861 h 10036"/>
                <a:gd name="connsiteX0" fmla="*/ 57 w 10000"/>
                <a:gd name="connsiteY0" fmla="*/ 2861 h 10036"/>
                <a:gd name="connsiteX1" fmla="*/ 85 w 10000"/>
                <a:gd name="connsiteY1" fmla="*/ 2861 h 10036"/>
                <a:gd name="connsiteX2" fmla="*/ 399 w 10000"/>
                <a:gd name="connsiteY2" fmla="*/ 2790 h 10036"/>
                <a:gd name="connsiteX3" fmla="*/ 427 w 10000"/>
                <a:gd name="connsiteY3" fmla="*/ 2790 h 10036"/>
                <a:gd name="connsiteX4" fmla="*/ 456 w 10000"/>
                <a:gd name="connsiteY4" fmla="*/ 2837 h 10036"/>
                <a:gd name="connsiteX5" fmla="*/ 598 w 10000"/>
                <a:gd name="connsiteY5" fmla="*/ 2979 h 10036"/>
                <a:gd name="connsiteX6" fmla="*/ 627 w 10000"/>
                <a:gd name="connsiteY6" fmla="*/ 3002 h 10036"/>
                <a:gd name="connsiteX7" fmla="*/ 570 w 10000"/>
                <a:gd name="connsiteY7" fmla="*/ 3026 h 10036"/>
                <a:gd name="connsiteX8" fmla="*/ 370 w 10000"/>
                <a:gd name="connsiteY8" fmla="*/ 3191 h 10036"/>
                <a:gd name="connsiteX9" fmla="*/ 256 w 10000"/>
                <a:gd name="connsiteY9" fmla="*/ 3310 h 10036"/>
                <a:gd name="connsiteX10" fmla="*/ 285 w 10000"/>
                <a:gd name="connsiteY10" fmla="*/ 3357 h 10036"/>
                <a:gd name="connsiteX11" fmla="*/ 484 w 10000"/>
                <a:gd name="connsiteY11" fmla="*/ 3499 h 10036"/>
                <a:gd name="connsiteX12" fmla="*/ 712 w 10000"/>
                <a:gd name="connsiteY12" fmla="*/ 3475 h 10036"/>
                <a:gd name="connsiteX13" fmla="*/ 741 w 10000"/>
                <a:gd name="connsiteY13" fmla="*/ 3475 h 10036"/>
                <a:gd name="connsiteX14" fmla="*/ 741 w 10000"/>
                <a:gd name="connsiteY14" fmla="*/ 3475 h 10036"/>
                <a:gd name="connsiteX15" fmla="*/ 940 w 10000"/>
                <a:gd name="connsiteY15" fmla="*/ 3570 h 10036"/>
                <a:gd name="connsiteX16" fmla="*/ 997 w 10000"/>
                <a:gd name="connsiteY16" fmla="*/ 3593 h 10036"/>
                <a:gd name="connsiteX17" fmla="*/ 969 w 10000"/>
                <a:gd name="connsiteY17" fmla="*/ 3617 h 10036"/>
                <a:gd name="connsiteX18" fmla="*/ 969 w 10000"/>
                <a:gd name="connsiteY18" fmla="*/ 3830 h 10036"/>
                <a:gd name="connsiteX19" fmla="*/ 969 w 10000"/>
                <a:gd name="connsiteY19" fmla="*/ 3877 h 10036"/>
                <a:gd name="connsiteX20" fmla="*/ 912 w 10000"/>
                <a:gd name="connsiteY20" fmla="*/ 3877 h 10036"/>
                <a:gd name="connsiteX21" fmla="*/ 712 w 10000"/>
                <a:gd name="connsiteY21" fmla="*/ 3901 h 10036"/>
                <a:gd name="connsiteX22" fmla="*/ 826 w 10000"/>
                <a:gd name="connsiteY22" fmla="*/ 4066 h 10036"/>
                <a:gd name="connsiteX23" fmla="*/ 826 w 10000"/>
                <a:gd name="connsiteY23" fmla="*/ 4066 h 10036"/>
                <a:gd name="connsiteX24" fmla="*/ 826 w 10000"/>
                <a:gd name="connsiteY24" fmla="*/ 4066 h 10036"/>
                <a:gd name="connsiteX25" fmla="*/ 912 w 10000"/>
                <a:gd name="connsiteY25" fmla="*/ 4208 h 10036"/>
                <a:gd name="connsiteX26" fmla="*/ 912 w 10000"/>
                <a:gd name="connsiteY26" fmla="*/ 4208 h 10036"/>
                <a:gd name="connsiteX27" fmla="*/ 912 w 10000"/>
                <a:gd name="connsiteY27" fmla="*/ 4208 h 10036"/>
                <a:gd name="connsiteX28" fmla="*/ 997 w 10000"/>
                <a:gd name="connsiteY28" fmla="*/ 4374 h 10036"/>
                <a:gd name="connsiteX29" fmla="*/ 1282 w 10000"/>
                <a:gd name="connsiteY29" fmla="*/ 4965 h 10036"/>
                <a:gd name="connsiteX30" fmla="*/ 1282 w 10000"/>
                <a:gd name="connsiteY30" fmla="*/ 4965 h 10036"/>
                <a:gd name="connsiteX31" fmla="*/ 1282 w 10000"/>
                <a:gd name="connsiteY31" fmla="*/ 4965 h 10036"/>
                <a:gd name="connsiteX32" fmla="*/ 1282 w 10000"/>
                <a:gd name="connsiteY32" fmla="*/ 5768 h 10036"/>
                <a:gd name="connsiteX33" fmla="*/ 1282 w 10000"/>
                <a:gd name="connsiteY33" fmla="*/ 5768 h 10036"/>
                <a:gd name="connsiteX34" fmla="*/ 1254 w 10000"/>
                <a:gd name="connsiteY34" fmla="*/ 5792 h 10036"/>
                <a:gd name="connsiteX35" fmla="*/ 1054 w 10000"/>
                <a:gd name="connsiteY35" fmla="*/ 6076 h 10036"/>
                <a:gd name="connsiteX36" fmla="*/ 1083 w 10000"/>
                <a:gd name="connsiteY36" fmla="*/ 6288 h 10036"/>
                <a:gd name="connsiteX37" fmla="*/ 1396 w 10000"/>
                <a:gd name="connsiteY37" fmla="*/ 6596 h 10036"/>
                <a:gd name="connsiteX38" fmla="*/ 1453 w 10000"/>
                <a:gd name="connsiteY38" fmla="*/ 6643 h 10036"/>
                <a:gd name="connsiteX39" fmla="*/ 1396 w 10000"/>
                <a:gd name="connsiteY39" fmla="*/ 6667 h 10036"/>
                <a:gd name="connsiteX40" fmla="*/ 1197 w 10000"/>
                <a:gd name="connsiteY40" fmla="*/ 6761 h 10036"/>
                <a:gd name="connsiteX41" fmla="*/ 826 w 10000"/>
                <a:gd name="connsiteY41" fmla="*/ 7281 h 10036"/>
                <a:gd name="connsiteX42" fmla="*/ 1026 w 10000"/>
                <a:gd name="connsiteY42" fmla="*/ 7305 h 10036"/>
                <a:gd name="connsiteX43" fmla="*/ 1054 w 10000"/>
                <a:gd name="connsiteY43" fmla="*/ 7305 h 10036"/>
                <a:gd name="connsiteX44" fmla="*/ 1083 w 10000"/>
                <a:gd name="connsiteY44" fmla="*/ 7352 h 10036"/>
                <a:gd name="connsiteX45" fmla="*/ 1140 w 10000"/>
                <a:gd name="connsiteY45" fmla="*/ 7541 h 10036"/>
                <a:gd name="connsiteX46" fmla="*/ 1453 w 10000"/>
                <a:gd name="connsiteY46" fmla="*/ 7801 h 10036"/>
                <a:gd name="connsiteX47" fmla="*/ 1422 w 10000"/>
                <a:gd name="connsiteY47" fmla="*/ 7995 h 10036"/>
                <a:gd name="connsiteX48" fmla="*/ 1425 w 10000"/>
                <a:gd name="connsiteY48" fmla="*/ 8298 h 10036"/>
                <a:gd name="connsiteX49" fmla="*/ 1425 w 10000"/>
                <a:gd name="connsiteY49" fmla="*/ 8440 h 10036"/>
                <a:gd name="connsiteX50" fmla="*/ 1624 w 10000"/>
                <a:gd name="connsiteY50" fmla="*/ 8700 h 10036"/>
                <a:gd name="connsiteX51" fmla="*/ 2564 w 10000"/>
                <a:gd name="connsiteY51" fmla="*/ 8747 h 10036"/>
                <a:gd name="connsiteX52" fmla="*/ 2593 w 10000"/>
                <a:gd name="connsiteY52" fmla="*/ 8747 h 10036"/>
                <a:gd name="connsiteX53" fmla="*/ 2593 w 10000"/>
                <a:gd name="connsiteY53" fmla="*/ 8771 h 10036"/>
                <a:gd name="connsiteX54" fmla="*/ 2821 w 10000"/>
                <a:gd name="connsiteY54" fmla="*/ 8983 h 10036"/>
                <a:gd name="connsiteX55" fmla="*/ 3105 w 10000"/>
                <a:gd name="connsiteY55" fmla="*/ 8983 h 10036"/>
                <a:gd name="connsiteX56" fmla="*/ 3105 w 10000"/>
                <a:gd name="connsiteY56" fmla="*/ 8983 h 10036"/>
                <a:gd name="connsiteX57" fmla="*/ 3134 w 10000"/>
                <a:gd name="connsiteY57" fmla="*/ 8983 h 10036"/>
                <a:gd name="connsiteX58" fmla="*/ 3561 w 10000"/>
                <a:gd name="connsiteY58" fmla="*/ 9196 h 10036"/>
                <a:gd name="connsiteX59" fmla="*/ 3590 w 10000"/>
                <a:gd name="connsiteY59" fmla="*/ 9220 h 10036"/>
                <a:gd name="connsiteX60" fmla="*/ 3590 w 10000"/>
                <a:gd name="connsiteY60" fmla="*/ 9243 h 10036"/>
                <a:gd name="connsiteX61" fmla="*/ 3675 w 10000"/>
                <a:gd name="connsiteY61" fmla="*/ 9669 h 10036"/>
                <a:gd name="connsiteX62" fmla="*/ 3675 w 10000"/>
                <a:gd name="connsiteY62" fmla="*/ 9669 h 10036"/>
                <a:gd name="connsiteX63" fmla="*/ 3647 w 10000"/>
                <a:gd name="connsiteY63" fmla="*/ 9693 h 10036"/>
                <a:gd name="connsiteX64" fmla="*/ 3476 w 10000"/>
                <a:gd name="connsiteY64" fmla="*/ 9953 h 10036"/>
                <a:gd name="connsiteX65" fmla="*/ 4056 w 10000"/>
                <a:gd name="connsiteY65" fmla="*/ 10036 h 10036"/>
                <a:gd name="connsiteX66" fmla="*/ 4087 w 10000"/>
                <a:gd name="connsiteY66" fmla="*/ 9992 h 10036"/>
                <a:gd name="connsiteX67" fmla="*/ 4395 w 10000"/>
                <a:gd name="connsiteY67" fmla="*/ 9647 h 10036"/>
                <a:gd name="connsiteX68" fmla="*/ 4558 w 10000"/>
                <a:gd name="connsiteY68" fmla="*/ 9480 h 10036"/>
                <a:gd name="connsiteX69" fmla="*/ 4929 w 10000"/>
                <a:gd name="connsiteY69" fmla="*/ 9314 h 10036"/>
                <a:gd name="connsiteX70" fmla="*/ 4957 w 10000"/>
                <a:gd name="connsiteY70" fmla="*/ 9314 h 10036"/>
                <a:gd name="connsiteX71" fmla="*/ 4986 w 10000"/>
                <a:gd name="connsiteY71" fmla="*/ 9314 h 10036"/>
                <a:gd name="connsiteX72" fmla="*/ 5442 w 10000"/>
                <a:gd name="connsiteY72" fmla="*/ 9338 h 10036"/>
                <a:gd name="connsiteX73" fmla="*/ 6534 w 10000"/>
                <a:gd name="connsiteY73" fmla="*/ 9024 h 10036"/>
                <a:gd name="connsiteX74" fmla="*/ 6581 w 10000"/>
                <a:gd name="connsiteY74" fmla="*/ 8251 h 10036"/>
                <a:gd name="connsiteX75" fmla="*/ 6581 w 10000"/>
                <a:gd name="connsiteY75" fmla="*/ 8227 h 10036"/>
                <a:gd name="connsiteX76" fmla="*/ 6299 w 10000"/>
                <a:gd name="connsiteY76" fmla="*/ 8194 h 10036"/>
                <a:gd name="connsiteX77" fmla="*/ 7066 w 10000"/>
                <a:gd name="connsiteY77" fmla="*/ 8227 h 10036"/>
                <a:gd name="connsiteX78" fmla="*/ 7066 w 10000"/>
                <a:gd name="connsiteY78" fmla="*/ 8227 h 10036"/>
                <a:gd name="connsiteX79" fmla="*/ 7094 w 10000"/>
                <a:gd name="connsiteY79" fmla="*/ 8251 h 10036"/>
                <a:gd name="connsiteX80" fmla="*/ 7236 w 10000"/>
                <a:gd name="connsiteY80" fmla="*/ 8345 h 10036"/>
                <a:gd name="connsiteX81" fmla="*/ 7778 w 10000"/>
                <a:gd name="connsiteY81" fmla="*/ 8369 h 10036"/>
                <a:gd name="connsiteX82" fmla="*/ 7806 w 10000"/>
                <a:gd name="connsiteY82" fmla="*/ 8369 h 10036"/>
                <a:gd name="connsiteX83" fmla="*/ 7806 w 10000"/>
                <a:gd name="connsiteY83" fmla="*/ 8392 h 10036"/>
                <a:gd name="connsiteX84" fmla="*/ 8063 w 10000"/>
                <a:gd name="connsiteY84" fmla="*/ 8511 h 10036"/>
                <a:gd name="connsiteX85" fmla="*/ 8091 w 10000"/>
                <a:gd name="connsiteY85" fmla="*/ 8511 h 10036"/>
                <a:gd name="connsiteX86" fmla="*/ 8091 w 10000"/>
                <a:gd name="connsiteY86" fmla="*/ 8558 h 10036"/>
                <a:gd name="connsiteX87" fmla="*/ 8006 w 10000"/>
                <a:gd name="connsiteY87" fmla="*/ 8913 h 10036"/>
                <a:gd name="connsiteX88" fmla="*/ 8291 w 10000"/>
                <a:gd name="connsiteY88" fmla="*/ 9243 h 10036"/>
                <a:gd name="connsiteX89" fmla="*/ 8262 w 10000"/>
                <a:gd name="connsiteY89" fmla="*/ 9267 h 10036"/>
                <a:gd name="connsiteX90" fmla="*/ 8490 w 10000"/>
                <a:gd name="connsiteY90" fmla="*/ 9385 h 10036"/>
                <a:gd name="connsiteX91" fmla="*/ 9373 w 10000"/>
                <a:gd name="connsiteY91" fmla="*/ 9314 h 10036"/>
                <a:gd name="connsiteX92" fmla="*/ 9687 w 10000"/>
                <a:gd name="connsiteY92" fmla="*/ 8818 h 10036"/>
                <a:gd name="connsiteX93" fmla="*/ 9687 w 10000"/>
                <a:gd name="connsiteY93" fmla="*/ 8771 h 10036"/>
                <a:gd name="connsiteX94" fmla="*/ 9687 w 10000"/>
                <a:gd name="connsiteY94" fmla="*/ 8771 h 10036"/>
                <a:gd name="connsiteX95" fmla="*/ 9772 w 10000"/>
                <a:gd name="connsiteY95" fmla="*/ 8700 h 10036"/>
                <a:gd name="connsiteX96" fmla="*/ 9744 w 10000"/>
                <a:gd name="connsiteY96" fmla="*/ 8440 h 10036"/>
                <a:gd name="connsiteX97" fmla="*/ 9630 w 10000"/>
                <a:gd name="connsiteY97" fmla="*/ 8345 h 10036"/>
                <a:gd name="connsiteX98" fmla="*/ 9630 w 10000"/>
                <a:gd name="connsiteY98" fmla="*/ 8322 h 10036"/>
                <a:gd name="connsiteX99" fmla="*/ 9630 w 10000"/>
                <a:gd name="connsiteY99" fmla="*/ 8298 h 10036"/>
                <a:gd name="connsiteX100" fmla="*/ 9630 w 10000"/>
                <a:gd name="connsiteY100" fmla="*/ 8061 h 10036"/>
                <a:gd name="connsiteX101" fmla="*/ 8689 w 10000"/>
                <a:gd name="connsiteY101" fmla="*/ 7281 h 10036"/>
                <a:gd name="connsiteX102" fmla="*/ 8689 w 10000"/>
                <a:gd name="connsiteY102" fmla="*/ 7281 h 10036"/>
                <a:gd name="connsiteX103" fmla="*/ 8689 w 10000"/>
                <a:gd name="connsiteY103" fmla="*/ 7258 h 10036"/>
                <a:gd name="connsiteX104" fmla="*/ 8689 w 10000"/>
                <a:gd name="connsiteY104" fmla="*/ 6832 h 10036"/>
                <a:gd name="connsiteX105" fmla="*/ 8689 w 10000"/>
                <a:gd name="connsiteY105" fmla="*/ 6832 h 10036"/>
                <a:gd name="connsiteX106" fmla="*/ 8689 w 10000"/>
                <a:gd name="connsiteY106" fmla="*/ 6809 h 10036"/>
                <a:gd name="connsiteX107" fmla="*/ 9345 w 10000"/>
                <a:gd name="connsiteY107" fmla="*/ 6336 h 10036"/>
                <a:gd name="connsiteX108" fmla="*/ 9801 w 10000"/>
                <a:gd name="connsiteY108" fmla="*/ 5863 h 10036"/>
                <a:gd name="connsiteX109" fmla="*/ 9972 w 10000"/>
                <a:gd name="connsiteY109" fmla="*/ 5248 h 10036"/>
                <a:gd name="connsiteX110" fmla="*/ 10000 w 10000"/>
                <a:gd name="connsiteY110" fmla="*/ 5248 h 10036"/>
                <a:gd name="connsiteX111" fmla="*/ 7920 w 10000"/>
                <a:gd name="connsiteY111" fmla="*/ 2979 h 10036"/>
                <a:gd name="connsiteX112" fmla="*/ 7179 w 10000"/>
                <a:gd name="connsiteY112" fmla="*/ 2246 h 10036"/>
                <a:gd name="connsiteX113" fmla="*/ 6524 w 10000"/>
                <a:gd name="connsiteY113" fmla="*/ 1844 h 10036"/>
                <a:gd name="connsiteX114" fmla="*/ 5014 w 10000"/>
                <a:gd name="connsiteY114" fmla="*/ 1158 h 10036"/>
                <a:gd name="connsiteX115" fmla="*/ 4672 w 10000"/>
                <a:gd name="connsiteY115" fmla="*/ 709 h 10036"/>
                <a:gd name="connsiteX116" fmla="*/ 4900 w 10000"/>
                <a:gd name="connsiteY116" fmla="*/ 709 h 10036"/>
                <a:gd name="connsiteX117" fmla="*/ 5242 w 10000"/>
                <a:gd name="connsiteY117" fmla="*/ 709 h 10036"/>
                <a:gd name="connsiteX118" fmla="*/ 5442 w 10000"/>
                <a:gd name="connsiteY118" fmla="*/ 355 h 10036"/>
                <a:gd name="connsiteX119" fmla="*/ 5385 w 10000"/>
                <a:gd name="connsiteY119" fmla="*/ 0 h 10036"/>
                <a:gd name="connsiteX120" fmla="*/ 5128 w 10000"/>
                <a:gd name="connsiteY120" fmla="*/ 95 h 10036"/>
                <a:gd name="connsiteX121" fmla="*/ 4701 w 10000"/>
                <a:gd name="connsiteY121" fmla="*/ 355 h 10036"/>
                <a:gd name="connsiteX122" fmla="*/ 4302 w 10000"/>
                <a:gd name="connsiteY122" fmla="*/ 355 h 10036"/>
                <a:gd name="connsiteX123" fmla="*/ 4274 w 10000"/>
                <a:gd name="connsiteY123" fmla="*/ 567 h 10036"/>
                <a:gd name="connsiteX124" fmla="*/ 3732 w 10000"/>
                <a:gd name="connsiteY124" fmla="*/ 922 h 10036"/>
                <a:gd name="connsiteX125" fmla="*/ 3276 w 10000"/>
                <a:gd name="connsiteY125" fmla="*/ 993 h 10036"/>
                <a:gd name="connsiteX126" fmla="*/ 2906 w 10000"/>
                <a:gd name="connsiteY126" fmla="*/ 1537 h 10036"/>
                <a:gd name="connsiteX127" fmla="*/ 2365 w 10000"/>
                <a:gd name="connsiteY127" fmla="*/ 1726 h 10036"/>
                <a:gd name="connsiteX128" fmla="*/ 1852 w 10000"/>
                <a:gd name="connsiteY128" fmla="*/ 2009 h 10036"/>
                <a:gd name="connsiteX129" fmla="*/ 1709 w 10000"/>
                <a:gd name="connsiteY129" fmla="*/ 2459 h 10036"/>
                <a:gd name="connsiteX130" fmla="*/ 1425 w 10000"/>
                <a:gd name="connsiteY130" fmla="*/ 2411 h 10036"/>
                <a:gd name="connsiteX131" fmla="*/ 997 w 10000"/>
                <a:gd name="connsiteY131" fmla="*/ 2199 h 10036"/>
                <a:gd name="connsiteX132" fmla="*/ 570 w 10000"/>
                <a:gd name="connsiteY132" fmla="*/ 2411 h 10036"/>
                <a:gd name="connsiteX133" fmla="*/ 199 w 10000"/>
                <a:gd name="connsiteY133" fmla="*/ 2600 h 10036"/>
                <a:gd name="connsiteX134" fmla="*/ 0 w 10000"/>
                <a:gd name="connsiteY134" fmla="*/ 2553 h 10036"/>
                <a:gd name="connsiteX135" fmla="*/ 57 w 10000"/>
                <a:gd name="connsiteY135" fmla="*/ 2861 h 10036"/>
                <a:gd name="connsiteX0" fmla="*/ 57 w 10000"/>
                <a:gd name="connsiteY0" fmla="*/ 2861 h 10036"/>
                <a:gd name="connsiteX1" fmla="*/ 85 w 10000"/>
                <a:gd name="connsiteY1" fmla="*/ 2861 h 10036"/>
                <a:gd name="connsiteX2" fmla="*/ 399 w 10000"/>
                <a:gd name="connsiteY2" fmla="*/ 2790 h 10036"/>
                <a:gd name="connsiteX3" fmla="*/ 427 w 10000"/>
                <a:gd name="connsiteY3" fmla="*/ 2790 h 10036"/>
                <a:gd name="connsiteX4" fmla="*/ 456 w 10000"/>
                <a:gd name="connsiteY4" fmla="*/ 2837 h 10036"/>
                <a:gd name="connsiteX5" fmla="*/ 598 w 10000"/>
                <a:gd name="connsiteY5" fmla="*/ 2979 h 10036"/>
                <a:gd name="connsiteX6" fmla="*/ 627 w 10000"/>
                <a:gd name="connsiteY6" fmla="*/ 3002 h 10036"/>
                <a:gd name="connsiteX7" fmla="*/ 570 w 10000"/>
                <a:gd name="connsiteY7" fmla="*/ 3026 h 10036"/>
                <a:gd name="connsiteX8" fmla="*/ 370 w 10000"/>
                <a:gd name="connsiteY8" fmla="*/ 3191 h 10036"/>
                <a:gd name="connsiteX9" fmla="*/ 256 w 10000"/>
                <a:gd name="connsiteY9" fmla="*/ 3310 h 10036"/>
                <a:gd name="connsiteX10" fmla="*/ 285 w 10000"/>
                <a:gd name="connsiteY10" fmla="*/ 3357 h 10036"/>
                <a:gd name="connsiteX11" fmla="*/ 484 w 10000"/>
                <a:gd name="connsiteY11" fmla="*/ 3499 h 10036"/>
                <a:gd name="connsiteX12" fmla="*/ 712 w 10000"/>
                <a:gd name="connsiteY12" fmla="*/ 3475 h 10036"/>
                <a:gd name="connsiteX13" fmla="*/ 741 w 10000"/>
                <a:gd name="connsiteY13" fmla="*/ 3475 h 10036"/>
                <a:gd name="connsiteX14" fmla="*/ 741 w 10000"/>
                <a:gd name="connsiteY14" fmla="*/ 3475 h 10036"/>
                <a:gd name="connsiteX15" fmla="*/ 940 w 10000"/>
                <a:gd name="connsiteY15" fmla="*/ 3570 h 10036"/>
                <a:gd name="connsiteX16" fmla="*/ 997 w 10000"/>
                <a:gd name="connsiteY16" fmla="*/ 3593 h 10036"/>
                <a:gd name="connsiteX17" fmla="*/ 969 w 10000"/>
                <a:gd name="connsiteY17" fmla="*/ 3617 h 10036"/>
                <a:gd name="connsiteX18" fmla="*/ 969 w 10000"/>
                <a:gd name="connsiteY18" fmla="*/ 3830 h 10036"/>
                <a:gd name="connsiteX19" fmla="*/ 969 w 10000"/>
                <a:gd name="connsiteY19" fmla="*/ 3877 h 10036"/>
                <a:gd name="connsiteX20" fmla="*/ 912 w 10000"/>
                <a:gd name="connsiteY20" fmla="*/ 3877 h 10036"/>
                <a:gd name="connsiteX21" fmla="*/ 712 w 10000"/>
                <a:gd name="connsiteY21" fmla="*/ 3901 h 10036"/>
                <a:gd name="connsiteX22" fmla="*/ 826 w 10000"/>
                <a:gd name="connsiteY22" fmla="*/ 4066 h 10036"/>
                <a:gd name="connsiteX23" fmla="*/ 826 w 10000"/>
                <a:gd name="connsiteY23" fmla="*/ 4066 h 10036"/>
                <a:gd name="connsiteX24" fmla="*/ 826 w 10000"/>
                <a:gd name="connsiteY24" fmla="*/ 4066 h 10036"/>
                <a:gd name="connsiteX25" fmla="*/ 912 w 10000"/>
                <a:gd name="connsiteY25" fmla="*/ 4208 h 10036"/>
                <a:gd name="connsiteX26" fmla="*/ 912 w 10000"/>
                <a:gd name="connsiteY26" fmla="*/ 4208 h 10036"/>
                <a:gd name="connsiteX27" fmla="*/ 912 w 10000"/>
                <a:gd name="connsiteY27" fmla="*/ 4208 h 10036"/>
                <a:gd name="connsiteX28" fmla="*/ 997 w 10000"/>
                <a:gd name="connsiteY28" fmla="*/ 4374 h 10036"/>
                <a:gd name="connsiteX29" fmla="*/ 1282 w 10000"/>
                <a:gd name="connsiteY29" fmla="*/ 4965 h 10036"/>
                <a:gd name="connsiteX30" fmla="*/ 1282 w 10000"/>
                <a:gd name="connsiteY30" fmla="*/ 4965 h 10036"/>
                <a:gd name="connsiteX31" fmla="*/ 1282 w 10000"/>
                <a:gd name="connsiteY31" fmla="*/ 4965 h 10036"/>
                <a:gd name="connsiteX32" fmla="*/ 1282 w 10000"/>
                <a:gd name="connsiteY32" fmla="*/ 5768 h 10036"/>
                <a:gd name="connsiteX33" fmla="*/ 1282 w 10000"/>
                <a:gd name="connsiteY33" fmla="*/ 5768 h 10036"/>
                <a:gd name="connsiteX34" fmla="*/ 1254 w 10000"/>
                <a:gd name="connsiteY34" fmla="*/ 5792 h 10036"/>
                <a:gd name="connsiteX35" fmla="*/ 1054 w 10000"/>
                <a:gd name="connsiteY35" fmla="*/ 6076 h 10036"/>
                <a:gd name="connsiteX36" fmla="*/ 1083 w 10000"/>
                <a:gd name="connsiteY36" fmla="*/ 6288 h 10036"/>
                <a:gd name="connsiteX37" fmla="*/ 1396 w 10000"/>
                <a:gd name="connsiteY37" fmla="*/ 6596 h 10036"/>
                <a:gd name="connsiteX38" fmla="*/ 1453 w 10000"/>
                <a:gd name="connsiteY38" fmla="*/ 6643 h 10036"/>
                <a:gd name="connsiteX39" fmla="*/ 1396 w 10000"/>
                <a:gd name="connsiteY39" fmla="*/ 6667 h 10036"/>
                <a:gd name="connsiteX40" fmla="*/ 1197 w 10000"/>
                <a:gd name="connsiteY40" fmla="*/ 6761 h 10036"/>
                <a:gd name="connsiteX41" fmla="*/ 826 w 10000"/>
                <a:gd name="connsiteY41" fmla="*/ 7281 h 10036"/>
                <a:gd name="connsiteX42" fmla="*/ 1026 w 10000"/>
                <a:gd name="connsiteY42" fmla="*/ 7305 h 10036"/>
                <a:gd name="connsiteX43" fmla="*/ 1054 w 10000"/>
                <a:gd name="connsiteY43" fmla="*/ 7305 h 10036"/>
                <a:gd name="connsiteX44" fmla="*/ 1083 w 10000"/>
                <a:gd name="connsiteY44" fmla="*/ 7352 h 10036"/>
                <a:gd name="connsiteX45" fmla="*/ 1140 w 10000"/>
                <a:gd name="connsiteY45" fmla="*/ 7541 h 10036"/>
                <a:gd name="connsiteX46" fmla="*/ 1453 w 10000"/>
                <a:gd name="connsiteY46" fmla="*/ 7801 h 10036"/>
                <a:gd name="connsiteX47" fmla="*/ 1422 w 10000"/>
                <a:gd name="connsiteY47" fmla="*/ 7995 h 10036"/>
                <a:gd name="connsiteX48" fmla="*/ 1425 w 10000"/>
                <a:gd name="connsiteY48" fmla="*/ 8298 h 10036"/>
                <a:gd name="connsiteX49" fmla="*/ 1425 w 10000"/>
                <a:gd name="connsiteY49" fmla="*/ 8440 h 10036"/>
                <a:gd name="connsiteX50" fmla="*/ 1624 w 10000"/>
                <a:gd name="connsiteY50" fmla="*/ 8700 h 10036"/>
                <a:gd name="connsiteX51" fmla="*/ 2564 w 10000"/>
                <a:gd name="connsiteY51" fmla="*/ 8747 h 10036"/>
                <a:gd name="connsiteX52" fmla="*/ 2593 w 10000"/>
                <a:gd name="connsiteY52" fmla="*/ 8747 h 10036"/>
                <a:gd name="connsiteX53" fmla="*/ 2593 w 10000"/>
                <a:gd name="connsiteY53" fmla="*/ 8771 h 10036"/>
                <a:gd name="connsiteX54" fmla="*/ 2821 w 10000"/>
                <a:gd name="connsiteY54" fmla="*/ 8983 h 10036"/>
                <a:gd name="connsiteX55" fmla="*/ 3105 w 10000"/>
                <a:gd name="connsiteY55" fmla="*/ 8983 h 10036"/>
                <a:gd name="connsiteX56" fmla="*/ 3105 w 10000"/>
                <a:gd name="connsiteY56" fmla="*/ 8983 h 10036"/>
                <a:gd name="connsiteX57" fmla="*/ 3134 w 10000"/>
                <a:gd name="connsiteY57" fmla="*/ 8983 h 10036"/>
                <a:gd name="connsiteX58" fmla="*/ 3561 w 10000"/>
                <a:gd name="connsiteY58" fmla="*/ 9196 h 10036"/>
                <a:gd name="connsiteX59" fmla="*/ 3590 w 10000"/>
                <a:gd name="connsiteY59" fmla="*/ 9220 h 10036"/>
                <a:gd name="connsiteX60" fmla="*/ 3590 w 10000"/>
                <a:gd name="connsiteY60" fmla="*/ 9243 h 10036"/>
                <a:gd name="connsiteX61" fmla="*/ 3675 w 10000"/>
                <a:gd name="connsiteY61" fmla="*/ 9669 h 10036"/>
                <a:gd name="connsiteX62" fmla="*/ 3675 w 10000"/>
                <a:gd name="connsiteY62" fmla="*/ 9669 h 10036"/>
                <a:gd name="connsiteX63" fmla="*/ 3647 w 10000"/>
                <a:gd name="connsiteY63" fmla="*/ 9693 h 10036"/>
                <a:gd name="connsiteX64" fmla="*/ 3476 w 10000"/>
                <a:gd name="connsiteY64" fmla="*/ 9953 h 10036"/>
                <a:gd name="connsiteX65" fmla="*/ 4056 w 10000"/>
                <a:gd name="connsiteY65" fmla="*/ 10036 h 10036"/>
                <a:gd name="connsiteX66" fmla="*/ 4087 w 10000"/>
                <a:gd name="connsiteY66" fmla="*/ 9992 h 10036"/>
                <a:gd name="connsiteX67" fmla="*/ 4395 w 10000"/>
                <a:gd name="connsiteY67" fmla="*/ 9647 h 10036"/>
                <a:gd name="connsiteX68" fmla="*/ 4558 w 10000"/>
                <a:gd name="connsiteY68" fmla="*/ 9480 h 10036"/>
                <a:gd name="connsiteX69" fmla="*/ 4929 w 10000"/>
                <a:gd name="connsiteY69" fmla="*/ 9314 h 10036"/>
                <a:gd name="connsiteX70" fmla="*/ 4957 w 10000"/>
                <a:gd name="connsiteY70" fmla="*/ 9314 h 10036"/>
                <a:gd name="connsiteX71" fmla="*/ 4986 w 10000"/>
                <a:gd name="connsiteY71" fmla="*/ 9314 h 10036"/>
                <a:gd name="connsiteX72" fmla="*/ 5442 w 10000"/>
                <a:gd name="connsiteY72" fmla="*/ 9338 h 10036"/>
                <a:gd name="connsiteX73" fmla="*/ 6534 w 10000"/>
                <a:gd name="connsiteY73" fmla="*/ 9024 h 10036"/>
                <a:gd name="connsiteX74" fmla="*/ 6581 w 10000"/>
                <a:gd name="connsiteY74" fmla="*/ 8251 h 10036"/>
                <a:gd name="connsiteX75" fmla="*/ 6581 w 10000"/>
                <a:gd name="connsiteY75" fmla="*/ 8227 h 10036"/>
                <a:gd name="connsiteX76" fmla="*/ 7066 w 10000"/>
                <a:gd name="connsiteY76" fmla="*/ 8227 h 10036"/>
                <a:gd name="connsiteX77" fmla="*/ 7066 w 10000"/>
                <a:gd name="connsiteY77" fmla="*/ 8227 h 10036"/>
                <a:gd name="connsiteX78" fmla="*/ 7094 w 10000"/>
                <a:gd name="connsiteY78" fmla="*/ 8251 h 10036"/>
                <a:gd name="connsiteX79" fmla="*/ 7236 w 10000"/>
                <a:gd name="connsiteY79" fmla="*/ 8345 h 10036"/>
                <a:gd name="connsiteX80" fmla="*/ 7778 w 10000"/>
                <a:gd name="connsiteY80" fmla="*/ 8369 h 10036"/>
                <a:gd name="connsiteX81" fmla="*/ 7806 w 10000"/>
                <a:gd name="connsiteY81" fmla="*/ 8369 h 10036"/>
                <a:gd name="connsiteX82" fmla="*/ 7806 w 10000"/>
                <a:gd name="connsiteY82" fmla="*/ 8392 h 10036"/>
                <a:gd name="connsiteX83" fmla="*/ 8063 w 10000"/>
                <a:gd name="connsiteY83" fmla="*/ 8511 h 10036"/>
                <a:gd name="connsiteX84" fmla="*/ 8091 w 10000"/>
                <a:gd name="connsiteY84" fmla="*/ 8511 h 10036"/>
                <a:gd name="connsiteX85" fmla="*/ 8091 w 10000"/>
                <a:gd name="connsiteY85" fmla="*/ 8558 h 10036"/>
                <a:gd name="connsiteX86" fmla="*/ 8006 w 10000"/>
                <a:gd name="connsiteY86" fmla="*/ 8913 h 10036"/>
                <a:gd name="connsiteX87" fmla="*/ 8291 w 10000"/>
                <a:gd name="connsiteY87" fmla="*/ 9243 h 10036"/>
                <a:gd name="connsiteX88" fmla="*/ 8262 w 10000"/>
                <a:gd name="connsiteY88" fmla="*/ 9267 h 10036"/>
                <a:gd name="connsiteX89" fmla="*/ 8490 w 10000"/>
                <a:gd name="connsiteY89" fmla="*/ 9385 h 10036"/>
                <a:gd name="connsiteX90" fmla="*/ 9373 w 10000"/>
                <a:gd name="connsiteY90" fmla="*/ 9314 h 10036"/>
                <a:gd name="connsiteX91" fmla="*/ 9687 w 10000"/>
                <a:gd name="connsiteY91" fmla="*/ 8818 h 10036"/>
                <a:gd name="connsiteX92" fmla="*/ 9687 w 10000"/>
                <a:gd name="connsiteY92" fmla="*/ 8771 h 10036"/>
                <a:gd name="connsiteX93" fmla="*/ 9687 w 10000"/>
                <a:gd name="connsiteY93" fmla="*/ 8771 h 10036"/>
                <a:gd name="connsiteX94" fmla="*/ 9772 w 10000"/>
                <a:gd name="connsiteY94" fmla="*/ 8700 h 10036"/>
                <a:gd name="connsiteX95" fmla="*/ 9744 w 10000"/>
                <a:gd name="connsiteY95" fmla="*/ 8440 h 10036"/>
                <a:gd name="connsiteX96" fmla="*/ 9630 w 10000"/>
                <a:gd name="connsiteY96" fmla="*/ 8345 h 10036"/>
                <a:gd name="connsiteX97" fmla="*/ 9630 w 10000"/>
                <a:gd name="connsiteY97" fmla="*/ 8322 h 10036"/>
                <a:gd name="connsiteX98" fmla="*/ 9630 w 10000"/>
                <a:gd name="connsiteY98" fmla="*/ 8298 h 10036"/>
                <a:gd name="connsiteX99" fmla="*/ 9630 w 10000"/>
                <a:gd name="connsiteY99" fmla="*/ 8061 h 10036"/>
                <a:gd name="connsiteX100" fmla="*/ 8689 w 10000"/>
                <a:gd name="connsiteY100" fmla="*/ 7281 h 10036"/>
                <a:gd name="connsiteX101" fmla="*/ 8689 w 10000"/>
                <a:gd name="connsiteY101" fmla="*/ 7281 h 10036"/>
                <a:gd name="connsiteX102" fmla="*/ 8689 w 10000"/>
                <a:gd name="connsiteY102" fmla="*/ 7258 h 10036"/>
                <a:gd name="connsiteX103" fmla="*/ 8689 w 10000"/>
                <a:gd name="connsiteY103" fmla="*/ 6832 h 10036"/>
                <a:gd name="connsiteX104" fmla="*/ 8689 w 10000"/>
                <a:gd name="connsiteY104" fmla="*/ 6832 h 10036"/>
                <a:gd name="connsiteX105" fmla="*/ 8689 w 10000"/>
                <a:gd name="connsiteY105" fmla="*/ 6809 h 10036"/>
                <a:gd name="connsiteX106" fmla="*/ 9345 w 10000"/>
                <a:gd name="connsiteY106" fmla="*/ 6336 h 10036"/>
                <a:gd name="connsiteX107" fmla="*/ 9801 w 10000"/>
                <a:gd name="connsiteY107" fmla="*/ 5863 h 10036"/>
                <a:gd name="connsiteX108" fmla="*/ 9972 w 10000"/>
                <a:gd name="connsiteY108" fmla="*/ 5248 h 10036"/>
                <a:gd name="connsiteX109" fmla="*/ 10000 w 10000"/>
                <a:gd name="connsiteY109" fmla="*/ 5248 h 10036"/>
                <a:gd name="connsiteX110" fmla="*/ 7920 w 10000"/>
                <a:gd name="connsiteY110" fmla="*/ 2979 h 10036"/>
                <a:gd name="connsiteX111" fmla="*/ 7179 w 10000"/>
                <a:gd name="connsiteY111" fmla="*/ 2246 h 10036"/>
                <a:gd name="connsiteX112" fmla="*/ 6524 w 10000"/>
                <a:gd name="connsiteY112" fmla="*/ 1844 h 10036"/>
                <a:gd name="connsiteX113" fmla="*/ 5014 w 10000"/>
                <a:gd name="connsiteY113" fmla="*/ 1158 h 10036"/>
                <a:gd name="connsiteX114" fmla="*/ 4672 w 10000"/>
                <a:gd name="connsiteY114" fmla="*/ 709 h 10036"/>
                <a:gd name="connsiteX115" fmla="*/ 4900 w 10000"/>
                <a:gd name="connsiteY115" fmla="*/ 709 h 10036"/>
                <a:gd name="connsiteX116" fmla="*/ 5242 w 10000"/>
                <a:gd name="connsiteY116" fmla="*/ 709 h 10036"/>
                <a:gd name="connsiteX117" fmla="*/ 5442 w 10000"/>
                <a:gd name="connsiteY117" fmla="*/ 355 h 10036"/>
                <a:gd name="connsiteX118" fmla="*/ 5385 w 10000"/>
                <a:gd name="connsiteY118" fmla="*/ 0 h 10036"/>
                <a:gd name="connsiteX119" fmla="*/ 5128 w 10000"/>
                <a:gd name="connsiteY119" fmla="*/ 95 h 10036"/>
                <a:gd name="connsiteX120" fmla="*/ 4701 w 10000"/>
                <a:gd name="connsiteY120" fmla="*/ 355 h 10036"/>
                <a:gd name="connsiteX121" fmla="*/ 4302 w 10000"/>
                <a:gd name="connsiteY121" fmla="*/ 355 h 10036"/>
                <a:gd name="connsiteX122" fmla="*/ 4274 w 10000"/>
                <a:gd name="connsiteY122" fmla="*/ 567 h 10036"/>
                <a:gd name="connsiteX123" fmla="*/ 3732 w 10000"/>
                <a:gd name="connsiteY123" fmla="*/ 922 h 10036"/>
                <a:gd name="connsiteX124" fmla="*/ 3276 w 10000"/>
                <a:gd name="connsiteY124" fmla="*/ 993 h 10036"/>
                <a:gd name="connsiteX125" fmla="*/ 2906 w 10000"/>
                <a:gd name="connsiteY125" fmla="*/ 1537 h 10036"/>
                <a:gd name="connsiteX126" fmla="*/ 2365 w 10000"/>
                <a:gd name="connsiteY126" fmla="*/ 1726 h 10036"/>
                <a:gd name="connsiteX127" fmla="*/ 1852 w 10000"/>
                <a:gd name="connsiteY127" fmla="*/ 2009 h 10036"/>
                <a:gd name="connsiteX128" fmla="*/ 1709 w 10000"/>
                <a:gd name="connsiteY128" fmla="*/ 2459 h 10036"/>
                <a:gd name="connsiteX129" fmla="*/ 1425 w 10000"/>
                <a:gd name="connsiteY129" fmla="*/ 2411 h 10036"/>
                <a:gd name="connsiteX130" fmla="*/ 997 w 10000"/>
                <a:gd name="connsiteY130" fmla="*/ 2199 h 10036"/>
                <a:gd name="connsiteX131" fmla="*/ 570 w 10000"/>
                <a:gd name="connsiteY131" fmla="*/ 2411 h 10036"/>
                <a:gd name="connsiteX132" fmla="*/ 199 w 10000"/>
                <a:gd name="connsiteY132" fmla="*/ 2600 h 10036"/>
                <a:gd name="connsiteX133" fmla="*/ 0 w 10000"/>
                <a:gd name="connsiteY133" fmla="*/ 2553 h 10036"/>
                <a:gd name="connsiteX134" fmla="*/ 57 w 10000"/>
                <a:gd name="connsiteY134" fmla="*/ 2861 h 10036"/>
                <a:gd name="connsiteX0" fmla="*/ 57 w 10000"/>
                <a:gd name="connsiteY0" fmla="*/ 2861 h 10036"/>
                <a:gd name="connsiteX1" fmla="*/ 85 w 10000"/>
                <a:gd name="connsiteY1" fmla="*/ 2861 h 10036"/>
                <a:gd name="connsiteX2" fmla="*/ 399 w 10000"/>
                <a:gd name="connsiteY2" fmla="*/ 2790 h 10036"/>
                <a:gd name="connsiteX3" fmla="*/ 427 w 10000"/>
                <a:gd name="connsiteY3" fmla="*/ 2790 h 10036"/>
                <a:gd name="connsiteX4" fmla="*/ 456 w 10000"/>
                <a:gd name="connsiteY4" fmla="*/ 2837 h 10036"/>
                <a:gd name="connsiteX5" fmla="*/ 598 w 10000"/>
                <a:gd name="connsiteY5" fmla="*/ 2979 h 10036"/>
                <a:gd name="connsiteX6" fmla="*/ 627 w 10000"/>
                <a:gd name="connsiteY6" fmla="*/ 3002 h 10036"/>
                <a:gd name="connsiteX7" fmla="*/ 570 w 10000"/>
                <a:gd name="connsiteY7" fmla="*/ 3026 h 10036"/>
                <a:gd name="connsiteX8" fmla="*/ 370 w 10000"/>
                <a:gd name="connsiteY8" fmla="*/ 3191 h 10036"/>
                <a:gd name="connsiteX9" fmla="*/ 256 w 10000"/>
                <a:gd name="connsiteY9" fmla="*/ 3310 h 10036"/>
                <a:gd name="connsiteX10" fmla="*/ 285 w 10000"/>
                <a:gd name="connsiteY10" fmla="*/ 3357 h 10036"/>
                <a:gd name="connsiteX11" fmla="*/ 484 w 10000"/>
                <a:gd name="connsiteY11" fmla="*/ 3499 h 10036"/>
                <a:gd name="connsiteX12" fmla="*/ 712 w 10000"/>
                <a:gd name="connsiteY12" fmla="*/ 3475 h 10036"/>
                <a:gd name="connsiteX13" fmla="*/ 741 w 10000"/>
                <a:gd name="connsiteY13" fmla="*/ 3475 h 10036"/>
                <a:gd name="connsiteX14" fmla="*/ 741 w 10000"/>
                <a:gd name="connsiteY14" fmla="*/ 3475 h 10036"/>
                <a:gd name="connsiteX15" fmla="*/ 940 w 10000"/>
                <a:gd name="connsiteY15" fmla="*/ 3570 h 10036"/>
                <a:gd name="connsiteX16" fmla="*/ 997 w 10000"/>
                <a:gd name="connsiteY16" fmla="*/ 3593 h 10036"/>
                <a:gd name="connsiteX17" fmla="*/ 969 w 10000"/>
                <a:gd name="connsiteY17" fmla="*/ 3617 h 10036"/>
                <a:gd name="connsiteX18" fmla="*/ 969 w 10000"/>
                <a:gd name="connsiteY18" fmla="*/ 3830 h 10036"/>
                <a:gd name="connsiteX19" fmla="*/ 969 w 10000"/>
                <a:gd name="connsiteY19" fmla="*/ 3877 h 10036"/>
                <a:gd name="connsiteX20" fmla="*/ 912 w 10000"/>
                <a:gd name="connsiteY20" fmla="*/ 3877 h 10036"/>
                <a:gd name="connsiteX21" fmla="*/ 712 w 10000"/>
                <a:gd name="connsiteY21" fmla="*/ 3901 h 10036"/>
                <a:gd name="connsiteX22" fmla="*/ 826 w 10000"/>
                <a:gd name="connsiteY22" fmla="*/ 4066 h 10036"/>
                <a:gd name="connsiteX23" fmla="*/ 826 w 10000"/>
                <a:gd name="connsiteY23" fmla="*/ 4066 h 10036"/>
                <a:gd name="connsiteX24" fmla="*/ 826 w 10000"/>
                <a:gd name="connsiteY24" fmla="*/ 4066 h 10036"/>
                <a:gd name="connsiteX25" fmla="*/ 912 w 10000"/>
                <a:gd name="connsiteY25" fmla="*/ 4208 h 10036"/>
                <a:gd name="connsiteX26" fmla="*/ 912 w 10000"/>
                <a:gd name="connsiteY26" fmla="*/ 4208 h 10036"/>
                <a:gd name="connsiteX27" fmla="*/ 912 w 10000"/>
                <a:gd name="connsiteY27" fmla="*/ 4208 h 10036"/>
                <a:gd name="connsiteX28" fmla="*/ 997 w 10000"/>
                <a:gd name="connsiteY28" fmla="*/ 4374 h 10036"/>
                <a:gd name="connsiteX29" fmla="*/ 1282 w 10000"/>
                <a:gd name="connsiteY29" fmla="*/ 4965 h 10036"/>
                <a:gd name="connsiteX30" fmla="*/ 1282 w 10000"/>
                <a:gd name="connsiteY30" fmla="*/ 4965 h 10036"/>
                <a:gd name="connsiteX31" fmla="*/ 1282 w 10000"/>
                <a:gd name="connsiteY31" fmla="*/ 4965 h 10036"/>
                <a:gd name="connsiteX32" fmla="*/ 1282 w 10000"/>
                <a:gd name="connsiteY32" fmla="*/ 5768 h 10036"/>
                <a:gd name="connsiteX33" fmla="*/ 1282 w 10000"/>
                <a:gd name="connsiteY33" fmla="*/ 5768 h 10036"/>
                <a:gd name="connsiteX34" fmla="*/ 1254 w 10000"/>
                <a:gd name="connsiteY34" fmla="*/ 5792 h 10036"/>
                <a:gd name="connsiteX35" fmla="*/ 1054 w 10000"/>
                <a:gd name="connsiteY35" fmla="*/ 6076 h 10036"/>
                <a:gd name="connsiteX36" fmla="*/ 1083 w 10000"/>
                <a:gd name="connsiteY36" fmla="*/ 6288 h 10036"/>
                <a:gd name="connsiteX37" fmla="*/ 1396 w 10000"/>
                <a:gd name="connsiteY37" fmla="*/ 6596 h 10036"/>
                <a:gd name="connsiteX38" fmla="*/ 1453 w 10000"/>
                <a:gd name="connsiteY38" fmla="*/ 6643 h 10036"/>
                <a:gd name="connsiteX39" fmla="*/ 1396 w 10000"/>
                <a:gd name="connsiteY39" fmla="*/ 6667 h 10036"/>
                <a:gd name="connsiteX40" fmla="*/ 1197 w 10000"/>
                <a:gd name="connsiteY40" fmla="*/ 6761 h 10036"/>
                <a:gd name="connsiteX41" fmla="*/ 826 w 10000"/>
                <a:gd name="connsiteY41" fmla="*/ 7281 h 10036"/>
                <a:gd name="connsiteX42" fmla="*/ 1026 w 10000"/>
                <a:gd name="connsiteY42" fmla="*/ 7305 h 10036"/>
                <a:gd name="connsiteX43" fmla="*/ 1054 w 10000"/>
                <a:gd name="connsiteY43" fmla="*/ 7305 h 10036"/>
                <a:gd name="connsiteX44" fmla="*/ 1083 w 10000"/>
                <a:gd name="connsiteY44" fmla="*/ 7352 h 10036"/>
                <a:gd name="connsiteX45" fmla="*/ 1140 w 10000"/>
                <a:gd name="connsiteY45" fmla="*/ 7541 h 10036"/>
                <a:gd name="connsiteX46" fmla="*/ 1453 w 10000"/>
                <a:gd name="connsiteY46" fmla="*/ 7801 h 10036"/>
                <a:gd name="connsiteX47" fmla="*/ 1422 w 10000"/>
                <a:gd name="connsiteY47" fmla="*/ 7995 h 10036"/>
                <a:gd name="connsiteX48" fmla="*/ 1425 w 10000"/>
                <a:gd name="connsiteY48" fmla="*/ 8298 h 10036"/>
                <a:gd name="connsiteX49" fmla="*/ 1425 w 10000"/>
                <a:gd name="connsiteY49" fmla="*/ 8440 h 10036"/>
                <a:gd name="connsiteX50" fmla="*/ 1624 w 10000"/>
                <a:gd name="connsiteY50" fmla="*/ 8700 h 10036"/>
                <a:gd name="connsiteX51" fmla="*/ 2564 w 10000"/>
                <a:gd name="connsiteY51" fmla="*/ 8747 h 10036"/>
                <a:gd name="connsiteX52" fmla="*/ 2593 w 10000"/>
                <a:gd name="connsiteY52" fmla="*/ 8747 h 10036"/>
                <a:gd name="connsiteX53" fmla="*/ 2593 w 10000"/>
                <a:gd name="connsiteY53" fmla="*/ 8771 h 10036"/>
                <a:gd name="connsiteX54" fmla="*/ 2821 w 10000"/>
                <a:gd name="connsiteY54" fmla="*/ 8983 h 10036"/>
                <a:gd name="connsiteX55" fmla="*/ 3105 w 10000"/>
                <a:gd name="connsiteY55" fmla="*/ 8983 h 10036"/>
                <a:gd name="connsiteX56" fmla="*/ 3105 w 10000"/>
                <a:gd name="connsiteY56" fmla="*/ 8983 h 10036"/>
                <a:gd name="connsiteX57" fmla="*/ 3134 w 10000"/>
                <a:gd name="connsiteY57" fmla="*/ 8983 h 10036"/>
                <a:gd name="connsiteX58" fmla="*/ 3561 w 10000"/>
                <a:gd name="connsiteY58" fmla="*/ 9196 h 10036"/>
                <a:gd name="connsiteX59" fmla="*/ 3590 w 10000"/>
                <a:gd name="connsiteY59" fmla="*/ 9220 h 10036"/>
                <a:gd name="connsiteX60" fmla="*/ 3590 w 10000"/>
                <a:gd name="connsiteY60" fmla="*/ 9243 h 10036"/>
                <a:gd name="connsiteX61" fmla="*/ 3675 w 10000"/>
                <a:gd name="connsiteY61" fmla="*/ 9669 h 10036"/>
                <a:gd name="connsiteX62" fmla="*/ 3675 w 10000"/>
                <a:gd name="connsiteY62" fmla="*/ 9669 h 10036"/>
                <a:gd name="connsiteX63" fmla="*/ 3647 w 10000"/>
                <a:gd name="connsiteY63" fmla="*/ 9693 h 10036"/>
                <a:gd name="connsiteX64" fmla="*/ 3476 w 10000"/>
                <a:gd name="connsiteY64" fmla="*/ 9953 h 10036"/>
                <a:gd name="connsiteX65" fmla="*/ 4056 w 10000"/>
                <a:gd name="connsiteY65" fmla="*/ 10036 h 10036"/>
                <a:gd name="connsiteX66" fmla="*/ 4087 w 10000"/>
                <a:gd name="connsiteY66" fmla="*/ 9992 h 10036"/>
                <a:gd name="connsiteX67" fmla="*/ 4395 w 10000"/>
                <a:gd name="connsiteY67" fmla="*/ 9647 h 10036"/>
                <a:gd name="connsiteX68" fmla="*/ 4558 w 10000"/>
                <a:gd name="connsiteY68" fmla="*/ 9480 h 10036"/>
                <a:gd name="connsiteX69" fmla="*/ 4929 w 10000"/>
                <a:gd name="connsiteY69" fmla="*/ 9314 h 10036"/>
                <a:gd name="connsiteX70" fmla="*/ 4957 w 10000"/>
                <a:gd name="connsiteY70" fmla="*/ 9314 h 10036"/>
                <a:gd name="connsiteX71" fmla="*/ 4986 w 10000"/>
                <a:gd name="connsiteY71" fmla="*/ 9314 h 10036"/>
                <a:gd name="connsiteX72" fmla="*/ 5442 w 10000"/>
                <a:gd name="connsiteY72" fmla="*/ 9338 h 10036"/>
                <a:gd name="connsiteX73" fmla="*/ 6534 w 10000"/>
                <a:gd name="connsiteY73" fmla="*/ 9024 h 10036"/>
                <a:gd name="connsiteX74" fmla="*/ 6581 w 10000"/>
                <a:gd name="connsiteY74" fmla="*/ 8251 h 10036"/>
                <a:gd name="connsiteX75" fmla="*/ 7066 w 10000"/>
                <a:gd name="connsiteY75" fmla="*/ 8227 h 10036"/>
                <a:gd name="connsiteX76" fmla="*/ 7066 w 10000"/>
                <a:gd name="connsiteY76" fmla="*/ 8227 h 10036"/>
                <a:gd name="connsiteX77" fmla="*/ 7094 w 10000"/>
                <a:gd name="connsiteY77" fmla="*/ 8251 h 10036"/>
                <a:gd name="connsiteX78" fmla="*/ 7236 w 10000"/>
                <a:gd name="connsiteY78" fmla="*/ 8345 h 10036"/>
                <a:gd name="connsiteX79" fmla="*/ 7778 w 10000"/>
                <a:gd name="connsiteY79" fmla="*/ 8369 h 10036"/>
                <a:gd name="connsiteX80" fmla="*/ 7806 w 10000"/>
                <a:gd name="connsiteY80" fmla="*/ 8369 h 10036"/>
                <a:gd name="connsiteX81" fmla="*/ 7806 w 10000"/>
                <a:gd name="connsiteY81" fmla="*/ 8392 h 10036"/>
                <a:gd name="connsiteX82" fmla="*/ 8063 w 10000"/>
                <a:gd name="connsiteY82" fmla="*/ 8511 h 10036"/>
                <a:gd name="connsiteX83" fmla="*/ 8091 w 10000"/>
                <a:gd name="connsiteY83" fmla="*/ 8511 h 10036"/>
                <a:gd name="connsiteX84" fmla="*/ 8091 w 10000"/>
                <a:gd name="connsiteY84" fmla="*/ 8558 h 10036"/>
                <a:gd name="connsiteX85" fmla="*/ 8006 w 10000"/>
                <a:gd name="connsiteY85" fmla="*/ 8913 h 10036"/>
                <a:gd name="connsiteX86" fmla="*/ 8291 w 10000"/>
                <a:gd name="connsiteY86" fmla="*/ 9243 h 10036"/>
                <a:gd name="connsiteX87" fmla="*/ 8262 w 10000"/>
                <a:gd name="connsiteY87" fmla="*/ 9267 h 10036"/>
                <a:gd name="connsiteX88" fmla="*/ 8490 w 10000"/>
                <a:gd name="connsiteY88" fmla="*/ 9385 h 10036"/>
                <a:gd name="connsiteX89" fmla="*/ 9373 w 10000"/>
                <a:gd name="connsiteY89" fmla="*/ 9314 h 10036"/>
                <a:gd name="connsiteX90" fmla="*/ 9687 w 10000"/>
                <a:gd name="connsiteY90" fmla="*/ 8818 h 10036"/>
                <a:gd name="connsiteX91" fmla="*/ 9687 w 10000"/>
                <a:gd name="connsiteY91" fmla="*/ 8771 h 10036"/>
                <a:gd name="connsiteX92" fmla="*/ 9687 w 10000"/>
                <a:gd name="connsiteY92" fmla="*/ 8771 h 10036"/>
                <a:gd name="connsiteX93" fmla="*/ 9772 w 10000"/>
                <a:gd name="connsiteY93" fmla="*/ 8700 h 10036"/>
                <a:gd name="connsiteX94" fmla="*/ 9744 w 10000"/>
                <a:gd name="connsiteY94" fmla="*/ 8440 h 10036"/>
                <a:gd name="connsiteX95" fmla="*/ 9630 w 10000"/>
                <a:gd name="connsiteY95" fmla="*/ 8345 h 10036"/>
                <a:gd name="connsiteX96" fmla="*/ 9630 w 10000"/>
                <a:gd name="connsiteY96" fmla="*/ 8322 h 10036"/>
                <a:gd name="connsiteX97" fmla="*/ 9630 w 10000"/>
                <a:gd name="connsiteY97" fmla="*/ 8298 h 10036"/>
                <a:gd name="connsiteX98" fmla="*/ 9630 w 10000"/>
                <a:gd name="connsiteY98" fmla="*/ 8061 h 10036"/>
                <a:gd name="connsiteX99" fmla="*/ 8689 w 10000"/>
                <a:gd name="connsiteY99" fmla="*/ 7281 h 10036"/>
                <a:gd name="connsiteX100" fmla="*/ 8689 w 10000"/>
                <a:gd name="connsiteY100" fmla="*/ 7281 h 10036"/>
                <a:gd name="connsiteX101" fmla="*/ 8689 w 10000"/>
                <a:gd name="connsiteY101" fmla="*/ 7258 h 10036"/>
                <a:gd name="connsiteX102" fmla="*/ 8689 w 10000"/>
                <a:gd name="connsiteY102" fmla="*/ 6832 h 10036"/>
                <a:gd name="connsiteX103" fmla="*/ 8689 w 10000"/>
                <a:gd name="connsiteY103" fmla="*/ 6832 h 10036"/>
                <a:gd name="connsiteX104" fmla="*/ 8689 w 10000"/>
                <a:gd name="connsiteY104" fmla="*/ 6809 h 10036"/>
                <a:gd name="connsiteX105" fmla="*/ 9345 w 10000"/>
                <a:gd name="connsiteY105" fmla="*/ 6336 h 10036"/>
                <a:gd name="connsiteX106" fmla="*/ 9801 w 10000"/>
                <a:gd name="connsiteY106" fmla="*/ 5863 h 10036"/>
                <a:gd name="connsiteX107" fmla="*/ 9972 w 10000"/>
                <a:gd name="connsiteY107" fmla="*/ 5248 h 10036"/>
                <a:gd name="connsiteX108" fmla="*/ 10000 w 10000"/>
                <a:gd name="connsiteY108" fmla="*/ 5248 h 10036"/>
                <a:gd name="connsiteX109" fmla="*/ 7920 w 10000"/>
                <a:gd name="connsiteY109" fmla="*/ 2979 h 10036"/>
                <a:gd name="connsiteX110" fmla="*/ 7179 w 10000"/>
                <a:gd name="connsiteY110" fmla="*/ 2246 h 10036"/>
                <a:gd name="connsiteX111" fmla="*/ 6524 w 10000"/>
                <a:gd name="connsiteY111" fmla="*/ 1844 h 10036"/>
                <a:gd name="connsiteX112" fmla="*/ 5014 w 10000"/>
                <a:gd name="connsiteY112" fmla="*/ 1158 h 10036"/>
                <a:gd name="connsiteX113" fmla="*/ 4672 w 10000"/>
                <a:gd name="connsiteY113" fmla="*/ 709 h 10036"/>
                <a:gd name="connsiteX114" fmla="*/ 4900 w 10000"/>
                <a:gd name="connsiteY114" fmla="*/ 709 h 10036"/>
                <a:gd name="connsiteX115" fmla="*/ 5242 w 10000"/>
                <a:gd name="connsiteY115" fmla="*/ 709 h 10036"/>
                <a:gd name="connsiteX116" fmla="*/ 5442 w 10000"/>
                <a:gd name="connsiteY116" fmla="*/ 355 h 10036"/>
                <a:gd name="connsiteX117" fmla="*/ 5385 w 10000"/>
                <a:gd name="connsiteY117" fmla="*/ 0 h 10036"/>
                <a:gd name="connsiteX118" fmla="*/ 5128 w 10000"/>
                <a:gd name="connsiteY118" fmla="*/ 95 h 10036"/>
                <a:gd name="connsiteX119" fmla="*/ 4701 w 10000"/>
                <a:gd name="connsiteY119" fmla="*/ 355 h 10036"/>
                <a:gd name="connsiteX120" fmla="*/ 4302 w 10000"/>
                <a:gd name="connsiteY120" fmla="*/ 355 h 10036"/>
                <a:gd name="connsiteX121" fmla="*/ 4274 w 10000"/>
                <a:gd name="connsiteY121" fmla="*/ 567 h 10036"/>
                <a:gd name="connsiteX122" fmla="*/ 3732 w 10000"/>
                <a:gd name="connsiteY122" fmla="*/ 922 h 10036"/>
                <a:gd name="connsiteX123" fmla="*/ 3276 w 10000"/>
                <a:gd name="connsiteY123" fmla="*/ 993 h 10036"/>
                <a:gd name="connsiteX124" fmla="*/ 2906 w 10000"/>
                <a:gd name="connsiteY124" fmla="*/ 1537 h 10036"/>
                <a:gd name="connsiteX125" fmla="*/ 2365 w 10000"/>
                <a:gd name="connsiteY125" fmla="*/ 1726 h 10036"/>
                <a:gd name="connsiteX126" fmla="*/ 1852 w 10000"/>
                <a:gd name="connsiteY126" fmla="*/ 2009 h 10036"/>
                <a:gd name="connsiteX127" fmla="*/ 1709 w 10000"/>
                <a:gd name="connsiteY127" fmla="*/ 2459 h 10036"/>
                <a:gd name="connsiteX128" fmla="*/ 1425 w 10000"/>
                <a:gd name="connsiteY128" fmla="*/ 2411 h 10036"/>
                <a:gd name="connsiteX129" fmla="*/ 997 w 10000"/>
                <a:gd name="connsiteY129" fmla="*/ 2199 h 10036"/>
                <a:gd name="connsiteX130" fmla="*/ 570 w 10000"/>
                <a:gd name="connsiteY130" fmla="*/ 2411 h 10036"/>
                <a:gd name="connsiteX131" fmla="*/ 199 w 10000"/>
                <a:gd name="connsiteY131" fmla="*/ 2600 h 10036"/>
                <a:gd name="connsiteX132" fmla="*/ 0 w 10000"/>
                <a:gd name="connsiteY132" fmla="*/ 2553 h 10036"/>
                <a:gd name="connsiteX133" fmla="*/ 57 w 10000"/>
                <a:gd name="connsiteY133" fmla="*/ 2861 h 10036"/>
                <a:gd name="connsiteX0" fmla="*/ 57 w 10000"/>
                <a:gd name="connsiteY0" fmla="*/ 2861 h 10036"/>
                <a:gd name="connsiteX1" fmla="*/ 85 w 10000"/>
                <a:gd name="connsiteY1" fmla="*/ 2861 h 10036"/>
                <a:gd name="connsiteX2" fmla="*/ 399 w 10000"/>
                <a:gd name="connsiteY2" fmla="*/ 2790 h 10036"/>
                <a:gd name="connsiteX3" fmla="*/ 427 w 10000"/>
                <a:gd name="connsiteY3" fmla="*/ 2790 h 10036"/>
                <a:gd name="connsiteX4" fmla="*/ 456 w 10000"/>
                <a:gd name="connsiteY4" fmla="*/ 2837 h 10036"/>
                <a:gd name="connsiteX5" fmla="*/ 598 w 10000"/>
                <a:gd name="connsiteY5" fmla="*/ 2979 h 10036"/>
                <a:gd name="connsiteX6" fmla="*/ 627 w 10000"/>
                <a:gd name="connsiteY6" fmla="*/ 3002 h 10036"/>
                <a:gd name="connsiteX7" fmla="*/ 570 w 10000"/>
                <a:gd name="connsiteY7" fmla="*/ 3026 h 10036"/>
                <a:gd name="connsiteX8" fmla="*/ 370 w 10000"/>
                <a:gd name="connsiteY8" fmla="*/ 3191 h 10036"/>
                <a:gd name="connsiteX9" fmla="*/ 256 w 10000"/>
                <a:gd name="connsiteY9" fmla="*/ 3310 h 10036"/>
                <a:gd name="connsiteX10" fmla="*/ 285 w 10000"/>
                <a:gd name="connsiteY10" fmla="*/ 3357 h 10036"/>
                <a:gd name="connsiteX11" fmla="*/ 484 w 10000"/>
                <a:gd name="connsiteY11" fmla="*/ 3499 h 10036"/>
                <a:gd name="connsiteX12" fmla="*/ 712 w 10000"/>
                <a:gd name="connsiteY12" fmla="*/ 3475 h 10036"/>
                <a:gd name="connsiteX13" fmla="*/ 741 w 10000"/>
                <a:gd name="connsiteY13" fmla="*/ 3475 h 10036"/>
                <a:gd name="connsiteX14" fmla="*/ 741 w 10000"/>
                <a:gd name="connsiteY14" fmla="*/ 3475 h 10036"/>
                <a:gd name="connsiteX15" fmla="*/ 940 w 10000"/>
                <a:gd name="connsiteY15" fmla="*/ 3570 h 10036"/>
                <a:gd name="connsiteX16" fmla="*/ 997 w 10000"/>
                <a:gd name="connsiteY16" fmla="*/ 3593 h 10036"/>
                <a:gd name="connsiteX17" fmla="*/ 969 w 10000"/>
                <a:gd name="connsiteY17" fmla="*/ 3617 h 10036"/>
                <a:gd name="connsiteX18" fmla="*/ 969 w 10000"/>
                <a:gd name="connsiteY18" fmla="*/ 3830 h 10036"/>
                <a:gd name="connsiteX19" fmla="*/ 969 w 10000"/>
                <a:gd name="connsiteY19" fmla="*/ 3877 h 10036"/>
                <a:gd name="connsiteX20" fmla="*/ 912 w 10000"/>
                <a:gd name="connsiteY20" fmla="*/ 3877 h 10036"/>
                <a:gd name="connsiteX21" fmla="*/ 712 w 10000"/>
                <a:gd name="connsiteY21" fmla="*/ 3901 h 10036"/>
                <a:gd name="connsiteX22" fmla="*/ 826 w 10000"/>
                <a:gd name="connsiteY22" fmla="*/ 4066 h 10036"/>
                <a:gd name="connsiteX23" fmla="*/ 826 w 10000"/>
                <a:gd name="connsiteY23" fmla="*/ 4066 h 10036"/>
                <a:gd name="connsiteX24" fmla="*/ 826 w 10000"/>
                <a:gd name="connsiteY24" fmla="*/ 4066 h 10036"/>
                <a:gd name="connsiteX25" fmla="*/ 912 w 10000"/>
                <a:gd name="connsiteY25" fmla="*/ 4208 h 10036"/>
                <a:gd name="connsiteX26" fmla="*/ 912 w 10000"/>
                <a:gd name="connsiteY26" fmla="*/ 4208 h 10036"/>
                <a:gd name="connsiteX27" fmla="*/ 912 w 10000"/>
                <a:gd name="connsiteY27" fmla="*/ 4208 h 10036"/>
                <a:gd name="connsiteX28" fmla="*/ 997 w 10000"/>
                <a:gd name="connsiteY28" fmla="*/ 4374 h 10036"/>
                <a:gd name="connsiteX29" fmla="*/ 1282 w 10000"/>
                <a:gd name="connsiteY29" fmla="*/ 4965 h 10036"/>
                <a:gd name="connsiteX30" fmla="*/ 1282 w 10000"/>
                <a:gd name="connsiteY30" fmla="*/ 4965 h 10036"/>
                <a:gd name="connsiteX31" fmla="*/ 1282 w 10000"/>
                <a:gd name="connsiteY31" fmla="*/ 4965 h 10036"/>
                <a:gd name="connsiteX32" fmla="*/ 1282 w 10000"/>
                <a:gd name="connsiteY32" fmla="*/ 5768 h 10036"/>
                <a:gd name="connsiteX33" fmla="*/ 1282 w 10000"/>
                <a:gd name="connsiteY33" fmla="*/ 5768 h 10036"/>
                <a:gd name="connsiteX34" fmla="*/ 1254 w 10000"/>
                <a:gd name="connsiteY34" fmla="*/ 5792 h 10036"/>
                <a:gd name="connsiteX35" fmla="*/ 1054 w 10000"/>
                <a:gd name="connsiteY35" fmla="*/ 6076 h 10036"/>
                <a:gd name="connsiteX36" fmla="*/ 1083 w 10000"/>
                <a:gd name="connsiteY36" fmla="*/ 6288 h 10036"/>
                <a:gd name="connsiteX37" fmla="*/ 1396 w 10000"/>
                <a:gd name="connsiteY37" fmla="*/ 6596 h 10036"/>
                <a:gd name="connsiteX38" fmla="*/ 1453 w 10000"/>
                <a:gd name="connsiteY38" fmla="*/ 6643 h 10036"/>
                <a:gd name="connsiteX39" fmla="*/ 1396 w 10000"/>
                <a:gd name="connsiteY39" fmla="*/ 6667 h 10036"/>
                <a:gd name="connsiteX40" fmla="*/ 1197 w 10000"/>
                <a:gd name="connsiteY40" fmla="*/ 6761 h 10036"/>
                <a:gd name="connsiteX41" fmla="*/ 826 w 10000"/>
                <a:gd name="connsiteY41" fmla="*/ 7281 h 10036"/>
                <a:gd name="connsiteX42" fmla="*/ 1026 w 10000"/>
                <a:gd name="connsiteY42" fmla="*/ 7305 h 10036"/>
                <a:gd name="connsiteX43" fmla="*/ 1054 w 10000"/>
                <a:gd name="connsiteY43" fmla="*/ 7305 h 10036"/>
                <a:gd name="connsiteX44" fmla="*/ 1083 w 10000"/>
                <a:gd name="connsiteY44" fmla="*/ 7352 h 10036"/>
                <a:gd name="connsiteX45" fmla="*/ 1140 w 10000"/>
                <a:gd name="connsiteY45" fmla="*/ 7541 h 10036"/>
                <a:gd name="connsiteX46" fmla="*/ 1453 w 10000"/>
                <a:gd name="connsiteY46" fmla="*/ 7801 h 10036"/>
                <a:gd name="connsiteX47" fmla="*/ 1422 w 10000"/>
                <a:gd name="connsiteY47" fmla="*/ 7995 h 10036"/>
                <a:gd name="connsiteX48" fmla="*/ 1425 w 10000"/>
                <a:gd name="connsiteY48" fmla="*/ 8298 h 10036"/>
                <a:gd name="connsiteX49" fmla="*/ 1425 w 10000"/>
                <a:gd name="connsiteY49" fmla="*/ 8440 h 10036"/>
                <a:gd name="connsiteX50" fmla="*/ 1624 w 10000"/>
                <a:gd name="connsiteY50" fmla="*/ 8700 h 10036"/>
                <a:gd name="connsiteX51" fmla="*/ 2564 w 10000"/>
                <a:gd name="connsiteY51" fmla="*/ 8747 h 10036"/>
                <a:gd name="connsiteX52" fmla="*/ 2593 w 10000"/>
                <a:gd name="connsiteY52" fmla="*/ 8747 h 10036"/>
                <a:gd name="connsiteX53" fmla="*/ 2593 w 10000"/>
                <a:gd name="connsiteY53" fmla="*/ 8771 h 10036"/>
                <a:gd name="connsiteX54" fmla="*/ 2821 w 10000"/>
                <a:gd name="connsiteY54" fmla="*/ 8983 h 10036"/>
                <a:gd name="connsiteX55" fmla="*/ 3105 w 10000"/>
                <a:gd name="connsiteY55" fmla="*/ 8983 h 10036"/>
                <a:gd name="connsiteX56" fmla="*/ 3105 w 10000"/>
                <a:gd name="connsiteY56" fmla="*/ 8983 h 10036"/>
                <a:gd name="connsiteX57" fmla="*/ 3134 w 10000"/>
                <a:gd name="connsiteY57" fmla="*/ 8983 h 10036"/>
                <a:gd name="connsiteX58" fmla="*/ 3561 w 10000"/>
                <a:gd name="connsiteY58" fmla="*/ 9196 h 10036"/>
                <a:gd name="connsiteX59" fmla="*/ 3590 w 10000"/>
                <a:gd name="connsiteY59" fmla="*/ 9220 h 10036"/>
                <a:gd name="connsiteX60" fmla="*/ 3590 w 10000"/>
                <a:gd name="connsiteY60" fmla="*/ 9243 h 10036"/>
                <a:gd name="connsiteX61" fmla="*/ 3675 w 10000"/>
                <a:gd name="connsiteY61" fmla="*/ 9669 h 10036"/>
                <a:gd name="connsiteX62" fmla="*/ 3675 w 10000"/>
                <a:gd name="connsiteY62" fmla="*/ 9669 h 10036"/>
                <a:gd name="connsiteX63" fmla="*/ 3647 w 10000"/>
                <a:gd name="connsiteY63" fmla="*/ 9693 h 10036"/>
                <a:gd name="connsiteX64" fmla="*/ 3476 w 10000"/>
                <a:gd name="connsiteY64" fmla="*/ 9953 h 10036"/>
                <a:gd name="connsiteX65" fmla="*/ 4056 w 10000"/>
                <a:gd name="connsiteY65" fmla="*/ 10036 h 10036"/>
                <a:gd name="connsiteX66" fmla="*/ 4087 w 10000"/>
                <a:gd name="connsiteY66" fmla="*/ 9992 h 10036"/>
                <a:gd name="connsiteX67" fmla="*/ 4395 w 10000"/>
                <a:gd name="connsiteY67" fmla="*/ 9647 h 10036"/>
                <a:gd name="connsiteX68" fmla="*/ 4558 w 10000"/>
                <a:gd name="connsiteY68" fmla="*/ 9480 h 10036"/>
                <a:gd name="connsiteX69" fmla="*/ 4929 w 10000"/>
                <a:gd name="connsiteY69" fmla="*/ 9314 h 10036"/>
                <a:gd name="connsiteX70" fmla="*/ 4957 w 10000"/>
                <a:gd name="connsiteY70" fmla="*/ 9314 h 10036"/>
                <a:gd name="connsiteX71" fmla="*/ 4986 w 10000"/>
                <a:gd name="connsiteY71" fmla="*/ 9314 h 10036"/>
                <a:gd name="connsiteX72" fmla="*/ 5442 w 10000"/>
                <a:gd name="connsiteY72" fmla="*/ 9338 h 10036"/>
                <a:gd name="connsiteX73" fmla="*/ 6534 w 10000"/>
                <a:gd name="connsiteY73" fmla="*/ 9024 h 10036"/>
                <a:gd name="connsiteX74" fmla="*/ 7066 w 10000"/>
                <a:gd name="connsiteY74" fmla="*/ 8227 h 10036"/>
                <a:gd name="connsiteX75" fmla="*/ 7066 w 10000"/>
                <a:gd name="connsiteY75" fmla="*/ 8227 h 10036"/>
                <a:gd name="connsiteX76" fmla="*/ 7094 w 10000"/>
                <a:gd name="connsiteY76" fmla="*/ 8251 h 10036"/>
                <a:gd name="connsiteX77" fmla="*/ 7236 w 10000"/>
                <a:gd name="connsiteY77" fmla="*/ 8345 h 10036"/>
                <a:gd name="connsiteX78" fmla="*/ 7778 w 10000"/>
                <a:gd name="connsiteY78" fmla="*/ 8369 h 10036"/>
                <a:gd name="connsiteX79" fmla="*/ 7806 w 10000"/>
                <a:gd name="connsiteY79" fmla="*/ 8369 h 10036"/>
                <a:gd name="connsiteX80" fmla="*/ 7806 w 10000"/>
                <a:gd name="connsiteY80" fmla="*/ 8392 h 10036"/>
                <a:gd name="connsiteX81" fmla="*/ 8063 w 10000"/>
                <a:gd name="connsiteY81" fmla="*/ 8511 h 10036"/>
                <a:gd name="connsiteX82" fmla="*/ 8091 w 10000"/>
                <a:gd name="connsiteY82" fmla="*/ 8511 h 10036"/>
                <a:gd name="connsiteX83" fmla="*/ 8091 w 10000"/>
                <a:gd name="connsiteY83" fmla="*/ 8558 h 10036"/>
                <a:gd name="connsiteX84" fmla="*/ 8006 w 10000"/>
                <a:gd name="connsiteY84" fmla="*/ 8913 h 10036"/>
                <a:gd name="connsiteX85" fmla="*/ 8291 w 10000"/>
                <a:gd name="connsiteY85" fmla="*/ 9243 h 10036"/>
                <a:gd name="connsiteX86" fmla="*/ 8262 w 10000"/>
                <a:gd name="connsiteY86" fmla="*/ 9267 h 10036"/>
                <a:gd name="connsiteX87" fmla="*/ 8490 w 10000"/>
                <a:gd name="connsiteY87" fmla="*/ 9385 h 10036"/>
                <a:gd name="connsiteX88" fmla="*/ 9373 w 10000"/>
                <a:gd name="connsiteY88" fmla="*/ 9314 h 10036"/>
                <a:gd name="connsiteX89" fmla="*/ 9687 w 10000"/>
                <a:gd name="connsiteY89" fmla="*/ 8818 h 10036"/>
                <a:gd name="connsiteX90" fmla="*/ 9687 w 10000"/>
                <a:gd name="connsiteY90" fmla="*/ 8771 h 10036"/>
                <a:gd name="connsiteX91" fmla="*/ 9687 w 10000"/>
                <a:gd name="connsiteY91" fmla="*/ 8771 h 10036"/>
                <a:gd name="connsiteX92" fmla="*/ 9772 w 10000"/>
                <a:gd name="connsiteY92" fmla="*/ 8700 h 10036"/>
                <a:gd name="connsiteX93" fmla="*/ 9744 w 10000"/>
                <a:gd name="connsiteY93" fmla="*/ 8440 h 10036"/>
                <a:gd name="connsiteX94" fmla="*/ 9630 w 10000"/>
                <a:gd name="connsiteY94" fmla="*/ 8345 h 10036"/>
                <a:gd name="connsiteX95" fmla="*/ 9630 w 10000"/>
                <a:gd name="connsiteY95" fmla="*/ 8322 h 10036"/>
                <a:gd name="connsiteX96" fmla="*/ 9630 w 10000"/>
                <a:gd name="connsiteY96" fmla="*/ 8298 h 10036"/>
                <a:gd name="connsiteX97" fmla="*/ 9630 w 10000"/>
                <a:gd name="connsiteY97" fmla="*/ 8061 h 10036"/>
                <a:gd name="connsiteX98" fmla="*/ 8689 w 10000"/>
                <a:gd name="connsiteY98" fmla="*/ 7281 h 10036"/>
                <a:gd name="connsiteX99" fmla="*/ 8689 w 10000"/>
                <a:gd name="connsiteY99" fmla="*/ 7281 h 10036"/>
                <a:gd name="connsiteX100" fmla="*/ 8689 w 10000"/>
                <a:gd name="connsiteY100" fmla="*/ 7258 h 10036"/>
                <a:gd name="connsiteX101" fmla="*/ 8689 w 10000"/>
                <a:gd name="connsiteY101" fmla="*/ 6832 h 10036"/>
                <a:gd name="connsiteX102" fmla="*/ 8689 w 10000"/>
                <a:gd name="connsiteY102" fmla="*/ 6832 h 10036"/>
                <a:gd name="connsiteX103" fmla="*/ 8689 w 10000"/>
                <a:gd name="connsiteY103" fmla="*/ 6809 h 10036"/>
                <a:gd name="connsiteX104" fmla="*/ 9345 w 10000"/>
                <a:gd name="connsiteY104" fmla="*/ 6336 h 10036"/>
                <a:gd name="connsiteX105" fmla="*/ 9801 w 10000"/>
                <a:gd name="connsiteY105" fmla="*/ 5863 h 10036"/>
                <a:gd name="connsiteX106" fmla="*/ 9972 w 10000"/>
                <a:gd name="connsiteY106" fmla="*/ 5248 h 10036"/>
                <a:gd name="connsiteX107" fmla="*/ 10000 w 10000"/>
                <a:gd name="connsiteY107" fmla="*/ 5248 h 10036"/>
                <a:gd name="connsiteX108" fmla="*/ 7920 w 10000"/>
                <a:gd name="connsiteY108" fmla="*/ 2979 h 10036"/>
                <a:gd name="connsiteX109" fmla="*/ 7179 w 10000"/>
                <a:gd name="connsiteY109" fmla="*/ 2246 h 10036"/>
                <a:gd name="connsiteX110" fmla="*/ 6524 w 10000"/>
                <a:gd name="connsiteY110" fmla="*/ 1844 h 10036"/>
                <a:gd name="connsiteX111" fmla="*/ 5014 w 10000"/>
                <a:gd name="connsiteY111" fmla="*/ 1158 h 10036"/>
                <a:gd name="connsiteX112" fmla="*/ 4672 w 10000"/>
                <a:gd name="connsiteY112" fmla="*/ 709 h 10036"/>
                <a:gd name="connsiteX113" fmla="*/ 4900 w 10000"/>
                <a:gd name="connsiteY113" fmla="*/ 709 h 10036"/>
                <a:gd name="connsiteX114" fmla="*/ 5242 w 10000"/>
                <a:gd name="connsiteY114" fmla="*/ 709 h 10036"/>
                <a:gd name="connsiteX115" fmla="*/ 5442 w 10000"/>
                <a:gd name="connsiteY115" fmla="*/ 355 h 10036"/>
                <a:gd name="connsiteX116" fmla="*/ 5385 w 10000"/>
                <a:gd name="connsiteY116" fmla="*/ 0 h 10036"/>
                <a:gd name="connsiteX117" fmla="*/ 5128 w 10000"/>
                <a:gd name="connsiteY117" fmla="*/ 95 h 10036"/>
                <a:gd name="connsiteX118" fmla="*/ 4701 w 10000"/>
                <a:gd name="connsiteY118" fmla="*/ 355 h 10036"/>
                <a:gd name="connsiteX119" fmla="*/ 4302 w 10000"/>
                <a:gd name="connsiteY119" fmla="*/ 355 h 10036"/>
                <a:gd name="connsiteX120" fmla="*/ 4274 w 10000"/>
                <a:gd name="connsiteY120" fmla="*/ 567 h 10036"/>
                <a:gd name="connsiteX121" fmla="*/ 3732 w 10000"/>
                <a:gd name="connsiteY121" fmla="*/ 922 h 10036"/>
                <a:gd name="connsiteX122" fmla="*/ 3276 w 10000"/>
                <a:gd name="connsiteY122" fmla="*/ 993 h 10036"/>
                <a:gd name="connsiteX123" fmla="*/ 2906 w 10000"/>
                <a:gd name="connsiteY123" fmla="*/ 1537 h 10036"/>
                <a:gd name="connsiteX124" fmla="*/ 2365 w 10000"/>
                <a:gd name="connsiteY124" fmla="*/ 1726 h 10036"/>
                <a:gd name="connsiteX125" fmla="*/ 1852 w 10000"/>
                <a:gd name="connsiteY125" fmla="*/ 2009 h 10036"/>
                <a:gd name="connsiteX126" fmla="*/ 1709 w 10000"/>
                <a:gd name="connsiteY126" fmla="*/ 2459 h 10036"/>
                <a:gd name="connsiteX127" fmla="*/ 1425 w 10000"/>
                <a:gd name="connsiteY127" fmla="*/ 2411 h 10036"/>
                <a:gd name="connsiteX128" fmla="*/ 997 w 10000"/>
                <a:gd name="connsiteY128" fmla="*/ 2199 h 10036"/>
                <a:gd name="connsiteX129" fmla="*/ 570 w 10000"/>
                <a:gd name="connsiteY129" fmla="*/ 2411 h 10036"/>
                <a:gd name="connsiteX130" fmla="*/ 199 w 10000"/>
                <a:gd name="connsiteY130" fmla="*/ 2600 h 10036"/>
                <a:gd name="connsiteX131" fmla="*/ 0 w 10000"/>
                <a:gd name="connsiteY131" fmla="*/ 2553 h 10036"/>
                <a:gd name="connsiteX132" fmla="*/ 57 w 10000"/>
                <a:gd name="connsiteY132" fmla="*/ 2861 h 10036"/>
                <a:gd name="connsiteX0" fmla="*/ 57 w 10000"/>
                <a:gd name="connsiteY0" fmla="*/ 2861 h 10036"/>
                <a:gd name="connsiteX1" fmla="*/ 85 w 10000"/>
                <a:gd name="connsiteY1" fmla="*/ 2861 h 10036"/>
                <a:gd name="connsiteX2" fmla="*/ 399 w 10000"/>
                <a:gd name="connsiteY2" fmla="*/ 2790 h 10036"/>
                <a:gd name="connsiteX3" fmla="*/ 427 w 10000"/>
                <a:gd name="connsiteY3" fmla="*/ 2790 h 10036"/>
                <a:gd name="connsiteX4" fmla="*/ 456 w 10000"/>
                <a:gd name="connsiteY4" fmla="*/ 2837 h 10036"/>
                <a:gd name="connsiteX5" fmla="*/ 598 w 10000"/>
                <a:gd name="connsiteY5" fmla="*/ 2979 h 10036"/>
                <a:gd name="connsiteX6" fmla="*/ 627 w 10000"/>
                <a:gd name="connsiteY6" fmla="*/ 3002 h 10036"/>
                <a:gd name="connsiteX7" fmla="*/ 570 w 10000"/>
                <a:gd name="connsiteY7" fmla="*/ 3026 h 10036"/>
                <a:gd name="connsiteX8" fmla="*/ 370 w 10000"/>
                <a:gd name="connsiteY8" fmla="*/ 3191 h 10036"/>
                <a:gd name="connsiteX9" fmla="*/ 256 w 10000"/>
                <a:gd name="connsiteY9" fmla="*/ 3310 h 10036"/>
                <a:gd name="connsiteX10" fmla="*/ 285 w 10000"/>
                <a:gd name="connsiteY10" fmla="*/ 3357 h 10036"/>
                <a:gd name="connsiteX11" fmla="*/ 484 w 10000"/>
                <a:gd name="connsiteY11" fmla="*/ 3499 h 10036"/>
                <a:gd name="connsiteX12" fmla="*/ 712 w 10000"/>
                <a:gd name="connsiteY12" fmla="*/ 3475 h 10036"/>
                <a:gd name="connsiteX13" fmla="*/ 741 w 10000"/>
                <a:gd name="connsiteY13" fmla="*/ 3475 h 10036"/>
                <a:gd name="connsiteX14" fmla="*/ 741 w 10000"/>
                <a:gd name="connsiteY14" fmla="*/ 3475 h 10036"/>
                <a:gd name="connsiteX15" fmla="*/ 940 w 10000"/>
                <a:gd name="connsiteY15" fmla="*/ 3570 h 10036"/>
                <a:gd name="connsiteX16" fmla="*/ 997 w 10000"/>
                <a:gd name="connsiteY16" fmla="*/ 3593 h 10036"/>
                <a:gd name="connsiteX17" fmla="*/ 969 w 10000"/>
                <a:gd name="connsiteY17" fmla="*/ 3617 h 10036"/>
                <a:gd name="connsiteX18" fmla="*/ 969 w 10000"/>
                <a:gd name="connsiteY18" fmla="*/ 3830 h 10036"/>
                <a:gd name="connsiteX19" fmla="*/ 969 w 10000"/>
                <a:gd name="connsiteY19" fmla="*/ 3877 h 10036"/>
                <a:gd name="connsiteX20" fmla="*/ 912 w 10000"/>
                <a:gd name="connsiteY20" fmla="*/ 3877 h 10036"/>
                <a:gd name="connsiteX21" fmla="*/ 712 w 10000"/>
                <a:gd name="connsiteY21" fmla="*/ 3901 h 10036"/>
                <a:gd name="connsiteX22" fmla="*/ 826 w 10000"/>
                <a:gd name="connsiteY22" fmla="*/ 4066 h 10036"/>
                <a:gd name="connsiteX23" fmla="*/ 826 w 10000"/>
                <a:gd name="connsiteY23" fmla="*/ 4066 h 10036"/>
                <a:gd name="connsiteX24" fmla="*/ 826 w 10000"/>
                <a:gd name="connsiteY24" fmla="*/ 4066 h 10036"/>
                <a:gd name="connsiteX25" fmla="*/ 912 w 10000"/>
                <a:gd name="connsiteY25" fmla="*/ 4208 h 10036"/>
                <a:gd name="connsiteX26" fmla="*/ 912 w 10000"/>
                <a:gd name="connsiteY26" fmla="*/ 4208 h 10036"/>
                <a:gd name="connsiteX27" fmla="*/ 912 w 10000"/>
                <a:gd name="connsiteY27" fmla="*/ 4208 h 10036"/>
                <a:gd name="connsiteX28" fmla="*/ 997 w 10000"/>
                <a:gd name="connsiteY28" fmla="*/ 4374 h 10036"/>
                <a:gd name="connsiteX29" fmla="*/ 1282 w 10000"/>
                <a:gd name="connsiteY29" fmla="*/ 4965 h 10036"/>
                <a:gd name="connsiteX30" fmla="*/ 1282 w 10000"/>
                <a:gd name="connsiteY30" fmla="*/ 4965 h 10036"/>
                <a:gd name="connsiteX31" fmla="*/ 1282 w 10000"/>
                <a:gd name="connsiteY31" fmla="*/ 4965 h 10036"/>
                <a:gd name="connsiteX32" fmla="*/ 1282 w 10000"/>
                <a:gd name="connsiteY32" fmla="*/ 5768 h 10036"/>
                <a:gd name="connsiteX33" fmla="*/ 1282 w 10000"/>
                <a:gd name="connsiteY33" fmla="*/ 5768 h 10036"/>
                <a:gd name="connsiteX34" fmla="*/ 1254 w 10000"/>
                <a:gd name="connsiteY34" fmla="*/ 5792 h 10036"/>
                <a:gd name="connsiteX35" fmla="*/ 1054 w 10000"/>
                <a:gd name="connsiteY35" fmla="*/ 6076 h 10036"/>
                <a:gd name="connsiteX36" fmla="*/ 1083 w 10000"/>
                <a:gd name="connsiteY36" fmla="*/ 6288 h 10036"/>
                <a:gd name="connsiteX37" fmla="*/ 1396 w 10000"/>
                <a:gd name="connsiteY37" fmla="*/ 6596 h 10036"/>
                <a:gd name="connsiteX38" fmla="*/ 1453 w 10000"/>
                <a:gd name="connsiteY38" fmla="*/ 6643 h 10036"/>
                <a:gd name="connsiteX39" fmla="*/ 1396 w 10000"/>
                <a:gd name="connsiteY39" fmla="*/ 6667 h 10036"/>
                <a:gd name="connsiteX40" fmla="*/ 1197 w 10000"/>
                <a:gd name="connsiteY40" fmla="*/ 6761 h 10036"/>
                <a:gd name="connsiteX41" fmla="*/ 826 w 10000"/>
                <a:gd name="connsiteY41" fmla="*/ 7281 h 10036"/>
                <a:gd name="connsiteX42" fmla="*/ 1026 w 10000"/>
                <a:gd name="connsiteY42" fmla="*/ 7305 h 10036"/>
                <a:gd name="connsiteX43" fmla="*/ 1054 w 10000"/>
                <a:gd name="connsiteY43" fmla="*/ 7305 h 10036"/>
                <a:gd name="connsiteX44" fmla="*/ 1083 w 10000"/>
                <a:gd name="connsiteY44" fmla="*/ 7352 h 10036"/>
                <a:gd name="connsiteX45" fmla="*/ 1140 w 10000"/>
                <a:gd name="connsiteY45" fmla="*/ 7541 h 10036"/>
                <a:gd name="connsiteX46" fmla="*/ 1453 w 10000"/>
                <a:gd name="connsiteY46" fmla="*/ 7801 h 10036"/>
                <a:gd name="connsiteX47" fmla="*/ 1422 w 10000"/>
                <a:gd name="connsiteY47" fmla="*/ 7995 h 10036"/>
                <a:gd name="connsiteX48" fmla="*/ 1425 w 10000"/>
                <a:gd name="connsiteY48" fmla="*/ 8298 h 10036"/>
                <a:gd name="connsiteX49" fmla="*/ 1425 w 10000"/>
                <a:gd name="connsiteY49" fmla="*/ 8440 h 10036"/>
                <a:gd name="connsiteX50" fmla="*/ 1624 w 10000"/>
                <a:gd name="connsiteY50" fmla="*/ 8700 h 10036"/>
                <a:gd name="connsiteX51" fmla="*/ 2564 w 10000"/>
                <a:gd name="connsiteY51" fmla="*/ 8747 h 10036"/>
                <a:gd name="connsiteX52" fmla="*/ 2593 w 10000"/>
                <a:gd name="connsiteY52" fmla="*/ 8747 h 10036"/>
                <a:gd name="connsiteX53" fmla="*/ 2593 w 10000"/>
                <a:gd name="connsiteY53" fmla="*/ 8771 h 10036"/>
                <a:gd name="connsiteX54" fmla="*/ 2821 w 10000"/>
                <a:gd name="connsiteY54" fmla="*/ 8983 h 10036"/>
                <a:gd name="connsiteX55" fmla="*/ 3105 w 10000"/>
                <a:gd name="connsiteY55" fmla="*/ 8983 h 10036"/>
                <a:gd name="connsiteX56" fmla="*/ 3105 w 10000"/>
                <a:gd name="connsiteY56" fmla="*/ 8983 h 10036"/>
                <a:gd name="connsiteX57" fmla="*/ 3134 w 10000"/>
                <a:gd name="connsiteY57" fmla="*/ 8983 h 10036"/>
                <a:gd name="connsiteX58" fmla="*/ 3561 w 10000"/>
                <a:gd name="connsiteY58" fmla="*/ 9196 h 10036"/>
                <a:gd name="connsiteX59" fmla="*/ 3590 w 10000"/>
                <a:gd name="connsiteY59" fmla="*/ 9220 h 10036"/>
                <a:gd name="connsiteX60" fmla="*/ 3590 w 10000"/>
                <a:gd name="connsiteY60" fmla="*/ 9243 h 10036"/>
                <a:gd name="connsiteX61" fmla="*/ 3675 w 10000"/>
                <a:gd name="connsiteY61" fmla="*/ 9669 h 10036"/>
                <a:gd name="connsiteX62" fmla="*/ 3675 w 10000"/>
                <a:gd name="connsiteY62" fmla="*/ 9669 h 10036"/>
                <a:gd name="connsiteX63" fmla="*/ 3647 w 10000"/>
                <a:gd name="connsiteY63" fmla="*/ 9693 h 10036"/>
                <a:gd name="connsiteX64" fmla="*/ 3476 w 10000"/>
                <a:gd name="connsiteY64" fmla="*/ 9953 h 10036"/>
                <a:gd name="connsiteX65" fmla="*/ 4056 w 10000"/>
                <a:gd name="connsiteY65" fmla="*/ 10036 h 10036"/>
                <a:gd name="connsiteX66" fmla="*/ 4087 w 10000"/>
                <a:gd name="connsiteY66" fmla="*/ 9992 h 10036"/>
                <a:gd name="connsiteX67" fmla="*/ 4395 w 10000"/>
                <a:gd name="connsiteY67" fmla="*/ 9647 h 10036"/>
                <a:gd name="connsiteX68" fmla="*/ 4558 w 10000"/>
                <a:gd name="connsiteY68" fmla="*/ 9480 h 10036"/>
                <a:gd name="connsiteX69" fmla="*/ 4929 w 10000"/>
                <a:gd name="connsiteY69" fmla="*/ 9314 h 10036"/>
                <a:gd name="connsiteX70" fmla="*/ 4957 w 10000"/>
                <a:gd name="connsiteY70" fmla="*/ 9314 h 10036"/>
                <a:gd name="connsiteX71" fmla="*/ 4986 w 10000"/>
                <a:gd name="connsiteY71" fmla="*/ 9314 h 10036"/>
                <a:gd name="connsiteX72" fmla="*/ 5442 w 10000"/>
                <a:gd name="connsiteY72" fmla="*/ 9338 h 10036"/>
                <a:gd name="connsiteX73" fmla="*/ 6534 w 10000"/>
                <a:gd name="connsiteY73" fmla="*/ 9024 h 10036"/>
                <a:gd name="connsiteX74" fmla="*/ 7066 w 10000"/>
                <a:gd name="connsiteY74" fmla="*/ 8227 h 10036"/>
                <a:gd name="connsiteX75" fmla="*/ 7066 w 10000"/>
                <a:gd name="connsiteY75" fmla="*/ 8227 h 10036"/>
                <a:gd name="connsiteX76" fmla="*/ 7094 w 10000"/>
                <a:gd name="connsiteY76" fmla="*/ 8251 h 10036"/>
                <a:gd name="connsiteX77" fmla="*/ 7236 w 10000"/>
                <a:gd name="connsiteY77" fmla="*/ 8345 h 10036"/>
                <a:gd name="connsiteX78" fmla="*/ 7778 w 10000"/>
                <a:gd name="connsiteY78" fmla="*/ 8369 h 10036"/>
                <a:gd name="connsiteX79" fmla="*/ 7806 w 10000"/>
                <a:gd name="connsiteY79" fmla="*/ 8369 h 10036"/>
                <a:gd name="connsiteX80" fmla="*/ 7806 w 10000"/>
                <a:gd name="connsiteY80" fmla="*/ 8392 h 10036"/>
                <a:gd name="connsiteX81" fmla="*/ 8063 w 10000"/>
                <a:gd name="connsiteY81" fmla="*/ 8511 h 10036"/>
                <a:gd name="connsiteX82" fmla="*/ 8091 w 10000"/>
                <a:gd name="connsiteY82" fmla="*/ 8511 h 10036"/>
                <a:gd name="connsiteX83" fmla="*/ 8091 w 10000"/>
                <a:gd name="connsiteY83" fmla="*/ 8558 h 10036"/>
                <a:gd name="connsiteX84" fmla="*/ 8006 w 10000"/>
                <a:gd name="connsiteY84" fmla="*/ 8913 h 10036"/>
                <a:gd name="connsiteX85" fmla="*/ 8291 w 10000"/>
                <a:gd name="connsiteY85" fmla="*/ 9243 h 10036"/>
                <a:gd name="connsiteX86" fmla="*/ 8262 w 10000"/>
                <a:gd name="connsiteY86" fmla="*/ 9267 h 10036"/>
                <a:gd name="connsiteX87" fmla="*/ 8437 w 10000"/>
                <a:gd name="connsiteY87" fmla="*/ 9548 h 10036"/>
                <a:gd name="connsiteX88" fmla="*/ 9373 w 10000"/>
                <a:gd name="connsiteY88" fmla="*/ 9314 h 10036"/>
                <a:gd name="connsiteX89" fmla="*/ 9687 w 10000"/>
                <a:gd name="connsiteY89" fmla="*/ 8818 h 10036"/>
                <a:gd name="connsiteX90" fmla="*/ 9687 w 10000"/>
                <a:gd name="connsiteY90" fmla="*/ 8771 h 10036"/>
                <a:gd name="connsiteX91" fmla="*/ 9687 w 10000"/>
                <a:gd name="connsiteY91" fmla="*/ 8771 h 10036"/>
                <a:gd name="connsiteX92" fmla="*/ 9772 w 10000"/>
                <a:gd name="connsiteY92" fmla="*/ 8700 h 10036"/>
                <a:gd name="connsiteX93" fmla="*/ 9744 w 10000"/>
                <a:gd name="connsiteY93" fmla="*/ 8440 h 10036"/>
                <a:gd name="connsiteX94" fmla="*/ 9630 w 10000"/>
                <a:gd name="connsiteY94" fmla="*/ 8345 h 10036"/>
                <a:gd name="connsiteX95" fmla="*/ 9630 w 10000"/>
                <a:gd name="connsiteY95" fmla="*/ 8322 h 10036"/>
                <a:gd name="connsiteX96" fmla="*/ 9630 w 10000"/>
                <a:gd name="connsiteY96" fmla="*/ 8298 h 10036"/>
                <a:gd name="connsiteX97" fmla="*/ 9630 w 10000"/>
                <a:gd name="connsiteY97" fmla="*/ 8061 h 10036"/>
                <a:gd name="connsiteX98" fmla="*/ 8689 w 10000"/>
                <a:gd name="connsiteY98" fmla="*/ 7281 h 10036"/>
                <a:gd name="connsiteX99" fmla="*/ 8689 w 10000"/>
                <a:gd name="connsiteY99" fmla="*/ 7281 h 10036"/>
                <a:gd name="connsiteX100" fmla="*/ 8689 w 10000"/>
                <a:gd name="connsiteY100" fmla="*/ 7258 h 10036"/>
                <a:gd name="connsiteX101" fmla="*/ 8689 w 10000"/>
                <a:gd name="connsiteY101" fmla="*/ 6832 h 10036"/>
                <a:gd name="connsiteX102" fmla="*/ 8689 w 10000"/>
                <a:gd name="connsiteY102" fmla="*/ 6832 h 10036"/>
                <a:gd name="connsiteX103" fmla="*/ 8689 w 10000"/>
                <a:gd name="connsiteY103" fmla="*/ 6809 h 10036"/>
                <a:gd name="connsiteX104" fmla="*/ 9345 w 10000"/>
                <a:gd name="connsiteY104" fmla="*/ 6336 h 10036"/>
                <a:gd name="connsiteX105" fmla="*/ 9801 w 10000"/>
                <a:gd name="connsiteY105" fmla="*/ 5863 h 10036"/>
                <a:gd name="connsiteX106" fmla="*/ 9972 w 10000"/>
                <a:gd name="connsiteY106" fmla="*/ 5248 h 10036"/>
                <a:gd name="connsiteX107" fmla="*/ 10000 w 10000"/>
                <a:gd name="connsiteY107" fmla="*/ 5248 h 10036"/>
                <a:gd name="connsiteX108" fmla="*/ 7920 w 10000"/>
                <a:gd name="connsiteY108" fmla="*/ 2979 h 10036"/>
                <a:gd name="connsiteX109" fmla="*/ 7179 w 10000"/>
                <a:gd name="connsiteY109" fmla="*/ 2246 h 10036"/>
                <a:gd name="connsiteX110" fmla="*/ 6524 w 10000"/>
                <a:gd name="connsiteY110" fmla="*/ 1844 h 10036"/>
                <a:gd name="connsiteX111" fmla="*/ 5014 w 10000"/>
                <a:gd name="connsiteY111" fmla="*/ 1158 h 10036"/>
                <a:gd name="connsiteX112" fmla="*/ 4672 w 10000"/>
                <a:gd name="connsiteY112" fmla="*/ 709 h 10036"/>
                <a:gd name="connsiteX113" fmla="*/ 4900 w 10000"/>
                <a:gd name="connsiteY113" fmla="*/ 709 h 10036"/>
                <a:gd name="connsiteX114" fmla="*/ 5242 w 10000"/>
                <a:gd name="connsiteY114" fmla="*/ 709 h 10036"/>
                <a:gd name="connsiteX115" fmla="*/ 5442 w 10000"/>
                <a:gd name="connsiteY115" fmla="*/ 355 h 10036"/>
                <a:gd name="connsiteX116" fmla="*/ 5385 w 10000"/>
                <a:gd name="connsiteY116" fmla="*/ 0 h 10036"/>
                <a:gd name="connsiteX117" fmla="*/ 5128 w 10000"/>
                <a:gd name="connsiteY117" fmla="*/ 95 h 10036"/>
                <a:gd name="connsiteX118" fmla="*/ 4701 w 10000"/>
                <a:gd name="connsiteY118" fmla="*/ 355 h 10036"/>
                <a:gd name="connsiteX119" fmla="*/ 4302 w 10000"/>
                <a:gd name="connsiteY119" fmla="*/ 355 h 10036"/>
                <a:gd name="connsiteX120" fmla="*/ 4274 w 10000"/>
                <a:gd name="connsiteY120" fmla="*/ 567 h 10036"/>
                <a:gd name="connsiteX121" fmla="*/ 3732 w 10000"/>
                <a:gd name="connsiteY121" fmla="*/ 922 h 10036"/>
                <a:gd name="connsiteX122" fmla="*/ 3276 w 10000"/>
                <a:gd name="connsiteY122" fmla="*/ 993 h 10036"/>
                <a:gd name="connsiteX123" fmla="*/ 2906 w 10000"/>
                <a:gd name="connsiteY123" fmla="*/ 1537 h 10036"/>
                <a:gd name="connsiteX124" fmla="*/ 2365 w 10000"/>
                <a:gd name="connsiteY124" fmla="*/ 1726 h 10036"/>
                <a:gd name="connsiteX125" fmla="*/ 1852 w 10000"/>
                <a:gd name="connsiteY125" fmla="*/ 2009 h 10036"/>
                <a:gd name="connsiteX126" fmla="*/ 1709 w 10000"/>
                <a:gd name="connsiteY126" fmla="*/ 2459 h 10036"/>
                <a:gd name="connsiteX127" fmla="*/ 1425 w 10000"/>
                <a:gd name="connsiteY127" fmla="*/ 2411 h 10036"/>
                <a:gd name="connsiteX128" fmla="*/ 997 w 10000"/>
                <a:gd name="connsiteY128" fmla="*/ 2199 h 10036"/>
                <a:gd name="connsiteX129" fmla="*/ 570 w 10000"/>
                <a:gd name="connsiteY129" fmla="*/ 2411 h 10036"/>
                <a:gd name="connsiteX130" fmla="*/ 199 w 10000"/>
                <a:gd name="connsiteY130" fmla="*/ 2600 h 10036"/>
                <a:gd name="connsiteX131" fmla="*/ 0 w 10000"/>
                <a:gd name="connsiteY131" fmla="*/ 2553 h 10036"/>
                <a:gd name="connsiteX132" fmla="*/ 57 w 10000"/>
                <a:gd name="connsiteY132" fmla="*/ 2861 h 10036"/>
                <a:gd name="connsiteX0" fmla="*/ 57 w 10000"/>
                <a:gd name="connsiteY0" fmla="*/ 2861 h 10036"/>
                <a:gd name="connsiteX1" fmla="*/ 85 w 10000"/>
                <a:gd name="connsiteY1" fmla="*/ 2861 h 10036"/>
                <a:gd name="connsiteX2" fmla="*/ 399 w 10000"/>
                <a:gd name="connsiteY2" fmla="*/ 2790 h 10036"/>
                <a:gd name="connsiteX3" fmla="*/ 427 w 10000"/>
                <a:gd name="connsiteY3" fmla="*/ 2790 h 10036"/>
                <a:gd name="connsiteX4" fmla="*/ 456 w 10000"/>
                <a:gd name="connsiteY4" fmla="*/ 2837 h 10036"/>
                <a:gd name="connsiteX5" fmla="*/ 598 w 10000"/>
                <a:gd name="connsiteY5" fmla="*/ 2979 h 10036"/>
                <a:gd name="connsiteX6" fmla="*/ 627 w 10000"/>
                <a:gd name="connsiteY6" fmla="*/ 3002 h 10036"/>
                <a:gd name="connsiteX7" fmla="*/ 570 w 10000"/>
                <a:gd name="connsiteY7" fmla="*/ 3026 h 10036"/>
                <a:gd name="connsiteX8" fmla="*/ 370 w 10000"/>
                <a:gd name="connsiteY8" fmla="*/ 3191 h 10036"/>
                <a:gd name="connsiteX9" fmla="*/ 256 w 10000"/>
                <a:gd name="connsiteY9" fmla="*/ 3310 h 10036"/>
                <a:gd name="connsiteX10" fmla="*/ 285 w 10000"/>
                <a:gd name="connsiteY10" fmla="*/ 3357 h 10036"/>
                <a:gd name="connsiteX11" fmla="*/ 484 w 10000"/>
                <a:gd name="connsiteY11" fmla="*/ 3499 h 10036"/>
                <a:gd name="connsiteX12" fmla="*/ 712 w 10000"/>
                <a:gd name="connsiteY12" fmla="*/ 3475 h 10036"/>
                <a:gd name="connsiteX13" fmla="*/ 741 w 10000"/>
                <a:gd name="connsiteY13" fmla="*/ 3475 h 10036"/>
                <a:gd name="connsiteX14" fmla="*/ 741 w 10000"/>
                <a:gd name="connsiteY14" fmla="*/ 3475 h 10036"/>
                <a:gd name="connsiteX15" fmla="*/ 940 w 10000"/>
                <a:gd name="connsiteY15" fmla="*/ 3570 h 10036"/>
                <a:gd name="connsiteX16" fmla="*/ 997 w 10000"/>
                <a:gd name="connsiteY16" fmla="*/ 3593 h 10036"/>
                <a:gd name="connsiteX17" fmla="*/ 969 w 10000"/>
                <a:gd name="connsiteY17" fmla="*/ 3617 h 10036"/>
                <a:gd name="connsiteX18" fmla="*/ 969 w 10000"/>
                <a:gd name="connsiteY18" fmla="*/ 3830 h 10036"/>
                <a:gd name="connsiteX19" fmla="*/ 969 w 10000"/>
                <a:gd name="connsiteY19" fmla="*/ 3877 h 10036"/>
                <a:gd name="connsiteX20" fmla="*/ 912 w 10000"/>
                <a:gd name="connsiteY20" fmla="*/ 3877 h 10036"/>
                <a:gd name="connsiteX21" fmla="*/ 712 w 10000"/>
                <a:gd name="connsiteY21" fmla="*/ 3901 h 10036"/>
                <a:gd name="connsiteX22" fmla="*/ 826 w 10000"/>
                <a:gd name="connsiteY22" fmla="*/ 4066 h 10036"/>
                <a:gd name="connsiteX23" fmla="*/ 826 w 10000"/>
                <a:gd name="connsiteY23" fmla="*/ 4066 h 10036"/>
                <a:gd name="connsiteX24" fmla="*/ 826 w 10000"/>
                <a:gd name="connsiteY24" fmla="*/ 4066 h 10036"/>
                <a:gd name="connsiteX25" fmla="*/ 912 w 10000"/>
                <a:gd name="connsiteY25" fmla="*/ 4208 h 10036"/>
                <a:gd name="connsiteX26" fmla="*/ 912 w 10000"/>
                <a:gd name="connsiteY26" fmla="*/ 4208 h 10036"/>
                <a:gd name="connsiteX27" fmla="*/ 912 w 10000"/>
                <a:gd name="connsiteY27" fmla="*/ 4208 h 10036"/>
                <a:gd name="connsiteX28" fmla="*/ 997 w 10000"/>
                <a:gd name="connsiteY28" fmla="*/ 4374 h 10036"/>
                <a:gd name="connsiteX29" fmla="*/ 1282 w 10000"/>
                <a:gd name="connsiteY29" fmla="*/ 4965 h 10036"/>
                <a:gd name="connsiteX30" fmla="*/ 1282 w 10000"/>
                <a:gd name="connsiteY30" fmla="*/ 4965 h 10036"/>
                <a:gd name="connsiteX31" fmla="*/ 1282 w 10000"/>
                <a:gd name="connsiteY31" fmla="*/ 4965 h 10036"/>
                <a:gd name="connsiteX32" fmla="*/ 1282 w 10000"/>
                <a:gd name="connsiteY32" fmla="*/ 5768 h 10036"/>
                <a:gd name="connsiteX33" fmla="*/ 1282 w 10000"/>
                <a:gd name="connsiteY33" fmla="*/ 5768 h 10036"/>
                <a:gd name="connsiteX34" fmla="*/ 1254 w 10000"/>
                <a:gd name="connsiteY34" fmla="*/ 5792 h 10036"/>
                <a:gd name="connsiteX35" fmla="*/ 1054 w 10000"/>
                <a:gd name="connsiteY35" fmla="*/ 6076 h 10036"/>
                <a:gd name="connsiteX36" fmla="*/ 1083 w 10000"/>
                <a:gd name="connsiteY36" fmla="*/ 6288 h 10036"/>
                <a:gd name="connsiteX37" fmla="*/ 1396 w 10000"/>
                <a:gd name="connsiteY37" fmla="*/ 6596 h 10036"/>
                <a:gd name="connsiteX38" fmla="*/ 1453 w 10000"/>
                <a:gd name="connsiteY38" fmla="*/ 6643 h 10036"/>
                <a:gd name="connsiteX39" fmla="*/ 1396 w 10000"/>
                <a:gd name="connsiteY39" fmla="*/ 6667 h 10036"/>
                <a:gd name="connsiteX40" fmla="*/ 1197 w 10000"/>
                <a:gd name="connsiteY40" fmla="*/ 6761 h 10036"/>
                <a:gd name="connsiteX41" fmla="*/ 826 w 10000"/>
                <a:gd name="connsiteY41" fmla="*/ 7281 h 10036"/>
                <a:gd name="connsiteX42" fmla="*/ 1026 w 10000"/>
                <a:gd name="connsiteY42" fmla="*/ 7305 h 10036"/>
                <a:gd name="connsiteX43" fmla="*/ 1054 w 10000"/>
                <a:gd name="connsiteY43" fmla="*/ 7305 h 10036"/>
                <a:gd name="connsiteX44" fmla="*/ 1083 w 10000"/>
                <a:gd name="connsiteY44" fmla="*/ 7352 h 10036"/>
                <a:gd name="connsiteX45" fmla="*/ 1140 w 10000"/>
                <a:gd name="connsiteY45" fmla="*/ 7541 h 10036"/>
                <a:gd name="connsiteX46" fmla="*/ 1453 w 10000"/>
                <a:gd name="connsiteY46" fmla="*/ 7801 h 10036"/>
                <a:gd name="connsiteX47" fmla="*/ 1422 w 10000"/>
                <a:gd name="connsiteY47" fmla="*/ 7995 h 10036"/>
                <a:gd name="connsiteX48" fmla="*/ 1425 w 10000"/>
                <a:gd name="connsiteY48" fmla="*/ 8298 h 10036"/>
                <a:gd name="connsiteX49" fmla="*/ 1425 w 10000"/>
                <a:gd name="connsiteY49" fmla="*/ 8440 h 10036"/>
                <a:gd name="connsiteX50" fmla="*/ 1624 w 10000"/>
                <a:gd name="connsiteY50" fmla="*/ 8700 h 10036"/>
                <a:gd name="connsiteX51" fmla="*/ 2564 w 10000"/>
                <a:gd name="connsiteY51" fmla="*/ 8747 h 10036"/>
                <a:gd name="connsiteX52" fmla="*/ 2593 w 10000"/>
                <a:gd name="connsiteY52" fmla="*/ 8747 h 10036"/>
                <a:gd name="connsiteX53" fmla="*/ 2593 w 10000"/>
                <a:gd name="connsiteY53" fmla="*/ 8771 h 10036"/>
                <a:gd name="connsiteX54" fmla="*/ 2821 w 10000"/>
                <a:gd name="connsiteY54" fmla="*/ 8983 h 10036"/>
                <a:gd name="connsiteX55" fmla="*/ 3105 w 10000"/>
                <a:gd name="connsiteY55" fmla="*/ 8983 h 10036"/>
                <a:gd name="connsiteX56" fmla="*/ 3105 w 10000"/>
                <a:gd name="connsiteY56" fmla="*/ 8983 h 10036"/>
                <a:gd name="connsiteX57" fmla="*/ 3134 w 10000"/>
                <a:gd name="connsiteY57" fmla="*/ 8983 h 10036"/>
                <a:gd name="connsiteX58" fmla="*/ 3561 w 10000"/>
                <a:gd name="connsiteY58" fmla="*/ 9196 h 10036"/>
                <a:gd name="connsiteX59" fmla="*/ 3590 w 10000"/>
                <a:gd name="connsiteY59" fmla="*/ 9220 h 10036"/>
                <a:gd name="connsiteX60" fmla="*/ 3590 w 10000"/>
                <a:gd name="connsiteY60" fmla="*/ 9243 h 10036"/>
                <a:gd name="connsiteX61" fmla="*/ 3675 w 10000"/>
                <a:gd name="connsiteY61" fmla="*/ 9669 h 10036"/>
                <a:gd name="connsiteX62" fmla="*/ 3675 w 10000"/>
                <a:gd name="connsiteY62" fmla="*/ 9669 h 10036"/>
                <a:gd name="connsiteX63" fmla="*/ 3647 w 10000"/>
                <a:gd name="connsiteY63" fmla="*/ 9693 h 10036"/>
                <a:gd name="connsiteX64" fmla="*/ 3476 w 10000"/>
                <a:gd name="connsiteY64" fmla="*/ 9953 h 10036"/>
                <a:gd name="connsiteX65" fmla="*/ 4056 w 10000"/>
                <a:gd name="connsiteY65" fmla="*/ 10036 h 10036"/>
                <a:gd name="connsiteX66" fmla="*/ 4087 w 10000"/>
                <a:gd name="connsiteY66" fmla="*/ 9992 h 10036"/>
                <a:gd name="connsiteX67" fmla="*/ 4395 w 10000"/>
                <a:gd name="connsiteY67" fmla="*/ 9647 h 10036"/>
                <a:gd name="connsiteX68" fmla="*/ 4558 w 10000"/>
                <a:gd name="connsiteY68" fmla="*/ 9480 h 10036"/>
                <a:gd name="connsiteX69" fmla="*/ 4929 w 10000"/>
                <a:gd name="connsiteY69" fmla="*/ 9314 h 10036"/>
                <a:gd name="connsiteX70" fmla="*/ 4957 w 10000"/>
                <a:gd name="connsiteY70" fmla="*/ 9314 h 10036"/>
                <a:gd name="connsiteX71" fmla="*/ 4986 w 10000"/>
                <a:gd name="connsiteY71" fmla="*/ 9314 h 10036"/>
                <a:gd name="connsiteX72" fmla="*/ 5442 w 10000"/>
                <a:gd name="connsiteY72" fmla="*/ 9338 h 10036"/>
                <a:gd name="connsiteX73" fmla="*/ 6534 w 10000"/>
                <a:gd name="connsiteY73" fmla="*/ 9024 h 10036"/>
                <a:gd name="connsiteX74" fmla="*/ 7066 w 10000"/>
                <a:gd name="connsiteY74" fmla="*/ 8227 h 10036"/>
                <a:gd name="connsiteX75" fmla="*/ 7066 w 10000"/>
                <a:gd name="connsiteY75" fmla="*/ 8227 h 10036"/>
                <a:gd name="connsiteX76" fmla="*/ 7094 w 10000"/>
                <a:gd name="connsiteY76" fmla="*/ 8251 h 10036"/>
                <a:gd name="connsiteX77" fmla="*/ 7236 w 10000"/>
                <a:gd name="connsiteY77" fmla="*/ 8345 h 10036"/>
                <a:gd name="connsiteX78" fmla="*/ 7778 w 10000"/>
                <a:gd name="connsiteY78" fmla="*/ 8369 h 10036"/>
                <a:gd name="connsiteX79" fmla="*/ 7806 w 10000"/>
                <a:gd name="connsiteY79" fmla="*/ 8369 h 10036"/>
                <a:gd name="connsiteX80" fmla="*/ 7806 w 10000"/>
                <a:gd name="connsiteY80" fmla="*/ 8392 h 10036"/>
                <a:gd name="connsiteX81" fmla="*/ 8063 w 10000"/>
                <a:gd name="connsiteY81" fmla="*/ 8511 h 10036"/>
                <a:gd name="connsiteX82" fmla="*/ 8091 w 10000"/>
                <a:gd name="connsiteY82" fmla="*/ 8511 h 10036"/>
                <a:gd name="connsiteX83" fmla="*/ 8091 w 10000"/>
                <a:gd name="connsiteY83" fmla="*/ 8558 h 10036"/>
                <a:gd name="connsiteX84" fmla="*/ 8006 w 10000"/>
                <a:gd name="connsiteY84" fmla="*/ 8913 h 10036"/>
                <a:gd name="connsiteX85" fmla="*/ 8291 w 10000"/>
                <a:gd name="connsiteY85" fmla="*/ 9243 h 10036"/>
                <a:gd name="connsiteX86" fmla="*/ 8437 w 10000"/>
                <a:gd name="connsiteY86" fmla="*/ 9548 h 10036"/>
                <a:gd name="connsiteX87" fmla="*/ 9373 w 10000"/>
                <a:gd name="connsiteY87" fmla="*/ 9314 h 10036"/>
                <a:gd name="connsiteX88" fmla="*/ 9687 w 10000"/>
                <a:gd name="connsiteY88" fmla="*/ 8818 h 10036"/>
                <a:gd name="connsiteX89" fmla="*/ 9687 w 10000"/>
                <a:gd name="connsiteY89" fmla="*/ 8771 h 10036"/>
                <a:gd name="connsiteX90" fmla="*/ 9687 w 10000"/>
                <a:gd name="connsiteY90" fmla="*/ 8771 h 10036"/>
                <a:gd name="connsiteX91" fmla="*/ 9772 w 10000"/>
                <a:gd name="connsiteY91" fmla="*/ 8700 h 10036"/>
                <a:gd name="connsiteX92" fmla="*/ 9744 w 10000"/>
                <a:gd name="connsiteY92" fmla="*/ 8440 h 10036"/>
                <a:gd name="connsiteX93" fmla="*/ 9630 w 10000"/>
                <a:gd name="connsiteY93" fmla="*/ 8345 h 10036"/>
                <a:gd name="connsiteX94" fmla="*/ 9630 w 10000"/>
                <a:gd name="connsiteY94" fmla="*/ 8322 h 10036"/>
                <a:gd name="connsiteX95" fmla="*/ 9630 w 10000"/>
                <a:gd name="connsiteY95" fmla="*/ 8298 h 10036"/>
                <a:gd name="connsiteX96" fmla="*/ 9630 w 10000"/>
                <a:gd name="connsiteY96" fmla="*/ 8061 h 10036"/>
                <a:gd name="connsiteX97" fmla="*/ 8689 w 10000"/>
                <a:gd name="connsiteY97" fmla="*/ 7281 h 10036"/>
                <a:gd name="connsiteX98" fmla="*/ 8689 w 10000"/>
                <a:gd name="connsiteY98" fmla="*/ 7281 h 10036"/>
                <a:gd name="connsiteX99" fmla="*/ 8689 w 10000"/>
                <a:gd name="connsiteY99" fmla="*/ 7258 h 10036"/>
                <a:gd name="connsiteX100" fmla="*/ 8689 w 10000"/>
                <a:gd name="connsiteY100" fmla="*/ 6832 h 10036"/>
                <a:gd name="connsiteX101" fmla="*/ 8689 w 10000"/>
                <a:gd name="connsiteY101" fmla="*/ 6832 h 10036"/>
                <a:gd name="connsiteX102" fmla="*/ 8689 w 10000"/>
                <a:gd name="connsiteY102" fmla="*/ 6809 h 10036"/>
                <a:gd name="connsiteX103" fmla="*/ 9345 w 10000"/>
                <a:gd name="connsiteY103" fmla="*/ 6336 h 10036"/>
                <a:gd name="connsiteX104" fmla="*/ 9801 w 10000"/>
                <a:gd name="connsiteY104" fmla="*/ 5863 h 10036"/>
                <a:gd name="connsiteX105" fmla="*/ 9972 w 10000"/>
                <a:gd name="connsiteY105" fmla="*/ 5248 h 10036"/>
                <a:gd name="connsiteX106" fmla="*/ 10000 w 10000"/>
                <a:gd name="connsiteY106" fmla="*/ 5248 h 10036"/>
                <a:gd name="connsiteX107" fmla="*/ 7920 w 10000"/>
                <a:gd name="connsiteY107" fmla="*/ 2979 h 10036"/>
                <a:gd name="connsiteX108" fmla="*/ 7179 w 10000"/>
                <a:gd name="connsiteY108" fmla="*/ 2246 h 10036"/>
                <a:gd name="connsiteX109" fmla="*/ 6524 w 10000"/>
                <a:gd name="connsiteY109" fmla="*/ 1844 h 10036"/>
                <a:gd name="connsiteX110" fmla="*/ 5014 w 10000"/>
                <a:gd name="connsiteY110" fmla="*/ 1158 h 10036"/>
                <a:gd name="connsiteX111" fmla="*/ 4672 w 10000"/>
                <a:gd name="connsiteY111" fmla="*/ 709 h 10036"/>
                <a:gd name="connsiteX112" fmla="*/ 4900 w 10000"/>
                <a:gd name="connsiteY112" fmla="*/ 709 h 10036"/>
                <a:gd name="connsiteX113" fmla="*/ 5242 w 10000"/>
                <a:gd name="connsiteY113" fmla="*/ 709 h 10036"/>
                <a:gd name="connsiteX114" fmla="*/ 5442 w 10000"/>
                <a:gd name="connsiteY114" fmla="*/ 355 h 10036"/>
                <a:gd name="connsiteX115" fmla="*/ 5385 w 10000"/>
                <a:gd name="connsiteY115" fmla="*/ 0 h 10036"/>
                <a:gd name="connsiteX116" fmla="*/ 5128 w 10000"/>
                <a:gd name="connsiteY116" fmla="*/ 95 h 10036"/>
                <a:gd name="connsiteX117" fmla="*/ 4701 w 10000"/>
                <a:gd name="connsiteY117" fmla="*/ 355 h 10036"/>
                <a:gd name="connsiteX118" fmla="*/ 4302 w 10000"/>
                <a:gd name="connsiteY118" fmla="*/ 355 h 10036"/>
                <a:gd name="connsiteX119" fmla="*/ 4274 w 10000"/>
                <a:gd name="connsiteY119" fmla="*/ 567 h 10036"/>
                <a:gd name="connsiteX120" fmla="*/ 3732 w 10000"/>
                <a:gd name="connsiteY120" fmla="*/ 922 h 10036"/>
                <a:gd name="connsiteX121" fmla="*/ 3276 w 10000"/>
                <a:gd name="connsiteY121" fmla="*/ 993 h 10036"/>
                <a:gd name="connsiteX122" fmla="*/ 2906 w 10000"/>
                <a:gd name="connsiteY122" fmla="*/ 1537 h 10036"/>
                <a:gd name="connsiteX123" fmla="*/ 2365 w 10000"/>
                <a:gd name="connsiteY123" fmla="*/ 1726 h 10036"/>
                <a:gd name="connsiteX124" fmla="*/ 1852 w 10000"/>
                <a:gd name="connsiteY124" fmla="*/ 2009 h 10036"/>
                <a:gd name="connsiteX125" fmla="*/ 1709 w 10000"/>
                <a:gd name="connsiteY125" fmla="*/ 2459 h 10036"/>
                <a:gd name="connsiteX126" fmla="*/ 1425 w 10000"/>
                <a:gd name="connsiteY126" fmla="*/ 2411 h 10036"/>
                <a:gd name="connsiteX127" fmla="*/ 997 w 10000"/>
                <a:gd name="connsiteY127" fmla="*/ 2199 h 10036"/>
                <a:gd name="connsiteX128" fmla="*/ 570 w 10000"/>
                <a:gd name="connsiteY128" fmla="*/ 2411 h 10036"/>
                <a:gd name="connsiteX129" fmla="*/ 199 w 10000"/>
                <a:gd name="connsiteY129" fmla="*/ 2600 h 10036"/>
                <a:gd name="connsiteX130" fmla="*/ 0 w 10000"/>
                <a:gd name="connsiteY130" fmla="*/ 2553 h 10036"/>
                <a:gd name="connsiteX131" fmla="*/ 57 w 10000"/>
                <a:gd name="connsiteY131" fmla="*/ 2861 h 10036"/>
                <a:gd name="connsiteX0" fmla="*/ 57 w 10000"/>
                <a:gd name="connsiteY0" fmla="*/ 2861 h 10036"/>
                <a:gd name="connsiteX1" fmla="*/ 85 w 10000"/>
                <a:gd name="connsiteY1" fmla="*/ 2861 h 10036"/>
                <a:gd name="connsiteX2" fmla="*/ 399 w 10000"/>
                <a:gd name="connsiteY2" fmla="*/ 2790 h 10036"/>
                <a:gd name="connsiteX3" fmla="*/ 427 w 10000"/>
                <a:gd name="connsiteY3" fmla="*/ 2790 h 10036"/>
                <a:gd name="connsiteX4" fmla="*/ 456 w 10000"/>
                <a:gd name="connsiteY4" fmla="*/ 2837 h 10036"/>
                <a:gd name="connsiteX5" fmla="*/ 598 w 10000"/>
                <a:gd name="connsiteY5" fmla="*/ 2979 h 10036"/>
                <a:gd name="connsiteX6" fmla="*/ 627 w 10000"/>
                <a:gd name="connsiteY6" fmla="*/ 3002 h 10036"/>
                <a:gd name="connsiteX7" fmla="*/ 570 w 10000"/>
                <a:gd name="connsiteY7" fmla="*/ 3026 h 10036"/>
                <a:gd name="connsiteX8" fmla="*/ 370 w 10000"/>
                <a:gd name="connsiteY8" fmla="*/ 3191 h 10036"/>
                <a:gd name="connsiteX9" fmla="*/ 256 w 10000"/>
                <a:gd name="connsiteY9" fmla="*/ 3310 h 10036"/>
                <a:gd name="connsiteX10" fmla="*/ 285 w 10000"/>
                <a:gd name="connsiteY10" fmla="*/ 3357 h 10036"/>
                <a:gd name="connsiteX11" fmla="*/ 484 w 10000"/>
                <a:gd name="connsiteY11" fmla="*/ 3499 h 10036"/>
                <a:gd name="connsiteX12" fmla="*/ 712 w 10000"/>
                <a:gd name="connsiteY12" fmla="*/ 3475 h 10036"/>
                <a:gd name="connsiteX13" fmla="*/ 741 w 10000"/>
                <a:gd name="connsiteY13" fmla="*/ 3475 h 10036"/>
                <a:gd name="connsiteX14" fmla="*/ 741 w 10000"/>
                <a:gd name="connsiteY14" fmla="*/ 3475 h 10036"/>
                <a:gd name="connsiteX15" fmla="*/ 940 w 10000"/>
                <a:gd name="connsiteY15" fmla="*/ 3570 h 10036"/>
                <a:gd name="connsiteX16" fmla="*/ 997 w 10000"/>
                <a:gd name="connsiteY16" fmla="*/ 3593 h 10036"/>
                <a:gd name="connsiteX17" fmla="*/ 969 w 10000"/>
                <a:gd name="connsiteY17" fmla="*/ 3617 h 10036"/>
                <a:gd name="connsiteX18" fmla="*/ 969 w 10000"/>
                <a:gd name="connsiteY18" fmla="*/ 3830 h 10036"/>
                <a:gd name="connsiteX19" fmla="*/ 969 w 10000"/>
                <a:gd name="connsiteY19" fmla="*/ 3877 h 10036"/>
                <a:gd name="connsiteX20" fmla="*/ 912 w 10000"/>
                <a:gd name="connsiteY20" fmla="*/ 3877 h 10036"/>
                <a:gd name="connsiteX21" fmla="*/ 712 w 10000"/>
                <a:gd name="connsiteY21" fmla="*/ 3901 h 10036"/>
                <a:gd name="connsiteX22" fmla="*/ 826 w 10000"/>
                <a:gd name="connsiteY22" fmla="*/ 4066 h 10036"/>
                <a:gd name="connsiteX23" fmla="*/ 826 w 10000"/>
                <a:gd name="connsiteY23" fmla="*/ 4066 h 10036"/>
                <a:gd name="connsiteX24" fmla="*/ 826 w 10000"/>
                <a:gd name="connsiteY24" fmla="*/ 4066 h 10036"/>
                <a:gd name="connsiteX25" fmla="*/ 912 w 10000"/>
                <a:gd name="connsiteY25" fmla="*/ 4208 h 10036"/>
                <a:gd name="connsiteX26" fmla="*/ 912 w 10000"/>
                <a:gd name="connsiteY26" fmla="*/ 4208 h 10036"/>
                <a:gd name="connsiteX27" fmla="*/ 912 w 10000"/>
                <a:gd name="connsiteY27" fmla="*/ 4208 h 10036"/>
                <a:gd name="connsiteX28" fmla="*/ 997 w 10000"/>
                <a:gd name="connsiteY28" fmla="*/ 4374 h 10036"/>
                <a:gd name="connsiteX29" fmla="*/ 1282 w 10000"/>
                <a:gd name="connsiteY29" fmla="*/ 4965 h 10036"/>
                <a:gd name="connsiteX30" fmla="*/ 1282 w 10000"/>
                <a:gd name="connsiteY30" fmla="*/ 4965 h 10036"/>
                <a:gd name="connsiteX31" fmla="*/ 1282 w 10000"/>
                <a:gd name="connsiteY31" fmla="*/ 4965 h 10036"/>
                <a:gd name="connsiteX32" fmla="*/ 1282 w 10000"/>
                <a:gd name="connsiteY32" fmla="*/ 5768 h 10036"/>
                <a:gd name="connsiteX33" fmla="*/ 1282 w 10000"/>
                <a:gd name="connsiteY33" fmla="*/ 5768 h 10036"/>
                <a:gd name="connsiteX34" fmla="*/ 1254 w 10000"/>
                <a:gd name="connsiteY34" fmla="*/ 5792 h 10036"/>
                <a:gd name="connsiteX35" fmla="*/ 1054 w 10000"/>
                <a:gd name="connsiteY35" fmla="*/ 6076 h 10036"/>
                <a:gd name="connsiteX36" fmla="*/ 1083 w 10000"/>
                <a:gd name="connsiteY36" fmla="*/ 6288 h 10036"/>
                <a:gd name="connsiteX37" fmla="*/ 1396 w 10000"/>
                <a:gd name="connsiteY37" fmla="*/ 6596 h 10036"/>
                <a:gd name="connsiteX38" fmla="*/ 1453 w 10000"/>
                <a:gd name="connsiteY38" fmla="*/ 6643 h 10036"/>
                <a:gd name="connsiteX39" fmla="*/ 1396 w 10000"/>
                <a:gd name="connsiteY39" fmla="*/ 6667 h 10036"/>
                <a:gd name="connsiteX40" fmla="*/ 1197 w 10000"/>
                <a:gd name="connsiteY40" fmla="*/ 6761 h 10036"/>
                <a:gd name="connsiteX41" fmla="*/ 826 w 10000"/>
                <a:gd name="connsiteY41" fmla="*/ 7281 h 10036"/>
                <a:gd name="connsiteX42" fmla="*/ 1026 w 10000"/>
                <a:gd name="connsiteY42" fmla="*/ 7305 h 10036"/>
                <a:gd name="connsiteX43" fmla="*/ 1054 w 10000"/>
                <a:gd name="connsiteY43" fmla="*/ 7305 h 10036"/>
                <a:gd name="connsiteX44" fmla="*/ 1083 w 10000"/>
                <a:gd name="connsiteY44" fmla="*/ 7352 h 10036"/>
                <a:gd name="connsiteX45" fmla="*/ 1140 w 10000"/>
                <a:gd name="connsiteY45" fmla="*/ 7541 h 10036"/>
                <a:gd name="connsiteX46" fmla="*/ 1453 w 10000"/>
                <a:gd name="connsiteY46" fmla="*/ 7801 h 10036"/>
                <a:gd name="connsiteX47" fmla="*/ 1422 w 10000"/>
                <a:gd name="connsiteY47" fmla="*/ 7995 h 10036"/>
                <a:gd name="connsiteX48" fmla="*/ 1425 w 10000"/>
                <a:gd name="connsiteY48" fmla="*/ 8298 h 10036"/>
                <a:gd name="connsiteX49" fmla="*/ 1425 w 10000"/>
                <a:gd name="connsiteY49" fmla="*/ 8440 h 10036"/>
                <a:gd name="connsiteX50" fmla="*/ 1624 w 10000"/>
                <a:gd name="connsiteY50" fmla="*/ 8700 h 10036"/>
                <a:gd name="connsiteX51" fmla="*/ 2564 w 10000"/>
                <a:gd name="connsiteY51" fmla="*/ 8747 h 10036"/>
                <a:gd name="connsiteX52" fmla="*/ 2593 w 10000"/>
                <a:gd name="connsiteY52" fmla="*/ 8747 h 10036"/>
                <a:gd name="connsiteX53" fmla="*/ 2593 w 10000"/>
                <a:gd name="connsiteY53" fmla="*/ 8771 h 10036"/>
                <a:gd name="connsiteX54" fmla="*/ 2821 w 10000"/>
                <a:gd name="connsiteY54" fmla="*/ 8983 h 10036"/>
                <a:gd name="connsiteX55" fmla="*/ 3105 w 10000"/>
                <a:gd name="connsiteY55" fmla="*/ 8983 h 10036"/>
                <a:gd name="connsiteX56" fmla="*/ 3105 w 10000"/>
                <a:gd name="connsiteY56" fmla="*/ 8983 h 10036"/>
                <a:gd name="connsiteX57" fmla="*/ 3134 w 10000"/>
                <a:gd name="connsiteY57" fmla="*/ 8983 h 10036"/>
                <a:gd name="connsiteX58" fmla="*/ 3561 w 10000"/>
                <a:gd name="connsiteY58" fmla="*/ 9196 h 10036"/>
                <a:gd name="connsiteX59" fmla="*/ 3590 w 10000"/>
                <a:gd name="connsiteY59" fmla="*/ 9220 h 10036"/>
                <a:gd name="connsiteX60" fmla="*/ 3590 w 10000"/>
                <a:gd name="connsiteY60" fmla="*/ 9243 h 10036"/>
                <a:gd name="connsiteX61" fmla="*/ 3675 w 10000"/>
                <a:gd name="connsiteY61" fmla="*/ 9669 h 10036"/>
                <a:gd name="connsiteX62" fmla="*/ 3675 w 10000"/>
                <a:gd name="connsiteY62" fmla="*/ 9669 h 10036"/>
                <a:gd name="connsiteX63" fmla="*/ 3647 w 10000"/>
                <a:gd name="connsiteY63" fmla="*/ 9693 h 10036"/>
                <a:gd name="connsiteX64" fmla="*/ 3476 w 10000"/>
                <a:gd name="connsiteY64" fmla="*/ 9953 h 10036"/>
                <a:gd name="connsiteX65" fmla="*/ 4056 w 10000"/>
                <a:gd name="connsiteY65" fmla="*/ 10036 h 10036"/>
                <a:gd name="connsiteX66" fmla="*/ 4087 w 10000"/>
                <a:gd name="connsiteY66" fmla="*/ 9992 h 10036"/>
                <a:gd name="connsiteX67" fmla="*/ 4395 w 10000"/>
                <a:gd name="connsiteY67" fmla="*/ 9647 h 10036"/>
                <a:gd name="connsiteX68" fmla="*/ 4558 w 10000"/>
                <a:gd name="connsiteY68" fmla="*/ 9480 h 10036"/>
                <a:gd name="connsiteX69" fmla="*/ 4929 w 10000"/>
                <a:gd name="connsiteY69" fmla="*/ 9314 h 10036"/>
                <a:gd name="connsiteX70" fmla="*/ 4957 w 10000"/>
                <a:gd name="connsiteY70" fmla="*/ 9314 h 10036"/>
                <a:gd name="connsiteX71" fmla="*/ 4986 w 10000"/>
                <a:gd name="connsiteY71" fmla="*/ 9314 h 10036"/>
                <a:gd name="connsiteX72" fmla="*/ 5442 w 10000"/>
                <a:gd name="connsiteY72" fmla="*/ 9338 h 10036"/>
                <a:gd name="connsiteX73" fmla="*/ 6534 w 10000"/>
                <a:gd name="connsiteY73" fmla="*/ 9024 h 10036"/>
                <a:gd name="connsiteX74" fmla="*/ 7066 w 10000"/>
                <a:gd name="connsiteY74" fmla="*/ 8227 h 10036"/>
                <a:gd name="connsiteX75" fmla="*/ 7066 w 10000"/>
                <a:gd name="connsiteY75" fmla="*/ 8227 h 10036"/>
                <a:gd name="connsiteX76" fmla="*/ 7094 w 10000"/>
                <a:gd name="connsiteY76" fmla="*/ 8251 h 10036"/>
                <a:gd name="connsiteX77" fmla="*/ 7236 w 10000"/>
                <a:gd name="connsiteY77" fmla="*/ 8345 h 10036"/>
                <a:gd name="connsiteX78" fmla="*/ 7778 w 10000"/>
                <a:gd name="connsiteY78" fmla="*/ 8369 h 10036"/>
                <a:gd name="connsiteX79" fmla="*/ 7806 w 10000"/>
                <a:gd name="connsiteY79" fmla="*/ 8369 h 10036"/>
                <a:gd name="connsiteX80" fmla="*/ 7806 w 10000"/>
                <a:gd name="connsiteY80" fmla="*/ 8392 h 10036"/>
                <a:gd name="connsiteX81" fmla="*/ 8063 w 10000"/>
                <a:gd name="connsiteY81" fmla="*/ 8511 h 10036"/>
                <a:gd name="connsiteX82" fmla="*/ 8091 w 10000"/>
                <a:gd name="connsiteY82" fmla="*/ 8511 h 10036"/>
                <a:gd name="connsiteX83" fmla="*/ 8091 w 10000"/>
                <a:gd name="connsiteY83" fmla="*/ 8558 h 10036"/>
                <a:gd name="connsiteX84" fmla="*/ 8006 w 10000"/>
                <a:gd name="connsiteY84" fmla="*/ 8913 h 10036"/>
                <a:gd name="connsiteX85" fmla="*/ 8106 w 10000"/>
                <a:gd name="connsiteY85" fmla="*/ 9369 h 10036"/>
                <a:gd name="connsiteX86" fmla="*/ 8437 w 10000"/>
                <a:gd name="connsiteY86" fmla="*/ 9548 h 10036"/>
                <a:gd name="connsiteX87" fmla="*/ 9373 w 10000"/>
                <a:gd name="connsiteY87" fmla="*/ 9314 h 10036"/>
                <a:gd name="connsiteX88" fmla="*/ 9687 w 10000"/>
                <a:gd name="connsiteY88" fmla="*/ 8818 h 10036"/>
                <a:gd name="connsiteX89" fmla="*/ 9687 w 10000"/>
                <a:gd name="connsiteY89" fmla="*/ 8771 h 10036"/>
                <a:gd name="connsiteX90" fmla="*/ 9687 w 10000"/>
                <a:gd name="connsiteY90" fmla="*/ 8771 h 10036"/>
                <a:gd name="connsiteX91" fmla="*/ 9772 w 10000"/>
                <a:gd name="connsiteY91" fmla="*/ 8700 h 10036"/>
                <a:gd name="connsiteX92" fmla="*/ 9744 w 10000"/>
                <a:gd name="connsiteY92" fmla="*/ 8440 h 10036"/>
                <a:gd name="connsiteX93" fmla="*/ 9630 w 10000"/>
                <a:gd name="connsiteY93" fmla="*/ 8345 h 10036"/>
                <a:gd name="connsiteX94" fmla="*/ 9630 w 10000"/>
                <a:gd name="connsiteY94" fmla="*/ 8322 h 10036"/>
                <a:gd name="connsiteX95" fmla="*/ 9630 w 10000"/>
                <a:gd name="connsiteY95" fmla="*/ 8298 h 10036"/>
                <a:gd name="connsiteX96" fmla="*/ 9630 w 10000"/>
                <a:gd name="connsiteY96" fmla="*/ 8061 h 10036"/>
                <a:gd name="connsiteX97" fmla="*/ 8689 w 10000"/>
                <a:gd name="connsiteY97" fmla="*/ 7281 h 10036"/>
                <a:gd name="connsiteX98" fmla="*/ 8689 w 10000"/>
                <a:gd name="connsiteY98" fmla="*/ 7281 h 10036"/>
                <a:gd name="connsiteX99" fmla="*/ 8689 w 10000"/>
                <a:gd name="connsiteY99" fmla="*/ 7258 h 10036"/>
                <a:gd name="connsiteX100" fmla="*/ 8689 w 10000"/>
                <a:gd name="connsiteY100" fmla="*/ 6832 h 10036"/>
                <a:gd name="connsiteX101" fmla="*/ 8689 w 10000"/>
                <a:gd name="connsiteY101" fmla="*/ 6832 h 10036"/>
                <a:gd name="connsiteX102" fmla="*/ 8689 w 10000"/>
                <a:gd name="connsiteY102" fmla="*/ 6809 h 10036"/>
                <a:gd name="connsiteX103" fmla="*/ 9345 w 10000"/>
                <a:gd name="connsiteY103" fmla="*/ 6336 h 10036"/>
                <a:gd name="connsiteX104" fmla="*/ 9801 w 10000"/>
                <a:gd name="connsiteY104" fmla="*/ 5863 h 10036"/>
                <a:gd name="connsiteX105" fmla="*/ 9972 w 10000"/>
                <a:gd name="connsiteY105" fmla="*/ 5248 h 10036"/>
                <a:gd name="connsiteX106" fmla="*/ 10000 w 10000"/>
                <a:gd name="connsiteY106" fmla="*/ 5248 h 10036"/>
                <a:gd name="connsiteX107" fmla="*/ 7920 w 10000"/>
                <a:gd name="connsiteY107" fmla="*/ 2979 h 10036"/>
                <a:gd name="connsiteX108" fmla="*/ 7179 w 10000"/>
                <a:gd name="connsiteY108" fmla="*/ 2246 h 10036"/>
                <a:gd name="connsiteX109" fmla="*/ 6524 w 10000"/>
                <a:gd name="connsiteY109" fmla="*/ 1844 h 10036"/>
                <a:gd name="connsiteX110" fmla="*/ 5014 w 10000"/>
                <a:gd name="connsiteY110" fmla="*/ 1158 h 10036"/>
                <a:gd name="connsiteX111" fmla="*/ 4672 w 10000"/>
                <a:gd name="connsiteY111" fmla="*/ 709 h 10036"/>
                <a:gd name="connsiteX112" fmla="*/ 4900 w 10000"/>
                <a:gd name="connsiteY112" fmla="*/ 709 h 10036"/>
                <a:gd name="connsiteX113" fmla="*/ 5242 w 10000"/>
                <a:gd name="connsiteY113" fmla="*/ 709 h 10036"/>
                <a:gd name="connsiteX114" fmla="*/ 5442 w 10000"/>
                <a:gd name="connsiteY114" fmla="*/ 355 h 10036"/>
                <a:gd name="connsiteX115" fmla="*/ 5385 w 10000"/>
                <a:gd name="connsiteY115" fmla="*/ 0 h 10036"/>
                <a:gd name="connsiteX116" fmla="*/ 5128 w 10000"/>
                <a:gd name="connsiteY116" fmla="*/ 95 h 10036"/>
                <a:gd name="connsiteX117" fmla="*/ 4701 w 10000"/>
                <a:gd name="connsiteY117" fmla="*/ 355 h 10036"/>
                <a:gd name="connsiteX118" fmla="*/ 4302 w 10000"/>
                <a:gd name="connsiteY118" fmla="*/ 355 h 10036"/>
                <a:gd name="connsiteX119" fmla="*/ 4274 w 10000"/>
                <a:gd name="connsiteY119" fmla="*/ 567 h 10036"/>
                <a:gd name="connsiteX120" fmla="*/ 3732 w 10000"/>
                <a:gd name="connsiteY120" fmla="*/ 922 h 10036"/>
                <a:gd name="connsiteX121" fmla="*/ 3276 w 10000"/>
                <a:gd name="connsiteY121" fmla="*/ 993 h 10036"/>
                <a:gd name="connsiteX122" fmla="*/ 2906 w 10000"/>
                <a:gd name="connsiteY122" fmla="*/ 1537 h 10036"/>
                <a:gd name="connsiteX123" fmla="*/ 2365 w 10000"/>
                <a:gd name="connsiteY123" fmla="*/ 1726 h 10036"/>
                <a:gd name="connsiteX124" fmla="*/ 1852 w 10000"/>
                <a:gd name="connsiteY124" fmla="*/ 2009 h 10036"/>
                <a:gd name="connsiteX125" fmla="*/ 1709 w 10000"/>
                <a:gd name="connsiteY125" fmla="*/ 2459 h 10036"/>
                <a:gd name="connsiteX126" fmla="*/ 1425 w 10000"/>
                <a:gd name="connsiteY126" fmla="*/ 2411 h 10036"/>
                <a:gd name="connsiteX127" fmla="*/ 997 w 10000"/>
                <a:gd name="connsiteY127" fmla="*/ 2199 h 10036"/>
                <a:gd name="connsiteX128" fmla="*/ 570 w 10000"/>
                <a:gd name="connsiteY128" fmla="*/ 2411 h 10036"/>
                <a:gd name="connsiteX129" fmla="*/ 199 w 10000"/>
                <a:gd name="connsiteY129" fmla="*/ 2600 h 10036"/>
                <a:gd name="connsiteX130" fmla="*/ 0 w 10000"/>
                <a:gd name="connsiteY130" fmla="*/ 2553 h 10036"/>
                <a:gd name="connsiteX131" fmla="*/ 57 w 10000"/>
                <a:gd name="connsiteY131" fmla="*/ 2861 h 1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</a:cxnLst>
              <a:rect l="l" t="t" r="r" b="b"/>
              <a:pathLst>
                <a:path w="10000" h="10036">
                  <a:moveTo>
                    <a:pt x="57" y="2861"/>
                  </a:moveTo>
                  <a:lnTo>
                    <a:pt x="85" y="2861"/>
                  </a:lnTo>
                  <a:lnTo>
                    <a:pt x="399" y="2790"/>
                  </a:lnTo>
                  <a:lnTo>
                    <a:pt x="427" y="2790"/>
                  </a:lnTo>
                  <a:cubicBezTo>
                    <a:pt x="437" y="2806"/>
                    <a:pt x="446" y="2821"/>
                    <a:pt x="456" y="2837"/>
                  </a:cubicBezTo>
                  <a:lnTo>
                    <a:pt x="598" y="2979"/>
                  </a:lnTo>
                  <a:lnTo>
                    <a:pt x="627" y="3002"/>
                  </a:lnTo>
                  <a:lnTo>
                    <a:pt x="570" y="3026"/>
                  </a:lnTo>
                  <a:lnTo>
                    <a:pt x="370" y="3191"/>
                  </a:lnTo>
                  <a:lnTo>
                    <a:pt x="256" y="3310"/>
                  </a:lnTo>
                  <a:cubicBezTo>
                    <a:pt x="266" y="3326"/>
                    <a:pt x="275" y="3341"/>
                    <a:pt x="285" y="3357"/>
                  </a:cubicBezTo>
                  <a:lnTo>
                    <a:pt x="484" y="3499"/>
                  </a:lnTo>
                  <a:lnTo>
                    <a:pt x="712" y="3475"/>
                  </a:lnTo>
                  <a:lnTo>
                    <a:pt x="741" y="3475"/>
                  </a:lnTo>
                  <a:lnTo>
                    <a:pt x="741" y="3475"/>
                  </a:lnTo>
                  <a:lnTo>
                    <a:pt x="940" y="3570"/>
                  </a:lnTo>
                  <a:cubicBezTo>
                    <a:pt x="959" y="3578"/>
                    <a:pt x="978" y="3585"/>
                    <a:pt x="997" y="3593"/>
                  </a:cubicBezTo>
                  <a:cubicBezTo>
                    <a:pt x="988" y="3601"/>
                    <a:pt x="978" y="3609"/>
                    <a:pt x="969" y="3617"/>
                  </a:cubicBezTo>
                  <a:lnTo>
                    <a:pt x="969" y="3830"/>
                  </a:lnTo>
                  <a:lnTo>
                    <a:pt x="969" y="3877"/>
                  </a:lnTo>
                  <a:lnTo>
                    <a:pt x="912" y="3877"/>
                  </a:lnTo>
                  <a:lnTo>
                    <a:pt x="712" y="3901"/>
                  </a:lnTo>
                  <a:lnTo>
                    <a:pt x="826" y="4066"/>
                  </a:lnTo>
                  <a:lnTo>
                    <a:pt x="826" y="4066"/>
                  </a:lnTo>
                  <a:lnTo>
                    <a:pt x="826" y="4066"/>
                  </a:lnTo>
                  <a:cubicBezTo>
                    <a:pt x="826" y="4066"/>
                    <a:pt x="883" y="4137"/>
                    <a:pt x="912" y="4208"/>
                  </a:cubicBezTo>
                  <a:lnTo>
                    <a:pt x="912" y="4208"/>
                  </a:lnTo>
                  <a:lnTo>
                    <a:pt x="912" y="4208"/>
                  </a:lnTo>
                  <a:cubicBezTo>
                    <a:pt x="940" y="4303"/>
                    <a:pt x="997" y="4374"/>
                    <a:pt x="997" y="4374"/>
                  </a:cubicBezTo>
                  <a:lnTo>
                    <a:pt x="1282" y="4965"/>
                  </a:lnTo>
                  <a:lnTo>
                    <a:pt x="1282" y="4965"/>
                  </a:lnTo>
                  <a:lnTo>
                    <a:pt x="1282" y="4965"/>
                  </a:lnTo>
                  <a:lnTo>
                    <a:pt x="1282" y="5768"/>
                  </a:lnTo>
                  <a:lnTo>
                    <a:pt x="1282" y="5768"/>
                  </a:lnTo>
                  <a:cubicBezTo>
                    <a:pt x="1273" y="5776"/>
                    <a:pt x="1263" y="5784"/>
                    <a:pt x="1254" y="5792"/>
                  </a:cubicBezTo>
                  <a:lnTo>
                    <a:pt x="1054" y="6076"/>
                  </a:lnTo>
                  <a:cubicBezTo>
                    <a:pt x="1064" y="6147"/>
                    <a:pt x="1073" y="6217"/>
                    <a:pt x="1083" y="6288"/>
                  </a:cubicBezTo>
                  <a:lnTo>
                    <a:pt x="1396" y="6596"/>
                  </a:lnTo>
                  <a:cubicBezTo>
                    <a:pt x="1415" y="6612"/>
                    <a:pt x="1434" y="6627"/>
                    <a:pt x="1453" y="6643"/>
                  </a:cubicBezTo>
                  <a:lnTo>
                    <a:pt x="1396" y="6667"/>
                  </a:lnTo>
                  <a:lnTo>
                    <a:pt x="1197" y="6761"/>
                  </a:lnTo>
                  <a:lnTo>
                    <a:pt x="826" y="7281"/>
                  </a:lnTo>
                  <a:lnTo>
                    <a:pt x="1026" y="7305"/>
                  </a:lnTo>
                  <a:lnTo>
                    <a:pt x="1054" y="7305"/>
                  </a:lnTo>
                  <a:cubicBezTo>
                    <a:pt x="1064" y="7321"/>
                    <a:pt x="1073" y="7336"/>
                    <a:pt x="1083" y="7352"/>
                  </a:cubicBezTo>
                  <a:lnTo>
                    <a:pt x="1140" y="7541"/>
                  </a:lnTo>
                  <a:cubicBezTo>
                    <a:pt x="1197" y="7589"/>
                    <a:pt x="1453" y="7801"/>
                    <a:pt x="1453" y="7801"/>
                  </a:cubicBezTo>
                  <a:cubicBezTo>
                    <a:pt x="1443" y="7866"/>
                    <a:pt x="1432" y="7930"/>
                    <a:pt x="1422" y="7995"/>
                  </a:cubicBezTo>
                  <a:lnTo>
                    <a:pt x="1425" y="8298"/>
                  </a:lnTo>
                  <a:lnTo>
                    <a:pt x="1425" y="8440"/>
                  </a:lnTo>
                  <a:cubicBezTo>
                    <a:pt x="1491" y="8527"/>
                    <a:pt x="1558" y="8613"/>
                    <a:pt x="1624" y="8700"/>
                  </a:cubicBezTo>
                  <a:lnTo>
                    <a:pt x="2564" y="8747"/>
                  </a:lnTo>
                  <a:lnTo>
                    <a:pt x="2593" y="8747"/>
                  </a:lnTo>
                  <a:lnTo>
                    <a:pt x="2593" y="8771"/>
                  </a:lnTo>
                  <a:lnTo>
                    <a:pt x="2821" y="8983"/>
                  </a:lnTo>
                  <a:lnTo>
                    <a:pt x="3105" y="8983"/>
                  </a:lnTo>
                  <a:lnTo>
                    <a:pt x="3105" y="8983"/>
                  </a:lnTo>
                  <a:lnTo>
                    <a:pt x="3134" y="8983"/>
                  </a:lnTo>
                  <a:lnTo>
                    <a:pt x="3561" y="9196"/>
                  </a:lnTo>
                  <a:cubicBezTo>
                    <a:pt x="3571" y="9204"/>
                    <a:pt x="3580" y="9212"/>
                    <a:pt x="3590" y="9220"/>
                  </a:cubicBezTo>
                  <a:lnTo>
                    <a:pt x="3590" y="9243"/>
                  </a:lnTo>
                  <a:cubicBezTo>
                    <a:pt x="3618" y="9385"/>
                    <a:pt x="3647" y="9527"/>
                    <a:pt x="3675" y="9669"/>
                  </a:cubicBezTo>
                  <a:lnTo>
                    <a:pt x="3675" y="9669"/>
                  </a:lnTo>
                  <a:cubicBezTo>
                    <a:pt x="3666" y="9677"/>
                    <a:pt x="3656" y="9685"/>
                    <a:pt x="3647" y="9693"/>
                  </a:cubicBezTo>
                  <a:lnTo>
                    <a:pt x="3476" y="9953"/>
                  </a:lnTo>
                  <a:lnTo>
                    <a:pt x="4056" y="10036"/>
                  </a:lnTo>
                  <a:cubicBezTo>
                    <a:pt x="4066" y="10021"/>
                    <a:pt x="4077" y="10007"/>
                    <a:pt x="4087" y="9992"/>
                  </a:cubicBezTo>
                  <a:lnTo>
                    <a:pt x="4395" y="9647"/>
                  </a:lnTo>
                  <a:cubicBezTo>
                    <a:pt x="4466" y="9631"/>
                    <a:pt x="4469" y="9536"/>
                    <a:pt x="4558" y="9480"/>
                  </a:cubicBezTo>
                  <a:lnTo>
                    <a:pt x="4929" y="9314"/>
                  </a:lnTo>
                  <a:lnTo>
                    <a:pt x="4957" y="9314"/>
                  </a:lnTo>
                  <a:lnTo>
                    <a:pt x="4986" y="9314"/>
                  </a:lnTo>
                  <a:lnTo>
                    <a:pt x="5442" y="9338"/>
                  </a:lnTo>
                  <a:lnTo>
                    <a:pt x="6534" y="9024"/>
                  </a:lnTo>
                  <a:cubicBezTo>
                    <a:pt x="6805" y="8839"/>
                    <a:pt x="6977" y="8360"/>
                    <a:pt x="7066" y="8227"/>
                  </a:cubicBezTo>
                  <a:lnTo>
                    <a:pt x="7066" y="8227"/>
                  </a:lnTo>
                  <a:cubicBezTo>
                    <a:pt x="7075" y="8235"/>
                    <a:pt x="7085" y="8243"/>
                    <a:pt x="7094" y="8251"/>
                  </a:cubicBezTo>
                  <a:lnTo>
                    <a:pt x="7236" y="8345"/>
                  </a:lnTo>
                  <a:lnTo>
                    <a:pt x="7778" y="8369"/>
                  </a:lnTo>
                  <a:lnTo>
                    <a:pt x="7806" y="8369"/>
                  </a:lnTo>
                  <a:lnTo>
                    <a:pt x="7806" y="8392"/>
                  </a:lnTo>
                  <a:lnTo>
                    <a:pt x="8063" y="8511"/>
                  </a:lnTo>
                  <a:lnTo>
                    <a:pt x="8091" y="8511"/>
                  </a:lnTo>
                  <a:lnTo>
                    <a:pt x="8091" y="8558"/>
                  </a:lnTo>
                  <a:cubicBezTo>
                    <a:pt x="8063" y="8676"/>
                    <a:pt x="8034" y="8795"/>
                    <a:pt x="8006" y="8913"/>
                  </a:cubicBezTo>
                  <a:cubicBezTo>
                    <a:pt x="8039" y="9065"/>
                    <a:pt x="8073" y="9217"/>
                    <a:pt x="8106" y="9369"/>
                  </a:cubicBezTo>
                  <a:cubicBezTo>
                    <a:pt x="8178" y="9475"/>
                    <a:pt x="8257" y="9536"/>
                    <a:pt x="8437" y="9548"/>
                  </a:cubicBezTo>
                  <a:lnTo>
                    <a:pt x="9373" y="9314"/>
                  </a:lnTo>
                  <a:lnTo>
                    <a:pt x="9687" y="8818"/>
                  </a:lnTo>
                  <a:lnTo>
                    <a:pt x="9687" y="8771"/>
                  </a:lnTo>
                  <a:lnTo>
                    <a:pt x="9687" y="8771"/>
                  </a:lnTo>
                  <a:cubicBezTo>
                    <a:pt x="9715" y="8747"/>
                    <a:pt x="9744" y="8724"/>
                    <a:pt x="9772" y="8700"/>
                  </a:cubicBezTo>
                  <a:cubicBezTo>
                    <a:pt x="9763" y="8613"/>
                    <a:pt x="9753" y="8527"/>
                    <a:pt x="9744" y="8440"/>
                  </a:cubicBezTo>
                  <a:lnTo>
                    <a:pt x="9630" y="8345"/>
                  </a:lnTo>
                  <a:lnTo>
                    <a:pt x="9630" y="8322"/>
                  </a:lnTo>
                  <a:lnTo>
                    <a:pt x="9630" y="8298"/>
                  </a:lnTo>
                  <a:lnTo>
                    <a:pt x="9630" y="8061"/>
                  </a:lnTo>
                  <a:lnTo>
                    <a:pt x="8689" y="7281"/>
                  </a:lnTo>
                  <a:lnTo>
                    <a:pt x="8689" y="7281"/>
                  </a:lnTo>
                  <a:lnTo>
                    <a:pt x="8689" y="7258"/>
                  </a:lnTo>
                  <a:lnTo>
                    <a:pt x="8689" y="6832"/>
                  </a:lnTo>
                  <a:lnTo>
                    <a:pt x="8689" y="6832"/>
                  </a:lnTo>
                  <a:lnTo>
                    <a:pt x="8689" y="6809"/>
                  </a:lnTo>
                  <a:lnTo>
                    <a:pt x="9345" y="6336"/>
                  </a:lnTo>
                  <a:lnTo>
                    <a:pt x="9801" y="5863"/>
                  </a:lnTo>
                  <a:lnTo>
                    <a:pt x="9972" y="5248"/>
                  </a:lnTo>
                  <a:lnTo>
                    <a:pt x="10000" y="5248"/>
                  </a:lnTo>
                  <a:lnTo>
                    <a:pt x="7920" y="2979"/>
                  </a:lnTo>
                  <a:lnTo>
                    <a:pt x="7179" y="2246"/>
                  </a:lnTo>
                  <a:lnTo>
                    <a:pt x="6524" y="1844"/>
                  </a:lnTo>
                  <a:lnTo>
                    <a:pt x="5014" y="1158"/>
                  </a:lnTo>
                  <a:lnTo>
                    <a:pt x="4672" y="709"/>
                  </a:lnTo>
                  <a:lnTo>
                    <a:pt x="4900" y="709"/>
                  </a:lnTo>
                  <a:lnTo>
                    <a:pt x="5242" y="709"/>
                  </a:lnTo>
                  <a:lnTo>
                    <a:pt x="5442" y="355"/>
                  </a:lnTo>
                  <a:cubicBezTo>
                    <a:pt x="5423" y="237"/>
                    <a:pt x="5404" y="118"/>
                    <a:pt x="5385" y="0"/>
                  </a:cubicBezTo>
                  <a:lnTo>
                    <a:pt x="5128" y="95"/>
                  </a:lnTo>
                  <a:lnTo>
                    <a:pt x="4701" y="355"/>
                  </a:lnTo>
                  <a:lnTo>
                    <a:pt x="4302" y="355"/>
                  </a:lnTo>
                  <a:cubicBezTo>
                    <a:pt x="4293" y="426"/>
                    <a:pt x="4283" y="496"/>
                    <a:pt x="4274" y="567"/>
                  </a:cubicBezTo>
                  <a:lnTo>
                    <a:pt x="3732" y="922"/>
                  </a:lnTo>
                  <a:lnTo>
                    <a:pt x="3276" y="993"/>
                  </a:lnTo>
                  <a:lnTo>
                    <a:pt x="2906" y="1537"/>
                  </a:lnTo>
                  <a:lnTo>
                    <a:pt x="2365" y="1726"/>
                  </a:lnTo>
                  <a:lnTo>
                    <a:pt x="1852" y="2009"/>
                  </a:lnTo>
                  <a:cubicBezTo>
                    <a:pt x="1804" y="2159"/>
                    <a:pt x="1757" y="2309"/>
                    <a:pt x="1709" y="2459"/>
                  </a:cubicBezTo>
                  <a:lnTo>
                    <a:pt x="1425" y="2411"/>
                  </a:lnTo>
                  <a:lnTo>
                    <a:pt x="997" y="2199"/>
                  </a:lnTo>
                  <a:lnTo>
                    <a:pt x="570" y="2411"/>
                  </a:lnTo>
                  <a:lnTo>
                    <a:pt x="199" y="2600"/>
                  </a:lnTo>
                  <a:lnTo>
                    <a:pt x="0" y="2553"/>
                  </a:lnTo>
                  <a:cubicBezTo>
                    <a:pt x="19" y="2656"/>
                    <a:pt x="38" y="2758"/>
                    <a:pt x="57" y="2861"/>
                  </a:cubicBezTo>
                </a:path>
              </a:pathLst>
            </a:custGeom>
            <a:solidFill>
              <a:srgbClr val="00B05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2000" tIns="72000" rIns="72000" bIns="72000" anchor="ctr"/>
            <a:lstStyle/>
            <a:p>
              <a:pPr algn="ctr" defTabSz="914308">
                <a:defRPr/>
              </a:pPr>
              <a:endParaRPr lang="ru-RU" sz="1200" kern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373" name="Freeform 165">
              <a:extLst/>
            </p:cNvPr>
            <p:cNvSpPr>
              <a:spLocks noEditPoints="1"/>
            </p:cNvSpPr>
            <p:nvPr/>
          </p:nvSpPr>
          <p:spPr bwMode="auto">
            <a:xfrm>
              <a:off x="6585427" y="2194144"/>
              <a:ext cx="1960058" cy="1676512"/>
            </a:xfrm>
            <a:custGeom>
              <a:avLst/>
              <a:gdLst>
                <a:gd name="T0" fmla="*/ 587 w 630"/>
                <a:gd name="T1" fmla="*/ 120 h 539"/>
                <a:gd name="T2" fmla="*/ 566 w 630"/>
                <a:gd name="T3" fmla="*/ 116 h 539"/>
                <a:gd name="T4" fmla="*/ 495 w 630"/>
                <a:gd name="T5" fmla="*/ 131 h 539"/>
                <a:gd name="T6" fmla="*/ 425 w 630"/>
                <a:gd name="T7" fmla="*/ 90 h 539"/>
                <a:gd name="T8" fmla="*/ 366 w 630"/>
                <a:gd name="T9" fmla="*/ 32 h 539"/>
                <a:gd name="T10" fmla="*/ 319 w 630"/>
                <a:gd name="T11" fmla="*/ 47 h 539"/>
                <a:gd name="T12" fmla="*/ 266 w 630"/>
                <a:gd name="T13" fmla="*/ 77 h 539"/>
                <a:gd name="T14" fmla="*/ 224 w 630"/>
                <a:gd name="T15" fmla="*/ 60 h 539"/>
                <a:gd name="T16" fmla="*/ 194 w 630"/>
                <a:gd name="T17" fmla="*/ 35 h 539"/>
                <a:gd name="T18" fmla="*/ 184 w 630"/>
                <a:gd name="T19" fmla="*/ 67 h 539"/>
                <a:gd name="T20" fmla="*/ 93 w 630"/>
                <a:gd name="T21" fmla="*/ 0 h 539"/>
                <a:gd name="T22" fmla="*/ 88 w 630"/>
                <a:gd name="T23" fmla="*/ 24 h 539"/>
                <a:gd name="T24" fmla="*/ 70 w 630"/>
                <a:gd name="T25" fmla="*/ 45 h 539"/>
                <a:gd name="T26" fmla="*/ 81 w 630"/>
                <a:gd name="T27" fmla="*/ 113 h 539"/>
                <a:gd name="T28" fmla="*/ 82 w 630"/>
                <a:gd name="T29" fmla="*/ 124 h 539"/>
                <a:gd name="T30" fmla="*/ 86 w 630"/>
                <a:gd name="T31" fmla="*/ 129 h 539"/>
                <a:gd name="T32" fmla="*/ 87 w 630"/>
                <a:gd name="T33" fmla="*/ 144 h 539"/>
                <a:gd name="T34" fmla="*/ 72 w 630"/>
                <a:gd name="T35" fmla="*/ 172 h 539"/>
                <a:gd name="T36" fmla="*/ 37 w 630"/>
                <a:gd name="T37" fmla="*/ 175 h 539"/>
                <a:gd name="T38" fmla="*/ 1 w 630"/>
                <a:gd name="T39" fmla="*/ 196 h 539"/>
                <a:gd name="T40" fmla="*/ 19 w 630"/>
                <a:gd name="T41" fmla="*/ 249 h 539"/>
                <a:gd name="T42" fmla="*/ 8 w 630"/>
                <a:gd name="T43" fmla="*/ 266 h 539"/>
                <a:gd name="T44" fmla="*/ 28 w 630"/>
                <a:gd name="T45" fmla="*/ 306 h 539"/>
                <a:gd name="T46" fmla="*/ 22 w 630"/>
                <a:gd name="T47" fmla="*/ 321 h 539"/>
                <a:gd name="T48" fmla="*/ 14 w 630"/>
                <a:gd name="T49" fmla="*/ 329 h 539"/>
                <a:gd name="T50" fmla="*/ 5 w 630"/>
                <a:gd name="T51" fmla="*/ 332 h 539"/>
                <a:gd name="T52" fmla="*/ 35 w 630"/>
                <a:gd name="T53" fmla="*/ 371 h 539"/>
                <a:gd name="T54" fmla="*/ 29 w 630"/>
                <a:gd name="T55" fmla="*/ 381 h 539"/>
                <a:gd name="T56" fmla="*/ 21 w 630"/>
                <a:gd name="T57" fmla="*/ 435 h 539"/>
                <a:gd name="T58" fmla="*/ 11 w 630"/>
                <a:gd name="T59" fmla="*/ 452 h 539"/>
                <a:gd name="T60" fmla="*/ 35 w 630"/>
                <a:gd name="T61" fmla="*/ 455 h 539"/>
                <a:gd name="T62" fmla="*/ 44 w 630"/>
                <a:gd name="T63" fmla="*/ 452 h 539"/>
                <a:gd name="T64" fmla="*/ 55 w 630"/>
                <a:gd name="T65" fmla="*/ 444 h 539"/>
                <a:gd name="T66" fmla="*/ 66 w 630"/>
                <a:gd name="T67" fmla="*/ 449 h 539"/>
                <a:gd name="T68" fmla="*/ 84 w 630"/>
                <a:gd name="T69" fmla="*/ 439 h 539"/>
                <a:gd name="T70" fmla="*/ 102 w 630"/>
                <a:gd name="T71" fmla="*/ 433 h 539"/>
                <a:gd name="T72" fmla="*/ 111 w 630"/>
                <a:gd name="T73" fmla="*/ 433 h 539"/>
                <a:gd name="T74" fmla="*/ 148 w 630"/>
                <a:gd name="T75" fmla="*/ 445 h 539"/>
                <a:gd name="T76" fmla="*/ 159 w 630"/>
                <a:gd name="T77" fmla="*/ 439 h 539"/>
                <a:gd name="T78" fmla="*/ 197 w 630"/>
                <a:gd name="T79" fmla="*/ 452 h 539"/>
                <a:gd name="T80" fmla="*/ 207 w 630"/>
                <a:gd name="T81" fmla="*/ 449 h 539"/>
                <a:gd name="T82" fmla="*/ 217 w 630"/>
                <a:gd name="T83" fmla="*/ 438 h 539"/>
                <a:gd name="T84" fmla="*/ 232 w 630"/>
                <a:gd name="T85" fmla="*/ 440 h 539"/>
                <a:gd name="T86" fmla="*/ 314 w 630"/>
                <a:gd name="T87" fmla="*/ 450 h 539"/>
                <a:gd name="T88" fmla="*/ 325 w 630"/>
                <a:gd name="T89" fmla="*/ 451 h 539"/>
                <a:gd name="T90" fmla="*/ 340 w 630"/>
                <a:gd name="T91" fmla="*/ 488 h 539"/>
                <a:gd name="T92" fmla="*/ 376 w 630"/>
                <a:gd name="T93" fmla="*/ 521 h 539"/>
                <a:gd name="T94" fmla="*/ 396 w 630"/>
                <a:gd name="T95" fmla="*/ 539 h 539"/>
                <a:gd name="T96" fmla="*/ 442 w 630"/>
                <a:gd name="T97" fmla="*/ 394 h 539"/>
                <a:gd name="T98" fmla="*/ 511 w 630"/>
                <a:gd name="T99" fmla="*/ 383 h 539"/>
                <a:gd name="T100" fmla="*/ 540 w 630"/>
                <a:gd name="T101" fmla="*/ 385 h 539"/>
                <a:gd name="T102" fmla="*/ 570 w 630"/>
                <a:gd name="T103" fmla="*/ 359 h 539"/>
                <a:gd name="T104" fmla="*/ 550 w 630"/>
                <a:gd name="T105" fmla="*/ 278 h 539"/>
                <a:gd name="T106" fmla="*/ 582 w 630"/>
                <a:gd name="T107" fmla="*/ 225 h 539"/>
                <a:gd name="T108" fmla="*/ 607 w 630"/>
                <a:gd name="T109" fmla="*/ 184 h 539"/>
                <a:gd name="T110" fmla="*/ 613 w 630"/>
                <a:gd name="T111" fmla="*/ 152 h 539"/>
                <a:gd name="T112" fmla="*/ 609 w 630"/>
                <a:gd name="T113" fmla="*/ 138 h 539"/>
                <a:gd name="T114" fmla="*/ 446 w 630"/>
                <a:gd name="T115" fmla="*/ 311 h 539"/>
                <a:gd name="T116" fmla="*/ 393 w 630"/>
                <a:gd name="T117" fmla="*/ 297 h 539"/>
                <a:gd name="T118" fmla="*/ 398 w 630"/>
                <a:gd name="T119" fmla="*/ 284 h 539"/>
                <a:gd name="T120" fmla="*/ 456 w 630"/>
                <a:gd name="T121" fmla="*/ 291 h 539"/>
                <a:gd name="T122" fmla="*/ 477 w 630"/>
                <a:gd name="T123" fmla="*/ 316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0" h="539">
                  <a:moveTo>
                    <a:pt x="609" y="138"/>
                  </a:moveTo>
                  <a:cubicBezTo>
                    <a:pt x="605" y="129"/>
                    <a:pt x="605" y="129"/>
                    <a:pt x="605" y="129"/>
                  </a:cubicBezTo>
                  <a:cubicBezTo>
                    <a:pt x="587" y="120"/>
                    <a:pt x="587" y="120"/>
                    <a:pt x="587" y="120"/>
                  </a:cubicBezTo>
                  <a:cubicBezTo>
                    <a:pt x="585" y="105"/>
                    <a:pt x="585" y="105"/>
                    <a:pt x="585" y="105"/>
                  </a:cubicBezTo>
                  <a:cubicBezTo>
                    <a:pt x="577" y="106"/>
                    <a:pt x="577" y="106"/>
                    <a:pt x="577" y="106"/>
                  </a:cubicBezTo>
                  <a:cubicBezTo>
                    <a:pt x="566" y="116"/>
                    <a:pt x="566" y="116"/>
                    <a:pt x="566" y="116"/>
                  </a:cubicBezTo>
                  <a:cubicBezTo>
                    <a:pt x="554" y="132"/>
                    <a:pt x="554" y="132"/>
                    <a:pt x="554" y="132"/>
                  </a:cubicBezTo>
                  <a:cubicBezTo>
                    <a:pt x="514" y="132"/>
                    <a:pt x="514" y="132"/>
                    <a:pt x="514" y="132"/>
                  </a:cubicBezTo>
                  <a:cubicBezTo>
                    <a:pt x="495" y="131"/>
                    <a:pt x="495" y="131"/>
                    <a:pt x="495" y="131"/>
                  </a:cubicBezTo>
                  <a:cubicBezTo>
                    <a:pt x="478" y="117"/>
                    <a:pt x="478" y="117"/>
                    <a:pt x="478" y="117"/>
                  </a:cubicBezTo>
                  <a:cubicBezTo>
                    <a:pt x="464" y="95"/>
                    <a:pt x="464" y="95"/>
                    <a:pt x="464" y="95"/>
                  </a:cubicBezTo>
                  <a:cubicBezTo>
                    <a:pt x="425" y="90"/>
                    <a:pt x="425" y="90"/>
                    <a:pt x="425" y="90"/>
                  </a:cubicBezTo>
                  <a:cubicBezTo>
                    <a:pt x="398" y="48"/>
                    <a:pt x="398" y="48"/>
                    <a:pt x="398" y="48"/>
                  </a:cubicBezTo>
                  <a:cubicBezTo>
                    <a:pt x="390" y="41"/>
                    <a:pt x="390" y="41"/>
                    <a:pt x="390" y="41"/>
                  </a:cubicBezTo>
                  <a:cubicBezTo>
                    <a:pt x="366" y="32"/>
                    <a:pt x="366" y="32"/>
                    <a:pt x="366" y="32"/>
                  </a:cubicBezTo>
                  <a:cubicBezTo>
                    <a:pt x="346" y="32"/>
                    <a:pt x="346" y="32"/>
                    <a:pt x="346" y="32"/>
                  </a:cubicBezTo>
                  <a:cubicBezTo>
                    <a:pt x="336" y="47"/>
                    <a:pt x="336" y="47"/>
                    <a:pt x="336" y="47"/>
                  </a:cubicBezTo>
                  <a:cubicBezTo>
                    <a:pt x="319" y="47"/>
                    <a:pt x="319" y="47"/>
                    <a:pt x="319" y="47"/>
                  </a:cubicBezTo>
                  <a:cubicBezTo>
                    <a:pt x="302" y="67"/>
                    <a:pt x="302" y="67"/>
                    <a:pt x="302" y="67"/>
                  </a:cubicBezTo>
                  <a:cubicBezTo>
                    <a:pt x="280" y="65"/>
                    <a:pt x="280" y="65"/>
                    <a:pt x="280" y="65"/>
                  </a:cubicBezTo>
                  <a:cubicBezTo>
                    <a:pt x="266" y="77"/>
                    <a:pt x="266" y="77"/>
                    <a:pt x="266" y="77"/>
                  </a:cubicBezTo>
                  <a:cubicBezTo>
                    <a:pt x="246" y="77"/>
                    <a:pt x="246" y="77"/>
                    <a:pt x="246" y="77"/>
                  </a:cubicBezTo>
                  <a:cubicBezTo>
                    <a:pt x="240" y="63"/>
                    <a:pt x="240" y="63"/>
                    <a:pt x="240" y="63"/>
                  </a:cubicBezTo>
                  <a:cubicBezTo>
                    <a:pt x="224" y="60"/>
                    <a:pt x="224" y="60"/>
                    <a:pt x="224" y="60"/>
                  </a:cubicBezTo>
                  <a:cubicBezTo>
                    <a:pt x="220" y="48"/>
                    <a:pt x="220" y="48"/>
                    <a:pt x="220" y="48"/>
                  </a:cubicBezTo>
                  <a:cubicBezTo>
                    <a:pt x="216" y="39"/>
                    <a:pt x="216" y="39"/>
                    <a:pt x="216" y="39"/>
                  </a:cubicBezTo>
                  <a:cubicBezTo>
                    <a:pt x="194" y="35"/>
                    <a:pt x="194" y="35"/>
                    <a:pt x="194" y="35"/>
                  </a:cubicBezTo>
                  <a:cubicBezTo>
                    <a:pt x="182" y="43"/>
                    <a:pt x="182" y="43"/>
                    <a:pt x="182" y="43"/>
                  </a:cubicBezTo>
                  <a:cubicBezTo>
                    <a:pt x="181" y="53"/>
                    <a:pt x="181" y="53"/>
                    <a:pt x="181" y="53"/>
                  </a:cubicBezTo>
                  <a:cubicBezTo>
                    <a:pt x="184" y="67"/>
                    <a:pt x="184" y="67"/>
                    <a:pt x="184" y="67"/>
                  </a:cubicBezTo>
                  <a:cubicBezTo>
                    <a:pt x="174" y="78"/>
                    <a:pt x="174" y="78"/>
                    <a:pt x="174" y="78"/>
                  </a:cubicBezTo>
                  <a:cubicBezTo>
                    <a:pt x="161" y="91"/>
                    <a:pt x="161" y="91"/>
                    <a:pt x="161" y="91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49" y="64"/>
                    <a:pt x="49" y="64"/>
                    <a:pt x="49" y="64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81" y="113"/>
                    <a:pt x="81" y="113"/>
                    <a:pt x="81" y="113"/>
                  </a:cubicBezTo>
                  <a:cubicBezTo>
                    <a:pt x="82" y="114"/>
                    <a:pt x="82" y="114"/>
                    <a:pt x="82" y="114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82" y="124"/>
                    <a:pt x="82" y="124"/>
                    <a:pt x="82" y="124"/>
                  </a:cubicBezTo>
                  <a:cubicBezTo>
                    <a:pt x="86" y="129"/>
                    <a:pt x="86" y="129"/>
                    <a:pt x="86" y="129"/>
                  </a:cubicBezTo>
                  <a:cubicBezTo>
                    <a:pt x="86" y="129"/>
                    <a:pt x="86" y="129"/>
                    <a:pt x="86" y="129"/>
                  </a:cubicBezTo>
                  <a:cubicBezTo>
                    <a:pt x="86" y="129"/>
                    <a:pt x="86" y="129"/>
                    <a:pt x="86" y="129"/>
                  </a:cubicBezTo>
                  <a:cubicBezTo>
                    <a:pt x="88" y="143"/>
                    <a:pt x="88" y="143"/>
                    <a:pt x="88" y="143"/>
                  </a:cubicBezTo>
                  <a:cubicBezTo>
                    <a:pt x="88" y="144"/>
                    <a:pt x="88" y="144"/>
                    <a:pt x="88" y="144"/>
                  </a:cubicBezTo>
                  <a:cubicBezTo>
                    <a:pt x="87" y="144"/>
                    <a:pt x="87" y="144"/>
                    <a:pt x="87" y="144"/>
                  </a:cubicBezTo>
                  <a:cubicBezTo>
                    <a:pt x="83" y="148"/>
                    <a:pt x="83" y="148"/>
                    <a:pt x="83" y="148"/>
                  </a:cubicBezTo>
                  <a:cubicBezTo>
                    <a:pt x="72" y="171"/>
                    <a:pt x="72" y="171"/>
                    <a:pt x="72" y="171"/>
                  </a:cubicBezTo>
                  <a:cubicBezTo>
                    <a:pt x="72" y="172"/>
                    <a:pt x="72" y="172"/>
                    <a:pt x="72" y="172"/>
                  </a:cubicBezTo>
                  <a:cubicBezTo>
                    <a:pt x="70" y="172"/>
                    <a:pt x="70" y="172"/>
                    <a:pt x="70" y="172"/>
                  </a:cubicBezTo>
                  <a:cubicBezTo>
                    <a:pt x="38" y="175"/>
                    <a:pt x="38" y="175"/>
                    <a:pt x="38" y="175"/>
                  </a:cubicBezTo>
                  <a:cubicBezTo>
                    <a:pt x="37" y="175"/>
                    <a:pt x="37" y="175"/>
                    <a:pt x="37" y="175"/>
                  </a:cubicBezTo>
                  <a:cubicBezTo>
                    <a:pt x="37" y="174"/>
                    <a:pt x="37" y="174"/>
                    <a:pt x="37" y="174"/>
                  </a:cubicBezTo>
                  <a:cubicBezTo>
                    <a:pt x="29" y="170"/>
                    <a:pt x="29" y="170"/>
                    <a:pt x="29" y="170"/>
                  </a:cubicBezTo>
                  <a:cubicBezTo>
                    <a:pt x="1" y="196"/>
                    <a:pt x="1" y="196"/>
                    <a:pt x="1" y="196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4" y="233"/>
                    <a:pt x="4" y="233"/>
                    <a:pt x="4" y="233"/>
                  </a:cubicBezTo>
                  <a:cubicBezTo>
                    <a:pt x="19" y="249"/>
                    <a:pt x="19" y="249"/>
                    <a:pt x="19" y="249"/>
                  </a:cubicBezTo>
                  <a:cubicBezTo>
                    <a:pt x="20" y="250"/>
                    <a:pt x="20" y="250"/>
                    <a:pt x="20" y="250"/>
                  </a:cubicBezTo>
                  <a:cubicBezTo>
                    <a:pt x="19" y="251"/>
                    <a:pt x="19" y="251"/>
                    <a:pt x="19" y="251"/>
                  </a:cubicBezTo>
                  <a:cubicBezTo>
                    <a:pt x="8" y="266"/>
                    <a:pt x="8" y="266"/>
                    <a:pt x="8" y="266"/>
                  </a:cubicBezTo>
                  <a:cubicBezTo>
                    <a:pt x="9" y="281"/>
                    <a:pt x="9" y="281"/>
                    <a:pt x="9" y="281"/>
                  </a:cubicBezTo>
                  <a:cubicBezTo>
                    <a:pt x="14" y="292"/>
                    <a:pt x="14" y="292"/>
                    <a:pt x="14" y="292"/>
                  </a:cubicBezTo>
                  <a:cubicBezTo>
                    <a:pt x="28" y="306"/>
                    <a:pt x="28" y="306"/>
                    <a:pt x="28" y="306"/>
                  </a:cubicBezTo>
                  <a:cubicBezTo>
                    <a:pt x="29" y="307"/>
                    <a:pt x="29" y="307"/>
                    <a:pt x="29" y="307"/>
                  </a:cubicBezTo>
                  <a:cubicBezTo>
                    <a:pt x="28" y="308"/>
                    <a:pt x="28" y="308"/>
                    <a:pt x="28" y="308"/>
                  </a:cubicBezTo>
                  <a:cubicBezTo>
                    <a:pt x="22" y="321"/>
                    <a:pt x="22" y="321"/>
                    <a:pt x="22" y="321"/>
                  </a:cubicBezTo>
                  <a:cubicBezTo>
                    <a:pt x="22" y="323"/>
                    <a:pt x="22" y="323"/>
                    <a:pt x="22" y="323"/>
                  </a:cubicBezTo>
                  <a:cubicBezTo>
                    <a:pt x="21" y="323"/>
                    <a:pt x="21" y="323"/>
                    <a:pt x="21" y="323"/>
                  </a:cubicBezTo>
                  <a:cubicBezTo>
                    <a:pt x="14" y="329"/>
                    <a:pt x="14" y="329"/>
                    <a:pt x="14" y="329"/>
                  </a:cubicBezTo>
                  <a:cubicBezTo>
                    <a:pt x="13" y="329"/>
                    <a:pt x="13" y="329"/>
                    <a:pt x="13" y="329"/>
                  </a:cubicBezTo>
                  <a:cubicBezTo>
                    <a:pt x="13" y="329"/>
                    <a:pt x="13" y="329"/>
                    <a:pt x="13" y="329"/>
                  </a:cubicBezTo>
                  <a:cubicBezTo>
                    <a:pt x="5" y="332"/>
                    <a:pt x="5" y="332"/>
                    <a:pt x="5" y="332"/>
                  </a:cubicBezTo>
                  <a:cubicBezTo>
                    <a:pt x="6" y="341"/>
                    <a:pt x="6" y="341"/>
                    <a:pt x="6" y="341"/>
                  </a:cubicBezTo>
                  <a:cubicBezTo>
                    <a:pt x="19" y="358"/>
                    <a:pt x="19" y="358"/>
                    <a:pt x="19" y="358"/>
                  </a:cubicBezTo>
                  <a:cubicBezTo>
                    <a:pt x="35" y="371"/>
                    <a:pt x="35" y="371"/>
                    <a:pt x="35" y="371"/>
                  </a:cubicBezTo>
                  <a:cubicBezTo>
                    <a:pt x="37" y="373"/>
                    <a:pt x="37" y="373"/>
                    <a:pt x="37" y="373"/>
                  </a:cubicBezTo>
                  <a:cubicBezTo>
                    <a:pt x="35" y="374"/>
                    <a:pt x="35" y="374"/>
                    <a:pt x="35" y="374"/>
                  </a:cubicBezTo>
                  <a:cubicBezTo>
                    <a:pt x="29" y="381"/>
                    <a:pt x="29" y="381"/>
                    <a:pt x="29" y="381"/>
                  </a:cubicBezTo>
                  <a:cubicBezTo>
                    <a:pt x="22" y="389"/>
                    <a:pt x="22" y="389"/>
                    <a:pt x="22" y="389"/>
                  </a:cubicBezTo>
                  <a:cubicBezTo>
                    <a:pt x="21" y="434"/>
                    <a:pt x="21" y="434"/>
                    <a:pt x="21" y="434"/>
                  </a:cubicBezTo>
                  <a:cubicBezTo>
                    <a:pt x="21" y="435"/>
                    <a:pt x="21" y="435"/>
                    <a:pt x="21" y="435"/>
                  </a:cubicBezTo>
                  <a:cubicBezTo>
                    <a:pt x="20" y="436"/>
                    <a:pt x="20" y="436"/>
                    <a:pt x="20" y="436"/>
                  </a:cubicBezTo>
                  <a:cubicBezTo>
                    <a:pt x="11" y="440"/>
                    <a:pt x="11" y="440"/>
                    <a:pt x="11" y="440"/>
                  </a:cubicBezTo>
                  <a:cubicBezTo>
                    <a:pt x="11" y="452"/>
                    <a:pt x="11" y="452"/>
                    <a:pt x="11" y="452"/>
                  </a:cubicBezTo>
                  <a:cubicBezTo>
                    <a:pt x="24" y="463"/>
                    <a:pt x="24" y="463"/>
                    <a:pt x="24" y="463"/>
                  </a:cubicBezTo>
                  <a:cubicBezTo>
                    <a:pt x="26" y="463"/>
                    <a:pt x="26" y="463"/>
                    <a:pt x="26" y="463"/>
                  </a:cubicBezTo>
                  <a:cubicBezTo>
                    <a:pt x="35" y="455"/>
                    <a:pt x="35" y="455"/>
                    <a:pt x="35" y="455"/>
                  </a:cubicBezTo>
                  <a:cubicBezTo>
                    <a:pt x="35" y="454"/>
                    <a:pt x="35" y="454"/>
                    <a:pt x="35" y="454"/>
                  </a:cubicBezTo>
                  <a:cubicBezTo>
                    <a:pt x="36" y="454"/>
                    <a:pt x="36" y="454"/>
                    <a:pt x="36" y="454"/>
                  </a:cubicBezTo>
                  <a:cubicBezTo>
                    <a:pt x="44" y="452"/>
                    <a:pt x="44" y="452"/>
                    <a:pt x="44" y="452"/>
                  </a:cubicBezTo>
                  <a:cubicBezTo>
                    <a:pt x="52" y="445"/>
                    <a:pt x="52" y="445"/>
                    <a:pt x="52" y="445"/>
                  </a:cubicBezTo>
                  <a:cubicBezTo>
                    <a:pt x="53" y="443"/>
                    <a:pt x="53" y="443"/>
                    <a:pt x="53" y="443"/>
                  </a:cubicBezTo>
                  <a:cubicBezTo>
                    <a:pt x="55" y="444"/>
                    <a:pt x="55" y="444"/>
                    <a:pt x="55" y="444"/>
                  </a:cubicBezTo>
                  <a:cubicBezTo>
                    <a:pt x="62" y="450"/>
                    <a:pt x="62" y="450"/>
                    <a:pt x="62" y="450"/>
                  </a:cubicBezTo>
                  <a:cubicBezTo>
                    <a:pt x="61" y="450"/>
                    <a:pt x="61" y="450"/>
                    <a:pt x="61" y="450"/>
                  </a:cubicBezTo>
                  <a:cubicBezTo>
                    <a:pt x="66" y="449"/>
                    <a:pt x="66" y="449"/>
                    <a:pt x="66" y="449"/>
                  </a:cubicBezTo>
                  <a:cubicBezTo>
                    <a:pt x="84" y="439"/>
                    <a:pt x="84" y="439"/>
                    <a:pt x="84" y="439"/>
                  </a:cubicBezTo>
                  <a:cubicBezTo>
                    <a:pt x="84" y="439"/>
                    <a:pt x="84" y="439"/>
                    <a:pt x="84" y="439"/>
                  </a:cubicBezTo>
                  <a:cubicBezTo>
                    <a:pt x="84" y="439"/>
                    <a:pt x="84" y="439"/>
                    <a:pt x="84" y="439"/>
                  </a:cubicBezTo>
                  <a:cubicBezTo>
                    <a:pt x="101" y="433"/>
                    <a:pt x="101" y="433"/>
                    <a:pt x="101" y="433"/>
                  </a:cubicBezTo>
                  <a:cubicBezTo>
                    <a:pt x="101" y="433"/>
                    <a:pt x="101" y="433"/>
                    <a:pt x="101" y="433"/>
                  </a:cubicBezTo>
                  <a:cubicBezTo>
                    <a:pt x="102" y="433"/>
                    <a:pt x="102" y="433"/>
                    <a:pt x="102" y="433"/>
                  </a:cubicBezTo>
                  <a:cubicBezTo>
                    <a:pt x="110" y="433"/>
                    <a:pt x="110" y="433"/>
                    <a:pt x="110" y="433"/>
                  </a:cubicBezTo>
                  <a:cubicBezTo>
                    <a:pt x="110" y="433"/>
                    <a:pt x="110" y="433"/>
                    <a:pt x="110" y="433"/>
                  </a:cubicBezTo>
                  <a:cubicBezTo>
                    <a:pt x="111" y="433"/>
                    <a:pt x="111" y="433"/>
                    <a:pt x="111" y="433"/>
                  </a:cubicBezTo>
                  <a:cubicBezTo>
                    <a:pt x="125" y="440"/>
                    <a:pt x="125" y="440"/>
                    <a:pt x="125" y="440"/>
                  </a:cubicBezTo>
                  <a:cubicBezTo>
                    <a:pt x="137" y="447"/>
                    <a:pt x="137" y="447"/>
                    <a:pt x="137" y="447"/>
                  </a:cubicBezTo>
                  <a:cubicBezTo>
                    <a:pt x="148" y="445"/>
                    <a:pt x="148" y="445"/>
                    <a:pt x="148" y="445"/>
                  </a:cubicBezTo>
                  <a:cubicBezTo>
                    <a:pt x="156" y="439"/>
                    <a:pt x="156" y="439"/>
                    <a:pt x="156" y="439"/>
                  </a:cubicBezTo>
                  <a:cubicBezTo>
                    <a:pt x="158" y="438"/>
                    <a:pt x="158" y="438"/>
                    <a:pt x="158" y="438"/>
                  </a:cubicBezTo>
                  <a:cubicBezTo>
                    <a:pt x="159" y="439"/>
                    <a:pt x="159" y="439"/>
                    <a:pt x="159" y="439"/>
                  </a:cubicBezTo>
                  <a:cubicBezTo>
                    <a:pt x="176" y="457"/>
                    <a:pt x="176" y="457"/>
                    <a:pt x="176" y="457"/>
                  </a:cubicBezTo>
                  <a:cubicBezTo>
                    <a:pt x="192" y="457"/>
                    <a:pt x="192" y="457"/>
                    <a:pt x="192" y="457"/>
                  </a:cubicBezTo>
                  <a:cubicBezTo>
                    <a:pt x="197" y="452"/>
                    <a:pt x="197" y="452"/>
                    <a:pt x="197" y="452"/>
                  </a:cubicBezTo>
                  <a:cubicBezTo>
                    <a:pt x="198" y="451"/>
                    <a:pt x="198" y="451"/>
                    <a:pt x="198" y="451"/>
                  </a:cubicBezTo>
                  <a:cubicBezTo>
                    <a:pt x="198" y="451"/>
                    <a:pt x="198" y="451"/>
                    <a:pt x="198" y="451"/>
                  </a:cubicBezTo>
                  <a:cubicBezTo>
                    <a:pt x="207" y="449"/>
                    <a:pt x="207" y="449"/>
                    <a:pt x="207" y="449"/>
                  </a:cubicBezTo>
                  <a:cubicBezTo>
                    <a:pt x="216" y="438"/>
                    <a:pt x="216" y="438"/>
                    <a:pt x="216" y="438"/>
                  </a:cubicBezTo>
                  <a:cubicBezTo>
                    <a:pt x="216" y="438"/>
                    <a:pt x="216" y="438"/>
                    <a:pt x="216" y="438"/>
                  </a:cubicBezTo>
                  <a:cubicBezTo>
                    <a:pt x="217" y="438"/>
                    <a:pt x="217" y="438"/>
                    <a:pt x="217" y="438"/>
                  </a:cubicBezTo>
                  <a:cubicBezTo>
                    <a:pt x="231" y="440"/>
                    <a:pt x="231" y="440"/>
                    <a:pt x="231" y="440"/>
                  </a:cubicBezTo>
                  <a:cubicBezTo>
                    <a:pt x="232" y="440"/>
                    <a:pt x="232" y="440"/>
                    <a:pt x="232" y="440"/>
                  </a:cubicBezTo>
                  <a:cubicBezTo>
                    <a:pt x="232" y="440"/>
                    <a:pt x="232" y="440"/>
                    <a:pt x="232" y="440"/>
                  </a:cubicBezTo>
                  <a:cubicBezTo>
                    <a:pt x="249" y="457"/>
                    <a:pt x="249" y="457"/>
                    <a:pt x="249" y="457"/>
                  </a:cubicBezTo>
                  <a:cubicBezTo>
                    <a:pt x="303" y="456"/>
                    <a:pt x="303" y="456"/>
                    <a:pt x="303" y="456"/>
                  </a:cubicBezTo>
                  <a:cubicBezTo>
                    <a:pt x="314" y="450"/>
                    <a:pt x="314" y="450"/>
                    <a:pt x="314" y="450"/>
                  </a:cubicBezTo>
                  <a:cubicBezTo>
                    <a:pt x="314" y="450"/>
                    <a:pt x="314" y="450"/>
                    <a:pt x="314" y="450"/>
                  </a:cubicBezTo>
                  <a:cubicBezTo>
                    <a:pt x="315" y="450"/>
                    <a:pt x="315" y="450"/>
                    <a:pt x="315" y="450"/>
                  </a:cubicBezTo>
                  <a:cubicBezTo>
                    <a:pt x="325" y="451"/>
                    <a:pt x="325" y="451"/>
                    <a:pt x="325" y="451"/>
                  </a:cubicBezTo>
                  <a:cubicBezTo>
                    <a:pt x="326" y="451"/>
                    <a:pt x="326" y="451"/>
                    <a:pt x="326" y="451"/>
                  </a:cubicBezTo>
                  <a:cubicBezTo>
                    <a:pt x="327" y="452"/>
                    <a:pt x="327" y="452"/>
                    <a:pt x="327" y="452"/>
                  </a:cubicBezTo>
                  <a:cubicBezTo>
                    <a:pt x="340" y="488"/>
                    <a:pt x="340" y="488"/>
                    <a:pt x="340" y="488"/>
                  </a:cubicBezTo>
                  <a:cubicBezTo>
                    <a:pt x="344" y="497"/>
                    <a:pt x="344" y="497"/>
                    <a:pt x="344" y="497"/>
                  </a:cubicBezTo>
                  <a:cubicBezTo>
                    <a:pt x="376" y="521"/>
                    <a:pt x="376" y="521"/>
                    <a:pt x="376" y="521"/>
                  </a:cubicBezTo>
                  <a:cubicBezTo>
                    <a:pt x="376" y="521"/>
                    <a:pt x="376" y="521"/>
                    <a:pt x="376" y="521"/>
                  </a:cubicBezTo>
                  <a:cubicBezTo>
                    <a:pt x="377" y="522"/>
                    <a:pt x="377" y="522"/>
                    <a:pt x="377" y="522"/>
                  </a:cubicBezTo>
                  <a:cubicBezTo>
                    <a:pt x="382" y="538"/>
                    <a:pt x="382" y="538"/>
                    <a:pt x="382" y="538"/>
                  </a:cubicBezTo>
                  <a:cubicBezTo>
                    <a:pt x="396" y="539"/>
                    <a:pt x="396" y="539"/>
                    <a:pt x="396" y="539"/>
                  </a:cubicBezTo>
                  <a:cubicBezTo>
                    <a:pt x="410" y="385"/>
                    <a:pt x="410" y="385"/>
                    <a:pt x="410" y="385"/>
                  </a:cubicBezTo>
                  <a:cubicBezTo>
                    <a:pt x="421" y="385"/>
                    <a:pt x="421" y="385"/>
                    <a:pt x="421" y="385"/>
                  </a:cubicBezTo>
                  <a:cubicBezTo>
                    <a:pt x="442" y="394"/>
                    <a:pt x="442" y="394"/>
                    <a:pt x="442" y="394"/>
                  </a:cubicBezTo>
                  <a:cubicBezTo>
                    <a:pt x="469" y="397"/>
                    <a:pt x="469" y="397"/>
                    <a:pt x="469" y="397"/>
                  </a:cubicBezTo>
                  <a:cubicBezTo>
                    <a:pt x="488" y="390"/>
                    <a:pt x="488" y="390"/>
                    <a:pt x="488" y="390"/>
                  </a:cubicBezTo>
                  <a:cubicBezTo>
                    <a:pt x="511" y="383"/>
                    <a:pt x="511" y="383"/>
                    <a:pt x="511" y="383"/>
                  </a:cubicBezTo>
                  <a:cubicBezTo>
                    <a:pt x="520" y="397"/>
                    <a:pt x="520" y="397"/>
                    <a:pt x="520" y="397"/>
                  </a:cubicBezTo>
                  <a:cubicBezTo>
                    <a:pt x="532" y="397"/>
                    <a:pt x="532" y="397"/>
                    <a:pt x="532" y="397"/>
                  </a:cubicBezTo>
                  <a:cubicBezTo>
                    <a:pt x="540" y="385"/>
                    <a:pt x="540" y="385"/>
                    <a:pt x="540" y="385"/>
                  </a:cubicBezTo>
                  <a:cubicBezTo>
                    <a:pt x="548" y="374"/>
                    <a:pt x="548" y="374"/>
                    <a:pt x="548" y="374"/>
                  </a:cubicBezTo>
                  <a:cubicBezTo>
                    <a:pt x="570" y="369"/>
                    <a:pt x="570" y="369"/>
                    <a:pt x="570" y="369"/>
                  </a:cubicBezTo>
                  <a:cubicBezTo>
                    <a:pt x="570" y="359"/>
                    <a:pt x="570" y="359"/>
                    <a:pt x="570" y="359"/>
                  </a:cubicBezTo>
                  <a:cubicBezTo>
                    <a:pt x="576" y="341"/>
                    <a:pt x="576" y="341"/>
                    <a:pt x="576" y="341"/>
                  </a:cubicBezTo>
                  <a:cubicBezTo>
                    <a:pt x="559" y="310"/>
                    <a:pt x="559" y="310"/>
                    <a:pt x="559" y="310"/>
                  </a:cubicBezTo>
                  <a:cubicBezTo>
                    <a:pt x="550" y="278"/>
                    <a:pt x="550" y="278"/>
                    <a:pt x="550" y="278"/>
                  </a:cubicBezTo>
                  <a:cubicBezTo>
                    <a:pt x="552" y="240"/>
                    <a:pt x="552" y="240"/>
                    <a:pt x="552" y="240"/>
                  </a:cubicBezTo>
                  <a:cubicBezTo>
                    <a:pt x="564" y="234"/>
                    <a:pt x="564" y="234"/>
                    <a:pt x="564" y="234"/>
                  </a:cubicBezTo>
                  <a:cubicBezTo>
                    <a:pt x="582" y="225"/>
                    <a:pt x="582" y="225"/>
                    <a:pt x="582" y="225"/>
                  </a:cubicBezTo>
                  <a:cubicBezTo>
                    <a:pt x="595" y="215"/>
                    <a:pt x="595" y="215"/>
                    <a:pt x="595" y="215"/>
                  </a:cubicBezTo>
                  <a:cubicBezTo>
                    <a:pt x="608" y="205"/>
                    <a:pt x="608" y="205"/>
                    <a:pt x="608" y="205"/>
                  </a:cubicBezTo>
                  <a:cubicBezTo>
                    <a:pt x="607" y="184"/>
                    <a:pt x="607" y="184"/>
                    <a:pt x="607" y="184"/>
                  </a:cubicBezTo>
                  <a:cubicBezTo>
                    <a:pt x="595" y="167"/>
                    <a:pt x="595" y="167"/>
                    <a:pt x="595" y="167"/>
                  </a:cubicBezTo>
                  <a:cubicBezTo>
                    <a:pt x="602" y="159"/>
                    <a:pt x="602" y="159"/>
                    <a:pt x="602" y="159"/>
                  </a:cubicBezTo>
                  <a:cubicBezTo>
                    <a:pt x="613" y="152"/>
                    <a:pt x="613" y="152"/>
                    <a:pt x="613" y="152"/>
                  </a:cubicBezTo>
                  <a:cubicBezTo>
                    <a:pt x="629" y="150"/>
                    <a:pt x="629" y="150"/>
                    <a:pt x="629" y="150"/>
                  </a:cubicBezTo>
                  <a:cubicBezTo>
                    <a:pt x="630" y="139"/>
                    <a:pt x="630" y="139"/>
                    <a:pt x="630" y="139"/>
                  </a:cubicBezTo>
                  <a:cubicBezTo>
                    <a:pt x="609" y="138"/>
                    <a:pt x="609" y="138"/>
                    <a:pt x="609" y="138"/>
                  </a:cubicBezTo>
                  <a:close/>
                  <a:moveTo>
                    <a:pt x="477" y="316"/>
                  </a:moveTo>
                  <a:cubicBezTo>
                    <a:pt x="460" y="312"/>
                    <a:pt x="460" y="312"/>
                    <a:pt x="460" y="312"/>
                  </a:cubicBezTo>
                  <a:cubicBezTo>
                    <a:pt x="446" y="311"/>
                    <a:pt x="446" y="311"/>
                    <a:pt x="446" y="311"/>
                  </a:cubicBezTo>
                  <a:cubicBezTo>
                    <a:pt x="433" y="300"/>
                    <a:pt x="433" y="300"/>
                    <a:pt x="433" y="300"/>
                  </a:cubicBezTo>
                  <a:cubicBezTo>
                    <a:pt x="403" y="302"/>
                    <a:pt x="403" y="302"/>
                    <a:pt x="403" y="302"/>
                  </a:cubicBezTo>
                  <a:cubicBezTo>
                    <a:pt x="393" y="297"/>
                    <a:pt x="393" y="297"/>
                    <a:pt x="393" y="297"/>
                  </a:cubicBezTo>
                  <a:cubicBezTo>
                    <a:pt x="387" y="291"/>
                    <a:pt x="387" y="291"/>
                    <a:pt x="387" y="291"/>
                  </a:cubicBezTo>
                  <a:cubicBezTo>
                    <a:pt x="393" y="288"/>
                    <a:pt x="393" y="288"/>
                    <a:pt x="393" y="288"/>
                  </a:cubicBezTo>
                  <a:cubicBezTo>
                    <a:pt x="398" y="284"/>
                    <a:pt x="398" y="284"/>
                    <a:pt x="398" y="284"/>
                  </a:cubicBezTo>
                  <a:cubicBezTo>
                    <a:pt x="438" y="283"/>
                    <a:pt x="438" y="283"/>
                    <a:pt x="438" y="283"/>
                  </a:cubicBezTo>
                  <a:cubicBezTo>
                    <a:pt x="445" y="288"/>
                    <a:pt x="445" y="288"/>
                    <a:pt x="445" y="288"/>
                  </a:cubicBezTo>
                  <a:cubicBezTo>
                    <a:pt x="456" y="291"/>
                    <a:pt x="456" y="291"/>
                    <a:pt x="456" y="291"/>
                  </a:cubicBezTo>
                  <a:cubicBezTo>
                    <a:pt x="478" y="291"/>
                    <a:pt x="478" y="291"/>
                    <a:pt x="478" y="291"/>
                  </a:cubicBezTo>
                  <a:cubicBezTo>
                    <a:pt x="485" y="298"/>
                    <a:pt x="485" y="298"/>
                    <a:pt x="485" y="298"/>
                  </a:cubicBezTo>
                  <a:cubicBezTo>
                    <a:pt x="477" y="316"/>
                    <a:pt x="477" y="316"/>
                    <a:pt x="477" y="316"/>
                  </a:cubicBezTo>
                  <a:close/>
                </a:path>
              </a:pathLst>
            </a:custGeom>
            <a:solidFill>
              <a:srgbClr val="00B05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2000" tIns="72000" rIns="72000" bIns="72000" anchor="ctr"/>
            <a:lstStyle/>
            <a:p>
              <a:pPr algn="ctr" defTabSz="914308">
                <a:defRPr/>
              </a:pPr>
              <a:endParaRPr lang="ru-RU" sz="1200" kern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374" name="Freeform 167">
              <a:extLst/>
            </p:cNvPr>
            <p:cNvSpPr>
              <a:spLocks/>
            </p:cNvSpPr>
            <p:nvPr/>
          </p:nvSpPr>
          <p:spPr bwMode="auto">
            <a:xfrm>
              <a:off x="4519534" y="1292384"/>
              <a:ext cx="1367384" cy="899644"/>
            </a:xfrm>
            <a:custGeom>
              <a:avLst/>
              <a:gdLst>
                <a:gd name="T0" fmla="*/ 18 w 440"/>
                <a:gd name="T1" fmla="*/ 106 h 289"/>
                <a:gd name="T2" fmla="*/ 22 w 440"/>
                <a:gd name="T3" fmla="*/ 120 h 289"/>
                <a:gd name="T4" fmla="*/ 24 w 440"/>
                <a:gd name="T5" fmla="*/ 129 h 289"/>
                <a:gd name="T6" fmla="*/ 5 w 440"/>
                <a:gd name="T7" fmla="*/ 144 h 289"/>
                <a:gd name="T8" fmla="*/ 17 w 440"/>
                <a:gd name="T9" fmla="*/ 154 h 289"/>
                <a:gd name="T10" fmla="*/ 24 w 440"/>
                <a:gd name="T11" fmla="*/ 162 h 289"/>
                <a:gd name="T12" fmla="*/ 19 w 440"/>
                <a:gd name="T13" fmla="*/ 171 h 289"/>
                <a:gd name="T14" fmla="*/ 12 w 440"/>
                <a:gd name="T15" fmla="*/ 181 h 289"/>
                <a:gd name="T16" fmla="*/ 21 w 440"/>
                <a:gd name="T17" fmla="*/ 190 h 289"/>
                <a:gd name="T18" fmla="*/ 19 w 440"/>
                <a:gd name="T19" fmla="*/ 208 h 289"/>
                <a:gd name="T20" fmla="*/ 16 w 440"/>
                <a:gd name="T21" fmla="*/ 214 h 289"/>
                <a:gd name="T22" fmla="*/ 6 w 440"/>
                <a:gd name="T23" fmla="*/ 217 h 289"/>
                <a:gd name="T24" fmla="*/ 32 w 440"/>
                <a:gd name="T25" fmla="*/ 285 h 289"/>
                <a:gd name="T26" fmla="*/ 54 w 440"/>
                <a:gd name="T27" fmla="*/ 289 h 289"/>
                <a:gd name="T28" fmla="*/ 71 w 440"/>
                <a:gd name="T29" fmla="*/ 269 h 289"/>
                <a:gd name="T30" fmla="*/ 147 w 440"/>
                <a:gd name="T31" fmla="*/ 239 h 289"/>
                <a:gd name="T32" fmla="*/ 130 w 440"/>
                <a:gd name="T33" fmla="*/ 189 h 289"/>
                <a:gd name="T34" fmla="*/ 148 w 440"/>
                <a:gd name="T35" fmla="*/ 169 h 289"/>
                <a:gd name="T36" fmla="*/ 168 w 440"/>
                <a:gd name="T37" fmla="*/ 164 h 289"/>
                <a:gd name="T38" fmla="*/ 194 w 440"/>
                <a:gd name="T39" fmla="*/ 159 h 289"/>
                <a:gd name="T40" fmla="*/ 213 w 440"/>
                <a:gd name="T41" fmla="*/ 162 h 289"/>
                <a:gd name="T42" fmla="*/ 216 w 440"/>
                <a:gd name="T43" fmla="*/ 176 h 289"/>
                <a:gd name="T44" fmla="*/ 228 w 440"/>
                <a:gd name="T45" fmla="*/ 181 h 289"/>
                <a:gd name="T46" fmla="*/ 251 w 440"/>
                <a:gd name="T47" fmla="*/ 185 h 289"/>
                <a:gd name="T48" fmla="*/ 303 w 440"/>
                <a:gd name="T49" fmla="*/ 190 h 289"/>
                <a:gd name="T50" fmla="*/ 319 w 440"/>
                <a:gd name="T51" fmla="*/ 206 h 289"/>
                <a:gd name="T52" fmla="*/ 331 w 440"/>
                <a:gd name="T53" fmla="*/ 223 h 289"/>
                <a:gd name="T54" fmla="*/ 379 w 440"/>
                <a:gd name="T55" fmla="*/ 213 h 289"/>
                <a:gd name="T56" fmla="*/ 395 w 440"/>
                <a:gd name="T57" fmla="*/ 233 h 289"/>
                <a:gd name="T58" fmla="*/ 414 w 440"/>
                <a:gd name="T59" fmla="*/ 238 h 289"/>
                <a:gd name="T60" fmla="*/ 430 w 440"/>
                <a:gd name="T61" fmla="*/ 227 h 289"/>
                <a:gd name="T62" fmla="*/ 440 w 440"/>
                <a:gd name="T63" fmla="*/ 222 h 289"/>
                <a:gd name="T64" fmla="*/ 427 w 440"/>
                <a:gd name="T65" fmla="*/ 214 h 289"/>
                <a:gd name="T66" fmla="*/ 417 w 440"/>
                <a:gd name="T67" fmla="*/ 207 h 289"/>
                <a:gd name="T68" fmla="*/ 415 w 440"/>
                <a:gd name="T69" fmla="*/ 202 h 289"/>
                <a:gd name="T70" fmla="*/ 420 w 440"/>
                <a:gd name="T71" fmla="*/ 194 h 289"/>
                <a:gd name="T72" fmla="*/ 426 w 440"/>
                <a:gd name="T73" fmla="*/ 189 h 289"/>
                <a:gd name="T74" fmla="*/ 412 w 440"/>
                <a:gd name="T75" fmla="*/ 189 h 289"/>
                <a:gd name="T76" fmla="*/ 406 w 440"/>
                <a:gd name="T77" fmla="*/ 169 h 289"/>
                <a:gd name="T78" fmla="*/ 410 w 440"/>
                <a:gd name="T79" fmla="*/ 151 h 289"/>
                <a:gd name="T80" fmla="*/ 437 w 440"/>
                <a:gd name="T81" fmla="*/ 127 h 289"/>
                <a:gd name="T82" fmla="*/ 396 w 440"/>
                <a:gd name="T83" fmla="*/ 125 h 289"/>
                <a:gd name="T84" fmla="*/ 369 w 440"/>
                <a:gd name="T85" fmla="*/ 123 h 289"/>
                <a:gd name="T86" fmla="*/ 355 w 440"/>
                <a:gd name="T87" fmla="*/ 113 h 289"/>
                <a:gd name="T88" fmla="*/ 306 w 440"/>
                <a:gd name="T89" fmla="*/ 121 h 289"/>
                <a:gd name="T90" fmla="*/ 272 w 440"/>
                <a:gd name="T91" fmla="*/ 105 h 289"/>
                <a:gd name="T92" fmla="*/ 286 w 440"/>
                <a:gd name="T93" fmla="*/ 68 h 289"/>
                <a:gd name="T94" fmla="*/ 258 w 440"/>
                <a:gd name="T95" fmla="*/ 6 h 289"/>
                <a:gd name="T96" fmla="*/ 190 w 440"/>
                <a:gd name="T97" fmla="*/ 7 h 289"/>
                <a:gd name="T98" fmla="*/ 136 w 440"/>
                <a:gd name="T99" fmla="*/ 17 h 289"/>
                <a:gd name="T100" fmla="*/ 99 w 440"/>
                <a:gd name="T101" fmla="*/ 44 h 289"/>
                <a:gd name="T102" fmla="*/ 15 w 440"/>
                <a:gd name="T103" fmla="*/ 98 h 289"/>
                <a:gd name="connsiteX0" fmla="*/ 432 w 10000"/>
                <a:gd name="connsiteY0" fmla="*/ 3564 h 10000"/>
                <a:gd name="connsiteX1" fmla="*/ 455 w 10000"/>
                <a:gd name="connsiteY1" fmla="*/ 3633 h 10000"/>
                <a:gd name="connsiteX2" fmla="*/ 409 w 10000"/>
                <a:gd name="connsiteY2" fmla="*/ 3668 h 10000"/>
                <a:gd name="connsiteX3" fmla="*/ 205 w 10000"/>
                <a:gd name="connsiteY3" fmla="*/ 3910 h 10000"/>
                <a:gd name="connsiteX4" fmla="*/ 205 w 10000"/>
                <a:gd name="connsiteY4" fmla="*/ 4014 h 10000"/>
                <a:gd name="connsiteX5" fmla="*/ 500 w 10000"/>
                <a:gd name="connsiteY5" fmla="*/ 4152 h 10000"/>
                <a:gd name="connsiteX6" fmla="*/ 545 w 10000"/>
                <a:gd name="connsiteY6" fmla="*/ 4187 h 10000"/>
                <a:gd name="connsiteX7" fmla="*/ 545 w 10000"/>
                <a:gd name="connsiteY7" fmla="*/ 4221 h 10000"/>
                <a:gd name="connsiteX8" fmla="*/ 545 w 10000"/>
                <a:gd name="connsiteY8" fmla="*/ 4464 h 10000"/>
                <a:gd name="connsiteX9" fmla="*/ 545 w 10000"/>
                <a:gd name="connsiteY9" fmla="*/ 4498 h 10000"/>
                <a:gd name="connsiteX10" fmla="*/ 523 w 10000"/>
                <a:gd name="connsiteY10" fmla="*/ 4533 h 10000"/>
                <a:gd name="connsiteX11" fmla="*/ 114 w 10000"/>
                <a:gd name="connsiteY11" fmla="*/ 4983 h 10000"/>
                <a:gd name="connsiteX12" fmla="*/ 159 w 10000"/>
                <a:gd name="connsiteY12" fmla="*/ 5087 h 10000"/>
                <a:gd name="connsiteX13" fmla="*/ 386 w 10000"/>
                <a:gd name="connsiteY13" fmla="*/ 5329 h 10000"/>
                <a:gd name="connsiteX14" fmla="*/ 386 w 10000"/>
                <a:gd name="connsiteY14" fmla="*/ 5329 h 10000"/>
                <a:gd name="connsiteX15" fmla="*/ 386 w 10000"/>
                <a:gd name="connsiteY15" fmla="*/ 5329 h 10000"/>
                <a:gd name="connsiteX16" fmla="*/ 523 w 10000"/>
                <a:gd name="connsiteY16" fmla="*/ 5606 h 10000"/>
                <a:gd name="connsiteX17" fmla="*/ 545 w 10000"/>
                <a:gd name="connsiteY17" fmla="*/ 5606 h 10000"/>
                <a:gd name="connsiteX18" fmla="*/ 523 w 10000"/>
                <a:gd name="connsiteY18" fmla="*/ 5640 h 10000"/>
                <a:gd name="connsiteX19" fmla="*/ 432 w 10000"/>
                <a:gd name="connsiteY19" fmla="*/ 5882 h 10000"/>
                <a:gd name="connsiteX20" fmla="*/ 432 w 10000"/>
                <a:gd name="connsiteY20" fmla="*/ 5917 h 10000"/>
                <a:gd name="connsiteX21" fmla="*/ 409 w 10000"/>
                <a:gd name="connsiteY21" fmla="*/ 5917 h 10000"/>
                <a:gd name="connsiteX22" fmla="*/ 273 w 10000"/>
                <a:gd name="connsiteY22" fmla="*/ 6055 h 10000"/>
                <a:gd name="connsiteX23" fmla="*/ 273 w 10000"/>
                <a:gd name="connsiteY23" fmla="*/ 6263 h 10000"/>
                <a:gd name="connsiteX24" fmla="*/ 477 w 10000"/>
                <a:gd name="connsiteY24" fmla="*/ 6471 h 10000"/>
                <a:gd name="connsiteX25" fmla="*/ 523 w 10000"/>
                <a:gd name="connsiteY25" fmla="*/ 6540 h 10000"/>
                <a:gd name="connsiteX26" fmla="*/ 477 w 10000"/>
                <a:gd name="connsiteY26" fmla="*/ 6574 h 10000"/>
                <a:gd name="connsiteX27" fmla="*/ 318 w 10000"/>
                <a:gd name="connsiteY27" fmla="*/ 6782 h 10000"/>
                <a:gd name="connsiteX28" fmla="*/ 273 w 10000"/>
                <a:gd name="connsiteY28" fmla="*/ 6955 h 10000"/>
                <a:gd name="connsiteX29" fmla="*/ 432 w 10000"/>
                <a:gd name="connsiteY29" fmla="*/ 7197 h 10000"/>
                <a:gd name="connsiteX30" fmla="*/ 455 w 10000"/>
                <a:gd name="connsiteY30" fmla="*/ 7232 h 10000"/>
                <a:gd name="connsiteX31" fmla="*/ 432 w 10000"/>
                <a:gd name="connsiteY31" fmla="*/ 7301 h 10000"/>
                <a:gd name="connsiteX32" fmla="*/ 364 w 10000"/>
                <a:gd name="connsiteY32" fmla="*/ 7405 h 10000"/>
                <a:gd name="connsiteX33" fmla="*/ 364 w 10000"/>
                <a:gd name="connsiteY33" fmla="*/ 7405 h 10000"/>
                <a:gd name="connsiteX34" fmla="*/ 341 w 10000"/>
                <a:gd name="connsiteY34" fmla="*/ 7405 h 10000"/>
                <a:gd name="connsiteX35" fmla="*/ 136 w 10000"/>
                <a:gd name="connsiteY35" fmla="*/ 7509 h 10000"/>
                <a:gd name="connsiteX36" fmla="*/ 23 w 10000"/>
                <a:gd name="connsiteY36" fmla="*/ 7820 h 10000"/>
                <a:gd name="connsiteX37" fmla="*/ 0 w 10000"/>
                <a:gd name="connsiteY37" fmla="*/ 9827 h 10000"/>
                <a:gd name="connsiteX38" fmla="*/ 727 w 10000"/>
                <a:gd name="connsiteY38" fmla="*/ 9862 h 10000"/>
                <a:gd name="connsiteX39" fmla="*/ 727 w 10000"/>
                <a:gd name="connsiteY39" fmla="*/ 9862 h 10000"/>
                <a:gd name="connsiteX40" fmla="*/ 727 w 10000"/>
                <a:gd name="connsiteY40" fmla="*/ 9862 h 10000"/>
                <a:gd name="connsiteX41" fmla="*/ 1227 w 10000"/>
                <a:gd name="connsiteY41" fmla="*/ 10000 h 10000"/>
                <a:gd name="connsiteX42" fmla="*/ 1386 w 10000"/>
                <a:gd name="connsiteY42" fmla="*/ 9896 h 10000"/>
                <a:gd name="connsiteX43" fmla="*/ 1591 w 10000"/>
                <a:gd name="connsiteY43" fmla="*/ 9377 h 10000"/>
                <a:gd name="connsiteX44" fmla="*/ 1614 w 10000"/>
                <a:gd name="connsiteY44" fmla="*/ 9308 h 10000"/>
                <a:gd name="connsiteX45" fmla="*/ 1659 w 10000"/>
                <a:gd name="connsiteY45" fmla="*/ 9343 h 10000"/>
                <a:gd name="connsiteX46" fmla="*/ 2091 w 10000"/>
                <a:gd name="connsiteY46" fmla="*/ 9792 h 10000"/>
                <a:gd name="connsiteX47" fmla="*/ 3341 w 10000"/>
                <a:gd name="connsiteY47" fmla="*/ 8270 h 10000"/>
                <a:gd name="connsiteX48" fmla="*/ 3341 w 10000"/>
                <a:gd name="connsiteY48" fmla="*/ 7682 h 10000"/>
                <a:gd name="connsiteX49" fmla="*/ 2977 w 10000"/>
                <a:gd name="connsiteY49" fmla="*/ 6574 h 10000"/>
                <a:gd name="connsiteX50" fmla="*/ 2955 w 10000"/>
                <a:gd name="connsiteY50" fmla="*/ 6540 h 10000"/>
                <a:gd name="connsiteX51" fmla="*/ 2977 w 10000"/>
                <a:gd name="connsiteY51" fmla="*/ 6505 h 10000"/>
                <a:gd name="connsiteX52" fmla="*/ 3341 w 10000"/>
                <a:gd name="connsiteY52" fmla="*/ 5882 h 10000"/>
                <a:gd name="connsiteX53" fmla="*/ 3364 w 10000"/>
                <a:gd name="connsiteY53" fmla="*/ 5848 h 10000"/>
                <a:gd name="connsiteX54" fmla="*/ 3364 w 10000"/>
                <a:gd name="connsiteY54" fmla="*/ 5848 h 10000"/>
                <a:gd name="connsiteX55" fmla="*/ 3818 w 10000"/>
                <a:gd name="connsiteY55" fmla="*/ 5675 h 10000"/>
                <a:gd name="connsiteX56" fmla="*/ 3818 w 10000"/>
                <a:gd name="connsiteY56" fmla="*/ 5675 h 10000"/>
                <a:gd name="connsiteX57" fmla="*/ 3841 w 10000"/>
                <a:gd name="connsiteY57" fmla="*/ 5675 h 10000"/>
                <a:gd name="connsiteX58" fmla="*/ 4136 w 10000"/>
                <a:gd name="connsiteY58" fmla="*/ 5813 h 10000"/>
                <a:gd name="connsiteX59" fmla="*/ 4409 w 10000"/>
                <a:gd name="connsiteY59" fmla="*/ 5502 h 10000"/>
                <a:gd name="connsiteX60" fmla="*/ 4409 w 10000"/>
                <a:gd name="connsiteY60" fmla="*/ 5502 h 10000"/>
                <a:gd name="connsiteX61" fmla="*/ 4432 w 10000"/>
                <a:gd name="connsiteY61" fmla="*/ 5502 h 10000"/>
                <a:gd name="connsiteX62" fmla="*/ 4841 w 10000"/>
                <a:gd name="connsiteY62" fmla="*/ 5606 h 10000"/>
                <a:gd name="connsiteX63" fmla="*/ 4886 w 10000"/>
                <a:gd name="connsiteY63" fmla="*/ 5606 h 10000"/>
                <a:gd name="connsiteX64" fmla="*/ 4909 w 10000"/>
                <a:gd name="connsiteY64" fmla="*/ 6090 h 10000"/>
                <a:gd name="connsiteX65" fmla="*/ 5182 w 10000"/>
                <a:gd name="connsiteY65" fmla="*/ 6263 h 10000"/>
                <a:gd name="connsiteX66" fmla="*/ 5182 w 10000"/>
                <a:gd name="connsiteY66" fmla="*/ 6263 h 10000"/>
                <a:gd name="connsiteX67" fmla="*/ 5182 w 10000"/>
                <a:gd name="connsiteY67" fmla="*/ 6263 h 10000"/>
                <a:gd name="connsiteX68" fmla="*/ 5455 w 10000"/>
                <a:gd name="connsiteY68" fmla="*/ 6817 h 10000"/>
                <a:gd name="connsiteX69" fmla="*/ 5659 w 10000"/>
                <a:gd name="connsiteY69" fmla="*/ 6436 h 10000"/>
                <a:gd name="connsiteX70" fmla="*/ 5705 w 10000"/>
                <a:gd name="connsiteY70" fmla="*/ 6401 h 10000"/>
                <a:gd name="connsiteX71" fmla="*/ 5705 w 10000"/>
                <a:gd name="connsiteY71" fmla="*/ 6401 h 10000"/>
                <a:gd name="connsiteX72" fmla="*/ 6409 w 10000"/>
                <a:gd name="connsiteY72" fmla="*/ 6644 h 10000"/>
                <a:gd name="connsiteX73" fmla="*/ 6886 w 10000"/>
                <a:gd name="connsiteY73" fmla="*/ 6574 h 10000"/>
                <a:gd name="connsiteX74" fmla="*/ 6909 w 10000"/>
                <a:gd name="connsiteY74" fmla="*/ 6574 h 10000"/>
                <a:gd name="connsiteX75" fmla="*/ 6932 w 10000"/>
                <a:gd name="connsiteY75" fmla="*/ 6609 h 10000"/>
                <a:gd name="connsiteX76" fmla="*/ 7250 w 10000"/>
                <a:gd name="connsiteY76" fmla="*/ 7128 h 10000"/>
                <a:gd name="connsiteX77" fmla="*/ 7250 w 10000"/>
                <a:gd name="connsiteY77" fmla="*/ 7128 h 10000"/>
                <a:gd name="connsiteX78" fmla="*/ 7250 w 10000"/>
                <a:gd name="connsiteY78" fmla="*/ 7128 h 10000"/>
                <a:gd name="connsiteX79" fmla="*/ 7523 w 10000"/>
                <a:gd name="connsiteY79" fmla="*/ 7716 h 10000"/>
                <a:gd name="connsiteX80" fmla="*/ 8068 w 10000"/>
                <a:gd name="connsiteY80" fmla="*/ 7543 h 10000"/>
                <a:gd name="connsiteX81" fmla="*/ 8568 w 10000"/>
                <a:gd name="connsiteY81" fmla="*/ 7370 h 10000"/>
                <a:gd name="connsiteX82" fmla="*/ 8614 w 10000"/>
                <a:gd name="connsiteY82" fmla="*/ 7370 h 10000"/>
                <a:gd name="connsiteX83" fmla="*/ 8614 w 10000"/>
                <a:gd name="connsiteY83" fmla="*/ 7405 h 10000"/>
                <a:gd name="connsiteX84" fmla="*/ 8818 w 10000"/>
                <a:gd name="connsiteY84" fmla="*/ 8028 h 10000"/>
                <a:gd name="connsiteX85" fmla="*/ 8977 w 10000"/>
                <a:gd name="connsiteY85" fmla="*/ 8062 h 10000"/>
                <a:gd name="connsiteX86" fmla="*/ 9000 w 10000"/>
                <a:gd name="connsiteY86" fmla="*/ 8062 h 10000"/>
                <a:gd name="connsiteX87" fmla="*/ 9000 w 10000"/>
                <a:gd name="connsiteY87" fmla="*/ 8062 h 10000"/>
                <a:gd name="connsiteX88" fmla="*/ 9409 w 10000"/>
                <a:gd name="connsiteY88" fmla="*/ 8235 h 10000"/>
                <a:gd name="connsiteX89" fmla="*/ 9932 w 10000"/>
                <a:gd name="connsiteY89" fmla="*/ 8304 h 10000"/>
                <a:gd name="connsiteX90" fmla="*/ 9909 w 10000"/>
                <a:gd name="connsiteY90" fmla="*/ 8166 h 10000"/>
                <a:gd name="connsiteX91" fmla="*/ 9773 w 10000"/>
                <a:gd name="connsiteY91" fmla="*/ 7855 h 10000"/>
                <a:gd name="connsiteX92" fmla="*/ 9727 w 10000"/>
                <a:gd name="connsiteY92" fmla="*/ 7751 h 10000"/>
                <a:gd name="connsiteX93" fmla="*/ 9795 w 10000"/>
                <a:gd name="connsiteY93" fmla="*/ 7751 h 10000"/>
                <a:gd name="connsiteX94" fmla="*/ 10000 w 10000"/>
                <a:gd name="connsiteY94" fmla="*/ 7682 h 10000"/>
                <a:gd name="connsiteX95" fmla="*/ 10000 w 10000"/>
                <a:gd name="connsiteY95" fmla="*/ 7474 h 10000"/>
                <a:gd name="connsiteX96" fmla="*/ 9886 w 10000"/>
                <a:gd name="connsiteY96" fmla="*/ 7370 h 10000"/>
                <a:gd name="connsiteX97" fmla="*/ 9705 w 10000"/>
                <a:gd name="connsiteY97" fmla="*/ 7405 h 10000"/>
                <a:gd name="connsiteX98" fmla="*/ 9682 w 10000"/>
                <a:gd name="connsiteY98" fmla="*/ 7405 h 10000"/>
                <a:gd name="connsiteX99" fmla="*/ 9659 w 10000"/>
                <a:gd name="connsiteY99" fmla="*/ 7370 h 10000"/>
                <a:gd name="connsiteX100" fmla="*/ 9477 w 10000"/>
                <a:gd name="connsiteY100" fmla="*/ 7163 h 10000"/>
                <a:gd name="connsiteX101" fmla="*/ 9477 w 10000"/>
                <a:gd name="connsiteY101" fmla="*/ 7163 h 10000"/>
                <a:gd name="connsiteX102" fmla="*/ 9455 w 10000"/>
                <a:gd name="connsiteY102" fmla="*/ 7128 h 10000"/>
                <a:gd name="connsiteX103" fmla="*/ 9432 w 10000"/>
                <a:gd name="connsiteY103" fmla="*/ 6990 h 10000"/>
                <a:gd name="connsiteX104" fmla="*/ 9409 w 10000"/>
                <a:gd name="connsiteY104" fmla="*/ 6955 h 10000"/>
                <a:gd name="connsiteX105" fmla="*/ 9432 w 10000"/>
                <a:gd name="connsiteY105" fmla="*/ 6920 h 10000"/>
                <a:gd name="connsiteX106" fmla="*/ 9545 w 10000"/>
                <a:gd name="connsiteY106" fmla="*/ 6713 h 10000"/>
                <a:gd name="connsiteX107" fmla="*/ 9545 w 10000"/>
                <a:gd name="connsiteY107" fmla="*/ 6713 h 10000"/>
                <a:gd name="connsiteX108" fmla="*/ 9545 w 10000"/>
                <a:gd name="connsiteY108" fmla="*/ 6713 h 10000"/>
                <a:gd name="connsiteX109" fmla="*/ 9682 w 10000"/>
                <a:gd name="connsiteY109" fmla="*/ 6540 h 10000"/>
                <a:gd name="connsiteX110" fmla="*/ 9614 w 10000"/>
                <a:gd name="connsiteY110" fmla="*/ 6401 h 10000"/>
                <a:gd name="connsiteX111" fmla="*/ 9409 w 10000"/>
                <a:gd name="connsiteY111" fmla="*/ 6436 h 10000"/>
                <a:gd name="connsiteX112" fmla="*/ 9364 w 10000"/>
                <a:gd name="connsiteY112" fmla="*/ 6540 h 10000"/>
                <a:gd name="connsiteX113" fmla="*/ 9295 w 10000"/>
                <a:gd name="connsiteY113" fmla="*/ 6678 h 10000"/>
                <a:gd name="connsiteX114" fmla="*/ 9295 w 10000"/>
                <a:gd name="connsiteY114" fmla="*/ 6505 h 10000"/>
                <a:gd name="connsiteX115" fmla="*/ 9227 w 10000"/>
                <a:gd name="connsiteY115" fmla="*/ 5848 h 10000"/>
                <a:gd name="connsiteX116" fmla="*/ 9273 w 10000"/>
                <a:gd name="connsiteY116" fmla="*/ 5813 h 10000"/>
                <a:gd name="connsiteX117" fmla="*/ 9182 w 10000"/>
                <a:gd name="connsiteY117" fmla="*/ 5779 h 10000"/>
                <a:gd name="connsiteX118" fmla="*/ 9318 w 10000"/>
                <a:gd name="connsiteY118" fmla="*/ 5225 h 10000"/>
                <a:gd name="connsiteX119" fmla="*/ 9568 w 10000"/>
                <a:gd name="connsiteY119" fmla="*/ 4775 h 10000"/>
                <a:gd name="connsiteX120" fmla="*/ 9841 w 10000"/>
                <a:gd name="connsiteY120" fmla="*/ 4775 h 10000"/>
                <a:gd name="connsiteX121" fmla="*/ 9932 w 10000"/>
                <a:gd name="connsiteY121" fmla="*/ 4394 h 10000"/>
                <a:gd name="connsiteX122" fmla="*/ 9636 w 10000"/>
                <a:gd name="connsiteY122" fmla="*/ 4014 h 10000"/>
                <a:gd name="connsiteX123" fmla="*/ 9409 w 10000"/>
                <a:gd name="connsiteY123" fmla="*/ 4394 h 10000"/>
                <a:gd name="connsiteX124" fmla="*/ 9000 w 10000"/>
                <a:gd name="connsiteY124" fmla="*/ 4325 h 10000"/>
                <a:gd name="connsiteX125" fmla="*/ 8773 w 10000"/>
                <a:gd name="connsiteY125" fmla="*/ 3841 h 10000"/>
                <a:gd name="connsiteX126" fmla="*/ 8432 w 10000"/>
                <a:gd name="connsiteY126" fmla="*/ 3841 h 10000"/>
                <a:gd name="connsiteX127" fmla="*/ 8386 w 10000"/>
                <a:gd name="connsiteY127" fmla="*/ 4256 h 10000"/>
                <a:gd name="connsiteX128" fmla="*/ 8295 w 10000"/>
                <a:gd name="connsiteY128" fmla="*/ 4567 h 10000"/>
                <a:gd name="connsiteX129" fmla="*/ 8068 w 10000"/>
                <a:gd name="connsiteY129" fmla="*/ 4637 h 10000"/>
                <a:gd name="connsiteX130" fmla="*/ 8068 w 10000"/>
                <a:gd name="connsiteY130" fmla="*/ 3910 h 10000"/>
                <a:gd name="connsiteX131" fmla="*/ 7705 w 10000"/>
                <a:gd name="connsiteY131" fmla="*/ 3322 h 10000"/>
                <a:gd name="connsiteX132" fmla="*/ 7273 w 10000"/>
                <a:gd name="connsiteY132" fmla="*/ 3737 h 10000"/>
                <a:gd name="connsiteX133" fmla="*/ 6955 w 10000"/>
                <a:gd name="connsiteY133" fmla="*/ 4187 h 10000"/>
                <a:gd name="connsiteX134" fmla="*/ 6818 w 10000"/>
                <a:gd name="connsiteY134" fmla="*/ 3841 h 10000"/>
                <a:gd name="connsiteX135" fmla="*/ 6523 w 10000"/>
                <a:gd name="connsiteY135" fmla="*/ 4291 h 10000"/>
                <a:gd name="connsiteX136" fmla="*/ 6182 w 10000"/>
                <a:gd name="connsiteY136" fmla="*/ 3633 h 10000"/>
                <a:gd name="connsiteX137" fmla="*/ 6409 w 10000"/>
                <a:gd name="connsiteY137" fmla="*/ 3356 h 10000"/>
                <a:gd name="connsiteX138" fmla="*/ 6409 w 10000"/>
                <a:gd name="connsiteY138" fmla="*/ 2976 h 10000"/>
                <a:gd name="connsiteX139" fmla="*/ 6500 w 10000"/>
                <a:gd name="connsiteY139" fmla="*/ 2353 h 10000"/>
                <a:gd name="connsiteX140" fmla="*/ 6182 w 10000"/>
                <a:gd name="connsiteY140" fmla="*/ 1834 h 10000"/>
                <a:gd name="connsiteX141" fmla="*/ 6136 w 10000"/>
                <a:gd name="connsiteY141" fmla="*/ 969 h 10000"/>
                <a:gd name="connsiteX142" fmla="*/ 5864 w 10000"/>
                <a:gd name="connsiteY142" fmla="*/ 208 h 10000"/>
                <a:gd name="connsiteX143" fmla="*/ 5455 w 10000"/>
                <a:gd name="connsiteY143" fmla="*/ 346 h 10000"/>
                <a:gd name="connsiteX144" fmla="*/ 5182 w 10000"/>
                <a:gd name="connsiteY144" fmla="*/ 865 h 10000"/>
                <a:gd name="connsiteX145" fmla="*/ 4318 w 10000"/>
                <a:gd name="connsiteY145" fmla="*/ 242 h 10000"/>
                <a:gd name="connsiteX146" fmla="*/ 3727 w 10000"/>
                <a:gd name="connsiteY146" fmla="*/ 0 h 10000"/>
                <a:gd name="connsiteX147" fmla="*/ 3500 w 10000"/>
                <a:gd name="connsiteY147" fmla="*/ 173 h 10000"/>
                <a:gd name="connsiteX148" fmla="*/ 3091 w 10000"/>
                <a:gd name="connsiteY148" fmla="*/ 588 h 10000"/>
                <a:gd name="connsiteX149" fmla="*/ 2727 w 10000"/>
                <a:gd name="connsiteY149" fmla="*/ 1107 h 10000"/>
                <a:gd name="connsiteX150" fmla="*/ 2659 w 10000"/>
                <a:gd name="connsiteY150" fmla="*/ 1522 h 10000"/>
                <a:gd name="connsiteX151" fmla="*/ 2250 w 10000"/>
                <a:gd name="connsiteY151" fmla="*/ 1522 h 10000"/>
                <a:gd name="connsiteX152" fmla="*/ 1136 w 10000"/>
                <a:gd name="connsiteY152" fmla="*/ 2215 h 10000"/>
                <a:gd name="connsiteX153" fmla="*/ 227 w 10000"/>
                <a:gd name="connsiteY153" fmla="*/ 2630 h 10000"/>
                <a:gd name="connsiteX154" fmla="*/ 341 w 10000"/>
                <a:gd name="connsiteY154" fmla="*/ 3391 h 10000"/>
                <a:gd name="connsiteX155" fmla="*/ 432 w 10000"/>
                <a:gd name="connsiteY155" fmla="*/ 3564 h 10000"/>
                <a:gd name="connsiteX0" fmla="*/ 432 w 10000"/>
                <a:gd name="connsiteY0" fmla="*/ 3564 h 10000"/>
                <a:gd name="connsiteX1" fmla="*/ 455 w 10000"/>
                <a:gd name="connsiteY1" fmla="*/ 3633 h 10000"/>
                <a:gd name="connsiteX2" fmla="*/ 409 w 10000"/>
                <a:gd name="connsiteY2" fmla="*/ 3668 h 10000"/>
                <a:gd name="connsiteX3" fmla="*/ 205 w 10000"/>
                <a:gd name="connsiteY3" fmla="*/ 3910 h 10000"/>
                <a:gd name="connsiteX4" fmla="*/ 205 w 10000"/>
                <a:gd name="connsiteY4" fmla="*/ 4014 h 10000"/>
                <a:gd name="connsiteX5" fmla="*/ 500 w 10000"/>
                <a:gd name="connsiteY5" fmla="*/ 4152 h 10000"/>
                <a:gd name="connsiteX6" fmla="*/ 545 w 10000"/>
                <a:gd name="connsiteY6" fmla="*/ 4187 h 10000"/>
                <a:gd name="connsiteX7" fmla="*/ 545 w 10000"/>
                <a:gd name="connsiteY7" fmla="*/ 4221 h 10000"/>
                <a:gd name="connsiteX8" fmla="*/ 545 w 10000"/>
                <a:gd name="connsiteY8" fmla="*/ 4464 h 10000"/>
                <a:gd name="connsiteX9" fmla="*/ 545 w 10000"/>
                <a:gd name="connsiteY9" fmla="*/ 4498 h 10000"/>
                <a:gd name="connsiteX10" fmla="*/ 523 w 10000"/>
                <a:gd name="connsiteY10" fmla="*/ 4533 h 10000"/>
                <a:gd name="connsiteX11" fmla="*/ 114 w 10000"/>
                <a:gd name="connsiteY11" fmla="*/ 4983 h 10000"/>
                <a:gd name="connsiteX12" fmla="*/ 159 w 10000"/>
                <a:gd name="connsiteY12" fmla="*/ 5087 h 10000"/>
                <a:gd name="connsiteX13" fmla="*/ 386 w 10000"/>
                <a:gd name="connsiteY13" fmla="*/ 5329 h 10000"/>
                <a:gd name="connsiteX14" fmla="*/ 386 w 10000"/>
                <a:gd name="connsiteY14" fmla="*/ 5329 h 10000"/>
                <a:gd name="connsiteX15" fmla="*/ 386 w 10000"/>
                <a:gd name="connsiteY15" fmla="*/ 5329 h 10000"/>
                <a:gd name="connsiteX16" fmla="*/ 523 w 10000"/>
                <a:gd name="connsiteY16" fmla="*/ 5606 h 10000"/>
                <a:gd name="connsiteX17" fmla="*/ 545 w 10000"/>
                <a:gd name="connsiteY17" fmla="*/ 5606 h 10000"/>
                <a:gd name="connsiteX18" fmla="*/ 523 w 10000"/>
                <a:gd name="connsiteY18" fmla="*/ 5640 h 10000"/>
                <a:gd name="connsiteX19" fmla="*/ 432 w 10000"/>
                <a:gd name="connsiteY19" fmla="*/ 5882 h 10000"/>
                <a:gd name="connsiteX20" fmla="*/ 432 w 10000"/>
                <a:gd name="connsiteY20" fmla="*/ 5917 h 10000"/>
                <a:gd name="connsiteX21" fmla="*/ 409 w 10000"/>
                <a:gd name="connsiteY21" fmla="*/ 5917 h 10000"/>
                <a:gd name="connsiteX22" fmla="*/ 273 w 10000"/>
                <a:gd name="connsiteY22" fmla="*/ 6055 h 10000"/>
                <a:gd name="connsiteX23" fmla="*/ 273 w 10000"/>
                <a:gd name="connsiteY23" fmla="*/ 6263 h 10000"/>
                <a:gd name="connsiteX24" fmla="*/ 477 w 10000"/>
                <a:gd name="connsiteY24" fmla="*/ 6471 h 10000"/>
                <a:gd name="connsiteX25" fmla="*/ 523 w 10000"/>
                <a:gd name="connsiteY25" fmla="*/ 6540 h 10000"/>
                <a:gd name="connsiteX26" fmla="*/ 477 w 10000"/>
                <a:gd name="connsiteY26" fmla="*/ 6574 h 10000"/>
                <a:gd name="connsiteX27" fmla="*/ 318 w 10000"/>
                <a:gd name="connsiteY27" fmla="*/ 6782 h 10000"/>
                <a:gd name="connsiteX28" fmla="*/ 273 w 10000"/>
                <a:gd name="connsiteY28" fmla="*/ 6955 h 10000"/>
                <a:gd name="connsiteX29" fmla="*/ 432 w 10000"/>
                <a:gd name="connsiteY29" fmla="*/ 7197 h 10000"/>
                <a:gd name="connsiteX30" fmla="*/ 455 w 10000"/>
                <a:gd name="connsiteY30" fmla="*/ 7232 h 10000"/>
                <a:gd name="connsiteX31" fmla="*/ 432 w 10000"/>
                <a:gd name="connsiteY31" fmla="*/ 7301 h 10000"/>
                <a:gd name="connsiteX32" fmla="*/ 364 w 10000"/>
                <a:gd name="connsiteY32" fmla="*/ 7405 h 10000"/>
                <a:gd name="connsiteX33" fmla="*/ 364 w 10000"/>
                <a:gd name="connsiteY33" fmla="*/ 7405 h 10000"/>
                <a:gd name="connsiteX34" fmla="*/ 341 w 10000"/>
                <a:gd name="connsiteY34" fmla="*/ 7405 h 10000"/>
                <a:gd name="connsiteX35" fmla="*/ 136 w 10000"/>
                <a:gd name="connsiteY35" fmla="*/ 7509 h 10000"/>
                <a:gd name="connsiteX36" fmla="*/ 23 w 10000"/>
                <a:gd name="connsiteY36" fmla="*/ 7820 h 10000"/>
                <a:gd name="connsiteX37" fmla="*/ 0 w 10000"/>
                <a:gd name="connsiteY37" fmla="*/ 9827 h 10000"/>
                <a:gd name="connsiteX38" fmla="*/ 727 w 10000"/>
                <a:gd name="connsiteY38" fmla="*/ 9862 h 10000"/>
                <a:gd name="connsiteX39" fmla="*/ 727 w 10000"/>
                <a:gd name="connsiteY39" fmla="*/ 9862 h 10000"/>
                <a:gd name="connsiteX40" fmla="*/ 727 w 10000"/>
                <a:gd name="connsiteY40" fmla="*/ 9862 h 10000"/>
                <a:gd name="connsiteX41" fmla="*/ 1227 w 10000"/>
                <a:gd name="connsiteY41" fmla="*/ 10000 h 10000"/>
                <a:gd name="connsiteX42" fmla="*/ 1386 w 10000"/>
                <a:gd name="connsiteY42" fmla="*/ 9896 h 10000"/>
                <a:gd name="connsiteX43" fmla="*/ 1591 w 10000"/>
                <a:gd name="connsiteY43" fmla="*/ 9377 h 10000"/>
                <a:gd name="connsiteX44" fmla="*/ 1614 w 10000"/>
                <a:gd name="connsiteY44" fmla="*/ 9308 h 10000"/>
                <a:gd name="connsiteX45" fmla="*/ 1659 w 10000"/>
                <a:gd name="connsiteY45" fmla="*/ 9343 h 10000"/>
                <a:gd name="connsiteX46" fmla="*/ 2091 w 10000"/>
                <a:gd name="connsiteY46" fmla="*/ 9792 h 10000"/>
                <a:gd name="connsiteX47" fmla="*/ 3341 w 10000"/>
                <a:gd name="connsiteY47" fmla="*/ 8270 h 10000"/>
                <a:gd name="connsiteX48" fmla="*/ 3341 w 10000"/>
                <a:gd name="connsiteY48" fmla="*/ 7682 h 10000"/>
                <a:gd name="connsiteX49" fmla="*/ 2977 w 10000"/>
                <a:gd name="connsiteY49" fmla="*/ 6574 h 10000"/>
                <a:gd name="connsiteX50" fmla="*/ 2955 w 10000"/>
                <a:gd name="connsiteY50" fmla="*/ 6540 h 10000"/>
                <a:gd name="connsiteX51" fmla="*/ 2977 w 10000"/>
                <a:gd name="connsiteY51" fmla="*/ 6505 h 10000"/>
                <a:gd name="connsiteX52" fmla="*/ 3341 w 10000"/>
                <a:gd name="connsiteY52" fmla="*/ 5882 h 10000"/>
                <a:gd name="connsiteX53" fmla="*/ 3364 w 10000"/>
                <a:gd name="connsiteY53" fmla="*/ 5848 h 10000"/>
                <a:gd name="connsiteX54" fmla="*/ 3364 w 10000"/>
                <a:gd name="connsiteY54" fmla="*/ 5848 h 10000"/>
                <a:gd name="connsiteX55" fmla="*/ 3818 w 10000"/>
                <a:gd name="connsiteY55" fmla="*/ 5675 h 10000"/>
                <a:gd name="connsiteX56" fmla="*/ 3818 w 10000"/>
                <a:gd name="connsiteY56" fmla="*/ 5675 h 10000"/>
                <a:gd name="connsiteX57" fmla="*/ 3841 w 10000"/>
                <a:gd name="connsiteY57" fmla="*/ 5675 h 10000"/>
                <a:gd name="connsiteX58" fmla="*/ 4136 w 10000"/>
                <a:gd name="connsiteY58" fmla="*/ 5813 h 10000"/>
                <a:gd name="connsiteX59" fmla="*/ 4409 w 10000"/>
                <a:gd name="connsiteY59" fmla="*/ 5502 h 10000"/>
                <a:gd name="connsiteX60" fmla="*/ 4409 w 10000"/>
                <a:gd name="connsiteY60" fmla="*/ 5502 h 10000"/>
                <a:gd name="connsiteX61" fmla="*/ 4432 w 10000"/>
                <a:gd name="connsiteY61" fmla="*/ 5502 h 10000"/>
                <a:gd name="connsiteX62" fmla="*/ 4841 w 10000"/>
                <a:gd name="connsiteY62" fmla="*/ 5606 h 10000"/>
                <a:gd name="connsiteX63" fmla="*/ 4909 w 10000"/>
                <a:gd name="connsiteY63" fmla="*/ 6090 h 10000"/>
                <a:gd name="connsiteX64" fmla="*/ 5182 w 10000"/>
                <a:gd name="connsiteY64" fmla="*/ 6263 h 10000"/>
                <a:gd name="connsiteX65" fmla="*/ 5182 w 10000"/>
                <a:gd name="connsiteY65" fmla="*/ 6263 h 10000"/>
                <a:gd name="connsiteX66" fmla="*/ 5182 w 10000"/>
                <a:gd name="connsiteY66" fmla="*/ 6263 h 10000"/>
                <a:gd name="connsiteX67" fmla="*/ 5455 w 10000"/>
                <a:gd name="connsiteY67" fmla="*/ 6817 h 10000"/>
                <a:gd name="connsiteX68" fmla="*/ 5659 w 10000"/>
                <a:gd name="connsiteY68" fmla="*/ 6436 h 10000"/>
                <a:gd name="connsiteX69" fmla="*/ 5705 w 10000"/>
                <a:gd name="connsiteY69" fmla="*/ 6401 h 10000"/>
                <a:gd name="connsiteX70" fmla="*/ 5705 w 10000"/>
                <a:gd name="connsiteY70" fmla="*/ 6401 h 10000"/>
                <a:gd name="connsiteX71" fmla="*/ 6409 w 10000"/>
                <a:gd name="connsiteY71" fmla="*/ 6644 h 10000"/>
                <a:gd name="connsiteX72" fmla="*/ 6886 w 10000"/>
                <a:gd name="connsiteY72" fmla="*/ 6574 h 10000"/>
                <a:gd name="connsiteX73" fmla="*/ 6909 w 10000"/>
                <a:gd name="connsiteY73" fmla="*/ 6574 h 10000"/>
                <a:gd name="connsiteX74" fmla="*/ 6932 w 10000"/>
                <a:gd name="connsiteY74" fmla="*/ 6609 h 10000"/>
                <a:gd name="connsiteX75" fmla="*/ 7250 w 10000"/>
                <a:gd name="connsiteY75" fmla="*/ 7128 h 10000"/>
                <a:gd name="connsiteX76" fmla="*/ 7250 w 10000"/>
                <a:gd name="connsiteY76" fmla="*/ 7128 h 10000"/>
                <a:gd name="connsiteX77" fmla="*/ 7250 w 10000"/>
                <a:gd name="connsiteY77" fmla="*/ 7128 h 10000"/>
                <a:gd name="connsiteX78" fmla="*/ 7523 w 10000"/>
                <a:gd name="connsiteY78" fmla="*/ 7716 h 10000"/>
                <a:gd name="connsiteX79" fmla="*/ 8068 w 10000"/>
                <a:gd name="connsiteY79" fmla="*/ 7543 h 10000"/>
                <a:gd name="connsiteX80" fmla="*/ 8568 w 10000"/>
                <a:gd name="connsiteY80" fmla="*/ 7370 h 10000"/>
                <a:gd name="connsiteX81" fmla="*/ 8614 w 10000"/>
                <a:gd name="connsiteY81" fmla="*/ 7370 h 10000"/>
                <a:gd name="connsiteX82" fmla="*/ 8614 w 10000"/>
                <a:gd name="connsiteY82" fmla="*/ 7405 h 10000"/>
                <a:gd name="connsiteX83" fmla="*/ 8818 w 10000"/>
                <a:gd name="connsiteY83" fmla="*/ 8028 h 10000"/>
                <a:gd name="connsiteX84" fmla="*/ 8977 w 10000"/>
                <a:gd name="connsiteY84" fmla="*/ 8062 h 10000"/>
                <a:gd name="connsiteX85" fmla="*/ 9000 w 10000"/>
                <a:gd name="connsiteY85" fmla="*/ 8062 h 10000"/>
                <a:gd name="connsiteX86" fmla="*/ 9000 w 10000"/>
                <a:gd name="connsiteY86" fmla="*/ 8062 h 10000"/>
                <a:gd name="connsiteX87" fmla="*/ 9409 w 10000"/>
                <a:gd name="connsiteY87" fmla="*/ 8235 h 10000"/>
                <a:gd name="connsiteX88" fmla="*/ 9932 w 10000"/>
                <a:gd name="connsiteY88" fmla="*/ 8304 h 10000"/>
                <a:gd name="connsiteX89" fmla="*/ 9909 w 10000"/>
                <a:gd name="connsiteY89" fmla="*/ 8166 h 10000"/>
                <a:gd name="connsiteX90" fmla="*/ 9773 w 10000"/>
                <a:gd name="connsiteY90" fmla="*/ 7855 h 10000"/>
                <a:gd name="connsiteX91" fmla="*/ 9727 w 10000"/>
                <a:gd name="connsiteY91" fmla="*/ 7751 h 10000"/>
                <a:gd name="connsiteX92" fmla="*/ 9795 w 10000"/>
                <a:gd name="connsiteY92" fmla="*/ 7751 h 10000"/>
                <a:gd name="connsiteX93" fmla="*/ 10000 w 10000"/>
                <a:gd name="connsiteY93" fmla="*/ 7682 h 10000"/>
                <a:gd name="connsiteX94" fmla="*/ 10000 w 10000"/>
                <a:gd name="connsiteY94" fmla="*/ 7474 h 10000"/>
                <a:gd name="connsiteX95" fmla="*/ 9886 w 10000"/>
                <a:gd name="connsiteY95" fmla="*/ 7370 h 10000"/>
                <a:gd name="connsiteX96" fmla="*/ 9705 w 10000"/>
                <a:gd name="connsiteY96" fmla="*/ 7405 h 10000"/>
                <a:gd name="connsiteX97" fmla="*/ 9682 w 10000"/>
                <a:gd name="connsiteY97" fmla="*/ 7405 h 10000"/>
                <a:gd name="connsiteX98" fmla="*/ 9659 w 10000"/>
                <a:gd name="connsiteY98" fmla="*/ 7370 h 10000"/>
                <a:gd name="connsiteX99" fmla="*/ 9477 w 10000"/>
                <a:gd name="connsiteY99" fmla="*/ 7163 h 10000"/>
                <a:gd name="connsiteX100" fmla="*/ 9477 w 10000"/>
                <a:gd name="connsiteY100" fmla="*/ 7163 h 10000"/>
                <a:gd name="connsiteX101" fmla="*/ 9455 w 10000"/>
                <a:gd name="connsiteY101" fmla="*/ 7128 h 10000"/>
                <a:gd name="connsiteX102" fmla="*/ 9432 w 10000"/>
                <a:gd name="connsiteY102" fmla="*/ 6990 h 10000"/>
                <a:gd name="connsiteX103" fmla="*/ 9409 w 10000"/>
                <a:gd name="connsiteY103" fmla="*/ 6955 h 10000"/>
                <a:gd name="connsiteX104" fmla="*/ 9432 w 10000"/>
                <a:gd name="connsiteY104" fmla="*/ 6920 h 10000"/>
                <a:gd name="connsiteX105" fmla="*/ 9545 w 10000"/>
                <a:gd name="connsiteY105" fmla="*/ 6713 h 10000"/>
                <a:gd name="connsiteX106" fmla="*/ 9545 w 10000"/>
                <a:gd name="connsiteY106" fmla="*/ 6713 h 10000"/>
                <a:gd name="connsiteX107" fmla="*/ 9545 w 10000"/>
                <a:gd name="connsiteY107" fmla="*/ 6713 h 10000"/>
                <a:gd name="connsiteX108" fmla="*/ 9682 w 10000"/>
                <a:gd name="connsiteY108" fmla="*/ 6540 h 10000"/>
                <a:gd name="connsiteX109" fmla="*/ 9614 w 10000"/>
                <a:gd name="connsiteY109" fmla="*/ 6401 h 10000"/>
                <a:gd name="connsiteX110" fmla="*/ 9409 w 10000"/>
                <a:gd name="connsiteY110" fmla="*/ 6436 h 10000"/>
                <a:gd name="connsiteX111" fmla="*/ 9364 w 10000"/>
                <a:gd name="connsiteY111" fmla="*/ 6540 h 10000"/>
                <a:gd name="connsiteX112" fmla="*/ 9295 w 10000"/>
                <a:gd name="connsiteY112" fmla="*/ 6678 h 10000"/>
                <a:gd name="connsiteX113" fmla="*/ 9295 w 10000"/>
                <a:gd name="connsiteY113" fmla="*/ 6505 h 10000"/>
                <a:gd name="connsiteX114" fmla="*/ 9227 w 10000"/>
                <a:gd name="connsiteY114" fmla="*/ 5848 h 10000"/>
                <a:gd name="connsiteX115" fmla="*/ 9273 w 10000"/>
                <a:gd name="connsiteY115" fmla="*/ 5813 h 10000"/>
                <a:gd name="connsiteX116" fmla="*/ 9182 w 10000"/>
                <a:gd name="connsiteY116" fmla="*/ 5779 h 10000"/>
                <a:gd name="connsiteX117" fmla="*/ 9318 w 10000"/>
                <a:gd name="connsiteY117" fmla="*/ 5225 h 10000"/>
                <a:gd name="connsiteX118" fmla="*/ 9568 w 10000"/>
                <a:gd name="connsiteY118" fmla="*/ 4775 h 10000"/>
                <a:gd name="connsiteX119" fmla="*/ 9841 w 10000"/>
                <a:gd name="connsiteY119" fmla="*/ 4775 h 10000"/>
                <a:gd name="connsiteX120" fmla="*/ 9932 w 10000"/>
                <a:gd name="connsiteY120" fmla="*/ 4394 h 10000"/>
                <a:gd name="connsiteX121" fmla="*/ 9636 w 10000"/>
                <a:gd name="connsiteY121" fmla="*/ 4014 h 10000"/>
                <a:gd name="connsiteX122" fmla="*/ 9409 w 10000"/>
                <a:gd name="connsiteY122" fmla="*/ 4394 h 10000"/>
                <a:gd name="connsiteX123" fmla="*/ 9000 w 10000"/>
                <a:gd name="connsiteY123" fmla="*/ 4325 h 10000"/>
                <a:gd name="connsiteX124" fmla="*/ 8773 w 10000"/>
                <a:gd name="connsiteY124" fmla="*/ 3841 h 10000"/>
                <a:gd name="connsiteX125" fmla="*/ 8432 w 10000"/>
                <a:gd name="connsiteY125" fmla="*/ 3841 h 10000"/>
                <a:gd name="connsiteX126" fmla="*/ 8386 w 10000"/>
                <a:gd name="connsiteY126" fmla="*/ 4256 h 10000"/>
                <a:gd name="connsiteX127" fmla="*/ 8295 w 10000"/>
                <a:gd name="connsiteY127" fmla="*/ 4567 h 10000"/>
                <a:gd name="connsiteX128" fmla="*/ 8068 w 10000"/>
                <a:gd name="connsiteY128" fmla="*/ 4637 h 10000"/>
                <a:gd name="connsiteX129" fmla="*/ 8068 w 10000"/>
                <a:gd name="connsiteY129" fmla="*/ 3910 h 10000"/>
                <a:gd name="connsiteX130" fmla="*/ 7705 w 10000"/>
                <a:gd name="connsiteY130" fmla="*/ 3322 h 10000"/>
                <a:gd name="connsiteX131" fmla="*/ 7273 w 10000"/>
                <a:gd name="connsiteY131" fmla="*/ 3737 h 10000"/>
                <a:gd name="connsiteX132" fmla="*/ 6955 w 10000"/>
                <a:gd name="connsiteY132" fmla="*/ 4187 h 10000"/>
                <a:gd name="connsiteX133" fmla="*/ 6818 w 10000"/>
                <a:gd name="connsiteY133" fmla="*/ 3841 h 10000"/>
                <a:gd name="connsiteX134" fmla="*/ 6523 w 10000"/>
                <a:gd name="connsiteY134" fmla="*/ 4291 h 10000"/>
                <a:gd name="connsiteX135" fmla="*/ 6182 w 10000"/>
                <a:gd name="connsiteY135" fmla="*/ 3633 h 10000"/>
                <a:gd name="connsiteX136" fmla="*/ 6409 w 10000"/>
                <a:gd name="connsiteY136" fmla="*/ 3356 h 10000"/>
                <a:gd name="connsiteX137" fmla="*/ 6409 w 10000"/>
                <a:gd name="connsiteY137" fmla="*/ 2976 h 10000"/>
                <a:gd name="connsiteX138" fmla="*/ 6500 w 10000"/>
                <a:gd name="connsiteY138" fmla="*/ 2353 h 10000"/>
                <a:gd name="connsiteX139" fmla="*/ 6182 w 10000"/>
                <a:gd name="connsiteY139" fmla="*/ 1834 h 10000"/>
                <a:gd name="connsiteX140" fmla="*/ 6136 w 10000"/>
                <a:gd name="connsiteY140" fmla="*/ 969 h 10000"/>
                <a:gd name="connsiteX141" fmla="*/ 5864 w 10000"/>
                <a:gd name="connsiteY141" fmla="*/ 208 h 10000"/>
                <a:gd name="connsiteX142" fmla="*/ 5455 w 10000"/>
                <a:gd name="connsiteY142" fmla="*/ 346 h 10000"/>
                <a:gd name="connsiteX143" fmla="*/ 5182 w 10000"/>
                <a:gd name="connsiteY143" fmla="*/ 865 h 10000"/>
                <a:gd name="connsiteX144" fmla="*/ 4318 w 10000"/>
                <a:gd name="connsiteY144" fmla="*/ 242 h 10000"/>
                <a:gd name="connsiteX145" fmla="*/ 3727 w 10000"/>
                <a:gd name="connsiteY145" fmla="*/ 0 h 10000"/>
                <a:gd name="connsiteX146" fmla="*/ 3500 w 10000"/>
                <a:gd name="connsiteY146" fmla="*/ 173 h 10000"/>
                <a:gd name="connsiteX147" fmla="*/ 3091 w 10000"/>
                <a:gd name="connsiteY147" fmla="*/ 588 h 10000"/>
                <a:gd name="connsiteX148" fmla="*/ 2727 w 10000"/>
                <a:gd name="connsiteY148" fmla="*/ 1107 h 10000"/>
                <a:gd name="connsiteX149" fmla="*/ 2659 w 10000"/>
                <a:gd name="connsiteY149" fmla="*/ 1522 h 10000"/>
                <a:gd name="connsiteX150" fmla="*/ 2250 w 10000"/>
                <a:gd name="connsiteY150" fmla="*/ 1522 h 10000"/>
                <a:gd name="connsiteX151" fmla="*/ 1136 w 10000"/>
                <a:gd name="connsiteY151" fmla="*/ 2215 h 10000"/>
                <a:gd name="connsiteX152" fmla="*/ 227 w 10000"/>
                <a:gd name="connsiteY152" fmla="*/ 2630 h 10000"/>
                <a:gd name="connsiteX153" fmla="*/ 341 w 10000"/>
                <a:gd name="connsiteY153" fmla="*/ 3391 h 10000"/>
                <a:gd name="connsiteX154" fmla="*/ 432 w 10000"/>
                <a:gd name="connsiteY154" fmla="*/ 3564 h 10000"/>
                <a:gd name="connsiteX0" fmla="*/ 432 w 10000"/>
                <a:gd name="connsiteY0" fmla="*/ 3564 h 10000"/>
                <a:gd name="connsiteX1" fmla="*/ 455 w 10000"/>
                <a:gd name="connsiteY1" fmla="*/ 3633 h 10000"/>
                <a:gd name="connsiteX2" fmla="*/ 409 w 10000"/>
                <a:gd name="connsiteY2" fmla="*/ 3668 h 10000"/>
                <a:gd name="connsiteX3" fmla="*/ 205 w 10000"/>
                <a:gd name="connsiteY3" fmla="*/ 3910 h 10000"/>
                <a:gd name="connsiteX4" fmla="*/ 205 w 10000"/>
                <a:gd name="connsiteY4" fmla="*/ 4014 h 10000"/>
                <a:gd name="connsiteX5" fmla="*/ 500 w 10000"/>
                <a:gd name="connsiteY5" fmla="*/ 4152 h 10000"/>
                <a:gd name="connsiteX6" fmla="*/ 545 w 10000"/>
                <a:gd name="connsiteY6" fmla="*/ 4187 h 10000"/>
                <a:gd name="connsiteX7" fmla="*/ 545 w 10000"/>
                <a:gd name="connsiteY7" fmla="*/ 4221 h 10000"/>
                <a:gd name="connsiteX8" fmla="*/ 545 w 10000"/>
                <a:gd name="connsiteY8" fmla="*/ 4464 h 10000"/>
                <a:gd name="connsiteX9" fmla="*/ 545 w 10000"/>
                <a:gd name="connsiteY9" fmla="*/ 4498 h 10000"/>
                <a:gd name="connsiteX10" fmla="*/ 523 w 10000"/>
                <a:gd name="connsiteY10" fmla="*/ 4533 h 10000"/>
                <a:gd name="connsiteX11" fmla="*/ 114 w 10000"/>
                <a:gd name="connsiteY11" fmla="*/ 4983 h 10000"/>
                <a:gd name="connsiteX12" fmla="*/ 159 w 10000"/>
                <a:gd name="connsiteY12" fmla="*/ 5087 h 10000"/>
                <a:gd name="connsiteX13" fmla="*/ 386 w 10000"/>
                <a:gd name="connsiteY13" fmla="*/ 5329 h 10000"/>
                <a:gd name="connsiteX14" fmla="*/ 386 w 10000"/>
                <a:gd name="connsiteY14" fmla="*/ 5329 h 10000"/>
                <a:gd name="connsiteX15" fmla="*/ 386 w 10000"/>
                <a:gd name="connsiteY15" fmla="*/ 5329 h 10000"/>
                <a:gd name="connsiteX16" fmla="*/ 523 w 10000"/>
                <a:gd name="connsiteY16" fmla="*/ 5606 h 10000"/>
                <a:gd name="connsiteX17" fmla="*/ 545 w 10000"/>
                <a:gd name="connsiteY17" fmla="*/ 5606 h 10000"/>
                <a:gd name="connsiteX18" fmla="*/ 523 w 10000"/>
                <a:gd name="connsiteY18" fmla="*/ 5640 h 10000"/>
                <a:gd name="connsiteX19" fmla="*/ 432 w 10000"/>
                <a:gd name="connsiteY19" fmla="*/ 5882 h 10000"/>
                <a:gd name="connsiteX20" fmla="*/ 432 w 10000"/>
                <a:gd name="connsiteY20" fmla="*/ 5917 h 10000"/>
                <a:gd name="connsiteX21" fmla="*/ 409 w 10000"/>
                <a:gd name="connsiteY21" fmla="*/ 5917 h 10000"/>
                <a:gd name="connsiteX22" fmla="*/ 273 w 10000"/>
                <a:gd name="connsiteY22" fmla="*/ 6055 h 10000"/>
                <a:gd name="connsiteX23" fmla="*/ 273 w 10000"/>
                <a:gd name="connsiteY23" fmla="*/ 6263 h 10000"/>
                <a:gd name="connsiteX24" fmla="*/ 477 w 10000"/>
                <a:gd name="connsiteY24" fmla="*/ 6471 h 10000"/>
                <a:gd name="connsiteX25" fmla="*/ 523 w 10000"/>
                <a:gd name="connsiteY25" fmla="*/ 6540 h 10000"/>
                <a:gd name="connsiteX26" fmla="*/ 477 w 10000"/>
                <a:gd name="connsiteY26" fmla="*/ 6574 h 10000"/>
                <a:gd name="connsiteX27" fmla="*/ 318 w 10000"/>
                <a:gd name="connsiteY27" fmla="*/ 6782 h 10000"/>
                <a:gd name="connsiteX28" fmla="*/ 273 w 10000"/>
                <a:gd name="connsiteY28" fmla="*/ 6955 h 10000"/>
                <a:gd name="connsiteX29" fmla="*/ 432 w 10000"/>
                <a:gd name="connsiteY29" fmla="*/ 7197 h 10000"/>
                <a:gd name="connsiteX30" fmla="*/ 455 w 10000"/>
                <a:gd name="connsiteY30" fmla="*/ 7232 h 10000"/>
                <a:gd name="connsiteX31" fmla="*/ 432 w 10000"/>
                <a:gd name="connsiteY31" fmla="*/ 7301 h 10000"/>
                <a:gd name="connsiteX32" fmla="*/ 364 w 10000"/>
                <a:gd name="connsiteY32" fmla="*/ 7405 h 10000"/>
                <a:gd name="connsiteX33" fmla="*/ 364 w 10000"/>
                <a:gd name="connsiteY33" fmla="*/ 7405 h 10000"/>
                <a:gd name="connsiteX34" fmla="*/ 341 w 10000"/>
                <a:gd name="connsiteY34" fmla="*/ 7405 h 10000"/>
                <a:gd name="connsiteX35" fmla="*/ 136 w 10000"/>
                <a:gd name="connsiteY35" fmla="*/ 7509 h 10000"/>
                <a:gd name="connsiteX36" fmla="*/ 23 w 10000"/>
                <a:gd name="connsiteY36" fmla="*/ 7820 h 10000"/>
                <a:gd name="connsiteX37" fmla="*/ 0 w 10000"/>
                <a:gd name="connsiteY37" fmla="*/ 9827 h 10000"/>
                <a:gd name="connsiteX38" fmla="*/ 727 w 10000"/>
                <a:gd name="connsiteY38" fmla="*/ 9862 h 10000"/>
                <a:gd name="connsiteX39" fmla="*/ 727 w 10000"/>
                <a:gd name="connsiteY39" fmla="*/ 9862 h 10000"/>
                <a:gd name="connsiteX40" fmla="*/ 727 w 10000"/>
                <a:gd name="connsiteY40" fmla="*/ 9862 h 10000"/>
                <a:gd name="connsiteX41" fmla="*/ 1227 w 10000"/>
                <a:gd name="connsiteY41" fmla="*/ 10000 h 10000"/>
                <a:gd name="connsiteX42" fmla="*/ 1386 w 10000"/>
                <a:gd name="connsiteY42" fmla="*/ 9896 h 10000"/>
                <a:gd name="connsiteX43" fmla="*/ 1591 w 10000"/>
                <a:gd name="connsiteY43" fmla="*/ 9377 h 10000"/>
                <a:gd name="connsiteX44" fmla="*/ 1614 w 10000"/>
                <a:gd name="connsiteY44" fmla="*/ 9308 h 10000"/>
                <a:gd name="connsiteX45" fmla="*/ 1659 w 10000"/>
                <a:gd name="connsiteY45" fmla="*/ 9343 h 10000"/>
                <a:gd name="connsiteX46" fmla="*/ 2091 w 10000"/>
                <a:gd name="connsiteY46" fmla="*/ 9792 h 10000"/>
                <a:gd name="connsiteX47" fmla="*/ 3341 w 10000"/>
                <a:gd name="connsiteY47" fmla="*/ 8270 h 10000"/>
                <a:gd name="connsiteX48" fmla="*/ 3341 w 10000"/>
                <a:gd name="connsiteY48" fmla="*/ 7682 h 10000"/>
                <a:gd name="connsiteX49" fmla="*/ 2977 w 10000"/>
                <a:gd name="connsiteY49" fmla="*/ 6574 h 10000"/>
                <a:gd name="connsiteX50" fmla="*/ 2955 w 10000"/>
                <a:gd name="connsiteY50" fmla="*/ 6540 h 10000"/>
                <a:gd name="connsiteX51" fmla="*/ 2977 w 10000"/>
                <a:gd name="connsiteY51" fmla="*/ 6505 h 10000"/>
                <a:gd name="connsiteX52" fmla="*/ 3341 w 10000"/>
                <a:gd name="connsiteY52" fmla="*/ 5882 h 10000"/>
                <a:gd name="connsiteX53" fmla="*/ 3364 w 10000"/>
                <a:gd name="connsiteY53" fmla="*/ 5848 h 10000"/>
                <a:gd name="connsiteX54" fmla="*/ 3364 w 10000"/>
                <a:gd name="connsiteY54" fmla="*/ 5848 h 10000"/>
                <a:gd name="connsiteX55" fmla="*/ 3818 w 10000"/>
                <a:gd name="connsiteY55" fmla="*/ 5675 h 10000"/>
                <a:gd name="connsiteX56" fmla="*/ 3818 w 10000"/>
                <a:gd name="connsiteY56" fmla="*/ 5675 h 10000"/>
                <a:gd name="connsiteX57" fmla="*/ 3841 w 10000"/>
                <a:gd name="connsiteY57" fmla="*/ 5675 h 10000"/>
                <a:gd name="connsiteX58" fmla="*/ 4136 w 10000"/>
                <a:gd name="connsiteY58" fmla="*/ 5813 h 10000"/>
                <a:gd name="connsiteX59" fmla="*/ 4409 w 10000"/>
                <a:gd name="connsiteY59" fmla="*/ 5502 h 10000"/>
                <a:gd name="connsiteX60" fmla="*/ 4409 w 10000"/>
                <a:gd name="connsiteY60" fmla="*/ 5502 h 10000"/>
                <a:gd name="connsiteX61" fmla="*/ 4432 w 10000"/>
                <a:gd name="connsiteY61" fmla="*/ 5502 h 10000"/>
                <a:gd name="connsiteX62" fmla="*/ 4764 w 10000"/>
                <a:gd name="connsiteY62" fmla="*/ 5634 h 10000"/>
                <a:gd name="connsiteX63" fmla="*/ 4909 w 10000"/>
                <a:gd name="connsiteY63" fmla="*/ 6090 h 10000"/>
                <a:gd name="connsiteX64" fmla="*/ 5182 w 10000"/>
                <a:gd name="connsiteY64" fmla="*/ 6263 h 10000"/>
                <a:gd name="connsiteX65" fmla="*/ 5182 w 10000"/>
                <a:gd name="connsiteY65" fmla="*/ 6263 h 10000"/>
                <a:gd name="connsiteX66" fmla="*/ 5182 w 10000"/>
                <a:gd name="connsiteY66" fmla="*/ 6263 h 10000"/>
                <a:gd name="connsiteX67" fmla="*/ 5455 w 10000"/>
                <a:gd name="connsiteY67" fmla="*/ 6817 h 10000"/>
                <a:gd name="connsiteX68" fmla="*/ 5659 w 10000"/>
                <a:gd name="connsiteY68" fmla="*/ 6436 h 10000"/>
                <a:gd name="connsiteX69" fmla="*/ 5705 w 10000"/>
                <a:gd name="connsiteY69" fmla="*/ 6401 h 10000"/>
                <a:gd name="connsiteX70" fmla="*/ 5705 w 10000"/>
                <a:gd name="connsiteY70" fmla="*/ 6401 h 10000"/>
                <a:gd name="connsiteX71" fmla="*/ 6409 w 10000"/>
                <a:gd name="connsiteY71" fmla="*/ 6644 h 10000"/>
                <a:gd name="connsiteX72" fmla="*/ 6886 w 10000"/>
                <a:gd name="connsiteY72" fmla="*/ 6574 h 10000"/>
                <a:gd name="connsiteX73" fmla="*/ 6909 w 10000"/>
                <a:gd name="connsiteY73" fmla="*/ 6574 h 10000"/>
                <a:gd name="connsiteX74" fmla="*/ 6932 w 10000"/>
                <a:gd name="connsiteY74" fmla="*/ 6609 h 10000"/>
                <a:gd name="connsiteX75" fmla="*/ 7250 w 10000"/>
                <a:gd name="connsiteY75" fmla="*/ 7128 h 10000"/>
                <a:gd name="connsiteX76" fmla="*/ 7250 w 10000"/>
                <a:gd name="connsiteY76" fmla="*/ 7128 h 10000"/>
                <a:gd name="connsiteX77" fmla="*/ 7250 w 10000"/>
                <a:gd name="connsiteY77" fmla="*/ 7128 h 10000"/>
                <a:gd name="connsiteX78" fmla="*/ 7523 w 10000"/>
                <a:gd name="connsiteY78" fmla="*/ 7716 h 10000"/>
                <a:gd name="connsiteX79" fmla="*/ 8068 w 10000"/>
                <a:gd name="connsiteY79" fmla="*/ 7543 h 10000"/>
                <a:gd name="connsiteX80" fmla="*/ 8568 w 10000"/>
                <a:gd name="connsiteY80" fmla="*/ 7370 h 10000"/>
                <a:gd name="connsiteX81" fmla="*/ 8614 w 10000"/>
                <a:gd name="connsiteY81" fmla="*/ 7370 h 10000"/>
                <a:gd name="connsiteX82" fmla="*/ 8614 w 10000"/>
                <a:gd name="connsiteY82" fmla="*/ 7405 h 10000"/>
                <a:gd name="connsiteX83" fmla="*/ 8818 w 10000"/>
                <a:gd name="connsiteY83" fmla="*/ 8028 h 10000"/>
                <a:gd name="connsiteX84" fmla="*/ 8977 w 10000"/>
                <a:gd name="connsiteY84" fmla="*/ 8062 h 10000"/>
                <a:gd name="connsiteX85" fmla="*/ 9000 w 10000"/>
                <a:gd name="connsiteY85" fmla="*/ 8062 h 10000"/>
                <a:gd name="connsiteX86" fmla="*/ 9000 w 10000"/>
                <a:gd name="connsiteY86" fmla="*/ 8062 h 10000"/>
                <a:gd name="connsiteX87" fmla="*/ 9409 w 10000"/>
                <a:gd name="connsiteY87" fmla="*/ 8235 h 10000"/>
                <a:gd name="connsiteX88" fmla="*/ 9932 w 10000"/>
                <a:gd name="connsiteY88" fmla="*/ 8304 h 10000"/>
                <a:gd name="connsiteX89" fmla="*/ 9909 w 10000"/>
                <a:gd name="connsiteY89" fmla="*/ 8166 h 10000"/>
                <a:gd name="connsiteX90" fmla="*/ 9773 w 10000"/>
                <a:gd name="connsiteY90" fmla="*/ 7855 h 10000"/>
                <a:gd name="connsiteX91" fmla="*/ 9727 w 10000"/>
                <a:gd name="connsiteY91" fmla="*/ 7751 h 10000"/>
                <a:gd name="connsiteX92" fmla="*/ 9795 w 10000"/>
                <a:gd name="connsiteY92" fmla="*/ 7751 h 10000"/>
                <a:gd name="connsiteX93" fmla="*/ 10000 w 10000"/>
                <a:gd name="connsiteY93" fmla="*/ 7682 h 10000"/>
                <a:gd name="connsiteX94" fmla="*/ 10000 w 10000"/>
                <a:gd name="connsiteY94" fmla="*/ 7474 h 10000"/>
                <a:gd name="connsiteX95" fmla="*/ 9886 w 10000"/>
                <a:gd name="connsiteY95" fmla="*/ 7370 h 10000"/>
                <a:gd name="connsiteX96" fmla="*/ 9705 w 10000"/>
                <a:gd name="connsiteY96" fmla="*/ 7405 h 10000"/>
                <a:gd name="connsiteX97" fmla="*/ 9682 w 10000"/>
                <a:gd name="connsiteY97" fmla="*/ 7405 h 10000"/>
                <a:gd name="connsiteX98" fmla="*/ 9659 w 10000"/>
                <a:gd name="connsiteY98" fmla="*/ 7370 h 10000"/>
                <a:gd name="connsiteX99" fmla="*/ 9477 w 10000"/>
                <a:gd name="connsiteY99" fmla="*/ 7163 h 10000"/>
                <a:gd name="connsiteX100" fmla="*/ 9477 w 10000"/>
                <a:gd name="connsiteY100" fmla="*/ 7163 h 10000"/>
                <a:gd name="connsiteX101" fmla="*/ 9455 w 10000"/>
                <a:gd name="connsiteY101" fmla="*/ 7128 h 10000"/>
                <a:gd name="connsiteX102" fmla="*/ 9432 w 10000"/>
                <a:gd name="connsiteY102" fmla="*/ 6990 h 10000"/>
                <a:gd name="connsiteX103" fmla="*/ 9409 w 10000"/>
                <a:gd name="connsiteY103" fmla="*/ 6955 h 10000"/>
                <a:gd name="connsiteX104" fmla="*/ 9432 w 10000"/>
                <a:gd name="connsiteY104" fmla="*/ 6920 h 10000"/>
                <a:gd name="connsiteX105" fmla="*/ 9545 w 10000"/>
                <a:gd name="connsiteY105" fmla="*/ 6713 h 10000"/>
                <a:gd name="connsiteX106" fmla="*/ 9545 w 10000"/>
                <a:gd name="connsiteY106" fmla="*/ 6713 h 10000"/>
                <a:gd name="connsiteX107" fmla="*/ 9545 w 10000"/>
                <a:gd name="connsiteY107" fmla="*/ 6713 h 10000"/>
                <a:gd name="connsiteX108" fmla="*/ 9682 w 10000"/>
                <a:gd name="connsiteY108" fmla="*/ 6540 h 10000"/>
                <a:gd name="connsiteX109" fmla="*/ 9614 w 10000"/>
                <a:gd name="connsiteY109" fmla="*/ 6401 h 10000"/>
                <a:gd name="connsiteX110" fmla="*/ 9409 w 10000"/>
                <a:gd name="connsiteY110" fmla="*/ 6436 h 10000"/>
                <a:gd name="connsiteX111" fmla="*/ 9364 w 10000"/>
                <a:gd name="connsiteY111" fmla="*/ 6540 h 10000"/>
                <a:gd name="connsiteX112" fmla="*/ 9295 w 10000"/>
                <a:gd name="connsiteY112" fmla="*/ 6678 h 10000"/>
                <a:gd name="connsiteX113" fmla="*/ 9295 w 10000"/>
                <a:gd name="connsiteY113" fmla="*/ 6505 h 10000"/>
                <a:gd name="connsiteX114" fmla="*/ 9227 w 10000"/>
                <a:gd name="connsiteY114" fmla="*/ 5848 h 10000"/>
                <a:gd name="connsiteX115" fmla="*/ 9273 w 10000"/>
                <a:gd name="connsiteY115" fmla="*/ 5813 h 10000"/>
                <a:gd name="connsiteX116" fmla="*/ 9182 w 10000"/>
                <a:gd name="connsiteY116" fmla="*/ 5779 h 10000"/>
                <a:gd name="connsiteX117" fmla="*/ 9318 w 10000"/>
                <a:gd name="connsiteY117" fmla="*/ 5225 h 10000"/>
                <a:gd name="connsiteX118" fmla="*/ 9568 w 10000"/>
                <a:gd name="connsiteY118" fmla="*/ 4775 h 10000"/>
                <a:gd name="connsiteX119" fmla="*/ 9841 w 10000"/>
                <a:gd name="connsiteY119" fmla="*/ 4775 h 10000"/>
                <a:gd name="connsiteX120" fmla="*/ 9932 w 10000"/>
                <a:gd name="connsiteY120" fmla="*/ 4394 h 10000"/>
                <a:gd name="connsiteX121" fmla="*/ 9636 w 10000"/>
                <a:gd name="connsiteY121" fmla="*/ 4014 h 10000"/>
                <a:gd name="connsiteX122" fmla="*/ 9409 w 10000"/>
                <a:gd name="connsiteY122" fmla="*/ 4394 h 10000"/>
                <a:gd name="connsiteX123" fmla="*/ 9000 w 10000"/>
                <a:gd name="connsiteY123" fmla="*/ 4325 h 10000"/>
                <a:gd name="connsiteX124" fmla="*/ 8773 w 10000"/>
                <a:gd name="connsiteY124" fmla="*/ 3841 h 10000"/>
                <a:gd name="connsiteX125" fmla="*/ 8432 w 10000"/>
                <a:gd name="connsiteY125" fmla="*/ 3841 h 10000"/>
                <a:gd name="connsiteX126" fmla="*/ 8386 w 10000"/>
                <a:gd name="connsiteY126" fmla="*/ 4256 h 10000"/>
                <a:gd name="connsiteX127" fmla="*/ 8295 w 10000"/>
                <a:gd name="connsiteY127" fmla="*/ 4567 h 10000"/>
                <a:gd name="connsiteX128" fmla="*/ 8068 w 10000"/>
                <a:gd name="connsiteY128" fmla="*/ 4637 h 10000"/>
                <a:gd name="connsiteX129" fmla="*/ 8068 w 10000"/>
                <a:gd name="connsiteY129" fmla="*/ 3910 h 10000"/>
                <a:gd name="connsiteX130" fmla="*/ 7705 w 10000"/>
                <a:gd name="connsiteY130" fmla="*/ 3322 h 10000"/>
                <a:gd name="connsiteX131" fmla="*/ 7273 w 10000"/>
                <a:gd name="connsiteY131" fmla="*/ 3737 h 10000"/>
                <a:gd name="connsiteX132" fmla="*/ 6955 w 10000"/>
                <a:gd name="connsiteY132" fmla="*/ 4187 h 10000"/>
                <a:gd name="connsiteX133" fmla="*/ 6818 w 10000"/>
                <a:gd name="connsiteY133" fmla="*/ 3841 h 10000"/>
                <a:gd name="connsiteX134" fmla="*/ 6523 w 10000"/>
                <a:gd name="connsiteY134" fmla="*/ 4291 h 10000"/>
                <a:gd name="connsiteX135" fmla="*/ 6182 w 10000"/>
                <a:gd name="connsiteY135" fmla="*/ 3633 h 10000"/>
                <a:gd name="connsiteX136" fmla="*/ 6409 w 10000"/>
                <a:gd name="connsiteY136" fmla="*/ 3356 h 10000"/>
                <a:gd name="connsiteX137" fmla="*/ 6409 w 10000"/>
                <a:gd name="connsiteY137" fmla="*/ 2976 h 10000"/>
                <a:gd name="connsiteX138" fmla="*/ 6500 w 10000"/>
                <a:gd name="connsiteY138" fmla="*/ 2353 h 10000"/>
                <a:gd name="connsiteX139" fmla="*/ 6182 w 10000"/>
                <a:gd name="connsiteY139" fmla="*/ 1834 h 10000"/>
                <a:gd name="connsiteX140" fmla="*/ 6136 w 10000"/>
                <a:gd name="connsiteY140" fmla="*/ 969 h 10000"/>
                <a:gd name="connsiteX141" fmla="*/ 5864 w 10000"/>
                <a:gd name="connsiteY141" fmla="*/ 208 h 10000"/>
                <a:gd name="connsiteX142" fmla="*/ 5455 w 10000"/>
                <a:gd name="connsiteY142" fmla="*/ 346 h 10000"/>
                <a:gd name="connsiteX143" fmla="*/ 5182 w 10000"/>
                <a:gd name="connsiteY143" fmla="*/ 865 h 10000"/>
                <a:gd name="connsiteX144" fmla="*/ 4318 w 10000"/>
                <a:gd name="connsiteY144" fmla="*/ 242 h 10000"/>
                <a:gd name="connsiteX145" fmla="*/ 3727 w 10000"/>
                <a:gd name="connsiteY145" fmla="*/ 0 h 10000"/>
                <a:gd name="connsiteX146" fmla="*/ 3500 w 10000"/>
                <a:gd name="connsiteY146" fmla="*/ 173 h 10000"/>
                <a:gd name="connsiteX147" fmla="*/ 3091 w 10000"/>
                <a:gd name="connsiteY147" fmla="*/ 588 h 10000"/>
                <a:gd name="connsiteX148" fmla="*/ 2727 w 10000"/>
                <a:gd name="connsiteY148" fmla="*/ 1107 h 10000"/>
                <a:gd name="connsiteX149" fmla="*/ 2659 w 10000"/>
                <a:gd name="connsiteY149" fmla="*/ 1522 h 10000"/>
                <a:gd name="connsiteX150" fmla="*/ 2250 w 10000"/>
                <a:gd name="connsiteY150" fmla="*/ 1522 h 10000"/>
                <a:gd name="connsiteX151" fmla="*/ 1136 w 10000"/>
                <a:gd name="connsiteY151" fmla="*/ 2215 h 10000"/>
                <a:gd name="connsiteX152" fmla="*/ 227 w 10000"/>
                <a:gd name="connsiteY152" fmla="*/ 2630 h 10000"/>
                <a:gd name="connsiteX153" fmla="*/ 341 w 10000"/>
                <a:gd name="connsiteY153" fmla="*/ 3391 h 10000"/>
                <a:gd name="connsiteX154" fmla="*/ 432 w 10000"/>
                <a:gd name="connsiteY154" fmla="*/ 3564 h 10000"/>
                <a:gd name="connsiteX0" fmla="*/ 432 w 10000"/>
                <a:gd name="connsiteY0" fmla="*/ 3564 h 10000"/>
                <a:gd name="connsiteX1" fmla="*/ 455 w 10000"/>
                <a:gd name="connsiteY1" fmla="*/ 3633 h 10000"/>
                <a:gd name="connsiteX2" fmla="*/ 409 w 10000"/>
                <a:gd name="connsiteY2" fmla="*/ 3668 h 10000"/>
                <a:gd name="connsiteX3" fmla="*/ 205 w 10000"/>
                <a:gd name="connsiteY3" fmla="*/ 3910 h 10000"/>
                <a:gd name="connsiteX4" fmla="*/ 205 w 10000"/>
                <a:gd name="connsiteY4" fmla="*/ 4014 h 10000"/>
                <a:gd name="connsiteX5" fmla="*/ 500 w 10000"/>
                <a:gd name="connsiteY5" fmla="*/ 4152 h 10000"/>
                <a:gd name="connsiteX6" fmla="*/ 545 w 10000"/>
                <a:gd name="connsiteY6" fmla="*/ 4187 h 10000"/>
                <a:gd name="connsiteX7" fmla="*/ 545 w 10000"/>
                <a:gd name="connsiteY7" fmla="*/ 4221 h 10000"/>
                <a:gd name="connsiteX8" fmla="*/ 545 w 10000"/>
                <a:gd name="connsiteY8" fmla="*/ 4464 h 10000"/>
                <a:gd name="connsiteX9" fmla="*/ 545 w 10000"/>
                <a:gd name="connsiteY9" fmla="*/ 4498 h 10000"/>
                <a:gd name="connsiteX10" fmla="*/ 523 w 10000"/>
                <a:gd name="connsiteY10" fmla="*/ 4533 h 10000"/>
                <a:gd name="connsiteX11" fmla="*/ 114 w 10000"/>
                <a:gd name="connsiteY11" fmla="*/ 4983 h 10000"/>
                <a:gd name="connsiteX12" fmla="*/ 159 w 10000"/>
                <a:gd name="connsiteY12" fmla="*/ 5087 h 10000"/>
                <a:gd name="connsiteX13" fmla="*/ 386 w 10000"/>
                <a:gd name="connsiteY13" fmla="*/ 5329 h 10000"/>
                <a:gd name="connsiteX14" fmla="*/ 386 w 10000"/>
                <a:gd name="connsiteY14" fmla="*/ 5329 h 10000"/>
                <a:gd name="connsiteX15" fmla="*/ 386 w 10000"/>
                <a:gd name="connsiteY15" fmla="*/ 5329 h 10000"/>
                <a:gd name="connsiteX16" fmla="*/ 523 w 10000"/>
                <a:gd name="connsiteY16" fmla="*/ 5606 h 10000"/>
                <a:gd name="connsiteX17" fmla="*/ 545 w 10000"/>
                <a:gd name="connsiteY17" fmla="*/ 5606 h 10000"/>
                <a:gd name="connsiteX18" fmla="*/ 523 w 10000"/>
                <a:gd name="connsiteY18" fmla="*/ 5640 h 10000"/>
                <a:gd name="connsiteX19" fmla="*/ 432 w 10000"/>
                <a:gd name="connsiteY19" fmla="*/ 5882 h 10000"/>
                <a:gd name="connsiteX20" fmla="*/ 432 w 10000"/>
                <a:gd name="connsiteY20" fmla="*/ 5917 h 10000"/>
                <a:gd name="connsiteX21" fmla="*/ 409 w 10000"/>
                <a:gd name="connsiteY21" fmla="*/ 5917 h 10000"/>
                <a:gd name="connsiteX22" fmla="*/ 273 w 10000"/>
                <a:gd name="connsiteY22" fmla="*/ 6055 h 10000"/>
                <a:gd name="connsiteX23" fmla="*/ 273 w 10000"/>
                <a:gd name="connsiteY23" fmla="*/ 6263 h 10000"/>
                <a:gd name="connsiteX24" fmla="*/ 477 w 10000"/>
                <a:gd name="connsiteY24" fmla="*/ 6471 h 10000"/>
                <a:gd name="connsiteX25" fmla="*/ 523 w 10000"/>
                <a:gd name="connsiteY25" fmla="*/ 6540 h 10000"/>
                <a:gd name="connsiteX26" fmla="*/ 477 w 10000"/>
                <a:gd name="connsiteY26" fmla="*/ 6574 h 10000"/>
                <a:gd name="connsiteX27" fmla="*/ 318 w 10000"/>
                <a:gd name="connsiteY27" fmla="*/ 6782 h 10000"/>
                <a:gd name="connsiteX28" fmla="*/ 273 w 10000"/>
                <a:gd name="connsiteY28" fmla="*/ 6955 h 10000"/>
                <a:gd name="connsiteX29" fmla="*/ 432 w 10000"/>
                <a:gd name="connsiteY29" fmla="*/ 7197 h 10000"/>
                <a:gd name="connsiteX30" fmla="*/ 455 w 10000"/>
                <a:gd name="connsiteY30" fmla="*/ 7232 h 10000"/>
                <a:gd name="connsiteX31" fmla="*/ 432 w 10000"/>
                <a:gd name="connsiteY31" fmla="*/ 7301 h 10000"/>
                <a:gd name="connsiteX32" fmla="*/ 364 w 10000"/>
                <a:gd name="connsiteY32" fmla="*/ 7405 h 10000"/>
                <a:gd name="connsiteX33" fmla="*/ 364 w 10000"/>
                <a:gd name="connsiteY33" fmla="*/ 7405 h 10000"/>
                <a:gd name="connsiteX34" fmla="*/ 341 w 10000"/>
                <a:gd name="connsiteY34" fmla="*/ 7405 h 10000"/>
                <a:gd name="connsiteX35" fmla="*/ 136 w 10000"/>
                <a:gd name="connsiteY35" fmla="*/ 7509 h 10000"/>
                <a:gd name="connsiteX36" fmla="*/ 23 w 10000"/>
                <a:gd name="connsiteY36" fmla="*/ 7820 h 10000"/>
                <a:gd name="connsiteX37" fmla="*/ 0 w 10000"/>
                <a:gd name="connsiteY37" fmla="*/ 9827 h 10000"/>
                <a:gd name="connsiteX38" fmla="*/ 727 w 10000"/>
                <a:gd name="connsiteY38" fmla="*/ 9862 h 10000"/>
                <a:gd name="connsiteX39" fmla="*/ 727 w 10000"/>
                <a:gd name="connsiteY39" fmla="*/ 9862 h 10000"/>
                <a:gd name="connsiteX40" fmla="*/ 727 w 10000"/>
                <a:gd name="connsiteY40" fmla="*/ 9862 h 10000"/>
                <a:gd name="connsiteX41" fmla="*/ 1227 w 10000"/>
                <a:gd name="connsiteY41" fmla="*/ 10000 h 10000"/>
                <a:gd name="connsiteX42" fmla="*/ 1386 w 10000"/>
                <a:gd name="connsiteY42" fmla="*/ 9896 h 10000"/>
                <a:gd name="connsiteX43" fmla="*/ 1591 w 10000"/>
                <a:gd name="connsiteY43" fmla="*/ 9377 h 10000"/>
                <a:gd name="connsiteX44" fmla="*/ 1614 w 10000"/>
                <a:gd name="connsiteY44" fmla="*/ 9308 h 10000"/>
                <a:gd name="connsiteX45" fmla="*/ 1659 w 10000"/>
                <a:gd name="connsiteY45" fmla="*/ 9343 h 10000"/>
                <a:gd name="connsiteX46" fmla="*/ 2091 w 10000"/>
                <a:gd name="connsiteY46" fmla="*/ 9792 h 10000"/>
                <a:gd name="connsiteX47" fmla="*/ 3341 w 10000"/>
                <a:gd name="connsiteY47" fmla="*/ 8270 h 10000"/>
                <a:gd name="connsiteX48" fmla="*/ 3341 w 10000"/>
                <a:gd name="connsiteY48" fmla="*/ 7682 h 10000"/>
                <a:gd name="connsiteX49" fmla="*/ 2977 w 10000"/>
                <a:gd name="connsiteY49" fmla="*/ 6574 h 10000"/>
                <a:gd name="connsiteX50" fmla="*/ 2955 w 10000"/>
                <a:gd name="connsiteY50" fmla="*/ 6540 h 10000"/>
                <a:gd name="connsiteX51" fmla="*/ 2977 w 10000"/>
                <a:gd name="connsiteY51" fmla="*/ 6505 h 10000"/>
                <a:gd name="connsiteX52" fmla="*/ 3341 w 10000"/>
                <a:gd name="connsiteY52" fmla="*/ 5882 h 10000"/>
                <a:gd name="connsiteX53" fmla="*/ 3364 w 10000"/>
                <a:gd name="connsiteY53" fmla="*/ 5848 h 10000"/>
                <a:gd name="connsiteX54" fmla="*/ 3364 w 10000"/>
                <a:gd name="connsiteY54" fmla="*/ 5848 h 10000"/>
                <a:gd name="connsiteX55" fmla="*/ 3818 w 10000"/>
                <a:gd name="connsiteY55" fmla="*/ 5675 h 10000"/>
                <a:gd name="connsiteX56" fmla="*/ 3818 w 10000"/>
                <a:gd name="connsiteY56" fmla="*/ 5675 h 10000"/>
                <a:gd name="connsiteX57" fmla="*/ 3841 w 10000"/>
                <a:gd name="connsiteY57" fmla="*/ 5675 h 10000"/>
                <a:gd name="connsiteX58" fmla="*/ 4136 w 10000"/>
                <a:gd name="connsiteY58" fmla="*/ 5813 h 10000"/>
                <a:gd name="connsiteX59" fmla="*/ 4409 w 10000"/>
                <a:gd name="connsiteY59" fmla="*/ 5502 h 10000"/>
                <a:gd name="connsiteX60" fmla="*/ 4409 w 10000"/>
                <a:gd name="connsiteY60" fmla="*/ 5502 h 10000"/>
                <a:gd name="connsiteX61" fmla="*/ 4432 w 10000"/>
                <a:gd name="connsiteY61" fmla="*/ 5502 h 10000"/>
                <a:gd name="connsiteX62" fmla="*/ 4764 w 10000"/>
                <a:gd name="connsiteY62" fmla="*/ 5634 h 10000"/>
                <a:gd name="connsiteX63" fmla="*/ 4779 w 10000"/>
                <a:gd name="connsiteY63" fmla="*/ 6111 h 10000"/>
                <a:gd name="connsiteX64" fmla="*/ 5182 w 10000"/>
                <a:gd name="connsiteY64" fmla="*/ 6263 h 10000"/>
                <a:gd name="connsiteX65" fmla="*/ 5182 w 10000"/>
                <a:gd name="connsiteY65" fmla="*/ 6263 h 10000"/>
                <a:gd name="connsiteX66" fmla="*/ 5182 w 10000"/>
                <a:gd name="connsiteY66" fmla="*/ 6263 h 10000"/>
                <a:gd name="connsiteX67" fmla="*/ 5455 w 10000"/>
                <a:gd name="connsiteY67" fmla="*/ 6817 h 10000"/>
                <a:gd name="connsiteX68" fmla="*/ 5659 w 10000"/>
                <a:gd name="connsiteY68" fmla="*/ 6436 h 10000"/>
                <a:gd name="connsiteX69" fmla="*/ 5705 w 10000"/>
                <a:gd name="connsiteY69" fmla="*/ 6401 h 10000"/>
                <a:gd name="connsiteX70" fmla="*/ 5705 w 10000"/>
                <a:gd name="connsiteY70" fmla="*/ 6401 h 10000"/>
                <a:gd name="connsiteX71" fmla="*/ 6409 w 10000"/>
                <a:gd name="connsiteY71" fmla="*/ 6644 h 10000"/>
                <a:gd name="connsiteX72" fmla="*/ 6886 w 10000"/>
                <a:gd name="connsiteY72" fmla="*/ 6574 h 10000"/>
                <a:gd name="connsiteX73" fmla="*/ 6909 w 10000"/>
                <a:gd name="connsiteY73" fmla="*/ 6574 h 10000"/>
                <a:gd name="connsiteX74" fmla="*/ 6932 w 10000"/>
                <a:gd name="connsiteY74" fmla="*/ 6609 h 10000"/>
                <a:gd name="connsiteX75" fmla="*/ 7250 w 10000"/>
                <a:gd name="connsiteY75" fmla="*/ 7128 h 10000"/>
                <a:gd name="connsiteX76" fmla="*/ 7250 w 10000"/>
                <a:gd name="connsiteY76" fmla="*/ 7128 h 10000"/>
                <a:gd name="connsiteX77" fmla="*/ 7250 w 10000"/>
                <a:gd name="connsiteY77" fmla="*/ 7128 h 10000"/>
                <a:gd name="connsiteX78" fmla="*/ 7523 w 10000"/>
                <a:gd name="connsiteY78" fmla="*/ 7716 h 10000"/>
                <a:gd name="connsiteX79" fmla="*/ 8068 w 10000"/>
                <a:gd name="connsiteY79" fmla="*/ 7543 h 10000"/>
                <a:gd name="connsiteX80" fmla="*/ 8568 w 10000"/>
                <a:gd name="connsiteY80" fmla="*/ 7370 h 10000"/>
                <a:gd name="connsiteX81" fmla="*/ 8614 w 10000"/>
                <a:gd name="connsiteY81" fmla="*/ 7370 h 10000"/>
                <a:gd name="connsiteX82" fmla="*/ 8614 w 10000"/>
                <a:gd name="connsiteY82" fmla="*/ 7405 h 10000"/>
                <a:gd name="connsiteX83" fmla="*/ 8818 w 10000"/>
                <a:gd name="connsiteY83" fmla="*/ 8028 h 10000"/>
                <a:gd name="connsiteX84" fmla="*/ 8977 w 10000"/>
                <a:gd name="connsiteY84" fmla="*/ 8062 h 10000"/>
                <a:gd name="connsiteX85" fmla="*/ 9000 w 10000"/>
                <a:gd name="connsiteY85" fmla="*/ 8062 h 10000"/>
                <a:gd name="connsiteX86" fmla="*/ 9000 w 10000"/>
                <a:gd name="connsiteY86" fmla="*/ 8062 h 10000"/>
                <a:gd name="connsiteX87" fmla="*/ 9409 w 10000"/>
                <a:gd name="connsiteY87" fmla="*/ 8235 h 10000"/>
                <a:gd name="connsiteX88" fmla="*/ 9932 w 10000"/>
                <a:gd name="connsiteY88" fmla="*/ 8304 h 10000"/>
                <a:gd name="connsiteX89" fmla="*/ 9909 w 10000"/>
                <a:gd name="connsiteY89" fmla="*/ 8166 h 10000"/>
                <a:gd name="connsiteX90" fmla="*/ 9773 w 10000"/>
                <a:gd name="connsiteY90" fmla="*/ 7855 h 10000"/>
                <a:gd name="connsiteX91" fmla="*/ 9727 w 10000"/>
                <a:gd name="connsiteY91" fmla="*/ 7751 h 10000"/>
                <a:gd name="connsiteX92" fmla="*/ 9795 w 10000"/>
                <a:gd name="connsiteY92" fmla="*/ 7751 h 10000"/>
                <a:gd name="connsiteX93" fmla="*/ 10000 w 10000"/>
                <a:gd name="connsiteY93" fmla="*/ 7682 h 10000"/>
                <a:gd name="connsiteX94" fmla="*/ 10000 w 10000"/>
                <a:gd name="connsiteY94" fmla="*/ 7474 h 10000"/>
                <a:gd name="connsiteX95" fmla="*/ 9886 w 10000"/>
                <a:gd name="connsiteY95" fmla="*/ 7370 h 10000"/>
                <a:gd name="connsiteX96" fmla="*/ 9705 w 10000"/>
                <a:gd name="connsiteY96" fmla="*/ 7405 h 10000"/>
                <a:gd name="connsiteX97" fmla="*/ 9682 w 10000"/>
                <a:gd name="connsiteY97" fmla="*/ 7405 h 10000"/>
                <a:gd name="connsiteX98" fmla="*/ 9659 w 10000"/>
                <a:gd name="connsiteY98" fmla="*/ 7370 h 10000"/>
                <a:gd name="connsiteX99" fmla="*/ 9477 w 10000"/>
                <a:gd name="connsiteY99" fmla="*/ 7163 h 10000"/>
                <a:gd name="connsiteX100" fmla="*/ 9477 w 10000"/>
                <a:gd name="connsiteY100" fmla="*/ 7163 h 10000"/>
                <a:gd name="connsiteX101" fmla="*/ 9455 w 10000"/>
                <a:gd name="connsiteY101" fmla="*/ 7128 h 10000"/>
                <a:gd name="connsiteX102" fmla="*/ 9432 w 10000"/>
                <a:gd name="connsiteY102" fmla="*/ 6990 h 10000"/>
                <a:gd name="connsiteX103" fmla="*/ 9409 w 10000"/>
                <a:gd name="connsiteY103" fmla="*/ 6955 h 10000"/>
                <a:gd name="connsiteX104" fmla="*/ 9432 w 10000"/>
                <a:gd name="connsiteY104" fmla="*/ 6920 h 10000"/>
                <a:gd name="connsiteX105" fmla="*/ 9545 w 10000"/>
                <a:gd name="connsiteY105" fmla="*/ 6713 h 10000"/>
                <a:gd name="connsiteX106" fmla="*/ 9545 w 10000"/>
                <a:gd name="connsiteY106" fmla="*/ 6713 h 10000"/>
                <a:gd name="connsiteX107" fmla="*/ 9545 w 10000"/>
                <a:gd name="connsiteY107" fmla="*/ 6713 h 10000"/>
                <a:gd name="connsiteX108" fmla="*/ 9682 w 10000"/>
                <a:gd name="connsiteY108" fmla="*/ 6540 h 10000"/>
                <a:gd name="connsiteX109" fmla="*/ 9614 w 10000"/>
                <a:gd name="connsiteY109" fmla="*/ 6401 h 10000"/>
                <a:gd name="connsiteX110" fmla="*/ 9409 w 10000"/>
                <a:gd name="connsiteY110" fmla="*/ 6436 h 10000"/>
                <a:gd name="connsiteX111" fmla="*/ 9364 w 10000"/>
                <a:gd name="connsiteY111" fmla="*/ 6540 h 10000"/>
                <a:gd name="connsiteX112" fmla="*/ 9295 w 10000"/>
                <a:gd name="connsiteY112" fmla="*/ 6678 h 10000"/>
                <a:gd name="connsiteX113" fmla="*/ 9295 w 10000"/>
                <a:gd name="connsiteY113" fmla="*/ 6505 h 10000"/>
                <a:gd name="connsiteX114" fmla="*/ 9227 w 10000"/>
                <a:gd name="connsiteY114" fmla="*/ 5848 h 10000"/>
                <a:gd name="connsiteX115" fmla="*/ 9273 w 10000"/>
                <a:gd name="connsiteY115" fmla="*/ 5813 h 10000"/>
                <a:gd name="connsiteX116" fmla="*/ 9182 w 10000"/>
                <a:gd name="connsiteY116" fmla="*/ 5779 h 10000"/>
                <a:gd name="connsiteX117" fmla="*/ 9318 w 10000"/>
                <a:gd name="connsiteY117" fmla="*/ 5225 h 10000"/>
                <a:gd name="connsiteX118" fmla="*/ 9568 w 10000"/>
                <a:gd name="connsiteY118" fmla="*/ 4775 h 10000"/>
                <a:gd name="connsiteX119" fmla="*/ 9841 w 10000"/>
                <a:gd name="connsiteY119" fmla="*/ 4775 h 10000"/>
                <a:gd name="connsiteX120" fmla="*/ 9932 w 10000"/>
                <a:gd name="connsiteY120" fmla="*/ 4394 h 10000"/>
                <a:gd name="connsiteX121" fmla="*/ 9636 w 10000"/>
                <a:gd name="connsiteY121" fmla="*/ 4014 h 10000"/>
                <a:gd name="connsiteX122" fmla="*/ 9409 w 10000"/>
                <a:gd name="connsiteY122" fmla="*/ 4394 h 10000"/>
                <a:gd name="connsiteX123" fmla="*/ 9000 w 10000"/>
                <a:gd name="connsiteY123" fmla="*/ 4325 h 10000"/>
                <a:gd name="connsiteX124" fmla="*/ 8773 w 10000"/>
                <a:gd name="connsiteY124" fmla="*/ 3841 h 10000"/>
                <a:gd name="connsiteX125" fmla="*/ 8432 w 10000"/>
                <a:gd name="connsiteY125" fmla="*/ 3841 h 10000"/>
                <a:gd name="connsiteX126" fmla="*/ 8386 w 10000"/>
                <a:gd name="connsiteY126" fmla="*/ 4256 h 10000"/>
                <a:gd name="connsiteX127" fmla="*/ 8295 w 10000"/>
                <a:gd name="connsiteY127" fmla="*/ 4567 h 10000"/>
                <a:gd name="connsiteX128" fmla="*/ 8068 w 10000"/>
                <a:gd name="connsiteY128" fmla="*/ 4637 h 10000"/>
                <a:gd name="connsiteX129" fmla="*/ 8068 w 10000"/>
                <a:gd name="connsiteY129" fmla="*/ 3910 h 10000"/>
                <a:gd name="connsiteX130" fmla="*/ 7705 w 10000"/>
                <a:gd name="connsiteY130" fmla="*/ 3322 h 10000"/>
                <a:gd name="connsiteX131" fmla="*/ 7273 w 10000"/>
                <a:gd name="connsiteY131" fmla="*/ 3737 h 10000"/>
                <a:gd name="connsiteX132" fmla="*/ 6955 w 10000"/>
                <a:gd name="connsiteY132" fmla="*/ 4187 h 10000"/>
                <a:gd name="connsiteX133" fmla="*/ 6818 w 10000"/>
                <a:gd name="connsiteY133" fmla="*/ 3841 h 10000"/>
                <a:gd name="connsiteX134" fmla="*/ 6523 w 10000"/>
                <a:gd name="connsiteY134" fmla="*/ 4291 h 10000"/>
                <a:gd name="connsiteX135" fmla="*/ 6182 w 10000"/>
                <a:gd name="connsiteY135" fmla="*/ 3633 h 10000"/>
                <a:gd name="connsiteX136" fmla="*/ 6409 w 10000"/>
                <a:gd name="connsiteY136" fmla="*/ 3356 h 10000"/>
                <a:gd name="connsiteX137" fmla="*/ 6409 w 10000"/>
                <a:gd name="connsiteY137" fmla="*/ 2976 h 10000"/>
                <a:gd name="connsiteX138" fmla="*/ 6500 w 10000"/>
                <a:gd name="connsiteY138" fmla="*/ 2353 h 10000"/>
                <a:gd name="connsiteX139" fmla="*/ 6182 w 10000"/>
                <a:gd name="connsiteY139" fmla="*/ 1834 h 10000"/>
                <a:gd name="connsiteX140" fmla="*/ 6136 w 10000"/>
                <a:gd name="connsiteY140" fmla="*/ 969 h 10000"/>
                <a:gd name="connsiteX141" fmla="*/ 5864 w 10000"/>
                <a:gd name="connsiteY141" fmla="*/ 208 h 10000"/>
                <a:gd name="connsiteX142" fmla="*/ 5455 w 10000"/>
                <a:gd name="connsiteY142" fmla="*/ 346 h 10000"/>
                <a:gd name="connsiteX143" fmla="*/ 5182 w 10000"/>
                <a:gd name="connsiteY143" fmla="*/ 865 h 10000"/>
                <a:gd name="connsiteX144" fmla="*/ 4318 w 10000"/>
                <a:gd name="connsiteY144" fmla="*/ 242 h 10000"/>
                <a:gd name="connsiteX145" fmla="*/ 3727 w 10000"/>
                <a:gd name="connsiteY145" fmla="*/ 0 h 10000"/>
                <a:gd name="connsiteX146" fmla="*/ 3500 w 10000"/>
                <a:gd name="connsiteY146" fmla="*/ 173 h 10000"/>
                <a:gd name="connsiteX147" fmla="*/ 3091 w 10000"/>
                <a:gd name="connsiteY147" fmla="*/ 588 h 10000"/>
                <a:gd name="connsiteX148" fmla="*/ 2727 w 10000"/>
                <a:gd name="connsiteY148" fmla="*/ 1107 h 10000"/>
                <a:gd name="connsiteX149" fmla="*/ 2659 w 10000"/>
                <a:gd name="connsiteY149" fmla="*/ 1522 h 10000"/>
                <a:gd name="connsiteX150" fmla="*/ 2250 w 10000"/>
                <a:gd name="connsiteY150" fmla="*/ 1522 h 10000"/>
                <a:gd name="connsiteX151" fmla="*/ 1136 w 10000"/>
                <a:gd name="connsiteY151" fmla="*/ 2215 h 10000"/>
                <a:gd name="connsiteX152" fmla="*/ 227 w 10000"/>
                <a:gd name="connsiteY152" fmla="*/ 2630 h 10000"/>
                <a:gd name="connsiteX153" fmla="*/ 341 w 10000"/>
                <a:gd name="connsiteY153" fmla="*/ 3391 h 10000"/>
                <a:gd name="connsiteX154" fmla="*/ 432 w 10000"/>
                <a:gd name="connsiteY154" fmla="*/ 3564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10000" h="10000">
                  <a:moveTo>
                    <a:pt x="432" y="3564"/>
                  </a:moveTo>
                  <a:cubicBezTo>
                    <a:pt x="440" y="3587"/>
                    <a:pt x="447" y="3610"/>
                    <a:pt x="455" y="3633"/>
                  </a:cubicBezTo>
                  <a:cubicBezTo>
                    <a:pt x="440" y="3645"/>
                    <a:pt x="424" y="3656"/>
                    <a:pt x="409" y="3668"/>
                  </a:cubicBezTo>
                  <a:lnTo>
                    <a:pt x="205" y="3910"/>
                  </a:lnTo>
                  <a:lnTo>
                    <a:pt x="205" y="4014"/>
                  </a:lnTo>
                  <a:lnTo>
                    <a:pt x="500" y="4152"/>
                  </a:lnTo>
                  <a:cubicBezTo>
                    <a:pt x="515" y="4164"/>
                    <a:pt x="530" y="4175"/>
                    <a:pt x="545" y="4187"/>
                  </a:cubicBezTo>
                  <a:lnTo>
                    <a:pt x="545" y="4221"/>
                  </a:lnTo>
                  <a:lnTo>
                    <a:pt x="545" y="4464"/>
                  </a:lnTo>
                  <a:lnTo>
                    <a:pt x="545" y="4498"/>
                  </a:lnTo>
                  <a:cubicBezTo>
                    <a:pt x="538" y="4510"/>
                    <a:pt x="530" y="4521"/>
                    <a:pt x="523" y="4533"/>
                  </a:cubicBezTo>
                  <a:lnTo>
                    <a:pt x="114" y="4983"/>
                  </a:lnTo>
                  <a:cubicBezTo>
                    <a:pt x="129" y="5018"/>
                    <a:pt x="144" y="5052"/>
                    <a:pt x="159" y="5087"/>
                  </a:cubicBezTo>
                  <a:lnTo>
                    <a:pt x="386" y="5329"/>
                  </a:lnTo>
                  <a:lnTo>
                    <a:pt x="386" y="5329"/>
                  </a:lnTo>
                  <a:lnTo>
                    <a:pt x="386" y="5329"/>
                  </a:lnTo>
                  <a:cubicBezTo>
                    <a:pt x="432" y="5421"/>
                    <a:pt x="477" y="5514"/>
                    <a:pt x="523" y="5606"/>
                  </a:cubicBezTo>
                  <a:lnTo>
                    <a:pt x="545" y="5606"/>
                  </a:lnTo>
                  <a:cubicBezTo>
                    <a:pt x="538" y="5617"/>
                    <a:pt x="530" y="5629"/>
                    <a:pt x="523" y="5640"/>
                  </a:cubicBezTo>
                  <a:cubicBezTo>
                    <a:pt x="493" y="5721"/>
                    <a:pt x="462" y="5801"/>
                    <a:pt x="432" y="5882"/>
                  </a:cubicBezTo>
                  <a:lnTo>
                    <a:pt x="432" y="5917"/>
                  </a:lnTo>
                  <a:lnTo>
                    <a:pt x="409" y="5917"/>
                  </a:lnTo>
                  <a:lnTo>
                    <a:pt x="273" y="6055"/>
                  </a:lnTo>
                  <a:lnTo>
                    <a:pt x="273" y="6263"/>
                  </a:lnTo>
                  <a:lnTo>
                    <a:pt x="477" y="6471"/>
                  </a:lnTo>
                  <a:cubicBezTo>
                    <a:pt x="492" y="6494"/>
                    <a:pt x="508" y="6517"/>
                    <a:pt x="523" y="6540"/>
                  </a:cubicBezTo>
                  <a:lnTo>
                    <a:pt x="477" y="6574"/>
                  </a:lnTo>
                  <a:lnTo>
                    <a:pt x="318" y="6782"/>
                  </a:lnTo>
                  <a:cubicBezTo>
                    <a:pt x="303" y="6840"/>
                    <a:pt x="288" y="6897"/>
                    <a:pt x="273" y="6955"/>
                  </a:cubicBezTo>
                  <a:lnTo>
                    <a:pt x="432" y="7197"/>
                  </a:lnTo>
                  <a:cubicBezTo>
                    <a:pt x="440" y="7209"/>
                    <a:pt x="447" y="7220"/>
                    <a:pt x="455" y="7232"/>
                  </a:cubicBezTo>
                  <a:cubicBezTo>
                    <a:pt x="447" y="7255"/>
                    <a:pt x="440" y="7278"/>
                    <a:pt x="432" y="7301"/>
                  </a:cubicBezTo>
                  <a:lnTo>
                    <a:pt x="364" y="7405"/>
                  </a:lnTo>
                  <a:lnTo>
                    <a:pt x="364" y="7405"/>
                  </a:lnTo>
                  <a:lnTo>
                    <a:pt x="341" y="7405"/>
                  </a:lnTo>
                  <a:lnTo>
                    <a:pt x="136" y="7509"/>
                  </a:lnTo>
                  <a:cubicBezTo>
                    <a:pt x="98" y="7613"/>
                    <a:pt x="61" y="7716"/>
                    <a:pt x="23" y="7820"/>
                  </a:cubicBezTo>
                  <a:cubicBezTo>
                    <a:pt x="15" y="8489"/>
                    <a:pt x="8" y="9158"/>
                    <a:pt x="0" y="9827"/>
                  </a:cubicBezTo>
                  <a:lnTo>
                    <a:pt x="727" y="9862"/>
                  </a:lnTo>
                  <a:lnTo>
                    <a:pt x="727" y="9862"/>
                  </a:lnTo>
                  <a:lnTo>
                    <a:pt x="727" y="9862"/>
                  </a:lnTo>
                  <a:lnTo>
                    <a:pt x="1227" y="10000"/>
                  </a:lnTo>
                  <a:lnTo>
                    <a:pt x="1386" y="9896"/>
                  </a:lnTo>
                  <a:cubicBezTo>
                    <a:pt x="1454" y="9723"/>
                    <a:pt x="1523" y="9550"/>
                    <a:pt x="1591" y="9377"/>
                  </a:cubicBezTo>
                  <a:cubicBezTo>
                    <a:pt x="1599" y="9354"/>
                    <a:pt x="1606" y="9331"/>
                    <a:pt x="1614" y="9308"/>
                  </a:cubicBezTo>
                  <a:cubicBezTo>
                    <a:pt x="1629" y="9320"/>
                    <a:pt x="1644" y="9331"/>
                    <a:pt x="1659" y="9343"/>
                  </a:cubicBezTo>
                  <a:lnTo>
                    <a:pt x="2091" y="9792"/>
                  </a:lnTo>
                  <a:lnTo>
                    <a:pt x="3341" y="8270"/>
                  </a:lnTo>
                  <a:lnTo>
                    <a:pt x="3341" y="7682"/>
                  </a:lnTo>
                  <a:lnTo>
                    <a:pt x="2977" y="6574"/>
                  </a:lnTo>
                  <a:cubicBezTo>
                    <a:pt x="2970" y="6563"/>
                    <a:pt x="2962" y="6551"/>
                    <a:pt x="2955" y="6540"/>
                  </a:cubicBezTo>
                  <a:cubicBezTo>
                    <a:pt x="2962" y="6528"/>
                    <a:pt x="2970" y="6517"/>
                    <a:pt x="2977" y="6505"/>
                  </a:cubicBezTo>
                  <a:lnTo>
                    <a:pt x="3341" y="5882"/>
                  </a:lnTo>
                  <a:cubicBezTo>
                    <a:pt x="3349" y="5871"/>
                    <a:pt x="3356" y="5859"/>
                    <a:pt x="3364" y="5848"/>
                  </a:cubicBezTo>
                  <a:lnTo>
                    <a:pt x="3364" y="5848"/>
                  </a:lnTo>
                  <a:lnTo>
                    <a:pt x="3818" y="5675"/>
                  </a:lnTo>
                  <a:lnTo>
                    <a:pt x="3818" y="5675"/>
                  </a:lnTo>
                  <a:lnTo>
                    <a:pt x="3841" y="5675"/>
                  </a:lnTo>
                  <a:lnTo>
                    <a:pt x="4136" y="5813"/>
                  </a:lnTo>
                  <a:lnTo>
                    <a:pt x="4409" y="5502"/>
                  </a:lnTo>
                  <a:lnTo>
                    <a:pt x="4409" y="5502"/>
                  </a:lnTo>
                  <a:lnTo>
                    <a:pt x="4432" y="5502"/>
                  </a:lnTo>
                  <a:lnTo>
                    <a:pt x="4764" y="5634"/>
                  </a:lnTo>
                  <a:cubicBezTo>
                    <a:pt x="4787" y="5795"/>
                    <a:pt x="4756" y="5950"/>
                    <a:pt x="4779" y="6111"/>
                  </a:cubicBezTo>
                  <a:lnTo>
                    <a:pt x="5182" y="6263"/>
                  </a:lnTo>
                  <a:lnTo>
                    <a:pt x="5182" y="6263"/>
                  </a:lnTo>
                  <a:lnTo>
                    <a:pt x="5182" y="6263"/>
                  </a:lnTo>
                  <a:lnTo>
                    <a:pt x="5455" y="6817"/>
                  </a:lnTo>
                  <a:lnTo>
                    <a:pt x="5659" y="6436"/>
                  </a:lnTo>
                  <a:cubicBezTo>
                    <a:pt x="5674" y="6424"/>
                    <a:pt x="5690" y="6413"/>
                    <a:pt x="5705" y="6401"/>
                  </a:cubicBezTo>
                  <a:lnTo>
                    <a:pt x="5705" y="6401"/>
                  </a:lnTo>
                  <a:cubicBezTo>
                    <a:pt x="5795" y="6401"/>
                    <a:pt x="6318" y="6367"/>
                    <a:pt x="6409" y="6644"/>
                  </a:cubicBezTo>
                  <a:cubicBezTo>
                    <a:pt x="6455" y="6678"/>
                    <a:pt x="6682" y="6644"/>
                    <a:pt x="6886" y="6574"/>
                  </a:cubicBezTo>
                  <a:lnTo>
                    <a:pt x="6909" y="6574"/>
                  </a:lnTo>
                  <a:cubicBezTo>
                    <a:pt x="6917" y="6586"/>
                    <a:pt x="6924" y="6597"/>
                    <a:pt x="6932" y="6609"/>
                  </a:cubicBezTo>
                  <a:lnTo>
                    <a:pt x="7250" y="7128"/>
                  </a:lnTo>
                  <a:lnTo>
                    <a:pt x="7250" y="7128"/>
                  </a:lnTo>
                  <a:lnTo>
                    <a:pt x="7250" y="7128"/>
                  </a:lnTo>
                  <a:lnTo>
                    <a:pt x="7523" y="7716"/>
                  </a:lnTo>
                  <a:cubicBezTo>
                    <a:pt x="7636" y="7682"/>
                    <a:pt x="8068" y="7543"/>
                    <a:pt x="8068" y="7543"/>
                  </a:cubicBezTo>
                  <a:lnTo>
                    <a:pt x="8568" y="7370"/>
                  </a:lnTo>
                  <a:lnTo>
                    <a:pt x="8614" y="7370"/>
                  </a:lnTo>
                  <a:lnTo>
                    <a:pt x="8614" y="7405"/>
                  </a:lnTo>
                  <a:lnTo>
                    <a:pt x="8818" y="8028"/>
                  </a:lnTo>
                  <a:lnTo>
                    <a:pt x="8977" y="8062"/>
                  </a:lnTo>
                  <a:lnTo>
                    <a:pt x="9000" y="8062"/>
                  </a:lnTo>
                  <a:lnTo>
                    <a:pt x="9000" y="8062"/>
                  </a:lnTo>
                  <a:lnTo>
                    <a:pt x="9409" y="8235"/>
                  </a:lnTo>
                  <a:cubicBezTo>
                    <a:pt x="9409" y="8235"/>
                    <a:pt x="9500" y="8235"/>
                    <a:pt x="9932" y="8304"/>
                  </a:cubicBezTo>
                  <a:cubicBezTo>
                    <a:pt x="9924" y="8258"/>
                    <a:pt x="9917" y="8212"/>
                    <a:pt x="9909" y="8166"/>
                  </a:cubicBezTo>
                  <a:cubicBezTo>
                    <a:pt x="9864" y="8062"/>
                    <a:pt x="9818" y="7959"/>
                    <a:pt x="9773" y="7855"/>
                  </a:cubicBezTo>
                  <a:cubicBezTo>
                    <a:pt x="9758" y="7820"/>
                    <a:pt x="9742" y="7786"/>
                    <a:pt x="9727" y="7751"/>
                  </a:cubicBezTo>
                  <a:lnTo>
                    <a:pt x="9795" y="7751"/>
                  </a:lnTo>
                  <a:lnTo>
                    <a:pt x="10000" y="7682"/>
                  </a:lnTo>
                  <a:lnTo>
                    <a:pt x="10000" y="7474"/>
                  </a:lnTo>
                  <a:lnTo>
                    <a:pt x="9886" y="7370"/>
                  </a:lnTo>
                  <a:lnTo>
                    <a:pt x="9705" y="7405"/>
                  </a:lnTo>
                  <a:lnTo>
                    <a:pt x="9682" y="7405"/>
                  </a:lnTo>
                  <a:cubicBezTo>
                    <a:pt x="9674" y="7393"/>
                    <a:pt x="9667" y="7382"/>
                    <a:pt x="9659" y="7370"/>
                  </a:cubicBezTo>
                  <a:lnTo>
                    <a:pt x="9477" y="7163"/>
                  </a:lnTo>
                  <a:lnTo>
                    <a:pt x="9477" y="7163"/>
                  </a:lnTo>
                  <a:cubicBezTo>
                    <a:pt x="9470" y="7151"/>
                    <a:pt x="9462" y="7140"/>
                    <a:pt x="9455" y="7128"/>
                  </a:cubicBezTo>
                  <a:cubicBezTo>
                    <a:pt x="9447" y="7082"/>
                    <a:pt x="9440" y="7036"/>
                    <a:pt x="9432" y="6990"/>
                  </a:cubicBezTo>
                  <a:cubicBezTo>
                    <a:pt x="9424" y="6978"/>
                    <a:pt x="9417" y="6967"/>
                    <a:pt x="9409" y="6955"/>
                  </a:cubicBezTo>
                  <a:cubicBezTo>
                    <a:pt x="9417" y="6943"/>
                    <a:pt x="9424" y="6932"/>
                    <a:pt x="9432" y="6920"/>
                  </a:cubicBezTo>
                  <a:cubicBezTo>
                    <a:pt x="9470" y="6851"/>
                    <a:pt x="9507" y="6782"/>
                    <a:pt x="9545" y="6713"/>
                  </a:cubicBezTo>
                  <a:lnTo>
                    <a:pt x="9545" y="6713"/>
                  </a:lnTo>
                  <a:lnTo>
                    <a:pt x="9545" y="6713"/>
                  </a:lnTo>
                  <a:lnTo>
                    <a:pt x="9682" y="6540"/>
                  </a:lnTo>
                  <a:cubicBezTo>
                    <a:pt x="9659" y="6494"/>
                    <a:pt x="9637" y="6447"/>
                    <a:pt x="9614" y="6401"/>
                  </a:cubicBezTo>
                  <a:lnTo>
                    <a:pt x="9409" y="6436"/>
                  </a:lnTo>
                  <a:cubicBezTo>
                    <a:pt x="9394" y="6471"/>
                    <a:pt x="9379" y="6505"/>
                    <a:pt x="9364" y="6540"/>
                  </a:cubicBezTo>
                  <a:lnTo>
                    <a:pt x="9295" y="6678"/>
                  </a:lnTo>
                  <a:lnTo>
                    <a:pt x="9295" y="6505"/>
                  </a:lnTo>
                  <a:cubicBezTo>
                    <a:pt x="9272" y="6286"/>
                    <a:pt x="9250" y="6067"/>
                    <a:pt x="9227" y="5848"/>
                  </a:cubicBezTo>
                  <a:cubicBezTo>
                    <a:pt x="9242" y="5836"/>
                    <a:pt x="9258" y="5825"/>
                    <a:pt x="9273" y="5813"/>
                  </a:cubicBezTo>
                  <a:lnTo>
                    <a:pt x="9182" y="5779"/>
                  </a:lnTo>
                  <a:cubicBezTo>
                    <a:pt x="9227" y="5594"/>
                    <a:pt x="9273" y="5410"/>
                    <a:pt x="9318" y="5225"/>
                  </a:cubicBezTo>
                  <a:lnTo>
                    <a:pt x="9568" y="4775"/>
                  </a:lnTo>
                  <a:lnTo>
                    <a:pt x="9841" y="4775"/>
                  </a:lnTo>
                  <a:cubicBezTo>
                    <a:pt x="9871" y="4648"/>
                    <a:pt x="9902" y="4521"/>
                    <a:pt x="9932" y="4394"/>
                  </a:cubicBezTo>
                  <a:lnTo>
                    <a:pt x="9636" y="4014"/>
                  </a:lnTo>
                  <a:lnTo>
                    <a:pt x="9409" y="4394"/>
                  </a:lnTo>
                  <a:lnTo>
                    <a:pt x="9000" y="4325"/>
                  </a:lnTo>
                  <a:cubicBezTo>
                    <a:pt x="8924" y="4164"/>
                    <a:pt x="8849" y="4002"/>
                    <a:pt x="8773" y="3841"/>
                  </a:cubicBezTo>
                  <a:lnTo>
                    <a:pt x="8432" y="3841"/>
                  </a:lnTo>
                  <a:cubicBezTo>
                    <a:pt x="8417" y="3979"/>
                    <a:pt x="8401" y="4118"/>
                    <a:pt x="8386" y="4256"/>
                  </a:cubicBezTo>
                  <a:cubicBezTo>
                    <a:pt x="8356" y="4360"/>
                    <a:pt x="8325" y="4463"/>
                    <a:pt x="8295" y="4567"/>
                  </a:cubicBezTo>
                  <a:lnTo>
                    <a:pt x="8068" y="4637"/>
                  </a:lnTo>
                  <a:lnTo>
                    <a:pt x="8068" y="3910"/>
                  </a:lnTo>
                  <a:lnTo>
                    <a:pt x="7705" y="3322"/>
                  </a:lnTo>
                  <a:lnTo>
                    <a:pt x="7273" y="3737"/>
                  </a:lnTo>
                  <a:lnTo>
                    <a:pt x="6955" y="4187"/>
                  </a:lnTo>
                  <a:cubicBezTo>
                    <a:pt x="6909" y="4072"/>
                    <a:pt x="6864" y="3956"/>
                    <a:pt x="6818" y="3841"/>
                  </a:cubicBezTo>
                  <a:lnTo>
                    <a:pt x="6523" y="4291"/>
                  </a:lnTo>
                  <a:lnTo>
                    <a:pt x="6182" y="3633"/>
                  </a:lnTo>
                  <a:lnTo>
                    <a:pt x="6409" y="3356"/>
                  </a:lnTo>
                  <a:lnTo>
                    <a:pt x="6409" y="2976"/>
                  </a:lnTo>
                  <a:cubicBezTo>
                    <a:pt x="6439" y="2768"/>
                    <a:pt x="6470" y="2561"/>
                    <a:pt x="6500" y="2353"/>
                  </a:cubicBezTo>
                  <a:lnTo>
                    <a:pt x="6182" y="1834"/>
                  </a:lnTo>
                  <a:cubicBezTo>
                    <a:pt x="6167" y="1546"/>
                    <a:pt x="6151" y="1257"/>
                    <a:pt x="6136" y="969"/>
                  </a:cubicBezTo>
                  <a:lnTo>
                    <a:pt x="5864" y="208"/>
                  </a:lnTo>
                  <a:lnTo>
                    <a:pt x="5455" y="346"/>
                  </a:lnTo>
                  <a:lnTo>
                    <a:pt x="5182" y="865"/>
                  </a:lnTo>
                  <a:lnTo>
                    <a:pt x="4318" y="242"/>
                  </a:lnTo>
                  <a:lnTo>
                    <a:pt x="3727" y="0"/>
                  </a:lnTo>
                  <a:lnTo>
                    <a:pt x="3500" y="173"/>
                  </a:lnTo>
                  <a:lnTo>
                    <a:pt x="3091" y="588"/>
                  </a:lnTo>
                  <a:lnTo>
                    <a:pt x="2727" y="1107"/>
                  </a:lnTo>
                  <a:cubicBezTo>
                    <a:pt x="2704" y="1245"/>
                    <a:pt x="2682" y="1384"/>
                    <a:pt x="2659" y="1522"/>
                  </a:cubicBezTo>
                  <a:lnTo>
                    <a:pt x="2250" y="1522"/>
                  </a:lnTo>
                  <a:lnTo>
                    <a:pt x="1136" y="2215"/>
                  </a:lnTo>
                  <a:lnTo>
                    <a:pt x="227" y="2630"/>
                  </a:lnTo>
                  <a:lnTo>
                    <a:pt x="341" y="3391"/>
                  </a:lnTo>
                  <a:cubicBezTo>
                    <a:pt x="371" y="3449"/>
                    <a:pt x="402" y="3506"/>
                    <a:pt x="432" y="3564"/>
                  </a:cubicBezTo>
                  <a:close/>
                </a:path>
              </a:pathLst>
            </a:custGeom>
            <a:solidFill>
              <a:srgbClr val="00B05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2000" tIns="72000" rIns="72000" bIns="72000" anchor="ctr"/>
            <a:lstStyle/>
            <a:p>
              <a:pPr algn="ctr" defTabSz="914308">
                <a:defRPr/>
              </a:pPr>
              <a:endParaRPr lang="ru-RU" sz="1200" kern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375" name="Freeform 169">
              <a:extLst/>
            </p:cNvPr>
            <p:cNvSpPr>
              <a:spLocks/>
            </p:cNvSpPr>
            <p:nvPr/>
          </p:nvSpPr>
          <p:spPr bwMode="auto">
            <a:xfrm>
              <a:off x="4356548" y="1785601"/>
              <a:ext cx="1585404" cy="1043586"/>
            </a:xfrm>
            <a:custGeom>
              <a:avLst/>
              <a:gdLst>
                <a:gd name="T0" fmla="*/ 179 w 498"/>
                <a:gd name="T1" fmla="*/ 273 h 330"/>
                <a:gd name="T2" fmla="*/ 198 w 498"/>
                <a:gd name="T3" fmla="*/ 272 h 330"/>
                <a:gd name="T4" fmla="*/ 218 w 498"/>
                <a:gd name="T5" fmla="*/ 299 h 330"/>
                <a:gd name="T6" fmla="*/ 248 w 498"/>
                <a:gd name="T7" fmla="*/ 304 h 330"/>
                <a:gd name="T8" fmla="*/ 260 w 498"/>
                <a:gd name="T9" fmla="*/ 321 h 330"/>
                <a:gd name="T10" fmla="*/ 275 w 498"/>
                <a:gd name="T11" fmla="*/ 322 h 330"/>
                <a:gd name="T12" fmla="*/ 286 w 498"/>
                <a:gd name="T13" fmla="*/ 330 h 330"/>
                <a:gd name="T14" fmla="*/ 314 w 498"/>
                <a:gd name="T15" fmla="*/ 305 h 330"/>
                <a:gd name="T16" fmla="*/ 335 w 498"/>
                <a:gd name="T17" fmla="*/ 286 h 330"/>
                <a:gd name="T18" fmla="*/ 364 w 498"/>
                <a:gd name="T19" fmla="*/ 266 h 330"/>
                <a:gd name="T20" fmla="*/ 378 w 498"/>
                <a:gd name="T21" fmla="*/ 271 h 330"/>
                <a:gd name="T22" fmla="*/ 407 w 498"/>
                <a:gd name="T23" fmla="*/ 280 h 330"/>
                <a:gd name="T24" fmla="*/ 425 w 498"/>
                <a:gd name="T25" fmla="*/ 269 h 330"/>
                <a:gd name="T26" fmla="*/ 432 w 498"/>
                <a:gd name="T27" fmla="*/ 251 h 330"/>
                <a:gd name="T28" fmla="*/ 457 w 498"/>
                <a:gd name="T29" fmla="*/ 236 h 330"/>
                <a:gd name="T30" fmla="*/ 471 w 498"/>
                <a:gd name="T31" fmla="*/ 228 h 330"/>
                <a:gd name="T32" fmla="*/ 491 w 498"/>
                <a:gd name="T33" fmla="*/ 222 h 330"/>
                <a:gd name="T34" fmla="*/ 489 w 498"/>
                <a:gd name="T35" fmla="*/ 220 h 330"/>
                <a:gd name="T36" fmla="*/ 475 w 498"/>
                <a:gd name="T37" fmla="*/ 210 h 330"/>
                <a:gd name="T38" fmla="*/ 492 w 498"/>
                <a:gd name="T39" fmla="*/ 183 h 330"/>
                <a:gd name="T40" fmla="*/ 488 w 498"/>
                <a:gd name="T41" fmla="*/ 167 h 330"/>
                <a:gd name="T42" fmla="*/ 486 w 498"/>
                <a:gd name="T43" fmla="*/ 156 h 330"/>
                <a:gd name="T44" fmla="*/ 494 w 498"/>
                <a:gd name="T45" fmla="*/ 142 h 330"/>
                <a:gd name="T46" fmla="*/ 482 w 498"/>
                <a:gd name="T47" fmla="*/ 81 h 330"/>
                <a:gd name="T48" fmla="*/ 457 w 498"/>
                <a:gd name="T49" fmla="*/ 79 h 330"/>
                <a:gd name="T50" fmla="*/ 457 w 498"/>
                <a:gd name="T51" fmla="*/ 79 h 330"/>
                <a:gd name="T52" fmla="*/ 429 w 498"/>
                <a:gd name="T53" fmla="*/ 73 h 330"/>
                <a:gd name="T54" fmla="*/ 400 w 498"/>
                <a:gd name="T55" fmla="*/ 59 h 330"/>
                <a:gd name="T56" fmla="*/ 372 w 498"/>
                <a:gd name="T57" fmla="*/ 64 h 330"/>
                <a:gd name="T58" fmla="*/ 322 w 498"/>
                <a:gd name="T59" fmla="*/ 31 h 330"/>
                <a:gd name="T60" fmla="*/ 284 w 498"/>
                <a:gd name="T61" fmla="*/ 40 h 330"/>
                <a:gd name="T62" fmla="*/ 258 w 498"/>
                <a:gd name="T63" fmla="*/ 17 h 330"/>
                <a:gd name="T64" fmla="*/ 255 w 498"/>
                <a:gd name="T65" fmla="*/ 4 h 330"/>
                <a:gd name="T66" fmla="*/ 227 w 498"/>
                <a:gd name="T67" fmla="*/ 11 h 330"/>
                <a:gd name="T68" fmla="*/ 194 w 498"/>
                <a:gd name="T69" fmla="*/ 11 h 330"/>
                <a:gd name="T70" fmla="*/ 195 w 498"/>
                <a:gd name="T71" fmla="*/ 59 h 330"/>
                <a:gd name="T72" fmla="*/ 195 w 498"/>
                <a:gd name="T73" fmla="*/ 78 h 330"/>
                <a:gd name="T74" fmla="*/ 136 w 498"/>
                <a:gd name="T75" fmla="*/ 125 h 330"/>
                <a:gd name="T76" fmla="*/ 109 w 498"/>
                <a:gd name="T77" fmla="*/ 126 h 330"/>
                <a:gd name="T78" fmla="*/ 99 w 498"/>
                <a:gd name="T79" fmla="*/ 130 h 330"/>
                <a:gd name="T80" fmla="*/ 76 w 498"/>
                <a:gd name="T81" fmla="*/ 126 h 330"/>
                <a:gd name="T82" fmla="*/ 28 w 498"/>
                <a:gd name="T83" fmla="*/ 155 h 330"/>
                <a:gd name="T84" fmla="*/ 12 w 498"/>
                <a:gd name="T85" fmla="*/ 199 h 330"/>
                <a:gd name="T86" fmla="*/ 12 w 498"/>
                <a:gd name="T87" fmla="*/ 245 h 330"/>
                <a:gd name="T88" fmla="*/ 43 w 498"/>
                <a:gd name="T89" fmla="*/ 246 h 330"/>
                <a:gd name="T90" fmla="*/ 86 w 498"/>
                <a:gd name="T91" fmla="*/ 267 h 330"/>
                <a:gd name="T92" fmla="*/ 116 w 498"/>
                <a:gd name="T93" fmla="*/ 296 h 330"/>
                <a:gd name="T94" fmla="*/ 167 w 498"/>
                <a:gd name="T95" fmla="*/ 290 h 330"/>
                <a:gd name="connsiteX0" fmla="*/ 3353 w 10000"/>
                <a:gd name="connsiteY0" fmla="*/ 8788 h 10000"/>
                <a:gd name="connsiteX1" fmla="*/ 3534 w 10000"/>
                <a:gd name="connsiteY1" fmla="*/ 8485 h 10000"/>
                <a:gd name="connsiteX2" fmla="*/ 3594 w 10000"/>
                <a:gd name="connsiteY2" fmla="*/ 8273 h 10000"/>
                <a:gd name="connsiteX3" fmla="*/ 3594 w 10000"/>
                <a:gd name="connsiteY3" fmla="*/ 8242 h 10000"/>
                <a:gd name="connsiteX4" fmla="*/ 3635 w 10000"/>
                <a:gd name="connsiteY4" fmla="*/ 8242 h 10000"/>
                <a:gd name="connsiteX5" fmla="*/ 3976 w 10000"/>
                <a:gd name="connsiteY5" fmla="*/ 8242 h 10000"/>
                <a:gd name="connsiteX6" fmla="*/ 3996 w 10000"/>
                <a:gd name="connsiteY6" fmla="*/ 8242 h 10000"/>
                <a:gd name="connsiteX7" fmla="*/ 4016 w 10000"/>
                <a:gd name="connsiteY7" fmla="*/ 8273 h 10000"/>
                <a:gd name="connsiteX8" fmla="*/ 4378 w 10000"/>
                <a:gd name="connsiteY8" fmla="*/ 9061 h 10000"/>
                <a:gd name="connsiteX9" fmla="*/ 4940 w 10000"/>
                <a:gd name="connsiteY9" fmla="*/ 9182 h 10000"/>
                <a:gd name="connsiteX10" fmla="*/ 4960 w 10000"/>
                <a:gd name="connsiteY10" fmla="*/ 9182 h 10000"/>
                <a:gd name="connsiteX11" fmla="*/ 4980 w 10000"/>
                <a:gd name="connsiteY11" fmla="*/ 9212 h 10000"/>
                <a:gd name="connsiteX12" fmla="*/ 5060 w 10000"/>
                <a:gd name="connsiteY12" fmla="*/ 9818 h 10000"/>
                <a:gd name="connsiteX13" fmla="*/ 5221 w 10000"/>
                <a:gd name="connsiteY13" fmla="*/ 9818 h 10000"/>
                <a:gd name="connsiteX14" fmla="*/ 5221 w 10000"/>
                <a:gd name="connsiteY14" fmla="*/ 9727 h 10000"/>
                <a:gd name="connsiteX15" fmla="*/ 5241 w 10000"/>
                <a:gd name="connsiteY15" fmla="*/ 9636 h 10000"/>
                <a:gd name="connsiteX16" fmla="*/ 5281 w 10000"/>
                <a:gd name="connsiteY16" fmla="*/ 9667 h 10000"/>
                <a:gd name="connsiteX17" fmla="*/ 5522 w 10000"/>
                <a:gd name="connsiteY17" fmla="*/ 9758 h 10000"/>
                <a:gd name="connsiteX18" fmla="*/ 5542 w 10000"/>
                <a:gd name="connsiteY18" fmla="*/ 9758 h 10000"/>
                <a:gd name="connsiteX19" fmla="*/ 5542 w 10000"/>
                <a:gd name="connsiteY19" fmla="*/ 9758 h 10000"/>
                <a:gd name="connsiteX20" fmla="*/ 5743 w 10000"/>
                <a:gd name="connsiteY20" fmla="*/ 10000 h 10000"/>
                <a:gd name="connsiteX21" fmla="*/ 6084 w 10000"/>
                <a:gd name="connsiteY21" fmla="*/ 10000 h 10000"/>
                <a:gd name="connsiteX22" fmla="*/ 6305 w 10000"/>
                <a:gd name="connsiteY22" fmla="*/ 9758 h 10000"/>
                <a:gd name="connsiteX23" fmla="*/ 6305 w 10000"/>
                <a:gd name="connsiteY23" fmla="*/ 9242 h 10000"/>
                <a:gd name="connsiteX24" fmla="*/ 6305 w 10000"/>
                <a:gd name="connsiteY24" fmla="*/ 9242 h 10000"/>
                <a:gd name="connsiteX25" fmla="*/ 6325 w 10000"/>
                <a:gd name="connsiteY25" fmla="*/ 9212 h 10000"/>
                <a:gd name="connsiteX26" fmla="*/ 6727 w 10000"/>
                <a:gd name="connsiteY26" fmla="*/ 8667 h 10000"/>
                <a:gd name="connsiteX27" fmla="*/ 7269 w 10000"/>
                <a:gd name="connsiteY27" fmla="*/ 8061 h 10000"/>
                <a:gd name="connsiteX28" fmla="*/ 7289 w 10000"/>
                <a:gd name="connsiteY28" fmla="*/ 8061 h 10000"/>
                <a:gd name="connsiteX29" fmla="*/ 7309 w 10000"/>
                <a:gd name="connsiteY29" fmla="*/ 8061 h 10000"/>
                <a:gd name="connsiteX30" fmla="*/ 7550 w 10000"/>
                <a:gd name="connsiteY30" fmla="*/ 8152 h 10000"/>
                <a:gd name="connsiteX31" fmla="*/ 7570 w 10000"/>
                <a:gd name="connsiteY31" fmla="*/ 8152 h 10000"/>
                <a:gd name="connsiteX32" fmla="*/ 7590 w 10000"/>
                <a:gd name="connsiteY32" fmla="*/ 8212 h 10000"/>
                <a:gd name="connsiteX33" fmla="*/ 7631 w 10000"/>
                <a:gd name="connsiteY33" fmla="*/ 8939 h 10000"/>
                <a:gd name="connsiteX34" fmla="*/ 7932 w 10000"/>
                <a:gd name="connsiteY34" fmla="*/ 8970 h 10000"/>
                <a:gd name="connsiteX35" fmla="*/ 8173 w 10000"/>
                <a:gd name="connsiteY35" fmla="*/ 8485 h 10000"/>
                <a:gd name="connsiteX36" fmla="*/ 8173 w 10000"/>
                <a:gd name="connsiteY36" fmla="*/ 8485 h 10000"/>
                <a:gd name="connsiteX37" fmla="*/ 8193 w 10000"/>
                <a:gd name="connsiteY37" fmla="*/ 8485 h 10000"/>
                <a:gd name="connsiteX38" fmla="*/ 8534 w 10000"/>
                <a:gd name="connsiteY38" fmla="*/ 8152 h 10000"/>
                <a:gd name="connsiteX39" fmla="*/ 8635 w 10000"/>
                <a:gd name="connsiteY39" fmla="*/ 7667 h 10000"/>
                <a:gd name="connsiteX40" fmla="*/ 8655 w 10000"/>
                <a:gd name="connsiteY40" fmla="*/ 7606 h 10000"/>
                <a:gd name="connsiteX41" fmla="*/ 8675 w 10000"/>
                <a:gd name="connsiteY41" fmla="*/ 7606 h 10000"/>
                <a:gd name="connsiteX42" fmla="*/ 9036 w 10000"/>
                <a:gd name="connsiteY42" fmla="*/ 7545 h 10000"/>
                <a:gd name="connsiteX43" fmla="*/ 9177 w 10000"/>
                <a:gd name="connsiteY43" fmla="*/ 7182 h 10000"/>
                <a:gd name="connsiteX44" fmla="*/ 9177 w 10000"/>
                <a:gd name="connsiteY44" fmla="*/ 7152 h 10000"/>
                <a:gd name="connsiteX45" fmla="*/ 9177 w 10000"/>
                <a:gd name="connsiteY45" fmla="*/ 7152 h 10000"/>
                <a:gd name="connsiteX46" fmla="*/ 9458 w 10000"/>
                <a:gd name="connsiteY46" fmla="*/ 6909 h 10000"/>
                <a:gd name="connsiteX47" fmla="*/ 9458 w 10000"/>
                <a:gd name="connsiteY47" fmla="*/ 6909 h 10000"/>
                <a:gd name="connsiteX48" fmla="*/ 9458 w 10000"/>
                <a:gd name="connsiteY48" fmla="*/ 6909 h 10000"/>
                <a:gd name="connsiteX49" fmla="*/ 9699 w 10000"/>
                <a:gd name="connsiteY49" fmla="*/ 6848 h 10000"/>
                <a:gd name="connsiteX50" fmla="*/ 9859 w 10000"/>
                <a:gd name="connsiteY50" fmla="*/ 6727 h 10000"/>
                <a:gd name="connsiteX51" fmla="*/ 9839 w 10000"/>
                <a:gd name="connsiteY51" fmla="*/ 6667 h 10000"/>
                <a:gd name="connsiteX52" fmla="*/ 9819 w 10000"/>
                <a:gd name="connsiteY52" fmla="*/ 6667 h 10000"/>
                <a:gd name="connsiteX53" fmla="*/ 9819 w 10000"/>
                <a:gd name="connsiteY53" fmla="*/ 6667 h 10000"/>
                <a:gd name="connsiteX54" fmla="*/ 9779 w 10000"/>
                <a:gd name="connsiteY54" fmla="*/ 6424 h 10000"/>
                <a:gd name="connsiteX55" fmla="*/ 9598 w 10000"/>
                <a:gd name="connsiteY55" fmla="*/ 6394 h 10000"/>
                <a:gd name="connsiteX56" fmla="*/ 9538 w 10000"/>
                <a:gd name="connsiteY56" fmla="*/ 6364 h 10000"/>
                <a:gd name="connsiteX57" fmla="*/ 9578 w 10000"/>
                <a:gd name="connsiteY57" fmla="*/ 6303 h 10000"/>
                <a:gd name="connsiteX58" fmla="*/ 9859 w 10000"/>
                <a:gd name="connsiteY58" fmla="*/ 5545 h 10000"/>
                <a:gd name="connsiteX59" fmla="*/ 9880 w 10000"/>
                <a:gd name="connsiteY59" fmla="*/ 5545 h 10000"/>
                <a:gd name="connsiteX60" fmla="*/ 9880 w 10000"/>
                <a:gd name="connsiteY60" fmla="*/ 5515 h 10000"/>
                <a:gd name="connsiteX61" fmla="*/ 10000 w 10000"/>
                <a:gd name="connsiteY61" fmla="*/ 5424 h 10000"/>
                <a:gd name="connsiteX62" fmla="*/ 9799 w 10000"/>
                <a:gd name="connsiteY62" fmla="*/ 5061 h 10000"/>
                <a:gd name="connsiteX63" fmla="*/ 9779 w 10000"/>
                <a:gd name="connsiteY63" fmla="*/ 5030 h 10000"/>
                <a:gd name="connsiteX64" fmla="*/ 9779 w 10000"/>
                <a:gd name="connsiteY64" fmla="*/ 5030 h 10000"/>
                <a:gd name="connsiteX65" fmla="*/ 9759 w 10000"/>
                <a:gd name="connsiteY65" fmla="*/ 4727 h 10000"/>
                <a:gd name="connsiteX66" fmla="*/ 9759 w 10000"/>
                <a:gd name="connsiteY66" fmla="*/ 4727 h 10000"/>
                <a:gd name="connsiteX67" fmla="*/ 9759 w 10000"/>
                <a:gd name="connsiteY67" fmla="*/ 4697 h 10000"/>
                <a:gd name="connsiteX68" fmla="*/ 9920 w 10000"/>
                <a:gd name="connsiteY68" fmla="*/ 4303 h 10000"/>
                <a:gd name="connsiteX69" fmla="*/ 9920 w 10000"/>
                <a:gd name="connsiteY69" fmla="*/ 3333 h 10000"/>
                <a:gd name="connsiteX70" fmla="*/ 9719 w 10000"/>
                <a:gd name="connsiteY70" fmla="*/ 2606 h 10000"/>
                <a:gd name="connsiteX71" fmla="*/ 9679 w 10000"/>
                <a:gd name="connsiteY71" fmla="*/ 2455 h 10000"/>
                <a:gd name="connsiteX72" fmla="*/ 9257 w 10000"/>
                <a:gd name="connsiteY72" fmla="*/ 2394 h 10000"/>
                <a:gd name="connsiteX73" fmla="*/ 9177 w 10000"/>
                <a:gd name="connsiteY73" fmla="*/ 2394 h 10000"/>
                <a:gd name="connsiteX74" fmla="*/ 9177 w 10000"/>
                <a:gd name="connsiteY74" fmla="*/ 2394 h 10000"/>
                <a:gd name="connsiteX75" fmla="*/ 9177 w 10000"/>
                <a:gd name="connsiteY75" fmla="*/ 2394 h 10000"/>
                <a:gd name="connsiteX76" fmla="*/ 9177 w 10000"/>
                <a:gd name="connsiteY76" fmla="*/ 2394 h 10000"/>
                <a:gd name="connsiteX77" fmla="*/ 9177 w 10000"/>
                <a:gd name="connsiteY77" fmla="*/ 2394 h 10000"/>
                <a:gd name="connsiteX78" fmla="*/ 8815 w 10000"/>
                <a:gd name="connsiteY78" fmla="*/ 2242 h 10000"/>
                <a:gd name="connsiteX79" fmla="*/ 8635 w 10000"/>
                <a:gd name="connsiteY79" fmla="*/ 2212 h 10000"/>
                <a:gd name="connsiteX80" fmla="*/ 8614 w 10000"/>
                <a:gd name="connsiteY80" fmla="*/ 2212 h 10000"/>
                <a:gd name="connsiteX81" fmla="*/ 8614 w 10000"/>
                <a:gd name="connsiteY81" fmla="*/ 2182 h 10000"/>
                <a:gd name="connsiteX82" fmla="*/ 8434 w 10000"/>
                <a:gd name="connsiteY82" fmla="*/ 1667 h 10000"/>
                <a:gd name="connsiteX83" fmla="*/ 8032 w 10000"/>
                <a:gd name="connsiteY83" fmla="*/ 1788 h 10000"/>
                <a:gd name="connsiteX84" fmla="*/ 7510 w 10000"/>
                <a:gd name="connsiteY84" fmla="*/ 1970 h 10000"/>
                <a:gd name="connsiteX85" fmla="*/ 7490 w 10000"/>
                <a:gd name="connsiteY85" fmla="*/ 1970 h 10000"/>
                <a:gd name="connsiteX86" fmla="*/ 7470 w 10000"/>
                <a:gd name="connsiteY86" fmla="*/ 1939 h 10000"/>
                <a:gd name="connsiteX87" fmla="*/ 7229 w 10000"/>
                <a:gd name="connsiteY87" fmla="*/ 1364 h 10000"/>
                <a:gd name="connsiteX88" fmla="*/ 6948 w 10000"/>
                <a:gd name="connsiteY88" fmla="*/ 1000 h 10000"/>
                <a:gd name="connsiteX89" fmla="*/ 6466 w 10000"/>
                <a:gd name="connsiteY89" fmla="*/ 939 h 10000"/>
                <a:gd name="connsiteX90" fmla="*/ 5944 w 10000"/>
                <a:gd name="connsiteY90" fmla="*/ 818 h 10000"/>
                <a:gd name="connsiteX91" fmla="*/ 5743 w 10000"/>
                <a:gd name="connsiteY91" fmla="*/ 1182 h 10000"/>
                <a:gd name="connsiteX92" fmla="*/ 5703 w 10000"/>
                <a:gd name="connsiteY92" fmla="*/ 1212 h 10000"/>
                <a:gd name="connsiteX93" fmla="*/ 5683 w 10000"/>
                <a:gd name="connsiteY93" fmla="*/ 1152 h 10000"/>
                <a:gd name="connsiteX94" fmla="*/ 5402 w 10000"/>
                <a:gd name="connsiteY94" fmla="*/ 667 h 10000"/>
                <a:gd name="connsiteX95" fmla="*/ 5181 w 10000"/>
                <a:gd name="connsiteY95" fmla="*/ 515 h 10000"/>
                <a:gd name="connsiteX96" fmla="*/ 5161 w 10000"/>
                <a:gd name="connsiteY96" fmla="*/ 515 h 10000"/>
                <a:gd name="connsiteX97" fmla="*/ 5161 w 10000"/>
                <a:gd name="connsiteY97" fmla="*/ 485 h 10000"/>
                <a:gd name="connsiteX98" fmla="*/ 5120 w 10000"/>
                <a:gd name="connsiteY98" fmla="*/ 121 h 10000"/>
                <a:gd name="connsiteX99" fmla="*/ 4819 w 10000"/>
                <a:gd name="connsiteY99" fmla="*/ 0 h 10000"/>
                <a:gd name="connsiteX100" fmla="*/ 4578 w 10000"/>
                <a:gd name="connsiteY100" fmla="*/ 303 h 10000"/>
                <a:gd name="connsiteX101" fmla="*/ 4558 w 10000"/>
                <a:gd name="connsiteY101" fmla="*/ 333 h 10000"/>
                <a:gd name="connsiteX102" fmla="*/ 4538 w 10000"/>
                <a:gd name="connsiteY102" fmla="*/ 333 h 10000"/>
                <a:gd name="connsiteX103" fmla="*/ 4257 w 10000"/>
                <a:gd name="connsiteY103" fmla="*/ 182 h 10000"/>
                <a:gd name="connsiteX104" fmla="*/ 3896 w 10000"/>
                <a:gd name="connsiteY104" fmla="*/ 333 h 10000"/>
                <a:gd name="connsiteX105" fmla="*/ 3594 w 10000"/>
                <a:gd name="connsiteY105" fmla="*/ 818 h 10000"/>
                <a:gd name="connsiteX106" fmla="*/ 3916 w 10000"/>
                <a:gd name="connsiteY106" fmla="*/ 1758 h 10000"/>
                <a:gd name="connsiteX107" fmla="*/ 3916 w 10000"/>
                <a:gd name="connsiteY107" fmla="*/ 1788 h 10000"/>
                <a:gd name="connsiteX108" fmla="*/ 3916 w 10000"/>
                <a:gd name="connsiteY108" fmla="*/ 1788 h 10000"/>
                <a:gd name="connsiteX109" fmla="*/ 3916 w 10000"/>
                <a:gd name="connsiteY109" fmla="*/ 2333 h 10000"/>
                <a:gd name="connsiteX110" fmla="*/ 3916 w 10000"/>
                <a:gd name="connsiteY110" fmla="*/ 2364 h 10000"/>
                <a:gd name="connsiteX111" fmla="*/ 3896 w 10000"/>
                <a:gd name="connsiteY111" fmla="*/ 2364 h 10000"/>
                <a:gd name="connsiteX112" fmla="*/ 2751 w 10000"/>
                <a:gd name="connsiteY112" fmla="*/ 3758 h 10000"/>
                <a:gd name="connsiteX113" fmla="*/ 2731 w 10000"/>
                <a:gd name="connsiteY113" fmla="*/ 3788 h 10000"/>
                <a:gd name="connsiteX114" fmla="*/ 2711 w 10000"/>
                <a:gd name="connsiteY114" fmla="*/ 3758 h 10000"/>
                <a:gd name="connsiteX115" fmla="*/ 2470 w 10000"/>
                <a:gd name="connsiteY115" fmla="*/ 3293 h 10000"/>
                <a:gd name="connsiteX116" fmla="*/ 2189 w 10000"/>
                <a:gd name="connsiteY116" fmla="*/ 3818 h 10000"/>
                <a:gd name="connsiteX117" fmla="*/ 2169 w 10000"/>
                <a:gd name="connsiteY117" fmla="*/ 3818 h 10000"/>
                <a:gd name="connsiteX118" fmla="*/ 2149 w 10000"/>
                <a:gd name="connsiteY118" fmla="*/ 3848 h 10000"/>
                <a:gd name="connsiteX119" fmla="*/ 1988 w 10000"/>
                <a:gd name="connsiteY119" fmla="*/ 3939 h 10000"/>
                <a:gd name="connsiteX120" fmla="*/ 1968 w 10000"/>
                <a:gd name="connsiteY120" fmla="*/ 3939 h 10000"/>
                <a:gd name="connsiteX121" fmla="*/ 1968 w 10000"/>
                <a:gd name="connsiteY121" fmla="*/ 3939 h 10000"/>
                <a:gd name="connsiteX122" fmla="*/ 1526 w 10000"/>
                <a:gd name="connsiteY122" fmla="*/ 3818 h 10000"/>
                <a:gd name="connsiteX123" fmla="*/ 863 w 10000"/>
                <a:gd name="connsiteY123" fmla="*/ 3788 h 10000"/>
                <a:gd name="connsiteX124" fmla="*/ 582 w 10000"/>
                <a:gd name="connsiteY124" fmla="*/ 4667 h 10000"/>
                <a:gd name="connsiteX125" fmla="*/ 562 w 10000"/>
                <a:gd name="connsiteY125" fmla="*/ 4697 h 10000"/>
                <a:gd name="connsiteX126" fmla="*/ 562 w 10000"/>
                <a:gd name="connsiteY126" fmla="*/ 4697 h 10000"/>
                <a:gd name="connsiteX127" fmla="*/ 0 w 10000"/>
                <a:gd name="connsiteY127" fmla="*/ 5667 h 10000"/>
                <a:gd name="connsiteX128" fmla="*/ 241 w 10000"/>
                <a:gd name="connsiteY128" fmla="*/ 6030 h 10000"/>
                <a:gd name="connsiteX129" fmla="*/ 241 w 10000"/>
                <a:gd name="connsiteY129" fmla="*/ 6061 h 10000"/>
                <a:gd name="connsiteX130" fmla="*/ 241 w 10000"/>
                <a:gd name="connsiteY130" fmla="*/ 6091 h 10000"/>
                <a:gd name="connsiteX131" fmla="*/ 241 w 10000"/>
                <a:gd name="connsiteY131" fmla="*/ 7424 h 10000"/>
                <a:gd name="connsiteX132" fmla="*/ 823 w 10000"/>
                <a:gd name="connsiteY132" fmla="*/ 7424 h 10000"/>
                <a:gd name="connsiteX133" fmla="*/ 863 w 10000"/>
                <a:gd name="connsiteY133" fmla="*/ 7424 h 10000"/>
                <a:gd name="connsiteX134" fmla="*/ 863 w 10000"/>
                <a:gd name="connsiteY134" fmla="*/ 7455 h 10000"/>
                <a:gd name="connsiteX135" fmla="*/ 1165 w 10000"/>
                <a:gd name="connsiteY135" fmla="*/ 8091 h 10000"/>
                <a:gd name="connsiteX136" fmla="*/ 1707 w 10000"/>
                <a:gd name="connsiteY136" fmla="*/ 8091 h 10000"/>
                <a:gd name="connsiteX137" fmla="*/ 1727 w 10000"/>
                <a:gd name="connsiteY137" fmla="*/ 8091 h 10000"/>
                <a:gd name="connsiteX138" fmla="*/ 1747 w 10000"/>
                <a:gd name="connsiteY138" fmla="*/ 8121 h 10000"/>
                <a:gd name="connsiteX139" fmla="*/ 1847 w 10000"/>
                <a:gd name="connsiteY139" fmla="*/ 8515 h 10000"/>
                <a:gd name="connsiteX140" fmla="*/ 2329 w 10000"/>
                <a:gd name="connsiteY140" fmla="*/ 8970 h 10000"/>
                <a:gd name="connsiteX141" fmla="*/ 3133 w 10000"/>
                <a:gd name="connsiteY141" fmla="*/ 8909 h 10000"/>
                <a:gd name="connsiteX142" fmla="*/ 3133 w 10000"/>
                <a:gd name="connsiteY142" fmla="*/ 8909 h 10000"/>
                <a:gd name="connsiteX143" fmla="*/ 3353 w 10000"/>
                <a:gd name="connsiteY143" fmla="*/ 8788 h 10000"/>
                <a:gd name="connsiteX0" fmla="*/ 3353 w 10000"/>
                <a:gd name="connsiteY0" fmla="*/ 8788 h 10000"/>
                <a:gd name="connsiteX1" fmla="*/ 3534 w 10000"/>
                <a:gd name="connsiteY1" fmla="*/ 8485 h 10000"/>
                <a:gd name="connsiteX2" fmla="*/ 3594 w 10000"/>
                <a:gd name="connsiteY2" fmla="*/ 8273 h 10000"/>
                <a:gd name="connsiteX3" fmla="*/ 3594 w 10000"/>
                <a:gd name="connsiteY3" fmla="*/ 8242 h 10000"/>
                <a:gd name="connsiteX4" fmla="*/ 3635 w 10000"/>
                <a:gd name="connsiteY4" fmla="*/ 8242 h 10000"/>
                <a:gd name="connsiteX5" fmla="*/ 3976 w 10000"/>
                <a:gd name="connsiteY5" fmla="*/ 8242 h 10000"/>
                <a:gd name="connsiteX6" fmla="*/ 3996 w 10000"/>
                <a:gd name="connsiteY6" fmla="*/ 8242 h 10000"/>
                <a:gd name="connsiteX7" fmla="*/ 4016 w 10000"/>
                <a:gd name="connsiteY7" fmla="*/ 8273 h 10000"/>
                <a:gd name="connsiteX8" fmla="*/ 4378 w 10000"/>
                <a:gd name="connsiteY8" fmla="*/ 9061 h 10000"/>
                <a:gd name="connsiteX9" fmla="*/ 4940 w 10000"/>
                <a:gd name="connsiteY9" fmla="*/ 9182 h 10000"/>
                <a:gd name="connsiteX10" fmla="*/ 4960 w 10000"/>
                <a:gd name="connsiteY10" fmla="*/ 9182 h 10000"/>
                <a:gd name="connsiteX11" fmla="*/ 4980 w 10000"/>
                <a:gd name="connsiteY11" fmla="*/ 9212 h 10000"/>
                <a:gd name="connsiteX12" fmla="*/ 5060 w 10000"/>
                <a:gd name="connsiteY12" fmla="*/ 9818 h 10000"/>
                <a:gd name="connsiteX13" fmla="*/ 5221 w 10000"/>
                <a:gd name="connsiteY13" fmla="*/ 9818 h 10000"/>
                <a:gd name="connsiteX14" fmla="*/ 5221 w 10000"/>
                <a:gd name="connsiteY14" fmla="*/ 9727 h 10000"/>
                <a:gd name="connsiteX15" fmla="*/ 5241 w 10000"/>
                <a:gd name="connsiteY15" fmla="*/ 9636 h 10000"/>
                <a:gd name="connsiteX16" fmla="*/ 5281 w 10000"/>
                <a:gd name="connsiteY16" fmla="*/ 9667 h 10000"/>
                <a:gd name="connsiteX17" fmla="*/ 5522 w 10000"/>
                <a:gd name="connsiteY17" fmla="*/ 9758 h 10000"/>
                <a:gd name="connsiteX18" fmla="*/ 5542 w 10000"/>
                <a:gd name="connsiteY18" fmla="*/ 9758 h 10000"/>
                <a:gd name="connsiteX19" fmla="*/ 5542 w 10000"/>
                <a:gd name="connsiteY19" fmla="*/ 9758 h 10000"/>
                <a:gd name="connsiteX20" fmla="*/ 5743 w 10000"/>
                <a:gd name="connsiteY20" fmla="*/ 10000 h 10000"/>
                <a:gd name="connsiteX21" fmla="*/ 6084 w 10000"/>
                <a:gd name="connsiteY21" fmla="*/ 10000 h 10000"/>
                <a:gd name="connsiteX22" fmla="*/ 6500 w 10000"/>
                <a:gd name="connsiteY22" fmla="*/ 9635 h 10000"/>
                <a:gd name="connsiteX23" fmla="*/ 6305 w 10000"/>
                <a:gd name="connsiteY23" fmla="*/ 9242 h 10000"/>
                <a:gd name="connsiteX24" fmla="*/ 6305 w 10000"/>
                <a:gd name="connsiteY24" fmla="*/ 9242 h 10000"/>
                <a:gd name="connsiteX25" fmla="*/ 6325 w 10000"/>
                <a:gd name="connsiteY25" fmla="*/ 9212 h 10000"/>
                <a:gd name="connsiteX26" fmla="*/ 6727 w 10000"/>
                <a:gd name="connsiteY26" fmla="*/ 8667 h 10000"/>
                <a:gd name="connsiteX27" fmla="*/ 7269 w 10000"/>
                <a:gd name="connsiteY27" fmla="*/ 8061 h 10000"/>
                <a:gd name="connsiteX28" fmla="*/ 7289 w 10000"/>
                <a:gd name="connsiteY28" fmla="*/ 8061 h 10000"/>
                <a:gd name="connsiteX29" fmla="*/ 7309 w 10000"/>
                <a:gd name="connsiteY29" fmla="*/ 8061 h 10000"/>
                <a:gd name="connsiteX30" fmla="*/ 7550 w 10000"/>
                <a:gd name="connsiteY30" fmla="*/ 8152 h 10000"/>
                <a:gd name="connsiteX31" fmla="*/ 7570 w 10000"/>
                <a:gd name="connsiteY31" fmla="*/ 8152 h 10000"/>
                <a:gd name="connsiteX32" fmla="*/ 7590 w 10000"/>
                <a:gd name="connsiteY32" fmla="*/ 8212 h 10000"/>
                <a:gd name="connsiteX33" fmla="*/ 7631 w 10000"/>
                <a:gd name="connsiteY33" fmla="*/ 8939 h 10000"/>
                <a:gd name="connsiteX34" fmla="*/ 7932 w 10000"/>
                <a:gd name="connsiteY34" fmla="*/ 8970 h 10000"/>
                <a:gd name="connsiteX35" fmla="*/ 8173 w 10000"/>
                <a:gd name="connsiteY35" fmla="*/ 8485 h 10000"/>
                <a:gd name="connsiteX36" fmla="*/ 8173 w 10000"/>
                <a:gd name="connsiteY36" fmla="*/ 8485 h 10000"/>
                <a:gd name="connsiteX37" fmla="*/ 8193 w 10000"/>
                <a:gd name="connsiteY37" fmla="*/ 8485 h 10000"/>
                <a:gd name="connsiteX38" fmla="*/ 8534 w 10000"/>
                <a:gd name="connsiteY38" fmla="*/ 8152 h 10000"/>
                <a:gd name="connsiteX39" fmla="*/ 8635 w 10000"/>
                <a:gd name="connsiteY39" fmla="*/ 7667 h 10000"/>
                <a:gd name="connsiteX40" fmla="*/ 8655 w 10000"/>
                <a:gd name="connsiteY40" fmla="*/ 7606 h 10000"/>
                <a:gd name="connsiteX41" fmla="*/ 8675 w 10000"/>
                <a:gd name="connsiteY41" fmla="*/ 7606 h 10000"/>
                <a:gd name="connsiteX42" fmla="*/ 9036 w 10000"/>
                <a:gd name="connsiteY42" fmla="*/ 7545 h 10000"/>
                <a:gd name="connsiteX43" fmla="*/ 9177 w 10000"/>
                <a:gd name="connsiteY43" fmla="*/ 7182 h 10000"/>
                <a:gd name="connsiteX44" fmla="*/ 9177 w 10000"/>
                <a:gd name="connsiteY44" fmla="*/ 7152 h 10000"/>
                <a:gd name="connsiteX45" fmla="*/ 9177 w 10000"/>
                <a:gd name="connsiteY45" fmla="*/ 7152 h 10000"/>
                <a:gd name="connsiteX46" fmla="*/ 9458 w 10000"/>
                <a:gd name="connsiteY46" fmla="*/ 6909 h 10000"/>
                <a:gd name="connsiteX47" fmla="*/ 9458 w 10000"/>
                <a:gd name="connsiteY47" fmla="*/ 6909 h 10000"/>
                <a:gd name="connsiteX48" fmla="*/ 9458 w 10000"/>
                <a:gd name="connsiteY48" fmla="*/ 6909 h 10000"/>
                <a:gd name="connsiteX49" fmla="*/ 9699 w 10000"/>
                <a:gd name="connsiteY49" fmla="*/ 6848 h 10000"/>
                <a:gd name="connsiteX50" fmla="*/ 9859 w 10000"/>
                <a:gd name="connsiteY50" fmla="*/ 6727 h 10000"/>
                <a:gd name="connsiteX51" fmla="*/ 9839 w 10000"/>
                <a:gd name="connsiteY51" fmla="*/ 6667 h 10000"/>
                <a:gd name="connsiteX52" fmla="*/ 9819 w 10000"/>
                <a:gd name="connsiteY52" fmla="*/ 6667 h 10000"/>
                <a:gd name="connsiteX53" fmla="*/ 9819 w 10000"/>
                <a:gd name="connsiteY53" fmla="*/ 6667 h 10000"/>
                <a:gd name="connsiteX54" fmla="*/ 9779 w 10000"/>
                <a:gd name="connsiteY54" fmla="*/ 6424 h 10000"/>
                <a:gd name="connsiteX55" fmla="*/ 9598 w 10000"/>
                <a:gd name="connsiteY55" fmla="*/ 6394 h 10000"/>
                <a:gd name="connsiteX56" fmla="*/ 9538 w 10000"/>
                <a:gd name="connsiteY56" fmla="*/ 6364 h 10000"/>
                <a:gd name="connsiteX57" fmla="*/ 9578 w 10000"/>
                <a:gd name="connsiteY57" fmla="*/ 6303 h 10000"/>
                <a:gd name="connsiteX58" fmla="*/ 9859 w 10000"/>
                <a:gd name="connsiteY58" fmla="*/ 5545 h 10000"/>
                <a:gd name="connsiteX59" fmla="*/ 9880 w 10000"/>
                <a:gd name="connsiteY59" fmla="*/ 5545 h 10000"/>
                <a:gd name="connsiteX60" fmla="*/ 9880 w 10000"/>
                <a:gd name="connsiteY60" fmla="*/ 5515 h 10000"/>
                <a:gd name="connsiteX61" fmla="*/ 10000 w 10000"/>
                <a:gd name="connsiteY61" fmla="*/ 5424 h 10000"/>
                <a:gd name="connsiteX62" fmla="*/ 9799 w 10000"/>
                <a:gd name="connsiteY62" fmla="*/ 5061 h 10000"/>
                <a:gd name="connsiteX63" fmla="*/ 9779 w 10000"/>
                <a:gd name="connsiteY63" fmla="*/ 5030 h 10000"/>
                <a:gd name="connsiteX64" fmla="*/ 9779 w 10000"/>
                <a:gd name="connsiteY64" fmla="*/ 5030 h 10000"/>
                <a:gd name="connsiteX65" fmla="*/ 9759 w 10000"/>
                <a:gd name="connsiteY65" fmla="*/ 4727 h 10000"/>
                <a:gd name="connsiteX66" fmla="*/ 9759 w 10000"/>
                <a:gd name="connsiteY66" fmla="*/ 4727 h 10000"/>
                <a:gd name="connsiteX67" fmla="*/ 9759 w 10000"/>
                <a:gd name="connsiteY67" fmla="*/ 4697 h 10000"/>
                <a:gd name="connsiteX68" fmla="*/ 9920 w 10000"/>
                <a:gd name="connsiteY68" fmla="*/ 4303 h 10000"/>
                <a:gd name="connsiteX69" fmla="*/ 9920 w 10000"/>
                <a:gd name="connsiteY69" fmla="*/ 3333 h 10000"/>
                <a:gd name="connsiteX70" fmla="*/ 9719 w 10000"/>
                <a:gd name="connsiteY70" fmla="*/ 2606 h 10000"/>
                <a:gd name="connsiteX71" fmla="*/ 9679 w 10000"/>
                <a:gd name="connsiteY71" fmla="*/ 2455 h 10000"/>
                <a:gd name="connsiteX72" fmla="*/ 9257 w 10000"/>
                <a:gd name="connsiteY72" fmla="*/ 2394 h 10000"/>
                <a:gd name="connsiteX73" fmla="*/ 9177 w 10000"/>
                <a:gd name="connsiteY73" fmla="*/ 2394 h 10000"/>
                <a:gd name="connsiteX74" fmla="*/ 9177 w 10000"/>
                <a:gd name="connsiteY74" fmla="*/ 2394 h 10000"/>
                <a:gd name="connsiteX75" fmla="*/ 9177 w 10000"/>
                <a:gd name="connsiteY75" fmla="*/ 2394 h 10000"/>
                <a:gd name="connsiteX76" fmla="*/ 9177 w 10000"/>
                <a:gd name="connsiteY76" fmla="*/ 2394 h 10000"/>
                <a:gd name="connsiteX77" fmla="*/ 9177 w 10000"/>
                <a:gd name="connsiteY77" fmla="*/ 2394 h 10000"/>
                <a:gd name="connsiteX78" fmla="*/ 8815 w 10000"/>
                <a:gd name="connsiteY78" fmla="*/ 2242 h 10000"/>
                <a:gd name="connsiteX79" fmla="*/ 8635 w 10000"/>
                <a:gd name="connsiteY79" fmla="*/ 2212 h 10000"/>
                <a:gd name="connsiteX80" fmla="*/ 8614 w 10000"/>
                <a:gd name="connsiteY80" fmla="*/ 2212 h 10000"/>
                <a:gd name="connsiteX81" fmla="*/ 8614 w 10000"/>
                <a:gd name="connsiteY81" fmla="*/ 2182 h 10000"/>
                <a:gd name="connsiteX82" fmla="*/ 8434 w 10000"/>
                <a:gd name="connsiteY82" fmla="*/ 1667 h 10000"/>
                <a:gd name="connsiteX83" fmla="*/ 8032 w 10000"/>
                <a:gd name="connsiteY83" fmla="*/ 1788 h 10000"/>
                <a:gd name="connsiteX84" fmla="*/ 7510 w 10000"/>
                <a:gd name="connsiteY84" fmla="*/ 1970 h 10000"/>
                <a:gd name="connsiteX85" fmla="*/ 7490 w 10000"/>
                <a:gd name="connsiteY85" fmla="*/ 1970 h 10000"/>
                <a:gd name="connsiteX86" fmla="*/ 7470 w 10000"/>
                <a:gd name="connsiteY86" fmla="*/ 1939 h 10000"/>
                <a:gd name="connsiteX87" fmla="*/ 7229 w 10000"/>
                <a:gd name="connsiteY87" fmla="*/ 1364 h 10000"/>
                <a:gd name="connsiteX88" fmla="*/ 6948 w 10000"/>
                <a:gd name="connsiteY88" fmla="*/ 1000 h 10000"/>
                <a:gd name="connsiteX89" fmla="*/ 6466 w 10000"/>
                <a:gd name="connsiteY89" fmla="*/ 939 h 10000"/>
                <a:gd name="connsiteX90" fmla="*/ 5944 w 10000"/>
                <a:gd name="connsiteY90" fmla="*/ 818 h 10000"/>
                <a:gd name="connsiteX91" fmla="*/ 5743 w 10000"/>
                <a:gd name="connsiteY91" fmla="*/ 1182 h 10000"/>
                <a:gd name="connsiteX92" fmla="*/ 5703 w 10000"/>
                <a:gd name="connsiteY92" fmla="*/ 1212 h 10000"/>
                <a:gd name="connsiteX93" fmla="*/ 5683 w 10000"/>
                <a:gd name="connsiteY93" fmla="*/ 1152 h 10000"/>
                <a:gd name="connsiteX94" fmla="*/ 5402 w 10000"/>
                <a:gd name="connsiteY94" fmla="*/ 667 h 10000"/>
                <a:gd name="connsiteX95" fmla="*/ 5181 w 10000"/>
                <a:gd name="connsiteY95" fmla="*/ 515 h 10000"/>
                <a:gd name="connsiteX96" fmla="*/ 5161 w 10000"/>
                <a:gd name="connsiteY96" fmla="*/ 515 h 10000"/>
                <a:gd name="connsiteX97" fmla="*/ 5161 w 10000"/>
                <a:gd name="connsiteY97" fmla="*/ 485 h 10000"/>
                <a:gd name="connsiteX98" fmla="*/ 5120 w 10000"/>
                <a:gd name="connsiteY98" fmla="*/ 121 h 10000"/>
                <a:gd name="connsiteX99" fmla="*/ 4819 w 10000"/>
                <a:gd name="connsiteY99" fmla="*/ 0 h 10000"/>
                <a:gd name="connsiteX100" fmla="*/ 4578 w 10000"/>
                <a:gd name="connsiteY100" fmla="*/ 303 h 10000"/>
                <a:gd name="connsiteX101" fmla="*/ 4558 w 10000"/>
                <a:gd name="connsiteY101" fmla="*/ 333 h 10000"/>
                <a:gd name="connsiteX102" fmla="*/ 4538 w 10000"/>
                <a:gd name="connsiteY102" fmla="*/ 333 h 10000"/>
                <a:gd name="connsiteX103" fmla="*/ 4257 w 10000"/>
                <a:gd name="connsiteY103" fmla="*/ 182 h 10000"/>
                <a:gd name="connsiteX104" fmla="*/ 3896 w 10000"/>
                <a:gd name="connsiteY104" fmla="*/ 333 h 10000"/>
                <a:gd name="connsiteX105" fmla="*/ 3594 w 10000"/>
                <a:gd name="connsiteY105" fmla="*/ 818 h 10000"/>
                <a:gd name="connsiteX106" fmla="*/ 3916 w 10000"/>
                <a:gd name="connsiteY106" fmla="*/ 1758 h 10000"/>
                <a:gd name="connsiteX107" fmla="*/ 3916 w 10000"/>
                <a:gd name="connsiteY107" fmla="*/ 1788 h 10000"/>
                <a:gd name="connsiteX108" fmla="*/ 3916 w 10000"/>
                <a:gd name="connsiteY108" fmla="*/ 1788 h 10000"/>
                <a:gd name="connsiteX109" fmla="*/ 3916 w 10000"/>
                <a:gd name="connsiteY109" fmla="*/ 2333 h 10000"/>
                <a:gd name="connsiteX110" fmla="*/ 3916 w 10000"/>
                <a:gd name="connsiteY110" fmla="*/ 2364 h 10000"/>
                <a:gd name="connsiteX111" fmla="*/ 3896 w 10000"/>
                <a:gd name="connsiteY111" fmla="*/ 2364 h 10000"/>
                <a:gd name="connsiteX112" fmla="*/ 2751 w 10000"/>
                <a:gd name="connsiteY112" fmla="*/ 3758 h 10000"/>
                <a:gd name="connsiteX113" fmla="*/ 2731 w 10000"/>
                <a:gd name="connsiteY113" fmla="*/ 3788 h 10000"/>
                <a:gd name="connsiteX114" fmla="*/ 2711 w 10000"/>
                <a:gd name="connsiteY114" fmla="*/ 3758 h 10000"/>
                <a:gd name="connsiteX115" fmla="*/ 2470 w 10000"/>
                <a:gd name="connsiteY115" fmla="*/ 3293 h 10000"/>
                <a:gd name="connsiteX116" fmla="*/ 2189 w 10000"/>
                <a:gd name="connsiteY116" fmla="*/ 3818 h 10000"/>
                <a:gd name="connsiteX117" fmla="*/ 2169 w 10000"/>
                <a:gd name="connsiteY117" fmla="*/ 3818 h 10000"/>
                <a:gd name="connsiteX118" fmla="*/ 2149 w 10000"/>
                <a:gd name="connsiteY118" fmla="*/ 3848 h 10000"/>
                <a:gd name="connsiteX119" fmla="*/ 1988 w 10000"/>
                <a:gd name="connsiteY119" fmla="*/ 3939 h 10000"/>
                <a:gd name="connsiteX120" fmla="*/ 1968 w 10000"/>
                <a:gd name="connsiteY120" fmla="*/ 3939 h 10000"/>
                <a:gd name="connsiteX121" fmla="*/ 1968 w 10000"/>
                <a:gd name="connsiteY121" fmla="*/ 3939 h 10000"/>
                <a:gd name="connsiteX122" fmla="*/ 1526 w 10000"/>
                <a:gd name="connsiteY122" fmla="*/ 3818 h 10000"/>
                <a:gd name="connsiteX123" fmla="*/ 863 w 10000"/>
                <a:gd name="connsiteY123" fmla="*/ 3788 h 10000"/>
                <a:gd name="connsiteX124" fmla="*/ 582 w 10000"/>
                <a:gd name="connsiteY124" fmla="*/ 4667 h 10000"/>
                <a:gd name="connsiteX125" fmla="*/ 562 w 10000"/>
                <a:gd name="connsiteY125" fmla="*/ 4697 h 10000"/>
                <a:gd name="connsiteX126" fmla="*/ 562 w 10000"/>
                <a:gd name="connsiteY126" fmla="*/ 4697 h 10000"/>
                <a:gd name="connsiteX127" fmla="*/ 0 w 10000"/>
                <a:gd name="connsiteY127" fmla="*/ 5667 h 10000"/>
                <a:gd name="connsiteX128" fmla="*/ 241 w 10000"/>
                <a:gd name="connsiteY128" fmla="*/ 6030 h 10000"/>
                <a:gd name="connsiteX129" fmla="*/ 241 w 10000"/>
                <a:gd name="connsiteY129" fmla="*/ 6061 h 10000"/>
                <a:gd name="connsiteX130" fmla="*/ 241 w 10000"/>
                <a:gd name="connsiteY130" fmla="*/ 6091 h 10000"/>
                <a:gd name="connsiteX131" fmla="*/ 241 w 10000"/>
                <a:gd name="connsiteY131" fmla="*/ 7424 h 10000"/>
                <a:gd name="connsiteX132" fmla="*/ 823 w 10000"/>
                <a:gd name="connsiteY132" fmla="*/ 7424 h 10000"/>
                <a:gd name="connsiteX133" fmla="*/ 863 w 10000"/>
                <a:gd name="connsiteY133" fmla="*/ 7424 h 10000"/>
                <a:gd name="connsiteX134" fmla="*/ 863 w 10000"/>
                <a:gd name="connsiteY134" fmla="*/ 7455 h 10000"/>
                <a:gd name="connsiteX135" fmla="*/ 1165 w 10000"/>
                <a:gd name="connsiteY135" fmla="*/ 8091 h 10000"/>
                <a:gd name="connsiteX136" fmla="*/ 1707 w 10000"/>
                <a:gd name="connsiteY136" fmla="*/ 8091 h 10000"/>
                <a:gd name="connsiteX137" fmla="*/ 1727 w 10000"/>
                <a:gd name="connsiteY137" fmla="*/ 8091 h 10000"/>
                <a:gd name="connsiteX138" fmla="*/ 1747 w 10000"/>
                <a:gd name="connsiteY138" fmla="*/ 8121 h 10000"/>
                <a:gd name="connsiteX139" fmla="*/ 1847 w 10000"/>
                <a:gd name="connsiteY139" fmla="*/ 8515 h 10000"/>
                <a:gd name="connsiteX140" fmla="*/ 2329 w 10000"/>
                <a:gd name="connsiteY140" fmla="*/ 8970 h 10000"/>
                <a:gd name="connsiteX141" fmla="*/ 3133 w 10000"/>
                <a:gd name="connsiteY141" fmla="*/ 8909 h 10000"/>
                <a:gd name="connsiteX142" fmla="*/ 3133 w 10000"/>
                <a:gd name="connsiteY142" fmla="*/ 8909 h 10000"/>
                <a:gd name="connsiteX143" fmla="*/ 3353 w 10000"/>
                <a:gd name="connsiteY143" fmla="*/ 8788 h 10000"/>
                <a:gd name="connsiteX0" fmla="*/ 3353 w 10000"/>
                <a:gd name="connsiteY0" fmla="*/ 8788 h 10000"/>
                <a:gd name="connsiteX1" fmla="*/ 3534 w 10000"/>
                <a:gd name="connsiteY1" fmla="*/ 8485 h 10000"/>
                <a:gd name="connsiteX2" fmla="*/ 3594 w 10000"/>
                <a:gd name="connsiteY2" fmla="*/ 8273 h 10000"/>
                <a:gd name="connsiteX3" fmla="*/ 3594 w 10000"/>
                <a:gd name="connsiteY3" fmla="*/ 8242 h 10000"/>
                <a:gd name="connsiteX4" fmla="*/ 3635 w 10000"/>
                <a:gd name="connsiteY4" fmla="*/ 8242 h 10000"/>
                <a:gd name="connsiteX5" fmla="*/ 3976 w 10000"/>
                <a:gd name="connsiteY5" fmla="*/ 8242 h 10000"/>
                <a:gd name="connsiteX6" fmla="*/ 3996 w 10000"/>
                <a:gd name="connsiteY6" fmla="*/ 8242 h 10000"/>
                <a:gd name="connsiteX7" fmla="*/ 4016 w 10000"/>
                <a:gd name="connsiteY7" fmla="*/ 8273 h 10000"/>
                <a:gd name="connsiteX8" fmla="*/ 4378 w 10000"/>
                <a:gd name="connsiteY8" fmla="*/ 9061 h 10000"/>
                <a:gd name="connsiteX9" fmla="*/ 4940 w 10000"/>
                <a:gd name="connsiteY9" fmla="*/ 9182 h 10000"/>
                <a:gd name="connsiteX10" fmla="*/ 4960 w 10000"/>
                <a:gd name="connsiteY10" fmla="*/ 9182 h 10000"/>
                <a:gd name="connsiteX11" fmla="*/ 4980 w 10000"/>
                <a:gd name="connsiteY11" fmla="*/ 9212 h 10000"/>
                <a:gd name="connsiteX12" fmla="*/ 5060 w 10000"/>
                <a:gd name="connsiteY12" fmla="*/ 9818 h 10000"/>
                <a:gd name="connsiteX13" fmla="*/ 5221 w 10000"/>
                <a:gd name="connsiteY13" fmla="*/ 9818 h 10000"/>
                <a:gd name="connsiteX14" fmla="*/ 5221 w 10000"/>
                <a:gd name="connsiteY14" fmla="*/ 9727 h 10000"/>
                <a:gd name="connsiteX15" fmla="*/ 5241 w 10000"/>
                <a:gd name="connsiteY15" fmla="*/ 9636 h 10000"/>
                <a:gd name="connsiteX16" fmla="*/ 5281 w 10000"/>
                <a:gd name="connsiteY16" fmla="*/ 9667 h 10000"/>
                <a:gd name="connsiteX17" fmla="*/ 5522 w 10000"/>
                <a:gd name="connsiteY17" fmla="*/ 9758 h 10000"/>
                <a:gd name="connsiteX18" fmla="*/ 5542 w 10000"/>
                <a:gd name="connsiteY18" fmla="*/ 9758 h 10000"/>
                <a:gd name="connsiteX19" fmla="*/ 5542 w 10000"/>
                <a:gd name="connsiteY19" fmla="*/ 9758 h 10000"/>
                <a:gd name="connsiteX20" fmla="*/ 5743 w 10000"/>
                <a:gd name="connsiteY20" fmla="*/ 10000 h 10000"/>
                <a:gd name="connsiteX21" fmla="*/ 6084 w 10000"/>
                <a:gd name="connsiteY21" fmla="*/ 10000 h 10000"/>
                <a:gd name="connsiteX22" fmla="*/ 6500 w 10000"/>
                <a:gd name="connsiteY22" fmla="*/ 9635 h 10000"/>
                <a:gd name="connsiteX23" fmla="*/ 6305 w 10000"/>
                <a:gd name="connsiteY23" fmla="*/ 9242 h 10000"/>
                <a:gd name="connsiteX24" fmla="*/ 6305 w 10000"/>
                <a:gd name="connsiteY24" fmla="*/ 9242 h 10000"/>
                <a:gd name="connsiteX25" fmla="*/ 6535 w 10000"/>
                <a:gd name="connsiteY25" fmla="*/ 9049 h 10000"/>
                <a:gd name="connsiteX26" fmla="*/ 6727 w 10000"/>
                <a:gd name="connsiteY26" fmla="*/ 8667 h 10000"/>
                <a:gd name="connsiteX27" fmla="*/ 7269 w 10000"/>
                <a:gd name="connsiteY27" fmla="*/ 8061 h 10000"/>
                <a:gd name="connsiteX28" fmla="*/ 7289 w 10000"/>
                <a:gd name="connsiteY28" fmla="*/ 8061 h 10000"/>
                <a:gd name="connsiteX29" fmla="*/ 7309 w 10000"/>
                <a:gd name="connsiteY29" fmla="*/ 8061 h 10000"/>
                <a:gd name="connsiteX30" fmla="*/ 7550 w 10000"/>
                <a:gd name="connsiteY30" fmla="*/ 8152 h 10000"/>
                <a:gd name="connsiteX31" fmla="*/ 7570 w 10000"/>
                <a:gd name="connsiteY31" fmla="*/ 8152 h 10000"/>
                <a:gd name="connsiteX32" fmla="*/ 7590 w 10000"/>
                <a:gd name="connsiteY32" fmla="*/ 8212 h 10000"/>
                <a:gd name="connsiteX33" fmla="*/ 7631 w 10000"/>
                <a:gd name="connsiteY33" fmla="*/ 8939 h 10000"/>
                <a:gd name="connsiteX34" fmla="*/ 7932 w 10000"/>
                <a:gd name="connsiteY34" fmla="*/ 8970 h 10000"/>
                <a:gd name="connsiteX35" fmla="*/ 8173 w 10000"/>
                <a:gd name="connsiteY35" fmla="*/ 8485 h 10000"/>
                <a:gd name="connsiteX36" fmla="*/ 8173 w 10000"/>
                <a:gd name="connsiteY36" fmla="*/ 8485 h 10000"/>
                <a:gd name="connsiteX37" fmla="*/ 8193 w 10000"/>
                <a:gd name="connsiteY37" fmla="*/ 8485 h 10000"/>
                <a:gd name="connsiteX38" fmla="*/ 8534 w 10000"/>
                <a:gd name="connsiteY38" fmla="*/ 8152 h 10000"/>
                <a:gd name="connsiteX39" fmla="*/ 8635 w 10000"/>
                <a:gd name="connsiteY39" fmla="*/ 7667 h 10000"/>
                <a:gd name="connsiteX40" fmla="*/ 8655 w 10000"/>
                <a:gd name="connsiteY40" fmla="*/ 7606 h 10000"/>
                <a:gd name="connsiteX41" fmla="*/ 8675 w 10000"/>
                <a:gd name="connsiteY41" fmla="*/ 7606 h 10000"/>
                <a:gd name="connsiteX42" fmla="*/ 9036 w 10000"/>
                <a:gd name="connsiteY42" fmla="*/ 7545 h 10000"/>
                <a:gd name="connsiteX43" fmla="*/ 9177 w 10000"/>
                <a:gd name="connsiteY43" fmla="*/ 7182 h 10000"/>
                <a:gd name="connsiteX44" fmla="*/ 9177 w 10000"/>
                <a:gd name="connsiteY44" fmla="*/ 7152 h 10000"/>
                <a:gd name="connsiteX45" fmla="*/ 9177 w 10000"/>
                <a:gd name="connsiteY45" fmla="*/ 7152 h 10000"/>
                <a:gd name="connsiteX46" fmla="*/ 9458 w 10000"/>
                <a:gd name="connsiteY46" fmla="*/ 6909 h 10000"/>
                <a:gd name="connsiteX47" fmla="*/ 9458 w 10000"/>
                <a:gd name="connsiteY47" fmla="*/ 6909 h 10000"/>
                <a:gd name="connsiteX48" fmla="*/ 9458 w 10000"/>
                <a:gd name="connsiteY48" fmla="*/ 6909 h 10000"/>
                <a:gd name="connsiteX49" fmla="*/ 9699 w 10000"/>
                <a:gd name="connsiteY49" fmla="*/ 6848 h 10000"/>
                <a:gd name="connsiteX50" fmla="*/ 9859 w 10000"/>
                <a:gd name="connsiteY50" fmla="*/ 6727 h 10000"/>
                <a:gd name="connsiteX51" fmla="*/ 9839 w 10000"/>
                <a:gd name="connsiteY51" fmla="*/ 6667 h 10000"/>
                <a:gd name="connsiteX52" fmla="*/ 9819 w 10000"/>
                <a:gd name="connsiteY52" fmla="*/ 6667 h 10000"/>
                <a:gd name="connsiteX53" fmla="*/ 9819 w 10000"/>
                <a:gd name="connsiteY53" fmla="*/ 6667 h 10000"/>
                <a:gd name="connsiteX54" fmla="*/ 9779 w 10000"/>
                <a:gd name="connsiteY54" fmla="*/ 6424 h 10000"/>
                <a:gd name="connsiteX55" fmla="*/ 9598 w 10000"/>
                <a:gd name="connsiteY55" fmla="*/ 6394 h 10000"/>
                <a:gd name="connsiteX56" fmla="*/ 9538 w 10000"/>
                <a:gd name="connsiteY56" fmla="*/ 6364 h 10000"/>
                <a:gd name="connsiteX57" fmla="*/ 9578 w 10000"/>
                <a:gd name="connsiteY57" fmla="*/ 6303 h 10000"/>
                <a:gd name="connsiteX58" fmla="*/ 9859 w 10000"/>
                <a:gd name="connsiteY58" fmla="*/ 5545 h 10000"/>
                <a:gd name="connsiteX59" fmla="*/ 9880 w 10000"/>
                <a:gd name="connsiteY59" fmla="*/ 5545 h 10000"/>
                <a:gd name="connsiteX60" fmla="*/ 9880 w 10000"/>
                <a:gd name="connsiteY60" fmla="*/ 5515 h 10000"/>
                <a:gd name="connsiteX61" fmla="*/ 10000 w 10000"/>
                <a:gd name="connsiteY61" fmla="*/ 5424 h 10000"/>
                <a:gd name="connsiteX62" fmla="*/ 9799 w 10000"/>
                <a:gd name="connsiteY62" fmla="*/ 5061 h 10000"/>
                <a:gd name="connsiteX63" fmla="*/ 9779 w 10000"/>
                <a:gd name="connsiteY63" fmla="*/ 5030 h 10000"/>
                <a:gd name="connsiteX64" fmla="*/ 9779 w 10000"/>
                <a:gd name="connsiteY64" fmla="*/ 5030 h 10000"/>
                <a:gd name="connsiteX65" fmla="*/ 9759 w 10000"/>
                <a:gd name="connsiteY65" fmla="*/ 4727 h 10000"/>
                <a:gd name="connsiteX66" fmla="*/ 9759 w 10000"/>
                <a:gd name="connsiteY66" fmla="*/ 4727 h 10000"/>
                <a:gd name="connsiteX67" fmla="*/ 9759 w 10000"/>
                <a:gd name="connsiteY67" fmla="*/ 4697 h 10000"/>
                <a:gd name="connsiteX68" fmla="*/ 9920 w 10000"/>
                <a:gd name="connsiteY68" fmla="*/ 4303 h 10000"/>
                <a:gd name="connsiteX69" fmla="*/ 9920 w 10000"/>
                <a:gd name="connsiteY69" fmla="*/ 3333 h 10000"/>
                <a:gd name="connsiteX70" fmla="*/ 9719 w 10000"/>
                <a:gd name="connsiteY70" fmla="*/ 2606 h 10000"/>
                <a:gd name="connsiteX71" fmla="*/ 9679 w 10000"/>
                <a:gd name="connsiteY71" fmla="*/ 2455 h 10000"/>
                <a:gd name="connsiteX72" fmla="*/ 9257 w 10000"/>
                <a:gd name="connsiteY72" fmla="*/ 2394 h 10000"/>
                <a:gd name="connsiteX73" fmla="*/ 9177 w 10000"/>
                <a:gd name="connsiteY73" fmla="*/ 2394 h 10000"/>
                <a:gd name="connsiteX74" fmla="*/ 9177 w 10000"/>
                <a:gd name="connsiteY74" fmla="*/ 2394 h 10000"/>
                <a:gd name="connsiteX75" fmla="*/ 9177 w 10000"/>
                <a:gd name="connsiteY75" fmla="*/ 2394 h 10000"/>
                <a:gd name="connsiteX76" fmla="*/ 9177 w 10000"/>
                <a:gd name="connsiteY76" fmla="*/ 2394 h 10000"/>
                <a:gd name="connsiteX77" fmla="*/ 9177 w 10000"/>
                <a:gd name="connsiteY77" fmla="*/ 2394 h 10000"/>
                <a:gd name="connsiteX78" fmla="*/ 8815 w 10000"/>
                <a:gd name="connsiteY78" fmla="*/ 2242 h 10000"/>
                <a:gd name="connsiteX79" fmla="*/ 8635 w 10000"/>
                <a:gd name="connsiteY79" fmla="*/ 2212 h 10000"/>
                <a:gd name="connsiteX80" fmla="*/ 8614 w 10000"/>
                <a:gd name="connsiteY80" fmla="*/ 2212 h 10000"/>
                <a:gd name="connsiteX81" fmla="*/ 8614 w 10000"/>
                <a:gd name="connsiteY81" fmla="*/ 2182 h 10000"/>
                <a:gd name="connsiteX82" fmla="*/ 8434 w 10000"/>
                <a:gd name="connsiteY82" fmla="*/ 1667 h 10000"/>
                <a:gd name="connsiteX83" fmla="*/ 8032 w 10000"/>
                <a:gd name="connsiteY83" fmla="*/ 1788 h 10000"/>
                <a:gd name="connsiteX84" fmla="*/ 7510 w 10000"/>
                <a:gd name="connsiteY84" fmla="*/ 1970 h 10000"/>
                <a:gd name="connsiteX85" fmla="*/ 7490 w 10000"/>
                <a:gd name="connsiteY85" fmla="*/ 1970 h 10000"/>
                <a:gd name="connsiteX86" fmla="*/ 7470 w 10000"/>
                <a:gd name="connsiteY86" fmla="*/ 1939 h 10000"/>
                <a:gd name="connsiteX87" fmla="*/ 7229 w 10000"/>
                <a:gd name="connsiteY87" fmla="*/ 1364 h 10000"/>
                <a:gd name="connsiteX88" fmla="*/ 6948 w 10000"/>
                <a:gd name="connsiteY88" fmla="*/ 1000 h 10000"/>
                <a:gd name="connsiteX89" fmla="*/ 6466 w 10000"/>
                <a:gd name="connsiteY89" fmla="*/ 939 h 10000"/>
                <a:gd name="connsiteX90" fmla="*/ 5944 w 10000"/>
                <a:gd name="connsiteY90" fmla="*/ 818 h 10000"/>
                <a:gd name="connsiteX91" fmla="*/ 5743 w 10000"/>
                <a:gd name="connsiteY91" fmla="*/ 1182 h 10000"/>
                <a:gd name="connsiteX92" fmla="*/ 5703 w 10000"/>
                <a:gd name="connsiteY92" fmla="*/ 1212 h 10000"/>
                <a:gd name="connsiteX93" fmla="*/ 5683 w 10000"/>
                <a:gd name="connsiteY93" fmla="*/ 1152 h 10000"/>
                <a:gd name="connsiteX94" fmla="*/ 5402 w 10000"/>
                <a:gd name="connsiteY94" fmla="*/ 667 h 10000"/>
                <a:gd name="connsiteX95" fmla="*/ 5181 w 10000"/>
                <a:gd name="connsiteY95" fmla="*/ 515 h 10000"/>
                <a:gd name="connsiteX96" fmla="*/ 5161 w 10000"/>
                <a:gd name="connsiteY96" fmla="*/ 515 h 10000"/>
                <a:gd name="connsiteX97" fmla="*/ 5161 w 10000"/>
                <a:gd name="connsiteY97" fmla="*/ 485 h 10000"/>
                <a:gd name="connsiteX98" fmla="*/ 5120 w 10000"/>
                <a:gd name="connsiteY98" fmla="*/ 121 h 10000"/>
                <a:gd name="connsiteX99" fmla="*/ 4819 w 10000"/>
                <a:gd name="connsiteY99" fmla="*/ 0 h 10000"/>
                <a:gd name="connsiteX100" fmla="*/ 4578 w 10000"/>
                <a:gd name="connsiteY100" fmla="*/ 303 h 10000"/>
                <a:gd name="connsiteX101" fmla="*/ 4558 w 10000"/>
                <a:gd name="connsiteY101" fmla="*/ 333 h 10000"/>
                <a:gd name="connsiteX102" fmla="*/ 4538 w 10000"/>
                <a:gd name="connsiteY102" fmla="*/ 333 h 10000"/>
                <a:gd name="connsiteX103" fmla="*/ 4257 w 10000"/>
                <a:gd name="connsiteY103" fmla="*/ 182 h 10000"/>
                <a:gd name="connsiteX104" fmla="*/ 3896 w 10000"/>
                <a:gd name="connsiteY104" fmla="*/ 333 h 10000"/>
                <a:gd name="connsiteX105" fmla="*/ 3594 w 10000"/>
                <a:gd name="connsiteY105" fmla="*/ 818 h 10000"/>
                <a:gd name="connsiteX106" fmla="*/ 3916 w 10000"/>
                <a:gd name="connsiteY106" fmla="*/ 1758 h 10000"/>
                <a:gd name="connsiteX107" fmla="*/ 3916 w 10000"/>
                <a:gd name="connsiteY107" fmla="*/ 1788 h 10000"/>
                <a:gd name="connsiteX108" fmla="*/ 3916 w 10000"/>
                <a:gd name="connsiteY108" fmla="*/ 1788 h 10000"/>
                <a:gd name="connsiteX109" fmla="*/ 3916 w 10000"/>
                <a:gd name="connsiteY109" fmla="*/ 2333 h 10000"/>
                <a:gd name="connsiteX110" fmla="*/ 3916 w 10000"/>
                <a:gd name="connsiteY110" fmla="*/ 2364 h 10000"/>
                <a:gd name="connsiteX111" fmla="*/ 3896 w 10000"/>
                <a:gd name="connsiteY111" fmla="*/ 2364 h 10000"/>
                <a:gd name="connsiteX112" fmla="*/ 2751 w 10000"/>
                <a:gd name="connsiteY112" fmla="*/ 3758 h 10000"/>
                <a:gd name="connsiteX113" fmla="*/ 2731 w 10000"/>
                <a:gd name="connsiteY113" fmla="*/ 3788 h 10000"/>
                <a:gd name="connsiteX114" fmla="*/ 2711 w 10000"/>
                <a:gd name="connsiteY114" fmla="*/ 3758 h 10000"/>
                <a:gd name="connsiteX115" fmla="*/ 2470 w 10000"/>
                <a:gd name="connsiteY115" fmla="*/ 3293 h 10000"/>
                <a:gd name="connsiteX116" fmla="*/ 2189 w 10000"/>
                <a:gd name="connsiteY116" fmla="*/ 3818 h 10000"/>
                <a:gd name="connsiteX117" fmla="*/ 2169 w 10000"/>
                <a:gd name="connsiteY117" fmla="*/ 3818 h 10000"/>
                <a:gd name="connsiteX118" fmla="*/ 2149 w 10000"/>
                <a:gd name="connsiteY118" fmla="*/ 3848 h 10000"/>
                <a:gd name="connsiteX119" fmla="*/ 1988 w 10000"/>
                <a:gd name="connsiteY119" fmla="*/ 3939 h 10000"/>
                <a:gd name="connsiteX120" fmla="*/ 1968 w 10000"/>
                <a:gd name="connsiteY120" fmla="*/ 3939 h 10000"/>
                <a:gd name="connsiteX121" fmla="*/ 1968 w 10000"/>
                <a:gd name="connsiteY121" fmla="*/ 3939 h 10000"/>
                <a:gd name="connsiteX122" fmla="*/ 1526 w 10000"/>
                <a:gd name="connsiteY122" fmla="*/ 3818 h 10000"/>
                <a:gd name="connsiteX123" fmla="*/ 863 w 10000"/>
                <a:gd name="connsiteY123" fmla="*/ 3788 h 10000"/>
                <a:gd name="connsiteX124" fmla="*/ 582 w 10000"/>
                <a:gd name="connsiteY124" fmla="*/ 4667 h 10000"/>
                <a:gd name="connsiteX125" fmla="*/ 562 w 10000"/>
                <a:gd name="connsiteY125" fmla="*/ 4697 h 10000"/>
                <a:gd name="connsiteX126" fmla="*/ 562 w 10000"/>
                <a:gd name="connsiteY126" fmla="*/ 4697 h 10000"/>
                <a:gd name="connsiteX127" fmla="*/ 0 w 10000"/>
                <a:gd name="connsiteY127" fmla="*/ 5667 h 10000"/>
                <a:gd name="connsiteX128" fmla="*/ 241 w 10000"/>
                <a:gd name="connsiteY128" fmla="*/ 6030 h 10000"/>
                <a:gd name="connsiteX129" fmla="*/ 241 w 10000"/>
                <a:gd name="connsiteY129" fmla="*/ 6061 h 10000"/>
                <a:gd name="connsiteX130" fmla="*/ 241 w 10000"/>
                <a:gd name="connsiteY130" fmla="*/ 6091 h 10000"/>
                <a:gd name="connsiteX131" fmla="*/ 241 w 10000"/>
                <a:gd name="connsiteY131" fmla="*/ 7424 h 10000"/>
                <a:gd name="connsiteX132" fmla="*/ 823 w 10000"/>
                <a:gd name="connsiteY132" fmla="*/ 7424 h 10000"/>
                <a:gd name="connsiteX133" fmla="*/ 863 w 10000"/>
                <a:gd name="connsiteY133" fmla="*/ 7424 h 10000"/>
                <a:gd name="connsiteX134" fmla="*/ 863 w 10000"/>
                <a:gd name="connsiteY134" fmla="*/ 7455 h 10000"/>
                <a:gd name="connsiteX135" fmla="*/ 1165 w 10000"/>
                <a:gd name="connsiteY135" fmla="*/ 8091 h 10000"/>
                <a:gd name="connsiteX136" fmla="*/ 1707 w 10000"/>
                <a:gd name="connsiteY136" fmla="*/ 8091 h 10000"/>
                <a:gd name="connsiteX137" fmla="*/ 1727 w 10000"/>
                <a:gd name="connsiteY137" fmla="*/ 8091 h 10000"/>
                <a:gd name="connsiteX138" fmla="*/ 1747 w 10000"/>
                <a:gd name="connsiteY138" fmla="*/ 8121 h 10000"/>
                <a:gd name="connsiteX139" fmla="*/ 1847 w 10000"/>
                <a:gd name="connsiteY139" fmla="*/ 8515 h 10000"/>
                <a:gd name="connsiteX140" fmla="*/ 2329 w 10000"/>
                <a:gd name="connsiteY140" fmla="*/ 8970 h 10000"/>
                <a:gd name="connsiteX141" fmla="*/ 3133 w 10000"/>
                <a:gd name="connsiteY141" fmla="*/ 8909 h 10000"/>
                <a:gd name="connsiteX142" fmla="*/ 3133 w 10000"/>
                <a:gd name="connsiteY142" fmla="*/ 8909 h 10000"/>
                <a:gd name="connsiteX143" fmla="*/ 3353 w 10000"/>
                <a:gd name="connsiteY143" fmla="*/ 8788 h 10000"/>
                <a:gd name="connsiteX0" fmla="*/ 3353 w 10000"/>
                <a:gd name="connsiteY0" fmla="*/ 8788 h 10000"/>
                <a:gd name="connsiteX1" fmla="*/ 3534 w 10000"/>
                <a:gd name="connsiteY1" fmla="*/ 8485 h 10000"/>
                <a:gd name="connsiteX2" fmla="*/ 3594 w 10000"/>
                <a:gd name="connsiteY2" fmla="*/ 8273 h 10000"/>
                <a:gd name="connsiteX3" fmla="*/ 3594 w 10000"/>
                <a:gd name="connsiteY3" fmla="*/ 8242 h 10000"/>
                <a:gd name="connsiteX4" fmla="*/ 3635 w 10000"/>
                <a:gd name="connsiteY4" fmla="*/ 8242 h 10000"/>
                <a:gd name="connsiteX5" fmla="*/ 3976 w 10000"/>
                <a:gd name="connsiteY5" fmla="*/ 8242 h 10000"/>
                <a:gd name="connsiteX6" fmla="*/ 3996 w 10000"/>
                <a:gd name="connsiteY6" fmla="*/ 8242 h 10000"/>
                <a:gd name="connsiteX7" fmla="*/ 4016 w 10000"/>
                <a:gd name="connsiteY7" fmla="*/ 8273 h 10000"/>
                <a:gd name="connsiteX8" fmla="*/ 4378 w 10000"/>
                <a:gd name="connsiteY8" fmla="*/ 9061 h 10000"/>
                <a:gd name="connsiteX9" fmla="*/ 4940 w 10000"/>
                <a:gd name="connsiteY9" fmla="*/ 9182 h 10000"/>
                <a:gd name="connsiteX10" fmla="*/ 4960 w 10000"/>
                <a:gd name="connsiteY10" fmla="*/ 9182 h 10000"/>
                <a:gd name="connsiteX11" fmla="*/ 4980 w 10000"/>
                <a:gd name="connsiteY11" fmla="*/ 9212 h 10000"/>
                <a:gd name="connsiteX12" fmla="*/ 5060 w 10000"/>
                <a:gd name="connsiteY12" fmla="*/ 9818 h 10000"/>
                <a:gd name="connsiteX13" fmla="*/ 5221 w 10000"/>
                <a:gd name="connsiteY13" fmla="*/ 9818 h 10000"/>
                <a:gd name="connsiteX14" fmla="*/ 5221 w 10000"/>
                <a:gd name="connsiteY14" fmla="*/ 9727 h 10000"/>
                <a:gd name="connsiteX15" fmla="*/ 5241 w 10000"/>
                <a:gd name="connsiteY15" fmla="*/ 9636 h 10000"/>
                <a:gd name="connsiteX16" fmla="*/ 5281 w 10000"/>
                <a:gd name="connsiteY16" fmla="*/ 9667 h 10000"/>
                <a:gd name="connsiteX17" fmla="*/ 5522 w 10000"/>
                <a:gd name="connsiteY17" fmla="*/ 9758 h 10000"/>
                <a:gd name="connsiteX18" fmla="*/ 5542 w 10000"/>
                <a:gd name="connsiteY18" fmla="*/ 9758 h 10000"/>
                <a:gd name="connsiteX19" fmla="*/ 5542 w 10000"/>
                <a:gd name="connsiteY19" fmla="*/ 9758 h 10000"/>
                <a:gd name="connsiteX20" fmla="*/ 5743 w 10000"/>
                <a:gd name="connsiteY20" fmla="*/ 10000 h 10000"/>
                <a:gd name="connsiteX21" fmla="*/ 6084 w 10000"/>
                <a:gd name="connsiteY21" fmla="*/ 10000 h 10000"/>
                <a:gd name="connsiteX22" fmla="*/ 6500 w 10000"/>
                <a:gd name="connsiteY22" fmla="*/ 9635 h 10000"/>
                <a:gd name="connsiteX23" fmla="*/ 6305 w 10000"/>
                <a:gd name="connsiteY23" fmla="*/ 9242 h 10000"/>
                <a:gd name="connsiteX24" fmla="*/ 6515 w 10000"/>
                <a:gd name="connsiteY24" fmla="*/ 9240 h 10000"/>
                <a:gd name="connsiteX25" fmla="*/ 6535 w 10000"/>
                <a:gd name="connsiteY25" fmla="*/ 9049 h 10000"/>
                <a:gd name="connsiteX26" fmla="*/ 6727 w 10000"/>
                <a:gd name="connsiteY26" fmla="*/ 8667 h 10000"/>
                <a:gd name="connsiteX27" fmla="*/ 7269 w 10000"/>
                <a:gd name="connsiteY27" fmla="*/ 8061 h 10000"/>
                <a:gd name="connsiteX28" fmla="*/ 7289 w 10000"/>
                <a:gd name="connsiteY28" fmla="*/ 8061 h 10000"/>
                <a:gd name="connsiteX29" fmla="*/ 7309 w 10000"/>
                <a:gd name="connsiteY29" fmla="*/ 8061 h 10000"/>
                <a:gd name="connsiteX30" fmla="*/ 7550 w 10000"/>
                <a:gd name="connsiteY30" fmla="*/ 8152 h 10000"/>
                <a:gd name="connsiteX31" fmla="*/ 7570 w 10000"/>
                <a:gd name="connsiteY31" fmla="*/ 8152 h 10000"/>
                <a:gd name="connsiteX32" fmla="*/ 7590 w 10000"/>
                <a:gd name="connsiteY32" fmla="*/ 8212 h 10000"/>
                <a:gd name="connsiteX33" fmla="*/ 7631 w 10000"/>
                <a:gd name="connsiteY33" fmla="*/ 8939 h 10000"/>
                <a:gd name="connsiteX34" fmla="*/ 7932 w 10000"/>
                <a:gd name="connsiteY34" fmla="*/ 8970 h 10000"/>
                <a:gd name="connsiteX35" fmla="*/ 8173 w 10000"/>
                <a:gd name="connsiteY35" fmla="*/ 8485 h 10000"/>
                <a:gd name="connsiteX36" fmla="*/ 8173 w 10000"/>
                <a:gd name="connsiteY36" fmla="*/ 8485 h 10000"/>
                <a:gd name="connsiteX37" fmla="*/ 8193 w 10000"/>
                <a:gd name="connsiteY37" fmla="*/ 8485 h 10000"/>
                <a:gd name="connsiteX38" fmla="*/ 8534 w 10000"/>
                <a:gd name="connsiteY38" fmla="*/ 8152 h 10000"/>
                <a:gd name="connsiteX39" fmla="*/ 8635 w 10000"/>
                <a:gd name="connsiteY39" fmla="*/ 7667 h 10000"/>
                <a:gd name="connsiteX40" fmla="*/ 8655 w 10000"/>
                <a:gd name="connsiteY40" fmla="*/ 7606 h 10000"/>
                <a:gd name="connsiteX41" fmla="*/ 8675 w 10000"/>
                <a:gd name="connsiteY41" fmla="*/ 7606 h 10000"/>
                <a:gd name="connsiteX42" fmla="*/ 9036 w 10000"/>
                <a:gd name="connsiteY42" fmla="*/ 7545 h 10000"/>
                <a:gd name="connsiteX43" fmla="*/ 9177 w 10000"/>
                <a:gd name="connsiteY43" fmla="*/ 7182 h 10000"/>
                <a:gd name="connsiteX44" fmla="*/ 9177 w 10000"/>
                <a:gd name="connsiteY44" fmla="*/ 7152 h 10000"/>
                <a:gd name="connsiteX45" fmla="*/ 9177 w 10000"/>
                <a:gd name="connsiteY45" fmla="*/ 7152 h 10000"/>
                <a:gd name="connsiteX46" fmla="*/ 9458 w 10000"/>
                <a:gd name="connsiteY46" fmla="*/ 6909 h 10000"/>
                <a:gd name="connsiteX47" fmla="*/ 9458 w 10000"/>
                <a:gd name="connsiteY47" fmla="*/ 6909 h 10000"/>
                <a:gd name="connsiteX48" fmla="*/ 9458 w 10000"/>
                <a:gd name="connsiteY48" fmla="*/ 6909 h 10000"/>
                <a:gd name="connsiteX49" fmla="*/ 9699 w 10000"/>
                <a:gd name="connsiteY49" fmla="*/ 6848 h 10000"/>
                <a:gd name="connsiteX50" fmla="*/ 9859 w 10000"/>
                <a:gd name="connsiteY50" fmla="*/ 6727 h 10000"/>
                <a:gd name="connsiteX51" fmla="*/ 9839 w 10000"/>
                <a:gd name="connsiteY51" fmla="*/ 6667 h 10000"/>
                <a:gd name="connsiteX52" fmla="*/ 9819 w 10000"/>
                <a:gd name="connsiteY52" fmla="*/ 6667 h 10000"/>
                <a:gd name="connsiteX53" fmla="*/ 9819 w 10000"/>
                <a:gd name="connsiteY53" fmla="*/ 6667 h 10000"/>
                <a:gd name="connsiteX54" fmla="*/ 9779 w 10000"/>
                <a:gd name="connsiteY54" fmla="*/ 6424 h 10000"/>
                <a:gd name="connsiteX55" fmla="*/ 9598 w 10000"/>
                <a:gd name="connsiteY55" fmla="*/ 6394 h 10000"/>
                <a:gd name="connsiteX56" fmla="*/ 9538 w 10000"/>
                <a:gd name="connsiteY56" fmla="*/ 6364 h 10000"/>
                <a:gd name="connsiteX57" fmla="*/ 9578 w 10000"/>
                <a:gd name="connsiteY57" fmla="*/ 6303 h 10000"/>
                <a:gd name="connsiteX58" fmla="*/ 9859 w 10000"/>
                <a:gd name="connsiteY58" fmla="*/ 5545 h 10000"/>
                <a:gd name="connsiteX59" fmla="*/ 9880 w 10000"/>
                <a:gd name="connsiteY59" fmla="*/ 5545 h 10000"/>
                <a:gd name="connsiteX60" fmla="*/ 9880 w 10000"/>
                <a:gd name="connsiteY60" fmla="*/ 5515 h 10000"/>
                <a:gd name="connsiteX61" fmla="*/ 10000 w 10000"/>
                <a:gd name="connsiteY61" fmla="*/ 5424 h 10000"/>
                <a:gd name="connsiteX62" fmla="*/ 9799 w 10000"/>
                <a:gd name="connsiteY62" fmla="*/ 5061 h 10000"/>
                <a:gd name="connsiteX63" fmla="*/ 9779 w 10000"/>
                <a:gd name="connsiteY63" fmla="*/ 5030 h 10000"/>
                <a:gd name="connsiteX64" fmla="*/ 9779 w 10000"/>
                <a:gd name="connsiteY64" fmla="*/ 5030 h 10000"/>
                <a:gd name="connsiteX65" fmla="*/ 9759 w 10000"/>
                <a:gd name="connsiteY65" fmla="*/ 4727 h 10000"/>
                <a:gd name="connsiteX66" fmla="*/ 9759 w 10000"/>
                <a:gd name="connsiteY66" fmla="*/ 4727 h 10000"/>
                <a:gd name="connsiteX67" fmla="*/ 9759 w 10000"/>
                <a:gd name="connsiteY67" fmla="*/ 4697 h 10000"/>
                <a:gd name="connsiteX68" fmla="*/ 9920 w 10000"/>
                <a:gd name="connsiteY68" fmla="*/ 4303 h 10000"/>
                <a:gd name="connsiteX69" fmla="*/ 9920 w 10000"/>
                <a:gd name="connsiteY69" fmla="*/ 3333 h 10000"/>
                <a:gd name="connsiteX70" fmla="*/ 9719 w 10000"/>
                <a:gd name="connsiteY70" fmla="*/ 2606 h 10000"/>
                <a:gd name="connsiteX71" fmla="*/ 9679 w 10000"/>
                <a:gd name="connsiteY71" fmla="*/ 2455 h 10000"/>
                <a:gd name="connsiteX72" fmla="*/ 9257 w 10000"/>
                <a:gd name="connsiteY72" fmla="*/ 2394 h 10000"/>
                <a:gd name="connsiteX73" fmla="*/ 9177 w 10000"/>
                <a:gd name="connsiteY73" fmla="*/ 2394 h 10000"/>
                <a:gd name="connsiteX74" fmla="*/ 9177 w 10000"/>
                <a:gd name="connsiteY74" fmla="*/ 2394 h 10000"/>
                <a:gd name="connsiteX75" fmla="*/ 9177 w 10000"/>
                <a:gd name="connsiteY75" fmla="*/ 2394 h 10000"/>
                <a:gd name="connsiteX76" fmla="*/ 9177 w 10000"/>
                <a:gd name="connsiteY76" fmla="*/ 2394 h 10000"/>
                <a:gd name="connsiteX77" fmla="*/ 9177 w 10000"/>
                <a:gd name="connsiteY77" fmla="*/ 2394 h 10000"/>
                <a:gd name="connsiteX78" fmla="*/ 8815 w 10000"/>
                <a:gd name="connsiteY78" fmla="*/ 2242 h 10000"/>
                <a:gd name="connsiteX79" fmla="*/ 8635 w 10000"/>
                <a:gd name="connsiteY79" fmla="*/ 2212 h 10000"/>
                <a:gd name="connsiteX80" fmla="*/ 8614 w 10000"/>
                <a:gd name="connsiteY80" fmla="*/ 2212 h 10000"/>
                <a:gd name="connsiteX81" fmla="*/ 8614 w 10000"/>
                <a:gd name="connsiteY81" fmla="*/ 2182 h 10000"/>
                <a:gd name="connsiteX82" fmla="*/ 8434 w 10000"/>
                <a:gd name="connsiteY82" fmla="*/ 1667 h 10000"/>
                <a:gd name="connsiteX83" fmla="*/ 8032 w 10000"/>
                <a:gd name="connsiteY83" fmla="*/ 1788 h 10000"/>
                <a:gd name="connsiteX84" fmla="*/ 7510 w 10000"/>
                <a:gd name="connsiteY84" fmla="*/ 1970 h 10000"/>
                <a:gd name="connsiteX85" fmla="*/ 7490 w 10000"/>
                <a:gd name="connsiteY85" fmla="*/ 1970 h 10000"/>
                <a:gd name="connsiteX86" fmla="*/ 7470 w 10000"/>
                <a:gd name="connsiteY86" fmla="*/ 1939 h 10000"/>
                <a:gd name="connsiteX87" fmla="*/ 7229 w 10000"/>
                <a:gd name="connsiteY87" fmla="*/ 1364 h 10000"/>
                <a:gd name="connsiteX88" fmla="*/ 6948 w 10000"/>
                <a:gd name="connsiteY88" fmla="*/ 1000 h 10000"/>
                <a:gd name="connsiteX89" fmla="*/ 6466 w 10000"/>
                <a:gd name="connsiteY89" fmla="*/ 939 h 10000"/>
                <a:gd name="connsiteX90" fmla="*/ 5944 w 10000"/>
                <a:gd name="connsiteY90" fmla="*/ 818 h 10000"/>
                <a:gd name="connsiteX91" fmla="*/ 5743 w 10000"/>
                <a:gd name="connsiteY91" fmla="*/ 1182 h 10000"/>
                <a:gd name="connsiteX92" fmla="*/ 5703 w 10000"/>
                <a:gd name="connsiteY92" fmla="*/ 1212 h 10000"/>
                <a:gd name="connsiteX93" fmla="*/ 5683 w 10000"/>
                <a:gd name="connsiteY93" fmla="*/ 1152 h 10000"/>
                <a:gd name="connsiteX94" fmla="*/ 5402 w 10000"/>
                <a:gd name="connsiteY94" fmla="*/ 667 h 10000"/>
                <a:gd name="connsiteX95" fmla="*/ 5181 w 10000"/>
                <a:gd name="connsiteY95" fmla="*/ 515 h 10000"/>
                <a:gd name="connsiteX96" fmla="*/ 5161 w 10000"/>
                <a:gd name="connsiteY96" fmla="*/ 515 h 10000"/>
                <a:gd name="connsiteX97" fmla="*/ 5161 w 10000"/>
                <a:gd name="connsiteY97" fmla="*/ 485 h 10000"/>
                <a:gd name="connsiteX98" fmla="*/ 5120 w 10000"/>
                <a:gd name="connsiteY98" fmla="*/ 121 h 10000"/>
                <a:gd name="connsiteX99" fmla="*/ 4819 w 10000"/>
                <a:gd name="connsiteY99" fmla="*/ 0 h 10000"/>
                <a:gd name="connsiteX100" fmla="*/ 4578 w 10000"/>
                <a:gd name="connsiteY100" fmla="*/ 303 h 10000"/>
                <a:gd name="connsiteX101" fmla="*/ 4558 w 10000"/>
                <a:gd name="connsiteY101" fmla="*/ 333 h 10000"/>
                <a:gd name="connsiteX102" fmla="*/ 4538 w 10000"/>
                <a:gd name="connsiteY102" fmla="*/ 333 h 10000"/>
                <a:gd name="connsiteX103" fmla="*/ 4257 w 10000"/>
                <a:gd name="connsiteY103" fmla="*/ 182 h 10000"/>
                <a:gd name="connsiteX104" fmla="*/ 3896 w 10000"/>
                <a:gd name="connsiteY104" fmla="*/ 333 h 10000"/>
                <a:gd name="connsiteX105" fmla="*/ 3594 w 10000"/>
                <a:gd name="connsiteY105" fmla="*/ 818 h 10000"/>
                <a:gd name="connsiteX106" fmla="*/ 3916 w 10000"/>
                <a:gd name="connsiteY106" fmla="*/ 1758 h 10000"/>
                <a:gd name="connsiteX107" fmla="*/ 3916 w 10000"/>
                <a:gd name="connsiteY107" fmla="*/ 1788 h 10000"/>
                <a:gd name="connsiteX108" fmla="*/ 3916 w 10000"/>
                <a:gd name="connsiteY108" fmla="*/ 1788 h 10000"/>
                <a:gd name="connsiteX109" fmla="*/ 3916 w 10000"/>
                <a:gd name="connsiteY109" fmla="*/ 2333 h 10000"/>
                <a:gd name="connsiteX110" fmla="*/ 3916 w 10000"/>
                <a:gd name="connsiteY110" fmla="*/ 2364 h 10000"/>
                <a:gd name="connsiteX111" fmla="*/ 3896 w 10000"/>
                <a:gd name="connsiteY111" fmla="*/ 2364 h 10000"/>
                <a:gd name="connsiteX112" fmla="*/ 2751 w 10000"/>
                <a:gd name="connsiteY112" fmla="*/ 3758 h 10000"/>
                <a:gd name="connsiteX113" fmla="*/ 2731 w 10000"/>
                <a:gd name="connsiteY113" fmla="*/ 3788 h 10000"/>
                <a:gd name="connsiteX114" fmla="*/ 2711 w 10000"/>
                <a:gd name="connsiteY114" fmla="*/ 3758 h 10000"/>
                <a:gd name="connsiteX115" fmla="*/ 2470 w 10000"/>
                <a:gd name="connsiteY115" fmla="*/ 3293 h 10000"/>
                <a:gd name="connsiteX116" fmla="*/ 2189 w 10000"/>
                <a:gd name="connsiteY116" fmla="*/ 3818 h 10000"/>
                <a:gd name="connsiteX117" fmla="*/ 2169 w 10000"/>
                <a:gd name="connsiteY117" fmla="*/ 3818 h 10000"/>
                <a:gd name="connsiteX118" fmla="*/ 2149 w 10000"/>
                <a:gd name="connsiteY118" fmla="*/ 3848 h 10000"/>
                <a:gd name="connsiteX119" fmla="*/ 1988 w 10000"/>
                <a:gd name="connsiteY119" fmla="*/ 3939 h 10000"/>
                <a:gd name="connsiteX120" fmla="*/ 1968 w 10000"/>
                <a:gd name="connsiteY120" fmla="*/ 3939 h 10000"/>
                <a:gd name="connsiteX121" fmla="*/ 1968 w 10000"/>
                <a:gd name="connsiteY121" fmla="*/ 3939 h 10000"/>
                <a:gd name="connsiteX122" fmla="*/ 1526 w 10000"/>
                <a:gd name="connsiteY122" fmla="*/ 3818 h 10000"/>
                <a:gd name="connsiteX123" fmla="*/ 863 w 10000"/>
                <a:gd name="connsiteY123" fmla="*/ 3788 h 10000"/>
                <a:gd name="connsiteX124" fmla="*/ 582 w 10000"/>
                <a:gd name="connsiteY124" fmla="*/ 4667 h 10000"/>
                <a:gd name="connsiteX125" fmla="*/ 562 w 10000"/>
                <a:gd name="connsiteY125" fmla="*/ 4697 h 10000"/>
                <a:gd name="connsiteX126" fmla="*/ 562 w 10000"/>
                <a:gd name="connsiteY126" fmla="*/ 4697 h 10000"/>
                <a:gd name="connsiteX127" fmla="*/ 0 w 10000"/>
                <a:gd name="connsiteY127" fmla="*/ 5667 h 10000"/>
                <a:gd name="connsiteX128" fmla="*/ 241 w 10000"/>
                <a:gd name="connsiteY128" fmla="*/ 6030 h 10000"/>
                <a:gd name="connsiteX129" fmla="*/ 241 w 10000"/>
                <a:gd name="connsiteY129" fmla="*/ 6061 h 10000"/>
                <a:gd name="connsiteX130" fmla="*/ 241 w 10000"/>
                <a:gd name="connsiteY130" fmla="*/ 6091 h 10000"/>
                <a:gd name="connsiteX131" fmla="*/ 241 w 10000"/>
                <a:gd name="connsiteY131" fmla="*/ 7424 h 10000"/>
                <a:gd name="connsiteX132" fmla="*/ 823 w 10000"/>
                <a:gd name="connsiteY132" fmla="*/ 7424 h 10000"/>
                <a:gd name="connsiteX133" fmla="*/ 863 w 10000"/>
                <a:gd name="connsiteY133" fmla="*/ 7424 h 10000"/>
                <a:gd name="connsiteX134" fmla="*/ 863 w 10000"/>
                <a:gd name="connsiteY134" fmla="*/ 7455 h 10000"/>
                <a:gd name="connsiteX135" fmla="*/ 1165 w 10000"/>
                <a:gd name="connsiteY135" fmla="*/ 8091 h 10000"/>
                <a:gd name="connsiteX136" fmla="*/ 1707 w 10000"/>
                <a:gd name="connsiteY136" fmla="*/ 8091 h 10000"/>
                <a:gd name="connsiteX137" fmla="*/ 1727 w 10000"/>
                <a:gd name="connsiteY137" fmla="*/ 8091 h 10000"/>
                <a:gd name="connsiteX138" fmla="*/ 1747 w 10000"/>
                <a:gd name="connsiteY138" fmla="*/ 8121 h 10000"/>
                <a:gd name="connsiteX139" fmla="*/ 1847 w 10000"/>
                <a:gd name="connsiteY139" fmla="*/ 8515 h 10000"/>
                <a:gd name="connsiteX140" fmla="*/ 2329 w 10000"/>
                <a:gd name="connsiteY140" fmla="*/ 8970 h 10000"/>
                <a:gd name="connsiteX141" fmla="*/ 3133 w 10000"/>
                <a:gd name="connsiteY141" fmla="*/ 8909 h 10000"/>
                <a:gd name="connsiteX142" fmla="*/ 3133 w 10000"/>
                <a:gd name="connsiteY142" fmla="*/ 8909 h 10000"/>
                <a:gd name="connsiteX143" fmla="*/ 3353 w 10000"/>
                <a:gd name="connsiteY143" fmla="*/ 8788 h 10000"/>
                <a:gd name="connsiteX0" fmla="*/ 3353 w 10000"/>
                <a:gd name="connsiteY0" fmla="*/ 8788 h 10000"/>
                <a:gd name="connsiteX1" fmla="*/ 3534 w 10000"/>
                <a:gd name="connsiteY1" fmla="*/ 8485 h 10000"/>
                <a:gd name="connsiteX2" fmla="*/ 3594 w 10000"/>
                <a:gd name="connsiteY2" fmla="*/ 8273 h 10000"/>
                <a:gd name="connsiteX3" fmla="*/ 3594 w 10000"/>
                <a:gd name="connsiteY3" fmla="*/ 8242 h 10000"/>
                <a:gd name="connsiteX4" fmla="*/ 3635 w 10000"/>
                <a:gd name="connsiteY4" fmla="*/ 8242 h 10000"/>
                <a:gd name="connsiteX5" fmla="*/ 3976 w 10000"/>
                <a:gd name="connsiteY5" fmla="*/ 8242 h 10000"/>
                <a:gd name="connsiteX6" fmla="*/ 3996 w 10000"/>
                <a:gd name="connsiteY6" fmla="*/ 8242 h 10000"/>
                <a:gd name="connsiteX7" fmla="*/ 4016 w 10000"/>
                <a:gd name="connsiteY7" fmla="*/ 8273 h 10000"/>
                <a:gd name="connsiteX8" fmla="*/ 4378 w 10000"/>
                <a:gd name="connsiteY8" fmla="*/ 9061 h 10000"/>
                <a:gd name="connsiteX9" fmla="*/ 4940 w 10000"/>
                <a:gd name="connsiteY9" fmla="*/ 9182 h 10000"/>
                <a:gd name="connsiteX10" fmla="*/ 4960 w 10000"/>
                <a:gd name="connsiteY10" fmla="*/ 9182 h 10000"/>
                <a:gd name="connsiteX11" fmla="*/ 4980 w 10000"/>
                <a:gd name="connsiteY11" fmla="*/ 9212 h 10000"/>
                <a:gd name="connsiteX12" fmla="*/ 5060 w 10000"/>
                <a:gd name="connsiteY12" fmla="*/ 9818 h 10000"/>
                <a:gd name="connsiteX13" fmla="*/ 5221 w 10000"/>
                <a:gd name="connsiteY13" fmla="*/ 9818 h 10000"/>
                <a:gd name="connsiteX14" fmla="*/ 5221 w 10000"/>
                <a:gd name="connsiteY14" fmla="*/ 9727 h 10000"/>
                <a:gd name="connsiteX15" fmla="*/ 5241 w 10000"/>
                <a:gd name="connsiteY15" fmla="*/ 9636 h 10000"/>
                <a:gd name="connsiteX16" fmla="*/ 5281 w 10000"/>
                <a:gd name="connsiteY16" fmla="*/ 9667 h 10000"/>
                <a:gd name="connsiteX17" fmla="*/ 5522 w 10000"/>
                <a:gd name="connsiteY17" fmla="*/ 9758 h 10000"/>
                <a:gd name="connsiteX18" fmla="*/ 5542 w 10000"/>
                <a:gd name="connsiteY18" fmla="*/ 9758 h 10000"/>
                <a:gd name="connsiteX19" fmla="*/ 5542 w 10000"/>
                <a:gd name="connsiteY19" fmla="*/ 9758 h 10000"/>
                <a:gd name="connsiteX20" fmla="*/ 5743 w 10000"/>
                <a:gd name="connsiteY20" fmla="*/ 10000 h 10000"/>
                <a:gd name="connsiteX21" fmla="*/ 6084 w 10000"/>
                <a:gd name="connsiteY21" fmla="*/ 10000 h 10000"/>
                <a:gd name="connsiteX22" fmla="*/ 6500 w 10000"/>
                <a:gd name="connsiteY22" fmla="*/ 9635 h 10000"/>
                <a:gd name="connsiteX23" fmla="*/ 6502 w 10000"/>
                <a:gd name="connsiteY23" fmla="*/ 9472 h 10000"/>
                <a:gd name="connsiteX24" fmla="*/ 6515 w 10000"/>
                <a:gd name="connsiteY24" fmla="*/ 9240 h 10000"/>
                <a:gd name="connsiteX25" fmla="*/ 6535 w 10000"/>
                <a:gd name="connsiteY25" fmla="*/ 9049 h 10000"/>
                <a:gd name="connsiteX26" fmla="*/ 6727 w 10000"/>
                <a:gd name="connsiteY26" fmla="*/ 8667 h 10000"/>
                <a:gd name="connsiteX27" fmla="*/ 7269 w 10000"/>
                <a:gd name="connsiteY27" fmla="*/ 8061 h 10000"/>
                <a:gd name="connsiteX28" fmla="*/ 7289 w 10000"/>
                <a:gd name="connsiteY28" fmla="*/ 8061 h 10000"/>
                <a:gd name="connsiteX29" fmla="*/ 7309 w 10000"/>
                <a:gd name="connsiteY29" fmla="*/ 8061 h 10000"/>
                <a:gd name="connsiteX30" fmla="*/ 7550 w 10000"/>
                <a:gd name="connsiteY30" fmla="*/ 8152 h 10000"/>
                <a:gd name="connsiteX31" fmla="*/ 7570 w 10000"/>
                <a:gd name="connsiteY31" fmla="*/ 8152 h 10000"/>
                <a:gd name="connsiteX32" fmla="*/ 7590 w 10000"/>
                <a:gd name="connsiteY32" fmla="*/ 8212 h 10000"/>
                <a:gd name="connsiteX33" fmla="*/ 7631 w 10000"/>
                <a:gd name="connsiteY33" fmla="*/ 8939 h 10000"/>
                <a:gd name="connsiteX34" fmla="*/ 7932 w 10000"/>
                <a:gd name="connsiteY34" fmla="*/ 8970 h 10000"/>
                <a:gd name="connsiteX35" fmla="*/ 8173 w 10000"/>
                <a:gd name="connsiteY35" fmla="*/ 8485 h 10000"/>
                <a:gd name="connsiteX36" fmla="*/ 8173 w 10000"/>
                <a:gd name="connsiteY36" fmla="*/ 8485 h 10000"/>
                <a:gd name="connsiteX37" fmla="*/ 8193 w 10000"/>
                <a:gd name="connsiteY37" fmla="*/ 8485 h 10000"/>
                <a:gd name="connsiteX38" fmla="*/ 8534 w 10000"/>
                <a:gd name="connsiteY38" fmla="*/ 8152 h 10000"/>
                <a:gd name="connsiteX39" fmla="*/ 8635 w 10000"/>
                <a:gd name="connsiteY39" fmla="*/ 7667 h 10000"/>
                <a:gd name="connsiteX40" fmla="*/ 8655 w 10000"/>
                <a:gd name="connsiteY40" fmla="*/ 7606 h 10000"/>
                <a:gd name="connsiteX41" fmla="*/ 8675 w 10000"/>
                <a:gd name="connsiteY41" fmla="*/ 7606 h 10000"/>
                <a:gd name="connsiteX42" fmla="*/ 9036 w 10000"/>
                <a:gd name="connsiteY42" fmla="*/ 7545 h 10000"/>
                <a:gd name="connsiteX43" fmla="*/ 9177 w 10000"/>
                <a:gd name="connsiteY43" fmla="*/ 7182 h 10000"/>
                <a:gd name="connsiteX44" fmla="*/ 9177 w 10000"/>
                <a:gd name="connsiteY44" fmla="*/ 7152 h 10000"/>
                <a:gd name="connsiteX45" fmla="*/ 9177 w 10000"/>
                <a:gd name="connsiteY45" fmla="*/ 7152 h 10000"/>
                <a:gd name="connsiteX46" fmla="*/ 9458 w 10000"/>
                <a:gd name="connsiteY46" fmla="*/ 6909 h 10000"/>
                <a:gd name="connsiteX47" fmla="*/ 9458 w 10000"/>
                <a:gd name="connsiteY47" fmla="*/ 6909 h 10000"/>
                <a:gd name="connsiteX48" fmla="*/ 9458 w 10000"/>
                <a:gd name="connsiteY48" fmla="*/ 6909 h 10000"/>
                <a:gd name="connsiteX49" fmla="*/ 9699 w 10000"/>
                <a:gd name="connsiteY49" fmla="*/ 6848 h 10000"/>
                <a:gd name="connsiteX50" fmla="*/ 9859 w 10000"/>
                <a:gd name="connsiteY50" fmla="*/ 6727 h 10000"/>
                <a:gd name="connsiteX51" fmla="*/ 9839 w 10000"/>
                <a:gd name="connsiteY51" fmla="*/ 6667 h 10000"/>
                <a:gd name="connsiteX52" fmla="*/ 9819 w 10000"/>
                <a:gd name="connsiteY52" fmla="*/ 6667 h 10000"/>
                <a:gd name="connsiteX53" fmla="*/ 9819 w 10000"/>
                <a:gd name="connsiteY53" fmla="*/ 6667 h 10000"/>
                <a:gd name="connsiteX54" fmla="*/ 9779 w 10000"/>
                <a:gd name="connsiteY54" fmla="*/ 6424 h 10000"/>
                <a:gd name="connsiteX55" fmla="*/ 9598 w 10000"/>
                <a:gd name="connsiteY55" fmla="*/ 6394 h 10000"/>
                <a:gd name="connsiteX56" fmla="*/ 9538 w 10000"/>
                <a:gd name="connsiteY56" fmla="*/ 6364 h 10000"/>
                <a:gd name="connsiteX57" fmla="*/ 9578 w 10000"/>
                <a:gd name="connsiteY57" fmla="*/ 6303 h 10000"/>
                <a:gd name="connsiteX58" fmla="*/ 9859 w 10000"/>
                <a:gd name="connsiteY58" fmla="*/ 5545 h 10000"/>
                <a:gd name="connsiteX59" fmla="*/ 9880 w 10000"/>
                <a:gd name="connsiteY59" fmla="*/ 5545 h 10000"/>
                <a:gd name="connsiteX60" fmla="*/ 9880 w 10000"/>
                <a:gd name="connsiteY60" fmla="*/ 5515 h 10000"/>
                <a:gd name="connsiteX61" fmla="*/ 10000 w 10000"/>
                <a:gd name="connsiteY61" fmla="*/ 5424 h 10000"/>
                <a:gd name="connsiteX62" fmla="*/ 9799 w 10000"/>
                <a:gd name="connsiteY62" fmla="*/ 5061 h 10000"/>
                <a:gd name="connsiteX63" fmla="*/ 9779 w 10000"/>
                <a:gd name="connsiteY63" fmla="*/ 5030 h 10000"/>
                <a:gd name="connsiteX64" fmla="*/ 9779 w 10000"/>
                <a:gd name="connsiteY64" fmla="*/ 5030 h 10000"/>
                <a:gd name="connsiteX65" fmla="*/ 9759 w 10000"/>
                <a:gd name="connsiteY65" fmla="*/ 4727 h 10000"/>
                <a:gd name="connsiteX66" fmla="*/ 9759 w 10000"/>
                <a:gd name="connsiteY66" fmla="*/ 4727 h 10000"/>
                <a:gd name="connsiteX67" fmla="*/ 9759 w 10000"/>
                <a:gd name="connsiteY67" fmla="*/ 4697 h 10000"/>
                <a:gd name="connsiteX68" fmla="*/ 9920 w 10000"/>
                <a:gd name="connsiteY68" fmla="*/ 4303 h 10000"/>
                <a:gd name="connsiteX69" fmla="*/ 9920 w 10000"/>
                <a:gd name="connsiteY69" fmla="*/ 3333 h 10000"/>
                <a:gd name="connsiteX70" fmla="*/ 9719 w 10000"/>
                <a:gd name="connsiteY70" fmla="*/ 2606 h 10000"/>
                <a:gd name="connsiteX71" fmla="*/ 9679 w 10000"/>
                <a:gd name="connsiteY71" fmla="*/ 2455 h 10000"/>
                <a:gd name="connsiteX72" fmla="*/ 9257 w 10000"/>
                <a:gd name="connsiteY72" fmla="*/ 2394 h 10000"/>
                <a:gd name="connsiteX73" fmla="*/ 9177 w 10000"/>
                <a:gd name="connsiteY73" fmla="*/ 2394 h 10000"/>
                <a:gd name="connsiteX74" fmla="*/ 9177 w 10000"/>
                <a:gd name="connsiteY74" fmla="*/ 2394 h 10000"/>
                <a:gd name="connsiteX75" fmla="*/ 9177 w 10000"/>
                <a:gd name="connsiteY75" fmla="*/ 2394 h 10000"/>
                <a:gd name="connsiteX76" fmla="*/ 9177 w 10000"/>
                <a:gd name="connsiteY76" fmla="*/ 2394 h 10000"/>
                <a:gd name="connsiteX77" fmla="*/ 9177 w 10000"/>
                <a:gd name="connsiteY77" fmla="*/ 2394 h 10000"/>
                <a:gd name="connsiteX78" fmla="*/ 8815 w 10000"/>
                <a:gd name="connsiteY78" fmla="*/ 2242 h 10000"/>
                <a:gd name="connsiteX79" fmla="*/ 8635 w 10000"/>
                <a:gd name="connsiteY79" fmla="*/ 2212 h 10000"/>
                <a:gd name="connsiteX80" fmla="*/ 8614 w 10000"/>
                <a:gd name="connsiteY80" fmla="*/ 2212 h 10000"/>
                <a:gd name="connsiteX81" fmla="*/ 8614 w 10000"/>
                <a:gd name="connsiteY81" fmla="*/ 2182 h 10000"/>
                <a:gd name="connsiteX82" fmla="*/ 8434 w 10000"/>
                <a:gd name="connsiteY82" fmla="*/ 1667 h 10000"/>
                <a:gd name="connsiteX83" fmla="*/ 8032 w 10000"/>
                <a:gd name="connsiteY83" fmla="*/ 1788 h 10000"/>
                <a:gd name="connsiteX84" fmla="*/ 7510 w 10000"/>
                <a:gd name="connsiteY84" fmla="*/ 1970 h 10000"/>
                <a:gd name="connsiteX85" fmla="*/ 7490 w 10000"/>
                <a:gd name="connsiteY85" fmla="*/ 1970 h 10000"/>
                <a:gd name="connsiteX86" fmla="*/ 7470 w 10000"/>
                <a:gd name="connsiteY86" fmla="*/ 1939 h 10000"/>
                <a:gd name="connsiteX87" fmla="*/ 7229 w 10000"/>
                <a:gd name="connsiteY87" fmla="*/ 1364 h 10000"/>
                <a:gd name="connsiteX88" fmla="*/ 6948 w 10000"/>
                <a:gd name="connsiteY88" fmla="*/ 1000 h 10000"/>
                <a:gd name="connsiteX89" fmla="*/ 6466 w 10000"/>
                <a:gd name="connsiteY89" fmla="*/ 939 h 10000"/>
                <a:gd name="connsiteX90" fmla="*/ 5944 w 10000"/>
                <a:gd name="connsiteY90" fmla="*/ 818 h 10000"/>
                <a:gd name="connsiteX91" fmla="*/ 5743 w 10000"/>
                <a:gd name="connsiteY91" fmla="*/ 1182 h 10000"/>
                <a:gd name="connsiteX92" fmla="*/ 5703 w 10000"/>
                <a:gd name="connsiteY92" fmla="*/ 1212 h 10000"/>
                <a:gd name="connsiteX93" fmla="*/ 5683 w 10000"/>
                <a:gd name="connsiteY93" fmla="*/ 1152 h 10000"/>
                <a:gd name="connsiteX94" fmla="*/ 5402 w 10000"/>
                <a:gd name="connsiteY94" fmla="*/ 667 h 10000"/>
                <a:gd name="connsiteX95" fmla="*/ 5181 w 10000"/>
                <a:gd name="connsiteY95" fmla="*/ 515 h 10000"/>
                <a:gd name="connsiteX96" fmla="*/ 5161 w 10000"/>
                <a:gd name="connsiteY96" fmla="*/ 515 h 10000"/>
                <a:gd name="connsiteX97" fmla="*/ 5161 w 10000"/>
                <a:gd name="connsiteY97" fmla="*/ 485 h 10000"/>
                <a:gd name="connsiteX98" fmla="*/ 5120 w 10000"/>
                <a:gd name="connsiteY98" fmla="*/ 121 h 10000"/>
                <a:gd name="connsiteX99" fmla="*/ 4819 w 10000"/>
                <a:gd name="connsiteY99" fmla="*/ 0 h 10000"/>
                <a:gd name="connsiteX100" fmla="*/ 4578 w 10000"/>
                <a:gd name="connsiteY100" fmla="*/ 303 h 10000"/>
                <a:gd name="connsiteX101" fmla="*/ 4558 w 10000"/>
                <a:gd name="connsiteY101" fmla="*/ 333 h 10000"/>
                <a:gd name="connsiteX102" fmla="*/ 4538 w 10000"/>
                <a:gd name="connsiteY102" fmla="*/ 333 h 10000"/>
                <a:gd name="connsiteX103" fmla="*/ 4257 w 10000"/>
                <a:gd name="connsiteY103" fmla="*/ 182 h 10000"/>
                <a:gd name="connsiteX104" fmla="*/ 3896 w 10000"/>
                <a:gd name="connsiteY104" fmla="*/ 333 h 10000"/>
                <a:gd name="connsiteX105" fmla="*/ 3594 w 10000"/>
                <a:gd name="connsiteY105" fmla="*/ 818 h 10000"/>
                <a:gd name="connsiteX106" fmla="*/ 3916 w 10000"/>
                <a:gd name="connsiteY106" fmla="*/ 1758 h 10000"/>
                <a:gd name="connsiteX107" fmla="*/ 3916 w 10000"/>
                <a:gd name="connsiteY107" fmla="*/ 1788 h 10000"/>
                <a:gd name="connsiteX108" fmla="*/ 3916 w 10000"/>
                <a:gd name="connsiteY108" fmla="*/ 1788 h 10000"/>
                <a:gd name="connsiteX109" fmla="*/ 3916 w 10000"/>
                <a:gd name="connsiteY109" fmla="*/ 2333 h 10000"/>
                <a:gd name="connsiteX110" fmla="*/ 3916 w 10000"/>
                <a:gd name="connsiteY110" fmla="*/ 2364 h 10000"/>
                <a:gd name="connsiteX111" fmla="*/ 3896 w 10000"/>
                <a:gd name="connsiteY111" fmla="*/ 2364 h 10000"/>
                <a:gd name="connsiteX112" fmla="*/ 2751 w 10000"/>
                <a:gd name="connsiteY112" fmla="*/ 3758 h 10000"/>
                <a:gd name="connsiteX113" fmla="*/ 2731 w 10000"/>
                <a:gd name="connsiteY113" fmla="*/ 3788 h 10000"/>
                <a:gd name="connsiteX114" fmla="*/ 2711 w 10000"/>
                <a:gd name="connsiteY114" fmla="*/ 3758 h 10000"/>
                <a:gd name="connsiteX115" fmla="*/ 2470 w 10000"/>
                <a:gd name="connsiteY115" fmla="*/ 3293 h 10000"/>
                <a:gd name="connsiteX116" fmla="*/ 2189 w 10000"/>
                <a:gd name="connsiteY116" fmla="*/ 3818 h 10000"/>
                <a:gd name="connsiteX117" fmla="*/ 2169 w 10000"/>
                <a:gd name="connsiteY117" fmla="*/ 3818 h 10000"/>
                <a:gd name="connsiteX118" fmla="*/ 2149 w 10000"/>
                <a:gd name="connsiteY118" fmla="*/ 3848 h 10000"/>
                <a:gd name="connsiteX119" fmla="*/ 1988 w 10000"/>
                <a:gd name="connsiteY119" fmla="*/ 3939 h 10000"/>
                <a:gd name="connsiteX120" fmla="*/ 1968 w 10000"/>
                <a:gd name="connsiteY120" fmla="*/ 3939 h 10000"/>
                <a:gd name="connsiteX121" fmla="*/ 1968 w 10000"/>
                <a:gd name="connsiteY121" fmla="*/ 3939 h 10000"/>
                <a:gd name="connsiteX122" fmla="*/ 1526 w 10000"/>
                <a:gd name="connsiteY122" fmla="*/ 3818 h 10000"/>
                <a:gd name="connsiteX123" fmla="*/ 863 w 10000"/>
                <a:gd name="connsiteY123" fmla="*/ 3788 h 10000"/>
                <a:gd name="connsiteX124" fmla="*/ 582 w 10000"/>
                <a:gd name="connsiteY124" fmla="*/ 4667 h 10000"/>
                <a:gd name="connsiteX125" fmla="*/ 562 w 10000"/>
                <a:gd name="connsiteY125" fmla="*/ 4697 h 10000"/>
                <a:gd name="connsiteX126" fmla="*/ 562 w 10000"/>
                <a:gd name="connsiteY126" fmla="*/ 4697 h 10000"/>
                <a:gd name="connsiteX127" fmla="*/ 0 w 10000"/>
                <a:gd name="connsiteY127" fmla="*/ 5667 h 10000"/>
                <a:gd name="connsiteX128" fmla="*/ 241 w 10000"/>
                <a:gd name="connsiteY128" fmla="*/ 6030 h 10000"/>
                <a:gd name="connsiteX129" fmla="*/ 241 w 10000"/>
                <a:gd name="connsiteY129" fmla="*/ 6061 h 10000"/>
                <a:gd name="connsiteX130" fmla="*/ 241 w 10000"/>
                <a:gd name="connsiteY130" fmla="*/ 6091 h 10000"/>
                <a:gd name="connsiteX131" fmla="*/ 241 w 10000"/>
                <a:gd name="connsiteY131" fmla="*/ 7424 h 10000"/>
                <a:gd name="connsiteX132" fmla="*/ 823 w 10000"/>
                <a:gd name="connsiteY132" fmla="*/ 7424 h 10000"/>
                <a:gd name="connsiteX133" fmla="*/ 863 w 10000"/>
                <a:gd name="connsiteY133" fmla="*/ 7424 h 10000"/>
                <a:gd name="connsiteX134" fmla="*/ 863 w 10000"/>
                <a:gd name="connsiteY134" fmla="*/ 7455 h 10000"/>
                <a:gd name="connsiteX135" fmla="*/ 1165 w 10000"/>
                <a:gd name="connsiteY135" fmla="*/ 8091 h 10000"/>
                <a:gd name="connsiteX136" fmla="*/ 1707 w 10000"/>
                <a:gd name="connsiteY136" fmla="*/ 8091 h 10000"/>
                <a:gd name="connsiteX137" fmla="*/ 1727 w 10000"/>
                <a:gd name="connsiteY137" fmla="*/ 8091 h 10000"/>
                <a:gd name="connsiteX138" fmla="*/ 1747 w 10000"/>
                <a:gd name="connsiteY138" fmla="*/ 8121 h 10000"/>
                <a:gd name="connsiteX139" fmla="*/ 1847 w 10000"/>
                <a:gd name="connsiteY139" fmla="*/ 8515 h 10000"/>
                <a:gd name="connsiteX140" fmla="*/ 2329 w 10000"/>
                <a:gd name="connsiteY140" fmla="*/ 8970 h 10000"/>
                <a:gd name="connsiteX141" fmla="*/ 3133 w 10000"/>
                <a:gd name="connsiteY141" fmla="*/ 8909 h 10000"/>
                <a:gd name="connsiteX142" fmla="*/ 3133 w 10000"/>
                <a:gd name="connsiteY142" fmla="*/ 8909 h 10000"/>
                <a:gd name="connsiteX143" fmla="*/ 3353 w 10000"/>
                <a:gd name="connsiteY143" fmla="*/ 8788 h 10000"/>
                <a:gd name="connsiteX0" fmla="*/ 3353 w 10000"/>
                <a:gd name="connsiteY0" fmla="*/ 8788 h 10000"/>
                <a:gd name="connsiteX1" fmla="*/ 3534 w 10000"/>
                <a:gd name="connsiteY1" fmla="*/ 8485 h 10000"/>
                <a:gd name="connsiteX2" fmla="*/ 3594 w 10000"/>
                <a:gd name="connsiteY2" fmla="*/ 8273 h 10000"/>
                <a:gd name="connsiteX3" fmla="*/ 3594 w 10000"/>
                <a:gd name="connsiteY3" fmla="*/ 8242 h 10000"/>
                <a:gd name="connsiteX4" fmla="*/ 3771 w 10000"/>
                <a:gd name="connsiteY4" fmla="*/ 8518 h 10000"/>
                <a:gd name="connsiteX5" fmla="*/ 3976 w 10000"/>
                <a:gd name="connsiteY5" fmla="*/ 8242 h 10000"/>
                <a:gd name="connsiteX6" fmla="*/ 3996 w 10000"/>
                <a:gd name="connsiteY6" fmla="*/ 8242 h 10000"/>
                <a:gd name="connsiteX7" fmla="*/ 4016 w 10000"/>
                <a:gd name="connsiteY7" fmla="*/ 8273 h 10000"/>
                <a:gd name="connsiteX8" fmla="*/ 4378 w 10000"/>
                <a:gd name="connsiteY8" fmla="*/ 9061 h 10000"/>
                <a:gd name="connsiteX9" fmla="*/ 4940 w 10000"/>
                <a:gd name="connsiteY9" fmla="*/ 9182 h 10000"/>
                <a:gd name="connsiteX10" fmla="*/ 4960 w 10000"/>
                <a:gd name="connsiteY10" fmla="*/ 9182 h 10000"/>
                <a:gd name="connsiteX11" fmla="*/ 4980 w 10000"/>
                <a:gd name="connsiteY11" fmla="*/ 9212 h 10000"/>
                <a:gd name="connsiteX12" fmla="*/ 5060 w 10000"/>
                <a:gd name="connsiteY12" fmla="*/ 9818 h 10000"/>
                <a:gd name="connsiteX13" fmla="*/ 5221 w 10000"/>
                <a:gd name="connsiteY13" fmla="*/ 9818 h 10000"/>
                <a:gd name="connsiteX14" fmla="*/ 5221 w 10000"/>
                <a:gd name="connsiteY14" fmla="*/ 9727 h 10000"/>
                <a:gd name="connsiteX15" fmla="*/ 5241 w 10000"/>
                <a:gd name="connsiteY15" fmla="*/ 9636 h 10000"/>
                <a:gd name="connsiteX16" fmla="*/ 5281 w 10000"/>
                <a:gd name="connsiteY16" fmla="*/ 9667 h 10000"/>
                <a:gd name="connsiteX17" fmla="*/ 5522 w 10000"/>
                <a:gd name="connsiteY17" fmla="*/ 9758 h 10000"/>
                <a:gd name="connsiteX18" fmla="*/ 5542 w 10000"/>
                <a:gd name="connsiteY18" fmla="*/ 9758 h 10000"/>
                <a:gd name="connsiteX19" fmla="*/ 5542 w 10000"/>
                <a:gd name="connsiteY19" fmla="*/ 9758 h 10000"/>
                <a:gd name="connsiteX20" fmla="*/ 5743 w 10000"/>
                <a:gd name="connsiteY20" fmla="*/ 10000 h 10000"/>
                <a:gd name="connsiteX21" fmla="*/ 6084 w 10000"/>
                <a:gd name="connsiteY21" fmla="*/ 10000 h 10000"/>
                <a:gd name="connsiteX22" fmla="*/ 6500 w 10000"/>
                <a:gd name="connsiteY22" fmla="*/ 9635 h 10000"/>
                <a:gd name="connsiteX23" fmla="*/ 6502 w 10000"/>
                <a:gd name="connsiteY23" fmla="*/ 9472 h 10000"/>
                <a:gd name="connsiteX24" fmla="*/ 6515 w 10000"/>
                <a:gd name="connsiteY24" fmla="*/ 9240 h 10000"/>
                <a:gd name="connsiteX25" fmla="*/ 6535 w 10000"/>
                <a:gd name="connsiteY25" fmla="*/ 9049 h 10000"/>
                <a:gd name="connsiteX26" fmla="*/ 6727 w 10000"/>
                <a:gd name="connsiteY26" fmla="*/ 8667 h 10000"/>
                <a:gd name="connsiteX27" fmla="*/ 7269 w 10000"/>
                <a:gd name="connsiteY27" fmla="*/ 8061 h 10000"/>
                <a:gd name="connsiteX28" fmla="*/ 7289 w 10000"/>
                <a:gd name="connsiteY28" fmla="*/ 8061 h 10000"/>
                <a:gd name="connsiteX29" fmla="*/ 7309 w 10000"/>
                <a:gd name="connsiteY29" fmla="*/ 8061 h 10000"/>
                <a:gd name="connsiteX30" fmla="*/ 7550 w 10000"/>
                <a:gd name="connsiteY30" fmla="*/ 8152 h 10000"/>
                <a:gd name="connsiteX31" fmla="*/ 7570 w 10000"/>
                <a:gd name="connsiteY31" fmla="*/ 8152 h 10000"/>
                <a:gd name="connsiteX32" fmla="*/ 7590 w 10000"/>
                <a:gd name="connsiteY32" fmla="*/ 8212 h 10000"/>
                <a:gd name="connsiteX33" fmla="*/ 7631 w 10000"/>
                <a:gd name="connsiteY33" fmla="*/ 8939 h 10000"/>
                <a:gd name="connsiteX34" fmla="*/ 7932 w 10000"/>
                <a:gd name="connsiteY34" fmla="*/ 8970 h 10000"/>
                <a:gd name="connsiteX35" fmla="*/ 8173 w 10000"/>
                <a:gd name="connsiteY35" fmla="*/ 8485 h 10000"/>
                <a:gd name="connsiteX36" fmla="*/ 8173 w 10000"/>
                <a:gd name="connsiteY36" fmla="*/ 8485 h 10000"/>
                <a:gd name="connsiteX37" fmla="*/ 8193 w 10000"/>
                <a:gd name="connsiteY37" fmla="*/ 8485 h 10000"/>
                <a:gd name="connsiteX38" fmla="*/ 8534 w 10000"/>
                <a:gd name="connsiteY38" fmla="*/ 8152 h 10000"/>
                <a:gd name="connsiteX39" fmla="*/ 8635 w 10000"/>
                <a:gd name="connsiteY39" fmla="*/ 7667 h 10000"/>
                <a:gd name="connsiteX40" fmla="*/ 8655 w 10000"/>
                <a:gd name="connsiteY40" fmla="*/ 7606 h 10000"/>
                <a:gd name="connsiteX41" fmla="*/ 8675 w 10000"/>
                <a:gd name="connsiteY41" fmla="*/ 7606 h 10000"/>
                <a:gd name="connsiteX42" fmla="*/ 9036 w 10000"/>
                <a:gd name="connsiteY42" fmla="*/ 7545 h 10000"/>
                <a:gd name="connsiteX43" fmla="*/ 9177 w 10000"/>
                <a:gd name="connsiteY43" fmla="*/ 7182 h 10000"/>
                <a:gd name="connsiteX44" fmla="*/ 9177 w 10000"/>
                <a:gd name="connsiteY44" fmla="*/ 7152 h 10000"/>
                <a:gd name="connsiteX45" fmla="*/ 9177 w 10000"/>
                <a:gd name="connsiteY45" fmla="*/ 7152 h 10000"/>
                <a:gd name="connsiteX46" fmla="*/ 9458 w 10000"/>
                <a:gd name="connsiteY46" fmla="*/ 6909 h 10000"/>
                <a:gd name="connsiteX47" fmla="*/ 9458 w 10000"/>
                <a:gd name="connsiteY47" fmla="*/ 6909 h 10000"/>
                <a:gd name="connsiteX48" fmla="*/ 9458 w 10000"/>
                <a:gd name="connsiteY48" fmla="*/ 6909 h 10000"/>
                <a:gd name="connsiteX49" fmla="*/ 9699 w 10000"/>
                <a:gd name="connsiteY49" fmla="*/ 6848 h 10000"/>
                <a:gd name="connsiteX50" fmla="*/ 9859 w 10000"/>
                <a:gd name="connsiteY50" fmla="*/ 6727 h 10000"/>
                <a:gd name="connsiteX51" fmla="*/ 9839 w 10000"/>
                <a:gd name="connsiteY51" fmla="*/ 6667 h 10000"/>
                <a:gd name="connsiteX52" fmla="*/ 9819 w 10000"/>
                <a:gd name="connsiteY52" fmla="*/ 6667 h 10000"/>
                <a:gd name="connsiteX53" fmla="*/ 9819 w 10000"/>
                <a:gd name="connsiteY53" fmla="*/ 6667 h 10000"/>
                <a:gd name="connsiteX54" fmla="*/ 9779 w 10000"/>
                <a:gd name="connsiteY54" fmla="*/ 6424 h 10000"/>
                <a:gd name="connsiteX55" fmla="*/ 9598 w 10000"/>
                <a:gd name="connsiteY55" fmla="*/ 6394 h 10000"/>
                <a:gd name="connsiteX56" fmla="*/ 9538 w 10000"/>
                <a:gd name="connsiteY56" fmla="*/ 6364 h 10000"/>
                <a:gd name="connsiteX57" fmla="*/ 9578 w 10000"/>
                <a:gd name="connsiteY57" fmla="*/ 6303 h 10000"/>
                <a:gd name="connsiteX58" fmla="*/ 9859 w 10000"/>
                <a:gd name="connsiteY58" fmla="*/ 5545 h 10000"/>
                <a:gd name="connsiteX59" fmla="*/ 9880 w 10000"/>
                <a:gd name="connsiteY59" fmla="*/ 5545 h 10000"/>
                <a:gd name="connsiteX60" fmla="*/ 9880 w 10000"/>
                <a:gd name="connsiteY60" fmla="*/ 5515 h 10000"/>
                <a:gd name="connsiteX61" fmla="*/ 10000 w 10000"/>
                <a:gd name="connsiteY61" fmla="*/ 5424 h 10000"/>
                <a:gd name="connsiteX62" fmla="*/ 9799 w 10000"/>
                <a:gd name="connsiteY62" fmla="*/ 5061 h 10000"/>
                <a:gd name="connsiteX63" fmla="*/ 9779 w 10000"/>
                <a:gd name="connsiteY63" fmla="*/ 5030 h 10000"/>
                <a:gd name="connsiteX64" fmla="*/ 9779 w 10000"/>
                <a:gd name="connsiteY64" fmla="*/ 5030 h 10000"/>
                <a:gd name="connsiteX65" fmla="*/ 9759 w 10000"/>
                <a:gd name="connsiteY65" fmla="*/ 4727 h 10000"/>
                <a:gd name="connsiteX66" fmla="*/ 9759 w 10000"/>
                <a:gd name="connsiteY66" fmla="*/ 4727 h 10000"/>
                <a:gd name="connsiteX67" fmla="*/ 9759 w 10000"/>
                <a:gd name="connsiteY67" fmla="*/ 4697 h 10000"/>
                <a:gd name="connsiteX68" fmla="*/ 9920 w 10000"/>
                <a:gd name="connsiteY68" fmla="*/ 4303 h 10000"/>
                <a:gd name="connsiteX69" fmla="*/ 9920 w 10000"/>
                <a:gd name="connsiteY69" fmla="*/ 3333 h 10000"/>
                <a:gd name="connsiteX70" fmla="*/ 9719 w 10000"/>
                <a:gd name="connsiteY70" fmla="*/ 2606 h 10000"/>
                <a:gd name="connsiteX71" fmla="*/ 9679 w 10000"/>
                <a:gd name="connsiteY71" fmla="*/ 2455 h 10000"/>
                <a:gd name="connsiteX72" fmla="*/ 9257 w 10000"/>
                <a:gd name="connsiteY72" fmla="*/ 2394 h 10000"/>
                <a:gd name="connsiteX73" fmla="*/ 9177 w 10000"/>
                <a:gd name="connsiteY73" fmla="*/ 2394 h 10000"/>
                <a:gd name="connsiteX74" fmla="*/ 9177 w 10000"/>
                <a:gd name="connsiteY74" fmla="*/ 2394 h 10000"/>
                <a:gd name="connsiteX75" fmla="*/ 9177 w 10000"/>
                <a:gd name="connsiteY75" fmla="*/ 2394 h 10000"/>
                <a:gd name="connsiteX76" fmla="*/ 9177 w 10000"/>
                <a:gd name="connsiteY76" fmla="*/ 2394 h 10000"/>
                <a:gd name="connsiteX77" fmla="*/ 9177 w 10000"/>
                <a:gd name="connsiteY77" fmla="*/ 2394 h 10000"/>
                <a:gd name="connsiteX78" fmla="*/ 8815 w 10000"/>
                <a:gd name="connsiteY78" fmla="*/ 2242 h 10000"/>
                <a:gd name="connsiteX79" fmla="*/ 8635 w 10000"/>
                <a:gd name="connsiteY79" fmla="*/ 2212 h 10000"/>
                <a:gd name="connsiteX80" fmla="*/ 8614 w 10000"/>
                <a:gd name="connsiteY80" fmla="*/ 2212 h 10000"/>
                <a:gd name="connsiteX81" fmla="*/ 8614 w 10000"/>
                <a:gd name="connsiteY81" fmla="*/ 2182 h 10000"/>
                <a:gd name="connsiteX82" fmla="*/ 8434 w 10000"/>
                <a:gd name="connsiteY82" fmla="*/ 1667 h 10000"/>
                <a:gd name="connsiteX83" fmla="*/ 8032 w 10000"/>
                <a:gd name="connsiteY83" fmla="*/ 1788 h 10000"/>
                <a:gd name="connsiteX84" fmla="*/ 7510 w 10000"/>
                <a:gd name="connsiteY84" fmla="*/ 1970 h 10000"/>
                <a:gd name="connsiteX85" fmla="*/ 7490 w 10000"/>
                <a:gd name="connsiteY85" fmla="*/ 1970 h 10000"/>
                <a:gd name="connsiteX86" fmla="*/ 7470 w 10000"/>
                <a:gd name="connsiteY86" fmla="*/ 1939 h 10000"/>
                <a:gd name="connsiteX87" fmla="*/ 7229 w 10000"/>
                <a:gd name="connsiteY87" fmla="*/ 1364 h 10000"/>
                <a:gd name="connsiteX88" fmla="*/ 6948 w 10000"/>
                <a:gd name="connsiteY88" fmla="*/ 1000 h 10000"/>
                <a:gd name="connsiteX89" fmla="*/ 6466 w 10000"/>
                <a:gd name="connsiteY89" fmla="*/ 939 h 10000"/>
                <a:gd name="connsiteX90" fmla="*/ 5944 w 10000"/>
                <a:gd name="connsiteY90" fmla="*/ 818 h 10000"/>
                <a:gd name="connsiteX91" fmla="*/ 5743 w 10000"/>
                <a:gd name="connsiteY91" fmla="*/ 1182 h 10000"/>
                <a:gd name="connsiteX92" fmla="*/ 5703 w 10000"/>
                <a:gd name="connsiteY92" fmla="*/ 1212 h 10000"/>
                <a:gd name="connsiteX93" fmla="*/ 5683 w 10000"/>
                <a:gd name="connsiteY93" fmla="*/ 1152 h 10000"/>
                <a:gd name="connsiteX94" fmla="*/ 5402 w 10000"/>
                <a:gd name="connsiteY94" fmla="*/ 667 h 10000"/>
                <a:gd name="connsiteX95" fmla="*/ 5181 w 10000"/>
                <a:gd name="connsiteY95" fmla="*/ 515 h 10000"/>
                <a:gd name="connsiteX96" fmla="*/ 5161 w 10000"/>
                <a:gd name="connsiteY96" fmla="*/ 515 h 10000"/>
                <a:gd name="connsiteX97" fmla="*/ 5161 w 10000"/>
                <a:gd name="connsiteY97" fmla="*/ 485 h 10000"/>
                <a:gd name="connsiteX98" fmla="*/ 5120 w 10000"/>
                <a:gd name="connsiteY98" fmla="*/ 121 h 10000"/>
                <a:gd name="connsiteX99" fmla="*/ 4819 w 10000"/>
                <a:gd name="connsiteY99" fmla="*/ 0 h 10000"/>
                <a:gd name="connsiteX100" fmla="*/ 4578 w 10000"/>
                <a:gd name="connsiteY100" fmla="*/ 303 h 10000"/>
                <a:gd name="connsiteX101" fmla="*/ 4558 w 10000"/>
                <a:gd name="connsiteY101" fmla="*/ 333 h 10000"/>
                <a:gd name="connsiteX102" fmla="*/ 4538 w 10000"/>
                <a:gd name="connsiteY102" fmla="*/ 333 h 10000"/>
                <a:gd name="connsiteX103" fmla="*/ 4257 w 10000"/>
                <a:gd name="connsiteY103" fmla="*/ 182 h 10000"/>
                <a:gd name="connsiteX104" fmla="*/ 3896 w 10000"/>
                <a:gd name="connsiteY104" fmla="*/ 333 h 10000"/>
                <a:gd name="connsiteX105" fmla="*/ 3594 w 10000"/>
                <a:gd name="connsiteY105" fmla="*/ 818 h 10000"/>
                <a:gd name="connsiteX106" fmla="*/ 3916 w 10000"/>
                <a:gd name="connsiteY106" fmla="*/ 1758 h 10000"/>
                <a:gd name="connsiteX107" fmla="*/ 3916 w 10000"/>
                <a:gd name="connsiteY107" fmla="*/ 1788 h 10000"/>
                <a:gd name="connsiteX108" fmla="*/ 3916 w 10000"/>
                <a:gd name="connsiteY108" fmla="*/ 1788 h 10000"/>
                <a:gd name="connsiteX109" fmla="*/ 3916 w 10000"/>
                <a:gd name="connsiteY109" fmla="*/ 2333 h 10000"/>
                <a:gd name="connsiteX110" fmla="*/ 3916 w 10000"/>
                <a:gd name="connsiteY110" fmla="*/ 2364 h 10000"/>
                <a:gd name="connsiteX111" fmla="*/ 3896 w 10000"/>
                <a:gd name="connsiteY111" fmla="*/ 2364 h 10000"/>
                <a:gd name="connsiteX112" fmla="*/ 2751 w 10000"/>
                <a:gd name="connsiteY112" fmla="*/ 3758 h 10000"/>
                <a:gd name="connsiteX113" fmla="*/ 2731 w 10000"/>
                <a:gd name="connsiteY113" fmla="*/ 3788 h 10000"/>
                <a:gd name="connsiteX114" fmla="*/ 2711 w 10000"/>
                <a:gd name="connsiteY114" fmla="*/ 3758 h 10000"/>
                <a:gd name="connsiteX115" fmla="*/ 2470 w 10000"/>
                <a:gd name="connsiteY115" fmla="*/ 3293 h 10000"/>
                <a:gd name="connsiteX116" fmla="*/ 2189 w 10000"/>
                <a:gd name="connsiteY116" fmla="*/ 3818 h 10000"/>
                <a:gd name="connsiteX117" fmla="*/ 2169 w 10000"/>
                <a:gd name="connsiteY117" fmla="*/ 3818 h 10000"/>
                <a:gd name="connsiteX118" fmla="*/ 2149 w 10000"/>
                <a:gd name="connsiteY118" fmla="*/ 3848 h 10000"/>
                <a:gd name="connsiteX119" fmla="*/ 1988 w 10000"/>
                <a:gd name="connsiteY119" fmla="*/ 3939 h 10000"/>
                <a:gd name="connsiteX120" fmla="*/ 1968 w 10000"/>
                <a:gd name="connsiteY120" fmla="*/ 3939 h 10000"/>
                <a:gd name="connsiteX121" fmla="*/ 1968 w 10000"/>
                <a:gd name="connsiteY121" fmla="*/ 3939 h 10000"/>
                <a:gd name="connsiteX122" fmla="*/ 1526 w 10000"/>
                <a:gd name="connsiteY122" fmla="*/ 3818 h 10000"/>
                <a:gd name="connsiteX123" fmla="*/ 863 w 10000"/>
                <a:gd name="connsiteY123" fmla="*/ 3788 h 10000"/>
                <a:gd name="connsiteX124" fmla="*/ 582 w 10000"/>
                <a:gd name="connsiteY124" fmla="*/ 4667 h 10000"/>
                <a:gd name="connsiteX125" fmla="*/ 562 w 10000"/>
                <a:gd name="connsiteY125" fmla="*/ 4697 h 10000"/>
                <a:gd name="connsiteX126" fmla="*/ 562 w 10000"/>
                <a:gd name="connsiteY126" fmla="*/ 4697 h 10000"/>
                <a:gd name="connsiteX127" fmla="*/ 0 w 10000"/>
                <a:gd name="connsiteY127" fmla="*/ 5667 h 10000"/>
                <a:gd name="connsiteX128" fmla="*/ 241 w 10000"/>
                <a:gd name="connsiteY128" fmla="*/ 6030 h 10000"/>
                <a:gd name="connsiteX129" fmla="*/ 241 w 10000"/>
                <a:gd name="connsiteY129" fmla="*/ 6061 h 10000"/>
                <a:gd name="connsiteX130" fmla="*/ 241 w 10000"/>
                <a:gd name="connsiteY130" fmla="*/ 6091 h 10000"/>
                <a:gd name="connsiteX131" fmla="*/ 241 w 10000"/>
                <a:gd name="connsiteY131" fmla="*/ 7424 h 10000"/>
                <a:gd name="connsiteX132" fmla="*/ 823 w 10000"/>
                <a:gd name="connsiteY132" fmla="*/ 7424 h 10000"/>
                <a:gd name="connsiteX133" fmla="*/ 863 w 10000"/>
                <a:gd name="connsiteY133" fmla="*/ 7424 h 10000"/>
                <a:gd name="connsiteX134" fmla="*/ 863 w 10000"/>
                <a:gd name="connsiteY134" fmla="*/ 7455 h 10000"/>
                <a:gd name="connsiteX135" fmla="*/ 1165 w 10000"/>
                <a:gd name="connsiteY135" fmla="*/ 8091 h 10000"/>
                <a:gd name="connsiteX136" fmla="*/ 1707 w 10000"/>
                <a:gd name="connsiteY136" fmla="*/ 8091 h 10000"/>
                <a:gd name="connsiteX137" fmla="*/ 1727 w 10000"/>
                <a:gd name="connsiteY137" fmla="*/ 8091 h 10000"/>
                <a:gd name="connsiteX138" fmla="*/ 1747 w 10000"/>
                <a:gd name="connsiteY138" fmla="*/ 8121 h 10000"/>
                <a:gd name="connsiteX139" fmla="*/ 1847 w 10000"/>
                <a:gd name="connsiteY139" fmla="*/ 8515 h 10000"/>
                <a:gd name="connsiteX140" fmla="*/ 2329 w 10000"/>
                <a:gd name="connsiteY140" fmla="*/ 8970 h 10000"/>
                <a:gd name="connsiteX141" fmla="*/ 3133 w 10000"/>
                <a:gd name="connsiteY141" fmla="*/ 8909 h 10000"/>
                <a:gd name="connsiteX142" fmla="*/ 3133 w 10000"/>
                <a:gd name="connsiteY142" fmla="*/ 8909 h 10000"/>
                <a:gd name="connsiteX143" fmla="*/ 3353 w 10000"/>
                <a:gd name="connsiteY143" fmla="*/ 8788 h 10000"/>
                <a:gd name="connsiteX0" fmla="*/ 3353 w 10000"/>
                <a:gd name="connsiteY0" fmla="*/ 8788 h 10000"/>
                <a:gd name="connsiteX1" fmla="*/ 3534 w 10000"/>
                <a:gd name="connsiteY1" fmla="*/ 8485 h 10000"/>
                <a:gd name="connsiteX2" fmla="*/ 3594 w 10000"/>
                <a:gd name="connsiteY2" fmla="*/ 8273 h 10000"/>
                <a:gd name="connsiteX3" fmla="*/ 3624 w 10000"/>
                <a:gd name="connsiteY3" fmla="*/ 8702 h 10000"/>
                <a:gd name="connsiteX4" fmla="*/ 3771 w 10000"/>
                <a:gd name="connsiteY4" fmla="*/ 8518 h 10000"/>
                <a:gd name="connsiteX5" fmla="*/ 3976 w 10000"/>
                <a:gd name="connsiteY5" fmla="*/ 8242 h 10000"/>
                <a:gd name="connsiteX6" fmla="*/ 3996 w 10000"/>
                <a:gd name="connsiteY6" fmla="*/ 8242 h 10000"/>
                <a:gd name="connsiteX7" fmla="*/ 4016 w 10000"/>
                <a:gd name="connsiteY7" fmla="*/ 8273 h 10000"/>
                <a:gd name="connsiteX8" fmla="*/ 4378 w 10000"/>
                <a:gd name="connsiteY8" fmla="*/ 9061 h 10000"/>
                <a:gd name="connsiteX9" fmla="*/ 4940 w 10000"/>
                <a:gd name="connsiteY9" fmla="*/ 9182 h 10000"/>
                <a:gd name="connsiteX10" fmla="*/ 4960 w 10000"/>
                <a:gd name="connsiteY10" fmla="*/ 9182 h 10000"/>
                <a:gd name="connsiteX11" fmla="*/ 4980 w 10000"/>
                <a:gd name="connsiteY11" fmla="*/ 9212 h 10000"/>
                <a:gd name="connsiteX12" fmla="*/ 5060 w 10000"/>
                <a:gd name="connsiteY12" fmla="*/ 9818 h 10000"/>
                <a:gd name="connsiteX13" fmla="*/ 5221 w 10000"/>
                <a:gd name="connsiteY13" fmla="*/ 9818 h 10000"/>
                <a:gd name="connsiteX14" fmla="*/ 5221 w 10000"/>
                <a:gd name="connsiteY14" fmla="*/ 9727 h 10000"/>
                <a:gd name="connsiteX15" fmla="*/ 5241 w 10000"/>
                <a:gd name="connsiteY15" fmla="*/ 9636 h 10000"/>
                <a:gd name="connsiteX16" fmla="*/ 5281 w 10000"/>
                <a:gd name="connsiteY16" fmla="*/ 9667 h 10000"/>
                <a:gd name="connsiteX17" fmla="*/ 5522 w 10000"/>
                <a:gd name="connsiteY17" fmla="*/ 9758 h 10000"/>
                <a:gd name="connsiteX18" fmla="*/ 5542 w 10000"/>
                <a:gd name="connsiteY18" fmla="*/ 9758 h 10000"/>
                <a:gd name="connsiteX19" fmla="*/ 5542 w 10000"/>
                <a:gd name="connsiteY19" fmla="*/ 9758 h 10000"/>
                <a:gd name="connsiteX20" fmla="*/ 5743 w 10000"/>
                <a:gd name="connsiteY20" fmla="*/ 10000 h 10000"/>
                <a:gd name="connsiteX21" fmla="*/ 6084 w 10000"/>
                <a:gd name="connsiteY21" fmla="*/ 10000 h 10000"/>
                <a:gd name="connsiteX22" fmla="*/ 6500 w 10000"/>
                <a:gd name="connsiteY22" fmla="*/ 9635 h 10000"/>
                <a:gd name="connsiteX23" fmla="*/ 6502 w 10000"/>
                <a:gd name="connsiteY23" fmla="*/ 9472 h 10000"/>
                <a:gd name="connsiteX24" fmla="*/ 6515 w 10000"/>
                <a:gd name="connsiteY24" fmla="*/ 9240 h 10000"/>
                <a:gd name="connsiteX25" fmla="*/ 6535 w 10000"/>
                <a:gd name="connsiteY25" fmla="*/ 9049 h 10000"/>
                <a:gd name="connsiteX26" fmla="*/ 6727 w 10000"/>
                <a:gd name="connsiteY26" fmla="*/ 8667 h 10000"/>
                <a:gd name="connsiteX27" fmla="*/ 7269 w 10000"/>
                <a:gd name="connsiteY27" fmla="*/ 8061 h 10000"/>
                <a:gd name="connsiteX28" fmla="*/ 7289 w 10000"/>
                <a:gd name="connsiteY28" fmla="*/ 8061 h 10000"/>
                <a:gd name="connsiteX29" fmla="*/ 7309 w 10000"/>
                <a:gd name="connsiteY29" fmla="*/ 8061 h 10000"/>
                <a:gd name="connsiteX30" fmla="*/ 7550 w 10000"/>
                <a:gd name="connsiteY30" fmla="*/ 8152 h 10000"/>
                <a:gd name="connsiteX31" fmla="*/ 7570 w 10000"/>
                <a:gd name="connsiteY31" fmla="*/ 8152 h 10000"/>
                <a:gd name="connsiteX32" fmla="*/ 7590 w 10000"/>
                <a:gd name="connsiteY32" fmla="*/ 8212 h 10000"/>
                <a:gd name="connsiteX33" fmla="*/ 7631 w 10000"/>
                <a:gd name="connsiteY33" fmla="*/ 8939 h 10000"/>
                <a:gd name="connsiteX34" fmla="*/ 7932 w 10000"/>
                <a:gd name="connsiteY34" fmla="*/ 8970 h 10000"/>
                <a:gd name="connsiteX35" fmla="*/ 8173 w 10000"/>
                <a:gd name="connsiteY35" fmla="*/ 8485 h 10000"/>
                <a:gd name="connsiteX36" fmla="*/ 8173 w 10000"/>
                <a:gd name="connsiteY36" fmla="*/ 8485 h 10000"/>
                <a:gd name="connsiteX37" fmla="*/ 8193 w 10000"/>
                <a:gd name="connsiteY37" fmla="*/ 8485 h 10000"/>
                <a:gd name="connsiteX38" fmla="*/ 8534 w 10000"/>
                <a:gd name="connsiteY38" fmla="*/ 8152 h 10000"/>
                <a:gd name="connsiteX39" fmla="*/ 8635 w 10000"/>
                <a:gd name="connsiteY39" fmla="*/ 7667 h 10000"/>
                <a:gd name="connsiteX40" fmla="*/ 8655 w 10000"/>
                <a:gd name="connsiteY40" fmla="*/ 7606 h 10000"/>
                <a:gd name="connsiteX41" fmla="*/ 8675 w 10000"/>
                <a:gd name="connsiteY41" fmla="*/ 7606 h 10000"/>
                <a:gd name="connsiteX42" fmla="*/ 9036 w 10000"/>
                <a:gd name="connsiteY42" fmla="*/ 7545 h 10000"/>
                <a:gd name="connsiteX43" fmla="*/ 9177 w 10000"/>
                <a:gd name="connsiteY43" fmla="*/ 7182 h 10000"/>
                <a:gd name="connsiteX44" fmla="*/ 9177 w 10000"/>
                <a:gd name="connsiteY44" fmla="*/ 7152 h 10000"/>
                <a:gd name="connsiteX45" fmla="*/ 9177 w 10000"/>
                <a:gd name="connsiteY45" fmla="*/ 7152 h 10000"/>
                <a:gd name="connsiteX46" fmla="*/ 9458 w 10000"/>
                <a:gd name="connsiteY46" fmla="*/ 6909 h 10000"/>
                <a:gd name="connsiteX47" fmla="*/ 9458 w 10000"/>
                <a:gd name="connsiteY47" fmla="*/ 6909 h 10000"/>
                <a:gd name="connsiteX48" fmla="*/ 9458 w 10000"/>
                <a:gd name="connsiteY48" fmla="*/ 6909 h 10000"/>
                <a:gd name="connsiteX49" fmla="*/ 9699 w 10000"/>
                <a:gd name="connsiteY49" fmla="*/ 6848 h 10000"/>
                <a:gd name="connsiteX50" fmla="*/ 9859 w 10000"/>
                <a:gd name="connsiteY50" fmla="*/ 6727 h 10000"/>
                <a:gd name="connsiteX51" fmla="*/ 9839 w 10000"/>
                <a:gd name="connsiteY51" fmla="*/ 6667 h 10000"/>
                <a:gd name="connsiteX52" fmla="*/ 9819 w 10000"/>
                <a:gd name="connsiteY52" fmla="*/ 6667 h 10000"/>
                <a:gd name="connsiteX53" fmla="*/ 9819 w 10000"/>
                <a:gd name="connsiteY53" fmla="*/ 6667 h 10000"/>
                <a:gd name="connsiteX54" fmla="*/ 9779 w 10000"/>
                <a:gd name="connsiteY54" fmla="*/ 6424 h 10000"/>
                <a:gd name="connsiteX55" fmla="*/ 9598 w 10000"/>
                <a:gd name="connsiteY55" fmla="*/ 6394 h 10000"/>
                <a:gd name="connsiteX56" fmla="*/ 9538 w 10000"/>
                <a:gd name="connsiteY56" fmla="*/ 6364 h 10000"/>
                <a:gd name="connsiteX57" fmla="*/ 9578 w 10000"/>
                <a:gd name="connsiteY57" fmla="*/ 6303 h 10000"/>
                <a:gd name="connsiteX58" fmla="*/ 9859 w 10000"/>
                <a:gd name="connsiteY58" fmla="*/ 5545 h 10000"/>
                <a:gd name="connsiteX59" fmla="*/ 9880 w 10000"/>
                <a:gd name="connsiteY59" fmla="*/ 5545 h 10000"/>
                <a:gd name="connsiteX60" fmla="*/ 9880 w 10000"/>
                <a:gd name="connsiteY60" fmla="*/ 5515 h 10000"/>
                <a:gd name="connsiteX61" fmla="*/ 10000 w 10000"/>
                <a:gd name="connsiteY61" fmla="*/ 5424 h 10000"/>
                <a:gd name="connsiteX62" fmla="*/ 9799 w 10000"/>
                <a:gd name="connsiteY62" fmla="*/ 5061 h 10000"/>
                <a:gd name="connsiteX63" fmla="*/ 9779 w 10000"/>
                <a:gd name="connsiteY63" fmla="*/ 5030 h 10000"/>
                <a:gd name="connsiteX64" fmla="*/ 9779 w 10000"/>
                <a:gd name="connsiteY64" fmla="*/ 5030 h 10000"/>
                <a:gd name="connsiteX65" fmla="*/ 9759 w 10000"/>
                <a:gd name="connsiteY65" fmla="*/ 4727 h 10000"/>
                <a:gd name="connsiteX66" fmla="*/ 9759 w 10000"/>
                <a:gd name="connsiteY66" fmla="*/ 4727 h 10000"/>
                <a:gd name="connsiteX67" fmla="*/ 9759 w 10000"/>
                <a:gd name="connsiteY67" fmla="*/ 4697 h 10000"/>
                <a:gd name="connsiteX68" fmla="*/ 9920 w 10000"/>
                <a:gd name="connsiteY68" fmla="*/ 4303 h 10000"/>
                <a:gd name="connsiteX69" fmla="*/ 9920 w 10000"/>
                <a:gd name="connsiteY69" fmla="*/ 3333 h 10000"/>
                <a:gd name="connsiteX70" fmla="*/ 9719 w 10000"/>
                <a:gd name="connsiteY70" fmla="*/ 2606 h 10000"/>
                <a:gd name="connsiteX71" fmla="*/ 9679 w 10000"/>
                <a:gd name="connsiteY71" fmla="*/ 2455 h 10000"/>
                <a:gd name="connsiteX72" fmla="*/ 9257 w 10000"/>
                <a:gd name="connsiteY72" fmla="*/ 2394 h 10000"/>
                <a:gd name="connsiteX73" fmla="*/ 9177 w 10000"/>
                <a:gd name="connsiteY73" fmla="*/ 2394 h 10000"/>
                <a:gd name="connsiteX74" fmla="*/ 9177 w 10000"/>
                <a:gd name="connsiteY74" fmla="*/ 2394 h 10000"/>
                <a:gd name="connsiteX75" fmla="*/ 9177 w 10000"/>
                <a:gd name="connsiteY75" fmla="*/ 2394 h 10000"/>
                <a:gd name="connsiteX76" fmla="*/ 9177 w 10000"/>
                <a:gd name="connsiteY76" fmla="*/ 2394 h 10000"/>
                <a:gd name="connsiteX77" fmla="*/ 9177 w 10000"/>
                <a:gd name="connsiteY77" fmla="*/ 2394 h 10000"/>
                <a:gd name="connsiteX78" fmla="*/ 8815 w 10000"/>
                <a:gd name="connsiteY78" fmla="*/ 2242 h 10000"/>
                <a:gd name="connsiteX79" fmla="*/ 8635 w 10000"/>
                <a:gd name="connsiteY79" fmla="*/ 2212 h 10000"/>
                <a:gd name="connsiteX80" fmla="*/ 8614 w 10000"/>
                <a:gd name="connsiteY80" fmla="*/ 2212 h 10000"/>
                <a:gd name="connsiteX81" fmla="*/ 8614 w 10000"/>
                <a:gd name="connsiteY81" fmla="*/ 2182 h 10000"/>
                <a:gd name="connsiteX82" fmla="*/ 8434 w 10000"/>
                <a:gd name="connsiteY82" fmla="*/ 1667 h 10000"/>
                <a:gd name="connsiteX83" fmla="*/ 8032 w 10000"/>
                <a:gd name="connsiteY83" fmla="*/ 1788 h 10000"/>
                <a:gd name="connsiteX84" fmla="*/ 7510 w 10000"/>
                <a:gd name="connsiteY84" fmla="*/ 1970 h 10000"/>
                <a:gd name="connsiteX85" fmla="*/ 7490 w 10000"/>
                <a:gd name="connsiteY85" fmla="*/ 1970 h 10000"/>
                <a:gd name="connsiteX86" fmla="*/ 7470 w 10000"/>
                <a:gd name="connsiteY86" fmla="*/ 1939 h 10000"/>
                <a:gd name="connsiteX87" fmla="*/ 7229 w 10000"/>
                <a:gd name="connsiteY87" fmla="*/ 1364 h 10000"/>
                <a:gd name="connsiteX88" fmla="*/ 6948 w 10000"/>
                <a:gd name="connsiteY88" fmla="*/ 1000 h 10000"/>
                <a:gd name="connsiteX89" fmla="*/ 6466 w 10000"/>
                <a:gd name="connsiteY89" fmla="*/ 939 h 10000"/>
                <a:gd name="connsiteX90" fmla="*/ 5944 w 10000"/>
                <a:gd name="connsiteY90" fmla="*/ 818 h 10000"/>
                <a:gd name="connsiteX91" fmla="*/ 5743 w 10000"/>
                <a:gd name="connsiteY91" fmla="*/ 1182 h 10000"/>
                <a:gd name="connsiteX92" fmla="*/ 5703 w 10000"/>
                <a:gd name="connsiteY92" fmla="*/ 1212 h 10000"/>
                <a:gd name="connsiteX93" fmla="*/ 5683 w 10000"/>
                <a:gd name="connsiteY93" fmla="*/ 1152 h 10000"/>
                <a:gd name="connsiteX94" fmla="*/ 5402 w 10000"/>
                <a:gd name="connsiteY94" fmla="*/ 667 h 10000"/>
                <a:gd name="connsiteX95" fmla="*/ 5181 w 10000"/>
                <a:gd name="connsiteY95" fmla="*/ 515 h 10000"/>
                <a:gd name="connsiteX96" fmla="*/ 5161 w 10000"/>
                <a:gd name="connsiteY96" fmla="*/ 515 h 10000"/>
                <a:gd name="connsiteX97" fmla="*/ 5161 w 10000"/>
                <a:gd name="connsiteY97" fmla="*/ 485 h 10000"/>
                <a:gd name="connsiteX98" fmla="*/ 5120 w 10000"/>
                <a:gd name="connsiteY98" fmla="*/ 121 h 10000"/>
                <a:gd name="connsiteX99" fmla="*/ 4819 w 10000"/>
                <a:gd name="connsiteY99" fmla="*/ 0 h 10000"/>
                <a:gd name="connsiteX100" fmla="*/ 4578 w 10000"/>
                <a:gd name="connsiteY100" fmla="*/ 303 h 10000"/>
                <a:gd name="connsiteX101" fmla="*/ 4558 w 10000"/>
                <a:gd name="connsiteY101" fmla="*/ 333 h 10000"/>
                <a:gd name="connsiteX102" fmla="*/ 4538 w 10000"/>
                <a:gd name="connsiteY102" fmla="*/ 333 h 10000"/>
                <a:gd name="connsiteX103" fmla="*/ 4257 w 10000"/>
                <a:gd name="connsiteY103" fmla="*/ 182 h 10000"/>
                <a:gd name="connsiteX104" fmla="*/ 3896 w 10000"/>
                <a:gd name="connsiteY104" fmla="*/ 333 h 10000"/>
                <a:gd name="connsiteX105" fmla="*/ 3594 w 10000"/>
                <a:gd name="connsiteY105" fmla="*/ 818 h 10000"/>
                <a:gd name="connsiteX106" fmla="*/ 3916 w 10000"/>
                <a:gd name="connsiteY106" fmla="*/ 1758 h 10000"/>
                <a:gd name="connsiteX107" fmla="*/ 3916 w 10000"/>
                <a:gd name="connsiteY107" fmla="*/ 1788 h 10000"/>
                <a:gd name="connsiteX108" fmla="*/ 3916 w 10000"/>
                <a:gd name="connsiteY108" fmla="*/ 1788 h 10000"/>
                <a:gd name="connsiteX109" fmla="*/ 3916 w 10000"/>
                <a:gd name="connsiteY109" fmla="*/ 2333 h 10000"/>
                <a:gd name="connsiteX110" fmla="*/ 3916 w 10000"/>
                <a:gd name="connsiteY110" fmla="*/ 2364 h 10000"/>
                <a:gd name="connsiteX111" fmla="*/ 3896 w 10000"/>
                <a:gd name="connsiteY111" fmla="*/ 2364 h 10000"/>
                <a:gd name="connsiteX112" fmla="*/ 2751 w 10000"/>
                <a:gd name="connsiteY112" fmla="*/ 3758 h 10000"/>
                <a:gd name="connsiteX113" fmla="*/ 2731 w 10000"/>
                <a:gd name="connsiteY113" fmla="*/ 3788 h 10000"/>
                <a:gd name="connsiteX114" fmla="*/ 2711 w 10000"/>
                <a:gd name="connsiteY114" fmla="*/ 3758 h 10000"/>
                <a:gd name="connsiteX115" fmla="*/ 2470 w 10000"/>
                <a:gd name="connsiteY115" fmla="*/ 3293 h 10000"/>
                <a:gd name="connsiteX116" fmla="*/ 2189 w 10000"/>
                <a:gd name="connsiteY116" fmla="*/ 3818 h 10000"/>
                <a:gd name="connsiteX117" fmla="*/ 2169 w 10000"/>
                <a:gd name="connsiteY117" fmla="*/ 3818 h 10000"/>
                <a:gd name="connsiteX118" fmla="*/ 2149 w 10000"/>
                <a:gd name="connsiteY118" fmla="*/ 3848 h 10000"/>
                <a:gd name="connsiteX119" fmla="*/ 1988 w 10000"/>
                <a:gd name="connsiteY119" fmla="*/ 3939 h 10000"/>
                <a:gd name="connsiteX120" fmla="*/ 1968 w 10000"/>
                <a:gd name="connsiteY120" fmla="*/ 3939 h 10000"/>
                <a:gd name="connsiteX121" fmla="*/ 1968 w 10000"/>
                <a:gd name="connsiteY121" fmla="*/ 3939 h 10000"/>
                <a:gd name="connsiteX122" fmla="*/ 1526 w 10000"/>
                <a:gd name="connsiteY122" fmla="*/ 3818 h 10000"/>
                <a:gd name="connsiteX123" fmla="*/ 863 w 10000"/>
                <a:gd name="connsiteY123" fmla="*/ 3788 h 10000"/>
                <a:gd name="connsiteX124" fmla="*/ 582 w 10000"/>
                <a:gd name="connsiteY124" fmla="*/ 4667 h 10000"/>
                <a:gd name="connsiteX125" fmla="*/ 562 w 10000"/>
                <a:gd name="connsiteY125" fmla="*/ 4697 h 10000"/>
                <a:gd name="connsiteX126" fmla="*/ 562 w 10000"/>
                <a:gd name="connsiteY126" fmla="*/ 4697 h 10000"/>
                <a:gd name="connsiteX127" fmla="*/ 0 w 10000"/>
                <a:gd name="connsiteY127" fmla="*/ 5667 h 10000"/>
                <a:gd name="connsiteX128" fmla="*/ 241 w 10000"/>
                <a:gd name="connsiteY128" fmla="*/ 6030 h 10000"/>
                <a:gd name="connsiteX129" fmla="*/ 241 w 10000"/>
                <a:gd name="connsiteY129" fmla="*/ 6061 h 10000"/>
                <a:gd name="connsiteX130" fmla="*/ 241 w 10000"/>
                <a:gd name="connsiteY130" fmla="*/ 6091 h 10000"/>
                <a:gd name="connsiteX131" fmla="*/ 241 w 10000"/>
                <a:gd name="connsiteY131" fmla="*/ 7424 h 10000"/>
                <a:gd name="connsiteX132" fmla="*/ 823 w 10000"/>
                <a:gd name="connsiteY132" fmla="*/ 7424 h 10000"/>
                <a:gd name="connsiteX133" fmla="*/ 863 w 10000"/>
                <a:gd name="connsiteY133" fmla="*/ 7424 h 10000"/>
                <a:gd name="connsiteX134" fmla="*/ 863 w 10000"/>
                <a:gd name="connsiteY134" fmla="*/ 7455 h 10000"/>
                <a:gd name="connsiteX135" fmla="*/ 1165 w 10000"/>
                <a:gd name="connsiteY135" fmla="*/ 8091 h 10000"/>
                <a:gd name="connsiteX136" fmla="*/ 1707 w 10000"/>
                <a:gd name="connsiteY136" fmla="*/ 8091 h 10000"/>
                <a:gd name="connsiteX137" fmla="*/ 1727 w 10000"/>
                <a:gd name="connsiteY137" fmla="*/ 8091 h 10000"/>
                <a:gd name="connsiteX138" fmla="*/ 1747 w 10000"/>
                <a:gd name="connsiteY138" fmla="*/ 8121 h 10000"/>
                <a:gd name="connsiteX139" fmla="*/ 1847 w 10000"/>
                <a:gd name="connsiteY139" fmla="*/ 8515 h 10000"/>
                <a:gd name="connsiteX140" fmla="*/ 2329 w 10000"/>
                <a:gd name="connsiteY140" fmla="*/ 8970 h 10000"/>
                <a:gd name="connsiteX141" fmla="*/ 3133 w 10000"/>
                <a:gd name="connsiteY141" fmla="*/ 8909 h 10000"/>
                <a:gd name="connsiteX142" fmla="*/ 3133 w 10000"/>
                <a:gd name="connsiteY142" fmla="*/ 8909 h 10000"/>
                <a:gd name="connsiteX143" fmla="*/ 3353 w 10000"/>
                <a:gd name="connsiteY143" fmla="*/ 8788 h 10000"/>
                <a:gd name="connsiteX0" fmla="*/ 3353 w 10000"/>
                <a:gd name="connsiteY0" fmla="*/ 8788 h 10000"/>
                <a:gd name="connsiteX1" fmla="*/ 3534 w 10000"/>
                <a:gd name="connsiteY1" fmla="*/ 8485 h 10000"/>
                <a:gd name="connsiteX2" fmla="*/ 3584 w 10000"/>
                <a:gd name="connsiteY2" fmla="*/ 7632 h 10000"/>
                <a:gd name="connsiteX3" fmla="*/ 3624 w 10000"/>
                <a:gd name="connsiteY3" fmla="*/ 8702 h 10000"/>
                <a:gd name="connsiteX4" fmla="*/ 3771 w 10000"/>
                <a:gd name="connsiteY4" fmla="*/ 8518 h 10000"/>
                <a:gd name="connsiteX5" fmla="*/ 3976 w 10000"/>
                <a:gd name="connsiteY5" fmla="*/ 8242 h 10000"/>
                <a:gd name="connsiteX6" fmla="*/ 3996 w 10000"/>
                <a:gd name="connsiteY6" fmla="*/ 8242 h 10000"/>
                <a:gd name="connsiteX7" fmla="*/ 4016 w 10000"/>
                <a:gd name="connsiteY7" fmla="*/ 8273 h 10000"/>
                <a:gd name="connsiteX8" fmla="*/ 4378 w 10000"/>
                <a:gd name="connsiteY8" fmla="*/ 9061 h 10000"/>
                <a:gd name="connsiteX9" fmla="*/ 4940 w 10000"/>
                <a:gd name="connsiteY9" fmla="*/ 9182 h 10000"/>
                <a:gd name="connsiteX10" fmla="*/ 4960 w 10000"/>
                <a:gd name="connsiteY10" fmla="*/ 9182 h 10000"/>
                <a:gd name="connsiteX11" fmla="*/ 4980 w 10000"/>
                <a:gd name="connsiteY11" fmla="*/ 9212 h 10000"/>
                <a:gd name="connsiteX12" fmla="*/ 5060 w 10000"/>
                <a:gd name="connsiteY12" fmla="*/ 9818 h 10000"/>
                <a:gd name="connsiteX13" fmla="*/ 5221 w 10000"/>
                <a:gd name="connsiteY13" fmla="*/ 9818 h 10000"/>
                <a:gd name="connsiteX14" fmla="*/ 5221 w 10000"/>
                <a:gd name="connsiteY14" fmla="*/ 9727 h 10000"/>
                <a:gd name="connsiteX15" fmla="*/ 5241 w 10000"/>
                <a:gd name="connsiteY15" fmla="*/ 9636 h 10000"/>
                <a:gd name="connsiteX16" fmla="*/ 5281 w 10000"/>
                <a:gd name="connsiteY16" fmla="*/ 9667 h 10000"/>
                <a:gd name="connsiteX17" fmla="*/ 5522 w 10000"/>
                <a:gd name="connsiteY17" fmla="*/ 9758 h 10000"/>
                <a:gd name="connsiteX18" fmla="*/ 5542 w 10000"/>
                <a:gd name="connsiteY18" fmla="*/ 9758 h 10000"/>
                <a:gd name="connsiteX19" fmla="*/ 5542 w 10000"/>
                <a:gd name="connsiteY19" fmla="*/ 9758 h 10000"/>
                <a:gd name="connsiteX20" fmla="*/ 5743 w 10000"/>
                <a:gd name="connsiteY20" fmla="*/ 10000 h 10000"/>
                <a:gd name="connsiteX21" fmla="*/ 6084 w 10000"/>
                <a:gd name="connsiteY21" fmla="*/ 10000 h 10000"/>
                <a:gd name="connsiteX22" fmla="*/ 6500 w 10000"/>
                <a:gd name="connsiteY22" fmla="*/ 9635 h 10000"/>
                <a:gd name="connsiteX23" fmla="*/ 6502 w 10000"/>
                <a:gd name="connsiteY23" fmla="*/ 9472 h 10000"/>
                <a:gd name="connsiteX24" fmla="*/ 6515 w 10000"/>
                <a:gd name="connsiteY24" fmla="*/ 9240 h 10000"/>
                <a:gd name="connsiteX25" fmla="*/ 6535 w 10000"/>
                <a:gd name="connsiteY25" fmla="*/ 9049 h 10000"/>
                <a:gd name="connsiteX26" fmla="*/ 6727 w 10000"/>
                <a:gd name="connsiteY26" fmla="*/ 8667 h 10000"/>
                <a:gd name="connsiteX27" fmla="*/ 7269 w 10000"/>
                <a:gd name="connsiteY27" fmla="*/ 8061 h 10000"/>
                <a:gd name="connsiteX28" fmla="*/ 7289 w 10000"/>
                <a:gd name="connsiteY28" fmla="*/ 8061 h 10000"/>
                <a:gd name="connsiteX29" fmla="*/ 7309 w 10000"/>
                <a:gd name="connsiteY29" fmla="*/ 8061 h 10000"/>
                <a:gd name="connsiteX30" fmla="*/ 7550 w 10000"/>
                <a:gd name="connsiteY30" fmla="*/ 8152 h 10000"/>
                <a:gd name="connsiteX31" fmla="*/ 7570 w 10000"/>
                <a:gd name="connsiteY31" fmla="*/ 8152 h 10000"/>
                <a:gd name="connsiteX32" fmla="*/ 7590 w 10000"/>
                <a:gd name="connsiteY32" fmla="*/ 8212 h 10000"/>
                <a:gd name="connsiteX33" fmla="*/ 7631 w 10000"/>
                <a:gd name="connsiteY33" fmla="*/ 8939 h 10000"/>
                <a:gd name="connsiteX34" fmla="*/ 7932 w 10000"/>
                <a:gd name="connsiteY34" fmla="*/ 8970 h 10000"/>
                <a:gd name="connsiteX35" fmla="*/ 8173 w 10000"/>
                <a:gd name="connsiteY35" fmla="*/ 8485 h 10000"/>
                <a:gd name="connsiteX36" fmla="*/ 8173 w 10000"/>
                <a:gd name="connsiteY36" fmla="*/ 8485 h 10000"/>
                <a:gd name="connsiteX37" fmla="*/ 8193 w 10000"/>
                <a:gd name="connsiteY37" fmla="*/ 8485 h 10000"/>
                <a:gd name="connsiteX38" fmla="*/ 8534 w 10000"/>
                <a:gd name="connsiteY38" fmla="*/ 8152 h 10000"/>
                <a:gd name="connsiteX39" fmla="*/ 8635 w 10000"/>
                <a:gd name="connsiteY39" fmla="*/ 7667 h 10000"/>
                <a:gd name="connsiteX40" fmla="*/ 8655 w 10000"/>
                <a:gd name="connsiteY40" fmla="*/ 7606 h 10000"/>
                <a:gd name="connsiteX41" fmla="*/ 8675 w 10000"/>
                <a:gd name="connsiteY41" fmla="*/ 7606 h 10000"/>
                <a:gd name="connsiteX42" fmla="*/ 9036 w 10000"/>
                <a:gd name="connsiteY42" fmla="*/ 7545 h 10000"/>
                <a:gd name="connsiteX43" fmla="*/ 9177 w 10000"/>
                <a:gd name="connsiteY43" fmla="*/ 7182 h 10000"/>
                <a:gd name="connsiteX44" fmla="*/ 9177 w 10000"/>
                <a:gd name="connsiteY44" fmla="*/ 7152 h 10000"/>
                <a:gd name="connsiteX45" fmla="*/ 9177 w 10000"/>
                <a:gd name="connsiteY45" fmla="*/ 7152 h 10000"/>
                <a:gd name="connsiteX46" fmla="*/ 9458 w 10000"/>
                <a:gd name="connsiteY46" fmla="*/ 6909 h 10000"/>
                <a:gd name="connsiteX47" fmla="*/ 9458 w 10000"/>
                <a:gd name="connsiteY47" fmla="*/ 6909 h 10000"/>
                <a:gd name="connsiteX48" fmla="*/ 9458 w 10000"/>
                <a:gd name="connsiteY48" fmla="*/ 6909 h 10000"/>
                <a:gd name="connsiteX49" fmla="*/ 9699 w 10000"/>
                <a:gd name="connsiteY49" fmla="*/ 6848 h 10000"/>
                <a:gd name="connsiteX50" fmla="*/ 9859 w 10000"/>
                <a:gd name="connsiteY50" fmla="*/ 6727 h 10000"/>
                <a:gd name="connsiteX51" fmla="*/ 9839 w 10000"/>
                <a:gd name="connsiteY51" fmla="*/ 6667 h 10000"/>
                <a:gd name="connsiteX52" fmla="*/ 9819 w 10000"/>
                <a:gd name="connsiteY52" fmla="*/ 6667 h 10000"/>
                <a:gd name="connsiteX53" fmla="*/ 9819 w 10000"/>
                <a:gd name="connsiteY53" fmla="*/ 6667 h 10000"/>
                <a:gd name="connsiteX54" fmla="*/ 9779 w 10000"/>
                <a:gd name="connsiteY54" fmla="*/ 6424 h 10000"/>
                <a:gd name="connsiteX55" fmla="*/ 9598 w 10000"/>
                <a:gd name="connsiteY55" fmla="*/ 6394 h 10000"/>
                <a:gd name="connsiteX56" fmla="*/ 9538 w 10000"/>
                <a:gd name="connsiteY56" fmla="*/ 6364 h 10000"/>
                <a:gd name="connsiteX57" fmla="*/ 9578 w 10000"/>
                <a:gd name="connsiteY57" fmla="*/ 6303 h 10000"/>
                <a:gd name="connsiteX58" fmla="*/ 9859 w 10000"/>
                <a:gd name="connsiteY58" fmla="*/ 5545 h 10000"/>
                <a:gd name="connsiteX59" fmla="*/ 9880 w 10000"/>
                <a:gd name="connsiteY59" fmla="*/ 5545 h 10000"/>
                <a:gd name="connsiteX60" fmla="*/ 9880 w 10000"/>
                <a:gd name="connsiteY60" fmla="*/ 5515 h 10000"/>
                <a:gd name="connsiteX61" fmla="*/ 10000 w 10000"/>
                <a:gd name="connsiteY61" fmla="*/ 5424 h 10000"/>
                <a:gd name="connsiteX62" fmla="*/ 9799 w 10000"/>
                <a:gd name="connsiteY62" fmla="*/ 5061 h 10000"/>
                <a:gd name="connsiteX63" fmla="*/ 9779 w 10000"/>
                <a:gd name="connsiteY63" fmla="*/ 5030 h 10000"/>
                <a:gd name="connsiteX64" fmla="*/ 9779 w 10000"/>
                <a:gd name="connsiteY64" fmla="*/ 5030 h 10000"/>
                <a:gd name="connsiteX65" fmla="*/ 9759 w 10000"/>
                <a:gd name="connsiteY65" fmla="*/ 4727 h 10000"/>
                <a:gd name="connsiteX66" fmla="*/ 9759 w 10000"/>
                <a:gd name="connsiteY66" fmla="*/ 4727 h 10000"/>
                <a:gd name="connsiteX67" fmla="*/ 9759 w 10000"/>
                <a:gd name="connsiteY67" fmla="*/ 4697 h 10000"/>
                <a:gd name="connsiteX68" fmla="*/ 9920 w 10000"/>
                <a:gd name="connsiteY68" fmla="*/ 4303 h 10000"/>
                <a:gd name="connsiteX69" fmla="*/ 9920 w 10000"/>
                <a:gd name="connsiteY69" fmla="*/ 3333 h 10000"/>
                <a:gd name="connsiteX70" fmla="*/ 9719 w 10000"/>
                <a:gd name="connsiteY70" fmla="*/ 2606 h 10000"/>
                <a:gd name="connsiteX71" fmla="*/ 9679 w 10000"/>
                <a:gd name="connsiteY71" fmla="*/ 2455 h 10000"/>
                <a:gd name="connsiteX72" fmla="*/ 9257 w 10000"/>
                <a:gd name="connsiteY72" fmla="*/ 2394 h 10000"/>
                <a:gd name="connsiteX73" fmla="*/ 9177 w 10000"/>
                <a:gd name="connsiteY73" fmla="*/ 2394 h 10000"/>
                <a:gd name="connsiteX74" fmla="*/ 9177 w 10000"/>
                <a:gd name="connsiteY74" fmla="*/ 2394 h 10000"/>
                <a:gd name="connsiteX75" fmla="*/ 9177 w 10000"/>
                <a:gd name="connsiteY75" fmla="*/ 2394 h 10000"/>
                <a:gd name="connsiteX76" fmla="*/ 9177 w 10000"/>
                <a:gd name="connsiteY76" fmla="*/ 2394 h 10000"/>
                <a:gd name="connsiteX77" fmla="*/ 9177 w 10000"/>
                <a:gd name="connsiteY77" fmla="*/ 2394 h 10000"/>
                <a:gd name="connsiteX78" fmla="*/ 8815 w 10000"/>
                <a:gd name="connsiteY78" fmla="*/ 2242 h 10000"/>
                <a:gd name="connsiteX79" fmla="*/ 8635 w 10000"/>
                <a:gd name="connsiteY79" fmla="*/ 2212 h 10000"/>
                <a:gd name="connsiteX80" fmla="*/ 8614 w 10000"/>
                <a:gd name="connsiteY80" fmla="*/ 2212 h 10000"/>
                <a:gd name="connsiteX81" fmla="*/ 8614 w 10000"/>
                <a:gd name="connsiteY81" fmla="*/ 2182 h 10000"/>
                <a:gd name="connsiteX82" fmla="*/ 8434 w 10000"/>
                <a:gd name="connsiteY82" fmla="*/ 1667 h 10000"/>
                <a:gd name="connsiteX83" fmla="*/ 8032 w 10000"/>
                <a:gd name="connsiteY83" fmla="*/ 1788 h 10000"/>
                <a:gd name="connsiteX84" fmla="*/ 7510 w 10000"/>
                <a:gd name="connsiteY84" fmla="*/ 1970 h 10000"/>
                <a:gd name="connsiteX85" fmla="*/ 7490 w 10000"/>
                <a:gd name="connsiteY85" fmla="*/ 1970 h 10000"/>
                <a:gd name="connsiteX86" fmla="*/ 7470 w 10000"/>
                <a:gd name="connsiteY86" fmla="*/ 1939 h 10000"/>
                <a:gd name="connsiteX87" fmla="*/ 7229 w 10000"/>
                <a:gd name="connsiteY87" fmla="*/ 1364 h 10000"/>
                <a:gd name="connsiteX88" fmla="*/ 6948 w 10000"/>
                <a:gd name="connsiteY88" fmla="*/ 1000 h 10000"/>
                <a:gd name="connsiteX89" fmla="*/ 6466 w 10000"/>
                <a:gd name="connsiteY89" fmla="*/ 939 h 10000"/>
                <a:gd name="connsiteX90" fmla="*/ 5944 w 10000"/>
                <a:gd name="connsiteY90" fmla="*/ 818 h 10000"/>
                <a:gd name="connsiteX91" fmla="*/ 5743 w 10000"/>
                <a:gd name="connsiteY91" fmla="*/ 1182 h 10000"/>
                <a:gd name="connsiteX92" fmla="*/ 5703 w 10000"/>
                <a:gd name="connsiteY92" fmla="*/ 1212 h 10000"/>
                <a:gd name="connsiteX93" fmla="*/ 5683 w 10000"/>
                <a:gd name="connsiteY93" fmla="*/ 1152 h 10000"/>
                <a:gd name="connsiteX94" fmla="*/ 5402 w 10000"/>
                <a:gd name="connsiteY94" fmla="*/ 667 h 10000"/>
                <a:gd name="connsiteX95" fmla="*/ 5181 w 10000"/>
                <a:gd name="connsiteY95" fmla="*/ 515 h 10000"/>
                <a:gd name="connsiteX96" fmla="*/ 5161 w 10000"/>
                <a:gd name="connsiteY96" fmla="*/ 515 h 10000"/>
                <a:gd name="connsiteX97" fmla="*/ 5161 w 10000"/>
                <a:gd name="connsiteY97" fmla="*/ 485 h 10000"/>
                <a:gd name="connsiteX98" fmla="*/ 5120 w 10000"/>
                <a:gd name="connsiteY98" fmla="*/ 121 h 10000"/>
                <a:gd name="connsiteX99" fmla="*/ 4819 w 10000"/>
                <a:gd name="connsiteY99" fmla="*/ 0 h 10000"/>
                <a:gd name="connsiteX100" fmla="*/ 4578 w 10000"/>
                <a:gd name="connsiteY100" fmla="*/ 303 h 10000"/>
                <a:gd name="connsiteX101" fmla="*/ 4558 w 10000"/>
                <a:gd name="connsiteY101" fmla="*/ 333 h 10000"/>
                <a:gd name="connsiteX102" fmla="*/ 4538 w 10000"/>
                <a:gd name="connsiteY102" fmla="*/ 333 h 10000"/>
                <a:gd name="connsiteX103" fmla="*/ 4257 w 10000"/>
                <a:gd name="connsiteY103" fmla="*/ 182 h 10000"/>
                <a:gd name="connsiteX104" fmla="*/ 3896 w 10000"/>
                <a:gd name="connsiteY104" fmla="*/ 333 h 10000"/>
                <a:gd name="connsiteX105" fmla="*/ 3594 w 10000"/>
                <a:gd name="connsiteY105" fmla="*/ 818 h 10000"/>
                <a:gd name="connsiteX106" fmla="*/ 3916 w 10000"/>
                <a:gd name="connsiteY106" fmla="*/ 1758 h 10000"/>
                <a:gd name="connsiteX107" fmla="*/ 3916 w 10000"/>
                <a:gd name="connsiteY107" fmla="*/ 1788 h 10000"/>
                <a:gd name="connsiteX108" fmla="*/ 3916 w 10000"/>
                <a:gd name="connsiteY108" fmla="*/ 1788 h 10000"/>
                <a:gd name="connsiteX109" fmla="*/ 3916 w 10000"/>
                <a:gd name="connsiteY109" fmla="*/ 2333 h 10000"/>
                <a:gd name="connsiteX110" fmla="*/ 3916 w 10000"/>
                <a:gd name="connsiteY110" fmla="*/ 2364 h 10000"/>
                <a:gd name="connsiteX111" fmla="*/ 3896 w 10000"/>
                <a:gd name="connsiteY111" fmla="*/ 2364 h 10000"/>
                <a:gd name="connsiteX112" fmla="*/ 2751 w 10000"/>
                <a:gd name="connsiteY112" fmla="*/ 3758 h 10000"/>
                <a:gd name="connsiteX113" fmla="*/ 2731 w 10000"/>
                <a:gd name="connsiteY113" fmla="*/ 3788 h 10000"/>
                <a:gd name="connsiteX114" fmla="*/ 2711 w 10000"/>
                <a:gd name="connsiteY114" fmla="*/ 3758 h 10000"/>
                <a:gd name="connsiteX115" fmla="*/ 2470 w 10000"/>
                <a:gd name="connsiteY115" fmla="*/ 3293 h 10000"/>
                <a:gd name="connsiteX116" fmla="*/ 2189 w 10000"/>
                <a:gd name="connsiteY116" fmla="*/ 3818 h 10000"/>
                <a:gd name="connsiteX117" fmla="*/ 2169 w 10000"/>
                <a:gd name="connsiteY117" fmla="*/ 3818 h 10000"/>
                <a:gd name="connsiteX118" fmla="*/ 2149 w 10000"/>
                <a:gd name="connsiteY118" fmla="*/ 3848 h 10000"/>
                <a:gd name="connsiteX119" fmla="*/ 1988 w 10000"/>
                <a:gd name="connsiteY119" fmla="*/ 3939 h 10000"/>
                <a:gd name="connsiteX120" fmla="*/ 1968 w 10000"/>
                <a:gd name="connsiteY120" fmla="*/ 3939 h 10000"/>
                <a:gd name="connsiteX121" fmla="*/ 1968 w 10000"/>
                <a:gd name="connsiteY121" fmla="*/ 3939 h 10000"/>
                <a:gd name="connsiteX122" fmla="*/ 1526 w 10000"/>
                <a:gd name="connsiteY122" fmla="*/ 3818 h 10000"/>
                <a:gd name="connsiteX123" fmla="*/ 863 w 10000"/>
                <a:gd name="connsiteY123" fmla="*/ 3788 h 10000"/>
                <a:gd name="connsiteX124" fmla="*/ 582 w 10000"/>
                <a:gd name="connsiteY124" fmla="*/ 4667 h 10000"/>
                <a:gd name="connsiteX125" fmla="*/ 562 w 10000"/>
                <a:gd name="connsiteY125" fmla="*/ 4697 h 10000"/>
                <a:gd name="connsiteX126" fmla="*/ 562 w 10000"/>
                <a:gd name="connsiteY126" fmla="*/ 4697 h 10000"/>
                <a:gd name="connsiteX127" fmla="*/ 0 w 10000"/>
                <a:gd name="connsiteY127" fmla="*/ 5667 h 10000"/>
                <a:gd name="connsiteX128" fmla="*/ 241 w 10000"/>
                <a:gd name="connsiteY128" fmla="*/ 6030 h 10000"/>
                <a:gd name="connsiteX129" fmla="*/ 241 w 10000"/>
                <a:gd name="connsiteY129" fmla="*/ 6061 h 10000"/>
                <a:gd name="connsiteX130" fmla="*/ 241 w 10000"/>
                <a:gd name="connsiteY130" fmla="*/ 6091 h 10000"/>
                <a:gd name="connsiteX131" fmla="*/ 241 w 10000"/>
                <a:gd name="connsiteY131" fmla="*/ 7424 h 10000"/>
                <a:gd name="connsiteX132" fmla="*/ 823 w 10000"/>
                <a:gd name="connsiteY132" fmla="*/ 7424 h 10000"/>
                <a:gd name="connsiteX133" fmla="*/ 863 w 10000"/>
                <a:gd name="connsiteY133" fmla="*/ 7424 h 10000"/>
                <a:gd name="connsiteX134" fmla="*/ 863 w 10000"/>
                <a:gd name="connsiteY134" fmla="*/ 7455 h 10000"/>
                <a:gd name="connsiteX135" fmla="*/ 1165 w 10000"/>
                <a:gd name="connsiteY135" fmla="*/ 8091 h 10000"/>
                <a:gd name="connsiteX136" fmla="*/ 1707 w 10000"/>
                <a:gd name="connsiteY136" fmla="*/ 8091 h 10000"/>
                <a:gd name="connsiteX137" fmla="*/ 1727 w 10000"/>
                <a:gd name="connsiteY137" fmla="*/ 8091 h 10000"/>
                <a:gd name="connsiteX138" fmla="*/ 1747 w 10000"/>
                <a:gd name="connsiteY138" fmla="*/ 8121 h 10000"/>
                <a:gd name="connsiteX139" fmla="*/ 1847 w 10000"/>
                <a:gd name="connsiteY139" fmla="*/ 8515 h 10000"/>
                <a:gd name="connsiteX140" fmla="*/ 2329 w 10000"/>
                <a:gd name="connsiteY140" fmla="*/ 8970 h 10000"/>
                <a:gd name="connsiteX141" fmla="*/ 3133 w 10000"/>
                <a:gd name="connsiteY141" fmla="*/ 8909 h 10000"/>
                <a:gd name="connsiteX142" fmla="*/ 3133 w 10000"/>
                <a:gd name="connsiteY142" fmla="*/ 8909 h 10000"/>
                <a:gd name="connsiteX143" fmla="*/ 3353 w 10000"/>
                <a:gd name="connsiteY143" fmla="*/ 8788 h 10000"/>
                <a:gd name="connsiteX0" fmla="*/ 3353 w 10000"/>
                <a:gd name="connsiteY0" fmla="*/ 8788 h 10000"/>
                <a:gd name="connsiteX1" fmla="*/ 3534 w 10000"/>
                <a:gd name="connsiteY1" fmla="*/ 8485 h 10000"/>
                <a:gd name="connsiteX2" fmla="*/ 3763 w 10000"/>
                <a:gd name="connsiteY2" fmla="*/ 7498 h 10000"/>
                <a:gd name="connsiteX3" fmla="*/ 3624 w 10000"/>
                <a:gd name="connsiteY3" fmla="*/ 8702 h 10000"/>
                <a:gd name="connsiteX4" fmla="*/ 3771 w 10000"/>
                <a:gd name="connsiteY4" fmla="*/ 8518 h 10000"/>
                <a:gd name="connsiteX5" fmla="*/ 3976 w 10000"/>
                <a:gd name="connsiteY5" fmla="*/ 8242 h 10000"/>
                <a:gd name="connsiteX6" fmla="*/ 3996 w 10000"/>
                <a:gd name="connsiteY6" fmla="*/ 8242 h 10000"/>
                <a:gd name="connsiteX7" fmla="*/ 4016 w 10000"/>
                <a:gd name="connsiteY7" fmla="*/ 8273 h 10000"/>
                <a:gd name="connsiteX8" fmla="*/ 4378 w 10000"/>
                <a:gd name="connsiteY8" fmla="*/ 9061 h 10000"/>
                <a:gd name="connsiteX9" fmla="*/ 4940 w 10000"/>
                <a:gd name="connsiteY9" fmla="*/ 9182 h 10000"/>
                <a:gd name="connsiteX10" fmla="*/ 4960 w 10000"/>
                <a:gd name="connsiteY10" fmla="*/ 9182 h 10000"/>
                <a:gd name="connsiteX11" fmla="*/ 4980 w 10000"/>
                <a:gd name="connsiteY11" fmla="*/ 9212 h 10000"/>
                <a:gd name="connsiteX12" fmla="*/ 5060 w 10000"/>
                <a:gd name="connsiteY12" fmla="*/ 9818 h 10000"/>
                <a:gd name="connsiteX13" fmla="*/ 5221 w 10000"/>
                <a:gd name="connsiteY13" fmla="*/ 9818 h 10000"/>
                <a:gd name="connsiteX14" fmla="*/ 5221 w 10000"/>
                <a:gd name="connsiteY14" fmla="*/ 9727 h 10000"/>
                <a:gd name="connsiteX15" fmla="*/ 5241 w 10000"/>
                <a:gd name="connsiteY15" fmla="*/ 9636 h 10000"/>
                <a:gd name="connsiteX16" fmla="*/ 5281 w 10000"/>
                <a:gd name="connsiteY16" fmla="*/ 9667 h 10000"/>
                <a:gd name="connsiteX17" fmla="*/ 5522 w 10000"/>
                <a:gd name="connsiteY17" fmla="*/ 9758 h 10000"/>
                <a:gd name="connsiteX18" fmla="*/ 5542 w 10000"/>
                <a:gd name="connsiteY18" fmla="*/ 9758 h 10000"/>
                <a:gd name="connsiteX19" fmla="*/ 5542 w 10000"/>
                <a:gd name="connsiteY19" fmla="*/ 9758 h 10000"/>
                <a:gd name="connsiteX20" fmla="*/ 5743 w 10000"/>
                <a:gd name="connsiteY20" fmla="*/ 10000 h 10000"/>
                <a:gd name="connsiteX21" fmla="*/ 6084 w 10000"/>
                <a:gd name="connsiteY21" fmla="*/ 10000 h 10000"/>
                <a:gd name="connsiteX22" fmla="*/ 6500 w 10000"/>
                <a:gd name="connsiteY22" fmla="*/ 9635 h 10000"/>
                <a:gd name="connsiteX23" fmla="*/ 6502 w 10000"/>
                <a:gd name="connsiteY23" fmla="*/ 9472 h 10000"/>
                <a:gd name="connsiteX24" fmla="*/ 6515 w 10000"/>
                <a:gd name="connsiteY24" fmla="*/ 9240 h 10000"/>
                <a:gd name="connsiteX25" fmla="*/ 6535 w 10000"/>
                <a:gd name="connsiteY25" fmla="*/ 9049 h 10000"/>
                <a:gd name="connsiteX26" fmla="*/ 6727 w 10000"/>
                <a:gd name="connsiteY26" fmla="*/ 8667 h 10000"/>
                <a:gd name="connsiteX27" fmla="*/ 7269 w 10000"/>
                <a:gd name="connsiteY27" fmla="*/ 8061 h 10000"/>
                <a:gd name="connsiteX28" fmla="*/ 7289 w 10000"/>
                <a:gd name="connsiteY28" fmla="*/ 8061 h 10000"/>
                <a:gd name="connsiteX29" fmla="*/ 7309 w 10000"/>
                <a:gd name="connsiteY29" fmla="*/ 8061 h 10000"/>
                <a:gd name="connsiteX30" fmla="*/ 7550 w 10000"/>
                <a:gd name="connsiteY30" fmla="*/ 8152 h 10000"/>
                <a:gd name="connsiteX31" fmla="*/ 7570 w 10000"/>
                <a:gd name="connsiteY31" fmla="*/ 8152 h 10000"/>
                <a:gd name="connsiteX32" fmla="*/ 7590 w 10000"/>
                <a:gd name="connsiteY32" fmla="*/ 8212 h 10000"/>
                <a:gd name="connsiteX33" fmla="*/ 7631 w 10000"/>
                <a:gd name="connsiteY33" fmla="*/ 8939 h 10000"/>
                <a:gd name="connsiteX34" fmla="*/ 7932 w 10000"/>
                <a:gd name="connsiteY34" fmla="*/ 8970 h 10000"/>
                <a:gd name="connsiteX35" fmla="*/ 8173 w 10000"/>
                <a:gd name="connsiteY35" fmla="*/ 8485 h 10000"/>
                <a:gd name="connsiteX36" fmla="*/ 8173 w 10000"/>
                <a:gd name="connsiteY36" fmla="*/ 8485 h 10000"/>
                <a:gd name="connsiteX37" fmla="*/ 8193 w 10000"/>
                <a:gd name="connsiteY37" fmla="*/ 8485 h 10000"/>
                <a:gd name="connsiteX38" fmla="*/ 8534 w 10000"/>
                <a:gd name="connsiteY38" fmla="*/ 8152 h 10000"/>
                <a:gd name="connsiteX39" fmla="*/ 8635 w 10000"/>
                <a:gd name="connsiteY39" fmla="*/ 7667 h 10000"/>
                <a:gd name="connsiteX40" fmla="*/ 8655 w 10000"/>
                <a:gd name="connsiteY40" fmla="*/ 7606 h 10000"/>
                <a:gd name="connsiteX41" fmla="*/ 8675 w 10000"/>
                <a:gd name="connsiteY41" fmla="*/ 7606 h 10000"/>
                <a:gd name="connsiteX42" fmla="*/ 9036 w 10000"/>
                <a:gd name="connsiteY42" fmla="*/ 7545 h 10000"/>
                <a:gd name="connsiteX43" fmla="*/ 9177 w 10000"/>
                <a:gd name="connsiteY43" fmla="*/ 7182 h 10000"/>
                <a:gd name="connsiteX44" fmla="*/ 9177 w 10000"/>
                <a:gd name="connsiteY44" fmla="*/ 7152 h 10000"/>
                <a:gd name="connsiteX45" fmla="*/ 9177 w 10000"/>
                <a:gd name="connsiteY45" fmla="*/ 7152 h 10000"/>
                <a:gd name="connsiteX46" fmla="*/ 9458 w 10000"/>
                <a:gd name="connsiteY46" fmla="*/ 6909 h 10000"/>
                <a:gd name="connsiteX47" fmla="*/ 9458 w 10000"/>
                <a:gd name="connsiteY47" fmla="*/ 6909 h 10000"/>
                <a:gd name="connsiteX48" fmla="*/ 9458 w 10000"/>
                <a:gd name="connsiteY48" fmla="*/ 6909 h 10000"/>
                <a:gd name="connsiteX49" fmla="*/ 9699 w 10000"/>
                <a:gd name="connsiteY49" fmla="*/ 6848 h 10000"/>
                <a:gd name="connsiteX50" fmla="*/ 9859 w 10000"/>
                <a:gd name="connsiteY50" fmla="*/ 6727 h 10000"/>
                <a:gd name="connsiteX51" fmla="*/ 9839 w 10000"/>
                <a:gd name="connsiteY51" fmla="*/ 6667 h 10000"/>
                <a:gd name="connsiteX52" fmla="*/ 9819 w 10000"/>
                <a:gd name="connsiteY52" fmla="*/ 6667 h 10000"/>
                <a:gd name="connsiteX53" fmla="*/ 9819 w 10000"/>
                <a:gd name="connsiteY53" fmla="*/ 6667 h 10000"/>
                <a:gd name="connsiteX54" fmla="*/ 9779 w 10000"/>
                <a:gd name="connsiteY54" fmla="*/ 6424 h 10000"/>
                <a:gd name="connsiteX55" fmla="*/ 9598 w 10000"/>
                <a:gd name="connsiteY55" fmla="*/ 6394 h 10000"/>
                <a:gd name="connsiteX56" fmla="*/ 9538 w 10000"/>
                <a:gd name="connsiteY56" fmla="*/ 6364 h 10000"/>
                <a:gd name="connsiteX57" fmla="*/ 9578 w 10000"/>
                <a:gd name="connsiteY57" fmla="*/ 6303 h 10000"/>
                <a:gd name="connsiteX58" fmla="*/ 9859 w 10000"/>
                <a:gd name="connsiteY58" fmla="*/ 5545 h 10000"/>
                <a:gd name="connsiteX59" fmla="*/ 9880 w 10000"/>
                <a:gd name="connsiteY59" fmla="*/ 5545 h 10000"/>
                <a:gd name="connsiteX60" fmla="*/ 9880 w 10000"/>
                <a:gd name="connsiteY60" fmla="*/ 5515 h 10000"/>
                <a:gd name="connsiteX61" fmla="*/ 10000 w 10000"/>
                <a:gd name="connsiteY61" fmla="*/ 5424 h 10000"/>
                <a:gd name="connsiteX62" fmla="*/ 9799 w 10000"/>
                <a:gd name="connsiteY62" fmla="*/ 5061 h 10000"/>
                <a:gd name="connsiteX63" fmla="*/ 9779 w 10000"/>
                <a:gd name="connsiteY63" fmla="*/ 5030 h 10000"/>
                <a:gd name="connsiteX64" fmla="*/ 9779 w 10000"/>
                <a:gd name="connsiteY64" fmla="*/ 5030 h 10000"/>
                <a:gd name="connsiteX65" fmla="*/ 9759 w 10000"/>
                <a:gd name="connsiteY65" fmla="*/ 4727 h 10000"/>
                <a:gd name="connsiteX66" fmla="*/ 9759 w 10000"/>
                <a:gd name="connsiteY66" fmla="*/ 4727 h 10000"/>
                <a:gd name="connsiteX67" fmla="*/ 9759 w 10000"/>
                <a:gd name="connsiteY67" fmla="*/ 4697 h 10000"/>
                <a:gd name="connsiteX68" fmla="*/ 9920 w 10000"/>
                <a:gd name="connsiteY68" fmla="*/ 4303 h 10000"/>
                <a:gd name="connsiteX69" fmla="*/ 9920 w 10000"/>
                <a:gd name="connsiteY69" fmla="*/ 3333 h 10000"/>
                <a:gd name="connsiteX70" fmla="*/ 9719 w 10000"/>
                <a:gd name="connsiteY70" fmla="*/ 2606 h 10000"/>
                <a:gd name="connsiteX71" fmla="*/ 9679 w 10000"/>
                <a:gd name="connsiteY71" fmla="*/ 2455 h 10000"/>
                <a:gd name="connsiteX72" fmla="*/ 9257 w 10000"/>
                <a:gd name="connsiteY72" fmla="*/ 2394 h 10000"/>
                <a:gd name="connsiteX73" fmla="*/ 9177 w 10000"/>
                <a:gd name="connsiteY73" fmla="*/ 2394 h 10000"/>
                <a:gd name="connsiteX74" fmla="*/ 9177 w 10000"/>
                <a:gd name="connsiteY74" fmla="*/ 2394 h 10000"/>
                <a:gd name="connsiteX75" fmla="*/ 9177 w 10000"/>
                <a:gd name="connsiteY75" fmla="*/ 2394 h 10000"/>
                <a:gd name="connsiteX76" fmla="*/ 9177 w 10000"/>
                <a:gd name="connsiteY76" fmla="*/ 2394 h 10000"/>
                <a:gd name="connsiteX77" fmla="*/ 9177 w 10000"/>
                <a:gd name="connsiteY77" fmla="*/ 2394 h 10000"/>
                <a:gd name="connsiteX78" fmla="*/ 8815 w 10000"/>
                <a:gd name="connsiteY78" fmla="*/ 2242 h 10000"/>
                <a:gd name="connsiteX79" fmla="*/ 8635 w 10000"/>
                <a:gd name="connsiteY79" fmla="*/ 2212 h 10000"/>
                <a:gd name="connsiteX80" fmla="*/ 8614 w 10000"/>
                <a:gd name="connsiteY80" fmla="*/ 2212 h 10000"/>
                <a:gd name="connsiteX81" fmla="*/ 8614 w 10000"/>
                <a:gd name="connsiteY81" fmla="*/ 2182 h 10000"/>
                <a:gd name="connsiteX82" fmla="*/ 8434 w 10000"/>
                <a:gd name="connsiteY82" fmla="*/ 1667 h 10000"/>
                <a:gd name="connsiteX83" fmla="*/ 8032 w 10000"/>
                <a:gd name="connsiteY83" fmla="*/ 1788 h 10000"/>
                <a:gd name="connsiteX84" fmla="*/ 7510 w 10000"/>
                <a:gd name="connsiteY84" fmla="*/ 1970 h 10000"/>
                <a:gd name="connsiteX85" fmla="*/ 7490 w 10000"/>
                <a:gd name="connsiteY85" fmla="*/ 1970 h 10000"/>
                <a:gd name="connsiteX86" fmla="*/ 7470 w 10000"/>
                <a:gd name="connsiteY86" fmla="*/ 1939 h 10000"/>
                <a:gd name="connsiteX87" fmla="*/ 7229 w 10000"/>
                <a:gd name="connsiteY87" fmla="*/ 1364 h 10000"/>
                <a:gd name="connsiteX88" fmla="*/ 6948 w 10000"/>
                <a:gd name="connsiteY88" fmla="*/ 1000 h 10000"/>
                <a:gd name="connsiteX89" fmla="*/ 6466 w 10000"/>
                <a:gd name="connsiteY89" fmla="*/ 939 h 10000"/>
                <a:gd name="connsiteX90" fmla="*/ 5944 w 10000"/>
                <a:gd name="connsiteY90" fmla="*/ 818 h 10000"/>
                <a:gd name="connsiteX91" fmla="*/ 5743 w 10000"/>
                <a:gd name="connsiteY91" fmla="*/ 1182 h 10000"/>
                <a:gd name="connsiteX92" fmla="*/ 5703 w 10000"/>
                <a:gd name="connsiteY92" fmla="*/ 1212 h 10000"/>
                <a:gd name="connsiteX93" fmla="*/ 5683 w 10000"/>
                <a:gd name="connsiteY93" fmla="*/ 1152 h 10000"/>
                <a:gd name="connsiteX94" fmla="*/ 5402 w 10000"/>
                <a:gd name="connsiteY94" fmla="*/ 667 h 10000"/>
                <a:gd name="connsiteX95" fmla="*/ 5181 w 10000"/>
                <a:gd name="connsiteY95" fmla="*/ 515 h 10000"/>
                <a:gd name="connsiteX96" fmla="*/ 5161 w 10000"/>
                <a:gd name="connsiteY96" fmla="*/ 515 h 10000"/>
                <a:gd name="connsiteX97" fmla="*/ 5161 w 10000"/>
                <a:gd name="connsiteY97" fmla="*/ 485 h 10000"/>
                <a:gd name="connsiteX98" fmla="*/ 5120 w 10000"/>
                <a:gd name="connsiteY98" fmla="*/ 121 h 10000"/>
                <a:gd name="connsiteX99" fmla="*/ 4819 w 10000"/>
                <a:gd name="connsiteY99" fmla="*/ 0 h 10000"/>
                <a:gd name="connsiteX100" fmla="*/ 4578 w 10000"/>
                <a:gd name="connsiteY100" fmla="*/ 303 h 10000"/>
                <a:gd name="connsiteX101" fmla="*/ 4558 w 10000"/>
                <a:gd name="connsiteY101" fmla="*/ 333 h 10000"/>
                <a:gd name="connsiteX102" fmla="*/ 4538 w 10000"/>
                <a:gd name="connsiteY102" fmla="*/ 333 h 10000"/>
                <a:gd name="connsiteX103" fmla="*/ 4257 w 10000"/>
                <a:gd name="connsiteY103" fmla="*/ 182 h 10000"/>
                <a:gd name="connsiteX104" fmla="*/ 3896 w 10000"/>
                <a:gd name="connsiteY104" fmla="*/ 333 h 10000"/>
                <a:gd name="connsiteX105" fmla="*/ 3594 w 10000"/>
                <a:gd name="connsiteY105" fmla="*/ 818 h 10000"/>
                <a:gd name="connsiteX106" fmla="*/ 3916 w 10000"/>
                <a:gd name="connsiteY106" fmla="*/ 1758 h 10000"/>
                <a:gd name="connsiteX107" fmla="*/ 3916 w 10000"/>
                <a:gd name="connsiteY107" fmla="*/ 1788 h 10000"/>
                <a:gd name="connsiteX108" fmla="*/ 3916 w 10000"/>
                <a:gd name="connsiteY108" fmla="*/ 1788 h 10000"/>
                <a:gd name="connsiteX109" fmla="*/ 3916 w 10000"/>
                <a:gd name="connsiteY109" fmla="*/ 2333 h 10000"/>
                <a:gd name="connsiteX110" fmla="*/ 3916 w 10000"/>
                <a:gd name="connsiteY110" fmla="*/ 2364 h 10000"/>
                <a:gd name="connsiteX111" fmla="*/ 3896 w 10000"/>
                <a:gd name="connsiteY111" fmla="*/ 2364 h 10000"/>
                <a:gd name="connsiteX112" fmla="*/ 2751 w 10000"/>
                <a:gd name="connsiteY112" fmla="*/ 3758 h 10000"/>
                <a:gd name="connsiteX113" fmla="*/ 2731 w 10000"/>
                <a:gd name="connsiteY113" fmla="*/ 3788 h 10000"/>
                <a:gd name="connsiteX114" fmla="*/ 2711 w 10000"/>
                <a:gd name="connsiteY114" fmla="*/ 3758 h 10000"/>
                <a:gd name="connsiteX115" fmla="*/ 2470 w 10000"/>
                <a:gd name="connsiteY115" fmla="*/ 3293 h 10000"/>
                <a:gd name="connsiteX116" fmla="*/ 2189 w 10000"/>
                <a:gd name="connsiteY116" fmla="*/ 3818 h 10000"/>
                <a:gd name="connsiteX117" fmla="*/ 2169 w 10000"/>
                <a:gd name="connsiteY117" fmla="*/ 3818 h 10000"/>
                <a:gd name="connsiteX118" fmla="*/ 2149 w 10000"/>
                <a:gd name="connsiteY118" fmla="*/ 3848 h 10000"/>
                <a:gd name="connsiteX119" fmla="*/ 1988 w 10000"/>
                <a:gd name="connsiteY119" fmla="*/ 3939 h 10000"/>
                <a:gd name="connsiteX120" fmla="*/ 1968 w 10000"/>
                <a:gd name="connsiteY120" fmla="*/ 3939 h 10000"/>
                <a:gd name="connsiteX121" fmla="*/ 1968 w 10000"/>
                <a:gd name="connsiteY121" fmla="*/ 3939 h 10000"/>
                <a:gd name="connsiteX122" fmla="*/ 1526 w 10000"/>
                <a:gd name="connsiteY122" fmla="*/ 3818 h 10000"/>
                <a:gd name="connsiteX123" fmla="*/ 863 w 10000"/>
                <a:gd name="connsiteY123" fmla="*/ 3788 h 10000"/>
                <a:gd name="connsiteX124" fmla="*/ 582 w 10000"/>
                <a:gd name="connsiteY124" fmla="*/ 4667 h 10000"/>
                <a:gd name="connsiteX125" fmla="*/ 562 w 10000"/>
                <a:gd name="connsiteY125" fmla="*/ 4697 h 10000"/>
                <a:gd name="connsiteX126" fmla="*/ 562 w 10000"/>
                <a:gd name="connsiteY126" fmla="*/ 4697 h 10000"/>
                <a:gd name="connsiteX127" fmla="*/ 0 w 10000"/>
                <a:gd name="connsiteY127" fmla="*/ 5667 h 10000"/>
                <a:gd name="connsiteX128" fmla="*/ 241 w 10000"/>
                <a:gd name="connsiteY128" fmla="*/ 6030 h 10000"/>
                <a:gd name="connsiteX129" fmla="*/ 241 w 10000"/>
                <a:gd name="connsiteY129" fmla="*/ 6061 h 10000"/>
                <a:gd name="connsiteX130" fmla="*/ 241 w 10000"/>
                <a:gd name="connsiteY130" fmla="*/ 6091 h 10000"/>
                <a:gd name="connsiteX131" fmla="*/ 241 w 10000"/>
                <a:gd name="connsiteY131" fmla="*/ 7424 h 10000"/>
                <a:gd name="connsiteX132" fmla="*/ 823 w 10000"/>
                <a:gd name="connsiteY132" fmla="*/ 7424 h 10000"/>
                <a:gd name="connsiteX133" fmla="*/ 863 w 10000"/>
                <a:gd name="connsiteY133" fmla="*/ 7424 h 10000"/>
                <a:gd name="connsiteX134" fmla="*/ 863 w 10000"/>
                <a:gd name="connsiteY134" fmla="*/ 7455 h 10000"/>
                <a:gd name="connsiteX135" fmla="*/ 1165 w 10000"/>
                <a:gd name="connsiteY135" fmla="*/ 8091 h 10000"/>
                <a:gd name="connsiteX136" fmla="*/ 1707 w 10000"/>
                <a:gd name="connsiteY136" fmla="*/ 8091 h 10000"/>
                <a:gd name="connsiteX137" fmla="*/ 1727 w 10000"/>
                <a:gd name="connsiteY137" fmla="*/ 8091 h 10000"/>
                <a:gd name="connsiteX138" fmla="*/ 1747 w 10000"/>
                <a:gd name="connsiteY138" fmla="*/ 8121 h 10000"/>
                <a:gd name="connsiteX139" fmla="*/ 1847 w 10000"/>
                <a:gd name="connsiteY139" fmla="*/ 8515 h 10000"/>
                <a:gd name="connsiteX140" fmla="*/ 2329 w 10000"/>
                <a:gd name="connsiteY140" fmla="*/ 8970 h 10000"/>
                <a:gd name="connsiteX141" fmla="*/ 3133 w 10000"/>
                <a:gd name="connsiteY141" fmla="*/ 8909 h 10000"/>
                <a:gd name="connsiteX142" fmla="*/ 3133 w 10000"/>
                <a:gd name="connsiteY142" fmla="*/ 8909 h 10000"/>
                <a:gd name="connsiteX143" fmla="*/ 3353 w 10000"/>
                <a:gd name="connsiteY143" fmla="*/ 8788 h 10000"/>
                <a:gd name="connsiteX0" fmla="*/ 3353 w 10000"/>
                <a:gd name="connsiteY0" fmla="*/ 8788 h 10000"/>
                <a:gd name="connsiteX1" fmla="*/ 3534 w 10000"/>
                <a:gd name="connsiteY1" fmla="*/ 8485 h 10000"/>
                <a:gd name="connsiteX2" fmla="*/ 3763 w 10000"/>
                <a:gd name="connsiteY2" fmla="*/ 7498 h 10000"/>
                <a:gd name="connsiteX3" fmla="*/ 3624 w 10000"/>
                <a:gd name="connsiteY3" fmla="*/ 8702 h 10000"/>
                <a:gd name="connsiteX4" fmla="*/ 3771 w 10000"/>
                <a:gd name="connsiteY4" fmla="*/ 8518 h 10000"/>
                <a:gd name="connsiteX5" fmla="*/ 3976 w 10000"/>
                <a:gd name="connsiteY5" fmla="*/ 8242 h 10000"/>
                <a:gd name="connsiteX6" fmla="*/ 3996 w 10000"/>
                <a:gd name="connsiteY6" fmla="*/ 8242 h 10000"/>
                <a:gd name="connsiteX7" fmla="*/ 4016 w 10000"/>
                <a:gd name="connsiteY7" fmla="*/ 8273 h 10000"/>
                <a:gd name="connsiteX8" fmla="*/ 4378 w 10000"/>
                <a:gd name="connsiteY8" fmla="*/ 9061 h 10000"/>
                <a:gd name="connsiteX9" fmla="*/ 4940 w 10000"/>
                <a:gd name="connsiteY9" fmla="*/ 9182 h 10000"/>
                <a:gd name="connsiteX10" fmla="*/ 4960 w 10000"/>
                <a:gd name="connsiteY10" fmla="*/ 9182 h 10000"/>
                <a:gd name="connsiteX11" fmla="*/ 4980 w 10000"/>
                <a:gd name="connsiteY11" fmla="*/ 9212 h 10000"/>
                <a:gd name="connsiteX12" fmla="*/ 5060 w 10000"/>
                <a:gd name="connsiteY12" fmla="*/ 9818 h 10000"/>
                <a:gd name="connsiteX13" fmla="*/ 5221 w 10000"/>
                <a:gd name="connsiteY13" fmla="*/ 9818 h 10000"/>
                <a:gd name="connsiteX14" fmla="*/ 5221 w 10000"/>
                <a:gd name="connsiteY14" fmla="*/ 9727 h 10000"/>
                <a:gd name="connsiteX15" fmla="*/ 5241 w 10000"/>
                <a:gd name="connsiteY15" fmla="*/ 9636 h 10000"/>
                <a:gd name="connsiteX16" fmla="*/ 5281 w 10000"/>
                <a:gd name="connsiteY16" fmla="*/ 9667 h 10000"/>
                <a:gd name="connsiteX17" fmla="*/ 5522 w 10000"/>
                <a:gd name="connsiteY17" fmla="*/ 9758 h 10000"/>
                <a:gd name="connsiteX18" fmla="*/ 5542 w 10000"/>
                <a:gd name="connsiteY18" fmla="*/ 9758 h 10000"/>
                <a:gd name="connsiteX19" fmla="*/ 5542 w 10000"/>
                <a:gd name="connsiteY19" fmla="*/ 9758 h 10000"/>
                <a:gd name="connsiteX20" fmla="*/ 5743 w 10000"/>
                <a:gd name="connsiteY20" fmla="*/ 10000 h 10000"/>
                <a:gd name="connsiteX21" fmla="*/ 6084 w 10000"/>
                <a:gd name="connsiteY21" fmla="*/ 10000 h 10000"/>
                <a:gd name="connsiteX22" fmla="*/ 6500 w 10000"/>
                <a:gd name="connsiteY22" fmla="*/ 9635 h 10000"/>
                <a:gd name="connsiteX23" fmla="*/ 6502 w 10000"/>
                <a:gd name="connsiteY23" fmla="*/ 9472 h 10000"/>
                <a:gd name="connsiteX24" fmla="*/ 6515 w 10000"/>
                <a:gd name="connsiteY24" fmla="*/ 9240 h 10000"/>
                <a:gd name="connsiteX25" fmla="*/ 6535 w 10000"/>
                <a:gd name="connsiteY25" fmla="*/ 9049 h 10000"/>
                <a:gd name="connsiteX26" fmla="*/ 6727 w 10000"/>
                <a:gd name="connsiteY26" fmla="*/ 8667 h 10000"/>
                <a:gd name="connsiteX27" fmla="*/ 7269 w 10000"/>
                <a:gd name="connsiteY27" fmla="*/ 8061 h 10000"/>
                <a:gd name="connsiteX28" fmla="*/ 7289 w 10000"/>
                <a:gd name="connsiteY28" fmla="*/ 8061 h 10000"/>
                <a:gd name="connsiteX29" fmla="*/ 7309 w 10000"/>
                <a:gd name="connsiteY29" fmla="*/ 8061 h 10000"/>
                <a:gd name="connsiteX30" fmla="*/ 7550 w 10000"/>
                <a:gd name="connsiteY30" fmla="*/ 8152 h 10000"/>
                <a:gd name="connsiteX31" fmla="*/ 7570 w 10000"/>
                <a:gd name="connsiteY31" fmla="*/ 8152 h 10000"/>
                <a:gd name="connsiteX32" fmla="*/ 7590 w 10000"/>
                <a:gd name="connsiteY32" fmla="*/ 8212 h 10000"/>
                <a:gd name="connsiteX33" fmla="*/ 7631 w 10000"/>
                <a:gd name="connsiteY33" fmla="*/ 8939 h 10000"/>
                <a:gd name="connsiteX34" fmla="*/ 7932 w 10000"/>
                <a:gd name="connsiteY34" fmla="*/ 8970 h 10000"/>
                <a:gd name="connsiteX35" fmla="*/ 8173 w 10000"/>
                <a:gd name="connsiteY35" fmla="*/ 8485 h 10000"/>
                <a:gd name="connsiteX36" fmla="*/ 8173 w 10000"/>
                <a:gd name="connsiteY36" fmla="*/ 8485 h 10000"/>
                <a:gd name="connsiteX37" fmla="*/ 8193 w 10000"/>
                <a:gd name="connsiteY37" fmla="*/ 8485 h 10000"/>
                <a:gd name="connsiteX38" fmla="*/ 8534 w 10000"/>
                <a:gd name="connsiteY38" fmla="*/ 8152 h 10000"/>
                <a:gd name="connsiteX39" fmla="*/ 8635 w 10000"/>
                <a:gd name="connsiteY39" fmla="*/ 7667 h 10000"/>
                <a:gd name="connsiteX40" fmla="*/ 8655 w 10000"/>
                <a:gd name="connsiteY40" fmla="*/ 7606 h 10000"/>
                <a:gd name="connsiteX41" fmla="*/ 8675 w 10000"/>
                <a:gd name="connsiteY41" fmla="*/ 7606 h 10000"/>
                <a:gd name="connsiteX42" fmla="*/ 9036 w 10000"/>
                <a:gd name="connsiteY42" fmla="*/ 7545 h 10000"/>
                <a:gd name="connsiteX43" fmla="*/ 9177 w 10000"/>
                <a:gd name="connsiteY43" fmla="*/ 7182 h 10000"/>
                <a:gd name="connsiteX44" fmla="*/ 9177 w 10000"/>
                <a:gd name="connsiteY44" fmla="*/ 7152 h 10000"/>
                <a:gd name="connsiteX45" fmla="*/ 9177 w 10000"/>
                <a:gd name="connsiteY45" fmla="*/ 7152 h 10000"/>
                <a:gd name="connsiteX46" fmla="*/ 9458 w 10000"/>
                <a:gd name="connsiteY46" fmla="*/ 6909 h 10000"/>
                <a:gd name="connsiteX47" fmla="*/ 9458 w 10000"/>
                <a:gd name="connsiteY47" fmla="*/ 6909 h 10000"/>
                <a:gd name="connsiteX48" fmla="*/ 9458 w 10000"/>
                <a:gd name="connsiteY48" fmla="*/ 6909 h 10000"/>
                <a:gd name="connsiteX49" fmla="*/ 9699 w 10000"/>
                <a:gd name="connsiteY49" fmla="*/ 6848 h 10000"/>
                <a:gd name="connsiteX50" fmla="*/ 9859 w 10000"/>
                <a:gd name="connsiteY50" fmla="*/ 6727 h 10000"/>
                <a:gd name="connsiteX51" fmla="*/ 9839 w 10000"/>
                <a:gd name="connsiteY51" fmla="*/ 6667 h 10000"/>
                <a:gd name="connsiteX52" fmla="*/ 9819 w 10000"/>
                <a:gd name="connsiteY52" fmla="*/ 6667 h 10000"/>
                <a:gd name="connsiteX53" fmla="*/ 9819 w 10000"/>
                <a:gd name="connsiteY53" fmla="*/ 6667 h 10000"/>
                <a:gd name="connsiteX54" fmla="*/ 9779 w 10000"/>
                <a:gd name="connsiteY54" fmla="*/ 6424 h 10000"/>
                <a:gd name="connsiteX55" fmla="*/ 9598 w 10000"/>
                <a:gd name="connsiteY55" fmla="*/ 6394 h 10000"/>
                <a:gd name="connsiteX56" fmla="*/ 9538 w 10000"/>
                <a:gd name="connsiteY56" fmla="*/ 6364 h 10000"/>
                <a:gd name="connsiteX57" fmla="*/ 9578 w 10000"/>
                <a:gd name="connsiteY57" fmla="*/ 6303 h 10000"/>
                <a:gd name="connsiteX58" fmla="*/ 9859 w 10000"/>
                <a:gd name="connsiteY58" fmla="*/ 5545 h 10000"/>
                <a:gd name="connsiteX59" fmla="*/ 9880 w 10000"/>
                <a:gd name="connsiteY59" fmla="*/ 5545 h 10000"/>
                <a:gd name="connsiteX60" fmla="*/ 9880 w 10000"/>
                <a:gd name="connsiteY60" fmla="*/ 5515 h 10000"/>
                <a:gd name="connsiteX61" fmla="*/ 10000 w 10000"/>
                <a:gd name="connsiteY61" fmla="*/ 5424 h 10000"/>
                <a:gd name="connsiteX62" fmla="*/ 9799 w 10000"/>
                <a:gd name="connsiteY62" fmla="*/ 5061 h 10000"/>
                <a:gd name="connsiteX63" fmla="*/ 9779 w 10000"/>
                <a:gd name="connsiteY63" fmla="*/ 5030 h 10000"/>
                <a:gd name="connsiteX64" fmla="*/ 9779 w 10000"/>
                <a:gd name="connsiteY64" fmla="*/ 5030 h 10000"/>
                <a:gd name="connsiteX65" fmla="*/ 9759 w 10000"/>
                <a:gd name="connsiteY65" fmla="*/ 4727 h 10000"/>
                <a:gd name="connsiteX66" fmla="*/ 9759 w 10000"/>
                <a:gd name="connsiteY66" fmla="*/ 4727 h 10000"/>
                <a:gd name="connsiteX67" fmla="*/ 9759 w 10000"/>
                <a:gd name="connsiteY67" fmla="*/ 4697 h 10000"/>
                <a:gd name="connsiteX68" fmla="*/ 9920 w 10000"/>
                <a:gd name="connsiteY68" fmla="*/ 4303 h 10000"/>
                <a:gd name="connsiteX69" fmla="*/ 9920 w 10000"/>
                <a:gd name="connsiteY69" fmla="*/ 3333 h 10000"/>
                <a:gd name="connsiteX70" fmla="*/ 9719 w 10000"/>
                <a:gd name="connsiteY70" fmla="*/ 2606 h 10000"/>
                <a:gd name="connsiteX71" fmla="*/ 9679 w 10000"/>
                <a:gd name="connsiteY71" fmla="*/ 2455 h 10000"/>
                <a:gd name="connsiteX72" fmla="*/ 9257 w 10000"/>
                <a:gd name="connsiteY72" fmla="*/ 2394 h 10000"/>
                <a:gd name="connsiteX73" fmla="*/ 9177 w 10000"/>
                <a:gd name="connsiteY73" fmla="*/ 2394 h 10000"/>
                <a:gd name="connsiteX74" fmla="*/ 9177 w 10000"/>
                <a:gd name="connsiteY74" fmla="*/ 2394 h 10000"/>
                <a:gd name="connsiteX75" fmla="*/ 9177 w 10000"/>
                <a:gd name="connsiteY75" fmla="*/ 2394 h 10000"/>
                <a:gd name="connsiteX76" fmla="*/ 9177 w 10000"/>
                <a:gd name="connsiteY76" fmla="*/ 2394 h 10000"/>
                <a:gd name="connsiteX77" fmla="*/ 9177 w 10000"/>
                <a:gd name="connsiteY77" fmla="*/ 2394 h 10000"/>
                <a:gd name="connsiteX78" fmla="*/ 8815 w 10000"/>
                <a:gd name="connsiteY78" fmla="*/ 2242 h 10000"/>
                <a:gd name="connsiteX79" fmla="*/ 8635 w 10000"/>
                <a:gd name="connsiteY79" fmla="*/ 2212 h 10000"/>
                <a:gd name="connsiteX80" fmla="*/ 8614 w 10000"/>
                <a:gd name="connsiteY80" fmla="*/ 2212 h 10000"/>
                <a:gd name="connsiteX81" fmla="*/ 8614 w 10000"/>
                <a:gd name="connsiteY81" fmla="*/ 2182 h 10000"/>
                <a:gd name="connsiteX82" fmla="*/ 8434 w 10000"/>
                <a:gd name="connsiteY82" fmla="*/ 1667 h 10000"/>
                <a:gd name="connsiteX83" fmla="*/ 8032 w 10000"/>
                <a:gd name="connsiteY83" fmla="*/ 1788 h 10000"/>
                <a:gd name="connsiteX84" fmla="*/ 7510 w 10000"/>
                <a:gd name="connsiteY84" fmla="*/ 1970 h 10000"/>
                <a:gd name="connsiteX85" fmla="*/ 7490 w 10000"/>
                <a:gd name="connsiteY85" fmla="*/ 1970 h 10000"/>
                <a:gd name="connsiteX86" fmla="*/ 7470 w 10000"/>
                <a:gd name="connsiteY86" fmla="*/ 1939 h 10000"/>
                <a:gd name="connsiteX87" fmla="*/ 7229 w 10000"/>
                <a:gd name="connsiteY87" fmla="*/ 1364 h 10000"/>
                <a:gd name="connsiteX88" fmla="*/ 6948 w 10000"/>
                <a:gd name="connsiteY88" fmla="*/ 1000 h 10000"/>
                <a:gd name="connsiteX89" fmla="*/ 6466 w 10000"/>
                <a:gd name="connsiteY89" fmla="*/ 939 h 10000"/>
                <a:gd name="connsiteX90" fmla="*/ 5944 w 10000"/>
                <a:gd name="connsiteY90" fmla="*/ 818 h 10000"/>
                <a:gd name="connsiteX91" fmla="*/ 5743 w 10000"/>
                <a:gd name="connsiteY91" fmla="*/ 1182 h 10000"/>
                <a:gd name="connsiteX92" fmla="*/ 5703 w 10000"/>
                <a:gd name="connsiteY92" fmla="*/ 1212 h 10000"/>
                <a:gd name="connsiteX93" fmla="*/ 5683 w 10000"/>
                <a:gd name="connsiteY93" fmla="*/ 1152 h 10000"/>
                <a:gd name="connsiteX94" fmla="*/ 5402 w 10000"/>
                <a:gd name="connsiteY94" fmla="*/ 667 h 10000"/>
                <a:gd name="connsiteX95" fmla="*/ 5181 w 10000"/>
                <a:gd name="connsiteY95" fmla="*/ 515 h 10000"/>
                <a:gd name="connsiteX96" fmla="*/ 5161 w 10000"/>
                <a:gd name="connsiteY96" fmla="*/ 515 h 10000"/>
                <a:gd name="connsiteX97" fmla="*/ 5161 w 10000"/>
                <a:gd name="connsiteY97" fmla="*/ 485 h 10000"/>
                <a:gd name="connsiteX98" fmla="*/ 5120 w 10000"/>
                <a:gd name="connsiteY98" fmla="*/ 121 h 10000"/>
                <a:gd name="connsiteX99" fmla="*/ 4819 w 10000"/>
                <a:gd name="connsiteY99" fmla="*/ 0 h 10000"/>
                <a:gd name="connsiteX100" fmla="*/ 4578 w 10000"/>
                <a:gd name="connsiteY100" fmla="*/ 303 h 10000"/>
                <a:gd name="connsiteX101" fmla="*/ 4558 w 10000"/>
                <a:gd name="connsiteY101" fmla="*/ 333 h 10000"/>
                <a:gd name="connsiteX102" fmla="*/ 4538 w 10000"/>
                <a:gd name="connsiteY102" fmla="*/ 333 h 10000"/>
                <a:gd name="connsiteX103" fmla="*/ 4257 w 10000"/>
                <a:gd name="connsiteY103" fmla="*/ 182 h 10000"/>
                <a:gd name="connsiteX104" fmla="*/ 3896 w 10000"/>
                <a:gd name="connsiteY104" fmla="*/ 333 h 10000"/>
                <a:gd name="connsiteX105" fmla="*/ 3594 w 10000"/>
                <a:gd name="connsiteY105" fmla="*/ 818 h 10000"/>
                <a:gd name="connsiteX106" fmla="*/ 3916 w 10000"/>
                <a:gd name="connsiteY106" fmla="*/ 1758 h 10000"/>
                <a:gd name="connsiteX107" fmla="*/ 3916 w 10000"/>
                <a:gd name="connsiteY107" fmla="*/ 1788 h 10000"/>
                <a:gd name="connsiteX108" fmla="*/ 3916 w 10000"/>
                <a:gd name="connsiteY108" fmla="*/ 1788 h 10000"/>
                <a:gd name="connsiteX109" fmla="*/ 3916 w 10000"/>
                <a:gd name="connsiteY109" fmla="*/ 2333 h 10000"/>
                <a:gd name="connsiteX110" fmla="*/ 3916 w 10000"/>
                <a:gd name="connsiteY110" fmla="*/ 2364 h 10000"/>
                <a:gd name="connsiteX111" fmla="*/ 3896 w 10000"/>
                <a:gd name="connsiteY111" fmla="*/ 2364 h 10000"/>
                <a:gd name="connsiteX112" fmla="*/ 2751 w 10000"/>
                <a:gd name="connsiteY112" fmla="*/ 3758 h 10000"/>
                <a:gd name="connsiteX113" fmla="*/ 2731 w 10000"/>
                <a:gd name="connsiteY113" fmla="*/ 3788 h 10000"/>
                <a:gd name="connsiteX114" fmla="*/ 2711 w 10000"/>
                <a:gd name="connsiteY114" fmla="*/ 3758 h 10000"/>
                <a:gd name="connsiteX115" fmla="*/ 2470 w 10000"/>
                <a:gd name="connsiteY115" fmla="*/ 3293 h 10000"/>
                <a:gd name="connsiteX116" fmla="*/ 2189 w 10000"/>
                <a:gd name="connsiteY116" fmla="*/ 3818 h 10000"/>
                <a:gd name="connsiteX117" fmla="*/ 2169 w 10000"/>
                <a:gd name="connsiteY117" fmla="*/ 3818 h 10000"/>
                <a:gd name="connsiteX118" fmla="*/ 2149 w 10000"/>
                <a:gd name="connsiteY118" fmla="*/ 3848 h 10000"/>
                <a:gd name="connsiteX119" fmla="*/ 1988 w 10000"/>
                <a:gd name="connsiteY119" fmla="*/ 3939 h 10000"/>
                <a:gd name="connsiteX120" fmla="*/ 1968 w 10000"/>
                <a:gd name="connsiteY120" fmla="*/ 3939 h 10000"/>
                <a:gd name="connsiteX121" fmla="*/ 1968 w 10000"/>
                <a:gd name="connsiteY121" fmla="*/ 3939 h 10000"/>
                <a:gd name="connsiteX122" fmla="*/ 1526 w 10000"/>
                <a:gd name="connsiteY122" fmla="*/ 3818 h 10000"/>
                <a:gd name="connsiteX123" fmla="*/ 863 w 10000"/>
                <a:gd name="connsiteY123" fmla="*/ 3788 h 10000"/>
                <a:gd name="connsiteX124" fmla="*/ 582 w 10000"/>
                <a:gd name="connsiteY124" fmla="*/ 4667 h 10000"/>
                <a:gd name="connsiteX125" fmla="*/ 562 w 10000"/>
                <a:gd name="connsiteY125" fmla="*/ 4697 h 10000"/>
                <a:gd name="connsiteX126" fmla="*/ 562 w 10000"/>
                <a:gd name="connsiteY126" fmla="*/ 4697 h 10000"/>
                <a:gd name="connsiteX127" fmla="*/ 0 w 10000"/>
                <a:gd name="connsiteY127" fmla="*/ 5667 h 10000"/>
                <a:gd name="connsiteX128" fmla="*/ 241 w 10000"/>
                <a:gd name="connsiteY128" fmla="*/ 6030 h 10000"/>
                <a:gd name="connsiteX129" fmla="*/ 241 w 10000"/>
                <a:gd name="connsiteY129" fmla="*/ 6061 h 10000"/>
                <a:gd name="connsiteX130" fmla="*/ 241 w 10000"/>
                <a:gd name="connsiteY130" fmla="*/ 6091 h 10000"/>
                <a:gd name="connsiteX131" fmla="*/ 241 w 10000"/>
                <a:gd name="connsiteY131" fmla="*/ 7424 h 10000"/>
                <a:gd name="connsiteX132" fmla="*/ 823 w 10000"/>
                <a:gd name="connsiteY132" fmla="*/ 7424 h 10000"/>
                <a:gd name="connsiteX133" fmla="*/ 863 w 10000"/>
                <a:gd name="connsiteY133" fmla="*/ 7424 h 10000"/>
                <a:gd name="connsiteX134" fmla="*/ 863 w 10000"/>
                <a:gd name="connsiteY134" fmla="*/ 7455 h 10000"/>
                <a:gd name="connsiteX135" fmla="*/ 1165 w 10000"/>
                <a:gd name="connsiteY135" fmla="*/ 8091 h 10000"/>
                <a:gd name="connsiteX136" fmla="*/ 1707 w 10000"/>
                <a:gd name="connsiteY136" fmla="*/ 8091 h 10000"/>
                <a:gd name="connsiteX137" fmla="*/ 1727 w 10000"/>
                <a:gd name="connsiteY137" fmla="*/ 8091 h 10000"/>
                <a:gd name="connsiteX138" fmla="*/ 1747 w 10000"/>
                <a:gd name="connsiteY138" fmla="*/ 8121 h 10000"/>
                <a:gd name="connsiteX139" fmla="*/ 1847 w 10000"/>
                <a:gd name="connsiteY139" fmla="*/ 8515 h 10000"/>
                <a:gd name="connsiteX140" fmla="*/ 2329 w 10000"/>
                <a:gd name="connsiteY140" fmla="*/ 8970 h 10000"/>
                <a:gd name="connsiteX141" fmla="*/ 3133 w 10000"/>
                <a:gd name="connsiteY141" fmla="*/ 8909 h 10000"/>
                <a:gd name="connsiteX142" fmla="*/ 3133 w 10000"/>
                <a:gd name="connsiteY142" fmla="*/ 8909 h 10000"/>
                <a:gd name="connsiteX143" fmla="*/ 3353 w 10000"/>
                <a:gd name="connsiteY143" fmla="*/ 8788 h 10000"/>
                <a:gd name="connsiteX0" fmla="*/ 3353 w 10000"/>
                <a:gd name="connsiteY0" fmla="*/ 8788 h 10000"/>
                <a:gd name="connsiteX1" fmla="*/ 3534 w 10000"/>
                <a:gd name="connsiteY1" fmla="*/ 8485 h 10000"/>
                <a:gd name="connsiteX2" fmla="*/ 3465 w 10000"/>
                <a:gd name="connsiteY2" fmla="*/ 7576 h 10000"/>
                <a:gd name="connsiteX3" fmla="*/ 3624 w 10000"/>
                <a:gd name="connsiteY3" fmla="*/ 8702 h 10000"/>
                <a:gd name="connsiteX4" fmla="*/ 3771 w 10000"/>
                <a:gd name="connsiteY4" fmla="*/ 8518 h 10000"/>
                <a:gd name="connsiteX5" fmla="*/ 3976 w 10000"/>
                <a:gd name="connsiteY5" fmla="*/ 8242 h 10000"/>
                <a:gd name="connsiteX6" fmla="*/ 3996 w 10000"/>
                <a:gd name="connsiteY6" fmla="*/ 8242 h 10000"/>
                <a:gd name="connsiteX7" fmla="*/ 4016 w 10000"/>
                <a:gd name="connsiteY7" fmla="*/ 8273 h 10000"/>
                <a:gd name="connsiteX8" fmla="*/ 4378 w 10000"/>
                <a:gd name="connsiteY8" fmla="*/ 9061 h 10000"/>
                <a:gd name="connsiteX9" fmla="*/ 4940 w 10000"/>
                <a:gd name="connsiteY9" fmla="*/ 9182 h 10000"/>
                <a:gd name="connsiteX10" fmla="*/ 4960 w 10000"/>
                <a:gd name="connsiteY10" fmla="*/ 9182 h 10000"/>
                <a:gd name="connsiteX11" fmla="*/ 4980 w 10000"/>
                <a:gd name="connsiteY11" fmla="*/ 9212 h 10000"/>
                <a:gd name="connsiteX12" fmla="*/ 5060 w 10000"/>
                <a:gd name="connsiteY12" fmla="*/ 9818 h 10000"/>
                <a:gd name="connsiteX13" fmla="*/ 5221 w 10000"/>
                <a:gd name="connsiteY13" fmla="*/ 9818 h 10000"/>
                <a:gd name="connsiteX14" fmla="*/ 5221 w 10000"/>
                <a:gd name="connsiteY14" fmla="*/ 9727 h 10000"/>
                <a:gd name="connsiteX15" fmla="*/ 5241 w 10000"/>
                <a:gd name="connsiteY15" fmla="*/ 9636 h 10000"/>
                <a:gd name="connsiteX16" fmla="*/ 5281 w 10000"/>
                <a:gd name="connsiteY16" fmla="*/ 9667 h 10000"/>
                <a:gd name="connsiteX17" fmla="*/ 5522 w 10000"/>
                <a:gd name="connsiteY17" fmla="*/ 9758 h 10000"/>
                <a:gd name="connsiteX18" fmla="*/ 5542 w 10000"/>
                <a:gd name="connsiteY18" fmla="*/ 9758 h 10000"/>
                <a:gd name="connsiteX19" fmla="*/ 5542 w 10000"/>
                <a:gd name="connsiteY19" fmla="*/ 9758 h 10000"/>
                <a:gd name="connsiteX20" fmla="*/ 5743 w 10000"/>
                <a:gd name="connsiteY20" fmla="*/ 10000 h 10000"/>
                <a:gd name="connsiteX21" fmla="*/ 6084 w 10000"/>
                <a:gd name="connsiteY21" fmla="*/ 10000 h 10000"/>
                <a:gd name="connsiteX22" fmla="*/ 6500 w 10000"/>
                <a:gd name="connsiteY22" fmla="*/ 9635 h 10000"/>
                <a:gd name="connsiteX23" fmla="*/ 6502 w 10000"/>
                <a:gd name="connsiteY23" fmla="*/ 9472 h 10000"/>
                <a:gd name="connsiteX24" fmla="*/ 6515 w 10000"/>
                <a:gd name="connsiteY24" fmla="*/ 9240 h 10000"/>
                <a:gd name="connsiteX25" fmla="*/ 6535 w 10000"/>
                <a:gd name="connsiteY25" fmla="*/ 9049 h 10000"/>
                <a:gd name="connsiteX26" fmla="*/ 6727 w 10000"/>
                <a:gd name="connsiteY26" fmla="*/ 8667 h 10000"/>
                <a:gd name="connsiteX27" fmla="*/ 7269 w 10000"/>
                <a:gd name="connsiteY27" fmla="*/ 8061 h 10000"/>
                <a:gd name="connsiteX28" fmla="*/ 7289 w 10000"/>
                <a:gd name="connsiteY28" fmla="*/ 8061 h 10000"/>
                <a:gd name="connsiteX29" fmla="*/ 7309 w 10000"/>
                <a:gd name="connsiteY29" fmla="*/ 8061 h 10000"/>
                <a:gd name="connsiteX30" fmla="*/ 7550 w 10000"/>
                <a:gd name="connsiteY30" fmla="*/ 8152 h 10000"/>
                <a:gd name="connsiteX31" fmla="*/ 7570 w 10000"/>
                <a:gd name="connsiteY31" fmla="*/ 8152 h 10000"/>
                <a:gd name="connsiteX32" fmla="*/ 7590 w 10000"/>
                <a:gd name="connsiteY32" fmla="*/ 8212 h 10000"/>
                <a:gd name="connsiteX33" fmla="*/ 7631 w 10000"/>
                <a:gd name="connsiteY33" fmla="*/ 8939 h 10000"/>
                <a:gd name="connsiteX34" fmla="*/ 7932 w 10000"/>
                <a:gd name="connsiteY34" fmla="*/ 8970 h 10000"/>
                <a:gd name="connsiteX35" fmla="*/ 8173 w 10000"/>
                <a:gd name="connsiteY35" fmla="*/ 8485 h 10000"/>
                <a:gd name="connsiteX36" fmla="*/ 8173 w 10000"/>
                <a:gd name="connsiteY36" fmla="*/ 8485 h 10000"/>
                <a:gd name="connsiteX37" fmla="*/ 8193 w 10000"/>
                <a:gd name="connsiteY37" fmla="*/ 8485 h 10000"/>
                <a:gd name="connsiteX38" fmla="*/ 8534 w 10000"/>
                <a:gd name="connsiteY38" fmla="*/ 8152 h 10000"/>
                <a:gd name="connsiteX39" fmla="*/ 8635 w 10000"/>
                <a:gd name="connsiteY39" fmla="*/ 7667 h 10000"/>
                <a:gd name="connsiteX40" fmla="*/ 8655 w 10000"/>
                <a:gd name="connsiteY40" fmla="*/ 7606 h 10000"/>
                <a:gd name="connsiteX41" fmla="*/ 8675 w 10000"/>
                <a:gd name="connsiteY41" fmla="*/ 7606 h 10000"/>
                <a:gd name="connsiteX42" fmla="*/ 9036 w 10000"/>
                <a:gd name="connsiteY42" fmla="*/ 7545 h 10000"/>
                <a:gd name="connsiteX43" fmla="*/ 9177 w 10000"/>
                <a:gd name="connsiteY43" fmla="*/ 7182 h 10000"/>
                <a:gd name="connsiteX44" fmla="*/ 9177 w 10000"/>
                <a:gd name="connsiteY44" fmla="*/ 7152 h 10000"/>
                <a:gd name="connsiteX45" fmla="*/ 9177 w 10000"/>
                <a:gd name="connsiteY45" fmla="*/ 7152 h 10000"/>
                <a:gd name="connsiteX46" fmla="*/ 9458 w 10000"/>
                <a:gd name="connsiteY46" fmla="*/ 6909 h 10000"/>
                <a:gd name="connsiteX47" fmla="*/ 9458 w 10000"/>
                <a:gd name="connsiteY47" fmla="*/ 6909 h 10000"/>
                <a:gd name="connsiteX48" fmla="*/ 9458 w 10000"/>
                <a:gd name="connsiteY48" fmla="*/ 6909 h 10000"/>
                <a:gd name="connsiteX49" fmla="*/ 9699 w 10000"/>
                <a:gd name="connsiteY49" fmla="*/ 6848 h 10000"/>
                <a:gd name="connsiteX50" fmla="*/ 9859 w 10000"/>
                <a:gd name="connsiteY50" fmla="*/ 6727 h 10000"/>
                <a:gd name="connsiteX51" fmla="*/ 9839 w 10000"/>
                <a:gd name="connsiteY51" fmla="*/ 6667 h 10000"/>
                <a:gd name="connsiteX52" fmla="*/ 9819 w 10000"/>
                <a:gd name="connsiteY52" fmla="*/ 6667 h 10000"/>
                <a:gd name="connsiteX53" fmla="*/ 9819 w 10000"/>
                <a:gd name="connsiteY53" fmla="*/ 6667 h 10000"/>
                <a:gd name="connsiteX54" fmla="*/ 9779 w 10000"/>
                <a:gd name="connsiteY54" fmla="*/ 6424 h 10000"/>
                <a:gd name="connsiteX55" fmla="*/ 9598 w 10000"/>
                <a:gd name="connsiteY55" fmla="*/ 6394 h 10000"/>
                <a:gd name="connsiteX56" fmla="*/ 9538 w 10000"/>
                <a:gd name="connsiteY56" fmla="*/ 6364 h 10000"/>
                <a:gd name="connsiteX57" fmla="*/ 9578 w 10000"/>
                <a:gd name="connsiteY57" fmla="*/ 6303 h 10000"/>
                <a:gd name="connsiteX58" fmla="*/ 9859 w 10000"/>
                <a:gd name="connsiteY58" fmla="*/ 5545 h 10000"/>
                <a:gd name="connsiteX59" fmla="*/ 9880 w 10000"/>
                <a:gd name="connsiteY59" fmla="*/ 5545 h 10000"/>
                <a:gd name="connsiteX60" fmla="*/ 9880 w 10000"/>
                <a:gd name="connsiteY60" fmla="*/ 5515 h 10000"/>
                <a:gd name="connsiteX61" fmla="*/ 10000 w 10000"/>
                <a:gd name="connsiteY61" fmla="*/ 5424 h 10000"/>
                <a:gd name="connsiteX62" fmla="*/ 9799 w 10000"/>
                <a:gd name="connsiteY62" fmla="*/ 5061 h 10000"/>
                <a:gd name="connsiteX63" fmla="*/ 9779 w 10000"/>
                <a:gd name="connsiteY63" fmla="*/ 5030 h 10000"/>
                <a:gd name="connsiteX64" fmla="*/ 9779 w 10000"/>
                <a:gd name="connsiteY64" fmla="*/ 5030 h 10000"/>
                <a:gd name="connsiteX65" fmla="*/ 9759 w 10000"/>
                <a:gd name="connsiteY65" fmla="*/ 4727 h 10000"/>
                <a:gd name="connsiteX66" fmla="*/ 9759 w 10000"/>
                <a:gd name="connsiteY66" fmla="*/ 4727 h 10000"/>
                <a:gd name="connsiteX67" fmla="*/ 9759 w 10000"/>
                <a:gd name="connsiteY67" fmla="*/ 4697 h 10000"/>
                <a:gd name="connsiteX68" fmla="*/ 9920 w 10000"/>
                <a:gd name="connsiteY68" fmla="*/ 4303 h 10000"/>
                <a:gd name="connsiteX69" fmla="*/ 9920 w 10000"/>
                <a:gd name="connsiteY69" fmla="*/ 3333 h 10000"/>
                <a:gd name="connsiteX70" fmla="*/ 9719 w 10000"/>
                <a:gd name="connsiteY70" fmla="*/ 2606 h 10000"/>
                <a:gd name="connsiteX71" fmla="*/ 9679 w 10000"/>
                <a:gd name="connsiteY71" fmla="*/ 2455 h 10000"/>
                <a:gd name="connsiteX72" fmla="*/ 9257 w 10000"/>
                <a:gd name="connsiteY72" fmla="*/ 2394 h 10000"/>
                <a:gd name="connsiteX73" fmla="*/ 9177 w 10000"/>
                <a:gd name="connsiteY73" fmla="*/ 2394 h 10000"/>
                <a:gd name="connsiteX74" fmla="*/ 9177 w 10000"/>
                <a:gd name="connsiteY74" fmla="*/ 2394 h 10000"/>
                <a:gd name="connsiteX75" fmla="*/ 9177 w 10000"/>
                <a:gd name="connsiteY75" fmla="*/ 2394 h 10000"/>
                <a:gd name="connsiteX76" fmla="*/ 9177 w 10000"/>
                <a:gd name="connsiteY76" fmla="*/ 2394 h 10000"/>
                <a:gd name="connsiteX77" fmla="*/ 9177 w 10000"/>
                <a:gd name="connsiteY77" fmla="*/ 2394 h 10000"/>
                <a:gd name="connsiteX78" fmla="*/ 8815 w 10000"/>
                <a:gd name="connsiteY78" fmla="*/ 2242 h 10000"/>
                <a:gd name="connsiteX79" fmla="*/ 8635 w 10000"/>
                <a:gd name="connsiteY79" fmla="*/ 2212 h 10000"/>
                <a:gd name="connsiteX80" fmla="*/ 8614 w 10000"/>
                <a:gd name="connsiteY80" fmla="*/ 2212 h 10000"/>
                <a:gd name="connsiteX81" fmla="*/ 8614 w 10000"/>
                <a:gd name="connsiteY81" fmla="*/ 2182 h 10000"/>
                <a:gd name="connsiteX82" fmla="*/ 8434 w 10000"/>
                <a:gd name="connsiteY82" fmla="*/ 1667 h 10000"/>
                <a:gd name="connsiteX83" fmla="*/ 8032 w 10000"/>
                <a:gd name="connsiteY83" fmla="*/ 1788 h 10000"/>
                <a:gd name="connsiteX84" fmla="*/ 7510 w 10000"/>
                <a:gd name="connsiteY84" fmla="*/ 1970 h 10000"/>
                <a:gd name="connsiteX85" fmla="*/ 7490 w 10000"/>
                <a:gd name="connsiteY85" fmla="*/ 1970 h 10000"/>
                <a:gd name="connsiteX86" fmla="*/ 7470 w 10000"/>
                <a:gd name="connsiteY86" fmla="*/ 1939 h 10000"/>
                <a:gd name="connsiteX87" fmla="*/ 7229 w 10000"/>
                <a:gd name="connsiteY87" fmla="*/ 1364 h 10000"/>
                <a:gd name="connsiteX88" fmla="*/ 6948 w 10000"/>
                <a:gd name="connsiteY88" fmla="*/ 1000 h 10000"/>
                <a:gd name="connsiteX89" fmla="*/ 6466 w 10000"/>
                <a:gd name="connsiteY89" fmla="*/ 939 h 10000"/>
                <a:gd name="connsiteX90" fmla="*/ 5944 w 10000"/>
                <a:gd name="connsiteY90" fmla="*/ 818 h 10000"/>
                <a:gd name="connsiteX91" fmla="*/ 5743 w 10000"/>
                <a:gd name="connsiteY91" fmla="*/ 1182 h 10000"/>
                <a:gd name="connsiteX92" fmla="*/ 5703 w 10000"/>
                <a:gd name="connsiteY92" fmla="*/ 1212 h 10000"/>
                <a:gd name="connsiteX93" fmla="*/ 5683 w 10000"/>
                <a:gd name="connsiteY93" fmla="*/ 1152 h 10000"/>
                <a:gd name="connsiteX94" fmla="*/ 5402 w 10000"/>
                <a:gd name="connsiteY94" fmla="*/ 667 h 10000"/>
                <a:gd name="connsiteX95" fmla="*/ 5181 w 10000"/>
                <a:gd name="connsiteY95" fmla="*/ 515 h 10000"/>
                <a:gd name="connsiteX96" fmla="*/ 5161 w 10000"/>
                <a:gd name="connsiteY96" fmla="*/ 515 h 10000"/>
                <a:gd name="connsiteX97" fmla="*/ 5161 w 10000"/>
                <a:gd name="connsiteY97" fmla="*/ 485 h 10000"/>
                <a:gd name="connsiteX98" fmla="*/ 5120 w 10000"/>
                <a:gd name="connsiteY98" fmla="*/ 121 h 10000"/>
                <a:gd name="connsiteX99" fmla="*/ 4819 w 10000"/>
                <a:gd name="connsiteY99" fmla="*/ 0 h 10000"/>
                <a:gd name="connsiteX100" fmla="*/ 4578 w 10000"/>
                <a:gd name="connsiteY100" fmla="*/ 303 h 10000"/>
                <a:gd name="connsiteX101" fmla="*/ 4558 w 10000"/>
                <a:gd name="connsiteY101" fmla="*/ 333 h 10000"/>
                <a:gd name="connsiteX102" fmla="*/ 4538 w 10000"/>
                <a:gd name="connsiteY102" fmla="*/ 333 h 10000"/>
                <a:gd name="connsiteX103" fmla="*/ 4257 w 10000"/>
                <a:gd name="connsiteY103" fmla="*/ 182 h 10000"/>
                <a:gd name="connsiteX104" fmla="*/ 3896 w 10000"/>
                <a:gd name="connsiteY104" fmla="*/ 333 h 10000"/>
                <a:gd name="connsiteX105" fmla="*/ 3594 w 10000"/>
                <a:gd name="connsiteY105" fmla="*/ 818 h 10000"/>
                <a:gd name="connsiteX106" fmla="*/ 3916 w 10000"/>
                <a:gd name="connsiteY106" fmla="*/ 1758 h 10000"/>
                <a:gd name="connsiteX107" fmla="*/ 3916 w 10000"/>
                <a:gd name="connsiteY107" fmla="*/ 1788 h 10000"/>
                <a:gd name="connsiteX108" fmla="*/ 3916 w 10000"/>
                <a:gd name="connsiteY108" fmla="*/ 1788 h 10000"/>
                <a:gd name="connsiteX109" fmla="*/ 3916 w 10000"/>
                <a:gd name="connsiteY109" fmla="*/ 2333 h 10000"/>
                <a:gd name="connsiteX110" fmla="*/ 3916 w 10000"/>
                <a:gd name="connsiteY110" fmla="*/ 2364 h 10000"/>
                <a:gd name="connsiteX111" fmla="*/ 3896 w 10000"/>
                <a:gd name="connsiteY111" fmla="*/ 2364 h 10000"/>
                <a:gd name="connsiteX112" fmla="*/ 2751 w 10000"/>
                <a:gd name="connsiteY112" fmla="*/ 3758 h 10000"/>
                <a:gd name="connsiteX113" fmla="*/ 2731 w 10000"/>
                <a:gd name="connsiteY113" fmla="*/ 3788 h 10000"/>
                <a:gd name="connsiteX114" fmla="*/ 2711 w 10000"/>
                <a:gd name="connsiteY114" fmla="*/ 3758 h 10000"/>
                <a:gd name="connsiteX115" fmla="*/ 2470 w 10000"/>
                <a:gd name="connsiteY115" fmla="*/ 3293 h 10000"/>
                <a:gd name="connsiteX116" fmla="*/ 2189 w 10000"/>
                <a:gd name="connsiteY116" fmla="*/ 3818 h 10000"/>
                <a:gd name="connsiteX117" fmla="*/ 2169 w 10000"/>
                <a:gd name="connsiteY117" fmla="*/ 3818 h 10000"/>
                <a:gd name="connsiteX118" fmla="*/ 2149 w 10000"/>
                <a:gd name="connsiteY118" fmla="*/ 3848 h 10000"/>
                <a:gd name="connsiteX119" fmla="*/ 1988 w 10000"/>
                <a:gd name="connsiteY119" fmla="*/ 3939 h 10000"/>
                <a:gd name="connsiteX120" fmla="*/ 1968 w 10000"/>
                <a:gd name="connsiteY120" fmla="*/ 3939 h 10000"/>
                <a:gd name="connsiteX121" fmla="*/ 1968 w 10000"/>
                <a:gd name="connsiteY121" fmla="*/ 3939 h 10000"/>
                <a:gd name="connsiteX122" fmla="*/ 1526 w 10000"/>
                <a:gd name="connsiteY122" fmla="*/ 3818 h 10000"/>
                <a:gd name="connsiteX123" fmla="*/ 863 w 10000"/>
                <a:gd name="connsiteY123" fmla="*/ 3788 h 10000"/>
                <a:gd name="connsiteX124" fmla="*/ 582 w 10000"/>
                <a:gd name="connsiteY124" fmla="*/ 4667 h 10000"/>
                <a:gd name="connsiteX125" fmla="*/ 562 w 10000"/>
                <a:gd name="connsiteY125" fmla="*/ 4697 h 10000"/>
                <a:gd name="connsiteX126" fmla="*/ 562 w 10000"/>
                <a:gd name="connsiteY126" fmla="*/ 4697 h 10000"/>
                <a:gd name="connsiteX127" fmla="*/ 0 w 10000"/>
                <a:gd name="connsiteY127" fmla="*/ 5667 h 10000"/>
                <a:gd name="connsiteX128" fmla="*/ 241 w 10000"/>
                <a:gd name="connsiteY128" fmla="*/ 6030 h 10000"/>
                <a:gd name="connsiteX129" fmla="*/ 241 w 10000"/>
                <a:gd name="connsiteY129" fmla="*/ 6061 h 10000"/>
                <a:gd name="connsiteX130" fmla="*/ 241 w 10000"/>
                <a:gd name="connsiteY130" fmla="*/ 6091 h 10000"/>
                <a:gd name="connsiteX131" fmla="*/ 241 w 10000"/>
                <a:gd name="connsiteY131" fmla="*/ 7424 h 10000"/>
                <a:gd name="connsiteX132" fmla="*/ 823 w 10000"/>
                <a:gd name="connsiteY132" fmla="*/ 7424 h 10000"/>
                <a:gd name="connsiteX133" fmla="*/ 863 w 10000"/>
                <a:gd name="connsiteY133" fmla="*/ 7424 h 10000"/>
                <a:gd name="connsiteX134" fmla="*/ 863 w 10000"/>
                <a:gd name="connsiteY134" fmla="*/ 7455 h 10000"/>
                <a:gd name="connsiteX135" fmla="*/ 1165 w 10000"/>
                <a:gd name="connsiteY135" fmla="*/ 8091 h 10000"/>
                <a:gd name="connsiteX136" fmla="*/ 1707 w 10000"/>
                <a:gd name="connsiteY136" fmla="*/ 8091 h 10000"/>
                <a:gd name="connsiteX137" fmla="*/ 1727 w 10000"/>
                <a:gd name="connsiteY137" fmla="*/ 8091 h 10000"/>
                <a:gd name="connsiteX138" fmla="*/ 1747 w 10000"/>
                <a:gd name="connsiteY138" fmla="*/ 8121 h 10000"/>
                <a:gd name="connsiteX139" fmla="*/ 1847 w 10000"/>
                <a:gd name="connsiteY139" fmla="*/ 8515 h 10000"/>
                <a:gd name="connsiteX140" fmla="*/ 2329 w 10000"/>
                <a:gd name="connsiteY140" fmla="*/ 8970 h 10000"/>
                <a:gd name="connsiteX141" fmla="*/ 3133 w 10000"/>
                <a:gd name="connsiteY141" fmla="*/ 8909 h 10000"/>
                <a:gd name="connsiteX142" fmla="*/ 3133 w 10000"/>
                <a:gd name="connsiteY142" fmla="*/ 8909 h 10000"/>
                <a:gd name="connsiteX143" fmla="*/ 3353 w 10000"/>
                <a:gd name="connsiteY143" fmla="*/ 8788 h 10000"/>
                <a:gd name="connsiteX0" fmla="*/ 3353 w 10000"/>
                <a:gd name="connsiteY0" fmla="*/ 8788 h 10000"/>
                <a:gd name="connsiteX1" fmla="*/ 3534 w 10000"/>
                <a:gd name="connsiteY1" fmla="*/ 8485 h 10000"/>
                <a:gd name="connsiteX2" fmla="*/ 3763 w 10000"/>
                <a:gd name="connsiteY2" fmla="*/ 7498 h 10000"/>
                <a:gd name="connsiteX3" fmla="*/ 3624 w 10000"/>
                <a:gd name="connsiteY3" fmla="*/ 8702 h 10000"/>
                <a:gd name="connsiteX4" fmla="*/ 3771 w 10000"/>
                <a:gd name="connsiteY4" fmla="*/ 8518 h 10000"/>
                <a:gd name="connsiteX5" fmla="*/ 3976 w 10000"/>
                <a:gd name="connsiteY5" fmla="*/ 8242 h 10000"/>
                <a:gd name="connsiteX6" fmla="*/ 3996 w 10000"/>
                <a:gd name="connsiteY6" fmla="*/ 8242 h 10000"/>
                <a:gd name="connsiteX7" fmla="*/ 4016 w 10000"/>
                <a:gd name="connsiteY7" fmla="*/ 8273 h 10000"/>
                <a:gd name="connsiteX8" fmla="*/ 4378 w 10000"/>
                <a:gd name="connsiteY8" fmla="*/ 9061 h 10000"/>
                <a:gd name="connsiteX9" fmla="*/ 4940 w 10000"/>
                <a:gd name="connsiteY9" fmla="*/ 9182 h 10000"/>
                <a:gd name="connsiteX10" fmla="*/ 4960 w 10000"/>
                <a:gd name="connsiteY10" fmla="*/ 9182 h 10000"/>
                <a:gd name="connsiteX11" fmla="*/ 4980 w 10000"/>
                <a:gd name="connsiteY11" fmla="*/ 9212 h 10000"/>
                <a:gd name="connsiteX12" fmla="*/ 5060 w 10000"/>
                <a:gd name="connsiteY12" fmla="*/ 9818 h 10000"/>
                <a:gd name="connsiteX13" fmla="*/ 5221 w 10000"/>
                <a:gd name="connsiteY13" fmla="*/ 9818 h 10000"/>
                <a:gd name="connsiteX14" fmla="*/ 5221 w 10000"/>
                <a:gd name="connsiteY14" fmla="*/ 9727 h 10000"/>
                <a:gd name="connsiteX15" fmla="*/ 5241 w 10000"/>
                <a:gd name="connsiteY15" fmla="*/ 9636 h 10000"/>
                <a:gd name="connsiteX16" fmla="*/ 5281 w 10000"/>
                <a:gd name="connsiteY16" fmla="*/ 9667 h 10000"/>
                <a:gd name="connsiteX17" fmla="*/ 5522 w 10000"/>
                <a:gd name="connsiteY17" fmla="*/ 9758 h 10000"/>
                <a:gd name="connsiteX18" fmla="*/ 5542 w 10000"/>
                <a:gd name="connsiteY18" fmla="*/ 9758 h 10000"/>
                <a:gd name="connsiteX19" fmla="*/ 5542 w 10000"/>
                <a:gd name="connsiteY19" fmla="*/ 9758 h 10000"/>
                <a:gd name="connsiteX20" fmla="*/ 5743 w 10000"/>
                <a:gd name="connsiteY20" fmla="*/ 10000 h 10000"/>
                <a:gd name="connsiteX21" fmla="*/ 6084 w 10000"/>
                <a:gd name="connsiteY21" fmla="*/ 10000 h 10000"/>
                <a:gd name="connsiteX22" fmla="*/ 6500 w 10000"/>
                <a:gd name="connsiteY22" fmla="*/ 9635 h 10000"/>
                <a:gd name="connsiteX23" fmla="*/ 6502 w 10000"/>
                <a:gd name="connsiteY23" fmla="*/ 9472 h 10000"/>
                <a:gd name="connsiteX24" fmla="*/ 6515 w 10000"/>
                <a:gd name="connsiteY24" fmla="*/ 9240 h 10000"/>
                <a:gd name="connsiteX25" fmla="*/ 6535 w 10000"/>
                <a:gd name="connsiteY25" fmla="*/ 9049 h 10000"/>
                <a:gd name="connsiteX26" fmla="*/ 6727 w 10000"/>
                <a:gd name="connsiteY26" fmla="*/ 8667 h 10000"/>
                <a:gd name="connsiteX27" fmla="*/ 7269 w 10000"/>
                <a:gd name="connsiteY27" fmla="*/ 8061 h 10000"/>
                <a:gd name="connsiteX28" fmla="*/ 7289 w 10000"/>
                <a:gd name="connsiteY28" fmla="*/ 8061 h 10000"/>
                <a:gd name="connsiteX29" fmla="*/ 7309 w 10000"/>
                <a:gd name="connsiteY29" fmla="*/ 8061 h 10000"/>
                <a:gd name="connsiteX30" fmla="*/ 7550 w 10000"/>
                <a:gd name="connsiteY30" fmla="*/ 8152 h 10000"/>
                <a:gd name="connsiteX31" fmla="*/ 7570 w 10000"/>
                <a:gd name="connsiteY31" fmla="*/ 8152 h 10000"/>
                <a:gd name="connsiteX32" fmla="*/ 7590 w 10000"/>
                <a:gd name="connsiteY32" fmla="*/ 8212 h 10000"/>
                <a:gd name="connsiteX33" fmla="*/ 7631 w 10000"/>
                <a:gd name="connsiteY33" fmla="*/ 8939 h 10000"/>
                <a:gd name="connsiteX34" fmla="*/ 7932 w 10000"/>
                <a:gd name="connsiteY34" fmla="*/ 8970 h 10000"/>
                <a:gd name="connsiteX35" fmla="*/ 8173 w 10000"/>
                <a:gd name="connsiteY35" fmla="*/ 8485 h 10000"/>
                <a:gd name="connsiteX36" fmla="*/ 8173 w 10000"/>
                <a:gd name="connsiteY36" fmla="*/ 8485 h 10000"/>
                <a:gd name="connsiteX37" fmla="*/ 8193 w 10000"/>
                <a:gd name="connsiteY37" fmla="*/ 8485 h 10000"/>
                <a:gd name="connsiteX38" fmla="*/ 8534 w 10000"/>
                <a:gd name="connsiteY38" fmla="*/ 8152 h 10000"/>
                <a:gd name="connsiteX39" fmla="*/ 8635 w 10000"/>
                <a:gd name="connsiteY39" fmla="*/ 7667 h 10000"/>
                <a:gd name="connsiteX40" fmla="*/ 8655 w 10000"/>
                <a:gd name="connsiteY40" fmla="*/ 7606 h 10000"/>
                <a:gd name="connsiteX41" fmla="*/ 8675 w 10000"/>
                <a:gd name="connsiteY41" fmla="*/ 7606 h 10000"/>
                <a:gd name="connsiteX42" fmla="*/ 9036 w 10000"/>
                <a:gd name="connsiteY42" fmla="*/ 7545 h 10000"/>
                <a:gd name="connsiteX43" fmla="*/ 9177 w 10000"/>
                <a:gd name="connsiteY43" fmla="*/ 7182 h 10000"/>
                <a:gd name="connsiteX44" fmla="*/ 9177 w 10000"/>
                <a:gd name="connsiteY44" fmla="*/ 7152 h 10000"/>
                <a:gd name="connsiteX45" fmla="*/ 9177 w 10000"/>
                <a:gd name="connsiteY45" fmla="*/ 7152 h 10000"/>
                <a:gd name="connsiteX46" fmla="*/ 9458 w 10000"/>
                <a:gd name="connsiteY46" fmla="*/ 6909 h 10000"/>
                <a:gd name="connsiteX47" fmla="*/ 9458 w 10000"/>
                <a:gd name="connsiteY47" fmla="*/ 6909 h 10000"/>
                <a:gd name="connsiteX48" fmla="*/ 9458 w 10000"/>
                <a:gd name="connsiteY48" fmla="*/ 6909 h 10000"/>
                <a:gd name="connsiteX49" fmla="*/ 9699 w 10000"/>
                <a:gd name="connsiteY49" fmla="*/ 6848 h 10000"/>
                <a:gd name="connsiteX50" fmla="*/ 9859 w 10000"/>
                <a:gd name="connsiteY50" fmla="*/ 6727 h 10000"/>
                <a:gd name="connsiteX51" fmla="*/ 9839 w 10000"/>
                <a:gd name="connsiteY51" fmla="*/ 6667 h 10000"/>
                <a:gd name="connsiteX52" fmla="*/ 9819 w 10000"/>
                <a:gd name="connsiteY52" fmla="*/ 6667 h 10000"/>
                <a:gd name="connsiteX53" fmla="*/ 9819 w 10000"/>
                <a:gd name="connsiteY53" fmla="*/ 6667 h 10000"/>
                <a:gd name="connsiteX54" fmla="*/ 9779 w 10000"/>
                <a:gd name="connsiteY54" fmla="*/ 6424 h 10000"/>
                <a:gd name="connsiteX55" fmla="*/ 9598 w 10000"/>
                <a:gd name="connsiteY55" fmla="*/ 6394 h 10000"/>
                <a:gd name="connsiteX56" fmla="*/ 9538 w 10000"/>
                <a:gd name="connsiteY56" fmla="*/ 6364 h 10000"/>
                <a:gd name="connsiteX57" fmla="*/ 9578 w 10000"/>
                <a:gd name="connsiteY57" fmla="*/ 6303 h 10000"/>
                <a:gd name="connsiteX58" fmla="*/ 9859 w 10000"/>
                <a:gd name="connsiteY58" fmla="*/ 5545 h 10000"/>
                <a:gd name="connsiteX59" fmla="*/ 9880 w 10000"/>
                <a:gd name="connsiteY59" fmla="*/ 5545 h 10000"/>
                <a:gd name="connsiteX60" fmla="*/ 9880 w 10000"/>
                <a:gd name="connsiteY60" fmla="*/ 5515 h 10000"/>
                <a:gd name="connsiteX61" fmla="*/ 10000 w 10000"/>
                <a:gd name="connsiteY61" fmla="*/ 5424 h 10000"/>
                <a:gd name="connsiteX62" fmla="*/ 9799 w 10000"/>
                <a:gd name="connsiteY62" fmla="*/ 5061 h 10000"/>
                <a:gd name="connsiteX63" fmla="*/ 9779 w 10000"/>
                <a:gd name="connsiteY63" fmla="*/ 5030 h 10000"/>
                <a:gd name="connsiteX64" fmla="*/ 9779 w 10000"/>
                <a:gd name="connsiteY64" fmla="*/ 5030 h 10000"/>
                <a:gd name="connsiteX65" fmla="*/ 9759 w 10000"/>
                <a:gd name="connsiteY65" fmla="*/ 4727 h 10000"/>
                <a:gd name="connsiteX66" fmla="*/ 9759 w 10000"/>
                <a:gd name="connsiteY66" fmla="*/ 4727 h 10000"/>
                <a:gd name="connsiteX67" fmla="*/ 9759 w 10000"/>
                <a:gd name="connsiteY67" fmla="*/ 4697 h 10000"/>
                <a:gd name="connsiteX68" fmla="*/ 9920 w 10000"/>
                <a:gd name="connsiteY68" fmla="*/ 4303 h 10000"/>
                <a:gd name="connsiteX69" fmla="*/ 9920 w 10000"/>
                <a:gd name="connsiteY69" fmla="*/ 3333 h 10000"/>
                <a:gd name="connsiteX70" fmla="*/ 9719 w 10000"/>
                <a:gd name="connsiteY70" fmla="*/ 2606 h 10000"/>
                <a:gd name="connsiteX71" fmla="*/ 9679 w 10000"/>
                <a:gd name="connsiteY71" fmla="*/ 2455 h 10000"/>
                <a:gd name="connsiteX72" fmla="*/ 9257 w 10000"/>
                <a:gd name="connsiteY72" fmla="*/ 2394 h 10000"/>
                <a:gd name="connsiteX73" fmla="*/ 9177 w 10000"/>
                <a:gd name="connsiteY73" fmla="*/ 2394 h 10000"/>
                <a:gd name="connsiteX74" fmla="*/ 9177 w 10000"/>
                <a:gd name="connsiteY74" fmla="*/ 2394 h 10000"/>
                <a:gd name="connsiteX75" fmla="*/ 9177 w 10000"/>
                <a:gd name="connsiteY75" fmla="*/ 2394 h 10000"/>
                <a:gd name="connsiteX76" fmla="*/ 9177 w 10000"/>
                <a:gd name="connsiteY76" fmla="*/ 2394 h 10000"/>
                <a:gd name="connsiteX77" fmla="*/ 9177 w 10000"/>
                <a:gd name="connsiteY77" fmla="*/ 2394 h 10000"/>
                <a:gd name="connsiteX78" fmla="*/ 8815 w 10000"/>
                <a:gd name="connsiteY78" fmla="*/ 2242 h 10000"/>
                <a:gd name="connsiteX79" fmla="*/ 8635 w 10000"/>
                <a:gd name="connsiteY79" fmla="*/ 2212 h 10000"/>
                <a:gd name="connsiteX80" fmla="*/ 8614 w 10000"/>
                <a:gd name="connsiteY80" fmla="*/ 2212 h 10000"/>
                <a:gd name="connsiteX81" fmla="*/ 8614 w 10000"/>
                <a:gd name="connsiteY81" fmla="*/ 2182 h 10000"/>
                <a:gd name="connsiteX82" fmla="*/ 8434 w 10000"/>
                <a:gd name="connsiteY82" fmla="*/ 1667 h 10000"/>
                <a:gd name="connsiteX83" fmla="*/ 8032 w 10000"/>
                <a:gd name="connsiteY83" fmla="*/ 1788 h 10000"/>
                <a:gd name="connsiteX84" fmla="*/ 7510 w 10000"/>
                <a:gd name="connsiteY84" fmla="*/ 1970 h 10000"/>
                <a:gd name="connsiteX85" fmla="*/ 7490 w 10000"/>
                <a:gd name="connsiteY85" fmla="*/ 1970 h 10000"/>
                <a:gd name="connsiteX86" fmla="*/ 7470 w 10000"/>
                <a:gd name="connsiteY86" fmla="*/ 1939 h 10000"/>
                <a:gd name="connsiteX87" fmla="*/ 7229 w 10000"/>
                <a:gd name="connsiteY87" fmla="*/ 1364 h 10000"/>
                <a:gd name="connsiteX88" fmla="*/ 6948 w 10000"/>
                <a:gd name="connsiteY88" fmla="*/ 1000 h 10000"/>
                <a:gd name="connsiteX89" fmla="*/ 6466 w 10000"/>
                <a:gd name="connsiteY89" fmla="*/ 939 h 10000"/>
                <a:gd name="connsiteX90" fmla="*/ 5944 w 10000"/>
                <a:gd name="connsiteY90" fmla="*/ 818 h 10000"/>
                <a:gd name="connsiteX91" fmla="*/ 5743 w 10000"/>
                <a:gd name="connsiteY91" fmla="*/ 1182 h 10000"/>
                <a:gd name="connsiteX92" fmla="*/ 5703 w 10000"/>
                <a:gd name="connsiteY92" fmla="*/ 1212 h 10000"/>
                <a:gd name="connsiteX93" fmla="*/ 5683 w 10000"/>
                <a:gd name="connsiteY93" fmla="*/ 1152 h 10000"/>
                <a:gd name="connsiteX94" fmla="*/ 5402 w 10000"/>
                <a:gd name="connsiteY94" fmla="*/ 667 h 10000"/>
                <a:gd name="connsiteX95" fmla="*/ 5181 w 10000"/>
                <a:gd name="connsiteY95" fmla="*/ 515 h 10000"/>
                <a:gd name="connsiteX96" fmla="*/ 5161 w 10000"/>
                <a:gd name="connsiteY96" fmla="*/ 515 h 10000"/>
                <a:gd name="connsiteX97" fmla="*/ 5161 w 10000"/>
                <a:gd name="connsiteY97" fmla="*/ 485 h 10000"/>
                <a:gd name="connsiteX98" fmla="*/ 5120 w 10000"/>
                <a:gd name="connsiteY98" fmla="*/ 121 h 10000"/>
                <a:gd name="connsiteX99" fmla="*/ 4819 w 10000"/>
                <a:gd name="connsiteY99" fmla="*/ 0 h 10000"/>
                <a:gd name="connsiteX100" fmla="*/ 4578 w 10000"/>
                <a:gd name="connsiteY100" fmla="*/ 303 h 10000"/>
                <a:gd name="connsiteX101" fmla="*/ 4558 w 10000"/>
                <a:gd name="connsiteY101" fmla="*/ 333 h 10000"/>
                <a:gd name="connsiteX102" fmla="*/ 4538 w 10000"/>
                <a:gd name="connsiteY102" fmla="*/ 333 h 10000"/>
                <a:gd name="connsiteX103" fmla="*/ 4257 w 10000"/>
                <a:gd name="connsiteY103" fmla="*/ 182 h 10000"/>
                <a:gd name="connsiteX104" fmla="*/ 3896 w 10000"/>
                <a:gd name="connsiteY104" fmla="*/ 333 h 10000"/>
                <a:gd name="connsiteX105" fmla="*/ 3594 w 10000"/>
                <a:gd name="connsiteY105" fmla="*/ 818 h 10000"/>
                <a:gd name="connsiteX106" fmla="*/ 3916 w 10000"/>
                <a:gd name="connsiteY106" fmla="*/ 1758 h 10000"/>
                <a:gd name="connsiteX107" fmla="*/ 3916 w 10000"/>
                <a:gd name="connsiteY107" fmla="*/ 1788 h 10000"/>
                <a:gd name="connsiteX108" fmla="*/ 3916 w 10000"/>
                <a:gd name="connsiteY108" fmla="*/ 1788 h 10000"/>
                <a:gd name="connsiteX109" fmla="*/ 3916 w 10000"/>
                <a:gd name="connsiteY109" fmla="*/ 2333 h 10000"/>
                <a:gd name="connsiteX110" fmla="*/ 3916 w 10000"/>
                <a:gd name="connsiteY110" fmla="*/ 2364 h 10000"/>
                <a:gd name="connsiteX111" fmla="*/ 3896 w 10000"/>
                <a:gd name="connsiteY111" fmla="*/ 2364 h 10000"/>
                <a:gd name="connsiteX112" fmla="*/ 2751 w 10000"/>
                <a:gd name="connsiteY112" fmla="*/ 3758 h 10000"/>
                <a:gd name="connsiteX113" fmla="*/ 2731 w 10000"/>
                <a:gd name="connsiteY113" fmla="*/ 3788 h 10000"/>
                <a:gd name="connsiteX114" fmla="*/ 2711 w 10000"/>
                <a:gd name="connsiteY114" fmla="*/ 3758 h 10000"/>
                <a:gd name="connsiteX115" fmla="*/ 2470 w 10000"/>
                <a:gd name="connsiteY115" fmla="*/ 3293 h 10000"/>
                <a:gd name="connsiteX116" fmla="*/ 2189 w 10000"/>
                <a:gd name="connsiteY116" fmla="*/ 3818 h 10000"/>
                <a:gd name="connsiteX117" fmla="*/ 2169 w 10000"/>
                <a:gd name="connsiteY117" fmla="*/ 3818 h 10000"/>
                <a:gd name="connsiteX118" fmla="*/ 2149 w 10000"/>
                <a:gd name="connsiteY118" fmla="*/ 3848 h 10000"/>
                <a:gd name="connsiteX119" fmla="*/ 1988 w 10000"/>
                <a:gd name="connsiteY119" fmla="*/ 3939 h 10000"/>
                <a:gd name="connsiteX120" fmla="*/ 1968 w 10000"/>
                <a:gd name="connsiteY120" fmla="*/ 3939 h 10000"/>
                <a:gd name="connsiteX121" fmla="*/ 1968 w 10000"/>
                <a:gd name="connsiteY121" fmla="*/ 3939 h 10000"/>
                <a:gd name="connsiteX122" fmla="*/ 1526 w 10000"/>
                <a:gd name="connsiteY122" fmla="*/ 3818 h 10000"/>
                <a:gd name="connsiteX123" fmla="*/ 863 w 10000"/>
                <a:gd name="connsiteY123" fmla="*/ 3788 h 10000"/>
                <a:gd name="connsiteX124" fmla="*/ 582 w 10000"/>
                <a:gd name="connsiteY124" fmla="*/ 4667 h 10000"/>
                <a:gd name="connsiteX125" fmla="*/ 562 w 10000"/>
                <a:gd name="connsiteY125" fmla="*/ 4697 h 10000"/>
                <a:gd name="connsiteX126" fmla="*/ 562 w 10000"/>
                <a:gd name="connsiteY126" fmla="*/ 4697 h 10000"/>
                <a:gd name="connsiteX127" fmla="*/ 0 w 10000"/>
                <a:gd name="connsiteY127" fmla="*/ 5667 h 10000"/>
                <a:gd name="connsiteX128" fmla="*/ 241 w 10000"/>
                <a:gd name="connsiteY128" fmla="*/ 6030 h 10000"/>
                <a:gd name="connsiteX129" fmla="*/ 241 w 10000"/>
                <a:gd name="connsiteY129" fmla="*/ 6061 h 10000"/>
                <a:gd name="connsiteX130" fmla="*/ 241 w 10000"/>
                <a:gd name="connsiteY130" fmla="*/ 6091 h 10000"/>
                <a:gd name="connsiteX131" fmla="*/ 241 w 10000"/>
                <a:gd name="connsiteY131" fmla="*/ 7424 h 10000"/>
                <a:gd name="connsiteX132" fmla="*/ 823 w 10000"/>
                <a:gd name="connsiteY132" fmla="*/ 7424 h 10000"/>
                <a:gd name="connsiteX133" fmla="*/ 863 w 10000"/>
                <a:gd name="connsiteY133" fmla="*/ 7424 h 10000"/>
                <a:gd name="connsiteX134" fmla="*/ 863 w 10000"/>
                <a:gd name="connsiteY134" fmla="*/ 7455 h 10000"/>
                <a:gd name="connsiteX135" fmla="*/ 1165 w 10000"/>
                <a:gd name="connsiteY135" fmla="*/ 8091 h 10000"/>
                <a:gd name="connsiteX136" fmla="*/ 1707 w 10000"/>
                <a:gd name="connsiteY136" fmla="*/ 8091 h 10000"/>
                <a:gd name="connsiteX137" fmla="*/ 1727 w 10000"/>
                <a:gd name="connsiteY137" fmla="*/ 8091 h 10000"/>
                <a:gd name="connsiteX138" fmla="*/ 1747 w 10000"/>
                <a:gd name="connsiteY138" fmla="*/ 8121 h 10000"/>
                <a:gd name="connsiteX139" fmla="*/ 1847 w 10000"/>
                <a:gd name="connsiteY139" fmla="*/ 8515 h 10000"/>
                <a:gd name="connsiteX140" fmla="*/ 2329 w 10000"/>
                <a:gd name="connsiteY140" fmla="*/ 8970 h 10000"/>
                <a:gd name="connsiteX141" fmla="*/ 3133 w 10000"/>
                <a:gd name="connsiteY141" fmla="*/ 8909 h 10000"/>
                <a:gd name="connsiteX142" fmla="*/ 3133 w 10000"/>
                <a:gd name="connsiteY142" fmla="*/ 8909 h 10000"/>
                <a:gd name="connsiteX143" fmla="*/ 3353 w 10000"/>
                <a:gd name="connsiteY143" fmla="*/ 8788 h 10000"/>
                <a:gd name="connsiteX0" fmla="*/ 3353 w 10000"/>
                <a:gd name="connsiteY0" fmla="*/ 8788 h 10000"/>
                <a:gd name="connsiteX1" fmla="*/ 3534 w 10000"/>
                <a:gd name="connsiteY1" fmla="*/ 8485 h 10000"/>
                <a:gd name="connsiteX2" fmla="*/ 3763 w 10000"/>
                <a:gd name="connsiteY2" fmla="*/ 7498 h 10000"/>
                <a:gd name="connsiteX3" fmla="*/ 3624 w 10000"/>
                <a:gd name="connsiteY3" fmla="*/ 8702 h 10000"/>
                <a:gd name="connsiteX4" fmla="*/ 3771 w 10000"/>
                <a:gd name="connsiteY4" fmla="*/ 8518 h 10000"/>
                <a:gd name="connsiteX5" fmla="*/ 3976 w 10000"/>
                <a:gd name="connsiteY5" fmla="*/ 8242 h 10000"/>
                <a:gd name="connsiteX6" fmla="*/ 3996 w 10000"/>
                <a:gd name="connsiteY6" fmla="*/ 8242 h 10000"/>
                <a:gd name="connsiteX7" fmla="*/ 4016 w 10000"/>
                <a:gd name="connsiteY7" fmla="*/ 8273 h 10000"/>
                <a:gd name="connsiteX8" fmla="*/ 4378 w 10000"/>
                <a:gd name="connsiteY8" fmla="*/ 9061 h 10000"/>
                <a:gd name="connsiteX9" fmla="*/ 4940 w 10000"/>
                <a:gd name="connsiteY9" fmla="*/ 9182 h 10000"/>
                <a:gd name="connsiteX10" fmla="*/ 4960 w 10000"/>
                <a:gd name="connsiteY10" fmla="*/ 9182 h 10000"/>
                <a:gd name="connsiteX11" fmla="*/ 4980 w 10000"/>
                <a:gd name="connsiteY11" fmla="*/ 9212 h 10000"/>
                <a:gd name="connsiteX12" fmla="*/ 5060 w 10000"/>
                <a:gd name="connsiteY12" fmla="*/ 9818 h 10000"/>
                <a:gd name="connsiteX13" fmla="*/ 5221 w 10000"/>
                <a:gd name="connsiteY13" fmla="*/ 9818 h 10000"/>
                <a:gd name="connsiteX14" fmla="*/ 5221 w 10000"/>
                <a:gd name="connsiteY14" fmla="*/ 9727 h 10000"/>
                <a:gd name="connsiteX15" fmla="*/ 5241 w 10000"/>
                <a:gd name="connsiteY15" fmla="*/ 9636 h 10000"/>
                <a:gd name="connsiteX16" fmla="*/ 5281 w 10000"/>
                <a:gd name="connsiteY16" fmla="*/ 9667 h 10000"/>
                <a:gd name="connsiteX17" fmla="*/ 5522 w 10000"/>
                <a:gd name="connsiteY17" fmla="*/ 9758 h 10000"/>
                <a:gd name="connsiteX18" fmla="*/ 5542 w 10000"/>
                <a:gd name="connsiteY18" fmla="*/ 9758 h 10000"/>
                <a:gd name="connsiteX19" fmla="*/ 5542 w 10000"/>
                <a:gd name="connsiteY19" fmla="*/ 9758 h 10000"/>
                <a:gd name="connsiteX20" fmla="*/ 5743 w 10000"/>
                <a:gd name="connsiteY20" fmla="*/ 10000 h 10000"/>
                <a:gd name="connsiteX21" fmla="*/ 6084 w 10000"/>
                <a:gd name="connsiteY21" fmla="*/ 10000 h 10000"/>
                <a:gd name="connsiteX22" fmla="*/ 6500 w 10000"/>
                <a:gd name="connsiteY22" fmla="*/ 9635 h 10000"/>
                <a:gd name="connsiteX23" fmla="*/ 6502 w 10000"/>
                <a:gd name="connsiteY23" fmla="*/ 9472 h 10000"/>
                <a:gd name="connsiteX24" fmla="*/ 6515 w 10000"/>
                <a:gd name="connsiteY24" fmla="*/ 9240 h 10000"/>
                <a:gd name="connsiteX25" fmla="*/ 6535 w 10000"/>
                <a:gd name="connsiteY25" fmla="*/ 9049 h 10000"/>
                <a:gd name="connsiteX26" fmla="*/ 6727 w 10000"/>
                <a:gd name="connsiteY26" fmla="*/ 8667 h 10000"/>
                <a:gd name="connsiteX27" fmla="*/ 7269 w 10000"/>
                <a:gd name="connsiteY27" fmla="*/ 8061 h 10000"/>
                <a:gd name="connsiteX28" fmla="*/ 7289 w 10000"/>
                <a:gd name="connsiteY28" fmla="*/ 8061 h 10000"/>
                <a:gd name="connsiteX29" fmla="*/ 7309 w 10000"/>
                <a:gd name="connsiteY29" fmla="*/ 8061 h 10000"/>
                <a:gd name="connsiteX30" fmla="*/ 7550 w 10000"/>
                <a:gd name="connsiteY30" fmla="*/ 8152 h 10000"/>
                <a:gd name="connsiteX31" fmla="*/ 7570 w 10000"/>
                <a:gd name="connsiteY31" fmla="*/ 8152 h 10000"/>
                <a:gd name="connsiteX32" fmla="*/ 7590 w 10000"/>
                <a:gd name="connsiteY32" fmla="*/ 8212 h 10000"/>
                <a:gd name="connsiteX33" fmla="*/ 7631 w 10000"/>
                <a:gd name="connsiteY33" fmla="*/ 8939 h 10000"/>
                <a:gd name="connsiteX34" fmla="*/ 7932 w 10000"/>
                <a:gd name="connsiteY34" fmla="*/ 8970 h 10000"/>
                <a:gd name="connsiteX35" fmla="*/ 8173 w 10000"/>
                <a:gd name="connsiteY35" fmla="*/ 8485 h 10000"/>
                <a:gd name="connsiteX36" fmla="*/ 8173 w 10000"/>
                <a:gd name="connsiteY36" fmla="*/ 8485 h 10000"/>
                <a:gd name="connsiteX37" fmla="*/ 8193 w 10000"/>
                <a:gd name="connsiteY37" fmla="*/ 8485 h 10000"/>
                <a:gd name="connsiteX38" fmla="*/ 8534 w 10000"/>
                <a:gd name="connsiteY38" fmla="*/ 8152 h 10000"/>
                <a:gd name="connsiteX39" fmla="*/ 8635 w 10000"/>
                <a:gd name="connsiteY39" fmla="*/ 7667 h 10000"/>
                <a:gd name="connsiteX40" fmla="*/ 8655 w 10000"/>
                <a:gd name="connsiteY40" fmla="*/ 7606 h 10000"/>
                <a:gd name="connsiteX41" fmla="*/ 8675 w 10000"/>
                <a:gd name="connsiteY41" fmla="*/ 7606 h 10000"/>
                <a:gd name="connsiteX42" fmla="*/ 9036 w 10000"/>
                <a:gd name="connsiteY42" fmla="*/ 7545 h 10000"/>
                <a:gd name="connsiteX43" fmla="*/ 9177 w 10000"/>
                <a:gd name="connsiteY43" fmla="*/ 7182 h 10000"/>
                <a:gd name="connsiteX44" fmla="*/ 9177 w 10000"/>
                <a:gd name="connsiteY44" fmla="*/ 7152 h 10000"/>
                <a:gd name="connsiteX45" fmla="*/ 9177 w 10000"/>
                <a:gd name="connsiteY45" fmla="*/ 7152 h 10000"/>
                <a:gd name="connsiteX46" fmla="*/ 9458 w 10000"/>
                <a:gd name="connsiteY46" fmla="*/ 6909 h 10000"/>
                <a:gd name="connsiteX47" fmla="*/ 9458 w 10000"/>
                <a:gd name="connsiteY47" fmla="*/ 6909 h 10000"/>
                <a:gd name="connsiteX48" fmla="*/ 9458 w 10000"/>
                <a:gd name="connsiteY48" fmla="*/ 6909 h 10000"/>
                <a:gd name="connsiteX49" fmla="*/ 9699 w 10000"/>
                <a:gd name="connsiteY49" fmla="*/ 6848 h 10000"/>
                <a:gd name="connsiteX50" fmla="*/ 9859 w 10000"/>
                <a:gd name="connsiteY50" fmla="*/ 6727 h 10000"/>
                <a:gd name="connsiteX51" fmla="*/ 9839 w 10000"/>
                <a:gd name="connsiteY51" fmla="*/ 6667 h 10000"/>
                <a:gd name="connsiteX52" fmla="*/ 9819 w 10000"/>
                <a:gd name="connsiteY52" fmla="*/ 6667 h 10000"/>
                <a:gd name="connsiteX53" fmla="*/ 9819 w 10000"/>
                <a:gd name="connsiteY53" fmla="*/ 6667 h 10000"/>
                <a:gd name="connsiteX54" fmla="*/ 9779 w 10000"/>
                <a:gd name="connsiteY54" fmla="*/ 6424 h 10000"/>
                <a:gd name="connsiteX55" fmla="*/ 9598 w 10000"/>
                <a:gd name="connsiteY55" fmla="*/ 6394 h 10000"/>
                <a:gd name="connsiteX56" fmla="*/ 9538 w 10000"/>
                <a:gd name="connsiteY56" fmla="*/ 6364 h 10000"/>
                <a:gd name="connsiteX57" fmla="*/ 9578 w 10000"/>
                <a:gd name="connsiteY57" fmla="*/ 6303 h 10000"/>
                <a:gd name="connsiteX58" fmla="*/ 9859 w 10000"/>
                <a:gd name="connsiteY58" fmla="*/ 5545 h 10000"/>
                <a:gd name="connsiteX59" fmla="*/ 9880 w 10000"/>
                <a:gd name="connsiteY59" fmla="*/ 5545 h 10000"/>
                <a:gd name="connsiteX60" fmla="*/ 9880 w 10000"/>
                <a:gd name="connsiteY60" fmla="*/ 5515 h 10000"/>
                <a:gd name="connsiteX61" fmla="*/ 10000 w 10000"/>
                <a:gd name="connsiteY61" fmla="*/ 5424 h 10000"/>
                <a:gd name="connsiteX62" fmla="*/ 9799 w 10000"/>
                <a:gd name="connsiteY62" fmla="*/ 5061 h 10000"/>
                <a:gd name="connsiteX63" fmla="*/ 9779 w 10000"/>
                <a:gd name="connsiteY63" fmla="*/ 5030 h 10000"/>
                <a:gd name="connsiteX64" fmla="*/ 9779 w 10000"/>
                <a:gd name="connsiteY64" fmla="*/ 5030 h 10000"/>
                <a:gd name="connsiteX65" fmla="*/ 9759 w 10000"/>
                <a:gd name="connsiteY65" fmla="*/ 4727 h 10000"/>
                <a:gd name="connsiteX66" fmla="*/ 9759 w 10000"/>
                <a:gd name="connsiteY66" fmla="*/ 4727 h 10000"/>
                <a:gd name="connsiteX67" fmla="*/ 9759 w 10000"/>
                <a:gd name="connsiteY67" fmla="*/ 4697 h 10000"/>
                <a:gd name="connsiteX68" fmla="*/ 9920 w 10000"/>
                <a:gd name="connsiteY68" fmla="*/ 4303 h 10000"/>
                <a:gd name="connsiteX69" fmla="*/ 9920 w 10000"/>
                <a:gd name="connsiteY69" fmla="*/ 3333 h 10000"/>
                <a:gd name="connsiteX70" fmla="*/ 9719 w 10000"/>
                <a:gd name="connsiteY70" fmla="*/ 2606 h 10000"/>
                <a:gd name="connsiteX71" fmla="*/ 9679 w 10000"/>
                <a:gd name="connsiteY71" fmla="*/ 2455 h 10000"/>
                <a:gd name="connsiteX72" fmla="*/ 9257 w 10000"/>
                <a:gd name="connsiteY72" fmla="*/ 2394 h 10000"/>
                <a:gd name="connsiteX73" fmla="*/ 9177 w 10000"/>
                <a:gd name="connsiteY73" fmla="*/ 2394 h 10000"/>
                <a:gd name="connsiteX74" fmla="*/ 9177 w 10000"/>
                <a:gd name="connsiteY74" fmla="*/ 2394 h 10000"/>
                <a:gd name="connsiteX75" fmla="*/ 9177 w 10000"/>
                <a:gd name="connsiteY75" fmla="*/ 2394 h 10000"/>
                <a:gd name="connsiteX76" fmla="*/ 9177 w 10000"/>
                <a:gd name="connsiteY76" fmla="*/ 2394 h 10000"/>
                <a:gd name="connsiteX77" fmla="*/ 9177 w 10000"/>
                <a:gd name="connsiteY77" fmla="*/ 2394 h 10000"/>
                <a:gd name="connsiteX78" fmla="*/ 8815 w 10000"/>
                <a:gd name="connsiteY78" fmla="*/ 2242 h 10000"/>
                <a:gd name="connsiteX79" fmla="*/ 8635 w 10000"/>
                <a:gd name="connsiteY79" fmla="*/ 2212 h 10000"/>
                <a:gd name="connsiteX80" fmla="*/ 8614 w 10000"/>
                <a:gd name="connsiteY80" fmla="*/ 2212 h 10000"/>
                <a:gd name="connsiteX81" fmla="*/ 8614 w 10000"/>
                <a:gd name="connsiteY81" fmla="*/ 2182 h 10000"/>
                <a:gd name="connsiteX82" fmla="*/ 8434 w 10000"/>
                <a:gd name="connsiteY82" fmla="*/ 1667 h 10000"/>
                <a:gd name="connsiteX83" fmla="*/ 8032 w 10000"/>
                <a:gd name="connsiteY83" fmla="*/ 1788 h 10000"/>
                <a:gd name="connsiteX84" fmla="*/ 7510 w 10000"/>
                <a:gd name="connsiteY84" fmla="*/ 1970 h 10000"/>
                <a:gd name="connsiteX85" fmla="*/ 7490 w 10000"/>
                <a:gd name="connsiteY85" fmla="*/ 1970 h 10000"/>
                <a:gd name="connsiteX86" fmla="*/ 7470 w 10000"/>
                <a:gd name="connsiteY86" fmla="*/ 1939 h 10000"/>
                <a:gd name="connsiteX87" fmla="*/ 7229 w 10000"/>
                <a:gd name="connsiteY87" fmla="*/ 1364 h 10000"/>
                <a:gd name="connsiteX88" fmla="*/ 6948 w 10000"/>
                <a:gd name="connsiteY88" fmla="*/ 1000 h 10000"/>
                <a:gd name="connsiteX89" fmla="*/ 6466 w 10000"/>
                <a:gd name="connsiteY89" fmla="*/ 939 h 10000"/>
                <a:gd name="connsiteX90" fmla="*/ 5944 w 10000"/>
                <a:gd name="connsiteY90" fmla="*/ 818 h 10000"/>
                <a:gd name="connsiteX91" fmla="*/ 5743 w 10000"/>
                <a:gd name="connsiteY91" fmla="*/ 1182 h 10000"/>
                <a:gd name="connsiteX92" fmla="*/ 5703 w 10000"/>
                <a:gd name="connsiteY92" fmla="*/ 1212 h 10000"/>
                <a:gd name="connsiteX93" fmla="*/ 5683 w 10000"/>
                <a:gd name="connsiteY93" fmla="*/ 1152 h 10000"/>
                <a:gd name="connsiteX94" fmla="*/ 5402 w 10000"/>
                <a:gd name="connsiteY94" fmla="*/ 667 h 10000"/>
                <a:gd name="connsiteX95" fmla="*/ 5181 w 10000"/>
                <a:gd name="connsiteY95" fmla="*/ 515 h 10000"/>
                <a:gd name="connsiteX96" fmla="*/ 5161 w 10000"/>
                <a:gd name="connsiteY96" fmla="*/ 515 h 10000"/>
                <a:gd name="connsiteX97" fmla="*/ 5161 w 10000"/>
                <a:gd name="connsiteY97" fmla="*/ 485 h 10000"/>
                <a:gd name="connsiteX98" fmla="*/ 5120 w 10000"/>
                <a:gd name="connsiteY98" fmla="*/ 121 h 10000"/>
                <a:gd name="connsiteX99" fmla="*/ 4819 w 10000"/>
                <a:gd name="connsiteY99" fmla="*/ 0 h 10000"/>
                <a:gd name="connsiteX100" fmla="*/ 4578 w 10000"/>
                <a:gd name="connsiteY100" fmla="*/ 303 h 10000"/>
                <a:gd name="connsiteX101" fmla="*/ 4558 w 10000"/>
                <a:gd name="connsiteY101" fmla="*/ 333 h 10000"/>
                <a:gd name="connsiteX102" fmla="*/ 4538 w 10000"/>
                <a:gd name="connsiteY102" fmla="*/ 333 h 10000"/>
                <a:gd name="connsiteX103" fmla="*/ 4257 w 10000"/>
                <a:gd name="connsiteY103" fmla="*/ 182 h 10000"/>
                <a:gd name="connsiteX104" fmla="*/ 3896 w 10000"/>
                <a:gd name="connsiteY104" fmla="*/ 333 h 10000"/>
                <a:gd name="connsiteX105" fmla="*/ 3594 w 10000"/>
                <a:gd name="connsiteY105" fmla="*/ 818 h 10000"/>
                <a:gd name="connsiteX106" fmla="*/ 3916 w 10000"/>
                <a:gd name="connsiteY106" fmla="*/ 1758 h 10000"/>
                <a:gd name="connsiteX107" fmla="*/ 3916 w 10000"/>
                <a:gd name="connsiteY107" fmla="*/ 1788 h 10000"/>
                <a:gd name="connsiteX108" fmla="*/ 3916 w 10000"/>
                <a:gd name="connsiteY108" fmla="*/ 1788 h 10000"/>
                <a:gd name="connsiteX109" fmla="*/ 3916 w 10000"/>
                <a:gd name="connsiteY109" fmla="*/ 2333 h 10000"/>
                <a:gd name="connsiteX110" fmla="*/ 3916 w 10000"/>
                <a:gd name="connsiteY110" fmla="*/ 2364 h 10000"/>
                <a:gd name="connsiteX111" fmla="*/ 3896 w 10000"/>
                <a:gd name="connsiteY111" fmla="*/ 2364 h 10000"/>
                <a:gd name="connsiteX112" fmla="*/ 2751 w 10000"/>
                <a:gd name="connsiteY112" fmla="*/ 3758 h 10000"/>
                <a:gd name="connsiteX113" fmla="*/ 2731 w 10000"/>
                <a:gd name="connsiteY113" fmla="*/ 3788 h 10000"/>
                <a:gd name="connsiteX114" fmla="*/ 2711 w 10000"/>
                <a:gd name="connsiteY114" fmla="*/ 3758 h 10000"/>
                <a:gd name="connsiteX115" fmla="*/ 2470 w 10000"/>
                <a:gd name="connsiteY115" fmla="*/ 3293 h 10000"/>
                <a:gd name="connsiteX116" fmla="*/ 2189 w 10000"/>
                <a:gd name="connsiteY116" fmla="*/ 3818 h 10000"/>
                <a:gd name="connsiteX117" fmla="*/ 2169 w 10000"/>
                <a:gd name="connsiteY117" fmla="*/ 3818 h 10000"/>
                <a:gd name="connsiteX118" fmla="*/ 2149 w 10000"/>
                <a:gd name="connsiteY118" fmla="*/ 3848 h 10000"/>
                <a:gd name="connsiteX119" fmla="*/ 1988 w 10000"/>
                <a:gd name="connsiteY119" fmla="*/ 3939 h 10000"/>
                <a:gd name="connsiteX120" fmla="*/ 1968 w 10000"/>
                <a:gd name="connsiteY120" fmla="*/ 3939 h 10000"/>
                <a:gd name="connsiteX121" fmla="*/ 1968 w 10000"/>
                <a:gd name="connsiteY121" fmla="*/ 3939 h 10000"/>
                <a:gd name="connsiteX122" fmla="*/ 1526 w 10000"/>
                <a:gd name="connsiteY122" fmla="*/ 3818 h 10000"/>
                <a:gd name="connsiteX123" fmla="*/ 863 w 10000"/>
                <a:gd name="connsiteY123" fmla="*/ 3788 h 10000"/>
                <a:gd name="connsiteX124" fmla="*/ 582 w 10000"/>
                <a:gd name="connsiteY124" fmla="*/ 4667 h 10000"/>
                <a:gd name="connsiteX125" fmla="*/ 562 w 10000"/>
                <a:gd name="connsiteY125" fmla="*/ 4697 h 10000"/>
                <a:gd name="connsiteX126" fmla="*/ 562 w 10000"/>
                <a:gd name="connsiteY126" fmla="*/ 4697 h 10000"/>
                <a:gd name="connsiteX127" fmla="*/ 0 w 10000"/>
                <a:gd name="connsiteY127" fmla="*/ 5667 h 10000"/>
                <a:gd name="connsiteX128" fmla="*/ 241 w 10000"/>
                <a:gd name="connsiteY128" fmla="*/ 6030 h 10000"/>
                <a:gd name="connsiteX129" fmla="*/ 241 w 10000"/>
                <a:gd name="connsiteY129" fmla="*/ 6061 h 10000"/>
                <a:gd name="connsiteX130" fmla="*/ 241 w 10000"/>
                <a:gd name="connsiteY130" fmla="*/ 6091 h 10000"/>
                <a:gd name="connsiteX131" fmla="*/ 241 w 10000"/>
                <a:gd name="connsiteY131" fmla="*/ 7424 h 10000"/>
                <a:gd name="connsiteX132" fmla="*/ 823 w 10000"/>
                <a:gd name="connsiteY132" fmla="*/ 7424 h 10000"/>
                <a:gd name="connsiteX133" fmla="*/ 863 w 10000"/>
                <a:gd name="connsiteY133" fmla="*/ 7424 h 10000"/>
                <a:gd name="connsiteX134" fmla="*/ 863 w 10000"/>
                <a:gd name="connsiteY134" fmla="*/ 7455 h 10000"/>
                <a:gd name="connsiteX135" fmla="*/ 1165 w 10000"/>
                <a:gd name="connsiteY135" fmla="*/ 8091 h 10000"/>
                <a:gd name="connsiteX136" fmla="*/ 1707 w 10000"/>
                <a:gd name="connsiteY136" fmla="*/ 8091 h 10000"/>
                <a:gd name="connsiteX137" fmla="*/ 1727 w 10000"/>
                <a:gd name="connsiteY137" fmla="*/ 8091 h 10000"/>
                <a:gd name="connsiteX138" fmla="*/ 1747 w 10000"/>
                <a:gd name="connsiteY138" fmla="*/ 8121 h 10000"/>
                <a:gd name="connsiteX139" fmla="*/ 1847 w 10000"/>
                <a:gd name="connsiteY139" fmla="*/ 8515 h 10000"/>
                <a:gd name="connsiteX140" fmla="*/ 2329 w 10000"/>
                <a:gd name="connsiteY140" fmla="*/ 8970 h 10000"/>
                <a:gd name="connsiteX141" fmla="*/ 3133 w 10000"/>
                <a:gd name="connsiteY141" fmla="*/ 8909 h 10000"/>
                <a:gd name="connsiteX142" fmla="*/ 3133 w 10000"/>
                <a:gd name="connsiteY142" fmla="*/ 8909 h 10000"/>
                <a:gd name="connsiteX143" fmla="*/ 3353 w 10000"/>
                <a:gd name="connsiteY143" fmla="*/ 8788 h 10000"/>
                <a:gd name="connsiteX0" fmla="*/ 3353 w 10000"/>
                <a:gd name="connsiteY0" fmla="*/ 8788 h 10000"/>
                <a:gd name="connsiteX1" fmla="*/ 3534 w 10000"/>
                <a:gd name="connsiteY1" fmla="*/ 8485 h 10000"/>
                <a:gd name="connsiteX2" fmla="*/ 3763 w 10000"/>
                <a:gd name="connsiteY2" fmla="*/ 7498 h 10000"/>
                <a:gd name="connsiteX3" fmla="*/ 3624 w 10000"/>
                <a:gd name="connsiteY3" fmla="*/ 8702 h 10000"/>
                <a:gd name="connsiteX4" fmla="*/ 3771 w 10000"/>
                <a:gd name="connsiteY4" fmla="*/ 8518 h 10000"/>
                <a:gd name="connsiteX5" fmla="*/ 3976 w 10000"/>
                <a:gd name="connsiteY5" fmla="*/ 8242 h 10000"/>
                <a:gd name="connsiteX6" fmla="*/ 3996 w 10000"/>
                <a:gd name="connsiteY6" fmla="*/ 8242 h 10000"/>
                <a:gd name="connsiteX7" fmla="*/ 4016 w 10000"/>
                <a:gd name="connsiteY7" fmla="*/ 8273 h 10000"/>
                <a:gd name="connsiteX8" fmla="*/ 4378 w 10000"/>
                <a:gd name="connsiteY8" fmla="*/ 9061 h 10000"/>
                <a:gd name="connsiteX9" fmla="*/ 4940 w 10000"/>
                <a:gd name="connsiteY9" fmla="*/ 9182 h 10000"/>
                <a:gd name="connsiteX10" fmla="*/ 4960 w 10000"/>
                <a:gd name="connsiteY10" fmla="*/ 9182 h 10000"/>
                <a:gd name="connsiteX11" fmla="*/ 4980 w 10000"/>
                <a:gd name="connsiteY11" fmla="*/ 9212 h 10000"/>
                <a:gd name="connsiteX12" fmla="*/ 5060 w 10000"/>
                <a:gd name="connsiteY12" fmla="*/ 9818 h 10000"/>
                <a:gd name="connsiteX13" fmla="*/ 5221 w 10000"/>
                <a:gd name="connsiteY13" fmla="*/ 9818 h 10000"/>
                <a:gd name="connsiteX14" fmla="*/ 5221 w 10000"/>
                <a:gd name="connsiteY14" fmla="*/ 9727 h 10000"/>
                <a:gd name="connsiteX15" fmla="*/ 5241 w 10000"/>
                <a:gd name="connsiteY15" fmla="*/ 9636 h 10000"/>
                <a:gd name="connsiteX16" fmla="*/ 5281 w 10000"/>
                <a:gd name="connsiteY16" fmla="*/ 9667 h 10000"/>
                <a:gd name="connsiteX17" fmla="*/ 5522 w 10000"/>
                <a:gd name="connsiteY17" fmla="*/ 9758 h 10000"/>
                <a:gd name="connsiteX18" fmla="*/ 5542 w 10000"/>
                <a:gd name="connsiteY18" fmla="*/ 9758 h 10000"/>
                <a:gd name="connsiteX19" fmla="*/ 5542 w 10000"/>
                <a:gd name="connsiteY19" fmla="*/ 9758 h 10000"/>
                <a:gd name="connsiteX20" fmla="*/ 5743 w 10000"/>
                <a:gd name="connsiteY20" fmla="*/ 10000 h 10000"/>
                <a:gd name="connsiteX21" fmla="*/ 6084 w 10000"/>
                <a:gd name="connsiteY21" fmla="*/ 10000 h 10000"/>
                <a:gd name="connsiteX22" fmla="*/ 6500 w 10000"/>
                <a:gd name="connsiteY22" fmla="*/ 9635 h 10000"/>
                <a:gd name="connsiteX23" fmla="*/ 6502 w 10000"/>
                <a:gd name="connsiteY23" fmla="*/ 9472 h 10000"/>
                <a:gd name="connsiteX24" fmla="*/ 6515 w 10000"/>
                <a:gd name="connsiteY24" fmla="*/ 9240 h 10000"/>
                <a:gd name="connsiteX25" fmla="*/ 6535 w 10000"/>
                <a:gd name="connsiteY25" fmla="*/ 9049 h 10000"/>
                <a:gd name="connsiteX26" fmla="*/ 6727 w 10000"/>
                <a:gd name="connsiteY26" fmla="*/ 8667 h 10000"/>
                <a:gd name="connsiteX27" fmla="*/ 7269 w 10000"/>
                <a:gd name="connsiteY27" fmla="*/ 8061 h 10000"/>
                <a:gd name="connsiteX28" fmla="*/ 7289 w 10000"/>
                <a:gd name="connsiteY28" fmla="*/ 8061 h 10000"/>
                <a:gd name="connsiteX29" fmla="*/ 7309 w 10000"/>
                <a:gd name="connsiteY29" fmla="*/ 8061 h 10000"/>
                <a:gd name="connsiteX30" fmla="*/ 7550 w 10000"/>
                <a:gd name="connsiteY30" fmla="*/ 8152 h 10000"/>
                <a:gd name="connsiteX31" fmla="*/ 7570 w 10000"/>
                <a:gd name="connsiteY31" fmla="*/ 8152 h 10000"/>
                <a:gd name="connsiteX32" fmla="*/ 7590 w 10000"/>
                <a:gd name="connsiteY32" fmla="*/ 8212 h 10000"/>
                <a:gd name="connsiteX33" fmla="*/ 7631 w 10000"/>
                <a:gd name="connsiteY33" fmla="*/ 8939 h 10000"/>
                <a:gd name="connsiteX34" fmla="*/ 7932 w 10000"/>
                <a:gd name="connsiteY34" fmla="*/ 8970 h 10000"/>
                <a:gd name="connsiteX35" fmla="*/ 8173 w 10000"/>
                <a:gd name="connsiteY35" fmla="*/ 8485 h 10000"/>
                <a:gd name="connsiteX36" fmla="*/ 8173 w 10000"/>
                <a:gd name="connsiteY36" fmla="*/ 8485 h 10000"/>
                <a:gd name="connsiteX37" fmla="*/ 8193 w 10000"/>
                <a:gd name="connsiteY37" fmla="*/ 8485 h 10000"/>
                <a:gd name="connsiteX38" fmla="*/ 8534 w 10000"/>
                <a:gd name="connsiteY38" fmla="*/ 8152 h 10000"/>
                <a:gd name="connsiteX39" fmla="*/ 8635 w 10000"/>
                <a:gd name="connsiteY39" fmla="*/ 7667 h 10000"/>
                <a:gd name="connsiteX40" fmla="*/ 8655 w 10000"/>
                <a:gd name="connsiteY40" fmla="*/ 7606 h 10000"/>
                <a:gd name="connsiteX41" fmla="*/ 8675 w 10000"/>
                <a:gd name="connsiteY41" fmla="*/ 7606 h 10000"/>
                <a:gd name="connsiteX42" fmla="*/ 9036 w 10000"/>
                <a:gd name="connsiteY42" fmla="*/ 7545 h 10000"/>
                <a:gd name="connsiteX43" fmla="*/ 9177 w 10000"/>
                <a:gd name="connsiteY43" fmla="*/ 7182 h 10000"/>
                <a:gd name="connsiteX44" fmla="*/ 9177 w 10000"/>
                <a:gd name="connsiteY44" fmla="*/ 7152 h 10000"/>
                <a:gd name="connsiteX45" fmla="*/ 9177 w 10000"/>
                <a:gd name="connsiteY45" fmla="*/ 7152 h 10000"/>
                <a:gd name="connsiteX46" fmla="*/ 9458 w 10000"/>
                <a:gd name="connsiteY46" fmla="*/ 6909 h 10000"/>
                <a:gd name="connsiteX47" fmla="*/ 9458 w 10000"/>
                <a:gd name="connsiteY47" fmla="*/ 6909 h 10000"/>
                <a:gd name="connsiteX48" fmla="*/ 9458 w 10000"/>
                <a:gd name="connsiteY48" fmla="*/ 6909 h 10000"/>
                <a:gd name="connsiteX49" fmla="*/ 9699 w 10000"/>
                <a:gd name="connsiteY49" fmla="*/ 6848 h 10000"/>
                <a:gd name="connsiteX50" fmla="*/ 9859 w 10000"/>
                <a:gd name="connsiteY50" fmla="*/ 6727 h 10000"/>
                <a:gd name="connsiteX51" fmla="*/ 9839 w 10000"/>
                <a:gd name="connsiteY51" fmla="*/ 6667 h 10000"/>
                <a:gd name="connsiteX52" fmla="*/ 9819 w 10000"/>
                <a:gd name="connsiteY52" fmla="*/ 6667 h 10000"/>
                <a:gd name="connsiteX53" fmla="*/ 9819 w 10000"/>
                <a:gd name="connsiteY53" fmla="*/ 6667 h 10000"/>
                <a:gd name="connsiteX54" fmla="*/ 9779 w 10000"/>
                <a:gd name="connsiteY54" fmla="*/ 6424 h 10000"/>
                <a:gd name="connsiteX55" fmla="*/ 9598 w 10000"/>
                <a:gd name="connsiteY55" fmla="*/ 6394 h 10000"/>
                <a:gd name="connsiteX56" fmla="*/ 9538 w 10000"/>
                <a:gd name="connsiteY56" fmla="*/ 6364 h 10000"/>
                <a:gd name="connsiteX57" fmla="*/ 9578 w 10000"/>
                <a:gd name="connsiteY57" fmla="*/ 6303 h 10000"/>
                <a:gd name="connsiteX58" fmla="*/ 9859 w 10000"/>
                <a:gd name="connsiteY58" fmla="*/ 5545 h 10000"/>
                <a:gd name="connsiteX59" fmla="*/ 9880 w 10000"/>
                <a:gd name="connsiteY59" fmla="*/ 5545 h 10000"/>
                <a:gd name="connsiteX60" fmla="*/ 9880 w 10000"/>
                <a:gd name="connsiteY60" fmla="*/ 5515 h 10000"/>
                <a:gd name="connsiteX61" fmla="*/ 10000 w 10000"/>
                <a:gd name="connsiteY61" fmla="*/ 5424 h 10000"/>
                <a:gd name="connsiteX62" fmla="*/ 9799 w 10000"/>
                <a:gd name="connsiteY62" fmla="*/ 5061 h 10000"/>
                <a:gd name="connsiteX63" fmla="*/ 9779 w 10000"/>
                <a:gd name="connsiteY63" fmla="*/ 5030 h 10000"/>
                <a:gd name="connsiteX64" fmla="*/ 9779 w 10000"/>
                <a:gd name="connsiteY64" fmla="*/ 5030 h 10000"/>
                <a:gd name="connsiteX65" fmla="*/ 9759 w 10000"/>
                <a:gd name="connsiteY65" fmla="*/ 4727 h 10000"/>
                <a:gd name="connsiteX66" fmla="*/ 9759 w 10000"/>
                <a:gd name="connsiteY66" fmla="*/ 4727 h 10000"/>
                <a:gd name="connsiteX67" fmla="*/ 9759 w 10000"/>
                <a:gd name="connsiteY67" fmla="*/ 4697 h 10000"/>
                <a:gd name="connsiteX68" fmla="*/ 9920 w 10000"/>
                <a:gd name="connsiteY68" fmla="*/ 4303 h 10000"/>
                <a:gd name="connsiteX69" fmla="*/ 9920 w 10000"/>
                <a:gd name="connsiteY69" fmla="*/ 3333 h 10000"/>
                <a:gd name="connsiteX70" fmla="*/ 9719 w 10000"/>
                <a:gd name="connsiteY70" fmla="*/ 2606 h 10000"/>
                <a:gd name="connsiteX71" fmla="*/ 9679 w 10000"/>
                <a:gd name="connsiteY71" fmla="*/ 2455 h 10000"/>
                <a:gd name="connsiteX72" fmla="*/ 9257 w 10000"/>
                <a:gd name="connsiteY72" fmla="*/ 2394 h 10000"/>
                <a:gd name="connsiteX73" fmla="*/ 9177 w 10000"/>
                <a:gd name="connsiteY73" fmla="*/ 2394 h 10000"/>
                <a:gd name="connsiteX74" fmla="*/ 9177 w 10000"/>
                <a:gd name="connsiteY74" fmla="*/ 2394 h 10000"/>
                <a:gd name="connsiteX75" fmla="*/ 9177 w 10000"/>
                <a:gd name="connsiteY75" fmla="*/ 2394 h 10000"/>
                <a:gd name="connsiteX76" fmla="*/ 9177 w 10000"/>
                <a:gd name="connsiteY76" fmla="*/ 2394 h 10000"/>
                <a:gd name="connsiteX77" fmla="*/ 9177 w 10000"/>
                <a:gd name="connsiteY77" fmla="*/ 2394 h 10000"/>
                <a:gd name="connsiteX78" fmla="*/ 8815 w 10000"/>
                <a:gd name="connsiteY78" fmla="*/ 2242 h 10000"/>
                <a:gd name="connsiteX79" fmla="*/ 8635 w 10000"/>
                <a:gd name="connsiteY79" fmla="*/ 2212 h 10000"/>
                <a:gd name="connsiteX80" fmla="*/ 8614 w 10000"/>
                <a:gd name="connsiteY80" fmla="*/ 2212 h 10000"/>
                <a:gd name="connsiteX81" fmla="*/ 8614 w 10000"/>
                <a:gd name="connsiteY81" fmla="*/ 2182 h 10000"/>
                <a:gd name="connsiteX82" fmla="*/ 8434 w 10000"/>
                <a:gd name="connsiteY82" fmla="*/ 1667 h 10000"/>
                <a:gd name="connsiteX83" fmla="*/ 8032 w 10000"/>
                <a:gd name="connsiteY83" fmla="*/ 1788 h 10000"/>
                <a:gd name="connsiteX84" fmla="*/ 7510 w 10000"/>
                <a:gd name="connsiteY84" fmla="*/ 1970 h 10000"/>
                <a:gd name="connsiteX85" fmla="*/ 7490 w 10000"/>
                <a:gd name="connsiteY85" fmla="*/ 1970 h 10000"/>
                <a:gd name="connsiteX86" fmla="*/ 7470 w 10000"/>
                <a:gd name="connsiteY86" fmla="*/ 1939 h 10000"/>
                <a:gd name="connsiteX87" fmla="*/ 7229 w 10000"/>
                <a:gd name="connsiteY87" fmla="*/ 1364 h 10000"/>
                <a:gd name="connsiteX88" fmla="*/ 6948 w 10000"/>
                <a:gd name="connsiteY88" fmla="*/ 1000 h 10000"/>
                <a:gd name="connsiteX89" fmla="*/ 6466 w 10000"/>
                <a:gd name="connsiteY89" fmla="*/ 939 h 10000"/>
                <a:gd name="connsiteX90" fmla="*/ 5944 w 10000"/>
                <a:gd name="connsiteY90" fmla="*/ 818 h 10000"/>
                <a:gd name="connsiteX91" fmla="*/ 5743 w 10000"/>
                <a:gd name="connsiteY91" fmla="*/ 1182 h 10000"/>
                <a:gd name="connsiteX92" fmla="*/ 5703 w 10000"/>
                <a:gd name="connsiteY92" fmla="*/ 1212 h 10000"/>
                <a:gd name="connsiteX93" fmla="*/ 5683 w 10000"/>
                <a:gd name="connsiteY93" fmla="*/ 1152 h 10000"/>
                <a:gd name="connsiteX94" fmla="*/ 5402 w 10000"/>
                <a:gd name="connsiteY94" fmla="*/ 667 h 10000"/>
                <a:gd name="connsiteX95" fmla="*/ 5181 w 10000"/>
                <a:gd name="connsiteY95" fmla="*/ 515 h 10000"/>
                <a:gd name="connsiteX96" fmla="*/ 5161 w 10000"/>
                <a:gd name="connsiteY96" fmla="*/ 515 h 10000"/>
                <a:gd name="connsiteX97" fmla="*/ 5161 w 10000"/>
                <a:gd name="connsiteY97" fmla="*/ 485 h 10000"/>
                <a:gd name="connsiteX98" fmla="*/ 5120 w 10000"/>
                <a:gd name="connsiteY98" fmla="*/ 121 h 10000"/>
                <a:gd name="connsiteX99" fmla="*/ 4819 w 10000"/>
                <a:gd name="connsiteY99" fmla="*/ 0 h 10000"/>
                <a:gd name="connsiteX100" fmla="*/ 4578 w 10000"/>
                <a:gd name="connsiteY100" fmla="*/ 303 h 10000"/>
                <a:gd name="connsiteX101" fmla="*/ 4558 w 10000"/>
                <a:gd name="connsiteY101" fmla="*/ 333 h 10000"/>
                <a:gd name="connsiteX102" fmla="*/ 4538 w 10000"/>
                <a:gd name="connsiteY102" fmla="*/ 333 h 10000"/>
                <a:gd name="connsiteX103" fmla="*/ 4257 w 10000"/>
                <a:gd name="connsiteY103" fmla="*/ 182 h 10000"/>
                <a:gd name="connsiteX104" fmla="*/ 3896 w 10000"/>
                <a:gd name="connsiteY104" fmla="*/ 333 h 10000"/>
                <a:gd name="connsiteX105" fmla="*/ 3594 w 10000"/>
                <a:gd name="connsiteY105" fmla="*/ 818 h 10000"/>
                <a:gd name="connsiteX106" fmla="*/ 3916 w 10000"/>
                <a:gd name="connsiteY106" fmla="*/ 1758 h 10000"/>
                <a:gd name="connsiteX107" fmla="*/ 3916 w 10000"/>
                <a:gd name="connsiteY107" fmla="*/ 1788 h 10000"/>
                <a:gd name="connsiteX108" fmla="*/ 3916 w 10000"/>
                <a:gd name="connsiteY108" fmla="*/ 1788 h 10000"/>
                <a:gd name="connsiteX109" fmla="*/ 3916 w 10000"/>
                <a:gd name="connsiteY109" fmla="*/ 2333 h 10000"/>
                <a:gd name="connsiteX110" fmla="*/ 3916 w 10000"/>
                <a:gd name="connsiteY110" fmla="*/ 2364 h 10000"/>
                <a:gd name="connsiteX111" fmla="*/ 3896 w 10000"/>
                <a:gd name="connsiteY111" fmla="*/ 2364 h 10000"/>
                <a:gd name="connsiteX112" fmla="*/ 2751 w 10000"/>
                <a:gd name="connsiteY112" fmla="*/ 3758 h 10000"/>
                <a:gd name="connsiteX113" fmla="*/ 2731 w 10000"/>
                <a:gd name="connsiteY113" fmla="*/ 3788 h 10000"/>
                <a:gd name="connsiteX114" fmla="*/ 2711 w 10000"/>
                <a:gd name="connsiteY114" fmla="*/ 3758 h 10000"/>
                <a:gd name="connsiteX115" fmla="*/ 2470 w 10000"/>
                <a:gd name="connsiteY115" fmla="*/ 3293 h 10000"/>
                <a:gd name="connsiteX116" fmla="*/ 2189 w 10000"/>
                <a:gd name="connsiteY116" fmla="*/ 3818 h 10000"/>
                <a:gd name="connsiteX117" fmla="*/ 2169 w 10000"/>
                <a:gd name="connsiteY117" fmla="*/ 3818 h 10000"/>
                <a:gd name="connsiteX118" fmla="*/ 2149 w 10000"/>
                <a:gd name="connsiteY118" fmla="*/ 3848 h 10000"/>
                <a:gd name="connsiteX119" fmla="*/ 1988 w 10000"/>
                <a:gd name="connsiteY119" fmla="*/ 3939 h 10000"/>
                <a:gd name="connsiteX120" fmla="*/ 1968 w 10000"/>
                <a:gd name="connsiteY120" fmla="*/ 3939 h 10000"/>
                <a:gd name="connsiteX121" fmla="*/ 1968 w 10000"/>
                <a:gd name="connsiteY121" fmla="*/ 3939 h 10000"/>
                <a:gd name="connsiteX122" fmla="*/ 1526 w 10000"/>
                <a:gd name="connsiteY122" fmla="*/ 3818 h 10000"/>
                <a:gd name="connsiteX123" fmla="*/ 863 w 10000"/>
                <a:gd name="connsiteY123" fmla="*/ 3788 h 10000"/>
                <a:gd name="connsiteX124" fmla="*/ 582 w 10000"/>
                <a:gd name="connsiteY124" fmla="*/ 4667 h 10000"/>
                <a:gd name="connsiteX125" fmla="*/ 562 w 10000"/>
                <a:gd name="connsiteY125" fmla="*/ 4697 h 10000"/>
                <a:gd name="connsiteX126" fmla="*/ 562 w 10000"/>
                <a:gd name="connsiteY126" fmla="*/ 4697 h 10000"/>
                <a:gd name="connsiteX127" fmla="*/ 0 w 10000"/>
                <a:gd name="connsiteY127" fmla="*/ 5667 h 10000"/>
                <a:gd name="connsiteX128" fmla="*/ 241 w 10000"/>
                <a:gd name="connsiteY128" fmla="*/ 6030 h 10000"/>
                <a:gd name="connsiteX129" fmla="*/ 241 w 10000"/>
                <a:gd name="connsiteY129" fmla="*/ 6061 h 10000"/>
                <a:gd name="connsiteX130" fmla="*/ 241 w 10000"/>
                <a:gd name="connsiteY130" fmla="*/ 6091 h 10000"/>
                <a:gd name="connsiteX131" fmla="*/ 241 w 10000"/>
                <a:gd name="connsiteY131" fmla="*/ 7424 h 10000"/>
                <a:gd name="connsiteX132" fmla="*/ 823 w 10000"/>
                <a:gd name="connsiteY132" fmla="*/ 7424 h 10000"/>
                <a:gd name="connsiteX133" fmla="*/ 863 w 10000"/>
                <a:gd name="connsiteY133" fmla="*/ 7424 h 10000"/>
                <a:gd name="connsiteX134" fmla="*/ 863 w 10000"/>
                <a:gd name="connsiteY134" fmla="*/ 7455 h 10000"/>
                <a:gd name="connsiteX135" fmla="*/ 1165 w 10000"/>
                <a:gd name="connsiteY135" fmla="*/ 8091 h 10000"/>
                <a:gd name="connsiteX136" fmla="*/ 1707 w 10000"/>
                <a:gd name="connsiteY136" fmla="*/ 8091 h 10000"/>
                <a:gd name="connsiteX137" fmla="*/ 1727 w 10000"/>
                <a:gd name="connsiteY137" fmla="*/ 8091 h 10000"/>
                <a:gd name="connsiteX138" fmla="*/ 1747 w 10000"/>
                <a:gd name="connsiteY138" fmla="*/ 8121 h 10000"/>
                <a:gd name="connsiteX139" fmla="*/ 1847 w 10000"/>
                <a:gd name="connsiteY139" fmla="*/ 8515 h 10000"/>
                <a:gd name="connsiteX140" fmla="*/ 2329 w 10000"/>
                <a:gd name="connsiteY140" fmla="*/ 8970 h 10000"/>
                <a:gd name="connsiteX141" fmla="*/ 3133 w 10000"/>
                <a:gd name="connsiteY141" fmla="*/ 8909 h 10000"/>
                <a:gd name="connsiteX142" fmla="*/ 3133 w 10000"/>
                <a:gd name="connsiteY142" fmla="*/ 8909 h 10000"/>
                <a:gd name="connsiteX143" fmla="*/ 3353 w 10000"/>
                <a:gd name="connsiteY143" fmla="*/ 8788 h 10000"/>
                <a:gd name="connsiteX0" fmla="*/ 3353 w 10000"/>
                <a:gd name="connsiteY0" fmla="*/ 8788 h 10000"/>
                <a:gd name="connsiteX1" fmla="*/ 3534 w 10000"/>
                <a:gd name="connsiteY1" fmla="*/ 8485 h 10000"/>
                <a:gd name="connsiteX2" fmla="*/ 3624 w 10000"/>
                <a:gd name="connsiteY2" fmla="*/ 8702 h 10000"/>
                <a:gd name="connsiteX3" fmla="*/ 3771 w 10000"/>
                <a:gd name="connsiteY3" fmla="*/ 8518 h 10000"/>
                <a:gd name="connsiteX4" fmla="*/ 3976 w 10000"/>
                <a:gd name="connsiteY4" fmla="*/ 8242 h 10000"/>
                <a:gd name="connsiteX5" fmla="*/ 3996 w 10000"/>
                <a:gd name="connsiteY5" fmla="*/ 8242 h 10000"/>
                <a:gd name="connsiteX6" fmla="*/ 4016 w 10000"/>
                <a:gd name="connsiteY6" fmla="*/ 8273 h 10000"/>
                <a:gd name="connsiteX7" fmla="*/ 4378 w 10000"/>
                <a:gd name="connsiteY7" fmla="*/ 9061 h 10000"/>
                <a:gd name="connsiteX8" fmla="*/ 4940 w 10000"/>
                <a:gd name="connsiteY8" fmla="*/ 9182 h 10000"/>
                <a:gd name="connsiteX9" fmla="*/ 4960 w 10000"/>
                <a:gd name="connsiteY9" fmla="*/ 9182 h 10000"/>
                <a:gd name="connsiteX10" fmla="*/ 4980 w 10000"/>
                <a:gd name="connsiteY10" fmla="*/ 9212 h 10000"/>
                <a:gd name="connsiteX11" fmla="*/ 5060 w 10000"/>
                <a:gd name="connsiteY11" fmla="*/ 9818 h 10000"/>
                <a:gd name="connsiteX12" fmla="*/ 5221 w 10000"/>
                <a:gd name="connsiteY12" fmla="*/ 9818 h 10000"/>
                <a:gd name="connsiteX13" fmla="*/ 5221 w 10000"/>
                <a:gd name="connsiteY13" fmla="*/ 9727 h 10000"/>
                <a:gd name="connsiteX14" fmla="*/ 5241 w 10000"/>
                <a:gd name="connsiteY14" fmla="*/ 9636 h 10000"/>
                <a:gd name="connsiteX15" fmla="*/ 5281 w 10000"/>
                <a:gd name="connsiteY15" fmla="*/ 9667 h 10000"/>
                <a:gd name="connsiteX16" fmla="*/ 5522 w 10000"/>
                <a:gd name="connsiteY16" fmla="*/ 9758 h 10000"/>
                <a:gd name="connsiteX17" fmla="*/ 5542 w 10000"/>
                <a:gd name="connsiteY17" fmla="*/ 9758 h 10000"/>
                <a:gd name="connsiteX18" fmla="*/ 5542 w 10000"/>
                <a:gd name="connsiteY18" fmla="*/ 9758 h 10000"/>
                <a:gd name="connsiteX19" fmla="*/ 5743 w 10000"/>
                <a:gd name="connsiteY19" fmla="*/ 10000 h 10000"/>
                <a:gd name="connsiteX20" fmla="*/ 6084 w 10000"/>
                <a:gd name="connsiteY20" fmla="*/ 10000 h 10000"/>
                <a:gd name="connsiteX21" fmla="*/ 6500 w 10000"/>
                <a:gd name="connsiteY21" fmla="*/ 9635 h 10000"/>
                <a:gd name="connsiteX22" fmla="*/ 6502 w 10000"/>
                <a:gd name="connsiteY22" fmla="*/ 9472 h 10000"/>
                <a:gd name="connsiteX23" fmla="*/ 6515 w 10000"/>
                <a:gd name="connsiteY23" fmla="*/ 9240 h 10000"/>
                <a:gd name="connsiteX24" fmla="*/ 6535 w 10000"/>
                <a:gd name="connsiteY24" fmla="*/ 9049 h 10000"/>
                <a:gd name="connsiteX25" fmla="*/ 6727 w 10000"/>
                <a:gd name="connsiteY25" fmla="*/ 8667 h 10000"/>
                <a:gd name="connsiteX26" fmla="*/ 7269 w 10000"/>
                <a:gd name="connsiteY26" fmla="*/ 8061 h 10000"/>
                <a:gd name="connsiteX27" fmla="*/ 7289 w 10000"/>
                <a:gd name="connsiteY27" fmla="*/ 8061 h 10000"/>
                <a:gd name="connsiteX28" fmla="*/ 7309 w 10000"/>
                <a:gd name="connsiteY28" fmla="*/ 8061 h 10000"/>
                <a:gd name="connsiteX29" fmla="*/ 7550 w 10000"/>
                <a:gd name="connsiteY29" fmla="*/ 8152 h 10000"/>
                <a:gd name="connsiteX30" fmla="*/ 7570 w 10000"/>
                <a:gd name="connsiteY30" fmla="*/ 8152 h 10000"/>
                <a:gd name="connsiteX31" fmla="*/ 7590 w 10000"/>
                <a:gd name="connsiteY31" fmla="*/ 8212 h 10000"/>
                <a:gd name="connsiteX32" fmla="*/ 7631 w 10000"/>
                <a:gd name="connsiteY32" fmla="*/ 8939 h 10000"/>
                <a:gd name="connsiteX33" fmla="*/ 7932 w 10000"/>
                <a:gd name="connsiteY33" fmla="*/ 8970 h 10000"/>
                <a:gd name="connsiteX34" fmla="*/ 8173 w 10000"/>
                <a:gd name="connsiteY34" fmla="*/ 8485 h 10000"/>
                <a:gd name="connsiteX35" fmla="*/ 8173 w 10000"/>
                <a:gd name="connsiteY35" fmla="*/ 8485 h 10000"/>
                <a:gd name="connsiteX36" fmla="*/ 8193 w 10000"/>
                <a:gd name="connsiteY36" fmla="*/ 8485 h 10000"/>
                <a:gd name="connsiteX37" fmla="*/ 8534 w 10000"/>
                <a:gd name="connsiteY37" fmla="*/ 8152 h 10000"/>
                <a:gd name="connsiteX38" fmla="*/ 8635 w 10000"/>
                <a:gd name="connsiteY38" fmla="*/ 7667 h 10000"/>
                <a:gd name="connsiteX39" fmla="*/ 8655 w 10000"/>
                <a:gd name="connsiteY39" fmla="*/ 7606 h 10000"/>
                <a:gd name="connsiteX40" fmla="*/ 8675 w 10000"/>
                <a:gd name="connsiteY40" fmla="*/ 7606 h 10000"/>
                <a:gd name="connsiteX41" fmla="*/ 9036 w 10000"/>
                <a:gd name="connsiteY41" fmla="*/ 7545 h 10000"/>
                <a:gd name="connsiteX42" fmla="*/ 9177 w 10000"/>
                <a:gd name="connsiteY42" fmla="*/ 7182 h 10000"/>
                <a:gd name="connsiteX43" fmla="*/ 9177 w 10000"/>
                <a:gd name="connsiteY43" fmla="*/ 7152 h 10000"/>
                <a:gd name="connsiteX44" fmla="*/ 9177 w 10000"/>
                <a:gd name="connsiteY44" fmla="*/ 7152 h 10000"/>
                <a:gd name="connsiteX45" fmla="*/ 9458 w 10000"/>
                <a:gd name="connsiteY45" fmla="*/ 6909 h 10000"/>
                <a:gd name="connsiteX46" fmla="*/ 9458 w 10000"/>
                <a:gd name="connsiteY46" fmla="*/ 6909 h 10000"/>
                <a:gd name="connsiteX47" fmla="*/ 9458 w 10000"/>
                <a:gd name="connsiteY47" fmla="*/ 6909 h 10000"/>
                <a:gd name="connsiteX48" fmla="*/ 9699 w 10000"/>
                <a:gd name="connsiteY48" fmla="*/ 6848 h 10000"/>
                <a:gd name="connsiteX49" fmla="*/ 9859 w 10000"/>
                <a:gd name="connsiteY49" fmla="*/ 6727 h 10000"/>
                <a:gd name="connsiteX50" fmla="*/ 9839 w 10000"/>
                <a:gd name="connsiteY50" fmla="*/ 6667 h 10000"/>
                <a:gd name="connsiteX51" fmla="*/ 9819 w 10000"/>
                <a:gd name="connsiteY51" fmla="*/ 6667 h 10000"/>
                <a:gd name="connsiteX52" fmla="*/ 9819 w 10000"/>
                <a:gd name="connsiteY52" fmla="*/ 6667 h 10000"/>
                <a:gd name="connsiteX53" fmla="*/ 9779 w 10000"/>
                <a:gd name="connsiteY53" fmla="*/ 6424 h 10000"/>
                <a:gd name="connsiteX54" fmla="*/ 9598 w 10000"/>
                <a:gd name="connsiteY54" fmla="*/ 6394 h 10000"/>
                <a:gd name="connsiteX55" fmla="*/ 9538 w 10000"/>
                <a:gd name="connsiteY55" fmla="*/ 6364 h 10000"/>
                <a:gd name="connsiteX56" fmla="*/ 9578 w 10000"/>
                <a:gd name="connsiteY56" fmla="*/ 6303 h 10000"/>
                <a:gd name="connsiteX57" fmla="*/ 9859 w 10000"/>
                <a:gd name="connsiteY57" fmla="*/ 5545 h 10000"/>
                <a:gd name="connsiteX58" fmla="*/ 9880 w 10000"/>
                <a:gd name="connsiteY58" fmla="*/ 5545 h 10000"/>
                <a:gd name="connsiteX59" fmla="*/ 9880 w 10000"/>
                <a:gd name="connsiteY59" fmla="*/ 5515 h 10000"/>
                <a:gd name="connsiteX60" fmla="*/ 10000 w 10000"/>
                <a:gd name="connsiteY60" fmla="*/ 5424 h 10000"/>
                <a:gd name="connsiteX61" fmla="*/ 9799 w 10000"/>
                <a:gd name="connsiteY61" fmla="*/ 5061 h 10000"/>
                <a:gd name="connsiteX62" fmla="*/ 9779 w 10000"/>
                <a:gd name="connsiteY62" fmla="*/ 5030 h 10000"/>
                <a:gd name="connsiteX63" fmla="*/ 9779 w 10000"/>
                <a:gd name="connsiteY63" fmla="*/ 5030 h 10000"/>
                <a:gd name="connsiteX64" fmla="*/ 9759 w 10000"/>
                <a:gd name="connsiteY64" fmla="*/ 4727 h 10000"/>
                <a:gd name="connsiteX65" fmla="*/ 9759 w 10000"/>
                <a:gd name="connsiteY65" fmla="*/ 4727 h 10000"/>
                <a:gd name="connsiteX66" fmla="*/ 9759 w 10000"/>
                <a:gd name="connsiteY66" fmla="*/ 4697 h 10000"/>
                <a:gd name="connsiteX67" fmla="*/ 9920 w 10000"/>
                <a:gd name="connsiteY67" fmla="*/ 4303 h 10000"/>
                <a:gd name="connsiteX68" fmla="*/ 9920 w 10000"/>
                <a:gd name="connsiteY68" fmla="*/ 3333 h 10000"/>
                <a:gd name="connsiteX69" fmla="*/ 9719 w 10000"/>
                <a:gd name="connsiteY69" fmla="*/ 2606 h 10000"/>
                <a:gd name="connsiteX70" fmla="*/ 9679 w 10000"/>
                <a:gd name="connsiteY70" fmla="*/ 2455 h 10000"/>
                <a:gd name="connsiteX71" fmla="*/ 9257 w 10000"/>
                <a:gd name="connsiteY71" fmla="*/ 2394 h 10000"/>
                <a:gd name="connsiteX72" fmla="*/ 9177 w 10000"/>
                <a:gd name="connsiteY72" fmla="*/ 2394 h 10000"/>
                <a:gd name="connsiteX73" fmla="*/ 9177 w 10000"/>
                <a:gd name="connsiteY73" fmla="*/ 2394 h 10000"/>
                <a:gd name="connsiteX74" fmla="*/ 9177 w 10000"/>
                <a:gd name="connsiteY74" fmla="*/ 2394 h 10000"/>
                <a:gd name="connsiteX75" fmla="*/ 9177 w 10000"/>
                <a:gd name="connsiteY75" fmla="*/ 2394 h 10000"/>
                <a:gd name="connsiteX76" fmla="*/ 9177 w 10000"/>
                <a:gd name="connsiteY76" fmla="*/ 2394 h 10000"/>
                <a:gd name="connsiteX77" fmla="*/ 8815 w 10000"/>
                <a:gd name="connsiteY77" fmla="*/ 2242 h 10000"/>
                <a:gd name="connsiteX78" fmla="*/ 8635 w 10000"/>
                <a:gd name="connsiteY78" fmla="*/ 2212 h 10000"/>
                <a:gd name="connsiteX79" fmla="*/ 8614 w 10000"/>
                <a:gd name="connsiteY79" fmla="*/ 2212 h 10000"/>
                <a:gd name="connsiteX80" fmla="*/ 8614 w 10000"/>
                <a:gd name="connsiteY80" fmla="*/ 2182 h 10000"/>
                <a:gd name="connsiteX81" fmla="*/ 8434 w 10000"/>
                <a:gd name="connsiteY81" fmla="*/ 1667 h 10000"/>
                <a:gd name="connsiteX82" fmla="*/ 8032 w 10000"/>
                <a:gd name="connsiteY82" fmla="*/ 1788 h 10000"/>
                <a:gd name="connsiteX83" fmla="*/ 7510 w 10000"/>
                <a:gd name="connsiteY83" fmla="*/ 1970 h 10000"/>
                <a:gd name="connsiteX84" fmla="*/ 7490 w 10000"/>
                <a:gd name="connsiteY84" fmla="*/ 1970 h 10000"/>
                <a:gd name="connsiteX85" fmla="*/ 7470 w 10000"/>
                <a:gd name="connsiteY85" fmla="*/ 1939 h 10000"/>
                <a:gd name="connsiteX86" fmla="*/ 7229 w 10000"/>
                <a:gd name="connsiteY86" fmla="*/ 1364 h 10000"/>
                <a:gd name="connsiteX87" fmla="*/ 6948 w 10000"/>
                <a:gd name="connsiteY87" fmla="*/ 1000 h 10000"/>
                <a:gd name="connsiteX88" fmla="*/ 6466 w 10000"/>
                <a:gd name="connsiteY88" fmla="*/ 939 h 10000"/>
                <a:gd name="connsiteX89" fmla="*/ 5944 w 10000"/>
                <a:gd name="connsiteY89" fmla="*/ 818 h 10000"/>
                <a:gd name="connsiteX90" fmla="*/ 5743 w 10000"/>
                <a:gd name="connsiteY90" fmla="*/ 1182 h 10000"/>
                <a:gd name="connsiteX91" fmla="*/ 5703 w 10000"/>
                <a:gd name="connsiteY91" fmla="*/ 1212 h 10000"/>
                <a:gd name="connsiteX92" fmla="*/ 5683 w 10000"/>
                <a:gd name="connsiteY92" fmla="*/ 1152 h 10000"/>
                <a:gd name="connsiteX93" fmla="*/ 5402 w 10000"/>
                <a:gd name="connsiteY93" fmla="*/ 667 h 10000"/>
                <a:gd name="connsiteX94" fmla="*/ 5181 w 10000"/>
                <a:gd name="connsiteY94" fmla="*/ 515 h 10000"/>
                <a:gd name="connsiteX95" fmla="*/ 5161 w 10000"/>
                <a:gd name="connsiteY95" fmla="*/ 515 h 10000"/>
                <a:gd name="connsiteX96" fmla="*/ 5161 w 10000"/>
                <a:gd name="connsiteY96" fmla="*/ 485 h 10000"/>
                <a:gd name="connsiteX97" fmla="*/ 5120 w 10000"/>
                <a:gd name="connsiteY97" fmla="*/ 121 h 10000"/>
                <a:gd name="connsiteX98" fmla="*/ 4819 w 10000"/>
                <a:gd name="connsiteY98" fmla="*/ 0 h 10000"/>
                <a:gd name="connsiteX99" fmla="*/ 4578 w 10000"/>
                <a:gd name="connsiteY99" fmla="*/ 303 h 10000"/>
                <a:gd name="connsiteX100" fmla="*/ 4558 w 10000"/>
                <a:gd name="connsiteY100" fmla="*/ 333 h 10000"/>
                <a:gd name="connsiteX101" fmla="*/ 4538 w 10000"/>
                <a:gd name="connsiteY101" fmla="*/ 333 h 10000"/>
                <a:gd name="connsiteX102" fmla="*/ 4257 w 10000"/>
                <a:gd name="connsiteY102" fmla="*/ 182 h 10000"/>
                <a:gd name="connsiteX103" fmla="*/ 3896 w 10000"/>
                <a:gd name="connsiteY103" fmla="*/ 333 h 10000"/>
                <a:gd name="connsiteX104" fmla="*/ 3594 w 10000"/>
                <a:gd name="connsiteY104" fmla="*/ 818 h 10000"/>
                <a:gd name="connsiteX105" fmla="*/ 3916 w 10000"/>
                <a:gd name="connsiteY105" fmla="*/ 1758 h 10000"/>
                <a:gd name="connsiteX106" fmla="*/ 3916 w 10000"/>
                <a:gd name="connsiteY106" fmla="*/ 1788 h 10000"/>
                <a:gd name="connsiteX107" fmla="*/ 3916 w 10000"/>
                <a:gd name="connsiteY107" fmla="*/ 1788 h 10000"/>
                <a:gd name="connsiteX108" fmla="*/ 3916 w 10000"/>
                <a:gd name="connsiteY108" fmla="*/ 2333 h 10000"/>
                <a:gd name="connsiteX109" fmla="*/ 3916 w 10000"/>
                <a:gd name="connsiteY109" fmla="*/ 2364 h 10000"/>
                <a:gd name="connsiteX110" fmla="*/ 3896 w 10000"/>
                <a:gd name="connsiteY110" fmla="*/ 2364 h 10000"/>
                <a:gd name="connsiteX111" fmla="*/ 2751 w 10000"/>
                <a:gd name="connsiteY111" fmla="*/ 3758 h 10000"/>
                <a:gd name="connsiteX112" fmla="*/ 2731 w 10000"/>
                <a:gd name="connsiteY112" fmla="*/ 3788 h 10000"/>
                <a:gd name="connsiteX113" fmla="*/ 2711 w 10000"/>
                <a:gd name="connsiteY113" fmla="*/ 3758 h 10000"/>
                <a:gd name="connsiteX114" fmla="*/ 2470 w 10000"/>
                <a:gd name="connsiteY114" fmla="*/ 3293 h 10000"/>
                <a:gd name="connsiteX115" fmla="*/ 2189 w 10000"/>
                <a:gd name="connsiteY115" fmla="*/ 3818 h 10000"/>
                <a:gd name="connsiteX116" fmla="*/ 2169 w 10000"/>
                <a:gd name="connsiteY116" fmla="*/ 3818 h 10000"/>
                <a:gd name="connsiteX117" fmla="*/ 2149 w 10000"/>
                <a:gd name="connsiteY117" fmla="*/ 3848 h 10000"/>
                <a:gd name="connsiteX118" fmla="*/ 1988 w 10000"/>
                <a:gd name="connsiteY118" fmla="*/ 3939 h 10000"/>
                <a:gd name="connsiteX119" fmla="*/ 1968 w 10000"/>
                <a:gd name="connsiteY119" fmla="*/ 3939 h 10000"/>
                <a:gd name="connsiteX120" fmla="*/ 1968 w 10000"/>
                <a:gd name="connsiteY120" fmla="*/ 3939 h 10000"/>
                <a:gd name="connsiteX121" fmla="*/ 1526 w 10000"/>
                <a:gd name="connsiteY121" fmla="*/ 3818 h 10000"/>
                <a:gd name="connsiteX122" fmla="*/ 863 w 10000"/>
                <a:gd name="connsiteY122" fmla="*/ 3788 h 10000"/>
                <a:gd name="connsiteX123" fmla="*/ 582 w 10000"/>
                <a:gd name="connsiteY123" fmla="*/ 4667 h 10000"/>
                <a:gd name="connsiteX124" fmla="*/ 562 w 10000"/>
                <a:gd name="connsiteY124" fmla="*/ 4697 h 10000"/>
                <a:gd name="connsiteX125" fmla="*/ 562 w 10000"/>
                <a:gd name="connsiteY125" fmla="*/ 4697 h 10000"/>
                <a:gd name="connsiteX126" fmla="*/ 0 w 10000"/>
                <a:gd name="connsiteY126" fmla="*/ 5667 h 10000"/>
                <a:gd name="connsiteX127" fmla="*/ 241 w 10000"/>
                <a:gd name="connsiteY127" fmla="*/ 6030 h 10000"/>
                <a:gd name="connsiteX128" fmla="*/ 241 w 10000"/>
                <a:gd name="connsiteY128" fmla="*/ 6061 h 10000"/>
                <a:gd name="connsiteX129" fmla="*/ 241 w 10000"/>
                <a:gd name="connsiteY129" fmla="*/ 6091 h 10000"/>
                <a:gd name="connsiteX130" fmla="*/ 241 w 10000"/>
                <a:gd name="connsiteY130" fmla="*/ 7424 h 10000"/>
                <a:gd name="connsiteX131" fmla="*/ 823 w 10000"/>
                <a:gd name="connsiteY131" fmla="*/ 7424 h 10000"/>
                <a:gd name="connsiteX132" fmla="*/ 863 w 10000"/>
                <a:gd name="connsiteY132" fmla="*/ 7424 h 10000"/>
                <a:gd name="connsiteX133" fmla="*/ 863 w 10000"/>
                <a:gd name="connsiteY133" fmla="*/ 7455 h 10000"/>
                <a:gd name="connsiteX134" fmla="*/ 1165 w 10000"/>
                <a:gd name="connsiteY134" fmla="*/ 8091 h 10000"/>
                <a:gd name="connsiteX135" fmla="*/ 1707 w 10000"/>
                <a:gd name="connsiteY135" fmla="*/ 8091 h 10000"/>
                <a:gd name="connsiteX136" fmla="*/ 1727 w 10000"/>
                <a:gd name="connsiteY136" fmla="*/ 8091 h 10000"/>
                <a:gd name="connsiteX137" fmla="*/ 1747 w 10000"/>
                <a:gd name="connsiteY137" fmla="*/ 8121 h 10000"/>
                <a:gd name="connsiteX138" fmla="*/ 1847 w 10000"/>
                <a:gd name="connsiteY138" fmla="*/ 8515 h 10000"/>
                <a:gd name="connsiteX139" fmla="*/ 2329 w 10000"/>
                <a:gd name="connsiteY139" fmla="*/ 8970 h 10000"/>
                <a:gd name="connsiteX140" fmla="*/ 3133 w 10000"/>
                <a:gd name="connsiteY140" fmla="*/ 8909 h 10000"/>
                <a:gd name="connsiteX141" fmla="*/ 3133 w 10000"/>
                <a:gd name="connsiteY141" fmla="*/ 8909 h 10000"/>
                <a:gd name="connsiteX142" fmla="*/ 3353 w 10000"/>
                <a:gd name="connsiteY142" fmla="*/ 8788 h 10000"/>
                <a:gd name="connsiteX0" fmla="*/ 3353 w 10000"/>
                <a:gd name="connsiteY0" fmla="*/ 8788 h 10000"/>
                <a:gd name="connsiteX1" fmla="*/ 3739 w 10000"/>
                <a:gd name="connsiteY1" fmla="*/ 9064 h 10000"/>
                <a:gd name="connsiteX2" fmla="*/ 3624 w 10000"/>
                <a:gd name="connsiteY2" fmla="*/ 8702 h 10000"/>
                <a:gd name="connsiteX3" fmla="*/ 3771 w 10000"/>
                <a:gd name="connsiteY3" fmla="*/ 8518 h 10000"/>
                <a:gd name="connsiteX4" fmla="*/ 3976 w 10000"/>
                <a:gd name="connsiteY4" fmla="*/ 8242 h 10000"/>
                <a:gd name="connsiteX5" fmla="*/ 3996 w 10000"/>
                <a:gd name="connsiteY5" fmla="*/ 8242 h 10000"/>
                <a:gd name="connsiteX6" fmla="*/ 4016 w 10000"/>
                <a:gd name="connsiteY6" fmla="*/ 8273 h 10000"/>
                <a:gd name="connsiteX7" fmla="*/ 4378 w 10000"/>
                <a:gd name="connsiteY7" fmla="*/ 9061 h 10000"/>
                <a:gd name="connsiteX8" fmla="*/ 4940 w 10000"/>
                <a:gd name="connsiteY8" fmla="*/ 9182 h 10000"/>
                <a:gd name="connsiteX9" fmla="*/ 4960 w 10000"/>
                <a:gd name="connsiteY9" fmla="*/ 9182 h 10000"/>
                <a:gd name="connsiteX10" fmla="*/ 4980 w 10000"/>
                <a:gd name="connsiteY10" fmla="*/ 9212 h 10000"/>
                <a:gd name="connsiteX11" fmla="*/ 5060 w 10000"/>
                <a:gd name="connsiteY11" fmla="*/ 9818 h 10000"/>
                <a:gd name="connsiteX12" fmla="*/ 5221 w 10000"/>
                <a:gd name="connsiteY12" fmla="*/ 9818 h 10000"/>
                <a:gd name="connsiteX13" fmla="*/ 5221 w 10000"/>
                <a:gd name="connsiteY13" fmla="*/ 9727 h 10000"/>
                <a:gd name="connsiteX14" fmla="*/ 5241 w 10000"/>
                <a:gd name="connsiteY14" fmla="*/ 9636 h 10000"/>
                <a:gd name="connsiteX15" fmla="*/ 5281 w 10000"/>
                <a:gd name="connsiteY15" fmla="*/ 9667 h 10000"/>
                <a:gd name="connsiteX16" fmla="*/ 5522 w 10000"/>
                <a:gd name="connsiteY16" fmla="*/ 9758 h 10000"/>
                <a:gd name="connsiteX17" fmla="*/ 5542 w 10000"/>
                <a:gd name="connsiteY17" fmla="*/ 9758 h 10000"/>
                <a:gd name="connsiteX18" fmla="*/ 5542 w 10000"/>
                <a:gd name="connsiteY18" fmla="*/ 9758 h 10000"/>
                <a:gd name="connsiteX19" fmla="*/ 5743 w 10000"/>
                <a:gd name="connsiteY19" fmla="*/ 10000 h 10000"/>
                <a:gd name="connsiteX20" fmla="*/ 6084 w 10000"/>
                <a:gd name="connsiteY20" fmla="*/ 10000 h 10000"/>
                <a:gd name="connsiteX21" fmla="*/ 6500 w 10000"/>
                <a:gd name="connsiteY21" fmla="*/ 9635 h 10000"/>
                <a:gd name="connsiteX22" fmla="*/ 6502 w 10000"/>
                <a:gd name="connsiteY22" fmla="*/ 9472 h 10000"/>
                <a:gd name="connsiteX23" fmla="*/ 6515 w 10000"/>
                <a:gd name="connsiteY23" fmla="*/ 9240 h 10000"/>
                <a:gd name="connsiteX24" fmla="*/ 6535 w 10000"/>
                <a:gd name="connsiteY24" fmla="*/ 9049 h 10000"/>
                <a:gd name="connsiteX25" fmla="*/ 6727 w 10000"/>
                <a:gd name="connsiteY25" fmla="*/ 8667 h 10000"/>
                <a:gd name="connsiteX26" fmla="*/ 7269 w 10000"/>
                <a:gd name="connsiteY26" fmla="*/ 8061 h 10000"/>
                <a:gd name="connsiteX27" fmla="*/ 7289 w 10000"/>
                <a:gd name="connsiteY27" fmla="*/ 8061 h 10000"/>
                <a:gd name="connsiteX28" fmla="*/ 7309 w 10000"/>
                <a:gd name="connsiteY28" fmla="*/ 8061 h 10000"/>
                <a:gd name="connsiteX29" fmla="*/ 7550 w 10000"/>
                <a:gd name="connsiteY29" fmla="*/ 8152 h 10000"/>
                <a:gd name="connsiteX30" fmla="*/ 7570 w 10000"/>
                <a:gd name="connsiteY30" fmla="*/ 8152 h 10000"/>
                <a:gd name="connsiteX31" fmla="*/ 7590 w 10000"/>
                <a:gd name="connsiteY31" fmla="*/ 8212 h 10000"/>
                <a:gd name="connsiteX32" fmla="*/ 7631 w 10000"/>
                <a:gd name="connsiteY32" fmla="*/ 8939 h 10000"/>
                <a:gd name="connsiteX33" fmla="*/ 7932 w 10000"/>
                <a:gd name="connsiteY33" fmla="*/ 8970 h 10000"/>
                <a:gd name="connsiteX34" fmla="*/ 8173 w 10000"/>
                <a:gd name="connsiteY34" fmla="*/ 8485 h 10000"/>
                <a:gd name="connsiteX35" fmla="*/ 8173 w 10000"/>
                <a:gd name="connsiteY35" fmla="*/ 8485 h 10000"/>
                <a:gd name="connsiteX36" fmla="*/ 8193 w 10000"/>
                <a:gd name="connsiteY36" fmla="*/ 8485 h 10000"/>
                <a:gd name="connsiteX37" fmla="*/ 8534 w 10000"/>
                <a:gd name="connsiteY37" fmla="*/ 8152 h 10000"/>
                <a:gd name="connsiteX38" fmla="*/ 8635 w 10000"/>
                <a:gd name="connsiteY38" fmla="*/ 7667 h 10000"/>
                <a:gd name="connsiteX39" fmla="*/ 8655 w 10000"/>
                <a:gd name="connsiteY39" fmla="*/ 7606 h 10000"/>
                <a:gd name="connsiteX40" fmla="*/ 8675 w 10000"/>
                <a:gd name="connsiteY40" fmla="*/ 7606 h 10000"/>
                <a:gd name="connsiteX41" fmla="*/ 9036 w 10000"/>
                <a:gd name="connsiteY41" fmla="*/ 7545 h 10000"/>
                <a:gd name="connsiteX42" fmla="*/ 9177 w 10000"/>
                <a:gd name="connsiteY42" fmla="*/ 7182 h 10000"/>
                <a:gd name="connsiteX43" fmla="*/ 9177 w 10000"/>
                <a:gd name="connsiteY43" fmla="*/ 7152 h 10000"/>
                <a:gd name="connsiteX44" fmla="*/ 9177 w 10000"/>
                <a:gd name="connsiteY44" fmla="*/ 7152 h 10000"/>
                <a:gd name="connsiteX45" fmla="*/ 9458 w 10000"/>
                <a:gd name="connsiteY45" fmla="*/ 6909 h 10000"/>
                <a:gd name="connsiteX46" fmla="*/ 9458 w 10000"/>
                <a:gd name="connsiteY46" fmla="*/ 6909 h 10000"/>
                <a:gd name="connsiteX47" fmla="*/ 9458 w 10000"/>
                <a:gd name="connsiteY47" fmla="*/ 6909 h 10000"/>
                <a:gd name="connsiteX48" fmla="*/ 9699 w 10000"/>
                <a:gd name="connsiteY48" fmla="*/ 6848 h 10000"/>
                <a:gd name="connsiteX49" fmla="*/ 9859 w 10000"/>
                <a:gd name="connsiteY49" fmla="*/ 6727 h 10000"/>
                <a:gd name="connsiteX50" fmla="*/ 9839 w 10000"/>
                <a:gd name="connsiteY50" fmla="*/ 6667 h 10000"/>
                <a:gd name="connsiteX51" fmla="*/ 9819 w 10000"/>
                <a:gd name="connsiteY51" fmla="*/ 6667 h 10000"/>
                <a:gd name="connsiteX52" fmla="*/ 9819 w 10000"/>
                <a:gd name="connsiteY52" fmla="*/ 6667 h 10000"/>
                <a:gd name="connsiteX53" fmla="*/ 9779 w 10000"/>
                <a:gd name="connsiteY53" fmla="*/ 6424 h 10000"/>
                <a:gd name="connsiteX54" fmla="*/ 9598 w 10000"/>
                <a:gd name="connsiteY54" fmla="*/ 6394 h 10000"/>
                <a:gd name="connsiteX55" fmla="*/ 9538 w 10000"/>
                <a:gd name="connsiteY55" fmla="*/ 6364 h 10000"/>
                <a:gd name="connsiteX56" fmla="*/ 9578 w 10000"/>
                <a:gd name="connsiteY56" fmla="*/ 6303 h 10000"/>
                <a:gd name="connsiteX57" fmla="*/ 9859 w 10000"/>
                <a:gd name="connsiteY57" fmla="*/ 5545 h 10000"/>
                <a:gd name="connsiteX58" fmla="*/ 9880 w 10000"/>
                <a:gd name="connsiteY58" fmla="*/ 5545 h 10000"/>
                <a:gd name="connsiteX59" fmla="*/ 9880 w 10000"/>
                <a:gd name="connsiteY59" fmla="*/ 5515 h 10000"/>
                <a:gd name="connsiteX60" fmla="*/ 10000 w 10000"/>
                <a:gd name="connsiteY60" fmla="*/ 5424 h 10000"/>
                <a:gd name="connsiteX61" fmla="*/ 9799 w 10000"/>
                <a:gd name="connsiteY61" fmla="*/ 5061 h 10000"/>
                <a:gd name="connsiteX62" fmla="*/ 9779 w 10000"/>
                <a:gd name="connsiteY62" fmla="*/ 5030 h 10000"/>
                <a:gd name="connsiteX63" fmla="*/ 9779 w 10000"/>
                <a:gd name="connsiteY63" fmla="*/ 5030 h 10000"/>
                <a:gd name="connsiteX64" fmla="*/ 9759 w 10000"/>
                <a:gd name="connsiteY64" fmla="*/ 4727 h 10000"/>
                <a:gd name="connsiteX65" fmla="*/ 9759 w 10000"/>
                <a:gd name="connsiteY65" fmla="*/ 4727 h 10000"/>
                <a:gd name="connsiteX66" fmla="*/ 9759 w 10000"/>
                <a:gd name="connsiteY66" fmla="*/ 4697 h 10000"/>
                <a:gd name="connsiteX67" fmla="*/ 9920 w 10000"/>
                <a:gd name="connsiteY67" fmla="*/ 4303 h 10000"/>
                <a:gd name="connsiteX68" fmla="*/ 9920 w 10000"/>
                <a:gd name="connsiteY68" fmla="*/ 3333 h 10000"/>
                <a:gd name="connsiteX69" fmla="*/ 9719 w 10000"/>
                <a:gd name="connsiteY69" fmla="*/ 2606 h 10000"/>
                <a:gd name="connsiteX70" fmla="*/ 9679 w 10000"/>
                <a:gd name="connsiteY70" fmla="*/ 2455 h 10000"/>
                <a:gd name="connsiteX71" fmla="*/ 9257 w 10000"/>
                <a:gd name="connsiteY71" fmla="*/ 2394 h 10000"/>
                <a:gd name="connsiteX72" fmla="*/ 9177 w 10000"/>
                <a:gd name="connsiteY72" fmla="*/ 2394 h 10000"/>
                <a:gd name="connsiteX73" fmla="*/ 9177 w 10000"/>
                <a:gd name="connsiteY73" fmla="*/ 2394 h 10000"/>
                <a:gd name="connsiteX74" fmla="*/ 9177 w 10000"/>
                <a:gd name="connsiteY74" fmla="*/ 2394 h 10000"/>
                <a:gd name="connsiteX75" fmla="*/ 9177 w 10000"/>
                <a:gd name="connsiteY75" fmla="*/ 2394 h 10000"/>
                <a:gd name="connsiteX76" fmla="*/ 9177 w 10000"/>
                <a:gd name="connsiteY76" fmla="*/ 2394 h 10000"/>
                <a:gd name="connsiteX77" fmla="*/ 8815 w 10000"/>
                <a:gd name="connsiteY77" fmla="*/ 2242 h 10000"/>
                <a:gd name="connsiteX78" fmla="*/ 8635 w 10000"/>
                <a:gd name="connsiteY78" fmla="*/ 2212 h 10000"/>
                <a:gd name="connsiteX79" fmla="*/ 8614 w 10000"/>
                <a:gd name="connsiteY79" fmla="*/ 2212 h 10000"/>
                <a:gd name="connsiteX80" fmla="*/ 8614 w 10000"/>
                <a:gd name="connsiteY80" fmla="*/ 2182 h 10000"/>
                <a:gd name="connsiteX81" fmla="*/ 8434 w 10000"/>
                <a:gd name="connsiteY81" fmla="*/ 1667 h 10000"/>
                <a:gd name="connsiteX82" fmla="*/ 8032 w 10000"/>
                <a:gd name="connsiteY82" fmla="*/ 1788 h 10000"/>
                <a:gd name="connsiteX83" fmla="*/ 7510 w 10000"/>
                <a:gd name="connsiteY83" fmla="*/ 1970 h 10000"/>
                <a:gd name="connsiteX84" fmla="*/ 7490 w 10000"/>
                <a:gd name="connsiteY84" fmla="*/ 1970 h 10000"/>
                <a:gd name="connsiteX85" fmla="*/ 7470 w 10000"/>
                <a:gd name="connsiteY85" fmla="*/ 1939 h 10000"/>
                <a:gd name="connsiteX86" fmla="*/ 7229 w 10000"/>
                <a:gd name="connsiteY86" fmla="*/ 1364 h 10000"/>
                <a:gd name="connsiteX87" fmla="*/ 6948 w 10000"/>
                <a:gd name="connsiteY87" fmla="*/ 1000 h 10000"/>
                <a:gd name="connsiteX88" fmla="*/ 6466 w 10000"/>
                <a:gd name="connsiteY88" fmla="*/ 939 h 10000"/>
                <a:gd name="connsiteX89" fmla="*/ 5944 w 10000"/>
                <a:gd name="connsiteY89" fmla="*/ 818 h 10000"/>
                <a:gd name="connsiteX90" fmla="*/ 5743 w 10000"/>
                <a:gd name="connsiteY90" fmla="*/ 1182 h 10000"/>
                <a:gd name="connsiteX91" fmla="*/ 5703 w 10000"/>
                <a:gd name="connsiteY91" fmla="*/ 1212 h 10000"/>
                <a:gd name="connsiteX92" fmla="*/ 5683 w 10000"/>
                <a:gd name="connsiteY92" fmla="*/ 1152 h 10000"/>
                <a:gd name="connsiteX93" fmla="*/ 5402 w 10000"/>
                <a:gd name="connsiteY93" fmla="*/ 667 h 10000"/>
                <a:gd name="connsiteX94" fmla="*/ 5181 w 10000"/>
                <a:gd name="connsiteY94" fmla="*/ 515 h 10000"/>
                <a:gd name="connsiteX95" fmla="*/ 5161 w 10000"/>
                <a:gd name="connsiteY95" fmla="*/ 515 h 10000"/>
                <a:gd name="connsiteX96" fmla="*/ 5161 w 10000"/>
                <a:gd name="connsiteY96" fmla="*/ 485 h 10000"/>
                <a:gd name="connsiteX97" fmla="*/ 5120 w 10000"/>
                <a:gd name="connsiteY97" fmla="*/ 121 h 10000"/>
                <a:gd name="connsiteX98" fmla="*/ 4819 w 10000"/>
                <a:gd name="connsiteY98" fmla="*/ 0 h 10000"/>
                <a:gd name="connsiteX99" fmla="*/ 4578 w 10000"/>
                <a:gd name="connsiteY99" fmla="*/ 303 h 10000"/>
                <a:gd name="connsiteX100" fmla="*/ 4558 w 10000"/>
                <a:gd name="connsiteY100" fmla="*/ 333 h 10000"/>
                <a:gd name="connsiteX101" fmla="*/ 4538 w 10000"/>
                <a:gd name="connsiteY101" fmla="*/ 333 h 10000"/>
                <a:gd name="connsiteX102" fmla="*/ 4257 w 10000"/>
                <a:gd name="connsiteY102" fmla="*/ 182 h 10000"/>
                <a:gd name="connsiteX103" fmla="*/ 3896 w 10000"/>
                <a:gd name="connsiteY103" fmla="*/ 333 h 10000"/>
                <a:gd name="connsiteX104" fmla="*/ 3594 w 10000"/>
                <a:gd name="connsiteY104" fmla="*/ 818 h 10000"/>
                <a:gd name="connsiteX105" fmla="*/ 3916 w 10000"/>
                <a:gd name="connsiteY105" fmla="*/ 1758 h 10000"/>
                <a:gd name="connsiteX106" fmla="*/ 3916 w 10000"/>
                <a:gd name="connsiteY106" fmla="*/ 1788 h 10000"/>
                <a:gd name="connsiteX107" fmla="*/ 3916 w 10000"/>
                <a:gd name="connsiteY107" fmla="*/ 1788 h 10000"/>
                <a:gd name="connsiteX108" fmla="*/ 3916 w 10000"/>
                <a:gd name="connsiteY108" fmla="*/ 2333 h 10000"/>
                <a:gd name="connsiteX109" fmla="*/ 3916 w 10000"/>
                <a:gd name="connsiteY109" fmla="*/ 2364 h 10000"/>
                <a:gd name="connsiteX110" fmla="*/ 3896 w 10000"/>
                <a:gd name="connsiteY110" fmla="*/ 2364 h 10000"/>
                <a:gd name="connsiteX111" fmla="*/ 2751 w 10000"/>
                <a:gd name="connsiteY111" fmla="*/ 3758 h 10000"/>
                <a:gd name="connsiteX112" fmla="*/ 2731 w 10000"/>
                <a:gd name="connsiteY112" fmla="*/ 3788 h 10000"/>
                <a:gd name="connsiteX113" fmla="*/ 2711 w 10000"/>
                <a:gd name="connsiteY113" fmla="*/ 3758 h 10000"/>
                <a:gd name="connsiteX114" fmla="*/ 2470 w 10000"/>
                <a:gd name="connsiteY114" fmla="*/ 3293 h 10000"/>
                <a:gd name="connsiteX115" fmla="*/ 2189 w 10000"/>
                <a:gd name="connsiteY115" fmla="*/ 3818 h 10000"/>
                <a:gd name="connsiteX116" fmla="*/ 2169 w 10000"/>
                <a:gd name="connsiteY116" fmla="*/ 3818 h 10000"/>
                <a:gd name="connsiteX117" fmla="*/ 2149 w 10000"/>
                <a:gd name="connsiteY117" fmla="*/ 3848 h 10000"/>
                <a:gd name="connsiteX118" fmla="*/ 1988 w 10000"/>
                <a:gd name="connsiteY118" fmla="*/ 3939 h 10000"/>
                <a:gd name="connsiteX119" fmla="*/ 1968 w 10000"/>
                <a:gd name="connsiteY119" fmla="*/ 3939 h 10000"/>
                <a:gd name="connsiteX120" fmla="*/ 1968 w 10000"/>
                <a:gd name="connsiteY120" fmla="*/ 3939 h 10000"/>
                <a:gd name="connsiteX121" fmla="*/ 1526 w 10000"/>
                <a:gd name="connsiteY121" fmla="*/ 3818 h 10000"/>
                <a:gd name="connsiteX122" fmla="*/ 863 w 10000"/>
                <a:gd name="connsiteY122" fmla="*/ 3788 h 10000"/>
                <a:gd name="connsiteX123" fmla="*/ 582 w 10000"/>
                <a:gd name="connsiteY123" fmla="*/ 4667 h 10000"/>
                <a:gd name="connsiteX124" fmla="*/ 562 w 10000"/>
                <a:gd name="connsiteY124" fmla="*/ 4697 h 10000"/>
                <a:gd name="connsiteX125" fmla="*/ 562 w 10000"/>
                <a:gd name="connsiteY125" fmla="*/ 4697 h 10000"/>
                <a:gd name="connsiteX126" fmla="*/ 0 w 10000"/>
                <a:gd name="connsiteY126" fmla="*/ 5667 h 10000"/>
                <a:gd name="connsiteX127" fmla="*/ 241 w 10000"/>
                <a:gd name="connsiteY127" fmla="*/ 6030 h 10000"/>
                <a:gd name="connsiteX128" fmla="*/ 241 w 10000"/>
                <a:gd name="connsiteY128" fmla="*/ 6061 h 10000"/>
                <a:gd name="connsiteX129" fmla="*/ 241 w 10000"/>
                <a:gd name="connsiteY129" fmla="*/ 6091 h 10000"/>
                <a:gd name="connsiteX130" fmla="*/ 241 w 10000"/>
                <a:gd name="connsiteY130" fmla="*/ 7424 h 10000"/>
                <a:gd name="connsiteX131" fmla="*/ 823 w 10000"/>
                <a:gd name="connsiteY131" fmla="*/ 7424 h 10000"/>
                <a:gd name="connsiteX132" fmla="*/ 863 w 10000"/>
                <a:gd name="connsiteY132" fmla="*/ 7424 h 10000"/>
                <a:gd name="connsiteX133" fmla="*/ 863 w 10000"/>
                <a:gd name="connsiteY133" fmla="*/ 7455 h 10000"/>
                <a:gd name="connsiteX134" fmla="*/ 1165 w 10000"/>
                <a:gd name="connsiteY134" fmla="*/ 8091 h 10000"/>
                <a:gd name="connsiteX135" fmla="*/ 1707 w 10000"/>
                <a:gd name="connsiteY135" fmla="*/ 8091 h 10000"/>
                <a:gd name="connsiteX136" fmla="*/ 1727 w 10000"/>
                <a:gd name="connsiteY136" fmla="*/ 8091 h 10000"/>
                <a:gd name="connsiteX137" fmla="*/ 1747 w 10000"/>
                <a:gd name="connsiteY137" fmla="*/ 8121 h 10000"/>
                <a:gd name="connsiteX138" fmla="*/ 1847 w 10000"/>
                <a:gd name="connsiteY138" fmla="*/ 8515 h 10000"/>
                <a:gd name="connsiteX139" fmla="*/ 2329 w 10000"/>
                <a:gd name="connsiteY139" fmla="*/ 8970 h 10000"/>
                <a:gd name="connsiteX140" fmla="*/ 3133 w 10000"/>
                <a:gd name="connsiteY140" fmla="*/ 8909 h 10000"/>
                <a:gd name="connsiteX141" fmla="*/ 3133 w 10000"/>
                <a:gd name="connsiteY141" fmla="*/ 8909 h 10000"/>
                <a:gd name="connsiteX142" fmla="*/ 3353 w 10000"/>
                <a:gd name="connsiteY142" fmla="*/ 8788 h 10000"/>
                <a:gd name="connsiteX0" fmla="*/ 3353 w 10000"/>
                <a:gd name="connsiteY0" fmla="*/ 8788 h 10000"/>
                <a:gd name="connsiteX1" fmla="*/ 3502 w 10000"/>
                <a:gd name="connsiteY1" fmla="*/ 8763 h 10000"/>
                <a:gd name="connsiteX2" fmla="*/ 3624 w 10000"/>
                <a:gd name="connsiteY2" fmla="*/ 8702 h 10000"/>
                <a:gd name="connsiteX3" fmla="*/ 3771 w 10000"/>
                <a:gd name="connsiteY3" fmla="*/ 8518 h 10000"/>
                <a:gd name="connsiteX4" fmla="*/ 3976 w 10000"/>
                <a:gd name="connsiteY4" fmla="*/ 8242 h 10000"/>
                <a:gd name="connsiteX5" fmla="*/ 3996 w 10000"/>
                <a:gd name="connsiteY5" fmla="*/ 8242 h 10000"/>
                <a:gd name="connsiteX6" fmla="*/ 4016 w 10000"/>
                <a:gd name="connsiteY6" fmla="*/ 8273 h 10000"/>
                <a:gd name="connsiteX7" fmla="*/ 4378 w 10000"/>
                <a:gd name="connsiteY7" fmla="*/ 9061 h 10000"/>
                <a:gd name="connsiteX8" fmla="*/ 4940 w 10000"/>
                <a:gd name="connsiteY8" fmla="*/ 9182 h 10000"/>
                <a:gd name="connsiteX9" fmla="*/ 4960 w 10000"/>
                <a:gd name="connsiteY9" fmla="*/ 9182 h 10000"/>
                <a:gd name="connsiteX10" fmla="*/ 4980 w 10000"/>
                <a:gd name="connsiteY10" fmla="*/ 9212 h 10000"/>
                <a:gd name="connsiteX11" fmla="*/ 5060 w 10000"/>
                <a:gd name="connsiteY11" fmla="*/ 9818 h 10000"/>
                <a:gd name="connsiteX12" fmla="*/ 5221 w 10000"/>
                <a:gd name="connsiteY12" fmla="*/ 9818 h 10000"/>
                <a:gd name="connsiteX13" fmla="*/ 5221 w 10000"/>
                <a:gd name="connsiteY13" fmla="*/ 9727 h 10000"/>
                <a:gd name="connsiteX14" fmla="*/ 5241 w 10000"/>
                <a:gd name="connsiteY14" fmla="*/ 9636 h 10000"/>
                <a:gd name="connsiteX15" fmla="*/ 5281 w 10000"/>
                <a:gd name="connsiteY15" fmla="*/ 9667 h 10000"/>
                <a:gd name="connsiteX16" fmla="*/ 5522 w 10000"/>
                <a:gd name="connsiteY16" fmla="*/ 9758 h 10000"/>
                <a:gd name="connsiteX17" fmla="*/ 5542 w 10000"/>
                <a:gd name="connsiteY17" fmla="*/ 9758 h 10000"/>
                <a:gd name="connsiteX18" fmla="*/ 5542 w 10000"/>
                <a:gd name="connsiteY18" fmla="*/ 9758 h 10000"/>
                <a:gd name="connsiteX19" fmla="*/ 5743 w 10000"/>
                <a:gd name="connsiteY19" fmla="*/ 10000 h 10000"/>
                <a:gd name="connsiteX20" fmla="*/ 6084 w 10000"/>
                <a:gd name="connsiteY20" fmla="*/ 10000 h 10000"/>
                <a:gd name="connsiteX21" fmla="*/ 6500 w 10000"/>
                <a:gd name="connsiteY21" fmla="*/ 9635 h 10000"/>
                <a:gd name="connsiteX22" fmla="*/ 6502 w 10000"/>
                <a:gd name="connsiteY22" fmla="*/ 9472 h 10000"/>
                <a:gd name="connsiteX23" fmla="*/ 6515 w 10000"/>
                <a:gd name="connsiteY23" fmla="*/ 9240 h 10000"/>
                <a:gd name="connsiteX24" fmla="*/ 6535 w 10000"/>
                <a:gd name="connsiteY24" fmla="*/ 9049 h 10000"/>
                <a:gd name="connsiteX25" fmla="*/ 6727 w 10000"/>
                <a:gd name="connsiteY25" fmla="*/ 8667 h 10000"/>
                <a:gd name="connsiteX26" fmla="*/ 7269 w 10000"/>
                <a:gd name="connsiteY26" fmla="*/ 8061 h 10000"/>
                <a:gd name="connsiteX27" fmla="*/ 7289 w 10000"/>
                <a:gd name="connsiteY27" fmla="*/ 8061 h 10000"/>
                <a:gd name="connsiteX28" fmla="*/ 7309 w 10000"/>
                <a:gd name="connsiteY28" fmla="*/ 8061 h 10000"/>
                <a:gd name="connsiteX29" fmla="*/ 7550 w 10000"/>
                <a:gd name="connsiteY29" fmla="*/ 8152 h 10000"/>
                <a:gd name="connsiteX30" fmla="*/ 7570 w 10000"/>
                <a:gd name="connsiteY30" fmla="*/ 8152 h 10000"/>
                <a:gd name="connsiteX31" fmla="*/ 7590 w 10000"/>
                <a:gd name="connsiteY31" fmla="*/ 8212 h 10000"/>
                <a:gd name="connsiteX32" fmla="*/ 7631 w 10000"/>
                <a:gd name="connsiteY32" fmla="*/ 8939 h 10000"/>
                <a:gd name="connsiteX33" fmla="*/ 7932 w 10000"/>
                <a:gd name="connsiteY33" fmla="*/ 8970 h 10000"/>
                <a:gd name="connsiteX34" fmla="*/ 8173 w 10000"/>
                <a:gd name="connsiteY34" fmla="*/ 8485 h 10000"/>
                <a:gd name="connsiteX35" fmla="*/ 8173 w 10000"/>
                <a:gd name="connsiteY35" fmla="*/ 8485 h 10000"/>
                <a:gd name="connsiteX36" fmla="*/ 8193 w 10000"/>
                <a:gd name="connsiteY36" fmla="*/ 8485 h 10000"/>
                <a:gd name="connsiteX37" fmla="*/ 8534 w 10000"/>
                <a:gd name="connsiteY37" fmla="*/ 8152 h 10000"/>
                <a:gd name="connsiteX38" fmla="*/ 8635 w 10000"/>
                <a:gd name="connsiteY38" fmla="*/ 7667 h 10000"/>
                <a:gd name="connsiteX39" fmla="*/ 8655 w 10000"/>
                <a:gd name="connsiteY39" fmla="*/ 7606 h 10000"/>
                <a:gd name="connsiteX40" fmla="*/ 8675 w 10000"/>
                <a:gd name="connsiteY40" fmla="*/ 7606 h 10000"/>
                <a:gd name="connsiteX41" fmla="*/ 9036 w 10000"/>
                <a:gd name="connsiteY41" fmla="*/ 7545 h 10000"/>
                <a:gd name="connsiteX42" fmla="*/ 9177 w 10000"/>
                <a:gd name="connsiteY42" fmla="*/ 7182 h 10000"/>
                <a:gd name="connsiteX43" fmla="*/ 9177 w 10000"/>
                <a:gd name="connsiteY43" fmla="*/ 7152 h 10000"/>
                <a:gd name="connsiteX44" fmla="*/ 9177 w 10000"/>
                <a:gd name="connsiteY44" fmla="*/ 7152 h 10000"/>
                <a:gd name="connsiteX45" fmla="*/ 9458 w 10000"/>
                <a:gd name="connsiteY45" fmla="*/ 6909 h 10000"/>
                <a:gd name="connsiteX46" fmla="*/ 9458 w 10000"/>
                <a:gd name="connsiteY46" fmla="*/ 6909 h 10000"/>
                <a:gd name="connsiteX47" fmla="*/ 9458 w 10000"/>
                <a:gd name="connsiteY47" fmla="*/ 6909 h 10000"/>
                <a:gd name="connsiteX48" fmla="*/ 9699 w 10000"/>
                <a:gd name="connsiteY48" fmla="*/ 6848 h 10000"/>
                <a:gd name="connsiteX49" fmla="*/ 9859 w 10000"/>
                <a:gd name="connsiteY49" fmla="*/ 6727 h 10000"/>
                <a:gd name="connsiteX50" fmla="*/ 9839 w 10000"/>
                <a:gd name="connsiteY50" fmla="*/ 6667 h 10000"/>
                <a:gd name="connsiteX51" fmla="*/ 9819 w 10000"/>
                <a:gd name="connsiteY51" fmla="*/ 6667 h 10000"/>
                <a:gd name="connsiteX52" fmla="*/ 9819 w 10000"/>
                <a:gd name="connsiteY52" fmla="*/ 6667 h 10000"/>
                <a:gd name="connsiteX53" fmla="*/ 9779 w 10000"/>
                <a:gd name="connsiteY53" fmla="*/ 6424 h 10000"/>
                <a:gd name="connsiteX54" fmla="*/ 9598 w 10000"/>
                <a:gd name="connsiteY54" fmla="*/ 6394 h 10000"/>
                <a:gd name="connsiteX55" fmla="*/ 9538 w 10000"/>
                <a:gd name="connsiteY55" fmla="*/ 6364 h 10000"/>
                <a:gd name="connsiteX56" fmla="*/ 9578 w 10000"/>
                <a:gd name="connsiteY56" fmla="*/ 6303 h 10000"/>
                <a:gd name="connsiteX57" fmla="*/ 9859 w 10000"/>
                <a:gd name="connsiteY57" fmla="*/ 5545 h 10000"/>
                <a:gd name="connsiteX58" fmla="*/ 9880 w 10000"/>
                <a:gd name="connsiteY58" fmla="*/ 5545 h 10000"/>
                <a:gd name="connsiteX59" fmla="*/ 9880 w 10000"/>
                <a:gd name="connsiteY59" fmla="*/ 5515 h 10000"/>
                <a:gd name="connsiteX60" fmla="*/ 10000 w 10000"/>
                <a:gd name="connsiteY60" fmla="*/ 5424 h 10000"/>
                <a:gd name="connsiteX61" fmla="*/ 9799 w 10000"/>
                <a:gd name="connsiteY61" fmla="*/ 5061 h 10000"/>
                <a:gd name="connsiteX62" fmla="*/ 9779 w 10000"/>
                <a:gd name="connsiteY62" fmla="*/ 5030 h 10000"/>
                <a:gd name="connsiteX63" fmla="*/ 9779 w 10000"/>
                <a:gd name="connsiteY63" fmla="*/ 5030 h 10000"/>
                <a:gd name="connsiteX64" fmla="*/ 9759 w 10000"/>
                <a:gd name="connsiteY64" fmla="*/ 4727 h 10000"/>
                <a:gd name="connsiteX65" fmla="*/ 9759 w 10000"/>
                <a:gd name="connsiteY65" fmla="*/ 4727 h 10000"/>
                <a:gd name="connsiteX66" fmla="*/ 9759 w 10000"/>
                <a:gd name="connsiteY66" fmla="*/ 4697 h 10000"/>
                <a:gd name="connsiteX67" fmla="*/ 9920 w 10000"/>
                <a:gd name="connsiteY67" fmla="*/ 4303 h 10000"/>
                <a:gd name="connsiteX68" fmla="*/ 9920 w 10000"/>
                <a:gd name="connsiteY68" fmla="*/ 3333 h 10000"/>
                <a:gd name="connsiteX69" fmla="*/ 9719 w 10000"/>
                <a:gd name="connsiteY69" fmla="*/ 2606 h 10000"/>
                <a:gd name="connsiteX70" fmla="*/ 9679 w 10000"/>
                <a:gd name="connsiteY70" fmla="*/ 2455 h 10000"/>
                <a:gd name="connsiteX71" fmla="*/ 9257 w 10000"/>
                <a:gd name="connsiteY71" fmla="*/ 2394 h 10000"/>
                <a:gd name="connsiteX72" fmla="*/ 9177 w 10000"/>
                <a:gd name="connsiteY72" fmla="*/ 2394 h 10000"/>
                <a:gd name="connsiteX73" fmla="*/ 9177 w 10000"/>
                <a:gd name="connsiteY73" fmla="*/ 2394 h 10000"/>
                <a:gd name="connsiteX74" fmla="*/ 9177 w 10000"/>
                <a:gd name="connsiteY74" fmla="*/ 2394 h 10000"/>
                <a:gd name="connsiteX75" fmla="*/ 9177 w 10000"/>
                <a:gd name="connsiteY75" fmla="*/ 2394 h 10000"/>
                <a:gd name="connsiteX76" fmla="*/ 9177 w 10000"/>
                <a:gd name="connsiteY76" fmla="*/ 2394 h 10000"/>
                <a:gd name="connsiteX77" fmla="*/ 8815 w 10000"/>
                <a:gd name="connsiteY77" fmla="*/ 2242 h 10000"/>
                <a:gd name="connsiteX78" fmla="*/ 8635 w 10000"/>
                <a:gd name="connsiteY78" fmla="*/ 2212 h 10000"/>
                <a:gd name="connsiteX79" fmla="*/ 8614 w 10000"/>
                <a:gd name="connsiteY79" fmla="*/ 2212 h 10000"/>
                <a:gd name="connsiteX80" fmla="*/ 8614 w 10000"/>
                <a:gd name="connsiteY80" fmla="*/ 2182 h 10000"/>
                <a:gd name="connsiteX81" fmla="*/ 8434 w 10000"/>
                <a:gd name="connsiteY81" fmla="*/ 1667 h 10000"/>
                <a:gd name="connsiteX82" fmla="*/ 8032 w 10000"/>
                <a:gd name="connsiteY82" fmla="*/ 1788 h 10000"/>
                <a:gd name="connsiteX83" fmla="*/ 7510 w 10000"/>
                <a:gd name="connsiteY83" fmla="*/ 1970 h 10000"/>
                <a:gd name="connsiteX84" fmla="*/ 7490 w 10000"/>
                <a:gd name="connsiteY84" fmla="*/ 1970 h 10000"/>
                <a:gd name="connsiteX85" fmla="*/ 7470 w 10000"/>
                <a:gd name="connsiteY85" fmla="*/ 1939 h 10000"/>
                <a:gd name="connsiteX86" fmla="*/ 7229 w 10000"/>
                <a:gd name="connsiteY86" fmla="*/ 1364 h 10000"/>
                <a:gd name="connsiteX87" fmla="*/ 6948 w 10000"/>
                <a:gd name="connsiteY87" fmla="*/ 1000 h 10000"/>
                <a:gd name="connsiteX88" fmla="*/ 6466 w 10000"/>
                <a:gd name="connsiteY88" fmla="*/ 939 h 10000"/>
                <a:gd name="connsiteX89" fmla="*/ 5944 w 10000"/>
                <a:gd name="connsiteY89" fmla="*/ 818 h 10000"/>
                <a:gd name="connsiteX90" fmla="*/ 5743 w 10000"/>
                <a:gd name="connsiteY90" fmla="*/ 1182 h 10000"/>
                <a:gd name="connsiteX91" fmla="*/ 5703 w 10000"/>
                <a:gd name="connsiteY91" fmla="*/ 1212 h 10000"/>
                <a:gd name="connsiteX92" fmla="*/ 5683 w 10000"/>
                <a:gd name="connsiteY92" fmla="*/ 1152 h 10000"/>
                <a:gd name="connsiteX93" fmla="*/ 5402 w 10000"/>
                <a:gd name="connsiteY93" fmla="*/ 667 h 10000"/>
                <a:gd name="connsiteX94" fmla="*/ 5181 w 10000"/>
                <a:gd name="connsiteY94" fmla="*/ 515 h 10000"/>
                <a:gd name="connsiteX95" fmla="*/ 5161 w 10000"/>
                <a:gd name="connsiteY95" fmla="*/ 515 h 10000"/>
                <a:gd name="connsiteX96" fmla="*/ 5161 w 10000"/>
                <a:gd name="connsiteY96" fmla="*/ 485 h 10000"/>
                <a:gd name="connsiteX97" fmla="*/ 5120 w 10000"/>
                <a:gd name="connsiteY97" fmla="*/ 121 h 10000"/>
                <a:gd name="connsiteX98" fmla="*/ 4819 w 10000"/>
                <a:gd name="connsiteY98" fmla="*/ 0 h 10000"/>
                <a:gd name="connsiteX99" fmla="*/ 4578 w 10000"/>
                <a:gd name="connsiteY99" fmla="*/ 303 h 10000"/>
                <a:gd name="connsiteX100" fmla="*/ 4558 w 10000"/>
                <a:gd name="connsiteY100" fmla="*/ 333 h 10000"/>
                <a:gd name="connsiteX101" fmla="*/ 4538 w 10000"/>
                <a:gd name="connsiteY101" fmla="*/ 333 h 10000"/>
                <a:gd name="connsiteX102" fmla="*/ 4257 w 10000"/>
                <a:gd name="connsiteY102" fmla="*/ 182 h 10000"/>
                <a:gd name="connsiteX103" fmla="*/ 3896 w 10000"/>
                <a:gd name="connsiteY103" fmla="*/ 333 h 10000"/>
                <a:gd name="connsiteX104" fmla="*/ 3594 w 10000"/>
                <a:gd name="connsiteY104" fmla="*/ 818 h 10000"/>
                <a:gd name="connsiteX105" fmla="*/ 3916 w 10000"/>
                <a:gd name="connsiteY105" fmla="*/ 1758 h 10000"/>
                <a:gd name="connsiteX106" fmla="*/ 3916 w 10000"/>
                <a:gd name="connsiteY106" fmla="*/ 1788 h 10000"/>
                <a:gd name="connsiteX107" fmla="*/ 3916 w 10000"/>
                <a:gd name="connsiteY107" fmla="*/ 1788 h 10000"/>
                <a:gd name="connsiteX108" fmla="*/ 3916 w 10000"/>
                <a:gd name="connsiteY108" fmla="*/ 2333 h 10000"/>
                <a:gd name="connsiteX109" fmla="*/ 3916 w 10000"/>
                <a:gd name="connsiteY109" fmla="*/ 2364 h 10000"/>
                <a:gd name="connsiteX110" fmla="*/ 3896 w 10000"/>
                <a:gd name="connsiteY110" fmla="*/ 2364 h 10000"/>
                <a:gd name="connsiteX111" fmla="*/ 2751 w 10000"/>
                <a:gd name="connsiteY111" fmla="*/ 3758 h 10000"/>
                <a:gd name="connsiteX112" fmla="*/ 2731 w 10000"/>
                <a:gd name="connsiteY112" fmla="*/ 3788 h 10000"/>
                <a:gd name="connsiteX113" fmla="*/ 2711 w 10000"/>
                <a:gd name="connsiteY113" fmla="*/ 3758 h 10000"/>
                <a:gd name="connsiteX114" fmla="*/ 2470 w 10000"/>
                <a:gd name="connsiteY114" fmla="*/ 3293 h 10000"/>
                <a:gd name="connsiteX115" fmla="*/ 2189 w 10000"/>
                <a:gd name="connsiteY115" fmla="*/ 3818 h 10000"/>
                <a:gd name="connsiteX116" fmla="*/ 2169 w 10000"/>
                <a:gd name="connsiteY116" fmla="*/ 3818 h 10000"/>
                <a:gd name="connsiteX117" fmla="*/ 2149 w 10000"/>
                <a:gd name="connsiteY117" fmla="*/ 3848 h 10000"/>
                <a:gd name="connsiteX118" fmla="*/ 1988 w 10000"/>
                <a:gd name="connsiteY118" fmla="*/ 3939 h 10000"/>
                <a:gd name="connsiteX119" fmla="*/ 1968 w 10000"/>
                <a:gd name="connsiteY119" fmla="*/ 3939 h 10000"/>
                <a:gd name="connsiteX120" fmla="*/ 1968 w 10000"/>
                <a:gd name="connsiteY120" fmla="*/ 3939 h 10000"/>
                <a:gd name="connsiteX121" fmla="*/ 1526 w 10000"/>
                <a:gd name="connsiteY121" fmla="*/ 3818 h 10000"/>
                <a:gd name="connsiteX122" fmla="*/ 863 w 10000"/>
                <a:gd name="connsiteY122" fmla="*/ 3788 h 10000"/>
                <a:gd name="connsiteX123" fmla="*/ 582 w 10000"/>
                <a:gd name="connsiteY123" fmla="*/ 4667 h 10000"/>
                <a:gd name="connsiteX124" fmla="*/ 562 w 10000"/>
                <a:gd name="connsiteY124" fmla="*/ 4697 h 10000"/>
                <a:gd name="connsiteX125" fmla="*/ 562 w 10000"/>
                <a:gd name="connsiteY125" fmla="*/ 4697 h 10000"/>
                <a:gd name="connsiteX126" fmla="*/ 0 w 10000"/>
                <a:gd name="connsiteY126" fmla="*/ 5667 h 10000"/>
                <a:gd name="connsiteX127" fmla="*/ 241 w 10000"/>
                <a:gd name="connsiteY127" fmla="*/ 6030 h 10000"/>
                <a:gd name="connsiteX128" fmla="*/ 241 w 10000"/>
                <a:gd name="connsiteY128" fmla="*/ 6061 h 10000"/>
                <a:gd name="connsiteX129" fmla="*/ 241 w 10000"/>
                <a:gd name="connsiteY129" fmla="*/ 6091 h 10000"/>
                <a:gd name="connsiteX130" fmla="*/ 241 w 10000"/>
                <a:gd name="connsiteY130" fmla="*/ 7424 h 10000"/>
                <a:gd name="connsiteX131" fmla="*/ 823 w 10000"/>
                <a:gd name="connsiteY131" fmla="*/ 7424 h 10000"/>
                <a:gd name="connsiteX132" fmla="*/ 863 w 10000"/>
                <a:gd name="connsiteY132" fmla="*/ 7424 h 10000"/>
                <a:gd name="connsiteX133" fmla="*/ 863 w 10000"/>
                <a:gd name="connsiteY133" fmla="*/ 7455 h 10000"/>
                <a:gd name="connsiteX134" fmla="*/ 1165 w 10000"/>
                <a:gd name="connsiteY134" fmla="*/ 8091 h 10000"/>
                <a:gd name="connsiteX135" fmla="*/ 1707 w 10000"/>
                <a:gd name="connsiteY135" fmla="*/ 8091 h 10000"/>
                <a:gd name="connsiteX136" fmla="*/ 1727 w 10000"/>
                <a:gd name="connsiteY136" fmla="*/ 8091 h 10000"/>
                <a:gd name="connsiteX137" fmla="*/ 1747 w 10000"/>
                <a:gd name="connsiteY137" fmla="*/ 8121 h 10000"/>
                <a:gd name="connsiteX138" fmla="*/ 1847 w 10000"/>
                <a:gd name="connsiteY138" fmla="*/ 8515 h 10000"/>
                <a:gd name="connsiteX139" fmla="*/ 2329 w 10000"/>
                <a:gd name="connsiteY139" fmla="*/ 8970 h 10000"/>
                <a:gd name="connsiteX140" fmla="*/ 3133 w 10000"/>
                <a:gd name="connsiteY140" fmla="*/ 8909 h 10000"/>
                <a:gd name="connsiteX141" fmla="*/ 3133 w 10000"/>
                <a:gd name="connsiteY141" fmla="*/ 8909 h 10000"/>
                <a:gd name="connsiteX142" fmla="*/ 3353 w 10000"/>
                <a:gd name="connsiteY142" fmla="*/ 8788 h 10000"/>
                <a:gd name="connsiteX0" fmla="*/ 3383 w 10000"/>
                <a:gd name="connsiteY0" fmla="*/ 9110 h 10000"/>
                <a:gd name="connsiteX1" fmla="*/ 3502 w 10000"/>
                <a:gd name="connsiteY1" fmla="*/ 8763 h 10000"/>
                <a:gd name="connsiteX2" fmla="*/ 3624 w 10000"/>
                <a:gd name="connsiteY2" fmla="*/ 8702 h 10000"/>
                <a:gd name="connsiteX3" fmla="*/ 3771 w 10000"/>
                <a:gd name="connsiteY3" fmla="*/ 8518 h 10000"/>
                <a:gd name="connsiteX4" fmla="*/ 3976 w 10000"/>
                <a:gd name="connsiteY4" fmla="*/ 8242 h 10000"/>
                <a:gd name="connsiteX5" fmla="*/ 3996 w 10000"/>
                <a:gd name="connsiteY5" fmla="*/ 8242 h 10000"/>
                <a:gd name="connsiteX6" fmla="*/ 4016 w 10000"/>
                <a:gd name="connsiteY6" fmla="*/ 8273 h 10000"/>
                <a:gd name="connsiteX7" fmla="*/ 4378 w 10000"/>
                <a:gd name="connsiteY7" fmla="*/ 9061 h 10000"/>
                <a:gd name="connsiteX8" fmla="*/ 4940 w 10000"/>
                <a:gd name="connsiteY8" fmla="*/ 9182 h 10000"/>
                <a:gd name="connsiteX9" fmla="*/ 4960 w 10000"/>
                <a:gd name="connsiteY9" fmla="*/ 9182 h 10000"/>
                <a:gd name="connsiteX10" fmla="*/ 4980 w 10000"/>
                <a:gd name="connsiteY10" fmla="*/ 9212 h 10000"/>
                <a:gd name="connsiteX11" fmla="*/ 5060 w 10000"/>
                <a:gd name="connsiteY11" fmla="*/ 9818 h 10000"/>
                <a:gd name="connsiteX12" fmla="*/ 5221 w 10000"/>
                <a:gd name="connsiteY12" fmla="*/ 9818 h 10000"/>
                <a:gd name="connsiteX13" fmla="*/ 5221 w 10000"/>
                <a:gd name="connsiteY13" fmla="*/ 9727 h 10000"/>
                <a:gd name="connsiteX14" fmla="*/ 5241 w 10000"/>
                <a:gd name="connsiteY14" fmla="*/ 9636 h 10000"/>
                <a:gd name="connsiteX15" fmla="*/ 5281 w 10000"/>
                <a:gd name="connsiteY15" fmla="*/ 9667 h 10000"/>
                <a:gd name="connsiteX16" fmla="*/ 5522 w 10000"/>
                <a:gd name="connsiteY16" fmla="*/ 9758 h 10000"/>
                <a:gd name="connsiteX17" fmla="*/ 5542 w 10000"/>
                <a:gd name="connsiteY17" fmla="*/ 9758 h 10000"/>
                <a:gd name="connsiteX18" fmla="*/ 5542 w 10000"/>
                <a:gd name="connsiteY18" fmla="*/ 9758 h 10000"/>
                <a:gd name="connsiteX19" fmla="*/ 5743 w 10000"/>
                <a:gd name="connsiteY19" fmla="*/ 10000 h 10000"/>
                <a:gd name="connsiteX20" fmla="*/ 6084 w 10000"/>
                <a:gd name="connsiteY20" fmla="*/ 10000 h 10000"/>
                <a:gd name="connsiteX21" fmla="*/ 6500 w 10000"/>
                <a:gd name="connsiteY21" fmla="*/ 9635 h 10000"/>
                <a:gd name="connsiteX22" fmla="*/ 6502 w 10000"/>
                <a:gd name="connsiteY22" fmla="*/ 9472 h 10000"/>
                <a:gd name="connsiteX23" fmla="*/ 6515 w 10000"/>
                <a:gd name="connsiteY23" fmla="*/ 9240 h 10000"/>
                <a:gd name="connsiteX24" fmla="*/ 6535 w 10000"/>
                <a:gd name="connsiteY24" fmla="*/ 9049 h 10000"/>
                <a:gd name="connsiteX25" fmla="*/ 6727 w 10000"/>
                <a:gd name="connsiteY25" fmla="*/ 8667 h 10000"/>
                <a:gd name="connsiteX26" fmla="*/ 7269 w 10000"/>
                <a:gd name="connsiteY26" fmla="*/ 8061 h 10000"/>
                <a:gd name="connsiteX27" fmla="*/ 7289 w 10000"/>
                <a:gd name="connsiteY27" fmla="*/ 8061 h 10000"/>
                <a:gd name="connsiteX28" fmla="*/ 7309 w 10000"/>
                <a:gd name="connsiteY28" fmla="*/ 8061 h 10000"/>
                <a:gd name="connsiteX29" fmla="*/ 7550 w 10000"/>
                <a:gd name="connsiteY29" fmla="*/ 8152 h 10000"/>
                <a:gd name="connsiteX30" fmla="*/ 7570 w 10000"/>
                <a:gd name="connsiteY30" fmla="*/ 8152 h 10000"/>
                <a:gd name="connsiteX31" fmla="*/ 7590 w 10000"/>
                <a:gd name="connsiteY31" fmla="*/ 8212 h 10000"/>
                <a:gd name="connsiteX32" fmla="*/ 7631 w 10000"/>
                <a:gd name="connsiteY32" fmla="*/ 8939 h 10000"/>
                <a:gd name="connsiteX33" fmla="*/ 7932 w 10000"/>
                <a:gd name="connsiteY33" fmla="*/ 8970 h 10000"/>
                <a:gd name="connsiteX34" fmla="*/ 8173 w 10000"/>
                <a:gd name="connsiteY34" fmla="*/ 8485 h 10000"/>
                <a:gd name="connsiteX35" fmla="*/ 8173 w 10000"/>
                <a:gd name="connsiteY35" fmla="*/ 8485 h 10000"/>
                <a:gd name="connsiteX36" fmla="*/ 8193 w 10000"/>
                <a:gd name="connsiteY36" fmla="*/ 8485 h 10000"/>
                <a:gd name="connsiteX37" fmla="*/ 8534 w 10000"/>
                <a:gd name="connsiteY37" fmla="*/ 8152 h 10000"/>
                <a:gd name="connsiteX38" fmla="*/ 8635 w 10000"/>
                <a:gd name="connsiteY38" fmla="*/ 7667 h 10000"/>
                <a:gd name="connsiteX39" fmla="*/ 8655 w 10000"/>
                <a:gd name="connsiteY39" fmla="*/ 7606 h 10000"/>
                <a:gd name="connsiteX40" fmla="*/ 8675 w 10000"/>
                <a:gd name="connsiteY40" fmla="*/ 7606 h 10000"/>
                <a:gd name="connsiteX41" fmla="*/ 9036 w 10000"/>
                <a:gd name="connsiteY41" fmla="*/ 7545 h 10000"/>
                <a:gd name="connsiteX42" fmla="*/ 9177 w 10000"/>
                <a:gd name="connsiteY42" fmla="*/ 7182 h 10000"/>
                <a:gd name="connsiteX43" fmla="*/ 9177 w 10000"/>
                <a:gd name="connsiteY43" fmla="*/ 7152 h 10000"/>
                <a:gd name="connsiteX44" fmla="*/ 9177 w 10000"/>
                <a:gd name="connsiteY44" fmla="*/ 7152 h 10000"/>
                <a:gd name="connsiteX45" fmla="*/ 9458 w 10000"/>
                <a:gd name="connsiteY45" fmla="*/ 6909 h 10000"/>
                <a:gd name="connsiteX46" fmla="*/ 9458 w 10000"/>
                <a:gd name="connsiteY46" fmla="*/ 6909 h 10000"/>
                <a:gd name="connsiteX47" fmla="*/ 9458 w 10000"/>
                <a:gd name="connsiteY47" fmla="*/ 6909 h 10000"/>
                <a:gd name="connsiteX48" fmla="*/ 9699 w 10000"/>
                <a:gd name="connsiteY48" fmla="*/ 6848 h 10000"/>
                <a:gd name="connsiteX49" fmla="*/ 9859 w 10000"/>
                <a:gd name="connsiteY49" fmla="*/ 6727 h 10000"/>
                <a:gd name="connsiteX50" fmla="*/ 9839 w 10000"/>
                <a:gd name="connsiteY50" fmla="*/ 6667 h 10000"/>
                <a:gd name="connsiteX51" fmla="*/ 9819 w 10000"/>
                <a:gd name="connsiteY51" fmla="*/ 6667 h 10000"/>
                <a:gd name="connsiteX52" fmla="*/ 9819 w 10000"/>
                <a:gd name="connsiteY52" fmla="*/ 6667 h 10000"/>
                <a:gd name="connsiteX53" fmla="*/ 9779 w 10000"/>
                <a:gd name="connsiteY53" fmla="*/ 6424 h 10000"/>
                <a:gd name="connsiteX54" fmla="*/ 9598 w 10000"/>
                <a:gd name="connsiteY54" fmla="*/ 6394 h 10000"/>
                <a:gd name="connsiteX55" fmla="*/ 9538 w 10000"/>
                <a:gd name="connsiteY55" fmla="*/ 6364 h 10000"/>
                <a:gd name="connsiteX56" fmla="*/ 9578 w 10000"/>
                <a:gd name="connsiteY56" fmla="*/ 6303 h 10000"/>
                <a:gd name="connsiteX57" fmla="*/ 9859 w 10000"/>
                <a:gd name="connsiteY57" fmla="*/ 5545 h 10000"/>
                <a:gd name="connsiteX58" fmla="*/ 9880 w 10000"/>
                <a:gd name="connsiteY58" fmla="*/ 5545 h 10000"/>
                <a:gd name="connsiteX59" fmla="*/ 9880 w 10000"/>
                <a:gd name="connsiteY59" fmla="*/ 5515 h 10000"/>
                <a:gd name="connsiteX60" fmla="*/ 10000 w 10000"/>
                <a:gd name="connsiteY60" fmla="*/ 5424 h 10000"/>
                <a:gd name="connsiteX61" fmla="*/ 9799 w 10000"/>
                <a:gd name="connsiteY61" fmla="*/ 5061 h 10000"/>
                <a:gd name="connsiteX62" fmla="*/ 9779 w 10000"/>
                <a:gd name="connsiteY62" fmla="*/ 5030 h 10000"/>
                <a:gd name="connsiteX63" fmla="*/ 9779 w 10000"/>
                <a:gd name="connsiteY63" fmla="*/ 5030 h 10000"/>
                <a:gd name="connsiteX64" fmla="*/ 9759 w 10000"/>
                <a:gd name="connsiteY64" fmla="*/ 4727 h 10000"/>
                <a:gd name="connsiteX65" fmla="*/ 9759 w 10000"/>
                <a:gd name="connsiteY65" fmla="*/ 4727 h 10000"/>
                <a:gd name="connsiteX66" fmla="*/ 9759 w 10000"/>
                <a:gd name="connsiteY66" fmla="*/ 4697 h 10000"/>
                <a:gd name="connsiteX67" fmla="*/ 9920 w 10000"/>
                <a:gd name="connsiteY67" fmla="*/ 4303 h 10000"/>
                <a:gd name="connsiteX68" fmla="*/ 9920 w 10000"/>
                <a:gd name="connsiteY68" fmla="*/ 3333 h 10000"/>
                <a:gd name="connsiteX69" fmla="*/ 9719 w 10000"/>
                <a:gd name="connsiteY69" fmla="*/ 2606 h 10000"/>
                <a:gd name="connsiteX70" fmla="*/ 9679 w 10000"/>
                <a:gd name="connsiteY70" fmla="*/ 2455 h 10000"/>
                <a:gd name="connsiteX71" fmla="*/ 9257 w 10000"/>
                <a:gd name="connsiteY71" fmla="*/ 2394 h 10000"/>
                <a:gd name="connsiteX72" fmla="*/ 9177 w 10000"/>
                <a:gd name="connsiteY72" fmla="*/ 2394 h 10000"/>
                <a:gd name="connsiteX73" fmla="*/ 9177 w 10000"/>
                <a:gd name="connsiteY73" fmla="*/ 2394 h 10000"/>
                <a:gd name="connsiteX74" fmla="*/ 9177 w 10000"/>
                <a:gd name="connsiteY74" fmla="*/ 2394 h 10000"/>
                <a:gd name="connsiteX75" fmla="*/ 9177 w 10000"/>
                <a:gd name="connsiteY75" fmla="*/ 2394 h 10000"/>
                <a:gd name="connsiteX76" fmla="*/ 9177 w 10000"/>
                <a:gd name="connsiteY76" fmla="*/ 2394 h 10000"/>
                <a:gd name="connsiteX77" fmla="*/ 8815 w 10000"/>
                <a:gd name="connsiteY77" fmla="*/ 2242 h 10000"/>
                <a:gd name="connsiteX78" fmla="*/ 8635 w 10000"/>
                <a:gd name="connsiteY78" fmla="*/ 2212 h 10000"/>
                <a:gd name="connsiteX79" fmla="*/ 8614 w 10000"/>
                <a:gd name="connsiteY79" fmla="*/ 2212 h 10000"/>
                <a:gd name="connsiteX80" fmla="*/ 8614 w 10000"/>
                <a:gd name="connsiteY80" fmla="*/ 2182 h 10000"/>
                <a:gd name="connsiteX81" fmla="*/ 8434 w 10000"/>
                <a:gd name="connsiteY81" fmla="*/ 1667 h 10000"/>
                <a:gd name="connsiteX82" fmla="*/ 8032 w 10000"/>
                <a:gd name="connsiteY82" fmla="*/ 1788 h 10000"/>
                <a:gd name="connsiteX83" fmla="*/ 7510 w 10000"/>
                <a:gd name="connsiteY83" fmla="*/ 1970 h 10000"/>
                <a:gd name="connsiteX84" fmla="*/ 7490 w 10000"/>
                <a:gd name="connsiteY84" fmla="*/ 1970 h 10000"/>
                <a:gd name="connsiteX85" fmla="*/ 7470 w 10000"/>
                <a:gd name="connsiteY85" fmla="*/ 1939 h 10000"/>
                <a:gd name="connsiteX86" fmla="*/ 7229 w 10000"/>
                <a:gd name="connsiteY86" fmla="*/ 1364 h 10000"/>
                <a:gd name="connsiteX87" fmla="*/ 6948 w 10000"/>
                <a:gd name="connsiteY87" fmla="*/ 1000 h 10000"/>
                <a:gd name="connsiteX88" fmla="*/ 6466 w 10000"/>
                <a:gd name="connsiteY88" fmla="*/ 939 h 10000"/>
                <a:gd name="connsiteX89" fmla="*/ 5944 w 10000"/>
                <a:gd name="connsiteY89" fmla="*/ 818 h 10000"/>
                <a:gd name="connsiteX90" fmla="*/ 5743 w 10000"/>
                <a:gd name="connsiteY90" fmla="*/ 1182 h 10000"/>
                <a:gd name="connsiteX91" fmla="*/ 5703 w 10000"/>
                <a:gd name="connsiteY91" fmla="*/ 1212 h 10000"/>
                <a:gd name="connsiteX92" fmla="*/ 5683 w 10000"/>
                <a:gd name="connsiteY92" fmla="*/ 1152 h 10000"/>
                <a:gd name="connsiteX93" fmla="*/ 5402 w 10000"/>
                <a:gd name="connsiteY93" fmla="*/ 667 h 10000"/>
                <a:gd name="connsiteX94" fmla="*/ 5181 w 10000"/>
                <a:gd name="connsiteY94" fmla="*/ 515 h 10000"/>
                <a:gd name="connsiteX95" fmla="*/ 5161 w 10000"/>
                <a:gd name="connsiteY95" fmla="*/ 515 h 10000"/>
                <a:gd name="connsiteX96" fmla="*/ 5161 w 10000"/>
                <a:gd name="connsiteY96" fmla="*/ 485 h 10000"/>
                <a:gd name="connsiteX97" fmla="*/ 5120 w 10000"/>
                <a:gd name="connsiteY97" fmla="*/ 121 h 10000"/>
                <a:gd name="connsiteX98" fmla="*/ 4819 w 10000"/>
                <a:gd name="connsiteY98" fmla="*/ 0 h 10000"/>
                <a:gd name="connsiteX99" fmla="*/ 4578 w 10000"/>
                <a:gd name="connsiteY99" fmla="*/ 303 h 10000"/>
                <a:gd name="connsiteX100" fmla="*/ 4558 w 10000"/>
                <a:gd name="connsiteY100" fmla="*/ 333 h 10000"/>
                <a:gd name="connsiteX101" fmla="*/ 4538 w 10000"/>
                <a:gd name="connsiteY101" fmla="*/ 333 h 10000"/>
                <a:gd name="connsiteX102" fmla="*/ 4257 w 10000"/>
                <a:gd name="connsiteY102" fmla="*/ 182 h 10000"/>
                <a:gd name="connsiteX103" fmla="*/ 3896 w 10000"/>
                <a:gd name="connsiteY103" fmla="*/ 333 h 10000"/>
                <a:gd name="connsiteX104" fmla="*/ 3594 w 10000"/>
                <a:gd name="connsiteY104" fmla="*/ 818 h 10000"/>
                <a:gd name="connsiteX105" fmla="*/ 3916 w 10000"/>
                <a:gd name="connsiteY105" fmla="*/ 1758 h 10000"/>
                <a:gd name="connsiteX106" fmla="*/ 3916 w 10000"/>
                <a:gd name="connsiteY106" fmla="*/ 1788 h 10000"/>
                <a:gd name="connsiteX107" fmla="*/ 3916 w 10000"/>
                <a:gd name="connsiteY107" fmla="*/ 1788 h 10000"/>
                <a:gd name="connsiteX108" fmla="*/ 3916 w 10000"/>
                <a:gd name="connsiteY108" fmla="*/ 2333 h 10000"/>
                <a:gd name="connsiteX109" fmla="*/ 3916 w 10000"/>
                <a:gd name="connsiteY109" fmla="*/ 2364 h 10000"/>
                <a:gd name="connsiteX110" fmla="*/ 3896 w 10000"/>
                <a:gd name="connsiteY110" fmla="*/ 2364 h 10000"/>
                <a:gd name="connsiteX111" fmla="*/ 2751 w 10000"/>
                <a:gd name="connsiteY111" fmla="*/ 3758 h 10000"/>
                <a:gd name="connsiteX112" fmla="*/ 2731 w 10000"/>
                <a:gd name="connsiteY112" fmla="*/ 3788 h 10000"/>
                <a:gd name="connsiteX113" fmla="*/ 2711 w 10000"/>
                <a:gd name="connsiteY113" fmla="*/ 3758 h 10000"/>
                <a:gd name="connsiteX114" fmla="*/ 2470 w 10000"/>
                <a:gd name="connsiteY114" fmla="*/ 3293 h 10000"/>
                <a:gd name="connsiteX115" fmla="*/ 2189 w 10000"/>
                <a:gd name="connsiteY115" fmla="*/ 3818 h 10000"/>
                <a:gd name="connsiteX116" fmla="*/ 2169 w 10000"/>
                <a:gd name="connsiteY116" fmla="*/ 3818 h 10000"/>
                <a:gd name="connsiteX117" fmla="*/ 2149 w 10000"/>
                <a:gd name="connsiteY117" fmla="*/ 3848 h 10000"/>
                <a:gd name="connsiteX118" fmla="*/ 1988 w 10000"/>
                <a:gd name="connsiteY118" fmla="*/ 3939 h 10000"/>
                <a:gd name="connsiteX119" fmla="*/ 1968 w 10000"/>
                <a:gd name="connsiteY119" fmla="*/ 3939 h 10000"/>
                <a:gd name="connsiteX120" fmla="*/ 1968 w 10000"/>
                <a:gd name="connsiteY120" fmla="*/ 3939 h 10000"/>
                <a:gd name="connsiteX121" fmla="*/ 1526 w 10000"/>
                <a:gd name="connsiteY121" fmla="*/ 3818 h 10000"/>
                <a:gd name="connsiteX122" fmla="*/ 863 w 10000"/>
                <a:gd name="connsiteY122" fmla="*/ 3788 h 10000"/>
                <a:gd name="connsiteX123" fmla="*/ 582 w 10000"/>
                <a:gd name="connsiteY123" fmla="*/ 4667 h 10000"/>
                <a:gd name="connsiteX124" fmla="*/ 562 w 10000"/>
                <a:gd name="connsiteY124" fmla="*/ 4697 h 10000"/>
                <a:gd name="connsiteX125" fmla="*/ 562 w 10000"/>
                <a:gd name="connsiteY125" fmla="*/ 4697 h 10000"/>
                <a:gd name="connsiteX126" fmla="*/ 0 w 10000"/>
                <a:gd name="connsiteY126" fmla="*/ 5667 h 10000"/>
                <a:gd name="connsiteX127" fmla="*/ 241 w 10000"/>
                <a:gd name="connsiteY127" fmla="*/ 6030 h 10000"/>
                <a:gd name="connsiteX128" fmla="*/ 241 w 10000"/>
                <a:gd name="connsiteY128" fmla="*/ 6061 h 10000"/>
                <a:gd name="connsiteX129" fmla="*/ 241 w 10000"/>
                <a:gd name="connsiteY129" fmla="*/ 6091 h 10000"/>
                <a:gd name="connsiteX130" fmla="*/ 241 w 10000"/>
                <a:gd name="connsiteY130" fmla="*/ 7424 h 10000"/>
                <a:gd name="connsiteX131" fmla="*/ 823 w 10000"/>
                <a:gd name="connsiteY131" fmla="*/ 7424 h 10000"/>
                <a:gd name="connsiteX132" fmla="*/ 863 w 10000"/>
                <a:gd name="connsiteY132" fmla="*/ 7424 h 10000"/>
                <a:gd name="connsiteX133" fmla="*/ 863 w 10000"/>
                <a:gd name="connsiteY133" fmla="*/ 7455 h 10000"/>
                <a:gd name="connsiteX134" fmla="*/ 1165 w 10000"/>
                <a:gd name="connsiteY134" fmla="*/ 8091 h 10000"/>
                <a:gd name="connsiteX135" fmla="*/ 1707 w 10000"/>
                <a:gd name="connsiteY135" fmla="*/ 8091 h 10000"/>
                <a:gd name="connsiteX136" fmla="*/ 1727 w 10000"/>
                <a:gd name="connsiteY136" fmla="*/ 8091 h 10000"/>
                <a:gd name="connsiteX137" fmla="*/ 1747 w 10000"/>
                <a:gd name="connsiteY137" fmla="*/ 8121 h 10000"/>
                <a:gd name="connsiteX138" fmla="*/ 1847 w 10000"/>
                <a:gd name="connsiteY138" fmla="*/ 8515 h 10000"/>
                <a:gd name="connsiteX139" fmla="*/ 2329 w 10000"/>
                <a:gd name="connsiteY139" fmla="*/ 8970 h 10000"/>
                <a:gd name="connsiteX140" fmla="*/ 3133 w 10000"/>
                <a:gd name="connsiteY140" fmla="*/ 8909 h 10000"/>
                <a:gd name="connsiteX141" fmla="*/ 3133 w 10000"/>
                <a:gd name="connsiteY141" fmla="*/ 8909 h 10000"/>
                <a:gd name="connsiteX142" fmla="*/ 3383 w 10000"/>
                <a:gd name="connsiteY142" fmla="*/ 911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</a:cxnLst>
              <a:rect l="l" t="t" r="r" b="b"/>
              <a:pathLst>
                <a:path w="10000" h="10000">
                  <a:moveTo>
                    <a:pt x="3383" y="9110"/>
                  </a:moveTo>
                  <a:cubicBezTo>
                    <a:pt x="3423" y="8994"/>
                    <a:pt x="3462" y="8879"/>
                    <a:pt x="3502" y="8763"/>
                  </a:cubicBezTo>
                  <a:cubicBezTo>
                    <a:pt x="3547" y="8749"/>
                    <a:pt x="3585" y="8697"/>
                    <a:pt x="3624" y="8702"/>
                  </a:cubicBezTo>
                  <a:lnTo>
                    <a:pt x="3771" y="8518"/>
                  </a:lnTo>
                  <a:lnTo>
                    <a:pt x="3976" y="8242"/>
                  </a:lnTo>
                  <a:lnTo>
                    <a:pt x="3996" y="8242"/>
                  </a:lnTo>
                  <a:cubicBezTo>
                    <a:pt x="4003" y="8252"/>
                    <a:pt x="4009" y="8263"/>
                    <a:pt x="4016" y="8273"/>
                  </a:cubicBezTo>
                  <a:lnTo>
                    <a:pt x="4378" y="9061"/>
                  </a:lnTo>
                  <a:lnTo>
                    <a:pt x="4940" y="9182"/>
                  </a:lnTo>
                  <a:lnTo>
                    <a:pt x="4960" y="9182"/>
                  </a:lnTo>
                  <a:cubicBezTo>
                    <a:pt x="4967" y="9192"/>
                    <a:pt x="4973" y="9202"/>
                    <a:pt x="4980" y="9212"/>
                  </a:cubicBezTo>
                  <a:cubicBezTo>
                    <a:pt x="5007" y="9414"/>
                    <a:pt x="5033" y="9616"/>
                    <a:pt x="5060" y="9818"/>
                  </a:cubicBezTo>
                  <a:lnTo>
                    <a:pt x="5221" y="9818"/>
                  </a:lnTo>
                  <a:lnTo>
                    <a:pt x="5221" y="9727"/>
                  </a:lnTo>
                  <a:cubicBezTo>
                    <a:pt x="5228" y="9697"/>
                    <a:pt x="5234" y="9666"/>
                    <a:pt x="5241" y="9636"/>
                  </a:cubicBezTo>
                  <a:lnTo>
                    <a:pt x="5281" y="9667"/>
                  </a:lnTo>
                  <a:lnTo>
                    <a:pt x="5522" y="9758"/>
                  </a:lnTo>
                  <a:lnTo>
                    <a:pt x="5542" y="9758"/>
                  </a:lnTo>
                  <a:lnTo>
                    <a:pt x="5542" y="9758"/>
                  </a:lnTo>
                  <a:lnTo>
                    <a:pt x="5743" y="10000"/>
                  </a:lnTo>
                  <a:lnTo>
                    <a:pt x="6084" y="10000"/>
                  </a:lnTo>
                  <a:lnTo>
                    <a:pt x="6500" y="9635"/>
                  </a:lnTo>
                  <a:cubicBezTo>
                    <a:pt x="6501" y="9581"/>
                    <a:pt x="6501" y="9526"/>
                    <a:pt x="6502" y="9472"/>
                  </a:cubicBezTo>
                  <a:cubicBezTo>
                    <a:pt x="6506" y="9395"/>
                    <a:pt x="6511" y="9317"/>
                    <a:pt x="6515" y="9240"/>
                  </a:cubicBezTo>
                  <a:cubicBezTo>
                    <a:pt x="6522" y="9230"/>
                    <a:pt x="6528" y="9059"/>
                    <a:pt x="6535" y="9049"/>
                  </a:cubicBezTo>
                  <a:lnTo>
                    <a:pt x="6727" y="8667"/>
                  </a:lnTo>
                  <a:lnTo>
                    <a:pt x="7269" y="8061"/>
                  </a:lnTo>
                  <a:lnTo>
                    <a:pt x="7289" y="8061"/>
                  </a:lnTo>
                  <a:lnTo>
                    <a:pt x="7309" y="8061"/>
                  </a:lnTo>
                  <a:lnTo>
                    <a:pt x="7550" y="8152"/>
                  </a:lnTo>
                  <a:lnTo>
                    <a:pt x="7570" y="8152"/>
                  </a:lnTo>
                  <a:cubicBezTo>
                    <a:pt x="7577" y="8172"/>
                    <a:pt x="7583" y="8192"/>
                    <a:pt x="7590" y="8212"/>
                  </a:cubicBezTo>
                  <a:cubicBezTo>
                    <a:pt x="7604" y="8454"/>
                    <a:pt x="7617" y="8697"/>
                    <a:pt x="7631" y="8939"/>
                  </a:cubicBezTo>
                  <a:lnTo>
                    <a:pt x="7932" y="8970"/>
                  </a:lnTo>
                  <a:cubicBezTo>
                    <a:pt x="8012" y="8808"/>
                    <a:pt x="8093" y="8647"/>
                    <a:pt x="8173" y="8485"/>
                  </a:cubicBezTo>
                  <a:lnTo>
                    <a:pt x="8173" y="8485"/>
                  </a:lnTo>
                  <a:lnTo>
                    <a:pt x="8193" y="8485"/>
                  </a:lnTo>
                  <a:lnTo>
                    <a:pt x="8534" y="8152"/>
                  </a:lnTo>
                  <a:cubicBezTo>
                    <a:pt x="8568" y="7990"/>
                    <a:pt x="8601" y="7829"/>
                    <a:pt x="8635" y="7667"/>
                  </a:cubicBezTo>
                  <a:cubicBezTo>
                    <a:pt x="8642" y="7647"/>
                    <a:pt x="8648" y="7626"/>
                    <a:pt x="8655" y="7606"/>
                  </a:cubicBezTo>
                  <a:lnTo>
                    <a:pt x="8675" y="7606"/>
                  </a:lnTo>
                  <a:lnTo>
                    <a:pt x="9036" y="7545"/>
                  </a:lnTo>
                  <a:lnTo>
                    <a:pt x="9177" y="7182"/>
                  </a:lnTo>
                  <a:lnTo>
                    <a:pt x="9177" y="7152"/>
                  </a:lnTo>
                  <a:lnTo>
                    <a:pt x="9177" y="7152"/>
                  </a:lnTo>
                  <a:lnTo>
                    <a:pt x="9458" y="6909"/>
                  </a:lnTo>
                  <a:lnTo>
                    <a:pt x="9458" y="6909"/>
                  </a:lnTo>
                  <a:lnTo>
                    <a:pt x="9458" y="6909"/>
                  </a:lnTo>
                  <a:lnTo>
                    <a:pt x="9699" y="6848"/>
                  </a:lnTo>
                  <a:lnTo>
                    <a:pt x="9859" y="6727"/>
                  </a:lnTo>
                  <a:cubicBezTo>
                    <a:pt x="9852" y="6707"/>
                    <a:pt x="9846" y="6687"/>
                    <a:pt x="9839" y="6667"/>
                  </a:cubicBezTo>
                  <a:lnTo>
                    <a:pt x="9819" y="6667"/>
                  </a:lnTo>
                  <a:lnTo>
                    <a:pt x="9819" y="6667"/>
                  </a:lnTo>
                  <a:cubicBezTo>
                    <a:pt x="9806" y="6586"/>
                    <a:pt x="9792" y="6505"/>
                    <a:pt x="9779" y="6424"/>
                  </a:cubicBezTo>
                  <a:lnTo>
                    <a:pt x="9598" y="6394"/>
                  </a:lnTo>
                  <a:lnTo>
                    <a:pt x="9538" y="6364"/>
                  </a:lnTo>
                  <a:cubicBezTo>
                    <a:pt x="9551" y="6344"/>
                    <a:pt x="9565" y="6323"/>
                    <a:pt x="9578" y="6303"/>
                  </a:cubicBezTo>
                  <a:lnTo>
                    <a:pt x="9859" y="5545"/>
                  </a:lnTo>
                  <a:lnTo>
                    <a:pt x="9880" y="5545"/>
                  </a:lnTo>
                  <a:lnTo>
                    <a:pt x="9880" y="5515"/>
                  </a:lnTo>
                  <a:lnTo>
                    <a:pt x="10000" y="5424"/>
                  </a:lnTo>
                  <a:lnTo>
                    <a:pt x="9799" y="5061"/>
                  </a:lnTo>
                  <a:cubicBezTo>
                    <a:pt x="9792" y="5051"/>
                    <a:pt x="9786" y="5040"/>
                    <a:pt x="9779" y="5030"/>
                  </a:cubicBezTo>
                  <a:lnTo>
                    <a:pt x="9779" y="5030"/>
                  </a:lnTo>
                  <a:cubicBezTo>
                    <a:pt x="9772" y="4929"/>
                    <a:pt x="9766" y="4828"/>
                    <a:pt x="9759" y="4727"/>
                  </a:cubicBezTo>
                  <a:lnTo>
                    <a:pt x="9759" y="4727"/>
                  </a:lnTo>
                  <a:lnTo>
                    <a:pt x="9759" y="4697"/>
                  </a:lnTo>
                  <a:cubicBezTo>
                    <a:pt x="9813" y="4566"/>
                    <a:pt x="9866" y="4434"/>
                    <a:pt x="9920" y="4303"/>
                  </a:cubicBezTo>
                  <a:lnTo>
                    <a:pt x="9920" y="3333"/>
                  </a:lnTo>
                  <a:cubicBezTo>
                    <a:pt x="9900" y="3242"/>
                    <a:pt x="9719" y="2606"/>
                    <a:pt x="9719" y="2606"/>
                  </a:cubicBezTo>
                  <a:cubicBezTo>
                    <a:pt x="9706" y="2556"/>
                    <a:pt x="9692" y="2505"/>
                    <a:pt x="9679" y="2455"/>
                  </a:cubicBezTo>
                  <a:lnTo>
                    <a:pt x="9257" y="2394"/>
                  </a:lnTo>
                  <a:lnTo>
                    <a:pt x="9177" y="2394"/>
                  </a:lnTo>
                  <a:lnTo>
                    <a:pt x="9177" y="2394"/>
                  </a:lnTo>
                  <a:lnTo>
                    <a:pt x="9177" y="2394"/>
                  </a:lnTo>
                  <a:lnTo>
                    <a:pt x="9177" y="2394"/>
                  </a:lnTo>
                  <a:lnTo>
                    <a:pt x="9177" y="2394"/>
                  </a:lnTo>
                  <a:lnTo>
                    <a:pt x="8815" y="2242"/>
                  </a:lnTo>
                  <a:lnTo>
                    <a:pt x="8635" y="2212"/>
                  </a:lnTo>
                  <a:lnTo>
                    <a:pt x="8614" y="2212"/>
                  </a:lnTo>
                  <a:lnTo>
                    <a:pt x="8614" y="2182"/>
                  </a:lnTo>
                  <a:lnTo>
                    <a:pt x="8434" y="1667"/>
                  </a:lnTo>
                  <a:lnTo>
                    <a:pt x="8032" y="1788"/>
                  </a:lnTo>
                  <a:lnTo>
                    <a:pt x="7510" y="1970"/>
                  </a:lnTo>
                  <a:lnTo>
                    <a:pt x="7490" y="1970"/>
                  </a:lnTo>
                  <a:cubicBezTo>
                    <a:pt x="7483" y="1960"/>
                    <a:pt x="7477" y="1949"/>
                    <a:pt x="7470" y="1939"/>
                  </a:cubicBezTo>
                  <a:cubicBezTo>
                    <a:pt x="7390" y="1747"/>
                    <a:pt x="7309" y="1556"/>
                    <a:pt x="7229" y="1364"/>
                  </a:cubicBezTo>
                  <a:lnTo>
                    <a:pt x="6948" y="1000"/>
                  </a:lnTo>
                  <a:cubicBezTo>
                    <a:pt x="6506" y="1061"/>
                    <a:pt x="6486" y="1000"/>
                    <a:pt x="6466" y="939"/>
                  </a:cubicBezTo>
                  <a:cubicBezTo>
                    <a:pt x="6446" y="818"/>
                    <a:pt x="6145" y="818"/>
                    <a:pt x="5944" y="818"/>
                  </a:cubicBezTo>
                  <a:lnTo>
                    <a:pt x="5743" y="1182"/>
                  </a:lnTo>
                  <a:cubicBezTo>
                    <a:pt x="5730" y="1192"/>
                    <a:pt x="5716" y="1202"/>
                    <a:pt x="5703" y="1212"/>
                  </a:cubicBezTo>
                  <a:cubicBezTo>
                    <a:pt x="5696" y="1192"/>
                    <a:pt x="5690" y="1172"/>
                    <a:pt x="5683" y="1152"/>
                  </a:cubicBezTo>
                  <a:lnTo>
                    <a:pt x="5402" y="667"/>
                  </a:lnTo>
                  <a:lnTo>
                    <a:pt x="5181" y="515"/>
                  </a:lnTo>
                  <a:lnTo>
                    <a:pt x="5161" y="515"/>
                  </a:lnTo>
                  <a:lnTo>
                    <a:pt x="5161" y="485"/>
                  </a:lnTo>
                  <a:cubicBezTo>
                    <a:pt x="5147" y="364"/>
                    <a:pt x="5134" y="242"/>
                    <a:pt x="5120" y="121"/>
                  </a:cubicBezTo>
                  <a:lnTo>
                    <a:pt x="4819" y="0"/>
                  </a:lnTo>
                  <a:lnTo>
                    <a:pt x="4578" y="303"/>
                  </a:lnTo>
                  <a:cubicBezTo>
                    <a:pt x="4571" y="313"/>
                    <a:pt x="4565" y="323"/>
                    <a:pt x="4558" y="333"/>
                  </a:cubicBezTo>
                  <a:lnTo>
                    <a:pt x="4538" y="333"/>
                  </a:lnTo>
                  <a:lnTo>
                    <a:pt x="4257" y="182"/>
                  </a:lnTo>
                  <a:lnTo>
                    <a:pt x="3896" y="333"/>
                  </a:lnTo>
                  <a:lnTo>
                    <a:pt x="3594" y="818"/>
                  </a:lnTo>
                  <a:lnTo>
                    <a:pt x="3916" y="1758"/>
                  </a:lnTo>
                  <a:lnTo>
                    <a:pt x="3916" y="1788"/>
                  </a:lnTo>
                  <a:lnTo>
                    <a:pt x="3916" y="1788"/>
                  </a:lnTo>
                  <a:lnTo>
                    <a:pt x="3916" y="2333"/>
                  </a:lnTo>
                  <a:lnTo>
                    <a:pt x="3916" y="2364"/>
                  </a:lnTo>
                  <a:lnTo>
                    <a:pt x="3896" y="2364"/>
                  </a:lnTo>
                  <a:lnTo>
                    <a:pt x="2751" y="3758"/>
                  </a:lnTo>
                  <a:cubicBezTo>
                    <a:pt x="2744" y="3768"/>
                    <a:pt x="2738" y="3778"/>
                    <a:pt x="2731" y="3788"/>
                  </a:cubicBezTo>
                  <a:cubicBezTo>
                    <a:pt x="2724" y="3778"/>
                    <a:pt x="2718" y="3768"/>
                    <a:pt x="2711" y="3758"/>
                  </a:cubicBezTo>
                  <a:lnTo>
                    <a:pt x="2470" y="3293"/>
                  </a:lnTo>
                  <a:lnTo>
                    <a:pt x="2189" y="3818"/>
                  </a:lnTo>
                  <a:lnTo>
                    <a:pt x="2169" y="3818"/>
                  </a:lnTo>
                  <a:cubicBezTo>
                    <a:pt x="2162" y="3828"/>
                    <a:pt x="2156" y="3838"/>
                    <a:pt x="2149" y="3848"/>
                  </a:cubicBezTo>
                  <a:lnTo>
                    <a:pt x="1988" y="3939"/>
                  </a:lnTo>
                  <a:lnTo>
                    <a:pt x="1968" y="3939"/>
                  </a:lnTo>
                  <a:lnTo>
                    <a:pt x="1968" y="3939"/>
                  </a:lnTo>
                  <a:lnTo>
                    <a:pt x="1526" y="3818"/>
                  </a:lnTo>
                  <a:lnTo>
                    <a:pt x="863" y="3788"/>
                  </a:lnTo>
                  <a:cubicBezTo>
                    <a:pt x="769" y="4081"/>
                    <a:pt x="676" y="4374"/>
                    <a:pt x="582" y="4667"/>
                  </a:cubicBezTo>
                  <a:cubicBezTo>
                    <a:pt x="575" y="4677"/>
                    <a:pt x="569" y="4687"/>
                    <a:pt x="562" y="4697"/>
                  </a:cubicBezTo>
                  <a:lnTo>
                    <a:pt x="562" y="4697"/>
                  </a:lnTo>
                  <a:lnTo>
                    <a:pt x="0" y="5667"/>
                  </a:lnTo>
                  <a:lnTo>
                    <a:pt x="241" y="6030"/>
                  </a:lnTo>
                  <a:lnTo>
                    <a:pt x="241" y="6061"/>
                  </a:lnTo>
                  <a:lnTo>
                    <a:pt x="241" y="6091"/>
                  </a:lnTo>
                  <a:lnTo>
                    <a:pt x="241" y="7424"/>
                  </a:lnTo>
                  <a:lnTo>
                    <a:pt x="823" y="7424"/>
                  </a:lnTo>
                  <a:lnTo>
                    <a:pt x="863" y="7424"/>
                  </a:lnTo>
                  <a:lnTo>
                    <a:pt x="863" y="7455"/>
                  </a:lnTo>
                  <a:lnTo>
                    <a:pt x="1165" y="8091"/>
                  </a:lnTo>
                  <a:lnTo>
                    <a:pt x="1707" y="8091"/>
                  </a:lnTo>
                  <a:lnTo>
                    <a:pt x="1727" y="8091"/>
                  </a:lnTo>
                  <a:cubicBezTo>
                    <a:pt x="1734" y="8101"/>
                    <a:pt x="1740" y="8111"/>
                    <a:pt x="1747" y="8121"/>
                  </a:cubicBezTo>
                  <a:cubicBezTo>
                    <a:pt x="1780" y="8252"/>
                    <a:pt x="1814" y="8384"/>
                    <a:pt x="1847" y="8515"/>
                  </a:cubicBezTo>
                  <a:lnTo>
                    <a:pt x="2329" y="8970"/>
                  </a:lnTo>
                  <a:lnTo>
                    <a:pt x="3133" y="8909"/>
                  </a:lnTo>
                  <a:lnTo>
                    <a:pt x="3133" y="8909"/>
                  </a:lnTo>
                  <a:lnTo>
                    <a:pt x="3383" y="9110"/>
                  </a:lnTo>
                  <a:close/>
                </a:path>
              </a:pathLst>
            </a:custGeom>
            <a:solidFill>
              <a:srgbClr val="00B05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2000" tIns="72000" rIns="72000" bIns="72000" anchor="ctr"/>
            <a:lstStyle/>
            <a:p>
              <a:pPr algn="ctr" defTabSz="914308">
                <a:defRPr/>
              </a:pPr>
              <a:endParaRPr lang="ru-RU" sz="1200" kern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376" name="Freeform 171">
              <a:extLst/>
            </p:cNvPr>
            <p:cNvSpPr>
              <a:spLocks/>
            </p:cNvSpPr>
            <p:nvPr/>
          </p:nvSpPr>
          <p:spPr bwMode="auto">
            <a:xfrm>
              <a:off x="4479317" y="4090804"/>
              <a:ext cx="1111265" cy="1568555"/>
            </a:xfrm>
            <a:custGeom>
              <a:avLst/>
              <a:gdLst>
                <a:gd name="T0" fmla="*/ 316 w 347"/>
                <a:gd name="T1" fmla="*/ 328 h 505"/>
                <a:gd name="T2" fmla="*/ 290 w 347"/>
                <a:gd name="T3" fmla="*/ 301 h 505"/>
                <a:gd name="T4" fmla="*/ 289 w 347"/>
                <a:gd name="T5" fmla="*/ 299 h 505"/>
                <a:gd name="T6" fmla="*/ 272 w 347"/>
                <a:gd name="T7" fmla="*/ 254 h 505"/>
                <a:gd name="T8" fmla="*/ 258 w 347"/>
                <a:gd name="T9" fmla="*/ 255 h 505"/>
                <a:gd name="T10" fmla="*/ 241 w 347"/>
                <a:gd name="T11" fmla="*/ 235 h 505"/>
                <a:gd name="T12" fmla="*/ 240 w 347"/>
                <a:gd name="T13" fmla="*/ 233 h 505"/>
                <a:gd name="T14" fmla="*/ 241 w 347"/>
                <a:gd name="T15" fmla="*/ 224 h 505"/>
                <a:gd name="T16" fmla="*/ 251 w 347"/>
                <a:gd name="T17" fmla="*/ 185 h 505"/>
                <a:gd name="T18" fmla="*/ 251 w 347"/>
                <a:gd name="T19" fmla="*/ 184 h 505"/>
                <a:gd name="T20" fmla="*/ 257 w 347"/>
                <a:gd name="T21" fmla="*/ 119 h 505"/>
                <a:gd name="T22" fmla="*/ 215 w 347"/>
                <a:gd name="T23" fmla="*/ 17 h 505"/>
                <a:gd name="T24" fmla="*/ 215 w 347"/>
                <a:gd name="T25" fmla="*/ 16 h 505"/>
                <a:gd name="T26" fmla="*/ 96 w 347"/>
                <a:gd name="T27" fmla="*/ 2 h 505"/>
                <a:gd name="T28" fmla="*/ 91 w 347"/>
                <a:gd name="T29" fmla="*/ 46 h 505"/>
                <a:gd name="T30" fmla="*/ 86 w 347"/>
                <a:gd name="T31" fmla="*/ 56 h 505"/>
                <a:gd name="T32" fmla="*/ 106 w 347"/>
                <a:gd name="T33" fmla="*/ 84 h 505"/>
                <a:gd name="T34" fmla="*/ 108 w 347"/>
                <a:gd name="T35" fmla="*/ 150 h 505"/>
                <a:gd name="T36" fmla="*/ 140 w 347"/>
                <a:gd name="T37" fmla="*/ 177 h 505"/>
                <a:gd name="T38" fmla="*/ 134 w 347"/>
                <a:gd name="T39" fmla="*/ 196 h 505"/>
                <a:gd name="T40" fmla="*/ 135 w 347"/>
                <a:gd name="T41" fmla="*/ 218 h 505"/>
                <a:gd name="T42" fmla="*/ 115 w 347"/>
                <a:gd name="T43" fmla="*/ 240 h 505"/>
                <a:gd name="T44" fmla="*/ 127 w 347"/>
                <a:gd name="T45" fmla="*/ 261 h 505"/>
                <a:gd name="T46" fmla="*/ 105 w 347"/>
                <a:gd name="T47" fmla="*/ 276 h 505"/>
                <a:gd name="T48" fmla="*/ 89 w 347"/>
                <a:gd name="T49" fmla="*/ 289 h 505"/>
                <a:gd name="T50" fmla="*/ 70 w 347"/>
                <a:gd name="T51" fmla="*/ 296 h 505"/>
                <a:gd name="T52" fmla="*/ 28 w 347"/>
                <a:gd name="T53" fmla="*/ 326 h 505"/>
                <a:gd name="T54" fmla="*/ 19 w 347"/>
                <a:gd name="T55" fmla="*/ 334 h 505"/>
                <a:gd name="T56" fmla="*/ 4 w 347"/>
                <a:gd name="T57" fmla="*/ 345 h 505"/>
                <a:gd name="T58" fmla="*/ 0 w 347"/>
                <a:gd name="T59" fmla="*/ 372 h 505"/>
                <a:gd name="T60" fmla="*/ 50 w 347"/>
                <a:gd name="T61" fmla="*/ 455 h 505"/>
                <a:gd name="T62" fmla="*/ 129 w 347"/>
                <a:gd name="T63" fmla="*/ 449 h 505"/>
                <a:gd name="T64" fmla="*/ 144 w 347"/>
                <a:gd name="T65" fmla="*/ 485 h 505"/>
                <a:gd name="T66" fmla="*/ 186 w 347"/>
                <a:gd name="T67" fmla="*/ 505 h 505"/>
                <a:gd name="T68" fmla="*/ 203 w 347"/>
                <a:gd name="T69" fmla="*/ 458 h 505"/>
                <a:gd name="T70" fmla="*/ 225 w 347"/>
                <a:gd name="T71" fmla="*/ 429 h 505"/>
                <a:gd name="T72" fmla="*/ 253 w 347"/>
                <a:gd name="T73" fmla="*/ 406 h 505"/>
                <a:gd name="T74" fmla="*/ 299 w 347"/>
                <a:gd name="T75" fmla="*/ 375 h 505"/>
                <a:gd name="T76" fmla="*/ 326 w 347"/>
                <a:gd name="T77" fmla="*/ 372 h 505"/>
                <a:gd name="T78" fmla="*/ 346 w 347"/>
                <a:gd name="T79" fmla="*/ 351 h 505"/>
                <a:gd name="T80" fmla="*/ 346 w 347"/>
                <a:gd name="T81" fmla="*/ 346 h 505"/>
                <a:gd name="connsiteX0" fmla="*/ 9107 w 10000"/>
                <a:gd name="connsiteY0" fmla="*/ 6495 h 10000"/>
                <a:gd name="connsiteX1" fmla="*/ 9107 w 10000"/>
                <a:gd name="connsiteY1" fmla="*/ 6495 h 10000"/>
                <a:gd name="connsiteX2" fmla="*/ 9107 w 10000"/>
                <a:gd name="connsiteY2" fmla="*/ 6495 h 10000"/>
                <a:gd name="connsiteX3" fmla="*/ 8357 w 10000"/>
                <a:gd name="connsiteY3" fmla="*/ 5960 h 10000"/>
                <a:gd name="connsiteX4" fmla="*/ 8329 w 10000"/>
                <a:gd name="connsiteY4" fmla="*/ 5941 h 10000"/>
                <a:gd name="connsiteX5" fmla="*/ 8329 w 10000"/>
                <a:gd name="connsiteY5" fmla="*/ 5921 h 10000"/>
                <a:gd name="connsiteX6" fmla="*/ 8357 w 10000"/>
                <a:gd name="connsiteY6" fmla="*/ 5564 h 10000"/>
                <a:gd name="connsiteX7" fmla="*/ 7709 w 10000"/>
                <a:gd name="connsiteY7" fmla="*/ 4877 h 10000"/>
                <a:gd name="connsiteX8" fmla="*/ 7464 w 10000"/>
                <a:gd name="connsiteY8" fmla="*/ 5050 h 10000"/>
                <a:gd name="connsiteX9" fmla="*/ 7435 w 10000"/>
                <a:gd name="connsiteY9" fmla="*/ 5050 h 10000"/>
                <a:gd name="connsiteX10" fmla="*/ 7406 w 10000"/>
                <a:gd name="connsiteY10" fmla="*/ 5030 h 10000"/>
                <a:gd name="connsiteX11" fmla="*/ 6945 w 10000"/>
                <a:gd name="connsiteY11" fmla="*/ 4653 h 10000"/>
                <a:gd name="connsiteX12" fmla="*/ 6916 w 10000"/>
                <a:gd name="connsiteY12" fmla="*/ 4634 h 10000"/>
                <a:gd name="connsiteX13" fmla="*/ 6916 w 10000"/>
                <a:gd name="connsiteY13" fmla="*/ 4614 h 10000"/>
                <a:gd name="connsiteX14" fmla="*/ 6945 w 10000"/>
                <a:gd name="connsiteY14" fmla="*/ 4436 h 10000"/>
                <a:gd name="connsiteX15" fmla="*/ 6945 w 10000"/>
                <a:gd name="connsiteY15" fmla="*/ 4436 h 10000"/>
                <a:gd name="connsiteX16" fmla="*/ 6945 w 10000"/>
                <a:gd name="connsiteY16" fmla="*/ 4436 h 10000"/>
                <a:gd name="connsiteX17" fmla="*/ 7233 w 10000"/>
                <a:gd name="connsiteY17" fmla="*/ 3663 h 10000"/>
                <a:gd name="connsiteX18" fmla="*/ 7233 w 10000"/>
                <a:gd name="connsiteY18" fmla="*/ 3644 h 10000"/>
                <a:gd name="connsiteX19" fmla="*/ 7233 w 10000"/>
                <a:gd name="connsiteY19" fmla="*/ 3644 h 10000"/>
                <a:gd name="connsiteX20" fmla="*/ 7435 w 10000"/>
                <a:gd name="connsiteY20" fmla="*/ 3485 h 10000"/>
                <a:gd name="connsiteX21" fmla="*/ 7406 w 10000"/>
                <a:gd name="connsiteY21" fmla="*/ 2356 h 10000"/>
                <a:gd name="connsiteX22" fmla="*/ 7118 w 10000"/>
                <a:gd name="connsiteY22" fmla="*/ 1762 h 10000"/>
                <a:gd name="connsiteX23" fmla="*/ 6196 w 10000"/>
                <a:gd name="connsiteY23" fmla="*/ 337 h 10000"/>
                <a:gd name="connsiteX24" fmla="*/ 6196 w 10000"/>
                <a:gd name="connsiteY24" fmla="*/ 317 h 10000"/>
                <a:gd name="connsiteX25" fmla="*/ 6196 w 10000"/>
                <a:gd name="connsiteY25" fmla="*/ 317 h 10000"/>
                <a:gd name="connsiteX26" fmla="*/ 6110 w 10000"/>
                <a:gd name="connsiteY26" fmla="*/ 0 h 10000"/>
                <a:gd name="connsiteX27" fmla="*/ 2767 w 10000"/>
                <a:gd name="connsiteY27" fmla="*/ 40 h 10000"/>
                <a:gd name="connsiteX28" fmla="*/ 2622 w 10000"/>
                <a:gd name="connsiteY28" fmla="*/ 891 h 10000"/>
                <a:gd name="connsiteX29" fmla="*/ 2622 w 10000"/>
                <a:gd name="connsiteY29" fmla="*/ 911 h 10000"/>
                <a:gd name="connsiteX30" fmla="*/ 2622 w 10000"/>
                <a:gd name="connsiteY30" fmla="*/ 911 h 10000"/>
                <a:gd name="connsiteX31" fmla="*/ 2478 w 10000"/>
                <a:gd name="connsiteY31" fmla="*/ 1109 h 10000"/>
                <a:gd name="connsiteX32" fmla="*/ 3026 w 10000"/>
                <a:gd name="connsiteY32" fmla="*/ 1663 h 10000"/>
                <a:gd name="connsiteX33" fmla="*/ 3055 w 10000"/>
                <a:gd name="connsiteY33" fmla="*/ 1663 h 10000"/>
                <a:gd name="connsiteX34" fmla="*/ 3055 w 10000"/>
                <a:gd name="connsiteY34" fmla="*/ 1683 h 10000"/>
                <a:gd name="connsiteX35" fmla="*/ 3112 w 10000"/>
                <a:gd name="connsiteY35" fmla="*/ 2970 h 10000"/>
                <a:gd name="connsiteX36" fmla="*/ 4006 w 10000"/>
                <a:gd name="connsiteY36" fmla="*/ 3505 h 10000"/>
                <a:gd name="connsiteX37" fmla="*/ 4035 w 10000"/>
                <a:gd name="connsiteY37" fmla="*/ 3505 h 10000"/>
                <a:gd name="connsiteX38" fmla="*/ 4006 w 10000"/>
                <a:gd name="connsiteY38" fmla="*/ 3545 h 10000"/>
                <a:gd name="connsiteX39" fmla="*/ 3862 w 10000"/>
                <a:gd name="connsiteY39" fmla="*/ 3881 h 10000"/>
                <a:gd name="connsiteX40" fmla="*/ 3890 w 10000"/>
                <a:gd name="connsiteY40" fmla="*/ 4297 h 10000"/>
                <a:gd name="connsiteX41" fmla="*/ 3890 w 10000"/>
                <a:gd name="connsiteY41" fmla="*/ 4317 h 10000"/>
                <a:gd name="connsiteX42" fmla="*/ 3890 w 10000"/>
                <a:gd name="connsiteY42" fmla="*/ 4317 h 10000"/>
                <a:gd name="connsiteX43" fmla="*/ 3314 w 10000"/>
                <a:gd name="connsiteY43" fmla="*/ 4752 h 10000"/>
                <a:gd name="connsiteX44" fmla="*/ 3660 w 10000"/>
                <a:gd name="connsiteY44" fmla="*/ 5129 h 10000"/>
                <a:gd name="connsiteX45" fmla="*/ 3660 w 10000"/>
                <a:gd name="connsiteY45" fmla="*/ 5168 h 10000"/>
                <a:gd name="connsiteX46" fmla="*/ 3631 w 10000"/>
                <a:gd name="connsiteY46" fmla="*/ 5188 h 10000"/>
                <a:gd name="connsiteX47" fmla="*/ 3026 w 10000"/>
                <a:gd name="connsiteY47" fmla="*/ 5465 h 10000"/>
                <a:gd name="connsiteX48" fmla="*/ 2565 w 10000"/>
                <a:gd name="connsiteY48" fmla="*/ 5723 h 10000"/>
                <a:gd name="connsiteX49" fmla="*/ 2565 w 10000"/>
                <a:gd name="connsiteY49" fmla="*/ 5723 h 10000"/>
                <a:gd name="connsiteX50" fmla="*/ 2565 w 10000"/>
                <a:gd name="connsiteY50" fmla="*/ 5723 h 10000"/>
                <a:gd name="connsiteX51" fmla="*/ 2017 w 10000"/>
                <a:gd name="connsiteY51" fmla="*/ 5861 h 10000"/>
                <a:gd name="connsiteX52" fmla="*/ 1470 w 10000"/>
                <a:gd name="connsiteY52" fmla="*/ 6099 h 10000"/>
                <a:gd name="connsiteX53" fmla="*/ 807 w 10000"/>
                <a:gd name="connsiteY53" fmla="*/ 6455 h 10000"/>
                <a:gd name="connsiteX54" fmla="*/ 548 w 10000"/>
                <a:gd name="connsiteY54" fmla="*/ 6614 h 10000"/>
                <a:gd name="connsiteX55" fmla="*/ 548 w 10000"/>
                <a:gd name="connsiteY55" fmla="*/ 6614 h 10000"/>
                <a:gd name="connsiteX56" fmla="*/ 548 w 10000"/>
                <a:gd name="connsiteY56" fmla="*/ 6614 h 10000"/>
                <a:gd name="connsiteX57" fmla="*/ 115 w 10000"/>
                <a:gd name="connsiteY57" fmla="*/ 6832 h 10000"/>
                <a:gd name="connsiteX58" fmla="*/ 58 w 10000"/>
                <a:gd name="connsiteY58" fmla="*/ 6772 h 10000"/>
                <a:gd name="connsiteX59" fmla="*/ 0 w 10000"/>
                <a:gd name="connsiteY59" fmla="*/ 7366 h 10000"/>
                <a:gd name="connsiteX60" fmla="*/ 980 w 10000"/>
                <a:gd name="connsiteY60" fmla="*/ 7406 h 10000"/>
                <a:gd name="connsiteX61" fmla="*/ 1441 w 10000"/>
                <a:gd name="connsiteY61" fmla="*/ 9010 h 10000"/>
                <a:gd name="connsiteX62" fmla="*/ 3141 w 10000"/>
                <a:gd name="connsiteY62" fmla="*/ 8950 h 10000"/>
                <a:gd name="connsiteX63" fmla="*/ 3718 w 10000"/>
                <a:gd name="connsiteY63" fmla="*/ 8891 h 10000"/>
                <a:gd name="connsiteX64" fmla="*/ 4409 w 10000"/>
                <a:gd name="connsiteY64" fmla="*/ 9267 h 10000"/>
                <a:gd name="connsiteX65" fmla="*/ 4150 w 10000"/>
                <a:gd name="connsiteY65" fmla="*/ 9604 h 10000"/>
                <a:gd name="connsiteX66" fmla="*/ 4784 w 10000"/>
                <a:gd name="connsiteY66" fmla="*/ 10000 h 10000"/>
                <a:gd name="connsiteX67" fmla="*/ 5360 w 10000"/>
                <a:gd name="connsiteY67" fmla="*/ 10000 h 10000"/>
                <a:gd name="connsiteX68" fmla="*/ 5360 w 10000"/>
                <a:gd name="connsiteY68" fmla="*/ 9446 h 10000"/>
                <a:gd name="connsiteX69" fmla="*/ 5850 w 10000"/>
                <a:gd name="connsiteY69" fmla="*/ 9069 h 10000"/>
                <a:gd name="connsiteX70" fmla="*/ 6167 w 10000"/>
                <a:gd name="connsiteY70" fmla="*/ 8792 h 10000"/>
                <a:gd name="connsiteX71" fmla="*/ 6484 w 10000"/>
                <a:gd name="connsiteY71" fmla="*/ 8495 h 10000"/>
                <a:gd name="connsiteX72" fmla="*/ 6859 w 10000"/>
                <a:gd name="connsiteY72" fmla="*/ 8356 h 10000"/>
                <a:gd name="connsiteX73" fmla="*/ 7291 w 10000"/>
                <a:gd name="connsiteY73" fmla="*/ 8040 h 10000"/>
                <a:gd name="connsiteX74" fmla="*/ 8127 w 10000"/>
                <a:gd name="connsiteY74" fmla="*/ 7881 h 10000"/>
                <a:gd name="connsiteX75" fmla="*/ 8617 w 10000"/>
                <a:gd name="connsiteY75" fmla="*/ 7426 h 10000"/>
                <a:gd name="connsiteX76" fmla="*/ 8934 w 10000"/>
                <a:gd name="connsiteY76" fmla="*/ 7168 h 10000"/>
                <a:gd name="connsiteX77" fmla="*/ 9395 w 10000"/>
                <a:gd name="connsiteY77" fmla="*/ 7366 h 10000"/>
                <a:gd name="connsiteX78" fmla="*/ 9539 w 10000"/>
                <a:gd name="connsiteY78" fmla="*/ 7010 h 10000"/>
                <a:gd name="connsiteX79" fmla="*/ 9971 w 10000"/>
                <a:gd name="connsiteY79" fmla="*/ 6950 h 10000"/>
                <a:gd name="connsiteX80" fmla="*/ 10000 w 10000"/>
                <a:gd name="connsiteY80" fmla="*/ 6812 h 10000"/>
                <a:gd name="connsiteX81" fmla="*/ 9971 w 10000"/>
                <a:gd name="connsiteY81" fmla="*/ 6851 h 10000"/>
                <a:gd name="connsiteX82" fmla="*/ 9107 w 10000"/>
                <a:gd name="connsiteY82" fmla="*/ 6495 h 10000"/>
                <a:gd name="connsiteX0" fmla="*/ 9107 w 10000"/>
                <a:gd name="connsiteY0" fmla="*/ 6495 h 10000"/>
                <a:gd name="connsiteX1" fmla="*/ 9107 w 10000"/>
                <a:gd name="connsiteY1" fmla="*/ 6495 h 10000"/>
                <a:gd name="connsiteX2" fmla="*/ 9107 w 10000"/>
                <a:gd name="connsiteY2" fmla="*/ 6495 h 10000"/>
                <a:gd name="connsiteX3" fmla="*/ 8357 w 10000"/>
                <a:gd name="connsiteY3" fmla="*/ 5960 h 10000"/>
                <a:gd name="connsiteX4" fmla="*/ 8329 w 10000"/>
                <a:gd name="connsiteY4" fmla="*/ 5941 h 10000"/>
                <a:gd name="connsiteX5" fmla="*/ 8329 w 10000"/>
                <a:gd name="connsiteY5" fmla="*/ 5921 h 10000"/>
                <a:gd name="connsiteX6" fmla="*/ 8357 w 10000"/>
                <a:gd name="connsiteY6" fmla="*/ 5564 h 10000"/>
                <a:gd name="connsiteX7" fmla="*/ 7709 w 10000"/>
                <a:gd name="connsiteY7" fmla="*/ 4877 h 10000"/>
                <a:gd name="connsiteX8" fmla="*/ 7464 w 10000"/>
                <a:gd name="connsiteY8" fmla="*/ 5050 h 10000"/>
                <a:gd name="connsiteX9" fmla="*/ 7435 w 10000"/>
                <a:gd name="connsiteY9" fmla="*/ 5050 h 10000"/>
                <a:gd name="connsiteX10" fmla="*/ 6945 w 10000"/>
                <a:gd name="connsiteY10" fmla="*/ 4653 h 10000"/>
                <a:gd name="connsiteX11" fmla="*/ 6916 w 10000"/>
                <a:gd name="connsiteY11" fmla="*/ 4634 h 10000"/>
                <a:gd name="connsiteX12" fmla="*/ 6916 w 10000"/>
                <a:gd name="connsiteY12" fmla="*/ 4614 h 10000"/>
                <a:gd name="connsiteX13" fmla="*/ 6945 w 10000"/>
                <a:gd name="connsiteY13" fmla="*/ 4436 h 10000"/>
                <a:gd name="connsiteX14" fmla="*/ 6945 w 10000"/>
                <a:gd name="connsiteY14" fmla="*/ 4436 h 10000"/>
                <a:gd name="connsiteX15" fmla="*/ 6945 w 10000"/>
                <a:gd name="connsiteY15" fmla="*/ 4436 h 10000"/>
                <a:gd name="connsiteX16" fmla="*/ 7233 w 10000"/>
                <a:gd name="connsiteY16" fmla="*/ 3663 h 10000"/>
                <a:gd name="connsiteX17" fmla="*/ 7233 w 10000"/>
                <a:gd name="connsiteY17" fmla="*/ 3644 h 10000"/>
                <a:gd name="connsiteX18" fmla="*/ 7233 w 10000"/>
                <a:gd name="connsiteY18" fmla="*/ 3644 h 10000"/>
                <a:gd name="connsiteX19" fmla="*/ 7435 w 10000"/>
                <a:gd name="connsiteY19" fmla="*/ 3485 h 10000"/>
                <a:gd name="connsiteX20" fmla="*/ 7406 w 10000"/>
                <a:gd name="connsiteY20" fmla="*/ 2356 h 10000"/>
                <a:gd name="connsiteX21" fmla="*/ 7118 w 10000"/>
                <a:gd name="connsiteY21" fmla="*/ 1762 h 10000"/>
                <a:gd name="connsiteX22" fmla="*/ 6196 w 10000"/>
                <a:gd name="connsiteY22" fmla="*/ 337 h 10000"/>
                <a:gd name="connsiteX23" fmla="*/ 6196 w 10000"/>
                <a:gd name="connsiteY23" fmla="*/ 317 h 10000"/>
                <a:gd name="connsiteX24" fmla="*/ 6196 w 10000"/>
                <a:gd name="connsiteY24" fmla="*/ 317 h 10000"/>
                <a:gd name="connsiteX25" fmla="*/ 6110 w 10000"/>
                <a:gd name="connsiteY25" fmla="*/ 0 h 10000"/>
                <a:gd name="connsiteX26" fmla="*/ 2767 w 10000"/>
                <a:gd name="connsiteY26" fmla="*/ 40 h 10000"/>
                <a:gd name="connsiteX27" fmla="*/ 2622 w 10000"/>
                <a:gd name="connsiteY27" fmla="*/ 891 h 10000"/>
                <a:gd name="connsiteX28" fmla="*/ 2622 w 10000"/>
                <a:gd name="connsiteY28" fmla="*/ 911 h 10000"/>
                <a:gd name="connsiteX29" fmla="*/ 2622 w 10000"/>
                <a:gd name="connsiteY29" fmla="*/ 911 h 10000"/>
                <a:gd name="connsiteX30" fmla="*/ 2478 w 10000"/>
                <a:gd name="connsiteY30" fmla="*/ 1109 h 10000"/>
                <a:gd name="connsiteX31" fmla="*/ 3026 w 10000"/>
                <a:gd name="connsiteY31" fmla="*/ 1663 h 10000"/>
                <a:gd name="connsiteX32" fmla="*/ 3055 w 10000"/>
                <a:gd name="connsiteY32" fmla="*/ 1663 h 10000"/>
                <a:gd name="connsiteX33" fmla="*/ 3055 w 10000"/>
                <a:gd name="connsiteY33" fmla="*/ 1683 h 10000"/>
                <a:gd name="connsiteX34" fmla="*/ 3112 w 10000"/>
                <a:gd name="connsiteY34" fmla="*/ 2970 h 10000"/>
                <a:gd name="connsiteX35" fmla="*/ 4006 w 10000"/>
                <a:gd name="connsiteY35" fmla="*/ 3505 h 10000"/>
                <a:gd name="connsiteX36" fmla="*/ 4035 w 10000"/>
                <a:gd name="connsiteY36" fmla="*/ 3505 h 10000"/>
                <a:gd name="connsiteX37" fmla="*/ 4006 w 10000"/>
                <a:gd name="connsiteY37" fmla="*/ 3545 h 10000"/>
                <a:gd name="connsiteX38" fmla="*/ 3862 w 10000"/>
                <a:gd name="connsiteY38" fmla="*/ 3881 h 10000"/>
                <a:gd name="connsiteX39" fmla="*/ 3890 w 10000"/>
                <a:gd name="connsiteY39" fmla="*/ 4297 h 10000"/>
                <a:gd name="connsiteX40" fmla="*/ 3890 w 10000"/>
                <a:gd name="connsiteY40" fmla="*/ 4317 h 10000"/>
                <a:gd name="connsiteX41" fmla="*/ 3890 w 10000"/>
                <a:gd name="connsiteY41" fmla="*/ 4317 h 10000"/>
                <a:gd name="connsiteX42" fmla="*/ 3314 w 10000"/>
                <a:gd name="connsiteY42" fmla="*/ 4752 h 10000"/>
                <a:gd name="connsiteX43" fmla="*/ 3660 w 10000"/>
                <a:gd name="connsiteY43" fmla="*/ 5129 h 10000"/>
                <a:gd name="connsiteX44" fmla="*/ 3660 w 10000"/>
                <a:gd name="connsiteY44" fmla="*/ 5168 h 10000"/>
                <a:gd name="connsiteX45" fmla="*/ 3631 w 10000"/>
                <a:gd name="connsiteY45" fmla="*/ 5188 h 10000"/>
                <a:gd name="connsiteX46" fmla="*/ 3026 w 10000"/>
                <a:gd name="connsiteY46" fmla="*/ 5465 h 10000"/>
                <a:gd name="connsiteX47" fmla="*/ 2565 w 10000"/>
                <a:gd name="connsiteY47" fmla="*/ 5723 h 10000"/>
                <a:gd name="connsiteX48" fmla="*/ 2565 w 10000"/>
                <a:gd name="connsiteY48" fmla="*/ 5723 h 10000"/>
                <a:gd name="connsiteX49" fmla="*/ 2565 w 10000"/>
                <a:gd name="connsiteY49" fmla="*/ 5723 h 10000"/>
                <a:gd name="connsiteX50" fmla="*/ 2017 w 10000"/>
                <a:gd name="connsiteY50" fmla="*/ 5861 h 10000"/>
                <a:gd name="connsiteX51" fmla="*/ 1470 w 10000"/>
                <a:gd name="connsiteY51" fmla="*/ 6099 h 10000"/>
                <a:gd name="connsiteX52" fmla="*/ 807 w 10000"/>
                <a:gd name="connsiteY52" fmla="*/ 6455 h 10000"/>
                <a:gd name="connsiteX53" fmla="*/ 548 w 10000"/>
                <a:gd name="connsiteY53" fmla="*/ 6614 h 10000"/>
                <a:gd name="connsiteX54" fmla="*/ 548 w 10000"/>
                <a:gd name="connsiteY54" fmla="*/ 6614 h 10000"/>
                <a:gd name="connsiteX55" fmla="*/ 548 w 10000"/>
                <a:gd name="connsiteY55" fmla="*/ 6614 h 10000"/>
                <a:gd name="connsiteX56" fmla="*/ 115 w 10000"/>
                <a:gd name="connsiteY56" fmla="*/ 6832 h 10000"/>
                <a:gd name="connsiteX57" fmla="*/ 58 w 10000"/>
                <a:gd name="connsiteY57" fmla="*/ 6772 h 10000"/>
                <a:gd name="connsiteX58" fmla="*/ 0 w 10000"/>
                <a:gd name="connsiteY58" fmla="*/ 7366 h 10000"/>
                <a:gd name="connsiteX59" fmla="*/ 980 w 10000"/>
                <a:gd name="connsiteY59" fmla="*/ 7406 h 10000"/>
                <a:gd name="connsiteX60" fmla="*/ 1441 w 10000"/>
                <a:gd name="connsiteY60" fmla="*/ 9010 h 10000"/>
                <a:gd name="connsiteX61" fmla="*/ 3141 w 10000"/>
                <a:gd name="connsiteY61" fmla="*/ 8950 h 10000"/>
                <a:gd name="connsiteX62" fmla="*/ 3718 w 10000"/>
                <a:gd name="connsiteY62" fmla="*/ 8891 h 10000"/>
                <a:gd name="connsiteX63" fmla="*/ 4409 w 10000"/>
                <a:gd name="connsiteY63" fmla="*/ 9267 h 10000"/>
                <a:gd name="connsiteX64" fmla="*/ 4150 w 10000"/>
                <a:gd name="connsiteY64" fmla="*/ 9604 h 10000"/>
                <a:gd name="connsiteX65" fmla="*/ 4784 w 10000"/>
                <a:gd name="connsiteY65" fmla="*/ 10000 h 10000"/>
                <a:gd name="connsiteX66" fmla="*/ 5360 w 10000"/>
                <a:gd name="connsiteY66" fmla="*/ 10000 h 10000"/>
                <a:gd name="connsiteX67" fmla="*/ 5360 w 10000"/>
                <a:gd name="connsiteY67" fmla="*/ 9446 h 10000"/>
                <a:gd name="connsiteX68" fmla="*/ 5850 w 10000"/>
                <a:gd name="connsiteY68" fmla="*/ 9069 h 10000"/>
                <a:gd name="connsiteX69" fmla="*/ 6167 w 10000"/>
                <a:gd name="connsiteY69" fmla="*/ 8792 h 10000"/>
                <a:gd name="connsiteX70" fmla="*/ 6484 w 10000"/>
                <a:gd name="connsiteY70" fmla="*/ 8495 h 10000"/>
                <a:gd name="connsiteX71" fmla="*/ 6859 w 10000"/>
                <a:gd name="connsiteY71" fmla="*/ 8356 h 10000"/>
                <a:gd name="connsiteX72" fmla="*/ 7291 w 10000"/>
                <a:gd name="connsiteY72" fmla="*/ 8040 h 10000"/>
                <a:gd name="connsiteX73" fmla="*/ 8127 w 10000"/>
                <a:gd name="connsiteY73" fmla="*/ 7881 h 10000"/>
                <a:gd name="connsiteX74" fmla="*/ 8617 w 10000"/>
                <a:gd name="connsiteY74" fmla="*/ 7426 h 10000"/>
                <a:gd name="connsiteX75" fmla="*/ 8934 w 10000"/>
                <a:gd name="connsiteY75" fmla="*/ 7168 h 10000"/>
                <a:gd name="connsiteX76" fmla="*/ 9395 w 10000"/>
                <a:gd name="connsiteY76" fmla="*/ 7366 h 10000"/>
                <a:gd name="connsiteX77" fmla="*/ 9539 w 10000"/>
                <a:gd name="connsiteY77" fmla="*/ 7010 h 10000"/>
                <a:gd name="connsiteX78" fmla="*/ 9971 w 10000"/>
                <a:gd name="connsiteY78" fmla="*/ 6950 h 10000"/>
                <a:gd name="connsiteX79" fmla="*/ 10000 w 10000"/>
                <a:gd name="connsiteY79" fmla="*/ 6812 h 10000"/>
                <a:gd name="connsiteX80" fmla="*/ 9971 w 10000"/>
                <a:gd name="connsiteY80" fmla="*/ 6851 h 10000"/>
                <a:gd name="connsiteX81" fmla="*/ 9107 w 10000"/>
                <a:gd name="connsiteY81" fmla="*/ 6495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0000" h="10000">
                  <a:moveTo>
                    <a:pt x="9107" y="6495"/>
                  </a:moveTo>
                  <a:lnTo>
                    <a:pt x="9107" y="6495"/>
                  </a:lnTo>
                  <a:lnTo>
                    <a:pt x="9107" y="6495"/>
                  </a:lnTo>
                  <a:lnTo>
                    <a:pt x="8357" y="5960"/>
                  </a:lnTo>
                  <a:cubicBezTo>
                    <a:pt x="8348" y="5954"/>
                    <a:pt x="8338" y="5947"/>
                    <a:pt x="8329" y="5941"/>
                  </a:cubicBezTo>
                  <a:lnTo>
                    <a:pt x="8329" y="5921"/>
                  </a:lnTo>
                  <a:cubicBezTo>
                    <a:pt x="8338" y="5802"/>
                    <a:pt x="8348" y="5683"/>
                    <a:pt x="8357" y="5564"/>
                  </a:cubicBezTo>
                  <a:lnTo>
                    <a:pt x="7709" y="4877"/>
                  </a:lnTo>
                  <a:lnTo>
                    <a:pt x="7464" y="5050"/>
                  </a:lnTo>
                  <a:lnTo>
                    <a:pt x="7435" y="5050"/>
                  </a:lnTo>
                  <a:cubicBezTo>
                    <a:pt x="7349" y="4984"/>
                    <a:pt x="7032" y="4722"/>
                    <a:pt x="6945" y="4653"/>
                  </a:cubicBezTo>
                  <a:cubicBezTo>
                    <a:pt x="6935" y="4647"/>
                    <a:pt x="6926" y="4640"/>
                    <a:pt x="6916" y="4634"/>
                  </a:cubicBezTo>
                  <a:lnTo>
                    <a:pt x="6916" y="4614"/>
                  </a:lnTo>
                  <a:cubicBezTo>
                    <a:pt x="6926" y="4555"/>
                    <a:pt x="6935" y="4495"/>
                    <a:pt x="6945" y="4436"/>
                  </a:cubicBezTo>
                  <a:lnTo>
                    <a:pt x="6945" y="4436"/>
                  </a:lnTo>
                  <a:lnTo>
                    <a:pt x="6945" y="4436"/>
                  </a:lnTo>
                  <a:lnTo>
                    <a:pt x="7233" y="3663"/>
                  </a:lnTo>
                  <a:lnTo>
                    <a:pt x="7233" y="3644"/>
                  </a:lnTo>
                  <a:lnTo>
                    <a:pt x="7233" y="3644"/>
                  </a:lnTo>
                  <a:lnTo>
                    <a:pt x="7435" y="3485"/>
                  </a:lnTo>
                  <a:cubicBezTo>
                    <a:pt x="7425" y="3109"/>
                    <a:pt x="7416" y="2732"/>
                    <a:pt x="7406" y="2356"/>
                  </a:cubicBezTo>
                  <a:cubicBezTo>
                    <a:pt x="7378" y="2297"/>
                    <a:pt x="7118" y="1762"/>
                    <a:pt x="7118" y="1762"/>
                  </a:cubicBezTo>
                  <a:lnTo>
                    <a:pt x="6196" y="337"/>
                  </a:lnTo>
                  <a:lnTo>
                    <a:pt x="6196" y="317"/>
                  </a:lnTo>
                  <a:lnTo>
                    <a:pt x="6196" y="317"/>
                  </a:lnTo>
                  <a:cubicBezTo>
                    <a:pt x="6167" y="211"/>
                    <a:pt x="6139" y="106"/>
                    <a:pt x="6110" y="0"/>
                  </a:cubicBezTo>
                  <a:lnTo>
                    <a:pt x="2767" y="40"/>
                  </a:lnTo>
                  <a:cubicBezTo>
                    <a:pt x="2719" y="324"/>
                    <a:pt x="2670" y="607"/>
                    <a:pt x="2622" y="891"/>
                  </a:cubicBezTo>
                  <a:lnTo>
                    <a:pt x="2622" y="911"/>
                  </a:lnTo>
                  <a:lnTo>
                    <a:pt x="2622" y="911"/>
                  </a:lnTo>
                  <a:lnTo>
                    <a:pt x="2478" y="1109"/>
                  </a:lnTo>
                  <a:lnTo>
                    <a:pt x="3026" y="1663"/>
                  </a:lnTo>
                  <a:lnTo>
                    <a:pt x="3055" y="1663"/>
                  </a:lnTo>
                  <a:lnTo>
                    <a:pt x="3055" y="1683"/>
                  </a:lnTo>
                  <a:lnTo>
                    <a:pt x="3112" y="2970"/>
                  </a:lnTo>
                  <a:lnTo>
                    <a:pt x="4006" y="3505"/>
                  </a:lnTo>
                  <a:lnTo>
                    <a:pt x="4035" y="3505"/>
                  </a:lnTo>
                  <a:cubicBezTo>
                    <a:pt x="4025" y="3518"/>
                    <a:pt x="4016" y="3532"/>
                    <a:pt x="4006" y="3545"/>
                  </a:cubicBezTo>
                  <a:lnTo>
                    <a:pt x="3862" y="3881"/>
                  </a:lnTo>
                  <a:cubicBezTo>
                    <a:pt x="3871" y="4020"/>
                    <a:pt x="3881" y="4158"/>
                    <a:pt x="3890" y="4297"/>
                  </a:cubicBezTo>
                  <a:lnTo>
                    <a:pt x="3890" y="4317"/>
                  </a:lnTo>
                  <a:lnTo>
                    <a:pt x="3890" y="4317"/>
                  </a:lnTo>
                  <a:lnTo>
                    <a:pt x="3314" y="4752"/>
                  </a:lnTo>
                  <a:lnTo>
                    <a:pt x="3660" y="5129"/>
                  </a:lnTo>
                  <a:lnTo>
                    <a:pt x="3660" y="5168"/>
                  </a:lnTo>
                  <a:cubicBezTo>
                    <a:pt x="3650" y="5175"/>
                    <a:pt x="3641" y="5181"/>
                    <a:pt x="3631" y="5188"/>
                  </a:cubicBezTo>
                  <a:lnTo>
                    <a:pt x="3026" y="5465"/>
                  </a:lnTo>
                  <a:lnTo>
                    <a:pt x="2565" y="5723"/>
                  </a:lnTo>
                  <a:lnTo>
                    <a:pt x="2565" y="5723"/>
                  </a:lnTo>
                  <a:lnTo>
                    <a:pt x="2565" y="5723"/>
                  </a:lnTo>
                  <a:lnTo>
                    <a:pt x="2017" y="5861"/>
                  </a:lnTo>
                  <a:cubicBezTo>
                    <a:pt x="1960" y="5881"/>
                    <a:pt x="1470" y="6119"/>
                    <a:pt x="1470" y="6099"/>
                  </a:cubicBezTo>
                  <a:lnTo>
                    <a:pt x="807" y="6455"/>
                  </a:lnTo>
                  <a:lnTo>
                    <a:pt x="548" y="6614"/>
                  </a:lnTo>
                  <a:lnTo>
                    <a:pt x="548" y="6614"/>
                  </a:lnTo>
                  <a:lnTo>
                    <a:pt x="548" y="6614"/>
                  </a:lnTo>
                  <a:lnTo>
                    <a:pt x="115" y="6832"/>
                  </a:lnTo>
                  <a:lnTo>
                    <a:pt x="58" y="6772"/>
                  </a:lnTo>
                  <a:cubicBezTo>
                    <a:pt x="39" y="6970"/>
                    <a:pt x="19" y="7168"/>
                    <a:pt x="0" y="7366"/>
                  </a:cubicBezTo>
                  <a:lnTo>
                    <a:pt x="980" y="7406"/>
                  </a:lnTo>
                  <a:lnTo>
                    <a:pt x="1441" y="9010"/>
                  </a:lnTo>
                  <a:lnTo>
                    <a:pt x="3141" y="8950"/>
                  </a:lnTo>
                  <a:lnTo>
                    <a:pt x="3718" y="8891"/>
                  </a:lnTo>
                  <a:lnTo>
                    <a:pt x="4409" y="9267"/>
                  </a:lnTo>
                  <a:lnTo>
                    <a:pt x="4150" y="9604"/>
                  </a:lnTo>
                  <a:lnTo>
                    <a:pt x="4784" y="10000"/>
                  </a:lnTo>
                  <a:lnTo>
                    <a:pt x="5360" y="10000"/>
                  </a:lnTo>
                  <a:lnTo>
                    <a:pt x="5360" y="9446"/>
                  </a:lnTo>
                  <a:lnTo>
                    <a:pt x="5850" y="9069"/>
                  </a:lnTo>
                  <a:lnTo>
                    <a:pt x="6167" y="8792"/>
                  </a:lnTo>
                  <a:lnTo>
                    <a:pt x="6484" y="8495"/>
                  </a:lnTo>
                  <a:lnTo>
                    <a:pt x="6859" y="8356"/>
                  </a:lnTo>
                  <a:lnTo>
                    <a:pt x="7291" y="8040"/>
                  </a:lnTo>
                  <a:lnTo>
                    <a:pt x="8127" y="7881"/>
                  </a:lnTo>
                  <a:lnTo>
                    <a:pt x="8617" y="7426"/>
                  </a:lnTo>
                  <a:lnTo>
                    <a:pt x="8934" y="7168"/>
                  </a:lnTo>
                  <a:lnTo>
                    <a:pt x="9395" y="7366"/>
                  </a:lnTo>
                  <a:lnTo>
                    <a:pt x="9539" y="7010"/>
                  </a:lnTo>
                  <a:lnTo>
                    <a:pt x="9971" y="6950"/>
                  </a:lnTo>
                  <a:cubicBezTo>
                    <a:pt x="9981" y="6904"/>
                    <a:pt x="9990" y="6858"/>
                    <a:pt x="10000" y="6812"/>
                  </a:cubicBezTo>
                  <a:cubicBezTo>
                    <a:pt x="9990" y="6825"/>
                    <a:pt x="9981" y="6838"/>
                    <a:pt x="9971" y="6851"/>
                  </a:cubicBezTo>
                  <a:lnTo>
                    <a:pt x="9107" y="6495"/>
                  </a:lnTo>
                  <a:close/>
                </a:path>
              </a:pathLst>
            </a:custGeom>
            <a:solidFill>
              <a:srgbClr val="00B05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2000" tIns="72000" rIns="72000" bIns="72000" anchor="ctr"/>
            <a:lstStyle/>
            <a:p>
              <a:pPr algn="ctr" defTabSz="914308">
                <a:defRPr/>
              </a:pPr>
              <a:endParaRPr lang="ru-RU" sz="1200" kern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377" name="Freeform 225">
              <a:extLst/>
            </p:cNvPr>
            <p:cNvSpPr>
              <a:spLocks/>
            </p:cNvSpPr>
            <p:nvPr/>
          </p:nvSpPr>
          <p:spPr bwMode="auto">
            <a:xfrm>
              <a:off x="2155187" y="2401591"/>
              <a:ext cx="2000276" cy="1776002"/>
            </a:xfrm>
            <a:custGeom>
              <a:avLst/>
              <a:gdLst>
                <a:gd name="T0" fmla="*/ 263 w 643"/>
                <a:gd name="T1" fmla="*/ 542 h 571"/>
                <a:gd name="T2" fmla="*/ 130 w 643"/>
                <a:gd name="T3" fmla="*/ 571 h 571"/>
                <a:gd name="T4" fmla="*/ 121 w 643"/>
                <a:gd name="T5" fmla="*/ 487 h 571"/>
                <a:gd name="T6" fmla="*/ 121 w 643"/>
                <a:gd name="T7" fmla="*/ 484 h 571"/>
                <a:gd name="T8" fmla="*/ 115 w 643"/>
                <a:gd name="T9" fmla="*/ 437 h 571"/>
                <a:gd name="T10" fmla="*/ 71 w 643"/>
                <a:gd name="T11" fmla="*/ 416 h 571"/>
                <a:gd name="T12" fmla="*/ 55 w 643"/>
                <a:gd name="T13" fmla="*/ 375 h 571"/>
                <a:gd name="T14" fmla="*/ 50 w 643"/>
                <a:gd name="T15" fmla="*/ 344 h 571"/>
                <a:gd name="T16" fmla="*/ 70 w 643"/>
                <a:gd name="T17" fmla="*/ 303 h 571"/>
                <a:gd name="T18" fmla="*/ 61 w 643"/>
                <a:gd name="T19" fmla="*/ 288 h 571"/>
                <a:gd name="T20" fmla="*/ 68 w 643"/>
                <a:gd name="T21" fmla="*/ 222 h 571"/>
                <a:gd name="T22" fmla="*/ 46 w 643"/>
                <a:gd name="T23" fmla="*/ 210 h 571"/>
                <a:gd name="T24" fmla="*/ 15 w 643"/>
                <a:gd name="T25" fmla="*/ 208 h 571"/>
                <a:gd name="T26" fmla="*/ 23 w 643"/>
                <a:gd name="T27" fmla="*/ 179 h 571"/>
                <a:gd name="T28" fmla="*/ 23 w 643"/>
                <a:gd name="T29" fmla="*/ 172 h 571"/>
                <a:gd name="T30" fmla="*/ 10 w 643"/>
                <a:gd name="T31" fmla="*/ 131 h 571"/>
                <a:gd name="T32" fmla="*/ 50 w 643"/>
                <a:gd name="T33" fmla="*/ 129 h 571"/>
                <a:gd name="T34" fmla="*/ 73 w 643"/>
                <a:gd name="T35" fmla="*/ 98 h 571"/>
                <a:gd name="T36" fmla="*/ 70 w 643"/>
                <a:gd name="T37" fmla="*/ 75 h 571"/>
                <a:gd name="T38" fmla="*/ 73 w 643"/>
                <a:gd name="T39" fmla="*/ 46 h 571"/>
                <a:gd name="T40" fmla="*/ 66 w 643"/>
                <a:gd name="T41" fmla="*/ 14 h 571"/>
                <a:gd name="T42" fmla="*/ 102 w 643"/>
                <a:gd name="T43" fmla="*/ 21 h 571"/>
                <a:gd name="T44" fmla="*/ 167 w 643"/>
                <a:gd name="T45" fmla="*/ 30 h 571"/>
                <a:gd name="T46" fmla="*/ 229 w 643"/>
                <a:gd name="T47" fmla="*/ 20 h 571"/>
                <a:gd name="T48" fmla="*/ 268 w 643"/>
                <a:gd name="T49" fmla="*/ 22 h 571"/>
                <a:gd name="T50" fmla="*/ 312 w 643"/>
                <a:gd name="T51" fmla="*/ 53 h 571"/>
                <a:gd name="T52" fmla="*/ 368 w 643"/>
                <a:gd name="T53" fmla="*/ 84 h 571"/>
                <a:gd name="T54" fmla="*/ 394 w 643"/>
                <a:gd name="T55" fmla="*/ 64 h 571"/>
                <a:gd name="T56" fmla="*/ 436 w 643"/>
                <a:gd name="T57" fmla="*/ 78 h 571"/>
                <a:gd name="T58" fmla="*/ 492 w 643"/>
                <a:gd name="T59" fmla="*/ 30 h 571"/>
                <a:gd name="T60" fmla="*/ 513 w 643"/>
                <a:gd name="T61" fmla="*/ 41 h 571"/>
                <a:gd name="T62" fmla="*/ 518 w 643"/>
                <a:gd name="T63" fmla="*/ 50 h 571"/>
                <a:gd name="T64" fmla="*/ 530 w 643"/>
                <a:gd name="T65" fmla="*/ 42 h 571"/>
                <a:gd name="T66" fmla="*/ 537 w 643"/>
                <a:gd name="T67" fmla="*/ 56 h 571"/>
                <a:gd name="T68" fmla="*/ 538 w 643"/>
                <a:gd name="T69" fmla="*/ 70 h 571"/>
                <a:gd name="T70" fmla="*/ 537 w 643"/>
                <a:gd name="T71" fmla="*/ 85 h 571"/>
                <a:gd name="T72" fmla="*/ 546 w 643"/>
                <a:gd name="T73" fmla="*/ 96 h 571"/>
                <a:gd name="T74" fmla="*/ 559 w 643"/>
                <a:gd name="T75" fmla="*/ 130 h 571"/>
                <a:gd name="T76" fmla="*/ 565 w 643"/>
                <a:gd name="T77" fmla="*/ 137 h 571"/>
                <a:gd name="T78" fmla="*/ 547 w 643"/>
                <a:gd name="T79" fmla="*/ 171 h 571"/>
                <a:gd name="T80" fmla="*/ 534 w 643"/>
                <a:gd name="T81" fmla="*/ 192 h 571"/>
                <a:gd name="T82" fmla="*/ 525 w 643"/>
                <a:gd name="T83" fmla="*/ 201 h 571"/>
                <a:gd name="T84" fmla="*/ 526 w 643"/>
                <a:gd name="T85" fmla="*/ 235 h 571"/>
                <a:gd name="T86" fmla="*/ 548 w 643"/>
                <a:gd name="T87" fmla="*/ 260 h 571"/>
                <a:gd name="T88" fmla="*/ 556 w 643"/>
                <a:gd name="T89" fmla="*/ 264 h 571"/>
                <a:gd name="T90" fmla="*/ 562 w 643"/>
                <a:gd name="T91" fmla="*/ 256 h 571"/>
                <a:gd name="T92" fmla="*/ 566 w 643"/>
                <a:gd name="T93" fmla="*/ 271 h 571"/>
                <a:gd name="T94" fmla="*/ 580 w 643"/>
                <a:gd name="T95" fmla="*/ 284 h 571"/>
                <a:gd name="T96" fmla="*/ 595 w 643"/>
                <a:gd name="T97" fmla="*/ 293 h 571"/>
                <a:gd name="T98" fmla="*/ 631 w 643"/>
                <a:gd name="T99" fmla="*/ 342 h 571"/>
                <a:gd name="T100" fmla="*/ 642 w 643"/>
                <a:gd name="T101" fmla="*/ 356 h 571"/>
                <a:gd name="T102" fmla="*/ 601 w 643"/>
                <a:gd name="T103" fmla="*/ 394 h 571"/>
                <a:gd name="T104" fmla="*/ 569 w 643"/>
                <a:gd name="T105" fmla="*/ 413 h 571"/>
                <a:gd name="T106" fmla="*/ 546 w 643"/>
                <a:gd name="T107" fmla="*/ 422 h 571"/>
                <a:gd name="T108" fmla="*/ 533 w 643"/>
                <a:gd name="T109" fmla="*/ 413 h 571"/>
                <a:gd name="T110" fmla="*/ 530 w 643"/>
                <a:gd name="T111" fmla="*/ 401 h 571"/>
                <a:gd name="T112" fmla="*/ 486 w 643"/>
                <a:gd name="T113" fmla="*/ 355 h 571"/>
                <a:gd name="T114" fmla="*/ 450 w 643"/>
                <a:gd name="T115" fmla="*/ 355 h 571"/>
                <a:gd name="T116" fmla="*/ 380 w 643"/>
                <a:gd name="T117" fmla="*/ 413 h 571"/>
                <a:gd name="T118" fmla="*/ 367 w 643"/>
                <a:gd name="T119" fmla="*/ 432 h 571"/>
                <a:gd name="T120" fmla="*/ 300 w 643"/>
                <a:gd name="T121" fmla="*/ 494 h 571"/>
                <a:gd name="T122" fmla="*/ 294 w 643"/>
                <a:gd name="T123" fmla="*/ 505 h 571"/>
                <a:gd name="T124" fmla="*/ 271 w 643"/>
                <a:gd name="T125" fmla="*/ 508 h 571"/>
                <a:gd name="connsiteX0" fmla="*/ 4230 w 10000"/>
                <a:gd name="connsiteY0" fmla="*/ 9089 h 10000"/>
                <a:gd name="connsiteX1" fmla="*/ 4090 w 10000"/>
                <a:gd name="connsiteY1" fmla="*/ 9282 h 10000"/>
                <a:gd name="connsiteX2" fmla="*/ 4090 w 10000"/>
                <a:gd name="connsiteY2" fmla="*/ 9492 h 10000"/>
                <a:gd name="connsiteX3" fmla="*/ 3981 w 10000"/>
                <a:gd name="connsiteY3" fmla="*/ 9615 h 10000"/>
                <a:gd name="connsiteX4" fmla="*/ 3935 w 10000"/>
                <a:gd name="connsiteY4" fmla="*/ 9580 h 10000"/>
                <a:gd name="connsiteX5" fmla="*/ 2022 w 10000"/>
                <a:gd name="connsiteY5" fmla="*/ 10000 h 10000"/>
                <a:gd name="connsiteX6" fmla="*/ 1960 w 10000"/>
                <a:gd name="connsiteY6" fmla="*/ 9212 h 10000"/>
                <a:gd name="connsiteX7" fmla="*/ 1882 w 10000"/>
                <a:gd name="connsiteY7" fmla="*/ 8529 h 10000"/>
                <a:gd name="connsiteX8" fmla="*/ 1882 w 10000"/>
                <a:gd name="connsiteY8" fmla="*/ 8529 h 10000"/>
                <a:gd name="connsiteX9" fmla="*/ 1882 w 10000"/>
                <a:gd name="connsiteY9" fmla="*/ 8529 h 10000"/>
                <a:gd name="connsiteX10" fmla="*/ 1882 w 10000"/>
                <a:gd name="connsiteY10" fmla="*/ 8529 h 10000"/>
                <a:gd name="connsiteX11" fmla="*/ 1882 w 10000"/>
                <a:gd name="connsiteY11" fmla="*/ 8476 h 10000"/>
                <a:gd name="connsiteX12" fmla="*/ 1882 w 10000"/>
                <a:gd name="connsiteY12" fmla="*/ 8494 h 10000"/>
                <a:gd name="connsiteX13" fmla="*/ 1788 w 10000"/>
                <a:gd name="connsiteY13" fmla="*/ 7671 h 10000"/>
                <a:gd name="connsiteX14" fmla="*/ 1788 w 10000"/>
                <a:gd name="connsiteY14" fmla="*/ 7653 h 10000"/>
                <a:gd name="connsiteX15" fmla="*/ 1773 w 10000"/>
                <a:gd name="connsiteY15" fmla="*/ 7618 h 10000"/>
                <a:gd name="connsiteX16" fmla="*/ 1509 w 10000"/>
                <a:gd name="connsiteY16" fmla="*/ 7496 h 10000"/>
                <a:gd name="connsiteX17" fmla="*/ 1104 w 10000"/>
                <a:gd name="connsiteY17" fmla="*/ 7285 h 10000"/>
                <a:gd name="connsiteX18" fmla="*/ 855 w 10000"/>
                <a:gd name="connsiteY18" fmla="*/ 7005 h 10000"/>
                <a:gd name="connsiteX19" fmla="*/ 855 w 10000"/>
                <a:gd name="connsiteY19" fmla="*/ 6585 h 10000"/>
                <a:gd name="connsiteX20" fmla="*/ 855 w 10000"/>
                <a:gd name="connsiteY20" fmla="*/ 6567 h 10000"/>
                <a:gd name="connsiteX21" fmla="*/ 855 w 10000"/>
                <a:gd name="connsiteY21" fmla="*/ 6567 h 10000"/>
                <a:gd name="connsiteX22" fmla="*/ 731 w 10000"/>
                <a:gd name="connsiteY22" fmla="*/ 6322 h 10000"/>
                <a:gd name="connsiteX23" fmla="*/ 778 w 10000"/>
                <a:gd name="connsiteY23" fmla="*/ 6025 h 10000"/>
                <a:gd name="connsiteX24" fmla="*/ 902 w 10000"/>
                <a:gd name="connsiteY24" fmla="*/ 5744 h 10000"/>
                <a:gd name="connsiteX25" fmla="*/ 980 w 10000"/>
                <a:gd name="connsiteY25" fmla="*/ 5517 h 10000"/>
                <a:gd name="connsiteX26" fmla="*/ 1089 w 10000"/>
                <a:gd name="connsiteY26" fmla="*/ 5306 h 10000"/>
                <a:gd name="connsiteX27" fmla="*/ 1089 w 10000"/>
                <a:gd name="connsiteY27" fmla="*/ 5289 h 10000"/>
                <a:gd name="connsiteX28" fmla="*/ 1073 w 10000"/>
                <a:gd name="connsiteY28" fmla="*/ 5271 h 10000"/>
                <a:gd name="connsiteX29" fmla="*/ 949 w 10000"/>
                <a:gd name="connsiteY29" fmla="*/ 5044 h 10000"/>
                <a:gd name="connsiteX30" fmla="*/ 949 w 10000"/>
                <a:gd name="connsiteY30" fmla="*/ 4203 h 10000"/>
                <a:gd name="connsiteX31" fmla="*/ 1058 w 10000"/>
                <a:gd name="connsiteY31" fmla="*/ 3923 h 10000"/>
                <a:gd name="connsiteX32" fmla="*/ 1058 w 10000"/>
                <a:gd name="connsiteY32" fmla="*/ 3888 h 10000"/>
                <a:gd name="connsiteX33" fmla="*/ 1042 w 10000"/>
                <a:gd name="connsiteY33" fmla="*/ 3870 h 10000"/>
                <a:gd name="connsiteX34" fmla="*/ 731 w 10000"/>
                <a:gd name="connsiteY34" fmla="*/ 3678 h 10000"/>
                <a:gd name="connsiteX35" fmla="*/ 715 w 10000"/>
                <a:gd name="connsiteY35" fmla="*/ 3678 h 10000"/>
                <a:gd name="connsiteX36" fmla="*/ 700 w 10000"/>
                <a:gd name="connsiteY36" fmla="*/ 3678 h 10000"/>
                <a:gd name="connsiteX37" fmla="*/ 560 w 10000"/>
                <a:gd name="connsiteY37" fmla="*/ 3783 h 10000"/>
                <a:gd name="connsiteX38" fmla="*/ 233 w 10000"/>
                <a:gd name="connsiteY38" fmla="*/ 3643 h 10000"/>
                <a:gd name="connsiteX39" fmla="*/ 233 w 10000"/>
                <a:gd name="connsiteY39" fmla="*/ 3257 h 10000"/>
                <a:gd name="connsiteX40" fmla="*/ 342 w 10000"/>
                <a:gd name="connsiteY40" fmla="*/ 3152 h 10000"/>
                <a:gd name="connsiteX41" fmla="*/ 358 w 10000"/>
                <a:gd name="connsiteY41" fmla="*/ 3135 h 10000"/>
                <a:gd name="connsiteX42" fmla="*/ 358 w 10000"/>
                <a:gd name="connsiteY42" fmla="*/ 3117 h 10000"/>
                <a:gd name="connsiteX43" fmla="*/ 358 w 10000"/>
                <a:gd name="connsiteY43" fmla="*/ 3030 h 10000"/>
                <a:gd name="connsiteX44" fmla="*/ 358 w 10000"/>
                <a:gd name="connsiteY44" fmla="*/ 3012 h 10000"/>
                <a:gd name="connsiteX45" fmla="*/ 342 w 10000"/>
                <a:gd name="connsiteY45" fmla="*/ 3012 h 10000"/>
                <a:gd name="connsiteX46" fmla="*/ 0 w 10000"/>
                <a:gd name="connsiteY46" fmla="*/ 2750 h 10000"/>
                <a:gd name="connsiteX47" fmla="*/ 156 w 10000"/>
                <a:gd name="connsiteY47" fmla="*/ 2294 h 10000"/>
                <a:gd name="connsiteX48" fmla="*/ 747 w 10000"/>
                <a:gd name="connsiteY48" fmla="*/ 2277 h 10000"/>
                <a:gd name="connsiteX49" fmla="*/ 762 w 10000"/>
                <a:gd name="connsiteY49" fmla="*/ 2277 h 10000"/>
                <a:gd name="connsiteX50" fmla="*/ 778 w 10000"/>
                <a:gd name="connsiteY50" fmla="*/ 2259 h 10000"/>
                <a:gd name="connsiteX51" fmla="*/ 1135 w 10000"/>
                <a:gd name="connsiteY51" fmla="*/ 1734 h 10000"/>
                <a:gd name="connsiteX52" fmla="*/ 1135 w 10000"/>
                <a:gd name="connsiteY52" fmla="*/ 1734 h 10000"/>
                <a:gd name="connsiteX53" fmla="*/ 1135 w 10000"/>
                <a:gd name="connsiteY53" fmla="*/ 1716 h 10000"/>
                <a:gd name="connsiteX54" fmla="*/ 1089 w 10000"/>
                <a:gd name="connsiteY54" fmla="*/ 1313 h 10000"/>
                <a:gd name="connsiteX55" fmla="*/ 1089 w 10000"/>
                <a:gd name="connsiteY55" fmla="*/ 1313 h 10000"/>
                <a:gd name="connsiteX56" fmla="*/ 1089 w 10000"/>
                <a:gd name="connsiteY56" fmla="*/ 1313 h 10000"/>
                <a:gd name="connsiteX57" fmla="*/ 1026 w 10000"/>
                <a:gd name="connsiteY57" fmla="*/ 1068 h 10000"/>
                <a:gd name="connsiteX58" fmla="*/ 1151 w 10000"/>
                <a:gd name="connsiteY58" fmla="*/ 823 h 10000"/>
                <a:gd name="connsiteX59" fmla="*/ 1135 w 10000"/>
                <a:gd name="connsiteY59" fmla="*/ 806 h 10000"/>
                <a:gd name="connsiteX60" fmla="*/ 1182 w 10000"/>
                <a:gd name="connsiteY60" fmla="*/ 648 h 10000"/>
                <a:gd name="connsiteX61" fmla="*/ 1182 w 10000"/>
                <a:gd name="connsiteY61" fmla="*/ 420 h 10000"/>
                <a:gd name="connsiteX62" fmla="*/ 1026 w 10000"/>
                <a:gd name="connsiteY62" fmla="*/ 245 h 10000"/>
                <a:gd name="connsiteX63" fmla="*/ 1198 w 10000"/>
                <a:gd name="connsiteY63" fmla="*/ 0 h 10000"/>
                <a:gd name="connsiteX64" fmla="*/ 1353 w 10000"/>
                <a:gd name="connsiteY64" fmla="*/ 140 h 10000"/>
                <a:gd name="connsiteX65" fmla="*/ 1586 w 10000"/>
                <a:gd name="connsiteY65" fmla="*/ 368 h 10000"/>
                <a:gd name="connsiteX66" fmla="*/ 2037 w 10000"/>
                <a:gd name="connsiteY66" fmla="*/ 998 h 10000"/>
                <a:gd name="connsiteX67" fmla="*/ 2504 w 10000"/>
                <a:gd name="connsiteY67" fmla="*/ 771 h 10000"/>
                <a:gd name="connsiteX68" fmla="*/ 2597 w 10000"/>
                <a:gd name="connsiteY68" fmla="*/ 525 h 10000"/>
                <a:gd name="connsiteX69" fmla="*/ 2846 w 10000"/>
                <a:gd name="connsiteY69" fmla="*/ 490 h 10000"/>
                <a:gd name="connsiteX70" fmla="*/ 2986 w 10000"/>
                <a:gd name="connsiteY70" fmla="*/ 280 h 10000"/>
                <a:gd name="connsiteX71" fmla="*/ 3561 w 10000"/>
                <a:gd name="connsiteY71" fmla="*/ 350 h 10000"/>
                <a:gd name="connsiteX72" fmla="*/ 3717 w 10000"/>
                <a:gd name="connsiteY72" fmla="*/ 665 h 10000"/>
                <a:gd name="connsiteX73" fmla="*/ 3997 w 10000"/>
                <a:gd name="connsiteY73" fmla="*/ 665 h 10000"/>
                <a:gd name="connsiteX74" fmla="*/ 4168 w 10000"/>
                <a:gd name="connsiteY74" fmla="*/ 385 h 10000"/>
                <a:gd name="connsiteX75" fmla="*/ 4526 w 10000"/>
                <a:gd name="connsiteY75" fmla="*/ 420 h 10000"/>
                <a:gd name="connsiteX76" fmla="*/ 4837 w 10000"/>
                <a:gd name="connsiteY76" fmla="*/ 525 h 10000"/>
                <a:gd name="connsiteX77" fmla="*/ 4852 w 10000"/>
                <a:gd name="connsiteY77" fmla="*/ 928 h 10000"/>
                <a:gd name="connsiteX78" fmla="*/ 5179 w 10000"/>
                <a:gd name="connsiteY78" fmla="*/ 1313 h 10000"/>
                <a:gd name="connsiteX79" fmla="*/ 5521 w 10000"/>
                <a:gd name="connsiteY79" fmla="*/ 1296 h 10000"/>
                <a:gd name="connsiteX80" fmla="*/ 5723 w 10000"/>
                <a:gd name="connsiteY80" fmla="*/ 1471 h 10000"/>
                <a:gd name="connsiteX81" fmla="*/ 5910 w 10000"/>
                <a:gd name="connsiteY81" fmla="*/ 1594 h 10000"/>
                <a:gd name="connsiteX82" fmla="*/ 6081 w 10000"/>
                <a:gd name="connsiteY82" fmla="*/ 1384 h 10000"/>
                <a:gd name="connsiteX83" fmla="*/ 6128 w 10000"/>
                <a:gd name="connsiteY83" fmla="*/ 1121 h 10000"/>
                <a:gd name="connsiteX84" fmla="*/ 6330 w 10000"/>
                <a:gd name="connsiteY84" fmla="*/ 1068 h 10000"/>
                <a:gd name="connsiteX85" fmla="*/ 6392 w 10000"/>
                <a:gd name="connsiteY85" fmla="*/ 1313 h 10000"/>
                <a:gd name="connsiteX86" fmla="*/ 6781 w 10000"/>
                <a:gd name="connsiteY86" fmla="*/ 1366 h 10000"/>
                <a:gd name="connsiteX87" fmla="*/ 7263 w 10000"/>
                <a:gd name="connsiteY87" fmla="*/ 1296 h 10000"/>
                <a:gd name="connsiteX88" fmla="*/ 7512 w 10000"/>
                <a:gd name="connsiteY88" fmla="*/ 1138 h 10000"/>
                <a:gd name="connsiteX89" fmla="*/ 7652 w 10000"/>
                <a:gd name="connsiteY89" fmla="*/ 525 h 10000"/>
                <a:gd name="connsiteX90" fmla="*/ 7667 w 10000"/>
                <a:gd name="connsiteY90" fmla="*/ 473 h 10000"/>
                <a:gd name="connsiteX91" fmla="*/ 8025 w 10000"/>
                <a:gd name="connsiteY91" fmla="*/ 473 h 10000"/>
                <a:gd name="connsiteX92" fmla="*/ 7978 w 10000"/>
                <a:gd name="connsiteY92" fmla="*/ 718 h 10000"/>
                <a:gd name="connsiteX93" fmla="*/ 7978 w 10000"/>
                <a:gd name="connsiteY93" fmla="*/ 736 h 10000"/>
                <a:gd name="connsiteX94" fmla="*/ 7994 w 10000"/>
                <a:gd name="connsiteY94" fmla="*/ 736 h 10000"/>
                <a:gd name="connsiteX95" fmla="*/ 8056 w 10000"/>
                <a:gd name="connsiteY95" fmla="*/ 876 h 10000"/>
                <a:gd name="connsiteX96" fmla="*/ 8072 w 10000"/>
                <a:gd name="connsiteY96" fmla="*/ 928 h 10000"/>
                <a:gd name="connsiteX97" fmla="*/ 8103 w 10000"/>
                <a:gd name="connsiteY97" fmla="*/ 893 h 10000"/>
                <a:gd name="connsiteX98" fmla="*/ 8243 w 10000"/>
                <a:gd name="connsiteY98" fmla="*/ 736 h 10000"/>
                <a:gd name="connsiteX99" fmla="*/ 8305 w 10000"/>
                <a:gd name="connsiteY99" fmla="*/ 806 h 10000"/>
                <a:gd name="connsiteX100" fmla="*/ 8336 w 10000"/>
                <a:gd name="connsiteY100" fmla="*/ 963 h 10000"/>
                <a:gd name="connsiteX101" fmla="*/ 8351 w 10000"/>
                <a:gd name="connsiteY101" fmla="*/ 981 h 10000"/>
                <a:gd name="connsiteX102" fmla="*/ 8351 w 10000"/>
                <a:gd name="connsiteY102" fmla="*/ 981 h 10000"/>
                <a:gd name="connsiteX103" fmla="*/ 8460 w 10000"/>
                <a:gd name="connsiteY103" fmla="*/ 1121 h 10000"/>
                <a:gd name="connsiteX104" fmla="*/ 8367 w 10000"/>
                <a:gd name="connsiteY104" fmla="*/ 1226 h 10000"/>
                <a:gd name="connsiteX105" fmla="*/ 8351 w 10000"/>
                <a:gd name="connsiteY105" fmla="*/ 1226 h 10000"/>
                <a:gd name="connsiteX106" fmla="*/ 8351 w 10000"/>
                <a:gd name="connsiteY106" fmla="*/ 1243 h 10000"/>
                <a:gd name="connsiteX107" fmla="*/ 8351 w 10000"/>
                <a:gd name="connsiteY107" fmla="*/ 1489 h 10000"/>
                <a:gd name="connsiteX108" fmla="*/ 8351 w 10000"/>
                <a:gd name="connsiteY108" fmla="*/ 1489 h 10000"/>
                <a:gd name="connsiteX109" fmla="*/ 8351 w 10000"/>
                <a:gd name="connsiteY109" fmla="*/ 1506 h 10000"/>
                <a:gd name="connsiteX110" fmla="*/ 8491 w 10000"/>
                <a:gd name="connsiteY110" fmla="*/ 1681 h 10000"/>
                <a:gd name="connsiteX111" fmla="*/ 8616 w 10000"/>
                <a:gd name="connsiteY111" fmla="*/ 1856 h 10000"/>
                <a:gd name="connsiteX112" fmla="*/ 8694 w 10000"/>
                <a:gd name="connsiteY112" fmla="*/ 2137 h 10000"/>
                <a:gd name="connsiteX113" fmla="*/ 8694 w 10000"/>
                <a:gd name="connsiteY113" fmla="*/ 2277 h 10000"/>
                <a:gd name="connsiteX114" fmla="*/ 8694 w 10000"/>
                <a:gd name="connsiteY114" fmla="*/ 2294 h 10000"/>
                <a:gd name="connsiteX115" fmla="*/ 8694 w 10000"/>
                <a:gd name="connsiteY115" fmla="*/ 2312 h 10000"/>
                <a:gd name="connsiteX116" fmla="*/ 8787 w 10000"/>
                <a:gd name="connsiteY116" fmla="*/ 2399 h 10000"/>
                <a:gd name="connsiteX117" fmla="*/ 8818 w 10000"/>
                <a:gd name="connsiteY117" fmla="*/ 2767 h 10000"/>
                <a:gd name="connsiteX118" fmla="*/ 8756 w 10000"/>
                <a:gd name="connsiteY118" fmla="*/ 2855 h 10000"/>
                <a:gd name="connsiteX119" fmla="*/ 8507 w 10000"/>
                <a:gd name="connsiteY119" fmla="*/ 2995 h 10000"/>
                <a:gd name="connsiteX120" fmla="*/ 8491 w 10000"/>
                <a:gd name="connsiteY120" fmla="*/ 3012 h 10000"/>
                <a:gd name="connsiteX121" fmla="*/ 8491 w 10000"/>
                <a:gd name="connsiteY121" fmla="*/ 3012 h 10000"/>
                <a:gd name="connsiteX122" fmla="*/ 8305 w 10000"/>
                <a:gd name="connsiteY122" fmla="*/ 3363 h 10000"/>
                <a:gd name="connsiteX123" fmla="*/ 8180 w 10000"/>
                <a:gd name="connsiteY123" fmla="*/ 3468 h 10000"/>
                <a:gd name="connsiteX124" fmla="*/ 8149 w 10000"/>
                <a:gd name="connsiteY124" fmla="*/ 3485 h 10000"/>
                <a:gd name="connsiteX125" fmla="*/ 8165 w 10000"/>
                <a:gd name="connsiteY125" fmla="*/ 3520 h 10000"/>
                <a:gd name="connsiteX126" fmla="*/ 8274 w 10000"/>
                <a:gd name="connsiteY126" fmla="*/ 3678 h 10000"/>
                <a:gd name="connsiteX127" fmla="*/ 8274 w 10000"/>
                <a:gd name="connsiteY127" fmla="*/ 3835 h 10000"/>
                <a:gd name="connsiteX128" fmla="*/ 8180 w 10000"/>
                <a:gd name="connsiteY128" fmla="*/ 4116 h 10000"/>
                <a:gd name="connsiteX129" fmla="*/ 8180 w 10000"/>
                <a:gd name="connsiteY129" fmla="*/ 4133 h 10000"/>
                <a:gd name="connsiteX130" fmla="*/ 8196 w 10000"/>
                <a:gd name="connsiteY130" fmla="*/ 4151 h 10000"/>
                <a:gd name="connsiteX131" fmla="*/ 8523 w 10000"/>
                <a:gd name="connsiteY131" fmla="*/ 4553 h 10000"/>
                <a:gd name="connsiteX132" fmla="*/ 8523 w 10000"/>
                <a:gd name="connsiteY132" fmla="*/ 4553 h 10000"/>
                <a:gd name="connsiteX133" fmla="*/ 8523 w 10000"/>
                <a:gd name="connsiteY133" fmla="*/ 4553 h 10000"/>
                <a:gd name="connsiteX134" fmla="*/ 8647 w 10000"/>
                <a:gd name="connsiteY134" fmla="*/ 4623 h 10000"/>
                <a:gd name="connsiteX135" fmla="*/ 8678 w 10000"/>
                <a:gd name="connsiteY135" fmla="*/ 4641 h 10000"/>
                <a:gd name="connsiteX136" fmla="*/ 8694 w 10000"/>
                <a:gd name="connsiteY136" fmla="*/ 4606 h 10000"/>
                <a:gd name="connsiteX137" fmla="*/ 8740 w 10000"/>
                <a:gd name="connsiteY137" fmla="*/ 4483 h 10000"/>
                <a:gd name="connsiteX138" fmla="*/ 8787 w 10000"/>
                <a:gd name="connsiteY138" fmla="*/ 4466 h 10000"/>
                <a:gd name="connsiteX139" fmla="*/ 8865 w 10000"/>
                <a:gd name="connsiteY139" fmla="*/ 4553 h 10000"/>
                <a:gd name="connsiteX140" fmla="*/ 8802 w 10000"/>
                <a:gd name="connsiteY140" fmla="*/ 4746 h 10000"/>
                <a:gd name="connsiteX141" fmla="*/ 8787 w 10000"/>
                <a:gd name="connsiteY141" fmla="*/ 4764 h 10000"/>
                <a:gd name="connsiteX142" fmla="*/ 8802 w 10000"/>
                <a:gd name="connsiteY142" fmla="*/ 4781 h 10000"/>
                <a:gd name="connsiteX143" fmla="*/ 9020 w 10000"/>
                <a:gd name="connsiteY143" fmla="*/ 4974 h 10000"/>
                <a:gd name="connsiteX144" fmla="*/ 9253 w 10000"/>
                <a:gd name="connsiteY144" fmla="*/ 5131 h 10000"/>
                <a:gd name="connsiteX145" fmla="*/ 9253 w 10000"/>
                <a:gd name="connsiteY145" fmla="*/ 5131 h 10000"/>
                <a:gd name="connsiteX146" fmla="*/ 9253 w 10000"/>
                <a:gd name="connsiteY146" fmla="*/ 5131 h 10000"/>
                <a:gd name="connsiteX147" fmla="*/ 9565 w 10000"/>
                <a:gd name="connsiteY147" fmla="*/ 5271 h 10000"/>
                <a:gd name="connsiteX148" fmla="*/ 9813 w 10000"/>
                <a:gd name="connsiteY148" fmla="*/ 5709 h 10000"/>
                <a:gd name="connsiteX149" fmla="*/ 9813 w 10000"/>
                <a:gd name="connsiteY149" fmla="*/ 5989 h 10000"/>
                <a:gd name="connsiteX150" fmla="*/ 9813 w 10000"/>
                <a:gd name="connsiteY150" fmla="*/ 6007 h 10000"/>
                <a:gd name="connsiteX151" fmla="*/ 9813 w 10000"/>
                <a:gd name="connsiteY151" fmla="*/ 6007 h 10000"/>
                <a:gd name="connsiteX152" fmla="*/ 9984 w 10000"/>
                <a:gd name="connsiteY152" fmla="*/ 6235 h 10000"/>
                <a:gd name="connsiteX153" fmla="*/ 10000 w 10000"/>
                <a:gd name="connsiteY153" fmla="*/ 6392 h 10000"/>
                <a:gd name="connsiteX154" fmla="*/ 9502 w 10000"/>
                <a:gd name="connsiteY154" fmla="*/ 6795 h 10000"/>
                <a:gd name="connsiteX155" fmla="*/ 9347 w 10000"/>
                <a:gd name="connsiteY155" fmla="*/ 6900 h 10000"/>
                <a:gd name="connsiteX156" fmla="*/ 9067 w 10000"/>
                <a:gd name="connsiteY156" fmla="*/ 7128 h 10000"/>
                <a:gd name="connsiteX157" fmla="*/ 8849 w 10000"/>
                <a:gd name="connsiteY157" fmla="*/ 7233 h 10000"/>
                <a:gd name="connsiteX158" fmla="*/ 8849 w 10000"/>
                <a:gd name="connsiteY158" fmla="*/ 7233 h 10000"/>
                <a:gd name="connsiteX159" fmla="*/ 8834 w 10000"/>
                <a:gd name="connsiteY159" fmla="*/ 7250 h 10000"/>
                <a:gd name="connsiteX160" fmla="*/ 8554 w 10000"/>
                <a:gd name="connsiteY160" fmla="*/ 7513 h 10000"/>
                <a:gd name="connsiteX161" fmla="*/ 8491 w 10000"/>
                <a:gd name="connsiteY161" fmla="*/ 7391 h 10000"/>
                <a:gd name="connsiteX162" fmla="*/ 8476 w 10000"/>
                <a:gd name="connsiteY162" fmla="*/ 7391 h 10000"/>
                <a:gd name="connsiteX163" fmla="*/ 8476 w 10000"/>
                <a:gd name="connsiteY163" fmla="*/ 7391 h 10000"/>
                <a:gd name="connsiteX164" fmla="*/ 8289 w 10000"/>
                <a:gd name="connsiteY164" fmla="*/ 7233 h 10000"/>
                <a:gd name="connsiteX165" fmla="*/ 8258 w 10000"/>
                <a:gd name="connsiteY165" fmla="*/ 7040 h 10000"/>
                <a:gd name="connsiteX166" fmla="*/ 8258 w 10000"/>
                <a:gd name="connsiteY166" fmla="*/ 7040 h 10000"/>
                <a:gd name="connsiteX167" fmla="*/ 8243 w 10000"/>
                <a:gd name="connsiteY167" fmla="*/ 7023 h 10000"/>
                <a:gd name="connsiteX168" fmla="*/ 7574 w 10000"/>
                <a:gd name="connsiteY168" fmla="*/ 6235 h 10000"/>
                <a:gd name="connsiteX169" fmla="*/ 7574 w 10000"/>
                <a:gd name="connsiteY169" fmla="*/ 6217 h 10000"/>
                <a:gd name="connsiteX170" fmla="*/ 7558 w 10000"/>
                <a:gd name="connsiteY170" fmla="*/ 6217 h 10000"/>
                <a:gd name="connsiteX171" fmla="*/ 7030 w 10000"/>
                <a:gd name="connsiteY171" fmla="*/ 6200 h 10000"/>
                <a:gd name="connsiteX172" fmla="*/ 7014 w 10000"/>
                <a:gd name="connsiteY172" fmla="*/ 6200 h 10000"/>
                <a:gd name="connsiteX173" fmla="*/ 6998 w 10000"/>
                <a:gd name="connsiteY173" fmla="*/ 6217 h 10000"/>
                <a:gd name="connsiteX174" fmla="*/ 6501 w 10000"/>
                <a:gd name="connsiteY174" fmla="*/ 7233 h 10000"/>
                <a:gd name="connsiteX175" fmla="*/ 5941 w 10000"/>
                <a:gd name="connsiteY175" fmla="*/ 7233 h 10000"/>
                <a:gd name="connsiteX176" fmla="*/ 5910 w 10000"/>
                <a:gd name="connsiteY176" fmla="*/ 7233 h 10000"/>
                <a:gd name="connsiteX177" fmla="*/ 5910 w 10000"/>
                <a:gd name="connsiteY177" fmla="*/ 7250 h 10000"/>
                <a:gd name="connsiteX178" fmla="*/ 5923 w 10000"/>
                <a:gd name="connsiteY178" fmla="*/ 7720 h 10000"/>
                <a:gd name="connsiteX179" fmla="*/ 5708 w 10000"/>
                <a:gd name="connsiteY179" fmla="*/ 7566 h 10000"/>
                <a:gd name="connsiteX180" fmla="*/ 5692 w 10000"/>
                <a:gd name="connsiteY180" fmla="*/ 7566 h 10000"/>
                <a:gd name="connsiteX181" fmla="*/ 5677 w 10000"/>
                <a:gd name="connsiteY181" fmla="*/ 7601 h 10000"/>
                <a:gd name="connsiteX182" fmla="*/ 4666 w 10000"/>
                <a:gd name="connsiteY182" fmla="*/ 8651 h 10000"/>
                <a:gd name="connsiteX183" fmla="*/ 4666 w 10000"/>
                <a:gd name="connsiteY183" fmla="*/ 8651 h 10000"/>
                <a:gd name="connsiteX184" fmla="*/ 4666 w 10000"/>
                <a:gd name="connsiteY184" fmla="*/ 8651 h 10000"/>
                <a:gd name="connsiteX185" fmla="*/ 4572 w 10000"/>
                <a:gd name="connsiteY185" fmla="*/ 8844 h 10000"/>
                <a:gd name="connsiteX186" fmla="*/ 4230 w 10000"/>
                <a:gd name="connsiteY186" fmla="*/ 8862 h 10000"/>
                <a:gd name="connsiteX187" fmla="*/ 4215 w 10000"/>
                <a:gd name="connsiteY187" fmla="*/ 8862 h 10000"/>
                <a:gd name="connsiteX188" fmla="*/ 4215 w 10000"/>
                <a:gd name="connsiteY188" fmla="*/ 8897 h 10000"/>
                <a:gd name="connsiteX189" fmla="*/ 4215 w 10000"/>
                <a:gd name="connsiteY189" fmla="*/ 9072 h 10000"/>
                <a:gd name="connsiteX190" fmla="*/ 4230 w 10000"/>
                <a:gd name="connsiteY190" fmla="*/ 9089 h 10000"/>
                <a:gd name="connsiteX0" fmla="*/ 4230 w 10000"/>
                <a:gd name="connsiteY0" fmla="*/ 9089 h 10000"/>
                <a:gd name="connsiteX1" fmla="*/ 4090 w 10000"/>
                <a:gd name="connsiteY1" fmla="*/ 9282 h 10000"/>
                <a:gd name="connsiteX2" fmla="*/ 4090 w 10000"/>
                <a:gd name="connsiteY2" fmla="*/ 9492 h 10000"/>
                <a:gd name="connsiteX3" fmla="*/ 3981 w 10000"/>
                <a:gd name="connsiteY3" fmla="*/ 9615 h 10000"/>
                <a:gd name="connsiteX4" fmla="*/ 3935 w 10000"/>
                <a:gd name="connsiteY4" fmla="*/ 9580 h 10000"/>
                <a:gd name="connsiteX5" fmla="*/ 2022 w 10000"/>
                <a:gd name="connsiteY5" fmla="*/ 10000 h 10000"/>
                <a:gd name="connsiteX6" fmla="*/ 1960 w 10000"/>
                <a:gd name="connsiteY6" fmla="*/ 9212 h 10000"/>
                <a:gd name="connsiteX7" fmla="*/ 1882 w 10000"/>
                <a:gd name="connsiteY7" fmla="*/ 8529 h 10000"/>
                <a:gd name="connsiteX8" fmla="*/ 1882 w 10000"/>
                <a:gd name="connsiteY8" fmla="*/ 8529 h 10000"/>
                <a:gd name="connsiteX9" fmla="*/ 1882 w 10000"/>
                <a:gd name="connsiteY9" fmla="*/ 8529 h 10000"/>
                <a:gd name="connsiteX10" fmla="*/ 1882 w 10000"/>
                <a:gd name="connsiteY10" fmla="*/ 8529 h 10000"/>
                <a:gd name="connsiteX11" fmla="*/ 1882 w 10000"/>
                <a:gd name="connsiteY11" fmla="*/ 8476 h 10000"/>
                <a:gd name="connsiteX12" fmla="*/ 1882 w 10000"/>
                <a:gd name="connsiteY12" fmla="*/ 8494 h 10000"/>
                <a:gd name="connsiteX13" fmla="*/ 1788 w 10000"/>
                <a:gd name="connsiteY13" fmla="*/ 7671 h 10000"/>
                <a:gd name="connsiteX14" fmla="*/ 1788 w 10000"/>
                <a:gd name="connsiteY14" fmla="*/ 7653 h 10000"/>
                <a:gd name="connsiteX15" fmla="*/ 1773 w 10000"/>
                <a:gd name="connsiteY15" fmla="*/ 7618 h 10000"/>
                <a:gd name="connsiteX16" fmla="*/ 1509 w 10000"/>
                <a:gd name="connsiteY16" fmla="*/ 7496 h 10000"/>
                <a:gd name="connsiteX17" fmla="*/ 1104 w 10000"/>
                <a:gd name="connsiteY17" fmla="*/ 7285 h 10000"/>
                <a:gd name="connsiteX18" fmla="*/ 855 w 10000"/>
                <a:gd name="connsiteY18" fmla="*/ 7005 h 10000"/>
                <a:gd name="connsiteX19" fmla="*/ 855 w 10000"/>
                <a:gd name="connsiteY19" fmla="*/ 6585 h 10000"/>
                <a:gd name="connsiteX20" fmla="*/ 855 w 10000"/>
                <a:gd name="connsiteY20" fmla="*/ 6567 h 10000"/>
                <a:gd name="connsiteX21" fmla="*/ 855 w 10000"/>
                <a:gd name="connsiteY21" fmla="*/ 6567 h 10000"/>
                <a:gd name="connsiteX22" fmla="*/ 731 w 10000"/>
                <a:gd name="connsiteY22" fmla="*/ 6322 h 10000"/>
                <a:gd name="connsiteX23" fmla="*/ 778 w 10000"/>
                <a:gd name="connsiteY23" fmla="*/ 6025 h 10000"/>
                <a:gd name="connsiteX24" fmla="*/ 902 w 10000"/>
                <a:gd name="connsiteY24" fmla="*/ 5744 h 10000"/>
                <a:gd name="connsiteX25" fmla="*/ 980 w 10000"/>
                <a:gd name="connsiteY25" fmla="*/ 5517 h 10000"/>
                <a:gd name="connsiteX26" fmla="*/ 1089 w 10000"/>
                <a:gd name="connsiteY26" fmla="*/ 5306 h 10000"/>
                <a:gd name="connsiteX27" fmla="*/ 1089 w 10000"/>
                <a:gd name="connsiteY27" fmla="*/ 5289 h 10000"/>
                <a:gd name="connsiteX28" fmla="*/ 1073 w 10000"/>
                <a:gd name="connsiteY28" fmla="*/ 5271 h 10000"/>
                <a:gd name="connsiteX29" fmla="*/ 949 w 10000"/>
                <a:gd name="connsiteY29" fmla="*/ 5044 h 10000"/>
                <a:gd name="connsiteX30" fmla="*/ 949 w 10000"/>
                <a:gd name="connsiteY30" fmla="*/ 4203 h 10000"/>
                <a:gd name="connsiteX31" fmla="*/ 1058 w 10000"/>
                <a:gd name="connsiteY31" fmla="*/ 3923 h 10000"/>
                <a:gd name="connsiteX32" fmla="*/ 1058 w 10000"/>
                <a:gd name="connsiteY32" fmla="*/ 3888 h 10000"/>
                <a:gd name="connsiteX33" fmla="*/ 1042 w 10000"/>
                <a:gd name="connsiteY33" fmla="*/ 3870 h 10000"/>
                <a:gd name="connsiteX34" fmla="*/ 731 w 10000"/>
                <a:gd name="connsiteY34" fmla="*/ 3678 h 10000"/>
                <a:gd name="connsiteX35" fmla="*/ 715 w 10000"/>
                <a:gd name="connsiteY35" fmla="*/ 3678 h 10000"/>
                <a:gd name="connsiteX36" fmla="*/ 700 w 10000"/>
                <a:gd name="connsiteY36" fmla="*/ 3678 h 10000"/>
                <a:gd name="connsiteX37" fmla="*/ 560 w 10000"/>
                <a:gd name="connsiteY37" fmla="*/ 3783 h 10000"/>
                <a:gd name="connsiteX38" fmla="*/ 233 w 10000"/>
                <a:gd name="connsiteY38" fmla="*/ 3643 h 10000"/>
                <a:gd name="connsiteX39" fmla="*/ 233 w 10000"/>
                <a:gd name="connsiteY39" fmla="*/ 3257 h 10000"/>
                <a:gd name="connsiteX40" fmla="*/ 342 w 10000"/>
                <a:gd name="connsiteY40" fmla="*/ 3152 h 10000"/>
                <a:gd name="connsiteX41" fmla="*/ 358 w 10000"/>
                <a:gd name="connsiteY41" fmla="*/ 3135 h 10000"/>
                <a:gd name="connsiteX42" fmla="*/ 358 w 10000"/>
                <a:gd name="connsiteY42" fmla="*/ 3117 h 10000"/>
                <a:gd name="connsiteX43" fmla="*/ 358 w 10000"/>
                <a:gd name="connsiteY43" fmla="*/ 3030 h 10000"/>
                <a:gd name="connsiteX44" fmla="*/ 358 w 10000"/>
                <a:gd name="connsiteY44" fmla="*/ 3012 h 10000"/>
                <a:gd name="connsiteX45" fmla="*/ 342 w 10000"/>
                <a:gd name="connsiteY45" fmla="*/ 3012 h 10000"/>
                <a:gd name="connsiteX46" fmla="*/ 0 w 10000"/>
                <a:gd name="connsiteY46" fmla="*/ 2750 h 10000"/>
                <a:gd name="connsiteX47" fmla="*/ 156 w 10000"/>
                <a:gd name="connsiteY47" fmla="*/ 2294 h 10000"/>
                <a:gd name="connsiteX48" fmla="*/ 747 w 10000"/>
                <a:gd name="connsiteY48" fmla="*/ 2277 h 10000"/>
                <a:gd name="connsiteX49" fmla="*/ 762 w 10000"/>
                <a:gd name="connsiteY49" fmla="*/ 2277 h 10000"/>
                <a:gd name="connsiteX50" fmla="*/ 778 w 10000"/>
                <a:gd name="connsiteY50" fmla="*/ 2259 h 10000"/>
                <a:gd name="connsiteX51" fmla="*/ 1135 w 10000"/>
                <a:gd name="connsiteY51" fmla="*/ 1734 h 10000"/>
                <a:gd name="connsiteX52" fmla="*/ 1135 w 10000"/>
                <a:gd name="connsiteY52" fmla="*/ 1734 h 10000"/>
                <a:gd name="connsiteX53" fmla="*/ 1135 w 10000"/>
                <a:gd name="connsiteY53" fmla="*/ 1716 h 10000"/>
                <a:gd name="connsiteX54" fmla="*/ 1089 w 10000"/>
                <a:gd name="connsiteY54" fmla="*/ 1313 h 10000"/>
                <a:gd name="connsiteX55" fmla="*/ 1089 w 10000"/>
                <a:gd name="connsiteY55" fmla="*/ 1313 h 10000"/>
                <a:gd name="connsiteX56" fmla="*/ 1089 w 10000"/>
                <a:gd name="connsiteY56" fmla="*/ 1313 h 10000"/>
                <a:gd name="connsiteX57" fmla="*/ 1026 w 10000"/>
                <a:gd name="connsiteY57" fmla="*/ 1068 h 10000"/>
                <a:gd name="connsiteX58" fmla="*/ 1151 w 10000"/>
                <a:gd name="connsiteY58" fmla="*/ 823 h 10000"/>
                <a:gd name="connsiteX59" fmla="*/ 1135 w 10000"/>
                <a:gd name="connsiteY59" fmla="*/ 806 h 10000"/>
                <a:gd name="connsiteX60" fmla="*/ 1182 w 10000"/>
                <a:gd name="connsiteY60" fmla="*/ 648 h 10000"/>
                <a:gd name="connsiteX61" fmla="*/ 1182 w 10000"/>
                <a:gd name="connsiteY61" fmla="*/ 420 h 10000"/>
                <a:gd name="connsiteX62" fmla="*/ 1026 w 10000"/>
                <a:gd name="connsiteY62" fmla="*/ 245 h 10000"/>
                <a:gd name="connsiteX63" fmla="*/ 1198 w 10000"/>
                <a:gd name="connsiteY63" fmla="*/ 0 h 10000"/>
                <a:gd name="connsiteX64" fmla="*/ 1353 w 10000"/>
                <a:gd name="connsiteY64" fmla="*/ 140 h 10000"/>
                <a:gd name="connsiteX65" fmla="*/ 1586 w 10000"/>
                <a:gd name="connsiteY65" fmla="*/ 368 h 10000"/>
                <a:gd name="connsiteX66" fmla="*/ 2037 w 10000"/>
                <a:gd name="connsiteY66" fmla="*/ 998 h 10000"/>
                <a:gd name="connsiteX67" fmla="*/ 2504 w 10000"/>
                <a:gd name="connsiteY67" fmla="*/ 771 h 10000"/>
                <a:gd name="connsiteX68" fmla="*/ 2597 w 10000"/>
                <a:gd name="connsiteY68" fmla="*/ 525 h 10000"/>
                <a:gd name="connsiteX69" fmla="*/ 2846 w 10000"/>
                <a:gd name="connsiteY69" fmla="*/ 490 h 10000"/>
                <a:gd name="connsiteX70" fmla="*/ 2986 w 10000"/>
                <a:gd name="connsiteY70" fmla="*/ 280 h 10000"/>
                <a:gd name="connsiteX71" fmla="*/ 3561 w 10000"/>
                <a:gd name="connsiteY71" fmla="*/ 350 h 10000"/>
                <a:gd name="connsiteX72" fmla="*/ 3717 w 10000"/>
                <a:gd name="connsiteY72" fmla="*/ 665 h 10000"/>
                <a:gd name="connsiteX73" fmla="*/ 3997 w 10000"/>
                <a:gd name="connsiteY73" fmla="*/ 665 h 10000"/>
                <a:gd name="connsiteX74" fmla="*/ 4168 w 10000"/>
                <a:gd name="connsiteY74" fmla="*/ 385 h 10000"/>
                <a:gd name="connsiteX75" fmla="*/ 4526 w 10000"/>
                <a:gd name="connsiteY75" fmla="*/ 420 h 10000"/>
                <a:gd name="connsiteX76" fmla="*/ 4837 w 10000"/>
                <a:gd name="connsiteY76" fmla="*/ 525 h 10000"/>
                <a:gd name="connsiteX77" fmla="*/ 4852 w 10000"/>
                <a:gd name="connsiteY77" fmla="*/ 928 h 10000"/>
                <a:gd name="connsiteX78" fmla="*/ 5179 w 10000"/>
                <a:gd name="connsiteY78" fmla="*/ 1313 h 10000"/>
                <a:gd name="connsiteX79" fmla="*/ 5521 w 10000"/>
                <a:gd name="connsiteY79" fmla="*/ 1296 h 10000"/>
                <a:gd name="connsiteX80" fmla="*/ 5723 w 10000"/>
                <a:gd name="connsiteY80" fmla="*/ 1471 h 10000"/>
                <a:gd name="connsiteX81" fmla="*/ 5910 w 10000"/>
                <a:gd name="connsiteY81" fmla="*/ 1594 h 10000"/>
                <a:gd name="connsiteX82" fmla="*/ 6081 w 10000"/>
                <a:gd name="connsiteY82" fmla="*/ 1384 h 10000"/>
                <a:gd name="connsiteX83" fmla="*/ 6128 w 10000"/>
                <a:gd name="connsiteY83" fmla="*/ 1121 h 10000"/>
                <a:gd name="connsiteX84" fmla="*/ 6330 w 10000"/>
                <a:gd name="connsiteY84" fmla="*/ 1068 h 10000"/>
                <a:gd name="connsiteX85" fmla="*/ 6392 w 10000"/>
                <a:gd name="connsiteY85" fmla="*/ 1313 h 10000"/>
                <a:gd name="connsiteX86" fmla="*/ 6781 w 10000"/>
                <a:gd name="connsiteY86" fmla="*/ 1366 h 10000"/>
                <a:gd name="connsiteX87" fmla="*/ 7263 w 10000"/>
                <a:gd name="connsiteY87" fmla="*/ 1296 h 10000"/>
                <a:gd name="connsiteX88" fmla="*/ 7512 w 10000"/>
                <a:gd name="connsiteY88" fmla="*/ 1138 h 10000"/>
                <a:gd name="connsiteX89" fmla="*/ 7652 w 10000"/>
                <a:gd name="connsiteY89" fmla="*/ 525 h 10000"/>
                <a:gd name="connsiteX90" fmla="*/ 7667 w 10000"/>
                <a:gd name="connsiteY90" fmla="*/ 473 h 10000"/>
                <a:gd name="connsiteX91" fmla="*/ 8025 w 10000"/>
                <a:gd name="connsiteY91" fmla="*/ 473 h 10000"/>
                <a:gd name="connsiteX92" fmla="*/ 7978 w 10000"/>
                <a:gd name="connsiteY92" fmla="*/ 718 h 10000"/>
                <a:gd name="connsiteX93" fmla="*/ 7978 w 10000"/>
                <a:gd name="connsiteY93" fmla="*/ 736 h 10000"/>
                <a:gd name="connsiteX94" fmla="*/ 7994 w 10000"/>
                <a:gd name="connsiteY94" fmla="*/ 736 h 10000"/>
                <a:gd name="connsiteX95" fmla="*/ 8056 w 10000"/>
                <a:gd name="connsiteY95" fmla="*/ 876 h 10000"/>
                <a:gd name="connsiteX96" fmla="*/ 8072 w 10000"/>
                <a:gd name="connsiteY96" fmla="*/ 928 h 10000"/>
                <a:gd name="connsiteX97" fmla="*/ 8103 w 10000"/>
                <a:gd name="connsiteY97" fmla="*/ 893 h 10000"/>
                <a:gd name="connsiteX98" fmla="*/ 8243 w 10000"/>
                <a:gd name="connsiteY98" fmla="*/ 736 h 10000"/>
                <a:gd name="connsiteX99" fmla="*/ 8305 w 10000"/>
                <a:gd name="connsiteY99" fmla="*/ 806 h 10000"/>
                <a:gd name="connsiteX100" fmla="*/ 8336 w 10000"/>
                <a:gd name="connsiteY100" fmla="*/ 963 h 10000"/>
                <a:gd name="connsiteX101" fmla="*/ 8351 w 10000"/>
                <a:gd name="connsiteY101" fmla="*/ 981 h 10000"/>
                <a:gd name="connsiteX102" fmla="*/ 8351 w 10000"/>
                <a:gd name="connsiteY102" fmla="*/ 981 h 10000"/>
                <a:gd name="connsiteX103" fmla="*/ 8460 w 10000"/>
                <a:gd name="connsiteY103" fmla="*/ 1121 h 10000"/>
                <a:gd name="connsiteX104" fmla="*/ 8367 w 10000"/>
                <a:gd name="connsiteY104" fmla="*/ 1226 h 10000"/>
                <a:gd name="connsiteX105" fmla="*/ 8351 w 10000"/>
                <a:gd name="connsiteY105" fmla="*/ 1226 h 10000"/>
                <a:gd name="connsiteX106" fmla="*/ 8351 w 10000"/>
                <a:gd name="connsiteY106" fmla="*/ 1243 h 10000"/>
                <a:gd name="connsiteX107" fmla="*/ 8351 w 10000"/>
                <a:gd name="connsiteY107" fmla="*/ 1489 h 10000"/>
                <a:gd name="connsiteX108" fmla="*/ 8351 w 10000"/>
                <a:gd name="connsiteY108" fmla="*/ 1489 h 10000"/>
                <a:gd name="connsiteX109" fmla="*/ 8351 w 10000"/>
                <a:gd name="connsiteY109" fmla="*/ 1506 h 10000"/>
                <a:gd name="connsiteX110" fmla="*/ 8491 w 10000"/>
                <a:gd name="connsiteY110" fmla="*/ 1681 h 10000"/>
                <a:gd name="connsiteX111" fmla="*/ 8616 w 10000"/>
                <a:gd name="connsiteY111" fmla="*/ 1856 h 10000"/>
                <a:gd name="connsiteX112" fmla="*/ 8694 w 10000"/>
                <a:gd name="connsiteY112" fmla="*/ 2137 h 10000"/>
                <a:gd name="connsiteX113" fmla="*/ 8694 w 10000"/>
                <a:gd name="connsiteY113" fmla="*/ 2277 h 10000"/>
                <a:gd name="connsiteX114" fmla="*/ 8694 w 10000"/>
                <a:gd name="connsiteY114" fmla="*/ 2294 h 10000"/>
                <a:gd name="connsiteX115" fmla="*/ 8694 w 10000"/>
                <a:gd name="connsiteY115" fmla="*/ 2312 h 10000"/>
                <a:gd name="connsiteX116" fmla="*/ 8787 w 10000"/>
                <a:gd name="connsiteY116" fmla="*/ 2399 h 10000"/>
                <a:gd name="connsiteX117" fmla="*/ 8818 w 10000"/>
                <a:gd name="connsiteY117" fmla="*/ 2767 h 10000"/>
                <a:gd name="connsiteX118" fmla="*/ 8756 w 10000"/>
                <a:gd name="connsiteY118" fmla="*/ 2855 h 10000"/>
                <a:gd name="connsiteX119" fmla="*/ 8507 w 10000"/>
                <a:gd name="connsiteY119" fmla="*/ 2995 h 10000"/>
                <a:gd name="connsiteX120" fmla="*/ 8491 w 10000"/>
                <a:gd name="connsiteY120" fmla="*/ 3012 h 10000"/>
                <a:gd name="connsiteX121" fmla="*/ 8491 w 10000"/>
                <a:gd name="connsiteY121" fmla="*/ 3012 h 10000"/>
                <a:gd name="connsiteX122" fmla="*/ 8305 w 10000"/>
                <a:gd name="connsiteY122" fmla="*/ 3363 h 10000"/>
                <a:gd name="connsiteX123" fmla="*/ 8180 w 10000"/>
                <a:gd name="connsiteY123" fmla="*/ 3468 h 10000"/>
                <a:gd name="connsiteX124" fmla="*/ 8149 w 10000"/>
                <a:gd name="connsiteY124" fmla="*/ 3485 h 10000"/>
                <a:gd name="connsiteX125" fmla="*/ 8165 w 10000"/>
                <a:gd name="connsiteY125" fmla="*/ 3520 h 10000"/>
                <a:gd name="connsiteX126" fmla="*/ 8274 w 10000"/>
                <a:gd name="connsiteY126" fmla="*/ 3678 h 10000"/>
                <a:gd name="connsiteX127" fmla="*/ 8274 w 10000"/>
                <a:gd name="connsiteY127" fmla="*/ 3835 h 10000"/>
                <a:gd name="connsiteX128" fmla="*/ 8180 w 10000"/>
                <a:gd name="connsiteY128" fmla="*/ 4116 h 10000"/>
                <a:gd name="connsiteX129" fmla="*/ 8180 w 10000"/>
                <a:gd name="connsiteY129" fmla="*/ 4133 h 10000"/>
                <a:gd name="connsiteX130" fmla="*/ 8196 w 10000"/>
                <a:gd name="connsiteY130" fmla="*/ 4151 h 10000"/>
                <a:gd name="connsiteX131" fmla="*/ 8523 w 10000"/>
                <a:gd name="connsiteY131" fmla="*/ 4553 h 10000"/>
                <a:gd name="connsiteX132" fmla="*/ 8523 w 10000"/>
                <a:gd name="connsiteY132" fmla="*/ 4553 h 10000"/>
                <a:gd name="connsiteX133" fmla="*/ 8523 w 10000"/>
                <a:gd name="connsiteY133" fmla="*/ 4553 h 10000"/>
                <a:gd name="connsiteX134" fmla="*/ 8647 w 10000"/>
                <a:gd name="connsiteY134" fmla="*/ 4623 h 10000"/>
                <a:gd name="connsiteX135" fmla="*/ 8678 w 10000"/>
                <a:gd name="connsiteY135" fmla="*/ 4641 h 10000"/>
                <a:gd name="connsiteX136" fmla="*/ 8740 w 10000"/>
                <a:gd name="connsiteY136" fmla="*/ 4483 h 10000"/>
                <a:gd name="connsiteX137" fmla="*/ 8787 w 10000"/>
                <a:gd name="connsiteY137" fmla="*/ 4466 h 10000"/>
                <a:gd name="connsiteX138" fmla="*/ 8865 w 10000"/>
                <a:gd name="connsiteY138" fmla="*/ 4553 h 10000"/>
                <a:gd name="connsiteX139" fmla="*/ 8802 w 10000"/>
                <a:gd name="connsiteY139" fmla="*/ 4746 h 10000"/>
                <a:gd name="connsiteX140" fmla="*/ 8787 w 10000"/>
                <a:gd name="connsiteY140" fmla="*/ 4764 h 10000"/>
                <a:gd name="connsiteX141" fmla="*/ 8802 w 10000"/>
                <a:gd name="connsiteY141" fmla="*/ 4781 h 10000"/>
                <a:gd name="connsiteX142" fmla="*/ 9020 w 10000"/>
                <a:gd name="connsiteY142" fmla="*/ 4974 h 10000"/>
                <a:gd name="connsiteX143" fmla="*/ 9253 w 10000"/>
                <a:gd name="connsiteY143" fmla="*/ 5131 h 10000"/>
                <a:gd name="connsiteX144" fmla="*/ 9253 w 10000"/>
                <a:gd name="connsiteY144" fmla="*/ 5131 h 10000"/>
                <a:gd name="connsiteX145" fmla="*/ 9253 w 10000"/>
                <a:gd name="connsiteY145" fmla="*/ 5131 h 10000"/>
                <a:gd name="connsiteX146" fmla="*/ 9565 w 10000"/>
                <a:gd name="connsiteY146" fmla="*/ 5271 h 10000"/>
                <a:gd name="connsiteX147" fmla="*/ 9813 w 10000"/>
                <a:gd name="connsiteY147" fmla="*/ 5709 h 10000"/>
                <a:gd name="connsiteX148" fmla="*/ 9813 w 10000"/>
                <a:gd name="connsiteY148" fmla="*/ 5989 h 10000"/>
                <a:gd name="connsiteX149" fmla="*/ 9813 w 10000"/>
                <a:gd name="connsiteY149" fmla="*/ 6007 h 10000"/>
                <a:gd name="connsiteX150" fmla="*/ 9813 w 10000"/>
                <a:gd name="connsiteY150" fmla="*/ 6007 h 10000"/>
                <a:gd name="connsiteX151" fmla="*/ 9984 w 10000"/>
                <a:gd name="connsiteY151" fmla="*/ 6235 h 10000"/>
                <a:gd name="connsiteX152" fmla="*/ 10000 w 10000"/>
                <a:gd name="connsiteY152" fmla="*/ 6392 h 10000"/>
                <a:gd name="connsiteX153" fmla="*/ 9502 w 10000"/>
                <a:gd name="connsiteY153" fmla="*/ 6795 h 10000"/>
                <a:gd name="connsiteX154" fmla="*/ 9347 w 10000"/>
                <a:gd name="connsiteY154" fmla="*/ 6900 h 10000"/>
                <a:gd name="connsiteX155" fmla="*/ 9067 w 10000"/>
                <a:gd name="connsiteY155" fmla="*/ 7128 h 10000"/>
                <a:gd name="connsiteX156" fmla="*/ 8849 w 10000"/>
                <a:gd name="connsiteY156" fmla="*/ 7233 h 10000"/>
                <a:gd name="connsiteX157" fmla="*/ 8849 w 10000"/>
                <a:gd name="connsiteY157" fmla="*/ 7233 h 10000"/>
                <a:gd name="connsiteX158" fmla="*/ 8834 w 10000"/>
                <a:gd name="connsiteY158" fmla="*/ 7250 h 10000"/>
                <a:gd name="connsiteX159" fmla="*/ 8554 w 10000"/>
                <a:gd name="connsiteY159" fmla="*/ 7513 h 10000"/>
                <a:gd name="connsiteX160" fmla="*/ 8491 w 10000"/>
                <a:gd name="connsiteY160" fmla="*/ 7391 h 10000"/>
                <a:gd name="connsiteX161" fmla="*/ 8476 w 10000"/>
                <a:gd name="connsiteY161" fmla="*/ 7391 h 10000"/>
                <a:gd name="connsiteX162" fmla="*/ 8476 w 10000"/>
                <a:gd name="connsiteY162" fmla="*/ 7391 h 10000"/>
                <a:gd name="connsiteX163" fmla="*/ 8289 w 10000"/>
                <a:gd name="connsiteY163" fmla="*/ 7233 h 10000"/>
                <a:gd name="connsiteX164" fmla="*/ 8258 w 10000"/>
                <a:gd name="connsiteY164" fmla="*/ 7040 h 10000"/>
                <a:gd name="connsiteX165" fmla="*/ 8258 w 10000"/>
                <a:gd name="connsiteY165" fmla="*/ 7040 h 10000"/>
                <a:gd name="connsiteX166" fmla="*/ 8243 w 10000"/>
                <a:gd name="connsiteY166" fmla="*/ 7023 h 10000"/>
                <a:gd name="connsiteX167" fmla="*/ 7574 w 10000"/>
                <a:gd name="connsiteY167" fmla="*/ 6235 h 10000"/>
                <a:gd name="connsiteX168" fmla="*/ 7574 w 10000"/>
                <a:gd name="connsiteY168" fmla="*/ 6217 h 10000"/>
                <a:gd name="connsiteX169" fmla="*/ 7558 w 10000"/>
                <a:gd name="connsiteY169" fmla="*/ 6217 h 10000"/>
                <a:gd name="connsiteX170" fmla="*/ 7030 w 10000"/>
                <a:gd name="connsiteY170" fmla="*/ 6200 h 10000"/>
                <a:gd name="connsiteX171" fmla="*/ 7014 w 10000"/>
                <a:gd name="connsiteY171" fmla="*/ 6200 h 10000"/>
                <a:gd name="connsiteX172" fmla="*/ 6998 w 10000"/>
                <a:gd name="connsiteY172" fmla="*/ 6217 h 10000"/>
                <a:gd name="connsiteX173" fmla="*/ 6501 w 10000"/>
                <a:gd name="connsiteY173" fmla="*/ 7233 h 10000"/>
                <a:gd name="connsiteX174" fmla="*/ 5941 w 10000"/>
                <a:gd name="connsiteY174" fmla="*/ 7233 h 10000"/>
                <a:gd name="connsiteX175" fmla="*/ 5910 w 10000"/>
                <a:gd name="connsiteY175" fmla="*/ 7233 h 10000"/>
                <a:gd name="connsiteX176" fmla="*/ 5910 w 10000"/>
                <a:gd name="connsiteY176" fmla="*/ 7250 h 10000"/>
                <a:gd name="connsiteX177" fmla="*/ 5923 w 10000"/>
                <a:gd name="connsiteY177" fmla="*/ 7720 h 10000"/>
                <a:gd name="connsiteX178" fmla="*/ 5708 w 10000"/>
                <a:gd name="connsiteY178" fmla="*/ 7566 h 10000"/>
                <a:gd name="connsiteX179" fmla="*/ 5692 w 10000"/>
                <a:gd name="connsiteY179" fmla="*/ 7566 h 10000"/>
                <a:gd name="connsiteX180" fmla="*/ 5677 w 10000"/>
                <a:gd name="connsiteY180" fmla="*/ 7601 h 10000"/>
                <a:gd name="connsiteX181" fmla="*/ 4666 w 10000"/>
                <a:gd name="connsiteY181" fmla="*/ 8651 h 10000"/>
                <a:gd name="connsiteX182" fmla="*/ 4666 w 10000"/>
                <a:gd name="connsiteY182" fmla="*/ 8651 h 10000"/>
                <a:gd name="connsiteX183" fmla="*/ 4666 w 10000"/>
                <a:gd name="connsiteY183" fmla="*/ 8651 h 10000"/>
                <a:gd name="connsiteX184" fmla="*/ 4572 w 10000"/>
                <a:gd name="connsiteY184" fmla="*/ 8844 h 10000"/>
                <a:gd name="connsiteX185" fmla="*/ 4230 w 10000"/>
                <a:gd name="connsiteY185" fmla="*/ 8862 h 10000"/>
                <a:gd name="connsiteX186" fmla="*/ 4215 w 10000"/>
                <a:gd name="connsiteY186" fmla="*/ 8862 h 10000"/>
                <a:gd name="connsiteX187" fmla="*/ 4215 w 10000"/>
                <a:gd name="connsiteY187" fmla="*/ 8897 h 10000"/>
                <a:gd name="connsiteX188" fmla="*/ 4215 w 10000"/>
                <a:gd name="connsiteY188" fmla="*/ 9072 h 10000"/>
                <a:gd name="connsiteX189" fmla="*/ 4230 w 10000"/>
                <a:gd name="connsiteY189" fmla="*/ 9089 h 10000"/>
                <a:gd name="connsiteX0" fmla="*/ 4230 w 10000"/>
                <a:gd name="connsiteY0" fmla="*/ 9089 h 10000"/>
                <a:gd name="connsiteX1" fmla="*/ 4090 w 10000"/>
                <a:gd name="connsiteY1" fmla="*/ 9282 h 10000"/>
                <a:gd name="connsiteX2" fmla="*/ 4090 w 10000"/>
                <a:gd name="connsiteY2" fmla="*/ 9492 h 10000"/>
                <a:gd name="connsiteX3" fmla="*/ 3981 w 10000"/>
                <a:gd name="connsiteY3" fmla="*/ 9615 h 10000"/>
                <a:gd name="connsiteX4" fmla="*/ 3935 w 10000"/>
                <a:gd name="connsiteY4" fmla="*/ 9580 h 10000"/>
                <a:gd name="connsiteX5" fmla="*/ 2022 w 10000"/>
                <a:gd name="connsiteY5" fmla="*/ 10000 h 10000"/>
                <a:gd name="connsiteX6" fmla="*/ 1960 w 10000"/>
                <a:gd name="connsiteY6" fmla="*/ 9212 h 10000"/>
                <a:gd name="connsiteX7" fmla="*/ 1882 w 10000"/>
                <a:gd name="connsiteY7" fmla="*/ 8529 h 10000"/>
                <a:gd name="connsiteX8" fmla="*/ 1882 w 10000"/>
                <a:gd name="connsiteY8" fmla="*/ 8529 h 10000"/>
                <a:gd name="connsiteX9" fmla="*/ 1882 w 10000"/>
                <a:gd name="connsiteY9" fmla="*/ 8529 h 10000"/>
                <a:gd name="connsiteX10" fmla="*/ 1882 w 10000"/>
                <a:gd name="connsiteY10" fmla="*/ 8529 h 10000"/>
                <a:gd name="connsiteX11" fmla="*/ 1882 w 10000"/>
                <a:gd name="connsiteY11" fmla="*/ 8476 h 10000"/>
                <a:gd name="connsiteX12" fmla="*/ 1882 w 10000"/>
                <a:gd name="connsiteY12" fmla="*/ 8494 h 10000"/>
                <a:gd name="connsiteX13" fmla="*/ 1788 w 10000"/>
                <a:gd name="connsiteY13" fmla="*/ 7671 h 10000"/>
                <a:gd name="connsiteX14" fmla="*/ 1788 w 10000"/>
                <a:gd name="connsiteY14" fmla="*/ 7653 h 10000"/>
                <a:gd name="connsiteX15" fmla="*/ 1773 w 10000"/>
                <a:gd name="connsiteY15" fmla="*/ 7618 h 10000"/>
                <a:gd name="connsiteX16" fmla="*/ 1509 w 10000"/>
                <a:gd name="connsiteY16" fmla="*/ 7496 h 10000"/>
                <a:gd name="connsiteX17" fmla="*/ 1104 w 10000"/>
                <a:gd name="connsiteY17" fmla="*/ 7285 h 10000"/>
                <a:gd name="connsiteX18" fmla="*/ 855 w 10000"/>
                <a:gd name="connsiteY18" fmla="*/ 7005 h 10000"/>
                <a:gd name="connsiteX19" fmla="*/ 855 w 10000"/>
                <a:gd name="connsiteY19" fmla="*/ 6585 h 10000"/>
                <a:gd name="connsiteX20" fmla="*/ 855 w 10000"/>
                <a:gd name="connsiteY20" fmla="*/ 6567 h 10000"/>
                <a:gd name="connsiteX21" fmla="*/ 855 w 10000"/>
                <a:gd name="connsiteY21" fmla="*/ 6567 h 10000"/>
                <a:gd name="connsiteX22" fmla="*/ 731 w 10000"/>
                <a:gd name="connsiteY22" fmla="*/ 6322 h 10000"/>
                <a:gd name="connsiteX23" fmla="*/ 778 w 10000"/>
                <a:gd name="connsiteY23" fmla="*/ 6025 h 10000"/>
                <a:gd name="connsiteX24" fmla="*/ 902 w 10000"/>
                <a:gd name="connsiteY24" fmla="*/ 5744 h 10000"/>
                <a:gd name="connsiteX25" fmla="*/ 980 w 10000"/>
                <a:gd name="connsiteY25" fmla="*/ 5517 h 10000"/>
                <a:gd name="connsiteX26" fmla="*/ 1089 w 10000"/>
                <a:gd name="connsiteY26" fmla="*/ 5306 h 10000"/>
                <a:gd name="connsiteX27" fmla="*/ 1089 w 10000"/>
                <a:gd name="connsiteY27" fmla="*/ 5289 h 10000"/>
                <a:gd name="connsiteX28" fmla="*/ 1073 w 10000"/>
                <a:gd name="connsiteY28" fmla="*/ 5271 h 10000"/>
                <a:gd name="connsiteX29" fmla="*/ 949 w 10000"/>
                <a:gd name="connsiteY29" fmla="*/ 5044 h 10000"/>
                <a:gd name="connsiteX30" fmla="*/ 949 w 10000"/>
                <a:gd name="connsiteY30" fmla="*/ 4203 h 10000"/>
                <a:gd name="connsiteX31" fmla="*/ 1058 w 10000"/>
                <a:gd name="connsiteY31" fmla="*/ 3923 h 10000"/>
                <a:gd name="connsiteX32" fmla="*/ 1058 w 10000"/>
                <a:gd name="connsiteY32" fmla="*/ 3888 h 10000"/>
                <a:gd name="connsiteX33" fmla="*/ 1042 w 10000"/>
                <a:gd name="connsiteY33" fmla="*/ 3870 h 10000"/>
                <a:gd name="connsiteX34" fmla="*/ 731 w 10000"/>
                <a:gd name="connsiteY34" fmla="*/ 3678 h 10000"/>
                <a:gd name="connsiteX35" fmla="*/ 715 w 10000"/>
                <a:gd name="connsiteY35" fmla="*/ 3678 h 10000"/>
                <a:gd name="connsiteX36" fmla="*/ 700 w 10000"/>
                <a:gd name="connsiteY36" fmla="*/ 3678 h 10000"/>
                <a:gd name="connsiteX37" fmla="*/ 560 w 10000"/>
                <a:gd name="connsiteY37" fmla="*/ 3783 h 10000"/>
                <a:gd name="connsiteX38" fmla="*/ 233 w 10000"/>
                <a:gd name="connsiteY38" fmla="*/ 3643 h 10000"/>
                <a:gd name="connsiteX39" fmla="*/ 233 w 10000"/>
                <a:gd name="connsiteY39" fmla="*/ 3257 h 10000"/>
                <a:gd name="connsiteX40" fmla="*/ 342 w 10000"/>
                <a:gd name="connsiteY40" fmla="*/ 3152 h 10000"/>
                <a:gd name="connsiteX41" fmla="*/ 358 w 10000"/>
                <a:gd name="connsiteY41" fmla="*/ 3135 h 10000"/>
                <a:gd name="connsiteX42" fmla="*/ 358 w 10000"/>
                <a:gd name="connsiteY42" fmla="*/ 3117 h 10000"/>
                <a:gd name="connsiteX43" fmla="*/ 358 w 10000"/>
                <a:gd name="connsiteY43" fmla="*/ 3030 h 10000"/>
                <a:gd name="connsiteX44" fmla="*/ 358 w 10000"/>
                <a:gd name="connsiteY44" fmla="*/ 3012 h 10000"/>
                <a:gd name="connsiteX45" fmla="*/ 342 w 10000"/>
                <a:gd name="connsiteY45" fmla="*/ 3012 h 10000"/>
                <a:gd name="connsiteX46" fmla="*/ 0 w 10000"/>
                <a:gd name="connsiteY46" fmla="*/ 2750 h 10000"/>
                <a:gd name="connsiteX47" fmla="*/ 156 w 10000"/>
                <a:gd name="connsiteY47" fmla="*/ 2294 h 10000"/>
                <a:gd name="connsiteX48" fmla="*/ 747 w 10000"/>
                <a:gd name="connsiteY48" fmla="*/ 2277 h 10000"/>
                <a:gd name="connsiteX49" fmla="*/ 762 w 10000"/>
                <a:gd name="connsiteY49" fmla="*/ 2277 h 10000"/>
                <a:gd name="connsiteX50" fmla="*/ 778 w 10000"/>
                <a:gd name="connsiteY50" fmla="*/ 2259 h 10000"/>
                <a:gd name="connsiteX51" fmla="*/ 1135 w 10000"/>
                <a:gd name="connsiteY51" fmla="*/ 1734 h 10000"/>
                <a:gd name="connsiteX52" fmla="*/ 1135 w 10000"/>
                <a:gd name="connsiteY52" fmla="*/ 1734 h 10000"/>
                <a:gd name="connsiteX53" fmla="*/ 1135 w 10000"/>
                <a:gd name="connsiteY53" fmla="*/ 1716 h 10000"/>
                <a:gd name="connsiteX54" fmla="*/ 1089 w 10000"/>
                <a:gd name="connsiteY54" fmla="*/ 1313 h 10000"/>
                <a:gd name="connsiteX55" fmla="*/ 1089 w 10000"/>
                <a:gd name="connsiteY55" fmla="*/ 1313 h 10000"/>
                <a:gd name="connsiteX56" fmla="*/ 1089 w 10000"/>
                <a:gd name="connsiteY56" fmla="*/ 1313 h 10000"/>
                <a:gd name="connsiteX57" fmla="*/ 1026 w 10000"/>
                <a:gd name="connsiteY57" fmla="*/ 1068 h 10000"/>
                <a:gd name="connsiteX58" fmla="*/ 1151 w 10000"/>
                <a:gd name="connsiteY58" fmla="*/ 823 h 10000"/>
                <a:gd name="connsiteX59" fmla="*/ 1135 w 10000"/>
                <a:gd name="connsiteY59" fmla="*/ 806 h 10000"/>
                <a:gd name="connsiteX60" fmla="*/ 1182 w 10000"/>
                <a:gd name="connsiteY60" fmla="*/ 648 h 10000"/>
                <a:gd name="connsiteX61" fmla="*/ 1182 w 10000"/>
                <a:gd name="connsiteY61" fmla="*/ 420 h 10000"/>
                <a:gd name="connsiteX62" fmla="*/ 1026 w 10000"/>
                <a:gd name="connsiteY62" fmla="*/ 245 h 10000"/>
                <a:gd name="connsiteX63" fmla="*/ 1198 w 10000"/>
                <a:gd name="connsiteY63" fmla="*/ 0 h 10000"/>
                <a:gd name="connsiteX64" fmla="*/ 1353 w 10000"/>
                <a:gd name="connsiteY64" fmla="*/ 140 h 10000"/>
                <a:gd name="connsiteX65" fmla="*/ 1586 w 10000"/>
                <a:gd name="connsiteY65" fmla="*/ 368 h 10000"/>
                <a:gd name="connsiteX66" fmla="*/ 2037 w 10000"/>
                <a:gd name="connsiteY66" fmla="*/ 998 h 10000"/>
                <a:gd name="connsiteX67" fmla="*/ 2504 w 10000"/>
                <a:gd name="connsiteY67" fmla="*/ 771 h 10000"/>
                <a:gd name="connsiteX68" fmla="*/ 2597 w 10000"/>
                <a:gd name="connsiteY68" fmla="*/ 525 h 10000"/>
                <a:gd name="connsiteX69" fmla="*/ 2846 w 10000"/>
                <a:gd name="connsiteY69" fmla="*/ 490 h 10000"/>
                <a:gd name="connsiteX70" fmla="*/ 2986 w 10000"/>
                <a:gd name="connsiteY70" fmla="*/ 280 h 10000"/>
                <a:gd name="connsiteX71" fmla="*/ 3561 w 10000"/>
                <a:gd name="connsiteY71" fmla="*/ 350 h 10000"/>
                <a:gd name="connsiteX72" fmla="*/ 3717 w 10000"/>
                <a:gd name="connsiteY72" fmla="*/ 665 h 10000"/>
                <a:gd name="connsiteX73" fmla="*/ 3997 w 10000"/>
                <a:gd name="connsiteY73" fmla="*/ 665 h 10000"/>
                <a:gd name="connsiteX74" fmla="*/ 4168 w 10000"/>
                <a:gd name="connsiteY74" fmla="*/ 385 h 10000"/>
                <a:gd name="connsiteX75" fmla="*/ 4526 w 10000"/>
                <a:gd name="connsiteY75" fmla="*/ 420 h 10000"/>
                <a:gd name="connsiteX76" fmla="*/ 4837 w 10000"/>
                <a:gd name="connsiteY76" fmla="*/ 525 h 10000"/>
                <a:gd name="connsiteX77" fmla="*/ 4852 w 10000"/>
                <a:gd name="connsiteY77" fmla="*/ 928 h 10000"/>
                <a:gd name="connsiteX78" fmla="*/ 5179 w 10000"/>
                <a:gd name="connsiteY78" fmla="*/ 1313 h 10000"/>
                <a:gd name="connsiteX79" fmla="*/ 5521 w 10000"/>
                <a:gd name="connsiteY79" fmla="*/ 1296 h 10000"/>
                <a:gd name="connsiteX80" fmla="*/ 5723 w 10000"/>
                <a:gd name="connsiteY80" fmla="*/ 1471 h 10000"/>
                <a:gd name="connsiteX81" fmla="*/ 5910 w 10000"/>
                <a:gd name="connsiteY81" fmla="*/ 1594 h 10000"/>
                <a:gd name="connsiteX82" fmla="*/ 6081 w 10000"/>
                <a:gd name="connsiteY82" fmla="*/ 1384 h 10000"/>
                <a:gd name="connsiteX83" fmla="*/ 6128 w 10000"/>
                <a:gd name="connsiteY83" fmla="*/ 1121 h 10000"/>
                <a:gd name="connsiteX84" fmla="*/ 6330 w 10000"/>
                <a:gd name="connsiteY84" fmla="*/ 1068 h 10000"/>
                <a:gd name="connsiteX85" fmla="*/ 6392 w 10000"/>
                <a:gd name="connsiteY85" fmla="*/ 1313 h 10000"/>
                <a:gd name="connsiteX86" fmla="*/ 6781 w 10000"/>
                <a:gd name="connsiteY86" fmla="*/ 1366 h 10000"/>
                <a:gd name="connsiteX87" fmla="*/ 7263 w 10000"/>
                <a:gd name="connsiteY87" fmla="*/ 1296 h 10000"/>
                <a:gd name="connsiteX88" fmla="*/ 7512 w 10000"/>
                <a:gd name="connsiteY88" fmla="*/ 1138 h 10000"/>
                <a:gd name="connsiteX89" fmla="*/ 7652 w 10000"/>
                <a:gd name="connsiteY89" fmla="*/ 525 h 10000"/>
                <a:gd name="connsiteX90" fmla="*/ 7667 w 10000"/>
                <a:gd name="connsiteY90" fmla="*/ 473 h 10000"/>
                <a:gd name="connsiteX91" fmla="*/ 8025 w 10000"/>
                <a:gd name="connsiteY91" fmla="*/ 473 h 10000"/>
                <a:gd name="connsiteX92" fmla="*/ 7978 w 10000"/>
                <a:gd name="connsiteY92" fmla="*/ 718 h 10000"/>
                <a:gd name="connsiteX93" fmla="*/ 7978 w 10000"/>
                <a:gd name="connsiteY93" fmla="*/ 736 h 10000"/>
                <a:gd name="connsiteX94" fmla="*/ 7994 w 10000"/>
                <a:gd name="connsiteY94" fmla="*/ 736 h 10000"/>
                <a:gd name="connsiteX95" fmla="*/ 8056 w 10000"/>
                <a:gd name="connsiteY95" fmla="*/ 876 h 10000"/>
                <a:gd name="connsiteX96" fmla="*/ 8072 w 10000"/>
                <a:gd name="connsiteY96" fmla="*/ 928 h 10000"/>
                <a:gd name="connsiteX97" fmla="*/ 8103 w 10000"/>
                <a:gd name="connsiteY97" fmla="*/ 893 h 10000"/>
                <a:gd name="connsiteX98" fmla="*/ 8243 w 10000"/>
                <a:gd name="connsiteY98" fmla="*/ 736 h 10000"/>
                <a:gd name="connsiteX99" fmla="*/ 8305 w 10000"/>
                <a:gd name="connsiteY99" fmla="*/ 806 h 10000"/>
                <a:gd name="connsiteX100" fmla="*/ 8336 w 10000"/>
                <a:gd name="connsiteY100" fmla="*/ 963 h 10000"/>
                <a:gd name="connsiteX101" fmla="*/ 8351 w 10000"/>
                <a:gd name="connsiteY101" fmla="*/ 981 h 10000"/>
                <a:gd name="connsiteX102" fmla="*/ 8351 w 10000"/>
                <a:gd name="connsiteY102" fmla="*/ 981 h 10000"/>
                <a:gd name="connsiteX103" fmla="*/ 8460 w 10000"/>
                <a:gd name="connsiteY103" fmla="*/ 1121 h 10000"/>
                <a:gd name="connsiteX104" fmla="*/ 8367 w 10000"/>
                <a:gd name="connsiteY104" fmla="*/ 1226 h 10000"/>
                <a:gd name="connsiteX105" fmla="*/ 8351 w 10000"/>
                <a:gd name="connsiteY105" fmla="*/ 1226 h 10000"/>
                <a:gd name="connsiteX106" fmla="*/ 8351 w 10000"/>
                <a:gd name="connsiteY106" fmla="*/ 1243 h 10000"/>
                <a:gd name="connsiteX107" fmla="*/ 8351 w 10000"/>
                <a:gd name="connsiteY107" fmla="*/ 1489 h 10000"/>
                <a:gd name="connsiteX108" fmla="*/ 8351 w 10000"/>
                <a:gd name="connsiteY108" fmla="*/ 1489 h 10000"/>
                <a:gd name="connsiteX109" fmla="*/ 8351 w 10000"/>
                <a:gd name="connsiteY109" fmla="*/ 1506 h 10000"/>
                <a:gd name="connsiteX110" fmla="*/ 8491 w 10000"/>
                <a:gd name="connsiteY110" fmla="*/ 1681 h 10000"/>
                <a:gd name="connsiteX111" fmla="*/ 8616 w 10000"/>
                <a:gd name="connsiteY111" fmla="*/ 1856 h 10000"/>
                <a:gd name="connsiteX112" fmla="*/ 8694 w 10000"/>
                <a:gd name="connsiteY112" fmla="*/ 2137 h 10000"/>
                <a:gd name="connsiteX113" fmla="*/ 8694 w 10000"/>
                <a:gd name="connsiteY113" fmla="*/ 2277 h 10000"/>
                <a:gd name="connsiteX114" fmla="*/ 8694 w 10000"/>
                <a:gd name="connsiteY114" fmla="*/ 2294 h 10000"/>
                <a:gd name="connsiteX115" fmla="*/ 8694 w 10000"/>
                <a:gd name="connsiteY115" fmla="*/ 2312 h 10000"/>
                <a:gd name="connsiteX116" fmla="*/ 8787 w 10000"/>
                <a:gd name="connsiteY116" fmla="*/ 2399 h 10000"/>
                <a:gd name="connsiteX117" fmla="*/ 8818 w 10000"/>
                <a:gd name="connsiteY117" fmla="*/ 2767 h 10000"/>
                <a:gd name="connsiteX118" fmla="*/ 8756 w 10000"/>
                <a:gd name="connsiteY118" fmla="*/ 2855 h 10000"/>
                <a:gd name="connsiteX119" fmla="*/ 8507 w 10000"/>
                <a:gd name="connsiteY119" fmla="*/ 2995 h 10000"/>
                <a:gd name="connsiteX120" fmla="*/ 8491 w 10000"/>
                <a:gd name="connsiteY120" fmla="*/ 3012 h 10000"/>
                <a:gd name="connsiteX121" fmla="*/ 8491 w 10000"/>
                <a:gd name="connsiteY121" fmla="*/ 3012 h 10000"/>
                <a:gd name="connsiteX122" fmla="*/ 8305 w 10000"/>
                <a:gd name="connsiteY122" fmla="*/ 3363 h 10000"/>
                <a:gd name="connsiteX123" fmla="*/ 8180 w 10000"/>
                <a:gd name="connsiteY123" fmla="*/ 3468 h 10000"/>
                <a:gd name="connsiteX124" fmla="*/ 8149 w 10000"/>
                <a:gd name="connsiteY124" fmla="*/ 3485 h 10000"/>
                <a:gd name="connsiteX125" fmla="*/ 8165 w 10000"/>
                <a:gd name="connsiteY125" fmla="*/ 3520 h 10000"/>
                <a:gd name="connsiteX126" fmla="*/ 8274 w 10000"/>
                <a:gd name="connsiteY126" fmla="*/ 3678 h 10000"/>
                <a:gd name="connsiteX127" fmla="*/ 8274 w 10000"/>
                <a:gd name="connsiteY127" fmla="*/ 3835 h 10000"/>
                <a:gd name="connsiteX128" fmla="*/ 8180 w 10000"/>
                <a:gd name="connsiteY128" fmla="*/ 4116 h 10000"/>
                <a:gd name="connsiteX129" fmla="*/ 8180 w 10000"/>
                <a:gd name="connsiteY129" fmla="*/ 4133 h 10000"/>
                <a:gd name="connsiteX130" fmla="*/ 8196 w 10000"/>
                <a:gd name="connsiteY130" fmla="*/ 4151 h 10000"/>
                <a:gd name="connsiteX131" fmla="*/ 8523 w 10000"/>
                <a:gd name="connsiteY131" fmla="*/ 4553 h 10000"/>
                <a:gd name="connsiteX132" fmla="*/ 8523 w 10000"/>
                <a:gd name="connsiteY132" fmla="*/ 4553 h 10000"/>
                <a:gd name="connsiteX133" fmla="*/ 8523 w 10000"/>
                <a:gd name="connsiteY133" fmla="*/ 4553 h 10000"/>
                <a:gd name="connsiteX134" fmla="*/ 8647 w 10000"/>
                <a:gd name="connsiteY134" fmla="*/ 4623 h 10000"/>
                <a:gd name="connsiteX135" fmla="*/ 8740 w 10000"/>
                <a:gd name="connsiteY135" fmla="*/ 4483 h 10000"/>
                <a:gd name="connsiteX136" fmla="*/ 8787 w 10000"/>
                <a:gd name="connsiteY136" fmla="*/ 4466 h 10000"/>
                <a:gd name="connsiteX137" fmla="*/ 8865 w 10000"/>
                <a:gd name="connsiteY137" fmla="*/ 4553 h 10000"/>
                <a:gd name="connsiteX138" fmla="*/ 8802 w 10000"/>
                <a:gd name="connsiteY138" fmla="*/ 4746 h 10000"/>
                <a:gd name="connsiteX139" fmla="*/ 8787 w 10000"/>
                <a:gd name="connsiteY139" fmla="*/ 4764 h 10000"/>
                <a:gd name="connsiteX140" fmla="*/ 8802 w 10000"/>
                <a:gd name="connsiteY140" fmla="*/ 4781 h 10000"/>
                <a:gd name="connsiteX141" fmla="*/ 9020 w 10000"/>
                <a:gd name="connsiteY141" fmla="*/ 4974 h 10000"/>
                <a:gd name="connsiteX142" fmla="*/ 9253 w 10000"/>
                <a:gd name="connsiteY142" fmla="*/ 5131 h 10000"/>
                <a:gd name="connsiteX143" fmla="*/ 9253 w 10000"/>
                <a:gd name="connsiteY143" fmla="*/ 5131 h 10000"/>
                <a:gd name="connsiteX144" fmla="*/ 9253 w 10000"/>
                <a:gd name="connsiteY144" fmla="*/ 5131 h 10000"/>
                <a:gd name="connsiteX145" fmla="*/ 9565 w 10000"/>
                <a:gd name="connsiteY145" fmla="*/ 5271 h 10000"/>
                <a:gd name="connsiteX146" fmla="*/ 9813 w 10000"/>
                <a:gd name="connsiteY146" fmla="*/ 5709 h 10000"/>
                <a:gd name="connsiteX147" fmla="*/ 9813 w 10000"/>
                <a:gd name="connsiteY147" fmla="*/ 5989 h 10000"/>
                <a:gd name="connsiteX148" fmla="*/ 9813 w 10000"/>
                <a:gd name="connsiteY148" fmla="*/ 6007 h 10000"/>
                <a:gd name="connsiteX149" fmla="*/ 9813 w 10000"/>
                <a:gd name="connsiteY149" fmla="*/ 6007 h 10000"/>
                <a:gd name="connsiteX150" fmla="*/ 9984 w 10000"/>
                <a:gd name="connsiteY150" fmla="*/ 6235 h 10000"/>
                <a:gd name="connsiteX151" fmla="*/ 10000 w 10000"/>
                <a:gd name="connsiteY151" fmla="*/ 6392 h 10000"/>
                <a:gd name="connsiteX152" fmla="*/ 9502 w 10000"/>
                <a:gd name="connsiteY152" fmla="*/ 6795 h 10000"/>
                <a:gd name="connsiteX153" fmla="*/ 9347 w 10000"/>
                <a:gd name="connsiteY153" fmla="*/ 6900 h 10000"/>
                <a:gd name="connsiteX154" fmla="*/ 9067 w 10000"/>
                <a:gd name="connsiteY154" fmla="*/ 7128 h 10000"/>
                <a:gd name="connsiteX155" fmla="*/ 8849 w 10000"/>
                <a:gd name="connsiteY155" fmla="*/ 7233 h 10000"/>
                <a:gd name="connsiteX156" fmla="*/ 8849 w 10000"/>
                <a:gd name="connsiteY156" fmla="*/ 7233 h 10000"/>
                <a:gd name="connsiteX157" fmla="*/ 8834 w 10000"/>
                <a:gd name="connsiteY157" fmla="*/ 7250 h 10000"/>
                <a:gd name="connsiteX158" fmla="*/ 8554 w 10000"/>
                <a:gd name="connsiteY158" fmla="*/ 7513 h 10000"/>
                <a:gd name="connsiteX159" fmla="*/ 8491 w 10000"/>
                <a:gd name="connsiteY159" fmla="*/ 7391 h 10000"/>
                <a:gd name="connsiteX160" fmla="*/ 8476 w 10000"/>
                <a:gd name="connsiteY160" fmla="*/ 7391 h 10000"/>
                <a:gd name="connsiteX161" fmla="*/ 8476 w 10000"/>
                <a:gd name="connsiteY161" fmla="*/ 7391 h 10000"/>
                <a:gd name="connsiteX162" fmla="*/ 8289 w 10000"/>
                <a:gd name="connsiteY162" fmla="*/ 7233 h 10000"/>
                <a:gd name="connsiteX163" fmla="*/ 8258 w 10000"/>
                <a:gd name="connsiteY163" fmla="*/ 7040 h 10000"/>
                <a:gd name="connsiteX164" fmla="*/ 8258 w 10000"/>
                <a:gd name="connsiteY164" fmla="*/ 7040 h 10000"/>
                <a:gd name="connsiteX165" fmla="*/ 8243 w 10000"/>
                <a:gd name="connsiteY165" fmla="*/ 7023 h 10000"/>
                <a:gd name="connsiteX166" fmla="*/ 7574 w 10000"/>
                <a:gd name="connsiteY166" fmla="*/ 6235 h 10000"/>
                <a:gd name="connsiteX167" fmla="*/ 7574 w 10000"/>
                <a:gd name="connsiteY167" fmla="*/ 6217 h 10000"/>
                <a:gd name="connsiteX168" fmla="*/ 7558 w 10000"/>
                <a:gd name="connsiteY168" fmla="*/ 6217 h 10000"/>
                <a:gd name="connsiteX169" fmla="*/ 7030 w 10000"/>
                <a:gd name="connsiteY169" fmla="*/ 6200 h 10000"/>
                <a:gd name="connsiteX170" fmla="*/ 7014 w 10000"/>
                <a:gd name="connsiteY170" fmla="*/ 6200 h 10000"/>
                <a:gd name="connsiteX171" fmla="*/ 6998 w 10000"/>
                <a:gd name="connsiteY171" fmla="*/ 6217 h 10000"/>
                <a:gd name="connsiteX172" fmla="*/ 6501 w 10000"/>
                <a:gd name="connsiteY172" fmla="*/ 7233 h 10000"/>
                <a:gd name="connsiteX173" fmla="*/ 5941 w 10000"/>
                <a:gd name="connsiteY173" fmla="*/ 7233 h 10000"/>
                <a:gd name="connsiteX174" fmla="*/ 5910 w 10000"/>
                <a:gd name="connsiteY174" fmla="*/ 7233 h 10000"/>
                <a:gd name="connsiteX175" fmla="*/ 5910 w 10000"/>
                <a:gd name="connsiteY175" fmla="*/ 7250 h 10000"/>
                <a:gd name="connsiteX176" fmla="*/ 5923 w 10000"/>
                <a:gd name="connsiteY176" fmla="*/ 7720 h 10000"/>
                <a:gd name="connsiteX177" fmla="*/ 5708 w 10000"/>
                <a:gd name="connsiteY177" fmla="*/ 7566 h 10000"/>
                <a:gd name="connsiteX178" fmla="*/ 5692 w 10000"/>
                <a:gd name="connsiteY178" fmla="*/ 7566 h 10000"/>
                <a:gd name="connsiteX179" fmla="*/ 5677 w 10000"/>
                <a:gd name="connsiteY179" fmla="*/ 7601 h 10000"/>
                <a:gd name="connsiteX180" fmla="*/ 4666 w 10000"/>
                <a:gd name="connsiteY180" fmla="*/ 8651 h 10000"/>
                <a:gd name="connsiteX181" fmla="*/ 4666 w 10000"/>
                <a:gd name="connsiteY181" fmla="*/ 8651 h 10000"/>
                <a:gd name="connsiteX182" fmla="*/ 4666 w 10000"/>
                <a:gd name="connsiteY182" fmla="*/ 8651 h 10000"/>
                <a:gd name="connsiteX183" fmla="*/ 4572 w 10000"/>
                <a:gd name="connsiteY183" fmla="*/ 8844 h 10000"/>
                <a:gd name="connsiteX184" fmla="*/ 4230 w 10000"/>
                <a:gd name="connsiteY184" fmla="*/ 8862 h 10000"/>
                <a:gd name="connsiteX185" fmla="*/ 4215 w 10000"/>
                <a:gd name="connsiteY185" fmla="*/ 8862 h 10000"/>
                <a:gd name="connsiteX186" fmla="*/ 4215 w 10000"/>
                <a:gd name="connsiteY186" fmla="*/ 8897 h 10000"/>
                <a:gd name="connsiteX187" fmla="*/ 4215 w 10000"/>
                <a:gd name="connsiteY187" fmla="*/ 9072 h 10000"/>
                <a:gd name="connsiteX188" fmla="*/ 4230 w 10000"/>
                <a:gd name="connsiteY188" fmla="*/ 9089 h 10000"/>
                <a:gd name="connsiteX0" fmla="*/ 4230 w 10000"/>
                <a:gd name="connsiteY0" fmla="*/ 9089 h 10000"/>
                <a:gd name="connsiteX1" fmla="*/ 4090 w 10000"/>
                <a:gd name="connsiteY1" fmla="*/ 9282 h 10000"/>
                <a:gd name="connsiteX2" fmla="*/ 4090 w 10000"/>
                <a:gd name="connsiteY2" fmla="*/ 9492 h 10000"/>
                <a:gd name="connsiteX3" fmla="*/ 3981 w 10000"/>
                <a:gd name="connsiteY3" fmla="*/ 9615 h 10000"/>
                <a:gd name="connsiteX4" fmla="*/ 3935 w 10000"/>
                <a:gd name="connsiteY4" fmla="*/ 9580 h 10000"/>
                <a:gd name="connsiteX5" fmla="*/ 2022 w 10000"/>
                <a:gd name="connsiteY5" fmla="*/ 10000 h 10000"/>
                <a:gd name="connsiteX6" fmla="*/ 1960 w 10000"/>
                <a:gd name="connsiteY6" fmla="*/ 9212 h 10000"/>
                <a:gd name="connsiteX7" fmla="*/ 1882 w 10000"/>
                <a:gd name="connsiteY7" fmla="*/ 8529 h 10000"/>
                <a:gd name="connsiteX8" fmla="*/ 1882 w 10000"/>
                <a:gd name="connsiteY8" fmla="*/ 8529 h 10000"/>
                <a:gd name="connsiteX9" fmla="*/ 1882 w 10000"/>
                <a:gd name="connsiteY9" fmla="*/ 8529 h 10000"/>
                <a:gd name="connsiteX10" fmla="*/ 1882 w 10000"/>
                <a:gd name="connsiteY10" fmla="*/ 8529 h 10000"/>
                <a:gd name="connsiteX11" fmla="*/ 1882 w 10000"/>
                <a:gd name="connsiteY11" fmla="*/ 8476 h 10000"/>
                <a:gd name="connsiteX12" fmla="*/ 1882 w 10000"/>
                <a:gd name="connsiteY12" fmla="*/ 8494 h 10000"/>
                <a:gd name="connsiteX13" fmla="*/ 1788 w 10000"/>
                <a:gd name="connsiteY13" fmla="*/ 7671 h 10000"/>
                <a:gd name="connsiteX14" fmla="*/ 1788 w 10000"/>
                <a:gd name="connsiteY14" fmla="*/ 7653 h 10000"/>
                <a:gd name="connsiteX15" fmla="*/ 1773 w 10000"/>
                <a:gd name="connsiteY15" fmla="*/ 7618 h 10000"/>
                <a:gd name="connsiteX16" fmla="*/ 1509 w 10000"/>
                <a:gd name="connsiteY16" fmla="*/ 7496 h 10000"/>
                <a:gd name="connsiteX17" fmla="*/ 1104 w 10000"/>
                <a:gd name="connsiteY17" fmla="*/ 7285 h 10000"/>
                <a:gd name="connsiteX18" fmla="*/ 855 w 10000"/>
                <a:gd name="connsiteY18" fmla="*/ 7005 h 10000"/>
                <a:gd name="connsiteX19" fmla="*/ 855 w 10000"/>
                <a:gd name="connsiteY19" fmla="*/ 6585 h 10000"/>
                <a:gd name="connsiteX20" fmla="*/ 855 w 10000"/>
                <a:gd name="connsiteY20" fmla="*/ 6567 h 10000"/>
                <a:gd name="connsiteX21" fmla="*/ 855 w 10000"/>
                <a:gd name="connsiteY21" fmla="*/ 6567 h 10000"/>
                <a:gd name="connsiteX22" fmla="*/ 731 w 10000"/>
                <a:gd name="connsiteY22" fmla="*/ 6322 h 10000"/>
                <a:gd name="connsiteX23" fmla="*/ 778 w 10000"/>
                <a:gd name="connsiteY23" fmla="*/ 6025 h 10000"/>
                <a:gd name="connsiteX24" fmla="*/ 902 w 10000"/>
                <a:gd name="connsiteY24" fmla="*/ 5744 h 10000"/>
                <a:gd name="connsiteX25" fmla="*/ 980 w 10000"/>
                <a:gd name="connsiteY25" fmla="*/ 5517 h 10000"/>
                <a:gd name="connsiteX26" fmla="*/ 1089 w 10000"/>
                <a:gd name="connsiteY26" fmla="*/ 5306 h 10000"/>
                <a:gd name="connsiteX27" fmla="*/ 1089 w 10000"/>
                <a:gd name="connsiteY27" fmla="*/ 5289 h 10000"/>
                <a:gd name="connsiteX28" fmla="*/ 1073 w 10000"/>
                <a:gd name="connsiteY28" fmla="*/ 5271 h 10000"/>
                <a:gd name="connsiteX29" fmla="*/ 949 w 10000"/>
                <a:gd name="connsiteY29" fmla="*/ 5044 h 10000"/>
                <a:gd name="connsiteX30" fmla="*/ 949 w 10000"/>
                <a:gd name="connsiteY30" fmla="*/ 4203 h 10000"/>
                <a:gd name="connsiteX31" fmla="*/ 1058 w 10000"/>
                <a:gd name="connsiteY31" fmla="*/ 3923 h 10000"/>
                <a:gd name="connsiteX32" fmla="*/ 1058 w 10000"/>
                <a:gd name="connsiteY32" fmla="*/ 3888 h 10000"/>
                <a:gd name="connsiteX33" fmla="*/ 1042 w 10000"/>
                <a:gd name="connsiteY33" fmla="*/ 3870 h 10000"/>
                <a:gd name="connsiteX34" fmla="*/ 731 w 10000"/>
                <a:gd name="connsiteY34" fmla="*/ 3678 h 10000"/>
                <a:gd name="connsiteX35" fmla="*/ 715 w 10000"/>
                <a:gd name="connsiteY35" fmla="*/ 3678 h 10000"/>
                <a:gd name="connsiteX36" fmla="*/ 700 w 10000"/>
                <a:gd name="connsiteY36" fmla="*/ 3678 h 10000"/>
                <a:gd name="connsiteX37" fmla="*/ 560 w 10000"/>
                <a:gd name="connsiteY37" fmla="*/ 3783 h 10000"/>
                <a:gd name="connsiteX38" fmla="*/ 233 w 10000"/>
                <a:gd name="connsiteY38" fmla="*/ 3643 h 10000"/>
                <a:gd name="connsiteX39" fmla="*/ 233 w 10000"/>
                <a:gd name="connsiteY39" fmla="*/ 3257 h 10000"/>
                <a:gd name="connsiteX40" fmla="*/ 342 w 10000"/>
                <a:gd name="connsiteY40" fmla="*/ 3152 h 10000"/>
                <a:gd name="connsiteX41" fmla="*/ 358 w 10000"/>
                <a:gd name="connsiteY41" fmla="*/ 3135 h 10000"/>
                <a:gd name="connsiteX42" fmla="*/ 358 w 10000"/>
                <a:gd name="connsiteY42" fmla="*/ 3117 h 10000"/>
                <a:gd name="connsiteX43" fmla="*/ 358 w 10000"/>
                <a:gd name="connsiteY43" fmla="*/ 3030 h 10000"/>
                <a:gd name="connsiteX44" fmla="*/ 358 w 10000"/>
                <a:gd name="connsiteY44" fmla="*/ 3012 h 10000"/>
                <a:gd name="connsiteX45" fmla="*/ 342 w 10000"/>
                <a:gd name="connsiteY45" fmla="*/ 3012 h 10000"/>
                <a:gd name="connsiteX46" fmla="*/ 0 w 10000"/>
                <a:gd name="connsiteY46" fmla="*/ 2750 h 10000"/>
                <a:gd name="connsiteX47" fmla="*/ 156 w 10000"/>
                <a:gd name="connsiteY47" fmla="*/ 2294 h 10000"/>
                <a:gd name="connsiteX48" fmla="*/ 747 w 10000"/>
                <a:gd name="connsiteY48" fmla="*/ 2277 h 10000"/>
                <a:gd name="connsiteX49" fmla="*/ 762 w 10000"/>
                <a:gd name="connsiteY49" fmla="*/ 2277 h 10000"/>
                <a:gd name="connsiteX50" fmla="*/ 778 w 10000"/>
                <a:gd name="connsiteY50" fmla="*/ 2259 h 10000"/>
                <a:gd name="connsiteX51" fmla="*/ 1135 w 10000"/>
                <a:gd name="connsiteY51" fmla="*/ 1734 h 10000"/>
                <a:gd name="connsiteX52" fmla="*/ 1135 w 10000"/>
                <a:gd name="connsiteY52" fmla="*/ 1734 h 10000"/>
                <a:gd name="connsiteX53" fmla="*/ 1135 w 10000"/>
                <a:gd name="connsiteY53" fmla="*/ 1716 h 10000"/>
                <a:gd name="connsiteX54" fmla="*/ 1089 w 10000"/>
                <a:gd name="connsiteY54" fmla="*/ 1313 h 10000"/>
                <a:gd name="connsiteX55" fmla="*/ 1089 w 10000"/>
                <a:gd name="connsiteY55" fmla="*/ 1313 h 10000"/>
                <a:gd name="connsiteX56" fmla="*/ 1089 w 10000"/>
                <a:gd name="connsiteY56" fmla="*/ 1313 h 10000"/>
                <a:gd name="connsiteX57" fmla="*/ 1026 w 10000"/>
                <a:gd name="connsiteY57" fmla="*/ 1068 h 10000"/>
                <a:gd name="connsiteX58" fmla="*/ 1151 w 10000"/>
                <a:gd name="connsiteY58" fmla="*/ 823 h 10000"/>
                <a:gd name="connsiteX59" fmla="*/ 1135 w 10000"/>
                <a:gd name="connsiteY59" fmla="*/ 806 h 10000"/>
                <a:gd name="connsiteX60" fmla="*/ 1182 w 10000"/>
                <a:gd name="connsiteY60" fmla="*/ 648 h 10000"/>
                <a:gd name="connsiteX61" fmla="*/ 1182 w 10000"/>
                <a:gd name="connsiteY61" fmla="*/ 420 h 10000"/>
                <a:gd name="connsiteX62" fmla="*/ 1026 w 10000"/>
                <a:gd name="connsiteY62" fmla="*/ 245 h 10000"/>
                <a:gd name="connsiteX63" fmla="*/ 1198 w 10000"/>
                <a:gd name="connsiteY63" fmla="*/ 0 h 10000"/>
                <a:gd name="connsiteX64" fmla="*/ 1353 w 10000"/>
                <a:gd name="connsiteY64" fmla="*/ 140 h 10000"/>
                <a:gd name="connsiteX65" fmla="*/ 1586 w 10000"/>
                <a:gd name="connsiteY65" fmla="*/ 368 h 10000"/>
                <a:gd name="connsiteX66" fmla="*/ 2037 w 10000"/>
                <a:gd name="connsiteY66" fmla="*/ 998 h 10000"/>
                <a:gd name="connsiteX67" fmla="*/ 2504 w 10000"/>
                <a:gd name="connsiteY67" fmla="*/ 771 h 10000"/>
                <a:gd name="connsiteX68" fmla="*/ 2597 w 10000"/>
                <a:gd name="connsiteY68" fmla="*/ 525 h 10000"/>
                <a:gd name="connsiteX69" fmla="*/ 2846 w 10000"/>
                <a:gd name="connsiteY69" fmla="*/ 490 h 10000"/>
                <a:gd name="connsiteX70" fmla="*/ 2986 w 10000"/>
                <a:gd name="connsiteY70" fmla="*/ 280 h 10000"/>
                <a:gd name="connsiteX71" fmla="*/ 3561 w 10000"/>
                <a:gd name="connsiteY71" fmla="*/ 350 h 10000"/>
                <a:gd name="connsiteX72" fmla="*/ 3717 w 10000"/>
                <a:gd name="connsiteY72" fmla="*/ 665 h 10000"/>
                <a:gd name="connsiteX73" fmla="*/ 3997 w 10000"/>
                <a:gd name="connsiteY73" fmla="*/ 665 h 10000"/>
                <a:gd name="connsiteX74" fmla="*/ 4168 w 10000"/>
                <a:gd name="connsiteY74" fmla="*/ 385 h 10000"/>
                <a:gd name="connsiteX75" fmla="*/ 4526 w 10000"/>
                <a:gd name="connsiteY75" fmla="*/ 420 h 10000"/>
                <a:gd name="connsiteX76" fmla="*/ 4837 w 10000"/>
                <a:gd name="connsiteY76" fmla="*/ 525 h 10000"/>
                <a:gd name="connsiteX77" fmla="*/ 4852 w 10000"/>
                <a:gd name="connsiteY77" fmla="*/ 928 h 10000"/>
                <a:gd name="connsiteX78" fmla="*/ 5179 w 10000"/>
                <a:gd name="connsiteY78" fmla="*/ 1313 h 10000"/>
                <a:gd name="connsiteX79" fmla="*/ 5521 w 10000"/>
                <a:gd name="connsiteY79" fmla="*/ 1296 h 10000"/>
                <a:gd name="connsiteX80" fmla="*/ 5723 w 10000"/>
                <a:gd name="connsiteY80" fmla="*/ 1471 h 10000"/>
                <a:gd name="connsiteX81" fmla="*/ 5910 w 10000"/>
                <a:gd name="connsiteY81" fmla="*/ 1594 h 10000"/>
                <a:gd name="connsiteX82" fmla="*/ 6081 w 10000"/>
                <a:gd name="connsiteY82" fmla="*/ 1384 h 10000"/>
                <a:gd name="connsiteX83" fmla="*/ 6128 w 10000"/>
                <a:gd name="connsiteY83" fmla="*/ 1121 h 10000"/>
                <a:gd name="connsiteX84" fmla="*/ 6330 w 10000"/>
                <a:gd name="connsiteY84" fmla="*/ 1068 h 10000"/>
                <a:gd name="connsiteX85" fmla="*/ 6392 w 10000"/>
                <a:gd name="connsiteY85" fmla="*/ 1313 h 10000"/>
                <a:gd name="connsiteX86" fmla="*/ 6781 w 10000"/>
                <a:gd name="connsiteY86" fmla="*/ 1366 h 10000"/>
                <a:gd name="connsiteX87" fmla="*/ 7263 w 10000"/>
                <a:gd name="connsiteY87" fmla="*/ 1296 h 10000"/>
                <a:gd name="connsiteX88" fmla="*/ 7512 w 10000"/>
                <a:gd name="connsiteY88" fmla="*/ 1138 h 10000"/>
                <a:gd name="connsiteX89" fmla="*/ 7652 w 10000"/>
                <a:gd name="connsiteY89" fmla="*/ 525 h 10000"/>
                <a:gd name="connsiteX90" fmla="*/ 7667 w 10000"/>
                <a:gd name="connsiteY90" fmla="*/ 473 h 10000"/>
                <a:gd name="connsiteX91" fmla="*/ 8025 w 10000"/>
                <a:gd name="connsiteY91" fmla="*/ 473 h 10000"/>
                <a:gd name="connsiteX92" fmla="*/ 7978 w 10000"/>
                <a:gd name="connsiteY92" fmla="*/ 718 h 10000"/>
                <a:gd name="connsiteX93" fmla="*/ 7978 w 10000"/>
                <a:gd name="connsiteY93" fmla="*/ 736 h 10000"/>
                <a:gd name="connsiteX94" fmla="*/ 7994 w 10000"/>
                <a:gd name="connsiteY94" fmla="*/ 736 h 10000"/>
                <a:gd name="connsiteX95" fmla="*/ 8056 w 10000"/>
                <a:gd name="connsiteY95" fmla="*/ 876 h 10000"/>
                <a:gd name="connsiteX96" fmla="*/ 8072 w 10000"/>
                <a:gd name="connsiteY96" fmla="*/ 928 h 10000"/>
                <a:gd name="connsiteX97" fmla="*/ 8103 w 10000"/>
                <a:gd name="connsiteY97" fmla="*/ 893 h 10000"/>
                <a:gd name="connsiteX98" fmla="*/ 8243 w 10000"/>
                <a:gd name="connsiteY98" fmla="*/ 736 h 10000"/>
                <a:gd name="connsiteX99" fmla="*/ 8305 w 10000"/>
                <a:gd name="connsiteY99" fmla="*/ 806 h 10000"/>
                <a:gd name="connsiteX100" fmla="*/ 8336 w 10000"/>
                <a:gd name="connsiteY100" fmla="*/ 963 h 10000"/>
                <a:gd name="connsiteX101" fmla="*/ 8351 w 10000"/>
                <a:gd name="connsiteY101" fmla="*/ 981 h 10000"/>
                <a:gd name="connsiteX102" fmla="*/ 8351 w 10000"/>
                <a:gd name="connsiteY102" fmla="*/ 981 h 10000"/>
                <a:gd name="connsiteX103" fmla="*/ 8460 w 10000"/>
                <a:gd name="connsiteY103" fmla="*/ 1121 h 10000"/>
                <a:gd name="connsiteX104" fmla="*/ 8367 w 10000"/>
                <a:gd name="connsiteY104" fmla="*/ 1226 h 10000"/>
                <a:gd name="connsiteX105" fmla="*/ 8351 w 10000"/>
                <a:gd name="connsiteY105" fmla="*/ 1226 h 10000"/>
                <a:gd name="connsiteX106" fmla="*/ 8351 w 10000"/>
                <a:gd name="connsiteY106" fmla="*/ 1243 h 10000"/>
                <a:gd name="connsiteX107" fmla="*/ 8351 w 10000"/>
                <a:gd name="connsiteY107" fmla="*/ 1489 h 10000"/>
                <a:gd name="connsiteX108" fmla="*/ 8351 w 10000"/>
                <a:gd name="connsiteY108" fmla="*/ 1489 h 10000"/>
                <a:gd name="connsiteX109" fmla="*/ 8351 w 10000"/>
                <a:gd name="connsiteY109" fmla="*/ 1506 h 10000"/>
                <a:gd name="connsiteX110" fmla="*/ 8491 w 10000"/>
                <a:gd name="connsiteY110" fmla="*/ 1681 h 10000"/>
                <a:gd name="connsiteX111" fmla="*/ 8616 w 10000"/>
                <a:gd name="connsiteY111" fmla="*/ 1856 h 10000"/>
                <a:gd name="connsiteX112" fmla="*/ 8694 w 10000"/>
                <a:gd name="connsiteY112" fmla="*/ 2137 h 10000"/>
                <a:gd name="connsiteX113" fmla="*/ 8694 w 10000"/>
                <a:gd name="connsiteY113" fmla="*/ 2277 h 10000"/>
                <a:gd name="connsiteX114" fmla="*/ 8694 w 10000"/>
                <a:gd name="connsiteY114" fmla="*/ 2294 h 10000"/>
                <a:gd name="connsiteX115" fmla="*/ 8694 w 10000"/>
                <a:gd name="connsiteY115" fmla="*/ 2312 h 10000"/>
                <a:gd name="connsiteX116" fmla="*/ 8787 w 10000"/>
                <a:gd name="connsiteY116" fmla="*/ 2399 h 10000"/>
                <a:gd name="connsiteX117" fmla="*/ 8818 w 10000"/>
                <a:gd name="connsiteY117" fmla="*/ 2767 h 10000"/>
                <a:gd name="connsiteX118" fmla="*/ 8756 w 10000"/>
                <a:gd name="connsiteY118" fmla="*/ 2855 h 10000"/>
                <a:gd name="connsiteX119" fmla="*/ 8507 w 10000"/>
                <a:gd name="connsiteY119" fmla="*/ 2995 h 10000"/>
                <a:gd name="connsiteX120" fmla="*/ 8491 w 10000"/>
                <a:gd name="connsiteY120" fmla="*/ 3012 h 10000"/>
                <a:gd name="connsiteX121" fmla="*/ 8491 w 10000"/>
                <a:gd name="connsiteY121" fmla="*/ 3012 h 10000"/>
                <a:gd name="connsiteX122" fmla="*/ 8305 w 10000"/>
                <a:gd name="connsiteY122" fmla="*/ 3363 h 10000"/>
                <a:gd name="connsiteX123" fmla="*/ 8180 w 10000"/>
                <a:gd name="connsiteY123" fmla="*/ 3468 h 10000"/>
                <a:gd name="connsiteX124" fmla="*/ 8149 w 10000"/>
                <a:gd name="connsiteY124" fmla="*/ 3485 h 10000"/>
                <a:gd name="connsiteX125" fmla="*/ 8165 w 10000"/>
                <a:gd name="connsiteY125" fmla="*/ 3520 h 10000"/>
                <a:gd name="connsiteX126" fmla="*/ 8274 w 10000"/>
                <a:gd name="connsiteY126" fmla="*/ 3678 h 10000"/>
                <a:gd name="connsiteX127" fmla="*/ 8274 w 10000"/>
                <a:gd name="connsiteY127" fmla="*/ 3835 h 10000"/>
                <a:gd name="connsiteX128" fmla="*/ 8180 w 10000"/>
                <a:gd name="connsiteY128" fmla="*/ 4116 h 10000"/>
                <a:gd name="connsiteX129" fmla="*/ 8180 w 10000"/>
                <a:gd name="connsiteY129" fmla="*/ 4133 h 10000"/>
                <a:gd name="connsiteX130" fmla="*/ 8196 w 10000"/>
                <a:gd name="connsiteY130" fmla="*/ 4151 h 10000"/>
                <a:gd name="connsiteX131" fmla="*/ 8523 w 10000"/>
                <a:gd name="connsiteY131" fmla="*/ 4553 h 10000"/>
                <a:gd name="connsiteX132" fmla="*/ 8523 w 10000"/>
                <a:gd name="connsiteY132" fmla="*/ 4553 h 10000"/>
                <a:gd name="connsiteX133" fmla="*/ 8523 w 10000"/>
                <a:gd name="connsiteY133" fmla="*/ 4553 h 10000"/>
                <a:gd name="connsiteX134" fmla="*/ 8682 w 10000"/>
                <a:gd name="connsiteY134" fmla="*/ 4532 h 10000"/>
                <a:gd name="connsiteX135" fmla="*/ 8740 w 10000"/>
                <a:gd name="connsiteY135" fmla="*/ 4483 h 10000"/>
                <a:gd name="connsiteX136" fmla="*/ 8787 w 10000"/>
                <a:gd name="connsiteY136" fmla="*/ 4466 h 10000"/>
                <a:gd name="connsiteX137" fmla="*/ 8865 w 10000"/>
                <a:gd name="connsiteY137" fmla="*/ 4553 h 10000"/>
                <a:gd name="connsiteX138" fmla="*/ 8802 w 10000"/>
                <a:gd name="connsiteY138" fmla="*/ 4746 h 10000"/>
                <a:gd name="connsiteX139" fmla="*/ 8787 w 10000"/>
                <a:gd name="connsiteY139" fmla="*/ 4764 h 10000"/>
                <a:gd name="connsiteX140" fmla="*/ 8802 w 10000"/>
                <a:gd name="connsiteY140" fmla="*/ 4781 h 10000"/>
                <a:gd name="connsiteX141" fmla="*/ 9020 w 10000"/>
                <a:gd name="connsiteY141" fmla="*/ 4974 h 10000"/>
                <a:gd name="connsiteX142" fmla="*/ 9253 w 10000"/>
                <a:gd name="connsiteY142" fmla="*/ 5131 h 10000"/>
                <a:gd name="connsiteX143" fmla="*/ 9253 w 10000"/>
                <a:gd name="connsiteY143" fmla="*/ 5131 h 10000"/>
                <a:gd name="connsiteX144" fmla="*/ 9253 w 10000"/>
                <a:gd name="connsiteY144" fmla="*/ 5131 h 10000"/>
                <a:gd name="connsiteX145" fmla="*/ 9565 w 10000"/>
                <a:gd name="connsiteY145" fmla="*/ 5271 h 10000"/>
                <a:gd name="connsiteX146" fmla="*/ 9813 w 10000"/>
                <a:gd name="connsiteY146" fmla="*/ 5709 h 10000"/>
                <a:gd name="connsiteX147" fmla="*/ 9813 w 10000"/>
                <a:gd name="connsiteY147" fmla="*/ 5989 h 10000"/>
                <a:gd name="connsiteX148" fmla="*/ 9813 w 10000"/>
                <a:gd name="connsiteY148" fmla="*/ 6007 h 10000"/>
                <a:gd name="connsiteX149" fmla="*/ 9813 w 10000"/>
                <a:gd name="connsiteY149" fmla="*/ 6007 h 10000"/>
                <a:gd name="connsiteX150" fmla="*/ 9984 w 10000"/>
                <a:gd name="connsiteY150" fmla="*/ 6235 h 10000"/>
                <a:gd name="connsiteX151" fmla="*/ 10000 w 10000"/>
                <a:gd name="connsiteY151" fmla="*/ 6392 h 10000"/>
                <a:gd name="connsiteX152" fmla="*/ 9502 w 10000"/>
                <a:gd name="connsiteY152" fmla="*/ 6795 h 10000"/>
                <a:gd name="connsiteX153" fmla="*/ 9347 w 10000"/>
                <a:gd name="connsiteY153" fmla="*/ 6900 h 10000"/>
                <a:gd name="connsiteX154" fmla="*/ 9067 w 10000"/>
                <a:gd name="connsiteY154" fmla="*/ 7128 h 10000"/>
                <a:gd name="connsiteX155" fmla="*/ 8849 w 10000"/>
                <a:gd name="connsiteY155" fmla="*/ 7233 h 10000"/>
                <a:gd name="connsiteX156" fmla="*/ 8849 w 10000"/>
                <a:gd name="connsiteY156" fmla="*/ 7233 h 10000"/>
                <a:gd name="connsiteX157" fmla="*/ 8834 w 10000"/>
                <a:gd name="connsiteY157" fmla="*/ 7250 h 10000"/>
                <a:gd name="connsiteX158" fmla="*/ 8554 w 10000"/>
                <a:gd name="connsiteY158" fmla="*/ 7513 h 10000"/>
                <a:gd name="connsiteX159" fmla="*/ 8491 w 10000"/>
                <a:gd name="connsiteY159" fmla="*/ 7391 h 10000"/>
                <a:gd name="connsiteX160" fmla="*/ 8476 w 10000"/>
                <a:gd name="connsiteY160" fmla="*/ 7391 h 10000"/>
                <a:gd name="connsiteX161" fmla="*/ 8476 w 10000"/>
                <a:gd name="connsiteY161" fmla="*/ 7391 h 10000"/>
                <a:gd name="connsiteX162" fmla="*/ 8289 w 10000"/>
                <a:gd name="connsiteY162" fmla="*/ 7233 h 10000"/>
                <a:gd name="connsiteX163" fmla="*/ 8258 w 10000"/>
                <a:gd name="connsiteY163" fmla="*/ 7040 h 10000"/>
                <a:gd name="connsiteX164" fmla="*/ 8258 w 10000"/>
                <a:gd name="connsiteY164" fmla="*/ 7040 h 10000"/>
                <a:gd name="connsiteX165" fmla="*/ 8243 w 10000"/>
                <a:gd name="connsiteY165" fmla="*/ 7023 h 10000"/>
                <a:gd name="connsiteX166" fmla="*/ 7574 w 10000"/>
                <a:gd name="connsiteY166" fmla="*/ 6235 h 10000"/>
                <a:gd name="connsiteX167" fmla="*/ 7574 w 10000"/>
                <a:gd name="connsiteY167" fmla="*/ 6217 h 10000"/>
                <a:gd name="connsiteX168" fmla="*/ 7558 w 10000"/>
                <a:gd name="connsiteY168" fmla="*/ 6217 h 10000"/>
                <a:gd name="connsiteX169" fmla="*/ 7030 w 10000"/>
                <a:gd name="connsiteY169" fmla="*/ 6200 h 10000"/>
                <a:gd name="connsiteX170" fmla="*/ 7014 w 10000"/>
                <a:gd name="connsiteY170" fmla="*/ 6200 h 10000"/>
                <a:gd name="connsiteX171" fmla="*/ 6998 w 10000"/>
                <a:gd name="connsiteY171" fmla="*/ 6217 h 10000"/>
                <a:gd name="connsiteX172" fmla="*/ 6501 w 10000"/>
                <a:gd name="connsiteY172" fmla="*/ 7233 h 10000"/>
                <a:gd name="connsiteX173" fmla="*/ 5941 w 10000"/>
                <a:gd name="connsiteY173" fmla="*/ 7233 h 10000"/>
                <a:gd name="connsiteX174" fmla="*/ 5910 w 10000"/>
                <a:gd name="connsiteY174" fmla="*/ 7233 h 10000"/>
                <a:gd name="connsiteX175" fmla="*/ 5910 w 10000"/>
                <a:gd name="connsiteY175" fmla="*/ 7250 h 10000"/>
                <a:gd name="connsiteX176" fmla="*/ 5923 w 10000"/>
                <a:gd name="connsiteY176" fmla="*/ 7720 h 10000"/>
                <a:gd name="connsiteX177" fmla="*/ 5708 w 10000"/>
                <a:gd name="connsiteY177" fmla="*/ 7566 h 10000"/>
                <a:gd name="connsiteX178" fmla="*/ 5692 w 10000"/>
                <a:gd name="connsiteY178" fmla="*/ 7566 h 10000"/>
                <a:gd name="connsiteX179" fmla="*/ 5677 w 10000"/>
                <a:gd name="connsiteY179" fmla="*/ 7601 h 10000"/>
                <a:gd name="connsiteX180" fmla="*/ 4666 w 10000"/>
                <a:gd name="connsiteY180" fmla="*/ 8651 h 10000"/>
                <a:gd name="connsiteX181" fmla="*/ 4666 w 10000"/>
                <a:gd name="connsiteY181" fmla="*/ 8651 h 10000"/>
                <a:gd name="connsiteX182" fmla="*/ 4666 w 10000"/>
                <a:gd name="connsiteY182" fmla="*/ 8651 h 10000"/>
                <a:gd name="connsiteX183" fmla="*/ 4572 w 10000"/>
                <a:gd name="connsiteY183" fmla="*/ 8844 h 10000"/>
                <a:gd name="connsiteX184" fmla="*/ 4230 w 10000"/>
                <a:gd name="connsiteY184" fmla="*/ 8862 h 10000"/>
                <a:gd name="connsiteX185" fmla="*/ 4215 w 10000"/>
                <a:gd name="connsiteY185" fmla="*/ 8862 h 10000"/>
                <a:gd name="connsiteX186" fmla="*/ 4215 w 10000"/>
                <a:gd name="connsiteY186" fmla="*/ 8897 h 10000"/>
                <a:gd name="connsiteX187" fmla="*/ 4215 w 10000"/>
                <a:gd name="connsiteY187" fmla="*/ 9072 h 10000"/>
                <a:gd name="connsiteX188" fmla="*/ 4230 w 10000"/>
                <a:gd name="connsiteY188" fmla="*/ 9089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</a:cxnLst>
              <a:rect l="l" t="t" r="r" b="b"/>
              <a:pathLst>
                <a:path w="10000" h="10000">
                  <a:moveTo>
                    <a:pt x="4230" y="9089"/>
                  </a:moveTo>
                  <a:cubicBezTo>
                    <a:pt x="4183" y="9153"/>
                    <a:pt x="4137" y="9218"/>
                    <a:pt x="4090" y="9282"/>
                  </a:cubicBezTo>
                  <a:lnTo>
                    <a:pt x="4090" y="9492"/>
                  </a:lnTo>
                  <a:cubicBezTo>
                    <a:pt x="4054" y="9533"/>
                    <a:pt x="4017" y="9574"/>
                    <a:pt x="3981" y="9615"/>
                  </a:cubicBezTo>
                  <a:cubicBezTo>
                    <a:pt x="3966" y="9603"/>
                    <a:pt x="3950" y="9592"/>
                    <a:pt x="3935" y="9580"/>
                  </a:cubicBezTo>
                  <a:lnTo>
                    <a:pt x="2022" y="10000"/>
                  </a:lnTo>
                  <a:cubicBezTo>
                    <a:pt x="2001" y="9737"/>
                    <a:pt x="1981" y="9475"/>
                    <a:pt x="1960" y="9212"/>
                  </a:cubicBezTo>
                  <a:cubicBezTo>
                    <a:pt x="1934" y="8984"/>
                    <a:pt x="1908" y="8757"/>
                    <a:pt x="1882" y="8529"/>
                  </a:cubicBezTo>
                  <a:lnTo>
                    <a:pt x="1882" y="8529"/>
                  </a:lnTo>
                  <a:lnTo>
                    <a:pt x="1882" y="8529"/>
                  </a:lnTo>
                  <a:lnTo>
                    <a:pt x="1882" y="8529"/>
                  </a:lnTo>
                  <a:lnTo>
                    <a:pt x="1882" y="8476"/>
                  </a:lnTo>
                  <a:lnTo>
                    <a:pt x="1882" y="8494"/>
                  </a:lnTo>
                  <a:cubicBezTo>
                    <a:pt x="1851" y="8220"/>
                    <a:pt x="1819" y="7945"/>
                    <a:pt x="1788" y="7671"/>
                  </a:cubicBezTo>
                  <a:lnTo>
                    <a:pt x="1788" y="7653"/>
                  </a:lnTo>
                  <a:cubicBezTo>
                    <a:pt x="1783" y="7641"/>
                    <a:pt x="1778" y="7630"/>
                    <a:pt x="1773" y="7618"/>
                  </a:cubicBezTo>
                  <a:lnTo>
                    <a:pt x="1509" y="7496"/>
                  </a:lnTo>
                  <a:cubicBezTo>
                    <a:pt x="1509" y="7496"/>
                    <a:pt x="1151" y="7303"/>
                    <a:pt x="1104" y="7285"/>
                  </a:cubicBezTo>
                  <a:lnTo>
                    <a:pt x="855" y="7005"/>
                  </a:lnTo>
                  <a:lnTo>
                    <a:pt x="855" y="6585"/>
                  </a:lnTo>
                  <a:lnTo>
                    <a:pt x="855" y="6567"/>
                  </a:lnTo>
                  <a:lnTo>
                    <a:pt x="855" y="6567"/>
                  </a:lnTo>
                  <a:cubicBezTo>
                    <a:pt x="814" y="6485"/>
                    <a:pt x="772" y="6404"/>
                    <a:pt x="731" y="6322"/>
                  </a:cubicBezTo>
                  <a:cubicBezTo>
                    <a:pt x="747" y="6223"/>
                    <a:pt x="762" y="6124"/>
                    <a:pt x="778" y="6025"/>
                  </a:cubicBezTo>
                  <a:cubicBezTo>
                    <a:pt x="819" y="5931"/>
                    <a:pt x="861" y="5838"/>
                    <a:pt x="902" y="5744"/>
                  </a:cubicBezTo>
                  <a:cubicBezTo>
                    <a:pt x="928" y="5668"/>
                    <a:pt x="954" y="5593"/>
                    <a:pt x="980" y="5517"/>
                  </a:cubicBezTo>
                  <a:lnTo>
                    <a:pt x="1089" y="5306"/>
                  </a:lnTo>
                  <a:lnTo>
                    <a:pt x="1089" y="5289"/>
                  </a:lnTo>
                  <a:cubicBezTo>
                    <a:pt x="1084" y="5283"/>
                    <a:pt x="1078" y="5277"/>
                    <a:pt x="1073" y="5271"/>
                  </a:cubicBezTo>
                  <a:cubicBezTo>
                    <a:pt x="1032" y="5195"/>
                    <a:pt x="990" y="5120"/>
                    <a:pt x="949" y="5044"/>
                  </a:cubicBezTo>
                  <a:lnTo>
                    <a:pt x="949" y="4203"/>
                  </a:lnTo>
                  <a:cubicBezTo>
                    <a:pt x="985" y="4110"/>
                    <a:pt x="1022" y="4016"/>
                    <a:pt x="1058" y="3923"/>
                  </a:cubicBezTo>
                  <a:lnTo>
                    <a:pt x="1058" y="3888"/>
                  </a:lnTo>
                  <a:cubicBezTo>
                    <a:pt x="1053" y="3882"/>
                    <a:pt x="1047" y="3876"/>
                    <a:pt x="1042" y="3870"/>
                  </a:cubicBezTo>
                  <a:lnTo>
                    <a:pt x="731" y="3678"/>
                  </a:lnTo>
                  <a:lnTo>
                    <a:pt x="715" y="3678"/>
                  </a:lnTo>
                  <a:lnTo>
                    <a:pt x="700" y="3678"/>
                  </a:lnTo>
                  <a:lnTo>
                    <a:pt x="560" y="3783"/>
                  </a:lnTo>
                  <a:lnTo>
                    <a:pt x="233" y="3643"/>
                  </a:lnTo>
                  <a:lnTo>
                    <a:pt x="233" y="3257"/>
                  </a:lnTo>
                  <a:lnTo>
                    <a:pt x="342" y="3152"/>
                  </a:lnTo>
                  <a:cubicBezTo>
                    <a:pt x="347" y="3146"/>
                    <a:pt x="353" y="3141"/>
                    <a:pt x="358" y="3135"/>
                  </a:cubicBezTo>
                  <a:lnTo>
                    <a:pt x="358" y="3117"/>
                  </a:lnTo>
                  <a:lnTo>
                    <a:pt x="358" y="3030"/>
                  </a:lnTo>
                  <a:lnTo>
                    <a:pt x="358" y="3012"/>
                  </a:lnTo>
                  <a:lnTo>
                    <a:pt x="342" y="3012"/>
                  </a:lnTo>
                  <a:lnTo>
                    <a:pt x="0" y="2750"/>
                  </a:lnTo>
                  <a:lnTo>
                    <a:pt x="156" y="2294"/>
                  </a:lnTo>
                  <a:lnTo>
                    <a:pt x="747" y="2277"/>
                  </a:lnTo>
                  <a:lnTo>
                    <a:pt x="762" y="2277"/>
                  </a:lnTo>
                  <a:cubicBezTo>
                    <a:pt x="767" y="2271"/>
                    <a:pt x="773" y="2265"/>
                    <a:pt x="778" y="2259"/>
                  </a:cubicBezTo>
                  <a:lnTo>
                    <a:pt x="1135" y="1734"/>
                  </a:lnTo>
                  <a:lnTo>
                    <a:pt x="1135" y="1734"/>
                  </a:lnTo>
                  <a:lnTo>
                    <a:pt x="1135" y="1716"/>
                  </a:lnTo>
                  <a:cubicBezTo>
                    <a:pt x="1120" y="1582"/>
                    <a:pt x="1104" y="1447"/>
                    <a:pt x="1089" y="1313"/>
                  </a:cubicBezTo>
                  <a:lnTo>
                    <a:pt x="1089" y="1313"/>
                  </a:lnTo>
                  <a:lnTo>
                    <a:pt x="1089" y="1313"/>
                  </a:lnTo>
                  <a:cubicBezTo>
                    <a:pt x="1068" y="1231"/>
                    <a:pt x="1047" y="1150"/>
                    <a:pt x="1026" y="1068"/>
                  </a:cubicBezTo>
                  <a:lnTo>
                    <a:pt x="1151" y="823"/>
                  </a:lnTo>
                  <a:cubicBezTo>
                    <a:pt x="1146" y="817"/>
                    <a:pt x="1140" y="812"/>
                    <a:pt x="1135" y="806"/>
                  </a:cubicBezTo>
                  <a:cubicBezTo>
                    <a:pt x="1151" y="753"/>
                    <a:pt x="1166" y="701"/>
                    <a:pt x="1182" y="648"/>
                  </a:cubicBezTo>
                  <a:lnTo>
                    <a:pt x="1182" y="420"/>
                  </a:lnTo>
                  <a:lnTo>
                    <a:pt x="1026" y="245"/>
                  </a:lnTo>
                  <a:cubicBezTo>
                    <a:pt x="1083" y="163"/>
                    <a:pt x="1141" y="82"/>
                    <a:pt x="1198" y="0"/>
                  </a:cubicBezTo>
                  <a:lnTo>
                    <a:pt x="1353" y="140"/>
                  </a:lnTo>
                  <a:lnTo>
                    <a:pt x="1586" y="368"/>
                  </a:lnTo>
                  <a:lnTo>
                    <a:pt x="2037" y="998"/>
                  </a:lnTo>
                  <a:lnTo>
                    <a:pt x="2504" y="771"/>
                  </a:lnTo>
                  <a:lnTo>
                    <a:pt x="2597" y="525"/>
                  </a:lnTo>
                  <a:lnTo>
                    <a:pt x="2846" y="490"/>
                  </a:lnTo>
                  <a:cubicBezTo>
                    <a:pt x="2893" y="420"/>
                    <a:pt x="2939" y="350"/>
                    <a:pt x="2986" y="280"/>
                  </a:cubicBezTo>
                  <a:lnTo>
                    <a:pt x="3561" y="350"/>
                  </a:lnTo>
                  <a:lnTo>
                    <a:pt x="3717" y="665"/>
                  </a:lnTo>
                  <a:lnTo>
                    <a:pt x="3997" y="665"/>
                  </a:lnTo>
                  <a:lnTo>
                    <a:pt x="4168" y="385"/>
                  </a:lnTo>
                  <a:lnTo>
                    <a:pt x="4526" y="420"/>
                  </a:lnTo>
                  <a:lnTo>
                    <a:pt x="4837" y="525"/>
                  </a:lnTo>
                  <a:cubicBezTo>
                    <a:pt x="4842" y="659"/>
                    <a:pt x="4847" y="794"/>
                    <a:pt x="4852" y="928"/>
                  </a:cubicBezTo>
                  <a:lnTo>
                    <a:pt x="5179" y="1313"/>
                  </a:lnTo>
                  <a:lnTo>
                    <a:pt x="5521" y="1296"/>
                  </a:lnTo>
                  <a:lnTo>
                    <a:pt x="5723" y="1471"/>
                  </a:lnTo>
                  <a:lnTo>
                    <a:pt x="5910" y="1594"/>
                  </a:lnTo>
                  <a:lnTo>
                    <a:pt x="6081" y="1384"/>
                  </a:lnTo>
                  <a:cubicBezTo>
                    <a:pt x="6097" y="1296"/>
                    <a:pt x="6112" y="1209"/>
                    <a:pt x="6128" y="1121"/>
                  </a:cubicBezTo>
                  <a:lnTo>
                    <a:pt x="6330" y="1068"/>
                  </a:lnTo>
                  <a:cubicBezTo>
                    <a:pt x="6351" y="1150"/>
                    <a:pt x="6371" y="1231"/>
                    <a:pt x="6392" y="1313"/>
                  </a:cubicBezTo>
                  <a:lnTo>
                    <a:pt x="6781" y="1366"/>
                  </a:lnTo>
                  <a:lnTo>
                    <a:pt x="7263" y="1296"/>
                  </a:lnTo>
                  <a:lnTo>
                    <a:pt x="7512" y="1138"/>
                  </a:lnTo>
                  <a:cubicBezTo>
                    <a:pt x="7559" y="934"/>
                    <a:pt x="7605" y="729"/>
                    <a:pt x="7652" y="525"/>
                  </a:cubicBezTo>
                  <a:cubicBezTo>
                    <a:pt x="7657" y="508"/>
                    <a:pt x="7662" y="490"/>
                    <a:pt x="7667" y="473"/>
                  </a:cubicBezTo>
                  <a:lnTo>
                    <a:pt x="8025" y="473"/>
                  </a:lnTo>
                  <a:cubicBezTo>
                    <a:pt x="8009" y="555"/>
                    <a:pt x="7994" y="636"/>
                    <a:pt x="7978" y="718"/>
                  </a:cubicBezTo>
                  <a:lnTo>
                    <a:pt x="7978" y="736"/>
                  </a:lnTo>
                  <a:lnTo>
                    <a:pt x="7994" y="736"/>
                  </a:lnTo>
                  <a:cubicBezTo>
                    <a:pt x="8015" y="783"/>
                    <a:pt x="8035" y="829"/>
                    <a:pt x="8056" y="876"/>
                  </a:cubicBezTo>
                  <a:cubicBezTo>
                    <a:pt x="8061" y="893"/>
                    <a:pt x="8067" y="911"/>
                    <a:pt x="8072" y="928"/>
                  </a:cubicBezTo>
                  <a:cubicBezTo>
                    <a:pt x="8082" y="916"/>
                    <a:pt x="8093" y="905"/>
                    <a:pt x="8103" y="893"/>
                  </a:cubicBezTo>
                  <a:cubicBezTo>
                    <a:pt x="8150" y="841"/>
                    <a:pt x="8196" y="788"/>
                    <a:pt x="8243" y="736"/>
                  </a:cubicBezTo>
                  <a:cubicBezTo>
                    <a:pt x="8264" y="759"/>
                    <a:pt x="8284" y="783"/>
                    <a:pt x="8305" y="806"/>
                  </a:cubicBezTo>
                  <a:cubicBezTo>
                    <a:pt x="8315" y="858"/>
                    <a:pt x="8326" y="911"/>
                    <a:pt x="8336" y="963"/>
                  </a:cubicBezTo>
                  <a:lnTo>
                    <a:pt x="8351" y="981"/>
                  </a:lnTo>
                  <a:lnTo>
                    <a:pt x="8351" y="981"/>
                  </a:lnTo>
                  <a:cubicBezTo>
                    <a:pt x="8387" y="1028"/>
                    <a:pt x="8424" y="1074"/>
                    <a:pt x="8460" y="1121"/>
                  </a:cubicBezTo>
                  <a:lnTo>
                    <a:pt x="8367" y="1226"/>
                  </a:lnTo>
                  <a:lnTo>
                    <a:pt x="8351" y="1226"/>
                  </a:lnTo>
                  <a:lnTo>
                    <a:pt x="8351" y="1243"/>
                  </a:lnTo>
                  <a:lnTo>
                    <a:pt x="8351" y="1489"/>
                  </a:lnTo>
                  <a:lnTo>
                    <a:pt x="8351" y="1489"/>
                  </a:lnTo>
                  <a:lnTo>
                    <a:pt x="8351" y="1506"/>
                  </a:lnTo>
                  <a:cubicBezTo>
                    <a:pt x="8398" y="1564"/>
                    <a:pt x="8444" y="1623"/>
                    <a:pt x="8491" y="1681"/>
                  </a:cubicBezTo>
                  <a:cubicBezTo>
                    <a:pt x="8491" y="1681"/>
                    <a:pt x="8600" y="1821"/>
                    <a:pt x="8616" y="1856"/>
                  </a:cubicBezTo>
                  <a:cubicBezTo>
                    <a:pt x="8642" y="1950"/>
                    <a:pt x="8668" y="2043"/>
                    <a:pt x="8694" y="2137"/>
                  </a:cubicBezTo>
                  <a:lnTo>
                    <a:pt x="8694" y="2277"/>
                  </a:lnTo>
                  <a:lnTo>
                    <a:pt x="8694" y="2294"/>
                  </a:lnTo>
                  <a:lnTo>
                    <a:pt x="8694" y="2312"/>
                  </a:lnTo>
                  <a:lnTo>
                    <a:pt x="8787" y="2399"/>
                  </a:lnTo>
                  <a:cubicBezTo>
                    <a:pt x="8797" y="2522"/>
                    <a:pt x="8808" y="2644"/>
                    <a:pt x="8818" y="2767"/>
                  </a:cubicBezTo>
                  <a:cubicBezTo>
                    <a:pt x="8797" y="2796"/>
                    <a:pt x="8777" y="2826"/>
                    <a:pt x="8756" y="2855"/>
                  </a:cubicBezTo>
                  <a:lnTo>
                    <a:pt x="8507" y="2995"/>
                  </a:lnTo>
                  <a:cubicBezTo>
                    <a:pt x="8502" y="3001"/>
                    <a:pt x="8496" y="3006"/>
                    <a:pt x="8491" y="3012"/>
                  </a:cubicBezTo>
                  <a:lnTo>
                    <a:pt x="8491" y="3012"/>
                  </a:lnTo>
                  <a:lnTo>
                    <a:pt x="8305" y="3363"/>
                  </a:lnTo>
                  <a:lnTo>
                    <a:pt x="8180" y="3468"/>
                  </a:lnTo>
                  <a:cubicBezTo>
                    <a:pt x="8170" y="3474"/>
                    <a:pt x="8159" y="3479"/>
                    <a:pt x="8149" y="3485"/>
                  </a:cubicBezTo>
                  <a:cubicBezTo>
                    <a:pt x="8154" y="3497"/>
                    <a:pt x="8160" y="3508"/>
                    <a:pt x="8165" y="3520"/>
                  </a:cubicBezTo>
                  <a:cubicBezTo>
                    <a:pt x="8201" y="3573"/>
                    <a:pt x="8238" y="3625"/>
                    <a:pt x="8274" y="3678"/>
                  </a:cubicBezTo>
                  <a:lnTo>
                    <a:pt x="8274" y="3835"/>
                  </a:lnTo>
                  <a:cubicBezTo>
                    <a:pt x="8243" y="3929"/>
                    <a:pt x="8211" y="4022"/>
                    <a:pt x="8180" y="4116"/>
                  </a:cubicBezTo>
                  <a:lnTo>
                    <a:pt x="8180" y="4133"/>
                  </a:lnTo>
                  <a:cubicBezTo>
                    <a:pt x="8185" y="4139"/>
                    <a:pt x="8191" y="4145"/>
                    <a:pt x="8196" y="4151"/>
                  </a:cubicBezTo>
                  <a:lnTo>
                    <a:pt x="8523" y="4553"/>
                  </a:lnTo>
                  <a:lnTo>
                    <a:pt x="8523" y="4553"/>
                  </a:lnTo>
                  <a:lnTo>
                    <a:pt x="8523" y="4553"/>
                  </a:lnTo>
                  <a:lnTo>
                    <a:pt x="8682" y="4532"/>
                  </a:lnTo>
                  <a:cubicBezTo>
                    <a:pt x="8718" y="4520"/>
                    <a:pt x="8717" y="4509"/>
                    <a:pt x="8740" y="4483"/>
                  </a:cubicBezTo>
                  <a:cubicBezTo>
                    <a:pt x="8756" y="4477"/>
                    <a:pt x="8771" y="4472"/>
                    <a:pt x="8787" y="4466"/>
                  </a:cubicBezTo>
                  <a:lnTo>
                    <a:pt x="8865" y="4553"/>
                  </a:lnTo>
                  <a:cubicBezTo>
                    <a:pt x="8844" y="4617"/>
                    <a:pt x="8823" y="4682"/>
                    <a:pt x="8802" y="4746"/>
                  </a:cubicBezTo>
                  <a:lnTo>
                    <a:pt x="8787" y="4764"/>
                  </a:lnTo>
                  <a:cubicBezTo>
                    <a:pt x="8792" y="4770"/>
                    <a:pt x="8797" y="4775"/>
                    <a:pt x="8802" y="4781"/>
                  </a:cubicBezTo>
                  <a:lnTo>
                    <a:pt x="9020" y="4974"/>
                  </a:lnTo>
                  <a:cubicBezTo>
                    <a:pt x="9036" y="4974"/>
                    <a:pt x="9253" y="5131"/>
                    <a:pt x="9253" y="5131"/>
                  </a:cubicBezTo>
                  <a:lnTo>
                    <a:pt x="9253" y="5131"/>
                  </a:lnTo>
                  <a:lnTo>
                    <a:pt x="9253" y="5131"/>
                  </a:lnTo>
                  <a:lnTo>
                    <a:pt x="9565" y="5271"/>
                  </a:lnTo>
                  <a:lnTo>
                    <a:pt x="9813" y="5709"/>
                  </a:lnTo>
                  <a:lnTo>
                    <a:pt x="9813" y="5989"/>
                  </a:lnTo>
                  <a:lnTo>
                    <a:pt x="9813" y="6007"/>
                  </a:lnTo>
                  <a:lnTo>
                    <a:pt x="9813" y="6007"/>
                  </a:lnTo>
                  <a:lnTo>
                    <a:pt x="9984" y="6235"/>
                  </a:lnTo>
                  <a:cubicBezTo>
                    <a:pt x="9989" y="6287"/>
                    <a:pt x="9995" y="6340"/>
                    <a:pt x="10000" y="6392"/>
                  </a:cubicBezTo>
                  <a:lnTo>
                    <a:pt x="9502" y="6795"/>
                  </a:lnTo>
                  <a:lnTo>
                    <a:pt x="9347" y="6900"/>
                  </a:lnTo>
                  <a:cubicBezTo>
                    <a:pt x="9347" y="6900"/>
                    <a:pt x="9098" y="7110"/>
                    <a:pt x="9067" y="7128"/>
                  </a:cubicBezTo>
                  <a:lnTo>
                    <a:pt x="8849" y="7233"/>
                  </a:lnTo>
                  <a:lnTo>
                    <a:pt x="8849" y="7233"/>
                  </a:lnTo>
                  <a:cubicBezTo>
                    <a:pt x="8844" y="7239"/>
                    <a:pt x="8839" y="7244"/>
                    <a:pt x="8834" y="7250"/>
                  </a:cubicBezTo>
                  <a:lnTo>
                    <a:pt x="8554" y="7513"/>
                  </a:lnTo>
                  <a:cubicBezTo>
                    <a:pt x="8533" y="7472"/>
                    <a:pt x="8512" y="7432"/>
                    <a:pt x="8491" y="7391"/>
                  </a:cubicBezTo>
                  <a:lnTo>
                    <a:pt x="8476" y="7391"/>
                  </a:lnTo>
                  <a:lnTo>
                    <a:pt x="8476" y="7391"/>
                  </a:lnTo>
                  <a:lnTo>
                    <a:pt x="8289" y="7233"/>
                  </a:lnTo>
                  <a:cubicBezTo>
                    <a:pt x="8279" y="7169"/>
                    <a:pt x="8268" y="7104"/>
                    <a:pt x="8258" y="7040"/>
                  </a:cubicBezTo>
                  <a:lnTo>
                    <a:pt x="8258" y="7040"/>
                  </a:lnTo>
                  <a:cubicBezTo>
                    <a:pt x="8253" y="7034"/>
                    <a:pt x="8248" y="7029"/>
                    <a:pt x="8243" y="7023"/>
                  </a:cubicBezTo>
                  <a:lnTo>
                    <a:pt x="7574" y="6235"/>
                  </a:lnTo>
                  <a:lnTo>
                    <a:pt x="7574" y="6217"/>
                  </a:lnTo>
                  <a:lnTo>
                    <a:pt x="7558" y="6217"/>
                  </a:lnTo>
                  <a:lnTo>
                    <a:pt x="7030" y="6200"/>
                  </a:lnTo>
                  <a:lnTo>
                    <a:pt x="7014" y="6200"/>
                  </a:lnTo>
                  <a:cubicBezTo>
                    <a:pt x="7009" y="6206"/>
                    <a:pt x="7003" y="6211"/>
                    <a:pt x="6998" y="6217"/>
                  </a:cubicBezTo>
                  <a:lnTo>
                    <a:pt x="6501" y="7233"/>
                  </a:lnTo>
                  <a:lnTo>
                    <a:pt x="5941" y="7233"/>
                  </a:lnTo>
                  <a:lnTo>
                    <a:pt x="5910" y="7233"/>
                  </a:lnTo>
                  <a:lnTo>
                    <a:pt x="5910" y="7250"/>
                  </a:lnTo>
                  <a:cubicBezTo>
                    <a:pt x="5914" y="7407"/>
                    <a:pt x="5919" y="7563"/>
                    <a:pt x="5923" y="7720"/>
                  </a:cubicBezTo>
                  <a:lnTo>
                    <a:pt x="5708" y="7566"/>
                  </a:lnTo>
                  <a:lnTo>
                    <a:pt x="5692" y="7566"/>
                  </a:lnTo>
                  <a:cubicBezTo>
                    <a:pt x="5687" y="7578"/>
                    <a:pt x="5682" y="7589"/>
                    <a:pt x="5677" y="7601"/>
                  </a:cubicBezTo>
                  <a:lnTo>
                    <a:pt x="4666" y="8651"/>
                  </a:lnTo>
                  <a:lnTo>
                    <a:pt x="4666" y="8651"/>
                  </a:lnTo>
                  <a:lnTo>
                    <a:pt x="4666" y="8651"/>
                  </a:lnTo>
                  <a:cubicBezTo>
                    <a:pt x="4635" y="8715"/>
                    <a:pt x="4603" y="8780"/>
                    <a:pt x="4572" y="8844"/>
                  </a:cubicBezTo>
                  <a:lnTo>
                    <a:pt x="4230" y="8862"/>
                  </a:lnTo>
                  <a:lnTo>
                    <a:pt x="4215" y="8862"/>
                  </a:lnTo>
                  <a:lnTo>
                    <a:pt x="4215" y="8897"/>
                  </a:lnTo>
                  <a:lnTo>
                    <a:pt x="4215" y="9072"/>
                  </a:lnTo>
                  <a:cubicBezTo>
                    <a:pt x="4220" y="9078"/>
                    <a:pt x="4225" y="9083"/>
                    <a:pt x="4230" y="9089"/>
                  </a:cubicBezTo>
                  <a:close/>
                </a:path>
              </a:pathLst>
            </a:custGeom>
            <a:solidFill>
              <a:srgbClr val="00B05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2000" tIns="72000" rIns="72000" bIns="72000" anchor="ctr"/>
            <a:lstStyle/>
            <a:p>
              <a:pPr algn="ctr" defTabSz="914308">
                <a:defRPr/>
              </a:pPr>
              <a:endParaRPr lang="ru-RU" sz="1200" kern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378" name="Freeform 241">
              <a:extLst/>
            </p:cNvPr>
            <p:cNvSpPr>
              <a:spLocks/>
            </p:cNvSpPr>
            <p:nvPr/>
          </p:nvSpPr>
          <p:spPr bwMode="auto">
            <a:xfrm>
              <a:off x="2982815" y="4044234"/>
              <a:ext cx="133351" cy="186279"/>
            </a:xfrm>
            <a:custGeom>
              <a:avLst/>
              <a:gdLst>
                <a:gd name="T0" fmla="*/ 80 w 84"/>
                <a:gd name="T1" fmla="*/ 66 h 116"/>
                <a:gd name="T2" fmla="*/ 74 w 84"/>
                <a:gd name="T3" fmla="*/ 29 h 116"/>
                <a:gd name="T4" fmla="*/ 61 w 84"/>
                <a:gd name="T5" fmla="*/ 19 h 116"/>
                <a:gd name="T6" fmla="*/ 51 w 84"/>
                <a:gd name="T7" fmla="*/ 0 h 116"/>
                <a:gd name="T8" fmla="*/ 39 w 84"/>
                <a:gd name="T9" fmla="*/ 5 h 116"/>
                <a:gd name="T10" fmla="*/ 28 w 84"/>
                <a:gd name="T11" fmla="*/ 21 h 116"/>
                <a:gd name="T12" fmla="*/ 6 w 84"/>
                <a:gd name="T13" fmla="*/ 46 h 116"/>
                <a:gd name="T14" fmla="*/ 0 w 84"/>
                <a:gd name="T15" fmla="*/ 50 h 116"/>
                <a:gd name="T16" fmla="*/ 82 w 84"/>
                <a:gd name="T17" fmla="*/ 116 h 116"/>
                <a:gd name="T18" fmla="*/ 84 w 84"/>
                <a:gd name="T19" fmla="*/ 95 h 116"/>
                <a:gd name="T20" fmla="*/ 80 w 84"/>
                <a:gd name="T21" fmla="*/ 66 h 116"/>
                <a:gd name="T22" fmla="*/ 80 w 84"/>
                <a:gd name="T23" fmla="*/ 6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4" h="116">
                  <a:moveTo>
                    <a:pt x="80" y="66"/>
                  </a:moveTo>
                  <a:lnTo>
                    <a:pt x="74" y="29"/>
                  </a:lnTo>
                  <a:lnTo>
                    <a:pt x="61" y="19"/>
                  </a:lnTo>
                  <a:lnTo>
                    <a:pt x="51" y="0"/>
                  </a:lnTo>
                  <a:lnTo>
                    <a:pt x="39" y="5"/>
                  </a:lnTo>
                  <a:lnTo>
                    <a:pt x="28" y="21"/>
                  </a:lnTo>
                  <a:lnTo>
                    <a:pt x="6" y="46"/>
                  </a:lnTo>
                  <a:lnTo>
                    <a:pt x="0" y="50"/>
                  </a:lnTo>
                  <a:lnTo>
                    <a:pt x="82" y="116"/>
                  </a:lnTo>
                  <a:lnTo>
                    <a:pt x="84" y="95"/>
                  </a:lnTo>
                  <a:lnTo>
                    <a:pt x="80" y="66"/>
                  </a:lnTo>
                  <a:lnTo>
                    <a:pt x="80" y="66"/>
                  </a:lnTo>
                  <a:close/>
                </a:path>
              </a:pathLst>
            </a:custGeom>
            <a:solidFill>
              <a:srgbClr val="FFFFFF">
                <a:lumMod val="85000"/>
              </a:srgbClr>
            </a:solidFill>
            <a:ln>
              <a:solidFill>
                <a:srgbClr val="FFFFFF">
                  <a:lumMod val="75000"/>
                </a:srgbClr>
              </a:solidFill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08">
                <a:defRPr/>
              </a:pPr>
              <a:endParaRPr lang="ru-RU" sz="1867" kern="0">
                <a:solidFill>
                  <a:sysClr val="windowText" lastClr="000000"/>
                </a:solidFill>
                <a:latin typeface="Arial"/>
              </a:endParaRPr>
            </a:p>
          </p:txBody>
        </p:sp>
        <p:sp>
          <p:nvSpPr>
            <p:cNvPr id="379" name="Freeform 223">
              <a:extLst/>
            </p:cNvPr>
            <p:cNvSpPr>
              <a:spLocks/>
            </p:cNvSpPr>
            <p:nvPr/>
          </p:nvSpPr>
          <p:spPr bwMode="auto">
            <a:xfrm>
              <a:off x="7760191" y="3042985"/>
              <a:ext cx="374655" cy="162994"/>
            </a:xfrm>
            <a:custGeom>
              <a:avLst/>
              <a:gdLst>
                <a:gd name="T0" fmla="*/ 136 w 192"/>
                <a:gd name="T1" fmla="*/ 17 h 66"/>
                <a:gd name="T2" fmla="*/ 114 w 192"/>
                <a:gd name="T3" fmla="*/ 11 h 66"/>
                <a:gd name="T4" fmla="*/ 103 w 192"/>
                <a:gd name="T5" fmla="*/ 0 h 66"/>
                <a:gd name="T6" fmla="*/ 23 w 192"/>
                <a:gd name="T7" fmla="*/ 4 h 66"/>
                <a:gd name="T8" fmla="*/ 13 w 192"/>
                <a:gd name="T9" fmla="*/ 11 h 66"/>
                <a:gd name="T10" fmla="*/ 0 w 192"/>
                <a:gd name="T11" fmla="*/ 17 h 66"/>
                <a:gd name="T12" fmla="*/ 13 w 192"/>
                <a:gd name="T13" fmla="*/ 29 h 66"/>
                <a:gd name="T14" fmla="*/ 35 w 192"/>
                <a:gd name="T15" fmla="*/ 37 h 66"/>
                <a:gd name="T16" fmla="*/ 91 w 192"/>
                <a:gd name="T17" fmla="*/ 35 h 66"/>
                <a:gd name="T18" fmla="*/ 116 w 192"/>
                <a:gd name="T19" fmla="*/ 54 h 66"/>
                <a:gd name="T20" fmla="*/ 143 w 192"/>
                <a:gd name="T21" fmla="*/ 56 h 66"/>
                <a:gd name="T22" fmla="*/ 176 w 192"/>
                <a:gd name="T23" fmla="*/ 66 h 66"/>
                <a:gd name="T24" fmla="*/ 192 w 192"/>
                <a:gd name="T25" fmla="*/ 29 h 66"/>
                <a:gd name="T26" fmla="*/ 178 w 192"/>
                <a:gd name="T27" fmla="*/ 17 h 66"/>
                <a:gd name="T28" fmla="*/ 136 w 192"/>
                <a:gd name="T29" fmla="*/ 17 h 66"/>
                <a:gd name="T30" fmla="*/ 136 w 192"/>
                <a:gd name="T31" fmla="*/ 17 h 66"/>
                <a:gd name="connsiteX0" fmla="*/ 7083 w 10000"/>
                <a:gd name="connsiteY0" fmla="*/ 5507 h 12931"/>
                <a:gd name="connsiteX1" fmla="*/ 5938 w 10000"/>
                <a:gd name="connsiteY1" fmla="*/ 4598 h 12931"/>
                <a:gd name="connsiteX2" fmla="*/ 5132 w 10000"/>
                <a:gd name="connsiteY2" fmla="*/ 0 h 12931"/>
                <a:gd name="connsiteX3" fmla="*/ 1198 w 10000"/>
                <a:gd name="connsiteY3" fmla="*/ 3537 h 12931"/>
                <a:gd name="connsiteX4" fmla="*/ 677 w 10000"/>
                <a:gd name="connsiteY4" fmla="*/ 4598 h 12931"/>
                <a:gd name="connsiteX5" fmla="*/ 0 w 10000"/>
                <a:gd name="connsiteY5" fmla="*/ 5507 h 12931"/>
                <a:gd name="connsiteX6" fmla="*/ 677 w 10000"/>
                <a:gd name="connsiteY6" fmla="*/ 7325 h 12931"/>
                <a:gd name="connsiteX7" fmla="*/ 1823 w 10000"/>
                <a:gd name="connsiteY7" fmla="*/ 8537 h 12931"/>
                <a:gd name="connsiteX8" fmla="*/ 4740 w 10000"/>
                <a:gd name="connsiteY8" fmla="*/ 8234 h 12931"/>
                <a:gd name="connsiteX9" fmla="*/ 6042 w 10000"/>
                <a:gd name="connsiteY9" fmla="*/ 11113 h 12931"/>
                <a:gd name="connsiteX10" fmla="*/ 7448 w 10000"/>
                <a:gd name="connsiteY10" fmla="*/ 11416 h 12931"/>
                <a:gd name="connsiteX11" fmla="*/ 9167 w 10000"/>
                <a:gd name="connsiteY11" fmla="*/ 12931 h 12931"/>
                <a:gd name="connsiteX12" fmla="*/ 10000 w 10000"/>
                <a:gd name="connsiteY12" fmla="*/ 7325 h 12931"/>
                <a:gd name="connsiteX13" fmla="*/ 9271 w 10000"/>
                <a:gd name="connsiteY13" fmla="*/ 5507 h 12931"/>
                <a:gd name="connsiteX14" fmla="*/ 7083 w 10000"/>
                <a:gd name="connsiteY14" fmla="*/ 5507 h 12931"/>
                <a:gd name="connsiteX15" fmla="*/ 7083 w 10000"/>
                <a:gd name="connsiteY15" fmla="*/ 5507 h 12931"/>
                <a:gd name="connsiteX0" fmla="*/ 7083 w 10000"/>
                <a:gd name="connsiteY0" fmla="*/ 5507 h 12931"/>
                <a:gd name="connsiteX1" fmla="*/ 5938 w 10000"/>
                <a:gd name="connsiteY1" fmla="*/ 4598 h 12931"/>
                <a:gd name="connsiteX2" fmla="*/ 5132 w 10000"/>
                <a:gd name="connsiteY2" fmla="*/ 0 h 12931"/>
                <a:gd name="connsiteX3" fmla="*/ 733 w 10000"/>
                <a:gd name="connsiteY3" fmla="*/ 1282 h 12931"/>
                <a:gd name="connsiteX4" fmla="*/ 677 w 10000"/>
                <a:gd name="connsiteY4" fmla="*/ 4598 h 12931"/>
                <a:gd name="connsiteX5" fmla="*/ 0 w 10000"/>
                <a:gd name="connsiteY5" fmla="*/ 5507 h 12931"/>
                <a:gd name="connsiteX6" fmla="*/ 677 w 10000"/>
                <a:gd name="connsiteY6" fmla="*/ 7325 h 12931"/>
                <a:gd name="connsiteX7" fmla="*/ 1823 w 10000"/>
                <a:gd name="connsiteY7" fmla="*/ 8537 h 12931"/>
                <a:gd name="connsiteX8" fmla="*/ 4740 w 10000"/>
                <a:gd name="connsiteY8" fmla="*/ 8234 h 12931"/>
                <a:gd name="connsiteX9" fmla="*/ 6042 w 10000"/>
                <a:gd name="connsiteY9" fmla="*/ 11113 h 12931"/>
                <a:gd name="connsiteX10" fmla="*/ 7448 w 10000"/>
                <a:gd name="connsiteY10" fmla="*/ 11416 h 12931"/>
                <a:gd name="connsiteX11" fmla="*/ 9167 w 10000"/>
                <a:gd name="connsiteY11" fmla="*/ 12931 h 12931"/>
                <a:gd name="connsiteX12" fmla="*/ 10000 w 10000"/>
                <a:gd name="connsiteY12" fmla="*/ 7325 h 12931"/>
                <a:gd name="connsiteX13" fmla="*/ 9271 w 10000"/>
                <a:gd name="connsiteY13" fmla="*/ 5507 h 12931"/>
                <a:gd name="connsiteX14" fmla="*/ 7083 w 10000"/>
                <a:gd name="connsiteY14" fmla="*/ 5507 h 12931"/>
                <a:gd name="connsiteX15" fmla="*/ 7083 w 10000"/>
                <a:gd name="connsiteY15" fmla="*/ 5507 h 12931"/>
                <a:gd name="connsiteX0" fmla="*/ 7491 w 10408"/>
                <a:gd name="connsiteY0" fmla="*/ 5507 h 12931"/>
                <a:gd name="connsiteX1" fmla="*/ 6346 w 10408"/>
                <a:gd name="connsiteY1" fmla="*/ 4598 h 12931"/>
                <a:gd name="connsiteX2" fmla="*/ 5540 w 10408"/>
                <a:gd name="connsiteY2" fmla="*/ 0 h 12931"/>
                <a:gd name="connsiteX3" fmla="*/ 1141 w 10408"/>
                <a:gd name="connsiteY3" fmla="*/ 1282 h 12931"/>
                <a:gd name="connsiteX4" fmla="*/ 0 w 10408"/>
                <a:gd name="connsiteY4" fmla="*/ 3696 h 12931"/>
                <a:gd name="connsiteX5" fmla="*/ 408 w 10408"/>
                <a:gd name="connsiteY5" fmla="*/ 5507 h 12931"/>
                <a:gd name="connsiteX6" fmla="*/ 1085 w 10408"/>
                <a:gd name="connsiteY6" fmla="*/ 7325 h 12931"/>
                <a:gd name="connsiteX7" fmla="*/ 2231 w 10408"/>
                <a:gd name="connsiteY7" fmla="*/ 8537 h 12931"/>
                <a:gd name="connsiteX8" fmla="*/ 5148 w 10408"/>
                <a:gd name="connsiteY8" fmla="*/ 8234 h 12931"/>
                <a:gd name="connsiteX9" fmla="*/ 6450 w 10408"/>
                <a:gd name="connsiteY9" fmla="*/ 11113 h 12931"/>
                <a:gd name="connsiteX10" fmla="*/ 7856 w 10408"/>
                <a:gd name="connsiteY10" fmla="*/ 11416 h 12931"/>
                <a:gd name="connsiteX11" fmla="*/ 9575 w 10408"/>
                <a:gd name="connsiteY11" fmla="*/ 12931 h 12931"/>
                <a:gd name="connsiteX12" fmla="*/ 10408 w 10408"/>
                <a:gd name="connsiteY12" fmla="*/ 7325 h 12931"/>
                <a:gd name="connsiteX13" fmla="*/ 9679 w 10408"/>
                <a:gd name="connsiteY13" fmla="*/ 5507 h 12931"/>
                <a:gd name="connsiteX14" fmla="*/ 7491 w 10408"/>
                <a:gd name="connsiteY14" fmla="*/ 5507 h 12931"/>
                <a:gd name="connsiteX15" fmla="*/ 7491 w 10408"/>
                <a:gd name="connsiteY15" fmla="*/ 5507 h 12931"/>
                <a:gd name="connsiteX0" fmla="*/ 7936 w 10853"/>
                <a:gd name="connsiteY0" fmla="*/ 5507 h 12931"/>
                <a:gd name="connsiteX1" fmla="*/ 6791 w 10853"/>
                <a:gd name="connsiteY1" fmla="*/ 4598 h 12931"/>
                <a:gd name="connsiteX2" fmla="*/ 5985 w 10853"/>
                <a:gd name="connsiteY2" fmla="*/ 0 h 12931"/>
                <a:gd name="connsiteX3" fmla="*/ 1586 w 10853"/>
                <a:gd name="connsiteY3" fmla="*/ 1282 h 12931"/>
                <a:gd name="connsiteX4" fmla="*/ 445 w 10853"/>
                <a:gd name="connsiteY4" fmla="*/ 3696 h 12931"/>
                <a:gd name="connsiteX5" fmla="*/ 0 w 10853"/>
                <a:gd name="connsiteY5" fmla="*/ 8438 h 12931"/>
                <a:gd name="connsiteX6" fmla="*/ 1530 w 10853"/>
                <a:gd name="connsiteY6" fmla="*/ 7325 h 12931"/>
                <a:gd name="connsiteX7" fmla="*/ 2676 w 10853"/>
                <a:gd name="connsiteY7" fmla="*/ 8537 h 12931"/>
                <a:gd name="connsiteX8" fmla="*/ 5593 w 10853"/>
                <a:gd name="connsiteY8" fmla="*/ 8234 h 12931"/>
                <a:gd name="connsiteX9" fmla="*/ 6895 w 10853"/>
                <a:gd name="connsiteY9" fmla="*/ 11113 h 12931"/>
                <a:gd name="connsiteX10" fmla="*/ 8301 w 10853"/>
                <a:gd name="connsiteY10" fmla="*/ 11416 h 12931"/>
                <a:gd name="connsiteX11" fmla="*/ 10020 w 10853"/>
                <a:gd name="connsiteY11" fmla="*/ 12931 h 12931"/>
                <a:gd name="connsiteX12" fmla="*/ 10853 w 10853"/>
                <a:gd name="connsiteY12" fmla="*/ 7325 h 12931"/>
                <a:gd name="connsiteX13" fmla="*/ 10124 w 10853"/>
                <a:gd name="connsiteY13" fmla="*/ 5507 h 12931"/>
                <a:gd name="connsiteX14" fmla="*/ 7936 w 10853"/>
                <a:gd name="connsiteY14" fmla="*/ 5507 h 12931"/>
                <a:gd name="connsiteX15" fmla="*/ 7936 w 10853"/>
                <a:gd name="connsiteY15" fmla="*/ 5507 h 12931"/>
                <a:gd name="connsiteX0" fmla="*/ 7936 w 10853"/>
                <a:gd name="connsiteY0" fmla="*/ 5507 h 12931"/>
                <a:gd name="connsiteX1" fmla="*/ 6791 w 10853"/>
                <a:gd name="connsiteY1" fmla="*/ 4598 h 12931"/>
                <a:gd name="connsiteX2" fmla="*/ 5985 w 10853"/>
                <a:gd name="connsiteY2" fmla="*/ 0 h 12931"/>
                <a:gd name="connsiteX3" fmla="*/ 1586 w 10853"/>
                <a:gd name="connsiteY3" fmla="*/ 1282 h 12931"/>
                <a:gd name="connsiteX4" fmla="*/ 445 w 10853"/>
                <a:gd name="connsiteY4" fmla="*/ 3696 h 12931"/>
                <a:gd name="connsiteX5" fmla="*/ 0 w 10853"/>
                <a:gd name="connsiteY5" fmla="*/ 8438 h 12931"/>
                <a:gd name="connsiteX6" fmla="*/ 1453 w 10853"/>
                <a:gd name="connsiteY6" fmla="*/ 10707 h 12931"/>
                <a:gd name="connsiteX7" fmla="*/ 2676 w 10853"/>
                <a:gd name="connsiteY7" fmla="*/ 8537 h 12931"/>
                <a:gd name="connsiteX8" fmla="*/ 5593 w 10853"/>
                <a:gd name="connsiteY8" fmla="*/ 8234 h 12931"/>
                <a:gd name="connsiteX9" fmla="*/ 6895 w 10853"/>
                <a:gd name="connsiteY9" fmla="*/ 11113 h 12931"/>
                <a:gd name="connsiteX10" fmla="*/ 8301 w 10853"/>
                <a:gd name="connsiteY10" fmla="*/ 11416 h 12931"/>
                <a:gd name="connsiteX11" fmla="*/ 10020 w 10853"/>
                <a:gd name="connsiteY11" fmla="*/ 12931 h 12931"/>
                <a:gd name="connsiteX12" fmla="*/ 10853 w 10853"/>
                <a:gd name="connsiteY12" fmla="*/ 7325 h 12931"/>
                <a:gd name="connsiteX13" fmla="*/ 10124 w 10853"/>
                <a:gd name="connsiteY13" fmla="*/ 5507 h 12931"/>
                <a:gd name="connsiteX14" fmla="*/ 7936 w 10853"/>
                <a:gd name="connsiteY14" fmla="*/ 5507 h 12931"/>
                <a:gd name="connsiteX15" fmla="*/ 7936 w 10853"/>
                <a:gd name="connsiteY15" fmla="*/ 5507 h 12931"/>
                <a:gd name="connsiteX0" fmla="*/ 7936 w 10853"/>
                <a:gd name="connsiteY0" fmla="*/ 5507 h 12931"/>
                <a:gd name="connsiteX1" fmla="*/ 6791 w 10853"/>
                <a:gd name="connsiteY1" fmla="*/ 4598 h 12931"/>
                <a:gd name="connsiteX2" fmla="*/ 5985 w 10853"/>
                <a:gd name="connsiteY2" fmla="*/ 0 h 12931"/>
                <a:gd name="connsiteX3" fmla="*/ 1586 w 10853"/>
                <a:gd name="connsiteY3" fmla="*/ 1282 h 12931"/>
                <a:gd name="connsiteX4" fmla="*/ 445 w 10853"/>
                <a:gd name="connsiteY4" fmla="*/ 3696 h 12931"/>
                <a:gd name="connsiteX5" fmla="*/ 0 w 10853"/>
                <a:gd name="connsiteY5" fmla="*/ 8438 h 12931"/>
                <a:gd name="connsiteX6" fmla="*/ 1453 w 10853"/>
                <a:gd name="connsiteY6" fmla="*/ 10707 h 12931"/>
                <a:gd name="connsiteX7" fmla="*/ 3064 w 10853"/>
                <a:gd name="connsiteY7" fmla="*/ 11694 h 12931"/>
                <a:gd name="connsiteX8" fmla="*/ 5593 w 10853"/>
                <a:gd name="connsiteY8" fmla="*/ 8234 h 12931"/>
                <a:gd name="connsiteX9" fmla="*/ 6895 w 10853"/>
                <a:gd name="connsiteY9" fmla="*/ 11113 h 12931"/>
                <a:gd name="connsiteX10" fmla="*/ 8301 w 10853"/>
                <a:gd name="connsiteY10" fmla="*/ 11416 h 12931"/>
                <a:gd name="connsiteX11" fmla="*/ 10020 w 10853"/>
                <a:gd name="connsiteY11" fmla="*/ 12931 h 12931"/>
                <a:gd name="connsiteX12" fmla="*/ 10853 w 10853"/>
                <a:gd name="connsiteY12" fmla="*/ 7325 h 12931"/>
                <a:gd name="connsiteX13" fmla="*/ 10124 w 10853"/>
                <a:gd name="connsiteY13" fmla="*/ 5507 h 12931"/>
                <a:gd name="connsiteX14" fmla="*/ 7936 w 10853"/>
                <a:gd name="connsiteY14" fmla="*/ 5507 h 12931"/>
                <a:gd name="connsiteX15" fmla="*/ 7936 w 10853"/>
                <a:gd name="connsiteY15" fmla="*/ 5507 h 12931"/>
                <a:gd name="connsiteX0" fmla="*/ 7936 w 10853"/>
                <a:gd name="connsiteY0" fmla="*/ 5507 h 12969"/>
                <a:gd name="connsiteX1" fmla="*/ 6791 w 10853"/>
                <a:gd name="connsiteY1" fmla="*/ 4598 h 12969"/>
                <a:gd name="connsiteX2" fmla="*/ 5985 w 10853"/>
                <a:gd name="connsiteY2" fmla="*/ 0 h 12969"/>
                <a:gd name="connsiteX3" fmla="*/ 1586 w 10853"/>
                <a:gd name="connsiteY3" fmla="*/ 1282 h 12969"/>
                <a:gd name="connsiteX4" fmla="*/ 445 w 10853"/>
                <a:gd name="connsiteY4" fmla="*/ 3696 h 12969"/>
                <a:gd name="connsiteX5" fmla="*/ 0 w 10853"/>
                <a:gd name="connsiteY5" fmla="*/ 8438 h 12969"/>
                <a:gd name="connsiteX6" fmla="*/ 1453 w 10853"/>
                <a:gd name="connsiteY6" fmla="*/ 10707 h 12969"/>
                <a:gd name="connsiteX7" fmla="*/ 3064 w 10853"/>
                <a:gd name="connsiteY7" fmla="*/ 11694 h 12969"/>
                <a:gd name="connsiteX8" fmla="*/ 5593 w 10853"/>
                <a:gd name="connsiteY8" fmla="*/ 12969 h 12969"/>
                <a:gd name="connsiteX9" fmla="*/ 6895 w 10853"/>
                <a:gd name="connsiteY9" fmla="*/ 11113 h 12969"/>
                <a:gd name="connsiteX10" fmla="*/ 8301 w 10853"/>
                <a:gd name="connsiteY10" fmla="*/ 11416 h 12969"/>
                <a:gd name="connsiteX11" fmla="*/ 10020 w 10853"/>
                <a:gd name="connsiteY11" fmla="*/ 12931 h 12969"/>
                <a:gd name="connsiteX12" fmla="*/ 10853 w 10853"/>
                <a:gd name="connsiteY12" fmla="*/ 7325 h 12969"/>
                <a:gd name="connsiteX13" fmla="*/ 10124 w 10853"/>
                <a:gd name="connsiteY13" fmla="*/ 5507 h 12969"/>
                <a:gd name="connsiteX14" fmla="*/ 7936 w 10853"/>
                <a:gd name="connsiteY14" fmla="*/ 5507 h 12969"/>
                <a:gd name="connsiteX15" fmla="*/ 7936 w 10853"/>
                <a:gd name="connsiteY15" fmla="*/ 5507 h 12969"/>
                <a:gd name="connsiteX0" fmla="*/ 7936 w 10853"/>
                <a:gd name="connsiteY0" fmla="*/ 5507 h 14495"/>
                <a:gd name="connsiteX1" fmla="*/ 6791 w 10853"/>
                <a:gd name="connsiteY1" fmla="*/ 4598 h 14495"/>
                <a:gd name="connsiteX2" fmla="*/ 5985 w 10853"/>
                <a:gd name="connsiteY2" fmla="*/ 0 h 14495"/>
                <a:gd name="connsiteX3" fmla="*/ 1586 w 10853"/>
                <a:gd name="connsiteY3" fmla="*/ 1282 h 14495"/>
                <a:gd name="connsiteX4" fmla="*/ 445 w 10853"/>
                <a:gd name="connsiteY4" fmla="*/ 3696 h 14495"/>
                <a:gd name="connsiteX5" fmla="*/ 0 w 10853"/>
                <a:gd name="connsiteY5" fmla="*/ 8438 h 14495"/>
                <a:gd name="connsiteX6" fmla="*/ 1453 w 10853"/>
                <a:gd name="connsiteY6" fmla="*/ 10707 h 14495"/>
                <a:gd name="connsiteX7" fmla="*/ 3064 w 10853"/>
                <a:gd name="connsiteY7" fmla="*/ 11694 h 14495"/>
                <a:gd name="connsiteX8" fmla="*/ 5593 w 10853"/>
                <a:gd name="connsiteY8" fmla="*/ 12969 h 14495"/>
                <a:gd name="connsiteX9" fmla="*/ 6818 w 10853"/>
                <a:gd name="connsiteY9" fmla="*/ 14495 h 14495"/>
                <a:gd name="connsiteX10" fmla="*/ 8301 w 10853"/>
                <a:gd name="connsiteY10" fmla="*/ 11416 h 14495"/>
                <a:gd name="connsiteX11" fmla="*/ 10020 w 10853"/>
                <a:gd name="connsiteY11" fmla="*/ 12931 h 14495"/>
                <a:gd name="connsiteX12" fmla="*/ 10853 w 10853"/>
                <a:gd name="connsiteY12" fmla="*/ 7325 h 14495"/>
                <a:gd name="connsiteX13" fmla="*/ 10124 w 10853"/>
                <a:gd name="connsiteY13" fmla="*/ 5507 h 14495"/>
                <a:gd name="connsiteX14" fmla="*/ 7936 w 10853"/>
                <a:gd name="connsiteY14" fmla="*/ 5507 h 14495"/>
                <a:gd name="connsiteX15" fmla="*/ 7936 w 10853"/>
                <a:gd name="connsiteY15" fmla="*/ 5507 h 14495"/>
                <a:gd name="connsiteX0" fmla="*/ 7936 w 10853"/>
                <a:gd name="connsiteY0" fmla="*/ 5507 h 15475"/>
                <a:gd name="connsiteX1" fmla="*/ 6791 w 10853"/>
                <a:gd name="connsiteY1" fmla="*/ 4598 h 15475"/>
                <a:gd name="connsiteX2" fmla="*/ 5985 w 10853"/>
                <a:gd name="connsiteY2" fmla="*/ 0 h 15475"/>
                <a:gd name="connsiteX3" fmla="*/ 1586 w 10853"/>
                <a:gd name="connsiteY3" fmla="*/ 1282 h 15475"/>
                <a:gd name="connsiteX4" fmla="*/ 445 w 10853"/>
                <a:gd name="connsiteY4" fmla="*/ 3696 h 15475"/>
                <a:gd name="connsiteX5" fmla="*/ 0 w 10853"/>
                <a:gd name="connsiteY5" fmla="*/ 8438 h 15475"/>
                <a:gd name="connsiteX6" fmla="*/ 1453 w 10853"/>
                <a:gd name="connsiteY6" fmla="*/ 10707 h 15475"/>
                <a:gd name="connsiteX7" fmla="*/ 3064 w 10853"/>
                <a:gd name="connsiteY7" fmla="*/ 11694 h 15475"/>
                <a:gd name="connsiteX8" fmla="*/ 5593 w 10853"/>
                <a:gd name="connsiteY8" fmla="*/ 12969 h 15475"/>
                <a:gd name="connsiteX9" fmla="*/ 6818 w 10853"/>
                <a:gd name="connsiteY9" fmla="*/ 14495 h 15475"/>
                <a:gd name="connsiteX10" fmla="*/ 8534 w 10853"/>
                <a:gd name="connsiteY10" fmla="*/ 15475 h 15475"/>
                <a:gd name="connsiteX11" fmla="*/ 10020 w 10853"/>
                <a:gd name="connsiteY11" fmla="*/ 12931 h 15475"/>
                <a:gd name="connsiteX12" fmla="*/ 10853 w 10853"/>
                <a:gd name="connsiteY12" fmla="*/ 7325 h 15475"/>
                <a:gd name="connsiteX13" fmla="*/ 10124 w 10853"/>
                <a:gd name="connsiteY13" fmla="*/ 5507 h 15475"/>
                <a:gd name="connsiteX14" fmla="*/ 7936 w 10853"/>
                <a:gd name="connsiteY14" fmla="*/ 5507 h 15475"/>
                <a:gd name="connsiteX15" fmla="*/ 7936 w 10853"/>
                <a:gd name="connsiteY15" fmla="*/ 5507 h 15475"/>
                <a:gd name="connsiteX0" fmla="*/ 7936 w 10873"/>
                <a:gd name="connsiteY0" fmla="*/ 5507 h 15475"/>
                <a:gd name="connsiteX1" fmla="*/ 6791 w 10873"/>
                <a:gd name="connsiteY1" fmla="*/ 4598 h 15475"/>
                <a:gd name="connsiteX2" fmla="*/ 5985 w 10873"/>
                <a:gd name="connsiteY2" fmla="*/ 0 h 15475"/>
                <a:gd name="connsiteX3" fmla="*/ 1586 w 10873"/>
                <a:gd name="connsiteY3" fmla="*/ 1282 h 15475"/>
                <a:gd name="connsiteX4" fmla="*/ 445 w 10873"/>
                <a:gd name="connsiteY4" fmla="*/ 3696 h 15475"/>
                <a:gd name="connsiteX5" fmla="*/ 0 w 10873"/>
                <a:gd name="connsiteY5" fmla="*/ 8438 h 15475"/>
                <a:gd name="connsiteX6" fmla="*/ 1453 w 10873"/>
                <a:gd name="connsiteY6" fmla="*/ 10707 h 15475"/>
                <a:gd name="connsiteX7" fmla="*/ 3064 w 10873"/>
                <a:gd name="connsiteY7" fmla="*/ 11694 h 15475"/>
                <a:gd name="connsiteX8" fmla="*/ 5593 w 10873"/>
                <a:gd name="connsiteY8" fmla="*/ 12969 h 15475"/>
                <a:gd name="connsiteX9" fmla="*/ 6818 w 10873"/>
                <a:gd name="connsiteY9" fmla="*/ 14495 h 15475"/>
                <a:gd name="connsiteX10" fmla="*/ 8534 w 10873"/>
                <a:gd name="connsiteY10" fmla="*/ 15475 h 15475"/>
                <a:gd name="connsiteX11" fmla="*/ 10873 w 10873"/>
                <a:gd name="connsiteY11" fmla="*/ 14735 h 15475"/>
                <a:gd name="connsiteX12" fmla="*/ 10853 w 10873"/>
                <a:gd name="connsiteY12" fmla="*/ 7325 h 15475"/>
                <a:gd name="connsiteX13" fmla="*/ 10124 w 10873"/>
                <a:gd name="connsiteY13" fmla="*/ 5507 h 15475"/>
                <a:gd name="connsiteX14" fmla="*/ 7936 w 10873"/>
                <a:gd name="connsiteY14" fmla="*/ 5507 h 15475"/>
                <a:gd name="connsiteX15" fmla="*/ 7936 w 10873"/>
                <a:gd name="connsiteY15" fmla="*/ 5507 h 15475"/>
                <a:gd name="connsiteX0" fmla="*/ 7936 w 12178"/>
                <a:gd name="connsiteY0" fmla="*/ 5507 h 15475"/>
                <a:gd name="connsiteX1" fmla="*/ 6791 w 12178"/>
                <a:gd name="connsiteY1" fmla="*/ 4598 h 15475"/>
                <a:gd name="connsiteX2" fmla="*/ 5985 w 12178"/>
                <a:gd name="connsiteY2" fmla="*/ 0 h 15475"/>
                <a:gd name="connsiteX3" fmla="*/ 1586 w 12178"/>
                <a:gd name="connsiteY3" fmla="*/ 1282 h 15475"/>
                <a:gd name="connsiteX4" fmla="*/ 445 w 12178"/>
                <a:gd name="connsiteY4" fmla="*/ 3696 h 15475"/>
                <a:gd name="connsiteX5" fmla="*/ 0 w 12178"/>
                <a:gd name="connsiteY5" fmla="*/ 8438 h 15475"/>
                <a:gd name="connsiteX6" fmla="*/ 1453 w 12178"/>
                <a:gd name="connsiteY6" fmla="*/ 10707 h 15475"/>
                <a:gd name="connsiteX7" fmla="*/ 3064 w 12178"/>
                <a:gd name="connsiteY7" fmla="*/ 11694 h 15475"/>
                <a:gd name="connsiteX8" fmla="*/ 5593 w 12178"/>
                <a:gd name="connsiteY8" fmla="*/ 12969 h 15475"/>
                <a:gd name="connsiteX9" fmla="*/ 6818 w 12178"/>
                <a:gd name="connsiteY9" fmla="*/ 14495 h 15475"/>
                <a:gd name="connsiteX10" fmla="*/ 8534 w 12178"/>
                <a:gd name="connsiteY10" fmla="*/ 15475 h 15475"/>
                <a:gd name="connsiteX11" fmla="*/ 10873 w 12178"/>
                <a:gd name="connsiteY11" fmla="*/ 14735 h 15475"/>
                <a:gd name="connsiteX12" fmla="*/ 12171 w 12178"/>
                <a:gd name="connsiteY12" fmla="*/ 6198 h 15475"/>
                <a:gd name="connsiteX13" fmla="*/ 10124 w 12178"/>
                <a:gd name="connsiteY13" fmla="*/ 5507 h 15475"/>
                <a:gd name="connsiteX14" fmla="*/ 7936 w 12178"/>
                <a:gd name="connsiteY14" fmla="*/ 5507 h 15475"/>
                <a:gd name="connsiteX15" fmla="*/ 7936 w 12178"/>
                <a:gd name="connsiteY15" fmla="*/ 5507 h 15475"/>
                <a:gd name="connsiteX0" fmla="*/ 7936 w 12178"/>
                <a:gd name="connsiteY0" fmla="*/ 5507 h 15475"/>
                <a:gd name="connsiteX1" fmla="*/ 6791 w 12178"/>
                <a:gd name="connsiteY1" fmla="*/ 4598 h 15475"/>
                <a:gd name="connsiteX2" fmla="*/ 5985 w 12178"/>
                <a:gd name="connsiteY2" fmla="*/ 0 h 15475"/>
                <a:gd name="connsiteX3" fmla="*/ 1586 w 12178"/>
                <a:gd name="connsiteY3" fmla="*/ 1282 h 15475"/>
                <a:gd name="connsiteX4" fmla="*/ 445 w 12178"/>
                <a:gd name="connsiteY4" fmla="*/ 3696 h 15475"/>
                <a:gd name="connsiteX5" fmla="*/ 0 w 12178"/>
                <a:gd name="connsiteY5" fmla="*/ 8438 h 15475"/>
                <a:gd name="connsiteX6" fmla="*/ 1453 w 12178"/>
                <a:gd name="connsiteY6" fmla="*/ 10707 h 15475"/>
                <a:gd name="connsiteX7" fmla="*/ 3064 w 12178"/>
                <a:gd name="connsiteY7" fmla="*/ 11694 h 15475"/>
                <a:gd name="connsiteX8" fmla="*/ 5593 w 12178"/>
                <a:gd name="connsiteY8" fmla="*/ 12969 h 15475"/>
                <a:gd name="connsiteX9" fmla="*/ 6818 w 12178"/>
                <a:gd name="connsiteY9" fmla="*/ 14495 h 15475"/>
                <a:gd name="connsiteX10" fmla="*/ 8534 w 12178"/>
                <a:gd name="connsiteY10" fmla="*/ 15475 h 15475"/>
                <a:gd name="connsiteX11" fmla="*/ 10873 w 12178"/>
                <a:gd name="connsiteY11" fmla="*/ 14735 h 15475"/>
                <a:gd name="connsiteX12" fmla="*/ 12171 w 12178"/>
                <a:gd name="connsiteY12" fmla="*/ 6198 h 15475"/>
                <a:gd name="connsiteX13" fmla="*/ 10279 w 12178"/>
                <a:gd name="connsiteY13" fmla="*/ 2576 h 15475"/>
                <a:gd name="connsiteX14" fmla="*/ 7936 w 12178"/>
                <a:gd name="connsiteY14" fmla="*/ 5507 h 15475"/>
                <a:gd name="connsiteX15" fmla="*/ 7936 w 12178"/>
                <a:gd name="connsiteY15" fmla="*/ 5507 h 15475"/>
                <a:gd name="connsiteX0" fmla="*/ 8324 w 12178"/>
                <a:gd name="connsiteY0" fmla="*/ 772 h 15475"/>
                <a:gd name="connsiteX1" fmla="*/ 6791 w 12178"/>
                <a:gd name="connsiteY1" fmla="*/ 4598 h 15475"/>
                <a:gd name="connsiteX2" fmla="*/ 5985 w 12178"/>
                <a:gd name="connsiteY2" fmla="*/ 0 h 15475"/>
                <a:gd name="connsiteX3" fmla="*/ 1586 w 12178"/>
                <a:gd name="connsiteY3" fmla="*/ 1282 h 15475"/>
                <a:gd name="connsiteX4" fmla="*/ 445 w 12178"/>
                <a:gd name="connsiteY4" fmla="*/ 3696 h 15475"/>
                <a:gd name="connsiteX5" fmla="*/ 0 w 12178"/>
                <a:gd name="connsiteY5" fmla="*/ 8438 h 15475"/>
                <a:gd name="connsiteX6" fmla="*/ 1453 w 12178"/>
                <a:gd name="connsiteY6" fmla="*/ 10707 h 15475"/>
                <a:gd name="connsiteX7" fmla="*/ 3064 w 12178"/>
                <a:gd name="connsiteY7" fmla="*/ 11694 h 15475"/>
                <a:gd name="connsiteX8" fmla="*/ 5593 w 12178"/>
                <a:gd name="connsiteY8" fmla="*/ 12969 h 15475"/>
                <a:gd name="connsiteX9" fmla="*/ 6818 w 12178"/>
                <a:gd name="connsiteY9" fmla="*/ 14495 h 15475"/>
                <a:gd name="connsiteX10" fmla="*/ 8534 w 12178"/>
                <a:gd name="connsiteY10" fmla="*/ 15475 h 15475"/>
                <a:gd name="connsiteX11" fmla="*/ 10873 w 12178"/>
                <a:gd name="connsiteY11" fmla="*/ 14735 h 15475"/>
                <a:gd name="connsiteX12" fmla="*/ 12171 w 12178"/>
                <a:gd name="connsiteY12" fmla="*/ 6198 h 15475"/>
                <a:gd name="connsiteX13" fmla="*/ 10279 w 12178"/>
                <a:gd name="connsiteY13" fmla="*/ 2576 h 15475"/>
                <a:gd name="connsiteX14" fmla="*/ 7936 w 12178"/>
                <a:gd name="connsiteY14" fmla="*/ 5507 h 15475"/>
                <a:gd name="connsiteX15" fmla="*/ 8324 w 12178"/>
                <a:gd name="connsiteY15" fmla="*/ 772 h 15475"/>
                <a:gd name="connsiteX0" fmla="*/ 8324 w 12178"/>
                <a:gd name="connsiteY0" fmla="*/ 772 h 15475"/>
                <a:gd name="connsiteX1" fmla="*/ 7024 w 12178"/>
                <a:gd name="connsiteY1" fmla="*/ 314 h 15475"/>
                <a:gd name="connsiteX2" fmla="*/ 5985 w 12178"/>
                <a:gd name="connsiteY2" fmla="*/ 0 h 15475"/>
                <a:gd name="connsiteX3" fmla="*/ 1586 w 12178"/>
                <a:gd name="connsiteY3" fmla="*/ 1282 h 15475"/>
                <a:gd name="connsiteX4" fmla="*/ 445 w 12178"/>
                <a:gd name="connsiteY4" fmla="*/ 3696 h 15475"/>
                <a:gd name="connsiteX5" fmla="*/ 0 w 12178"/>
                <a:gd name="connsiteY5" fmla="*/ 8438 h 15475"/>
                <a:gd name="connsiteX6" fmla="*/ 1453 w 12178"/>
                <a:gd name="connsiteY6" fmla="*/ 10707 h 15475"/>
                <a:gd name="connsiteX7" fmla="*/ 3064 w 12178"/>
                <a:gd name="connsiteY7" fmla="*/ 11694 h 15475"/>
                <a:gd name="connsiteX8" fmla="*/ 5593 w 12178"/>
                <a:gd name="connsiteY8" fmla="*/ 12969 h 15475"/>
                <a:gd name="connsiteX9" fmla="*/ 6818 w 12178"/>
                <a:gd name="connsiteY9" fmla="*/ 14495 h 15475"/>
                <a:gd name="connsiteX10" fmla="*/ 8534 w 12178"/>
                <a:gd name="connsiteY10" fmla="*/ 15475 h 15475"/>
                <a:gd name="connsiteX11" fmla="*/ 10873 w 12178"/>
                <a:gd name="connsiteY11" fmla="*/ 14735 h 15475"/>
                <a:gd name="connsiteX12" fmla="*/ 12171 w 12178"/>
                <a:gd name="connsiteY12" fmla="*/ 6198 h 15475"/>
                <a:gd name="connsiteX13" fmla="*/ 10279 w 12178"/>
                <a:gd name="connsiteY13" fmla="*/ 2576 h 15475"/>
                <a:gd name="connsiteX14" fmla="*/ 7936 w 12178"/>
                <a:gd name="connsiteY14" fmla="*/ 5507 h 15475"/>
                <a:gd name="connsiteX15" fmla="*/ 8324 w 12178"/>
                <a:gd name="connsiteY15" fmla="*/ 772 h 15475"/>
                <a:gd name="connsiteX0" fmla="*/ 8324 w 12178"/>
                <a:gd name="connsiteY0" fmla="*/ 772 h 15475"/>
                <a:gd name="connsiteX1" fmla="*/ 7024 w 12178"/>
                <a:gd name="connsiteY1" fmla="*/ 314 h 15475"/>
                <a:gd name="connsiteX2" fmla="*/ 5985 w 12178"/>
                <a:gd name="connsiteY2" fmla="*/ 0 h 15475"/>
                <a:gd name="connsiteX3" fmla="*/ 1586 w 12178"/>
                <a:gd name="connsiteY3" fmla="*/ 1282 h 15475"/>
                <a:gd name="connsiteX4" fmla="*/ 445 w 12178"/>
                <a:gd name="connsiteY4" fmla="*/ 3696 h 15475"/>
                <a:gd name="connsiteX5" fmla="*/ 0 w 12178"/>
                <a:gd name="connsiteY5" fmla="*/ 8438 h 15475"/>
                <a:gd name="connsiteX6" fmla="*/ 1453 w 12178"/>
                <a:gd name="connsiteY6" fmla="*/ 10707 h 15475"/>
                <a:gd name="connsiteX7" fmla="*/ 3064 w 12178"/>
                <a:gd name="connsiteY7" fmla="*/ 11694 h 15475"/>
                <a:gd name="connsiteX8" fmla="*/ 5593 w 12178"/>
                <a:gd name="connsiteY8" fmla="*/ 12969 h 15475"/>
                <a:gd name="connsiteX9" fmla="*/ 6818 w 12178"/>
                <a:gd name="connsiteY9" fmla="*/ 14495 h 15475"/>
                <a:gd name="connsiteX10" fmla="*/ 8534 w 12178"/>
                <a:gd name="connsiteY10" fmla="*/ 15475 h 15475"/>
                <a:gd name="connsiteX11" fmla="*/ 10873 w 12178"/>
                <a:gd name="connsiteY11" fmla="*/ 14735 h 15475"/>
                <a:gd name="connsiteX12" fmla="*/ 12171 w 12178"/>
                <a:gd name="connsiteY12" fmla="*/ 6198 h 15475"/>
                <a:gd name="connsiteX13" fmla="*/ 10279 w 12178"/>
                <a:gd name="connsiteY13" fmla="*/ 2576 h 15475"/>
                <a:gd name="connsiteX14" fmla="*/ 9176 w 12178"/>
                <a:gd name="connsiteY14" fmla="*/ 2576 h 15475"/>
                <a:gd name="connsiteX15" fmla="*/ 8324 w 12178"/>
                <a:gd name="connsiteY15" fmla="*/ 772 h 1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78" h="15475">
                  <a:moveTo>
                    <a:pt x="8324" y="772"/>
                  </a:moveTo>
                  <a:lnTo>
                    <a:pt x="7024" y="314"/>
                  </a:lnTo>
                  <a:lnTo>
                    <a:pt x="5985" y="0"/>
                  </a:lnTo>
                  <a:lnTo>
                    <a:pt x="1586" y="1282"/>
                  </a:lnTo>
                  <a:cubicBezTo>
                    <a:pt x="1567" y="2387"/>
                    <a:pt x="464" y="2591"/>
                    <a:pt x="445" y="3696"/>
                  </a:cubicBezTo>
                  <a:cubicBezTo>
                    <a:pt x="297" y="5277"/>
                    <a:pt x="148" y="6857"/>
                    <a:pt x="0" y="8438"/>
                  </a:cubicBezTo>
                  <a:lnTo>
                    <a:pt x="1453" y="10707"/>
                  </a:lnTo>
                  <a:lnTo>
                    <a:pt x="3064" y="11694"/>
                  </a:lnTo>
                  <a:lnTo>
                    <a:pt x="5593" y="12969"/>
                  </a:lnTo>
                  <a:lnTo>
                    <a:pt x="6818" y="14495"/>
                  </a:lnTo>
                  <a:lnTo>
                    <a:pt x="8534" y="15475"/>
                  </a:lnTo>
                  <a:lnTo>
                    <a:pt x="10873" y="14735"/>
                  </a:lnTo>
                  <a:cubicBezTo>
                    <a:pt x="10866" y="12265"/>
                    <a:pt x="12178" y="8668"/>
                    <a:pt x="12171" y="6198"/>
                  </a:cubicBezTo>
                  <a:lnTo>
                    <a:pt x="10279" y="2576"/>
                  </a:lnTo>
                  <a:lnTo>
                    <a:pt x="9176" y="2576"/>
                  </a:lnTo>
                  <a:cubicBezTo>
                    <a:pt x="9305" y="998"/>
                    <a:pt x="8195" y="2350"/>
                    <a:pt x="8324" y="772"/>
                  </a:cubicBezTo>
                  <a:close/>
                </a:path>
              </a:pathLst>
            </a:custGeom>
            <a:solidFill>
              <a:srgbClr val="777777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lIns="72000" tIns="72000" rIns="72000" bIns="72000" anchor="ctr"/>
            <a:lstStyle/>
            <a:p>
              <a:pPr algn="ctr" defTabSz="914308">
                <a:defRPr/>
              </a:pPr>
              <a:endParaRPr lang="ru-RU" sz="1200" kern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grpSp>
          <p:nvGrpSpPr>
            <p:cNvPr id="61485" name="Группа 22"/>
            <p:cNvGrpSpPr>
              <a:grpSpLocks/>
            </p:cNvGrpSpPr>
            <p:nvPr/>
          </p:nvGrpSpPr>
          <p:grpSpPr bwMode="auto">
            <a:xfrm>
              <a:off x="1126475" y="1580270"/>
              <a:ext cx="6908888" cy="2997397"/>
              <a:chOff x="1126475" y="1504070"/>
              <a:chExt cx="6908888" cy="2997397"/>
            </a:xfrm>
          </p:grpSpPr>
          <p:sp>
            <p:nvSpPr>
              <p:cNvPr id="393" name="TextBox 392">
                <a:extLst/>
              </p:cNvPr>
              <p:cNvSpPr txBox="1"/>
              <p:nvPr>
                <p:custDataLst>
                  <p:tags r:id="rId6"/>
                </p:custDataLst>
              </p:nvPr>
            </p:nvSpPr>
            <p:spPr>
              <a:xfrm>
                <a:off x="1126475" y="2435466"/>
                <a:ext cx="1058347" cy="205327"/>
              </a:xfrm>
              <a:prstGeom prst="rect">
                <a:avLst/>
              </a:prstGeom>
              <a:noFill/>
            </p:spPr>
            <p:txBody>
              <a:bodyPr lIns="0" tIns="0" rIns="0" bIns="0">
                <a:spAutoFit/>
              </a:bodyPr>
              <a:lstStyle/>
              <a:p>
                <a:pPr algn="ctr" defTabSz="914308">
                  <a:defRPr/>
                </a:pPr>
                <a:r>
                  <a:rPr lang="ru-RU" sz="667" b="1" kern="0" err="1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/>
                  </a:rPr>
                  <a:t>Западно-Казахстанская</a:t>
                </a:r>
                <a:r>
                  <a:rPr lang="ru-RU" sz="667" b="1" ker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/>
                  </a:rPr>
                  <a:t> область</a:t>
                </a:r>
              </a:p>
            </p:txBody>
          </p:sp>
          <p:sp>
            <p:nvSpPr>
              <p:cNvPr id="394" name="TextBox 393">
                <a:extLst/>
              </p:cNvPr>
              <p:cNvSpPr txBox="1"/>
              <p:nvPr>
                <p:custDataLst>
                  <p:tags r:id="rId7"/>
                </p:custDataLst>
              </p:nvPr>
            </p:nvSpPr>
            <p:spPr>
              <a:xfrm>
                <a:off x="1302161" y="3112844"/>
                <a:ext cx="626541" cy="205327"/>
              </a:xfrm>
              <a:prstGeom prst="rect">
                <a:avLst/>
              </a:prstGeom>
              <a:noFill/>
            </p:spPr>
            <p:txBody>
              <a:bodyPr lIns="0" tIns="0" rIns="0" bIns="0">
                <a:spAutoFit/>
              </a:bodyPr>
              <a:lstStyle/>
              <a:p>
                <a:pPr algn="ctr" defTabSz="914308">
                  <a:defRPr/>
                </a:pPr>
                <a:r>
                  <a:rPr lang="ru-RU" sz="667" b="1" kern="0" err="1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/>
                  </a:rPr>
                  <a:t>Атырауская</a:t>
                </a:r>
                <a:r>
                  <a:rPr lang="ru-RU" sz="667" b="1" ker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/>
                  </a:rPr>
                  <a:t> область</a:t>
                </a:r>
              </a:p>
            </p:txBody>
          </p:sp>
          <p:sp>
            <p:nvSpPr>
              <p:cNvPr id="395" name="TextBox 394">
                <a:extLst/>
              </p:cNvPr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1659882" y="4296140"/>
                <a:ext cx="626541" cy="205327"/>
              </a:xfrm>
              <a:prstGeom prst="rect">
                <a:avLst/>
              </a:prstGeom>
              <a:noFill/>
            </p:spPr>
            <p:txBody>
              <a:bodyPr lIns="0" tIns="0" rIns="0" bIns="0">
                <a:spAutoFit/>
              </a:bodyPr>
              <a:lstStyle/>
              <a:p>
                <a:pPr algn="ctr" defTabSz="914308">
                  <a:defRPr/>
                </a:pPr>
                <a:r>
                  <a:rPr lang="ru-RU" sz="667" b="1" kern="0" err="1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/>
                  </a:rPr>
                  <a:t>Мангыстауская</a:t>
                </a:r>
                <a:r>
                  <a:rPr lang="ru-RU" sz="667" b="1" ker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/>
                  </a:rPr>
                  <a:t> область</a:t>
                </a:r>
              </a:p>
            </p:txBody>
          </p:sp>
          <p:sp>
            <p:nvSpPr>
              <p:cNvPr id="396" name="TextBox 395">
                <a:extLst/>
              </p:cNvPr>
              <p:cNvSpPr txBox="1"/>
              <p:nvPr>
                <p:custDataLst>
                  <p:tags r:id="rId9"/>
                </p:custDataLst>
              </p:nvPr>
            </p:nvSpPr>
            <p:spPr>
              <a:xfrm>
                <a:off x="2650494" y="3220802"/>
                <a:ext cx="626541" cy="205327"/>
              </a:xfrm>
              <a:prstGeom prst="rect">
                <a:avLst/>
              </a:prstGeom>
              <a:noFill/>
            </p:spPr>
            <p:txBody>
              <a:bodyPr lIns="0" tIns="0" rIns="0" bIns="0">
                <a:spAutoFit/>
              </a:bodyPr>
              <a:lstStyle/>
              <a:p>
                <a:pPr algn="ctr" defTabSz="914308">
                  <a:defRPr/>
                </a:pPr>
                <a:r>
                  <a:rPr lang="ru-RU" sz="667" b="1" ker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/>
                  </a:rPr>
                  <a:t>Актюбинская область</a:t>
                </a:r>
              </a:p>
            </p:txBody>
          </p:sp>
          <p:sp>
            <p:nvSpPr>
              <p:cNvPr id="397" name="TextBox 396">
                <a:extLst/>
              </p:cNvPr>
              <p:cNvSpPr txBox="1"/>
              <p:nvPr>
                <p:custDataLst>
                  <p:tags r:id="rId10"/>
                </p:custDataLst>
              </p:nvPr>
            </p:nvSpPr>
            <p:spPr>
              <a:xfrm>
                <a:off x="3717307" y="2088309"/>
                <a:ext cx="626541" cy="205327"/>
              </a:xfrm>
              <a:prstGeom prst="rect">
                <a:avLst/>
              </a:prstGeom>
              <a:noFill/>
            </p:spPr>
            <p:txBody>
              <a:bodyPr lIns="0" tIns="0" rIns="0" bIns="0">
                <a:spAutoFit/>
              </a:bodyPr>
              <a:lstStyle/>
              <a:p>
                <a:pPr algn="ctr" defTabSz="914308">
                  <a:defRPr/>
                </a:pPr>
                <a:r>
                  <a:rPr lang="ru-RU" sz="667" b="1" kern="0" err="1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/>
                  </a:rPr>
                  <a:t>Костанайская</a:t>
                </a:r>
                <a:r>
                  <a:rPr lang="ru-RU" sz="667" b="1" ker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/>
                  </a:rPr>
                  <a:t> область</a:t>
                </a:r>
              </a:p>
            </p:txBody>
          </p:sp>
          <p:sp>
            <p:nvSpPr>
              <p:cNvPr id="398" name="TextBox 397">
                <a:extLst/>
              </p:cNvPr>
              <p:cNvSpPr txBox="1"/>
              <p:nvPr>
                <p:custDataLst>
                  <p:tags r:id="rId11"/>
                </p:custDataLst>
              </p:nvPr>
            </p:nvSpPr>
            <p:spPr>
              <a:xfrm>
                <a:off x="4580920" y="1504070"/>
                <a:ext cx="914411" cy="307989"/>
              </a:xfrm>
              <a:prstGeom prst="rect">
                <a:avLst/>
              </a:prstGeom>
              <a:noFill/>
            </p:spPr>
            <p:txBody>
              <a:bodyPr lIns="0" tIns="0" rIns="0" bIns="0">
                <a:spAutoFit/>
              </a:bodyPr>
              <a:lstStyle/>
              <a:p>
                <a:pPr algn="ctr" defTabSz="914308">
                  <a:defRPr/>
                </a:pPr>
                <a:r>
                  <a:rPr lang="ru-RU" sz="667" b="1" ker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/>
                  </a:rPr>
                  <a:t>Северо-Казахстанская  область</a:t>
                </a:r>
              </a:p>
            </p:txBody>
          </p:sp>
          <p:sp>
            <p:nvSpPr>
              <p:cNvPr id="399" name="TextBox 398">
                <a:extLst/>
              </p:cNvPr>
              <p:cNvSpPr txBox="1"/>
              <p:nvPr>
                <p:custDataLst>
                  <p:tags r:id="rId12"/>
                </p:custDataLst>
              </p:nvPr>
            </p:nvSpPr>
            <p:spPr>
              <a:xfrm>
                <a:off x="4885723" y="2113711"/>
                <a:ext cx="685809" cy="205327"/>
              </a:xfrm>
              <a:prstGeom prst="rect">
                <a:avLst/>
              </a:prstGeom>
              <a:noFill/>
            </p:spPr>
            <p:txBody>
              <a:bodyPr lIns="0" tIns="0" rIns="0" bIns="0">
                <a:spAutoFit/>
              </a:bodyPr>
              <a:lstStyle/>
              <a:p>
                <a:pPr algn="ctr" defTabSz="914308">
                  <a:defRPr/>
                </a:pPr>
                <a:r>
                  <a:rPr lang="ru-RU" sz="667" b="1" kern="0" err="1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/>
                  </a:rPr>
                  <a:t>Акмолинская</a:t>
                </a:r>
                <a:r>
                  <a:rPr lang="ru-RU" sz="667" b="1" ker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/>
                  </a:rPr>
                  <a:t>  область</a:t>
                </a:r>
              </a:p>
            </p:txBody>
          </p:sp>
          <p:sp>
            <p:nvSpPr>
              <p:cNvPr id="400" name="TextBox 399">
                <a:extLst/>
              </p:cNvPr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6011803" y="2274588"/>
                <a:ext cx="685809" cy="205327"/>
              </a:xfrm>
              <a:prstGeom prst="rect">
                <a:avLst/>
              </a:prstGeom>
              <a:noFill/>
            </p:spPr>
            <p:txBody>
              <a:bodyPr lIns="0" tIns="0" rIns="0" bIns="0">
                <a:spAutoFit/>
              </a:bodyPr>
              <a:lstStyle/>
              <a:p>
                <a:pPr algn="ctr" defTabSz="914308">
                  <a:defRPr/>
                </a:pPr>
                <a:r>
                  <a:rPr lang="ru-RU" sz="667" b="1" ker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/>
                  </a:rPr>
                  <a:t>Павлодарская  область</a:t>
                </a:r>
              </a:p>
            </p:txBody>
          </p:sp>
          <p:sp>
            <p:nvSpPr>
              <p:cNvPr id="401" name="TextBox 400">
                <a:extLst/>
              </p:cNvPr>
              <p:cNvSpPr txBox="1"/>
              <p:nvPr>
                <p:custDataLst>
                  <p:tags r:id="rId14"/>
                </p:custDataLst>
              </p:nvPr>
            </p:nvSpPr>
            <p:spPr>
              <a:xfrm>
                <a:off x="4750254" y="3390146"/>
                <a:ext cx="685809" cy="205327"/>
              </a:xfrm>
              <a:prstGeom prst="rect">
                <a:avLst/>
              </a:prstGeom>
              <a:noFill/>
            </p:spPr>
            <p:txBody>
              <a:bodyPr lIns="0" tIns="0" rIns="0" bIns="0">
                <a:spAutoFit/>
              </a:bodyPr>
              <a:lstStyle/>
              <a:p>
                <a:pPr algn="ctr" defTabSz="914308">
                  <a:defRPr/>
                </a:pPr>
                <a:r>
                  <a:rPr lang="ru-RU" sz="667" b="1" ker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/>
                  </a:rPr>
                  <a:t>Карагандинская  область</a:t>
                </a:r>
              </a:p>
            </p:txBody>
          </p:sp>
          <p:sp>
            <p:nvSpPr>
              <p:cNvPr id="402" name="TextBox 401">
                <a:extLst/>
              </p:cNvPr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7120952" y="2892696"/>
                <a:ext cx="914411" cy="307989"/>
              </a:xfrm>
              <a:prstGeom prst="rect">
                <a:avLst/>
              </a:prstGeom>
              <a:noFill/>
            </p:spPr>
            <p:txBody>
              <a:bodyPr lIns="0" tIns="0" rIns="0" bIns="0">
                <a:spAutoFit/>
              </a:bodyPr>
              <a:lstStyle/>
              <a:p>
                <a:pPr algn="ctr" defTabSz="914308">
                  <a:defRPr/>
                </a:pPr>
                <a:r>
                  <a:rPr lang="ru-RU" sz="667" b="1" ker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/>
                  </a:rPr>
                  <a:t>Восточно-Казахстанская  область</a:t>
                </a:r>
              </a:p>
            </p:txBody>
          </p:sp>
          <p:sp>
            <p:nvSpPr>
              <p:cNvPr id="403" name="TextBox 402">
                <a:extLst/>
              </p:cNvPr>
              <p:cNvSpPr txBox="1"/>
              <p:nvPr>
                <p:custDataLst>
                  <p:tags r:id="rId16"/>
                </p:custDataLst>
              </p:nvPr>
            </p:nvSpPr>
            <p:spPr>
              <a:xfrm>
                <a:off x="7089200" y="3697083"/>
                <a:ext cx="685809" cy="205327"/>
              </a:xfrm>
              <a:prstGeom prst="rect">
                <a:avLst/>
              </a:prstGeom>
              <a:noFill/>
            </p:spPr>
            <p:txBody>
              <a:bodyPr lIns="0" tIns="0" rIns="0" bIns="0">
                <a:spAutoFit/>
              </a:bodyPr>
              <a:lstStyle/>
              <a:p>
                <a:pPr algn="ctr" defTabSz="914308">
                  <a:defRPr/>
                </a:pPr>
                <a:r>
                  <a:rPr lang="ru-RU" sz="667" b="1" kern="0" err="1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/>
                  </a:rPr>
                  <a:t>Алматинская</a:t>
                </a:r>
                <a:r>
                  <a:rPr lang="ru-RU" sz="667" b="1" ker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/>
                  </a:rPr>
                  <a:t> область</a:t>
                </a:r>
              </a:p>
            </p:txBody>
          </p:sp>
          <p:sp>
            <p:nvSpPr>
              <p:cNvPr id="404" name="TextBox 403">
                <a:extLst/>
              </p:cNvPr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5393729" y="4262271"/>
                <a:ext cx="685809" cy="205327"/>
              </a:xfrm>
              <a:prstGeom prst="rect">
                <a:avLst/>
              </a:prstGeom>
              <a:noFill/>
            </p:spPr>
            <p:txBody>
              <a:bodyPr lIns="0" tIns="0" rIns="0" bIns="0">
                <a:spAutoFit/>
              </a:bodyPr>
              <a:lstStyle/>
              <a:p>
                <a:pPr algn="ctr" defTabSz="914308">
                  <a:defRPr/>
                </a:pPr>
                <a:r>
                  <a:rPr lang="ru-RU" sz="667" b="1" kern="0" err="1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/>
                  </a:rPr>
                  <a:t>Жамбылская</a:t>
                </a:r>
                <a:r>
                  <a:rPr lang="ru-RU" sz="667" b="1" kern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/>
                  </a:rPr>
                  <a:t> область</a:t>
                </a:r>
              </a:p>
            </p:txBody>
          </p:sp>
          <p:sp>
            <p:nvSpPr>
              <p:cNvPr id="405" name="TextBox 404">
                <a:extLst/>
              </p:cNvPr>
              <p:cNvSpPr txBox="1"/>
              <p:nvPr>
                <p:custDataLst>
                  <p:tags r:id="rId18"/>
                </p:custDataLst>
              </p:nvPr>
            </p:nvSpPr>
            <p:spPr>
              <a:xfrm>
                <a:off x="3708841" y="4143730"/>
                <a:ext cx="626541" cy="205327"/>
              </a:xfrm>
              <a:prstGeom prst="rect">
                <a:avLst/>
              </a:prstGeom>
              <a:noFill/>
            </p:spPr>
            <p:txBody>
              <a:bodyPr lIns="0" tIns="0" rIns="0" bIns="0">
                <a:spAutoFit/>
              </a:bodyPr>
              <a:lstStyle/>
              <a:p>
                <a:pPr algn="ctr" defTabSz="914308">
                  <a:defRPr/>
                </a:pPr>
                <a:r>
                  <a:rPr lang="ru-RU" sz="667" b="1" kern="0" err="1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Arial"/>
                  </a:rPr>
                  <a:t>Кызылординскаяобласть</a:t>
                </a:r>
                <a:endParaRPr lang="ru-RU" sz="667" b="1" kern="0">
                  <a:solidFill>
                    <a:srgbClr val="000000">
                      <a:lumMod val="75000"/>
                      <a:lumOff val="25000"/>
                    </a:srgbClr>
                  </a:solidFill>
                  <a:latin typeface="Arial"/>
                </a:endParaRPr>
              </a:p>
            </p:txBody>
          </p:sp>
        </p:grpSp>
        <p:sp>
          <p:nvSpPr>
            <p:cNvPr id="381" name="Прямоугольник 63">
              <a:extLst/>
            </p:cNvPr>
            <p:cNvSpPr/>
            <p:nvPr/>
          </p:nvSpPr>
          <p:spPr>
            <a:xfrm>
              <a:off x="5302711" y="4655992"/>
              <a:ext cx="992728" cy="297666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defTabSz="914308">
                <a:defRPr/>
              </a:pPr>
              <a:r>
                <a:rPr lang="ru-RU" sz="667" kern="0">
                  <a:solidFill>
                    <a:srgbClr val="000000"/>
                  </a:solidFill>
                  <a:latin typeface="Arial"/>
                </a:rPr>
                <a:t>ТОО «</a:t>
              </a:r>
              <a:r>
                <a:rPr lang="ru-RU" sz="667" kern="0" err="1">
                  <a:solidFill>
                    <a:srgbClr val="000000"/>
                  </a:solidFill>
                  <a:latin typeface="Arial"/>
                </a:rPr>
                <a:t>Super-Pharm</a:t>
              </a:r>
              <a:r>
                <a:rPr lang="ru-RU" sz="667" kern="0">
                  <a:solidFill>
                    <a:srgbClr val="000000"/>
                  </a:solidFill>
                  <a:latin typeface="Arial"/>
                </a:rPr>
                <a:t>»</a:t>
              </a:r>
            </a:p>
          </p:txBody>
        </p:sp>
        <p:sp>
          <p:nvSpPr>
            <p:cNvPr id="383" name="Freeform 9">
              <a:extLst/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4767187" y="5553519"/>
              <a:ext cx="285754" cy="249783"/>
            </a:xfrm>
            <a:custGeom>
              <a:avLst/>
              <a:gdLst/>
              <a:ahLst/>
              <a:cxnLst>
                <a:cxn ang="0">
                  <a:pos x="3835" y="1514"/>
                </a:cxn>
                <a:cxn ang="0">
                  <a:pos x="3845" y="1533"/>
                </a:cxn>
                <a:cxn ang="0">
                  <a:pos x="4527" y="2848"/>
                </a:cxn>
                <a:cxn ang="0">
                  <a:pos x="4194" y="3901"/>
                </a:cxn>
                <a:cxn ang="0">
                  <a:pos x="4113" y="3943"/>
                </a:cxn>
                <a:cxn ang="0">
                  <a:pos x="3116" y="3702"/>
                </a:cxn>
                <a:cxn ang="0">
                  <a:pos x="2891" y="3739"/>
                </a:cxn>
                <a:cxn ang="0">
                  <a:pos x="1663" y="3732"/>
                </a:cxn>
                <a:cxn ang="0">
                  <a:pos x="1645" y="3732"/>
                </a:cxn>
                <a:cxn ang="0">
                  <a:pos x="665" y="3726"/>
                </a:cxn>
                <a:cxn ang="0">
                  <a:pos x="2" y="3055"/>
                </a:cxn>
                <a:cxn ang="0">
                  <a:pos x="2" y="2977"/>
                </a:cxn>
                <a:cxn ang="0">
                  <a:pos x="673" y="2315"/>
                </a:cxn>
                <a:cxn ang="0">
                  <a:pos x="1617" y="2320"/>
                </a:cxn>
                <a:cxn ang="0">
                  <a:pos x="1636" y="2321"/>
                </a:cxn>
                <a:cxn ang="0">
                  <a:pos x="2393" y="2325"/>
                </a:cxn>
                <a:cxn ang="0">
                  <a:pos x="2387" y="2313"/>
                </a:cxn>
                <a:cxn ang="0">
                  <a:pos x="1857" y="1294"/>
                </a:cxn>
                <a:cxn ang="0">
                  <a:pos x="2191" y="240"/>
                </a:cxn>
                <a:cxn ang="0">
                  <a:pos x="2272" y="198"/>
                </a:cxn>
                <a:cxn ang="0">
                  <a:pos x="3325" y="532"/>
                </a:cxn>
                <a:cxn ang="0">
                  <a:pos x="3835" y="1514"/>
                </a:cxn>
                <a:cxn ang="0">
                  <a:pos x="2531" y="2591"/>
                </a:cxn>
                <a:cxn ang="0">
                  <a:pos x="2469" y="2471"/>
                </a:cxn>
                <a:cxn ang="0">
                  <a:pos x="1844" y="2467"/>
                </a:cxn>
                <a:cxn ang="0">
                  <a:pos x="1804" y="2575"/>
                </a:cxn>
                <a:cxn ang="0">
                  <a:pos x="2531" y="2591"/>
                </a:cxn>
                <a:cxn ang="0">
                  <a:pos x="680" y="2460"/>
                </a:cxn>
                <a:cxn ang="0">
                  <a:pos x="1326" y="2464"/>
                </a:cxn>
                <a:cxn ang="0">
                  <a:pos x="1285" y="2575"/>
                </a:cxn>
                <a:cxn ang="0">
                  <a:pos x="317" y="2603"/>
                </a:cxn>
                <a:cxn ang="0">
                  <a:pos x="680" y="2460"/>
                </a:cxn>
                <a:cxn ang="0">
                  <a:pos x="1614" y="3665"/>
                </a:cxn>
                <a:cxn ang="0">
                  <a:pos x="1474" y="2986"/>
                </a:cxn>
                <a:cxn ang="0">
                  <a:pos x="1590" y="2387"/>
                </a:cxn>
                <a:cxn ang="0">
                  <a:pos x="684" y="2381"/>
                </a:cxn>
                <a:cxn ang="0">
                  <a:pos x="77" y="2982"/>
                </a:cxn>
                <a:cxn ang="0">
                  <a:pos x="76" y="3052"/>
                </a:cxn>
                <a:cxn ang="0">
                  <a:pos x="676" y="3659"/>
                </a:cxn>
                <a:cxn ang="0">
                  <a:pos x="1614" y="3665"/>
                </a:cxn>
                <a:cxn ang="0">
                  <a:pos x="3806" y="1829"/>
                </a:cxn>
                <a:cxn ang="0">
                  <a:pos x="4357" y="2891"/>
                </a:cxn>
                <a:cxn ang="0">
                  <a:pos x="4403" y="3346"/>
                </a:cxn>
                <a:cxn ang="0">
                  <a:pos x="3672" y="1846"/>
                </a:cxn>
                <a:cxn ang="0">
                  <a:pos x="3806" y="1829"/>
                </a:cxn>
                <a:cxn ang="0">
                  <a:pos x="3178" y="619"/>
                </a:cxn>
                <a:cxn ang="0">
                  <a:pos x="3526" y="1290"/>
                </a:cxn>
                <a:cxn ang="0">
                  <a:pos x="3389" y="1308"/>
                </a:cxn>
                <a:cxn ang="0">
                  <a:pos x="2832" y="320"/>
                </a:cxn>
                <a:cxn ang="0">
                  <a:pos x="3178" y="619"/>
                </a:cxn>
                <a:cxn ang="0">
                  <a:pos x="2439" y="2245"/>
                </a:cxn>
                <a:cxn ang="0">
                  <a:pos x="3066" y="1729"/>
                </a:cxn>
                <a:cxn ang="0">
                  <a:pos x="3751" y="1521"/>
                </a:cxn>
                <a:cxn ang="0">
                  <a:pos x="3262" y="580"/>
                </a:cxn>
                <a:cxn ang="0">
                  <a:pos x="2308" y="278"/>
                </a:cxn>
                <a:cxn ang="0">
                  <a:pos x="2235" y="316"/>
                </a:cxn>
                <a:cxn ang="0">
                  <a:pos x="1933" y="1269"/>
                </a:cxn>
                <a:cxn ang="0">
                  <a:pos x="2439" y="2245"/>
                </a:cxn>
              </a:cxnLst>
              <a:rect l="0" t="0" r="r" b="b"/>
              <a:pathLst>
                <a:path w="4725" h="4124">
                  <a:moveTo>
                    <a:pt x="3835" y="1514"/>
                  </a:moveTo>
                  <a:lnTo>
                    <a:pt x="3845" y="1533"/>
                  </a:lnTo>
                  <a:lnTo>
                    <a:pt x="4527" y="2848"/>
                  </a:lnTo>
                  <a:cubicBezTo>
                    <a:pt x="4725" y="3229"/>
                    <a:pt x="4575" y="3703"/>
                    <a:pt x="4194" y="3901"/>
                  </a:cubicBezTo>
                  <a:lnTo>
                    <a:pt x="4113" y="3943"/>
                  </a:lnTo>
                  <a:cubicBezTo>
                    <a:pt x="3764" y="4124"/>
                    <a:pt x="3338" y="4014"/>
                    <a:pt x="3116" y="3702"/>
                  </a:cubicBezTo>
                  <a:cubicBezTo>
                    <a:pt x="3046" y="3727"/>
                    <a:pt x="2970" y="3740"/>
                    <a:pt x="2891" y="3739"/>
                  </a:cubicBezTo>
                  <a:lnTo>
                    <a:pt x="1663" y="3732"/>
                  </a:lnTo>
                  <a:lnTo>
                    <a:pt x="1645" y="3732"/>
                  </a:lnTo>
                  <a:lnTo>
                    <a:pt x="665" y="3726"/>
                  </a:lnTo>
                  <a:cubicBezTo>
                    <a:pt x="298" y="3724"/>
                    <a:pt x="0" y="3422"/>
                    <a:pt x="2" y="3055"/>
                  </a:cubicBezTo>
                  <a:lnTo>
                    <a:pt x="2" y="2977"/>
                  </a:lnTo>
                  <a:cubicBezTo>
                    <a:pt x="5" y="2611"/>
                    <a:pt x="306" y="2312"/>
                    <a:pt x="673" y="2315"/>
                  </a:cubicBezTo>
                  <a:lnTo>
                    <a:pt x="1617" y="2320"/>
                  </a:lnTo>
                  <a:lnTo>
                    <a:pt x="1636" y="2321"/>
                  </a:lnTo>
                  <a:lnTo>
                    <a:pt x="2393" y="2325"/>
                  </a:lnTo>
                  <a:lnTo>
                    <a:pt x="2387" y="2313"/>
                  </a:lnTo>
                  <a:lnTo>
                    <a:pt x="1857" y="1294"/>
                  </a:lnTo>
                  <a:cubicBezTo>
                    <a:pt x="1659" y="912"/>
                    <a:pt x="1809" y="438"/>
                    <a:pt x="2191" y="240"/>
                  </a:cubicBezTo>
                  <a:lnTo>
                    <a:pt x="2272" y="198"/>
                  </a:lnTo>
                  <a:cubicBezTo>
                    <a:pt x="2653" y="0"/>
                    <a:pt x="3127" y="150"/>
                    <a:pt x="3325" y="532"/>
                  </a:cubicBezTo>
                  <a:lnTo>
                    <a:pt x="3835" y="1514"/>
                  </a:lnTo>
                  <a:close/>
                  <a:moveTo>
                    <a:pt x="2531" y="2591"/>
                  </a:moveTo>
                  <a:lnTo>
                    <a:pt x="2469" y="2471"/>
                  </a:lnTo>
                  <a:lnTo>
                    <a:pt x="1844" y="2467"/>
                  </a:lnTo>
                  <a:lnTo>
                    <a:pt x="1804" y="2575"/>
                  </a:lnTo>
                  <a:cubicBezTo>
                    <a:pt x="2044" y="2578"/>
                    <a:pt x="2286" y="2583"/>
                    <a:pt x="2531" y="2591"/>
                  </a:cubicBezTo>
                  <a:close/>
                  <a:moveTo>
                    <a:pt x="680" y="2460"/>
                  </a:moveTo>
                  <a:lnTo>
                    <a:pt x="1326" y="2464"/>
                  </a:lnTo>
                  <a:lnTo>
                    <a:pt x="1285" y="2575"/>
                  </a:lnTo>
                  <a:cubicBezTo>
                    <a:pt x="958" y="2578"/>
                    <a:pt x="635" y="2587"/>
                    <a:pt x="317" y="2603"/>
                  </a:cubicBezTo>
                  <a:cubicBezTo>
                    <a:pt x="412" y="2514"/>
                    <a:pt x="540" y="2460"/>
                    <a:pt x="680" y="2460"/>
                  </a:cubicBezTo>
                  <a:close/>
                  <a:moveTo>
                    <a:pt x="1614" y="3665"/>
                  </a:moveTo>
                  <a:cubicBezTo>
                    <a:pt x="1522" y="3450"/>
                    <a:pt x="1473" y="3211"/>
                    <a:pt x="1474" y="2986"/>
                  </a:cubicBezTo>
                  <a:cubicBezTo>
                    <a:pt x="1475" y="2765"/>
                    <a:pt x="1516" y="2574"/>
                    <a:pt x="1590" y="2387"/>
                  </a:cubicBezTo>
                  <a:lnTo>
                    <a:pt x="684" y="2381"/>
                  </a:lnTo>
                  <a:cubicBezTo>
                    <a:pt x="352" y="2379"/>
                    <a:pt x="79" y="2649"/>
                    <a:pt x="77" y="2982"/>
                  </a:cubicBezTo>
                  <a:lnTo>
                    <a:pt x="76" y="3052"/>
                  </a:lnTo>
                  <a:cubicBezTo>
                    <a:pt x="74" y="3384"/>
                    <a:pt x="344" y="3657"/>
                    <a:pt x="676" y="3659"/>
                  </a:cubicBezTo>
                  <a:lnTo>
                    <a:pt x="1614" y="3665"/>
                  </a:lnTo>
                  <a:close/>
                  <a:moveTo>
                    <a:pt x="3806" y="1829"/>
                  </a:moveTo>
                  <a:lnTo>
                    <a:pt x="4357" y="2891"/>
                  </a:lnTo>
                  <a:cubicBezTo>
                    <a:pt x="4433" y="3036"/>
                    <a:pt x="4445" y="3199"/>
                    <a:pt x="4403" y="3346"/>
                  </a:cubicBezTo>
                  <a:cubicBezTo>
                    <a:pt x="4165" y="2832"/>
                    <a:pt x="3922" y="2332"/>
                    <a:pt x="3672" y="1846"/>
                  </a:cubicBezTo>
                  <a:lnTo>
                    <a:pt x="3806" y="1829"/>
                  </a:lnTo>
                  <a:close/>
                  <a:moveTo>
                    <a:pt x="3178" y="619"/>
                  </a:moveTo>
                  <a:lnTo>
                    <a:pt x="3526" y="1290"/>
                  </a:lnTo>
                  <a:lnTo>
                    <a:pt x="3389" y="1308"/>
                  </a:lnTo>
                  <a:cubicBezTo>
                    <a:pt x="3208" y="970"/>
                    <a:pt x="3022" y="640"/>
                    <a:pt x="2832" y="320"/>
                  </a:cubicBezTo>
                  <a:cubicBezTo>
                    <a:pt x="2976" y="370"/>
                    <a:pt x="3102" y="473"/>
                    <a:pt x="3178" y="619"/>
                  </a:cubicBezTo>
                  <a:close/>
                  <a:moveTo>
                    <a:pt x="2439" y="2245"/>
                  </a:moveTo>
                  <a:cubicBezTo>
                    <a:pt x="2612" y="2032"/>
                    <a:pt x="2833" y="1850"/>
                    <a:pt x="3066" y="1729"/>
                  </a:cubicBezTo>
                  <a:cubicBezTo>
                    <a:pt x="3296" y="1609"/>
                    <a:pt x="3516" y="1547"/>
                    <a:pt x="3751" y="1521"/>
                  </a:cubicBezTo>
                  <a:lnTo>
                    <a:pt x="3262" y="580"/>
                  </a:lnTo>
                  <a:cubicBezTo>
                    <a:pt x="3082" y="234"/>
                    <a:pt x="2653" y="98"/>
                    <a:pt x="2308" y="278"/>
                  </a:cubicBezTo>
                  <a:lnTo>
                    <a:pt x="2235" y="316"/>
                  </a:lnTo>
                  <a:cubicBezTo>
                    <a:pt x="1889" y="495"/>
                    <a:pt x="1754" y="924"/>
                    <a:pt x="1933" y="1269"/>
                  </a:cubicBezTo>
                  <a:lnTo>
                    <a:pt x="2439" y="2245"/>
                  </a:ln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lIns="91440" tIns="45720" rIns="91440" bIns="45720"/>
            <a:lstStyle/>
            <a:p>
              <a:pPr defTabSz="914308">
                <a:defRPr/>
              </a:pPr>
              <a:endParaRPr lang="ru-RU" sz="1867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4" name="Прямоугольник 73">
              <a:extLst/>
            </p:cNvPr>
            <p:cNvSpPr/>
            <p:nvPr/>
          </p:nvSpPr>
          <p:spPr>
            <a:xfrm>
              <a:off x="252281" y="5617023"/>
              <a:ext cx="287870" cy="232849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noFill/>
              <a:prstDash val="solid"/>
            </a:ln>
            <a:effectLst/>
          </p:spPr>
          <p:txBody>
            <a:bodyPr lIns="72000" tIns="72000" rIns="72000" bIns="72000" anchor="ctr"/>
            <a:lstStyle/>
            <a:p>
              <a:pPr algn="ctr" defTabSz="914308">
                <a:defRPr/>
              </a:pPr>
              <a:endParaRPr lang="ru-RU" sz="1200" kern="0" err="1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385" name="TextBox 384">
              <a:extLst/>
            </p:cNvPr>
            <p:cNvSpPr txBox="1"/>
            <p:nvPr/>
          </p:nvSpPr>
          <p:spPr>
            <a:xfrm>
              <a:off x="675620" y="5561986"/>
              <a:ext cx="1663721" cy="430724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defTabSz="914308">
                <a:defRPr/>
              </a:pPr>
              <a:r>
                <a:rPr lang="ru-RU" sz="933" kern="0" dirty="0">
                  <a:solidFill>
                    <a:srgbClr val="000000"/>
                  </a:solidFill>
                  <a:latin typeface="Arial"/>
                  <a:cs typeface="Arial"/>
                </a:rPr>
                <a:t>Регионы с наличием фармацевтического производства</a:t>
              </a:r>
            </a:p>
          </p:txBody>
        </p:sp>
        <p:grpSp>
          <p:nvGrpSpPr>
            <p:cNvPr id="387" name="Группа 79">
              <a:extLst/>
            </p:cNvPr>
            <p:cNvGrpSpPr/>
            <p:nvPr/>
          </p:nvGrpSpPr>
          <p:grpSpPr>
            <a:xfrm>
              <a:off x="231114" y="5986080"/>
              <a:ext cx="324000" cy="324000"/>
              <a:chOff x="-3986743" y="4201584"/>
              <a:chExt cx="1349375" cy="134778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389" name="Freeform 7">
                <a:extLst/>
              </p:cNvPr>
              <p:cNvSpPr>
                <a:spLocks/>
              </p:cNvSpPr>
              <p:nvPr/>
            </p:nvSpPr>
            <p:spPr bwMode="auto">
              <a:xfrm>
                <a:off x="-3986743" y="4201584"/>
                <a:ext cx="1349375" cy="1347788"/>
              </a:xfrm>
              <a:custGeom>
                <a:avLst/>
                <a:gdLst/>
                <a:ahLst/>
                <a:cxnLst>
                  <a:cxn ang="0">
                    <a:pos x="780" y="0"/>
                  </a:cxn>
                  <a:cxn ang="0">
                    <a:pos x="4215" y="0"/>
                  </a:cxn>
                  <a:cxn ang="0">
                    <a:pos x="4995" y="780"/>
                  </a:cxn>
                  <a:cxn ang="0">
                    <a:pos x="4995" y="4215"/>
                  </a:cxn>
                  <a:cxn ang="0">
                    <a:pos x="4215" y="4995"/>
                  </a:cxn>
                  <a:cxn ang="0">
                    <a:pos x="780" y="4995"/>
                  </a:cxn>
                  <a:cxn ang="0">
                    <a:pos x="0" y="4215"/>
                  </a:cxn>
                  <a:cxn ang="0">
                    <a:pos x="0" y="780"/>
                  </a:cxn>
                  <a:cxn ang="0">
                    <a:pos x="780" y="0"/>
                  </a:cxn>
                </a:cxnLst>
                <a:rect l="0" t="0" r="r" b="b"/>
                <a:pathLst>
                  <a:path w="4995" h="4995">
                    <a:moveTo>
                      <a:pt x="780" y="0"/>
                    </a:moveTo>
                    <a:lnTo>
                      <a:pt x="4215" y="0"/>
                    </a:lnTo>
                    <a:cubicBezTo>
                      <a:pt x="4644" y="0"/>
                      <a:pt x="4995" y="351"/>
                      <a:pt x="4995" y="780"/>
                    </a:cubicBezTo>
                    <a:lnTo>
                      <a:pt x="4995" y="4215"/>
                    </a:lnTo>
                    <a:cubicBezTo>
                      <a:pt x="4995" y="4644"/>
                      <a:pt x="4644" y="4995"/>
                      <a:pt x="4215" y="4995"/>
                    </a:cubicBezTo>
                    <a:lnTo>
                      <a:pt x="780" y="4995"/>
                    </a:lnTo>
                    <a:cubicBezTo>
                      <a:pt x="351" y="4995"/>
                      <a:pt x="0" y="4644"/>
                      <a:pt x="0" y="4215"/>
                    </a:cubicBezTo>
                    <a:lnTo>
                      <a:pt x="0" y="780"/>
                    </a:lnTo>
                    <a:cubicBezTo>
                      <a:pt x="0" y="351"/>
                      <a:pt x="351" y="0"/>
                      <a:pt x="780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00B0F0">
                      <a:shade val="30000"/>
                      <a:satMod val="115000"/>
                    </a:srgbClr>
                  </a:gs>
                  <a:gs pos="100000">
                    <a:srgbClr val="00B0F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ln w="63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lIns="91440" tIns="45720" rIns="91440" bIns="45720"/>
              <a:lstStyle/>
              <a:p>
                <a:pPr defTabSz="914308">
                  <a:defRPr/>
                </a:pPr>
                <a:endParaRPr lang="ru-RU" sz="1867" kern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90" name="Freeform 8">
                <a:extLst/>
              </p:cNvPr>
              <p:cNvSpPr>
                <a:spLocks noEditPoints="1"/>
              </p:cNvSpPr>
              <p:nvPr/>
            </p:nvSpPr>
            <p:spPr bwMode="auto">
              <a:xfrm>
                <a:off x="-3901016" y="4252378"/>
                <a:ext cx="1192214" cy="1211262"/>
              </a:xfrm>
              <a:custGeom>
                <a:avLst/>
                <a:gdLst/>
                <a:ahLst/>
                <a:cxnLst>
                  <a:cxn ang="0">
                    <a:pos x="4097" y="2858"/>
                  </a:cxn>
                  <a:cxn ang="0">
                    <a:pos x="2329" y="2834"/>
                  </a:cxn>
                  <a:cxn ang="0">
                    <a:pos x="2778" y="336"/>
                  </a:cxn>
                  <a:cxn ang="0">
                    <a:pos x="3313" y="1691"/>
                  </a:cxn>
                  <a:cxn ang="0">
                    <a:pos x="1421" y="1012"/>
                  </a:cxn>
                  <a:cxn ang="0">
                    <a:pos x="2264" y="2553"/>
                  </a:cxn>
                  <a:cxn ang="0">
                    <a:pos x="1929" y="2441"/>
                  </a:cxn>
                  <a:cxn ang="0">
                    <a:pos x="2778" y="336"/>
                  </a:cxn>
                  <a:cxn ang="0">
                    <a:pos x="3534" y="1733"/>
                  </a:cxn>
                  <a:cxn ang="0">
                    <a:pos x="3374" y="1699"/>
                  </a:cxn>
                  <a:cxn ang="0">
                    <a:pos x="4409" y="2862"/>
                  </a:cxn>
                  <a:cxn ang="0">
                    <a:pos x="3197" y="4006"/>
                  </a:cxn>
                  <a:cxn ang="0">
                    <a:pos x="1601" y="4482"/>
                  </a:cxn>
                  <a:cxn ang="0">
                    <a:pos x="8" y="3282"/>
                  </a:cxn>
                  <a:cxn ang="0">
                    <a:pos x="1366" y="990"/>
                  </a:cxn>
                  <a:cxn ang="0">
                    <a:pos x="2916" y="263"/>
                  </a:cxn>
                  <a:cxn ang="0">
                    <a:pos x="2844" y="3924"/>
                  </a:cxn>
                  <a:cxn ang="0">
                    <a:pos x="2798" y="3901"/>
                  </a:cxn>
                  <a:cxn ang="0">
                    <a:pos x="121" y="3643"/>
                  </a:cxn>
                  <a:cxn ang="0">
                    <a:pos x="2844" y="3924"/>
                  </a:cxn>
                  <a:cxn ang="0">
                    <a:pos x="2689" y="3830"/>
                  </a:cxn>
                  <a:cxn ang="0">
                    <a:pos x="164" y="3280"/>
                  </a:cxn>
                  <a:cxn ang="0">
                    <a:pos x="1596" y="2373"/>
                  </a:cxn>
                  <a:cxn ang="0">
                    <a:pos x="96" y="3281"/>
                  </a:cxn>
                  <a:cxn ang="0">
                    <a:pos x="2734" y="3862"/>
                  </a:cxn>
                  <a:cxn ang="0">
                    <a:pos x="4345" y="2861"/>
                  </a:cxn>
                  <a:cxn ang="0">
                    <a:pos x="4194" y="2859"/>
                  </a:cxn>
                  <a:cxn ang="0">
                    <a:pos x="3227" y="1751"/>
                  </a:cxn>
                  <a:cxn ang="0">
                    <a:pos x="3198" y="3941"/>
                  </a:cxn>
                  <a:cxn ang="0">
                    <a:pos x="3227" y="1751"/>
                  </a:cxn>
                  <a:cxn ang="0">
                    <a:pos x="3867" y="2280"/>
                  </a:cxn>
                  <a:cxn ang="0">
                    <a:pos x="3876" y="2311"/>
                  </a:cxn>
                  <a:cxn ang="0">
                    <a:pos x="2496" y="3308"/>
                  </a:cxn>
                  <a:cxn ang="0">
                    <a:pos x="959" y="2553"/>
                  </a:cxn>
                  <a:cxn ang="0">
                    <a:pos x="2362" y="3942"/>
                  </a:cxn>
                  <a:cxn ang="0">
                    <a:pos x="941" y="2579"/>
                  </a:cxn>
                  <a:cxn ang="0">
                    <a:pos x="959" y="2553"/>
                  </a:cxn>
                  <a:cxn ang="0">
                    <a:pos x="3238" y="1073"/>
                  </a:cxn>
                  <a:cxn ang="0">
                    <a:pos x="3235" y="1107"/>
                  </a:cxn>
                  <a:cxn ang="0">
                    <a:pos x="1446" y="1575"/>
                  </a:cxn>
                </a:cxnLst>
                <a:rect l="0" t="0" r="r" b="b"/>
                <a:pathLst>
                  <a:path w="4416" h="4488">
                    <a:moveTo>
                      <a:pt x="3227" y="1801"/>
                    </a:moveTo>
                    <a:cubicBezTo>
                      <a:pt x="3715" y="1807"/>
                      <a:pt x="4104" y="2280"/>
                      <a:pt x="4097" y="2858"/>
                    </a:cubicBezTo>
                    <a:cubicBezTo>
                      <a:pt x="4089" y="3435"/>
                      <a:pt x="3687" y="3898"/>
                      <a:pt x="3199" y="3891"/>
                    </a:cubicBezTo>
                    <a:cubicBezTo>
                      <a:pt x="2711" y="3885"/>
                      <a:pt x="2321" y="3412"/>
                      <a:pt x="2329" y="2834"/>
                    </a:cubicBezTo>
                    <a:cubicBezTo>
                      <a:pt x="2336" y="2257"/>
                      <a:pt x="2738" y="1794"/>
                      <a:pt x="3227" y="1801"/>
                    </a:cubicBezTo>
                    <a:close/>
                    <a:moveTo>
                      <a:pt x="2778" y="336"/>
                    </a:moveTo>
                    <a:cubicBezTo>
                      <a:pt x="3253" y="528"/>
                      <a:pt x="3464" y="1123"/>
                      <a:pt x="3267" y="1687"/>
                    </a:cubicBezTo>
                    <a:cubicBezTo>
                      <a:pt x="3282" y="1688"/>
                      <a:pt x="3298" y="1690"/>
                      <a:pt x="3313" y="1691"/>
                    </a:cubicBezTo>
                    <a:cubicBezTo>
                      <a:pt x="3514" y="1104"/>
                      <a:pt x="3293" y="485"/>
                      <a:pt x="2799" y="286"/>
                    </a:cubicBezTo>
                    <a:cubicBezTo>
                      <a:pt x="2284" y="78"/>
                      <a:pt x="1667" y="403"/>
                      <a:pt x="1421" y="1012"/>
                    </a:cubicBezTo>
                    <a:cubicBezTo>
                      <a:pt x="1175" y="1621"/>
                      <a:pt x="1394" y="2283"/>
                      <a:pt x="1909" y="2491"/>
                    </a:cubicBezTo>
                    <a:cubicBezTo>
                      <a:pt x="2024" y="2538"/>
                      <a:pt x="2144" y="2557"/>
                      <a:pt x="2264" y="2553"/>
                    </a:cubicBezTo>
                    <a:cubicBezTo>
                      <a:pt x="2268" y="2535"/>
                      <a:pt x="2272" y="2518"/>
                      <a:pt x="2277" y="2500"/>
                    </a:cubicBezTo>
                    <a:cubicBezTo>
                      <a:pt x="2160" y="2505"/>
                      <a:pt x="2042" y="2487"/>
                      <a:pt x="1929" y="2441"/>
                    </a:cubicBezTo>
                    <a:cubicBezTo>
                      <a:pt x="1437" y="2243"/>
                      <a:pt x="1229" y="1611"/>
                      <a:pt x="1463" y="1029"/>
                    </a:cubicBezTo>
                    <a:cubicBezTo>
                      <a:pt x="1698" y="448"/>
                      <a:pt x="2287" y="138"/>
                      <a:pt x="2778" y="336"/>
                    </a:cubicBezTo>
                    <a:close/>
                    <a:moveTo>
                      <a:pt x="3374" y="1699"/>
                    </a:moveTo>
                    <a:cubicBezTo>
                      <a:pt x="3430" y="1707"/>
                      <a:pt x="3481" y="1718"/>
                      <a:pt x="3534" y="1733"/>
                    </a:cubicBezTo>
                    <a:cubicBezTo>
                      <a:pt x="3669" y="1269"/>
                      <a:pt x="3511" y="772"/>
                      <a:pt x="3153" y="445"/>
                    </a:cubicBezTo>
                    <a:cubicBezTo>
                      <a:pt x="3434" y="745"/>
                      <a:pt x="3530" y="1230"/>
                      <a:pt x="3374" y="1699"/>
                    </a:cubicBezTo>
                    <a:close/>
                    <a:moveTo>
                      <a:pt x="3600" y="1753"/>
                    </a:moveTo>
                    <a:cubicBezTo>
                      <a:pt x="4077" y="1916"/>
                      <a:pt x="4416" y="2353"/>
                      <a:pt x="4409" y="2862"/>
                    </a:cubicBezTo>
                    <a:cubicBezTo>
                      <a:pt x="4401" y="3466"/>
                      <a:pt x="3910" y="3955"/>
                      <a:pt x="3290" y="4002"/>
                    </a:cubicBezTo>
                    <a:cubicBezTo>
                      <a:pt x="3260" y="4005"/>
                      <a:pt x="3229" y="4007"/>
                      <a:pt x="3197" y="4006"/>
                    </a:cubicBezTo>
                    <a:cubicBezTo>
                      <a:pt x="3089" y="4005"/>
                      <a:pt x="2984" y="3982"/>
                      <a:pt x="2887" y="3943"/>
                    </a:cubicBezTo>
                    <a:cubicBezTo>
                      <a:pt x="2607" y="4265"/>
                      <a:pt x="2137" y="4477"/>
                      <a:pt x="1601" y="4482"/>
                    </a:cubicBezTo>
                    <a:cubicBezTo>
                      <a:pt x="781" y="4488"/>
                      <a:pt x="100" y="4003"/>
                      <a:pt x="16" y="3376"/>
                    </a:cubicBezTo>
                    <a:cubicBezTo>
                      <a:pt x="11" y="3345"/>
                      <a:pt x="8" y="3313"/>
                      <a:pt x="8" y="3282"/>
                    </a:cubicBezTo>
                    <a:cubicBezTo>
                      <a:pt x="0" y="2746"/>
                      <a:pt x="665" y="2304"/>
                      <a:pt x="1506" y="2276"/>
                    </a:cubicBezTo>
                    <a:cubicBezTo>
                      <a:pt x="1246" y="1954"/>
                      <a:pt x="1177" y="1457"/>
                      <a:pt x="1366" y="990"/>
                    </a:cubicBezTo>
                    <a:cubicBezTo>
                      <a:pt x="1626" y="345"/>
                      <a:pt x="2279" y="0"/>
                      <a:pt x="2825" y="220"/>
                    </a:cubicBezTo>
                    <a:cubicBezTo>
                      <a:pt x="2857" y="233"/>
                      <a:pt x="2887" y="247"/>
                      <a:pt x="2916" y="263"/>
                    </a:cubicBezTo>
                    <a:cubicBezTo>
                      <a:pt x="3478" y="550"/>
                      <a:pt x="3764" y="1177"/>
                      <a:pt x="3600" y="1753"/>
                    </a:cubicBezTo>
                    <a:close/>
                    <a:moveTo>
                      <a:pt x="2844" y="3924"/>
                    </a:moveTo>
                    <a:cubicBezTo>
                      <a:pt x="2829" y="3916"/>
                      <a:pt x="2814" y="3909"/>
                      <a:pt x="2799" y="3901"/>
                    </a:cubicBezTo>
                    <a:lnTo>
                      <a:pt x="2798" y="3901"/>
                    </a:lnTo>
                    <a:cubicBezTo>
                      <a:pt x="2512" y="4119"/>
                      <a:pt x="2082" y="4260"/>
                      <a:pt x="1598" y="4264"/>
                    </a:cubicBezTo>
                    <a:cubicBezTo>
                      <a:pt x="930" y="4269"/>
                      <a:pt x="355" y="4011"/>
                      <a:pt x="121" y="3643"/>
                    </a:cubicBezTo>
                    <a:cubicBezTo>
                      <a:pt x="357" y="4101"/>
                      <a:pt x="932" y="4422"/>
                      <a:pt x="1601" y="4417"/>
                    </a:cubicBezTo>
                    <a:cubicBezTo>
                      <a:pt x="2110" y="4413"/>
                      <a:pt x="2560" y="4220"/>
                      <a:pt x="2844" y="3924"/>
                    </a:cubicBezTo>
                    <a:close/>
                    <a:moveTo>
                      <a:pt x="2734" y="3862"/>
                    </a:moveTo>
                    <a:cubicBezTo>
                      <a:pt x="2719" y="3852"/>
                      <a:pt x="2704" y="3841"/>
                      <a:pt x="2689" y="3830"/>
                    </a:cubicBezTo>
                    <a:cubicBezTo>
                      <a:pt x="2431" y="4031"/>
                      <a:pt x="2038" y="4162"/>
                      <a:pt x="1597" y="4165"/>
                    </a:cubicBezTo>
                    <a:cubicBezTo>
                      <a:pt x="812" y="4171"/>
                      <a:pt x="171" y="3775"/>
                      <a:pt x="164" y="3280"/>
                    </a:cubicBezTo>
                    <a:cubicBezTo>
                      <a:pt x="157" y="2785"/>
                      <a:pt x="787" y="2379"/>
                      <a:pt x="1571" y="2373"/>
                    </a:cubicBezTo>
                    <a:cubicBezTo>
                      <a:pt x="1579" y="2373"/>
                      <a:pt x="1588" y="2373"/>
                      <a:pt x="1596" y="2373"/>
                    </a:cubicBezTo>
                    <a:cubicBezTo>
                      <a:pt x="1581" y="2359"/>
                      <a:pt x="1567" y="2345"/>
                      <a:pt x="1554" y="2331"/>
                    </a:cubicBezTo>
                    <a:cubicBezTo>
                      <a:pt x="740" y="2343"/>
                      <a:pt x="89" y="2766"/>
                      <a:pt x="96" y="3281"/>
                    </a:cubicBezTo>
                    <a:cubicBezTo>
                      <a:pt x="104" y="3799"/>
                      <a:pt x="776" y="4214"/>
                      <a:pt x="1598" y="4208"/>
                    </a:cubicBezTo>
                    <a:cubicBezTo>
                      <a:pt x="2056" y="4204"/>
                      <a:pt x="2464" y="4070"/>
                      <a:pt x="2734" y="3862"/>
                    </a:cubicBezTo>
                    <a:close/>
                    <a:moveTo>
                      <a:pt x="3556" y="3932"/>
                    </a:moveTo>
                    <a:cubicBezTo>
                      <a:pt x="4012" y="3769"/>
                      <a:pt x="4339" y="3353"/>
                      <a:pt x="4345" y="2861"/>
                    </a:cubicBezTo>
                    <a:cubicBezTo>
                      <a:pt x="4352" y="2369"/>
                      <a:pt x="4036" y="1945"/>
                      <a:pt x="3584" y="1770"/>
                    </a:cubicBezTo>
                    <a:cubicBezTo>
                      <a:pt x="3947" y="1944"/>
                      <a:pt x="4200" y="2367"/>
                      <a:pt x="4194" y="2859"/>
                    </a:cubicBezTo>
                    <a:cubicBezTo>
                      <a:pt x="4187" y="3351"/>
                      <a:pt x="3923" y="3768"/>
                      <a:pt x="3556" y="3932"/>
                    </a:cubicBezTo>
                    <a:close/>
                    <a:moveTo>
                      <a:pt x="3227" y="1751"/>
                    </a:moveTo>
                    <a:cubicBezTo>
                      <a:pt x="3739" y="1758"/>
                      <a:pt x="4147" y="2254"/>
                      <a:pt x="4139" y="2858"/>
                    </a:cubicBezTo>
                    <a:cubicBezTo>
                      <a:pt x="4131" y="3463"/>
                      <a:pt x="3710" y="3948"/>
                      <a:pt x="3198" y="3941"/>
                    </a:cubicBezTo>
                    <a:cubicBezTo>
                      <a:pt x="2687" y="3934"/>
                      <a:pt x="2279" y="3438"/>
                      <a:pt x="2287" y="2834"/>
                    </a:cubicBezTo>
                    <a:cubicBezTo>
                      <a:pt x="2295" y="2229"/>
                      <a:pt x="2716" y="1744"/>
                      <a:pt x="3227" y="1751"/>
                    </a:cubicBezTo>
                    <a:close/>
                    <a:moveTo>
                      <a:pt x="2495" y="3289"/>
                    </a:moveTo>
                    <a:cubicBezTo>
                      <a:pt x="2592" y="3091"/>
                      <a:pt x="3590" y="2350"/>
                      <a:pt x="3867" y="2280"/>
                    </a:cubicBezTo>
                    <a:lnTo>
                      <a:pt x="3890" y="2290"/>
                    </a:lnTo>
                    <a:lnTo>
                      <a:pt x="3876" y="2311"/>
                    </a:lnTo>
                    <a:cubicBezTo>
                      <a:pt x="3460" y="2524"/>
                      <a:pt x="2910" y="2947"/>
                      <a:pt x="2520" y="3303"/>
                    </a:cubicBezTo>
                    <a:lnTo>
                      <a:pt x="2496" y="3308"/>
                    </a:lnTo>
                    <a:lnTo>
                      <a:pt x="2495" y="3289"/>
                    </a:lnTo>
                    <a:close/>
                    <a:moveTo>
                      <a:pt x="959" y="2553"/>
                    </a:moveTo>
                    <a:cubicBezTo>
                      <a:pt x="1231" y="2646"/>
                      <a:pt x="2270" y="3639"/>
                      <a:pt x="2374" y="3919"/>
                    </a:cubicBezTo>
                    <a:lnTo>
                      <a:pt x="2362" y="3942"/>
                    </a:lnTo>
                    <a:lnTo>
                      <a:pt x="2333" y="3928"/>
                    </a:lnTo>
                    <a:cubicBezTo>
                      <a:pt x="2029" y="3512"/>
                      <a:pt x="1438" y="2965"/>
                      <a:pt x="941" y="2579"/>
                    </a:cubicBezTo>
                    <a:lnTo>
                      <a:pt x="933" y="2554"/>
                    </a:lnTo>
                    <a:lnTo>
                      <a:pt x="959" y="2553"/>
                    </a:lnTo>
                    <a:close/>
                    <a:moveTo>
                      <a:pt x="1453" y="1555"/>
                    </a:moveTo>
                    <a:cubicBezTo>
                      <a:pt x="1629" y="1393"/>
                      <a:pt x="2931" y="1035"/>
                      <a:pt x="3238" y="1073"/>
                    </a:cubicBezTo>
                    <a:lnTo>
                      <a:pt x="3258" y="1092"/>
                    </a:lnTo>
                    <a:lnTo>
                      <a:pt x="3235" y="1107"/>
                    </a:lnTo>
                    <a:cubicBezTo>
                      <a:pt x="2730" y="1160"/>
                      <a:pt x="2007" y="1371"/>
                      <a:pt x="1473" y="1579"/>
                    </a:cubicBezTo>
                    <a:lnTo>
                      <a:pt x="1446" y="1575"/>
                    </a:lnTo>
                    <a:lnTo>
                      <a:pt x="1453" y="1555"/>
                    </a:lnTo>
                    <a:close/>
                  </a:path>
                </a:pathLst>
              </a:custGeom>
              <a:solidFill>
                <a:srgbClr val="FFFFFF"/>
              </a:solidFill>
              <a:ln w="1588" cap="flat">
                <a:noFill/>
                <a:prstDash val="solid"/>
                <a:miter lim="800000"/>
                <a:headEnd/>
                <a:tailEnd/>
              </a:ln>
            </p:spPr>
            <p:txBody>
              <a:bodyPr lIns="91440" tIns="45720" rIns="91440" bIns="45720"/>
              <a:lstStyle/>
              <a:p>
                <a:pPr defTabSz="914308">
                  <a:defRPr/>
                </a:pPr>
                <a:endParaRPr lang="ru-RU" sz="1867" kern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388" name="TextBox 387">
              <a:extLst/>
            </p:cNvPr>
            <p:cNvSpPr txBox="1"/>
            <p:nvPr/>
          </p:nvSpPr>
          <p:spPr>
            <a:xfrm>
              <a:off x="701020" y="6031917"/>
              <a:ext cx="1663721" cy="287149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defTabSz="914308">
                <a:defRPr/>
              </a:pPr>
              <a:r>
                <a:rPr lang="ru-RU" sz="933" kern="0" dirty="0">
                  <a:solidFill>
                    <a:srgbClr val="000000"/>
                  </a:solidFill>
                  <a:latin typeface="Arial"/>
                  <a:cs typeface="Arial"/>
                </a:rPr>
                <a:t>Размер символа отражает размер выпуска продукции</a:t>
              </a:r>
            </a:p>
          </p:txBody>
        </p:sp>
      </p:grpSp>
      <p:grpSp>
        <p:nvGrpSpPr>
          <p:cNvPr id="406" name="Группа 118">
            <a:extLst/>
          </p:cNvPr>
          <p:cNvGrpSpPr/>
          <p:nvPr/>
        </p:nvGrpSpPr>
        <p:grpSpPr>
          <a:xfrm>
            <a:off x="9032053" y="3449549"/>
            <a:ext cx="789963" cy="834433"/>
            <a:chOff x="238034" y="4702745"/>
            <a:chExt cx="879566" cy="87956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07" name="Freeform 7">
              <a:extLst/>
            </p:cNvPr>
            <p:cNvSpPr>
              <a:spLocks/>
            </p:cNvSpPr>
            <p:nvPr/>
          </p:nvSpPr>
          <p:spPr bwMode="auto">
            <a:xfrm>
              <a:off x="238034" y="4702745"/>
              <a:ext cx="879566" cy="879566"/>
            </a:xfrm>
            <a:custGeom>
              <a:avLst/>
              <a:gdLst/>
              <a:ahLst/>
              <a:cxnLst>
                <a:cxn ang="0">
                  <a:pos x="780" y="0"/>
                </a:cxn>
                <a:cxn ang="0">
                  <a:pos x="4215" y="0"/>
                </a:cxn>
                <a:cxn ang="0">
                  <a:pos x="4995" y="780"/>
                </a:cxn>
                <a:cxn ang="0">
                  <a:pos x="4995" y="4215"/>
                </a:cxn>
                <a:cxn ang="0">
                  <a:pos x="4215" y="4995"/>
                </a:cxn>
                <a:cxn ang="0">
                  <a:pos x="780" y="4995"/>
                </a:cxn>
                <a:cxn ang="0">
                  <a:pos x="0" y="4215"/>
                </a:cxn>
                <a:cxn ang="0">
                  <a:pos x="0" y="780"/>
                </a:cxn>
                <a:cxn ang="0">
                  <a:pos x="780" y="0"/>
                </a:cxn>
              </a:cxnLst>
              <a:rect l="0" t="0" r="r" b="b"/>
              <a:pathLst>
                <a:path w="4995" h="4995">
                  <a:moveTo>
                    <a:pt x="780" y="0"/>
                  </a:moveTo>
                  <a:lnTo>
                    <a:pt x="4215" y="0"/>
                  </a:lnTo>
                  <a:cubicBezTo>
                    <a:pt x="4644" y="0"/>
                    <a:pt x="4995" y="351"/>
                    <a:pt x="4995" y="780"/>
                  </a:cubicBezTo>
                  <a:lnTo>
                    <a:pt x="4995" y="4215"/>
                  </a:lnTo>
                  <a:cubicBezTo>
                    <a:pt x="4995" y="4644"/>
                    <a:pt x="4644" y="4995"/>
                    <a:pt x="4215" y="4995"/>
                  </a:cubicBezTo>
                  <a:lnTo>
                    <a:pt x="780" y="4995"/>
                  </a:lnTo>
                  <a:cubicBezTo>
                    <a:pt x="351" y="4995"/>
                    <a:pt x="0" y="4644"/>
                    <a:pt x="0" y="4215"/>
                  </a:cubicBezTo>
                  <a:lnTo>
                    <a:pt x="0" y="780"/>
                  </a:lnTo>
                  <a:cubicBezTo>
                    <a:pt x="0" y="351"/>
                    <a:pt x="351" y="0"/>
                    <a:pt x="78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8" name="Freeform 8">
              <a:extLst/>
            </p:cNvPr>
            <p:cNvSpPr>
              <a:spLocks noEditPoints="1"/>
            </p:cNvSpPr>
            <p:nvPr/>
          </p:nvSpPr>
          <p:spPr bwMode="auto">
            <a:xfrm>
              <a:off x="678076" y="5097732"/>
              <a:ext cx="419511" cy="426716"/>
            </a:xfrm>
            <a:custGeom>
              <a:avLst/>
              <a:gdLst/>
              <a:ahLst/>
              <a:cxnLst>
                <a:cxn ang="0">
                  <a:pos x="4097" y="2858"/>
                </a:cxn>
                <a:cxn ang="0">
                  <a:pos x="2329" y="2834"/>
                </a:cxn>
                <a:cxn ang="0">
                  <a:pos x="2778" y="336"/>
                </a:cxn>
                <a:cxn ang="0">
                  <a:pos x="3313" y="1691"/>
                </a:cxn>
                <a:cxn ang="0">
                  <a:pos x="1421" y="1012"/>
                </a:cxn>
                <a:cxn ang="0">
                  <a:pos x="2264" y="2553"/>
                </a:cxn>
                <a:cxn ang="0">
                  <a:pos x="1929" y="2441"/>
                </a:cxn>
                <a:cxn ang="0">
                  <a:pos x="2778" y="336"/>
                </a:cxn>
                <a:cxn ang="0">
                  <a:pos x="3534" y="1733"/>
                </a:cxn>
                <a:cxn ang="0">
                  <a:pos x="3374" y="1699"/>
                </a:cxn>
                <a:cxn ang="0">
                  <a:pos x="4409" y="2862"/>
                </a:cxn>
                <a:cxn ang="0">
                  <a:pos x="3197" y="4006"/>
                </a:cxn>
                <a:cxn ang="0">
                  <a:pos x="1601" y="4482"/>
                </a:cxn>
                <a:cxn ang="0">
                  <a:pos x="8" y="3282"/>
                </a:cxn>
                <a:cxn ang="0">
                  <a:pos x="1366" y="990"/>
                </a:cxn>
                <a:cxn ang="0">
                  <a:pos x="2916" y="263"/>
                </a:cxn>
                <a:cxn ang="0">
                  <a:pos x="2844" y="3924"/>
                </a:cxn>
                <a:cxn ang="0">
                  <a:pos x="2798" y="3901"/>
                </a:cxn>
                <a:cxn ang="0">
                  <a:pos x="121" y="3643"/>
                </a:cxn>
                <a:cxn ang="0">
                  <a:pos x="2844" y="3924"/>
                </a:cxn>
                <a:cxn ang="0">
                  <a:pos x="2689" y="3830"/>
                </a:cxn>
                <a:cxn ang="0">
                  <a:pos x="164" y="3280"/>
                </a:cxn>
                <a:cxn ang="0">
                  <a:pos x="1596" y="2373"/>
                </a:cxn>
                <a:cxn ang="0">
                  <a:pos x="96" y="3281"/>
                </a:cxn>
                <a:cxn ang="0">
                  <a:pos x="2734" y="3862"/>
                </a:cxn>
                <a:cxn ang="0">
                  <a:pos x="4345" y="2861"/>
                </a:cxn>
                <a:cxn ang="0">
                  <a:pos x="4194" y="2859"/>
                </a:cxn>
                <a:cxn ang="0">
                  <a:pos x="3227" y="1751"/>
                </a:cxn>
                <a:cxn ang="0">
                  <a:pos x="3198" y="3941"/>
                </a:cxn>
                <a:cxn ang="0">
                  <a:pos x="3227" y="1751"/>
                </a:cxn>
                <a:cxn ang="0">
                  <a:pos x="3867" y="2280"/>
                </a:cxn>
                <a:cxn ang="0">
                  <a:pos x="3876" y="2311"/>
                </a:cxn>
                <a:cxn ang="0">
                  <a:pos x="2496" y="3308"/>
                </a:cxn>
                <a:cxn ang="0">
                  <a:pos x="959" y="2553"/>
                </a:cxn>
                <a:cxn ang="0">
                  <a:pos x="2362" y="3942"/>
                </a:cxn>
                <a:cxn ang="0">
                  <a:pos x="941" y="2579"/>
                </a:cxn>
                <a:cxn ang="0">
                  <a:pos x="959" y="2553"/>
                </a:cxn>
                <a:cxn ang="0">
                  <a:pos x="3238" y="1073"/>
                </a:cxn>
                <a:cxn ang="0">
                  <a:pos x="3235" y="1107"/>
                </a:cxn>
                <a:cxn ang="0">
                  <a:pos x="1446" y="1575"/>
                </a:cxn>
              </a:cxnLst>
              <a:rect l="0" t="0" r="r" b="b"/>
              <a:pathLst>
                <a:path w="4416" h="4488">
                  <a:moveTo>
                    <a:pt x="3227" y="1801"/>
                  </a:moveTo>
                  <a:cubicBezTo>
                    <a:pt x="3715" y="1807"/>
                    <a:pt x="4104" y="2280"/>
                    <a:pt x="4097" y="2858"/>
                  </a:cubicBezTo>
                  <a:cubicBezTo>
                    <a:pt x="4089" y="3435"/>
                    <a:pt x="3687" y="3898"/>
                    <a:pt x="3199" y="3891"/>
                  </a:cubicBezTo>
                  <a:cubicBezTo>
                    <a:pt x="2711" y="3885"/>
                    <a:pt x="2321" y="3412"/>
                    <a:pt x="2329" y="2834"/>
                  </a:cubicBezTo>
                  <a:cubicBezTo>
                    <a:pt x="2336" y="2257"/>
                    <a:pt x="2738" y="1794"/>
                    <a:pt x="3227" y="1801"/>
                  </a:cubicBezTo>
                  <a:close/>
                  <a:moveTo>
                    <a:pt x="2778" y="336"/>
                  </a:moveTo>
                  <a:cubicBezTo>
                    <a:pt x="3253" y="528"/>
                    <a:pt x="3464" y="1123"/>
                    <a:pt x="3267" y="1687"/>
                  </a:cubicBezTo>
                  <a:cubicBezTo>
                    <a:pt x="3282" y="1688"/>
                    <a:pt x="3298" y="1690"/>
                    <a:pt x="3313" y="1691"/>
                  </a:cubicBezTo>
                  <a:cubicBezTo>
                    <a:pt x="3514" y="1104"/>
                    <a:pt x="3293" y="485"/>
                    <a:pt x="2799" y="286"/>
                  </a:cubicBezTo>
                  <a:cubicBezTo>
                    <a:pt x="2284" y="78"/>
                    <a:pt x="1667" y="403"/>
                    <a:pt x="1421" y="1012"/>
                  </a:cubicBezTo>
                  <a:cubicBezTo>
                    <a:pt x="1175" y="1621"/>
                    <a:pt x="1394" y="2283"/>
                    <a:pt x="1909" y="2491"/>
                  </a:cubicBezTo>
                  <a:cubicBezTo>
                    <a:pt x="2024" y="2538"/>
                    <a:pt x="2144" y="2557"/>
                    <a:pt x="2264" y="2553"/>
                  </a:cubicBezTo>
                  <a:cubicBezTo>
                    <a:pt x="2268" y="2535"/>
                    <a:pt x="2272" y="2518"/>
                    <a:pt x="2277" y="2500"/>
                  </a:cubicBezTo>
                  <a:cubicBezTo>
                    <a:pt x="2160" y="2505"/>
                    <a:pt x="2042" y="2487"/>
                    <a:pt x="1929" y="2441"/>
                  </a:cubicBezTo>
                  <a:cubicBezTo>
                    <a:pt x="1437" y="2243"/>
                    <a:pt x="1229" y="1611"/>
                    <a:pt x="1463" y="1029"/>
                  </a:cubicBezTo>
                  <a:cubicBezTo>
                    <a:pt x="1698" y="448"/>
                    <a:pt x="2287" y="138"/>
                    <a:pt x="2778" y="336"/>
                  </a:cubicBezTo>
                  <a:close/>
                  <a:moveTo>
                    <a:pt x="3374" y="1699"/>
                  </a:moveTo>
                  <a:cubicBezTo>
                    <a:pt x="3430" y="1707"/>
                    <a:pt x="3481" y="1718"/>
                    <a:pt x="3534" y="1733"/>
                  </a:cubicBezTo>
                  <a:cubicBezTo>
                    <a:pt x="3669" y="1269"/>
                    <a:pt x="3511" y="772"/>
                    <a:pt x="3153" y="445"/>
                  </a:cubicBezTo>
                  <a:cubicBezTo>
                    <a:pt x="3434" y="745"/>
                    <a:pt x="3530" y="1230"/>
                    <a:pt x="3374" y="1699"/>
                  </a:cubicBezTo>
                  <a:close/>
                  <a:moveTo>
                    <a:pt x="3600" y="1753"/>
                  </a:moveTo>
                  <a:cubicBezTo>
                    <a:pt x="4077" y="1916"/>
                    <a:pt x="4416" y="2353"/>
                    <a:pt x="4409" y="2862"/>
                  </a:cubicBezTo>
                  <a:cubicBezTo>
                    <a:pt x="4401" y="3466"/>
                    <a:pt x="3910" y="3955"/>
                    <a:pt x="3290" y="4002"/>
                  </a:cubicBezTo>
                  <a:cubicBezTo>
                    <a:pt x="3260" y="4005"/>
                    <a:pt x="3229" y="4007"/>
                    <a:pt x="3197" y="4006"/>
                  </a:cubicBezTo>
                  <a:cubicBezTo>
                    <a:pt x="3089" y="4005"/>
                    <a:pt x="2984" y="3982"/>
                    <a:pt x="2887" y="3943"/>
                  </a:cubicBezTo>
                  <a:cubicBezTo>
                    <a:pt x="2607" y="4265"/>
                    <a:pt x="2137" y="4477"/>
                    <a:pt x="1601" y="4482"/>
                  </a:cubicBezTo>
                  <a:cubicBezTo>
                    <a:pt x="781" y="4488"/>
                    <a:pt x="100" y="4003"/>
                    <a:pt x="16" y="3376"/>
                  </a:cubicBezTo>
                  <a:cubicBezTo>
                    <a:pt x="11" y="3345"/>
                    <a:pt x="8" y="3313"/>
                    <a:pt x="8" y="3282"/>
                  </a:cubicBezTo>
                  <a:cubicBezTo>
                    <a:pt x="0" y="2746"/>
                    <a:pt x="665" y="2304"/>
                    <a:pt x="1506" y="2276"/>
                  </a:cubicBezTo>
                  <a:cubicBezTo>
                    <a:pt x="1246" y="1954"/>
                    <a:pt x="1177" y="1457"/>
                    <a:pt x="1366" y="990"/>
                  </a:cubicBezTo>
                  <a:cubicBezTo>
                    <a:pt x="1626" y="345"/>
                    <a:pt x="2279" y="0"/>
                    <a:pt x="2825" y="220"/>
                  </a:cubicBezTo>
                  <a:cubicBezTo>
                    <a:pt x="2857" y="233"/>
                    <a:pt x="2887" y="247"/>
                    <a:pt x="2916" y="263"/>
                  </a:cubicBezTo>
                  <a:cubicBezTo>
                    <a:pt x="3478" y="550"/>
                    <a:pt x="3764" y="1177"/>
                    <a:pt x="3600" y="1753"/>
                  </a:cubicBezTo>
                  <a:close/>
                  <a:moveTo>
                    <a:pt x="2844" y="3924"/>
                  </a:moveTo>
                  <a:cubicBezTo>
                    <a:pt x="2829" y="3916"/>
                    <a:pt x="2814" y="3909"/>
                    <a:pt x="2799" y="3901"/>
                  </a:cubicBezTo>
                  <a:lnTo>
                    <a:pt x="2798" y="3901"/>
                  </a:lnTo>
                  <a:cubicBezTo>
                    <a:pt x="2512" y="4119"/>
                    <a:pt x="2082" y="4260"/>
                    <a:pt x="1598" y="4264"/>
                  </a:cubicBezTo>
                  <a:cubicBezTo>
                    <a:pt x="930" y="4269"/>
                    <a:pt x="355" y="4011"/>
                    <a:pt x="121" y="3643"/>
                  </a:cubicBezTo>
                  <a:cubicBezTo>
                    <a:pt x="357" y="4101"/>
                    <a:pt x="932" y="4422"/>
                    <a:pt x="1601" y="4417"/>
                  </a:cubicBezTo>
                  <a:cubicBezTo>
                    <a:pt x="2110" y="4413"/>
                    <a:pt x="2560" y="4220"/>
                    <a:pt x="2844" y="3924"/>
                  </a:cubicBezTo>
                  <a:close/>
                  <a:moveTo>
                    <a:pt x="2734" y="3862"/>
                  </a:moveTo>
                  <a:cubicBezTo>
                    <a:pt x="2719" y="3852"/>
                    <a:pt x="2704" y="3841"/>
                    <a:pt x="2689" y="3830"/>
                  </a:cubicBezTo>
                  <a:cubicBezTo>
                    <a:pt x="2431" y="4031"/>
                    <a:pt x="2038" y="4162"/>
                    <a:pt x="1597" y="4165"/>
                  </a:cubicBezTo>
                  <a:cubicBezTo>
                    <a:pt x="812" y="4171"/>
                    <a:pt x="171" y="3775"/>
                    <a:pt x="164" y="3280"/>
                  </a:cubicBezTo>
                  <a:cubicBezTo>
                    <a:pt x="157" y="2785"/>
                    <a:pt x="787" y="2379"/>
                    <a:pt x="1571" y="2373"/>
                  </a:cubicBezTo>
                  <a:cubicBezTo>
                    <a:pt x="1579" y="2373"/>
                    <a:pt x="1588" y="2373"/>
                    <a:pt x="1596" y="2373"/>
                  </a:cubicBezTo>
                  <a:cubicBezTo>
                    <a:pt x="1581" y="2359"/>
                    <a:pt x="1567" y="2345"/>
                    <a:pt x="1554" y="2331"/>
                  </a:cubicBezTo>
                  <a:cubicBezTo>
                    <a:pt x="740" y="2343"/>
                    <a:pt x="89" y="2766"/>
                    <a:pt x="96" y="3281"/>
                  </a:cubicBezTo>
                  <a:cubicBezTo>
                    <a:pt x="104" y="3799"/>
                    <a:pt x="776" y="4214"/>
                    <a:pt x="1598" y="4208"/>
                  </a:cubicBezTo>
                  <a:cubicBezTo>
                    <a:pt x="2056" y="4204"/>
                    <a:pt x="2464" y="4070"/>
                    <a:pt x="2734" y="3862"/>
                  </a:cubicBezTo>
                  <a:close/>
                  <a:moveTo>
                    <a:pt x="3556" y="3932"/>
                  </a:moveTo>
                  <a:cubicBezTo>
                    <a:pt x="4012" y="3769"/>
                    <a:pt x="4339" y="3353"/>
                    <a:pt x="4345" y="2861"/>
                  </a:cubicBezTo>
                  <a:cubicBezTo>
                    <a:pt x="4352" y="2369"/>
                    <a:pt x="4036" y="1945"/>
                    <a:pt x="3584" y="1770"/>
                  </a:cubicBezTo>
                  <a:cubicBezTo>
                    <a:pt x="3947" y="1944"/>
                    <a:pt x="4200" y="2367"/>
                    <a:pt x="4194" y="2859"/>
                  </a:cubicBezTo>
                  <a:cubicBezTo>
                    <a:pt x="4187" y="3351"/>
                    <a:pt x="3923" y="3768"/>
                    <a:pt x="3556" y="3932"/>
                  </a:cubicBezTo>
                  <a:close/>
                  <a:moveTo>
                    <a:pt x="3227" y="1751"/>
                  </a:moveTo>
                  <a:cubicBezTo>
                    <a:pt x="3739" y="1758"/>
                    <a:pt x="4147" y="2254"/>
                    <a:pt x="4139" y="2858"/>
                  </a:cubicBezTo>
                  <a:cubicBezTo>
                    <a:pt x="4131" y="3463"/>
                    <a:pt x="3710" y="3948"/>
                    <a:pt x="3198" y="3941"/>
                  </a:cubicBezTo>
                  <a:cubicBezTo>
                    <a:pt x="2687" y="3934"/>
                    <a:pt x="2279" y="3438"/>
                    <a:pt x="2287" y="2834"/>
                  </a:cubicBezTo>
                  <a:cubicBezTo>
                    <a:pt x="2295" y="2229"/>
                    <a:pt x="2716" y="1744"/>
                    <a:pt x="3227" y="1751"/>
                  </a:cubicBezTo>
                  <a:close/>
                  <a:moveTo>
                    <a:pt x="2495" y="3289"/>
                  </a:moveTo>
                  <a:cubicBezTo>
                    <a:pt x="2592" y="3091"/>
                    <a:pt x="3590" y="2350"/>
                    <a:pt x="3867" y="2280"/>
                  </a:cubicBezTo>
                  <a:lnTo>
                    <a:pt x="3890" y="2290"/>
                  </a:lnTo>
                  <a:lnTo>
                    <a:pt x="3876" y="2311"/>
                  </a:lnTo>
                  <a:cubicBezTo>
                    <a:pt x="3460" y="2524"/>
                    <a:pt x="2910" y="2947"/>
                    <a:pt x="2520" y="3303"/>
                  </a:cubicBezTo>
                  <a:lnTo>
                    <a:pt x="2496" y="3308"/>
                  </a:lnTo>
                  <a:lnTo>
                    <a:pt x="2495" y="3289"/>
                  </a:lnTo>
                  <a:close/>
                  <a:moveTo>
                    <a:pt x="959" y="2553"/>
                  </a:moveTo>
                  <a:cubicBezTo>
                    <a:pt x="1231" y="2646"/>
                    <a:pt x="2270" y="3639"/>
                    <a:pt x="2374" y="3919"/>
                  </a:cubicBezTo>
                  <a:lnTo>
                    <a:pt x="2362" y="3942"/>
                  </a:lnTo>
                  <a:lnTo>
                    <a:pt x="2333" y="3928"/>
                  </a:lnTo>
                  <a:cubicBezTo>
                    <a:pt x="2029" y="3512"/>
                    <a:pt x="1438" y="2965"/>
                    <a:pt x="941" y="2579"/>
                  </a:cubicBezTo>
                  <a:lnTo>
                    <a:pt x="933" y="2554"/>
                  </a:lnTo>
                  <a:lnTo>
                    <a:pt x="959" y="2553"/>
                  </a:lnTo>
                  <a:close/>
                  <a:moveTo>
                    <a:pt x="1453" y="1555"/>
                  </a:moveTo>
                  <a:cubicBezTo>
                    <a:pt x="1629" y="1393"/>
                    <a:pt x="2931" y="1035"/>
                    <a:pt x="3238" y="1073"/>
                  </a:cubicBezTo>
                  <a:lnTo>
                    <a:pt x="3258" y="1092"/>
                  </a:lnTo>
                  <a:lnTo>
                    <a:pt x="3235" y="1107"/>
                  </a:lnTo>
                  <a:cubicBezTo>
                    <a:pt x="2730" y="1160"/>
                    <a:pt x="2007" y="1371"/>
                    <a:pt x="1473" y="1579"/>
                  </a:cubicBezTo>
                  <a:lnTo>
                    <a:pt x="1446" y="1575"/>
                  </a:lnTo>
                  <a:lnTo>
                    <a:pt x="1453" y="1555"/>
                  </a:lnTo>
                  <a:close/>
                </a:path>
              </a:pathLst>
            </a:custGeom>
            <a:solidFill>
              <a:srgbClr val="FFFFFF"/>
            </a:solidFill>
            <a:ln w="1588" cap="flat">
              <a:noFill/>
              <a:prstDash val="solid"/>
              <a:miter lim="800000"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9" name="Freeform 9">
              <a:extLst/>
            </p:cNvPr>
            <p:cNvSpPr>
              <a:spLocks noEditPoints="1"/>
            </p:cNvSpPr>
            <p:nvPr/>
          </p:nvSpPr>
          <p:spPr bwMode="auto">
            <a:xfrm>
              <a:off x="614403" y="4711645"/>
              <a:ext cx="451795" cy="394479"/>
            </a:xfrm>
            <a:custGeom>
              <a:avLst/>
              <a:gdLst/>
              <a:ahLst/>
              <a:cxnLst>
                <a:cxn ang="0">
                  <a:pos x="3835" y="1514"/>
                </a:cxn>
                <a:cxn ang="0">
                  <a:pos x="3845" y="1533"/>
                </a:cxn>
                <a:cxn ang="0">
                  <a:pos x="4527" y="2848"/>
                </a:cxn>
                <a:cxn ang="0">
                  <a:pos x="4194" y="3901"/>
                </a:cxn>
                <a:cxn ang="0">
                  <a:pos x="4113" y="3943"/>
                </a:cxn>
                <a:cxn ang="0">
                  <a:pos x="3116" y="3702"/>
                </a:cxn>
                <a:cxn ang="0">
                  <a:pos x="2891" y="3739"/>
                </a:cxn>
                <a:cxn ang="0">
                  <a:pos x="1663" y="3732"/>
                </a:cxn>
                <a:cxn ang="0">
                  <a:pos x="1645" y="3732"/>
                </a:cxn>
                <a:cxn ang="0">
                  <a:pos x="665" y="3726"/>
                </a:cxn>
                <a:cxn ang="0">
                  <a:pos x="2" y="3055"/>
                </a:cxn>
                <a:cxn ang="0">
                  <a:pos x="2" y="2977"/>
                </a:cxn>
                <a:cxn ang="0">
                  <a:pos x="673" y="2315"/>
                </a:cxn>
                <a:cxn ang="0">
                  <a:pos x="1617" y="2320"/>
                </a:cxn>
                <a:cxn ang="0">
                  <a:pos x="1636" y="2321"/>
                </a:cxn>
                <a:cxn ang="0">
                  <a:pos x="2393" y="2325"/>
                </a:cxn>
                <a:cxn ang="0">
                  <a:pos x="2387" y="2313"/>
                </a:cxn>
                <a:cxn ang="0">
                  <a:pos x="1857" y="1294"/>
                </a:cxn>
                <a:cxn ang="0">
                  <a:pos x="2191" y="240"/>
                </a:cxn>
                <a:cxn ang="0">
                  <a:pos x="2272" y="198"/>
                </a:cxn>
                <a:cxn ang="0">
                  <a:pos x="3325" y="532"/>
                </a:cxn>
                <a:cxn ang="0">
                  <a:pos x="3835" y="1514"/>
                </a:cxn>
                <a:cxn ang="0">
                  <a:pos x="2531" y="2591"/>
                </a:cxn>
                <a:cxn ang="0">
                  <a:pos x="2469" y="2471"/>
                </a:cxn>
                <a:cxn ang="0">
                  <a:pos x="1844" y="2467"/>
                </a:cxn>
                <a:cxn ang="0">
                  <a:pos x="1804" y="2575"/>
                </a:cxn>
                <a:cxn ang="0">
                  <a:pos x="2531" y="2591"/>
                </a:cxn>
                <a:cxn ang="0">
                  <a:pos x="680" y="2460"/>
                </a:cxn>
                <a:cxn ang="0">
                  <a:pos x="1326" y="2464"/>
                </a:cxn>
                <a:cxn ang="0">
                  <a:pos x="1285" y="2575"/>
                </a:cxn>
                <a:cxn ang="0">
                  <a:pos x="317" y="2603"/>
                </a:cxn>
                <a:cxn ang="0">
                  <a:pos x="680" y="2460"/>
                </a:cxn>
                <a:cxn ang="0">
                  <a:pos x="1614" y="3665"/>
                </a:cxn>
                <a:cxn ang="0">
                  <a:pos x="1474" y="2986"/>
                </a:cxn>
                <a:cxn ang="0">
                  <a:pos x="1590" y="2387"/>
                </a:cxn>
                <a:cxn ang="0">
                  <a:pos x="684" y="2381"/>
                </a:cxn>
                <a:cxn ang="0">
                  <a:pos x="77" y="2982"/>
                </a:cxn>
                <a:cxn ang="0">
                  <a:pos x="76" y="3052"/>
                </a:cxn>
                <a:cxn ang="0">
                  <a:pos x="676" y="3659"/>
                </a:cxn>
                <a:cxn ang="0">
                  <a:pos x="1614" y="3665"/>
                </a:cxn>
                <a:cxn ang="0">
                  <a:pos x="3806" y="1829"/>
                </a:cxn>
                <a:cxn ang="0">
                  <a:pos x="4357" y="2891"/>
                </a:cxn>
                <a:cxn ang="0">
                  <a:pos x="4403" y="3346"/>
                </a:cxn>
                <a:cxn ang="0">
                  <a:pos x="3672" y="1846"/>
                </a:cxn>
                <a:cxn ang="0">
                  <a:pos x="3806" y="1829"/>
                </a:cxn>
                <a:cxn ang="0">
                  <a:pos x="3178" y="619"/>
                </a:cxn>
                <a:cxn ang="0">
                  <a:pos x="3526" y="1290"/>
                </a:cxn>
                <a:cxn ang="0">
                  <a:pos x="3389" y="1308"/>
                </a:cxn>
                <a:cxn ang="0">
                  <a:pos x="2832" y="320"/>
                </a:cxn>
                <a:cxn ang="0">
                  <a:pos x="3178" y="619"/>
                </a:cxn>
                <a:cxn ang="0">
                  <a:pos x="2439" y="2245"/>
                </a:cxn>
                <a:cxn ang="0">
                  <a:pos x="3066" y="1729"/>
                </a:cxn>
                <a:cxn ang="0">
                  <a:pos x="3751" y="1521"/>
                </a:cxn>
                <a:cxn ang="0">
                  <a:pos x="3262" y="580"/>
                </a:cxn>
                <a:cxn ang="0">
                  <a:pos x="2308" y="278"/>
                </a:cxn>
                <a:cxn ang="0">
                  <a:pos x="2235" y="316"/>
                </a:cxn>
                <a:cxn ang="0">
                  <a:pos x="1933" y="1269"/>
                </a:cxn>
                <a:cxn ang="0">
                  <a:pos x="2439" y="2245"/>
                </a:cxn>
              </a:cxnLst>
              <a:rect l="0" t="0" r="r" b="b"/>
              <a:pathLst>
                <a:path w="4725" h="4124">
                  <a:moveTo>
                    <a:pt x="3835" y="1514"/>
                  </a:moveTo>
                  <a:lnTo>
                    <a:pt x="3845" y="1533"/>
                  </a:lnTo>
                  <a:lnTo>
                    <a:pt x="4527" y="2848"/>
                  </a:lnTo>
                  <a:cubicBezTo>
                    <a:pt x="4725" y="3229"/>
                    <a:pt x="4575" y="3703"/>
                    <a:pt x="4194" y="3901"/>
                  </a:cubicBezTo>
                  <a:lnTo>
                    <a:pt x="4113" y="3943"/>
                  </a:lnTo>
                  <a:cubicBezTo>
                    <a:pt x="3764" y="4124"/>
                    <a:pt x="3338" y="4014"/>
                    <a:pt x="3116" y="3702"/>
                  </a:cubicBezTo>
                  <a:cubicBezTo>
                    <a:pt x="3046" y="3727"/>
                    <a:pt x="2970" y="3740"/>
                    <a:pt x="2891" y="3739"/>
                  </a:cubicBezTo>
                  <a:lnTo>
                    <a:pt x="1663" y="3732"/>
                  </a:lnTo>
                  <a:lnTo>
                    <a:pt x="1645" y="3732"/>
                  </a:lnTo>
                  <a:lnTo>
                    <a:pt x="665" y="3726"/>
                  </a:lnTo>
                  <a:cubicBezTo>
                    <a:pt x="298" y="3724"/>
                    <a:pt x="0" y="3422"/>
                    <a:pt x="2" y="3055"/>
                  </a:cubicBezTo>
                  <a:lnTo>
                    <a:pt x="2" y="2977"/>
                  </a:lnTo>
                  <a:cubicBezTo>
                    <a:pt x="5" y="2611"/>
                    <a:pt x="306" y="2312"/>
                    <a:pt x="673" y="2315"/>
                  </a:cubicBezTo>
                  <a:lnTo>
                    <a:pt x="1617" y="2320"/>
                  </a:lnTo>
                  <a:lnTo>
                    <a:pt x="1636" y="2321"/>
                  </a:lnTo>
                  <a:lnTo>
                    <a:pt x="2393" y="2325"/>
                  </a:lnTo>
                  <a:lnTo>
                    <a:pt x="2387" y="2313"/>
                  </a:lnTo>
                  <a:lnTo>
                    <a:pt x="1857" y="1294"/>
                  </a:lnTo>
                  <a:cubicBezTo>
                    <a:pt x="1659" y="912"/>
                    <a:pt x="1809" y="438"/>
                    <a:pt x="2191" y="240"/>
                  </a:cubicBezTo>
                  <a:lnTo>
                    <a:pt x="2272" y="198"/>
                  </a:lnTo>
                  <a:cubicBezTo>
                    <a:pt x="2653" y="0"/>
                    <a:pt x="3127" y="150"/>
                    <a:pt x="3325" y="532"/>
                  </a:cubicBezTo>
                  <a:lnTo>
                    <a:pt x="3835" y="1514"/>
                  </a:lnTo>
                  <a:close/>
                  <a:moveTo>
                    <a:pt x="2531" y="2591"/>
                  </a:moveTo>
                  <a:lnTo>
                    <a:pt x="2469" y="2471"/>
                  </a:lnTo>
                  <a:lnTo>
                    <a:pt x="1844" y="2467"/>
                  </a:lnTo>
                  <a:lnTo>
                    <a:pt x="1804" y="2575"/>
                  </a:lnTo>
                  <a:cubicBezTo>
                    <a:pt x="2044" y="2578"/>
                    <a:pt x="2286" y="2583"/>
                    <a:pt x="2531" y="2591"/>
                  </a:cubicBezTo>
                  <a:close/>
                  <a:moveTo>
                    <a:pt x="680" y="2460"/>
                  </a:moveTo>
                  <a:lnTo>
                    <a:pt x="1326" y="2464"/>
                  </a:lnTo>
                  <a:lnTo>
                    <a:pt x="1285" y="2575"/>
                  </a:lnTo>
                  <a:cubicBezTo>
                    <a:pt x="958" y="2578"/>
                    <a:pt x="635" y="2587"/>
                    <a:pt x="317" y="2603"/>
                  </a:cubicBezTo>
                  <a:cubicBezTo>
                    <a:pt x="412" y="2514"/>
                    <a:pt x="540" y="2460"/>
                    <a:pt x="680" y="2460"/>
                  </a:cubicBezTo>
                  <a:close/>
                  <a:moveTo>
                    <a:pt x="1614" y="3665"/>
                  </a:moveTo>
                  <a:cubicBezTo>
                    <a:pt x="1522" y="3450"/>
                    <a:pt x="1473" y="3211"/>
                    <a:pt x="1474" y="2986"/>
                  </a:cubicBezTo>
                  <a:cubicBezTo>
                    <a:pt x="1475" y="2765"/>
                    <a:pt x="1516" y="2574"/>
                    <a:pt x="1590" y="2387"/>
                  </a:cubicBezTo>
                  <a:lnTo>
                    <a:pt x="684" y="2381"/>
                  </a:lnTo>
                  <a:cubicBezTo>
                    <a:pt x="352" y="2379"/>
                    <a:pt x="79" y="2649"/>
                    <a:pt x="77" y="2982"/>
                  </a:cubicBezTo>
                  <a:lnTo>
                    <a:pt x="76" y="3052"/>
                  </a:lnTo>
                  <a:cubicBezTo>
                    <a:pt x="74" y="3384"/>
                    <a:pt x="344" y="3657"/>
                    <a:pt x="676" y="3659"/>
                  </a:cubicBezTo>
                  <a:lnTo>
                    <a:pt x="1614" y="3665"/>
                  </a:lnTo>
                  <a:close/>
                  <a:moveTo>
                    <a:pt x="3806" y="1829"/>
                  </a:moveTo>
                  <a:lnTo>
                    <a:pt x="4357" y="2891"/>
                  </a:lnTo>
                  <a:cubicBezTo>
                    <a:pt x="4433" y="3036"/>
                    <a:pt x="4445" y="3199"/>
                    <a:pt x="4403" y="3346"/>
                  </a:cubicBezTo>
                  <a:cubicBezTo>
                    <a:pt x="4165" y="2832"/>
                    <a:pt x="3922" y="2332"/>
                    <a:pt x="3672" y="1846"/>
                  </a:cubicBezTo>
                  <a:lnTo>
                    <a:pt x="3806" y="1829"/>
                  </a:lnTo>
                  <a:close/>
                  <a:moveTo>
                    <a:pt x="3178" y="619"/>
                  </a:moveTo>
                  <a:lnTo>
                    <a:pt x="3526" y="1290"/>
                  </a:lnTo>
                  <a:lnTo>
                    <a:pt x="3389" y="1308"/>
                  </a:lnTo>
                  <a:cubicBezTo>
                    <a:pt x="3208" y="970"/>
                    <a:pt x="3022" y="640"/>
                    <a:pt x="2832" y="320"/>
                  </a:cubicBezTo>
                  <a:cubicBezTo>
                    <a:pt x="2976" y="370"/>
                    <a:pt x="3102" y="473"/>
                    <a:pt x="3178" y="619"/>
                  </a:cubicBezTo>
                  <a:close/>
                  <a:moveTo>
                    <a:pt x="2439" y="2245"/>
                  </a:moveTo>
                  <a:cubicBezTo>
                    <a:pt x="2612" y="2032"/>
                    <a:pt x="2833" y="1850"/>
                    <a:pt x="3066" y="1729"/>
                  </a:cubicBezTo>
                  <a:cubicBezTo>
                    <a:pt x="3296" y="1609"/>
                    <a:pt x="3516" y="1547"/>
                    <a:pt x="3751" y="1521"/>
                  </a:cubicBezTo>
                  <a:lnTo>
                    <a:pt x="3262" y="580"/>
                  </a:lnTo>
                  <a:cubicBezTo>
                    <a:pt x="3082" y="234"/>
                    <a:pt x="2653" y="98"/>
                    <a:pt x="2308" y="278"/>
                  </a:cubicBezTo>
                  <a:lnTo>
                    <a:pt x="2235" y="316"/>
                  </a:lnTo>
                  <a:cubicBezTo>
                    <a:pt x="1889" y="495"/>
                    <a:pt x="1754" y="924"/>
                    <a:pt x="1933" y="1269"/>
                  </a:cubicBezTo>
                  <a:lnTo>
                    <a:pt x="2439" y="2245"/>
                  </a:ln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0" name="Freeform 10">
              <a:extLst/>
            </p:cNvPr>
            <p:cNvSpPr>
              <a:spLocks noEditPoints="1"/>
            </p:cNvSpPr>
            <p:nvPr/>
          </p:nvSpPr>
          <p:spPr bwMode="auto">
            <a:xfrm>
              <a:off x="301734" y="5086177"/>
              <a:ext cx="455912" cy="437793"/>
            </a:xfrm>
            <a:custGeom>
              <a:avLst/>
              <a:gdLst/>
              <a:ahLst/>
              <a:cxnLst>
                <a:cxn ang="0">
                  <a:pos x="3641" y="25"/>
                </a:cxn>
                <a:cxn ang="0">
                  <a:pos x="4058" y="555"/>
                </a:cxn>
                <a:cxn ang="0">
                  <a:pos x="4554" y="1010"/>
                </a:cxn>
                <a:cxn ang="0">
                  <a:pos x="31" y="4241"/>
                </a:cxn>
                <a:cxn ang="0">
                  <a:pos x="113" y="4242"/>
                </a:cxn>
                <a:cxn ang="0">
                  <a:pos x="31" y="4241"/>
                </a:cxn>
                <a:cxn ang="0">
                  <a:pos x="857" y="3412"/>
                </a:cxn>
                <a:cxn ang="0">
                  <a:pos x="164" y="4065"/>
                </a:cxn>
                <a:cxn ang="0">
                  <a:pos x="968" y="3532"/>
                </a:cxn>
                <a:cxn ang="0">
                  <a:pos x="204" y="4185"/>
                </a:cxn>
                <a:cxn ang="0">
                  <a:pos x="862" y="3502"/>
                </a:cxn>
                <a:cxn ang="0">
                  <a:pos x="1410" y="3312"/>
                </a:cxn>
                <a:cxn ang="0">
                  <a:pos x="1110" y="2987"/>
                </a:cxn>
                <a:cxn ang="0">
                  <a:pos x="851" y="3352"/>
                </a:cxn>
                <a:cxn ang="0">
                  <a:pos x="1027" y="3542"/>
                </a:cxn>
                <a:cxn ang="0">
                  <a:pos x="1410" y="3312"/>
                </a:cxn>
                <a:cxn ang="0">
                  <a:pos x="2512" y="683"/>
                </a:cxn>
                <a:cxn ang="0">
                  <a:pos x="3085" y="1457"/>
                </a:cxn>
                <a:cxn ang="0">
                  <a:pos x="3813" y="2086"/>
                </a:cxn>
                <a:cxn ang="0">
                  <a:pos x="3100" y="1818"/>
                </a:cxn>
                <a:cxn ang="0">
                  <a:pos x="2726" y="1415"/>
                </a:cxn>
                <a:cxn ang="0">
                  <a:pos x="2214" y="1890"/>
                </a:cxn>
                <a:cxn ang="0">
                  <a:pos x="2588" y="2292"/>
                </a:cxn>
                <a:cxn ang="0">
                  <a:pos x="3100" y="1818"/>
                </a:cxn>
                <a:cxn ang="0">
                  <a:pos x="2883" y="1656"/>
                </a:cxn>
                <a:cxn ang="0">
                  <a:pos x="2552" y="2120"/>
                </a:cxn>
                <a:cxn ang="0">
                  <a:pos x="4156" y="838"/>
                </a:cxn>
                <a:cxn ang="0">
                  <a:pos x="3782" y="436"/>
                </a:cxn>
                <a:cxn ang="0">
                  <a:pos x="3096" y="1072"/>
                </a:cxn>
                <a:cxn ang="0">
                  <a:pos x="3470" y="1475"/>
                </a:cxn>
                <a:cxn ang="0">
                  <a:pos x="4156" y="838"/>
                </a:cxn>
                <a:cxn ang="0">
                  <a:pos x="3952" y="664"/>
                </a:cxn>
                <a:cxn ang="0">
                  <a:pos x="3422" y="1313"/>
                </a:cxn>
                <a:cxn ang="0">
                  <a:pos x="1345" y="3070"/>
                </a:cxn>
                <a:cxn ang="0">
                  <a:pos x="1046" y="2997"/>
                </a:cxn>
                <a:cxn ang="0">
                  <a:pos x="1316" y="3097"/>
                </a:cxn>
                <a:cxn ang="0">
                  <a:pos x="1396" y="3374"/>
                </a:cxn>
                <a:cxn ang="0">
                  <a:pos x="1345" y="3070"/>
                </a:cxn>
                <a:cxn ang="0">
                  <a:pos x="3524" y="134"/>
                </a:cxn>
                <a:cxn ang="0">
                  <a:pos x="3777" y="386"/>
                </a:cxn>
                <a:cxn ang="0">
                  <a:pos x="4205" y="847"/>
                </a:cxn>
                <a:cxn ang="0">
                  <a:pos x="4437" y="1118"/>
                </a:cxn>
                <a:cxn ang="0">
                  <a:pos x="3052" y="1487"/>
                </a:cxn>
                <a:cxn ang="0">
                  <a:pos x="2421" y="1139"/>
                </a:cxn>
                <a:cxn ang="0">
                  <a:pos x="3022" y="1515"/>
                </a:cxn>
                <a:cxn ang="0">
                  <a:pos x="3352" y="2143"/>
                </a:cxn>
                <a:cxn ang="0">
                  <a:pos x="3052" y="1487"/>
                </a:cxn>
                <a:cxn ang="0">
                  <a:pos x="2495" y="1135"/>
                </a:cxn>
                <a:cxn ang="0">
                  <a:pos x="1379" y="3039"/>
                </a:cxn>
                <a:cxn ang="0">
                  <a:pos x="3362" y="2069"/>
                </a:cxn>
                <a:cxn ang="0">
                  <a:pos x="1450" y="2971"/>
                </a:cxn>
                <a:cxn ang="0">
                  <a:pos x="1079" y="2671"/>
                </a:cxn>
                <a:cxn ang="0">
                  <a:pos x="1742" y="3366"/>
                </a:cxn>
                <a:cxn ang="0">
                  <a:pos x="1600" y="3027"/>
                </a:cxn>
                <a:cxn ang="0">
                  <a:pos x="2530" y="2405"/>
                </a:cxn>
                <a:cxn ang="0">
                  <a:pos x="1600" y="3027"/>
                </a:cxn>
                <a:cxn ang="0">
                  <a:pos x="2689" y="2542"/>
                </a:cxn>
                <a:cxn ang="0">
                  <a:pos x="1973" y="1770"/>
                </a:cxn>
                <a:cxn ang="0">
                  <a:pos x="972" y="2624"/>
                </a:cxn>
                <a:cxn ang="0">
                  <a:pos x="2953" y="1579"/>
                </a:cxn>
                <a:cxn ang="0">
                  <a:pos x="1763" y="3476"/>
                </a:cxn>
              </a:cxnLst>
              <a:rect l="0" t="0" r="r" b="b"/>
              <a:pathLst>
                <a:path w="4582" h="4404">
                  <a:moveTo>
                    <a:pt x="4148" y="471"/>
                  </a:moveTo>
                  <a:cubicBezTo>
                    <a:pt x="3896" y="199"/>
                    <a:pt x="3669" y="0"/>
                    <a:pt x="3641" y="25"/>
                  </a:cubicBezTo>
                  <a:lnTo>
                    <a:pt x="3551" y="109"/>
                  </a:lnTo>
                  <a:cubicBezTo>
                    <a:pt x="3578" y="83"/>
                    <a:pt x="3805" y="283"/>
                    <a:pt x="4058" y="555"/>
                  </a:cubicBezTo>
                  <a:cubicBezTo>
                    <a:pt x="4310" y="827"/>
                    <a:pt x="4491" y="1068"/>
                    <a:pt x="4464" y="1094"/>
                  </a:cubicBezTo>
                  <a:lnTo>
                    <a:pt x="4554" y="1010"/>
                  </a:lnTo>
                  <a:cubicBezTo>
                    <a:pt x="4582" y="984"/>
                    <a:pt x="4400" y="743"/>
                    <a:pt x="4148" y="471"/>
                  </a:cubicBezTo>
                  <a:close/>
                  <a:moveTo>
                    <a:pt x="31" y="4241"/>
                  </a:moveTo>
                  <a:cubicBezTo>
                    <a:pt x="63" y="4159"/>
                    <a:pt x="115" y="4085"/>
                    <a:pt x="136" y="4092"/>
                  </a:cubicBezTo>
                  <a:cubicBezTo>
                    <a:pt x="158" y="4098"/>
                    <a:pt x="144" y="4160"/>
                    <a:pt x="113" y="4242"/>
                  </a:cubicBezTo>
                  <a:cubicBezTo>
                    <a:pt x="82" y="4325"/>
                    <a:pt x="23" y="4401"/>
                    <a:pt x="14" y="4402"/>
                  </a:cubicBezTo>
                  <a:cubicBezTo>
                    <a:pt x="5" y="4404"/>
                    <a:pt x="0" y="4324"/>
                    <a:pt x="31" y="4241"/>
                  </a:cubicBezTo>
                  <a:close/>
                  <a:moveTo>
                    <a:pt x="968" y="3532"/>
                  </a:moveTo>
                  <a:lnTo>
                    <a:pt x="857" y="3412"/>
                  </a:lnTo>
                  <a:lnTo>
                    <a:pt x="168" y="4051"/>
                  </a:lnTo>
                  <a:cubicBezTo>
                    <a:pt x="164" y="4055"/>
                    <a:pt x="164" y="4060"/>
                    <a:pt x="164" y="4065"/>
                  </a:cubicBezTo>
                  <a:cubicBezTo>
                    <a:pt x="209" y="4149"/>
                    <a:pt x="123" y="4278"/>
                    <a:pt x="92" y="4345"/>
                  </a:cubicBezTo>
                  <a:lnTo>
                    <a:pt x="968" y="3532"/>
                  </a:lnTo>
                  <a:close/>
                  <a:moveTo>
                    <a:pt x="235" y="4084"/>
                  </a:moveTo>
                  <a:cubicBezTo>
                    <a:pt x="232" y="4117"/>
                    <a:pt x="219" y="4152"/>
                    <a:pt x="204" y="4185"/>
                  </a:cubicBezTo>
                  <a:lnTo>
                    <a:pt x="898" y="3541"/>
                  </a:lnTo>
                  <a:lnTo>
                    <a:pt x="862" y="3502"/>
                  </a:lnTo>
                  <a:lnTo>
                    <a:pt x="235" y="4084"/>
                  </a:lnTo>
                  <a:close/>
                  <a:moveTo>
                    <a:pt x="1410" y="3312"/>
                  </a:moveTo>
                  <a:cubicBezTo>
                    <a:pt x="1383" y="3242"/>
                    <a:pt x="1347" y="3173"/>
                    <a:pt x="1295" y="3117"/>
                  </a:cubicBezTo>
                  <a:cubicBezTo>
                    <a:pt x="1243" y="3061"/>
                    <a:pt x="1177" y="3020"/>
                    <a:pt x="1110" y="2987"/>
                  </a:cubicBezTo>
                  <a:cubicBezTo>
                    <a:pt x="1067" y="3048"/>
                    <a:pt x="1023" y="3109"/>
                    <a:pt x="980" y="3169"/>
                  </a:cubicBezTo>
                  <a:cubicBezTo>
                    <a:pt x="937" y="3230"/>
                    <a:pt x="894" y="3291"/>
                    <a:pt x="851" y="3352"/>
                  </a:cubicBezTo>
                  <a:cubicBezTo>
                    <a:pt x="880" y="3384"/>
                    <a:pt x="910" y="3415"/>
                    <a:pt x="939" y="3447"/>
                  </a:cubicBezTo>
                  <a:cubicBezTo>
                    <a:pt x="969" y="3479"/>
                    <a:pt x="998" y="3510"/>
                    <a:pt x="1027" y="3542"/>
                  </a:cubicBezTo>
                  <a:cubicBezTo>
                    <a:pt x="1091" y="3504"/>
                    <a:pt x="1155" y="3465"/>
                    <a:pt x="1219" y="3427"/>
                  </a:cubicBezTo>
                  <a:cubicBezTo>
                    <a:pt x="1283" y="3388"/>
                    <a:pt x="1347" y="3350"/>
                    <a:pt x="1410" y="3312"/>
                  </a:cubicBezTo>
                  <a:close/>
                  <a:moveTo>
                    <a:pt x="3260" y="1294"/>
                  </a:moveTo>
                  <a:cubicBezTo>
                    <a:pt x="2901" y="907"/>
                    <a:pt x="2566" y="633"/>
                    <a:pt x="2512" y="683"/>
                  </a:cubicBezTo>
                  <a:lnTo>
                    <a:pt x="2337" y="846"/>
                  </a:lnTo>
                  <a:cubicBezTo>
                    <a:pt x="2391" y="796"/>
                    <a:pt x="2726" y="1069"/>
                    <a:pt x="3085" y="1457"/>
                  </a:cubicBezTo>
                  <a:cubicBezTo>
                    <a:pt x="3445" y="1844"/>
                    <a:pt x="3692" y="2198"/>
                    <a:pt x="3638" y="2248"/>
                  </a:cubicBezTo>
                  <a:lnTo>
                    <a:pt x="3813" y="2086"/>
                  </a:lnTo>
                  <a:cubicBezTo>
                    <a:pt x="3867" y="2036"/>
                    <a:pt x="3620" y="1682"/>
                    <a:pt x="3260" y="1294"/>
                  </a:cubicBezTo>
                  <a:close/>
                  <a:moveTo>
                    <a:pt x="3100" y="1818"/>
                  </a:moveTo>
                  <a:cubicBezTo>
                    <a:pt x="3048" y="1741"/>
                    <a:pt x="2993" y="1667"/>
                    <a:pt x="2930" y="1600"/>
                  </a:cubicBezTo>
                  <a:cubicBezTo>
                    <a:pt x="2868" y="1533"/>
                    <a:pt x="2799" y="1473"/>
                    <a:pt x="2726" y="1415"/>
                  </a:cubicBezTo>
                  <a:cubicBezTo>
                    <a:pt x="2641" y="1494"/>
                    <a:pt x="2556" y="1573"/>
                    <a:pt x="2470" y="1652"/>
                  </a:cubicBezTo>
                  <a:cubicBezTo>
                    <a:pt x="2385" y="1732"/>
                    <a:pt x="2300" y="1811"/>
                    <a:pt x="2214" y="1890"/>
                  </a:cubicBezTo>
                  <a:cubicBezTo>
                    <a:pt x="2287" y="1947"/>
                    <a:pt x="2357" y="2008"/>
                    <a:pt x="2419" y="2075"/>
                  </a:cubicBezTo>
                  <a:cubicBezTo>
                    <a:pt x="2481" y="2142"/>
                    <a:pt x="2536" y="2216"/>
                    <a:pt x="2588" y="2292"/>
                  </a:cubicBezTo>
                  <a:cubicBezTo>
                    <a:pt x="2673" y="2213"/>
                    <a:pt x="2758" y="2134"/>
                    <a:pt x="2844" y="2055"/>
                  </a:cubicBezTo>
                  <a:cubicBezTo>
                    <a:pt x="2929" y="1976"/>
                    <a:pt x="3014" y="1897"/>
                    <a:pt x="3100" y="1818"/>
                  </a:cubicBezTo>
                  <a:close/>
                  <a:moveTo>
                    <a:pt x="2957" y="1744"/>
                  </a:moveTo>
                  <a:cubicBezTo>
                    <a:pt x="2934" y="1714"/>
                    <a:pt x="2909" y="1684"/>
                    <a:pt x="2883" y="1656"/>
                  </a:cubicBezTo>
                  <a:lnTo>
                    <a:pt x="2478" y="2032"/>
                  </a:lnTo>
                  <a:cubicBezTo>
                    <a:pt x="2504" y="2060"/>
                    <a:pt x="2529" y="2090"/>
                    <a:pt x="2552" y="2120"/>
                  </a:cubicBezTo>
                  <a:lnTo>
                    <a:pt x="2957" y="1744"/>
                  </a:lnTo>
                  <a:close/>
                  <a:moveTo>
                    <a:pt x="4156" y="838"/>
                  </a:moveTo>
                  <a:cubicBezTo>
                    <a:pt x="4104" y="762"/>
                    <a:pt x="4049" y="688"/>
                    <a:pt x="3986" y="621"/>
                  </a:cubicBezTo>
                  <a:cubicBezTo>
                    <a:pt x="3924" y="554"/>
                    <a:pt x="3855" y="493"/>
                    <a:pt x="3782" y="436"/>
                  </a:cubicBezTo>
                  <a:cubicBezTo>
                    <a:pt x="3653" y="555"/>
                    <a:pt x="3525" y="675"/>
                    <a:pt x="3396" y="794"/>
                  </a:cubicBezTo>
                  <a:lnTo>
                    <a:pt x="3096" y="1072"/>
                  </a:lnTo>
                  <a:cubicBezTo>
                    <a:pt x="3158" y="1133"/>
                    <a:pt x="3222" y="1200"/>
                    <a:pt x="3287" y="1269"/>
                  </a:cubicBezTo>
                  <a:cubicBezTo>
                    <a:pt x="3352" y="1339"/>
                    <a:pt x="3413" y="1408"/>
                    <a:pt x="3470" y="1475"/>
                  </a:cubicBezTo>
                  <a:lnTo>
                    <a:pt x="3769" y="1196"/>
                  </a:lnTo>
                  <a:cubicBezTo>
                    <a:pt x="3898" y="1077"/>
                    <a:pt x="4027" y="958"/>
                    <a:pt x="4156" y="838"/>
                  </a:cubicBezTo>
                  <a:close/>
                  <a:moveTo>
                    <a:pt x="4027" y="752"/>
                  </a:moveTo>
                  <a:cubicBezTo>
                    <a:pt x="4003" y="722"/>
                    <a:pt x="3978" y="692"/>
                    <a:pt x="3952" y="664"/>
                  </a:cubicBezTo>
                  <a:lnTo>
                    <a:pt x="3344" y="1228"/>
                  </a:lnTo>
                  <a:lnTo>
                    <a:pt x="3422" y="1313"/>
                  </a:lnTo>
                  <a:lnTo>
                    <a:pt x="4027" y="752"/>
                  </a:lnTo>
                  <a:close/>
                  <a:moveTo>
                    <a:pt x="1345" y="3070"/>
                  </a:moveTo>
                  <a:cubicBezTo>
                    <a:pt x="1106" y="2812"/>
                    <a:pt x="883" y="2630"/>
                    <a:pt x="847" y="2663"/>
                  </a:cubicBezTo>
                  <a:cubicBezTo>
                    <a:pt x="821" y="2688"/>
                    <a:pt x="904" y="2823"/>
                    <a:pt x="1046" y="2997"/>
                  </a:cubicBezTo>
                  <a:lnTo>
                    <a:pt x="1088" y="2938"/>
                  </a:lnTo>
                  <a:cubicBezTo>
                    <a:pt x="1171" y="2978"/>
                    <a:pt x="1252" y="3028"/>
                    <a:pt x="1316" y="3097"/>
                  </a:cubicBezTo>
                  <a:cubicBezTo>
                    <a:pt x="1381" y="3167"/>
                    <a:pt x="1424" y="3251"/>
                    <a:pt x="1458" y="3337"/>
                  </a:cubicBezTo>
                  <a:lnTo>
                    <a:pt x="1396" y="3374"/>
                  </a:lnTo>
                  <a:cubicBezTo>
                    <a:pt x="1558" y="3529"/>
                    <a:pt x="1687" y="3622"/>
                    <a:pt x="1714" y="3597"/>
                  </a:cubicBezTo>
                  <a:cubicBezTo>
                    <a:pt x="1750" y="3564"/>
                    <a:pt x="1585" y="3328"/>
                    <a:pt x="1345" y="3070"/>
                  </a:cubicBezTo>
                  <a:close/>
                  <a:moveTo>
                    <a:pt x="4031" y="579"/>
                  </a:moveTo>
                  <a:cubicBezTo>
                    <a:pt x="3779" y="308"/>
                    <a:pt x="3552" y="108"/>
                    <a:pt x="3524" y="134"/>
                  </a:cubicBezTo>
                  <a:cubicBezTo>
                    <a:pt x="3505" y="152"/>
                    <a:pt x="3586" y="273"/>
                    <a:pt x="3722" y="437"/>
                  </a:cubicBezTo>
                  <a:lnTo>
                    <a:pt x="3777" y="386"/>
                  </a:lnTo>
                  <a:cubicBezTo>
                    <a:pt x="3860" y="452"/>
                    <a:pt x="3939" y="522"/>
                    <a:pt x="4010" y="599"/>
                  </a:cubicBezTo>
                  <a:cubicBezTo>
                    <a:pt x="4081" y="676"/>
                    <a:pt x="4145" y="760"/>
                    <a:pt x="4205" y="847"/>
                  </a:cubicBezTo>
                  <a:lnTo>
                    <a:pt x="4150" y="898"/>
                  </a:lnTo>
                  <a:cubicBezTo>
                    <a:pt x="4303" y="1046"/>
                    <a:pt x="4418" y="1136"/>
                    <a:pt x="4437" y="1118"/>
                  </a:cubicBezTo>
                  <a:cubicBezTo>
                    <a:pt x="4465" y="1093"/>
                    <a:pt x="4283" y="851"/>
                    <a:pt x="4031" y="579"/>
                  </a:cubicBezTo>
                  <a:close/>
                  <a:moveTo>
                    <a:pt x="3052" y="1487"/>
                  </a:moveTo>
                  <a:cubicBezTo>
                    <a:pt x="2693" y="1100"/>
                    <a:pt x="2358" y="826"/>
                    <a:pt x="2304" y="876"/>
                  </a:cubicBezTo>
                  <a:cubicBezTo>
                    <a:pt x="2277" y="901"/>
                    <a:pt x="2324" y="999"/>
                    <a:pt x="2421" y="1139"/>
                  </a:cubicBezTo>
                  <a:lnTo>
                    <a:pt x="2490" y="1075"/>
                  </a:lnTo>
                  <a:cubicBezTo>
                    <a:pt x="2527" y="1041"/>
                    <a:pt x="2765" y="1238"/>
                    <a:pt x="3022" y="1515"/>
                  </a:cubicBezTo>
                  <a:cubicBezTo>
                    <a:pt x="3279" y="1792"/>
                    <a:pt x="3458" y="2045"/>
                    <a:pt x="3421" y="2079"/>
                  </a:cubicBezTo>
                  <a:lnTo>
                    <a:pt x="3352" y="2143"/>
                  </a:lnTo>
                  <a:cubicBezTo>
                    <a:pt x="3484" y="2250"/>
                    <a:pt x="3579" y="2304"/>
                    <a:pt x="3605" y="2279"/>
                  </a:cubicBezTo>
                  <a:cubicBezTo>
                    <a:pt x="3659" y="2229"/>
                    <a:pt x="3411" y="1875"/>
                    <a:pt x="3052" y="1487"/>
                  </a:cubicBezTo>
                  <a:close/>
                  <a:moveTo>
                    <a:pt x="2993" y="1542"/>
                  </a:moveTo>
                  <a:cubicBezTo>
                    <a:pt x="2754" y="1284"/>
                    <a:pt x="2531" y="1102"/>
                    <a:pt x="2495" y="1135"/>
                  </a:cubicBezTo>
                  <a:lnTo>
                    <a:pt x="881" y="2632"/>
                  </a:lnTo>
                  <a:cubicBezTo>
                    <a:pt x="916" y="2599"/>
                    <a:pt x="1140" y="2781"/>
                    <a:pt x="1379" y="3039"/>
                  </a:cubicBezTo>
                  <a:cubicBezTo>
                    <a:pt x="1618" y="3297"/>
                    <a:pt x="1783" y="3533"/>
                    <a:pt x="1747" y="3567"/>
                  </a:cubicBezTo>
                  <a:lnTo>
                    <a:pt x="3362" y="2069"/>
                  </a:lnTo>
                  <a:cubicBezTo>
                    <a:pt x="3398" y="2036"/>
                    <a:pt x="3233" y="1800"/>
                    <a:pt x="2993" y="1542"/>
                  </a:cubicBezTo>
                  <a:close/>
                  <a:moveTo>
                    <a:pt x="1450" y="2971"/>
                  </a:moveTo>
                  <a:cubicBezTo>
                    <a:pt x="1267" y="2773"/>
                    <a:pt x="1101" y="2630"/>
                    <a:pt x="1079" y="2650"/>
                  </a:cubicBezTo>
                  <a:cubicBezTo>
                    <a:pt x="1075" y="2654"/>
                    <a:pt x="1075" y="2661"/>
                    <a:pt x="1079" y="2671"/>
                  </a:cubicBezTo>
                  <a:cubicBezTo>
                    <a:pt x="1204" y="2727"/>
                    <a:pt x="1672" y="3225"/>
                    <a:pt x="1721" y="3363"/>
                  </a:cubicBezTo>
                  <a:cubicBezTo>
                    <a:pt x="1731" y="3368"/>
                    <a:pt x="1738" y="3369"/>
                    <a:pt x="1742" y="3366"/>
                  </a:cubicBezTo>
                  <a:cubicBezTo>
                    <a:pt x="1764" y="3345"/>
                    <a:pt x="1633" y="3168"/>
                    <a:pt x="1450" y="2971"/>
                  </a:cubicBezTo>
                  <a:close/>
                  <a:moveTo>
                    <a:pt x="1600" y="3027"/>
                  </a:moveTo>
                  <a:cubicBezTo>
                    <a:pt x="1641" y="3075"/>
                    <a:pt x="1679" y="3120"/>
                    <a:pt x="1713" y="3163"/>
                  </a:cubicBezTo>
                  <a:lnTo>
                    <a:pt x="2530" y="2405"/>
                  </a:lnTo>
                  <a:cubicBezTo>
                    <a:pt x="2499" y="2363"/>
                    <a:pt x="2461" y="2317"/>
                    <a:pt x="2419" y="2267"/>
                  </a:cubicBezTo>
                  <a:lnTo>
                    <a:pt x="1600" y="3027"/>
                  </a:lnTo>
                  <a:close/>
                  <a:moveTo>
                    <a:pt x="1751" y="3413"/>
                  </a:moveTo>
                  <a:lnTo>
                    <a:pt x="2689" y="2542"/>
                  </a:lnTo>
                  <a:cubicBezTo>
                    <a:pt x="2719" y="2515"/>
                    <a:pt x="2583" y="2320"/>
                    <a:pt x="2385" y="2106"/>
                  </a:cubicBezTo>
                  <a:cubicBezTo>
                    <a:pt x="2187" y="1893"/>
                    <a:pt x="2002" y="1742"/>
                    <a:pt x="1973" y="1770"/>
                  </a:cubicBezTo>
                  <a:lnTo>
                    <a:pt x="1034" y="2640"/>
                  </a:lnTo>
                  <a:cubicBezTo>
                    <a:pt x="1003" y="2622"/>
                    <a:pt x="981" y="2615"/>
                    <a:pt x="972" y="2624"/>
                  </a:cubicBezTo>
                  <a:lnTo>
                    <a:pt x="2499" y="1208"/>
                  </a:lnTo>
                  <a:cubicBezTo>
                    <a:pt x="2531" y="1178"/>
                    <a:pt x="2735" y="1344"/>
                    <a:pt x="2953" y="1579"/>
                  </a:cubicBezTo>
                  <a:cubicBezTo>
                    <a:pt x="3171" y="1814"/>
                    <a:pt x="3322" y="2030"/>
                    <a:pt x="3289" y="2060"/>
                  </a:cubicBezTo>
                  <a:lnTo>
                    <a:pt x="1763" y="3476"/>
                  </a:lnTo>
                  <a:cubicBezTo>
                    <a:pt x="1772" y="3467"/>
                    <a:pt x="1767" y="3445"/>
                    <a:pt x="1751" y="3413"/>
                  </a:cubicBez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1" name="Freeform 11">
              <a:extLst/>
            </p:cNvPr>
            <p:cNvSpPr>
              <a:spLocks noEditPoints="1"/>
            </p:cNvSpPr>
            <p:nvPr/>
          </p:nvSpPr>
          <p:spPr bwMode="auto">
            <a:xfrm>
              <a:off x="271019" y="4751976"/>
              <a:ext cx="335678" cy="343193"/>
            </a:xfrm>
            <a:custGeom>
              <a:avLst/>
              <a:gdLst/>
              <a:ahLst/>
              <a:cxnLst>
                <a:cxn ang="0">
                  <a:pos x="2881" y="3548"/>
                </a:cxn>
                <a:cxn ang="0">
                  <a:pos x="3291" y="3955"/>
                </a:cxn>
                <a:cxn ang="0">
                  <a:pos x="3698" y="1422"/>
                </a:cxn>
                <a:cxn ang="0">
                  <a:pos x="2261" y="1715"/>
                </a:cxn>
                <a:cxn ang="0">
                  <a:pos x="2814" y="2530"/>
                </a:cxn>
                <a:cxn ang="0">
                  <a:pos x="2766" y="1422"/>
                </a:cxn>
                <a:cxn ang="0">
                  <a:pos x="2640" y="1212"/>
                </a:cxn>
                <a:cxn ang="0">
                  <a:pos x="3812" y="1086"/>
                </a:cxn>
                <a:cxn ang="0">
                  <a:pos x="3938" y="1296"/>
                </a:cxn>
                <a:cxn ang="0">
                  <a:pos x="3764" y="1422"/>
                </a:cxn>
                <a:cxn ang="0">
                  <a:pos x="3292" y="4028"/>
                </a:cxn>
                <a:cxn ang="0">
                  <a:pos x="3167" y="4012"/>
                </a:cxn>
                <a:cxn ang="0">
                  <a:pos x="290" y="4008"/>
                </a:cxn>
                <a:cxn ang="0">
                  <a:pos x="54" y="3549"/>
                </a:cxn>
                <a:cxn ang="0">
                  <a:pos x="1278" y="350"/>
                </a:cxn>
                <a:cxn ang="0">
                  <a:pos x="1107" y="224"/>
                </a:cxn>
                <a:cxn ang="0">
                  <a:pos x="1233" y="0"/>
                </a:cxn>
                <a:cxn ang="0">
                  <a:pos x="2432" y="126"/>
                </a:cxn>
                <a:cxn ang="0">
                  <a:pos x="2306" y="350"/>
                </a:cxn>
                <a:cxn ang="0">
                  <a:pos x="2261" y="1715"/>
                </a:cxn>
                <a:cxn ang="0">
                  <a:pos x="2164" y="1766"/>
                </a:cxn>
                <a:cxn ang="0">
                  <a:pos x="1375" y="350"/>
                </a:cxn>
                <a:cxn ang="0">
                  <a:pos x="291" y="3372"/>
                </a:cxn>
                <a:cxn ang="0">
                  <a:pos x="583" y="3740"/>
                </a:cxn>
                <a:cxn ang="0">
                  <a:pos x="2850" y="3735"/>
                </a:cxn>
                <a:cxn ang="0">
                  <a:pos x="2826" y="3679"/>
                </a:cxn>
                <a:cxn ang="0">
                  <a:pos x="322" y="3487"/>
                </a:cxn>
                <a:cxn ang="0">
                  <a:pos x="1096" y="2269"/>
                </a:cxn>
                <a:cxn ang="0">
                  <a:pos x="1096" y="2270"/>
                </a:cxn>
                <a:cxn ang="0">
                  <a:pos x="2429" y="2270"/>
                </a:cxn>
                <a:cxn ang="0">
                  <a:pos x="2435" y="2269"/>
                </a:cxn>
                <a:cxn ang="0">
                  <a:pos x="2814" y="2824"/>
                </a:cxn>
                <a:cxn ang="0">
                  <a:pos x="2803" y="2712"/>
                </a:cxn>
                <a:cxn ang="0">
                  <a:pos x="2932" y="1821"/>
                </a:cxn>
                <a:cxn ang="0">
                  <a:pos x="3647" y="1821"/>
                </a:cxn>
                <a:cxn ang="0">
                  <a:pos x="3648" y="3553"/>
                </a:cxn>
                <a:cxn ang="0">
                  <a:pos x="3287" y="3909"/>
                </a:cxn>
                <a:cxn ang="0">
                  <a:pos x="2931" y="1821"/>
                </a:cxn>
                <a:cxn ang="0">
                  <a:pos x="3648" y="1780"/>
                </a:cxn>
                <a:cxn ang="0">
                  <a:pos x="2931" y="1780"/>
                </a:cxn>
                <a:cxn ang="0">
                  <a:pos x="1770" y="2119"/>
                </a:cxn>
                <a:cxn ang="0">
                  <a:pos x="1770" y="2326"/>
                </a:cxn>
                <a:cxn ang="0">
                  <a:pos x="1770" y="2119"/>
                </a:cxn>
                <a:cxn ang="0">
                  <a:pos x="1478" y="2440"/>
                </a:cxn>
                <a:cxn ang="0">
                  <a:pos x="1060" y="3591"/>
                </a:cxn>
                <a:cxn ang="0">
                  <a:pos x="564" y="3387"/>
                </a:cxn>
              </a:cxnLst>
              <a:rect l="0" t="0" r="r" b="b"/>
              <a:pathLst>
                <a:path w="3938" h="4028">
                  <a:moveTo>
                    <a:pt x="2881" y="1422"/>
                  </a:moveTo>
                  <a:lnTo>
                    <a:pt x="2881" y="3548"/>
                  </a:lnTo>
                  <a:cubicBezTo>
                    <a:pt x="2881" y="3772"/>
                    <a:pt x="3064" y="3955"/>
                    <a:pt x="3287" y="3955"/>
                  </a:cubicBezTo>
                  <a:lnTo>
                    <a:pt x="3291" y="3955"/>
                  </a:lnTo>
                  <a:cubicBezTo>
                    <a:pt x="3515" y="3955"/>
                    <a:pt x="3698" y="3772"/>
                    <a:pt x="3698" y="3548"/>
                  </a:cubicBezTo>
                  <a:lnTo>
                    <a:pt x="3698" y="1422"/>
                  </a:lnTo>
                  <a:lnTo>
                    <a:pt x="2881" y="1422"/>
                  </a:lnTo>
                  <a:close/>
                  <a:moveTo>
                    <a:pt x="2261" y="1715"/>
                  </a:moveTo>
                  <a:lnTo>
                    <a:pt x="2806" y="2531"/>
                  </a:lnTo>
                  <a:cubicBezTo>
                    <a:pt x="2809" y="2531"/>
                    <a:pt x="2811" y="2530"/>
                    <a:pt x="2814" y="2530"/>
                  </a:cubicBezTo>
                  <a:lnTo>
                    <a:pt x="2814" y="1422"/>
                  </a:lnTo>
                  <a:lnTo>
                    <a:pt x="2766" y="1422"/>
                  </a:lnTo>
                  <a:cubicBezTo>
                    <a:pt x="2697" y="1422"/>
                    <a:pt x="2640" y="1365"/>
                    <a:pt x="2640" y="1296"/>
                  </a:cubicBezTo>
                  <a:lnTo>
                    <a:pt x="2640" y="1212"/>
                  </a:lnTo>
                  <a:cubicBezTo>
                    <a:pt x="2640" y="1143"/>
                    <a:pt x="2697" y="1086"/>
                    <a:pt x="2766" y="1086"/>
                  </a:cubicBezTo>
                  <a:lnTo>
                    <a:pt x="3812" y="1086"/>
                  </a:lnTo>
                  <a:cubicBezTo>
                    <a:pt x="3881" y="1086"/>
                    <a:pt x="3938" y="1143"/>
                    <a:pt x="3938" y="1212"/>
                  </a:cubicBezTo>
                  <a:lnTo>
                    <a:pt x="3938" y="1296"/>
                  </a:lnTo>
                  <a:cubicBezTo>
                    <a:pt x="3938" y="1365"/>
                    <a:pt x="3881" y="1422"/>
                    <a:pt x="3812" y="1422"/>
                  </a:cubicBezTo>
                  <a:lnTo>
                    <a:pt x="3764" y="1422"/>
                  </a:lnTo>
                  <a:lnTo>
                    <a:pt x="3764" y="3555"/>
                  </a:lnTo>
                  <a:cubicBezTo>
                    <a:pt x="3764" y="3815"/>
                    <a:pt x="3552" y="4028"/>
                    <a:pt x="3292" y="4028"/>
                  </a:cubicBezTo>
                  <a:lnTo>
                    <a:pt x="3287" y="4028"/>
                  </a:lnTo>
                  <a:cubicBezTo>
                    <a:pt x="3245" y="4028"/>
                    <a:pt x="3205" y="4022"/>
                    <a:pt x="3167" y="4012"/>
                  </a:cubicBezTo>
                  <a:cubicBezTo>
                    <a:pt x="3155" y="4011"/>
                    <a:pt x="3143" y="4010"/>
                    <a:pt x="3131" y="4008"/>
                  </a:cubicBezTo>
                  <a:lnTo>
                    <a:pt x="290" y="4008"/>
                  </a:lnTo>
                  <a:cubicBezTo>
                    <a:pt x="130" y="4008"/>
                    <a:pt x="0" y="3878"/>
                    <a:pt x="0" y="3718"/>
                  </a:cubicBezTo>
                  <a:cubicBezTo>
                    <a:pt x="0" y="3655"/>
                    <a:pt x="22" y="3598"/>
                    <a:pt x="54" y="3549"/>
                  </a:cubicBezTo>
                  <a:lnTo>
                    <a:pt x="1278" y="1711"/>
                  </a:lnTo>
                  <a:lnTo>
                    <a:pt x="1278" y="350"/>
                  </a:lnTo>
                  <a:lnTo>
                    <a:pt x="1233" y="350"/>
                  </a:lnTo>
                  <a:cubicBezTo>
                    <a:pt x="1164" y="350"/>
                    <a:pt x="1107" y="293"/>
                    <a:pt x="1107" y="224"/>
                  </a:cubicBezTo>
                  <a:lnTo>
                    <a:pt x="1107" y="126"/>
                  </a:lnTo>
                  <a:cubicBezTo>
                    <a:pt x="1107" y="56"/>
                    <a:pt x="1164" y="0"/>
                    <a:pt x="1233" y="0"/>
                  </a:cubicBezTo>
                  <a:lnTo>
                    <a:pt x="2306" y="0"/>
                  </a:lnTo>
                  <a:cubicBezTo>
                    <a:pt x="2375" y="0"/>
                    <a:pt x="2432" y="56"/>
                    <a:pt x="2432" y="126"/>
                  </a:cubicBezTo>
                  <a:lnTo>
                    <a:pt x="2432" y="224"/>
                  </a:lnTo>
                  <a:cubicBezTo>
                    <a:pt x="2432" y="293"/>
                    <a:pt x="2375" y="350"/>
                    <a:pt x="2306" y="350"/>
                  </a:cubicBezTo>
                  <a:lnTo>
                    <a:pt x="2261" y="350"/>
                  </a:lnTo>
                  <a:lnTo>
                    <a:pt x="2261" y="1715"/>
                  </a:lnTo>
                  <a:close/>
                  <a:moveTo>
                    <a:pt x="2803" y="2712"/>
                  </a:moveTo>
                  <a:lnTo>
                    <a:pt x="2164" y="1766"/>
                  </a:lnTo>
                  <a:lnTo>
                    <a:pt x="2164" y="350"/>
                  </a:lnTo>
                  <a:lnTo>
                    <a:pt x="1375" y="350"/>
                  </a:lnTo>
                  <a:lnTo>
                    <a:pt x="1375" y="1748"/>
                  </a:lnTo>
                  <a:lnTo>
                    <a:pt x="291" y="3372"/>
                  </a:lnTo>
                  <a:cubicBezTo>
                    <a:pt x="265" y="3411"/>
                    <a:pt x="247" y="3457"/>
                    <a:pt x="247" y="3508"/>
                  </a:cubicBezTo>
                  <a:cubicBezTo>
                    <a:pt x="247" y="3636"/>
                    <a:pt x="454" y="3740"/>
                    <a:pt x="583" y="3740"/>
                  </a:cubicBezTo>
                  <a:lnTo>
                    <a:pt x="2850" y="3740"/>
                  </a:lnTo>
                  <a:lnTo>
                    <a:pt x="2850" y="3735"/>
                  </a:lnTo>
                  <a:cubicBezTo>
                    <a:pt x="2843" y="3719"/>
                    <a:pt x="2838" y="3703"/>
                    <a:pt x="2833" y="3686"/>
                  </a:cubicBezTo>
                  <a:cubicBezTo>
                    <a:pt x="2831" y="3684"/>
                    <a:pt x="2829" y="3682"/>
                    <a:pt x="2826" y="3679"/>
                  </a:cubicBezTo>
                  <a:lnTo>
                    <a:pt x="599" y="3679"/>
                  </a:lnTo>
                  <a:cubicBezTo>
                    <a:pt x="493" y="3679"/>
                    <a:pt x="322" y="3593"/>
                    <a:pt x="322" y="3487"/>
                  </a:cubicBezTo>
                  <a:cubicBezTo>
                    <a:pt x="322" y="3445"/>
                    <a:pt x="336" y="3407"/>
                    <a:pt x="358" y="3374"/>
                  </a:cubicBezTo>
                  <a:lnTo>
                    <a:pt x="1096" y="2269"/>
                  </a:lnTo>
                  <a:lnTo>
                    <a:pt x="1096" y="2269"/>
                  </a:lnTo>
                  <a:lnTo>
                    <a:pt x="1096" y="2270"/>
                  </a:lnTo>
                  <a:cubicBezTo>
                    <a:pt x="1096" y="2327"/>
                    <a:pt x="1394" y="2373"/>
                    <a:pt x="1763" y="2373"/>
                  </a:cubicBezTo>
                  <a:cubicBezTo>
                    <a:pt x="2131" y="2373"/>
                    <a:pt x="2429" y="2327"/>
                    <a:pt x="2429" y="2270"/>
                  </a:cubicBezTo>
                  <a:lnTo>
                    <a:pt x="2429" y="2269"/>
                  </a:lnTo>
                  <a:lnTo>
                    <a:pt x="2435" y="2269"/>
                  </a:lnTo>
                  <a:lnTo>
                    <a:pt x="2812" y="2827"/>
                  </a:lnTo>
                  <a:lnTo>
                    <a:pt x="2814" y="2824"/>
                  </a:lnTo>
                  <a:cubicBezTo>
                    <a:pt x="2814" y="2794"/>
                    <a:pt x="2814" y="2764"/>
                    <a:pt x="2814" y="2734"/>
                  </a:cubicBezTo>
                  <a:cubicBezTo>
                    <a:pt x="2810" y="2727"/>
                    <a:pt x="2807" y="2720"/>
                    <a:pt x="2803" y="2712"/>
                  </a:cubicBezTo>
                  <a:close/>
                  <a:moveTo>
                    <a:pt x="2931" y="1821"/>
                  </a:moveTo>
                  <a:lnTo>
                    <a:pt x="2932" y="1821"/>
                  </a:lnTo>
                  <a:cubicBezTo>
                    <a:pt x="2944" y="1841"/>
                    <a:pt x="3099" y="1856"/>
                    <a:pt x="3289" y="1856"/>
                  </a:cubicBezTo>
                  <a:cubicBezTo>
                    <a:pt x="3479" y="1856"/>
                    <a:pt x="3635" y="1841"/>
                    <a:pt x="3647" y="1821"/>
                  </a:cubicBezTo>
                  <a:lnTo>
                    <a:pt x="3648" y="1821"/>
                  </a:lnTo>
                  <a:lnTo>
                    <a:pt x="3648" y="3553"/>
                  </a:lnTo>
                  <a:cubicBezTo>
                    <a:pt x="3648" y="3749"/>
                    <a:pt x="3487" y="3909"/>
                    <a:pt x="3291" y="3909"/>
                  </a:cubicBezTo>
                  <a:lnTo>
                    <a:pt x="3287" y="3909"/>
                  </a:lnTo>
                  <a:cubicBezTo>
                    <a:pt x="3091" y="3909"/>
                    <a:pt x="2931" y="3749"/>
                    <a:pt x="2931" y="3553"/>
                  </a:cubicBezTo>
                  <a:lnTo>
                    <a:pt x="2931" y="1821"/>
                  </a:lnTo>
                  <a:close/>
                  <a:moveTo>
                    <a:pt x="3289" y="1743"/>
                  </a:moveTo>
                  <a:cubicBezTo>
                    <a:pt x="3487" y="1743"/>
                    <a:pt x="3648" y="1759"/>
                    <a:pt x="3648" y="1780"/>
                  </a:cubicBezTo>
                  <a:cubicBezTo>
                    <a:pt x="3648" y="1800"/>
                    <a:pt x="3487" y="1816"/>
                    <a:pt x="3289" y="1816"/>
                  </a:cubicBezTo>
                  <a:cubicBezTo>
                    <a:pt x="3091" y="1816"/>
                    <a:pt x="2931" y="1800"/>
                    <a:pt x="2931" y="1780"/>
                  </a:cubicBezTo>
                  <a:cubicBezTo>
                    <a:pt x="2931" y="1759"/>
                    <a:pt x="3091" y="1743"/>
                    <a:pt x="3289" y="1743"/>
                  </a:cubicBezTo>
                  <a:close/>
                  <a:moveTo>
                    <a:pt x="1770" y="2119"/>
                  </a:moveTo>
                  <a:cubicBezTo>
                    <a:pt x="2122" y="2119"/>
                    <a:pt x="2407" y="2166"/>
                    <a:pt x="2407" y="2222"/>
                  </a:cubicBezTo>
                  <a:cubicBezTo>
                    <a:pt x="2407" y="2279"/>
                    <a:pt x="2122" y="2326"/>
                    <a:pt x="1770" y="2326"/>
                  </a:cubicBezTo>
                  <a:cubicBezTo>
                    <a:pt x="1418" y="2326"/>
                    <a:pt x="1132" y="2279"/>
                    <a:pt x="1132" y="2222"/>
                  </a:cubicBezTo>
                  <a:cubicBezTo>
                    <a:pt x="1132" y="2166"/>
                    <a:pt x="1418" y="2119"/>
                    <a:pt x="1770" y="2119"/>
                  </a:cubicBezTo>
                  <a:close/>
                  <a:moveTo>
                    <a:pt x="1145" y="2391"/>
                  </a:moveTo>
                  <a:cubicBezTo>
                    <a:pt x="1215" y="2412"/>
                    <a:pt x="1333" y="2430"/>
                    <a:pt x="1478" y="2440"/>
                  </a:cubicBezTo>
                  <a:lnTo>
                    <a:pt x="1214" y="3499"/>
                  </a:lnTo>
                  <a:cubicBezTo>
                    <a:pt x="1200" y="3564"/>
                    <a:pt x="1138" y="3588"/>
                    <a:pt x="1060" y="3591"/>
                  </a:cubicBezTo>
                  <a:cubicBezTo>
                    <a:pt x="908" y="3595"/>
                    <a:pt x="757" y="3599"/>
                    <a:pt x="605" y="3603"/>
                  </a:cubicBezTo>
                  <a:cubicBezTo>
                    <a:pt x="497" y="3604"/>
                    <a:pt x="498" y="3495"/>
                    <a:pt x="564" y="3387"/>
                  </a:cubicBezTo>
                  <a:lnTo>
                    <a:pt x="1145" y="2391"/>
                  </a:ln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412" name="Прямоугольная выноска 119">
            <a:extLst/>
          </p:cNvPr>
          <p:cNvSpPr/>
          <p:nvPr/>
        </p:nvSpPr>
        <p:spPr>
          <a:xfrm>
            <a:off x="10420351" y="3909485"/>
            <a:ext cx="1557867" cy="687916"/>
          </a:xfrm>
          <a:prstGeom prst="wedgeRectCallout">
            <a:avLst>
              <a:gd name="adj1" fmla="val -49854"/>
              <a:gd name="adj2" fmla="val -66786"/>
            </a:avLst>
          </a:prstGeom>
          <a:solidFill>
            <a:srgbClr val="FFFFFF">
              <a:lumMod val="85000"/>
              <a:alpha val="7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51425" tIns="51425" rIns="51425" bIns="51425" anchor="ctr"/>
          <a:lstStyle/>
          <a:p>
            <a:pPr marL="126987" indent="-126987" defTabSz="653077">
              <a:buFont typeface="+mj-lt"/>
              <a:buAutoNum type="arabicPeriod"/>
              <a:defRPr/>
            </a:pPr>
            <a:r>
              <a:rPr lang="ru-RU" sz="667" kern="0" dirty="0">
                <a:solidFill>
                  <a:srgbClr val="000000"/>
                </a:solidFill>
                <a:latin typeface="Arial"/>
              </a:rPr>
              <a:t>АО «</a:t>
            </a:r>
            <a:r>
              <a:rPr lang="ru-RU" sz="667" kern="0" dirty="0" err="1">
                <a:solidFill>
                  <a:srgbClr val="000000"/>
                </a:solidFill>
                <a:latin typeface="Arial"/>
              </a:rPr>
              <a:t>Абди</a:t>
            </a:r>
            <a:r>
              <a:rPr lang="ru-RU" sz="667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667" kern="0" dirty="0" err="1">
                <a:solidFill>
                  <a:srgbClr val="000000"/>
                </a:solidFill>
                <a:latin typeface="Arial"/>
              </a:rPr>
              <a:t>Ибрахим</a:t>
            </a:r>
            <a:r>
              <a:rPr lang="ru-RU" sz="667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667" kern="0" dirty="0" err="1">
                <a:solidFill>
                  <a:srgbClr val="000000"/>
                </a:solidFill>
                <a:latin typeface="Arial"/>
              </a:rPr>
              <a:t>Глобал</a:t>
            </a:r>
            <a:r>
              <a:rPr lang="ru-RU" sz="667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667" kern="0" dirty="0" err="1">
                <a:solidFill>
                  <a:srgbClr val="000000"/>
                </a:solidFill>
                <a:latin typeface="Arial"/>
              </a:rPr>
              <a:t>фарм</a:t>
            </a:r>
            <a:r>
              <a:rPr lang="ru-RU" sz="667" kern="0" dirty="0">
                <a:solidFill>
                  <a:srgbClr val="000000"/>
                </a:solidFill>
                <a:latin typeface="Arial"/>
              </a:rPr>
              <a:t>»</a:t>
            </a:r>
          </a:p>
          <a:p>
            <a:pPr marL="126987" indent="-126987" defTabSz="653077">
              <a:buFont typeface="+mj-lt"/>
              <a:buAutoNum type="arabicPeriod"/>
              <a:defRPr/>
            </a:pPr>
            <a:r>
              <a:rPr lang="ru-RU" sz="667" kern="0" dirty="0">
                <a:solidFill>
                  <a:srgbClr val="000000"/>
                </a:solidFill>
                <a:latin typeface="Arial"/>
              </a:rPr>
              <a:t>ТОО «</a:t>
            </a:r>
            <a:r>
              <a:rPr lang="ru-RU" sz="667" kern="0" dirty="0" err="1">
                <a:solidFill>
                  <a:srgbClr val="000000"/>
                </a:solidFill>
                <a:latin typeface="Arial"/>
              </a:rPr>
              <a:t>Келун</a:t>
            </a:r>
            <a:r>
              <a:rPr lang="ru-RU" sz="667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667" kern="0" dirty="0" err="1">
                <a:solidFill>
                  <a:srgbClr val="000000"/>
                </a:solidFill>
                <a:latin typeface="Arial"/>
              </a:rPr>
              <a:t>Казфарм</a:t>
            </a:r>
            <a:r>
              <a:rPr lang="ru-RU" sz="667" kern="0" dirty="0">
                <a:solidFill>
                  <a:srgbClr val="000000"/>
                </a:solidFill>
                <a:latin typeface="Arial"/>
              </a:rPr>
              <a:t>»</a:t>
            </a:r>
          </a:p>
          <a:p>
            <a:pPr marL="126987" indent="-126987" defTabSz="653077">
              <a:buFont typeface="+mj-lt"/>
              <a:buAutoNum type="arabicPeriod"/>
              <a:defRPr/>
            </a:pPr>
            <a:r>
              <a:rPr lang="ru-RU" sz="667" kern="0" dirty="0">
                <a:solidFill>
                  <a:srgbClr val="000000"/>
                </a:solidFill>
                <a:latin typeface="Arial"/>
              </a:rPr>
              <a:t>ТОО «</a:t>
            </a:r>
            <a:r>
              <a:rPr lang="en-US" sz="667" kern="0" dirty="0">
                <a:solidFill>
                  <a:srgbClr val="000000"/>
                </a:solidFill>
                <a:latin typeface="Arial"/>
              </a:rPr>
              <a:t>Dolce</a:t>
            </a:r>
            <a:r>
              <a:rPr lang="ru-RU" sz="667" kern="0" dirty="0">
                <a:solidFill>
                  <a:srgbClr val="000000"/>
                </a:solidFill>
                <a:latin typeface="Arial"/>
              </a:rPr>
              <a:t>»</a:t>
            </a:r>
          </a:p>
          <a:p>
            <a:pPr marL="126987" indent="-126987" defTabSz="653077">
              <a:buFont typeface="+mj-lt"/>
              <a:buAutoNum type="arabicPeriod"/>
              <a:defRPr/>
            </a:pPr>
            <a:r>
              <a:rPr lang="ru-RU" sz="667" kern="0" dirty="0">
                <a:solidFill>
                  <a:srgbClr val="000000"/>
                </a:solidFill>
                <a:latin typeface="Arial"/>
              </a:rPr>
              <a:t>ТОО «Султан» </a:t>
            </a:r>
          </a:p>
          <a:p>
            <a:pPr marL="126987" indent="-126987" defTabSz="653077">
              <a:buFont typeface="+mj-lt"/>
              <a:buAutoNum type="arabicPeriod"/>
              <a:defRPr/>
            </a:pPr>
            <a:r>
              <a:rPr lang="ru-RU" sz="667" kern="0" dirty="0">
                <a:solidFill>
                  <a:srgbClr val="000000"/>
                </a:solidFill>
                <a:latin typeface="Arial"/>
              </a:rPr>
              <a:t>ТОО «</a:t>
            </a:r>
            <a:r>
              <a:rPr lang="ru-RU" sz="667" kern="0" dirty="0" err="1">
                <a:solidFill>
                  <a:srgbClr val="000000"/>
                </a:solidFill>
                <a:latin typeface="Arial"/>
              </a:rPr>
              <a:t>Нур</a:t>
            </a:r>
            <a:r>
              <a:rPr lang="ru-RU" sz="667" kern="0" dirty="0">
                <a:solidFill>
                  <a:srgbClr val="000000"/>
                </a:solidFill>
                <a:latin typeface="Arial"/>
              </a:rPr>
              <a:t>-май Фармация» и др.</a:t>
            </a:r>
          </a:p>
        </p:txBody>
      </p:sp>
      <p:sp>
        <p:nvSpPr>
          <p:cNvPr id="413" name="TextBox 412">
            <a:extLst/>
          </p:cNvPr>
          <p:cNvSpPr txBox="1"/>
          <p:nvPr>
            <p:custDataLst>
              <p:tags r:id="rId1"/>
            </p:custDataLst>
          </p:nvPr>
        </p:nvSpPr>
        <p:spPr>
          <a:xfrm>
            <a:off x="9643533" y="4474634"/>
            <a:ext cx="541867" cy="10265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defTabSz="653077">
              <a:defRPr/>
            </a:pPr>
            <a:r>
              <a:rPr lang="ru-RU" sz="667" b="1" ker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г. Алматы</a:t>
            </a:r>
          </a:p>
        </p:txBody>
      </p:sp>
      <p:sp>
        <p:nvSpPr>
          <p:cNvPr id="414" name="Овал 58">
            <a:extLst/>
          </p:cNvPr>
          <p:cNvSpPr/>
          <p:nvPr/>
        </p:nvSpPr>
        <p:spPr>
          <a:xfrm>
            <a:off x="9624484" y="4559300"/>
            <a:ext cx="59267" cy="50800"/>
          </a:xfrm>
          <a:prstGeom prst="ellipse">
            <a:avLst/>
          </a:prstGeom>
          <a:solidFill>
            <a:srgbClr val="C00000"/>
          </a:solidFill>
          <a:ln w="25400" cap="flat" cmpd="sng" algn="ctr">
            <a:solidFill>
              <a:srgbClr val="DDDDDD">
                <a:shade val="50000"/>
              </a:srgbClr>
            </a:solidFill>
            <a:prstDash val="solid"/>
          </a:ln>
          <a:effectLst/>
        </p:spPr>
        <p:txBody>
          <a:bodyPr lIns="121915" tIns="60957" rIns="121915" bIns="60957" anchor="ctr"/>
          <a:lstStyle/>
          <a:p>
            <a:pPr algn="ctr" defTabSz="653077">
              <a:defRPr/>
            </a:pPr>
            <a:endParaRPr lang="ru-RU" sz="1333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15" name="Прямоугольная выноска 119">
            <a:extLst/>
          </p:cNvPr>
          <p:cNvSpPr/>
          <p:nvPr/>
        </p:nvSpPr>
        <p:spPr>
          <a:xfrm>
            <a:off x="9675284" y="4754033"/>
            <a:ext cx="1244600" cy="594784"/>
          </a:xfrm>
          <a:prstGeom prst="wedgeRectCallout">
            <a:avLst>
              <a:gd name="adj1" fmla="val -49854"/>
              <a:gd name="adj2" fmla="val -66786"/>
            </a:avLst>
          </a:prstGeom>
          <a:solidFill>
            <a:srgbClr val="FFFFFF">
              <a:lumMod val="85000"/>
              <a:alpha val="7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51425" tIns="51425" rIns="51425" bIns="51425" anchor="ctr"/>
          <a:lstStyle/>
          <a:p>
            <a:pPr marL="126987" indent="-126987" defTabSz="653077">
              <a:buFont typeface="+mj-lt"/>
              <a:buAutoNum type="arabicPeriod"/>
              <a:defRPr/>
            </a:pPr>
            <a:r>
              <a:rPr lang="ru-RU" sz="667" kern="0">
                <a:solidFill>
                  <a:srgbClr val="000000"/>
                </a:solidFill>
                <a:latin typeface="Arial"/>
              </a:rPr>
              <a:t>АО «</a:t>
            </a:r>
            <a:r>
              <a:rPr lang="ru-RU" sz="667" kern="0" err="1">
                <a:solidFill>
                  <a:srgbClr val="000000"/>
                </a:solidFill>
                <a:latin typeface="Arial"/>
              </a:rPr>
              <a:t>Нобел</a:t>
            </a:r>
            <a:r>
              <a:rPr lang="ru-RU" sz="667" kern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667" kern="0" err="1">
                <a:solidFill>
                  <a:srgbClr val="000000"/>
                </a:solidFill>
                <a:latin typeface="Arial"/>
              </a:rPr>
              <a:t>Алматинская</a:t>
            </a:r>
            <a:r>
              <a:rPr lang="ru-RU" sz="667" kern="0">
                <a:solidFill>
                  <a:srgbClr val="000000"/>
                </a:solidFill>
                <a:latin typeface="Arial"/>
              </a:rPr>
              <a:t> фармацевтическая фабрика»</a:t>
            </a:r>
          </a:p>
          <a:p>
            <a:pPr marL="126987" indent="-126987" defTabSz="653077">
              <a:buFont typeface="+mj-lt"/>
              <a:buAutoNum type="arabicPeriod"/>
              <a:defRPr/>
            </a:pPr>
            <a:r>
              <a:rPr lang="ru-RU" sz="667" kern="0">
                <a:solidFill>
                  <a:srgbClr val="000000"/>
                </a:solidFill>
                <a:latin typeface="Arial"/>
              </a:rPr>
              <a:t>ТОО «</a:t>
            </a:r>
            <a:r>
              <a:rPr lang="ru-RU" sz="667" kern="0" err="1">
                <a:solidFill>
                  <a:srgbClr val="000000"/>
                </a:solidFill>
                <a:latin typeface="Arial"/>
              </a:rPr>
              <a:t>Вивафарм</a:t>
            </a:r>
            <a:r>
              <a:rPr lang="ru-RU" sz="667" kern="0">
                <a:solidFill>
                  <a:srgbClr val="000000"/>
                </a:solidFill>
                <a:latin typeface="Arial"/>
              </a:rPr>
              <a:t>»</a:t>
            </a:r>
          </a:p>
          <a:p>
            <a:pPr marL="126987" indent="-126987" defTabSz="653077">
              <a:buFont typeface="+mj-lt"/>
              <a:buAutoNum type="arabicPeriod"/>
              <a:defRPr/>
            </a:pPr>
            <a:r>
              <a:rPr lang="ru-RU" sz="667" kern="0">
                <a:solidFill>
                  <a:srgbClr val="000000"/>
                </a:solidFill>
                <a:latin typeface="Arial"/>
              </a:rPr>
              <a:t>ТОО «</a:t>
            </a:r>
            <a:r>
              <a:rPr lang="ru-RU" sz="667" kern="0" err="1">
                <a:solidFill>
                  <a:srgbClr val="000000"/>
                </a:solidFill>
                <a:latin typeface="Arial"/>
              </a:rPr>
              <a:t>Бирунифарм</a:t>
            </a:r>
            <a:r>
              <a:rPr lang="ru-RU" sz="667" kern="0">
                <a:solidFill>
                  <a:srgbClr val="000000"/>
                </a:solidFill>
                <a:latin typeface="Arial"/>
              </a:rPr>
              <a:t>»</a:t>
            </a:r>
          </a:p>
          <a:p>
            <a:pPr marL="126987" indent="-126987" defTabSz="653077">
              <a:buFont typeface="+mj-lt"/>
              <a:buAutoNum type="arabicPeriod"/>
              <a:defRPr/>
            </a:pPr>
            <a:r>
              <a:rPr lang="ru-RU" sz="667" kern="0">
                <a:solidFill>
                  <a:srgbClr val="000000"/>
                </a:solidFill>
                <a:latin typeface="Arial"/>
              </a:rPr>
              <a:t>ТОО «</a:t>
            </a:r>
            <a:r>
              <a:rPr lang="ru-RU" sz="667" kern="0" err="1">
                <a:solidFill>
                  <a:srgbClr val="000000"/>
                </a:solidFill>
                <a:latin typeface="Arial"/>
              </a:rPr>
              <a:t>Фитолеум</a:t>
            </a:r>
            <a:r>
              <a:rPr lang="ru-RU" sz="667" kern="0">
                <a:solidFill>
                  <a:srgbClr val="000000"/>
                </a:solidFill>
                <a:latin typeface="Arial"/>
              </a:rPr>
              <a:t>» и др.</a:t>
            </a:r>
          </a:p>
        </p:txBody>
      </p:sp>
      <p:sp>
        <p:nvSpPr>
          <p:cNvPr id="416" name="TextBox 415">
            <a:extLst/>
          </p:cNvPr>
          <p:cNvSpPr txBox="1"/>
          <p:nvPr>
            <p:custDataLst>
              <p:tags r:id="rId2"/>
            </p:custDataLst>
          </p:nvPr>
        </p:nvSpPr>
        <p:spPr>
          <a:xfrm>
            <a:off x="7497234" y="4184651"/>
            <a:ext cx="723900" cy="2053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defTabSz="653077">
              <a:defRPr/>
            </a:pPr>
            <a:r>
              <a:rPr lang="ru-RU" sz="667" b="1" ker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Туркестанская область</a:t>
            </a:r>
          </a:p>
        </p:txBody>
      </p:sp>
      <p:sp>
        <p:nvSpPr>
          <p:cNvPr id="417" name="TextBox 416">
            <a:extLst/>
          </p:cNvPr>
          <p:cNvSpPr txBox="1"/>
          <p:nvPr>
            <p:custDataLst>
              <p:tags r:id="rId3"/>
            </p:custDataLst>
          </p:nvPr>
        </p:nvSpPr>
        <p:spPr>
          <a:xfrm>
            <a:off x="7556500" y="5039785"/>
            <a:ext cx="541867" cy="10265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defTabSz="653077">
              <a:defRPr/>
            </a:pPr>
            <a:r>
              <a:rPr lang="ru-RU" sz="667" b="1" ker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г. Шымкент</a:t>
            </a:r>
          </a:p>
        </p:txBody>
      </p:sp>
      <p:sp>
        <p:nvSpPr>
          <p:cNvPr id="418" name="Овал 58">
            <a:extLst/>
          </p:cNvPr>
          <p:cNvSpPr/>
          <p:nvPr/>
        </p:nvSpPr>
        <p:spPr>
          <a:xfrm>
            <a:off x="7507817" y="5088467"/>
            <a:ext cx="59267" cy="48684"/>
          </a:xfrm>
          <a:prstGeom prst="ellipse">
            <a:avLst/>
          </a:prstGeom>
          <a:solidFill>
            <a:srgbClr val="C00000"/>
          </a:solidFill>
          <a:ln w="25400" cap="flat" cmpd="sng" algn="ctr">
            <a:solidFill>
              <a:srgbClr val="DDDDDD">
                <a:shade val="50000"/>
              </a:srgbClr>
            </a:solidFill>
            <a:prstDash val="solid"/>
          </a:ln>
          <a:effectLst/>
        </p:spPr>
        <p:txBody>
          <a:bodyPr lIns="121915" tIns="60957" rIns="121915" bIns="60957" anchor="ctr"/>
          <a:lstStyle/>
          <a:p>
            <a:pPr algn="ctr" defTabSz="653077">
              <a:defRPr/>
            </a:pPr>
            <a:endParaRPr lang="ru-RU" sz="1333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19" name="Прямоугольная выноска 94">
            <a:extLst/>
          </p:cNvPr>
          <p:cNvSpPr/>
          <p:nvPr/>
        </p:nvSpPr>
        <p:spPr>
          <a:xfrm>
            <a:off x="6110818" y="5399617"/>
            <a:ext cx="1490133" cy="584200"/>
          </a:xfrm>
          <a:prstGeom prst="wedgeRectCallout">
            <a:avLst>
              <a:gd name="adj1" fmla="val 47438"/>
              <a:gd name="adj2" fmla="val -88595"/>
            </a:avLst>
          </a:prstGeom>
          <a:solidFill>
            <a:srgbClr val="FFFFFF">
              <a:lumMod val="85000"/>
              <a:alpha val="7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51425" tIns="51425" rIns="51425" bIns="51425" anchor="ctr"/>
          <a:lstStyle/>
          <a:p>
            <a:pPr marL="126987" indent="-126987" defTabSz="653077">
              <a:buFont typeface="+mj-lt"/>
              <a:buAutoNum type="arabicPeriod"/>
              <a:defRPr/>
            </a:pPr>
            <a:r>
              <a:rPr lang="ru-RU" sz="667" kern="0">
                <a:solidFill>
                  <a:srgbClr val="000000"/>
                </a:solidFill>
                <a:latin typeface="Arial"/>
              </a:rPr>
              <a:t>АО «</a:t>
            </a:r>
            <a:r>
              <a:rPr lang="ru-RU" sz="667" kern="0" err="1">
                <a:solidFill>
                  <a:srgbClr val="000000"/>
                </a:solidFill>
                <a:latin typeface="Arial"/>
              </a:rPr>
              <a:t>Химфарм</a:t>
            </a:r>
            <a:r>
              <a:rPr lang="ru-RU" sz="667" kern="0">
                <a:solidFill>
                  <a:srgbClr val="000000"/>
                </a:solidFill>
                <a:latin typeface="Arial"/>
              </a:rPr>
              <a:t>»</a:t>
            </a:r>
          </a:p>
          <a:p>
            <a:pPr marL="126987" indent="-126987" defTabSz="653077">
              <a:buFont typeface="+mj-lt"/>
              <a:buAutoNum type="arabicPeriod"/>
              <a:defRPr/>
            </a:pPr>
            <a:r>
              <a:rPr lang="ru-RU" sz="667" kern="0">
                <a:solidFill>
                  <a:srgbClr val="000000"/>
                </a:solidFill>
                <a:latin typeface="Arial"/>
              </a:rPr>
              <a:t>ТОО «</a:t>
            </a:r>
            <a:r>
              <a:rPr lang="ru-RU" sz="667" kern="0" err="1">
                <a:solidFill>
                  <a:srgbClr val="000000"/>
                </a:solidFill>
                <a:latin typeface="Arial"/>
              </a:rPr>
              <a:t>Зерде</a:t>
            </a:r>
            <a:r>
              <a:rPr lang="ru-RU" sz="667" kern="0">
                <a:solidFill>
                  <a:srgbClr val="000000"/>
                </a:solidFill>
                <a:latin typeface="Arial"/>
              </a:rPr>
              <a:t>-Фито»</a:t>
            </a:r>
          </a:p>
          <a:p>
            <a:pPr marL="126987" indent="-126987" defTabSz="653077">
              <a:buFont typeface="+mj-lt"/>
              <a:buAutoNum type="arabicPeriod"/>
              <a:defRPr/>
            </a:pPr>
            <a:r>
              <a:rPr lang="ru-RU" sz="667" kern="0">
                <a:solidFill>
                  <a:srgbClr val="000000"/>
                </a:solidFill>
                <a:latin typeface="Arial"/>
              </a:rPr>
              <a:t>ТОО «</a:t>
            </a:r>
            <a:r>
              <a:rPr lang="ru-RU" sz="667" kern="0" err="1">
                <a:solidFill>
                  <a:srgbClr val="000000"/>
                </a:solidFill>
                <a:latin typeface="Arial"/>
              </a:rPr>
              <a:t>Экофарм</a:t>
            </a:r>
            <a:r>
              <a:rPr lang="ru-RU" sz="667" kern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667" kern="0" err="1">
                <a:solidFill>
                  <a:srgbClr val="000000"/>
                </a:solidFill>
                <a:latin typeface="Arial"/>
              </a:rPr>
              <a:t>интернейшнл</a:t>
            </a:r>
            <a:r>
              <a:rPr lang="ru-RU" sz="667" kern="0">
                <a:solidFill>
                  <a:srgbClr val="000000"/>
                </a:solidFill>
                <a:latin typeface="Arial"/>
              </a:rPr>
              <a:t>»</a:t>
            </a:r>
          </a:p>
          <a:p>
            <a:pPr marL="126987" indent="-126987" defTabSz="653077">
              <a:buFont typeface="+mj-lt"/>
              <a:buAutoNum type="arabicPeriod"/>
              <a:defRPr/>
            </a:pPr>
            <a:r>
              <a:rPr lang="ru-RU" sz="667" kern="0">
                <a:solidFill>
                  <a:srgbClr val="000000"/>
                </a:solidFill>
                <a:latin typeface="Arial"/>
              </a:rPr>
              <a:t>ТОО «</a:t>
            </a:r>
            <a:r>
              <a:rPr lang="ru-RU" sz="667" kern="0" err="1">
                <a:solidFill>
                  <a:srgbClr val="000000"/>
                </a:solidFill>
                <a:latin typeface="Arial"/>
              </a:rPr>
              <a:t>КазМедПрибор</a:t>
            </a:r>
            <a:r>
              <a:rPr lang="ru-RU" sz="667" kern="0">
                <a:solidFill>
                  <a:srgbClr val="000000"/>
                </a:solidFill>
                <a:latin typeface="Arial"/>
              </a:rPr>
              <a:t>»</a:t>
            </a:r>
          </a:p>
        </p:txBody>
      </p:sp>
      <p:grpSp>
        <p:nvGrpSpPr>
          <p:cNvPr id="420" name="Группа 118">
            <a:extLst/>
          </p:cNvPr>
          <p:cNvGrpSpPr/>
          <p:nvPr/>
        </p:nvGrpSpPr>
        <p:grpSpPr>
          <a:xfrm>
            <a:off x="7533497" y="5221538"/>
            <a:ext cx="789963" cy="834433"/>
            <a:chOff x="238034" y="4702745"/>
            <a:chExt cx="879566" cy="87956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21" name="Freeform 7">
              <a:extLst/>
            </p:cNvPr>
            <p:cNvSpPr>
              <a:spLocks/>
            </p:cNvSpPr>
            <p:nvPr/>
          </p:nvSpPr>
          <p:spPr bwMode="auto">
            <a:xfrm>
              <a:off x="238034" y="4702745"/>
              <a:ext cx="879566" cy="879566"/>
            </a:xfrm>
            <a:custGeom>
              <a:avLst/>
              <a:gdLst/>
              <a:ahLst/>
              <a:cxnLst>
                <a:cxn ang="0">
                  <a:pos x="780" y="0"/>
                </a:cxn>
                <a:cxn ang="0">
                  <a:pos x="4215" y="0"/>
                </a:cxn>
                <a:cxn ang="0">
                  <a:pos x="4995" y="780"/>
                </a:cxn>
                <a:cxn ang="0">
                  <a:pos x="4995" y="4215"/>
                </a:cxn>
                <a:cxn ang="0">
                  <a:pos x="4215" y="4995"/>
                </a:cxn>
                <a:cxn ang="0">
                  <a:pos x="780" y="4995"/>
                </a:cxn>
                <a:cxn ang="0">
                  <a:pos x="0" y="4215"/>
                </a:cxn>
                <a:cxn ang="0">
                  <a:pos x="0" y="780"/>
                </a:cxn>
                <a:cxn ang="0">
                  <a:pos x="780" y="0"/>
                </a:cxn>
              </a:cxnLst>
              <a:rect l="0" t="0" r="r" b="b"/>
              <a:pathLst>
                <a:path w="4995" h="4995">
                  <a:moveTo>
                    <a:pt x="780" y="0"/>
                  </a:moveTo>
                  <a:lnTo>
                    <a:pt x="4215" y="0"/>
                  </a:lnTo>
                  <a:cubicBezTo>
                    <a:pt x="4644" y="0"/>
                    <a:pt x="4995" y="351"/>
                    <a:pt x="4995" y="780"/>
                  </a:cubicBezTo>
                  <a:lnTo>
                    <a:pt x="4995" y="4215"/>
                  </a:lnTo>
                  <a:cubicBezTo>
                    <a:pt x="4995" y="4644"/>
                    <a:pt x="4644" y="4995"/>
                    <a:pt x="4215" y="4995"/>
                  </a:cubicBezTo>
                  <a:lnTo>
                    <a:pt x="780" y="4995"/>
                  </a:lnTo>
                  <a:cubicBezTo>
                    <a:pt x="351" y="4995"/>
                    <a:pt x="0" y="4644"/>
                    <a:pt x="0" y="4215"/>
                  </a:cubicBezTo>
                  <a:lnTo>
                    <a:pt x="0" y="780"/>
                  </a:lnTo>
                  <a:cubicBezTo>
                    <a:pt x="0" y="351"/>
                    <a:pt x="351" y="0"/>
                    <a:pt x="78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2" name="Freeform 8">
              <a:extLst/>
            </p:cNvPr>
            <p:cNvSpPr>
              <a:spLocks noEditPoints="1"/>
            </p:cNvSpPr>
            <p:nvPr/>
          </p:nvSpPr>
          <p:spPr bwMode="auto">
            <a:xfrm>
              <a:off x="678076" y="5097732"/>
              <a:ext cx="419511" cy="426716"/>
            </a:xfrm>
            <a:custGeom>
              <a:avLst/>
              <a:gdLst/>
              <a:ahLst/>
              <a:cxnLst>
                <a:cxn ang="0">
                  <a:pos x="4097" y="2858"/>
                </a:cxn>
                <a:cxn ang="0">
                  <a:pos x="2329" y="2834"/>
                </a:cxn>
                <a:cxn ang="0">
                  <a:pos x="2778" y="336"/>
                </a:cxn>
                <a:cxn ang="0">
                  <a:pos x="3313" y="1691"/>
                </a:cxn>
                <a:cxn ang="0">
                  <a:pos x="1421" y="1012"/>
                </a:cxn>
                <a:cxn ang="0">
                  <a:pos x="2264" y="2553"/>
                </a:cxn>
                <a:cxn ang="0">
                  <a:pos x="1929" y="2441"/>
                </a:cxn>
                <a:cxn ang="0">
                  <a:pos x="2778" y="336"/>
                </a:cxn>
                <a:cxn ang="0">
                  <a:pos x="3534" y="1733"/>
                </a:cxn>
                <a:cxn ang="0">
                  <a:pos x="3374" y="1699"/>
                </a:cxn>
                <a:cxn ang="0">
                  <a:pos x="4409" y="2862"/>
                </a:cxn>
                <a:cxn ang="0">
                  <a:pos x="3197" y="4006"/>
                </a:cxn>
                <a:cxn ang="0">
                  <a:pos x="1601" y="4482"/>
                </a:cxn>
                <a:cxn ang="0">
                  <a:pos x="8" y="3282"/>
                </a:cxn>
                <a:cxn ang="0">
                  <a:pos x="1366" y="990"/>
                </a:cxn>
                <a:cxn ang="0">
                  <a:pos x="2916" y="263"/>
                </a:cxn>
                <a:cxn ang="0">
                  <a:pos x="2844" y="3924"/>
                </a:cxn>
                <a:cxn ang="0">
                  <a:pos x="2798" y="3901"/>
                </a:cxn>
                <a:cxn ang="0">
                  <a:pos x="121" y="3643"/>
                </a:cxn>
                <a:cxn ang="0">
                  <a:pos x="2844" y="3924"/>
                </a:cxn>
                <a:cxn ang="0">
                  <a:pos x="2689" y="3830"/>
                </a:cxn>
                <a:cxn ang="0">
                  <a:pos x="164" y="3280"/>
                </a:cxn>
                <a:cxn ang="0">
                  <a:pos x="1596" y="2373"/>
                </a:cxn>
                <a:cxn ang="0">
                  <a:pos x="96" y="3281"/>
                </a:cxn>
                <a:cxn ang="0">
                  <a:pos x="2734" y="3862"/>
                </a:cxn>
                <a:cxn ang="0">
                  <a:pos x="4345" y="2861"/>
                </a:cxn>
                <a:cxn ang="0">
                  <a:pos x="4194" y="2859"/>
                </a:cxn>
                <a:cxn ang="0">
                  <a:pos x="3227" y="1751"/>
                </a:cxn>
                <a:cxn ang="0">
                  <a:pos x="3198" y="3941"/>
                </a:cxn>
                <a:cxn ang="0">
                  <a:pos x="3227" y="1751"/>
                </a:cxn>
                <a:cxn ang="0">
                  <a:pos x="3867" y="2280"/>
                </a:cxn>
                <a:cxn ang="0">
                  <a:pos x="3876" y="2311"/>
                </a:cxn>
                <a:cxn ang="0">
                  <a:pos x="2496" y="3308"/>
                </a:cxn>
                <a:cxn ang="0">
                  <a:pos x="959" y="2553"/>
                </a:cxn>
                <a:cxn ang="0">
                  <a:pos x="2362" y="3942"/>
                </a:cxn>
                <a:cxn ang="0">
                  <a:pos x="941" y="2579"/>
                </a:cxn>
                <a:cxn ang="0">
                  <a:pos x="959" y="2553"/>
                </a:cxn>
                <a:cxn ang="0">
                  <a:pos x="3238" y="1073"/>
                </a:cxn>
                <a:cxn ang="0">
                  <a:pos x="3235" y="1107"/>
                </a:cxn>
                <a:cxn ang="0">
                  <a:pos x="1446" y="1575"/>
                </a:cxn>
              </a:cxnLst>
              <a:rect l="0" t="0" r="r" b="b"/>
              <a:pathLst>
                <a:path w="4416" h="4488">
                  <a:moveTo>
                    <a:pt x="3227" y="1801"/>
                  </a:moveTo>
                  <a:cubicBezTo>
                    <a:pt x="3715" y="1807"/>
                    <a:pt x="4104" y="2280"/>
                    <a:pt x="4097" y="2858"/>
                  </a:cubicBezTo>
                  <a:cubicBezTo>
                    <a:pt x="4089" y="3435"/>
                    <a:pt x="3687" y="3898"/>
                    <a:pt x="3199" y="3891"/>
                  </a:cubicBezTo>
                  <a:cubicBezTo>
                    <a:pt x="2711" y="3885"/>
                    <a:pt x="2321" y="3412"/>
                    <a:pt x="2329" y="2834"/>
                  </a:cubicBezTo>
                  <a:cubicBezTo>
                    <a:pt x="2336" y="2257"/>
                    <a:pt x="2738" y="1794"/>
                    <a:pt x="3227" y="1801"/>
                  </a:cubicBezTo>
                  <a:close/>
                  <a:moveTo>
                    <a:pt x="2778" y="336"/>
                  </a:moveTo>
                  <a:cubicBezTo>
                    <a:pt x="3253" y="528"/>
                    <a:pt x="3464" y="1123"/>
                    <a:pt x="3267" y="1687"/>
                  </a:cubicBezTo>
                  <a:cubicBezTo>
                    <a:pt x="3282" y="1688"/>
                    <a:pt x="3298" y="1690"/>
                    <a:pt x="3313" y="1691"/>
                  </a:cubicBezTo>
                  <a:cubicBezTo>
                    <a:pt x="3514" y="1104"/>
                    <a:pt x="3293" y="485"/>
                    <a:pt x="2799" y="286"/>
                  </a:cubicBezTo>
                  <a:cubicBezTo>
                    <a:pt x="2284" y="78"/>
                    <a:pt x="1667" y="403"/>
                    <a:pt x="1421" y="1012"/>
                  </a:cubicBezTo>
                  <a:cubicBezTo>
                    <a:pt x="1175" y="1621"/>
                    <a:pt x="1394" y="2283"/>
                    <a:pt x="1909" y="2491"/>
                  </a:cubicBezTo>
                  <a:cubicBezTo>
                    <a:pt x="2024" y="2538"/>
                    <a:pt x="2144" y="2557"/>
                    <a:pt x="2264" y="2553"/>
                  </a:cubicBezTo>
                  <a:cubicBezTo>
                    <a:pt x="2268" y="2535"/>
                    <a:pt x="2272" y="2518"/>
                    <a:pt x="2277" y="2500"/>
                  </a:cubicBezTo>
                  <a:cubicBezTo>
                    <a:pt x="2160" y="2505"/>
                    <a:pt x="2042" y="2487"/>
                    <a:pt x="1929" y="2441"/>
                  </a:cubicBezTo>
                  <a:cubicBezTo>
                    <a:pt x="1437" y="2243"/>
                    <a:pt x="1229" y="1611"/>
                    <a:pt x="1463" y="1029"/>
                  </a:cubicBezTo>
                  <a:cubicBezTo>
                    <a:pt x="1698" y="448"/>
                    <a:pt x="2287" y="138"/>
                    <a:pt x="2778" y="336"/>
                  </a:cubicBezTo>
                  <a:close/>
                  <a:moveTo>
                    <a:pt x="3374" y="1699"/>
                  </a:moveTo>
                  <a:cubicBezTo>
                    <a:pt x="3430" y="1707"/>
                    <a:pt x="3481" y="1718"/>
                    <a:pt x="3534" y="1733"/>
                  </a:cubicBezTo>
                  <a:cubicBezTo>
                    <a:pt x="3669" y="1269"/>
                    <a:pt x="3511" y="772"/>
                    <a:pt x="3153" y="445"/>
                  </a:cubicBezTo>
                  <a:cubicBezTo>
                    <a:pt x="3434" y="745"/>
                    <a:pt x="3530" y="1230"/>
                    <a:pt x="3374" y="1699"/>
                  </a:cubicBezTo>
                  <a:close/>
                  <a:moveTo>
                    <a:pt x="3600" y="1753"/>
                  </a:moveTo>
                  <a:cubicBezTo>
                    <a:pt x="4077" y="1916"/>
                    <a:pt x="4416" y="2353"/>
                    <a:pt x="4409" y="2862"/>
                  </a:cubicBezTo>
                  <a:cubicBezTo>
                    <a:pt x="4401" y="3466"/>
                    <a:pt x="3910" y="3955"/>
                    <a:pt x="3290" y="4002"/>
                  </a:cubicBezTo>
                  <a:cubicBezTo>
                    <a:pt x="3260" y="4005"/>
                    <a:pt x="3229" y="4007"/>
                    <a:pt x="3197" y="4006"/>
                  </a:cubicBezTo>
                  <a:cubicBezTo>
                    <a:pt x="3089" y="4005"/>
                    <a:pt x="2984" y="3982"/>
                    <a:pt x="2887" y="3943"/>
                  </a:cubicBezTo>
                  <a:cubicBezTo>
                    <a:pt x="2607" y="4265"/>
                    <a:pt x="2137" y="4477"/>
                    <a:pt x="1601" y="4482"/>
                  </a:cubicBezTo>
                  <a:cubicBezTo>
                    <a:pt x="781" y="4488"/>
                    <a:pt x="100" y="4003"/>
                    <a:pt x="16" y="3376"/>
                  </a:cubicBezTo>
                  <a:cubicBezTo>
                    <a:pt x="11" y="3345"/>
                    <a:pt x="8" y="3313"/>
                    <a:pt x="8" y="3282"/>
                  </a:cubicBezTo>
                  <a:cubicBezTo>
                    <a:pt x="0" y="2746"/>
                    <a:pt x="665" y="2304"/>
                    <a:pt x="1506" y="2276"/>
                  </a:cubicBezTo>
                  <a:cubicBezTo>
                    <a:pt x="1246" y="1954"/>
                    <a:pt x="1177" y="1457"/>
                    <a:pt x="1366" y="990"/>
                  </a:cubicBezTo>
                  <a:cubicBezTo>
                    <a:pt x="1626" y="345"/>
                    <a:pt x="2279" y="0"/>
                    <a:pt x="2825" y="220"/>
                  </a:cubicBezTo>
                  <a:cubicBezTo>
                    <a:pt x="2857" y="233"/>
                    <a:pt x="2887" y="247"/>
                    <a:pt x="2916" y="263"/>
                  </a:cubicBezTo>
                  <a:cubicBezTo>
                    <a:pt x="3478" y="550"/>
                    <a:pt x="3764" y="1177"/>
                    <a:pt x="3600" y="1753"/>
                  </a:cubicBezTo>
                  <a:close/>
                  <a:moveTo>
                    <a:pt x="2844" y="3924"/>
                  </a:moveTo>
                  <a:cubicBezTo>
                    <a:pt x="2829" y="3916"/>
                    <a:pt x="2814" y="3909"/>
                    <a:pt x="2799" y="3901"/>
                  </a:cubicBezTo>
                  <a:lnTo>
                    <a:pt x="2798" y="3901"/>
                  </a:lnTo>
                  <a:cubicBezTo>
                    <a:pt x="2512" y="4119"/>
                    <a:pt x="2082" y="4260"/>
                    <a:pt x="1598" y="4264"/>
                  </a:cubicBezTo>
                  <a:cubicBezTo>
                    <a:pt x="930" y="4269"/>
                    <a:pt x="355" y="4011"/>
                    <a:pt x="121" y="3643"/>
                  </a:cubicBezTo>
                  <a:cubicBezTo>
                    <a:pt x="357" y="4101"/>
                    <a:pt x="932" y="4422"/>
                    <a:pt x="1601" y="4417"/>
                  </a:cubicBezTo>
                  <a:cubicBezTo>
                    <a:pt x="2110" y="4413"/>
                    <a:pt x="2560" y="4220"/>
                    <a:pt x="2844" y="3924"/>
                  </a:cubicBezTo>
                  <a:close/>
                  <a:moveTo>
                    <a:pt x="2734" y="3862"/>
                  </a:moveTo>
                  <a:cubicBezTo>
                    <a:pt x="2719" y="3852"/>
                    <a:pt x="2704" y="3841"/>
                    <a:pt x="2689" y="3830"/>
                  </a:cubicBezTo>
                  <a:cubicBezTo>
                    <a:pt x="2431" y="4031"/>
                    <a:pt x="2038" y="4162"/>
                    <a:pt x="1597" y="4165"/>
                  </a:cubicBezTo>
                  <a:cubicBezTo>
                    <a:pt x="812" y="4171"/>
                    <a:pt x="171" y="3775"/>
                    <a:pt x="164" y="3280"/>
                  </a:cubicBezTo>
                  <a:cubicBezTo>
                    <a:pt x="157" y="2785"/>
                    <a:pt x="787" y="2379"/>
                    <a:pt x="1571" y="2373"/>
                  </a:cubicBezTo>
                  <a:cubicBezTo>
                    <a:pt x="1579" y="2373"/>
                    <a:pt x="1588" y="2373"/>
                    <a:pt x="1596" y="2373"/>
                  </a:cubicBezTo>
                  <a:cubicBezTo>
                    <a:pt x="1581" y="2359"/>
                    <a:pt x="1567" y="2345"/>
                    <a:pt x="1554" y="2331"/>
                  </a:cubicBezTo>
                  <a:cubicBezTo>
                    <a:pt x="740" y="2343"/>
                    <a:pt x="89" y="2766"/>
                    <a:pt x="96" y="3281"/>
                  </a:cubicBezTo>
                  <a:cubicBezTo>
                    <a:pt x="104" y="3799"/>
                    <a:pt x="776" y="4214"/>
                    <a:pt x="1598" y="4208"/>
                  </a:cubicBezTo>
                  <a:cubicBezTo>
                    <a:pt x="2056" y="4204"/>
                    <a:pt x="2464" y="4070"/>
                    <a:pt x="2734" y="3862"/>
                  </a:cubicBezTo>
                  <a:close/>
                  <a:moveTo>
                    <a:pt x="3556" y="3932"/>
                  </a:moveTo>
                  <a:cubicBezTo>
                    <a:pt x="4012" y="3769"/>
                    <a:pt x="4339" y="3353"/>
                    <a:pt x="4345" y="2861"/>
                  </a:cubicBezTo>
                  <a:cubicBezTo>
                    <a:pt x="4352" y="2369"/>
                    <a:pt x="4036" y="1945"/>
                    <a:pt x="3584" y="1770"/>
                  </a:cubicBezTo>
                  <a:cubicBezTo>
                    <a:pt x="3947" y="1944"/>
                    <a:pt x="4200" y="2367"/>
                    <a:pt x="4194" y="2859"/>
                  </a:cubicBezTo>
                  <a:cubicBezTo>
                    <a:pt x="4187" y="3351"/>
                    <a:pt x="3923" y="3768"/>
                    <a:pt x="3556" y="3932"/>
                  </a:cubicBezTo>
                  <a:close/>
                  <a:moveTo>
                    <a:pt x="3227" y="1751"/>
                  </a:moveTo>
                  <a:cubicBezTo>
                    <a:pt x="3739" y="1758"/>
                    <a:pt x="4147" y="2254"/>
                    <a:pt x="4139" y="2858"/>
                  </a:cubicBezTo>
                  <a:cubicBezTo>
                    <a:pt x="4131" y="3463"/>
                    <a:pt x="3710" y="3948"/>
                    <a:pt x="3198" y="3941"/>
                  </a:cubicBezTo>
                  <a:cubicBezTo>
                    <a:pt x="2687" y="3934"/>
                    <a:pt x="2279" y="3438"/>
                    <a:pt x="2287" y="2834"/>
                  </a:cubicBezTo>
                  <a:cubicBezTo>
                    <a:pt x="2295" y="2229"/>
                    <a:pt x="2716" y="1744"/>
                    <a:pt x="3227" y="1751"/>
                  </a:cubicBezTo>
                  <a:close/>
                  <a:moveTo>
                    <a:pt x="2495" y="3289"/>
                  </a:moveTo>
                  <a:cubicBezTo>
                    <a:pt x="2592" y="3091"/>
                    <a:pt x="3590" y="2350"/>
                    <a:pt x="3867" y="2280"/>
                  </a:cubicBezTo>
                  <a:lnTo>
                    <a:pt x="3890" y="2290"/>
                  </a:lnTo>
                  <a:lnTo>
                    <a:pt x="3876" y="2311"/>
                  </a:lnTo>
                  <a:cubicBezTo>
                    <a:pt x="3460" y="2524"/>
                    <a:pt x="2910" y="2947"/>
                    <a:pt x="2520" y="3303"/>
                  </a:cubicBezTo>
                  <a:lnTo>
                    <a:pt x="2496" y="3308"/>
                  </a:lnTo>
                  <a:lnTo>
                    <a:pt x="2495" y="3289"/>
                  </a:lnTo>
                  <a:close/>
                  <a:moveTo>
                    <a:pt x="959" y="2553"/>
                  </a:moveTo>
                  <a:cubicBezTo>
                    <a:pt x="1231" y="2646"/>
                    <a:pt x="2270" y="3639"/>
                    <a:pt x="2374" y="3919"/>
                  </a:cubicBezTo>
                  <a:lnTo>
                    <a:pt x="2362" y="3942"/>
                  </a:lnTo>
                  <a:lnTo>
                    <a:pt x="2333" y="3928"/>
                  </a:lnTo>
                  <a:cubicBezTo>
                    <a:pt x="2029" y="3512"/>
                    <a:pt x="1438" y="2965"/>
                    <a:pt x="941" y="2579"/>
                  </a:cubicBezTo>
                  <a:lnTo>
                    <a:pt x="933" y="2554"/>
                  </a:lnTo>
                  <a:lnTo>
                    <a:pt x="959" y="2553"/>
                  </a:lnTo>
                  <a:close/>
                  <a:moveTo>
                    <a:pt x="1453" y="1555"/>
                  </a:moveTo>
                  <a:cubicBezTo>
                    <a:pt x="1629" y="1393"/>
                    <a:pt x="2931" y="1035"/>
                    <a:pt x="3238" y="1073"/>
                  </a:cubicBezTo>
                  <a:lnTo>
                    <a:pt x="3258" y="1092"/>
                  </a:lnTo>
                  <a:lnTo>
                    <a:pt x="3235" y="1107"/>
                  </a:lnTo>
                  <a:cubicBezTo>
                    <a:pt x="2730" y="1160"/>
                    <a:pt x="2007" y="1371"/>
                    <a:pt x="1473" y="1579"/>
                  </a:cubicBezTo>
                  <a:lnTo>
                    <a:pt x="1446" y="1575"/>
                  </a:lnTo>
                  <a:lnTo>
                    <a:pt x="1453" y="1555"/>
                  </a:lnTo>
                  <a:close/>
                </a:path>
              </a:pathLst>
            </a:custGeom>
            <a:solidFill>
              <a:srgbClr val="FFFFFF"/>
            </a:solidFill>
            <a:ln w="1588" cap="flat">
              <a:noFill/>
              <a:prstDash val="solid"/>
              <a:miter lim="800000"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3" name="Freeform 9">
              <a:extLst/>
            </p:cNvPr>
            <p:cNvSpPr>
              <a:spLocks noEditPoints="1"/>
            </p:cNvSpPr>
            <p:nvPr/>
          </p:nvSpPr>
          <p:spPr bwMode="auto">
            <a:xfrm>
              <a:off x="614403" y="4711645"/>
              <a:ext cx="451795" cy="394479"/>
            </a:xfrm>
            <a:custGeom>
              <a:avLst/>
              <a:gdLst/>
              <a:ahLst/>
              <a:cxnLst>
                <a:cxn ang="0">
                  <a:pos x="3835" y="1514"/>
                </a:cxn>
                <a:cxn ang="0">
                  <a:pos x="3845" y="1533"/>
                </a:cxn>
                <a:cxn ang="0">
                  <a:pos x="4527" y="2848"/>
                </a:cxn>
                <a:cxn ang="0">
                  <a:pos x="4194" y="3901"/>
                </a:cxn>
                <a:cxn ang="0">
                  <a:pos x="4113" y="3943"/>
                </a:cxn>
                <a:cxn ang="0">
                  <a:pos x="3116" y="3702"/>
                </a:cxn>
                <a:cxn ang="0">
                  <a:pos x="2891" y="3739"/>
                </a:cxn>
                <a:cxn ang="0">
                  <a:pos x="1663" y="3732"/>
                </a:cxn>
                <a:cxn ang="0">
                  <a:pos x="1645" y="3732"/>
                </a:cxn>
                <a:cxn ang="0">
                  <a:pos x="665" y="3726"/>
                </a:cxn>
                <a:cxn ang="0">
                  <a:pos x="2" y="3055"/>
                </a:cxn>
                <a:cxn ang="0">
                  <a:pos x="2" y="2977"/>
                </a:cxn>
                <a:cxn ang="0">
                  <a:pos x="673" y="2315"/>
                </a:cxn>
                <a:cxn ang="0">
                  <a:pos x="1617" y="2320"/>
                </a:cxn>
                <a:cxn ang="0">
                  <a:pos x="1636" y="2321"/>
                </a:cxn>
                <a:cxn ang="0">
                  <a:pos x="2393" y="2325"/>
                </a:cxn>
                <a:cxn ang="0">
                  <a:pos x="2387" y="2313"/>
                </a:cxn>
                <a:cxn ang="0">
                  <a:pos x="1857" y="1294"/>
                </a:cxn>
                <a:cxn ang="0">
                  <a:pos x="2191" y="240"/>
                </a:cxn>
                <a:cxn ang="0">
                  <a:pos x="2272" y="198"/>
                </a:cxn>
                <a:cxn ang="0">
                  <a:pos x="3325" y="532"/>
                </a:cxn>
                <a:cxn ang="0">
                  <a:pos x="3835" y="1514"/>
                </a:cxn>
                <a:cxn ang="0">
                  <a:pos x="2531" y="2591"/>
                </a:cxn>
                <a:cxn ang="0">
                  <a:pos x="2469" y="2471"/>
                </a:cxn>
                <a:cxn ang="0">
                  <a:pos x="1844" y="2467"/>
                </a:cxn>
                <a:cxn ang="0">
                  <a:pos x="1804" y="2575"/>
                </a:cxn>
                <a:cxn ang="0">
                  <a:pos x="2531" y="2591"/>
                </a:cxn>
                <a:cxn ang="0">
                  <a:pos x="680" y="2460"/>
                </a:cxn>
                <a:cxn ang="0">
                  <a:pos x="1326" y="2464"/>
                </a:cxn>
                <a:cxn ang="0">
                  <a:pos x="1285" y="2575"/>
                </a:cxn>
                <a:cxn ang="0">
                  <a:pos x="317" y="2603"/>
                </a:cxn>
                <a:cxn ang="0">
                  <a:pos x="680" y="2460"/>
                </a:cxn>
                <a:cxn ang="0">
                  <a:pos x="1614" y="3665"/>
                </a:cxn>
                <a:cxn ang="0">
                  <a:pos x="1474" y="2986"/>
                </a:cxn>
                <a:cxn ang="0">
                  <a:pos x="1590" y="2387"/>
                </a:cxn>
                <a:cxn ang="0">
                  <a:pos x="684" y="2381"/>
                </a:cxn>
                <a:cxn ang="0">
                  <a:pos x="77" y="2982"/>
                </a:cxn>
                <a:cxn ang="0">
                  <a:pos x="76" y="3052"/>
                </a:cxn>
                <a:cxn ang="0">
                  <a:pos x="676" y="3659"/>
                </a:cxn>
                <a:cxn ang="0">
                  <a:pos x="1614" y="3665"/>
                </a:cxn>
                <a:cxn ang="0">
                  <a:pos x="3806" y="1829"/>
                </a:cxn>
                <a:cxn ang="0">
                  <a:pos x="4357" y="2891"/>
                </a:cxn>
                <a:cxn ang="0">
                  <a:pos x="4403" y="3346"/>
                </a:cxn>
                <a:cxn ang="0">
                  <a:pos x="3672" y="1846"/>
                </a:cxn>
                <a:cxn ang="0">
                  <a:pos x="3806" y="1829"/>
                </a:cxn>
                <a:cxn ang="0">
                  <a:pos x="3178" y="619"/>
                </a:cxn>
                <a:cxn ang="0">
                  <a:pos x="3526" y="1290"/>
                </a:cxn>
                <a:cxn ang="0">
                  <a:pos x="3389" y="1308"/>
                </a:cxn>
                <a:cxn ang="0">
                  <a:pos x="2832" y="320"/>
                </a:cxn>
                <a:cxn ang="0">
                  <a:pos x="3178" y="619"/>
                </a:cxn>
                <a:cxn ang="0">
                  <a:pos x="2439" y="2245"/>
                </a:cxn>
                <a:cxn ang="0">
                  <a:pos x="3066" y="1729"/>
                </a:cxn>
                <a:cxn ang="0">
                  <a:pos x="3751" y="1521"/>
                </a:cxn>
                <a:cxn ang="0">
                  <a:pos x="3262" y="580"/>
                </a:cxn>
                <a:cxn ang="0">
                  <a:pos x="2308" y="278"/>
                </a:cxn>
                <a:cxn ang="0">
                  <a:pos x="2235" y="316"/>
                </a:cxn>
                <a:cxn ang="0">
                  <a:pos x="1933" y="1269"/>
                </a:cxn>
                <a:cxn ang="0">
                  <a:pos x="2439" y="2245"/>
                </a:cxn>
              </a:cxnLst>
              <a:rect l="0" t="0" r="r" b="b"/>
              <a:pathLst>
                <a:path w="4725" h="4124">
                  <a:moveTo>
                    <a:pt x="3835" y="1514"/>
                  </a:moveTo>
                  <a:lnTo>
                    <a:pt x="3845" y="1533"/>
                  </a:lnTo>
                  <a:lnTo>
                    <a:pt x="4527" y="2848"/>
                  </a:lnTo>
                  <a:cubicBezTo>
                    <a:pt x="4725" y="3229"/>
                    <a:pt x="4575" y="3703"/>
                    <a:pt x="4194" y="3901"/>
                  </a:cubicBezTo>
                  <a:lnTo>
                    <a:pt x="4113" y="3943"/>
                  </a:lnTo>
                  <a:cubicBezTo>
                    <a:pt x="3764" y="4124"/>
                    <a:pt x="3338" y="4014"/>
                    <a:pt x="3116" y="3702"/>
                  </a:cubicBezTo>
                  <a:cubicBezTo>
                    <a:pt x="3046" y="3727"/>
                    <a:pt x="2970" y="3740"/>
                    <a:pt x="2891" y="3739"/>
                  </a:cubicBezTo>
                  <a:lnTo>
                    <a:pt x="1663" y="3732"/>
                  </a:lnTo>
                  <a:lnTo>
                    <a:pt x="1645" y="3732"/>
                  </a:lnTo>
                  <a:lnTo>
                    <a:pt x="665" y="3726"/>
                  </a:lnTo>
                  <a:cubicBezTo>
                    <a:pt x="298" y="3724"/>
                    <a:pt x="0" y="3422"/>
                    <a:pt x="2" y="3055"/>
                  </a:cubicBezTo>
                  <a:lnTo>
                    <a:pt x="2" y="2977"/>
                  </a:lnTo>
                  <a:cubicBezTo>
                    <a:pt x="5" y="2611"/>
                    <a:pt x="306" y="2312"/>
                    <a:pt x="673" y="2315"/>
                  </a:cubicBezTo>
                  <a:lnTo>
                    <a:pt x="1617" y="2320"/>
                  </a:lnTo>
                  <a:lnTo>
                    <a:pt x="1636" y="2321"/>
                  </a:lnTo>
                  <a:lnTo>
                    <a:pt x="2393" y="2325"/>
                  </a:lnTo>
                  <a:lnTo>
                    <a:pt x="2387" y="2313"/>
                  </a:lnTo>
                  <a:lnTo>
                    <a:pt x="1857" y="1294"/>
                  </a:lnTo>
                  <a:cubicBezTo>
                    <a:pt x="1659" y="912"/>
                    <a:pt x="1809" y="438"/>
                    <a:pt x="2191" y="240"/>
                  </a:cubicBezTo>
                  <a:lnTo>
                    <a:pt x="2272" y="198"/>
                  </a:lnTo>
                  <a:cubicBezTo>
                    <a:pt x="2653" y="0"/>
                    <a:pt x="3127" y="150"/>
                    <a:pt x="3325" y="532"/>
                  </a:cubicBezTo>
                  <a:lnTo>
                    <a:pt x="3835" y="1514"/>
                  </a:lnTo>
                  <a:close/>
                  <a:moveTo>
                    <a:pt x="2531" y="2591"/>
                  </a:moveTo>
                  <a:lnTo>
                    <a:pt x="2469" y="2471"/>
                  </a:lnTo>
                  <a:lnTo>
                    <a:pt x="1844" y="2467"/>
                  </a:lnTo>
                  <a:lnTo>
                    <a:pt x="1804" y="2575"/>
                  </a:lnTo>
                  <a:cubicBezTo>
                    <a:pt x="2044" y="2578"/>
                    <a:pt x="2286" y="2583"/>
                    <a:pt x="2531" y="2591"/>
                  </a:cubicBezTo>
                  <a:close/>
                  <a:moveTo>
                    <a:pt x="680" y="2460"/>
                  </a:moveTo>
                  <a:lnTo>
                    <a:pt x="1326" y="2464"/>
                  </a:lnTo>
                  <a:lnTo>
                    <a:pt x="1285" y="2575"/>
                  </a:lnTo>
                  <a:cubicBezTo>
                    <a:pt x="958" y="2578"/>
                    <a:pt x="635" y="2587"/>
                    <a:pt x="317" y="2603"/>
                  </a:cubicBezTo>
                  <a:cubicBezTo>
                    <a:pt x="412" y="2514"/>
                    <a:pt x="540" y="2460"/>
                    <a:pt x="680" y="2460"/>
                  </a:cubicBezTo>
                  <a:close/>
                  <a:moveTo>
                    <a:pt x="1614" y="3665"/>
                  </a:moveTo>
                  <a:cubicBezTo>
                    <a:pt x="1522" y="3450"/>
                    <a:pt x="1473" y="3211"/>
                    <a:pt x="1474" y="2986"/>
                  </a:cubicBezTo>
                  <a:cubicBezTo>
                    <a:pt x="1475" y="2765"/>
                    <a:pt x="1516" y="2574"/>
                    <a:pt x="1590" y="2387"/>
                  </a:cubicBezTo>
                  <a:lnTo>
                    <a:pt x="684" y="2381"/>
                  </a:lnTo>
                  <a:cubicBezTo>
                    <a:pt x="352" y="2379"/>
                    <a:pt x="79" y="2649"/>
                    <a:pt x="77" y="2982"/>
                  </a:cubicBezTo>
                  <a:lnTo>
                    <a:pt x="76" y="3052"/>
                  </a:lnTo>
                  <a:cubicBezTo>
                    <a:pt x="74" y="3384"/>
                    <a:pt x="344" y="3657"/>
                    <a:pt x="676" y="3659"/>
                  </a:cubicBezTo>
                  <a:lnTo>
                    <a:pt x="1614" y="3665"/>
                  </a:lnTo>
                  <a:close/>
                  <a:moveTo>
                    <a:pt x="3806" y="1829"/>
                  </a:moveTo>
                  <a:lnTo>
                    <a:pt x="4357" y="2891"/>
                  </a:lnTo>
                  <a:cubicBezTo>
                    <a:pt x="4433" y="3036"/>
                    <a:pt x="4445" y="3199"/>
                    <a:pt x="4403" y="3346"/>
                  </a:cubicBezTo>
                  <a:cubicBezTo>
                    <a:pt x="4165" y="2832"/>
                    <a:pt x="3922" y="2332"/>
                    <a:pt x="3672" y="1846"/>
                  </a:cubicBezTo>
                  <a:lnTo>
                    <a:pt x="3806" y="1829"/>
                  </a:lnTo>
                  <a:close/>
                  <a:moveTo>
                    <a:pt x="3178" y="619"/>
                  </a:moveTo>
                  <a:lnTo>
                    <a:pt x="3526" y="1290"/>
                  </a:lnTo>
                  <a:lnTo>
                    <a:pt x="3389" y="1308"/>
                  </a:lnTo>
                  <a:cubicBezTo>
                    <a:pt x="3208" y="970"/>
                    <a:pt x="3022" y="640"/>
                    <a:pt x="2832" y="320"/>
                  </a:cubicBezTo>
                  <a:cubicBezTo>
                    <a:pt x="2976" y="370"/>
                    <a:pt x="3102" y="473"/>
                    <a:pt x="3178" y="619"/>
                  </a:cubicBezTo>
                  <a:close/>
                  <a:moveTo>
                    <a:pt x="2439" y="2245"/>
                  </a:moveTo>
                  <a:cubicBezTo>
                    <a:pt x="2612" y="2032"/>
                    <a:pt x="2833" y="1850"/>
                    <a:pt x="3066" y="1729"/>
                  </a:cubicBezTo>
                  <a:cubicBezTo>
                    <a:pt x="3296" y="1609"/>
                    <a:pt x="3516" y="1547"/>
                    <a:pt x="3751" y="1521"/>
                  </a:cubicBezTo>
                  <a:lnTo>
                    <a:pt x="3262" y="580"/>
                  </a:lnTo>
                  <a:cubicBezTo>
                    <a:pt x="3082" y="234"/>
                    <a:pt x="2653" y="98"/>
                    <a:pt x="2308" y="278"/>
                  </a:cubicBezTo>
                  <a:lnTo>
                    <a:pt x="2235" y="316"/>
                  </a:lnTo>
                  <a:cubicBezTo>
                    <a:pt x="1889" y="495"/>
                    <a:pt x="1754" y="924"/>
                    <a:pt x="1933" y="1269"/>
                  </a:cubicBezTo>
                  <a:lnTo>
                    <a:pt x="2439" y="2245"/>
                  </a:ln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4" name="Freeform 10">
              <a:extLst/>
            </p:cNvPr>
            <p:cNvSpPr>
              <a:spLocks noEditPoints="1"/>
            </p:cNvSpPr>
            <p:nvPr/>
          </p:nvSpPr>
          <p:spPr bwMode="auto">
            <a:xfrm>
              <a:off x="301734" y="5086177"/>
              <a:ext cx="455912" cy="437793"/>
            </a:xfrm>
            <a:custGeom>
              <a:avLst/>
              <a:gdLst/>
              <a:ahLst/>
              <a:cxnLst>
                <a:cxn ang="0">
                  <a:pos x="3641" y="25"/>
                </a:cxn>
                <a:cxn ang="0">
                  <a:pos x="4058" y="555"/>
                </a:cxn>
                <a:cxn ang="0">
                  <a:pos x="4554" y="1010"/>
                </a:cxn>
                <a:cxn ang="0">
                  <a:pos x="31" y="4241"/>
                </a:cxn>
                <a:cxn ang="0">
                  <a:pos x="113" y="4242"/>
                </a:cxn>
                <a:cxn ang="0">
                  <a:pos x="31" y="4241"/>
                </a:cxn>
                <a:cxn ang="0">
                  <a:pos x="857" y="3412"/>
                </a:cxn>
                <a:cxn ang="0">
                  <a:pos x="164" y="4065"/>
                </a:cxn>
                <a:cxn ang="0">
                  <a:pos x="968" y="3532"/>
                </a:cxn>
                <a:cxn ang="0">
                  <a:pos x="204" y="4185"/>
                </a:cxn>
                <a:cxn ang="0">
                  <a:pos x="862" y="3502"/>
                </a:cxn>
                <a:cxn ang="0">
                  <a:pos x="1410" y="3312"/>
                </a:cxn>
                <a:cxn ang="0">
                  <a:pos x="1110" y="2987"/>
                </a:cxn>
                <a:cxn ang="0">
                  <a:pos x="851" y="3352"/>
                </a:cxn>
                <a:cxn ang="0">
                  <a:pos x="1027" y="3542"/>
                </a:cxn>
                <a:cxn ang="0">
                  <a:pos x="1410" y="3312"/>
                </a:cxn>
                <a:cxn ang="0">
                  <a:pos x="2512" y="683"/>
                </a:cxn>
                <a:cxn ang="0">
                  <a:pos x="3085" y="1457"/>
                </a:cxn>
                <a:cxn ang="0">
                  <a:pos x="3813" y="2086"/>
                </a:cxn>
                <a:cxn ang="0">
                  <a:pos x="3100" y="1818"/>
                </a:cxn>
                <a:cxn ang="0">
                  <a:pos x="2726" y="1415"/>
                </a:cxn>
                <a:cxn ang="0">
                  <a:pos x="2214" y="1890"/>
                </a:cxn>
                <a:cxn ang="0">
                  <a:pos x="2588" y="2292"/>
                </a:cxn>
                <a:cxn ang="0">
                  <a:pos x="3100" y="1818"/>
                </a:cxn>
                <a:cxn ang="0">
                  <a:pos x="2883" y="1656"/>
                </a:cxn>
                <a:cxn ang="0">
                  <a:pos x="2552" y="2120"/>
                </a:cxn>
                <a:cxn ang="0">
                  <a:pos x="4156" y="838"/>
                </a:cxn>
                <a:cxn ang="0">
                  <a:pos x="3782" y="436"/>
                </a:cxn>
                <a:cxn ang="0">
                  <a:pos x="3096" y="1072"/>
                </a:cxn>
                <a:cxn ang="0">
                  <a:pos x="3470" y="1475"/>
                </a:cxn>
                <a:cxn ang="0">
                  <a:pos x="4156" y="838"/>
                </a:cxn>
                <a:cxn ang="0">
                  <a:pos x="3952" y="664"/>
                </a:cxn>
                <a:cxn ang="0">
                  <a:pos x="3422" y="1313"/>
                </a:cxn>
                <a:cxn ang="0">
                  <a:pos x="1345" y="3070"/>
                </a:cxn>
                <a:cxn ang="0">
                  <a:pos x="1046" y="2997"/>
                </a:cxn>
                <a:cxn ang="0">
                  <a:pos x="1316" y="3097"/>
                </a:cxn>
                <a:cxn ang="0">
                  <a:pos x="1396" y="3374"/>
                </a:cxn>
                <a:cxn ang="0">
                  <a:pos x="1345" y="3070"/>
                </a:cxn>
                <a:cxn ang="0">
                  <a:pos x="3524" y="134"/>
                </a:cxn>
                <a:cxn ang="0">
                  <a:pos x="3777" y="386"/>
                </a:cxn>
                <a:cxn ang="0">
                  <a:pos x="4205" y="847"/>
                </a:cxn>
                <a:cxn ang="0">
                  <a:pos x="4437" y="1118"/>
                </a:cxn>
                <a:cxn ang="0">
                  <a:pos x="3052" y="1487"/>
                </a:cxn>
                <a:cxn ang="0">
                  <a:pos x="2421" y="1139"/>
                </a:cxn>
                <a:cxn ang="0">
                  <a:pos x="3022" y="1515"/>
                </a:cxn>
                <a:cxn ang="0">
                  <a:pos x="3352" y="2143"/>
                </a:cxn>
                <a:cxn ang="0">
                  <a:pos x="3052" y="1487"/>
                </a:cxn>
                <a:cxn ang="0">
                  <a:pos x="2495" y="1135"/>
                </a:cxn>
                <a:cxn ang="0">
                  <a:pos x="1379" y="3039"/>
                </a:cxn>
                <a:cxn ang="0">
                  <a:pos x="3362" y="2069"/>
                </a:cxn>
                <a:cxn ang="0">
                  <a:pos x="1450" y="2971"/>
                </a:cxn>
                <a:cxn ang="0">
                  <a:pos x="1079" y="2671"/>
                </a:cxn>
                <a:cxn ang="0">
                  <a:pos x="1742" y="3366"/>
                </a:cxn>
                <a:cxn ang="0">
                  <a:pos x="1600" y="3027"/>
                </a:cxn>
                <a:cxn ang="0">
                  <a:pos x="2530" y="2405"/>
                </a:cxn>
                <a:cxn ang="0">
                  <a:pos x="1600" y="3027"/>
                </a:cxn>
                <a:cxn ang="0">
                  <a:pos x="2689" y="2542"/>
                </a:cxn>
                <a:cxn ang="0">
                  <a:pos x="1973" y="1770"/>
                </a:cxn>
                <a:cxn ang="0">
                  <a:pos x="972" y="2624"/>
                </a:cxn>
                <a:cxn ang="0">
                  <a:pos x="2953" y="1579"/>
                </a:cxn>
                <a:cxn ang="0">
                  <a:pos x="1763" y="3476"/>
                </a:cxn>
              </a:cxnLst>
              <a:rect l="0" t="0" r="r" b="b"/>
              <a:pathLst>
                <a:path w="4582" h="4404">
                  <a:moveTo>
                    <a:pt x="4148" y="471"/>
                  </a:moveTo>
                  <a:cubicBezTo>
                    <a:pt x="3896" y="199"/>
                    <a:pt x="3669" y="0"/>
                    <a:pt x="3641" y="25"/>
                  </a:cubicBezTo>
                  <a:lnTo>
                    <a:pt x="3551" y="109"/>
                  </a:lnTo>
                  <a:cubicBezTo>
                    <a:pt x="3578" y="83"/>
                    <a:pt x="3805" y="283"/>
                    <a:pt x="4058" y="555"/>
                  </a:cubicBezTo>
                  <a:cubicBezTo>
                    <a:pt x="4310" y="827"/>
                    <a:pt x="4491" y="1068"/>
                    <a:pt x="4464" y="1094"/>
                  </a:cubicBezTo>
                  <a:lnTo>
                    <a:pt x="4554" y="1010"/>
                  </a:lnTo>
                  <a:cubicBezTo>
                    <a:pt x="4582" y="984"/>
                    <a:pt x="4400" y="743"/>
                    <a:pt x="4148" y="471"/>
                  </a:cubicBezTo>
                  <a:close/>
                  <a:moveTo>
                    <a:pt x="31" y="4241"/>
                  </a:moveTo>
                  <a:cubicBezTo>
                    <a:pt x="63" y="4159"/>
                    <a:pt x="115" y="4085"/>
                    <a:pt x="136" y="4092"/>
                  </a:cubicBezTo>
                  <a:cubicBezTo>
                    <a:pt x="158" y="4098"/>
                    <a:pt x="144" y="4160"/>
                    <a:pt x="113" y="4242"/>
                  </a:cubicBezTo>
                  <a:cubicBezTo>
                    <a:pt x="82" y="4325"/>
                    <a:pt x="23" y="4401"/>
                    <a:pt x="14" y="4402"/>
                  </a:cubicBezTo>
                  <a:cubicBezTo>
                    <a:pt x="5" y="4404"/>
                    <a:pt x="0" y="4324"/>
                    <a:pt x="31" y="4241"/>
                  </a:cubicBezTo>
                  <a:close/>
                  <a:moveTo>
                    <a:pt x="968" y="3532"/>
                  </a:moveTo>
                  <a:lnTo>
                    <a:pt x="857" y="3412"/>
                  </a:lnTo>
                  <a:lnTo>
                    <a:pt x="168" y="4051"/>
                  </a:lnTo>
                  <a:cubicBezTo>
                    <a:pt x="164" y="4055"/>
                    <a:pt x="164" y="4060"/>
                    <a:pt x="164" y="4065"/>
                  </a:cubicBezTo>
                  <a:cubicBezTo>
                    <a:pt x="209" y="4149"/>
                    <a:pt x="123" y="4278"/>
                    <a:pt x="92" y="4345"/>
                  </a:cubicBezTo>
                  <a:lnTo>
                    <a:pt x="968" y="3532"/>
                  </a:lnTo>
                  <a:close/>
                  <a:moveTo>
                    <a:pt x="235" y="4084"/>
                  </a:moveTo>
                  <a:cubicBezTo>
                    <a:pt x="232" y="4117"/>
                    <a:pt x="219" y="4152"/>
                    <a:pt x="204" y="4185"/>
                  </a:cubicBezTo>
                  <a:lnTo>
                    <a:pt x="898" y="3541"/>
                  </a:lnTo>
                  <a:lnTo>
                    <a:pt x="862" y="3502"/>
                  </a:lnTo>
                  <a:lnTo>
                    <a:pt x="235" y="4084"/>
                  </a:lnTo>
                  <a:close/>
                  <a:moveTo>
                    <a:pt x="1410" y="3312"/>
                  </a:moveTo>
                  <a:cubicBezTo>
                    <a:pt x="1383" y="3242"/>
                    <a:pt x="1347" y="3173"/>
                    <a:pt x="1295" y="3117"/>
                  </a:cubicBezTo>
                  <a:cubicBezTo>
                    <a:pt x="1243" y="3061"/>
                    <a:pt x="1177" y="3020"/>
                    <a:pt x="1110" y="2987"/>
                  </a:cubicBezTo>
                  <a:cubicBezTo>
                    <a:pt x="1067" y="3048"/>
                    <a:pt x="1023" y="3109"/>
                    <a:pt x="980" y="3169"/>
                  </a:cubicBezTo>
                  <a:cubicBezTo>
                    <a:pt x="937" y="3230"/>
                    <a:pt x="894" y="3291"/>
                    <a:pt x="851" y="3352"/>
                  </a:cubicBezTo>
                  <a:cubicBezTo>
                    <a:pt x="880" y="3384"/>
                    <a:pt x="910" y="3415"/>
                    <a:pt x="939" y="3447"/>
                  </a:cubicBezTo>
                  <a:cubicBezTo>
                    <a:pt x="969" y="3479"/>
                    <a:pt x="998" y="3510"/>
                    <a:pt x="1027" y="3542"/>
                  </a:cubicBezTo>
                  <a:cubicBezTo>
                    <a:pt x="1091" y="3504"/>
                    <a:pt x="1155" y="3465"/>
                    <a:pt x="1219" y="3427"/>
                  </a:cubicBezTo>
                  <a:cubicBezTo>
                    <a:pt x="1283" y="3388"/>
                    <a:pt x="1347" y="3350"/>
                    <a:pt x="1410" y="3312"/>
                  </a:cubicBezTo>
                  <a:close/>
                  <a:moveTo>
                    <a:pt x="3260" y="1294"/>
                  </a:moveTo>
                  <a:cubicBezTo>
                    <a:pt x="2901" y="907"/>
                    <a:pt x="2566" y="633"/>
                    <a:pt x="2512" y="683"/>
                  </a:cubicBezTo>
                  <a:lnTo>
                    <a:pt x="2337" y="846"/>
                  </a:lnTo>
                  <a:cubicBezTo>
                    <a:pt x="2391" y="796"/>
                    <a:pt x="2726" y="1069"/>
                    <a:pt x="3085" y="1457"/>
                  </a:cubicBezTo>
                  <a:cubicBezTo>
                    <a:pt x="3445" y="1844"/>
                    <a:pt x="3692" y="2198"/>
                    <a:pt x="3638" y="2248"/>
                  </a:cubicBezTo>
                  <a:lnTo>
                    <a:pt x="3813" y="2086"/>
                  </a:lnTo>
                  <a:cubicBezTo>
                    <a:pt x="3867" y="2036"/>
                    <a:pt x="3620" y="1682"/>
                    <a:pt x="3260" y="1294"/>
                  </a:cubicBezTo>
                  <a:close/>
                  <a:moveTo>
                    <a:pt x="3100" y="1818"/>
                  </a:moveTo>
                  <a:cubicBezTo>
                    <a:pt x="3048" y="1741"/>
                    <a:pt x="2993" y="1667"/>
                    <a:pt x="2930" y="1600"/>
                  </a:cubicBezTo>
                  <a:cubicBezTo>
                    <a:pt x="2868" y="1533"/>
                    <a:pt x="2799" y="1473"/>
                    <a:pt x="2726" y="1415"/>
                  </a:cubicBezTo>
                  <a:cubicBezTo>
                    <a:pt x="2641" y="1494"/>
                    <a:pt x="2556" y="1573"/>
                    <a:pt x="2470" y="1652"/>
                  </a:cubicBezTo>
                  <a:cubicBezTo>
                    <a:pt x="2385" y="1732"/>
                    <a:pt x="2300" y="1811"/>
                    <a:pt x="2214" y="1890"/>
                  </a:cubicBezTo>
                  <a:cubicBezTo>
                    <a:pt x="2287" y="1947"/>
                    <a:pt x="2357" y="2008"/>
                    <a:pt x="2419" y="2075"/>
                  </a:cubicBezTo>
                  <a:cubicBezTo>
                    <a:pt x="2481" y="2142"/>
                    <a:pt x="2536" y="2216"/>
                    <a:pt x="2588" y="2292"/>
                  </a:cubicBezTo>
                  <a:cubicBezTo>
                    <a:pt x="2673" y="2213"/>
                    <a:pt x="2758" y="2134"/>
                    <a:pt x="2844" y="2055"/>
                  </a:cubicBezTo>
                  <a:cubicBezTo>
                    <a:pt x="2929" y="1976"/>
                    <a:pt x="3014" y="1897"/>
                    <a:pt x="3100" y="1818"/>
                  </a:cubicBezTo>
                  <a:close/>
                  <a:moveTo>
                    <a:pt x="2957" y="1744"/>
                  </a:moveTo>
                  <a:cubicBezTo>
                    <a:pt x="2934" y="1714"/>
                    <a:pt x="2909" y="1684"/>
                    <a:pt x="2883" y="1656"/>
                  </a:cubicBezTo>
                  <a:lnTo>
                    <a:pt x="2478" y="2032"/>
                  </a:lnTo>
                  <a:cubicBezTo>
                    <a:pt x="2504" y="2060"/>
                    <a:pt x="2529" y="2090"/>
                    <a:pt x="2552" y="2120"/>
                  </a:cubicBezTo>
                  <a:lnTo>
                    <a:pt x="2957" y="1744"/>
                  </a:lnTo>
                  <a:close/>
                  <a:moveTo>
                    <a:pt x="4156" y="838"/>
                  </a:moveTo>
                  <a:cubicBezTo>
                    <a:pt x="4104" y="762"/>
                    <a:pt x="4049" y="688"/>
                    <a:pt x="3986" y="621"/>
                  </a:cubicBezTo>
                  <a:cubicBezTo>
                    <a:pt x="3924" y="554"/>
                    <a:pt x="3855" y="493"/>
                    <a:pt x="3782" y="436"/>
                  </a:cubicBezTo>
                  <a:cubicBezTo>
                    <a:pt x="3653" y="555"/>
                    <a:pt x="3525" y="675"/>
                    <a:pt x="3396" y="794"/>
                  </a:cubicBezTo>
                  <a:lnTo>
                    <a:pt x="3096" y="1072"/>
                  </a:lnTo>
                  <a:cubicBezTo>
                    <a:pt x="3158" y="1133"/>
                    <a:pt x="3222" y="1200"/>
                    <a:pt x="3287" y="1269"/>
                  </a:cubicBezTo>
                  <a:cubicBezTo>
                    <a:pt x="3352" y="1339"/>
                    <a:pt x="3413" y="1408"/>
                    <a:pt x="3470" y="1475"/>
                  </a:cubicBezTo>
                  <a:lnTo>
                    <a:pt x="3769" y="1196"/>
                  </a:lnTo>
                  <a:cubicBezTo>
                    <a:pt x="3898" y="1077"/>
                    <a:pt x="4027" y="958"/>
                    <a:pt x="4156" y="838"/>
                  </a:cubicBezTo>
                  <a:close/>
                  <a:moveTo>
                    <a:pt x="4027" y="752"/>
                  </a:moveTo>
                  <a:cubicBezTo>
                    <a:pt x="4003" y="722"/>
                    <a:pt x="3978" y="692"/>
                    <a:pt x="3952" y="664"/>
                  </a:cubicBezTo>
                  <a:lnTo>
                    <a:pt x="3344" y="1228"/>
                  </a:lnTo>
                  <a:lnTo>
                    <a:pt x="3422" y="1313"/>
                  </a:lnTo>
                  <a:lnTo>
                    <a:pt x="4027" y="752"/>
                  </a:lnTo>
                  <a:close/>
                  <a:moveTo>
                    <a:pt x="1345" y="3070"/>
                  </a:moveTo>
                  <a:cubicBezTo>
                    <a:pt x="1106" y="2812"/>
                    <a:pt x="883" y="2630"/>
                    <a:pt x="847" y="2663"/>
                  </a:cubicBezTo>
                  <a:cubicBezTo>
                    <a:pt x="821" y="2688"/>
                    <a:pt x="904" y="2823"/>
                    <a:pt x="1046" y="2997"/>
                  </a:cubicBezTo>
                  <a:lnTo>
                    <a:pt x="1088" y="2938"/>
                  </a:lnTo>
                  <a:cubicBezTo>
                    <a:pt x="1171" y="2978"/>
                    <a:pt x="1252" y="3028"/>
                    <a:pt x="1316" y="3097"/>
                  </a:cubicBezTo>
                  <a:cubicBezTo>
                    <a:pt x="1381" y="3167"/>
                    <a:pt x="1424" y="3251"/>
                    <a:pt x="1458" y="3337"/>
                  </a:cubicBezTo>
                  <a:lnTo>
                    <a:pt x="1396" y="3374"/>
                  </a:lnTo>
                  <a:cubicBezTo>
                    <a:pt x="1558" y="3529"/>
                    <a:pt x="1687" y="3622"/>
                    <a:pt x="1714" y="3597"/>
                  </a:cubicBezTo>
                  <a:cubicBezTo>
                    <a:pt x="1750" y="3564"/>
                    <a:pt x="1585" y="3328"/>
                    <a:pt x="1345" y="3070"/>
                  </a:cubicBezTo>
                  <a:close/>
                  <a:moveTo>
                    <a:pt x="4031" y="579"/>
                  </a:moveTo>
                  <a:cubicBezTo>
                    <a:pt x="3779" y="308"/>
                    <a:pt x="3552" y="108"/>
                    <a:pt x="3524" y="134"/>
                  </a:cubicBezTo>
                  <a:cubicBezTo>
                    <a:pt x="3505" y="152"/>
                    <a:pt x="3586" y="273"/>
                    <a:pt x="3722" y="437"/>
                  </a:cubicBezTo>
                  <a:lnTo>
                    <a:pt x="3777" y="386"/>
                  </a:lnTo>
                  <a:cubicBezTo>
                    <a:pt x="3860" y="452"/>
                    <a:pt x="3939" y="522"/>
                    <a:pt x="4010" y="599"/>
                  </a:cubicBezTo>
                  <a:cubicBezTo>
                    <a:pt x="4081" y="676"/>
                    <a:pt x="4145" y="760"/>
                    <a:pt x="4205" y="847"/>
                  </a:cubicBezTo>
                  <a:lnTo>
                    <a:pt x="4150" y="898"/>
                  </a:lnTo>
                  <a:cubicBezTo>
                    <a:pt x="4303" y="1046"/>
                    <a:pt x="4418" y="1136"/>
                    <a:pt x="4437" y="1118"/>
                  </a:cubicBezTo>
                  <a:cubicBezTo>
                    <a:pt x="4465" y="1093"/>
                    <a:pt x="4283" y="851"/>
                    <a:pt x="4031" y="579"/>
                  </a:cubicBezTo>
                  <a:close/>
                  <a:moveTo>
                    <a:pt x="3052" y="1487"/>
                  </a:moveTo>
                  <a:cubicBezTo>
                    <a:pt x="2693" y="1100"/>
                    <a:pt x="2358" y="826"/>
                    <a:pt x="2304" y="876"/>
                  </a:cubicBezTo>
                  <a:cubicBezTo>
                    <a:pt x="2277" y="901"/>
                    <a:pt x="2324" y="999"/>
                    <a:pt x="2421" y="1139"/>
                  </a:cubicBezTo>
                  <a:lnTo>
                    <a:pt x="2490" y="1075"/>
                  </a:lnTo>
                  <a:cubicBezTo>
                    <a:pt x="2527" y="1041"/>
                    <a:pt x="2765" y="1238"/>
                    <a:pt x="3022" y="1515"/>
                  </a:cubicBezTo>
                  <a:cubicBezTo>
                    <a:pt x="3279" y="1792"/>
                    <a:pt x="3458" y="2045"/>
                    <a:pt x="3421" y="2079"/>
                  </a:cubicBezTo>
                  <a:lnTo>
                    <a:pt x="3352" y="2143"/>
                  </a:lnTo>
                  <a:cubicBezTo>
                    <a:pt x="3484" y="2250"/>
                    <a:pt x="3579" y="2304"/>
                    <a:pt x="3605" y="2279"/>
                  </a:cubicBezTo>
                  <a:cubicBezTo>
                    <a:pt x="3659" y="2229"/>
                    <a:pt x="3411" y="1875"/>
                    <a:pt x="3052" y="1487"/>
                  </a:cubicBezTo>
                  <a:close/>
                  <a:moveTo>
                    <a:pt x="2993" y="1542"/>
                  </a:moveTo>
                  <a:cubicBezTo>
                    <a:pt x="2754" y="1284"/>
                    <a:pt x="2531" y="1102"/>
                    <a:pt x="2495" y="1135"/>
                  </a:cubicBezTo>
                  <a:lnTo>
                    <a:pt x="881" y="2632"/>
                  </a:lnTo>
                  <a:cubicBezTo>
                    <a:pt x="916" y="2599"/>
                    <a:pt x="1140" y="2781"/>
                    <a:pt x="1379" y="3039"/>
                  </a:cubicBezTo>
                  <a:cubicBezTo>
                    <a:pt x="1618" y="3297"/>
                    <a:pt x="1783" y="3533"/>
                    <a:pt x="1747" y="3567"/>
                  </a:cubicBezTo>
                  <a:lnTo>
                    <a:pt x="3362" y="2069"/>
                  </a:lnTo>
                  <a:cubicBezTo>
                    <a:pt x="3398" y="2036"/>
                    <a:pt x="3233" y="1800"/>
                    <a:pt x="2993" y="1542"/>
                  </a:cubicBezTo>
                  <a:close/>
                  <a:moveTo>
                    <a:pt x="1450" y="2971"/>
                  </a:moveTo>
                  <a:cubicBezTo>
                    <a:pt x="1267" y="2773"/>
                    <a:pt x="1101" y="2630"/>
                    <a:pt x="1079" y="2650"/>
                  </a:cubicBezTo>
                  <a:cubicBezTo>
                    <a:pt x="1075" y="2654"/>
                    <a:pt x="1075" y="2661"/>
                    <a:pt x="1079" y="2671"/>
                  </a:cubicBezTo>
                  <a:cubicBezTo>
                    <a:pt x="1204" y="2727"/>
                    <a:pt x="1672" y="3225"/>
                    <a:pt x="1721" y="3363"/>
                  </a:cubicBezTo>
                  <a:cubicBezTo>
                    <a:pt x="1731" y="3368"/>
                    <a:pt x="1738" y="3369"/>
                    <a:pt x="1742" y="3366"/>
                  </a:cubicBezTo>
                  <a:cubicBezTo>
                    <a:pt x="1764" y="3345"/>
                    <a:pt x="1633" y="3168"/>
                    <a:pt x="1450" y="2971"/>
                  </a:cubicBezTo>
                  <a:close/>
                  <a:moveTo>
                    <a:pt x="1600" y="3027"/>
                  </a:moveTo>
                  <a:cubicBezTo>
                    <a:pt x="1641" y="3075"/>
                    <a:pt x="1679" y="3120"/>
                    <a:pt x="1713" y="3163"/>
                  </a:cubicBezTo>
                  <a:lnTo>
                    <a:pt x="2530" y="2405"/>
                  </a:lnTo>
                  <a:cubicBezTo>
                    <a:pt x="2499" y="2363"/>
                    <a:pt x="2461" y="2317"/>
                    <a:pt x="2419" y="2267"/>
                  </a:cubicBezTo>
                  <a:lnTo>
                    <a:pt x="1600" y="3027"/>
                  </a:lnTo>
                  <a:close/>
                  <a:moveTo>
                    <a:pt x="1751" y="3413"/>
                  </a:moveTo>
                  <a:lnTo>
                    <a:pt x="2689" y="2542"/>
                  </a:lnTo>
                  <a:cubicBezTo>
                    <a:pt x="2719" y="2515"/>
                    <a:pt x="2583" y="2320"/>
                    <a:pt x="2385" y="2106"/>
                  </a:cubicBezTo>
                  <a:cubicBezTo>
                    <a:pt x="2187" y="1893"/>
                    <a:pt x="2002" y="1742"/>
                    <a:pt x="1973" y="1770"/>
                  </a:cubicBezTo>
                  <a:lnTo>
                    <a:pt x="1034" y="2640"/>
                  </a:lnTo>
                  <a:cubicBezTo>
                    <a:pt x="1003" y="2622"/>
                    <a:pt x="981" y="2615"/>
                    <a:pt x="972" y="2624"/>
                  </a:cubicBezTo>
                  <a:lnTo>
                    <a:pt x="2499" y="1208"/>
                  </a:lnTo>
                  <a:cubicBezTo>
                    <a:pt x="2531" y="1178"/>
                    <a:pt x="2735" y="1344"/>
                    <a:pt x="2953" y="1579"/>
                  </a:cubicBezTo>
                  <a:cubicBezTo>
                    <a:pt x="3171" y="1814"/>
                    <a:pt x="3322" y="2030"/>
                    <a:pt x="3289" y="2060"/>
                  </a:cubicBezTo>
                  <a:lnTo>
                    <a:pt x="1763" y="3476"/>
                  </a:lnTo>
                  <a:cubicBezTo>
                    <a:pt x="1772" y="3467"/>
                    <a:pt x="1767" y="3445"/>
                    <a:pt x="1751" y="3413"/>
                  </a:cubicBez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5" name="Freeform 11">
              <a:extLst/>
            </p:cNvPr>
            <p:cNvSpPr>
              <a:spLocks noEditPoints="1"/>
            </p:cNvSpPr>
            <p:nvPr/>
          </p:nvSpPr>
          <p:spPr bwMode="auto">
            <a:xfrm>
              <a:off x="271019" y="4751976"/>
              <a:ext cx="335678" cy="343193"/>
            </a:xfrm>
            <a:custGeom>
              <a:avLst/>
              <a:gdLst/>
              <a:ahLst/>
              <a:cxnLst>
                <a:cxn ang="0">
                  <a:pos x="2881" y="3548"/>
                </a:cxn>
                <a:cxn ang="0">
                  <a:pos x="3291" y="3955"/>
                </a:cxn>
                <a:cxn ang="0">
                  <a:pos x="3698" y="1422"/>
                </a:cxn>
                <a:cxn ang="0">
                  <a:pos x="2261" y="1715"/>
                </a:cxn>
                <a:cxn ang="0">
                  <a:pos x="2814" y="2530"/>
                </a:cxn>
                <a:cxn ang="0">
                  <a:pos x="2766" y="1422"/>
                </a:cxn>
                <a:cxn ang="0">
                  <a:pos x="2640" y="1212"/>
                </a:cxn>
                <a:cxn ang="0">
                  <a:pos x="3812" y="1086"/>
                </a:cxn>
                <a:cxn ang="0">
                  <a:pos x="3938" y="1296"/>
                </a:cxn>
                <a:cxn ang="0">
                  <a:pos x="3764" y="1422"/>
                </a:cxn>
                <a:cxn ang="0">
                  <a:pos x="3292" y="4028"/>
                </a:cxn>
                <a:cxn ang="0">
                  <a:pos x="3167" y="4012"/>
                </a:cxn>
                <a:cxn ang="0">
                  <a:pos x="290" y="4008"/>
                </a:cxn>
                <a:cxn ang="0">
                  <a:pos x="54" y="3549"/>
                </a:cxn>
                <a:cxn ang="0">
                  <a:pos x="1278" y="350"/>
                </a:cxn>
                <a:cxn ang="0">
                  <a:pos x="1107" y="224"/>
                </a:cxn>
                <a:cxn ang="0">
                  <a:pos x="1233" y="0"/>
                </a:cxn>
                <a:cxn ang="0">
                  <a:pos x="2432" y="126"/>
                </a:cxn>
                <a:cxn ang="0">
                  <a:pos x="2306" y="350"/>
                </a:cxn>
                <a:cxn ang="0">
                  <a:pos x="2261" y="1715"/>
                </a:cxn>
                <a:cxn ang="0">
                  <a:pos x="2164" y="1766"/>
                </a:cxn>
                <a:cxn ang="0">
                  <a:pos x="1375" y="350"/>
                </a:cxn>
                <a:cxn ang="0">
                  <a:pos x="291" y="3372"/>
                </a:cxn>
                <a:cxn ang="0">
                  <a:pos x="583" y="3740"/>
                </a:cxn>
                <a:cxn ang="0">
                  <a:pos x="2850" y="3735"/>
                </a:cxn>
                <a:cxn ang="0">
                  <a:pos x="2826" y="3679"/>
                </a:cxn>
                <a:cxn ang="0">
                  <a:pos x="322" y="3487"/>
                </a:cxn>
                <a:cxn ang="0">
                  <a:pos x="1096" y="2269"/>
                </a:cxn>
                <a:cxn ang="0">
                  <a:pos x="1096" y="2270"/>
                </a:cxn>
                <a:cxn ang="0">
                  <a:pos x="2429" y="2270"/>
                </a:cxn>
                <a:cxn ang="0">
                  <a:pos x="2435" y="2269"/>
                </a:cxn>
                <a:cxn ang="0">
                  <a:pos x="2814" y="2824"/>
                </a:cxn>
                <a:cxn ang="0">
                  <a:pos x="2803" y="2712"/>
                </a:cxn>
                <a:cxn ang="0">
                  <a:pos x="2932" y="1821"/>
                </a:cxn>
                <a:cxn ang="0">
                  <a:pos x="3647" y="1821"/>
                </a:cxn>
                <a:cxn ang="0">
                  <a:pos x="3648" y="3553"/>
                </a:cxn>
                <a:cxn ang="0">
                  <a:pos x="3287" y="3909"/>
                </a:cxn>
                <a:cxn ang="0">
                  <a:pos x="2931" y="1821"/>
                </a:cxn>
                <a:cxn ang="0">
                  <a:pos x="3648" y="1780"/>
                </a:cxn>
                <a:cxn ang="0">
                  <a:pos x="2931" y="1780"/>
                </a:cxn>
                <a:cxn ang="0">
                  <a:pos x="1770" y="2119"/>
                </a:cxn>
                <a:cxn ang="0">
                  <a:pos x="1770" y="2326"/>
                </a:cxn>
                <a:cxn ang="0">
                  <a:pos x="1770" y="2119"/>
                </a:cxn>
                <a:cxn ang="0">
                  <a:pos x="1478" y="2440"/>
                </a:cxn>
                <a:cxn ang="0">
                  <a:pos x="1060" y="3591"/>
                </a:cxn>
                <a:cxn ang="0">
                  <a:pos x="564" y="3387"/>
                </a:cxn>
              </a:cxnLst>
              <a:rect l="0" t="0" r="r" b="b"/>
              <a:pathLst>
                <a:path w="3938" h="4028">
                  <a:moveTo>
                    <a:pt x="2881" y="1422"/>
                  </a:moveTo>
                  <a:lnTo>
                    <a:pt x="2881" y="3548"/>
                  </a:lnTo>
                  <a:cubicBezTo>
                    <a:pt x="2881" y="3772"/>
                    <a:pt x="3064" y="3955"/>
                    <a:pt x="3287" y="3955"/>
                  </a:cubicBezTo>
                  <a:lnTo>
                    <a:pt x="3291" y="3955"/>
                  </a:lnTo>
                  <a:cubicBezTo>
                    <a:pt x="3515" y="3955"/>
                    <a:pt x="3698" y="3772"/>
                    <a:pt x="3698" y="3548"/>
                  </a:cubicBezTo>
                  <a:lnTo>
                    <a:pt x="3698" y="1422"/>
                  </a:lnTo>
                  <a:lnTo>
                    <a:pt x="2881" y="1422"/>
                  </a:lnTo>
                  <a:close/>
                  <a:moveTo>
                    <a:pt x="2261" y="1715"/>
                  </a:moveTo>
                  <a:lnTo>
                    <a:pt x="2806" y="2531"/>
                  </a:lnTo>
                  <a:cubicBezTo>
                    <a:pt x="2809" y="2531"/>
                    <a:pt x="2811" y="2530"/>
                    <a:pt x="2814" y="2530"/>
                  </a:cubicBezTo>
                  <a:lnTo>
                    <a:pt x="2814" y="1422"/>
                  </a:lnTo>
                  <a:lnTo>
                    <a:pt x="2766" y="1422"/>
                  </a:lnTo>
                  <a:cubicBezTo>
                    <a:pt x="2697" y="1422"/>
                    <a:pt x="2640" y="1365"/>
                    <a:pt x="2640" y="1296"/>
                  </a:cubicBezTo>
                  <a:lnTo>
                    <a:pt x="2640" y="1212"/>
                  </a:lnTo>
                  <a:cubicBezTo>
                    <a:pt x="2640" y="1143"/>
                    <a:pt x="2697" y="1086"/>
                    <a:pt x="2766" y="1086"/>
                  </a:cubicBezTo>
                  <a:lnTo>
                    <a:pt x="3812" y="1086"/>
                  </a:lnTo>
                  <a:cubicBezTo>
                    <a:pt x="3881" y="1086"/>
                    <a:pt x="3938" y="1143"/>
                    <a:pt x="3938" y="1212"/>
                  </a:cubicBezTo>
                  <a:lnTo>
                    <a:pt x="3938" y="1296"/>
                  </a:lnTo>
                  <a:cubicBezTo>
                    <a:pt x="3938" y="1365"/>
                    <a:pt x="3881" y="1422"/>
                    <a:pt x="3812" y="1422"/>
                  </a:cubicBezTo>
                  <a:lnTo>
                    <a:pt x="3764" y="1422"/>
                  </a:lnTo>
                  <a:lnTo>
                    <a:pt x="3764" y="3555"/>
                  </a:lnTo>
                  <a:cubicBezTo>
                    <a:pt x="3764" y="3815"/>
                    <a:pt x="3552" y="4028"/>
                    <a:pt x="3292" y="4028"/>
                  </a:cubicBezTo>
                  <a:lnTo>
                    <a:pt x="3287" y="4028"/>
                  </a:lnTo>
                  <a:cubicBezTo>
                    <a:pt x="3245" y="4028"/>
                    <a:pt x="3205" y="4022"/>
                    <a:pt x="3167" y="4012"/>
                  </a:cubicBezTo>
                  <a:cubicBezTo>
                    <a:pt x="3155" y="4011"/>
                    <a:pt x="3143" y="4010"/>
                    <a:pt x="3131" y="4008"/>
                  </a:cubicBezTo>
                  <a:lnTo>
                    <a:pt x="290" y="4008"/>
                  </a:lnTo>
                  <a:cubicBezTo>
                    <a:pt x="130" y="4008"/>
                    <a:pt x="0" y="3878"/>
                    <a:pt x="0" y="3718"/>
                  </a:cubicBezTo>
                  <a:cubicBezTo>
                    <a:pt x="0" y="3655"/>
                    <a:pt x="22" y="3598"/>
                    <a:pt x="54" y="3549"/>
                  </a:cubicBezTo>
                  <a:lnTo>
                    <a:pt x="1278" y="1711"/>
                  </a:lnTo>
                  <a:lnTo>
                    <a:pt x="1278" y="350"/>
                  </a:lnTo>
                  <a:lnTo>
                    <a:pt x="1233" y="350"/>
                  </a:lnTo>
                  <a:cubicBezTo>
                    <a:pt x="1164" y="350"/>
                    <a:pt x="1107" y="293"/>
                    <a:pt x="1107" y="224"/>
                  </a:cubicBezTo>
                  <a:lnTo>
                    <a:pt x="1107" y="126"/>
                  </a:lnTo>
                  <a:cubicBezTo>
                    <a:pt x="1107" y="56"/>
                    <a:pt x="1164" y="0"/>
                    <a:pt x="1233" y="0"/>
                  </a:cubicBezTo>
                  <a:lnTo>
                    <a:pt x="2306" y="0"/>
                  </a:lnTo>
                  <a:cubicBezTo>
                    <a:pt x="2375" y="0"/>
                    <a:pt x="2432" y="56"/>
                    <a:pt x="2432" y="126"/>
                  </a:cubicBezTo>
                  <a:lnTo>
                    <a:pt x="2432" y="224"/>
                  </a:lnTo>
                  <a:cubicBezTo>
                    <a:pt x="2432" y="293"/>
                    <a:pt x="2375" y="350"/>
                    <a:pt x="2306" y="350"/>
                  </a:cubicBezTo>
                  <a:lnTo>
                    <a:pt x="2261" y="350"/>
                  </a:lnTo>
                  <a:lnTo>
                    <a:pt x="2261" y="1715"/>
                  </a:lnTo>
                  <a:close/>
                  <a:moveTo>
                    <a:pt x="2803" y="2712"/>
                  </a:moveTo>
                  <a:lnTo>
                    <a:pt x="2164" y="1766"/>
                  </a:lnTo>
                  <a:lnTo>
                    <a:pt x="2164" y="350"/>
                  </a:lnTo>
                  <a:lnTo>
                    <a:pt x="1375" y="350"/>
                  </a:lnTo>
                  <a:lnTo>
                    <a:pt x="1375" y="1748"/>
                  </a:lnTo>
                  <a:lnTo>
                    <a:pt x="291" y="3372"/>
                  </a:lnTo>
                  <a:cubicBezTo>
                    <a:pt x="265" y="3411"/>
                    <a:pt x="247" y="3457"/>
                    <a:pt x="247" y="3508"/>
                  </a:cubicBezTo>
                  <a:cubicBezTo>
                    <a:pt x="247" y="3636"/>
                    <a:pt x="454" y="3740"/>
                    <a:pt x="583" y="3740"/>
                  </a:cubicBezTo>
                  <a:lnTo>
                    <a:pt x="2850" y="3740"/>
                  </a:lnTo>
                  <a:lnTo>
                    <a:pt x="2850" y="3735"/>
                  </a:lnTo>
                  <a:cubicBezTo>
                    <a:pt x="2843" y="3719"/>
                    <a:pt x="2838" y="3703"/>
                    <a:pt x="2833" y="3686"/>
                  </a:cubicBezTo>
                  <a:cubicBezTo>
                    <a:pt x="2831" y="3684"/>
                    <a:pt x="2829" y="3682"/>
                    <a:pt x="2826" y="3679"/>
                  </a:cubicBezTo>
                  <a:lnTo>
                    <a:pt x="599" y="3679"/>
                  </a:lnTo>
                  <a:cubicBezTo>
                    <a:pt x="493" y="3679"/>
                    <a:pt x="322" y="3593"/>
                    <a:pt x="322" y="3487"/>
                  </a:cubicBezTo>
                  <a:cubicBezTo>
                    <a:pt x="322" y="3445"/>
                    <a:pt x="336" y="3407"/>
                    <a:pt x="358" y="3374"/>
                  </a:cubicBezTo>
                  <a:lnTo>
                    <a:pt x="1096" y="2269"/>
                  </a:lnTo>
                  <a:lnTo>
                    <a:pt x="1096" y="2269"/>
                  </a:lnTo>
                  <a:lnTo>
                    <a:pt x="1096" y="2270"/>
                  </a:lnTo>
                  <a:cubicBezTo>
                    <a:pt x="1096" y="2327"/>
                    <a:pt x="1394" y="2373"/>
                    <a:pt x="1763" y="2373"/>
                  </a:cubicBezTo>
                  <a:cubicBezTo>
                    <a:pt x="2131" y="2373"/>
                    <a:pt x="2429" y="2327"/>
                    <a:pt x="2429" y="2270"/>
                  </a:cubicBezTo>
                  <a:lnTo>
                    <a:pt x="2429" y="2269"/>
                  </a:lnTo>
                  <a:lnTo>
                    <a:pt x="2435" y="2269"/>
                  </a:lnTo>
                  <a:lnTo>
                    <a:pt x="2812" y="2827"/>
                  </a:lnTo>
                  <a:lnTo>
                    <a:pt x="2814" y="2824"/>
                  </a:lnTo>
                  <a:cubicBezTo>
                    <a:pt x="2814" y="2794"/>
                    <a:pt x="2814" y="2764"/>
                    <a:pt x="2814" y="2734"/>
                  </a:cubicBezTo>
                  <a:cubicBezTo>
                    <a:pt x="2810" y="2727"/>
                    <a:pt x="2807" y="2720"/>
                    <a:pt x="2803" y="2712"/>
                  </a:cubicBezTo>
                  <a:close/>
                  <a:moveTo>
                    <a:pt x="2931" y="1821"/>
                  </a:moveTo>
                  <a:lnTo>
                    <a:pt x="2932" y="1821"/>
                  </a:lnTo>
                  <a:cubicBezTo>
                    <a:pt x="2944" y="1841"/>
                    <a:pt x="3099" y="1856"/>
                    <a:pt x="3289" y="1856"/>
                  </a:cubicBezTo>
                  <a:cubicBezTo>
                    <a:pt x="3479" y="1856"/>
                    <a:pt x="3635" y="1841"/>
                    <a:pt x="3647" y="1821"/>
                  </a:cubicBezTo>
                  <a:lnTo>
                    <a:pt x="3648" y="1821"/>
                  </a:lnTo>
                  <a:lnTo>
                    <a:pt x="3648" y="3553"/>
                  </a:lnTo>
                  <a:cubicBezTo>
                    <a:pt x="3648" y="3749"/>
                    <a:pt x="3487" y="3909"/>
                    <a:pt x="3291" y="3909"/>
                  </a:cubicBezTo>
                  <a:lnTo>
                    <a:pt x="3287" y="3909"/>
                  </a:lnTo>
                  <a:cubicBezTo>
                    <a:pt x="3091" y="3909"/>
                    <a:pt x="2931" y="3749"/>
                    <a:pt x="2931" y="3553"/>
                  </a:cubicBezTo>
                  <a:lnTo>
                    <a:pt x="2931" y="1821"/>
                  </a:lnTo>
                  <a:close/>
                  <a:moveTo>
                    <a:pt x="3289" y="1743"/>
                  </a:moveTo>
                  <a:cubicBezTo>
                    <a:pt x="3487" y="1743"/>
                    <a:pt x="3648" y="1759"/>
                    <a:pt x="3648" y="1780"/>
                  </a:cubicBezTo>
                  <a:cubicBezTo>
                    <a:pt x="3648" y="1800"/>
                    <a:pt x="3487" y="1816"/>
                    <a:pt x="3289" y="1816"/>
                  </a:cubicBezTo>
                  <a:cubicBezTo>
                    <a:pt x="3091" y="1816"/>
                    <a:pt x="2931" y="1800"/>
                    <a:pt x="2931" y="1780"/>
                  </a:cubicBezTo>
                  <a:cubicBezTo>
                    <a:pt x="2931" y="1759"/>
                    <a:pt x="3091" y="1743"/>
                    <a:pt x="3289" y="1743"/>
                  </a:cubicBezTo>
                  <a:close/>
                  <a:moveTo>
                    <a:pt x="1770" y="2119"/>
                  </a:moveTo>
                  <a:cubicBezTo>
                    <a:pt x="2122" y="2119"/>
                    <a:pt x="2407" y="2166"/>
                    <a:pt x="2407" y="2222"/>
                  </a:cubicBezTo>
                  <a:cubicBezTo>
                    <a:pt x="2407" y="2279"/>
                    <a:pt x="2122" y="2326"/>
                    <a:pt x="1770" y="2326"/>
                  </a:cubicBezTo>
                  <a:cubicBezTo>
                    <a:pt x="1418" y="2326"/>
                    <a:pt x="1132" y="2279"/>
                    <a:pt x="1132" y="2222"/>
                  </a:cubicBezTo>
                  <a:cubicBezTo>
                    <a:pt x="1132" y="2166"/>
                    <a:pt x="1418" y="2119"/>
                    <a:pt x="1770" y="2119"/>
                  </a:cubicBezTo>
                  <a:close/>
                  <a:moveTo>
                    <a:pt x="1145" y="2391"/>
                  </a:moveTo>
                  <a:cubicBezTo>
                    <a:pt x="1215" y="2412"/>
                    <a:pt x="1333" y="2430"/>
                    <a:pt x="1478" y="2440"/>
                  </a:cubicBezTo>
                  <a:lnTo>
                    <a:pt x="1214" y="3499"/>
                  </a:lnTo>
                  <a:cubicBezTo>
                    <a:pt x="1200" y="3564"/>
                    <a:pt x="1138" y="3588"/>
                    <a:pt x="1060" y="3591"/>
                  </a:cubicBezTo>
                  <a:cubicBezTo>
                    <a:pt x="908" y="3595"/>
                    <a:pt x="757" y="3599"/>
                    <a:pt x="605" y="3603"/>
                  </a:cubicBezTo>
                  <a:cubicBezTo>
                    <a:pt x="497" y="3604"/>
                    <a:pt x="498" y="3495"/>
                    <a:pt x="564" y="3387"/>
                  </a:cubicBezTo>
                  <a:lnTo>
                    <a:pt x="1145" y="2391"/>
                  </a:ln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426" name="Прямоугольная выноска 93">
            <a:extLst/>
          </p:cNvPr>
          <p:cNvSpPr/>
          <p:nvPr/>
        </p:nvSpPr>
        <p:spPr>
          <a:xfrm>
            <a:off x="10073218" y="1699684"/>
            <a:ext cx="1729316" cy="472016"/>
          </a:xfrm>
          <a:prstGeom prst="wedgeRectCallout">
            <a:avLst>
              <a:gd name="adj1" fmla="val -34040"/>
              <a:gd name="adj2" fmla="val 104125"/>
            </a:avLst>
          </a:prstGeom>
          <a:solidFill>
            <a:srgbClr val="FFFFFF">
              <a:lumMod val="85000"/>
              <a:alpha val="7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51425" tIns="51425" rIns="51425" bIns="51425" anchor="ctr"/>
          <a:lstStyle/>
          <a:p>
            <a:pPr marL="126987" indent="-126987" defTabSz="653077">
              <a:buFont typeface="+mj-lt"/>
              <a:buAutoNum type="arabicPeriod"/>
              <a:defRPr/>
            </a:pPr>
            <a:r>
              <a:rPr lang="ru-RU" sz="667" kern="0" dirty="0">
                <a:solidFill>
                  <a:srgbClr val="000000"/>
                </a:solidFill>
                <a:latin typeface="Arial"/>
              </a:rPr>
              <a:t>ТОО «Сорбент»</a:t>
            </a:r>
          </a:p>
          <a:p>
            <a:pPr marL="126987" indent="-126987" defTabSz="653077">
              <a:buFont typeface="+mj-lt"/>
              <a:buAutoNum type="arabicPeriod"/>
              <a:defRPr/>
            </a:pPr>
            <a:r>
              <a:rPr lang="kk-KZ" sz="667" kern="0" dirty="0">
                <a:solidFill>
                  <a:srgbClr val="000000"/>
                </a:solidFill>
                <a:latin typeface="Arial"/>
              </a:rPr>
              <a:t>ТОО «ВКО </a:t>
            </a:r>
            <a:r>
              <a:rPr lang="kk-KZ" sz="667" kern="0" dirty="0" err="1">
                <a:solidFill>
                  <a:srgbClr val="000000"/>
                </a:solidFill>
                <a:latin typeface="Arial"/>
              </a:rPr>
              <a:t>протезно</a:t>
            </a:r>
            <a:r>
              <a:rPr lang="kk-KZ" sz="667" kern="0" dirty="0">
                <a:solidFill>
                  <a:srgbClr val="000000"/>
                </a:solidFill>
                <a:latin typeface="Arial"/>
              </a:rPr>
              <a:t>–</a:t>
            </a:r>
            <a:r>
              <a:rPr lang="kk-KZ" sz="667" kern="0" dirty="0" err="1">
                <a:solidFill>
                  <a:srgbClr val="000000"/>
                </a:solidFill>
                <a:latin typeface="Arial"/>
              </a:rPr>
              <a:t>ортопедический</a:t>
            </a:r>
            <a:r>
              <a:rPr lang="kk-KZ" sz="667" kern="0" dirty="0">
                <a:solidFill>
                  <a:srgbClr val="000000"/>
                </a:solidFill>
                <a:latin typeface="Arial"/>
              </a:rPr>
              <a:t> центр»)</a:t>
            </a:r>
            <a:r>
              <a:rPr lang="x-none" sz="667" kern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667" kern="0" dirty="0">
                <a:solidFill>
                  <a:srgbClr val="000000"/>
                </a:solidFill>
                <a:latin typeface="Arial"/>
              </a:rPr>
              <a:t>и др.</a:t>
            </a:r>
          </a:p>
        </p:txBody>
      </p:sp>
      <p:grpSp>
        <p:nvGrpSpPr>
          <p:cNvPr id="427" name="Группа 102">
            <a:extLst/>
          </p:cNvPr>
          <p:cNvGrpSpPr/>
          <p:nvPr/>
        </p:nvGrpSpPr>
        <p:grpSpPr>
          <a:xfrm>
            <a:off x="10048621" y="2413904"/>
            <a:ext cx="334835" cy="340872"/>
            <a:chOff x="7363280" y="2048991"/>
            <a:chExt cx="527654" cy="52765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28" name="Freeform 7">
              <a:extLst/>
            </p:cNvPr>
            <p:cNvSpPr>
              <a:spLocks/>
            </p:cNvSpPr>
            <p:nvPr/>
          </p:nvSpPr>
          <p:spPr bwMode="auto">
            <a:xfrm>
              <a:off x="7363280" y="2048991"/>
              <a:ext cx="527654" cy="527654"/>
            </a:xfrm>
            <a:custGeom>
              <a:avLst/>
              <a:gdLst/>
              <a:ahLst/>
              <a:cxnLst>
                <a:cxn ang="0">
                  <a:pos x="780" y="0"/>
                </a:cxn>
                <a:cxn ang="0">
                  <a:pos x="4215" y="0"/>
                </a:cxn>
                <a:cxn ang="0">
                  <a:pos x="4995" y="780"/>
                </a:cxn>
                <a:cxn ang="0">
                  <a:pos x="4995" y="4215"/>
                </a:cxn>
                <a:cxn ang="0">
                  <a:pos x="4215" y="4995"/>
                </a:cxn>
                <a:cxn ang="0">
                  <a:pos x="780" y="4995"/>
                </a:cxn>
                <a:cxn ang="0">
                  <a:pos x="0" y="4215"/>
                </a:cxn>
                <a:cxn ang="0">
                  <a:pos x="0" y="780"/>
                </a:cxn>
                <a:cxn ang="0">
                  <a:pos x="780" y="0"/>
                </a:cxn>
              </a:cxnLst>
              <a:rect l="0" t="0" r="r" b="b"/>
              <a:pathLst>
                <a:path w="4995" h="4995">
                  <a:moveTo>
                    <a:pt x="780" y="0"/>
                  </a:moveTo>
                  <a:lnTo>
                    <a:pt x="4215" y="0"/>
                  </a:lnTo>
                  <a:cubicBezTo>
                    <a:pt x="4644" y="0"/>
                    <a:pt x="4995" y="351"/>
                    <a:pt x="4995" y="780"/>
                  </a:cubicBezTo>
                  <a:lnTo>
                    <a:pt x="4995" y="4215"/>
                  </a:lnTo>
                  <a:cubicBezTo>
                    <a:pt x="4995" y="4644"/>
                    <a:pt x="4644" y="4995"/>
                    <a:pt x="4215" y="4995"/>
                  </a:cubicBezTo>
                  <a:lnTo>
                    <a:pt x="780" y="4995"/>
                  </a:lnTo>
                  <a:cubicBezTo>
                    <a:pt x="351" y="4995"/>
                    <a:pt x="0" y="4644"/>
                    <a:pt x="0" y="4215"/>
                  </a:cubicBezTo>
                  <a:lnTo>
                    <a:pt x="0" y="780"/>
                  </a:lnTo>
                  <a:cubicBezTo>
                    <a:pt x="0" y="351"/>
                    <a:pt x="351" y="0"/>
                    <a:pt x="78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29" name="Freeform 8">
              <a:extLst/>
            </p:cNvPr>
            <p:cNvSpPr>
              <a:spLocks noEditPoints="1"/>
            </p:cNvSpPr>
            <p:nvPr/>
          </p:nvSpPr>
          <p:spPr bwMode="auto">
            <a:xfrm>
              <a:off x="7603299" y="2100833"/>
              <a:ext cx="265278" cy="269834"/>
            </a:xfrm>
            <a:custGeom>
              <a:avLst/>
              <a:gdLst/>
              <a:ahLst/>
              <a:cxnLst>
                <a:cxn ang="0">
                  <a:pos x="4097" y="2858"/>
                </a:cxn>
                <a:cxn ang="0">
                  <a:pos x="2329" y="2834"/>
                </a:cxn>
                <a:cxn ang="0">
                  <a:pos x="2778" y="336"/>
                </a:cxn>
                <a:cxn ang="0">
                  <a:pos x="3313" y="1691"/>
                </a:cxn>
                <a:cxn ang="0">
                  <a:pos x="1421" y="1012"/>
                </a:cxn>
                <a:cxn ang="0">
                  <a:pos x="2264" y="2553"/>
                </a:cxn>
                <a:cxn ang="0">
                  <a:pos x="1929" y="2441"/>
                </a:cxn>
                <a:cxn ang="0">
                  <a:pos x="2778" y="336"/>
                </a:cxn>
                <a:cxn ang="0">
                  <a:pos x="3534" y="1733"/>
                </a:cxn>
                <a:cxn ang="0">
                  <a:pos x="3374" y="1699"/>
                </a:cxn>
                <a:cxn ang="0">
                  <a:pos x="4409" y="2862"/>
                </a:cxn>
                <a:cxn ang="0">
                  <a:pos x="3197" y="4006"/>
                </a:cxn>
                <a:cxn ang="0">
                  <a:pos x="1601" y="4482"/>
                </a:cxn>
                <a:cxn ang="0">
                  <a:pos x="8" y="3282"/>
                </a:cxn>
                <a:cxn ang="0">
                  <a:pos x="1366" y="990"/>
                </a:cxn>
                <a:cxn ang="0">
                  <a:pos x="2916" y="263"/>
                </a:cxn>
                <a:cxn ang="0">
                  <a:pos x="2844" y="3924"/>
                </a:cxn>
                <a:cxn ang="0">
                  <a:pos x="2798" y="3901"/>
                </a:cxn>
                <a:cxn ang="0">
                  <a:pos x="121" y="3643"/>
                </a:cxn>
                <a:cxn ang="0">
                  <a:pos x="2844" y="3924"/>
                </a:cxn>
                <a:cxn ang="0">
                  <a:pos x="2689" y="3830"/>
                </a:cxn>
                <a:cxn ang="0">
                  <a:pos x="164" y="3280"/>
                </a:cxn>
                <a:cxn ang="0">
                  <a:pos x="1596" y="2373"/>
                </a:cxn>
                <a:cxn ang="0">
                  <a:pos x="96" y="3281"/>
                </a:cxn>
                <a:cxn ang="0">
                  <a:pos x="2734" y="3862"/>
                </a:cxn>
                <a:cxn ang="0">
                  <a:pos x="4345" y="2861"/>
                </a:cxn>
                <a:cxn ang="0">
                  <a:pos x="4194" y="2859"/>
                </a:cxn>
                <a:cxn ang="0">
                  <a:pos x="3227" y="1751"/>
                </a:cxn>
                <a:cxn ang="0">
                  <a:pos x="3198" y="3941"/>
                </a:cxn>
                <a:cxn ang="0">
                  <a:pos x="3227" y="1751"/>
                </a:cxn>
                <a:cxn ang="0">
                  <a:pos x="3867" y="2280"/>
                </a:cxn>
                <a:cxn ang="0">
                  <a:pos x="3876" y="2311"/>
                </a:cxn>
                <a:cxn ang="0">
                  <a:pos x="2496" y="3308"/>
                </a:cxn>
                <a:cxn ang="0">
                  <a:pos x="959" y="2553"/>
                </a:cxn>
                <a:cxn ang="0">
                  <a:pos x="2362" y="3942"/>
                </a:cxn>
                <a:cxn ang="0">
                  <a:pos x="941" y="2579"/>
                </a:cxn>
                <a:cxn ang="0">
                  <a:pos x="959" y="2553"/>
                </a:cxn>
                <a:cxn ang="0">
                  <a:pos x="3238" y="1073"/>
                </a:cxn>
                <a:cxn ang="0">
                  <a:pos x="3235" y="1107"/>
                </a:cxn>
                <a:cxn ang="0">
                  <a:pos x="1446" y="1575"/>
                </a:cxn>
              </a:cxnLst>
              <a:rect l="0" t="0" r="r" b="b"/>
              <a:pathLst>
                <a:path w="4416" h="4488">
                  <a:moveTo>
                    <a:pt x="3227" y="1801"/>
                  </a:moveTo>
                  <a:cubicBezTo>
                    <a:pt x="3715" y="1807"/>
                    <a:pt x="4104" y="2280"/>
                    <a:pt x="4097" y="2858"/>
                  </a:cubicBezTo>
                  <a:cubicBezTo>
                    <a:pt x="4089" y="3435"/>
                    <a:pt x="3687" y="3898"/>
                    <a:pt x="3199" y="3891"/>
                  </a:cubicBezTo>
                  <a:cubicBezTo>
                    <a:pt x="2711" y="3885"/>
                    <a:pt x="2321" y="3412"/>
                    <a:pt x="2329" y="2834"/>
                  </a:cubicBezTo>
                  <a:cubicBezTo>
                    <a:pt x="2336" y="2257"/>
                    <a:pt x="2738" y="1794"/>
                    <a:pt x="3227" y="1801"/>
                  </a:cubicBezTo>
                  <a:close/>
                  <a:moveTo>
                    <a:pt x="2778" y="336"/>
                  </a:moveTo>
                  <a:cubicBezTo>
                    <a:pt x="3253" y="528"/>
                    <a:pt x="3464" y="1123"/>
                    <a:pt x="3267" y="1687"/>
                  </a:cubicBezTo>
                  <a:cubicBezTo>
                    <a:pt x="3282" y="1688"/>
                    <a:pt x="3298" y="1690"/>
                    <a:pt x="3313" y="1691"/>
                  </a:cubicBezTo>
                  <a:cubicBezTo>
                    <a:pt x="3514" y="1104"/>
                    <a:pt x="3293" y="485"/>
                    <a:pt x="2799" y="286"/>
                  </a:cubicBezTo>
                  <a:cubicBezTo>
                    <a:pt x="2284" y="78"/>
                    <a:pt x="1667" y="403"/>
                    <a:pt x="1421" y="1012"/>
                  </a:cubicBezTo>
                  <a:cubicBezTo>
                    <a:pt x="1175" y="1621"/>
                    <a:pt x="1394" y="2283"/>
                    <a:pt x="1909" y="2491"/>
                  </a:cubicBezTo>
                  <a:cubicBezTo>
                    <a:pt x="2024" y="2538"/>
                    <a:pt x="2144" y="2557"/>
                    <a:pt x="2264" y="2553"/>
                  </a:cubicBezTo>
                  <a:cubicBezTo>
                    <a:pt x="2268" y="2535"/>
                    <a:pt x="2272" y="2518"/>
                    <a:pt x="2277" y="2500"/>
                  </a:cubicBezTo>
                  <a:cubicBezTo>
                    <a:pt x="2160" y="2505"/>
                    <a:pt x="2042" y="2487"/>
                    <a:pt x="1929" y="2441"/>
                  </a:cubicBezTo>
                  <a:cubicBezTo>
                    <a:pt x="1437" y="2243"/>
                    <a:pt x="1229" y="1611"/>
                    <a:pt x="1463" y="1029"/>
                  </a:cubicBezTo>
                  <a:cubicBezTo>
                    <a:pt x="1698" y="448"/>
                    <a:pt x="2287" y="138"/>
                    <a:pt x="2778" y="336"/>
                  </a:cubicBezTo>
                  <a:close/>
                  <a:moveTo>
                    <a:pt x="3374" y="1699"/>
                  </a:moveTo>
                  <a:cubicBezTo>
                    <a:pt x="3430" y="1707"/>
                    <a:pt x="3481" y="1718"/>
                    <a:pt x="3534" y="1733"/>
                  </a:cubicBezTo>
                  <a:cubicBezTo>
                    <a:pt x="3669" y="1269"/>
                    <a:pt x="3511" y="772"/>
                    <a:pt x="3153" y="445"/>
                  </a:cubicBezTo>
                  <a:cubicBezTo>
                    <a:pt x="3434" y="745"/>
                    <a:pt x="3530" y="1230"/>
                    <a:pt x="3374" y="1699"/>
                  </a:cubicBezTo>
                  <a:close/>
                  <a:moveTo>
                    <a:pt x="3600" y="1753"/>
                  </a:moveTo>
                  <a:cubicBezTo>
                    <a:pt x="4077" y="1916"/>
                    <a:pt x="4416" y="2353"/>
                    <a:pt x="4409" y="2862"/>
                  </a:cubicBezTo>
                  <a:cubicBezTo>
                    <a:pt x="4401" y="3466"/>
                    <a:pt x="3910" y="3955"/>
                    <a:pt x="3290" y="4002"/>
                  </a:cubicBezTo>
                  <a:cubicBezTo>
                    <a:pt x="3260" y="4005"/>
                    <a:pt x="3229" y="4007"/>
                    <a:pt x="3197" y="4006"/>
                  </a:cubicBezTo>
                  <a:cubicBezTo>
                    <a:pt x="3089" y="4005"/>
                    <a:pt x="2984" y="3982"/>
                    <a:pt x="2887" y="3943"/>
                  </a:cubicBezTo>
                  <a:cubicBezTo>
                    <a:pt x="2607" y="4265"/>
                    <a:pt x="2137" y="4477"/>
                    <a:pt x="1601" y="4482"/>
                  </a:cubicBezTo>
                  <a:cubicBezTo>
                    <a:pt x="781" y="4488"/>
                    <a:pt x="100" y="4003"/>
                    <a:pt x="16" y="3376"/>
                  </a:cubicBezTo>
                  <a:cubicBezTo>
                    <a:pt x="11" y="3345"/>
                    <a:pt x="8" y="3313"/>
                    <a:pt x="8" y="3282"/>
                  </a:cubicBezTo>
                  <a:cubicBezTo>
                    <a:pt x="0" y="2746"/>
                    <a:pt x="665" y="2304"/>
                    <a:pt x="1506" y="2276"/>
                  </a:cubicBezTo>
                  <a:cubicBezTo>
                    <a:pt x="1246" y="1954"/>
                    <a:pt x="1177" y="1457"/>
                    <a:pt x="1366" y="990"/>
                  </a:cubicBezTo>
                  <a:cubicBezTo>
                    <a:pt x="1626" y="345"/>
                    <a:pt x="2279" y="0"/>
                    <a:pt x="2825" y="220"/>
                  </a:cubicBezTo>
                  <a:cubicBezTo>
                    <a:pt x="2857" y="233"/>
                    <a:pt x="2887" y="247"/>
                    <a:pt x="2916" y="263"/>
                  </a:cubicBezTo>
                  <a:cubicBezTo>
                    <a:pt x="3478" y="550"/>
                    <a:pt x="3764" y="1177"/>
                    <a:pt x="3600" y="1753"/>
                  </a:cubicBezTo>
                  <a:close/>
                  <a:moveTo>
                    <a:pt x="2844" y="3924"/>
                  </a:moveTo>
                  <a:cubicBezTo>
                    <a:pt x="2829" y="3916"/>
                    <a:pt x="2814" y="3909"/>
                    <a:pt x="2799" y="3901"/>
                  </a:cubicBezTo>
                  <a:lnTo>
                    <a:pt x="2798" y="3901"/>
                  </a:lnTo>
                  <a:cubicBezTo>
                    <a:pt x="2512" y="4119"/>
                    <a:pt x="2082" y="4260"/>
                    <a:pt x="1598" y="4264"/>
                  </a:cubicBezTo>
                  <a:cubicBezTo>
                    <a:pt x="930" y="4269"/>
                    <a:pt x="355" y="4011"/>
                    <a:pt x="121" y="3643"/>
                  </a:cubicBezTo>
                  <a:cubicBezTo>
                    <a:pt x="357" y="4101"/>
                    <a:pt x="932" y="4422"/>
                    <a:pt x="1601" y="4417"/>
                  </a:cubicBezTo>
                  <a:cubicBezTo>
                    <a:pt x="2110" y="4413"/>
                    <a:pt x="2560" y="4220"/>
                    <a:pt x="2844" y="3924"/>
                  </a:cubicBezTo>
                  <a:close/>
                  <a:moveTo>
                    <a:pt x="2734" y="3862"/>
                  </a:moveTo>
                  <a:cubicBezTo>
                    <a:pt x="2719" y="3852"/>
                    <a:pt x="2704" y="3841"/>
                    <a:pt x="2689" y="3830"/>
                  </a:cubicBezTo>
                  <a:cubicBezTo>
                    <a:pt x="2431" y="4031"/>
                    <a:pt x="2038" y="4162"/>
                    <a:pt x="1597" y="4165"/>
                  </a:cubicBezTo>
                  <a:cubicBezTo>
                    <a:pt x="812" y="4171"/>
                    <a:pt x="171" y="3775"/>
                    <a:pt x="164" y="3280"/>
                  </a:cubicBezTo>
                  <a:cubicBezTo>
                    <a:pt x="157" y="2785"/>
                    <a:pt x="787" y="2379"/>
                    <a:pt x="1571" y="2373"/>
                  </a:cubicBezTo>
                  <a:cubicBezTo>
                    <a:pt x="1579" y="2373"/>
                    <a:pt x="1588" y="2373"/>
                    <a:pt x="1596" y="2373"/>
                  </a:cubicBezTo>
                  <a:cubicBezTo>
                    <a:pt x="1581" y="2359"/>
                    <a:pt x="1567" y="2345"/>
                    <a:pt x="1554" y="2331"/>
                  </a:cubicBezTo>
                  <a:cubicBezTo>
                    <a:pt x="740" y="2343"/>
                    <a:pt x="89" y="2766"/>
                    <a:pt x="96" y="3281"/>
                  </a:cubicBezTo>
                  <a:cubicBezTo>
                    <a:pt x="104" y="3799"/>
                    <a:pt x="776" y="4214"/>
                    <a:pt x="1598" y="4208"/>
                  </a:cubicBezTo>
                  <a:cubicBezTo>
                    <a:pt x="2056" y="4204"/>
                    <a:pt x="2464" y="4070"/>
                    <a:pt x="2734" y="3862"/>
                  </a:cubicBezTo>
                  <a:close/>
                  <a:moveTo>
                    <a:pt x="3556" y="3932"/>
                  </a:moveTo>
                  <a:cubicBezTo>
                    <a:pt x="4012" y="3769"/>
                    <a:pt x="4339" y="3353"/>
                    <a:pt x="4345" y="2861"/>
                  </a:cubicBezTo>
                  <a:cubicBezTo>
                    <a:pt x="4352" y="2369"/>
                    <a:pt x="4036" y="1945"/>
                    <a:pt x="3584" y="1770"/>
                  </a:cubicBezTo>
                  <a:cubicBezTo>
                    <a:pt x="3947" y="1944"/>
                    <a:pt x="4200" y="2367"/>
                    <a:pt x="4194" y="2859"/>
                  </a:cubicBezTo>
                  <a:cubicBezTo>
                    <a:pt x="4187" y="3351"/>
                    <a:pt x="3923" y="3768"/>
                    <a:pt x="3556" y="3932"/>
                  </a:cubicBezTo>
                  <a:close/>
                  <a:moveTo>
                    <a:pt x="3227" y="1751"/>
                  </a:moveTo>
                  <a:cubicBezTo>
                    <a:pt x="3739" y="1758"/>
                    <a:pt x="4147" y="2254"/>
                    <a:pt x="4139" y="2858"/>
                  </a:cubicBezTo>
                  <a:cubicBezTo>
                    <a:pt x="4131" y="3463"/>
                    <a:pt x="3710" y="3948"/>
                    <a:pt x="3198" y="3941"/>
                  </a:cubicBezTo>
                  <a:cubicBezTo>
                    <a:pt x="2687" y="3934"/>
                    <a:pt x="2279" y="3438"/>
                    <a:pt x="2287" y="2834"/>
                  </a:cubicBezTo>
                  <a:cubicBezTo>
                    <a:pt x="2295" y="2229"/>
                    <a:pt x="2716" y="1744"/>
                    <a:pt x="3227" y="1751"/>
                  </a:cubicBezTo>
                  <a:close/>
                  <a:moveTo>
                    <a:pt x="2495" y="3289"/>
                  </a:moveTo>
                  <a:cubicBezTo>
                    <a:pt x="2592" y="3091"/>
                    <a:pt x="3590" y="2350"/>
                    <a:pt x="3867" y="2280"/>
                  </a:cubicBezTo>
                  <a:lnTo>
                    <a:pt x="3890" y="2290"/>
                  </a:lnTo>
                  <a:lnTo>
                    <a:pt x="3876" y="2311"/>
                  </a:lnTo>
                  <a:cubicBezTo>
                    <a:pt x="3460" y="2524"/>
                    <a:pt x="2910" y="2947"/>
                    <a:pt x="2520" y="3303"/>
                  </a:cubicBezTo>
                  <a:lnTo>
                    <a:pt x="2496" y="3308"/>
                  </a:lnTo>
                  <a:lnTo>
                    <a:pt x="2495" y="3289"/>
                  </a:lnTo>
                  <a:close/>
                  <a:moveTo>
                    <a:pt x="959" y="2553"/>
                  </a:moveTo>
                  <a:cubicBezTo>
                    <a:pt x="1231" y="2646"/>
                    <a:pt x="2270" y="3639"/>
                    <a:pt x="2374" y="3919"/>
                  </a:cubicBezTo>
                  <a:lnTo>
                    <a:pt x="2362" y="3942"/>
                  </a:lnTo>
                  <a:lnTo>
                    <a:pt x="2333" y="3928"/>
                  </a:lnTo>
                  <a:cubicBezTo>
                    <a:pt x="2029" y="3512"/>
                    <a:pt x="1438" y="2965"/>
                    <a:pt x="941" y="2579"/>
                  </a:cubicBezTo>
                  <a:lnTo>
                    <a:pt x="933" y="2554"/>
                  </a:lnTo>
                  <a:lnTo>
                    <a:pt x="959" y="2553"/>
                  </a:lnTo>
                  <a:close/>
                  <a:moveTo>
                    <a:pt x="1453" y="1555"/>
                  </a:moveTo>
                  <a:cubicBezTo>
                    <a:pt x="1629" y="1393"/>
                    <a:pt x="2931" y="1035"/>
                    <a:pt x="3238" y="1073"/>
                  </a:cubicBezTo>
                  <a:lnTo>
                    <a:pt x="3258" y="1092"/>
                  </a:lnTo>
                  <a:lnTo>
                    <a:pt x="3235" y="1107"/>
                  </a:lnTo>
                  <a:cubicBezTo>
                    <a:pt x="2730" y="1160"/>
                    <a:pt x="2007" y="1371"/>
                    <a:pt x="1473" y="1579"/>
                  </a:cubicBezTo>
                  <a:lnTo>
                    <a:pt x="1446" y="1575"/>
                  </a:lnTo>
                  <a:lnTo>
                    <a:pt x="1453" y="1555"/>
                  </a:lnTo>
                  <a:close/>
                </a:path>
              </a:pathLst>
            </a:custGeom>
            <a:solidFill>
              <a:srgbClr val="FFFFFF"/>
            </a:solidFill>
            <a:ln w="1588" cap="flat">
              <a:noFill/>
              <a:prstDash val="solid"/>
              <a:miter lim="800000"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0" name="Freeform 9">
              <a:extLst/>
            </p:cNvPr>
            <p:cNvSpPr>
              <a:spLocks noEditPoints="1"/>
            </p:cNvSpPr>
            <p:nvPr/>
          </p:nvSpPr>
          <p:spPr bwMode="auto">
            <a:xfrm>
              <a:off x="7382569" y="2268417"/>
              <a:ext cx="285693" cy="249449"/>
            </a:xfrm>
            <a:custGeom>
              <a:avLst/>
              <a:gdLst/>
              <a:ahLst/>
              <a:cxnLst>
                <a:cxn ang="0">
                  <a:pos x="3835" y="1514"/>
                </a:cxn>
                <a:cxn ang="0">
                  <a:pos x="3845" y="1533"/>
                </a:cxn>
                <a:cxn ang="0">
                  <a:pos x="4527" y="2848"/>
                </a:cxn>
                <a:cxn ang="0">
                  <a:pos x="4194" y="3901"/>
                </a:cxn>
                <a:cxn ang="0">
                  <a:pos x="4113" y="3943"/>
                </a:cxn>
                <a:cxn ang="0">
                  <a:pos x="3116" y="3702"/>
                </a:cxn>
                <a:cxn ang="0">
                  <a:pos x="2891" y="3739"/>
                </a:cxn>
                <a:cxn ang="0">
                  <a:pos x="1663" y="3732"/>
                </a:cxn>
                <a:cxn ang="0">
                  <a:pos x="1645" y="3732"/>
                </a:cxn>
                <a:cxn ang="0">
                  <a:pos x="665" y="3726"/>
                </a:cxn>
                <a:cxn ang="0">
                  <a:pos x="2" y="3055"/>
                </a:cxn>
                <a:cxn ang="0">
                  <a:pos x="2" y="2977"/>
                </a:cxn>
                <a:cxn ang="0">
                  <a:pos x="673" y="2315"/>
                </a:cxn>
                <a:cxn ang="0">
                  <a:pos x="1617" y="2320"/>
                </a:cxn>
                <a:cxn ang="0">
                  <a:pos x="1636" y="2321"/>
                </a:cxn>
                <a:cxn ang="0">
                  <a:pos x="2393" y="2325"/>
                </a:cxn>
                <a:cxn ang="0">
                  <a:pos x="2387" y="2313"/>
                </a:cxn>
                <a:cxn ang="0">
                  <a:pos x="1857" y="1294"/>
                </a:cxn>
                <a:cxn ang="0">
                  <a:pos x="2191" y="240"/>
                </a:cxn>
                <a:cxn ang="0">
                  <a:pos x="2272" y="198"/>
                </a:cxn>
                <a:cxn ang="0">
                  <a:pos x="3325" y="532"/>
                </a:cxn>
                <a:cxn ang="0">
                  <a:pos x="3835" y="1514"/>
                </a:cxn>
                <a:cxn ang="0">
                  <a:pos x="2531" y="2591"/>
                </a:cxn>
                <a:cxn ang="0">
                  <a:pos x="2469" y="2471"/>
                </a:cxn>
                <a:cxn ang="0">
                  <a:pos x="1844" y="2467"/>
                </a:cxn>
                <a:cxn ang="0">
                  <a:pos x="1804" y="2575"/>
                </a:cxn>
                <a:cxn ang="0">
                  <a:pos x="2531" y="2591"/>
                </a:cxn>
                <a:cxn ang="0">
                  <a:pos x="680" y="2460"/>
                </a:cxn>
                <a:cxn ang="0">
                  <a:pos x="1326" y="2464"/>
                </a:cxn>
                <a:cxn ang="0">
                  <a:pos x="1285" y="2575"/>
                </a:cxn>
                <a:cxn ang="0">
                  <a:pos x="317" y="2603"/>
                </a:cxn>
                <a:cxn ang="0">
                  <a:pos x="680" y="2460"/>
                </a:cxn>
                <a:cxn ang="0">
                  <a:pos x="1614" y="3665"/>
                </a:cxn>
                <a:cxn ang="0">
                  <a:pos x="1474" y="2986"/>
                </a:cxn>
                <a:cxn ang="0">
                  <a:pos x="1590" y="2387"/>
                </a:cxn>
                <a:cxn ang="0">
                  <a:pos x="684" y="2381"/>
                </a:cxn>
                <a:cxn ang="0">
                  <a:pos x="77" y="2982"/>
                </a:cxn>
                <a:cxn ang="0">
                  <a:pos x="76" y="3052"/>
                </a:cxn>
                <a:cxn ang="0">
                  <a:pos x="676" y="3659"/>
                </a:cxn>
                <a:cxn ang="0">
                  <a:pos x="1614" y="3665"/>
                </a:cxn>
                <a:cxn ang="0">
                  <a:pos x="3806" y="1829"/>
                </a:cxn>
                <a:cxn ang="0">
                  <a:pos x="4357" y="2891"/>
                </a:cxn>
                <a:cxn ang="0">
                  <a:pos x="4403" y="3346"/>
                </a:cxn>
                <a:cxn ang="0">
                  <a:pos x="3672" y="1846"/>
                </a:cxn>
                <a:cxn ang="0">
                  <a:pos x="3806" y="1829"/>
                </a:cxn>
                <a:cxn ang="0">
                  <a:pos x="3178" y="619"/>
                </a:cxn>
                <a:cxn ang="0">
                  <a:pos x="3526" y="1290"/>
                </a:cxn>
                <a:cxn ang="0">
                  <a:pos x="3389" y="1308"/>
                </a:cxn>
                <a:cxn ang="0">
                  <a:pos x="2832" y="320"/>
                </a:cxn>
                <a:cxn ang="0">
                  <a:pos x="3178" y="619"/>
                </a:cxn>
                <a:cxn ang="0">
                  <a:pos x="2439" y="2245"/>
                </a:cxn>
                <a:cxn ang="0">
                  <a:pos x="3066" y="1729"/>
                </a:cxn>
                <a:cxn ang="0">
                  <a:pos x="3751" y="1521"/>
                </a:cxn>
                <a:cxn ang="0">
                  <a:pos x="3262" y="580"/>
                </a:cxn>
                <a:cxn ang="0">
                  <a:pos x="2308" y="278"/>
                </a:cxn>
                <a:cxn ang="0">
                  <a:pos x="2235" y="316"/>
                </a:cxn>
                <a:cxn ang="0">
                  <a:pos x="1933" y="1269"/>
                </a:cxn>
                <a:cxn ang="0">
                  <a:pos x="2439" y="2245"/>
                </a:cxn>
              </a:cxnLst>
              <a:rect l="0" t="0" r="r" b="b"/>
              <a:pathLst>
                <a:path w="4725" h="4124">
                  <a:moveTo>
                    <a:pt x="3835" y="1514"/>
                  </a:moveTo>
                  <a:lnTo>
                    <a:pt x="3845" y="1533"/>
                  </a:lnTo>
                  <a:lnTo>
                    <a:pt x="4527" y="2848"/>
                  </a:lnTo>
                  <a:cubicBezTo>
                    <a:pt x="4725" y="3229"/>
                    <a:pt x="4575" y="3703"/>
                    <a:pt x="4194" y="3901"/>
                  </a:cubicBezTo>
                  <a:lnTo>
                    <a:pt x="4113" y="3943"/>
                  </a:lnTo>
                  <a:cubicBezTo>
                    <a:pt x="3764" y="4124"/>
                    <a:pt x="3338" y="4014"/>
                    <a:pt x="3116" y="3702"/>
                  </a:cubicBezTo>
                  <a:cubicBezTo>
                    <a:pt x="3046" y="3727"/>
                    <a:pt x="2970" y="3740"/>
                    <a:pt x="2891" y="3739"/>
                  </a:cubicBezTo>
                  <a:lnTo>
                    <a:pt x="1663" y="3732"/>
                  </a:lnTo>
                  <a:lnTo>
                    <a:pt x="1645" y="3732"/>
                  </a:lnTo>
                  <a:lnTo>
                    <a:pt x="665" y="3726"/>
                  </a:lnTo>
                  <a:cubicBezTo>
                    <a:pt x="298" y="3724"/>
                    <a:pt x="0" y="3422"/>
                    <a:pt x="2" y="3055"/>
                  </a:cubicBezTo>
                  <a:lnTo>
                    <a:pt x="2" y="2977"/>
                  </a:lnTo>
                  <a:cubicBezTo>
                    <a:pt x="5" y="2611"/>
                    <a:pt x="306" y="2312"/>
                    <a:pt x="673" y="2315"/>
                  </a:cubicBezTo>
                  <a:lnTo>
                    <a:pt x="1617" y="2320"/>
                  </a:lnTo>
                  <a:lnTo>
                    <a:pt x="1636" y="2321"/>
                  </a:lnTo>
                  <a:lnTo>
                    <a:pt x="2393" y="2325"/>
                  </a:lnTo>
                  <a:lnTo>
                    <a:pt x="2387" y="2313"/>
                  </a:lnTo>
                  <a:lnTo>
                    <a:pt x="1857" y="1294"/>
                  </a:lnTo>
                  <a:cubicBezTo>
                    <a:pt x="1659" y="912"/>
                    <a:pt x="1809" y="438"/>
                    <a:pt x="2191" y="240"/>
                  </a:cubicBezTo>
                  <a:lnTo>
                    <a:pt x="2272" y="198"/>
                  </a:lnTo>
                  <a:cubicBezTo>
                    <a:pt x="2653" y="0"/>
                    <a:pt x="3127" y="150"/>
                    <a:pt x="3325" y="532"/>
                  </a:cubicBezTo>
                  <a:lnTo>
                    <a:pt x="3835" y="1514"/>
                  </a:lnTo>
                  <a:close/>
                  <a:moveTo>
                    <a:pt x="2531" y="2591"/>
                  </a:moveTo>
                  <a:lnTo>
                    <a:pt x="2469" y="2471"/>
                  </a:lnTo>
                  <a:lnTo>
                    <a:pt x="1844" y="2467"/>
                  </a:lnTo>
                  <a:lnTo>
                    <a:pt x="1804" y="2575"/>
                  </a:lnTo>
                  <a:cubicBezTo>
                    <a:pt x="2044" y="2578"/>
                    <a:pt x="2286" y="2583"/>
                    <a:pt x="2531" y="2591"/>
                  </a:cubicBezTo>
                  <a:close/>
                  <a:moveTo>
                    <a:pt x="680" y="2460"/>
                  </a:moveTo>
                  <a:lnTo>
                    <a:pt x="1326" y="2464"/>
                  </a:lnTo>
                  <a:lnTo>
                    <a:pt x="1285" y="2575"/>
                  </a:lnTo>
                  <a:cubicBezTo>
                    <a:pt x="958" y="2578"/>
                    <a:pt x="635" y="2587"/>
                    <a:pt x="317" y="2603"/>
                  </a:cubicBezTo>
                  <a:cubicBezTo>
                    <a:pt x="412" y="2514"/>
                    <a:pt x="540" y="2460"/>
                    <a:pt x="680" y="2460"/>
                  </a:cubicBezTo>
                  <a:close/>
                  <a:moveTo>
                    <a:pt x="1614" y="3665"/>
                  </a:moveTo>
                  <a:cubicBezTo>
                    <a:pt x="1522" y="3450"/>
                    <a:pt x="1473" y="3211"/>
                    <a:pt x="1474" y="2986"/>
                  </a:cubicBezTo>
                  <a:cubicBezTo>
                    <a:pt x="1475" y="2765"/>
                    <a:pt x="1516" y="2574"/>
                    <a:pt x="1590" y="2387"/>
                  </a:cubicBezTo>
                  <a:lnTo>
                    <a:pt x="684" y="2381"/>
                  </a:lnTo>
                  <a:cubicBezTo>
                    <a:pt x="352" y="2379"/>
                    <a:pt x="79" y="2649"/>
                    <a:pt x="77" y="2982"/>
                  </a:cubicBezTo>
                  <a:lnTo>
                    <a:pt x="76" y="3052"/>
                  </a:lnTo>
                  <a:cubicBezTo>
                    <a:pt x="74" y="3384"/>
                    <a:pt x="344" y="3657"/>
                    <a:pt x="676" y="3659"/>
                  </a:cubicBezTo>
                  <a:lnTo>
                    <a:pt x="1614" y="3665"/>
                  </a:lnTo>
                  <a:close/>
                  <a:moveTo>
                    <a:pt x="3806" y="1829"/>
                  </a:moveTo>
                  <a:lnTo>
                    <a:pt x="4357" y="2891"/>
                  </a:lnTo>
                  <a:cubicBezTo>
                    <a:pt x="4433" y="3036"/>
                    <a:pt x="4445" y="3199"/>
                    <a:pt x="4403" y="3346"/>
                  </a:cubicBezTo>
                  <a:cubicBezTo>
                    <a:pt x="4165" y="2832"/>
                    <a:pt x="3922" y="2332"/>
                    <a:pt x="3672" y="1846"/>
                  </a:cubicBezTo>
                  <a:lnTo>
                    <a:pt x="3806" y="1829"/>
                  </a:lnTo>
                  <a:close/>
                  <a:moveTo>
                    <a:pt x="3178" y="619"/>
                  </a:moveTo>
                  <a:lnTo>
                    <a:pt x="3526" y="1290"/>
                  </a:lnTo>
                  <a:lnTo>
                    <a:pt x="3389" y="1308"/>
                  </a:lnTo>
                  <a:cubicBezTo>
                    <a:pt x="3208" y="970"/>
                    <a:pt x="3022" y="640"/>
                    <a:pt x="2832" y="320"/>
                  </a:cubicBezTo>
                  <a:cubicBezTo>
                    <a:pt x="2976" y="370"/>
                    <a:pt x="3102" y="473"/>
                    <a:pt x="3178" y="619"/>
                  </a:cubicBezTo>
                  <a:close/>
                  <a:moveTo>
                    <a:pt x="2439" y="2245"/>
                  </a:moveTo>
                  <a:cubicBezTo>
                    <a:pt x="2612" y="2032"/>
                    <a:pt x="2833" y="1850"/>
                    <a:pt x="3066" y="1729"/>
                  </a:cubicBezTo>
                  <a:cubicBezTo>
                    <a:pt x="3296" y="1609"/>
                    <a:pt x="3516" y="1547"/>
                    <a:pt x="3751" y="1521"/>
                  </a:cubicBezTo>
                  <a:lnTo>
                    <a:pt x="3262" y="580"/>
                  </a:lnTo>
                  <a:cubicBezTo>
                    <a:pt x="3082" y="234"/>
                    <a:pt x="2653" y="98"/>
                    <a:pt x="2308" y="278"/>
                  </a:cubicBezTo>
                  <a:lnTo>
                    <a:pt x="2235" y="316"/>
                  </a:lnTo>
                  <a:cubicBezTo>
                    <a:pt x="1889" y="495"/>
                    <a:pt x="1754" y="924"/>
                    <a:pt x="1933" y="1269"/>
                  </a:cubicBezTo>
                  <a:lnTo>
                    <a:pt x="2439" y="2245"/>
                  </a:ln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431" name="Прямоугольная выноска 93">
            <a:extLst/>
          </p:cNvPr>
          <p:cNvSpPr/>
          <p:nvPr/>
        </p:nvSpPr>
        <p:spPr>
          <a:xfrm>
            <a:off x="9052984" y="1092201"/>
            <a:ext cx="1032933" cy="370417"/>
          </a:xfrm>
          <a:prstGeom prst="wedgeRectCallout">
            <a:avLst>
              <a:gd name="adj1" fmla="val -30112"/>
              <a:gd name="adj2" fmla="val 82478"/>
            </a:avLst>
          </a:prstGeom>
          <a:solidFill>
            <a:srgbClr val="FFFFFF">
              <a:lumMod val="85000"/>
              <a:alpha val="7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51425" tIns="51425" rIns="51425" bIns="51425" anchor="ctr"/>
          <a:lstStyle/>
          <a:p>
            <a:pPr marL="126987" indent="-126987" defTabSz="653077">
              <a:buFont typeface="+mj-lt"/>
              <a:buAutoNum type="arabicPeriod"/>
              <a:defRPr/>
            </a:pPr>
            <a:r>
              <a:rPr lang="ru-RU" sz="667" kern="0">
                <a:solidFill>
                  <a:srgbClr val="000000"/>
                </a:solidFill>
                <a:latin typeface="Arial"/>
              </a:rPr>
              <a:t>ТОО «</a:t>
            </a:r>
            <a:r>
              <a:rPr lang="ru-RU" sz="667" kern="0" err="1">
                <a:solidFill>
                  <a:srgbClr val="000000"/>
                </a:solidFill>
                <a:latin typeface="Arial"/>
              </a:rPr>
              <a:t>Мерусар</a:t>
            </a:r>
            <a:r>
              <a:rPr lang="ru-RU" sz="667" kern="0">
                <a:solidFill>
                  <a:srgbClr val="000000"/>
                </a:solidFill>
                <a:latin typeface="Arial"/>
              </a:rPr>
              <a:t> и К»</a:t>
            </a:r>
          </a:p>
          <a:p>
            <a:pPr marL="126987" indent="-126987" defTabSz="653077">
              <a:buFont typeface="+mj-lt"/>
              <a:buAutoNum type="arabicPeriod"/>
              <a:defRPr/>
            </a:pPr>
            <a:r>
              <a:rPr lang="ru-RU" sz="667" kern="0">
                <a:solidFill>
                  <a:srgbClr val="000000"/>
                </a:solidFill>
                <a:latin typeface="Arial"/>
              </a:rPr>
              <a:t>ТОО «БОНА»</a:t>
            </a:r>
          </a:p>
        </p:txBody>
      </p:sp>
      <p:grpSp>
        <p:nvGrpSpPr>
          <p:cNvPr id="432" name="Группа 90">
            <a:extLst/>
          </p:cNvPr>
          <p:cNvGrpSpPr/>
          <p:nvPr/>
        </p:nvGrpSpPr>
        <p:grpSpPr>
          <a:xfrm>
            <a:off x="8961156" y="1610500"/>
            <a:ext cx="194768" cy="197985"/>
            <a:chOff x="-3986743" y="4201584"/>
            <a:chExt cx="1349375" cy="134778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33" name="Freeform 7">
              <a:extLst/>
            </p:cNvPr>
            <p:cNvSpPr>
              <a:spLocks/>
            </p:cNvSpPr>
            <p:nvPr/>
          </p:nvSpPr>
          <p:spPr bwMode="auto">
            <a:xfrm>
              <a:off x="-3986743" y="4201584"/>
              <a:ext cx="1349375" cy="1347788"/>
            </a:xfrm>
            <a:custGeom>
              <a:avLst/>
              <a:gdLst/>
              <a:ahLst/>
              <a:cxnLst>
                <a:cxn ang="0">
                  <a:pos x="780" y="0"/>
                </a:cxn>
                <a:cxn ang="0">
                  <a:pos x="4215" y="0"/>
                </a:cxn>
                <a:cxn ang="0">
                  <a:pos x="4995" y="780"/>
                </a:cxn>
                <a:cxn ang="0">
                  <a:pos x="4995" y="4215"/>
                </a:cxn>
                <a:cxn ang="0">
                  <a:pos x="4215" y="4995"/>
                </a:cxn>
                <a:cxn ang="0">
                  <a:pos x="780" y="4995"/>
                </a:cxn>
                <a:cxn ang="0">
                  <a:pos x="0" y="4215"/>
                </a:cxn>
                <a:cxn ang="0">
                  <a:pos x="0" y="780"/>
                </a:cxn>
                <a:cxn ang="0">
                  <a:pos x="780" y="0"/>
                </a:cxn>
              </a:cxnLst>
              <a:rect l="0" t="0" r="r" b="b"/>
              <a:pathLst>
                <a:path w="4995" h="4995">
                  <a:moveTo>
                    <a:pt x="780" y="0"/>
                  </a:moveTo>
                  <a:lnTo>
                    <a:pt x="4215" y="0"/>
                  </a:lnTo>
                  <a:cubicBezTo>
                    <a:pt x="4644" y="0"/>
                    <a:pt x="4995" y="351"/>
                    <a:pt x="4995" y="780"/>
                  </a:cubicBezTo>
                  <a:lnTo>
                    <a:pt x="4995" y="4215"/>
                  </a:lnTo>
                  <a:cubicBezTo>
                    <a:pt x="4995" y="4644"/>
                    <a:pt x="4644" y="4995"/>
                    <a:pt x="4215" y="4995"/>
                  </a:cubicBezTo>
                  <a:lnTo>
                    <a:pt x="780" y="4995"/>
                  </a:lnTo>
                  <a:cubicBezTo>
                    <a:pt x="351" y="4995"/>
                    <a:pt x="0" y="4644"/>
                    <a:pt x="0" y="4215"/>
                  </a:cubicBezTo>
                  <a:lnTo>
                    <a:pt x="0" y="780"/>
                  </a:lnTo>
                  <a:cubicBezTo>
                    <a:pt x="0" y="351"/>
                    <a:pt x="351" y="0"/>
                    <a:pt x="78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4" name="Freeform 8">
              <a:extLst/>
            </p:cNvPr>
            <p:cNvSpPr>
              <a:spLocks noEditPoints="1"/>
            </p:cNvSpPr>
            <p:nvPr/>
          </p:nvSpPr>
          <p:spPr bwMode="auto">
            <a:xfrm>
              <a:off x="-3901018" y="4252384"/>
              <a:ext cx="1192213" cy="1211263"/>
            </a:xfrm>
            <a:custGeom>
              <a:avLst/>
              <a:gdLst/>
              <a:ahLst/>
              <a:cxnLst>
                <a:cxn ang="0">
                  <a:pos x="4097" y="2858"/>
                </a:cxn>
                <a:cxn ang="0">
                  <a:pos x="2329" y="2834"/>
                </a:cxn>
                <a:cxn ang="0">
                  <a:pos x="2778" y="336"/>
                </a:cxn>
                <a:cxn ang="0">
                  <a:pos x="3313" y="1691"/>
                </a:cxn>
                <a:cxn ang="0">
                  <a:pos x="1421" y="1012"/>
                </a:cxn>
                <a:cxn ang="0">
                  <a:pos x="2264" y="2553"/>
                </a:cxn>
                <a:cxn ang="0">
                  <a:pos x="1929" y="2441"/>
                </a:cxn>
                <a:cxn ang="0">
                  <a:pos x="2778" y="336"/>
                </a:cxn>
                <a:cxn ang="0">
                  <a:pos x="3534" y="1733"/>
                </a:cxn>
                <a:cxn ang="0">
                  <a:pos x="3374" y="1699"/>
                </a:cxn>
                <a:cxn ang="0">
                  <a:pos x="4409" y="2862"/>
                </a:cxn>
                <a:cxn ang="0">
                  <a:pos x="3197" y="4006"/>
                </a:cxn>
                <a:cxn ang="0">
                  <a:pos x="1601" y="4482"/>
                </a:cxn>
                <a:cxn ang="0">
                  <a:pos x="8" y="3282"/>
                </a:cxn>
                <a:cxn ang="0">
                  <a:pos x="1366" y="990"/>
                </a:cxn>
                <a:cxn ang="0">
                  <a:pos x="2916" y="263"/>
                </a:cxn>
                <a:cxn ang="0">
                  <a:pos x="2844" y="3924"/>
                </a:cxn>
                <a:cxn ang="0">
                  <a:pos x="2798" y="3901"/>
                </a:cxn>
                <a:cxn ang="0">
                  <a:pos x="121" y="3643"/>
                </a:cxn>
                <a:cxn ang="0">
                  <a:pos x="2844" y="3924"/>
                </a:cxn>
                <a:cxn ang="0">
                  <a:pos x="2689" y="3830"/>
                </a:cxn>
                <a:cxn ang="0">
                  <a:pos x="164" y="3280"/>
                </a:cxn>
                <a:cxn ang="0">
                  <a:pos x="1596" y="2373"/>
                </a:cxn>
                <a:cxn ang="0">
                  <a:pos x="96" y="3281"/>
                </a:cxn>
                <a:cxn ang="0">
                  <a:pos x="2734" y="3862"/>
                </a:cxn>
                <a:cxn ang="0">
                  <a:pos x="4345" y="2861"/>
                </a:cxn>
                <a:cxn ang="0">
                  <a:pos x="4194" y="2859"/>
                </a:cxn>
                <a:cxn ang="0">
                  <a:pos x="3227" y="1751"/>
                </a:cxn>
                <a:cxn ang="0">
                  <a:pos x="3198" y="3941"/>
                </a:cxn>
                <a:cxn ang="0">
                  <a:pos x="3227" y="1751"/>
                </a:cxn>
                <a:cxn ang="0">
                  <a:pos x="3867" y="2280"/>
                </a:cxn>
                <a:cxn ang="0">
                  <a:pos x="3876" y="2311"/>
                </a:cxn>
                <a:cxn ang="0">
                  <a:pos x="2496" y="3308"/>
                </a:cxn>
                <a:cxn ang="0">
                  <a:pos x="959" y="2553"/>
                </a:cxn>
                <a:cxn ang="0">
                  <a:pos x="2362" y="3942"/>
                </a:cxn>
                <a:cxn ang="0">
                  <a:pos x="941" y="2579"/>
                </a:cxn>
                <a:cxn ang="0">
                  <a:pos x="959" y="2553"/>
                </a:cxn>
                <a:cxn ang="0">
                  <a:pos x="3238" y="1073"/>
                </a:cxn>
                <a:cxn ang="0">
                  <a:pos x="3235" y="1107"/>
                </a:cxn>
                <a:cxn ang="0">
                  <a:pos x="1446" y="1575"/>
                </a:cxn>
              </a:cxnLst>
              <a:rect l="0" t="0" r="r" b="b"/>
              <a:pathLst>
                <a:path w="4416" h="4488">
                  <a:moveTo>
                    <a:pt x="3227" y="1801"/>
                  </a:moveTo>
                  <a:cubicBezTo>
                    <a:pt x="3715" y="1807"/>
                    <a:pt x="4104" y="2280"/>
                    <a:pt x="4097" y="2858"/>
                  </a:cubicBezTo>
                  <a:cubicBezTo>
                    <a:pt x="4089" y="3435"/>
                    <a:pt x="3687" y="3898"/>
                    <a:pt x="3199" y="3891"/>
                  </a:cubicBezTo>
                  <a:cubicBezTo>
                    <a:pt x="2711" y="3885"/>
                    <a:pt x="2321" y="3412"/>
                    <a:pt x="2329" y="2834"/>
                  </a:cubicBezTo>
                  <a:cubicBezTo>
                    <a:pt x="2336" y="2257"/>
                    <a:pt x="2738" y="1794"/>
                    <a:pt x="3227" y="1801"/>
                  </a:cubicBezTo>
                  <a:close/>
                  <a:moveTo>
                    <a:pt x="2778" y="336"/>
                  </a:moveTo>
                  <a:cubicBezTo>
                    <a:pt x="3253" y="528"/>
                    <a:pt x="3464" y="1123"/>
                    <a:pt x="3267" y="1687"/>
                  </a:cubicBezTo>
                  <a:cubicBezTo>
                    <a:pt x="3282" y="1688"/>
                    <a:pt x="3298" y="1690"/>
                    <a:pt x="3313" y="1691"/>
                  </a:cubicBezTo>
                  <a:cubicBezTo>
                    <a:pt x="3514" y="1104"/>
                    <a:pt x="3293" y="485"/>
                    <a:pt x="2799" y="286"/>
                  </a:cubicBezTo>
                  <a:cubicBezTo>
                    <a:pt x="2284" y="78"/>
                    <a:pt x="1667" y="403"/>
                    <a:pt x="1421" y="1012"/>
                  </a:cubicBezTo>
                  <a:cubicBezTo>
                    <a:pt x="1175" y="1621"/>
                    <a:pt x="1394" y="2283"/>
                    <a:pt x="1909" y="2491"/>
                  </a:cubicBezTo>
                  <a:cubicBezTo>
                    <a:pt x="2024" y="2538"/>
                    <a:pt x="2144" y="2557"/>
                    <a:pt x="2264" y="2553"/>
                  </a:cubicBezTo>
                  <a:cubicBezTo>
                    <a:pt x="2268" y="2535"/>
                    <a:pt x="2272" y="2518"/>
                    <a:pt x="2277" y="2500"/>
                  </a:cubicBezTo>
                  <a:cubicBezTo>
                    <a:pt x="2160" y="2505"/>
                    <a:pt x="2042" y="2487"/>
                    <a:pt x="1929" y="2441"/>
                  </a:cubicBezTo>
                  <a:cubicBezTo>
                    <a:pt x="1437" y="2243"/>
                    <a:pt x="1229" y="1611"/>
                    <a:pt x="1463" y="1029"/>
                  </a:cubicBezTo>
                  <a:cubicBezTo>
                    <a:pt x="1698" y="448"/>
                    <a:pt x="2287" y="138"/>
                    <a:pt x="2778" y="336"/>
                  </a:cubicBezTo>
                  <a:close/>
                  <a:moveTo>
                    <a:pt x="3374" y="1699"/>
                  </a:moveTo>
                  <a:cubicBezTo>
                    <a:pt x="3430" y="1707"/>
                    <a:pt x="3481" y="1718"/>
                    <a:pt x="3534" y="1733"/>
                  </a:cubicBezTo>
                  <a:cubicBezTo>
                    <a:pt x="3669" y="1269"/>
                    <a:pt x="3511" y="772"/>
                    <a:pt x="3153" y="445"/>
                  </a:cubicBezTo>
                  <a:cubicBezTo>
                    <a:pt x="3434" y="745"/>
                    <a:pt x="3530" y="1230"/>
                    <a:pt x="3374" y="1699"/>
                  </a:cubicBezTo>
                  <a:close/>
                  <a:moveTo>
                    <a:pt x="3600" y="1753"/>
                  </a:moveTo>
                  <a:cubicBezTo>
                    <a:pt x="4077" y="1916"/>
                    <a:pt x="4416" y="2353"/>
                    <a:pt x="4409" y="2862"/>
                  </a:cubicBezTo>
                  <a:cubicBezTo>
                    <a:pt x="4401" y="3466"/>
                    <a:pt x="3910" y="3955"/>
                    <a:pt x="3290" y="4002"/>
                  </a:cubicBezTo>
                  <a:cubicBezTo>
                    <a:pt x="3260" y="4005"/>
                    <a:pt x="3229" y="4007"/>
                    <a:pt x="3197" y="4006"/>
                  </a:cubicBezTo>
                  <a:cubicBezTo>
                    <a:pt x="3089" y="4005"/>
                    <a:pt x="2984" y="3982"/>
                    <a:pt x="2887" y="3943"/>
                  </a:cubicBezTo>
                  <a:cubicBezTo>
                    <a:pt x="2607" y="4265"/>
                    <a:pt x="2137" y="4477"/>
                    <a:pt x="1601" y="4482"/>
                  </a:cubicBezTo>
                  <a:cubicBezTo>
                    <a:pt x="781" y="4488"/>
                    <a:pt x="100" y="4003"/>
                    <a:pt x="16" y="3376"/>
                  </a:cubicBezTo>
                  <a:cubicBezTo>
                    <a:pt x="11" y="3345"/>
                    <a:pt x="8" y="3313"/>
                    <a:pt x="8" y="3282"/>
                  </a:cubicBezTo>
                  <a:cubicBezTo>
                    <a:pt x="0" y="2746"/>
                    <a:pt x="665" y="2304"/>
                    <a:pt x="1506" y="2276"/>
                  </a:cubicBezTo>
                  <a:cubicBezTo>
                    <a:pt x="1246" y="1954"/>
                    <a:pt x="1177" y="1457"/>
                    <a:pt x="1366" y="990"/>
                  </a:cubicBezTo>
                  <a:cubicBezTo>
                    <a:pt x="1626" y="345"/>
                    <a:pt x="2279" y="0"/>
                    <a:pt x="2825" y="220"/>
                  </a:cubicBezTo>
                  <a:cubicBezTo>
                    <a:pt x="2857" y="233"/>
                    <a:pt x="2887" y="247"/>
                    <a:pt x="2916" y="263"/>
                  </a:cubicBezTo>
                  <a:cubicBezTo>
                    <a:pt x="3478" y="550"/>
                    <a:pt x="3764" y="1177"/>
                    <a:pt x="3600" y="1753"/>
                  </a:cubicBezTo>
                  <a:close/>
                  <a:moveTo>
                    <a:pt x="2844" y="3924"/>
                  </a:moveTo>
                  <a:cubicBezTo>
                    <a:pt x="2829" y="3916"/>
                    <a:pt x="2814" y="3909"/>
                    <a:pt x="2799" y="3901"/>
                  </a:cubicBezTo>
                  <a:lnTo>
                    <a:pt x="2798" y="3901"/>
                  </a:lnTo>
                  <a:cubicBezTo>
                    <a:pt x="2512" y="4119"/>
                    <a:pt x="2082" y="4260"/>
                    <a:pt x="1598" y="4264"/>
                  </a:cubicBezTo>
                  <a:cubicBezTo>
                    <a:pt x="930" y="4269"/>
                    <a:pt x="355" y="4011"/>
                    <a:pt x="121" y="3643"/>
                  </a:cubicBezTo>
                  <a:cubicBezTo>
                    <a:pt x="357" y="4101"/>
                    <a:pt x="932" y="4422"/>
                    <a:pt x="1601" y="4417"/>
                  </a:cubicBezTo>
                  <a:cubicBezTo>
                    <a:pt x="2110" y="4413"/>
                    <a:pt x="2560" y="4220"/>
                    <a:pt x="2844" y="3924"/>
                  </a:cubicBezTo>
                  <a:close/>
                  <a:moveTo>
                    <a:pt x="2734" y="3862"/>
                  </a:moveTo>
                  <a:cubicBezTo>
                    <a:pt x="2719" y="3852"/>
                    <a:pt x="2704" y="3841"/>
                    <a:pt x="2689" y="3830"/>
                  </a:cubicBezTo>
                  <a:cubicBezTo>
                    <a:pt x="2431" y="4031"/>
                    <a:pt x="2038" y="4162"/>
                    <a:pt x="1597" y="4165"/>
                  </a:cubicBezTo>
                  <a:cubicBezTo>
                    <a:pt x="812" y="4171"/>
                    <a:pt x="171" y="3775"/>
                    <a:pt x="164" y="3280"/>
                  </a:cubicBezTo>
                  <a:cubicBezTo>
                    <a:pt x="157" y="2785"/>
                    <a:pt x="787" y="2379"/>
                    <a:pt x="1571" y="2373"/>
                  </a:cubicBezTo>
                  <a:cubicBezTo>
                    <a:pt x="1579" y="2373"/>
                    <a:pt x="1588" y="2373"/>
                    <a:pt x="1596" y="2373"/>
                  </a:cubicBezTo>
                  <a:cubicBezTo>
                    <a:pt x="1581" y="2359"/>
                    <a:pt x="1567" y="2345"/>
                    <a:pt x="1554" y="2331"/>
                  </a:cubicBezTo>
                  <a:cubicBezTo>
                    <a:pt x="740" y="2343"/>
                    <a:pt x="89" y="2766"/>
                    <a:pt x="96" y="3281"/>
                  </a:cubicBezTo>
                  <a:cubicBezTo>
                    <a:pt x="104" y="3799"/>
                    <a:pt x="776" y="4214"/>
                    <a:pt x="1598" y="4208"/>
                  </a:cubicBezTo>
                  <a:cubicBezTo>
                    <a:pt x="2056" y="4204"/>
                    <a:pt x="2464" y="4070"/>
                    <a:pt x="2734" y="3862"/>
                  </a:cubicBezTo>
                  <a:close/>
                  <a:moveTo>
                    <a:pt x="3556" y="3932"/>
                  </a:moveTo>
                  <a:cubicBezTo>
                    <a:pt x="4012" y="3769"/>
                    <a:pt x="4339" y="3353"/>
                    <a:pt x="4345" y="2861"/>
                  </a:cubicBezTo>
                  <a:cubicBezTo>
                    <a:pt x="4352" y="2369"/>
                    <a:pt x="4036" y="1945"/>
                    <a:pt x="3584" y="1770"/>
                  </a:cubicBezTo>
                  <a:cubicBezTo>
                    <a:pt x="3947" y="1944"/>
                    <a:pt x="4200" y="2367"/>
                    <a:pt x="4194" y="2859"/>
                  </a:cubicBezTo>
                  <a:cubicBezTo>
                    <a:pt x="4187" y="3351"/>
                    <a:pt x="3923" y="3768"/>
                    <a:pt x="3556" y="3932"/>
                  </a:cubicBezTo>
                  <a:close/>
                  <a:moveTo>
                    <a:pt x="3227" y="1751"/>
                  </a:moveTo>
                  <a:cubicBezTo>
                    <a:pt x="3739" y="1758"/>
                    <a:pt x="4147" y="2254"/>
                    <a:pt x="4139" y="2858"/>
                  </a:cubicBezTo>
                  <a:cubicBezTo>
                    <a:pt x="4131" y="3463"/>
                    <a:pt x="3710" y="3948"/>
                    <a:pt x="3198" y="3941"/>
                  </a:cubicBezTo>
                  <a:cubicBezTo>
                    <a:pt x="2687" y="3934"/>
                    <a:pt x="2279" y="3438"/>
                    <a:pt x="2287" y="2834"/>
                  </a:cubicBezTo>
                  <a:cubicBezTo>
                    <a:pt x="2295" y="2229"/>
                    <a:pt x="2716" y="1744"/>
                    <a:pt x="3227" y="1751"/>
                  </a:cubicBezTo>
                  <a:close/>
                  <a:moveTo>
                    <a:pt x="2495" y="3289"/>
                  </a:moveTo>
                  <a:cubicBezTo>
                    <a:pt x="2592" y="3091"/>
                    <a:pt x="3590" y="2350"/>
                    <a:pt x="3867" y="2280"/>
                  </a:cubicBezTo>
                  <a:lnTo>
                    <a:pt x="3890" y="2290"/>
                  </a:lnTo>
                  <a:lnTo>
                    <a:pt x="3876" y="2311"/>
                  </a:lnTo>
                  <a:cubicBezTo>
                    <a:pt x="3460" y="2524"/>
                    <a:pt x="2910" y="2947"/>
                    <a:pt x="2520" y="3303"/>
                  </a:cubicBezTo>
                  <a:lnTo>
                    <a:pt x="2496" y="3308"/>
                  </a:lnTo>
                  <a:lnTo>
                    <a:pt x="2495" y="3289"/>
                  </a:lnTo>
                  <a:close/>
                  <a:moveTo>
                    <a:pt x="959" y="2553"/>
                  </a:moveTo>
                  <a:cubicBezTo>
                    <a:pt x="1231" y="2646"/>
                    <a:pt x="2270" y="3639"/>
                    <a:pt x="2374" y="3919"/>
                  </a:cubicBezTo>
                  <a:lnTo>
                    <a:pt x="2362" y="3942"/>
                  </a:lnTo>
                  <a:lnTo>
                    <a:pt x="2333" y="3928"/>
                  </a:lnTo>
                  <a:cubicBezTo>
                    <a:pt x="2029" y="3512"/>
                    <a:pt x="1438" y="2965"/>
                    <a:pt x="941" y="2579"/>
                  </a:cubicBezTo>
                  <a:lnTo>
                    <a:pt x="933" y="2554"/>
                  </a:lnTo>
                  <a:lnTo>
                    <a:pt x="959" y="2553"/>
                  </a:lnTo>
                  <a:close/>
                  <a:moveTo>
                    <a:pt x="1453" y="1555"/>
                  </a:moveTo>
                  <a:cubicBezTo>
                    <a:pt x="1629" y="1393"/>
                    <a:pt x="2931" y="1035"/>
                    <a:pt x="3238" y="1073"/>
                  </a:cubicBezTo>
                  <a:lnTo>
                    <a:pt x="3258" y="1092"/>
                  </a:lnTo>
                  <a:lnTo>
                    <a:pt x="3235" y="1107"/>
                  </a:lnTo>
                  <a:cubicBezTo>
                    <a:pt x="2730" y="1160"/>
                    <a:pt x="2007" y="1371"/>
                    <a:pt x="1473" y="1579"/>
                  </a:cubicBezTo>
                  <a:lnTo>
                    <a:pt x="1446" y="1575"/>
                  </a:lnTo>
                  <a:lnTo>
                    <a:pt x="1453" y="1555"/>
                  </a:lnTo>
                  <a:close/>
                </a:path>
              </a:pathLst>
            </a:custGeom>
            <a:solidFill>
              <a:srgbClr val="FFFFFF"/>
            </a:solidFill>
            <a:ln w="1588" cap="flat">
              <a:noFill/>
              <a:prstDash val="solid"/>
              <a:miter lim="800000"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435" name="Прямоугольная выноска 112">
            <a:extLst/>
          </p:cNvPr>
          <p:cNvSpPr/>
          <p:nvPr/>
        </p:nvSpPr>
        <p:spPr>
          <a:xfrm>
            <a:off x="6898218" y="2713568"/>
            <a:ext cx="1104900" cy="370417"/>
          </a:xfrm>
          <a:prstGeom prst="wedgeRectCallout">
            <a:avLst>
              <a:gd name="adj1" fmla="val 89274"/>
              <a:gd name="adj2" fmla="val -8149"/>
            </a:avLst>
          </a:prstGeom>
          <a:solidFill>
            <a:srgbClr val="FFFFFF">
              <a:lumMod val="75000"/>
              <a:alpha val="70000"/>
            </a:srgbClr>
          </a:solidFill>
          <a:ln w="9525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1425" tIns="51425" rIns="51425" bIns="51425" anchor="ctr"/>
          <a:lstStyle/>
          <a:p>
            <a:pPr marL="126987" indent="-126987" defTabSz="653077">
              <a:buFont typeface="+mj-lt"/>
              <a:buAutoNum type="arabicPeriod"/>
              <a:defRPr/>
            </a:pPr>
            <a:r>
              <a:rPr lang="ru-RU" sz="667" kern="0">
                <a:solidFill>
                  <a:srgbClr val="000000"/>
                </a:solidFill>
                <a:latin typeface="Arial"/>
              </a:rPr>
              <a:t>ТОО «КФК»</a:t>
            </a:r>
          </a:p>
          <a:p>
            <a:pPr marL="126987" indent="-126987" defTabSz="653077">
              <a:buFont typeface="+mj-lt"/>
              <a:buAutoNum type="arabicPeriod"/>
              <a:defRPr/>
            </a:pPr>
            <a:r>
              <a:rPr lang="ru-RU" sz="667" kern="0">
                <a:solidFill>
                  <a:srgbClr val="000000"/>
                </a:solidFill>
                <a:latin typeface="Arial"/>
              </a:rPr>
              <a:t>ТОО «КФЗ»</a:t>
            </a:r>
          </a:p>
          <a:p>
            <a:pPr marL="126987" indent="-126987" defTabSz="653077">
              <a:buFont typeface="+mj-lt"/>
              <a:buAutoNum type="arabicPeriod"/>
              <a:defRPr/>
            </a:pPr>
            <a:r>
              <a:rPr lang="ru-RU" sz="667" kern="0">
                <a:solidFill>
                  <a:srgbClr val="000000"/>
                </a:solidFill>
                <a:latin typeface="Arial"/>
              </a:rPr>
              <a:t>МНПХ «</a:t>
            </a:r>
            <a:r>
              <a:rPr lang="ru-RU" sz="667" kern="0" err="1">
                <a:solidFill>
                  <a:srgbClr val="000000"/>
                </a:solidFill>
                <a:latin typeface="Arial"/>
              </a:rPr>
              <a:t>Фитохимия</a:t>
            </a:r>
            <a:r>
              <a:rPr lang="ru-RU" sz="667" kern="0">
                <a:solidFill>
                  <a:srgbClr val="000000"/>
                </a:solidFill>
                <a:latin typeface="Arial"/>
              </a:rPr>
              <a:t>»</a:t>
            </a:r>
          </a:p>
        </p:txBody>
      </p:sp>
      <p:grpSp>
        <p:nvGrpSpPr>
          <p:cNvPr id="436" name="Группа 111">
            <a:extLst/>
          </p:cNvPr>
          <p:cNvGrpSpPr/>
          <p:nvPr/>
        </p:nvGrpSpPr>
        <p:grpSpPr>
          <a:xfrm>
            <a:off x="8371101" y="2713897"/>
            <a:ext cx="440352" cy="395824"/>
            <a:chOff x="464745" y="4912522"/>
            <a:chExt cx="686722" cy="68672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37" name="Freeform 7">
              <a:extLst/>
            </p:cNvPr>
            <p:cNvSpPr>
              <a:spLocks/>
            </p:cNvSpPr>
            <p:nvPr/>
          </p:nvSpPr>
          <p:spPr bwMode="auto">
            <a:xfrm>
              <a:off x="464745" y="4912522"/>
              <a:ext cx="686722" cy="686722"/>
            </a:xfrm>
            <a:custGeom>
              <a:avLst/>
              <a:gdLst/>
              <a:ahLst/>
              <a:cxnLst>
                <a:cxn ang="0">
                  <a:pos x="780" y="0"/>
                </a:cxn>
                <a:cxn ang="0">
                  <a:pos x="4215" y="0"/>
                </a:cxn>
                <a:cxn ang="0">
                  <a:pos x="4995" y="780"/>
                </a:cxn>
                <a:cxn ang="0">
                  <a:pos x="4995" y="4215"/>
                </a:cxn>
                <a:cxn ang="0">
                  <a:pos x="4215" y="4995"/>
                </a:cxn>
                <a:cxn ang="0">
                  <a:pos x="780" y="4995"/>
                </a:cxn>
                <a:cxn ang="0">
                  <a:pos x="0" y="4215"/>
                </a:cxn>
                <a:cxn ang="0">
                  <a:pos x="0" y="780"/>
                </a:cxn>
                <a:cxn ang="0">
                  <a:pos x="780" y="0"/>
                </a:cxn>
              </a:cxnLst>
              <a:rect l="0" t="0" r="r" b="b"/>
              <a:pathLst>
                <a:path w="4995" h="4995">
                  <a:moveTo>
                    <a:pt x="780" y="0"/>
                  </a:moveTo>
                  <a:lnTo>
                    <a:pt x="4215" y="0"/>
                  </a:lnTo>
                  <a:cubicBezTo>
                    <a:pt x="4644" y="0"/>
                    <a:pt x="4995" y="351"/>
                    <a:pt x="4995" y="780"/>
                  </a:cubicBezTo>
                  <a:lnTo>
                    <a:pt x="4995" y="4215"/>
                  </a:lnTo>
                  <a:cubicBezTo>
                    <a:pt x="4995" y="4644"/>
                    <a:pt x="4644" y="4995"/>
                    <a:pt x="4215" y="4995"/>
                  </a:cubicBezTo>
                  <a:lnTo>
                    <a:pt x="780" y="4995"/>
                  </a:lnTo>
                  <a:cubicBezTo>
                    <a:pt x="351" y="4995"/>
                    <a:pt x="0" y="4644"/>
                    <a:pt x="0" y="4215"/>
                  </a:cubicBezTo>
                  <a:lnTo>
                    <a:pt x="0" y="780"/>
                  </a:lnTo>
                  <a:cubicBezTo>
                    <a:pt x="0" y="351"/>
                    <a:pt x="351" y="0"/>
                    <a:pt x="78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8" name="Freeform 8">
              <a:extLst/>
            </p:cNvPr>
            <p:cNvSpPr>
              <a:spLocks noEditPoints="1"/>
            </p:cNvSpPr>
            <p:nvPr/>
          </p:nvSpPr>
          <p:spPr bwMode="auto">
            <a:xfrm>
              <a:off x="797440" y="4969522"/>
              <a:ext cx="328208" cy="333845"/>
            </a:xfrm>
            <a:custGeom>
              <a:avLst/>
              <a:gdLst/>
              <a:ahLst/>
              <a:cxnLst>
                <a:cxn ang="0">
                  <a:pos x="4097" y="2858"/>
                </a:cxn>
                <a:cxn ang="0">
                  <a:pos x="2329" y="2834"/>
                </a:cxn>
                <a:cxn ang="0">
                  <a:pos x="2778" y="336"/>
                </a:cxn>
                <a:cxn ang="0">
                  <a:pos x="3313" y="1691"/>
                </a:cxn>
                <a:cxn ang="0">
                  <a:pos x="1421" y="1012"/>
                </a:cxn>
                <a:cxn ang="0">
                  <a:pos x="2264" y="2553"/>
                </a:cxn>
                <a:cxn ang="0">
                  <a:pos x="1929" y="2441"/>
                </a:cxn>
                <a:cxn ang="0">
                  <a:pos x="2778" y="336"/>
                </a:cxn>
                <a:cxn ang="0">
                  <a:pos x="3534" y="1733"/>
                </a:cxn>
                <a:cxn ang="0">
                  <a:pos x="3374" y="1699"/>
                </a:cxn>
                <a:cxn ang="0">
                  <a:pos x="4409" y="2862"/>
                </a:cxn>
                <a:cxn ang="0">
                  <a:pos x="3197" y="4006"/>
                </a:cxn>
                <a:cxn ang="0">
                  <a:pos x="1601" y="4482"/>
                </a:cxn>
                <a:cxn ang="0">
                  <a:pos x="8" y="3282"/>
                </a:cxn>
                <a:cxn ang="0">
                  <a:pos x="1366" y="990"/>
                </a:cxn>
                <a:cxn ang="0">
                  <a:pos x="2916" y="263"/>
                </a:cxn>
                <a:cxn ang="0">
                  <a:pos x="2844" y="3924"/>
                </a:cxn>
                <a:cxn ang="0">
                  <a:pos x="2798" y="3901"/>
                </a:cxn>
                <a:cxn ang="0">
                  <a:pos x="121" y="3643"/>
                </a:cxn>
                <a:cxn ang="0">
                  <a:pos x="2844" y="3924"/>
                </a:cxn>
                <a:cxn ang="0">
                  <a:pos x="2689" y="3830"/>
                </a:cxn>
                <a:cxn ang="0">
                  <a:pos x="164" y="3280"/>
                </a:cxn>
                <a:cxn ang="0">
                  <a:pos x="1596" y="2373"/>
                </a:cxn>
                <a:cxn ang="0">
                  <a:pos x="96" y="3281"/>
                </a:cxn>
                <a:cxn ang="0">
                  <a:pos x="2734" y="3862"/>
                </a:cxn>
                <a:cxn ang="0">
                  <a:pos x="4345" y="2861"/>
                </a:cxn>
                <a:cxn ang="0">
                  <a:pos x="4194" y="2859"/>
                </a:cxn>
                <a:cxn ang="0">
                  <a:pos x="3227" y="1751"/>
                </a:cxn>
                <a:cxn ang="0">
                  <a:pos x="3198" y="3941"/>
                </a:cxn>
                <a:cxn ang="0">
                  <a:pos x="3227" y="1751"/>
                </a:cxn>
                <a:cxn ang="0">
                  <a:pos x="3867" y="2280"/>
                </a:cxn>
                <a:cxn ang="0">
                  <a:pos x="3876" y="2311"/>
                </a:cxn>
                <a:cxn ang="0">
                  <a:pos x="2496" y="3308"/>
                </a:cxn>
                <a:cxn ang="0">
                  <a:pos x="959" y="2553"/>
                </a:cxn>
                <a:cxn ang="0">
                  <a:pos x="2362" y="3942"/>
                </a:cxn>
                <a:cxn ang="0">
                  <a:pos x="941" y="2579"/>
                </a:cxn>
                <a:cxn ang="0">
                  <a:pos x="959" y="2553"/>
                </a:cxn>
                <a:cxn ang="0">
                  <a:pos x="3238" y="1073"/>
                </a:cxn>
                <a:cxn ang="0">
                  <a:pos x="3235" y="1107"/>
                </a:cxn>
                <a:cxn ang="0">
                  <a:pos x="1446" y="1575"/>
                </a:cxn>
              </a:cxnLst>
              <a:rect l="0" t="0" r="r" b="b"/>
              <a:pathLst>
                <a:path w="4416" h="4488">
                  <a:moveTo>
                    <a:pt x="3227" y="1801"/>
                  </a:moveTo>
                  <a:cubicBezTo>
                    <a:pt x="3715" y="1807"/>
                    <a:pt x="4104" y="2280"/>
                    <a:pt x="4097" y="2858"/>
                  </a:cubicBezTo>
                  <a:cubicBezTo>
                    <a:pt x="4089" y="3435"/>
                    <a:pt x="3687" y="3898"/>
                    <a:pt x="3199" y="3891"/>
                  </a:cubicBezTo>
                  <a:cubicBezTo>
                    <a:pt x="2711" y="3885"/>
                    <a:pt x="2321" y="3412"/>
                    <a:pt x="2329" y="2834"/>
                  </a:cubicBezTo>
                  <a:cubicBezTo>
                    <a:pt x="2336" y="2257"/>
                    <a:pt x="2738" y="1794"/>
                    <a:pt x="3227" y="1801"/>
                  </a:cubicBezTo>
                  <a:close/>
                  <a:moveTo>
                    <a:pt x="2778" y="336"/>
                  </a:moveTo>
                  <a:cubicBezTo>
                    <a:pt x="3253" y="528"/>
                    <a:pt x="3464" y="1123"/>
                    <a:pt x="3267" y="1687"/>
                  </a:cubicBezTo>
                  <a:cubicBezTo>
                    <a:pt x="3282" y="1688"/>
                    <a:pt x="3298" y="1690"/>
                    <a:pt x="3313" y="1691"/>
                  </a:cubicBezTo>
                  <a:cubicBezTo>
                    <a:pt x="3514" y="1104"/>
                    <a:pt x="3293" y="485"/>
                    <a:pt x="2799" y="286"/>
                  </a:cubicBezTo>
                  <a:cubicBezTo>
                    <a:pt x="2284" y="78"/>
                    <a:pt x="1667" y="403"/>
                    <a:pt x="1421" y="1012"/>
                  </a:cubicBezTo>
                  <a:cubicBezTo>
                    <a:pt x="1175" y="1621"/>
                    <a:pt x="1394" y="2283"/>
                    <a:pt x="1909" y="2491"/>
                  </a:cubicBezTo>
                  <a:cubicBezTo>
                    <a:pt x="2024" y="2538"/>
                    <a:pt x="2144" y="2557"/>
                    <a:pt x="2264" y="2553"/>
                  </a:cubicBezTo>
                  <a:cubicBezTo>
                    <a:pt x="2268" y="2535"/>
                    <a:pt x="2272" y="2518"/>
                    <a:pt x="2277" y="2500"/>
                  </a:cubicBezTo>
                  <a:cubicBezTo>
                    <a:pt x="2160" y="2505"/>
                    <a:pt x="2042" y="2487"/>
                    <a:pt x="1929" y="2441"/>
                  </a:cubicBezTo>
                  <a:cubicBezTo>
                    <a:pt x="1437" y="2243"/>
                    <a:pt x="1229" y="1611"/>
                    <a:pt x="1463" y="1029"/>
                  </a:cubicBezTo>
                  <a:cubicBezTo>
                    <a:pt x="1698" y="448"/>
                    <a:pt x="2287" y="138"/>
                    <a:pt x="2778" y="336"/>
                  </a:cubicBezTo>
                  <a:close/>
                  <a:moveTo>
                    <a:pt x="3374" y="1699"/>
                  </a:moveTo>
                  <a:cubicBezTo>
                    <a:pt x="3430" y="1707"/>
                    <a:pt x="3481" y="1718"/>
                    <a:pt x="3534" y="1733"/>
                  </a:cubicBezTo>
                  <a:cubicBezTo>
                    <a:pt x="3669" y="1269"/>
                    <a:pt x="3511" y="772"/>
                    <a:pt x="3153" y="445"/>
                  </a:cubicBezTo>
                  <a:cubicBezTo>
                    <a:pt x="3434" y="745"/>
                    <a:pt x="3530" y="1230"/>
                    <a:pt x="3374" y="1699"/>
                  </a:cubicBezTo>
                  <a:close/>
                  <a:moveTo>
                    <a:pt x="3600" y="1753"/>
                  </a:moveTo>
                  <a:cubicBezTo>
                    <a:pt x="4077" y="1916"/>
                    <a:pt x="4416" y="2353"/>
                    <a:pt x="4409" y="2862"/>
                  </a:cubicBezTo>
                  <a:cubicBezTo>
                    <a:pt x="4401" y="3466"/>
                    <a:pt x="3910" y="3955"/>
                    <a:pt x="3290" y="4002"/>
                  </a:cubicBezTo>
                  <a:cubicBezTo>
                    <a:pt x="3260" y="4005"/>
                    <a:pt x="3229" y="4007"/>
                    <a:pt x="3197" y="4006"/>
                  </a:cubicBezTo>
                  <a:cubicBezTo>
                    <a:pt x="3089" y="4005"/>
                    <a:pt x="2984" y="3982"/>
                    <a:pt x="2887" y="3943"/>
                  </a:cubicBezTo>
                  <a:cubicBezTo>
                    <a:pt x="2607" y="4265"/>
                    <a:pt x="2137" y="4477"/>
                    <a:pt x="1601" y="4482"/>
                  </a:cubicBezTo>
                  <a:cubicBezTo>
                    <a:pt x="781" y="4488"/>
                    <a:pt x="100" y="4003"/>
                    <a:pt x="16" y="3376"/>
                  </a:cubicBezTo>
                  <a:cubicBezTo>
                    <a:pt x="11" y="3345"/>
                    <a:pt x="8" y="3313"/>
                    <a:pt x="8" y="3282"/>
                  </a:cubicBezTo>
                  <a:cubicBezTo>
                    <a:pt x="0" y="2746"/>
                    <a:pt x="665" y="2304"/>
                    <a:pt x="1506" y="2276"/>
                  </a:cubicBezTo>
                  <a:cubicBezTo>
                    <a:pt x="1246" y="1954"/>
                    <a:pt x="1177" y="1457"/>
                    <a:pt x="1366" y="990"/>
                  </a:cubicBezTo>
                  <a:cubicBezTo>
                    <a:pt x="1626" y="345"/>
                    <a:pt x="2279" y="0"/>
                    <a:pt x="2825" y="220"/>
                  </a:cubicBezTo>
                  <a:cubicBezTo>
                    <a:pt x="2857" y="233"/>
                    <a:pt x="2887" y="247"/>
                    <a:pt x="2916" y="263"/>
                  </a:cubicBezTo>
                  <a:cubicBezTo>
                    <a:pt x="3478" y="550"/>
                    <a:pt x="3764" y="1177"/>
                    <a:pt x="3600" y="1753"/>
                  </a:cubicBezTo>
                  <a:close/>
                  <a:moveTo>
                    <a:pt x="2844" y="3924"/>
                  </a:moveTo>
                  <a:cubicBezTo>
                    <a:pt x="2829" y="3916"/>
                    <a:pt x="2814" y="3909"/>
                    <a:pt x="2799" y="3901"/>
                  </a:cubicBezTo>
                  <a:lnTo>
                    <a:pt x="2798" y="3901"/>
                  </a:lnTo>
                  <a:cubicBezTo>
                    <a:pt x="2512" y="4119"/>
                    <a:pt x="2082" y="4260"/>
                    <a:pt x="1598" y="4264"/>
                  </a:cubicBezTo>
                  <a:cubicBezTo>
                    <a:pt x="930" y="4269"/>
                    <a:pt x="355" y="4011"/>
                    <a:pt x="121" y="3643"/>
                  </a:cubicBezTo>
                  <a:cubicBezTo>
                    <a:pt x="357" y="4101"/>
                    <a:pt x="932" y="4422"/>
                    <a:pt x="1601" y="4417"/>
                  </a:cubicBezTo>
                  <a:cubicBezTo>
                    <a:pt x="2110" y="4413"/>
                    <a:pt x="2560" y="4220"/>
                    <a:pt x="2844" y="3924"/>
                  </a:cubicBezTo>
                  <a:close/>
                  <a:moveTo>
                    <a:pt x="2734" y="3862"/>
                  </a:moveTo>
                  <a:cubicBezTo>
                    <a:pt x="2719" y="3852"/>
                    <a:pt x="2704" y="3841"/>
                    <a:pt x="2689" y="3830"/>
                  </a:cubicBezTo>
                  <a:cubicBezTo>
                    <a:pt x="2431" y="4031"/>
                    <a:pt x="2038" y="4162"/>
                    <a:pt x="1597" y="4165"/>
                  </a:cubicBezTo>
                  <a:cubicBezTo>
                    <a:pt x="812" y="4171"/>
                    <a:pt x="171" y="3775"/>
                    <a:pt x="164" y="3280"/>
                  </a:cubicBezTo>
                  <a:cubicBezTo>
                    <a:pt x="157" y="2785"/>
                    <a:pt x="787" y="2379"/>
                    <a:pt x="1571" y="2373"/>
                  </a:cubicBezTo>
                  <a:cubicBezTo>
                    <a:pt x="1579" y="2373"/>
                    <a:pt x="1588" y="2373"/>
                    <a:pt x="1596" y="2373"/>
                  </a:cubicBezTo>
                  <a:cubicBezTo>
                    <a:pt x="1581" y="2359"/>
                    <a:pt x="1567" y="2345"/>
                    <a:pt x="1554" y="2331"/>
                  </a:cubicBezTo>
                  <a:cubicBezTo>
                    <a:pt x="740" y="2343"/>
                    <a:pt x="89" y="2766"/>
                    <a:pt x="96" y="3281"/>
                  </a:cubicBezTo>
                  <a:cubicBezTo>
                    <a:pt x="104" y="3799"/>
                    <a:pt x="776" y="4214"/>
                    <a:pt x="1598" y="4208"/>
                  </a:cubicBezTo>
                  <a:cubicBezTo>
                    <a:pt x="2056" y="4204"/>
                    <a:pt x="2464" y="4070"/>
                    <a:pt x="2734" y="3862"/>
                  </a:cubicBezTo>
                  <a:close/>
                  <a:moveTo>
                    <a:pt x="3556" y="3932"/>
                  </a:moveTo>
                  <a:cubicBezTo>
                    <a:pt x="4012" y="3769"/>
                    <a:pt x="4339" y="3353"/>
                    <a:pt x="4345" y="2861"/>
                  </a:cubicBezTo>
                  <a:cubicBezTo>
                    <a:pt x="4352" y="2369"/>
                    <a:pt x="4036" y="1945"/>
                    <a:pt x="3584" y="1770"/>
                  </a:cubicBezTo>
                  <a:cubicBezTo>
                    <a:pt x="3947" y="1944"/>
                    <a:pt x="4200" y="2367"/>
                    <a:pt x="4194" y="2859"/>
                  </a:cubicBezTo>
                  <a:cubicBezTo>
                    <a:pt x="4187" y="3351"/>
                    <a:pt x="3923" y="3768"/>
                    <a:pt x="3556" y="3932"/>
                  </a:cubicBezTo>
                  <a:close/>
                  <a:moveTo>
                    <a:pt x="3227" y="1751"/>
                  </a:moveTo>
                  <a:cubicBezTo>
                    <a:pt x="3739" y="1758"/>
                    <a:pt x="4147" y="2254"/>
                    <a:pt x="4139" y="2858"/>
                  </a:cubicBezTo>
                  <a:cubicBezTo>
                    <a:pt x="4131" y="3463"/>
                    <a:pt x="3710" y="3948"/>
                    <a:pt x="3198" y="3941"/>
                  </a:cubicBezTo>
                  <a:cubicBezTo>
                    <a:pt x="2687" y="3934"/>
                    <a:pt x="2279" y="3438"/>
                    <a:pt x="2287" y="2834"/>
                  </a:cubicBezTo>
                  <a:cubicBezTo>
                    <a:pt x="2295" y="2229"/>
                    <a:pt x="2716" y="1744"/>
                    <a:pt x="3227" y="1751"/>
                  </a:cubicBezTo>
                  <a:close/>
                  <a:moveTo>
                    <a:pt x="2495" y="3289"/>
                  </a:moveTo>
                  <a:cubicBezTo>
                    <a:pt x="2592" y="3091"/>
                    <a:pt x="3590" y="2350"/>
                    <a:pt x="3867" y="2280"/>
                  </a:cubicBezTo>
                  <a:lnTo>
                    <a:pt x="3890" y="2290"/>
                  </a:lnTo>
                  <a:lnTo>
                    <a:pt x="3876" y="2311"/>
                  </a:lnTo>
                  <a:cubicBezTo>
                    <a:pt x="3460" y="2524"/>
                    <a:pt x="2910" y="2947"/>
                    <a:pt x="2520" y="3303"/>
                  </a:cubicBezTo>
                  <a:lnTo>
                    <a:pt x="2496" y="3308"/>
                  </a:lnTo>
                  <a:lnTo>
                    <a:pt x="2495" y="3289"/>
                  </a:lnTo>
                  <a:close/>
                  <a:moveTo>
                    <a:pt x="959" y="2553"/>
                  </a:moveTo>
                  <a:cubicBezTo>
                    <a:pt x="1231" y="2646"/>
                    <a:pt x="2270" y="3639"/>
                    <a:pt x="2374" y="3919"/>
                  </a:cubicBezTo>
                  <a:lnTo>
                    <a:pt x="2362" y="3942"/>
                  </a:lnTo>
                  <a:lnTo>
                    <a:pt x="2333" y="3928"/>
                  </a:lnTo>
                  <a:cubicBezTo>
                    <a:pt x="2029" y="3512"/>
                    <a:pt x="1438" y="2965"/>
                    <a:pt x="941" y="2579"/>
                  </a:cubicBezTo>
                  <a:lnTo>
                    <a:pt x="933" y="2554"/>
                  </a:lnTo>
                  <a:lnTo>
                    <a:pt x="959" y="2553"/>
                  </a:lnTo>
                  <a:close/>
                  <a:moveTo>
                    <a:pt x="1453" y="1555"/>
                  </a:moveTo>
                  <a:cubicBezTo>
                    <a:pt x="1629" y="1393"/>
                    <a:pt x="2931" y="1035"/>
                    <a:pt x="3238" y="1073"/>
                  </a:cubicBezTo>
                  <a:lnTo>
                    <a:pt x="3258" y="1092"/>
                  </a:lnTo>
                  <a:lnTo>
                    <a:pt x="3235" y="1107"/>
                  </a:lnTo>
                  <a:cubicBezTo>
                    <a:pt x="2730" y="1160"/>
                    <a:pt x="2007" y="1371"/>
                    <a:pt x="1473" y="1579"/>
                  </a:cubicBezTo>
                  <a:lnTo>
                    <a:pt x="1446" y="1575"/>
                  </a:lnTo>
                  <a:lnTo>
                    <a:pt x="1453" y="1555"/>
                  </a:lnTo>
                  <a:close/>
                </a:path>
              </a:pathLst>
            </a:custGeom>
            <a:solidFill>
              <a:srgbClr val="FFFFFF"/>
            </a:solidFill>
            <a:ln w="1588" cap="flat">
              <a:noFill/>
              <a:prstDash val="solid"/>
              <a:miter lim="800000"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39" name="Freeform 9">
              <a:extLst/>
            </p:cNvPr>
            <p:cNvSpPr>
              <a:spLocks noEditPoints="1"/>
            </p:cNvSpPr>
            <p:nvPr/>
          </p:nvSpPr>
          <p:spPr bwMode="auto">
            <a:xfrm>
              <a:off x="540496" y="5233677"/>
              <a:ext cx="353466" cy="308624"/>
            </a:xfrm>
            <a:custGeom>
              <a:avLst/>
              <a:gdLst/>
              <a:ahLst/>
              <a:cxnLst>
                <a:cxn ang="0">
                  <a:pos x="3835" y="1514"/>
                </a:cxn>
                <a:cxn ang="0">
                  <a:pos x="3845" y="1533"/>
                </a:cxn>
                <a:cxn ang="0">
                  <a:pos x="4527" y="2848"/>
                </a:cxn>
                <a:cxn ang="0">
                  <a:pos x="4194" y="3901"/>
                </a:cxn>
                <a:cxn ang="0">
                  <a:pos x="4113" y="3943"/>
                </a:cxn>
                <a:cxn ang="0">
                  <a:pos x="3116" y="3702"/>
                </a:cxn>
                <a:cxn ang="0">
                  <a:pos x="2891" y="3739"/>
                </a:cxn>
                <a:cxn ang="0">
                  <a:pos x="1663" y="3732"/>
                </a:cxn>
                <a:cxn ang="0">
                  <a:pos x="1645" y="3732"/>
                </a:cxn>
                <a:cxn ang="0">
                  <a:pos x="665" y="3726"/>
                </a:cxn>
                <a:cxn ang="0">
                  <a:pos x="2" y="3055"/>
                </a:cxn>
                <a:cxn ang="0">
                  <a:pos x="2" y="2977"/>
                </a:cxn>
                <a:cxn ang="0">
                  <a:pos x="673" y="2315"/>
                </a:cxn>
                <a:cxn ang="0">
                  <a:pos x="1617" y="2320"/>
                </a:cxn>
                <a:cxn ang="0">
                  <a:pos x="1636" y="2321"/>
                </a:cxn>
                <a:cxn ang="0">
                  <a:pos x="2393" y="2325"/>
                </a:cxn>
                <a:cxn ang="0">
                  <a:pos x="2387" y="2313"/>
                </a:cxn>
                <a:cxn ang="0">
                  <a:pos x="1857" y="1294"/>
                </a:cxn>
                <a:cxn ang="0">
                  <a:pos x="2191" y="240"/>
                </a:cxn>
                <a:cxn ang="0">
                  <a:pos x="2272" y="198"/>
                </a:cxn>
                <a:cxn ang="0">
                  <a:pos x="3325" y="532"/>
                </a:cxn>
                <a:cxn ang="0">
                  <a:pos x="3835" y="1514"/>
                </a:cxn>
                <a:cxn ang="0">
                  <a:pos x="2531" y="2591"/>
                </a:cxn>
                <a:cxn ang="0">
                  <a:pos x="2469" y="2471"/>
                </a:cxn>
                <a:cxn ang="0">
                  <a:pos x="1844" y="2467"/>
                </a:cxn>
                <a:cxn ang="0">
                  <a:pos x="1804" y="2575"/>
                </a:cxn>
                <a:cxn ang="0">
                  <a:pos x="2531" y="2591"/>
                </a:cxn>
                <a:cxn ang="0">
                  <a:pos x="680" y="2460"/>
                </a:cxn>
                <a:cxn ang="0">
                  <a:pos x="1326" y="2464"/>
                </a:cxn>
                <a:cxn ang="0">
                  <a:pos x="1285" y="2575"/>
                </a:cxn>
                <a:cxn ang="0">
                  <a:pos x="317" y="2603"/>
                </a:cxn>
                <a:cxn ang="0">
                  <a:pos x="680" y="2460"/>
                </a:cxn>
                <a:cxn ang="0">
                  <a:pos x="1614" y="3665"/>
                </a:cxn>
                <a:cxn ang="0">
                  <a:pos x="1474" y="2986"/>
                </a:cxn>
                <a:cxn ang="0">
                  <a:pos x="1590" y="2387"/>
                </a:cxn>
                <a:cxn ang="0">
                  <a:pos x="684" y="2381"/>
                </a:cxn>
                <a:cxn ang="0">
                  <a:pos x="77" y="2982"/>
                </a:cxn>
                <a:cxn ang="0">
                  <a:pos x="76" y="3052"/>
                </a:cxn>
                <a:cxn ang="0">
                  <a:pos x="676" y="3659"/>
                </a:cxn>
                <a:cxn ang="0">
                  <a:pos x="1614" y="3665"/>
                </a:cxn>
                <a:cxn ang="0">
                  <a:pos x="3806" y="1829"/>
                </a:cxn>
                <a:cxn ang="0">
                  <a:pos x="4357" y="2891"/>
                </a:cxn>
                <a:cxn ang="0">
                  <a:pos x="4403" y="3346"/>
                </a:cxn>
                <a:cxn ang="0">
                  <a:pos x="3672" y="1846"/>
                </a:cxn>
                <a:cxn ang="0">
                  <a:pos x="3806" y="1829"/>
                </a:cxn>
                <a:cxn ang="0">
                  <a:pos x="3178" y="619"/>
                </a:cxn>
                <a:cxn ang="0">
                  <a:pos x="3526" y="1290"/>
                </a:cxn>
                <a:cxn ang="0">
                  <a:pos x="3389" y="1308"/>
                </a:cxn>
                <a:cxn ang="0">
                  <a:pos x="2832" y="320"/>
                </a:cxn>
                <a:cxn ang="0">
                  <a:pos x="3178" y="619"/>
                </a:cxn>
                <a:cxn ang="0">
                  <a:pos x="2439" y="2245"/>
                </a:cxn>
                <a:cxn ang="0">
                  <a:pos x="3066" y="1729"/>
                </a:cxn>
                <a:cxn ang="0">
                  <a:pos x="3751" y="1521"/>
                </a:cxn>
                <a:cxn ang="0">
                  <a:pos x="3262" y="580"/>
                </a:cxn>
                <a:cxn ang="0">
                  <a:pos x="2308" y="278"/>
                </a:cxn>
                <a:cxn ang="0">
                  <a:pos x="2235" y="316"/>
                </a:cxn>
                <a:cxn ang="0">
                  <a:pos x="1933" y="1269"/>
                </a:cxn>
                <a:cxn ang="0">
                  <a:pos x="2439" y="2245"/>
                </a:cxn>
              </a:cxnLst>
              <a:rect l="0" t="0" r="r" b="b"/>
              <a:pathLst>
                <a:path w="4725" h="4124">
                  <a:moveTo>
                    <a:pt x="3835" y="1514"/>
                  </a:moveTo>
                  <a:lnTo>
                    <a:pt x="3845" y="1533"/>
                  </a:lnTo>
                  <a:lnTo>
                    <a:pt x="4527" y="2848"/>
                  </a:lnTo>
                  <a:cubicBezTo>
                    <a:pt x="4725" y="3229"/>
                    <a:pt x="4575" y="3703"/>
                    <a:pt x="4194" y="3901"/>
                  </a:cubicBezTo>
                  <a:lnTo>
                    <a:pt x="4113" y="3943"/>
                  </a:lnTo>
                  <a:cubicBezTo>
                    <a:pt x="3764" y="4124"/>
                    <a:pt x="3338" y="4014"/>
                    <a:pt x="3116" y="3702"/>
                  </a:cubicBezTo>
                  <a:cubicBezTo>
                    <a:pt x="3046" y="3727"/>
                    <a:pt x="2970" y="3740"/>
                    <a:pt x="2891" y="3739"/>
                  </a:cubicBezTo>
                  <a:lnTo>
                    <a:pt x="1663" y="3732"/>
                  </a:lnTo>
                  <a:lnTo>
                    <a:pt x="1645" y="3732"/>
                  </a:lnTo>
                  <a:lnTo>
                    <a:pt x="665" y="3726"/>
                  </a:lnTo>
                  <a:cubicBezTo>
                    <a:pt x="298" y="3724"/>
                    <a:pt x="0" y="3422"/>
                    <a:pt x="2" y="3055"/>
                  </a:cubicBezTo>
                  <a:lnTo>
                    <a:pt x="2" y="2977"/>
                  </a:lnTo>
                  <a:cubicBezTo>
                    <a:pt x="5" y="2611"/>
                    <a:pt x="306" y="2312"/>
                    <a:pt x="673" y="2315"/>
                  </a:cubicBezTo>
                  <a:lnTo>
                    <a:pt x="1617" y="2320"/>
                  </a:lnTo>
                  <a:lnTo>
                    <a:pt x="1636" y="2321"/>
                  </a:lnTo>
                  <a:lnTo>
                    <a:pt x="2393" y="2325"/>
                  </a:lnTo>
                  <a:lnTo>
                    <a:pt x="2387" y="2313"/>
                  </a:lnTo>
                  <a:lnTo>
                    <a:pt x="1857" y="1294"/>
                  </a:lnTo>
                  <a:cubicBezTo>
                    <a:pt x="1659" y="912"/>
                    <a:pt x="1809" y="438"/>
                    <a:pt x="2191" y="240"/>
                  </a:cubicBezTo>
                  <a:lnTo>
                    <a:pt x="2272" y="198"/>
                  </a:lnTo>
                  <a:cubicBezTo>
                    <a:pt x="2653" y="0"/>
                    <a:pt x="3127" y="150"/>
                    <a:pt x="3325" y="532"/>
                  </a:cubicBezTo>
                  <a:lnTo>
                    <a:pt x="3835" y="1514"/>
                  </a:lnTo>
                  <a:close/>
                  <a:moveTo>
                    <a:pt x="2531" y="2591"/>
                  </a:moveTo>
                  <a:lnTo>
                    <a:pt x="2469" y="2471"/>
                  </a:lnTo>
                  <a:lnTo>
                    <a:pt x="1844" y="2467"/>
                  </a:lnTo>
                  <a:lnTo>
                    <a:pt x="1804" y="2575"/>
                  </a:lnTo>
                  <a:cubicBezTo>
                    <a:pt x="2044" y="2578"/>
                    <a:pt x="2286" y="2583"/>
                    <a:pt x="2531" y="2591"/>
                  </a:cubicBezTo>
                  <a:close/>
                  <a:moveTo>
                    <a:pt x="680" y="2460"/>
                  </a:moveTo>
                  <a:lnTo>
                    <a:pt x="1326" y="2464"/>
                  </a:lnTo>
                  <a:lnTo>
                    <a:pt x="1285" y="2575"/>
                  </a:lnTo>
                  <a:cubicBezTo>
                    <a:pt x="958" y="2578"/>
                    <a:pt x="635" y="2587"/>
                    <a:pt x="317" y="2603"/>
                  </a:cubicBezTo>
                  <a:cubicBezTo>
                    <a:pt x="412" y="2514"/>
                    <a:pt x="540" y="2460"/>
                    <a:pt x="680" y="2460"/>
                  </a:cubicBezTo>
                  <a:close/>
                  <a:moveTo>
                    <a:pt x="1614" y="3665"/>
                  </a:moveTo>
                  <a:cubicBezTo>
                    <a:pt x="1522" y="3450"/>
                    <a:pt x="1473" y="3211"/>
                    <a:pt x="1474" y="2986"/>
                  </a:cubicBezTo>
                  <a:cubicBezTo>
                    <a:pt x="1475" y="2765"/>
                    <a:pt x="1516" y="2574"/>
                    <a:pt x="1590" y="2387"/>
                  </a:cubicBezTo>
                  <a:lnTo>
                    <a:pt x="684" y="2381"/>
                  </a:lnTo>
                  <a:cubicBezTo>
                    <a:pt x="352" y="2379"/>
                    <a:pt x="79" y="2649"/>
                    <a:pt x="77" y="2982"/>
                  </a:cubicBezTo>
                  <a:lnTo>
                    <a:pt x="76" y="3052"/>
                  </a:lnTo>
                  <a:cubicBezTo>
                    <a:pt x="74" y="3384"/>
                    <a:pt x="344" y="3657"/>
                    <a:pt x="676" y="3659"/>
                  </a:cubicBezTo>
                  <a:lnTo>
                    <a:pt x="1614" y="3665"/>
                  </a:lnTo>
                  <a:close/>
                  <a:moveTo>
                    <a:pt x="3806" y="1829"/>
                  </a:moveTo>
                  <a:lnTo>
                    <a:pt x="4357" y="2891"/>
                  </a:lnTo>
                  <a:cubicBezTo>
                    <a:pt x="4433" y="3036"/>
                    <a:pt x="4445" y="3199"/>
                    <a:pt x="4403" y="3346"/>
                  </a:cubicBezTo>
                  <a:cubicBezTo>
                    <a:pt x="4165" y="2832"/>
                    <a:pt x="3922" y="2332"/>
                    <a:pt x="3672" y="1846"/>
                  </a:cubicBezTo>
                  <a:lnTo>
                    <a:pt x="3806" y="1829"/>
                  </a:lnTo>
                  <a:close/>
                  <a:moveTo>
                    <a:pt x="3178" y="619"/>
                  </a:moveTo>
                  <a:lnTo>
                    <a:pt x="3526" y="1290"/>
                  </a:lnTo>
                  <a:lnTo>
                    <a:pt x="3389" y="1308"/>
                  </a:lnTo>
                  <a:cubicBezTo>
                    <a:pt x="3208" y="970"/>
                    <a:pt x="3022" y="640"/>
                    <a:pt x="2832" y="320"/>
                  </a:cubicBezTo>
                  <a:cubicBezTo>
                    <a:pt x="2976" y="370"/>
                    <a:pt x="3102" y="473"/>
                    <a:pt x="3178" y="619"/>
                  </a:cubicBezTo>
                  <a:close/>
                  <a:moveTo>
                    <a:pt x="2439" y="2245"/>
                  </a:moveTo>
                  <a:cubicBezTo>
                    <a:pt x="2612" y="2032"/>
                    <a:pt x="2833" y="1850"/>
                    <a:pt x="3066" y="1729"/>
                  </a:cubicBezTo>
                  <a:cubicBezTo>
                    <a:pt x="3296" y="1609"/>
                    <a:pt x="3516" y="1547"/>
                    <a:pt x="3751" y="1521"/>
                  </a:cubicBezTo>
                  <a:lnTo>
                    <a:pt x="3262" y="580"/>
                  </a:lnTo>
                  <a:cubicBezTo>
                    <a:pt x="3082" y="234"/>
                    <a:pt x="2653" y="98"/>
                    <a:pt x="2308" y="278"/>
                  </a:cubicBezTo>
                  <a:lnTo>
                    <a:pt x="2235" y="316"/>
                  </a:lnTo>
                  <a:cubicBezTo>
                    <a:pt x="1889" y="495"/>
                    <a:pt x="1754" y="924"/>
                    <a:pt x="1933" y="1269"/>
                  </a:cubicBezTo>
                  <a:lnTo>
                    <a:pt x="2439" y="2245"/>
                  </a:ln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0" name="Freeform 10">
              <a:extLst/>
            </p:cNvPr>
            <p:cNvSpPr>
              <a:spLocks noEditPoints="1"/>
            </p:cNvSpPr>
            <p:nvPr/>
          </p:nvSpPr>
          <p:spPr bwMode="auto">
            <a:xfrm>
              <a:off x="493639" y="4952244"/>
              <a:ext cx="380270" cy="365157"/>
            </a:xfrm>
            <a:custGeom>
              <a:avLst/>
              <a:gdLst/>
              <a:ahLst/>
              <a:cxnLst>
                <a:cxn ang="0">
                  <a:pos x="3641" y="25"/>
                </a:cxn>
                <a:cxn ang="0">
                  <a:pos x="4058" y="555"/>
                </a:cxn>
                <a:cxn ang="0">
                  <a:pos x="4554" y="1010"/>
                </a:cxn>
                <a:cxn ang="0">
                  <a:pos x="31" y="4241"/>
                </a:cxn>
                <a:cxn ang="0">
                  <a:pos x="113" y="4242"/>
                </a:cxn>
                <a:cxn ang="0">
                  <a:pos x="31" y="4241"/>
                </a:cxn>
                <a:cxn ang="0">
                  <a:pos x="857" y="3412"/>
                </a:cxn>
                <a:cxn ang="0">
                  <a:pos x="164" y="4065"/>
                </a:cxn>
                <a:cxn ang="0">
                  <a:pos x="968" y="3532"/>
                </a:cxn>
                <a:cxn ang="0">
                  <a:pos x="204" y="4185"/>
                </a:cxn>
                <a:cxn ang="0">
                  <a:pos x="862" y="3502"/>
                </a:cxn>
                <a:cxn ang="0">
                  <a:pos x="1410" y="3312"/>
                </a:cxn>
                <a:cxn ang="0">
                  <a:pos x="1110" y="2987"/>
                </a:cxn>
                <a:cxn ang="0">
                  <a:pos x="851" y="3352"/>
                </a:cxn>
                <a:cxn ang="0">
                  <a:pos x="1027" y="3542"/>
                </a:cxn>
                <a:cxn ang="0">
                  <a:pos x="1410" y="3312"/>
                </a:cxn>
                <a:cxn ang="0">
                  <a:pos x="2512" y="683"/>
                </a:cxn>
                <a:cxn ang="0">
                  <a:pos x="3085" y="1457"/>
                </a:cxn>
                <a:cxn ang="0">
                  <a:pos x="3813" y="2086"/>
                </a:cxn>
                <a:cxn ang="0">
                  <a:pos x="3100" y="1818"/>
                </a:cxn>
                <a:cxn ang="0">
                  <a:pos x="2726" y="1415"/>
                </a:cxn>
                <a:cxn ang="0">
                  <a:pos x="2214" y="1890"/>
                </a:cxn>
                <a:cxn ang="0">
                  <a:pos x="2588" y="2292"/>
                </a:cxn>
                <a:cxn ang="0">
                  <a:pos x="3100" y="1818"/>
                </a:cxn>
                <a:cxn ang="0">
                  <a:pos x="2883" y="1656"/>
                </a:cxn>
                <a:cxn ang="0">
                  <a:pos x="2552" y="2120"/>
                </a:cxn>
                <a:cxn ang="0">
                  <a:pos x="4156" y="838"/>
                </a:cxn>
                <a:cxn ang="0">
                  <a:pos x="3782" y="436"/>
                </a:cxn>
                <a:cxn ang="0">
                  <a:pos x="3096" y="1072"/>
                </a:cxn>
                <a:cxn ang="0">
                  <a:pos x="3470" y="1475"/>
                </a:cxn>
                <a:cxn ang="0">
                  <a:pos x="4156" y="838"/>
                </a:cxn>
                <a:cxn ang="0">
                  <a:pos x="3952" y="664"/>
                </a:cxn>
                <a:cxn ang="0">
                  <a:pos x="3422" y="1313"/>
                </a:cxn>
                <a:cxn ang="0">
                  <a:pos x="1345" y="3070"/>
                </a:cxn>
                <a:cxn ang="0">
                  <a:pos x="1046" y="2997"/>
                </a:cxn>
                <a:cxn ang="0">
                  <a:pos x="1316" y="3097"/>
                </a:cxn>
                <a:cxn ang="0">
                  <a:pos x="1396" y="3374"/>
                </a:cxn>
                <a:cxn ang="0">
                  <a:pos x="1345" y="3070"/>
                </a:cxn>
                <a:cxn ang="0">
                  <a:pos x="3524" y="134"/>
                </a:cxn>
                <a:cxn ang="0">
                  <a:pos x="3777" y="386"/>
                </a:cxn>
                <a:cxn ang="0">
                  <a:pos x="4205" y="847"/>
                </a:cxn>
                <a:cxn ang="0">
                  <a:pos x="4437" y="1118"/>
                </a:cxn>
                <a:cxn ang="0">
                  <a:pos x="3052" y="1487"/>
                </a:cxn>
                <a:cxn ang="0">
                  <a:pos x="2421" y="1139"/>
                </a:cxn>
                <a:cxn ang="0">
                  <a:pos x="3022" y="1515"/>
                </a:cxn>
                <a:cxn ang="0">
                  <a:pos x="3352" y="2143"/>
                </a:cxn>
                <a:cxn ang="0">
                  <a:pos x="3052" y="1487"/>
                </a:cxn>
                <a:cxn ang="0">
                  <a:pos x="2495" y="1135"/>
                </a:cxn>
                <a:cxn ang="0">
                  <a:pos x="1379" y="3039"/>
                </a:cxn>
                <a:cxn ang="0">
                  <a:pos x="3362" y="2069"/>
                </a:cxn>
                <a:cxn ang="0">
                  <a:pos x="1450" y="2971"/>
                </a:cxn>
                <a:cxn ang="0">
                  <a:pos x="1079" y="2671"/>
                </a:cxn>
                <a:cxn ang="0">
                  <a:pos x="1742" y="3366"/>
                </a:cxn>
                <a:cxn ang="0">
                  <a:pos x="1600" y="3027"/>
                </a:cxn>
                <a:cxn ang="0">
                  <a:pos x="2530" y="2405"/>
                </a:cxn>
                <a:cxn ang="0">
                  <a:pos x="1600" y="3027"/>
                </a:cxn>
                <a:cxn ang="0">
                  <a:pos x="2689" y="2542"/>
                </a:cxn>
                <a:cxn ang="0">
                  <a:pos x="1973" y="1770"/>
                </a:cxn>
                <a:cxn ang="0">
                  <a:pos x="972" y="2624"/>
                </a:cxn>
                <a:cxn ang="0">
                  <a:pos x="2953" y="1579"/>
                </a:cxn>
                <a:cxn ang="0">
                  <a:pos x="1763" y="3476"/>
                </a:cxn>
              </a:cxnLst>
              <a:rect l="0" t="0" r="r" b="b"/>
              <a:pathLst>
                <a:path w="4582" h="4404">
                  <a:moveTo>
                    <a:pt x="4148" y="471"/>
                  </a:moveTo>
                  <a:cubicBezTo>
                    <a:pt x="3896" y="199"/>
                    <a:pt x="3669" y="0"/>
                    <a:pt x="3641" y="25"/>
                  </a:cubicBezTo>
                  <a:lnTo>
                    <a:pt x="3551" y="109"/>
                  </a:lnTo>
                  <a:cubicBezTo>
                    <a:pt x="3578" y="83"/>
                    <a:pt x="3805" y="283"/>
                    <a:pt x="4058" y="555"/>
                  </a:cubicBezTo>
                  <a:cubicBezTo>
                    <a:pt x="4310" y="827"/>
                    <a:pt x="4491" y="1068"/>
                    <a:pt x="4464" y="1094"/>
                  </a:cubicBezTo>
                  <a:lnTo>
                    <a:pt x="4554" y="1010"/>
                  </a:lnTo>
                  <a:cubicBezTo>
                    <a:pt x="4582" y="984"/>
                    <a:pt x="4400" y="743"/>
                    <a:pt x="4148" y="471"/>
                  </a:cubicBezTo>
                  <a:close/>
                  <a:moveTo>
                    <a:pt x="31" y="4241"/>
                  </a:moveTo>
                  <a:cubicBezTo>
                    <a:pt x="63" y="4159"/>
                    <a:pt x="115" y="4085"/>
                    <a:pt x="136" y="4092"/>
                  </a:cubicBezTo>
                  <a:cubicBezTo>
                    <a:pt x="158" y="4098"/>
                    <a:pt x="144" y="4160"/>
                    <a:pt x="113" y="4242"/>
                  </a:cubicBezTo>
                  <a:cubicBezTo>
                    <a:pt x="82" y="4325"/>
                    <a:pt x="23" y="4401"/>
                    <a:pt x="14" y="4402"/>
                  </a:cubicBezTo>
                  <a:cubicBezTo>
                    <a:pt x="5" y="4404"/>
                    <a:pt x="0" y="4324"/>
                    <a:pt x="31" y="4241"/>
                  </a:cubicBezTo>
                  <a:close/>
                  <a:moveTo>
                    <a:pt x="968" y="3532"/>
                  </a:moveTo>
                  <a:lnTo>
                    <a:pt x="857" y="3412"/>
                  </a:lnTo>
                  <a:lnTo>
                    <a:pt x="168" y="4051"/>
                  </a:lnTo>
                  <a:cubicBezTo>
                    <a:pt x="164" y="4055"/>
                    <a:pt x="164" y="4060"/>
                    <a:pt x="164" y="4065"/>
                  </a:cubicBezTo>
                  <a:cubicBezTo>
                    <a:pt x="209" y="4149"/>
                    <a:pt x="123" y="4278"/>
                    <a:pt x="92" y="4345"/>
                  </a:cubicBezTo>
                  <a:lnTo>
                    <a:pt x="968" y="3532"/>
                  </a:lnTo>
                  <a:close/>
                  <a:moveTo>
                    <a:pt x="235" y="4084"/>
                  </a:moveTo>
                  <a:cubicBezTo>
                    <a:pt x="232" y="4117"/>
                    <a:pt x="219" y="4152"/>
                    <a:pt x="204" y="4185"/>
                  </a:cubicBezTo>
                  <a:lnTo>
                    <a:pt x="898" y="3541"/>
                  </a:lnTo>
                  <a:lnTo>
                    <a:pt x="862" y="3502"/>
                  </a:lnTo>
                  <a:lnTo>
                    <a:pt x="235" y="4084"/>
                  </a:lnTo>
                  <a:close/>
                  <a:moveTo>
                    <a:pt x="1410" y="3312"/>
                  </a:moveTo>
                  <a:cubicBezTo>
                    <a:pt x="1383" y="3242"/>
                    <a:pt x="1347" y="3173"/>
                    <a:pt x="1295" y="3117"/>
                  </a:cubicBezTo>
                  <a:cubicBezTo>
                    <a:pt x="1243" y="3061"/>
                    <a:pt x="1177" y="3020"/>
                    <a:pt x="1110" y="2987"/>
                  </a:cubicBezTo>
                  <a:cubicBezTo>
                    <a:pt x="1067" y="3048"/>
                    <a:pt x="1023" y="3109"/>
                    <a:pt x="980" y="3169"/>
                  </a:cubicBezTo>
                  <a:cubicBezTo>
                    <a:pt x="937" y="3230"/>
                    <a:pt x="894" y="3291"/>
                    <a:pt x="851" y="3352"/>
                  </a:cubicBezTo>
                  <a:cubicBezTo>
                    <a:pt x="880" y="3384"/>
                    <a:pt x="910" y="3415"/>
                    <a:pt x="939" y="3447"/>
                  </a:cubicBezTo>
                  <a:cubicBezTo>
                    <a:pt x="969" y="3479"/>
                    <a:pt x="998" y="3510"/>
                    <a:pt x="1027" y="3542"/>
                  </a:cubicBezTo>
                  <a:cubicBezTo>
                    <a:pt x="1091" y="3504"/>
                    <a:pt x="1155" y="3465"/>
                    <a:pt x="1219" y="3427"/>
                  </a:cubicBezTo>
                  <a:cubicBezTo>
                    <a:pt x="1283" y="3388"/>
                    <a:pt x="1347" y="3350"/>
                    <a:pt x="1410" y="3312"/>
                  </a:cubicBezTo>
                  <a:close/>
                  <a:moveTo>
                    <a:pt x="3260" y="1294"/>
                  </a:moveTo>
                  <a:cubicBezTo>
                    <a:pt x="2901" y="907"/>
                    <a:pt x="2566" y="633"/>
                    <a:pt x="2512" y="683"/>
                  </a:cubicBezTo>
                  <a:lnTo>
                    <a:pt x="2337" y="846"/>
                  </a:lnTo>
                  <a:cubicBezTo>
                    <a:pt x="2391" y="796"/>
                    <a:pt x="2726" y="1069"/>
                    <a:pt x="3085" y="1457"/>
                  </a:cubicBezTo>
                  <a:cubicBezTo>
                    <a:pt x="3445" y="1844"/>
                    <a:pt x="3692" y="2198"/>
                    <a:pt x="3638" y="2248"/>
                  </a:cubicBezTo>
                  <a:lnTo>
                    <a:pt x="3813" y="2086"/>
                  </a:lnTo>
                  <a:cubicBezTo>
                    <a:pt x="3867" y="2036"/>
                    <a:pt x="3620" y="1682"/>
                    <a:pt x="3260" y="1294"/>
                  </a:cubicBezTo>
                  <a:close/>
                  <a:moveTo>
                    <a:pt x="3100" y="1818"/>
                  </a:moveTo>
                  <a:cubicBezTo>
                    <a:pt x="3048" y="1741"/>
                    <a:pt x="2993" y="1667"/>
                    <a:pt x="2930" y="1600"/>
                  </a:cubicBezTo>
                  <a:cubicBezTo>
                    <a:pt x="2868" y="1533"/>
                    <a:pt x="2799" y="1473"/>
                    <a:pt x="2726" y="1415"/>
                  </a:cubicBezTo>
                  <a:cubicBezTo>
                    <a:pt x="2641" y="1494"/>
                    <a:pt x="2556" y="1573"/>
                    <a:pt x="2470" y="1652"/>
                  </a:cubicBezTo>
                  <a:cubicBezTo>
                    <a:pt x="2385" y="1732"/>
                    <a:pt x="2300" y="1811"/>
                    <a:pt x="2214" y="1890"/>
                  </a:cubicBezTo>
                  <a:cubicBezTo>
                    <a:pt x="2287" y="1947"/>
                    <a:pt x="2357" y="2008"/>
                    <a:pt x="2419" y="2075"/>
                  </a:cubicBezTo>
                  <a:cubicBezTo>
                    <a:pt x="2481" y="2142"/>
                    <a:pt x="2536" y="2216"/>
                    <a:pt x="2588" y="2292"/>
                  </a:cubicBezTo>
                  <a:cubicBezTo>
                    <a:pt x="2673" y="2213"/>
                    <a:pt x="2758" y="2134"/>
                    <a:pt x="2844" y="2055"/>
                  </a:cubicBezTo>
                  <a:cubicBezTo>
                    <a:pt x="2929" y="1976"/>
                    <a:pt x="3014" y="1897"/>
                    <a:pt x="3100" y="1818"/>
                  </a:cubicBezTo>
                  <a:close/>
                  <a:moveTo>
                    <a:pt x="2957" y="1744"/>
                  </a:moveTo>
                  <a:cubicBezTo>
                    <a:pt x="2934" y="1714"/>
                    <a:pt x="2909" y="1684"/>
                    <a:pt x="2883" y="1656"/>
                  </a:cubicBezTo>
                  <a:lnTo>
                    <a:pt x="2478" y="2032"/>
                  </a:lnTo>
                  <a:cubicBezTo>
                    <a:pt x="2504" y="2060"/>
                    <a:pt x="2529" y="2090"/>
                    <a:pt x="2552" y="2120"/>
                  </a:cubicBezTo>
                  <a:lnTo>
                    <a:pt x="2957" y="1744"/>
                  </a:lnTo>
                  <a:close/>
                  <a:moveTo>
                    <a:pt x="4156" y="838"/>
                  </a:moveTo>
                  <a:cubicBezTo>
                    <a:pt x="4104" y="762"/>
                    <a:pt x="4049" y="688"/>
                    <a:pt x="3986" y="621"/>
                  </a:cubicBezTo>
                  <a:cubicBezTo>
                    <a:pt x="3924" y="554"/>
                    <a:pt x="3855" y="493"/>
                    <a:pt x="3782" y="436"/>
                  </a:cubicBezTo>
                  <a:cubicBezTo>
                    <a:pt x="3653" y="555"/>
                    <a:pt x="3525" y="675"/>
                    <a:pt x="3396" y="794"/>
                  </a:cubicBezTo>
                  <a:lnTo>
                    <a:pt x="3096" y="1072"/>
                  </a:lnTo>
                  <a:cubicBezTo>
                    <a:pt x="3158" y="1133"/>
                    <a:pt x="3222" y="1200"/>
                    <a:pt x="3287" y="1269"/>
                  </a:cubicBezTo>
                  <a:cubicBezTo>
                    <a:pt x="3352" y="1339"/>
                    <a:pt x="3413" y="1408"/>
                    <a:pt x="3470" y="1475"/>
                  </a:cubicBezTo>
                  <a:lnTo>
                    <a:pt x="3769" y="1196"/>
                  </a:lnTo>
                  <a:cubicBezTo>
                    <a:pt x="3898" y="1077"/>
                    <a:pt x="4027" y="958"/>
                    <a:pt x="4156" y="838"/>
                  </a:cubicBezTo>
                  <a:close/>
                  <a:moveTo>
                    <a:pt x="4027" y="752"/>
                  </a:moveTo>
                  <a:cubicBezTo>
                    <a:pt x="4003" y="722"/>
                    <a:pt x="3978" y="692"/>
                    <a:pt x="3952" y="664"/>
                  </a:cubicBezTo>
                  <a:lnTo>
                    <a:pt x="3344" y="1228"/>
                  </a:lnTo>
                  <a:lnTo>
                    <a:pt x="3422" y="1313"/>
                  </a:lnTo>
                  <a:lnTo>
                    <a:pt x="4027" y="752"/>
                  </a:lnTo>
                  <a:close/>
                  <a:moveTo>
                    <a:pt x="1345" y="3070"/>
                  </a:moveTo>
                  <a:cubicBezTo>
                    <a:pt x="1106" y="2812"/>
                    <a:pt x="883" y="2630"/>
                    <a:pt x="847" y="2663"/>
                  </a:cubicBezTo>
                  <a:cubicBezTo>
                    <a:pt x="821" y="2688"/>
                    <a:pt x="904" y="2823"/>
                    <a:pt x="1046" y="2997"/>
                  </a:cubicBezTo>
                  <a:lnTo>
                    <a:pt x="1088" y="2938"/>
                  </a:lnTo>
                  <a:cubicBezTo>
                    <a:pt x="1171" y="2978"/>
                    <a:pt x="1252" y="3028"/>
                    <a:pt x="1316" y="3097"/>
                  </a:cubicBezTo>
                  <a:cubicBezTo>
                    <a:pt x="1381" y="3167"/>
                    <a:pt x="1424" y="3251"/>
                    <a:pt x="1458" y="3337"/>
                  </a:cubicBezTo>
                  <a:lnTo>
                    <a:pt x="1396" y="3374"/>
                  </a:lnTo>
                  <a:cubicBezTo>
                    <a:pt x="1558" y="3529"/>
                    <a:pt x="1687" y="3622"/>
                    <a:pt x="1714" y="3597"/>
                  </a:cubicBezTo>
                  <a:cubicBezTo>
                    <a:pt x="1750" y="3564"/>
                    <a:pt x="1585" y="3328"/>
                    <a:pt x="1345" y="3070"/>
                  </a:cubicBezTo>
                  <a:close/>
                  <a:moveTo>
                    <a:pt x="4031" y="579"/>
                  </a:moveTo>
                  <a:cubicBezTo>
                    <a:pt x="3779" y="308"/>
                    <a:pt x="3552" y="108"/>
                    <a:pt x="3524" y="134"/>
                  </a:cubicBezTo>
                  <a:cubicBezTo>
                    <a:pt x="3505" y="152"/>
                    <a:pt x="3586" y="273"/>
                    <a:pt x="3722" y="437"/>
                  </a:cubicBezTo>
                  <a:lnTo>
                    <a:pt x="3777" y="386"/>
                  </a:lnTo>
                  <a:cubicBezTo>
                    <a:pt x="3860" y="452"/>
                    <a:pt x="3939" y="522"/>
                    <a:pt x="4010" y="599"/>
                  </a:cubicBezTo>
                  <a:cubicBezTo>
                    <a:pt x="4081" y="676"/>
                    <a:pt x="4145" y="760"/>
                    <a:pt x="4205" y="847"/>
                  </a:cubicBezTo>
                  <a:lnTo>
                    <a:pt x="4150" y="898"/>
                  </a:lnTo>
                  <a:cubicBezTo>
                    <a:pt x="4303" y="1046"/>
                    <a:pt x="4418" y="1136"/>
                    <a:pt x="4437" y="1118"/>
                  </a:cubicBezTo>
                  <a:cubicBezTo>
                    <a:pt x="4465" y="1093"/>
                    <a:pt x="4283" y="851"/>
                    <a:pt x="4031" y="579"/>
                  </a:cubicBezTo>
                  <a:close/>
                  <a:moveTo>
                    <a:pt x="3052" y="1487"/>
                  </a:moveTo>
                  <a:cubicBezTo>
                    <a:pt x="2693" y="1100"/>
                    <a:pt x="2358" y="826"/>
                    <a:pt x="2304" y="876"/>
                  </a:cubicBezTo>
                  <a:cubicBezTo>
                    <a:pt x="2277" y="901"/>
                    <a:pt x="2324" y="999"/>
                    <a:pt x="2421" y="1139"/>
                  </a:cubicBezTo>
                  <a:lnTo>
                    <a:pt x="2490" y="1075"/>
                  </a:lnTo>
                  <a:cubicBezTo>
                    <a:pt x="2527" y="1041"/>
                    <a:pt x="2765" y="1238"/>
                    <a:pt x="3022" y="1515"/>
                  </a:cubicBezTo>
                  <a:cubicBezTo>
                    <a:pt x="3279" y="1792"/>
                    <a:pt x="3458" y="2045"/>
                    <a:pt x="3421" y="2079"/>
                  </a:cubicBezTo>
                  <a:lnTo>
                    <a:pt x="3352" y="2143"/>
                  </a:lnTo>
                  <a:cubicBezTo>
                    <a:pt x="3484" y="2250"/>
                    <a:pt x="3579" y="2304"/>
                    <a:pt x="3605" y="2279"/>
                  </a:cubicBezTo>
                  <a:cubicBezTo>
                    <a:pt x="3659" y="2229"/>
                    <a:pt x="3411" y="1875"/>
                    <a:pt x="3052" y="1487"/>
                  </a:cubicBezTo>
                  <a:close/>
                  <a:moveTo>
                    <a:pt x="2993" y="1542"/>
                  </a:moveTo>
                  <a:cubicBezTo>
                    <a:pt x="2754" y="1284"/>
                    <a:pt x="2531" y="1102"/>
                    <a:pt x="2495" y="1135"/>
                  </a:cubicBezTo>
                  <a:lnTo>
                    <a:pt x="881" y="2632"/>
                  </a:lnTo>
                  <a:cubicBezTo>
                    <a:pt x="916" y="2599"/>
                    <a:pt x="1140" y="2781"/>
                    <a:pt x="1379" y="3039"/>
                  </a:cubicBezTo>
                  <a:cubicBezTo>
                    <a:pt x="1618" y="3297"/>
                    <a:pt x="1783" y="3533"/>
                    <a:pt x="1747" y="3567"/>
                  </a:cubicBezTo>
                  <a:lnTo>
                    <a:pt x="3362" y="2069"/>
                  </a:lnTo>
                  <a:cubicBezTo>
                    <a:pt x="3398" y="2036"/>
                    <a:pt x="3233" y="1800"/>
                    <a:pt x="2993" y="1542"/>
                  </a:cubicBezTo>
                  <a:close/>
                  <a:moveTo>
                    <a:pt x="1450" y="2971"/>
                  </a:moveTo>
                  <a:cubicBezTo>
                    <a:pt x="1267" y="2773"/>
                    <a:pt x="1101" y="2630"/>
                    <a:pt x="1079" y="2650"/>
                  </a:cubicBezTo>
                  <a:cubicBezTo>
                    <a:pt x="1075" y="2654"/>
                    <a:pt x="1075" y="2661"/>
                    <a:pt x="1079" y="2671"/>
                  </a:cubicBezTo>
                  <a:cubicBezTo>
                    <a:pt x="1204" y="2727"/>
                    <a:pt x="1672" y="3225"/>
                    <a:pt x="1721" y="3363"/>
                  </a:cubicBezTo>
                  <a:cubicBezTo>
                    <a:pt x="1731" y="3368"/>
                    <a:pt x="1738" y="3369"/>
                    <a:pt x="1742" y="3366"/>
                  </a:cubicBezTo>
                  <a:cubicBezTo>
                    <a:pt x="1764" y="3345"/>
                    <a:pt x="1633" y="3168"/>
                    <a:pt x="1450" y="2971"/>
                  </a:cubicBezTo>
                  <a:close/>
                  <a:moveTo>
                    <a:pt x="1600" y="3027"/>
                  </a:moveTo>
                  <a:cubicBezTo>
                    <a:pt x="1641" y="3075"/>
                    <a:pt x="1679" y="3120"/>
                    <a:pt x="1713" y="3163"/>
                  </a:cubicBezTo>
                  <a:lnTo>
                    <a:pt x="2530" y="2405"/>
                  </a:lnTo>
                  <a:cubicBezTo>
                    <a:pt x="2499" y="2363"/>
                    <a:pt x="2461" y="2317"/>
                    <a:pt x="2419" y="2267"/>
                  </a:cubicBezTo>
                  <a:lnTo>
                    <a:pt x="1600" y="3027"/>
                  </a:lnTo>
                  <a:close/>
                  <a:moveTo>
                    <a:pt x="1751" y="3413"/>
                  </a:moveTo>
                  <a:lnTo>
                    <a:pt x="2689" y="2542"/>
                  </a:lnTo>
                  <a:cubicBezTo>
                    <a:pt x="2719" y="2515"/>
                    <a:pt x="2583" y="2320"/>
                    <a:pt x="2385" y="2106"/>
                  </a:cubicBezTo>
                  <a:cubicBezTo>
                    <a:pt x="2187" y="1893"/>
                    <a:pt x="2002" y="1742"/>
                    <a:pt x="1973" y="1770"/>
                  </a:cubicBezTo>
                  <a:lnTo>
                    <a:pt x="1034" y="2640"/>
                  </a:lnTo>
                  <a:cubicBezTo>
                    <a:pt x="1003" y="2622"/>
                    <a:pt x="981" y="2615"/>
                    <a:pt x="972" y="2624"/>
                  </a:cubicBezTo>
                  <a:lnTo>
                    <a:pt x="2499" y="1208"/>
                  </a:lnTo>
                  <a:cubicBezTo>
                    <a:pt x="2531" y="1178"/>
                    <a:pt x="2735" y="1344"/>
                    <a:pt x="2953" y="1579"/>
                  </a:cubicBezTo>
                  <a:cubicBezTo>
                    <a:pt x="3171" y="1814"/>
                    <a:pt x="3322" y="2030"/>
                    <a:pt x="3289" y="2060"/>
                  </a:cubicBezTo>
                  <a:lnTo>
                    <a:pt x="1763" y="3476"/>
                  </a:lnTo>
                  <a:cubicBezTo>
                    <a:pt x="1772" y="3467"/>
                    <a:pt x="1767" y="3445"/>
                    <a:pt x="1751" y="3413"/>
                  </a:cubicBezTo>
                  <a:close/>
                </a:path>
              </a:pathLst>
            </a:custGeom>
            <a:solidFill>
              <a:srgbClr val="FFFFFF"/>
            </a:solidFill>
            <a:ln w="4763" cap="flat">
              <a:noFill/>
              <a:prstDash val="solid"/>
              <a:miter lim="800000"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444" name="Прямоугольная выноска 112">
            <a:extLst/>
          </p:cNvPr>
          <p:cNvSpPr/>
          <p:nvPr/>
        </p:nvSpPr>
        <p:spPr>
          <a:xfrm>
            <a:off x="4756151" y="2743201"/>
            <a:ext cx="1030816" cy="370417"/>
          </a:xfrm>
          <a:prstGeom prst="wedgeRectCallout">
            <a:avLst>
              <a:gd name="adj1" fmla="val 89274"/>
              <a:gd name="adj2" fmla="val -8149"/>
            </a:avLst>
          </a:prstGeom>
          <a:solidFill>
            <a:srgbClr val="FFFFFF">
              <a:lumMod val="75000"/>
              <a:alpha val="70000"/>
            </a:srgbClr>
          </a:solidFill>
          <a:ln w="9525" cap="flat" cmpd="sng" algn="ctr">
            <a:solidFill>
              <a:srgbClr val="000000">
                <a:lumMod val="75000"/>
                <a:lumOff val="25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1425" tIns="51425" rIns="51425" bIns="51425" anchor="ctr"/>
          <a:lstStyle/>
          <a:p>
            <a:pPr marL="126987" indent="-126987" defTabSz="653077">
              <a:buFont typeface="+mj-lt"/>
              <a:buAutoNum type="arabicPeriod"/>
              <a:defRPr/>
            </a:pPr>
            <a:r>
              <a:rPr lang="ru-RU" sz="667" kern="0" dirty="0">
                <a:solidFill>
                  <a:srgbClr val="000000"/>
                </a:solidFill>
                <a:latin typeface="Arial"/>
              </a:rPr>
              <a:t>АО «</a:t>
            </a:r>
            <a:r>
              <a:rPr lang="ru-RU" sz="667" kern="0" dirty="0" err="1">
                <a:solidFill>
                  <a:srgbClr val="000000"/>
                </a:solidFill>
                <a:latin typeface="Arial"/>
              </a:rPr>
              <a:t>Актюбрентген</a:t>
            </a:r>
            <a:r>
              <a:rPr lang="ru-RU" sz="667" kern="0" dirty="0">
                <a:solidFill>
                  <a:srgbClr val="000000"/>
                </a:solidFill>
                <a:latin typeface="Arial"/>
              </a:rPr>
              <a:t>»</a:t>
            </a:r>
          </a:p>
          <a:p>
            <a:pPr marL="126987" indent="-126987" defTabSz="653077">
              <a:buFont typeface="+mj-lt"/>
              <a:buAutoNum type="arabicPeriod"/>
              <a:defRPr/>
            </a:pPr>
            <a:r>
              <a:rPr lang="ru-RU" sz="667" kern="0" dirty="0">
                <a:solidFill>
                  <a:srgbClr val="000000"/>
                </a:solidFill>
                <a:latin typeface="Arial"/>
              </a:rPr>
              <a:t>ТК «</a:t>
            </a:r>
            <a:r>
              <a:rPr lang="ru-RU" sz="667" kern="0" dirty="0" err="1">
                <a:solidFill>
                  <a:srgbClr val="000000"/>
                </a:solidFill>
                <a:latin typeface="Arial"/>
              </a:rPr>
              <a:t>Актобе</a:t>
            </a:r>
            <a:r>
              <a:rPr lang="ru-RU" sz="667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667" kern="0" dirty="0" err="1">
                <a:solidFill>
                  <a:srgbClr val="000000"/>
                </a:solidFill>
                <a:latin typeface="Arial"/>
              </a:rPr>
              <a:t>Фарм</a:t>
            </a:r>
            <a:r>
              <a:rPr lang="ru-RU" sz="667" kern="0" dirty="0">
                <a:solidFill>
                  <a:srgbClr val="000000"/>
                </a:solidFill>
                <a:latin typeface="Arial"/>
              </a:rPr>
              <a:t>»</a:t>
            </a:r>
          </a:p>
        </p:txBody>
      </p:sp>
      <p:sp>
        <p:nvSpPr>
          <p:cNvPr id="445" name="TextBox 444">
            <a:extLst/>
          </p:cNvPr>
          <p:cNvSpPr txBox="1"/>
          <p:nvPr>
            <p:custDataLst>
              <p:tags r:id="rId4"/>
            </p:custDataLst>
          </p:nvPr>
        </p:nvSpPr>
        <p:spPr>
          <a:xfrm>
            <a:off x="8020051" y="2402418"/>
            <a:ext cx="541867" cy="10265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defTabSz="653077">
              <a:defRPr/>
            </a:pPr>
            <a:r>
              <a:rPr lang="ru-RU" sz="667" b="1" ker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г. Астана</a:t>
            </a:r>
          </a:p>
        </p:txBody>
      </p:sp>
      <p:sp>
        <p:nvSpPr>
          <p:cNvPr id="446" name="Овал 58">
            <a:extLst/>
          </p:cNvPr>
          <p:cNvSpPr/>
          <p:nvPr/>
        </p:nvSpPr>
        <p:spPr>
          <a:xfrm>
            <a:off x="7998884" y="2434167"/>
            <a:ext cx="59267" cy="48684"/>
          </a:xfrm>
          <a:prstGeom prst="ellipse">
            <a:avLst/>
          </a:prstGeom>
          <a:solidFill>
            <a:srgbClr val="C00000"/>
          </a:solidFill>
          <a:ln w="25400" cap="flat" cmpd="sng" algn="ctr">
            <a:solidFill>
              <a:srgbClr val="DDDDDD">
                <a:shade val="50000"/>
              </a:srgbClr>
            </a:solidFill>
            <a:prstDash val="solid"/>
          </a:ln>
          <a:effectLst/>
        </p:spPr>
        <p:txBody>
          <a:bodyPr lIns="121915" tIns="60957" rIns="121915" bIns="60957" anchor="ctr"/>
          <a:lstStyle/>
          <a:p>
            <a:pPr algn="ctr" defTabSz="653077">
              <a:defRPr/>
            </a:pPr>
            <a:endParaRPr lang="ru-RU" sz="1333" kern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447" name="Группа 90">
            <a:extLst/>
          </p:cNvPr>
          <p:cNvGrpSpPr/>
          <p:nvPr/>
        </p:nvGrpSpPr>
        <p:grpSpPr>
          <a:xfrm>
            <a:off x="8344431" y="4770786"/>
            <a:ext cx="194768" cy="197985"/>
            <a:chOff x="-3986743" y="4201584"/>
            <a:chExt cx="1349375" cy="134778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48" name="Freeform 7">
              <a:extLst/>
            </p:cNvPr>
            <p:cNvSpPr>
              <a:spLocks/>
            </p:cNvSpPr>
            <p:nvPr/>
          </p:nvSpPr>
          <p:spPr bwMode="auto">
            <a:xfrm>
              <a:off x="-3986743" y="4201584"/>
              <a:ext cx="1349375" cy="1347788"/>
            </a:xfrm>
            <a:custGeom>
              <a:avLst/>
              <a:gdLst/>
              <a:ahLst/>
              <a:cxnLst>
                <a:cxn ang="0">
                  <a:pos x="780" y="0"/>
                </a:cxn>
                <a:cxn ang="0">
                  <a:pos x="4215" y="0"/>
                </a:cxn>
                <a:cxn ang="0">
                  <a:pos x="4995" y="780"/>
                </a:cxn>
                <a:cxn ang="0">
                  <a:pos x="4995" y="4215"/>
                </a:cxn>
                <a:cxn ang="0">
                  <a:pos x="4215" y="4995"/>
                </a:cxn>
                <a:cxn ang="0">
                  <a:pos x="780" y="4995"/>
                </a:cxn>
                <a:cxn ang="0">
                  <a:pos x="0" y="4215"/>
                </a:cxn>
                <a:cxn ang="0">
                  <a:pos x="0" y="780"/>
                </a:cxn>
                <a:cxn ang="0">
                  <a:pos x="780" y="0"/>
                </a:cxn>
              </a:cxnLst>
              <a:rect l="0" t="0" r="r" b="b"/>
              <a:pathLst>
                <a:path w="4995" h="4995">
                  <a:moveTo>
                    <a:pt x="780" y="0"/>
                  </a:moveTo>
                  <a:lnTo>
                    <a:pt x="4215" y="0"/>
                  </a:lnTo>
                  <a:cubicBezTo>
                    <a:pt x="4644" y="0"/>
                    <a:pt x="4995" y="351"/>
                    <a:pt x="4995" y="780"/>
                  </a:cubicBezTo>
                  <a:lnTo>
                    <a:pt x="4995" y="4215"/>
                  </a:lnTo>
                  <a:cubicBezTo>
                    <a:pt x="4995" y="4644"/>
                    <a:pt x="4644" y="4995"/>
                    <a:pt x="4215" y="4995"/>
                  </a:cubicBezTo>
                  <a:lnTo>
                    <a:pt x="780" y="4995"/>
                  </a:lnTo>
                  <a:cubicBezTo>
                    <a:pt x="351" y="4995"/>
                    <a:pt x="0" y="4644"/>
                    <a:pt x="0" y="4215"/>
                  </a:cubicBezTo>
                  <a:lnTo>
                    <a:pt x="0" y="780"/>
                  </a:lnTo>
                  <a:cubicBezTo>
                    <a:pt x="0" y="351"/>
                    <a:pt x="351" y="0"/>
                    <a:pt x="78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9" name="Freeform 8">
              <a:extLst/>
            </p:cNvPr>
            <p:cNvSpPr>
              <a:spLocks noEditPoints="1"/>
            </p:cNvSpPr>
            <p:nvPr/>
          </p:nvSpPr>
          <p:spPr bwMode="auto">
            <a:xfrm>
              <a:off x="-3901018" y="4252384"/>
              <a:ext cx="1192213" cy="1211263"/>
            </a:xfrm>
            <a:custGeom>
              <a:avLst/>
              <a:gdLst/>
              <a:ahLst/>
              <a:cxnLst>
                <a:cxn ang="0">
                  <a:pos x="4097" y="2858"/>
                </a:cxn>
                <a:cxn ang="0">
                  <a:pos x="2329" y="2834"/>
                </a:cxn>
                <a:cxn ang="0">
                  <a:pos x="2778" y="336"/>
                </a:cxn>
                <a:cxn ang="0">
                  <a:pos x="3313" y="1691"/>
                </a:cxn>
                <a:cxn ang="0">
                  <a:pos x="1421" y="1012"/>
                </a:cxn>
                <a:cxn ang="0">
                  <a:pos x="2264" y="2553"/>
                </a:cxn>
                <a:cxn ang="0">
                  <a:pos x="1929" y="2441"/>
                </a:cxn>
                <a:cxn ang="0">
                  <a:pos x="2778" y="336"/>
                </a:cxn>
                <a:cxn ang="0">
                  <a:pos x="3534" y="1733"/>
                </a:cxn>
                <a:cxn ang="0">
                  <a:pos x="3374" y="1699"/>
                </a:cxn>
                <a:cxn ang="0">
                  <a:pos x="4409" y="2862"/>
                </a:cxn>
                <a:cxn ang="0">
                  <a:pos x="3197" y="4006"/>
                </a:cxn>
                <a:cxn ang="0">
                  <a:pos x="1601" y="4482"/>
                </a:cxn>
                <a:cxn ang="0">
                  <a:pos x="8" y="3282"/>
                </a:cxn>
                <a:cxn ang="0">
                  <a:pos x="1366" y="990"/>
                </a:cxn>
                <a:cxn ang="0">
                  <a:pos x="2916" y="263"/>
                </a:cxn>
                <a:cxn ang="0">
                  <a:pos x="2844" y="3924"/>
                </a:cxn>
                <a:cxn ang="0">
                  <a:pos x="2798" y="3901"/>
                </a:cxn>
                <a:cxn ang="0">
                  <a:pos x="121" y="3643"/>
                </a:cxn>
                <a:cxn ang="0">
                  <a:pos x="2844" y="3924"/>
                </a:cxn>
                <a:cxn ang="0">
                  <a:pos x="2689" y="3830"/>
                </a:cxn>
                <a:cxn ang="0">
                  <a:pos x="164" y="3280"/>
                </a:cxn>
                <a:cxn ang="0">
                  <a:pos x="1596" y="2373"/>
                </a:cxn>
                <a:cxn ang="0">
                  <a:pos x="96" y="3281"/>
                </a:cxn>
                <a:cxn ang="0">
                  <a:pos x="2734" y="3862"/>
                </a:cxn>
                <a:cxn ang="0">
                  <a:pos x="4345" y="2861"/>
                </a:cxn>
                <a:cxn ang="0">
                  <a:pos x="4194" y="2859"/>
                </a:cxn>
                <a:cxn ang="0">
                  <a:pos x="3227" y="1751"/>
                </a:cxn>
                <a:cxn ang="0">
                  <a:pos x="3198" y="3941"/>
                </a:cxn>
                <a:cxn ang="0">
                  <a:pos x="3227" y="1751"/>
                </a:cxn>
                <a:cxn ang="0">
                  <a:pos x="3867" y="2280"/>
                </a:cxn>
                <a:cxn ang="0">
                  <a:pos x="3876" y="2311"/>
                </a:cxn>
                <a:cxn ang="0">
                  <a:pos x="2496" y="3308"/>
                </a:cxn>
                <a:cxn ang="0">
                  <a:pos x="959" y="2553"/>
                </a:cxn>
                <a:cxn ang="0">
                  <a:pos x="2362" y="3942"/>
                </a:cxn>
                <a:cxn ang="0">
                  <a:pos x="941" y="2579"/>
                </a:cxn>
                <a:cxn ang="0">
                  <a:pos x="959" y="2553"/>
                </a:cxn>
                <a:cxn ang="0">
                  <a:pos x="3238" y="1073"/>
                </a:cxn>
                <a:cxn ang="0">
                  <a:pos x="3235" y="1107"/>
                </a:cxn>
                <a:cxn ang="0">
                  <a:pos x="1446" y="1575"/>
                </a:cxn>
              </a:cxnLst>
              <a:rect l="0" t="0" r="r" b="b"/>
              <a:pathLst>
                <a:path w="4416" h="4488">
                  <a:moveTo>
                    <a:pt x="3227" y="1801"/>
                  </a:moveTo>
                  <a:cubicBezTo>
                    <a:pt x="3715" y="1807"/>
                    <a:pt x="4104" y="2280"/>
                    <a:pt x="4097" y="2858"/>
                  </a:cubicBezTo>
                  <a:cubicBezTo>
                    <a:pt x="4089" y="3435"/>
                    <a:pt x="3687" y="3898"/>
                    <a:pt x="3199" y="3891"/>
                  </a:cubicBezTo>
                  <a:cubicBezTo>
                    <a:pt x="2711" y="3885"/>
                    <a:pt x="2321" y="3412"/>
                    <a:pt x="2329" y="2834"/>
                  </a:cubicBezTo>
                  <a:cubicBezTo>
                    <a:pt x="2336" y="2257"/>
                    <a:pt x="2738" y="1794"/>
                    <a:pt x="3227" y="1801"/>
                  </a:cubicBezTo>
                  <a:close/>
                  <a:moveTo>
                    <a:pt x="2778" y="336"/>
                  </a:moveTo>
                  <a:cubicBezTo>
                    <a:pt x="3253" y="528"/>
                    <a:pt x="3464" y="1123"/>
                    <a:pt x="3267" y="1687"/>
                  </a:cubicBezTo>
                  <a:cubicBezTo>
                    <a:pt x="3282" y="1688"/>
                    <a:pt x="3298" y="1690"/>
                    <a:pt x="3313" y="1691"/>
                  </a:cubicBezTo>
                  <a:cubicBezTo>
                    <a:pt x="3514" y="1104"/>
                    <a:pt x="3293" y="485"/>
                    <a:pt x="2799" y="286"/>
                  </a:cubicBezTo>
                  <a:cubicBezTo>
                    <a:pt x="2284" y="78"/>
                    <a:pt x="1667" y="403"/>
                    <a:pt x="1421" y="1012"/>
                  </a:cubicBezTo>
                  <a:cubicBezTo>
                    <a:pt x="1175" y="1621"/>
                    <a:pt x="1394" y="2283"/>
                    <a:pt x="1909" y="2491"/>
                  </a:cubicBezTo>
                  <a:cubicBezTo>
                    <a:pt x="2024" y="2538"/>
                    <a:pt x="2144" y="2557"/>
                    <a:pt x="2264" y="2553"/>
                  </a:cubicBezTo>
                  <a:cubicBezTo>
                    <a:pt x="2268" y="2535"/>
                    <a:pt x="2272" y="2518"/>
                    <a:pt x="2277" y="2500"/>
                  </a:cubicBezTo>
                  <a:cubicBezTo>
                    <a:pt x="2160" y="2505"/>
                    <a:pt x="2042" y="2487"/>
                    <a:pt x="1929" y="2441"/>
                  </a:cubicBezTo>
                  <a:cubicBezTo>
                    <a:pt x="1437" y="2243"/>
                    <a:pt x="1229" y="1611"/>
                    <a:pt x="1463" y="1029"/>
                  </a:cubicBezTo>
                  <a:cubicBezTo>
                    <a:pt x="1698" y="448"/>
                    <a:pt x="2287" y="138"/>
                    <a:pt x="2778" y="336"/>
                  </a:cubicBezTo>
                  <a:close/>
                  <a:moveTo>
                    <a:pt x="3374" y="1699"/>
                  </a:moveTo>
                  <a:cubicBezTo>
                    <a:pt x="3430" y="1707"/>
                    <a:pt x="3481" y="1718"/>
                    <a:pt x="3534" y="1733"/>
                  </a:cubicBezTo>
                  <a:cubicBezTo>
                    <a:pt x="3669" y="1269"/>
                    <a:pt x="3511" y="772"/>
                    <a:pt x="3153" y="445"/>
                  </a:cubicBezTo>
                  <a:cubicBezTo>
                    <a:pt x="3434" y="745"/>
                    <a:pt x="3530" y="1230"/>
                    <a:pt x="3374" y="1699"/>
                  </a:cubicBezTo>
                  <a:close/>
                  <a:moveTo>
                    <a:pt x="3600" y="1753"/>
                  </a:moveTo>
                  <a:cubicBezTo>
                    <a:pt x="4077" y="1916"/>
                    <a:pt x="4416" y="2353"/>
                    <a:pt x="4409" y="2862"/>
                  </a:cubicBezTo>
                  <a:cubicBezTo>
                    <a:pt x="4401" y="3466"/>
                    <a:pt x="3910" y="3955"/>
                    <a:pt x="3290" y="4002"/>
                  </a:cubicBezTo>
                  <a:cubicBezTo>
                    <a:pt x="3260" y="4005"/>
                    <a:pt x="3229" y="4007"/>
                    <a:pt x="3197" y="4006"/>
                  </a:cubicBezTo>
                  <a:cubicBezTo>
                    <a:pt x="3089" y="4005"/>
                    <a:pt x="2984" y="3982"/>
                    <a:pt x="2887" y="3943"/>
                  </a:cubicBezTo>
                  <a:cubicBezTo>
                    <a:pt x="2607" y="4265"/>
                    <a:pt x="2137" y="4477"/>
                    <a:pt x="1601" y="4482"/>
                  </a:cubicBezTo>
                  <a:cubicBezTo>
                    <a:pt x="781" y="4488"/>
                    <a:pt x="100" y="4003"/>
                    <a:pt x="16" y="3376"/>
                  </a:cubicBezTo>
                  <a:cubicBezTo>
                    <a:pt x="11" y="3345"/>
                    <a:pt x="8" y="3313"/>
                    <a:pt x="8" y="3282"/>
                  </a:cubicBezTo>
                  <a:cubicBezTo>
                    <a:pt x="0" y="2746"/>
                    <a:pt x="665" y="2304"/>
                    <a:pt x="1506" y="2276"/>
                  </a:cubicBezTo>
                  <a:cubicBezTo>
                    <a:pt x="1246" y="1954"/>
                    <a:pt x="1177" y="1457"/>
                    <a:pt x="1366" y="990"/>
                  </a:cubicBezTo>
                  <a:cubicBezTo>
                    <a:pt x="1626" y="345"/>
                    <a:pt x="2279" y="0"/>
                    <a:pt x="2825" y="220"/>
                  </a:cubicBezTo>
                  <a:cubicBezTo>
                    <a:pt x="2857" y="233"/>
                    <a:pt x="2887" y="247"/>
                    <a:pt x="2916" y="263"/>
                  </a:cubicBezTo>
                  <a:cubicBezTo>
                    <a:pt x="3478" y="550"/>
                    <a:pt x="3764" y="1177"/>
                    <a:pt x="3600" y="1753"/>
                  </a:cubicBezTo>
                  <a:close/>
                  <a:moveTo>
                    <a:pt x="2844" y="3924"/>
                  </a:moveTo>
                  <a:cubicBezTo>
                    <a:pt x="2829" y="3916"/>
                    <a:pt x="2814" y="3909"/>
                    <a:pt x="2799" y="3901"/>
                  </a:cubicBezTo>
                  <a:lnTo>
                    <a:pt x="2798" y="3901"/>
                  </a:lnTo>
                  <a:cubicBezTo>
                    <a:pt x="2512" y="4119"/>
                    <a:pt x="2082" y="4260"/>
                    <a:pt x="1598" y="4264"/>
                  </a:cubicBezTo>
                  <a:cubicBezTo>
                    <a:pt x="930" y="4269"/>
                    <a:pt x="355" y="4011"/>
                    <a:pt x="121" y="3643"/>
                  </a:cubicBezTo>
                  <a:cubicBezTo>
                    <a:pt x="357" y="4101"/>
                    <a:pt x="932" y="4422"/>
                    <a:pt x="1601" y="4417"/>
                  </a:cubicBezTo>
                  <a:cubicBezTo>
                    <a:pt x="2110" y="4413"/>
                    <a:pt x="2560" y="4220"/>
                    <a:pt x="2844" y="3924"/>
                  </a:cubicBezTo>
                  <a:close/>
                  <a:moveTo>
                    <a:pt x="2734" y="3862"/>
                  </a:moveTo>
                  <a:cubicBezTo>
                    <a:pt x="2719" y="3852"/>
                    <a:pt x="2704" y="3841"/>
                    <a:pt x="2689" y="3830"/>
                  </a:cubicBezTo>
                  <a:cubicBezTo>
                    <a:pt x="2431" y="4031"/>
                    <a:pt x="2038" y="4162"/>
                    <a:pt x="1597" y="4165"/>
                  </a:cubicBezTo>
                  <a:cubicBezTo>
                    <a:pt x="812" y="4171"/>
                    <a:pt x="171" y="3775"/>
                    <a:pt x="164" y="3280"/>
                  </a:cubicBezTo>
                  <a:cubicBezTo>
                    <a:pt x="157" y="2785"/>
                    <a:pt x="787" y="2379"/>
                    <a:pt x="1571" y="2373"/>
                  </a:cubicBezTo>
                  <a:cubicBezTo>
                    <a:pt x="1579" y="2373"/>
                    <a:pt x="1588" y="2373"/>
                    <a:pt x="1596" y="2373"/>
                  </a:cubicBezTo>
                  <a:cubicBezTo>
                    <a:pt x="1581" y="2359"/>
                    <a:pt x="1567" y="2345"/>
                    <a:pt x="1554" y="2331"/>
                  </a:cubicBezTo>
                  <a:cubicBezTo>
                    <a:pt x="740" y="2343"/>
                    <a:pt x="89" y="2766"/>
                    <a:pt x="96" y="3281"/>
                  </a:cubicBezTo>
                  <a:cubicBezTo>
                    <a:pt x="104" y="3799"/>
                    <a:pt x="776" y="4214"/>
                    <a:pt x="1598" y="4208"/>
                  </a:cubicBezTo>
                  <a:cubicBezTo>
                    <a:pt x="2056" y="4204"/>
                    <a:pt x="2464" y="4070"/>
                    <a:pt x="2734" y="3862"/>
                  </a:cubicBezTo>
                  <a:close/>
                  <a:moveTo>
                    <a:pt x="3556" y="3932"/>
                  </a:moveTo>
                  <a:cubicBezTo>
                    <a:pt x="4012" y="3769"/>
                    <a:pt x="4339" y="3353"/>
                    <a:pt x="4345" y="2861"/>
                  </a:cubicBezTo>
                  <a:cubicBezTo>
                    <a:pt x="4352" y="2369"/>
                    <a:pt x="4036" y="1945"/>
                    <a:pt x="3584" y="1770"/>
                  </a:cubicBezTo>
                  <a:cubicBezTo>
                    <a:pt x="3947" y="1944"/>
                    <a:pt x="4200" y="2367"/>
                    <a:pt x="4194" y="2859"/>
                  </a:cubicBezTo>
                  <a:cubicBezTo>
                    <a:pt x="4187" y="3351"/>
                    <a:pt x="3923" y="3768"/>
                    <a:pt x="3556" y="3932"/>
                  </a:cubicBezTo>
                  <a:close/>
                  <a:moveTo>
                    <a:pt x="3227" y="1751"/>
                  </a:moveTo>
                  <a:cubicBezTo>
                    <a:pt x="3739" y="1758"/>
                    <a:pt x="4147" y="2254"/>
                    <a:pt x="4139" y="2858"/>
                  </a:cubicBezTo>
                  <a:cubicBezTo>
                    <a:pt x="4131" y="3463"/>
                    <a:pt x="3710" y="3948"/>
                    <a:pt x="3198" y="3941"/>
                  </a:cubicBezTo>
                  <a:cubicBezTo>
                    <a:pt x="2687" y="3934"/>
                    <a:pt x="2279" y="3438"/>
                    <a:pt x="2287" y="2834"/>
                  </a:cubicBezTo>
                  <a:cubicBezTo>
                    <a:pt x="2295" y="2229"/>
                    <a:pt x="2716" y="1744"/>
                    <a:pt x="3227" y="1751"/>
                  </a:cubicBezTo>
                  <a:close/>
                  <a:moveTo>
                    <a:pt x="2495" y="3289"/>
                  </a:moveTo>
                  <a:cubicBezTo>
                    <a:pt x="2592" y="3091"/>
                    <a:pt x="3590" y="2350"/>
                    <a:pt x="3867" y="2280"/>
                  </a:cubicBezTo>
                  <a:lnTo>
                    <a:pt x="3890" y="2290"/>
                  </a:lnTo>
                  <a:lnTo>
                    <a:pt x="3876" y="2311"/>
                  </a:lnTo>
                  <a:cubicBezTo>
                    <a:pt x="3460" y="2524"/>
                    <a:pt x="2910" y="2947"/>
                    <a:pt x="2520" y="3303"/>
                  </a:cubicBezTo>
                  <a:lnTo>
                    <a:pt x="2496" y="3308"/>
                  </a:lnTo>
                  <a:lnTo>
                    <a:pt x="2495" y="3289"/>
                  </a:lnTo>
                  <a:close/>
                  <a:moveTo>
                    <a:pt x="959" y="2553"/>
                  </a:moveTo>
                  <a:cubicBezTo>
                    <a:pt x="1231" y="2646"/>
                    <a:pt x="2270" y="3639"/>
                    <a:pt x="2374" y="3919"/>
                  </a:cubicBezTo>
                  <a:lnTo>
                    <a:pt x="2362" y="3942"/>
                  </a:lnTo>
                  <a:lnTo>
                    <a:pt x="2333" y="3928"/>
                  </a:lnTo>
                  <a:cubicBezTo>
                    <a:pt x="2029" y="3512"/>
                    <a:pt x="1438" y="2965"/>
                    <a:pt x="941" y="2579"/>
                  </a:cubicBezTo>
                  <a:lnTo>
                    <a:pt x="933" y="2554"/>
                  </a:lnTo>
                  <a:lnTo>
                    <a:pt x="959" y="2553"/>
                  </a:lnTo>
                  <a:close/>
                  <a:moveTo>
                    <a:pt x="1453" y="1555"/>
                  </a:moveTo>
                  <a:cubicBezTo>
                    <a:pt x="1629" y="1393"/>
                    <a:pt x="2931" y="1035"/>
                    <a:pt x="3238" y="1073"/>
                  </a:cubicBezTo>
                  <a:lnTo>
                    <a:pt x="3258" y="1092"/>
                  </a:lnTo>
                  <a:lnTo>
                    <a:pt x="3235" y="1107"/>
                  </a:lnTo>
                  <a:cubicBezTo>
                    <a:pt x="2730" y="1160"/>
                    <a:pt x="2007" y="1371"/>
                    <a:pt x="1473" y="1579"/>
                  </a:cubicBezTo>
                  <a:lnTo>
                    <a:pt x="1446" y="1575"/>
                  </a:lnTo>
                  <a:lnTo>
                    <a:pt x="1453" y="1555"/>
                  </a:lnTo>
                  <a:close/>
                </a:path>
              </a:pathLst>
            </a:custGeom>
            <a:solidFill>
              <a:srgbClr val="FFFFFF"/>
            </a:solidFill>
            <a:ln w="1588" cap="flat">
              <a:noFill/>
              <a:prstDash val="solid"/>
              <a:miter lim="800000"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450" name="Группа 90">
            <a:extLst/>
          </p:cNvPr>
          <p:cNvGrpSpPr/>
          <p:nvPr/>
        </p:nvGrpSpPr>
        <p:grpSpPr>
          <a:xfrm>
            <a:off x="7965144" y="1863837"/>
            <a:ext cx="194768" cy="197985"/>
            <a:chOff x="-3986743" y="4201584"/>
            <a:chExt cx="1349375" cy="134778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51" name="Freeform 7">
              <a:extLst/>
            </p:cNvPr>
            <p:cNvSpPr>
              <a:spLocks/>
            </p:cNvSpPr>
            <p:nvPr/>
          </p:nvSpPr>
          <p:spPr bwMode="auto">
            <a:xfrm>
              <a:off x="-3986743" y="4201584"/>
              <a:ext cx="1349375" cy="1347788"/>
            </a:xfrm>
            <a:custGeom>
              <a:avLst/>
              <a:gdLst/>
              <a:ahLst/>
              <a:cxnLst>
                <a:cxn ang="0">
                  <a:pos x="780" y="0"/>
                </a:cxn>
                <a:cxn ang="0">
                  <a:pos x="4215" y="0"/>
                </a:cxn>
                <a:cxn ang="0">
                  <a:pos x="4995" y="780"/>
                </a:cxn>
                <a:cxn ang="0">
                  <a:pos x="4995" y="4215"/>
                </a:cxn>
                <a:cxn ang="0">
                  <a:pos x="4215" y="4995"/>
                </a:cxn>
                <a:cxn ang="0">
                  <a:pos x="780" y="4995"/>
                </a:cxn>
                <a:cxn ang="0">
                  <a:pos x="0" y="4215"/>
                </a:cxn>
                <a:cxn ang="0">
                  <a:pos x="0" y="780"/>
                </a:cxn>
                <a:cxn ang="0">
                  <a:pos x="780" y="0"/>
                </a:cxn>
              </a:cxnLst>
              <a:rect l="0" t="0" r="r" b="b"/>
              <a:pathLst>
                <a:path w="4995" h="4995">
                  <a:moveTo>
                    <a:pt x="780" y="0"/>
                  </a:moveTo>
                  <a:lnTo>
                    <a:pt x="4215" y="0"/>
                  </a:lnTo>
                  <a:cubicBezTo>
                    <a:pt x="4644" y="0"/>
                    <a:pt x="4995" y="351"/>
                    <a:pt x="4995" y="780"/>
                  </a:cubicBezTo>
                  <a:lnTo>
                    <a:pt x="4995" y="4215"/>
                  </a:lnTo>
                  <a:cubicBezTo>
                    <a:pt x="4995" y="4644"/>
                    <a:pt x="4644" y="4995"/>
                    <a:pt x="4215" y="4995"/>
                  </a:cubicBezTo>
                  <a:lnTo>
                    <a:pt x="780" y="4995"/>
                  </a:lnTo>
                  <a:cubicBezTo>
                    <a:pt x="351" y="4995"/>
                    <a:pt x="0" y="4644"/>
                    <a:pt x="0" y="4215"/>
                  </a:cubicBezTo>
                  <a:lnTo>
                    <a:pt x="0" y="780"/>
                  </a:lnTo>
                  <a:cubicBezTo>
                    <a:pt x="0" y="351"/>
                    <a:pt x="351" y="0"/>
                    <a:pt x="78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2" name="Freeform 8">
              <a:extLst/>
            </p:cNvPr>
            <p:cNvSpPr>
              <a:spLocks noEditPoints="1"/>
            </p:cNvSpPr>
            <p:nvPr/>
          </p:nvSpPr>
          <p:spPr bwMode="auto">
            <a:xfrm>
              <a:off x="-3901018" y="4252384"/>
              <a:ext cx="1192213" cy="1211263"/>
            </a:xfrm>
            <a:custGeom>
              <a:avLst/>
              <a:gdLst/>
              <a:ahLst/>
              <a:cxnLst>
                <a:cxn ang="0">
                  <a:pos x="4097" y="2858"/>
                </a:cxn>
                <a:cxn ang="0">
                  <a:pos x="2329" y="2834"/>
                </a:cxn>
                <a:cxn ang="0">
                  <a:pos x="2778" y="336"/>
                </a:cxn>
                <a:cxn ang="0">
                  <a:pos x="3313" y="1691"/>
                </a:cxn>
                <a:cxn ang="0">
                  <a:pos x="1421" y="1012"/>
                </a:cxn>
                <a:cxn ang="0">
                  <a:pos x="2264" y="2553"/>
                </a:cxn>
                <a:cxn ang="0">
                  <a:pos x="1929" y="2441"/>
                </a:cxn>
                <a:cxn ang="0">
                  <a:pos x="2778" y="336"/>
                </a:cxn>
                <a:cxn ang="0">
                  <a:pos x="3534" y="1733"/>
                </a:cxn>
                <a:cxn ang="0">
                  <a:pos x="3374" y="1699"/>
                </a:cxn>
                <a:cxn ang="0">
                  <a:pos x="4409" y="2862"/>
                </a:cxn>
                <a:cxn ang="0">
                  <a:pos x="3197" y="4006"/>
                </a:cxn>
                <a:cxn ang="0">
                  <a:pos x="1601" y="4482"/>
                </a:cxn>
                <a:cxn ang="0">
                  <a:pos x="8" y="3282"/>
                </a:cxn>
                <a:cxn ang="0">
                  <a:pos x="1366" y="990"/>
                </a:cxn>
                <a:cxn ang="0">
                  <a:pos x="2916" y="263"/>
                </a:cxn>
                <a:cxn ang="0">
                  <a:pos x="2844" y="3924"/>
                </a:cxn>
                <a:cxn ang="0">
                  <a:pos x="2798" y="3901"/>
                </a:cxn>
                <a:cxn ang="0">
                  <a:pos x="121" y="3643"/>
                </a:cxn>
                <a:cxn ang="0">
                  <a:pos x="2844" y="3924"/>
                </a:cxn>
                <a:cxn ang="0">
                  <a:pos x="2689" y="3830"/>
                </a:cxn>
                <a:cxn ang="0">
                  <a:pos x="164" y="3280"/>
                </a:cxn>
                <a:cxn ang="0">
                  <a:pos x="1596" y="2373"/>
                </a:cxn>
                <a:cxn ang="0">
                  <a:pos x="96" y="3281"/>
                </a:cxn>
                <a:cxn ang="0">
                  <a:pos x="2734" y="3862"/>
                </a:cxn>
                <a:cxn ang="0">
                  <a:pos x="4345" y="2861"/>
                </a:cxn>
                <a:cxn ang="0">
                  <a:pos x="4194" y="2859"/>
                </a:cxn>
                <a:cxn ang="0">
                  <a:pos x="3227" y="1751"/>
                </a:cxn>
                <a:cxn ang="0">
                  <a:pos x="3198" y="3941"/>
                </a:cxn>
                <a:cxn ang="0">
                  <a:pos x="3227" y="1751"/>
                </a:cxn>
                <a:cxn ang="0">
                  <a:pos x="3867" y="2280"/>
                </a:cxn>
                <a:cxn ang="0">
                  <a:pos x="3876" y="2311"/>
                </a:cxn>
                <a:cxn ang="0">
                  <a:pos x="2496" y="3308"/>
                </a:cxn>
                <a:cxn ang="0">
                  <a:pos x="959" y="2553"/>
                </a:cxn>
                <a:cxn ang="0">
                  <a:pos x="2362" y="3942"/>
                </a:cxn>
                <a:cxn ang="0">
                  <a:pos x="941" y="2579"/>
                </a:cxn>
                <a:cxn ang="0">
                  <a:pos x="959" y="2553"/>
                </a:cxn>
                <a:cxn ang="0">
                  <a:pos x="3238" y="1073"/>
                </a:cxn>
                <a:cxn ang="0">
                  <a:pos x="3235" y="1107"/>
                </a:cxn>
                <a:cxn ang="0">
                  <a:pos x="1446" y="1575"/>
                </a:cxn>
              </a:cxnLst>
              <a:rect l="0" t="0" r="r" b="b"/>
              <a:pathLst>
                <a:path w="4416" h="4488">
                  <a:moveTo>
                    <a:pt x="3227" y="1801"/>
                  </a:moveTo>
                  <a:cubicBezTo>
                    <a:pt x="3715" y="1807"/>
                    <a:pt x="4104" y="2280"/>
                    <a:pt x="4097" y="2858"/>
                  </a:cubicBezTo>
                  <a:cubicBezTo>
                    <a:pt x="4089" y="3435"/>
                    <a:pt x="3687" y="3898"/>
                    <a:pt x="3199" y="3891"/>
                  </a:cubicBezTo>
                  <a:cubicBezTo>
                    <a:pt x="2711" y="3885"/>
                    <a:pt x="2321" y="3412"/>
                    <a:pt x="2329" y="2834"/>
                  </a:cubicBezTo>
                  <a:cubicBezTo>
                    <a:pt x="2336" y="2257"/>
                    <a:pt x="2738" y="1794"/>
                    <a:pt x="3227" y="1801"/>
                  </a:cubicBezTo>
                  <a:close/>
                  <a:moveTo>
                    <a:pt x="2778" y="336"/>
                  </a:moveTo>
                  <a:cubicBezTo>
                    <a:pt x="3253" y="528"/>
                    <a:pt x="3464" y="1123"/>
                    <a:pt x="3267" y="1687"/>
                  </a:cubicBezTo>
                  <a:cubicBezTo>
                    <a:pt x="3282" y="1688"/>
                    <a:pt x="3298" y="1690"/>
                    <a:pt x="3313" y="1691"/>
                  </a:cubicBezTo>
                  <a:cubicBezTo>
                    <a:pt x="3514" y="1104"/>
                    <a:pt x="3293" y="485"/>
                    <a:pt x="2799" y="286"/>
                  </a:cubicBezTo>
                  <a:cubicBezTo>
                    <a:pt x="2284" y="78"/>
                    <a:pt x="1667" y="403"/>
                    <a:pt x="1421" y="1012"/>
                  </a:cubicBezTo>
                  <a:cubicBezTo>
                    <a:pt x="1175" y="1621"/>
                    <a:pt x="1394" y="2283"/>
                    <a:pt x="1909" y="2491"/>
                  </a:cubicBezTo>
                  <a:cubicBezTo>
                    <a:pt x="2024" y="2538"/>
                    <a:pt x="2144" y="2557"/>
                    <a:pt x="2264" y="2553"/>
                  </a:cubicBezTo>
                  <a:cubicBezTo>
                    <a:pt x="2268" y="2535"/>
                    <a:pt x="2272" y="2518"/>
                    <a:pt x="2277" y="2500"/>
                  </a:cubicBezTo>
                  <a:cubicBezTo>
                    <a:pt x="2160" y="2505"/>
                    <a:pt x="2042" y="2487"/>
                    <a:pt x="1929" y="2441"/>
                  </a:cubicBezTo>
                  <a:cubicBezTo>
                    <a:pt x="1437" y="2243"/>
                    <a:pt x="1229" y="1611"/>
                    <a:pt x="1463" y="1029"/>
                  </a:cubicBezTo>
                  <a:cubicBezTo>
                    <a:pt x="1698" y="448"/>
                    <a:pt x="2287" y="138"/>
                    <a:pt x="2778" y="336"/>
                  </a:cubicBezTo>
                  <a:close/>
                  <a:moveTo>
                    <a:pt x="3374" y="1699"/>
                  </a:moveTo>
                  <a:cubicBezTo>
                    <a:pt x="3430" y="1707"/>
                    <a:pt x="3481" y="1718"/>
                    <a:pt x="3534" y="1733"/>
                  </a:cubicBezTo>
                  <a:cubicBezTo>
                    <a:pt x="3669" y="1269"/>
                    <a:pt x="3511" y="772"/>
                    <a:pt x="3153" y="445"/>
                  </a:cubicBezTo>
                  <a:cubicBezTo>
                    <a:pt x="3434" y="745"/>
                    <a:pt x="3530" y="1230"/>
                    <a:pt x="3374" y="1699"/>
                  </a:cubicBezTo>
                  <a:close/>
                  <a:moveTo>
                    <a:pt x="3600" y="1753"/>
                  </a:moveTo>
                  <a:cubicBezTo>
                    <a:pt x="4077" y="1916"/>
                    <a:pt x="4416" y="2353"/>
                    <a:pt x="4409" y="2862"/>
                  </a:cubicBezTo>
                  <a:cubicBezTo>
                    <a:pt x="4401" y="3466"/>
                    <a:pt x="3910" y="3955"/>
                    <a:pt x="3290" y="4002"/>
                  </a:cubicBezTo>
                  <a:cubicBezTo>
                    <a:pt x="3260" y="4005"/>
                    <a:pt x="3229" y="4007"/>
                    <a:pt x="3197" y="4006"/>
                  </a:cubicBezTo>
                  <a:cubicBezTo>
                    <a:pt x="3089" y="4005"/>
                    <a:pt x="2984" y="3982"/>
                    <a:pt x="2887" y="3943"/>
                  </a:cubicBezTo>
                  <a:cubicBezTo>
                    <a:pt x="2607" y="4265"/>
                    <a:pt x="2137" y="4477"/>
                    <a:pt x="1601" y="4482"/>
                  </a:cubicBezTo>
                  <a:cubicBezTo>
                    <a:pt x="781" y="4488"/>
                    <a:pt x="100" y="4003"/>
                    <a:pt x="16" y="3376"/>
                  </a:cubicBezTo>
                  <a:cubicBezTo>
                    <a:pt x="11" y="3345"/>
                    <a:pt x="8" y="3313"/>
                    <a:pt x="8" y="3282"/>
                  </a:cubicBezTo>
                  <a:cubicBezTo>
                    <a:pt x="0" y="2746"/>
                    <a:pt x="665" y="2304"/>
                    <a:pt x="1506" y="2276"/>
                  </a:cubicBezTo>
                  <a:cubicBezTo>
                    <a:pt x="1246" y="1954"/>
                    <a:pt x="1177" y="1457"/>
                    <a:pt x="1366" y="990"/>
                  </a:cubicBezTo>
                  <a:cubicBezTo>
                    <a:pt x="1626" y="345"/>
                    <a:pt x="2279" y="0"/>
                    <a:pt x="2825" y="220"/>
                  </a:cubicBezTo>
                  <a:cubicBezTo>
                    <a:pt x="2857" y="233"/>
                    <a:pt x="2887" y="247"/>
                    <a:pt x="2916" y="263"/>
                  </a:cubicBezTo>
                  <a:cubicBezTo>
                    <a:pt x="3478" y="550"/>
                    <a:pt x="3764" y="1177"/>
                    <a:pt x="3600" y="1753"/>
                  </a:cubicBezTo>
                  <a:close/>
                  <a:moveTo>
                    <a:pt x="2844" y="3924"/>
                  </a:moveTo>
                  <a:cubicBezTo>
                    <a:pt x="2829" y="3916"/>
                    <a:pt x="2814" y="3909"/>
                    <a:pt x="2799" y="3901"/>
                  </a:cubicBezTo>
                  <a:lnTo>
                    <a:pt x="2798" y="3901"/>
                  </a:lnTo>
                  <a:cubicBezTo>
                    <a:pt x="2512" y="4119"/>
                    <a:pt x="2082" y="4260"/>
                    <a:pt x="1598" y="4264"/>
                  </a:cubicBezTo>
                  <a:cubicBezTo>
                    <a:pt x="930" y="4269"/>
                    <a:pt x="355" y="4011"/>
                    <a:pt x="121" y="3643"/>
                  </a:cubicBezTo>
                  <a:cubicBezTo>
                    <a:pt x="357" y="4101"/>
                    <a:pt x="932" y="4422"/>
                    <a:pt x="1601" y="4417"/>
                  </a:cubicBezTo>
                  <a:cubicBezTo>
                    <a:pt x="2110" y="4413"/>
                    <a:pt x="2560" y="4220"/>
                    <a:pt x="2844" y="3924"/>
                  </a:cubicBezTo>
                  <a:close/>
                  <a:moveTo>
                    <a:pt x="2734" y="3862"/>
                  </a:moveTo>
                  <a:cubicBezTo>
                    <a:pt x="2719" y="3852"/>
                    <a:pt x="2704" y="3841"/>
                    <a:pt x="2689" y="3830"/>
                  </a:cubicBezTo>
                  <a:cubicBezTo>
                    <a:pt x="2431" y="4031"/>
                    <a:pt x="2038" y="4162"/>
                    <a:pt x="1597" y="4165"/>
                  </a:cubicBezTo>
                  <a:cubicBezTo>
                    <a:pt x="812" y="4171"/>
                    <a:pt x="171" y="3775"/>
                    <a:pt x="164" y="3280"/>
                  </a:cubicBezTo>
                  <a:cubicBezTo>
                    <a:pt x="157" y="2785"/>
                    <a:pt x="787" y="2379"/>
                    <a:pt x="1571" y="2373"/>
                  </a:cubicBezTo>
                  <a:cubicBezTo>
                    <a:pt x="1579" y="2373"/>
                    <a:pt x="1588" y="2373"/>
                    <a:pt x="1596" y="2373"/>
                  </a:cubicBezTo>
                  <a:cubicBezTo>
                    <a:pt x="1581" y="2359"/>
                    <a:pt x="1567" y="2345"/>
                    <a:pt x="1554" y="2331"/>
                  </a:cubicBezTo>
                  <a:cubicBezTo>
                    <a:pt x="740" y="2343"/>
                    <a:pt x="89" y="2766"/>
                    <a:pt x="96" y="3281"/>
                  </a:cubicBezTo>
                  <a:cubicBezTo>
                    <a:pt x="104" y="3799"/>
                    <a:pt x="776" y="4214"/>
                    <a:pt x="1598" y="4208"/>
                  </a:cubicBezTo>
                  <a:cubicBezTo>
                    <a:pt x="2056" y="4204"/>
                    <a:pt x="2464" y="4070"/>
                    <a:pt x="2734" y="3862"/>
                  </a:cubicBezTo>
                  <a:close/>
                  <a:moveTo>
                    <a:pt x="3556" y="3932"/>
                  </a:moveTo>
                  <a:cubicBezTo>
                    <a:pt x="4012" y="3769"/>
                    <a:pt x="4339" y="3353"/>
                    <a:pt x="4345" y="2861"/>
                  </a:cubicBezTo>
                  <a:cubicBezTo>
                    <a:pt x="4352" y="2369"/>
                    <a:pt x="4036" y="1945"/>
                    <a:pt x="3584" y="1770"/>
                  </a:cubicBezTo>
                  <a:cubicBezTo>
                    <a:pt x="3947" y="1944"/>
                    <a:pt x="4200" y="2367"/>
                    <a:pt x="4194" y="2859"/>
                  </a:cubicBezTo>
                  <a:cubicBezTo>
                    <a:pt x="4187" y="3351"/>
                    <a:pt x="3923" y="3768"/>
                    <a:pt x="3556" y="3932"/>
                  </a:cubicBezTo>
                  <a:close/>
                  <a:moveTo>
                    <a:pt x="3227" y="1751"/>
                  </a:moveTo>
                  <a:cubicBezTo>
                    <a:pt x="3739" y="1758"/>
                    <a:pt x="4147" y="2254"/>
                    <a:pt x="4139" y="2858"/>
                  </a:cubicBezTo>
                  <a:cubicBezTo>
                    <a:pt x="4131" y="3463"/>
                    <a:pt x="3710" y="3948"/>
                    <a:pt x="3198" y="3941"/>
                  </a:cubicBezTo>
                  <a:cubicBezTo>
                    <a:pt x="2687" y="3934"/>
                    <a:pt x="2279" y="3438"/>
                    <a:pt x="2287" y="2834"/>
                  </a:cubicBezTo>
                  <a:cubicBezTo>
                    <a:pt x="2295" y="2229"/>
                    <a:pt x="2716" y="1744"/>
                    <a:pt x="3227" y="1751"/>
                  </a:cubicBezTo>
                  <a:close/>
                  <a:moveTo>
                    <a:pt x="2495" y="3289"/>
                  </a:moveTo>
                  <a:cubicBezTo>
                    <a:pt x="2592" y="3091"/>
                    <a:pt x="3590" y="2350"/>
                    <a:pt x="3867" y="2280"/>
                  </a:cubicBezTo>
                  <a:lnTo>
                    <a:pt x="3890" y="2290"/>
                  </a:lnTo>
                  <a:lnTo>
                    <a:pt x="3876" y="2311"/>
                  </a:lnTo>
                  <a:cubicBezTo>
                    <a:pt x="3460" y="2524"/>
                    <a:pt x="2910" y="2947"/>
                    <a:pt x="2520" y="3303"/>
                  </a:cubicBezTo>
                  <a:lnTo>
                    <a:pt x="2496" y="3308"/>
                  </a:lnTo>
                  <a:lnTo>
                    <a:pt x="2495" y="3289"/>
                  </a:lnTo>
                  <a:close/>
                  <a:moveTo>
                    <a:pt x="959" y="2553"/>
                  </a:moveTo>
                  <a:cubicBezTo>
                    <a:pt x="1231" y="2646"/>
                    <a:pt x="2270" y="3639"/>
                    <a:pt x="2374" y="3919"/>
                  </a:cubicBezTo>
                  <a:lnTo>
                    <a:pt x="2362" y="3942"/>
                  </a:lnTo>
                  <a:lnTo>
                    <a:pt x="2333" y="3928"/>
                  </a:lnTo>
                  <a:cubicBezTo>
                    <a:pt x="2029" y="3512"/>
                    <a:pt x="1438" y="2965"/>
                    <a:pt x="941" y="2579"/>
                  </a:cubicBezTo>
                  <a:lnTo>
                    <a:pt x="933" y="2554"/>
                  </a:lnTo>
                  <a:lnTo>
                    <a:pt x="959" y="2553"/>
                  </a:lnTo>
                  <a:close/>
                  <a:moveTo>
                    <a:pt x="1453" y="1555"/>
                  </a:moveTo>
                  <a:cubicBezTo>
                    <a:pt x="1629" y="1393"/>
                    <a:pt x="2931" y="1035"/>
                    <a:pt x="3238" y="1073"/>
                  </a:cubicBezTo>
                  <a:lnTo>
                    <a:pt x="3258" y="1092"/>
                  </a:lnTo>
                  <a:lnTo>
                    <a:pt x="3235" y="1107"/>
                  </a:lnTo>
                  <a:cubicBezTo>
                    <a:pt x="2730" y="1160"/>
                    <a:pt x="2007" y="1371"/>
                    <a:pt x="1473" y="1579"/>
                  </a:cubicBezTo>
                  <a:lnTo>
                    <a:pt x="1446" y="1575"/>
                  </a:lnTo>
                  <a:lnTo>
                    <a:pt x="1453" y="1555"/>
                  </a:lnTo>
                  <a:close/>
                </a:path>
              </a:pathLst>
            </a:custGeom>
            <a:solidFill>
              <a:srgbClr val="FFFFFF"/>
            </a:solidFill>
            <a:ln w="1588" cap="flat">
              <a:noFill/>
              <a:prstDash val="solid"/>
              <a:miter lim="800000"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453" name="Группа 90">
            <a:extLst/>
          </p:cNvPr>
          <p:cNvGrpSpPr/>
          <p:nvPr/>
        </p:nvGrpSpPr>
        <p:grpSpPr>
          <a:xfrm>
            <a:off x="7810656" y="1290876"/>
            <a:ext cx="194768" cy="197985"/>
            <a:chOff x="-3986743" y="4201584"/>
            <a:chExt cx="1349375" cy="134778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54" name="Freeform 7">
              <a:extLst/>
            </p:cNvPr>
            <p:cNvSpPr>
              <a:spLocks/>
            </p:cNvSpPr>
            <p:nvPr/>
          </p:nvSpPr>
          <p:spPr bwMode="auto">
            <a:xfrm>
              <a:off x="-3986743" y="4201584"/>
              <a:ext cx="1349375" cy="1347788"/>
            </a:xfrm>
            <a:custGeom>
              <a:avLst/>
              <a:gdLst/>
              <a:ahLst/>
              <a:cxnLst>
                <a:cxn ang="0">
                  <a:pos x="780" y="0"/>
                </a:cxn>
                <a:cxn ang="0">
                  <a:pos x="4215" y="0"/>
                </a:cxn>
                <a:cxn ang="0">
                  <a:pos x="4995" y="780"/>
                </a:cxn>
                <a:cxn ang="0">
                  <a:pos x="4995" y="4215"/>
                </a:cxn>
                <a:cxn ang="0">
                  <a:pos x="4215" y="4995"/>
                </a:cxn>
                <a:cxn ang="0">
                  <a:pos x="780" y="4995"/>
                </a:cxn>
                <a:cxn ang="0">
                  <a:pos x="0" y="4215"/>
                </a:cxn>
                <a:cxn ang="0">
                  <a:pos x="0" y="780"/>
                </a:cxn>
                <a:cxn ang="0">
                  <a:pos x="780" y="0"/>
                </a:cxn>
              </a:cxnLst>
              <a:rect l="0" t="0" r="r" b="b"/>
              <a:pathLst>
                <a:path w="4995" h="4995">
                  <a:moveTo>
                    <a:pt x="780" y="0"/>
                  </a:moveTo>
                  <a:lnTo>
                    <a:pt x="4215" y="0"/>
                  </a:lnTo>
                  <a:cubicBezTo>
                    <a:pt x="4644" y="0"/>
                    <a:pt x="4995" y="351"/>
                    <a:pt x="4995" y="780"/>
                  </a:cubicBezTo>
                  <a:lnTo>
                    <a:pt x="4995" y="4215"/>
                  </a:lnTo>
                  <a:cubicBezTo>
                    <a:pt x="4995" y="4644"/>
                    <a:pt x="4644" y="4995"/>
                    <a:pt x="4215" y="4995"/>
                  </a:cubicBezTo>
                  <a:lnTo>
                    <a:pt x="780" y="4995"/>
                  </a:lnTo>
                  <a:cubicBezTo>
                    <a:pt x="351" y="4995"/>
                    <a:pt x="0" y="4644"/>
                    <a:pt x="0" y="4215"/>
                  </a:cubicBezTo>
                  <a:lnTo>
                    <a:pt x="0" y="780"/>
                  </a:lnTo>
                  <a:cubicBezTo>
                    <a:pt x="0" y="351"/>
                    <a:pt x="351" y="0"/>
                    <a:pt x="78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5" name="Freeform 8">
              <a:extLst/>
            </p:cNvPr>
            <p:cNvSpPr>
              <a:spLocks noEditPoints="1"/>
            </p:cNvSpPr>
            <p:nvPr/>
          </p:nvSpPr>
          <p:spPr bwMode="auto">
            <a:xfrm>
              <a:off x="-3901018" y="4252384"/>
              <a:ext cx="1192213" cy="1211263"/>
            </a:xfrm>
            <a:custGeom>
              <a:avLst/>
              <a:gdLst/>
              <a:ahLst/>
              <a:cxnLst>
                <a:cxn ang="0">
                  <a:pos x="4097" y="2858"/>
                </a:cxn>
                <a:cxn ang="0">
                  <a:pos x="2329" y="2834"/>
                </a:cxn>
                <a:cxn ang="0">
                  <a:pos x="2778" y="336"/>
                </a:cxn>
                <a:cxn ang="0">
                  <a:pos x="3313" y="1691"/>
                </a:cxn>
                <a:cxn ang="0">
                  <a:pos x="1421" y="1012"/>
                </a:cxn>
                <a:cxn ang="0">
                  <a:pos x="2264" y="2553"/>
                </a:cxn>
                <a:cxn ang="0">
                  <a:pos x="1929" y="2441"/>
                </a:cxn>
                <a:cxn ang="0">
                  <a:pos x="2778" y="336"/>
                </a:cxn>
                <a:cxn ang="0">
                  <a:pos x="3534" y="1733"/>
                </a:cxn>
                <a:cxn ang="0">
                  <a:pos x="3374" y="1699"/>
                </a:cxn>
                <a:cxn ang="0">
                  <a:pos x="4409" y="2862"/>
                </a:cxn>
                <a:cxn ang="0">
                  <a:pos x="3197" y="4006"/>
                </a:cxn>
                <a:cxn ang="0">
                  <a:pos x="1601" y="4482"/>
                </a:cxn>
                <a:cxn ang="0">
                  <a:pos x="8" y="3282"/>
                </a:cxn>
                <a:cxn ang="0">
                  <a:pos x="1366" y="990"/>
                </a:cxn>
                <a:cxn ang="0">
                  <a:pos x="2916" y="263"/>
                </a:cxn>
                <a:cxn ang="0">
                  <a:pos x="2844" y="3924"/>
                </a:cxn>
                <a:cxn ang="0">
                  <a:pos x="2798" y="3901"/>
                </a:cxn>
                <a:cxn ang="0">
                  <a:pos x="121" y="3643"/>
                </a:cxn>
                <a:cxn ang="0">
                  <a:pos x="2844" y="3924"/>
                </a:cxn>
                <a:cxn ang="0">
                  <a:pos x="2689" y="3830"/>
                </a:cxn>
                <a:cxn ang="0">
                  <a:pos x="164" y="3280"/>
                </a:cxn>
                <a:cxn ang="0">
                  <a:pos x="1596" y="2373"/>
                </a:cxn>
                <a:cxn ang="0">
                  <a:pos x="96" y="3281"/>
                </a:cxn>
                <a:cxn ang="0">
                  <a:pos x="2734" y="3862"/>
                </a:cxn>
                <a:cxn ang="0">
                  <a:pos x="4345" y="2861"/>
                </a:cxn>
                <a:cxn ang="0">
                  <a:pos x="4194" y="2859"/>
                </a:cxn>
                <a:cxn ang="0">
                  <a:pos x="3227" y="1751"/>
                </a:cxn>
                <a:cxn ang="0">
                  <a:pos x="3198" y="3941"/>
                </a:cxn>
                <a:cxn ang="0">
                  <a:pos x="3227" y="1751"/>
                </a:cxn>
                <a:cxn ang="0">
                  <a:pos x="3867" y="2280"/>
                </a:cxn>
                <a:cxn ang="0">
                  <a:pos x="3876" y="2311"/>
                </a:cxn>
                <a:cxn ang="0">
                  <a:pos x="2496" y="3308"/>
                </a:cxn>
                <a:cxn ang="0">
                  <a:pos x="959" y="2553"/>
                </a:cxn>
                <a:cxn ang="0">
                  <a:pos x="2362" y="3942"/>
                </a:cxn>
                <a:cxn ang="0">
                  <a:pos x="941" y="2579"/>
                </a:cxn>
                <a:cxn ang="0">
                  <a:pos x="959" y="2553"/>
                </a:cxn>
                <a:cxn ang="0">
                  <a:pos x="3238" y="1073"/>
                </a:cxn>
                <a:cxn ang="0">
                  <a:pos x="3235" y="1107"/>
                </a:cxn>
                <a:cxn ang="0">
                  <a:pos x="1446" y="1575"/>
                </a:cxn>
              </a:cxnLst>
              <a:rect l="0" t="0" r="r" b="b"/>
              <a:pathLst>
                <a:path w="4416" h="4488">
                  <a:moveTo>
                    <a:pt x="3227" y="1801"/>
                  </a:moveTo>
                  <a:cubicBezTo>
                    <a:pt x="3715" y="1807"/>
                    <a:pt x="4104" y="2280"/>
                    <a:pt x="4097" y="2858"/>
                  </a:cubicBezTo>
                  <a:cubicBezTo>
                    <a:pt x="4089" y="3435"/>
                    <a:pt x="3687" y="3898"/>
                    <a:pt x="3199" y="3891"/>
                  </a:cubicBezTo>
                  <a:cubicBezTo>
                    <a:pt x="2711" y="3885"/>
                    <a:pt x="2321" y="3412"/>
                    <a:pt x="2329" y="2834"/>
                  </a:cubicBezTo>
                  <a:cubicBezTo>
                    <a:pt x="2336" y="2257"/>
                    <a:pt x="2738" y="1794"/>
                    <a:pt x="3227" y="1801"/>
                  </a:cubicBezTo>
                  <a:close/>
                  <a:moveTo>
                    <a:pt x="2778" y="336"/>
                  </a:moveTo>
                  <a:cubicBezTo>
                    <a:pt x="3253" y="528"/>
                    <a:pt x="3464" y="1123"/>
                    <a:pt x="3267" y="1687"/>
                  </a:cubicBezTo>
                  <a:cubicBezTo>
                    <a:pt x="3282" y="1688"/>
                    <a:pt x="3298" y="1690"/>
                    <a:pt x="3313" y="1691"/>
                  </a:cubicBezTo>
                  <a:cubicBezTo>
                    <a:pt x="3514" y="1104"/>
                    <a:pt x="3293" y="485"/>
                    <a:pt x="2799" y="286"/>
                  </a:cubicBezTo>
                  <a:cubicBezTo>
                    <a:pt x="2284" y="78"/>
                    <a:pt x="1667" y="403"/>
                    <a:pt x="1421" y="1012"/>
                  </a:cubicBezTo>
                  <a:cubicBezTo>
                    <a:pt x="1175" y="1621"/>
                    <a:pt x="1394" y="2283"/>
                    <a:pt x="1909" y="2491"/>
                  </a:cubicBezTo>
                  <a:cubicBezTo>
                    <a:pt x="2024" y="2538"/>
                    <a:pt x="2144" y="2557"/>
                    <a:pt x="2264" y="2553"/>
                  </a:cubicBezTo>
                  <a:cubicBezTo>
                    <a:pt x="2268" y="2535"/>
                    <a:pt x="2272" y="2518"/>
                    <a:pt x="2277" y="2500"/>
                  </a:cubicBezTo>
                  <a:cubicBezTo>
                    <a:pt x="2160" y="2505"/>
                    <a:pt x="2042" y="2487"/>
                    <a:pt x="1929" y="2441"/>
                  </a:cubicBezTo>
                  <a:cubicBezTo>
                    <a:pt x="1437" y="2243"/>
                    <a:pt x="1229" y="1611"/>
                    <a:pt x="1463" y="1029"/>
                  </a:cubicBezTo>
                  <a:cubicBezTo>
                    <a:pt x="1698" y="448"/>
                    <a:pt x="2287" y="138"/>
                    <a:pt x="2778" y="336"/>
                  </a:cubicBezTo>
                  <a:close/>
                  <a:moveTo>
                    <a:pt x="3374" y="1699"/>
                  </a:moveTo>
                  <a:cubicBezTo>
                    <a:pt x="3430" y="1707"/>
                    <a:pt x="3481" y="1718"/>
                    <a:pt x="3534" y="1733"/>
                  </a:cubicBezTo>
                  <a:cubicBezTo>
                    <a:pt x="3669" y="1269"/>
                    <a:pt x="3511" y="772"/>
                    <a:pt x="3153" y="445"/>
                  </a:cubicBezTo>
                  <a:cubicBezTo>
                    <a:pt x="3434" y="745"/>
                    <a:pt x="3530" y="1230"/>
                    <a:pt x="3374" y="1699"/>
                  </a:cubicBezTo>
                  <a:close/>
                  <a:moveTo>
                    <a:pt x="3600" y="1753"/>
                  </a:moveTo>
                  <a:cubicBezTo>
                    <a:pt x="4077" y="1916"/>
                    <a:pt x="4416" y="2353"/>
                    <a:pt x="4409" y="2862"/>
                  </a:cubicBezTo>
                  <a:cubicBezTo>
                    <a:pt x="4401" y="3466"/>
                    <a:pt x="3910" y="3955"/>
                    <a:pt x="3290" y="4002"/>
                  </a:cubicBezTo>
                  <a:cubicBezTo>
                    <a:pt x="3260" y="4005"/>
                    <a:pt x="3229" y="4007"/>
                    <a:pt x="3197" y="4006"/>
                  </a:cubicBezTo>
                  <a:cubicBezTo>
                    <a:pt x="3089" y="4005"/>
                    <a:pt x="2984" y="3982"/>
                    <a:pt x="2887" y="3943"/>
                  </a:cubicBezTo>
                  <a:cubicBezTo>
                    <a:pt x="2607" y="4265"/>
                    <a:pt x="2137" y="4477"/>
                    <a:pt x="1601" y="4482"/>
                  </a:cubicBezTo>
                  <a:cubicBezTo>
                    <a:pt x="781" y="4488"/>
                    <a:pt x="100" y="4003"/>
                    <a:pt x="16" y="3376"/>
                  </a:cubicBezTo>
                  <a:cubicBezTo>
                    <a:pt x="11" y="3345"/>
                    <a:pt x="8" y="3313"/>
                    <a:pt x="8" y="3282"/>
                  </a:cubicBezTo>
                  <a:cubicBezTo>
                    <a:pt x="0" y="2746"/>
                    <a:pt x="665" y="2304"/>
                    <a:pt x="1506" y="2276"/>
                  </a:cubicBezTo>
                  <a:cubicBezTo>
                    <a:pt x="1246" y="1954"/>
                    <a:pt x="1177" y="1457"/>
                    <a:pt x="1366" y="990"/>
                  </a:cubicBezTo>
                  <a:cubicBezTo>
                    <a:pt x="1626" y="345"/>
                    <a:pt x="2279" y="0"/>
                    <a:pt x="2825" y="220"/>
                  </a:cubicBezTo>
                  <a:cubicBezTo>
                    <a:pt x="2857" y="233"/>
                    <a:pt x="2887" y="247"/>
                    <a:pt x="2916" y="263"/>
                  </a:cubicBezTo>
                  <a:cubicBezTo>
                    <a:pt x="3478" y="550"/>
                    <a:pt x="3764" y="1177"/>
                    <a:pt x="3600" y="1753"/>
                  </a:cubicBezTo>
                  <a:close/>
                  <a:moveTo>
                    <a:pt x="2844" y="3924"/>
                  </a:moveTo>
                  <a:cubicBezTo>
                    <a:pt x="2829" y="3916"/>
                    <a:pt x="2814" y="3909"/>
                    <a:pt x="2799" y="3901"/>
                  </a:cubicBezTo>
                  <a:lnTo>
                    <a:pt x="2798" y="3901"/>
                  </a:lnTo>
                  <a:cubicBezTo>
                    <a:pt x="2512" y="4119"/>
                    <a:pt x="2082" y="4260"/>
                    <a:pt x="1598" y="4264"/>
                  </a:cubicBezTo>
                  <a:cubicBezTo>
                    <a:pt x="930" y="4269"/>
                    <a:pt x="355" y="4011"/>
                    <a:pt x="121" y="3643"/>
                  </a:cubicBezTo>
                  <a:cubicBezTo>
                    <a:pt x="357" y="4101"/>
                    <a:pt x="932" y="4422"/>
                    <a:pt x="1601" y="4417"/>
                  </a:cubicBezTo>
                  <a:cubicBezTo>
                    <a:pt x="2110" y="4413"/>
                    <a:pt x="2560" y="4220"/>
                    <a:pt x="2844" y="3924"/>
                  </a:cubicBezTo>
                  <a:close/>
                  <a:moveTo>
                    <a:pt x="2734" y="3862"/>
                  </a:moveTo>
                  <a:cubicBezTo>
                    <a:pt x="2719" y="3852"/>
                    <a:pt x="2704" y="3841"/>
                    <a:pt x="2689" y="3830"/>
                  </a:cubicBezTo>
                  <a:cubicBezTo>
                    <a:pt x="2431" y="4031"/>
                    <a:pt x="2038" y="4162"/>
                    <a:pt x="1597" y="4165"/>
                  </a:cubicBezTo>
                  <a:cubicBezTo>
                    <a:pt x="812" y="4171"/>
                    <a:pt x="171" y="3775"/>
                    <a:pt x="164" y="3280"/>
                  </a:cubicBezTo>
                  <a:cubicBezTo>
                    <a:pt x="157" y="2785"/>
                    <a:pt x="787" y="2379"/>
                    <a:pt x="1571" y="2373"/>
                  </a:cubicBezTo>
                  <a:cubicBezTo>
                    <a:pt x="1579" y="2373"/>
                    <a:pt x="1588" y="2373"/>
                    <a:pt x="1596" y="2373"/>
                  </a:cubicBezTo>
                  <a:cubicBezTo>
                    <a:pt x="1581" y="2359"/>
                    <a:pt x="1567" y="2345"/>
                    <a:pt x="1554" y="2331"/>
                  </a:cubicBezTo>
                  <a:cubicBezTo>
                    <a:pt x="740" y="2343"/>
                    <a:pt x="89" y="2766"/>
                    <a:pt x="96" y="3281"/>
                  </a:cubicBezTo>
                  <a:cubicBezTo>
                    <a:pt x="104" y="3799"/>
                    <a:pt x="776" y="4214"/>
                    <a:pt x="1598" y="4208"/>
                  </a:cubicBezTo>
                  <a:cubicBezTo>
                    <a:pt x="2056" y="4204"/>
                    <a:pt x="2464" y="4070"/>
                    <a:pt x="2734" y="3862"/>
                  </a:cubicBezTo>
                  <a:close/>
                  <a:moveTo>
                    <a:pt x="3556" y="3932"/>
                  </a:moveTo>
                  <a:cubicBezTo>
                    <a:pt x="4012" y="3769"/>
                    <a:pt x="4339" y="3353"/>
                    <a:pt x="4345" y="2861"/>
                  </a:cubicBezTo>
                  <a:cubicBezTo>
                    <a:pt x="4352" y="2369"/>
                    <a:pt x="4036" y="1945"/>
                    <a:pt x="3584" y="1770"/>
                  </a:cubicBezTo>
                  <a:cubicBezTo>
                    <a:pt x="3947" y="1944"/>
                    <a:pt x="4200" y="2367"/>
                    <a:pt x="4194" y="2859"/>
                  </a:cubicBezTo>
                  <a:cubicBezTo>
                    <a:pt x="4187" y="3351"/>
                    <a:pt x="3923" y="3768"/>
                    <a:pt x="3556" y="3932"/>
                  </a:cubicBezTo>
                  <a:close/>
                  <a:moveTo>
                    <a:pt x="3227" y="1751"/>
                  </a:moveTo>
                  <a:cubicBezTo>
                    <a:pt x="3739" y="1758"/>
                    <a:pt x="4147" y="2254"/>
                    <a:pt x="4139" y="2858"/>
                  </a:cubicBezTo>
                  <a:cubicBezTo>
                    <a:pt x="4131" y="3463"/>
                    <a:pt x="3710" y="3948"/>
                    <a:pt x="3198" y="3941"/>
                  </a:cubicBezTo>
                  <a:cubicBezTo>
                    <a:pt x="2687" y="3934"/>
                    <a:pt x="2279" y="3438"/>
                    <a:pt x="2287" y="2834"/>
                  </a:cubicBezTo>
                  <a:cubicBezTo>
                    <a:pt x="2295" y="2229"/>
                    <a:pt x="2716" y="1744"/>
                    <a:pt x="3227" y="1751"/>
                  </a:cubicBezTo>
                  <a:close/>
                  <a:moveTo>
                    <a:pt x="2495" y="3289"/>
                  </a:moveTo>
                  <a:cubicBezTo>
                    <a:pt x="2592" y="3091"/>
                    <a:pt x="3590" y="2350"/>
                    <a:pt x="3867" y="2280"/>
                  </a:cubicBezTo>
                  <a:lnTo>
                    <a:pt x="3890" y="2290"/>
                  </a:lnTo>
                  <a:lnTo>
                    <a:pt x="3876" y="2311"/>
                  </a:lnTo>
                  <a:cubicBezTo>
                    <a:pt x="3460" y="2524"/>
                    <a:pt x="2910" y="2947"/>
                    <a:pt x="2520" y="3303"/>
                  </a:cubicBezTo>
                  <a:lnTo>
                    <a:pt x="2496" y="3308"/>
                  </a:lnTo>
                  <a:lnTo>
                    <a:pt x="2495" y="3289"/>
                  </a:lnTo>
                  <a:close/>
                  <a:moveTo>
                    <a:pt x="959" y="2553"/>
                  </a:moveTo>
                  <a:cubicBezTo>
                    <a:pt x="1231" y="2646"/>
                    <a:pt x="2270" y="3639"/>
                    <a:pt x="2374" y="3919"/>
                  </a:cubicBezTo>
                  <a:lnTo>
                    <a:pt x="2362" y="3942"/>
                  </a:lnTo>
                  <a:lnTo>
                    <a:pt x="2333" y="3928"/>
                  </a:lnTo>
                  <a:cubicBezTo>
                    <a:pt x="2029" y="3512"/>
                    <a:pt x="1438" y="2965"/>
                    <a:pt x="941" y="2579"/>
                  </a:cubicBezTo>
                  <a:lnTo>
                    <a:pt x="933" y="2554"/>
                  </a:lnTo>
                  <a:lnTo>
                    <a:pt x="959" y="2553"/>
                  </a:lnTo>
                  <a:close/>
                  <a:moveTo>
                    <a:pt x="1453" y="1555"/>
                  </a:moveTo>
                  <a:cubicBezTo>
                    <a:pt x="1629" y="1393"/>
                    <a:pt x="2931" y="1035"/>
                    <a:pt x="3238" y="1073"/>
                  </a:cubicBezTo>
                  <a:lnTo>
                    <a:pt x="3258" y="1092"/>
                  </a:lnTo>
                  <a:lnTo>
                    <a:pt x="3235" y="1107"/>
                  </a:lnTo>
                  <a:cubicBezTo>
                    <a:pt x="2730" y="1160"/>
                    <a:pt x="2007" y="1371"/>
                    <a:pt x="1473" y="1579"/>
                  </a:cubicBezTo>
                  <a:lnTo>
                    <a:pt x="1446" y="1575"/>
                  </a:lnTo>
                  <a:lnTo>
                    <a:pt x="1453" y="1555"/>
                  </a:lnTo>
                  <a:close/>
                </a:path>
              </a:pathLst>
            </a:custGeom>
            <a:solidFill>
              <a:srgbClr val="FFFFFF"/>
            </a:solidFill>
            <a:ln w="1588" cap="flat">
              <a:noFill/>
              <a:prstDash val="solid"/>
              <a:miter lim="800000"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441" name="Группа 83">
            <a:extLst/>
          </p:cNvPr>
          <p:cNvGrpSpPr/>
          <p:nvPr/>
        </p:nvGrpSpPr>
        <p:grpSpPr>
          <a:xfrm>
            <a:off x="6064128" y="2797109"/>
            <a:ext cx="256005" cy="257729"/>
            <a:chOff x="-3986743" y="4201584"/>
            <a:chExt cx="1349375" cy="134778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42" name="Freeform 7">
              <a:extLst/>
            </p:cNvPr>
            <p:cNvSpPr>
              <a:spLocks/>
            </p:cNvSpPr>
            <p:nvPr/>
          </p:nvSpPr>
          <p:spPr bwMode="auto">
            <a:xfrm>
              <a:off x="-3986743" y="4201584"/>
              <a:ext cx="1349375" cy="1347788"/>
            </a:xfrm>
            <a:custGeom>
              <a:avLst/>
              <a:gdLst/>
              <a:ahLst/>
              <a:cxnLst>
                <a:cxn ang="0">
                  <a:pos x="780" y="0"/>
                </a:cxn>
                <a:cxn ang="0">
                  <a:pos x="4215" y="0"/>
                </a:cxn>
                <a:cxn ang="0">
                  <a:pos x="4995" y="780"/>
                </a:cxn>
                <a:cxn ang="0">
                  <a:pos x="4995" y="4215"/>
                </a:cxn>
                <a:cxn ang="0">
                  <a:pos x="4215" y="4995"/>
                </a:cxn>
                <a:cxn ang="0">
                  <a:pos x="780" y="4995"/>
                </a:cxn>
                <a:cxn ang="0">
                  <a:pos x="0" y="4215"/>
                </a:cxn>
                <a:cxn ang="0">
                  <a:pos x="0" y="780"/>
                </a:cxn>
                <a:cxn ang="0">
                  <a:pos x="780" y="0"/>
                </a:cxn>
              </a:cxnLst>
              <a:rect l="0" t="0" r="r" b="b"/>
              <a:pathLst>
                <a:path w="4995" h="4995">
                  <a:moveTo>
                    <a:pt x="780" y="0"/>
                  </a:moveTo>
                  <a:lnTo>
                    <a:pt x="4215" y="0"/>
                  </a:lnTo>
                  <a:cubicBezTo>
                    <a:pt x="4644" y="0"/>
                    <a:pt x="4995" y="351"/>
                    <a:pt x="4995" y="780"/>
                  </a:cubicBezTo>
                  <a:lnTo>
                    <a:pt x="4995" y="4215"/>
                  </a:lnTo>
                  <a:cubicBezTo>
                    <a:pt x="4995" y="4644"/>
                    <a:pt x="4644" y="4995"/>
                    <a:pt x="4215" y="4995"/>
                  </a:cubicBezTo>
                  <a:lnTo>
                    <a:pt x="780" y="4995"/>
                  </a:lnTo>
                  <a:cubicBezTo>
                    <a:pt x="351" y="4995"/>
                    <a:pt x="0" y="4644"/>
                    <a:pt x="0" y="4215"/>
                  </a:cubicBezTo>
                  <a:lnTo>
                    <a:pt x="0" y="780"/>
                  </a:lnTo>
                  <a:cubicBezTo>
                    <a:pt x="0" y="351"/>
                    <a:pt x="351" y="0"/>
                    <a:pt x="780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B0F0">
                    <a:shade val="30000"/>
                    <a:satMod val="115000"/>
                  </a:srgbClr>
                </a:gs>
                <a:gs pos="100000">
                  <a:srgbClr val="00B0F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3" name="Freeform 8">
              <a:extLst/>
            </p:cNvPr>
            <p:cNvSpPr>
              <a:spLocks noEditPoints="1"/>
            </p:cNvSpPr>
            <p:nvPr/>
          </p:nvSpPr>
          <p:spPr bwMode="auto">
            <a:xfrm>
              <a:off x="-3901018" y="4252384"/>
              <a:ext cx="1192213" cy="1211263"/>
            </a:xfrm>
            <a:custGeom>
              <a:avLst/>
              <a:gdLst/>
              <a:ahLst/>
              <a:cxnLst>
                <a:cxn ang="0">
                  <a:pos x="4097" y="2858"/>
                </a:cxn>
                <a:cxn ang="0">
                  <a:pos x="2329" y="2834"/>
                </a:cxn>
                <a:cxn ang="0">
                  <a:pos x="2778" y="336"/>
                </a:cxn>
                <a:cxn ang="0">
                  <a:pos x="3313" y="1691"/>
                </a:cxn>
                <a:cxn ang="0">
                  <a:pos x="1421" y="1012"/>
                </a:cxn>
                <a:cxn ang="0">
                  <a:pos x="2264" y="2553"/>
                </a:cxn>
                <a:cxn ang="0">
                  <a:pos x="1929" y="2441"/>
                </a:cxn>
                <a:cxn ang="0">
                  <a:pos x="2778" y="336"/>
                </a:cxn>
                <a:cxn ang="0">
                  <a:pos x="3534" y="1733"/>
                </a:cxn>
                <a:cxn ang="0">
                  <a:pos x="3374" y="1699"/>
                </a:cxn>
                <a:cxn ang="0">
                  <a:pos x="4409" y="2862"/>
                </a:cxn>
                <a:cxn ang="0">
                  <a:pos x="3197" y="4006"/>
                </a:cxn>
                <a:cxn ang="0">
                  <a:pos x="1601" y="4482"/>
                </a:cxn>
                <a:cxn ang="0">
                  <a:pos x="8" y="3282"/>
                </a:cxn>
                <a:cxn ang="0">
                  <a:pos x="1366" y="990"/>
                </a:cxn>
                <a:cxn ang="0">
                  <a:pos x="2916" y="263"/>
                </a:cxn>
                <a:cxn ang="0">
                  <a:pos x="2844" y="3924"/>
                </a:cxn>
                <a:cxn ang="0">
                  <a:pos x="2798" y="3901"/>
                </a:cxn>
                <a:cxn ang="0">
                  <a:pos x="121" y="3643"/>
                </a:cxn>
                <a:cxn ang="0">
                  <a:pos x="2844" y="3924"/>
                </a:cxn>
                <a:cxn ang="0">
                  <a:pos x="2689" y="3830"/>
                </a:cxn>
                <a:cxn ang="0">
                  <a:pos x="164" y="3280"/>
                </a:cxn>
                <a:cxn ang="0">
                  <a:pos x="1596" y="2373"/>
                </a:cxn>
                <a:cxn ang="0">
                  <a:pos x="96" y="3281"/>
                </a:cxn>
                <a:cxn ang="0">
                  <a:pos x="2734" y="3862"/>
                </a:cxn>
                <a:cxn ang="0">
                  <a:pos x="4345" y="2861"/>
                </a:cxn>
                <a:cxn ang="0">
                  <a:pos x="4194" y="2859"/>
                </a:cxn>
                <a:cxn ang="0">
                  <a:pos x="3227" y="1751"/>
                </a:cxn>
                <a:cxn ang="0">
                  <a:pos x="3198" y="3941"/>
                </a:cxn>
                <a:cxn ang="0">
                  <a:pos x="3227" y="1751"/>
                </a:cxn>
                <a:cxn ang="0">
                  <a:pos x="3867" y="2280"/>
                </a:cxn>
                <a:cxn ang="0">
                  <a:pos x="3876" y="2311"/>
                </a:cxn>
                <a:cxn ang="0">
                  <a:pos x="2496" y="3308"/>
                </a:cxn>
                <a:cxn ang="0">
                  <a:pos x="959" y="2553"/>
                </a:cxn>
                <a:cxn ang="0">
                  <a:pos x="2362" y="3942"/>
                </a:cxn>
                <a:cxn ang="0">
                  <a:pos x="941" y="2579"/>
                </a:cxn>
                <a:cxn ang="0">
                  <a:pos x="959" y="2553"/>
                </a:cxn>
                <a:cxn ang="0">
                  <a:pos x="3238" y="1073"/>
                </a:cxn>
                <a:cxn ang="0">
                  <a:pos x="3235" y="1107"/>
                </a:cxn>
                <a:cxn ang="0">
                  <a:pos x="1446" y="1575"/>
                </a:cxn>
              </a:cxnLst>
              <a:rect l="0" t="0" r="r" b="b"/>
              <a:pathLst>
                <a:path w="4416" h="4488">
                  <a:moveTo>
                    <a:pt x="3227" y="1801"/>
                  </a:moveTo>
                  <a:cubicBezTo>
                    <a:pt x="3715" y="1807"/>
                    <a:pt x="4104" y="2280"/>
                    <a:pt x="4097" y="2858"/>
                  </a:cubicBezTo>
                  <a:cubicBezTo>
                    <a:pt x="4089" y="3435"/>
                    <a:pt x="3687" y="3898"/>
                    <a:pt x="3199" y="3891"/>
                  </a:cubicBezTo>
                  <a:cubicBezTo>
                    <a:pt x="2711" y="3885"/>
                    <a:pt x="2321" y="3412"/>
                    <a:pt x="2329" y="2834"/>
                  </a:cubicBezTo>
                  <a:cubicBezTo>
                    <a:pt x="2336" y="2257"/>
                    <a:pt x="2738" y="1794"/>
                    <a:pt x="3227" y="1801"/>
                  </a:cubicBezTo>
                  <a:close/>
                  <a:moveTo>
                    <a:pt x="2778" y="336"/>
                  </a:moveTo>
                  <a:cubicBezTo>
                    <a:pt x="3253" y="528"/>
                    <a:pt x="3464" y="1123"/>
                    <a:pt x="3267" y="1687"/>
                  </a:cubicBezTo>
                  <a:cubicBezTo>
                    <a:pt x="3282" y="1688"/>
                    <a:pt x="3298" y="1690"/>
                    <a:pt x="3313" y="1691"/>
                  </a:cubicBezTo>
                  <a:cubicBezTo>
                    <a:pt x="3514" y="1104"/>
                    <a:pt x="3293" y="485"/>
                    <a:pt x="2799" y="286"/>
                  </a:cubicBezTo>
                  <a:cubicBezTo>
                    <a:pt x="2284" y="78"/>
                    <a:pt x="1667" y="403"/>
                    <a:pt x="1421" y="1012"/>
                  </a:cubicBezTo>
                  <a:cubicBezTo>
                    <a:pt x="1175" y="1621"/>
                    <a:pt x="1394" y="2283"/>
                    <a:pt x="1909" y="2491"/>
                  </a:cubicBezTo>
                  <a:cubicBezTo>
                    <a:pt x="2024" y="2538"/>
                    <a:pt x="2144" y="2557"/>
                    <a:pt x="2264" y="2553"/>
                  </a:cubicBezTo>
                  <a:cubicBezTo>
                    <a:pt x="2268" y="2535"/>
                    <a:pt x="2272" y="2518"/>
                    <a:pt x="2277" y="2500"/>
                  </a:cubicBezTo>
                  <a:cubicBezTo>
                    <a:pt x="2160" y="2505"/>
                    <a:pt x="2042" y="2487"/>
                    <a:pt x="1929" y="2441"/>
                  </a:cubicBezTo>
                  <a:cubicBezTo>
                    <a:pt x="1437" y="2243"/>
                    <a:pt x="1229" y="1611"/>
                    <a:pt x="1463" y="1029"/>
                  </a:cubicBezTo>
                  <a:cubicBezTo>
                    <a:pt x="1698" y="448"/>
                    <a:pt x="2287" y="138"/>
                    <a:pt x="2778" y="336"/>
                  </a:cubicBezTo>
                  <a:close/>
                  <a:moveTo>
                    <a:pt x="3374" y="1699"/>
                  </a:moveTo>
                  <a:cubicBezTo>
                    <a:pt x="3430" y="1707"/>
                    <a:pt x="3481" y="1718"/>
                    <a:pt x="3534" y="1733"/>
                  </a:cubicBezTo>
                  <a:cubicBezTo>
                    <a:pt x="3669" y="1269"/>
                    <a:pt x="3511" y="772"/>
                    <a:pt x="3153" y="445"/>
                  </a:cubicBezTo>
                  <a:cubicBezTo>
                    <a:pt x="3434" y="745"/>
                    <a:pt x="3530" y="1230"/>
                    <a:pt x="3374" y="1699"/>
                  </a:cubicBezTo>
                  <a:close/>
                  <a:moveTo>
                    <a:pt x="3600" y="1753"/>
                  </a:moveTo>
                  <a:cubicBezTo>
                    <a:pt x="4077" y="1916"/>
                    <a:pt x="4416" y="2353"/>
                    <a:pt x="4409" y="2862"/>
                  </a:cubicBezTo>
                  <a:cubicBezTo>
                    <a:pt x="4401" y="3466"/>
                    <a:pt x="3910" y="3955"/>
                    <a:pt x="3290" y="4002"/>
                  </a:cubicBezTo>
                  <a:cubicBezTo>
                    <a:pt x="3260" y="4005"/>
                    <a:pt x="3229" y="4007"/>
                    <a:pt x="3197" y="4006"/>
                  </a:cubicBezTo>
                  <a:cubicBezTo>
                    <a:pt x="3089" y="4005"/>
                    <a:pt x="2984" y="3982"/>
                    <a:pt x="2887" y="3943"/>
                  </a:cubicBezTo>
                  <a:cubicBezTo>
                    <a:pt x="2607" y="4265"/>
                    <a:pt x="2137" y="4477"/>
                    <a:pt x="1601" y="4482"/>
                  </a:cubicBezTo>
                  <a:cubicBezTo>
                    <a:pt x="781" y="4488"/>
                    <a:pt x="100" y="4003"/>
                    <a:pt x="16" y="3376"/>
                  </a:cubicBezTo>
                  <a:cubicBezTo>
                    <a:pt x="11" y="3345"/>
                    <a:pt x="8" y="3313"/>
                    <a:pt x="8" y="3282"/>
                  </a:cubicBezTo>
                  <a:cubicBezTo>
                    <a:pt x="0" y="2746"/>
                    <a:pt x="665" y="2304"/>
                    <a:pt x="1506" y="2276"/>
                  </a:cubicBezTo>
                  <a:cubicBezTo>
                    <a:pt x="1246" y="1954"/>
                    <a:pt x="1177" y="1457"/>
                    <a:pt x="1366" y="990"/>
                  </a:cubicBezTo>
                  <a:cubicBezTo>
                    <a:pt x="1626" y="345"/>
                    <a:pt x="2279" y="0"/>
                    <a:pt x="2825" y="220"/>
                  </a:cubicBezTo>
                  <a:cubicBezTo>
                    <a:pt x="2857" y="233"/>
                    <a:pt x="2887" y="247"/>
                    <a:pt x="2916" y="263"/>
                  </a:cubicBezTo>
                  <a:cubicBezTo>
                    <a:pt x="3478" y="550"/>
                    <a:pt x="3764" y="1177"/>
                    <a:pt x="3600" y="1753"/>
                  </a:cubicBezTo>
                  <a:close/>
                  <a:moveTo>
                    <a:pt x="2844" y="3924"/>
                  </a:moveTo>
                  <a:cubicBezTo>
                    <a:pt x="2829" y="3916"/>
                    <a:pt x="2814" y="3909"/>
                    <a:pt x="2799" y="3901"/>
                  </a:cubicBezTo>
                  <a:lnTo>
                    <a:pt x="2798" y="3901"/>
                  </a:lnTo>
                  <a:cubicBezTo>
                    <a:pt x="2512" y="4119"/>
                    <a:pt x="2082" y="4260"/>
                    <a:pt x="1598" y="4264"/>
                  </a:cubicBezTo>
                  <a:cubicBezTo>
                    <a:pt x="930" y="4269"/>
                    <a:pt x="355" y="4011"/>
                    <a:pt x="121" y="3643"/>
                  </a:cubicBezTo>
                  <a:cubicBezTo>
                    <a:pt x="357" y="4101"/>
                    <a:pt x="932" y="4422"/>
                    <a:pt x="1601" y="4417"/>
                  </a:cubicBezTo>
                  <a:cubicBezTo>
                    <a:pt x="2110" y="4413"/>
                    <a:pt x="2560" y="4220"/>
                    <a:pt x="2844" y="3924"/>
                  </a:cubicBezTo>
                  <a:close/>
                  <a:moveTo>
                    <a:pt x="2734" y="3862"/>
                  </a:moveTo>
                  <a:cubicBezTo>
                    <a:pt x="2719" y="3852"/>
                    <a:pt x="2704" y="3841"/>
                    <a:pt x="2689" y="3830"/>
                  </a:cubicBezTo>
                  <a:cubicBezTo>
                    <a:pt x="2431" y="4031"/>
                    <a:pt x="2038" y="4162"/>
                    <a:pt x="1597" y="4165"/>
                  </a:cubicBezTo>
                  <a:cubicBezTo>
                    <a:pt x="812" y="4171"/>
                    <a:pt x="171" y="3775"/>
                    <a:pt x="164" y="3280"/>
                  </a:cubicBezTo>
                  <a:cubicBezTo>
                    <a:pt x="157" y="2785"/>
                    <a:pt x="787" y="2379"/>
                    <a:pt x="1571" y="2373"/>
                  </a:cubicBezTo>
                  <a:cubicBezTo>
                    <a:pt x="1579" y="2373"/>
                    <a:pt x="1588" y="2373"/>
                    <a:pt x="1596" y="2373"/>
                  </a:cubicBezTo>
                  <a:cubicBezTo>
                    <a:pt x="1581" y="2359"/>
                    <a:pt x="1567" y="2345"/>
                    <a:pt x="1554" y="2331"/>
                  </a:cubicBezTo>
                  <a:cubicBezTo>
                    <a:pt x="740" y="2343"/>
                    <a:pt x="89" y="2766"/>
                    <a:pt x="96" y="3281"/>
                  </a:cubicBezTo>
                  <a:cubicBezTo>
                    <a:pt x="104" y="3799"/>
                    <a:pt x="776" y="4214"/>
                    <a:pt x="1598" y="4208"/>
                  </a:cubicBezTo>
                  <a:cubicBezTo>
                    <a:pt x="2056" y="4204"/>
                    <a:pt x="2464" y="4070"/>
                    <a:pt x="2734" y="3862"/>
                  </a:cubicBezTo>
                  <a:close/>
                  <a:moveTo>
                    <a:pt x="3556" y="3932"/>
                  </a:moveTo>
                  <a:cubicBezTo>
                    <a:pt x="4012" y="3769"/>
                    <a:pt x="4339" y="3353"/>
                    <a:pt x="4345" y="2861"/>
                  </a:cubicBezTo>
                  <a:cubicBezTo>
                    <a:pt x="4352" y="2369"/>
                    <a:pt x="4036" y="1945"/>
                    <a:pt x="3584" y="1770"/>
                  </a:cubicBezTo>
                  <a:cubicBezTo>
                    <a:pt x="3947" y="1944"/>
                    <a:pt x="4200" y="2367"/>
                    <a:pt x="4194" y="2859"/>
                  </a:cubicBezTo>
                  <a:cubicBezTo>
                    <a:pt x="4187" y="3351"/>
                    <a:pt x="3923" y="3768"/>
                    <a:pt x="3556" y="3932"/>
                  </a:cubicBezTo>
                  <a:close/>
                  <a:moveTo>
                    <a:pt x="3227" y="1751"/>
                  </a:moveTo>
                  <a:cubicBezTo>
                    <a:pt x="3739" y="1758"/>
                    <a:pt x="4147" y="2254"/>
                    <a:pt x="4139" y="2858"/>
                  </a:cubicBezTo>
                  <a:cubicBezTo>
                    <a:pt x="4131" y="3463"/>
                    <a:pt x="3710" y="3948"/>
                    <a:pt x="3198" y="3941"/>
                  </a:cubicBezTo>
                  <a:cubicBezTo>
                    <a:pt x="2687" y="3934"/>
                    <a:pt x="2279" y="3438"/>
                    <a:pt x="2287" y="2834"/>
                  </a:cubicBezTo>
                  <a:cubicBezTo>
                    <a:pt x="2295" y="2229"/>
                    <a:pt x="2716" y="1744"/>
                    <a:pt x="3227" y="1751"/>
                  </a:cubicBezTo>
                  <a:close/>
                  <a:moveTo>
                    <a:pt x="2495" y="3289"/>
                  </a:moveTo>
                  <a:cubicBezTo>
                    <a:pt x="2592" y="3091"/>
                    <a:pt x="3590" y="2350"/>
                    <a:pt x="3867" y="2280"/>
                  </a:cubicBezTo>
                  <a:lnTo>
                    <a:pt x="3890" y="2290"/>
                  </a:lnTo>
                  <a:lnTo>
                    <a:pt x="3876" y="2311"/>
                  </a:lnTo>
                  <a:cubicBezTo>
                    <a:pt x="3460" y="2524"/>
                    <a:pt x="2910" y="2947"/>
                    <a:pt x="2520" y="3303"/>
                  </a:cubicBezTo>
                  <a:lnTo>
                    <a:pt x="2496" y="3308"/>
                  </a:lnTo>
                  <a:lnTo>
                    <a:pt x="2495" y="3289"/>
                  </a:lnTo>
                  <a:close/>
                  <a:moveTo>
                    <a:pt x="959" y="2553"/>
                  </a:moveTo>
                  <a:cubicBezTo>
                    <a:pt x="1231" y="2646"/>
                    <a:pt x="2270" y="3639"/>
                    <a:pt x="2374" y="3919"/>
                  </a:cubicBezTo>
                  <a:lnTo>
                    <a:pt x="2362" y="3942"/>
                  </a:lnTo>
                  <a:lnTo>
                    <a:pt x="2333" y="3928"/>
                  </a:lnTo>
                  <a:cubicBezTo>
                    <a:pt x="2029" y="3512"/>
                    <a:pt x="1438" y="2965"/>
                    <a:pt x="941" y="2579"/>
                  </a:cubicBezTo>
                  <a:lnTo>
                    <a:pt x="933" y="2554"/>
                  </a:lnTo>
                  <a:lnTo>
                    <a:pt x="959" y="2553"/>
                  </a:lnTo>
                  <a:close/>
                  <a:moveTo>
                    <a:pt x="1453" y="1555"/>
                  </a:moveTo>
                  <a:cubicBezTo>
                    <a:pt x="1629" y="1393"/>
                    <a:pt x="2931" y="1035"/>
                    <a:pt x="3238" y="1073"/>
                  </a:cubicBezTo>
                  <a:lnTo>
                    <a:pt x="3258" y="1092"/>
                  </a:lnTo>
                  <a:lnTo>
                    <a:pt x="3235" y="1107"/>
                  </a:lnTo>
                  <a:cubicBezTo>
                    <a:pt x="2730" y="1160"/>
                    <a:pt x="2007" y="1371"/>
                    <a:pt x="1473" y="1579"/>
                  </a:cubicBezTo>
                  <a:lnTo>
                    <a:pt x="1446" y="1575"/>
                  </a:lnTo>
                  <a:lnTo>
                    <a:pt x="1453" y="1555"/>
                  </a:lnTo>
                  <a:close/>
                </a:path>
              </a:pathLst>
            </a:custGeom>
            <a:solidFill>
              <a:srgbClr val="FFFFFF"/>
            </a:solidFill>
            <a:ln w="1588" cap="flat">
              <a:noFill/>
              <a:prstDash val="solid"/>
              <a:miter lim="800000"/>
              <a:headEnd/>
              <a:tailEnd/>
            </a:ln>
          </p:spPr>
          <p:txBody>
            <a:bodyPr lIns="65315" tIns="32657" rIns="65315" bIns="32657"/>
            <a:lstStyle/>
            <a:p>
              <a:pPr defTabSz="653077">
                <a:defRPr/>
              </a:pPr>
              <a:endParaRPr lang="ru-RU" sz="1333" kern="0">
                <a:solidFill>
                  <a:srgbClr val="000000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4117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Текст 3"/>
          <p:cNvSpPr txBox="1">
            <a:spLocks/>
          </p:cNvSpPr>
          <p:nvPr/>
        </p:nvSpPr>
        <p:spPr bwMode="auto">
          <a:xfrm>
            <a:off x="541867" y="6584951"/>
            <a:ext cx="6172200" cy="205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4889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889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8895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8895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8895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889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889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889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889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ts val="217"/>
              </a:spcBef>
              <a:buClr>
                <a:srgbClr val="376092"/>
              </a:buClr>
              <a:buNone/>
            </a:pPr>
            <a:endParaRPr lang="ru-RU" altLang="ru-RU" sz="667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spcBef>
                <a:spcPts val="217"/>
              </a:spcBef>
              <a:buClr>
                <a:srgbClr val="376092"/>
              </a:buClr>
              <a:buNone/>
            </a:pPr>
            <a:r>
              <a:rPr lang="ru-RU" altLang="ru-RU" sz="667">
                <a:solidFill>
                  <a:srgbClr val="000000"/>
                </a:solidFill>
                <a:latin typeface="Arial" panose="020B0604020202020204" pitchFamily="34" charset="0"/>
              </a:rPr>
              <a:t>Источники</a:t>
            </a:r>
            <a:r>
              <a:rPr lang="en-US" altLang="ru-RU" sz="667">
                <a:solidFill>
                  <a:srgbClr val="000000"/>
                </a:solidFill>
                <a:latin typeface="Arial" panose="020B0604020202020204" pitchFamily="34" charset="0"/>
              </a:rPr>
              <a:t>: </a:t>
            </a:r>
            <a:r>
              <a:rPr lang="ru-RU" altLang="ru-RU" sz="667">
                <a:solidFill>
                  <a:srgbClr val="000000"/>
                </a:solidFill>
                <a:latin typeface="Arial" panose="020B0604020202020204" pitchFamily="34" charset="0"/>
              </a:rPr>
              <a:t>расчеты </a:t>
            </a:r>
            <a:r>
              <a:rPr lang="en-US" altLang="ru-RU" sz="667">
                <a:solidFill>
                  <a:srgbClr val="000000"/>
                </a:solidFill>
                <a:latin typeface="Arial" panose="020B0604020202020204" pitchFamily="34" charset="0"/>
              </a:rPr>
              <a:t>QazIndustry </a:t>
            </a:r>
            <a:r>
              <a:rPr lang="ru-RU" altLang="ru-RU" sz="667">
                <a:solidFill>
                  <a:srgbClr val="000000"/>
                </a:solidFill>
                <a:latin typeface="Arial" panose="020B0604020202020204" pitchFamily="34" charset="0"/>
              </a:rPr>
              <a:t>на основе данных КС МНЭ РК</a:t>
            </a:r>
          </a:p>
          <a:p>
            <a:pPr>
              <a:spcBef>
                <a:spcPts val="217"/>
              </a:spcBef>
              <a:buClr>
                <a:srgbClr val="376092"/>
              </a:buClr>
              <a:buNone/>
            </a:pPr>
            <a:r>
              <a:rPr lang="ru-RU" altLang="ru-RU" sz="667">
                <a:solidFill>
                  <a:srgbClr val="000000"/>
                </a:solidFill>
                <a:latin typeface="Arial" panose="020B0604020202020204" pitchFamily="34" charset="0"/>
              </a:rPr>
              <a:t>*за 7 мес. 2020 г.</a:t>
            </a:r>
          </a:p>
        </p:txBody>
      </p:sp>
      <p:sp>
        <p:nvSpPr>
          <p:cNvPr id="2" name="TextBox 1">
            <a:extLst/>
          </p:cNvPr>
          <p:cNvSpPr txBox="1"/>
          <p:nvPr/>
        </p:nvSpPr>
        <p:spPr>
          <a:xfrm>
            <a:off x="5945718" y="-501651"/>
            <a:ext cx="184731" cy="29007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hangingPunct="1">
              <a:defRPr/>
            </a:pPr>
            <a:endParaRPr lang="x-none" sz="1285"/>
          </a:p>
        </p:txBody>
      </p:sp>
      <p:sp>
        <p:nvSpPr>
          <p:cNvPr id="63493" name="Прямоугольник 10"/>
          <p:cNvSpPr>
            <a:spLocks noChangeArrowheads="1"/>
          </p:cNvSpPr>
          <p:nvPr/>
        </p:nvSpPr>
        <p:spPr bwMode="auto">
          <a:xfrm>
            <a:off x="1928285" y="1449918"/>
            <a:ext cx="2366433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6400" b="1">
                <a:solidFill>
                  <a:srgbClr val="00B050"/>
                </a:solidFill>
                <a:latin typeface="Arial" panose="020B0604020202020204" pitchFamily="34" charset="0"/>
              </a:rPr>
              <a:t>92,4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B050"/>
                </a:solidFill>
                <a:latin typeface="Arial" panose="020B0604020202020204" pitchFamily="34" charset="0"/>
              </a:rPr>
              <a:t>млрд тг 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215900" y="615951"/>
            <a:ext cx="11736917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19">
            <a:extLst/>
          </p:cNvPr>
          <p:cNvSpPr/>
          <p:nvPr/>
        </p:nvSpPr>
        <p:spPr>
          <a:xfrm>
            <a:off x="2114552" y="1314451"/>
            <a:ext cx="2214033" cy="318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buClr>
                <a:schemeClr val="accent1"/>
              </a:buClr>
              <a:defRPr/>
            </a:pPr>
            <a:r>
              <a:rPr lang="ru-RU" sz="1467" noProof="1">
                <a:solidFill>
                  <a:srgbClr val="002060"/>
                </a:solidFill>
                <a:latin typeface="Arial" panose="020B0604020202020204" pitchFamily="34" charset="0"/>
              </a:rPr>
              <a:t>Производство</a:t>
            </a:r>
            <a:endParaRPr lang="ru-RU" sz="1400" noProof="1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63496" name="TextBox 23"/>
          <p:cNvSpPr txBox="1">
            <a:spLocks noChangeArrowheads="1"/>
          </p:cNvSpPr>
          <p:nvPr/>
        </p:nvSpPr>
        <p:spPr bwMode="auto">
          <a:xfrm>
            <a:off x="4051301" y="1921933"/>
            <a:ext cx="1384300" cy="37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67" b="1">
                <a:solidFill>
                  <a:srgbClr val="002060"/>
                </a:solidFill>
                <a:latin typeface="Arial" panose="020B0604020202020204" pitchFamily="34" charset="0"/>
              </a:rPr>
              <a:t>+18,3%</a:t>
            </a:r>
          </a:p>
        </p:txBody>
      </p:sp>
      <p:sp>
        <p:nvSpPr>
          <p:cNvPr id="63497" name="Прямоугольник 10"/>
          <p:cNvSpPr>
            <a:spLocks noChangeArrowheads="1"/>
          </p:cNvSpPr>
          <p:nvPr/>
        </p:nvSpPr>
        <p:spPr bwMode="auto">
          <a:xfrm>
            <a:off x="2000251" y="3168652"/>
            <a:ext cx="2364316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6400" b="1">
                <a:solidFill>
                  <a:srgbClr val="00B050"/>
                </a:solidFill>
                <a:latin typeface="Arial" panose="020B0604020202020204" pitchFamily="34" charset="0"/>
              </a:rPr>
              <a:t>8,1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B050"/>
                </a:solidFill>
                <a:latin typeface="Arial" panose="020B0604020202020204" pitchFamily="34" charset="0"/>
              </a:rPr>
              <a:t>млрд тг </a:t>
            </a:r>
          </a:p>
        </p:txBody>
      </p:sp>
      <p:sp>
        <p:nvSpPr>
          <p:cNvPr id="26" name="Прямоугольник 25">
            <a:extLst/>
          </p:cNvPr>
          <p:cNvSpPr/>
          <p:nvPr/>
        </p:nvSpPr>
        <p:spPr>
          <a:xfrm>
            <a:off x="2095501" y="3041651"/>
            <a:ext cx="2214033" cy="318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buClr>
                <a:schemeClr val="accent1"/>
              </a:buClr>
              <a:defRPr/>
            </a:pPr>
            <a:r>
              <a:rPr lang="ru-RU" sz="1467" noProof="1">
                <a:solidFill>
                  <a:srgbClr val="002060"/>
                </a:solidFill>
                <a:latin typeface="Arial" panose="020B0604020202020204" pitchFamily="34" charset="0"/>
              </a:rPr>
              <a:t>Инвестиции</a:t>
            </a:r>
            <a:endParaRPr lang="ru-RU" sz="1400" noProof="1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63499" name="TextBox 29"/>
          <p:cNvSpPr txBox="1">
            <a:spLocks noChangeArrowheads="1"/>
          </p:cNvSpPr>
          <p:nvPr/>
        </p:nvSpPr>
        <p:spPr bwMode="auto">
          <a:xfrm>
            <a:off x="4176184" y="3733801"/>
            <a:ext cx="1013883" cy="37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67" b="1">
                <a:solidFill>
                  <a:srgbClr val="002060"/>
                </a:solidFill>
                <a:latin typeface="Arial" panose="020B0604020202020204" pitchFamily="34" charset="0"/>
              </a:rPr>
              <a:t>+5,2%</a:t>
            </a:r>
          </a:p>
        </p:txBody>
      </p:sp>
      <p:sp>
        <p:nvSpPr>
          <p:cNvPr id="63500" name="Прямоугольник 10"/>
          <p:cNvSpPr>
            <a:spLocks noChangeArrowheads="1"/>
          </p:cNvSpPr>
          <p:nvPr/>
        </p:nvSpPr>
        <p:spPr bwMode="auto">
          <a:xfrm>
            <a:off x="1945218" y="4991101"/>
            <a:ext cx="2364316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6400" b="1">
                <a:solidFill>
                  <a:srgbClr val="00B050"/>
                </a:solidFill>
                <a:latin typeface="Arial" panose="020B0604020202020204" pitchFamily="34" charset="0"/>
              </a:rPr>
              <a:t>58,9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B050"/>
                </a:solidFill>
                <a:latin typeface="Arial" panose="020B0604020202020204" pitchFamily="34" charset="0"/>
              </a:rPr>
              <a:t>млн долл. США</a:t>
            </a:r>
          </a:p>
        </p:txBody>
      </p:sp>
      <p:sp>
        <p:nvSpPr>
          <p:cNvPr id="33" name="Прямоугольник 32">
            <a:extLst/>
          </p:cNvPr>
          <p:cNvSpPr/>
          <p:nvPr/>
        </p:nvSpPr>
        <p:spPr>
          <a:xfrm>
            <a:off x="2114552" y="4686300"/>
            <a:ext cx="2214033" cy="318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buClr>
                <a:schemeClr val="accent1"/>
              </a:buClr>
              <a:defRPr/>
            </a:pPr>
            <a:r>
              <a:rPr lang="ru-RU" sz="1467" noProof="1">
                <a:solidFill>
                  <a:srgbClr val="002060"/>
                </a:solidFill>
                <a:latin typeface="Arial" panose="020B0604020202020204" pitchFamily="34" charset="0"/>
              </a:rPr>
              <a:t>Экспорт</a:t>
            </a:r>
            <a:endParaRPr lang="ru-RU" sz="1400" noProof="1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63502" name="TextBox 36"/>
          <p:cNvSpPr txBox="1">
            <a:spLocks noChangeArrowheads="1"/>
          </p:cNvSpPr>
          <p:nvPr/>
        </p:nvSpPr>
        <p:spPr bwMode="auto">
          <a:xfrm>
            <a:off x="4233334" y="5583767"/>
            <a:ext cx="1013884" cy="37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67" b="1">
                <a:solidFill>
                  <a:srgbClr val="002060"/>
                </a:solidFill>
                <a:latin typeface="Arial" panose="020B0604020202020204" pitchFamily="34" charset="0"/>
              </a:rPr>
              <a:t>+69%</a:t>
            </a:r>
          </a:p>
        </p:txBody>
      </p:sp>
      <p:sp>
        <p:nvSpPr>
          <p:cNvPr id="63503" name="Прямоугольник 10"/>
          <p:cNvSpPr>
            <a:spLocks noChangeArrowheads="1"/>
          </p:cNvSpPr>
          <p:nvPr/>
        </p:nvSpPr>
        <p:spPr bwMode="auto">
          <a:xfrm>
            <a:off x="7327901" y="1492252"/>
            <a:ext cx="2366433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6400" b="1">
                <a:solidFill>
                  <a:srgbClr val="00B050"/>
                </a:solidFill>
                <a:latin typeface="Arial" panose="020B0604020202020204" pitchFamily="34" charset="0"/>
              </a:rPr>
              <a:t>81,5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B050"/>
                </a:solidFill>
                <a:latin typeface="Arial" panose="020B0604020202020204" pitchFamily="34" charset="0"/>
              </a:rPr>
              <a:t>млрд тг </a:t>
            </a:r>
          </a:p>
        </p:txBody>
      </p:sp>
      <p:sp>
        <p:nvSpPr>
          <p:cNvPr id="40" name="Прямоугольник 39">
            <a:extLst/>
          </p:cNvPr>
          <p:cNvSpPr/>
          <p:nvPr/>
        </p:nvSpPr>
        <p:spPr>
          <a:xfrm>
            <a:off x="7514168" y="1356784"/>
            <a:ext cx="2214033" cy="318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buClr>
                <a:schemeClr val="accent1"/>
              </a:buClr>
              <a:defRPr/>
            </a:pPr>
            <a:r>
              <a:rPr lang="ru-RU" sz="1467" noProof="1">
                <a:solidFill>
                  <a:srgbClr val="002060"/>
                </a:solidFill>
                <a:latin typeface="Arial" panose="020B0604020202020204" pitchFamily="34" charset="0"/>
              </a:rPr>
              <a:t>Производство</a:t>
            </a:r>
            <a:endParaRPr lang="ru-RU" sz="1400" noProof="1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63505" name="TextBox 45"/>
          <p:cNvSpPr txBox="1">
            <a:spLocks noChangeArrowheads="1"/>
          </p:cNvSpPr>
          <p:nvPr/>
        </p:nvSpPr>
        <p:spPr bwMode="auto">
          <a:xfrm>
            <a:off x="9609667" y="1953685"/>
            <a:ext cx="1263651" cy="37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67" b="1">
                <a:solidFill>
                  <a:srgbClr val="002060"/>
                </a:solidFill>
                <a:latin typeface="Arial" panose="020B0604020202020204" pitchFamily="34" charset="0"/>
              </a:rPr>
              <a:t>+34,1%</a:t>
            </a:r>
          </a:p>
        </p:txBody>
      </p:sp>
      <p:sp>
        <p:nvSpPr>
          <p:cNvPr id="63506" name="Прямоугольник 10"/>
          <p:cNvSpPr>
            <a:spLocks noChangeArrowheads="1"/>
          </p:cNvSpPr>
          <p:nvPr/>
        </p:nvSpPr>
        <p:spPr bwMode="auto">
          <a:xfrm>
            <a:off x="7399868" y="3210985"/>
            <a:ext cx="2366433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6400" b="1">
                <a:solidFill>
                  <a:srgbClr val="00B050"/>
                </a:solidFill>
                <a:latin typeface="Arial" panose="020B0604020202020204" pitchFamily="34" charset="0"/>
              </a:rPr>
              <a:t>4,1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B050"/>
                </a:solidFill>
                <a:latin typeface="Arial" panose="020B0604020202020204" pitchFamily="34" charset="0"/>
              </a:rPr>
              <a:t>млрд тг </a:t>
            </a:r>
          </a:p>
        </p:txBody>
      </p:sp>
      <p:sp>
        <p:nvSpPr>
          <p:cNvPr id="48" name="Прямоугольник 47">
            <a:extLst/>
          </p:cNvPr>
          <p:cNvSpPr/>
          <p:nvPr/>
        </p:nvSpPr>
        <p:spPr>
          <a:xfrm>
            <a:off x="7495118" y="3083984"/>
            <a:ext cx="2214033" cy="318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buClr>
                <a:schemeClr val="accent1"/>
              </a:buClr>
              <a:defRPr/>
            </a:pPr>
            <a:r>
              <a:rPr lang="ru-RU" sz="1467" noProof="1">
                <a:solidFill>
                  <a:srgbClr val="002060"/>
                </a:solidFill>
                <a:latin typeface="Arial" panose="020B0604020202020204" pitchFamily="34" charset="0"/>
              </a:rPr>
              <a:t>Инвестиции</a:t>
            </a:r>
            <a:endParaRPr lang="ru-RU" sz="1400" noProof="1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63508" name="TextBox 50"/>
          <p:cNvSpPr txBox="1">
            <a:spLocks noChangeArrowheads="1"/>
          </p:cNvSpPr>
          <p:nvPr/>
        </p:nvSpPr>
        <p:spPr bwMode="auto">
          <a:xfrm>
            <a:off x="9696451" y="3805767"/>
            <a:ext cx="1013883" cy="37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67" b="1">
                <a:solidFill>
                  <a:srgbClr val="002060"/>
                </a:solidFill>
                <a:latin typeface="Arial" panose="020B0604020202020204" pitchFamily="34" charset="0"/>
              </a:rPr>
              <a:t>+5,2%</a:t>
            </a:r>
          </a:p>
        </p:txBody>
      </p:sp>
      <p:sp>
        <p:nvSpPr>
          <p:cNvPr id="63509" name="Прямоугольник 10"/>
          <p:cNvSpPr>
            <a:spLocks noChangeArrowheads="1"/>
          </p:cNvSpPr>
          <p:nvPr/>
        </p:nvSpPr>
        <p:spPr bwMode="auto">
          <a:xfrm>
            <a:off x="7344834" y="5033434"/>
            <a:ext cx="2364317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6400" b="1">
                <a:solidFill>
                  <a:srgbClr val="00B050"/>
                </a:solidFill>
                <a:latin typeface="Arial" panose="020B0604020202020204" pitchFamily="34" charset="0"/>
              </a:rPr>
              <a:t>32,9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00B050"/>
                </a:solidFill>
                <a:latin typeface="Arial" panose="020B0604020202020204" pitchFamily="34" charset="0"/>
              </a:rPr>
              <a:t>млн долл. США</a:t>
            </a:r>
          </a:p>
        </p:txBody>
      </p:sp>
      <p:sp>
        <p:nvSpPr>
          <p:cNvPr id="53" name="Прямоугольник 52">
            <a:extLst/>
          </p:cNvPr>
          <p:cNvSpPr/>
          <p:nvPr/>
        </p:nvSpPr>
        <p:spPr>
          <a:xfrm>
            <a:off x="7514168" y="4728634"/>
            <a:ext cx="2214033" cy="318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buClr>
                <a:schemeClr val="accent1"/>
              </a:buClr>
              <a:defRPr/>
            </a:pPr>
            <a:r>
              <a:rPr lang="ru-RU" sz="1467" noProof="1">
                <a:solidFill>
                  <a:srgbClr val="002060"/>
                </a:solidFill>
                <a:latin typeface="Arial" panose="020B0604020202020204" pitchFamily="34" charset="0"/>
              </a:rPr>
              <a:t>Экспорт*</a:t>
            </a:r>
            <a:endParaRPr lang="ru-RU" sz="1400" noProof="1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63511" name="TextBox 67"/>
          <p:cNvSpPr txBox="1">
            <a:spLocks noChangeArrowheads="1"/>
          </p:cNvSpPr>
          <p:nvPr/>
        </p:nvSpPr>
        <p:spPr bwMode="auto">
          <a:xfrm>
            <a:off x="9685867" y="5615518"/>
            <a:ext cx="1013884" cy="37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67" b="1">
                <a:solidFill>
                  <a:srgbClr val="002060"/>
                </a:solidFill>
                <a:latin typeface="Arial" panose="020B0604020202020204" pitchFamily="34" charset="0"/>
              </a:rPr>
              <a:t>-2,9%</a:t>
            </a:r>
          </a:p>
        </p:txBody>
      </p:sp>
      <p:sp>
        <p:nvSpPr>
          <p:cNvPr id="29" name="Прямоугольник 28">
            <a:extLst/>
          </p:cNvPr>
          <p:cNvSpPr/>
          <p:nvPr/>
        </p:nvSpPr>
        <p:spPr>
          <a:xfrm>
            <a:off x="1295401" y="1066801"/>
            <a:ext cx="4440767" cy="5439833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eaLnBrk="1" hangingPunct="1">
              <a:defRPr/>
            </a:pPr>
            <a:endParaRPr lang="ru-RU" sz="1067"/>
          </a:p>
        </p:txBody>
      </p:sp>
      <p:sp>
        <p:nvSpPr>
          <p:cNvPr id="63513" name="TextBox 33"/>
          <p:cNvSpPr txBox="1">
            <a:spLocks noChangeArrowheads="1"/>
          </p:cNvSpPr>
          <p:nvPr/>
        </p:nvSpPr>
        <p:spPr bwMode="auto">
          <a:xfrm>
            <a:off x="2468034" y="872067"/>
            <a:ext cx="1919817" cy="39748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1" rIns="68580" bIns="34291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chemeClr val="accent1"/>
              </a:buClr>
              <a:buFontTx/>
              <a:buNone/>
            </a:pPr>
            <a:r>
              <a:rPr lang="ru-RU" altLang="ru-RU" sz="2133" b="1" i="1" u="sng" noProof="1">
                <a:solidFill>
                  <a:srgbClr val="002060"/>
                </a:solidFill>
                <a:latin typeface="Arial" panose="020B0604020202020204" pitchFamily="34" charset="0"/>
              </a:rPr>
              <a:t>2019 г.</a:t>
            </a:r>
          </a:p>
        </p:txBody>
      </p:sp>
      <p:sp>
        <p:nvSpPr>
          <p:cNvPr id="35" name="Прямоугольник 34">
            <a:extLst/>
          </p:cNvPr>
          <p:cNvSpPr/>
          <p:nvPr/>
        </p:nvSpPr>
        <p:spPr>
          <a:xfrm>
            <a:off x="6574367" y="1066801"/>
            <a:ext cx="4461933" cy="5439833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eaLnBrk="1" hangingPunct="1">
              <a:defRPr/>
            </a:pPr>
            <a:endParaRPr lang="ru-RU" sz="1067"/>
          </a:p>
        </p:txBody>
      </p:sp>
      <p:sp>
        <p:nvSpPr>
          <p:cNvPr id="63515" name="TextBox 35"/>
          <p:cNvSpPr txBox="1">
            <a:spLocks noChangeArrowheads="1"/>
          </p:cNvSpPr>
          <p:nvPr/>
        </p:nvSpPr>
        <p:spPr bwMode="auto">
          <a:xfrm>
            <a:off x="8219017" y="872067"/>
            <a:ext cx="1919816" cy="39748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1" rIns="68580" bIns="34291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chemeClr val="accent1"/>
              </a:buClr>
              <a:buFontTx/>
              <a:buNone/>
            </a:pPr>
            <a:r>
              <a:rPr lang="ru-RU" altLang="ru-RU" sz="2133" b="1" i="1" u="sng" noProof="1">
                <a:solidFill>
                  <a:srgbClr val="002060"/>
                </a:solidFill>
                <a:latin typeface="Arial" panose="020B0604020202020204" pitchFamily="34" charset="0"/>
              </a:rPr>
              <a:t>8 мес. 2020 г.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-14817" y="23284"/>
            <a:ext cx="12206817" cy="4572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anchor="ctr"/>
          <a:lstStyle/>
          <a:p>
            <a:pPr algn="ctr" defTabSz="1219110">
              <a:defRPr/>
            </a:pPr>
            <a:r>
              <a:rPr lang="ru-RU" sz="2133" b="1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ИНДИКАТОРЫ ФАРМАЦЕВТИЧЕСКОЙ ПРОМЫШЛЕННОСТИ</a:t>
            </a:r>
          </a:p>
        </p:txBody>
      </p:sp>
    </p:spTree>
    <p:extLst>
      <p:ext uri="{BB962C8B-B14F-4D97-AF65-F5344CB8AC3E}">
        <p14:creationId xmlns:p14="http://schemas.microsoft.com/office/powerpoint/2010/main" val="1081680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Заголовок 1">
            <a:extLst/>
          </p:cNvPr>
          <p:cNvSpPr txBox="1">
            <a:spLocks/>
          </p:cNvSpPr>
          <p:nvPr/>
        </p:nvSpPr>
        <p:spPr>
          <a:xfrm>
            <a:off x="1659467" y="673100"/>
            <a:ext cx="9601200" cy="1481667"/>
          </a:xfrm>
          <a:prstGeom prst="rect">
            <a:avLst/>
          </a:prstGeom>
        </p:spPr>
        <p:txBody>
          <a:bodyPr lIns="0" tIns="0" rIns="0" bIns="0"/>
          <a:lstStyle>
            <a:lvl1pPr algn="l" defTabSz="1280160" rtl="0" eaLnBrk="1" latinLnBrk="0" hangingPunct="1">
              <a:spcBef>
                <a:spcPct val="0"/>
              </a:spcBef>
              <a:buNone/>
              <a:defRPr sz="252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3200" b="1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 рынке Казахстана функционируют  </a:t>
            </a:r>
          </a:p>
          <a:p>
            <a:pPr algn="ctr">
              <a:defRPr/>
            </a:pPr>
            <a:r>
              <a:rPr lang="ru-RU" sz="5867" b="1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  <a:r>
              <a:rPr lang="ru-RU" sz="5333" b="1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3200" b="1" dirty="0" err="1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ранснациональн</a:t>
            </a:r>
            <a:r>
              <a:rPr lang="kk-KZ" sz="3200" b="1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ые</a:t>
            </a:r>
            <a:r>
              <a:rPr lang="ru-RU" sz="3200" b="1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компании</a:t>
            </a:r>
            <a:endParaRPr lang="ru-RU" sz="3200" b="1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15900" y="615951"/>
            <a:ext cx="11736917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Заголовок 1">
            <a:extLst/>
          </p:cNvPr>
          <p:cNvSpPr txBox="1">
            <a:spLocks/>
          </p:cNvSpPr>
          <p:nvPr/>
        </p:nvSpPr>
        <p:spPr>
          <a:xfrm>
            <a:off x="2163234" y="4718051"/>
            <a:ext cx="8242300" cy="1881716"/>
          </a:xfrm>
          <a:prstGeom prst="rect">
            <a:avLst/>
          </a:prstGeom>
        </p:spPr>
        <p:txBody>
          <a:bodyPr lIns="0" tIns="0" rIns="0" bIns="0"/>
          <a:lstStyle>
            <a:lvl1pPr algn="l" defTabSz="1280160" rtl="0" eaLnBrk="1" latinLnBrk="0" hangingPunct="1">
              <a:spcBef>
                <a:spcPct val="0"/>
              </a:spcBef>
              <a:buNone/>
              <a:defRPr sz="252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ru-RU" sz="7200" b="1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4%</a:t>
            </a:r>
          </a:p>
          <a:p>
            <a:pPr algn="ctr">
              <a:defRPr/>
            </a:pPr>
            <a:r>
              <a:rPr lang="ru-RU" sz="1867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дукции производят предприятия </a:t>
            </a:r>
            <a:r>
              <a:rPr lang="ru-RU" sz="1867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 участием ТНК</a:t>
            </a:r>
            <a:endParaRPr lang="ru-RU" sz="1867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5542" name="Picture 4" descr="Image result for polpharm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4234" y="2131484"/>
            <a:ext cx="4269317" cy="127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543" name="Picture 2" descr="Image result for abdi ibrahim ilac sanayi ve ticaret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133" y="3435351"/>
            <a:ext cx="4859867" cy="1119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544" name="Picture 4" descr="АО «Фармстандарт» — Adposium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6101" y="3551767"/>
            <a:ext cx="3435351" cy="886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545" name="Picture 6" descr="Kelun Pharmaceutical - ADC Directory Member - Antibody-drug Conjugate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0900" y="1896534"/>
            <a:ext cx="5700184" cy="1629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-14817" y="-12700"/>
            <a:ext cx="12206817" cy="4572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anchor="ctr"/>
          <a:lstStyle/>
          <a:p>
            <a:pPr algn="ctr" defTabSz="1219110">
              <a:defRPr/>
            </a:pPr>
            <a:r>
              <a:rPr lang="ru-RU" sz="2133" b="1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ПРОИЗВОДИТЕЛИ ОТРАСЛИ</a:t>
            </a:r>
          </a:p>
        </p:txBody>
      </p:sp>
    </p:spTree>
    <p:extLst>
      <p:ext uri="{BB962C8B-B14F-4D97-AF65-F5344CB8AC3E}">
        <p14:creationId xmlns:p14="http://schemas.microsoft.com/office/powerpoint/2010/main" val="1632403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Прямоугольник 9"/>
          <p:cNvSpPr>
            <a:spLocks noChangeArrowheads="1"/>
          </p:cNvSpPr>
          <p:nvPr/>
        </p:nvSpPr>
        <p:spPr bwMode="auto">
          <a:xfrm>
            <a:off x="6675967" y="1826684"/>
            <a:ext cx="3837517" cy="451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5" tIns="60957" rIns="121915" bIns="60957">
            <a:spAutoFit/>
          </a:bodyPr>
          <a:lstStyle>
            <a:lvl1pPr defTabSz="684213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4213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4213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4213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4213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42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42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42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42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ru-RU" altLang="ru-RU" sz="1067" i="1">
                <a:solidFill>
                  <a:srgbClr val="002060"/>
                </a:solidFill>
                <a:latin typeface="Arial" panose="020B0604020202020204" pitchFamily="34" charset="0"/>
              </a:rPr>
              <a:t>Динамика закупа фармацевтической продукции</a:t>
            </a: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ru-RU" altLang="ru-RU" sz="1067" i="1">
                <a:solidFill>
                  <a:srgbClr val="002060"/>
                </a:solidFill>
                <a:latin typeface="Arial" panose="020B0604020202020204" pitchFamily="34" charset="0"/>
              </a:rPr>
              <a:t> (млрд. тенге)</a:t>
            </a:r>
          </a:p>
        </p:txBody>
      </p:sp>
      <p:graphicFrame>
        <p:nvGraphicFramePr>
          <p:cNvPr id="67587" name="Диаграмма 37"/>
          <p:cNvGraphicFramePr>
            <a:graphicFrameLocks/>
          </p:cNvGraphicFramePr>
          <p:nvPr/>
        </p:nvGraphicFramePr>
        <p:xfrm>
          <a:off x="1295400" y="2180167"/>
          <a:ext cx="9668933" cy="40364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" r:id="rId4" imgW="6255038" imgH="2377646" progId="Excel.Chart.8">
                  <p:embed/>
                </p:oleObj>
              </mc:Choice>
              <mc:Fallback>
                <p:oleObj r:id="rId4" imgW="6255038" imgH="2377646" progId="Excel.Chart.8">
                  <p:embed/>
                  <p:pic>
                    <p:nvPicPr>
                      <p:cNvPr id="67587" name="Диаграмма 37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95400" y="2180167"/>
                        <a:ext cx="9668933" cy="403648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588" name="Текст 4"/>
          <p:cNvSpPr txBox="1">
            <a:spLocks/>
          </p:cNvSpPr>
          <p:nvPr/>
        </p:nvSpPr>
        <p:spPr bwMode="auto">
          <a:xfrm>
            <a:off x="1043518" y="1365252"/>
            <a:ext cx="10272183" cy="4779433"/>
          </a:xfrm>
          <a:prstGeom prst="rect">
            <a:avLst/>
          </a:prstGeom>
          <a:noFill/>
          <a:ln w="9525">
            <a:solidFill>
              <a:srgbClr val="5F606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51425" tIns="51425" rIns="51425" bIns="51425"/>
          <a:lstStyle>
            <a:lvl1pPr defTabSz="684213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4213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4213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4213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4213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42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42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42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42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ts val="600"/>
              </a:spcBef>
              <a:buClr>
                <a:srgbClr val="376092"/>
              </a:buClr>
              <a:buNone/>
            </a:pPr>
            <a:endParaRPr lang="ru-RU" altLang="ru-RU" sz="120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spcBef>
                <a:spcPts val="600"/>
              </a:spcBef>
              <a:buClr>
                <a:srgbClr val="376092"/>
              </a:buClr>
              <a:buNone/>
            </a:pPr>
            <a:endParaRPr lang="ru-RU" altLang="ru-RU" sz="120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spcBef>
                <a:spcPts val="600"/>
              </a:spcBef>
              <a:buClr>
                <a:srgbClr val="376092"/>
              </a:buClr>
              <a:buNone/>
            </a:pPr>
            <a:endParaRPr lang="ru-RU" altLang="ru-RU" sz="120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67589" name="TextBox 39"/>
          <p:cNvSpPr txBox="1">
            <a:spLocks noChangeArrowheads="1"/>
          </p:cNvSpPr>
          <p:nvPr/>
        </p:nvSpPr>
        <p:spPr bwMode="auto">
          <a:xfrm>
            <a:off x="3649134" y="825500"/>
            <a:ext cx="5035551" cy="73866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684213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4213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4213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4213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4213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42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42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42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421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ts val="600"/>
              </a:spcBef>
              <a:buClr>
                <a:srgbClr val="376092"/>
              </a:buClr>
              <a:buNone/>
            </a:pPr>
            <a:r>
              <a:rPr lang="ru-RU" altLang="ru-RU" sz="2400" b="1" dirty="0">
                <a:solidFill>
                  <a:srgbClr val="002060"/>
                </a:solidFill>
                <a:latin typeface="Arial" panose="020B0604020202020204" pitchFamily="34" charset="0"/>
              </a:rPr>
              <a:t>Доля ОТП в закупках ЛС и МИ</a:t>
            </a:r>
            <a:r>
              <a:rPr lang="ru-RU" altLang="ru-RU" sz="2400" dirty="0">
                <a:solidFill>
                  <a:srgbClr val="002060"/>
                </a:solidFill>
                <a:latin typeface="Arial" panose="020B0604020202020204" pitchFamily="34" charset="0"/>
              </a:rPr>
              <a:t/>
            </a:r>
            <a:br>
              <a:rPr lang="ru-RU" altLang="ru-RU" sz="2400" dirty="0">
                <a:solidFill>
                  <a:srgbClr val="002060"/>
                </a:solidFill>
                <a:latin typeface="Arial" panose="020B0604020202020204" pitchFamily="34" charset="0"/>
              </a:rPr>
            </a:br>
            <a:r>
              <a:rPr lang="ru-RU" altLang="ru-RU" sz="2400" b="1" dirty="0">
                <a:solidFill>
                  <a:srgbClr val="00B050"/>
                </a:solidFill>
                <a:latin typeface="Arial" panose="020B0604020202020204" pitchFamily="34" charset="0"/>
              </a:rPr>
              <a:t>ДО 30% </a:t>
            </a:r>
            <a:r>
              <a:rPr lang="ru-RU" altLang="ru-RU" sz="2400" dirty="0">
                <a:solidFill>
                  <a:srgbClr val="002060"/>
                </a:solidFill>
                <a:latin typeface="Arial" panose="020B0604020202020204" pitchFamily="34" charset="0"/>
              </a:rPr>
              <a:t>или </a:t>
            </a:r>
            <a:r>
              <a:rPr lang="ru-RU" altLang="ru-RU" sz="2400" b="1" dirty="0">
                <a:solidFill>
                  <a:srgbClr val="00B050"/>
                </a:solidFill>
                <a:latin typeface="Arial" panose="020B0604020202020204" pitchFamily="34" charset="0"/>
              </a:rPr>
              <a:t>55 млрд. тенге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-14817" y="-12700"/>
            <a:ext cx="12206817" cy="4572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anchor="ctr"/>
          <a:lstStyle/>
          <a:p>
            <a:pPr algn="ctr" defTabSz="1219110">
              <a:defRPr/>
            </a:pPr>
            <a:r>
              <a:rPr lang="ru-RU" sz="2133" b="1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ИКА </a:t>
            </a:r>
            <a:r>
              <a:rPr lang="ru-RU" sz="2133" b="1" cap="all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п</a:t>
            </a:r>
            <a:r>
              <a:rPr lang="ru-RU" sz="2133" b="1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ЗАКУПКАХ</a:t>
            </a:r>
          </a:p>
        </p:txBody>
      </p:sp>
    </p:spTree>
    <p:extLst>
      <p:ext uri="{BB962C8B-B14F-4D97-AF65-F5344CB8AC3E}">
        <p14:creationId xmlns:p14="http://schemas.microsoft.com/office/powerpoint/2010/main" val="2684639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DC1EDD2-5156-4C78-B4CC-0F7C486904F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97" r="19473"/>
          <a:stretch/>
        </p:blipFill>
        <p:spPr>
          <a:xfrm>
            <a:off x="510746" y="1439665"/>
            <a:ext cx="3657600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501188AF-66C9-4AAA-A13A-44C37A9AA3C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24" r="34102"/>
          <a:stretch/>
        </p:blipFill>
        <p:spPr>
          <a:xfrm>
            <a:off x="3047997" y="1439665"/>
            <a:ext cx="3707027" cy="3978893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14C3997A-412B-4A32-BBDD-47C610D6C31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3" r="39982"/>
          <a:stretch/>
        </p:blipFill>
        <p:spPr>
          <a:xfrm>
            <a:off x="5560543" y="1439665"/>
            <a:ext cx="3731740" cy="3991430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13023DF2-4F41-434C-BFC2-4F97EF92A44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09" r="25508"/>
          <a:stretch/>
        </p:blipFill>
        <p:spPr>
          <a:xfrm>
            <a:off x="8079161" y="1439665"/>
            <a:ext cx="3690552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sp>
        <p:nvSpPr>
          <p:cNvPr id="6" name="Прямоугольник 5"/>
          <p:cNvSpPr/>
          <p:nvPr/>
        </p:nvSpPr>
        <p:spPr>
          <a:xfrm>
            <a:off x="1185331" y="2853267"/>
            <a:ext cx="9905999" cy="1202266"/>
          </a:xfrm>
          <a:custGeom>
            <a:avLst/>
            <a:gdLst>
              <a:gd name="connsiteX0" fmla="*/ 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0 w 9889066"/>
              <a:gd name="connsiteY4" fmla="*/ 0 h 1202266"/>
              <a:gd name="connsiteX0" fmla="*/ 35560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355600 w 9889066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905999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89467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89467 w 9905999"/>
              <a:gd name="connsiteY4" fmla="*/ 0 h 1202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5999" h="1202266">
                <a:moveTo>
                  <a:pt x="389467" y="0"/>
                </a:moveTo>
                <a:lnTo>
                  <a:pt x="9905999" y="0"/>
                </a:lnTo>
                <a:lnTo>
                  <a:pt x="9541933" y="1202266"/>
                </a:lnTo>
                <a:lnTo>
                  <a:pt x="0" y="1202266"/>
                </a:lnTo>
                <a:lnTo>
                  <a:pt x="38946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85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1587062" y="5578179"/>
            <a:ext cx="8664085" cy="1013615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3pPr>
            <a:lvl4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endParaRPr lang="ru-RU" sz="20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АО «</a:t>
            </a:r>
            <a:r>
              <a:rPr lang="en-US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QAZINDUSTRY</a:t>
            </a:r>
            <a:r>
              <a:rPr lang="ru-RU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»,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2024 год </a:t>
            </a:r>
            <a:endParaRPr lang="ru-RU" sz="2000" b="0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20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3" name="Picture 6" descr="Главная | Qazindustry"/>
          <p:cNvPicPr>
            <a:picLocks noChangeAspect="1" noChangeArrowheads="1"/>
          </p:cNvPicPr>
          <p:nvPr/>
        </p:nvPicPr>
        <p:blipFill>
          <a:blip r:embed="rId7" cstate="hqprint">
            <a:clrChange>
              <a:clrFrom>
                <a:srgbClr val="FDFEFF"/>
              </a:clrFrom>
              <a:clrTo>
                <a:srgbClr val="FDFE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0" y="356937"/>
            <a:ext cx="2458454" cy="840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510746" y="2977346"/>
            <a:ext cx="110917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15264">
              <a:buClr>
                <a:schemeClr val="tx2"/>
              </a:buClr>
              <a:defRPr/>
            </a:pP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еры государственного стимулирования, </a:t>
            </a:r>
            <a:endParaRPr lang="ru-RU" sz="2800" b="1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ctr" defTabSz="515264">
              <a:buClr>
                <a:schemeClr val="tx2"/>
              </a:buClr>
              <a:defRPr/>
            </a:pPr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аправленные 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а повышение производительности труда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729474" y="813573"/>
            <a:ext cx="3338395" cy="714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ПРИЛОЖЕНИЕ </a:t>
            </a:r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6</a:t>
            </a:r>
            <a:endParaRPr lang="ru-RU" sz="32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9361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37C5CB6-8AA1-1878-7C0A-33AB572E5243}"/>
              </a:ext>
            </a:extLst>
          </p:cNvPr>
          <p:cNvSpPr/>
          <p:nvPr/>
        </p:nvSpPr>
        <p:spPr>
          <a:xfrm>
            <a:off x="8033657" y="443906"/>
            <a:ext cx="3756845" cy="48900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13546"/>
            <a:endParaRPr lang="ru-RU" b="1" spc="-7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A6DB25C4-3E34-5BE2-5291-EDB9D54EA8DB}"/>
              </a:ext>
            </a:extLst>
          </p:cNvPr>
          <p:cNvSpPr/>
          <p:nvPr/>
        </p:nvSpPr>
        <p:spPr>
          <a:xfrm>
            <a:off x="4465602" y="439264"/>
            <a:ext cx="2963649" cy="48460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13546"/>
            <a:endParaRPr lang="ru-RU" b="1" spc="-7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48FF3136-2B01-DB62-0768-1A962A28BFB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3707" y="520225"/>
            <a:ext cx="384938" cy="327362"/>
          </a:xfrm>
          <a:prstGeom prst="rect">
            <a:avLst/>
          </a:prstGeom>
          <a:effectLst>
            <a:outerShdw blurRad="50800" dist="50800" dir="5400000" algn="ctr" rotWithShape="0">
              <a:srgbClr val="002060"/>
            </a:outerShdw>
          </a:effectLst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F3E91FFA-C1B2-009D-159D-BBA340F666F9}"/>
              </a:ext>
            </a:extLst>
          </p:cNvPr>
          <p:cNvSpPr/>
          <p:nvPr/>
        </p:nvSpPr>
        <p:spPr>
          <a:xfrm>
            <a:off x="7988594" y="3459851"/>
            <a:ext cx="3767159" cy="4357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13546"/>
            <a:endParaRPr lang="ru-RU" b="1" spc="-7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E1A8F4F5-2C81-647E-D5A9-7A666268FF0F}"/>
              </a:ext>
            </a:extLst>
          </p:cNvPr>
          <p:cNvSpPr/>
          <p:nvPr/>
        </p:nvSpPr>
        <p:spPr>
          <a:xfrm>
            <a:off x="146562" y="3458556"/>
            <a:ext cx="3493242" cy="41556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13546"/>
            <a:endParaRPr lang="ru-RU" b="1" spc="-7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A9DE269D-53B0-4126-AD47-E51D60454E47}"/>
              </a:ext>
            </a:extLst>
          </p:cNvPr>
          <p:cNvSpPr/>
          <p:nvPr/>
        </p:nvSpPr>
        <p:spPr>
          <a:xfrm>
            <a:off x="145129" y="445158"/>
            <a:ext cx="3496108" cy="4996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13546"/>
            <a:endParaRPr lang="ru-RU" b="1" spc="-7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04711A1-399A-4B1E-97C7-F37A2CB9C4DE}"/>
              </a:ext>
            </a:extLst>
          </p:cNvPr>
          <p:cNvSpPr txBox="1"/>
          <p:nvPr/>
        </p:nvSpPr>
        <p:spPr>
          <a:xfrm>
            <a:off x="0" y="-3067"/>
            <a:ext cx="12192000" cy="37955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lIns="162528" tIns="81263" rIns="162528" bIns="81263" rtlCol="0">
            <a:spAutoFit/>
          </a:bodyPr>
          <a:lstStyle/>
          <a:p>
            <a:pPr defTabSz="975390">
              <a:buClr>
                <a:srgbClr val="000000"/>
              </a:buClr>
            </a:pPr>
            <a:r>
              <a:rPr lang="ru-RU" sz="1400" b="1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ры государственного стимулирования, направленные на повышение производительности труда </a:t>
            </a:r>
          </a:p>
        </p:txBody>
      </p:sp>
      <p:pic>
        <p:nvPicPr>
          <p:cNvPr id="26" name="Изображение" descr="Изображение">
            <a:extLst>
              <a:ext uri="{FF2B5EF4-FFF2-40B4-BE49-F238E27FC236}">
                <a16:creationId xmlns:a16="http://schemas.microsoft.com/office/drawing/2014/main" id="{1F0923E1-42B3-402E-8653-92A6036B40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27871" y="90679"/>
            <a:ext cx="1441577" cy="210440"/>
          </a:xfrm>
          <a:prstGeom prst="rect">
            <a:avLst/>
          </a:prstGeom>
          <a:ln w="12700">
            <a:miter lim="400000"/>
          </a:ln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DEA25F83-E9E2-4B91-9F78-619A0DD36400}"/>
              </a:ext>
            </a:extLst>
          </p:cNvPr>
          <p:cNvSpPr txBox="1"/>
          <p:nvPr/>
        </p:nvSpPr>
        <p:spPr>
          <a:xfrm>
            <a:off x="707876" y="469947"/>
            <a:ext cx="282096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8900" marR="13546" algn="ctr"/>
            <a:r>
              <a:rPr lang="ru-RU" sz="1200" b="1" spc="-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КОМПЕТЕНЦИЙ РАБОТНИК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96112B1-467F-419D-B64D-EDD9A8AD7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85317" y="6471136"/>
            <a:ext cx="2743200" cy="365125"/>
          </a:xfrm>
        </p:spPr>
        <p:txBody>
          <a:bodyPr/>
          <a:lstStyle/>
          <a:p>
            <a:fld id="{33D8767E-5F03-4437-A142-6E142C65E7D1}" type="slidenum">
              <a:rPr lang="ru-RU" smtClean="0"/>
              <a:pPr/>
              <a:t>86</a:t>
            </a:fld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8EA35BB-6470-99EC-54C1-736233E9884F}"/>
              </a:ext>
            </a:extLst>
          </p:cNvPr>
          <p:cNvSpPr/>
          <p:nvPr/>
        </p:nvSpPr>
        <p:spPr>
          <a:xfrm>
            <a:off x="370941" y="6267996"/>
            <a:ext cx="8594169" cy="489751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88CF52-50DB-5EC0-7762-FA074346708F}"/>
              </a:ext>
            </a:extLst>
          </p:cNvPr>
          <p:cNvSpPr txBox="1"/>
          <p:nvPr/>
        </p:nvSpPr>
        <p:spPr>
          <a:xfrm>
            <a:off x="370941" y="6290909"/>
            <a:ext cx="851180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457200"/>
            <a:r>
              <a:rPr lang="ru-RU" sz="1400" b="1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величение </a:t>
            </a:r>
            <a:r>
              <a:rPr lang="ru-RU" sz="1400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ма доходов предприятия от реализации продукции и оказания услуг </a:t>
            </a:r>
            <a:r>
              <a:rPr lang="ru-RU" sz="1400" b="1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менее чем в 2 (два) раза от вложенной </a:t>
            </a:r>
            <a:r>
              <a:rPr lang="ru-RU" sz="1400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ом </a:t>
            </a:r>
            <a:r>
              <a:rPr lang="ru-RU" sz="1400" b="1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ммы</a:t>
            </a:r>
            <a:r>
              <a:rPr lang="ru-RU" sz="1400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 течение 2 (двух) лет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73C94B3-F590-1C60-B206-7A53EF334547}"/>
              </a:ext>
            </a:extLst>
          </p:cNvPr>
          <p:cNvSpPr txBox="1"/>
          <p:nvPr/>
        </p:nvSpPr>
        <p:spPr>
          <a:xfrm>
            <a:off x="4326833" y="6056733"/>
            <a:ext cx="310241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ТРЕЧНЫЕ ОБЯЗАТЕЛЬСТВА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632E0F-30C8-A165-8A63-2B4D3D013F9E}"/>
              </a:ext>
            </a:extLst>
          </p:cNvPr>
          <p:cNvSpPr txBox="1"/>
          <p:nvPr/>
        </p:nvSpPr>
        <p:spPr>
          <a:xfrm>
            <a:off x="120060" y="955031"/>
            <a:ext cx="395599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ru-RU" sz="10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р: </a:t>
            </a:r>
            <a:r>
              <a:rPr lang="ru-RU" sz="1000" b="1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%</a:t>
            </a:r>
          </a:p>
          <a:p>
            <a:pPr defTabSz="457200"/>
            <a:r>
              <a:rPr lang="ru-RU" sz="10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а: </a:t>
            </a:r>
            <a:r>
              <a:rPr lang="ru-RU" sz="1000" b="1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более 30 млн тенге</a:t>
            </a:r>
          </a:p>
          <a:p>
            <a:pPr defTabSz="457200"/>
            <a:r>
              <a:rPr lang="ru-RU" sz="10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рический период: </a:t>
            </a:r>
            <a:r>
              <a:rPr lang="ru-RU" sz="1000" b="1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 месяца (обучение, стажировка)</a:t>
            </a:r>
            <a:endParaRPr lang="ru-RU" sz="100" b="1" i="1" dirty="0">
              <a:solidFill>
                <a:srgbClr val="ED7D31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2B72A09B-A569-CE5D-A9A7-F0070194F4C8}"/>
              </a:ext>
            </a:extLst>
          </p:cNvPr>
          <p:cNvSpPr/>
          <p:nvPr/>
        </p:nvSpPr>
        <p:spPr>
          <a:xfrm>
            <a:off x="125160" y="1559095"/>
            <a:ext cx="3915226" cy="1677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457200"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квалификации инженерно-технического персонала, производственного персонала, в том числе топ-менеджеров (РК и зарубежье).</a:t>
            </a:r>
          </a:p>
          <a:p>
            <a:pPr marL="171450" indent="-171450" defTabSz="457200">
              <a:buFont typeface="Wingdings" panose="05000000000000000000" pitchFamily="2" charset="2"/>
              <a:buChar char="§"/>
              <a:defRPr/>
            </a:pPr>
            <a:endParaRPr lang="ru-RU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/>
            <a:r>
              <a:rPr lang="ru-RU" sz="10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р: </a:t>
            </a:r>
            <a:r>
              <a:rPr lang="ru-RU" sz="1000" b="1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%</a:t>
            </a:r>
          </a:p>
          <a:p>
            <a:pPr defTabSz="457200"/>
            <a:r>
              <a:rPr lang="ru-RU" sz="10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а: </a:t>
            </a:r>
            <a:r>
              <a:rPr lang="ru-RU" sz="1000" b="1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более 5 млн тенге</a:t>
            </a:r>
          </a:p>
          <a:p>
            <a:pPr defTabSz="457200"/>
            <a:r>
              <a:rPr lang="ru-RU" sz="10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рический период: </a:t>
            </a:r>
            <a:r>
              <a:rPr lang="ru-RU" sz="1000" b="1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месяцев (иностр. сотрудник)</a:t>
            </a:r>
          </a:p>
          <a:p>
            <a:pPr marL="171450" indent="-171450" defTabSz="457200">
              <a:buFont typeface="Wingdings" panose="05000000000000000000" pitchFamily="2" charset="2"/>
              <a:buChar char="§"/>
              <a:defRPr/>
            </a:pPr>
            <a:endParaRPr lang="ru-RU" sz="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defTabSz="457200">
              <a:buFont typeface="Wingdings" panose="05000000000000000000" pitchFamily="2" charset="2"/>
              <a:buChar char="§"/>
              <a:defRPr/>
            </a:pPr>
            <a:endParaRPr lang="ru-RU" sz="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defTabSz="457200"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лечение иностранного сотрудника по трудовому договору, </a:t>
            </a:r>
            <a:r>
              <a:rPr 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 т.ч. по продвижению продукции).</a:t>
            </a:r>
            <a:endParaRPr lang="ru-RU" sz="11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22AAB5D-67EA-1224-05AB-05C81D70E4F8}"/>
              </a:ext>
            </a:extLst>
          </p:cNvPr>
          <p:cNvSpPr txBox="1"/>
          <p:nvPr/>
        </p:nvSpPr>
        <p:spPr>
          <a:xfrm>
            <a:off x="8807659" y="471272"/>
            <a:ext cx="28738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РШЕНСТВОВАНИЕ ТЕХНОЛОГИЧЕСКИХ ПРОЦЕССОВ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15C85D4-1FD5-8572-04D5-46CC9E41D698}"/>
              </a:ext>
            </a:extLst>
          </p:cNvPr>
          <p:cNvSpPr txBox="1"/>
          <p:nvPr/>
        </p:nvSpPr>
        <p:spPr>
          <a:xfrm>
            <a:off x="707876" y="3441111"/>
            <a:ext cx="27511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ЭФФЕКТИВНОСТИ ОРГАНИЗАЦИИ ПРОИЗВОДСТВА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B5630C5C-4A64-08C2-118A-44755B286830}"/>
              </a:ext>
            </a:extLst>
          </p:cNvPr>
          <p:cNvSpPr/>
          <p:nvPr/>
        </p:nvSpPr>
        <p:spPr>
          <a:xfrm>
            <a:off x="138307" y="4625696"/>
            <a:ext cx="3630463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документации</a:t>
            </a: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endParaRPr lang="ru-RU" sz="3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и/или внедрение прогрессивных управленческих и производственных технологий;</a:t>
            </a: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endParaRPr lang="ru-RU" sz="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оэффективные и зеленые технологии;</a:t>
            </a: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endParaRPr lang="ru-RU" sz="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endParaRPr lang="ru-RU" sz="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менты Бережливого производства (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izen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PM, Six Sigma, 5 S,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ban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прочие)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F5C696D-C72E-3CB2-BA4E-0F33F3F2B0B0}"/>
              </a:ext>
            </a:extLst>
          </p:cNvPr>
          <p:cNvSpPr txBox="1"/>
          <p:nvPr/>
        </p:nvSpPr>
        <p:spPr>
          <a:xfrm>
            <a:off x="142027" y="4009577"/>
            <a:ext cx="245146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р: </a:t>
            </a:r>
            <a:r>
              <a:rPr lang="ru-RU" sz="1000" b="1" i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%</a:t>
            </a:r>
          </a:p>
          <a:p>
            <a:r>
              <a:rPr lang="ru-RU" sz="10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а: </a:t>
            </a:r>
            <a:r>
              <a:rPr lang="ru-RU" sz="1000" b="1" i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более 60 млн тенге</a:t>
            </a:r>
          </a:p>
          <a:p>
            <a:r>
              <a:rPr lang="ru-RU" sz="10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рический период: </a:t>
            </a:r>
            <a:r>
              <a:rPr lang="ru-RU" sz="1000" b="1" i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 месяца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D425E6AB-9590-54DE-B559-E9A80D7497E5}"/>
              </a:ext>
            </a:extLst>
          </p:cNvPr>
          <p:cNvSpPr/>
          <p:nvPr/>
        </p:nvSpPr>
        <p:spPr>
          <a:xfrm>
            <a:off x="7974431" y="1421946"/>
            <a:ext cx="4294654" cy="20159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/энергоаудит;</a:t>
            </a: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endParaRPr lang="ru-RU" sz="3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промышленного дизайна и упаковки продукции;</a:t>
            </a: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ru-RU" sz="1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ретение технологического оборудования;</a:t>
            </a: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endParaRPr lang="ru-RU" sz="3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женерный замысел и решение, поиск новых конструкций, технологий, оборудования; </a:t>
            </a: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endParaRPr lang="ru-RU" sz="3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таж, шеф-монтаж оборудования;</a:t>
            </a: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сконаладочные работы оборудования;</a:t>
            </a: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endParaRPr lang="ru-RU" sz="3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женерные, конструкторские разработки;</a:t>
            </a:r>
            <a:endParaRPr lang="ru-RU" sz="3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обслуживание оборудования; </a:t>
            </a: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endParaRPr lang="ru-RU" sz="3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</a:t>
            </a:r>
            <a:r>
              <a:rPr lang="ru-RU" sz="11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миспытаний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дукции.</a:t>
            </a:r>
            <a:endParaRPr lang="ru-RU" sz="3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EA89504-6E91-43FA-CCF1-5E7CAF92EEDF}"/>
              </a:ext>
            </a:extLst>
          </p:cNvPr>
          <p:cNvSpPr txBox="1"/>
          <p:nvPr/>
        </p:nvSpPr>
        <p:spPr>
          <a:xfrm>
            <a:off x="7956172" y="911006"/>
            <a:ext cx="234264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р: </a:t>
            </a:r>
            <a:r>
              <a:rPr lang="ru-RU" sz="1000" b="1" i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%</a:t>
            </a:r>
          </a:p>
          <a:p>
            <a:r>
              <a:rPr lang="ru-RU" sz="10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а: </a:t>
            </a:r>
            <a:r>
              <a:rPr lang="ru-RU" sz="1000" b="1" i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более 60 млн тенге</a:t>
            </a:r>
          </a:p>
          <a:p>
            <a:r>
              <a:rPr lang="ru-RU" sz="10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рический период: </a:t>
            </a:r>
            <a:r>
              <a:rPr lang="ru-RU" sz="1000" b="1" i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 месяца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B4791192-E81A-3ED2-E1D2-965240E33F27}"/>
              </a:ext>
            </a:extLst>
          </p:cNvPr>
          <p:cNvSpPr/>
          <p:nvPr/>
        </p:nvSpPr>
        <p:spPr>
          <a:xfrm>
            <a:off x="8487857" y="3523651"/>
            <a:ext cx="3267801" cy="286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НЕДРЕНИЕ ЦИФРОВЫХ ТЕХНОЛОГИЙ</a:t>
            </a:r>
            <a:endParaRPr lang="ru-RU" sz="1100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0A0B9FC-CEBC-1502-98DF-76FDA1B24EE8}"/>
              </a:ext>
            </a:extLst>
          </p:cNvPr>
          <p:cNvSpPr txBox="1"/>
          <p:nvPr/>
        </p:nvSpPr>
        <p:spPr>
          <a:xfrm>
            <a:off x="7947316" y="3906086"/>
            <a:ext cx="268410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р: </a:t>
            </a:r>
            <a:r>
              <a:rPr lang="ru-RU" sz="1000" b="1" i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-50%</a:t>
            </a:r>
          </a:p>
          <a:p>
            <a:r>
              <a:rPr lang="ru-RU" sz="10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а: </a:t>
            </a:r>
            <a:r>
              <a:rPr lang="ru-RU" sz="1000" b="1" i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более 60 млн тенге</a:t>
            </a:r>
          </a:p>
          <a:p>
            <a:r>
              <a:rPr lang="ru-RU" sz="10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рический период: </a:t>
            </a:r>
            <a:r>
              <a:rPr lang="ru-RU" sz="1000" b="1" i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 месяцев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842C124-5CB9-AFED-F063-49AB336DFF0B}"/>
              </a:ext>
            </a:extLst>
          </p:cNvPr>
          <p:cNvSpPr txBox="1"/>
          <p:nvPr/>
        </p:nvSpPr>
        <p:spPr>
          <a:xfrm>
            <a:off x="7988594" y="4388632"/>
            <a:ext cx="3847129" cy="144655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171450" indent="-171450">
              <a:buFont typeface="Wingdings" panose="05000000000000000000" pitchFamily="2" charset="2"/>
              <a:buChar char="§"/>
              <a:defRPr sz="11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b="1" dirty="0"/>
              <a:t>приобретение цифрового оборудования </a:t>
            </a:r>
            <a:r>
              <a:rPr lang="ru-RU" dirty="0"/>
              <a:t>(3D-сканер, 3D-принтер, плоттер-широкоформатный принтер с функциями сканера и копирования);</a:t>
            </a:r>
          </a:p>
          <a:p>
            <a:r>
              <a:rPr lang="ru-RU" b="1" dirty="0"/>
              <a:t>разработка и/или внедрение автоматизированных </a:t>
            </a:r>
            <a:r>
              <a:rPr lang="ru-RU" dirty="0"/>
              <a:t>систем управления, систем автоматизированного проектирования в т.ч. приобретение лицензированного ПО);</a:t>
            </a:r>
          </a:p>
          <a:p>
            <a:r>
              <a:rPr lang="ru-RU" b="1" dirty="0"/>
              <a:t>внедрение технологии </a:t>
            </a:r>
            <a:r>
              <a:rPr lang="ru-RU" dirty="0"/>
              <a:t>(элементы) Индустрии 4.0.</a:t>
            </a:r>
          </a:p>
        </p:txBody>
      </p:sp>
      <p:pic>
        <p:nvPicPr>
          <p:cNvPr id="34" name="Рисунок 33" descr="Изображение выглядит как стоит, костюм, мужчина, человек&#10;&#10;Автоматически созданное описание">
            <a:extLst>
              <a:ext uri="{FF2B5EF4-FFF2-40B4-BE49-F238E27FC236}">
                <a16:creationId xmlns:a16="http://schemas.microsoft.com/office/drawing/2014/main" id="{1EE657D7-960F-E9AA-6A4B-E56E6E7D8C2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97" r="31808"/>
          <a:stretch/>
        </p:blipFill>
        <p:spPr>
          <a:xfrm>
            <a:off x="4644864" y="483319"/>
            <a:ext cx="239948" cy="395783"/>
          </a:xfrm>
          <a:prstGeom prst="rect">
            <a:avLst/>
          </a:prstGeom>
        </p:spPr>
      </p:pic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id="{0B9C0164-D14E-45D5-53EA-35D3882A9C35}"/>
              </a:ext>
            </a:extLst>
          </p:cNvPr>
          <p:cNvCxnSpPr>
            <a:cxnSpLocks/>
          </p:cNvCxnSpPr>
          <p:nvPr/>
        </p:nvCxnSpPr>
        <p:spPr>
          <a:xfrm>
            <a:off x="7735014" y="931612"/>
            <a:ext cx="6932" cy="4824202"/>
          </a:xfrm>
          <a:prstGeom prst="line">
            <a:avLst/>
          </a:prstGeom>
          <a:ln w="9525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B197527F-7144-D1DB-8795-1D38251BF911}"/>
              </a:ext>
            </a:extLst>
          </p:cNvPr>
          <p:cNvCxnSpPr>
            <a:cxnSpLocks/>
          </p:cNvCxnSpPr>
          <p:nvPr/>
        </p:nvCxnSpPr>
        <p:spPr>
          <a:xfrm>
            <a:off x="4076153" y="940506"/>
            <a:ext cx="61215" cy="4817285"/>
          </a:xfrm>
          <a:prstGeom prst="line">
            <a:avLst/>
          </a:prstGeom>
          <a:ln w="9525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8D9A5DFB-D2CE-9C56-6340-DE77683B0BC4}"/>
              </a:ext>
            </a:extLst>
          </p:cNvPr>
          <p:cNvSpPr txBox="1"/>
          <p:nvPr/>
        </p:nvSpPr>
        <p:spPr>
          <a:xfrm>
            <a:off x="4083306" y="960077"/>
            <a:ext cx="346337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АЛЫЕ и СРЕДНИЕ предприятия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производящие продукцию из перечня приоритетных товаров, не имеющих </a:t>
            </a:r>
            <a:r>
              <a:rPr lang="ru-RU" sz="11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и более акций государства, НУХ, НК. 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A8CCAD6-28DE-F886-D06C-FA04578CF470}"/>
              </a:ext>
            </a:extLst>
          </p:cNvPr>
          <p:cNvSpPr txBox="1"/>
          <p:nvPr/>
        </p:nvSpPr>
        <p:spPr>
          <a:xfrm>
            <a:off x="4847328" y="538092"/>
            <a:ext cx="254443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spc="-7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ИТЕРИЙ ДЛЯ ЗАЯВИТЕЛЕЙ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7DAB5986-12C9-E994-C3EA-BADBC5DEF709}"/>
              </a:ext>
            </a:extLst>
          </p:cNvPr>
          <p:cNvSpPr txBox="1"/>
          <p:nvPr/>
        </p:nvSpPr>
        <p:spPr>
          <a:xfrm>
            <a:off x="3964155" y="1728744"/>
            <a:ext cx="3427612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ответствовать </a:t>
            </a:r>
            <a:r>
              <a:rPr lang="kk-KZ" sz="1100" b="1" dirty="0">
                <a:solidFill>
                  <a:srgbClr val="00B05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авилам </a:t>
            </a:r>
            <a:br>
              <a:rPr lang="kk-KZ" sz="1100" b="1" dirty="0">
                <a:solidFill>
                  <a:srgbClr val="00B05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1 июня 2022 года № 308 и </a:t>
            </a: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еречню </a:t>
            </a:r>
            <a:r>
              <a:rPr lang="ru-RU" sz="11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ритетных товаров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b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т 30.05.2022 г. 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№306 </a:t>
            </a:r>
            <a:b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твержденных приказами МИИР РК.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2F74EB3-E356-F19A-9489-82F58A682DB3}"/>
              </a:ext>
            </a:extLst>
          </p:cNvPr>
          <p:cNvSpPr txBox="1"/>
          <p:nvPr/>
        </p:nvSpPr>
        <p:spPr>
          <a:xfrm>
            <a:off x="4112057" y="2772117"/>
            <a:ext cx="3380889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уществлять деятельность 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менее </a:t>
            </a:r>
            <a:r>
              <a:rPr lang="ru-RU" sz="11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ного календарного года 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даты поступления заявки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4E25C0DB-7CC6-1480-BD5C-25CA107B7B79}"/>
              </a:ext>
            </a:extLst>
          </p:cNvPr>
          <p:cNvSpPr txBox="1"/>
          <p:nvPr/>
        </p:nvSpPr>
        <p:spPr>
          <a:xfrm>
            <a:off x="4040386" y="3406557"/>
            <a:ext cx="3412026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долженности по налогам, обязательным пенсионным взносам, обязательным профессиональным пенсионным взносам и социальным отчислениям </a:t>
            </a:r>
            <a:r>
              <a:rPr lang="ru-RU" sz="11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день подачи заявки</a:t>
            </a:r>
          </a:p>
        </p:txBody>
      </p:sp>
      <p:pic>
        <p:nvPicPr>
          <p:cNvPr id="63" name="Рисунок 62" descr="Буфер обмена контур">
            <a:extLst>
              <a:ext uri="{FF2B5EF4-FFF2-40B4-BE49-F238E27FC236}">
                <a16:creationId xmlns:a16="http://schemas.microsoft.com/office/drawing/2014/main" id="{393A6AEB-C4A4-2F24-0F60-1F9D47CCBD1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17697" y="3512618"/>
            <a:ext cx="429331" cy="297715"/>
          </a:xfrm>
          <a:prstGeom prst="rect">
            <a:avLst/>
          </a:prstGeom>
        </p:spPr>
      </p:pic>
      <p:pic>
        <p:nvPicPr>
          <p:cNvPr id="64" name="Рисунок 63" descr="Школьный класс со сплошной заливкой">
            <a:extLst>
              <a:ext uri="{FF2B5EF4-FFF2-40B4-BE49-F238E27FC236}">
                <a16:creationId xmlns:a16="http://schemas.microsoft.com/office/drawing/2014/main" id="{4168B764-087D-B980-0C23-12836DB1A22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36708" y="482786"/>
            <a:ext cx="532915" cy="428220"/>
          </a:xfrm>
          <a:prstGeom prst="rect">
            <a:avLst/>
          </a:prstGeom>
        </p:spPr>
      </p:pic>
      <p:pic>
        <p:nvPicPr>
          <p:cNvPr id="1026" name="Picture 2" descr="Робот контур">
            <a:extLst>
              <a:ext uri="{FF2B5EF4-FFF2-40B4-BE49-F238E27FC236}">
                <a16:creationId xmlns:a16="http://schemas.microsoft.com/office/drawing/2014/main" id="{C07332D8-78DE-2A50-2F2F-60DFC5E19E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rcRect t="993" b="993"/>
          <a:stretch/>
        </p:blipFill>
        <p:spPr bwMode="auto">
          <a:xfrm>
            <a:off x="8033657" y="3484536"/>
            <a:ext cx="516855" cy="32579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5D1D76C-C132-F436-15EF-E71FD3CE9BDC}"/>
              </a:ext>
            </a:extLst>
          </p:cNvPr>
          <p:cNvSpPr txBox="1"/>
          <p:nvPr/>
        </p:nvSpPr>
        <p:spPr>
          <a:xfrm>
            <a:off x="9207571" y="6290909"/>
            <a:ext cx="2579584" cy="430887"/>
          </a:xfrm>
          <a:prstGeom prst="rect">
            <a:avLst/>
          </a:prstGeom>
          <a:noFill/>
          <a:ln>
            <a:solidFill>
              <a:srgbClr val="FF0000"/>
            </a:solidFill>
            <a:prstDash val="lgDash"/>
          </a:ln>
        </p:spPr>
        <p:txBody>
          <a:bodyPr wrap="square">
            <a:spAutoFit/>
          </a:bodyPr>
          <a:lstStyle/>
          <a:p>
            <a:pPr algn="ctr"/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ий срок рассмотрения заявки: </a:t>
            </a:r>
            <a:r>
              <a:rPr lang="ru-RU" sz="11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 рабочих дней</a:t>
            </a:r>
            <a:endParaRPr lang="ru-RU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15E1431-148A-0ACC-5E12-091F866A9D6D}"/>
              </a:ext>
            </a:extLst>
          </p:cNvPr>
          <p:cNvSpPr txBox="1"/>
          <p:nvPr/>
        </p:nvSpPr>
        <p:spPr>
          <a:xfrm>
            <a:off x="4095520" y="4414880"/>
            <a:ext cx="3628559" cy="13696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жегодного увеличения налоговых отчислений за предыдущие </a:t>
            </a:r>
            <a:r>
              <a:rPr lang="ru-RU" sz="11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и года 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даты подачи заявки. </a:t>
            </a:r>
            <a:b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требование настоящего подпункта не распространяется на субъектов которые освобождены от уплаты налогов согласно законодательства и/или с даты регистрации которых прошло менее 3 (трех) календарных лет до даты поступления заявки).</a:t>
            </a:r>
            <a:endParaRPr lang="ru-RU" sz="11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7129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03F57D7-3339-4962-8311-BC7DE951F1DD}"/>
              </a:ext>
            </a:extLst>
          </p:cNvPr>
          <p:cNvSpPr txBox="1"/>
          <p:nvPr/>
        </p:nvSpPr>
        <p:spPr>
          <a:xfrm>
            <a:off x="1580906" y="6393430"/>
            <a:ext cx="3273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03F57D7-3339-4962-8311-BC7DE951F1DD}"/>
              </a:ext>
            </a:extLst>
          </p:cNvPr>
          <p:cNvSpPr txBox="1"/>
          <p:nvPr/>
        </p:nvSpPr>
        <p:spPr>
          <a:xfrm>
            <a:off x="63483" y="6367219"/>
            <a:ext cx="3273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04711A1-399A-4B1E-97C7-F37A2CB9C4DE}"/>
              </a:ext>
            </a:extLst>
          </p:cNvPr>
          <p:cNvSpPr txBox="1"/>
          <p:nvPr/>
        </p:nvSpPr>
        <p:spPr>
          <a:xfrm>
            <a:off x="598" y="-11619"/>
            <a:ext cx="12192000" cy="37955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lIns="162528" tIns="81263" rIns="162528" bIns="81263" rtlCol="0">
            <a:spAutoFit/>
          </a:bodyPr>
          <a:lstStyle/>
          <a:p>
            <a:pPr defTabSz="975390">
              <a:buClr>
                <a:srgbClr val="000000"/>
              </a:buClr>
            </a:pPr>
            <a:r>
              <a:rPr lang="ru-RU" sz="1400" b="1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ры государственного стимулирования, направленные на продвижение отечественных ТРУ 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B1A22A7D-7DE6-4BF2-8BA7-7744EA4A6D33}"/>
              </a:ext>
            </a:extLst>
          </p:cNvPr>
          <p:cNvSpPr/>
          <p:nvPr/>
        </p:nvSpPr>
        <p:spPr>
          <a:xfrm>
            <a:off x="227150" y="1077041"/>
            <a:ext cx="3734925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AutoNum type="arabicParenR"/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раты, понесенные при </a:t>
            </a:r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ТВЕРЖДЕНИИ СООТВЕТСТВИЯ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ботанных ТРУ и систем менеджмента, в т.ч.: </a:t>
            </a:r>
          </a:p>
          <a:p>
            <a:pPr marL="268288" indent="1588" algn="just"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 проведение оценки;</a:t>
            </a:r>
          </a:p>
          <a:p>
            <a:pPr marL="268288" indent="1588" algn="just"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 проведение сертификационных и лабораторных испытаний выпускаемой продукции;</a:t>
            </a:r>
          </a:p>
          <a:p>
            <a:pPr marL="268288" indent="1588" algn="just"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проведение инспекционного аудита и контроля;</a:t>
            </a:r>
          </a:p>
          <a:p>
            <a:pPr marL="268288" indent="1588" algn="just">
              <a:buFont typeface="Wingdings" panose="05000000000000000000" pitchFamily="2" charset="2"/>
              <a:buChar char="§"/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 регистрацию, продление и переоформление сертификатов</a:t>
            </a:r>
          </a:p>
          <a:p>
            <a:pPr marL="177800">
              <a:defRPr/>
            </a:pP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>
              <a:defRPr/>
            </a:pP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Затраты, связанные с </a:t>
            </a:r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РЕТЕНИЕМ ОБОРУДОВАНИЯ ДЛЯ НАНЕСЕНИЯ СРЕДСТВ ИДЕНТИФИКАЦИИ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включая ПО для маркировки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вной продукции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defRPr/>
            </a:pP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4CBCB2D-59C5-40CE-AB65-071B0537C9ED}"/>
              </a:ext>
            </a:extLst>
          </p:cNvPr>
          <p:cNvSpPr txBox="1">
            <a:spLocks/>
          </p:cNvSpPr>
          <p:nvPr/>
        </p:nvSpPr>
        <p:spPr>
          <a:xfrm>
            <a:off x="7821594" y="889042"/>
            <a:ext cx="4024026" cy="487656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  <a:prstDash val="solid"/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lvl="0" indent="0" defTabSz="895350">
              <a:buClr>
                <a:srgbClr val="00863D"/>
              </a:buClr>
              <a:defRPr sz="1400" b="1" baseline="0">
                <a:solidFill>
                  <a:srgbClr val="000000"/>
                </a:solidFill>
                <a:latin typeface="Arial Narrow" panose="020B0606020202030204" pitchFamily="34" charset="0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•"/>
              <a:defRPr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◦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endParaRPr lang="ru-RU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EC6C1F2-675F-44D0-AEFF-9A5451B397B0}"/>
              </a:ext>
            </a:extLst>
          </p:cNvPr>
          <p:cNvSpPr txBox="1"/>
          <p:nvPr/>
        </p:nvSpPr>
        <p:spPr>
          <a:xfrm>
            <a:off x="7927896" y="948690"/>
            <a:ext cx="3811420" cy="50321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400" b="1" spc="-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ИТЕРИЙ ДЛЯ ЗАЯВИТЕЛЕЙ</a:t>
            </a:r>
          </a:p>
          <a:p>
            <a:pPr algn="ctr">
              <a:defRPr/>
            </a:pPr>
            <a:endParaRPr lang="ru-RU" sz="800" b="1" spc="-7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АЛЫЕ и СРЕДНИЕ предприятия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производящие продукцию из перечня приоритетных товаров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е имеющих </a:t>
            </a:r>
            <a:r>
              <a:rPr lang="ru-RU" sz="11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и более акций государства, НУХ, НК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оответствовать </a:t>
            </a:r>
            <a:r>
              <a:rPr lang="kk-KZ" sz="1100" b="1" dirty="0">
                <a:solidFill>
                  <a:srgbClr val="00B05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авилам </a:t>
            </a:r>
            <a:br>
              <a:rPr lang="kk-KZ" sz="1100" b="1" dirty="0">
                <a:solidFill>
                  <a:srgbClr val="00B05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15 июня 2022 года № 342 и </a:t>
            </a:r>
            <a:b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еречню </a:t>
            </a:r>
            <a:r>
              <a:rPr lang="ru-RU" sz="11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ритетных товаров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b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т 30.05.2022 г. 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№306 </a:t>
            </a:r>
            <a:b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твержденных приказами МИИР РК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уществлять деятельность 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менее </a:t>
            </a:r>
            <a:r>
              <a:rPr lang="ru-RU" sz="11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ного календарного года 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даты поступления заявки</a:t>
            </a:r>
          </a:p>
          <a:p>
            <a:pPr algn="ctr"/>
            <a:endParaRPr lang="ru-RU" sz="11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долженности по налогам, обязательным пенсионным взносам, обязательным профессиональным пенсионным взносам и социальным отчислениям </a:t>
            </a:r>
            <a:r>
              <a:rPr lang="ru-RU" sz="11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день подачи заявки</a:t>
            </a:r>
          </a:p>
          <a:p>
            <a:pPr algn="ctr"/>
            <a:endParaRPr lang="ru-RU" sz="1100" b="1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жегодного увеличения налоговых отчислений за предыдущие </a:t>
            </a:r>
            <a:r>
              <a:rPr lang="ru-RU" sz="11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и года 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даты подачи заявки.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требование настоящего подпункта не распространяется на субъектов которые освобождены от уплаты налогов согласно законодательства и/или с даты регистрации которых прошло менее 3 (трех) календарных лет до даты поступления заявки).</a:t>
            </a:r>
            <a:endParaRPr lang="ru-RU" sz="11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4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CC277ADE-B5E3-4F3E-B45A-82B0FF73FC84}"/>
              </a:ext>
            </a:extLst>
          </p:cNvPr>
          <p:cNvSpPr/>
          <p:nvPr/>
        </p:nvSpPr>
        <p:spPr>
          <a:xfrm>
            <a:off x="432438" y="403933"/>
            <a:ext cx="11413181" cy="48510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13546"/>
            <a:endParaRPr lang="ru-RU" b="1" spc="-7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6AAD725-0C29-45E6-A04C-DBC613634941}"/>
              </a:ext>
            </a:extLst>
          </p:cNvPr>
          <p:cNvSpPr txBox="1"/>
          <p:nvPr/>
        </p:nvSpPr>
        <p:spPr>
          <a:xfrm>
            <a:off x="1719037" y="441214"/>
            <a:ext cx="874902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8900" marR="13546" algn="ctr"/>
            <a:r>
              <a:rPr lang="ru-RU" sz="1600" b="1" spc="-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ВИЖЕНИЕ ТОВАРОВ, РАБОТ И УСЛУГ НА ВНУТРЕННИЙ РЫНОК</a:t>
            </a:r>
          </a:p>
        </p:txBody>
      </p:sp>
      <p:pic>
        <p:nvPicPr>
          <p:cNvPr id="61" name="Изображение" descr="Изображение">
            <a:extLst>
              <a:ext uri="{FF2B5EF4-FFF2-40B4-BE49-F238E27FC236}">
                <a16:creationId xmlns:a16="http://schemas.microsoft.com/office/drawing/2014/main" id="{3AA4A0D2-9477-44CB-BF46-D725739086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66718" y="54753"/>
            <a:ext cx="1593188" cy="232572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Номер слайда 12">
            <a:extLst>
              <a:ext uri="{FF2B5EF4-FFF2-40B4-BE49-F238E27FC236}">
                <a16:creationId xmlns:a16="http://schemas.microsoft.com/office/drawing/2014/main" id="{D745E493-0B79-45DF-8913-E575E2F12A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16706" y="6465885"/>
            <a:ext cx="2743200" cy="365125"/>
          </a:xfrm>
        </p:spPr>
        <p:txBody>
          <a:bodyPr/>
          <a:lstStyle/>
          <a:p>
            <a:fld id="{33D8767E-5F03-4437-A142-6E142C65E7D1}" type="slidenum">
              <a:rPr lang="ru-RU" smtClean="0"/>
              <a:pPr/>
              <a:t>87</a:t>
            </a:fld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468F25C-A5A8-0AFB-3616-06A1B2E23BEB}"/>
              </a:ext>
            </a:extLst>
          </p:cNvPr>
          <p:cNvSpPr/>
          <p:nvPr/>
        </p:nvSpPr>
        <p:spPr>
          <a:xfrm>
            <a:off x="262482" y="6080649"/>
            <a:ext cx="8167415" cy="535341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FB906D-ADF1-6BAB-104F-27106357A014}"/>
              </a:ext>
            </a:extLst>
          </p:cNvPr>
          <p:cNvSpPr txBox="1"/>
          <p:nvPr/>
        </p:nvSpPr>
        <p:spPr>
          <a:xfrm>
            <a:off x="252102" y="6113116"/>
            <a:ext cx="816741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457200"/>
            <a:r>
              <a:rPr lang="ru-RU" sz="1400" b="1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величение </a:t>
            </a:r>
            <a:r>
              <a:rPr lang="ru-RU" sz="1400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ма доходов предприятия от реализации продукции и оказания услуг </a:t>
            </a:r>
            <a:r>
              <a:rPr lang="ru-RU" sz="1400" b="1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менее чем в 2 (два) раза от вложенной </a:t>
            </a:r>
            <a:r>
              <a:rPr lang="ru-RU" sz="1400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ом </a:t>
            </a:r>
            <a:r>
              <a:rPr lang="ru-RU" sz="1400" b="1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ммы</a:t>
            </a:r>
            <a:r>
              <a:rPr lang="ru-RU" sz="1400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 течение 2 (двух) лет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653B9DE-4DDF-C87B-68D4-5246141DA1FF}"/>
              </a:ext>
            </a:extLst>
          </p:cNvPr>
          <p:cNvSpPr txBox="1"/>
          <p:nvPr/>
        </p:nvSpPr>
        <p:spPr>
          <a:xfrm>
            <a:off x="4109576" y="5889461"/>
            <a:ext cx="310241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ТРЕЧНЫЕ ОБЯЗАТЕЛЬСТВА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617C82D-0985-C800-EEB4-545405B94A6A}"/>
              </a:ext>
            </a:extLst>
          </p:cNvPr>
          <p:cNvSpPr txBox="1"/>
          <p:nvPr/>
        </p:nvSpPr>
        <p:spPr>
          <a:xfrm>
            <a:off x="5052239" y="1669522"/>
            <a:ext cx="242696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р: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,</a:t>
            </a:r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 не более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тыс.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РП (сертификацию);</a:t>
            </a:r>
          </a:p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рический период: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 месяца</a:t>
            </a:r>
          </a:p>
          <a:p>
            <a:endParaRPr lang="ru-RU" sz="1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46BFF3-61BD-FFA1-1520-F1A62EEB1E23}"/>
              </a:ext>
            </a:extLst>
          </p:cNvPr>
          <p:cNvSpPr txBox="1"/>
          <p:nvPr/>
        </p:nvSpPr>
        <p:spPr>
          <a:xfrm>
            <a:off x="5134067" y="4022124"/>
            <a:ext cx="257501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р: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,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 не более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тыс.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РП (маркировка обувной продукции);</a:t>
            </a:r>
          </a:p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рический период: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 месяца</a:t>
            </a:r>
          </a:p>
          <a:p>
            <a:endParaRPr lang="ru-RU" sz="1400" dirty="0"/>
          </a:p>
        </p:txBody>
      </p:sp>
      <p:sp>
        <p:nvSpPr>
          <p:cNvPr id="9" name="Стрелка: вправо 8">
            <a:extLst>
              <a:ext uri="{FF2B5EF4-FFF2-40B4-BE49-F238E27FC236}">
                <a16:creationId xmlns:a16="http://schemas.microsoft.com/office/drawing/2014/main" id="{3E894165-DF77-98FE-4D2B-A24F3E0F5953}"/>
              </a:ext>
            </a:extLst>
          </p:cNvPr>
          <p:cNvSpPr/>
          <p:nvPr/>
        </p:nvSpPr>
        <p:spPr bwMode="auto">
          <a:xfrm>
            <a:off x="4358194" y="2413016"/>
            <a:ext cx="398810" cy="341128"/>
          </a:xfrm>
          <a:prstGeom prst="rightArrow">
            <a:avLst/>
          </a:prstGeom>
          <a:solidFill>
            <a:srgbClr val="00B050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10" name="Стрелка: вправо 9">
            <a:extLst>
              <a:ext uri="{FF2B5EF4-FFF2-40B4-BE49-F238E27FC236}">
                <a16:creationId xmlns:a16="http://schemas.microsoft.com/office/drawing/2014/main" id="{B6348E15-1795-BD34-2CD0-AA5B74AB23DB}"/>
              </a:ext>
            </a:extLst>
          </p:cNvPr>
          <p:cNvSpPr/>
          <p:nvPr/>
        </p:nvSpPr>
        <p:spPr bwMode="auto">
          <a:xfrm>
            <a:off x="4365643" y="4778002"/>
            <a:ext cx="398810" cy="341128"/>
          </a:xfrm>
          <a:prstGeom prst="rightArrow">
            <a:avLst/>
          </a:prstGeom>
          <a:solidFill>
            <a:srgbClr val="00B050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grpSp>
        <p:nvGrpSpPr>
          <p:cNvPr id="34" name="Group 552">
            <a:extLst>
              <a:ext uri="{FF2B5EF4-FFF2-40B4-BE49-F238E27FC236}">
                <a16:creationId xmlns:a16="http://schemas.microsoft.com/office/drawing/2014/main" id="{2332973D-4626-00D3-3BA6-8A7075F62C03}"/>
              </a:ext>
            </a:extLst>
          </p:cNvPr>
          <p:cNvGrpSpPr/>
          <p:nvPr/>
        </p:nvGrpSpPr>
        <p:grpSpPr>
          <a:xfrm>
            <a:off x="4197109" y="1695826"/>
            <a:ext cx="709138" cy="584763"/>
            <a:chOff x="6238876" y="2390775"/>
            <a:chExt cx="576262" cy="419101"/>
          </a:xfrm>
          <a:solidFill>
            <a:schemeClr val="accent2"/>
          </a:solidFill>
        </p:grpSpPr>
        <p:sp>
          <p:nvSpPr>
            <p:cNvPr id="35" name="Rectangle 89">
              <a:extLst>
                <a:ext uri="{FF2B5EF4-FFF2-40B4-BE49-F238E27FC236}">
                  <a16:creationId xmlns:a16="http://schemas.microsoft.com/office/drawing/2014/main" id="{C3E66AA0-2167-06B7-01A7-198D69C6B5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8576" y="2528888"/>
              <a:ext cx="179388" cy="174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Rectangle 90">
              <a:extLst>
                <a:ext uri="{FF2B5EF4-FFF2-40B4-BE49-F238E27FC236}">
                  <a16:creationId xmlns:a16="http://schemas.microsoft.com/office/drawing/2014/main" id="{3D5A8BB2-229F-5401-A598-D1C3696041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0163" y="2571750"/>
              <a:ext cx="179388" cy="158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91">
              <a:extLst>
                <a:ext uri="{FF2B5EF4-FFF2-40B4-BE49-F238E27FC236}">
                  <a16:creationId xmlns:a16="http://schemas.microsoft.com/office/drawing/2014/main" id="{796B53BB-FDC2-D5E3-03FF-A1B3922F18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2063" y="2484438"/>
              <a:ext cx="254000" cy="303213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5" y="42"/>
                </a:cxn>
                <a:cxn ang="0">
                  <a:pos x="15" y="15"/>
                </a:cxn>
                <a:cxn ang="0">
                  <a:pos x="146" y="15"/>
                </a:cxn>
                <a:cxn ang="0">
                  <a:pos x="146" y="176"/>
                </a:cxn>
                <a:cxn ang="0">
                  <a:pos x="44" y="176"/>
                </a:cxn>
                <a:cxn ang="0">
                  <a:pos x="44" y="177"/>
                </a:cxn>
                <a:cxn ang="0">
                  <a:pos x="43" y="176"/>
                </a:cxn>
                <a:cxn ang="0">
                  <a:pos x="15" y="176"/>
                </a:cxn>
                <a:cxn ang="0">
                  <a:pos x="15" y="149"/>
                </a:cxn>
                <a:cxn ang="0">
                  <a:pos x="3" y="138"/>
                </a:cxn>
                <a:cxn ang="0">
                  <a:pos x="2" y="138"/>
                </a:cxn>
                <a:cxn ang="0">
                  <a:pos x="2" y="137"/>
                </a:cxn>
                <a:cxn ang="0">
                  <a:pos x="0" y="135"/>
                </a:cxn>
                <a:cxn ang="0">
                  <a:pos x="0" y="191"/>
                </a:cxn>
                <a:cxn ang="0">
                  <a:pos x="160" y="191"/>
                </a:cxn>
                <a:cxn ang="0">
                  <a:pos x="160" y="0"/>
                </a:cxn>
                <a:cxn ang="0">
                  <a:pos x="0" y="0"/>
                </a:cxn>
                <a:cxn ang="0">
                  <a:pos x="0" y="6"/>
                </a:cxn>
              </a:cxnLst>
              <a:rect l="0" t="0" r="r" b="b"/>
              <a:pathLst>
                <a:path w="160" h="191">
                  <a:moveTo>
                    <a:pt x="0" y="6"/>
                  </a:moveTo>
                  <a:lnTo>
                    <a:pt x="15" y="42"/>
                  </a:lnTo>
                  <a:lnTo>
                    <a:pt x="15" y="15"/>
                  </a:lnTo>
                  <a:lnTo>
                    <a:pt x="146" y="15"/>
                  </a:lnTo>
                  <a:lnTo>
                    <a:pt x="146" y="176"/>
                  </a:lnTo>
                  <a:lnTo>
                    <a:pt x="44" y="176"/>
                  </a:lnTo>
                  <a:lnTo>
                    <a:pt x="44" y="177"/>
                  </a:lnTo>
                  <a:lnTo>
                    <a:pt x="43" y="176"/>
                  </a:lnTo>
                  <a:lnTo>
                    <a:pt x="15" y="176"/>
                  </a:lnTo>
                  <a:lnTo>
                    <a:pt x="15" y="149"/>
                  </a:lnTo>
                  <a:lnTo>
                    <a:pt x="3" y="138"/>
                  </a:lnTo>
                  <a:lnTo>
                    <a:pt x="2" y="138"/>
                  </a:lnTo>
                  <a:lnTo>
                    <a:pt x="2" y="137"/>
                  </a:lnTo>
                  <a:lnTo>
                    <a:pt x="0" y="135"/>
                  </a:lnTo>
                  <a:lnTo>
                    <a:pt x="0" y="191"/>
                  </a:lnTo>
                  <a:lnTo>
                    <a:pt x="160" y="191"/>
                  </a:lnTo>
                  <a:lnTo>
                    <a:pt x="160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92">
              <a:extLst>
                <a:ext uri="{FF2B5EF4-FFF2-40B4-BE49-F238E27FC236}">
                  <a16:creationId xmlns:a16="http://schemas.microsoft.com/office/drawing/2014/main" id="{960CA01A-62E4-2F4B-5A13-F81740E17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9688" y="2608263"/>
              <a:ext cx="168275" cy="174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11"/>
                </a:cxn>
                <a:cxn ang="0">
                  <a:pos x="106" y="11"/>
                </a:cxn>
                <a:cxn ang="0">
                  <a:pos x="106" y="0"/>
                </a:cxn>
                <a:cxn ang="0">
                  <a:pos x="0" y="0"/>
                </a:cxn>
              </a:cxnLst>
              <a:rect l="0" t="0" r="r" b="b"/>
              <a:pathLst>
                <a:path w="106" h="11">
                  <a:moveTo>
                    <a:pt x="0" y="0"/>
                  </a:moveTo>
                  <a:lnTo>
                    <a:pt x="4" y="11"/>
                  </a:lnTo>
                  <a:lnTo>
                    <a:pt x="106" y="11"/>
                  </a:lnTo>
                  <a:lnTo>
                    <a:pt x="10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93">
              <a:extLst>
                <a:ext uri="{FF2B5EF4-FFF2-40B4-BE49-F238E27FC236}">
                  <a16:creationId xmlns:a16="http://schemas.microsoft.com/office/drawing/2014/main" id="{D3D8700A-BF4F-E103-B970-D0E708280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5563" y="2651125"/>
              <a:ext cx="153988" cy="15875"/>
            </a:xfrm>
            <a:custGeom>
              <a:avLst/>
              <a:gdLst/>
              <a:ahLst/>
              <a:cxnLst>
                <a:cxn ang="0">
                  <a:pos x="6" y="10"/>
                </a:cxn>
                <a:cxn ang="0">
                  <a:pos x="97" y="10"/>
                </a:cxn>
                <a:cxn ang="0">
                  <a:pos x="97" y="0"/>
                </a:cxn>
                <a:cxn ang="0">
                  <a:pos x="0" y="0"/>
                </a:cxn>
                <a:cxn ang="0">
                  <a:pos x="6" y="10"/>
                </a:cxn>
              </a:cxnLst>
              <a:rect l="0" t="0" r="r" b="b"/>
              <a:pathLst>
                <a:path w="97" h="10">
                  <a:moveTo>
                    <a:pt x="6" y="10"/>
                  </a:moveTo>
                  <a:lnTo>
                    <a:pt x="97" y="10"/>
                  </a:lnTo>
                  <a:lnTo>
                    <a:pt x="97" y="0"/>
                  </a:lnTo>
                  <a:lnTo>
                    <a:pt x="0" y="0"/>
                  </a:lnTo>
                  <a:lnTo>
                    <a:pt x="6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Rectangle 94">
              <a:extLst>
                <a:ext uri="{FF2B5EF4-FFF2-40B4-BE49-F238E27FC236}">
                  <a16:creationId xmlns:a16="http://schemas.microsoft.com/office/drawing/2014/main" id="{9B70069D-3C0E-C367-180F-087ABABB78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5088" y="2682875"/>
              <a:ext cx="144463" cy="174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95">
              <a:extLst>
                <a:ext uri="{FF2B5EF4-FFF2-40B4-BE49-F238E27FC236}">
                  <a16:creationId xmlns:a16="http://schemas.microsoft.com/office/drawing/2014/main" id="{C5026BBF-D224-8ECE-2932-0C05FD0AD6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1588" y="2673350"/>
              <a:ext cx="55563" cy="76200"/>
            </a:xfrm>
            <a:custGeom>
              <a:avLst/>
              <a:gdLst/>
              <a:ahLst/>
              <a:cxnLst>
                <a:cxn ang="0">
                  <a:pos x="34" y="48"/>
                </a:cxn>
                <a:cxn ang="0">
                  <a:pos x="35" y="0"/>
                </a:cxn>
                <a:cxn ang="0">
                  <a:pos x="0" y="15"/>
                </a:cxn>
                <a:cxn ang="0">
                  <a:pos x="34" y="48"/>
                </a:cxn>
              </a:cxnLst>
              <a:rect l="0" t="0" r="r" b="b"/>
              <a:pathLst>
                <a:path w="35" h="48">
                  <a:moveTo>
                    <a:pt x="34" y="48"/>
                  </a:moveTo>
                  <a:lnTo>
                    <a:pt x="35" y="0"/>
                  </a:lnTo>
                  <a:lnTo>
                    <a:pt x="0" y="15"/>
                  </a:lnTo>
                  <a:lnTo>
                    <a:pt x="34" y="4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96">
              <a:extLst>
                <a:ext uri="{FF2B5EF4-FFF2-40B4-BE49-F238E27FC236}">
                  <a16:creationId xmlns:a16="http://schemas.microsoft.com/office/drawing/2014/main" id="{F9D00A03-BBB3-7350-1972-5BA5B61C7D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8876" y="2390775"/>
              <a:ext cx="71438" cy="68263"/>
            </a:xfrm>
            <a:custGeom>
              <a:avLst/>
              <a:gdLst/>
              <a:ahLst/>
              <a:cxnLst>
                <a:cxn ang="0">
                  <a:pos x="120" y="35"/>
                </a:cxn>
                <a:cxn ang="0">
                  <a:pos x="60" y="10"/>
                </a:cxn>
                <a:cxn ang="0">
                  <a:pos x="34" y="20"/>
                </a:cxn>
                <a:cxn ang="0">
                  <a:pos x="9" y="79"/>
                </a:cxn>
                <a:cxn ang="0">
                  <a:pos x="31" y="133"/>
                </a:cxn>
                <a:cxn ang="0">
                  <a:pos x="141" y="88"/>
                </a:cxn>
                <a:cxn ang="0">
                  <a:pos x="120" y="35"/>
                </a:cxn>
              </a:cxnLst>
              <a:rect l="0" t="0" r="r" b="b"/>
              <a:pathLst>
                <a:path w="141" h="133">
                  <a:moveTo>
                    <a:pt x="120" y="35"/>
                  </a:moveTo>
                  <a:cubicBezTo>
                    <a:pt x="110" y="11"/>
                    <a:pt x="83" y="0"/>
                    <a:pt x="60" y="1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11" y="30"/>
                    <a:pt x="0" y="56"/>
                    <a:pt x="9" y="79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141" y="88"/>
                    <a:pt x="141" y="88"/>
                    <a:pt x="141" y="88"/>
                  </a:cubicBezTo>
                  <a:lnTo>
                    <a:pt x="120" y="3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Rectangle 97">
              <a:extLst>
                <a:ext uri="{FF2B5EF4-FFF2-40B4-BE49-F238E27FC236}">
                  <a16:creationId xmlns:a16="http://schemas.microsoft.com/office/drawing/2014/main" id="{9D6C402D-9854-CD2A-56D5-D217A53F88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3501" y="2725738"/>
              <a:ext cx="147638" cy="158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98">
              <a:extLst>
                <a:ext uri="{FF2B5EF4-FFF2-40B4-BE49-F238E27FC236}">
                  <a16:creationId xmlns:a16="http://schemas.microsoft.com/office/drawing/2014/main" id="{1D480433-5039-A8C1-4E54-A5D130CD3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7176" y="2541588"/>
              <a:ext cx="141288" cy="71438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84" y="45"/>
                </a:cxn>
                <a:cxn ang="0">
                  <a:pos x="85" y="45"/>
                </a:cxn>
                <a:cxn ang="0">
                  <a:pos x="89" y="36"/>
                </a:cxn>
                <a:cxn ang="0">
                  <a:pos x="88" y="35"/>
                </a:cxn>
                <a:cxn ang="0">
                  <a:pos x="0" y="0"/>
                </a:cxn>
                <a:cxn ang="0">
                  <a:pos x="0" y="11"/>
                </a:cxn>
              </a:cxnLst>
              <a:rect l="0" t="0" r="r" b="b"/>
              <a:pathLst>
                <a:path w="89" h="45">
                  <a:moveTo>
                    <a:pt x="0" y="11"/>
                  </a:moveTo>
                  <a:lnTo>
                    <a:pt x="84" y="45"/>
                  </a:lnTo>
                  <a:lnTo>
                    <a:pt x="85" y="45"/>
                  </a:lnTo>
                  <a:lnTo>
                    <a:pt x="89" y="36"/>
                  </a:lnTo>
                  <a:lnTo>
                    <a:pt x="88" y="35"/>
                  </a:lnTo>
                  <a:lnTo>
                    <a:pt x="0" y="0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99">
              <a:extLst>
                <a:ext uri="{FF2B5EF4-FFF2-40B4-BE49-F238E27FC236}">
                  <a16:creationId xmlns:a16="http://schemas.microsoft.com/office/drawing/2014/main" id="{30E50BA1-B030-836E-5C45-10365F8FBA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7176" y="2581275"/>
              <a:ext cx="127000" cy="66675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76" y="42"/>
                </a:cxn>
                <a:cxn ang="0">
                  <a:pos x="80" y="32"/>
                </a:cxn>
                <a:cxn ang="0">
                  <a:pos x="0" y="0"/>
                </a:cxn>
                <a:cxn ang="0">
                  <a:pos x="0" y="11"/>
                </a:cxn>
              </a:cxnLst>
              <a:rect l="0" t="0" r="r" b="b"/>
              <a:pathLst>
                <a:path w="80" h="42">
                  <a:moveTo>
                    <a:pt x="0" y="11"/>
                  </a:moveTo>
                  <a:lnTo>
                    <a:pt x="76" y="42"/>
                  </a:lnTo>
                  <a:lnTo>
                    <a:pt x="80" y="32"/>
                  </a:lnTo>
                  <a:lnTo>
                    <a:pt x="0" y="0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00">
              <a:extLst>
                <a:ext uri="{FF2B5EF4-FFF2-40B4-BE49-F238E27FC236}">
                  <a16:creationId xmlns:a16="http://schemas.microsoft.com/office/drawing/2014/main" id="{A3B86970-46D2-A6E4-6E26-323ABB03F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7176" y="2497138"/>
              <a:ext cx="157163" cy="77788"/>
            </a:xfrm>
            <a:custGeom>
              <a:avLst/>
              <a:gdLst/>
              <a:ahLst/>
              <a:cxnLst>
                <a:cxn ang="0">
                  <a:pos x="95" y="49"/>
                </a:cxn>
                <a:cxn ang="0">
                  <a:pos x="99" y="40"/>
                </a:cxn>
                <a:cxn ang="0">
                  <a:pos x="98" y="40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94" y="49"/>
                </a:cxn>
                <a:cxn ang="0">
                  <a:pos x="95" y="49"/>
                </a:cxn>
              </a:cxnLst>
              <a:rect l="0" t="0" r="r" b="b"/>
              <a:pathLst>
                <a:path w="99" h="49">
                  <a:moveTo>
                    <a:pt x="95" y="49"/>
                  </a:moveTo>
                  <a:lnTo>
                    <a:pt x="99" y="40"/>
                  </a:lnTo>
                  <a:lnTo>
                    <a:pt x="98" y="4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94" y="49"/>
                  </a:lnTo>
                  <a:lnTo>
                    <a:pt x="95" y="4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01">
              <a:extLst>
                <a:ext uri="{FF2B5EF4-FFF2-40B4-BE49-F238E27FC236}">
                  <a16:creationId xmlns:a16="http://schemas.microsoft.com/office/drawing/2014/main" id="{A2EF31D4-8F04-89F8-373D-6C8B593F5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7176" y="2625725"/>
              <a:ext cx="112713" cy="60325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68" y="38"/>
                </a:cxn>
                <a:cxn ang="0">
                  <a:pos x="71" y="29"/>
                </a:cxn>
                <a:cxn ang="0">
                  <a:pos x="0" y="0"/>
                </a:cxn>
                <a:cxn ang="0">
                  <a:pos x="0" y="11"/>
                </a:cxn>
              </a:cxnLst>
              <a:rect l="0" t="0" r="r" b="b"/>
              <a:pathLst>
                <a:path w="71" h="38">
                  <a:moveTo>
                    <a:pt x="0" y="11"/>
                  </a:moveTo>
                  <a:lnTo>
                    <a:pt x="68" y="38"/>
                  </a:lnTo>
                  <a:lnTo>
                    <a:pt x="71" y="29"/>
                  </a:lnTo>
                  <a:lnTo>
                    <a:pt x="0" y="0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102">
              <a:extLst>
                <a:ext uri="{FF2B5EF4-FFF2-40B4-BE49-F238E27FC236}">
                  <a16:creationId xmlns:a16="http://schemas.microsoft.com/office/drawing/2014/main" id="{6C74682A-5657-3875-1B74-5B90AB7957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7176" y="2705100"/>
              <a:ext cx="85725" cy="49213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51" y="31"/>
                </a:cxn>
                <a:cxn ang="0">
                  <a:pos x="54" y="22"/>
                </a:cxn>
                <a:cxn ang="0">
                  <a:pos x="0" y="0"/>
                </a:cxn>
                <a:cxn ang="0">
                  <a:pos x="0" y="10"/>
                </a:cxn>
              </a:cxnLst>
              <a:rect l="0" t="0" r="r" b="b"/>
              <a:pathLst>
                <a:path w="54" h="31">
                  <a:moveTo>
                    <a:pt x="0" y="10"/>
                  </a:moveTo>
                  <a:lnTo>
                    <a:pt x="51" y="31"/>
                  </a:lnTo>
                  <a:lnTo>
                    <a:pt x="54" y="22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103">
              <a:extLst>
                <a:ext uri="{FF2B5EF4-FFF2-40B4-BE49-F238E27FC236}">
                  <a16:creationId xmlns:a16="http://schemas.microsoft.com/office/drawing/2014/main" id="{1C4FC628-3988-9B54-997D-48122461B3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7176" y="2660650"/>
              <a:ext cx="100013" cy="55563"/>
            </a:xfrm>
            <a:custGeom>
              <a:avLst/>
              <a:gdLst/>
              <a:ahLst/>
              <a:cxnLst>
                <a:cxn ang="0">
                  <a:pos x="63" y="25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59" y="35"/>
                </a:cxn>
                <a:cxn ang="0">
                  <a:pos x="63" y="25"/>
                </a:cxn>
              </a:cxnLst>
              <a:rect l="0" t="0" r="r" b="b"/>
              <a:pathLst>
                <a:path w="63" h="35">
                  <a:moveTo>
                    <a:pt x="63" y="25"/>
                  </a:moveTo>
                  <a:lnTo>
                    <a:pt x="0" y="0"/>
                  </a:lnTo>
                  <a:lnTo>
                    <a:pt x="0" y="11"/>
                  </a:lnTo>
                  <a:lnTo>
                    <a:pt x="59" y="35"/>
                  </a:lnTo>
                  <a:lnTo>
                    <a:pt x="63" y="2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04">
              <a:extLst>
                <a:ext uri="{FF2B5EF4-FFF2-40B4-BE49-F238E27FC236}">
                  <a16:creationId xmlns:a16="http://schemas.microsoft.com/office/drawing/2014/main" id="{5EB4B45F-CBB5-7344-FB13-BED7EBD9BF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7488" y="2439988"/>
              <a:ext cx="247650" cy="369888"/>
            </a:xfrm>
            <a:custGeom>
              <a:avLst/>
              <a:gdLst/>
              <a:ahLst/>
              <a:cxnLst>
                <a:cxn ang="0">
                  <a:pos x="155" y="59"/>
                </a:cxn>
                <a:cxn ang="0">
                  <a:pos x="10" y="0"/>
                </a:cxn>
                <a:cxn ang="0">
                  <a:pos x="9" y="0"/>
                </a:cxn>
                <a:cxn ang="0">
                  <a:pos x="0" y="22"/>
                </a:cxn>
                <a:cxn ang="0">
                  <a:pos x="17" y="22"/>
                </a:cxn>
                <a:cxn ang="0">
                  <a:pos x="18" y="19"/>
                </a:cxn>
                <a:cxn ang="0">
                  <a:pos x="136" y="67"/>
                </a:cxn>
                <a:cxn ang="0">
                  <a:pos x="76" y="214"/>
                </a:cxn>
                <a:cxn ang="0">
                  <a:pos x="25" y="193"/>
                </a:cxn>
                <a:cxn ang="0">
                  <a:pos x="25" y="208"/>
                </a:cxn>
                <a:cxn ang="0">
                  <a:pos x="84" y="233"/>
                </a:cxn>
                <a:cxn ang="0">
                  <a:pos x="85" y="233"/>
                </a:cxn>
                <a:cxn ang="0">
                  <a:pos x="156" y="59"/>
                </a:cxn>
                <a:cxn ang="0">
                  <a:pos x="155" y="59"/>
                </a:cxn>
              </a:cxnLst>
              <a:rect l="0" t="0" r="r" b="b"/>
              <a:pathLst>
                <a:path w="156" h="233">
                  <a:moveTo>
                    <a:pt x="155" y="59"/>
                  </a:moveTo>
                  <a:lnTo>
                    <a:pt x="10" y="0"/>
                  </a:lnTo>
                  <a:lnTo>
                    <a:pt x="9" y="0"/>
                  </a:lnTo>
                  <a:lnTo>
                    <a:pt x="0" y="22"/>
                  </a:lnTo>
                  <a:lnTo>
                    <a:pt x="17" y="22"/>
                  </a:lnTo>
                  <a:lnTo>
                    <a:pt x="18" y="19"/>
                  </a:lnTo>
                  <a:lnTo>
                    <a:pt x="136" y="67"/>
                  </a:lnTo>
                  <a:lnTo>
                    <a:pt x="76" y="214"/>
                  </a:lnTo>
                  <a:lnTo>
                    <a:pt x="25" y="193"/>
                  </a:lnTo>
                  <a:lnTo>
                    <a:pt x="25" y="208"/>
                  </a:lnTo>
                  <a:lnTo>
                    <a:pt x="84" y="233"/>
                  </a:lnTo>
                  <a:lnTo>
                    <a:pt x="85" y="233"/>
                  </a:lnTo>
                  <a:lnTo>
                    <a:pt x="156" y="59"/>
                  </a:lnTo>
                  <a:lnTo>
                    <a:pt x="155" y="5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105">
              <a:extLst>
                <a:ext uri="{FF2B5EF4-FFF2-40B4-BE49-F238E27FC236}">
                  <a16:creationId xmlns:a16="http://schemas.microsoft.com/office/drawing/2014/main" id="{35368C2B-8A24-4D86-9C4C-D3A72DCEB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56338" y="2441575"/>
              <a:ext cx="149225" cy="250825"/>
            </a:xfrm>
            <a:custGeom>
              <a:avLst/>
              <a:gdLst/>
              <a:ahLst/>
              <a:cxnLst>
                <a:cxn ang="0">
                  <a:pos x="292" y="447"/>
                </a:cxn>
                <a:cxn ang="0">
                  <a:pos x="110" y="0"/>
                </a:cxn>
                <a:cxn ang="0">
                  <a:pos x="0" y="45"/>
                </a:cxn>
                <a:cxn ang="0">
                  <a:pos x="182" y="491"/>
                </a:cxn>
                <a:cxn ang="0">
                  <a:pos x="292" y="447"/>
                </a:cxn>
                <a:cxn ang="0">
                  <a:pos x="99" y="19"/>
                </a:cxn>
                <a:cxn ang="0">
                  <a:pos x="220" y="315"/>
                </a:cxn>
                <a:cxn ang="0">
                  <a:pos x="215" y="338"/>
                </a:cxn>
                <a:cxn ang="0">
                  <a:pos x="195" y="325"/>
                </a:cxn>
                <a:cxn ang="0">
                  <a:pos x="75" y="29"/>
                </a:cxn>
                <a:cxn ang="0">
                  <a:pos x="99" y="19"/>
                </a:cxn>
                <a:cxn ang="0">
                  <a:pos x="165" y="358"/>
                </a:cxn>
                <a:cxn ang="0">
                  <a:pos x="146" y="345"/>
                </a:cxn>
                <a:cxn ang="0">
                  <a:pos x="25" y="49"/>
                </a:cxn>
                <a:cxn ang="0">
                  <a:pos x="50" y="39"/>
                </a:cxn>
                <a:cxn ang="0">
                  <a:pos x="170" y="335"/>
                </a:cxn>
                <a:cxn ang="0">
                  <a:pos x="165" y="358"/>
                </a:cxn>
              </a:cxnLst>
              <a:rect l="0" t="0" r="r" b="b"/>
              <a:pathLst>
                <a:path w="292" h="491">
                  <a:moveTo>
                    <a:pt x="292" y="447"/>
                  </a:moveTo>
                  <a:cubicBezTo>
                    <a:pt x="110" y="0"/>
                    <a:pt x="110" y="0"/>
                    <a:pt x="110" y="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182" y="491"/>
                    <a:pt x="182" y="491"/>
                    <a:pt x="182" y="491"/>
                  </a:cubicBezTo>
                  <a:lnTo>
                    <a:pt x="292" y="447"/>
                  </a:lnTo>
                  <a:close/>
                  <a:moveTo>
                    <a:pt x="99" y="19"/>
                  </a:moveTo>
                  <a:cubicBezTo>
                    <a:pt x="220" y="315"/>
                    <a:pt x="220" y="315"/>
                    <a:pt x="220" y="315"/>
                  </a:cubicBezTo>
                  <a:cubicBezTo>
                    <a:pt x="224" y="325"/>
                    <a:pt x="222" y="335"/>
                    <a:pt x="215" y="338"/>
                  </a:cubicBezTo>
                  <a:cubicBezTo>
                    <a:pt x="208" y="340"/>
                    <a:pt x="199" y="335"/>
                    <a:pt x="195" y="325"/>
                  </a:cubicBezTo>
                  <a:cubicBezTo>
                    <a:pt x="75" y="29"/>
                    <a:pt x="75" y="29"/>
                    <a:pt x="75" y="29"/>
                  </a:cubicBezTo>
                  <a:lnTo>
                    <a:pt x="99" y="19"/>
                  </a:lnTo>
                  <a:close/>
                  <a:moveTo>
                    <a:pt x="165" y="358"/>
                  </a:moveTo>
                  <a:cubicBezTo>
                    <a:pt x="159" y="361"/>
                    <a:pt x="150" y="355"/>
                    <a:pt x="146" y="345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170" y="335"/>
                    <a:pt x="170" y="335"/>
                    <a:pt x="170" y="335"/>
                  </a:cubicBezTo>
                  <a:cubicBezTo>
                    <a:pt x="174" y="345"/>
                    <a:pt x="172" y="355"/>
                    <a:pt x="165" y="35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63" name="Рисунок 62">
            <a:extLst>
              <a:ext uri="{FF2B5EF4-FFF2-40B4-BE49-F238E27FC236}">
                <a16:creationId xmlns:a16="http://schemas.microsoft.com/office/drawing/2014/main" id="{CBEA4F6F-9075-0A47-2F51-F696D82E57B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00" t="44460" r="11367" b="32090"/>
          <a:stretch/>
        </p:blipFill>
        <p:spPr>
          <a:xfrm>
            <a:off x="4001997" y="4203412"/>
            <a:ext cx="1126101" cy="619967"/>
          </a:xfrm>
          <a:prstGeom prst="rect">
            <a:avLst/>
          </a:prstGeom>
        </p:spPr>
      </p:pic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id="{3BB9739E-429E-4CC7-D301-618F9800426D}"/>
              </a:ext>
            </a:extLst>
          </p:cNvPr>
          <p:cNvCxnSpPr>
            <a:cxnSpLocks/>
          </p:cNvCxnSpPr>
          <p:nvPr/>
        </p:nvCxnSpPr>
        <p:spPr>
          <a:xfrm>
            <a:off x="7709077" y="889042"/>
            <a:ext cx="14863" cy="4946468"/>
          </a:xfrm>
          <a:prstGeom prst="line">
            <a:avLst/>
          </a:prstGeom>
          <a:ln w="9525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72F473ED-6D09-34D9-0BEE-577DCC921A2B}"/>
              </a:ext>
            </a:extLst>
          </p:cNvPr>
          <p:cNvSpPr txBox="1"/>
          <p:nvPr/>
        </p:nvSpPr>
        <p:spPr>
          <a:xfrm>
            <a:off x="8628896" y="6092770"/>
            <a:ext cx="3110420" cy="523220"/>
          </a:xfrm>
          <a:prstGeom prst="rect">
            <a:avLst/>
          </a:prstGeom>
          <a:noFill/>
          <a:ln>
            <a:solidFill>
              <a:srgbClr val="FF0000"/>
            </a:solidFill>
            <a:prstDash val="lgDash"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ий срок рассмотрения заявки: </a:t>
            </a:r>
            <a:b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рабочих дней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84116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BADF9D8-36A3-4E8B-9C1C-DDB094151BAD}"/>
              </a:ext>
            </a:extLst>
          </p:cNvPr>
          <p:cNvSpPr/>
          <p:nvPr/>
        </p:nvSpPr>
        <p:spPr>
          <a:xfrm>
            <a:off x="1524000" y="0"/>
            <a:ext cx="9144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36130E2-E1E1-437B-9AC4-D074F019B96F}"/>
              </a:ext>
            </a:extLst>
          </p:cNvPr>
          <p:cNvSpPr/>
          <p:nvPr/>
        </p:nvSpPr>
        <p:spPr>
          <a:xfrm>
            <a:off x="8484" y="372132"/>
            <a:ext cx="2466198" cy="6478443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Заголовок">
            <a:extLst>
              <a:ext uri="{FF2B5EF4-FFF2-40B4-BE49-F238E27FC236}">
                <a16:creationId xmlns:a16="http://schemas.microsoft.com/office/drawing/2014/main" id="{3552C99F-4DC7-4107-A13E-6049CEF2C2A5}"/>
              </a:ext>
            </a:extLst>
          </p:cNvPr>
          <p:cNvSpPr txBox="1"/>
          <p:nvPr/>
        </p:nvSpPr>
        <p:spPr>
          <a:xfrm>
            <a:off x="2912767" y="884081"/>
            <a:ext cx="8203430" cy="2934458"/>
          </a:xfrm>
          <a:prstGeom prst="rect">
            <a:avLst/>
          </a:prstGeom>
          <a:ln w="12700">
            <a:noFill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35719" tIns="35719" rIns="35719" bIns="35719" anchor="ctr">
            <a:spAutoFit/>
          </a:bodyPr>
          <a:lstStyle>
            <a:lvl1pPr algn="l">
              <a:defRPr sz="4000" b="0">
                <a:solidFill>
                  <a:srgbClr val="FFFFFF"/>
                </a:solidFill>
                <a:latin typeface="Gill Sans SemiBold"/>
                <a:ea typeface="Gill Sans SemiBold"/>
                <a:cs typeface="Gill Sans SemiBold"/>
                <a:sym typeface="Gill Sans SemiBold"/>
              </a:defRPr>
            </a:lvl1pPr>
          </a:lstStyle>
          <a:p>
            <a:r>
              <a:rPr lang="ru-RU" sz="1800" b="1" dirty="0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О «Казахстанский центр индустрии и экспорта</a:t>
            </a:r>
          </a:p>
          <a:p>
            <a:r>
              <a:rPr lang="ru-RU" sz="1800" b="1" dirty="0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»</a:t>
            </a:r>
          </a:p>
          <a:p>
            <a:endParaRPr lang="ru-RU" sz="1800" b="1" dirty="0">
              <a:solidFill>
                <a:srgbClr val="2742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0000, Республика Казахстан,</a:t>
            </a:r>
          </a:p>
          <a:p>
            <a:r>
              <a:rPr lang="ru-RU" sz="1600" dirty="0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Астана, пр-т </a:t>
            </a:r>
            <a:r>
              <a:rPr lang="ru-RU" sz="1600" dirty="0" err="1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банбай</a:t>
            </a:r>
            <a:r>
              <a:rPr lang="ru-RU" sz="1600" dirty="0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атыра, 17, </a:t>
            </a:r>
          </a:p>
          <a:p>
            <a:r>
              <a:rPr lang="ru-RU" sz="1600" dirty="0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ок Е, 4 этаж. </a:t>
            </a:r>
          </a:p>
          <a:p>
            <a:endParaRPr lang="ru-RU" sz="1600" dirty="0">
              <a:solidFill>
                <a:srgbClr val="2742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актные номера:</a:t>
            </a:r>
          </a:p>
          <a:p>
            <a:r>
              <a:rPr lang="ru-RU" sz="1600" dirty="0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7 (7172) 793390, 793391, 793392,793393 (</a:t>
            </a:r>
            <a:r>
              <a:rPr lang="ru-RU" sz="1600" dirty="0" err="1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</a:t>
            </a:r>
            <a:r>
              <a:rPr lang="ru-RU" sz="1600" dirty="0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+444)</a:t>
            </a:r>
          </a:p>
          <a:p>
            <a:endParaRPr lang="ru-RU" sz="1800" b="1" dirty="0">
              <a:solidFill>
                <a:srgbClr val="2742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800" b="1" dirty="0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www.qazindustry.gov.kz</a:t>
            </a:r>
            <a:endParaRPr lang="ru-RU" sz="1800" b="1" dirty="0">
              <a:solidFill>
                <a:srgbClr val="2742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одзаголовок">
            <a:extLst>
              <a:ext uri="{FF2B5EF4-FFF2-40B4-BE49-F238E27FC236}">
                <a16:creationId xmlns:a16="http://schemas.microsoft.com/office/drawing/2014/main" id="{F426FD5F-A989-4D7C-8CF0-3A644AFC95E3}"/>
              </a:ext>
            </a:extLst>
          </p:cNvPr>
          <p:cNvSpPr txBox="1"/>
          <p:nvPr/>
        </p:nvSpPr>
        <p:spPr>
          <a:xfrm>
            <a:off x="3769422" y="4568475"/>
            <a:ext cx="72200" cy="6261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 algn="l">
              <a:defRPr sz="2500" b="0">
                <a:solidFill>
                  <a:srgbClr val="FFFFFF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</a:lstStyle>
          <a:p>
            <a:endParaRPr lang="en-US" sz="3600" b="1" dirty="0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A2225A4-D0CF-4436-AE54-C57CBE126158}"/>
              </a:ext>
            </a:extLst>
          </p:cNvPr>
          <p:cNvSpPr/>
          <p:nvPr/>
        </p:nvSpPr>
        <p:spPr>
          <a:xfrm>
            <a:off x="245020" y="2403224"/>
            <a:ext cx="2166151" cy="55399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дана Адил</a:t>
            </a: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ru-RU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тани</a:t>
            </a:r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708 554 83 37</a:t>
            </a:r>
          </a:p>
          <a:p>
            <a:r>
              <a:rPr lang="en-US" sz="1000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a.adilsultani@qazindustry.gov.kz</a:t>
            </a:r>
            <a:r>
              <a:rPr lang="ru-RU" sz="1000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000" u="sng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5DBEEE0-EEFB-44DF-884E-BD4A7FB2ABFD}"/>
              </a:ext>
            </a:extLst>
          </p:cNvPr>
          <p:cNvSpPr/>
          <p:nvPr/>
        </p:nvSpPr>
        <p:spPr>
          <a:xfrm>
            <a:off x="245020" y="1702686"/>
            <a:ext cx="2288784" cy="55399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сулу</a:t>
            </a:r>
            <a:r>
              <a: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алмурзина</a:t>
            </a:r>
          </a:p>
          <a:p>
            <a:r>
              <a:rPr lang="ru-RU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7</a:t>
            </a:r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8</a:t>
            </a:r>
            <a:r>
              <a:rPr lang="ru-RU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1</a:t>
            </a:r>
            <a:r>
              <a:rPr lang="ru-RU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</a:t>
            </a:r>
            <a:r>
              <a:rPr lang="ru-RU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6</a:t>
            </a:r>
            <a:endParaRPr lang="ru-RU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a.zhalmurzina@qazindustry.gov.kz</a:t>
            </a:r>
            <a:endParaRPr lang="ru-RU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0F25871B-5E8F-42F0-869D-2C676BB32BC7}"/>
              </a:ext>
            </a:extLst>
          </p:cNvPr>
          <p:cNvCxnSpPr/>
          <p:nvPr/>
        </p:nvCxnSpPr>
        <p:spPr>
          <a:xfrm>
            <a:off x="327183" y="3036588"/>
            <a:ext cx="1828800" cy="0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6A864CFA-6C61-40F1-BAD9-A7C1CCD2CBDD}"/>
              </a:ext>
            </a:extLst>
          </p:cNvPr>
          <p:cNvCxnSpPr/>
          <p:nvPr/>
        </p:nvCxnSpPr>
        <p:spPr>
          <a:xfrm>
            <a:off x="327183" y="2351310"/>
            <a:ext cx="1828800" cy="0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F66B540-B540-46A7-AAA5-EC7F707F942F}"/>
              </a:ext>
            </a:extLst>
          </p:cNvPr>
          <p:cNvSpPr/>
          <p:nvPr/>
        </p:nvSpPr>
        <p:spPr>
          <a:xfrm>
            <a:off x="201645" y="379557"/>
            <a:ext cx="21717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акты </a:t>
            </a:r>
          </a:p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еджеров для получения консультаций  </a:t>
            </a:r>
          </a:p>
        </p:txBody>
      </p:sp>
      <p:sp>
        <p:nvSpPr>
          <p:cNvPr id="22" name="Заголовок">
            <a:extLst>
              <a:ext uri="{FF2B5EF4-FFF2-40B4-BE49-F238E27FC236}">
                <a16:creationId xmlns:a16="http://schemas.microsoft.com/office/drawing/2014/main" id="{B6CE3252-A1C8-42D1-91B3-0F6380EDFDF7}"/>
              </a:ext>
            </a:extLst>
          </p:cNvPr>
          <p:cNvSpPr txBox="1"/>
          <p:nvPr/>
        </p:nvSpPr>
        <p:spPr>
          <a:xfrm>
            <a:off x="4289267" y="3890707"/>
            <a:ext cx="5450429" cy="13647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35719" tIns="35719" rIns="35719" bIns="35719" anchor="ctr">
            <a:spAutoFit/>
          </a:bodyPr>
          <a:lstStyle>
            <a:lvl1pPr algn="l">
              <a:defRPr sz="4000" b="0">
                <a:solidFill>
                  <a:srgbClr val="FFFFFF"/>
                </a:solidFill>
                <a:latin typeface="Gill Sans SemiBold"/>
                <a:ea typeface="Gill Sans SemiBold"/>
                <a:cs typeface="Gill Sans SemiBold"/>
                <a:sym typeface="Gill Sans SemiBold"/>
              </a:defRPr>
            </a:lvl1pPr>
          </a:lstStyle>
          <a:p>
            <a:r>
              <a:rPr lang="ru-RU" sz="1400" dirty="0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еграмм-чат:</a:t>
            </a:r>
          </a:p>
          <a:p>
            <a:r>
              <a:rPr lang="ru-RU" sz="1400" b="1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ры государственного стимулирования</a:t>
            </a:r>
            <a:endParaRPr lang="ru-RU" sz="1400" b="1" dirty="0">
              <a:solidFill>
                <a:srgbClr val="2742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b="1" dirty="0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400" b="1" dirty="0" err="1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azIndustry</a:t>
            </a:r>
            <a:r>
              <a:rPr lang="ru-RU" sz="1400" b="1" dirty="0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меры стимулирования для бизнеса»</a:t>
            </a:r>
          </a:p>
          <a:p>
            <a:r>
              <a:rPr lang="ru-RU" sz="1400" dirty="0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тивные консультации предпринимателей (вопрос-ответ)</a:t>
            </a:r>
          </a:p>
          <a:p>
            <a:endParaRPr lang="ru-RU" sz="1400" b="1" dirty="0">
              <a:solidFill>
                <a:srgbClr val="274264"/>
              </a:solidFill>
              <a:latin typeface="Arial" panose="020B0604020202020204" pitchFamily="34" charset="0"/>
              <a:cs typeface="Arial" panose="020B0604020202020204" pitchFamily="34" charset="0"/>
              <a:hlinkClick r:id="rId5">
                <a:extLst>
                  <a:ext uri="{A12FA001-AC4F-418D-AE19-62706E023703}">
                    <ahyp:hlinkClr xmlns=""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en-US" sz="1400" b="1" dirty="0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https://t.me/joinchat/S_S-XdqzVPKwhhLo</a:t>
            </a:r>
            <a:endParaRPr lang="ru-RU" sz="1400" b="1" dirty="0">
              <a:solidFill>
                <a:srgbClr val="2742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FCC80879-3209-4E2E-83DC-EF10B1193E7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6538" y="4190121"/>
            <a:ext cx="745090" cy="745090"/>
          </a:xfrm>
          <a:prstGeom prst="rect">
            <a:avLst/>
          </a:prstGeom>
        </p:spPr>
      </p:pic>
      <p:pic>
        <p:nvPicPr>
          <p:cNvPr id="23" name="Рисунок 27">
            <a:extLst>
              <a:ext uri="{FF2B5EF4-FFF2-40B4-BE49-F238E27FC236}">
                <a16:creationId xmlns:a16="http://schemas.microsoft.com/office/drawing/2014/main" id="{2799F853-B793-4C9B-B587-3C1ACC4A3C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852" t="39236" r="20988" b="50000"/>
          <a:stretch>
            <a:fillRect/>
          </a:stretch>
        </p:blipFill>
        <p:spPr bwMode="auto">
          <a:xfrm>
            <a:off x="2878384" y="1203684"/>
            <a:ext cx="1622425" cy="31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524" y="4663670"/>
            <a:ext cx="1827299" cy="1827299"/>
          </a:xfrm>
          <a:prstGeom prst="rect">
            <a:avLst/>
          </a:prstGeom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5747226E-9E01-B245-4548-045C86DB057D}"/>
              </a:ext>
            </a:extLst>
          </p:cNvPr>
          <p:cNvSpPr/>
          <p:nvPr/>
        </p:nvSpPr>
        <p:spPr>
          <a:xfrm>
            <a:off x="245020" y="1037409"/>
            <a:ext cx="2166151" cy="55399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станбек Сагиев</a:t>
            </a:r>
          </a:p>
          <a:p>
            <a:r>
              <a:rPr lang="ru-RU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701 999 73 07</a:t>
            </a:r>
          </a:p>
          <a:p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a.sagiyev@qazindustry.gov.kz</a:t>
            </a:r>
            <a:endParaRPr lang="en-US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0AEA5FF6-4218-9030-43E8-977667796FFF}"/>
              </a:ext>
            </a:extLst>
          </p:cNvPr>
          <p:cNvCxnSpPr/>
          <p:nvPr/>
        </p:nvCxnSpPr>
        <p:spPr>
          <a:xfrm>
            <a:off x="327183" y="1659766"/>
            <a:ext cx="1828800" cy="0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94BA2433-A1CF-A1F4-16B8-1C1785ED65F9}"/>
              </a:ext>
            </a:extLst>
          </p:cNvPr>
          <p:cNvSpPr txBox="1"/>
          <p:nvPr/>
        </p:nvSpPr>
        <p:spPr>
          <a:xfrm>
            <a:off x="598" y="-11619"/>
            <a:ext cx="12192000" cy="37955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lIns="162528" tIns="81263" rIns="162528" bIns="81263" rtlCol="0">
            <a:spAutoFit/>
          </a:bodyPr>
          <a:lstStyle/>
          <a:p>
            <a:pPr algn="ctr" defTabSz="975390">
              <a:buClr>
                <a:srgbClr val="000000"/>
              </a:buClr>
            </a:pPr>
            <a:endParaRPr lang="ru-RU" sz="1400" b="1" cap="all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8" name="Изображение" descr="Изображение">
            <a:extLst>
              <a:ext uri="{FF2B5EF4-FFF2-40B4-BE49-F238E27FC236}">
                <a16:creationId xmlns:a16="http://schemas.microsoft.com/office/drawing/2014/main" id="{01DB15F5-B2B4-423D-157B-D63ED2FDA2F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466718" y="54753"/>
            <a:ext cx="1593188" cy="232572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Заголовок">
            <a:extLst>
              <a:ext uri="{FF2B5EF4-FFF2-40B4-BE49-F238E27FC236}">
                <a16:creationId xmlns:a16="http://schemas.microsoft.com/office/drawing/2014/main" id="{81A49267-17D5-E59B-D013-819F6ED0198A}"/>
              </a:ext>
            </a:extLst>
          </p:cNvPr>
          <p:cNvSpPr txBox="1"/>
          <p:nvPr/>
        </p:nvSpPr>
        <p:spPr>
          <a:xfrm>
            <a:off x="4289266" y="5367995"/>
            <a:ext cx="5450429" cy="13647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35719" tIns="35719" rIns="35719" bIns="35719" anchor="ctr">
            <a:spAutoFit/>
          </a:bodyPr>
          <a:lstStyle>
            <a:lvl1pPr algn="l">
              <a:defRPr sz="4000" b="0">
                <a:solidFill>
                  <a:srgbClr val="FFFFFF"/>
                </a:solidFill>
                <a:latin typeface="Gill Sans SemiBold"/>
                <a:ea typeface="Gill Sans SemiBold"/>
                <a:cs typeface="Gill Sans SemiBold"/>
                <a:sym typeface="Gill Sans SemiBold"/>
              </a:defRPr>
            </a:lvl1pPr>
          </a:lstStyle>
          <a:p>
            <a:r>
              <a:rPr lang="en-US" sz="1400" dirty="0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sApp</a:t>
            </a:r>
            <a:r>
              <a:rPr lang="ru-RU" sz="1400" dirty="0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чат:</a:t>
            </a:r>
          </a:p>
          <a:p>
            <a:r>
              <a:rPr lang="ru-RU" sz="1400" b="1" cap="al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ры государственного стимулирования</a:t>
            </a:r>
            <a:endParaRPr lang="ru-RU" sz="1400" b="1" dirty="0">
              <a:solidFill>
                <a:srgbClr val="2742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b="1" dirty="0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400" b="1" dirty="0" err="1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azIndustry</a:t>
            </a:r>
            <a:r>
              <a:rPr lang="ru-RU" sz="1400" b="1" dirty="0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меры поддержки»</a:t>
            </a:r>
          </a:p>
          <a:p>
            <a:r>
              <a:rPr lang="ru-RU" sz="1400" dirty="0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тивные консультации предпринимателей (вопрос-ответ)</a:t>
            </a:r>
          </a:p>
          <a:p>
            <a:endParaRPr lang="ru-RU" sz="1400" b="1" dirty="0">
              <a:solidFill>
                <a:srgbClr val="274264"/>
              </a:solidFill>
              <a:latin typeface="Arial" panose="020B0604020202020204" pitchFamily="34" charset="0"/>
              <a:cs typeface="Arial" panose="020B0604020202020204" pitchFamily="34" charset="0"/>
              <a:hlinkClick r:id="rId5">
                <a:extLst>
                  <a:ext uri="{A12FA001-AC4F-418D-AE19-62706E023703}">
                    <ahyp:hlinkClr xmlns=""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en-US" sz="1400" b="1" dirty="0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  <a:hlinkClick r:id="rId11"/>
              </a:rPr>
              <a:t>https://chat.whatsapp.com/LspCClYDKwU7qTVkhRKyEJ</a:t>
            </a:r>
            <a:r>
              <a:rPr lang="kk-KZ" sz="1400" b="1" dirty="0">
                <a:solidFill>
                  <a:srgbClr val="2742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400" b="1" dirty="0">
              <a:solidFill>
                <a:srgbClr val="2742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AA5273A-0A60-7267-6CDE-343433F1A3B7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15" t="15061" r="31423" b="16918"/>
          <a:stretch/>
        </p:blipFill>
        <p:spPr>
          <a:xfrm>
            <a:off x="3228382" y="5653759"/>
            <a:ext cx="745090" cy="745090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9D9EE5B7-377C-AB75-AE53-37991C83FCCE}"/>
              </a:ext>
            </a:extLst>
          </p:cNvPr>
          <p:cNvSpPr/>
          <p:nvPr/>
        </p:nvSpPr>
        <p:spPr>
          <a:xfrm>
            <a:off x="245020" y="3125715"/>
            <a:ext cx="2288784" cy="55399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ьшинбаева Аида</a:t>
            </a:r>
          </a:p>
          <a:p>
            <a:r>
              <a:rPr lang="ru-RU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701 999 69 8</a:t>
            </a:r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-RU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00" u="sng" dirty="0">
                <a:solidFill>
                  <a:srgbClr val="27519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.alshinbayeva@qazindustry.gov.kz</a:t>
            </a:r>
            <a:endParaRPr lang="ru-RU" sz="1000" u="sng" dirty="0">
              <a:solidFill>
                <a:srgbClr val="27519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8C266D37-BAE6-A78A-8C5B-433D5BA68D91}"/>
              </a:ext>
            </a:extLst>
          </p:cNvPr>
          <p:cNvCxnSpPr/>
          <p:nvPr/>
        </p:nvCxnSpPr>
        <p:spPr>
          <a:xfrm>
            <a:off x="327183" y="3746336"/>
            <a:ext cx="1828800" cy="0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1F25E83B-691D-3D86-DC8F-CA8740D10012}"/>
              </a:ext>
            </a:extLst>
          </p:cNvPr>
          <p:cNvSpPr/>
          <p:nvPr/>
        </p:nvSpPr>
        <p:spPr>
          <a:xfrm>
            <a:off x="243777" y="3821346"/>
            <a:ext cx="2288784" cy="55399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йлауқызы</a:t>
            </a:r>
            <a:r>
              <a:rPr lang="ru-RU" sz="1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Ясин</a:t>
            </a:r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705 500 49 29</a:t>
            </a:r>
          </a:p>
          <a:p>
            <a:r>
              <a:rPr lang="en-US" sz="1000" u="sng" dirty="0">
                <a:solidFill>
                  <a:srgbClr val="27519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a.sailaukyzy@qazindustry.gov.kz</a:t>
            </a:r>
            <a:endParaRPr lang="ru-RU" sz="1000" u="sng" dirty="0">
              <a:solidFill>
                <a:srgbClr val="27519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6265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DC1EDD2-5156-4C78-B4CC-0F7C486904F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97" r="19473"/>
          <a:stretch/>
        </p:blipFill>
        <p:spPr>
          <a:xfrm>
            <a:off x="510746" y="1439665"/>
            <a:ext cx="3657600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501188AF-66C9-4AAA-A13A-44C37A9AA3C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24" r="34102"/>
          <a:stretch/>
        </p:blipFill>
        <p:spPr>
          <a:xfrm>
            <a:off x="3077494" y="1469605"/>
            <a:ext cx="3707027" cy="3978893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14C3997A-412B-4A32-BBDD-47C610D6C31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3" r="39982"/>
          <a:stretch/>
        </p:blipFill>
        <p:spPr>
          <a:xfrm>
            <a:off x="5560543" y="1439665"/>
            <a:ext cx="3731740" cy="3991430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13023DF2-4F41-434C-BFC2-4F97EF92A44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09" r="25508"/>
          <a:stretch/>
        </p:blipFill>
        <p:spPr>
          <a:xfrm>
            <a:off x="8079161" y="1439665"/>
            <a:ext cx="3690552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sp>
        <p:nvSpPr>
          <p:cNvPr id="6" name="Прямоугольник 5"/>
          <p:cNvSpPr/>
          <p:nvPr/>
        </p:nvSpPr>
        <p:spPr>
          <a:xfrm>
            <a:off x="1185331" y="2853267"/>
            <a:ext cx="9905999" cy="1202266"/>
          </a:xfrm>
          <a:custGeom>
            <a:avLst/>
            <a:gdLst>
              <a:gd name="connsiteX0" fmla="*/ 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0 w 9889066"/>
              <a:gd name="connsiteY4" fmla="*/ 0 h 1202266"/>
              <a:gd name="connsiteX0" fmla="*/ 35560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355600 w 9889066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905999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89467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89467 w 9905999"/>
              <a:gd name="connsiteY4" fmla="*/ 0 h 1202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5999" h="1202266">
                <a:moveTo>
                  <a:pt x="389467" y="0"/>
                </a:moveTo>
                <a:lnTo>
                  <a:pt x="9905999" y="0"/>
                </a:lnTo>
                <a:lnTo>
                  <a:pt x="9541933" y="1202266"/>
                </a:lnTo>
                <a:lnTo>
                  <a:pt x="0" y="1202266"/>
                </a:lnTo>
                <a:lnTo>
                  <a:pt x="38946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89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1587062" y="5578179"/>
            <a:ext cx="8664085" cy="1013615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3pPr>
            <a:lvl4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endParaRPr lang="ru-RU" sz="20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ТОО «</a:t>
            </a:r>
            <a:r>
              <a:rPr lang="en-US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QAZTRADE</a:t>
            </a:r>
            <a:r>
              <a:rPr lang="ru-RU" sz="200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»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2024 год</a:t>
            </a:r>
            <a:endParaRPr lang="ru-RU" sz="2000" b="0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73292" y="3173770"/>
            <a:ext cx="110917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15264">
              <a:buClr>
                <a:schemeClr val="tx2"/>
              </a:buClr>
              <a:defRPr/>
            </a:pP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еры </a:t>
            </a:r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ддержки </a:t>
            </a:r>
            <a:r>
              <a:rPr lang="en-US" sz="28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QAZTRADE</a:t>
            </a:r>
            <a:endParaRPr lang="ru-RU" sz="28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729474" y="813573"/>
            <a:ext cx="3338395" cy="714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ПРИЛОЖЕНИЕ 7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10436" y="423304"/>
            <a:ext cx="722671" cy="687923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59603" y="462968"/>
            <a:ext cx="1814051" cy="569732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73654" y="445303"/>
            <a:ext cx="1828800" cy="619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380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Freeform 44"/>
          <p:cNvSpPr>
            <a:spLocks/>
          </p:cNvSpPr>
          <p:nvPr/>
        </p:nvSpPr>
        <p:spPr bwMode="auto">
          <a:xfrm>
            <a:off x="2328742" y="6015360"/>
            <a:ext cx="404813" cy="282575"/>
          </a:xfrm>
          <a:custGeom>
            <a:avLst/>
            <a:gdLst>
              <a:gd name="T0" fmla="*/ 129 w 255"/>
              <a:gd name="T1" fmla="*/ 0 h 178"/>
              <a:gd name="T2" fmla="*/ 0 w 255"/>
              <a:gd name="T3" fmla="*/ 173 h 178"/>
              <a:gd name="T4" fmla="*/ 8 w 255"/>
              <a:gd name="T5" fmla="*/ 178 h 178"/>
              <a:gd name="T6" fmla="*/ 46 w 255"/>
              <a:gd name="T7" fmla="*/ 148 h 178"/>
              <a:gd name="T8" fmla="*/ 86 w 255"/>
              <a:gd name="T9" fmla="*/ 178 h 178"/>
              <a:gd name="T10" fmla="*/ 124 w 255"/>
              <a:gd name="T11" fmla="*/ 148 h 178"/>
              <a:gd name="T12" fmla="*/ 164 w 255"/>
              <a:gd name="T13" fmla="*/ 178 h 178"/>
              <a:gd name="T14" fmla="*/ 202 w 255"/>
              <a:gd name="T15" fmla="*/ 148 h 178"/>
              <a:gd name="T16" fmla="*/ 242 w 255"/>
              <a:gd name="T17" fmla="*/ 178 h 178"/>
              <a:gd name="T18" fmla="*/ 255 w 255"/>
              <a:gd name="T19" fmla="*/ 169 h 178"/>
              <a:gd name="T20" fmla="*/ 129 w 255"/>
              <a:gd name="T21" fmla="*/ 0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55" h="178">
                <a:moveTo>
                  <a:pt x="129" y="0"/>
                </a:moveTo>
                <a:lnTo>
                  <a:pt x="0" y="173"/>
                </a:lnTo>
                <a:lnTo>
                  <a:pt x="8" y="178"/>
                </a:lnTo>
                <a:lnTo>
                  <a:pt x="46" y="148"/>
                </a:lnTo>
                <a:lnTo>
                  <a:pt x="86" y="178"/>
                </a:lnTo>
                <a:lnTo>
                  <a:pt x="124" y="148"/>
                </a:lnTo>
                <a:lnTo>
                  <a:pt x="164" y="178"/>
                </a:lnTo>
                <a:lnTo>
                  <a:pt x="202" y="148"/>
                </a:lnTo>
                <a:lnTo>
                  <a:pt x="242" y="178"/>
                </a:lnTo>
                <a:lnTo>
                  <a:pt x="255" y="169"/>
                </a:lnTo>
                <a:lnTo>
                  <a:pt x="129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101" name="Freeform 50"/>
          <p:cNvSpPr>
            <a:spLocks/>
          </p:cNvSpPr>
          <p:nvPr/>
        </p:nvSpPr>
        <p:spPr bwMode="auto">
          <a:xfrm>
            <a:off x="2328742" y="6015360"/>
            <a:ext cx="206375" cy="282575"/>
          </a:xfrm>
          <a:custGeom>
            <a:avLst/>
            <a:gdLst>
              <a:gd name="T0" fmla="*/ 129 w 130"/>
              <a:gd name="T1" fmla="*/ 0 h 178"/>
              <a:gd name="T2" fmla="*/ 129 w 130"/>
              <a:gd name="T3" fmla="*/ 0 h 178"/>
              <a:gd name="T4" fmla="*/ 0 w 130"/>
              <a:gd name="T5" fmla="*/ 173 h 178"/>
              <a:gd name="T6" fmla="*/ 8 w 130"/>
              <a:gd name="T7" fmla="*/ 178 h 178"/>
              <a:gd name="T8" fmla="*/ 46 w 130"/>
              <a:gd name="T9" fmla="*/ 148 h 178"/>
              <a:gd name="T10" fmla="*/ 86 w 130"/>
              <a:gd name="T11" fmla="*/ 178 h 178"/>
              <a:gd name="T12" fmla="*/ 124 w 130"/>
              <a:gd name="T13" fmla="*/ 148 h 178"/>
              <a:gd name="T14" fmla="*/ 130 w 130"/>
              <a:gd name="T15" fmla="*/ 152 h 178"/>
              <a:gd name="T16" fmla="*/ 129 w 130"/>
              <a:gd name="T17" fmla="*/ 0 h 178"/>
              <a:gd name="T18" fmla="*/ 129 w 130"/>
              <a:gd name="T19" fmla="*/ 0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0" h="178">
                <a:moveTo>
                  <a:pt x="129" y="0"/>
                </a:moveTo>
                <a:lnTo>
                  <a:pt x="129" y="0"/>
                </a:lnTo>
                <a:lnTo>
                  <a:pt x="0" y="173"/>
                </a:lnTo>
                <a:lnTo>
                  <a:pt x="8" y="178"/>
                </a:lnTo>
                <a:lnTo>
                  <a:pt x="46" y="148"/>
                </a:lnTo>
                <a:lnTo>
                  <a:pt x="86" y="178"/>
                </a:lnTo>
                <a:lnTo>
                  <a:pt x="124" y="148"/>
                </a:lnTo>
                <a:lnTo>
                  <a:pt x="130" y="152"/>
                </a:lnTo>
                <a:lnTo>
                  <a:pt x="129" y="0"/>
                </a:lnTo>
                <a:lnTo>
                  <a:pt x="129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cxnSp>
        <p:nvCxnSpPr>
          <p:cNvPr id="102" name="Straight Connector 34">
            <a:extLst>
              <a:ext uri="{FF2B5EF4-FFF2-40B4-BE49-F238E27FC236}">
                <a16:creationId xmlns:a16="http://schemas.microsoft.com/office/drawing/2014/main" id="{3DA4F0B6-38C2-495B-9418-291816027EE2}"/>
              </a:ext>
            </a:extLst>
          </p:cNvPr>
          <p:cNvCxnSpPr>
            <a:cxnSpLocks/>
          </p:cNvCxnSpPr>
          <p:nvPr/>
        </p:nvCxnSpPr>
        <p:spPr>
          <a:xfrm>
            <a:off x="866186" y="2595865"/>
            <a:ext cx="7184173" cy="8549"/>
          </a:xfrm>
          <a:prstGeom prst="line">
            <a:avLst/>
          </a:prstGeom>
          <a:ln w="136525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Прямоугольник 102">
            <a:extLst>
              <a:ext uri="{FF2B5EF4-FFF2-40B4-BE49-F238E27FC236}">
                <a16:creationId xmlns:a16="http://schemas.microsoft.com/office/drawing/2014/main" id="{DC95A62B-54B7-4119-843E-A8CA9EF4BE3E}"/>
              </a:ext>
            </a:extLst>
          </p:cNvPr>
          <p:cNvSpPr/>
          <p:nvPr/>
        </p:nvSpPr>
        <p:spPr>
          <a:xfrm>
            <a:off x="3152285" y="2846164"/>
            <a:ext cx="192108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СК-Ф </a:t>
            </a:r>
            <a:r>
              <a:rPr lang="ru-RU" sz="1000" b="1" dirty="0" smtClean="0"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направляет приглашение на участие в заключении ДД</a:t>
            </a:r>
            <a:endParaRPr lang="id-ID" sz="1000" dirty="0"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cxnSp>
        <p:nvCxnSpPr>
          <p:cNvPr id="104" name="Straight Connector 34">
            <a:extLst>
              <a:ext uri="{FF2B5EF4-FFF2-40B4-BE49-F238E27FC236}">
                <a16:creationId xmlns:a16="http://schemas.microsoft.com/office/drawing/2014/main" id="{EC621C7F-0B7E-4EDF-991C-44069D7AE6E3}"/>
              </a:ext>
            </a:extLst>
          </p:cNvPr>
          <p:cNvCxnSpPr>
            <a:cxnSpLocks/>
          </p:cNvCxnSpPr>
          <p:nvPr/>
        </p:nvCxnSpPr>
        <p:spPr>
          <a:xfrm flipV="1">
            <a:off x="7726163" y="2575543"/>
            <a:ext cx="3096869" cy="27071"/>
          </a:xfrm>
          <a:prstGeom prst="line">
            <a:avLst/>
          </a:prstGeom>
          <a:ln w="136525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Стрелка: шеврон 53">
            <a:extLst>
              <a:ext uri="{FF2B5EF4-FFF2-40B4-BE49-F238E27FC236}">
                <a16:creationId xmlns:a16="http://schemas.microsoft.com/office/drawing/2014/main" id="{39C05B9A-62E2-4979-B7B1-727A88726D8E}"/>
              </a:ext>
            </a:extLst>
          </p:cNvPr>
          <p:cNvSpPr/>
          <p:nvPr/>
        </p:nvSpPr>
        <p:spPr>
          <a:xfrm>
            <a:off x="7688238" y="2475421"/>
            <a:ext cx="235018" cy="254386"/>
          </a:xfrm>
          <a:prstGeom prst="chevron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3F3F3F"/>
              </a:solidFill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106" name="Прямоугольник 105">
            <a:extLst>
              <a:ext uri="{FF2B5EF4-FFF2-40B4-BE49-F238E27FC236}">
                <a16:creationId xmlns:a16="http://schemas.microsoft.com/office/drawing/2014/main" id="{AA29E86C-8648-49C2-9FA0-D98234235A42}"/>
              </a:ext>
            </a:extLst>
          </p:cNvPr>
          <p:cNvSpPr/>
          <p:nvPr/>
        </p:nvSpPr>
        <p:spPr>
          <a:xfrm>
            <a:off x="8566932" y="2894736"/>
            <a:ext cx="226078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СК-Ф заключает ДД с ЗКП (заказчик контрактного производства)</a:t>
            </a:r>
            <a:endParaRPr lang="ru-RU" sz="1000" b="1" dirty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107" name="Прямоугольник 106">
            <a:extLst>
              <a:ext uri="{FF2B5EF4-FFF2-40B4-BE49-F238E27FC236}">
                <a16:creationId xmlns:a16="http://schemas.microsoft.com/office/drawing/2014/main" id="{DC95A62B-54B7-4119-843E-A8CA9EF4BE3E}"/>
              </a:ext>
            </a:extLst>
          </p:cNvPr>
          <p:cNvSpPr/>
          <p:nvPr/>
        </p:nvSpPr>
        <p:spPr>
          <a:xfrm>
            <a:off x="462734" y="2826780"/>
            <a:ext cx="28598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b="1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ЗКП уведомляет </a:t>
            </a:r>
            <a:r>
              <a:rPr lang="ru-RU" sz="900" b="1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в СК-Ф о </a:t>
            </a:r>
            <a:r>
              <a:rPr lang="ru-RU" sz="900" b="1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намерении заключения ДД</a:t>
            </a:r>
          </a:p>
          <a:p>
            <a:pPr algn="ctr"/>
            <a:r>
              <a:rPr lang="ru-RU" sz="900" b="1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с </a:t>
            </a:r>
            <a:r>
              <a:rPr lang="ru-RU" sz="900" b="1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риложением  заключений </a:t>
            </a:r>
            <a:r>
              <a:rPr lang="ru-RU" sz="900" b="1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экспертных организаций</a:t>
            </a:r>
          </a:p>
        </p:txBody>
      </p:sp>
      <p:sp>
        <p:nvSpPr>
          <p:cNvPr id="108" name="Стрелка: шеврон 53">
            <a:extLst>
              <a:ext uri="{FF2B5EF4-FFF2-40B4-BE49-F238E27FC236}">
                <a16:creationId xmlns:a16="http://schemas.microsoft.com/office/drawing/2014/main" id="{39C05B9A-62E2-4979-B7B1-727A88726D8E}"/>
              </a:ext>
            </a:extLst>
          </p:cNvPr>
          <p:cNvSpPr/>
          <p:nvPr/>
        </p:nvSpPr>
        <p:spPr>
          <a:xfrm>
            <a:off x="2608245" y="2475421"/>
            <a:ext cx="235018" cy="254386"/>
          </a:xfrm>
          <a:prstGeom prst="chevron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3F3F3F"/>
              </a:solidFill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109" name="Oval 19">
            <a:extLst>
              <a:ext uri="{FF2B5EF4-FFF2-40B4-BE49-F238E27FC236}">
                <a16:creationId xmlns:a16="http://schemas.microsoft.com/office/drawing/2014/main" id="{92CF7CED-4202-4442-BE83-CF062CF0CCE3}"/>
              </a:ext>
            </a:extLst>
          </p:cNvPr>
          <p:cNvSpPr/>
          <p:nvPr/>
        </p:nvSpPr>
        <p:spPr>
          <a:xfrm>
            <a:off x="5726186" y="1853906"/>
            <a:ext cx="1603701" cy="652999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b="1" dirty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~</a:t>
            </a:r>
          </a:p>
        </p:txBody>
      </p:sp>
      <p:sp>
        <p:nvSpPr>
          <p:cNvPr id="110" name="Стрелка: шеврон 53">
            <a:extLst>
              <a:ext uri="{FF2B5EF4-FFF2-40B4-BE49-F238E27FC236}">
                <a16:creationId xmlns:a16="http://schemas.microsoft.com/office/drawing/2014/main" id="{39C05B9A-62E2-4979-B7B1-727A88726D8E}"/>
              </a:ext>
            </a:extLst>
          </p:cNvPr>
          <p:cNvSpPr/>
          <p:nvPr/>
        </p:nvSpPr>
        <p:spPr>
          <a:xfrm>
            <a:off x="5029058" y="2506905"/>
            <a:ext cx="235018" cy="254386"/>
          </a:xfrm>
          <a:prstGeom prst="chevron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srgbClr val="3F3F3F"/>
              </a:solidFill>
              <a:latin typeface="Century Gothic" panose="020B0502020202020204" pitchFamily="34" charset="0"/>
              <a:ea typeface="Arial Unicode MS" panose="020B0604020202020204" pitchFamily="34" charset="-128"/>
              <a:cs typeface="Segoe UI" panose="020B0502040204020203" pitchFamily="34" charset="0"/>
            </a:endParaRPr>
          </a:p>
        </p:txBody>
      </p:sp>
      <p:sp>
        <p:nvSpPr>
          <p:cNvPr id="111" name="Прямоугольник 110">
            <a:extLst>
              <a:ext uri="{FF2B5EF4-FFF2-40B4-BE49-F238E27FC236}">
                <a16:creationId xmlns:a16="http://schemas.microsoft.com/office/drawing/2014/main" id="{DC95A62B-54B7-4119-843E-A8CA9EF4BE3E}"/>
              </a:ext>
            </a:extLst>
          </p:cNvPr>
          <p:cNvSpPr/>
          <p:nvPr/>
        </p:nvSpPr>
        <p:spPr>
          <a:xfrm>
            <a:off x="5341348" y="2826780"/>
            <a:ext cx="274032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ЗКП предоставляет нотариально заверенную копию договора на контрактное производство на территории РК</a:t>
            </a:r>
            <a:endParaRPr lang="ru-RU" sz="1000" b="1" dirty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112" name="Oval 19">
            <a:extLst>
              <a:ext uri="{FF2B5EF4-FFF2-40B4-BE49-F238E27FC236}">
                <a16:creationId xmlns:a16="http://schemas.microsoft.com/office/drawing/2014/main" id="{92CF7CED-4202-4442-BE83-CF062CF0CCE3}"/>
              </a:ext>
            </a:extLst>
          </p:cNvPr>
          <p:cNvSpPr/>
          <p:nvPr/>
        </p:nvSpPr>
        <p:spPr>
          <a:xfrm>
            <a:off x="1034824" y="1822103"/>
            <a:ext cx="1394191" cy="684802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700" dirty="0" smtClean="0">
                <a:solidFill>
                  <a:srgbClr val="C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ри необходимости</a:t>
            </a:r>
          </a:p>
        </p:txBody>
      </p:sp>
      <p:sp>
        <p:nvSpPr>
          <p:cNvPr id="113" name="Oval 19">
            <a:extLst>
              <a:ext uri="{FF2B5EF4-FFF2-40B4-BE49-F238E27FC236}">
                <a16:creationId xmlns:a16="http://schemas.microsoft.com/office/drawing/2014/main" id="{92CF7CED-4202-4442-BE83-CF062CF0CCE3}"/>
              </a:ext>
            </a:extLst>
          </p:cNvPr>
          <p:cNvSpPr/>
          <p:nvPr/>
        </p:nvSpPr>
        <p:spPr>
          <a:xfrm>
            <a:off x="8566932" y="1860296"/>
            <a:ext cx="1774102" cy="652999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700" dirty="0" smtClean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При соблюдении п.371-374 Правил 110</a:t>
            </a:r>
          </a:p>
        </p:txBody>
      </p:sp>
      <p:sp>
        <p:nvSpPr>
          <p:cNvPr id="114" name="Oval 19">
            <a:extLst>
              <a:ext uri="{FF2B5EF4-FFF2-40B4-BE49-F238E27FC236}">
                <a16:creationId xmlns:a16="http://schemas.microsoft.com/office/drawing/2014/main" id="{92CF7CED-4202-4442-BE83-CF062CF0CCE3}"/>
              </a:ext>
            </a:extLst>
          </p:cNvPr>
          <p:cNvSpPr/>
          <p:nvPr/>
        </p:nvSpPr>
        <p:spPr>
          <a:xfrm>
            <a:off x="3293991" y="1818016"/>
            <a:ext cx="1530738" cy="692976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bg1">
                <a:lumMod val="50000"/>
              </a:schemeClr>
            </a:solidFill>
          </a:ln>
          <a:effectLst>
            <a:outerShdw blurRad="1905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700" dirty="0" smtClean="0">
                <a:solidFill>
                  <a:srgbClr val="C00000"/>
                </a:solidFill>
                <a:latin typeface="Century Gothic" panose="020B0502020202020204" pitchFamily="34" charset="0"/>
                <a:ea typeface="Arial Unicode MS" panose="020B0604020202020204" pitchFamily="34" charset="-128"/>
                <a:cs typeface="Segoe UI" panose="020B0502040204020203" pitchFamily="34" charset="0"/>
              </a:rPr>
              <a:t>В течение 3 (трех) рабочих дней</a:t>
            </a:r>
          </a:p>
        </p:txBody>
      </p:sp>
      <p:sp>
        <p:nvSpPr>
          <p:cNvPr id="115" name="Прямоугольник с двумя усеченными противолежащими углами 114">
            <a:extLst>
              <a:ext uri="{FF2B5EF4-FFF2-40B4-BE49-F238E27FC236}">
                <a16:creationId xmlns:a16="http://schemas.microsoft.com/office/drawing/2014/main" id="{59A5E1A1-1B2E-49F0-A6C9-3578E9FD8F10}"/>
              </a:ext>
            </a:extLst>
          </p:cNvPr>
          <p:cNvSpPr/>
          <p:nvPr/>
        </p:nvSpPr>
        <p:spPr>
          <a:xfrm>
            <a:off x="462734" y="176277"/>
            <a:ext cx="11409517" cy="514231"/>
          </a:xfrm>
          <a:prstGeom prst="snip2DiagRect">
            <a:avLst/>
          </a:prstGeom>
          <a:ln w="1905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100" b="1" u="sng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орядок заключения ДД поставки оригинальных ЛС и МИ с заказчиками контрактного производства согласно Главы 7 Правил 110 https://adilet.zan.kz/rus/docs/V2300032733#z2285 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459339" y="5118403"/>
            <a:ext cx="11412912" cy="17860"/>
          </a:xfrm>
          <a:prstGeom prst="line">
            <a:avLst/>
          </a:prstGeom>
          <a:ln w="1905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3896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3927" y="78377"/>
            <a:ext cx="1629591" cy="463731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8138" y="801733"/>
            <a:ext cx="956854" cy="870313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638" y="2109651"/>
            <a:ext cx="2535827" cy="332939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28138" y="1680210"/>
            <a:ext cx="958487" cy="86704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29771" y="3786596"/>
            <a:ext cx="987879" cy="95685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28138" y="5873387"/>
            <a:ext cx="1059724" cy="871946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12044380" y="42454"/>
            <a:ext cx="58783" cy="117566"/>
          </a:xfrm>
          <a:prstGeom prst="rect">
            <a:avLst/>
          </a:prstGeom>
          <a:solidFill>
            <a:srgbClr val="1F4E78"/>
          </a:solidFill>
        </p:spPr>
        <p:txBody>
          <a:bodyPr wrap="none" lIns="0" tIns="0" rIns="0" bIns="0">
            <a:noAutofit/>
          </a:bodyPr>
          <a:lstStyle/>
          <a:p>
            <a:pPr algn="just"/>
            <a:r>
              <a:rPr lang="ru" sz="1071" b="1">
                <a:solidFill>
                  <a:srgbClr val="FFFFFF"/>
                </a:solidFill>
                <a:latin typeface="Century Gothic"/>
              </a:rPr>
              <a:t>1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606465" y="169817"/>
            <a:ext cx="2176599" cy="318407"/>
          </a:xfrm>
          <a:prstGeom prst="rect">
            <a:avLst/>
          </a:prstGeom>
          <a:solidFill>
            <a:srgbClr val="1F4E78"/>
          </a:solidFill>
        </p:spPr>
        <p:txBody>
          <a:bodyPr wrap="none" lIns="0" tIns="0" rIns="0" bIns="0">
            <a:noAutofit/>
          </a:bodyPr>
          <a:lstStyle/>
          <a:p>
            <a:pPr indent="-2401597"/>
            <a:r>
              <a:rPr lang="ru" sz="2571" b="1">
                <a:solidFill>
                  <a:srgbClr val="FFFFFF"/>
                </a:solidFill>
                <a:latin typeface="Century Gothic"/>
              </a:rPr>
              <a:t>Направления деятельности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884993" y="808264"/>
            <a:ext cx="7173141" cy="803366"/>
          </a:xfrm>
          <a:prstGeom prst="rect">
            <a:avLst/>
          </a:prstGeom>
          <a:solidFill>
            <a:srgbClr val="1F4E78"/>
          </a:solidFill>
        </p:spPr>
        <p:txBody>
          <a:bodyPr lIns="0" tIns="0" rIns="0" bIns="0">
            <a:noAutofit/>
          </a:bodyPr>
          <a:lstStyle/>
          <a:p>
            <a:pPr>
              <a:lnSpc>
                <a:spcPct val="78000"/>
              </a:lnSpc>
              <a:spcAft>
                <a:spcPts val="337"/>
              </a:spcAft>
            </a:pPr>
            <a:r>
              <a:rPr lang="ru" sz="2143" b="1">
                <a:solidFill>
                  <a:srgbClr val="FFFFFF"/>
                </a:solidFill>
                <a:latin typeface="Century Gothic"/>
              </a:rPr>
              <a:t>Защита и продвижение интересов отечественного бизнеса в интеграционных процессах</a:t>
            </a:r>
          </a:p>
          <a:p>
            <a:pPr indent="217708"/>
            <a:r>
              <a:rPr lang="ru" sz="1339">
                <a:solidFill>
                  <a:srgbClr val="FFFFFF"/>
                </a:solidFill>
                <a:latin typeface="Arial"/>
              </a:rPr>
              <a:t>► </a:t>
            </a:r>
            <a:r>
              <a:rPr lang="ru" sz="1714">
                <a:solidFill>
                  <a:srgbClr val="FFFFFF"/>
                </a:solidFill>
                <a:latin typeface="Century Gothic"/>
              </a:rPr>
              <a:t>Защита национальных интересов в рамках ВТО и ЕАЭС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185438" y="1819003"/>
            <a:ext cx="7524206" cy="628650"/>
          </a:xfrm>
          <a:prstGeom prst="rect">
            <a:avLst/>
          </a:prstGeom>
          <a:solidFill>
            <a:srgbClr val="1F4E78"/>
          </a:solidFill>
        </p:spPr>
        <p:txBody>
          <a:bodyPr lIns="0" tIns="0" rIns="0" bIns="0">
            <a:noAutofit/>
          </a:bodyPr>
          <a:lstStyle/>
          <a:p>
            <a:pPr indent="115658">
              <a:spcAft>
                <a:spcPts val="750"/>
              </a:spcAft>
            </a:pPr>
            <a:r>
              <a:rPr lang="ru" sz="1339">
                <a:solidFill>
                  <a:srgbClr val="FFFFFF"/>
                </a:solidFill>
                <a:latin typeface="Arial"/>
              </a:rPr>
              <a:t>► </a:t>
            </a:r>
            <a:r>
              <a:rPr lang="ru" sz="1714">
                <a:solidFill>
                  <a:srgbClr val="FFFFFF"/>
                </a:solidFill>
                <a:latin typeface="Century Gothic"/>
              </a:rPr>
              <a:t>Мониторинг и выявление барьеров в торговле на внешних рынках</a:t>
            </a:r>
          </a:p>
          <a:p>
            <a:pPr indent="115658"/>
            <a:r>
              <a:rPr lang="ru" sz="1339">
                <a:solidFill>
                  <a:srgbClr val="FFFFFF"/>
                </a:solidFill>
                <a:latin typeface="Arial"/>
              </a:rPr>
              <a:t>► </a:t>
            </a:r>
            <a:r>
              <a:rPr lang="ru" sz="1714">
                <a:solidFill>
                  <a:srgbClr val="FFFFFF"/>
                </a:solidFill>
                <a:latin typeface="Century Gothic"/>
              </a:rPr>
              <a:t>Поддержка участников ВЭД в торговых спорах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929771" y="2811780"/>
            <a:ext cx="8673737" cy="956854"/>
          </a:xfrm>
          <a:prstGeom prst="rect">
            <a:avLst/>
          </a:prstGeom>
          <a:solidFill>
            <a:srgbClr val="DABA93"/>
          </a:solidFill>
        </p:spPr>
        <p:txBody>
          <a:bodyPr lIns="0" tIns="0" rIns="0" bIns="0">
            <a:noAutofit/>
          </a:bodyPr>
          <a:lstStyle/>
          <a:p>
            <a:pPr indent="217708">
              <a:spcAft>
                <a:spcPts val="937"/>
              </a:spcAft>
            </a:pPr>
            <a:r>
              <a:rPr lang="ru" sz="2143" b="1">
                <a:solidFill>
                  <a:srgbClr val="FFFFFF"/>
                </a:solidFill>
                <a:latin typeface="Century Gothic"/>
              </a:rPr>
              <a:t>Газвитие и продвижение несырьевого экспорта</a:t>
            </a:r>
          </a:p>
          <a:p>
            <a:pPr marL="1215394"/>
            <a:r>
              <a:rPr lang="ru" sz="1339">
                <a:solidFill>
                  <a:srgbClr val="FFFFFF"/>
                </a:solidFill>
                <a:latin typeface="Arial"/>
              </a:rPr>
              <a:t>► </a:t>
            </a:r>
            <a:r>
              <a:rPr lang="ru" sz="1714">
                <a:solidFill>
                  <a:srgbClr val="FFFFFF"/>
                </a:solidFill>
                <a:latin typeface="Century Gothic"/>
              </a:rPr>
              <a:t>Экспортная акселерация, вывод на </a:t>
            </a:r>
            <a:r>
              <a:rPr lang="en-US" sz="1714">
                <a:solidFill>
                  <a:srgbClr val="FFFFFF"/>
                </a:solidFill>
                <a:latin typeface="Century Gothic"/>
              </a:rPr>
              <a:t>e</a:t>
            </a:r>
            <a:r>
              <a:rPr lang="ru" sz="1714">
                <a:solidFill>
                  <a:srgbClr val="FFFFFF"/>
                </a:solidFill>
                <a:latin typeface="Century Gothic"/>
              </a:rPr>
              <a:t>-площадки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191969" y="3768634"/>
            <a:ext cx="7411539" cy="832757"/>
          </a:xfrm>
          <a:prstGeom prst="rect">
            <a:avLst/>
          </a:prstGeom>
          <a:solidFill>
            <a:srgbClr val="DABA93"/>
          </a:solidFill>
        </p:spPr>
        <p:txBody>
          <a:bodyPr lIns="0" tIns="0" rIns="0" bIns="0">
            <a:noAutofit/>
          </a:bodyPr>
          <a:lstStyle/>
          <a:p>
            <a:pPr indent="115658">
              <a:lnSpc>
                <a:spcPct val="134000"/>
              </a:lnSpc>
              <a:spcAft>
                <a:spcPts val="600"/>
              </a:spcAft>
            </a:pPr>
            <a:r>
              <a:rPr lang="ru" sz="1339">
                <a:solidFill>
                  <a:srgbClr val="FFFFFF"/>
                </a:solidFill>
                <a:latin typeface="Arial"/>
              </a:rPr>
              <a:t>► </a:t>
            </a:r>
            <a:r>
              <a:rPr lang="ru" sz="1714">
                <a:solidFill>
                  <a:srgbClr val="FFFFFF"/>
                </a:solidFill>
                <a:latin typeface="Century Gothic"/>
              </a:rPr>
              <a:t>Сервисные меры поддержки для экспортеров</a:t>
            </a:r>
          </a:p>
          <a:p>
            <a:pPr indent="-340170"/>
            <a:r>
              <a:rPr lang="ru" sz="1339">
                <a:solidFill>
                  <a:srgbClr val="FFFFFF"/>
                </a:solidFill>
                <a:latin typeface="Arial"/>
              </a:rPr>
              <a:t>► </a:t>
            </a:r>
            <a:r>
              <a:rPr lang="ru" sz="1714">
                <a:solidFill>
                  <a:srgbClr val="FFFFFF"/>
                </a:solidFill>
                <a:latin typeface="Century Gothic"/>
              </a:rPr>
              <a:t>Оперирование инструментом возмещения государством части затрат экспортеров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928138" y="4990011"/>
            <a:ext cx="8072846" cy="868680"/>
          </a:xfrm>
          <a:prstGeom prst="rect">
            <a:avLst/>
          </a:prstGeom>
          <a:solidFill>
            <a:srgbClr val="1F4E78"/>
          </a:solidFill>
        </p:spPr>
        <p:txBody>
          <a:bodyPr lIns="0" tIns="0" rIns="0" bIns="0">
            <a:noAutofit/>
          </a:bodyPr>
          <a:lstStyle/>
          <a:p>
            <a:pPr indent="217708">
              <a:spcAft>
                <a:spcPts val="1275"/>
              </a:spcAft>
            </a:pPr>
            <a:r>
              <a:rPr lang="ru" sz="2143" b="1">
                <a:solidFill>
                  <a:srgbClr val="FFFFFF"/>
                </a:solidFill>
                <a:latin typeface="Century Gothic"/>
              </a:rPr>
              <a:t>Г Взаимодействие с ритейл и бизнес-сообществом</a:t>
            </a:r>
          </a:p>
          <a:p>
            <a:pPr marL="1217027"/>
            <a:r>
              <a:rPr lang="ru" sz="1339">
                <a:solidFill>
                  <a:srgbClr val="FFFFFF"/>
                </a:solidFill>
                <a:latin typeface="Arial"/>
              </a:rPr>
              <a:t>► </a:t>
            </a:r>
            <a:r>
              <a:rPr lang="ru" sz="1714">
                <a:solidFill>
                  <a:srgbClr val="FFFFFF"/>
                </a:solidFill>
                <a:latin typeface="Century Gothic"/>
              </a:rPr>
              <a:t>Развитие ритейла в регионах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196868" y="5858691"/>
            <a:ext cx="6804116" cy="264523"/>
          </a:xfrm>
          <a:prstGeom prst="rect">
            <a:avLst/>
          </a:prstGeom>
          <a:solidFill>
            <a:srgbClr val="1F4E78"/>
          </a:solidFill>
        </p:spPr>
        <p:txBody>
          <a:bodyPr wrap="none" lIns="0" tIns="0" rIns="0" bIns="0">
            <a:noAutofit/>
          </a:bodyPr>
          <a:lstStyle/>
          <a:p>
            <a:pPr indent="115658"/>
            <a:r>
              <a:rPr lang="ru" sz="1339">
                <a:solidFill>
                  <a:srgbClr val="FFFFFF"/>
                </a:solidFill>
                <a:latin typeface="Arial"/>
              </a:rPr>
              <a:t>► </a:t>
            </a:r>
            <a:r>
              <a:rPr lang="ru" sz="1714">
                <a:solidFill>
                  <a:srgbClr val="FFFFFF"/>
                </a:solidFill>
                <a:latin typeface="Century Gothic"/>
              </a:rPr>
              <a:t>Встраивание в глобальные цепочки создания стоимости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4191970" y="6312626"/>
            <a:ext cx="5187587" cy="222069"/>
          </a:xfrm>
          <a:prstGeom prst="rect">
            <a:avLst/>
          </a:prstGeom>
          <a:solidFill>
            <a:srgbClr val="1F4E78"/>
          </a:solidFill>
        </p:spPr>
        <p:txBody>
          <a:bodyPr wrap="none" lIns="0" tIns="0" rIns="0" bIns="0">
            <a:noAutofit/>
          </a:bodyPr>
          <a:lstStyle/>
          <a:p>
            <a:pPr indent="115658"/>
            <a:r>
              <a:rPr lang="ru" sz="1339">
                <a:solidFill>
                  <a:srgbClr val="FFFFFF"/>
                </a:solidFill>
                <a:latin typeface="Arial"/>
              </a:rPr>
              <a:t>► </a:t>
            </a:r>
            <a:r>
              <a:rPr lang="ru" sz="1714">
                <a:solidFill>
                  <a:srgbClr val="FFFFFF"/>
                </a:solidFill>
                <a:latin typeface="Century Gothic"/>
              </a:rPr>
              <a:t>Единый экспортный портал и цифровизация</a:t>
            </a:r>
          </a:p>
        </p:txBody>
      </p:sp>
    </p:spTree>
    <p:extLst>
      <p:ext uri="{BB962C8B-B14F-4D97-AF65-F5344CB8AC3E}">
        <p14:creationId xmlns:p14="http://schemas.microsoft.com/office/powerpoint/2010/main" val="3728166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585" y="628650"/>
            <a:ext cx="586196" cy="58782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925" y="3350623"/>
            <a:ext cx="1546316" cy="870313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4284" y="3350623"/>
            <a:ext cx="1546316" cy="87031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39077" y="3350623"/>
            <a:ext cx="1546316" cy="870313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07561" y="3350623"/>
            <a:ext cx="1544683" cy="87031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29484" y="3334294"/>
            <a:ext cx="1606731" cy="904603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2564" y="5128804"/>
            <a:ext cx="455567" cy="45393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03545" y="5089616"/>
            <a:ext cx="1371600" cy="77234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71534" y="5164727"/>
            <a:ext cx="1939834" cy="711926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236307" y="5169626"/>
            <a:ext cx="1923506" cy="693964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67681" y="4346666"/>
            <a:ext cx="2209256" cy="2403566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2036216" y="40821"/>
            <a:ext cx="86541" cy="119199"/>
          </a:xfrm>
          <a:prstGeom prst="rect">
            <a:avLst/>
          </a:prstGeom>
          <a:solidFill>
            <a:srgbClr val="1F4E78"/>
          </a:solidFill>
        </p:spPr>
        <p:txBody>
          <a:bodyPr wrap="none" lIns="0" tIns="0" rIns="0" bIns="0">
            <a:noAutofit/>
          </a:bodyPr>
          <a:lstStyle/>
          <a:p>
            <a:pPr algn="ctr"/>
            <a:r>
              <a:rPr lang="ru" sz="1071" b="1">
                <a:solidFill>
                  <a:srgbClr val="FFFFFF"/>
                </a:solidFill>
                <a:latin typeface="Century Gothic"/>
              </a:rPr>
              <a:t>2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0047396" y="71846"/>
            <a:ext cx="1641021" cy="475161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Autofit/>
          </a:bodyPr>
          <a:lstStyle/>
          <a:p>
            <a:pPr algn="ctr">
              <a:spcAft>
                <a:spcPts val="75"/>
              </a:spcAft>
            </a:pPr>
            <a:r>
              <a:rPr lang="en-US" sz="2464">
                <a:solidFill>
                  <a:srgbClr val="588EAE"/>
                </a:solidFill>
                <a:latin typeface="Arial"/>
              </a:rPr>
              <a:t>QazTrade</a:t>
            </a:r>
          </a:p>
          <a:p>
            <a:pPr algn="just"/>
            <a:r>
              <a:rPr lang="en-US" sz="589">
                <a:solidFill>
                  <a:srgbClr val="A78D6B"/>
                </a:solidFill>
                <a:latin typeface="Arial"/>
              </a:rPr>
              <a:t>CENTER FOR TRADE POLICY DEVELOPMENT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402108" y="0"/>
            <a:ext cx="1983921" cy="81643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pPr indent="-353776"/>
            <a:r>
              <a:rPr lang="ru" sz="696">
                <a:latin typeface="Arial"/>
              </a:rPr>
              <a:t>для итравки заявки, сканиру </a:t>
            </a:r>
            <a:r>
              <a:rPr lang="en-US" sz="696">
                <a:latin typeface="Arial"/>
              </a:rPr>
              <a:t>ie Qikug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402108" y="202474"/>
            <a:ext cx="4167051" cy="323306"/>
          </a:xfrm>
          <a:prstGeom prst="rect">
            <a:avLst/>
          </a:prstGeom>
          <a:solidFill>
            <a:srgbClr val="1F4E78"/>
          </a:solidFill>
        </p:spPr>
        <p:txBody>
          <a:bodyPr wrap="none" lIns="0" tIns="0" rIns="0" bIns="0">
            <a:noAutofit/>
          </a:bodyPr>
          <a:lstStyle/>
          <a:p>
            <a:pPr indent="-142871"/>
            <a:r>
              <a:rPr lang="ru" sz="2571" b="1">
                <a:solidFill>
                  <a:srgbClr val="FFFFFF"/>
                </a:solidFill>
                <a:latin typeface="Century Gothic"/>
              </a:rPr>
              <a:t>Экспортная акселерация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797260" y="800100"/>
            <a:ext cx="8249194" cy="274320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pPr algn="ctr"/>
            <a:r>
              <a:rPr lang="ru" sz="1500" baseline="-25000">
                <a:solidFill>
                  <a:srgbClr val="1A66A8"/>
                </a:solidFill>
                <a:latin typeface="Century Gothic"/>
              </a:rPr>
              <a:t>ДГГР|</a:t>
            </a:r>
            <a:r>
              <a:rPr lang="ru" sz="1500">
                <a:solidFill>
                  <a:srgbClr val="1A66A8"/>
                </a:solidFill>
                <a:latin typeface="Century Gothic"/>
              </a:rPr>
              <a:t> р</a:t>
            </a:r>
            <a:r>
              <a:rPr lang="ru" sz="1500" baseline="-25000">
                <a:solidFill>
                  <a:srgbClr val="1A66A8"/>
                </a:solidFill>
                <a:latin typeface="Century Gothic"/>
              </a:rPr>
              <a:t>РЛТП</a:t>
            </a:r>
            <a:r>
              <a:rPr lang="ru" sz="1500">
                <a:solidFill>
                  <a:srgbClr val="1A66A8"/>
                </a:solidFill>
                <a:latin typeface="Century Gothic"/>
              </a:rPr>
              <a:t>р </a:t>
            </a:r>
            <a:r>
              <a:rPr lang="ru" sz="1500">
                <a:solidFill>
                  <a:srgbClr val="004987"/>
                </a:solidFill>
                <a:latin typeface="Century Gothic"/>
              </a:rPr>
              <a:t>Эффективный вывод несырьевого бизнеса на международные рынки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76378" y="1247503"/>
            <a:ext cx="1319349" cy="246561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r>
              <a:rPr lang="ru" sz="2357" b="1">
                <a:solidFill>
                  <a:srgbClr val="C00000"/>
                </a:solidFill>
                <a:latin typeface="Century Gothic"/>
              </a:rPr>
              <a:t>Что это?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17200" y="1611630"/>
            <a:ext cx="1815737" cy="132261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pPr indent="47624"/>
            <a:r>
              <a:rPr lang="ru" sz="1071">
                <a:solidFill>
                  <a:srgbClr val="2F5597"/>
                </a:solidFill>
                <a:latin typeface="Century Gothic"/>
              </a:rPr>
              <a:t>На безвозмездной основе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317200" y="1861457"/>
            <a:ext cx="3161211" cy="878477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Autofit/>
          </a:bodyPr>
          <a:lstStyle/>
          <a:p>
            <a:pPr indent="47624">
              <a:lnSpc>
                <a:spcPct val="147000"/>
              </a:lnSpc>
            </a:pPr>
            <a:r>
              <a:rPr lang="ru" sz="1071">
                <a:solidFill>
                  <a:srgbClr val="2F5597"/>
                </a:solidFill>
                <a:latin typeface="Century Gothic"/>
              </a:rPr>
              <a:t>Практико-ориентированная программа</a:t>
            </a:r>
          </a:p>
          <a:p>
            <a:pPr indent="47624">
              <a:lnSpc>
                <a:spcPct val="147000"/>
              </a:lnSpc>
            </a:pPr>
            <a:r>
              <a:rPr lang="ru" sz="1071">
                <a:solidFill>
                  <a:srgbClr val="2F5597"/>
                </a:solidFill>
                <a:latin typeface="Century Gothic"/>
              </a:rPr>
              <a:t>Индивидуальный подход к каждому участнику</a:t>
            </a:r>
          </a:p>
          <a:p>
            <a:pPr>
              <a:lnSpc>
                <a:spcPct val="147000"/>
              </a:lnSpc>
            </a:pPr>
            <a:r>
              <a:rPr lang="ru" sz="1071">
                <a:solidFill>
                  <a:srgbClr val="2F5597"/>
                </a:solidFill>
                <a:latin typeface="Century Gothic"/>
              </a:rPr>
              <a:t>Гарантированный выход на внешние рынки Платформа преимуществ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808248" y="1247503"/>
            <a:ext cx="1466306" cy="275953"/>
          </a:xfrm>
          <a:prstGeom prst="rect">
            <a:avLst/>
          </a:prstGeom>
          <a:solidFill>
            <a:srgbClr val="D5DCE6"/>
          </a:solidFill>
        </p:spPr>
        <p:txBody>
          <a:bodyPr wrap="none" lIns="0" tIns="0" rIns="0" bIns="0">
            <a:noAutofit/>
          </a:bodyPr>
          <a:lstStyle/>
          <a:p>
            <a:r>
              <a:rPr lang="ru" sz="2357" b="1">
                <a:solidFill>
                  <a:srgbClr val="C00000"/>
                </a:solidFill>
                <a:latin typeface="Century Gothic"/>
              </a:rPr>
              <a:t>Для кого?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3824577" y="1645920"/>
            <a:ext cx="3491049" cy="1320981"/>
          </a:xfrm>
          <a:prstGeom prst="rect">
            <a:avLst/>
          </a:prstGeom>
          <a:solidFill>
            <a:srgbClr val="D5DCE6"/>
          </a:solidFill>
        </p:spPr>
        <p:txBody>
          <a:bodyPr lIns="0" tIns="0" rIns="0" bIns="0">
            <a:noAutofit/>
          </a:bodyPr>
          <a:lstStyle/>
          <a:p>
            <a:pPr>
              <a:spcAft>
                <a:spcPts val="150"/>
              </a:spcAft>
            </a:pPr>
            <a:r>
              <a:rPr lang="ru" sz="1071">
                <a:solidFill>
                  <a:srgbClr val="2F5597"/>
                </a:solidFill>
                <a:latin typeface="Century Gothic"/>
              </a:rPr>
              <a:t>Производители готовой продукции</a:t>
            </a:r>
          </a:p>
          <a:p>
            <a:pPr>
              <a:spcAft>
                <a:spcPts val="150"/>
              </a:spcAft>
            </a:pPr>
            <a:r>
              <a:rPr lang="ru" sz="1071">
                <a:solidFill>
                  <a:srgbClr val="2F5597"/>
                </a:solidFill>
                <a:latin typeface="Century Gothic"/>
              </a:rPr>
              <a:t>Готовые увеличить объемы производства</a:t>
            </a:r>
          </a:p>
          <a:p>
            <a:pPr>
              <a:spcAft>
                <a:spcPts val="150"/>
              </a:spcAft>
            </a:pPr>
            <a:r>
              <a:rPr lang="ru" sz="1071">
                <a:solidFill>
                  <a:srgbClr val="2F5597"/>
                </a:solidFill>
                <a:latin typeface="Century Gothic"/>
              </a:rPr>
              <a:t>Обладающие материальными, трудовыми</a:t>
            </a:r>
          </a:p>
          <a:p>
            <a:pPr>
              <a:spcAft>
                <a:spcPts val="150"/>
              </a:spcAft>
            </a:pPr>
            <a:r>
              <a:rPr lang="ru" sz="1071">
                <a:solidFill>
                  <a:srgbClr val="2F5597"/>
                </a:solidFill>
                <a:latin typeface="Century Gothic"/>
              </a:rPr>
              <a:t>ресурсами</a:t>
            </a:r>
          </a:p>
          <a:p>
            <a:pPr>
              <a:spcAft>
                <a:spcPts val="150"/>
              </a:spcAft>
            </a:pPr>
            <a:r>
              <a:rPr lang="ru" sz="1071">
                <a:solidFill>
                  <a:srgbClr val="2F5597"/>
                </a:solidFill>
                <a:latin typeface="Century Gothic"/>
              </a:rPr>
              <a:t>Готовые повысить уровень предприятия</a:t>
            </a:r>
          </a:p>
          <a:p>
            <a:pPr>
              <a:spcAft>
                <a:spcPts val="150"/>
              </a:spcAft>
            </a:pPr>
            <a:r>
              <a:rPr lang="ru" sz="1071">
                <a:solidFill>
                  <a:srgbClr val="2F5597"/>
                </a:solidFill>
                <a:latin typeface="Century Gothic"/>
              </a:rPr>
              <a:t>Имеющие финансовую стабильность</a:t>
            </a:r>
          </a:p>
          <a:p>
            <a:r>
              <a:rPr lang="ru" sz="1071">
                <a:solidFill>
                  <a:srgbClr val="2F5597"/>
                </a:solidFill>
                <a:latin typeface="Century Gothic"/>
              </a:rPr>
              <a:t>Готовые адаптироваться под условия нового рынка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7740168" y="1247503"/>
            <a:ext cx="4327071" cy="1761853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Autofit/>
          </a:bodyPr>
          <a:lstStyle/>
          <a:p>
            <a:pPr>
              <a:spcAft>
                <a:spcPts val="150"/>
              </a:spcAft>
            </a:pPr>
            <a:r>
              <a:rPr lang="ru" sz="2357" b="1">
                <a:solidFill>
                  <a:srgbClr val="C00000"/>
                </a:solidFill>
                <a:latin typeface="Century Gothic"/>
              </a:rPr>
              <a:t>Что это даст?</a:t>
            </a:r>
          </a:p>
          <a:p>
            <a:pPr>
              <a:lnSpc>
                <a:spcPct val="107000"/>
              </a:lnSpc>
            </a:pPr>
            <a:r>
              <a:rPr lang="ru" sz="1071">
                <a:solidFill>
                  <a:srgbClr val="2F5597"/>
                </a:solidFill>
                <a:latin typeface="Century Gothic"/>
              </a:rPr>
              <a:t>Оценка конкурентоспособности товара</a:t>
            </a:r>
          </a:p>
          <a:p>
            <a:pPr>
              <a:lnSpc>
                <a:spcPct val="107000"/>
              </a:lnSpc>
            </a:pPr>
            <a:r>
              <a:rPr lang="ru" sz="1071">
                <a:solidFill>
                  <a:srgbClr val="2F5597"/>
                </a:solidFill>
                <a:latin typeface="Century Gothic"/>
              </a:rPr>
              <a:t>Ускоренное получение мер господдержки</a:t>
            </a:r>
          </a:p>
          <a:p>
            <a:pPr>
              <a:lnSpc>
                <a:spcPct val="107000"/>
              </a:lnSpc>
            </a:pPr>
            <a:r>
              <a:rPr lang="ru" sz="1071">
                <a:solidFill>
                  <a:srgbClr val="2F5597"/>
                </a:solidFill>
                <a:latin typeface="Century Gothic"/>
              </a:rPr>
              <a:t>Коучинг и консалтинг</a:t>
            </a:r>
          </a:p>
          <a:p>
            <a:pPr>
              <a:lnSpc>
                <a:spcPct val="107000"/>
              </a:lnSpc>
            </a:pPr>
            <a:r>
              <a:rPr lang="ru" sz="1071">
                <a:solidFill>
                  <a:srgbClr val="2F5597"/>
                </a:solidFill>
                <a:latin typeface="Century Gothic"/>
              </a:rPr>
              <a:t>Бесплатное участие на международных выставках, ярмарках,</a:t>
            </a:r>
          </a:p>
          <a:p>
            <a:pPr>
              <a:lnSpc>
                <a:spcPct val="107000"/>
              </a:lnSpc>
            </a:pPr>
            <a:r>
              <a:rPr lang="ru" sz="1071">
                <a:solidFill>
                  <a:srgbClr val="2F5597"/>
                </a:solidFill>
                <a:latin typeface="Century Gothic"/>
              </a:rPr>
              <a:t>В2В встречах</a:t>
            </a:r>
          </a:p>
          <a:p>
            <a:pPr>
              <a:lnSpc>
                <a:spcPct val="107000"/>
              </a:lnSpc>
            </a:pPr>
            <a:r>
              <a:rPr lang="ru" sz="1071">
                <a:solidFill>
                  <a:srgbClr val="2F5597"/>
                </a:solidFill>
                <a:latin typeface="Century Gothic"/>
              </a:rPr>
              <a:t>Нахождение зарубежных покупателей</a:t>
            </a:r>
          </a:p>
          <a:p>
            <a:pPr>
              <a:lnSpc>
                <a:spcPct val="107000"/>
              </a:lnSpc>
            </a:pPr>
            <a:r>
              <a:rPr lang="ru" sz="1071">
                <a:solidFill>
                  <a:srgbClr val="2F5597"/>
                </a:solidFill>
                <a:latin typeface="Century Gothic"/>
              </a:rPr>
              <a:t>Реклама через электронные платформы, переводческие услуги и т.д.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98397" y="3105695"/>
            <a:ext cx="2503170" cy="177981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r>
              <a:rPr lang="ru" sz="1393">
                <a:solidFill>
                  <a:srgbClr val="0070C0"/>
                </a:solidFill>
                <a:latin typeface="Century Gothic"/>
              </a:rPr>
              <a:t>Пищевая промышленность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2741993" y="3105694"/>
            <a:ext cx="2292531" cy="186146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r>
              <a:rPr lang="ru" sz="1393">
                <a:solidFill>
                  <a:srgbClr val="0070C0"/>
                </a:solidFill>
                <a:latin typeface="Century Gothic"/>
              </a:rPr>
              <a:t>Легкая промышленность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5470497" y="3105694"/>
            <a:ext cx="1685109" cy="186146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r>
              <a:rPr lang="ru" sz="1393">
                <a:solidFill>
                  <a:srgbClr val="0070C0"/>
                </a:solidFill>
                <a:latin typeface="Century Gothic"/>
              </a:rPr>
              <a:t>Машиностроение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7483809" y="3105694"/>
            <a:ext cx="2793819" cy="186146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r>
              <a:rPr lang="ru" sz="1393">
                <a:solidFill>
                  <a:srgbClr val="0070C0"/>
                </a:solidFill>
                <a:latin typeface="Century Gothic"/>
              </a:rPr>
              <a:t>Химическая промышленность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10907911" y="3105694"/>
            <a:ext cx="609056" cy="186146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r>
              <a:rPr lang="ru" sz="1393">
                <a:solidFill>
                  <a:srgbClr val="0070C0"/>
                </a:solidFill>
                <a:latin typeface="Century Gothic"/>
              </a:rPr>
              <a:t>Услуги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588254" y="4901837"/>
            <a:ext cx="929096" cy="199209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r>
              <a:rPr lang="ru" sz="1714" b="1">
                <a:solidFill>
                  <a:srgbClr val="1F4E79"/>
                </a:solidFill>
                <a:latin typeface="Century Gothic"/>
              </a:rPr>
              <a:t>2020 год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2379498" y="4901837"/>
            <a:ext cx="929096" cy="199209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r>
              <a:rPr lang="ru" sz="1714" b="1">
                <a:solidFill>
                  <a:srgbClr val="1F4E79"/>
                </a:solidFill>
                <a:latin typeface="Century Gothic"/>
              </a:rPr>
              <a:t>2021 год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4467922" y="4905103"/>
            <a:ext cx="929096" cy="195943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r>
              <a:rPr lang="ru" sz="1714" b="1">
                <a:solidFill>
                  <a:srgbClr val="1F4E79"/>
                </a:solidFill>
                <a:latin typeface="Century Gothic"/>
              </a:rPr>
              <a:t>2022 год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6770251" y="4901837"/>
            <a:ext cx="950323" cy="225334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pPr algn="r"/>
            <a:r>
              <a:rPr lang="ru" sz="1714" b="1">
                <a:solidFill>
                  <a:srgbClr val="1F4E79"/>
                </a:solidFill>
                <a:latin typeface="Century Gothic"/>
              </a:rPr>
              <a:t>2023 год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82514" y="5907677"/>
            <a:ext cx="1244237" cy="161653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r>
              <a:rPr lang="ru" sz="1500" b="1">
                <a:solidFill>
                  <a:srgbClr val="1F4E79"/>
                </a:solidFill>
                <a:latin typeface="Century Gothic"/>
              </a:rPr>
              <a:t>35 </a:t>
            </a:r>
            <a:r>
              <a:rPr lang="ru" sz="1500">
                <a:solidFill>
                  <a:srgbClr val="1F4E79"/>
                </a:solidFill>
                <a:latin typeface="Century Gothic"/>
              </a:rPr>
              <a:t>компаний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2191719" y="5907677"/>
            <a:ext cx="1307919" cy="161653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r>
              <a:rPr lang="ru" sz="1500" b="1">
                <a:solidFill>
                  <a:srgbClr val="1F4E79"/>
                </a:solidFill>
                <a:latin typeface="Century Gothic"/>
              </a:rPr>
              <a:t>101 </a:t>
            </a:r>
            <a:r>
              <a:rPr lang="ru" sz="1500">
                <a:solidFill>
                  <a:srgbClr val="1F4E79"/>
                </a:solidFill>
                <a:latin typeface="Century Gothic"/>
              </a:rPr>
              <a:t>компания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4270347" y="5907677"/>
            <a:ext cx="1338943" cy="161653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r>
              <a:rPr lang="ru" sz="1500" b="1">
                <a:solidFill>
                  <a:srgbClr val="1F4E79"/>
                </a:solidFill>
                <a:latin typeface="Century Gothic"/>
              </a:rPr>
              <a:t>190 </a:t>
            </a:r>
            <a:r>
              <a:rPr lang="ru" sz="1500">
                <a:solidFill>
                  <a:srgbClr val="1F4E79"/>
                </a:solidFill>
                <a:latin typeface="Century Gothic"/>
              </a:rPr>
              <a:t>компаний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6538385" y="5907677"/>
            <a:ext cx="1338943" cy="161653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pPr algn="r"/>
            <a:r>
              <a:rPr lang="ru" sz="1500" b="1">
                <a:solidFill>
                  <a:srgbClr val="1F4E79"/>
                </a:solidFill>
                <a:latin typeface="Century Gothic"/>
              </a:rPr>
              <a:t>110 </a:t>
            </a:r>
            <a:r>
              <a:rPr lang="ru" sz="1500">
                <a:solidFill>
                  <a:srgbClr val="1F4E79"/>
                </a:solidFill>
                <a:latin typeface="Century Gothic"/>
              </a:rPr>
              <a:t>компаний</a:t>
            </a:r>
          </a:p>
        </p:txBody>
      </p:sp>
    </p:spTree>
    <p:extLst>
      <p:ext uri="{BB962C8B-B14F-4D97-AF65-F5344CB8AC3E}">
        <p14:creationId xmlns:p14="http://schemas.microsoft.com/office/powerpoint/2010/main" val="1620405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3927" y="78377"/>
            <a:ext cx="1629591" cy="463731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533" y="720090"/>
            <a:ext cx="832757" cy="509451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4765" y="1249136"/>
            <a:ext cx="697230" cy="127036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0080" y="3384913"/>
            <a:ext cx="509451" cy="51271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21261" y="3259183"/>
            <a:ext cx="316774" cy="77724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0993" y="3394710"/>
            <a:ext cx="499654" cy="592727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865207" y="3285309"/>
            <a:ext cx="919299" cy="901337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1500" y="4815296"/>
            <a:ext cx="7254784" cy="204107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500388" y="4425043"/>
            <a:ext cx="2036173" cy="2168434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1131995" y="191044"/>
            <a:ext cx="6742067" cy="334736"/>
          </a:xfrm>
          <a:prstGeom prst="rect">
            <a:avLst/>
          </a:prstGeom>
          <a:solidFill>
            <a:srgbClr val="1F4E78"/>
          </a:solidFill>
        </p:spPr>
        <p:txBody>
          <a:bodyPr wrap="none" lIns="0" tIns="0" rIns="0" bIns="0">
            <a:noAutofit/>
          </a:bodyPr>
          <a:lstStyle/>
          <a:p>
            <a:pPr indent="-1047722"/>
            <a:r>
              <a:rPr lang="ru" sz="2571" b="1">
                <a:solidFill>
                  <a:srgbClr val="FFFFFF"/>
                </a:solidFill>
                <a:latin typeface="Century Gothic"/>
              </a:rPr>
              <a:t>Программа развития электронной коммерции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893598" y="756013"/>
            <a:ext cx="1722664" cy="215537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pPr algn="r"/>
            <a:r>
              <a:rPr lang="en-US" sz="2357" b="1">
                <a:solidFill>
                  <a:srgbClr val="EC7A24"/>
                </a:solidFill>
                <a:latin typeface="Century Gothic"/>
              </a:rPr>
              <a:t>Alibaba.com</a:t>
            </a:r>
            <a:r>
              <a:rPr lang="en-US" sz="2357" b="1" baseline="30000">
                <a:solidFill>
                  <a:srgbClr val="EC7A24"/>
                </a:solidFill>
                <a:latin typeface="Century Gothic"/>
              </a:rPr>
              <a:t>9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105870" y="971550"/>
            <a:ext cx="1510393" cy="189411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pPr algn="r"/>
            <a:r>
              <a:rPr lang="en-US" sz="1232">
                <a:solidFill>
                  <a:srgbClr val="595959"/>
                </a:solidFill>
                <a:latin typeface="Arial Narrow"/>
              </a:rPr>
              <a:t>Global trade starts here.</a:t>
            </a:r>
            <a:r>
              <a:rPr lang="en-US" sz="1232" baseline="30000">
                <a:solidFill>
                  <a:srgbClr val="595959"/>
                </a:solidFill>
                <a:latin typeface="Arial Narrow"/>
              </a:rPr>
              <a:t>1</a:t>
            </a:r>
            <a:r>
              <a:rPr lang="en-US" sz="1232">
                <a:solidFill>
                  <a:srgbClr val="595959"/>
                </a:solidFill>
                <a:latin typeface="Arial Narrow"/>
              </a:rPr>
              <a:t>’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895481" y="693964"/>
            <a:ext cx="7849144" cy="519249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Autofit/>
          </a:bodyPr>
          <a:lstStyle/>
          <a:p>
            <a:pPr>
              <a:lnSpc>
                <a:spcPct val="88000"/>
              </a:lnSpc>
            </a:pPr>
            <a:r>
              <a:rPr lang="ru" sz="1929" b="1">
                <a:solidFill>
                  <a:srgbClr val="004987"/>
                </a:solidFill>
                <a:latin typeface="Century Gothic"/>
              </a:rPr>
              <a:t>Вывод казахстанских компаний на международную торговую платформу </a:t>
            </a:r>
            <a:r>
              <a:rPr lang="en-US" sz="1929" b="1">
                <a:solidFill>
                  <a:srgbClr val="004987"/>
                </a:solidFill>
                <a:latin typeface="Century Gothic"/>
              </a:rPr>
              <a:t>Alibaba.com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203841" y="1363436"/>
            <a:ext cx="10593977" cy="373924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Autofit/>
          </a:bodyPr>
          <a:lstStyle/>
          <a:p>
            <a:pPr indent="13607">
              <a:lnSpc>
                <a:spcPct val="86000"/>
              </a:lnSpc>
            </a:pPr>
            <a:r>
              <a:rPr lang="en-US" sz="1500" b="1">
                <a:solidFill>
                  <a:srgbClr val="EC7A24"/>
                </a:solidFill>
                <a:latin typeface="Century Gothic"/>
              </a:rPr>
              <a:t>Alibaba.com </a:t>
            </a:r>
            <a:r>
              <a:rPr lang="en-US" sz="1500" b="1">
                <a:solidFill>
                  <a:srgbClr val="004987"/>
                </a:solidFill>
                <a:latin typeface="Century Gothic"/>
              </a:rPr>
              <a:t>— </a:t>
            </a:r>
            <a:r>
              <a:rPr lang="ru" sz="1286" b="1">
                <a:solidFill>
                  <a:srgbClr val="004987"/>
                </a:solidFill>
                <a:latin typeface="Century Gothic"/>
              </a:rPr>
              <a:t>это обширный </a:t>
            </a:r>
            <a:r>
              <a:rPr lang="ru" sz="1286" b="1">
                <a:solidFill>
                  <a:srgbClr val="ED7D31"/>
                </a:solidFill>
                <a:latin typeface="Century Gothic"/>
              </a:rPr>
              <a:t>каталог поставщиков</a:t>
            </a:r>
            <a:r>
              <a:rPr lang="ru" sz="1286" b="1">
                <a:solidFill>
                  <a:srgbClr val="004987"/>
                </a:solidFill>
                <a:latin typeface="Century Gothic"/>
              </a:rPr>
              <a:t>, связывающий напрямую поставщиков и покупателей (ритейлеров) со всего мира.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233233" y="2083526"/>
            <a:ext cx="10567851" cy="372291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Autofit/>
          </a:bodyPr>
          <a:lstStyle/>
          <a:p>
            <a:pPr indent="13607">
              <a:lnSpc>
                <a:spcPct val="84000"/>
              </a:lnSpc>
            </a:pPr>
            <a:r>
              <a:rPr lang="en-US" sz="1500" b="1">
                <a:solidFill>
                  <a:srgbClr val="EC7A24"/>
                </a:solidFill>
                <a:latin typeface="Century Gothic"/>
              </a:rPr>
              <a:t>Gold Supplier </a:t>
            </a:r>
            <a:r>
              <a:rPr lang="ru" sz="1500" b="1">
                <a:solidFill>
                  <a:srgbClr val="004987"/>
                </a:solidFill>
                <a:latin typeface="Century Gothic"/>
              </a:rPr>
              <a:t>— </a:t>
            </a:r>
            <a:r>
              <a:rPr lang="ru" sz="1286" b="1">
                <a:solidFill>
                  <a:srgbClr val="004987"/>
                </a:solidFill>
                <a:latin typeface="Century Gothic"/>
              </a:rPr>
              <a:t>это </a:t>
            </a:r>
            <a:r>
              <a:rPr lang="ru" sz="1286" b="1">
                <a:solidFill>
                  <a:srgbClr val="ED7D31"/>
                </a:solidFill>
                <a:latin typeface="Century Gothic"/>
              </a:rPr>
              <a:t>премиум-статус </a:t>
            </a:r>
            <a:r>
              <a:rPr lang="ru" sz="1286" b="1">
                <a:solidFill>
                  <a:srgbClr val="004987"/>
                </a:solidFill>
                <a:latin typeface="Century Gothic"/>
              </a:rPr>
              <a:t>поставщика товаров (продавца) на </a:t>
            </a:r>
            <a:r>
              <a:rPr lang="en-US" sz="1286" b="1">
                <a:solidFill>
                  <a:srgbClr val="004987"/>
                </a:solidFill>
                <a:latin typeface="Century Gothic"/>
              </a:rPr>
              <a:t>Alibaba.com. </a:t>
            </a:r>
            <a:r>
              <a:rPr lang="ru" sz="1286" b="1">
                <a:solidFill>
                  <a:srgbClr val="004987"/>
                </a:solidFill>
                <a:latin typeface="Century Gothic"/>
              </a:rPr>
              <a:t>Таким поставщикам доступны комплексные методы продвижения своих товаров и услуг и широкий охват аудитории.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608098" y="2651760"/>
            <a:ext cx="7001691" cy="302079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r>
              <a:rPr lang="ru" sz="2357" b="1">
                <a:solidFill>
                  <a:srgbClr val="1F4E79"/>
                </a:solidFill>
                <a:latin typeface="Century Gothic"/>
              </a:rPr>
              <a:t>Квалификационные требования к компаниям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1140159" y="3348990"/>
            <a:ext cx="2062299" cy="760911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Autofit/>
          </a:bodyPr>
          <a:lstStyle/>
          <a:p>
            <a:pPr algn="ctr"/>
            <a:r>
              <a:rPr lang="ru" sz="1286">
                <a:solidFill>
                  <a:srgbClr val="203864"/>
                </a:solidFill>
                <a:latin typeface="Century Gothic"/>
              </a:rPr>
              <a:t>Юридическое лицо (ТОО/ИП), работающее не менее 6 месяцев (со дня его регистрации)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3826210" y="3446961"/>
            <a:ext cx="1871254" cy="564969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Autofit/>
          </a:bodyPr>
          <a:lstStyle/>
          <a:p>
            <a:pPr algn="ctr"/>
            <a:r>
              <a:rPr lang="ru" sz="1286">
                <a:solidFill>
                  <a:srgbClr val="203864"/>
                </a:solidFill>
                <a:latin typeface="Century Gothic"/>
              </a:rPr>
              <a:t>Отечественный Товаропроизводитель/ торговая компания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7511568" y="4038056"/>
            <a:ext cx="352697" cy="137160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pPr algn="r"/>
            <a:r>
              <a:rPr lang="ru" sz="1286">
                <a:solidFill>
                  <a:srgbClr val="203864"/>
                </a:solidFill>
                <a:latin typeface="Century Gothic"/>
              </a:rPr>
              <a:t>МРП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6740859" y="3249386"/>
            <a:ext cx="1902279" cy="760911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Autofit/>
          </a:bodyPr>
          <a:lstStyle/>
          <a:p>
            <a:pPr algn="ctr"/>
            <a:r>
              <a:rPr lang="ru" sz="1286">
                <a:solidFill>
                  <a:srgbClr val="203864"/>
                </a:solidFill>
                <a:latin typeface="Century Gothic"/>
              </a:rPr>
              <a:t>Не имеет налоговой задолженности, превышающей шестикратный размер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9933096" y="3254284"/>
            <a:ext cx="1974124" cy="922564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Autofit/>
          </a:bodyPr>
          <a:lstStyle/>
          <a:p>
            <a:pPr algn="ctr"/>
            <a:r>
              <a:rPr lang="ru" sz="1286">
                <a:solidFill>
                  <a:srgbClr val="203864"/>
                </a:solidFill>
                <a:latin typeface="Century Gothic"/>
              </a:rPr>
              <a:t>Имеет в наличии оцифрованный контент сайта, а также сотрудника, знающего английский язык</a:t>
            </a:r>
          </a:p>
        </p:txBody>
      </p:sp>
    </p:spTree>
    <p:extLst>
      <p:ext uri="{BB962C8B-B14F-4D97-AF65-F5344CB8AC3E}">
        <p14:creationId xmlns:p14="http://schemas.microsoft.com/office/powerpoint/2010/main" val="1707960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3927" y="78377"/>
            <a:ext cx="1629591" cy="463731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2073" y="3247753"/>
            <a:ext cx="293914" cy="726621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26905" y="3365318"/>
            <a:ext cx="262890" cy="290649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12036216" y="42454"/>
            <a:ext cx="86541" cy="119199"/>
          </a:xfrm>
          <a:prstGeom prst="rect">
            <a:avLst/>
          </a:prstGeom>
          <a:solidFill>
            <a:srgbClr val="1F4E78"/>
          </a:solidFill>
        </p:spPr>
        <p:txBody>
          <a:bodyPr wrap="none" lIns="0" tIns="0" rIns="0" bIns="0">
            <a:noAutofit/>
          </a:bodyPr>
          <a:lstStyle/>
          <a:p>
            <a:pPr algn="ctr"/>
            <a:r>
              <a:rPr lang="ru" sz="1071" b="1">
                <a:solidFill>
                  <a:srgbClr val="FFFFFF"/>
                </a:solidFill>
                <a:latin typeface="Century Gothic"/>
              </a:rPr>
              <a:t>5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62078" y="158387"/>
            <a:ext cx="6784521" cy="318407"/>
          </a:xfrm>
          <a:prstGeom prst="rect">
            <a:avLst/>
          </a:prstGeom>
          <a:solidFill>
            <a:srgbClr val="1F4E78"/>
          </a:solidFill>
        </p:spPr>
        <p:txBody>
          <a:bodyPr wrap="none" lIns="0" tIns="0" rIns="0" bIns="0">
            <a:noAutofit/>
          </a:bodyPr>
          <a:lstStyle/>
          <a:p>
            <a:r>
              <a:rPr lang="ru" sz="2571" b="1">
                <a:solidFill>
                  <a:srgbClr val="FFFFFF"/>
                </a:solidFill>
                <a:latin typeface="Century Gothic"/>
              </a:rPr>
              <a:t>Возмещение части затрат экспортерам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99634" y="845820"/>
            <a:ext cx="2232116" cy="790303"/>
          </a:xfrm>
          <a:prstGeom prst="rect">
            <a:avLst/>
          </a:prstGeom>
          <a:solidFill>
            <a:srgbClr val="1F4E78"/>
          </a:solidFill>
        </p:spPr>
        <p:txBody>
          <a:bodyPr lIns="0" tIns="0" rIns="0" bIns="0">
            <a:noAutofit/>
          </a:bodyPr>
          <a:lstStyle/>
          <a:p>
            <a:r>
              <a:rPr lang="ru" sz="1393" b="1" dirty="0">
                <a:solidFill>
                  <a:srgbClr val="FFFFFF"/>
                </a:solidFill>
                <a:latin typeface="Century Gothic"/>
              </a:rPr>
              <a:t>УЧАСТИЕ В ЗАРУБЕЖНЫХ ВЫСТАВКАХ, ФОРУМАХ, ЯРМАРКАХ, КОНКУРСАХ, КОНГРЕССАХ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11064" y="1869621"/>
            <a:ext cx="2658524" cy="277586"/>
          </a:xfrm>
          <a:prstGeom prst="rect">
            <a:avLst/>
          </a:prstGeom>
          <a:solidFill>
            <a:srgbClr val="866E4C"/>
          </a:solidFill>
        </p:spPr>
        <p:txBody>
          <a:bodyPr wrap="none" lIns="0" tIns="0" rIns="0" bIns="0">
            <a:noAutofit/>
          </a:bodyPr>
          <a:lstStyle/>
          <a:p>
            <a:r>
              <a:rPr lang="ru" sz="1393" b="1" dirty="0">
                <a:solidFill>
                  <a:srgbClr val="FFFFFF"/>
                </a:solidFill>
                <a:latin typeface="Century Gothic"/>
              </a:rPr>
              <a:t>РЕКЛАМА ТОВАРОВ И УСЛУГ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99634" y="2287633"/>
            <a:ext cx="3117124" cy="747849"/>
          </a:xfrm>
          <a:prstGeom prst="rect">
            <a:avLst/>
          </a:prstGeom>
          <a:solidFill>
            <a:srgbClr val="1F4E78"/>
          </a:solidFill>
        </p:spPr>
        <p:txBody>
          <a:bodyPr lIns="0" tIns="0" rIns="0" bIns="0">
            <a:noAutofit/>
          </a:bodyPr>
          <a:lstStyle/>
          <a:p>
            <a:r>
              <a:rPr lang="ru" sz="1393" b="1" dirty="0">
                <a:solidFill>
                  <a:srgbClr val="FFFFFF"/>
                </a:solidFill>
                <a:latin typeface="Century Gothic"/>
              </a:rPr>
              <a:t>СОДЕРЖАНИЕ ФИЛИАЛОВ, ПРЕДСТАВИТЕЛЬСТВ, ТОРГОВЫХ ПЛОЩАДЕЙ, СКЛАДА И ТОРГОВЫХ ПОЛОК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466981" y="1619794"/>
            <a:ext cx="34290" cy="627017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Autofit/>
          </a:bodyPr>
          <a:lstStyle/>
          <a:p>
            <a:pPr algn="just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just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just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just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just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just"/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633533" y="751114"/>
            <a:ext cx="2669721" cy="2439489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Autofit/>
          </a:bodyPr>
          <a:lstStyle/>
          <a:p>
            <a:pPr algn="ctr"/>
            <a:r>
              <a:rPr lang="ru" sz="2411" b="1">
                <a:solidFill>
                  <a:srgbClr val="1F4E79"/>
                </a:solidFill>
                <a:latin typeface="Century Gothic"/>
              </a:rPr>
              <a:t>КТО</a:t>
            </a:r>
          </a:p>
          <a:p>
            <a:pPr algn="just">
              <a:lnSpc>
                <a:spcPct val="107000"/>
              </a:lnSpc>
            </a:pPr>
            <a:r>
              <a:rPr lang="ru" sz="1179" b="1">
                <a:solidFill>
                  <a:srgbClr val="866D4C"/>
                </a:solidFill>
                <a:latin typeface="Century Gothic"/>
              </a:rPr>
              <a:t>МОЖЕТ ПОЛУЧИТЬ ВОЗМЕЩЕНИЕ?</a:t>
            </a:r>
          </a:p>
          <a:p>
            <a:pPr algn="r"/>
            <a:r>
              <a:rPr lang="ru" sz="1286">
                <a:solidFill>
                  <a:srgbClr val="404040"/>
                </a:solidFill>
                <a:latin typeface="Century Gothic"/>
              </a:rPr>
              <a:t>Предприятия, производящие </a:t>
            </a:r>
            <a:r>
              <a:rPr lang="ru" sz="1286" baseline="30000">
                <a:solidFill>
                  <a:srgbClr val="1F4E79"/>
                </a:solidFill>
                <a:latin typeface="Century Gothic"/>
              </a:rPr>
              <a:t>1 </a:t>
            </a:r>
            <a:r>
              <a:rPr lang="ru" sz="1286">
                <a:solidFill>
                  <a:srgbClr val="404040"/>
                </a:solidFill>
                <a:latin typeface="Century Gothic"/>
              </a:rPr>
              <a:t>отечественные обработанные </a:t>
            </a:r>
            <a:r>
              <a:rPr lang="en-US" sz="1286">
                <a:solidFill>
                  <a:srgbClr val="1F4E79"/>
                </a:solidFill>
                <a:latin typeface="Century Gothic"/>
              </a:rPr>
              <a:t>i </a:t>
            </a:r>
            <a:r>
              <a:rPr lang="ru" sz="1286">
                <a:solidFill>
                  <a:srgbClr val="404040"/>
                </a:solidFill>
                <a:latin typeface="Century Gothic"/>
              </a:rPr>
              <a:t>товары, субъекты оказывающие </a:t>
            </a:r>
            <a:r>
              <a:rPr lang="ru" sz="1286">
                <a:solidFill>
                  <a:srgbClr val="1F4E79"/>
                </a:solidFill>
                <a:latin typeface="Century Gothic"/>
              </a:rPr>
              <a:t>! </a:t>
            </a:r>
            <a:r>
              <a:rPr lang="ru" sz="1286">
                <a:solidFill>
                  <a:srgbClr val="404040"/>
                </a:solidFill>
                <a:latin typeface="Century Gothic"/>
              </a:rPr>
              <a:t>информационно-      </a:t>
            </a:r>
            <a:r>
              <a:rPr lang="ru" sz="1286">
                <a:solidFill>
                  <a:srgbClr val="1F4E79"/>
                </a:solidFill>
                <a:latin typeface="Century Gothic"/>
              </a:rPr>
              <a:t>[</a:t>
            </a:r>
          </a:p>
          <a:p>
            <a:pPr algn="r">
              <a:spcAft>
                <a:spcPts val="225"/>
              </a:spcAft>
            </a:pPr>
            <a:r>
              <a:rPr lang="ru" sz="1286">
                <a:solidFill>
                  <a:srgbClr val="404040"/>
                </a:solidFill>
                <a:latin typeface="Century Gothic"/>
              </a:rPr>
              <a:t>коммуникационные услуги  </a:t>
            </a:r>
            <a:r>
              <a:rPr lang="ru" sz="1286">
                <a:solidFill>
                  <a:srgbClr val="1F4E79"/>
                </a:solidFill>
                <a:latin typeface="Century Gothic"/>
              </a:rPr>
              <a:t>[</a:t>
            </a:r>
          </a:p>
          <a:p>
            <a:pPr marL="2613627">
              <a:lnSpc>
                <a:spcPct val="106000"/>
              </a:lnSpc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marL="2613627" indent="6803">
              <a:lnSpc>
                <a:spcPct val="106000"/>
              </a:lnSpc>
              <a:spcAft>
                <a:spcPts val="37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 I</a:t>
            </a:r>
          </a:p>
          <a:p>
            <a:pPr algn="ctr">
              <a:lnSpc>
                <a:spcPct val="94000"/>
              </a:lnSpc>
            </a:pPr>
            <a:r>
              <a:rPr lang="ru" sz="2571" b="1">
                <a:solidFill>
                  <a:srgbClr val="1F4E79"/>
                </a:solidFill>
                <a:latin typeface="Century Gothic"/>
              </a:rPr>
              <a:t>ГДЕ</a:t>
            </a:r>
          </a:p>
          <a:p>
            <a:pPr indent="251725"/>
            <a:r>
              <a:rPr lang="ru" sz="1286" b="1">
                <a:solidFill>
                  <a:srgbClr val="866D4C"/>
                </a:solidFill>
                <a:latin typeface="Century Gothic"/>
              </a:rPr>
              <a:t>МОЖНО ПОСМОТРЕТЬ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93102" y="3306536"/>
            <a:ext cx="3076303" cy="667839"/>
          </a:xfrm>
          <a:prstGeom prst="rect">
            <a:avLst/>
          </a:prstGeom>
          <a:solidFill>
            <a:srgbClr val="866E4C"/>
          </a:solidFill>
        </p:spPr>
        <p:txBody>
          <a:bodyPr lIns="0" tIns="0" rIns="0" bIns="0">
            <a:noAutofit/>
          </a:bodyPr>
          <a:lstStyle/>
          <a:p>
            <a:r>
              <a:rPr lang="ru" sz="1393" b="1" dirty="0">
                <a:solidFill>
                  <a:srgbClr val="FFFFFF"/>
                </a:solidFill>
                <a:latin typeface="Century Gothic"/>
              </a:rPr>
              <a:t>ПРОЦЕДУРЫ ПОДТВЕРЖДЕНИЯ СООТВЕТСТВИЯ ТОВАРОВ И УСЛУГ ТРЕБОВАНИЯМ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3466981" y="4008664"/>
            <a:ext cx="34290" cy="83276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466981" y="4335236"/>
            <a:ext cx="34290" cy="83276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466981" y="4443004"/>
            <a:ext cx="34290" cy="1169126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Autofit/>
          </a:bodyPr>
          <a:lstStyle/>
          <a:p>
            <a:pPr algn="just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just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just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just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just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just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just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just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just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just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just"/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02900" y="4127863"/>
            <a:ext cx="3086100" cy="202474"/>
          </a:xfrm>
          <a:prstGeom prst="rect">
            <a:avLst/>
          </a:prstGeom>
          <a:solidFill>
            <a:srgbClr val="1F4E78"/>
          </a:solidFill>
        </p:spPr>
        <p:txBody>
          <a:bodyPr wrap="none" lIns="0" tIns="0" rIns="0" bIns="0">
            <a:noAutofit/>
          </a:bodyPr>
          <a:lstStyle/>
          <a:p>
            <a:pPr indent="156478"/>
            <a:r>
              <a:rPr lang="ru" sz="1393" b="1">
                <a:solidFill>
                  <a:srgbClr val="FFFFFF"/>
                </a:solidFill>
                <a:latin typeface="Century Gothic"/>
              </a:rPr>
              <a:t>СПЕЦИАЛИЗИРОВАННЫЙ КАТАЛОГ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847437" y="3242855"/>
            <a:ext cx="2166801" cy="955221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Autofit/>
          </a:bodyPr>
          <a:lstStyle/>
          <a:p>
            <a:pPr algn="ctr"/>
            <a:r>
              <a:rPr lang="ru" sz="1286" b="1">
                <a:solidFill>
                  <a:srgbClr val="866D4C"/>
                </a:solidFill>
                <a:latin typeface="Century Gothic"/>
              </a:rPr>
              <a:t>УСЛОВИЯ, ПЕРЕЧЕНЬ ДОКУМЕНТОВ?</a:t>
            </a:r>
          </a:p>
          <a:p>
            <a:pPr algn="ctr"/>
            <a:r>
              <a:rPr lang="ru" sz="1286">
                <a:solidFill>
                  <a:srgbClr val="404040"/>
                </a:solidFill>
                <a:latin typeface="Century Gothic"/>
              </a:rPr>
              <a:t>Правила возмещения части затрат субъектов индустриально-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6268964" y="3249386"/>
            <a:ext cx="34290" cy="83276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pPr algn="ctr"/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6268964" y="3683726"/>
            <a:ext cx="34290" cy="517616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Autofit/>
          </a:bodyPr>
          <a:lstStyle/>
          <a:p>
            <a:pPr algn="ctr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ctr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ctr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ctr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ctr"/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3760895" y="4220936"/>
            <a:ext cx="2542359" cy="155121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r>
              <a:rPr lang="ru" sz="1286">
                <a:solidFill>
                  <a:srgbClr val="404040"/>
                </a:solidFill>
                <a:latin typeface="Century Gothic"/>
              </a:rPr>
              <a:t>инновационной деятельности </a:t>
            </a:r>
            <a:r>
              <a:rPr lang="ru" sz="1286">
                <a:solidFill>
                  <a:srgbClr val="1F4E79"/>
                </a:solidFill>
                <a:latin typeface="Century Gothic"/>
              </a:rPr>
              <a:t>!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6494298" y="685800"/>
            <a:ext cx="2367643" cy="3708219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Autofit/>
          </a:bodyPr>
          <a:lstStyle/>
          <a:p>
            <a:pPr algn="ctr">
              <a:spcAft>
                <a:spcPts val="750"/>
              </a:spcAft>
            </a:pPr>
            <a:r>
              <a:rPr lang="ru" sz="1071" b="1">
                <a:solidFill>
                  <a:srgbClr val="404040"/>
                </a:solidFill>
                <a:latin typeface="Century Gothic"/>
              </a:rPr>
              <a:t>ДОСТАВКА ТОВАРА И ОПЛАТА УСЛУГ ПО ПЕРЕВОЗКЕ </a:t>
            </a:r>
            <a:r>
              <a:rPr lang="ru" sz="964" b="1">
                <a:solidFill>
                  <a:srgbClr val="404040"/>
                </a:solidFill>
                <a:latin typeface="Century Gothic"/>
              </a:rPr>
              <a:t>РАЗМЕР ВОЗМЕЩЕНИЯ:</a:t>
            </a:r>
          </a:p>
          <a:p>
            <a:pPr indent="74837" algn="just">
              <a:spcAft>
                <a:spcPts val="225"/>
              </a:spcAft>
            </a:pPr>
            <a:r>
              <a:rPr lang="ru" sz="2893" b="1">
                <a:solidFill>
                  <a:srgbClr val="1F4E79"/>
                </a:solidFill>
                <a:latin typeface="Century Gothic"/>
              </a:rPr>
              <a:t>75 000 </a:t>
            </a:r>
            <a:r>
              <a:rPr lang="ru" sz="2625" b="1">
                <a:solidFill>
                  <a:srgbClr val="1F4E79"/>
                </a:solidFill>
                <a:latin typeface="Century Gothic"/>
              </a:rPr>
              <a:t>МРП</a:t>
            </a:r>
          </a:p>
          <a:p>
            <a:pPr marL="55552" indent="34017">
              <a:lnSpc>
                <a:spcPct val="130000"/>
              </a:lnSpc>
              <a:spcAft>
                <a:spcPts val="412"/>
              </a:spcAft>
            </a:pPr>
            <a:r>
              <a:rPr lang="ru" sz="1179" b="1">
                <a:solidFill>
                  <a:srgbClr val="404040"/>
                </a:solidFill>
                <a:latin typeface="Century Gothic"/>
              </a:rPr>
              <a:t>ИСТОРИЧЕСКИЙ ПЕРИОД: </a:t>
            </a:r>
            <a:r>
              <a:rPr lang="ru" sz="1071" i="1">
                <a:solidFill>
                  <a:srgbClr val="404040"/>
                </a:solidFill>
                <a:latin typeface="Century Gothic"/>
              </a:rPr>
              <a:t>не ранее</a:t>
            </a:r>
            <a:r>
              <a:rPr lang="ru" sz="1661" b="1">
                <a:solidFill>
                  <a:srgbClr val="404040"/>
                </a:solidFill>
                <a:latin typeface="Century Gothic"/>
              </a:rPr>
              <a:t> </a:t>
            </a:r>
            <a:r>
              <a:rPr lang="ru" sz="1661" b="1">
                <a:solidFill>
                  <a:srgbClr val="1F4E79"/>
                </a:solidFill>
                <a:latin typeface="Century Gothic"/>
              </a:rPr>
              <a:t>12 </a:t>
            </a:r>
            <a:r>
              <a:rPr lang="ru" sz="1929" b="1">
                <a:solidFill>
                  <a:srgbClr val="1F4E79"/>
                </a:solidFill>
                <a:latin typeface="Century Gothic"/>
              </a:rPr>
              <a:t>месяцев </a:t>
            </a:r>
            <a:r>
              <a:rPr lang="ru" sz="1071" i="1">
                <a:solidFill>
                  <a:srgbClr val="404040"/>
                </a:solidFill>
                <a:latin typeface="Century Gothic"/>
              </a:rPr>
              <a:t>до даты подачи заявки</a:t>
            </a:r>
          </a:p>
          <a:p>
            <a:pPr algn="ctr">
              <a:lnSpc>
                <a:spcPct val="108000"/>
              </a:lnSpc>
              <a:spcAft>
                <a:spcPts val="300"/>
              </a:spcAft>
            </a:pPr>
            <a:r>
              <a:rPr lang="ru" sz="964" b="1">
                <a:solidFill>
                  <a:srgbClr val="404040"/>
                </a:solidFill>
                <a:latin typeface="Century Gothic"/>
              </a:rPr>
              <a:t>Возмещаются обоснованные и документально подтвержденные затраты</a:t>
            </a:r>
          </a:p>
          <a:p>
            <a:pPr indent="74837" algn="just">
              <a:spcAft>
                <a:spcPts val="75"/>
              </a:spcAft>
            </a:pPr>
            <a:r>
              <a:rPr lang="ru" sz="1607" b="1">
                <a:solidFill>
                  <a:srgbClr val="404040"/>
                </a:solidFill>
                <a:latin typeface="Century Gothic"/>
              </a:rPr>
              <a:t>ДОСТАВКА ТОВАРОВ</a:t>
            </a:r>
            <a:r>
              <a:rPr lang="ru" sz="1071" b="1">
                <a:solidFill>
                  <a:srgbClr val="404040"/>
                </a:solidFill>
                <a:latin typeface="Century Gothic"/>
              </a:rPr>
              <a:t>:</a:t>
            </a:r>
          </a:p>
          <a:p>
            <a:pPr algn="ctr">
              <a:lnSpc>
                <a:spcPct val="108000"/>
              </a:lnSpc>
            </a:pPr>
            <a:r>
              <a:rPr lang="ru" sz="1071" i="1">
                <a:solidFill>
                  <a:srgbClr val="404040"/>
                </a:solidFill>
                <a:latin typeface="Century Gothic"/>
              </a:rPr>
              <a:t>НИЖНЕГО, СРЕДНЕГО, ВЕРХНЕГО ПЕРЕДЕЛА соответственно </a:t>
            </a:r>
            <a:r>
              <a:rPr lang="ru" sz="2357" b="1" i="1">
                <a:solidFill>
                  <a:srgbClr val="1F4E79"/>
                </a:solidFill>
                <a:latin typeface="Century Gothic"/>
              </a:rPr>
              <a:t>30%, 50%, 80% </a:t>
            </a:r>
            <a:r>
              <a:rPr lang="ru" sz="1071">
                <a:solidFill>
                  <a:srgbClr val="404040"/>
                </a:solidFill>
                <a:latin typeface="Century Gothic"/>
              </a:rPr>
              <a:t>ОТ СУММЫ, ПРЕДЪЯВЛЕННОЙ К ВОЗМЕЩЕНИЮ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9170551" y="680902"/>
            <a:ext cx="2948940" cy="3757204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Autofit/>
          </a:bodyPr>
          <a:lstStyle/>
          <a:p>
            <a:r>
              <a:rPr lang="ru" sz="1286" b="1">
                <a:solidFill>
                  <a:srgbClr val="1F4E79"/>
                </a:solidFill>
                <a:latin typeface="Century Gothic"/>
              </a:rPr>
              <a:t>;     </a:t>
            </a:r>
            <a:r>
              <a:rPr lang="ru" sz="1286" b="1">
                <a:solidFill>
                  <a:srgbClr val="404040"/>
                </a:solidFill>
                <a:latin typeface="Century Gothic"/>
              </a:rPr>
              <a:t>ПРОДВИЖЕНИЕ ТОВАРА</a:t>
            </a:r>
          </a:p>
          <a:p>
            <a:r>
              <a:rPr lang="ru" sz="1286" b="1">
                <a:solidFill>
                  <a:srgbClr val="1F4E79"/>
                </a:solidFill>
                <a:latin typeface="Century Gothic"/>
              </a:rPr>
              <a:t>!          </a:t>
            </a:r>
            <a:r>
              <a:rPr lang="ru" sz="1286" b="1">
                <a:solidFill>
                  <a:srgbClr val="404040"/>
                </a:solidFill>
                <a:latin typeface="Century Gothic"/>
              </a:rPr>
              <a:t>не связанное в</a:t>
            </a:r>
          </a:p>
          <a:p>
            <a:pPr>
              <a:lnSpc>
                <a:spcPct val="97000"/>
              </a:lnSpc>
              <a:spcAft>
                <a:spcPts val="112"/>
              </a:spcAft>
            </a:pPr>
            <a:r>
              <a:rPr lang="ru" sz="1286" b="1">
                <a:solidFill>
                  <a:srgbClr val="1F4E79"/>
                </a:solidFill>
                <a:latin typeface="Century Gothic"/>
              </a:rPr>
              <a:t>[       </a:t>
            </a:r>
            <a:r>
              <a:rPr lang="ru" sz="1286" b="1">
                <a:solidFill>
                  <a:srgbClr val="404040"/>
                </a:solidFill>
                <a:latin typeface="Century Gothic"/>
              </a:rPr>
              <a:t>транспортировкой</a:t>
            </a:r>
          </a:p>
          <a:p>
            <a:r>
              <a:rPr lang="ru" sz="696" b="1">
                <a:solidFill>
                  <a:srgbClr val="1F4E79"/>
                </a:solidFill>
                <a:latin typeface="Arial"/>
              </a:rPr>
              <a:t>I        </a:t>
            </a:r>
            <a:r>
              <a:rPr lang="ru" sz="1071" b="1">
                <a:solidFill>
                  <a:srgbClr val="404040"/>
                </a:solidFill>
                <a:latin typeface="Century Gothic"/>
              </a:rPr>
              <a:t>РАЗМЕР ВОЗМЕЩЕНИЯ:</a:t>
            </a:r>
          </a:p>
          <a:p>
            <a:pPr>
              <a:lnSpc>
                <a:spcPct val="88000"/>
              </a:lnSpc>
              <a:spcAft>
                <a:spcPts val="487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>
              <a:lnSpc>
                <a:spcPct val="97000"/>
              </a:lnSpc>
            </a:pPr>
            <a:r>
              <a:rPr lang="ru" sz="3214" b="1">
                <a:solidFill>
                  <a:srgbClr val="1F4E79"/>
                </a:solidFill>
                <a:latin typeface="Century Gothic"/>
              </a:rPr>
              <a:t>!  13 000 </a:t>
            </a:r>
            <a:r>
              <a:rPr lang="ru" sz="2893" b="1">
                <a:solidFill>
                  <a:srgbClr val="1F4E79"/>
                </a:solidFill>
                <a:latin typeface="Century Gothic"/>
              </a:rPr>
              <a:t>МРП</a:t>
            </a:r>
          </a:p>
          <a:p>
            <a:pPr marL="96372" indent="-115658">
              <a:lnSpc>
                <a:spcPct val="96000"/>
              </a:lnSpc>
            </a:pPr>
            <a:r>
              <a:rPr lang="ru" sz="1071" i="1">
                <a:solidFill>
                  <a:srgbClr val="1F4E79"/>
                </a:solidFill>
                <a:latin typeface="Century Gothic"/>
              </a:rPr>
              <a:t>[ </a:t>
            </a:r>
            <a:r>
              <a:rPr lang="ru" sz="1071" i="1">
                <a:solidFill>
                  <a:srgbClr val="404040"/>
                </a:solidFill>
                <a:latin typeface="Century Gothic"/>
              </a:rPr>
              <a:t>на одного субъекта индустриальноинновационной деятельности в текущем</a:t>
            </a:r>
          </a:p>
          <a:p>
            <a:pPr>
              <a:lnSpc>
                <a:spcPct val="96000"/>
              </a:lnSpc>
            </a:pPr>
            <a:r>
              <a:rPr lang="ru" sz="1071" i="1">
                <a:solidFill>
                  <a:srgbClr val="1F4E79"/>
                </a:solidFill>
                <a:latin typeface="Century Gothic"/>
              </a:rPr>
              <a:t>[          </a:t>
            </a:r>
            <a:r>
              <a:rPr lang="ru" sz="1071" i="1">
                <a:solidFill>
                  <a:srgbClr val="404040"/>
                </a:solidFill>
                <a:latin typeface="Century Gothic"/>
              </a:rPr>
              <a:t>финансовом году</a:t>
            </a:r>
          </a:p>
          <a:p>
            <a:pPr>
              <a:lnSpc>
                <a:spcPct val="93000"/>
              </a:lnSpc>
              <a:spcAft>
                <a:spcPts val="112"/>
              </a:spcAft>
            </a:pPr>
            <a:r>
              <a:rPr lang="ru" sz="1286" b="1">
                <a:solidFill>
                  <a:srgbClr val="1F4E79"/>
                </a:solidFill>
                <a:latin typeface="Century Gothic"/>
              </a:rPr>
              <a:t>■    </a:t>
            </a:r>
            <a:r>
              <a:rPr lang="ru" sz="1286" b="1">
                <a:solidFill>
                  <a:srgbClr val="404040"/>
                </a:solidFill>
                <a:latin typeface="Century Gothic"/>
              </a:rPr>
              <a:t>ИСТОРИЧЕСКИЙ ПЕРИОД:</a:t>
            </a:r>
          </a:p>
          <a:p>
            <a:pPr algn="ctr">
              <a:lnSpc>
                <a:spcPct val="91000"/>
              </a:lnSpc>
            </a:pPr>
            <a:r>
              <a:rPr lang="ru" sz="2143" b="1">
                <a:solidFill>
                  <a:srgbClr val="1F4E79"/>
                </a:solidFill>
                <a:latin typeface="Century Gothic"/>
              </a:rPr>
              <a:t>32 месяца</a:t>
            </a:r>
          </a:p>
          <a:p>
            <a:r>
              <a:rPr lang="ru" sz="1286" i="1">
                <a:solidFill>
                  <a:srgbClr val="1F4E79"/>
                </a:solidFill>
                <a:latin typeface="Century Gothic"/>
              </a:rPr>
              <a:t>! </a:t>
            </a:r>
            <a:r>
              <a:rPr lang="ru" sz="1286" i="1">
                <a:solidFill>
                  <a:srgbClr val="404040"/>
                </a:solidFill>
                <a:latin typeface="Century Gothic"/>
              </a:rPr>
              <a:t>Субъекты КРУПНОГО, СРЕДНЕГО,</a:t>
            </a:r>
          </a:p>
          <a:p>
            <a:pPr>
              <a:lnSpc>
                <a:spcPct val="97000"/>
              </a:lnSpc>
            </a:pPr>
            <a:r>
              <a:rPr lang="ru" sz="1286" i="1" baseline="30000">
                <a:solidFill>
                  <a:srgbClr val="1F4E79"/>
                </a:solidFill>
                <a:latin typeface="Century Gothic"/>
              </a:rPr>
              <a:t>1</a:t>
            </a:r>
            <a:r>
              <a:rPr lang="ru" sz="1286" i="1">
                <a:solidFill>
                  <a:srgbClr val="1F4E79"/>
                </a:solidFill>
                <a:latin typeface="Century Gothic"/>
              </a:rPr>
              <a:t>       </a:t>
            </a:r>
            <a:r>
              <a:rPr lang="ru" sz="1286" i="1">
                <a:solidFill>
                  <a:srgbClr val="404040"/>
                </a:solidFill>
                <a:latin typeface="Century Gothic"/>
              </a:rPr>
              <a:t>МАЛОГО бизнеса</a:t>
            </a:r>
          </a:p>
          <a:p>
            <a:pPr>
              <a:lnSpc>
                <a:spcPct val="96000"/>
              </a:lnSpc>
              <a:spcAft>
                <a:spcPts val="112"/>
              </a:spcAft>
            </a:pPr>
            <a:r>
              <a:rPr lang="ru" sz="1286" i="1">
                <a:solidFill>
                  <a:srgbClr val="866D4C"/>
                </a:solidFill>
                <a:latin typeface="Century Gothic"/>
              </a:rPr>
              <a:t>у       </a:t>
            </a:r>
            <a:r>
              <a:rPr lang="ru" sz="1286" i="1">
                <a:solidFill>
                  <a:srgbClr val="404040"/>
                </a:solidFill>
                <a:latin typeface="Century Gothic"/>
              </a:rPr>
              <a:t>соответственно</a:t>
            </a:r>
          </a:p>
          <a:p>
            <a:pPr>
              <a:lnSpc>
                <a:spcPct val="96000"/>
              </a:lnSpc>
            </a:pPr>
            <a:r>
              <a:rPr lang="ru" sz="2357" b="1">
                <a:solidFill>
                  <a:srgbClr val="1F4E79"/>
                </a:solidFill>
                <a:latin typeface="Century Gothic"/>
              </a:rPr>
              <a:t>! 30%, 50%, 60%</a:t>
            </a:r>
          </a:p>
          <a:p>
            <a:r>
              <a:rPr lang="ru" sz="1286">
                <a:solidFill>
                  <a:srgbClr val="1F4E79"/>
                </a:solidFill>
                <a:latin typeface="Century Gothic"/>
              </a:rPr>
              <a:t>! </a:t>
            </a:r>
            <a:r>
              <a:rPr lang="ru" sz="1286">
                <a:solidFill>
                  <a:srgbClr val="404040"/>
                </a:solidFill>
                <a:latin typeface="Century Gothic"/>
              </a:rPr>
              <a:t>ОТ СУММЫ, ПРЕДЪЯВЛЕННОЙ К</a:t>
            </a:r>
          </a:p>
          <a:p>
            <a:pPr>
              <a:lnSpc>
                <a:spcPct val="97000"/>
              </a:lnSpc>
            </a:pPr>
            <a:r>
              <a:rPr lang="ru" sz="1286">
                <a:solidFill>
                  <a:srgbClr val="1F4E79"/>
                </a:solidFill>
                <a:latin typeface="Century Gothic"/>
              </a:rPr>
              <a:t>!       </a:t>
            </a:r>
            <a:r>
              <a:rPr lang="ru" sz="1286">
                <a:solidFill>
                  <a:srgbClr val="404040"/>
                </a:solidFill>
                <a:latin typeface="Century Gothic"/>
              </a:rPr>
              <a:t>ВОЗМЕЩЕНИЮ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204533" y="4594860"/>
            <a:ext cx="2375807" cy="293914"/>
          </a:xfrm>
          <a:prstGeom prst="rect">
            <a:avLst/>
          </a:prstGeom>
          <a:solidFill>
            <a:srgbClr val="866E4C"/>
          </a:solidFill>
        </p:spPr>
        <p:txBody>
          <a:bodyPr wrap="none" lIns="0" tIns="0" rIns="0" bIns="0">
            <a:noAutofit/>
          </a:bodyPr>
          <a:lstStyle/>
          <a:p>
            <a:r>
              <a:rPr lang="ru" sz="1393" b="1" dirty="0">
                <a:solidFill>
                  <a:srgbClr val="FFFFFF"/>
                </a:solidFill>
                <a:latin typeface="Century Gothic"/>
              </a:rPr>
              <a:t>ПРОЦЕДУРЫ РЕГИСТРАЦИИ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206166" y="5024301"/>
            <a:ext cx="2212521" cy="365760"/>
          </a:xfrm>
          <a:prstGeom prst="rect">
            <a:avLst/>
          </a:prstGeom>
          <a:solidFill>
            <a:srgbClr val="1F4E78"/>
          </a:solidFill>
        </p:spPr>
        <p:txBody>
          <a:bodyPr lIns="0" tIns="0" rIns="0" bIns="0">
            <a:noAutofit/>
          </a:bodyPr>
          <a:lstStyle/>
          <a:p>
            <a:r>
              <a:rPr lang="ru" sz="1393" b="1" dirty="0">
                <a:solidFill>
                  <a:srgbClr val="FFFFFF"/>
                </a:solidFill>
                <a:latin typeface="Century Gothic"/>
              </a:rPr>
              <a:t>ПРОЦЕДУРЫ ПОЛУЧЕНИЯ РАЗРЕШЕНИЯ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198001" y="5597434"/>
            <a:ext cx="2966901" cy="416379"/>
          </a:xfrm>
          <a:prstGeom prst="rect">
            <a:avLst/>
          </a:prstGeom>
          <a:solidFill>
            <a:srgbClr val="866E4C"/>
          </a:solidFill>
        </p:spPr>
        <p:txBody>
          <a:bodyPr lIns="0" tIns="0" rIns="0" bIns="0">
            <a:noAutofit/>
          </a:bodyPr>
          <a:lstStyle/>
          <a:p>
            <a:r>
              <a:rPr lang="ru" sz="1393" b="1">
                <a:solidFill>
                  <a:srgbClr val="FFFFFF"/>
                </a:solidFill>
                <a:latin typeface="Century Gothic"/>
              </a:rPr>
              <a:t>ПРОХОЖДЕНИЕ ЗАРУБЕЖНОЙ СЕРТИФИКАЦИИ, АККРЕДИТАЦИИ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194735" y="6244046"/>
            <a:ext cx="2890157" cy="478427"/>
          </a:xfrm>
          <a:prstGeom prst="rect">
            <a:avLst/>
          </a:prstGeom>
          <a:solidFill>
            <a:srgbClr val="395723"/>
          </a:solidFill>
        </p:spPr>
        <p:txBody>
          <a:bodyPr lIns="0" tIns="0" rIns="0" bIns="0">
            <a:noAutofit/>
          </a:bodyPr>
          <a:lstStyle/>
          <a:p>
            <a:pPr>
              <a:lnSpc>
                <a:spcPct val="107000"/>
              </a:lnSpc>
              <a:spcBef>
                <a:spcPts val="150"/>
              </a:spcBef>
            </a:pPr>
            <a:r>
              <a:rPr lang="ru" sz="1393" b="1" dirty="0">
                <a:solidFill>
                  <a:srgbClr val="FFFFFF"/>
                </a:solidFill>
                <a:latin typeface="Century Gothic"/>
              </a:rPr>
              <a:t>ДОСТАВКА ТОВАРА И ОПЛАТА УСЛУГ ПО ПЕРЕВОЗКЕ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3466981" y="6072596"/>
            <a:ext cx="34290" cy="734786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Autofit/>
          </a:bodyPr>
          <a:lstStyle/>
          <a:p>
            <a:pPr algn="just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just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just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just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just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just">
              <a:spcAft>
                <a:spcPts val="225"/>
              </a:spcAft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  <a:p>
            <a:pPr algn="just"/>
            <a:r>
              <a:rPr lang="ru" sz="696" b="1">
                <a:solidFill>
                  <a:srgbClr val="1F4E79"/>
                </a:solidFill>
                <a:latin typeface="Arial"/>
              </a:rPr>
              <a:t>I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3747832" y="4451168"/>
            <a:ext cx="2367643" cy="1740626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Autofit/>
          </a:bodyPr>
          <a:lstStyle/>
          <a:p>
            <a:pPr algn="ctr">
              <a:lnSpc>
                <a:spcPct val="97000"/>
              </a:lnSpc>
              <a:spcAft>
                <a:spcPts val="1800"/>
              </a:spcAft>
            </a:pPr>
            <a:r>
              <a:rPr lang="ru" sz="1286">
                <a:solidFill>
                  <a:srgbClr val="404040"/>
                </a:solidFill>
                <a:latin typeface="Century Gothic"/>
              </a:rPr>
              <a:t>по продвижению отечественных обработанных товаров, а также информационнокоммуникационных услуг</a:t>
            </a:r>
          </a:p>
          <a:p>
            <a:pPr algn="ctr">
              <a:lnSpc>
                <a:spcPct val="97000"/>
              </a:lnSpc>
            </a:pPr>
            <a:r>
              <a:rPr lang="ru" sz="1071" i="1">
                <a:solidFill>
                  <a:srgbClr val="404040"/>
                </a:solidFill>
                <a:latin typeface="Century Gothic"/>
              </a:rPr>
              <a:t>*Приказ и.о. Министра торговли и интеграции Республики Казахстан от 1 августа 2022 года № 314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6268964" y="4625884"/>
            <a:ext cx="2788920" cy="551906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Autofit/>
          </a:bodyPr>
          <a:lstStyle/>
          <a:p>
            <a:r>
              <a:rPr lang="ru" sz="1071" b="1">
                <a:solidFill>
                  <a:srgbClr val="1F4E79"/>
                </a:solidFill>
                <a:latin typeface="Century Gothic"/>
              </a:rPr>
              <a:t>I            </a:t>
            </a:r>
            <a:r>
              <a:rPr lang="ru" sz="1071" b="1">
                <a:solidFill>
                  <a:srgbClr val="FF0000"/>
                </a:solidFill>
                <a:latin typeface="Century Gothic"/>
              </a:rPr>
              <a:t>НО НЕ БОЛЕЕ !!!</a:t>
            </a:r>
          </a:p>
          <a:p>
            <a:pPr>
              <a:lnSpc>
                <a:spcPct val="92000"/>
              </a:lnSpc>
            </a:pPr>
            <a:r>
              <a:rPr lang="ru" sz="2571" b="1" i="1">
                <a:solidFill>
                  <a:srgbClr val="1F4E79"/>
                </a:solidFill>
                <a:latin typeface="Century Gothic"/>
              </a:rPr>
              <a:t>\50%,</a:t>
            </a:r>
            <a:r>
              <a:rPr lang="ru" sz="2571" b="1">
                <a:solidFill>
                  <a:srgbClr val="1F4E79"/>
                </a:solidFill>
                <a:latin typeface="Century Gothic"/>
              </a:rPr>
              <a:t> 80%, 100%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9181981" y="4888774"/>
            <a:ext cx="22860" cy="173083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Autofit/>
          </a:bodyPr>
          <a:lstStyle/>
          <a:p>
            <a:pPr algn="r">
              <a:lnSpc>
                <a:spcPct val="108000"/>
              </a:lnSpc>
            </a:pPr>
            <a:r>
              <a:rPr lang="ru" sz="696" b="1">
                <a:solidFill>
                  <a:srgbClr val="1F4E79"/>
                </a:solidFill>
                <a:latin typeface="Arial"/>
              </a:rPr>
              <a:t>I I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6278761" y="5216979"/>
            <a:ext cx="2916283" cy="173083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>
            <a:noAutofit/>
          </a:bodyPr>
          <a:lstStyle/>
          <a:p>
            <a:r>
              <a:rPr lang="ru" sz="1286">
                <a:solidFill>
                  <a:srgbClr val="1F4E79"/>
                </a:solidFill>
                <a:latin typeface="Century Gothic"/>
              </a:rPr>
              <a:t>;    </a:t>
            </a:r>
            <a:r>
              <a:rPr lang="ru" sz="1286">
                <a:solidFill>
                  <a:srgbClr val="404040"/>
                </a:solidFill>
                <a:latin typeface="Century Gothic"/>
              </a:rPr>
              <a:t>ОТ СУММЫ НАЛОГОВ В    </a:t>
            </a:r>
            <a:r>
              <a:rPr lang="ru" sz="1286">
                <a:solidFill>
                  <a:srgbClr val="1F4E79"/>
                </a:solidFill>
                <a:latin typeface="Century Gothic"/>
              </a:rPr>
              <a:t>;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6268964" y="5390062"/>
            <a:ext cx="2935877" cy="1414054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Autofit/>
          </a:bodyPr>
          <a:lstStyle/>
          <a:p>
            <a:pPr>
              <a:lnSpc>
                <a:spcPct val="77000"/>
              </a:lnSpc>
              <a:spcAft>
                <a:spcPts val="187"/>
              </a:spcAft>
            </a:pPr>
            <a:r>
              <a:rPr lang="ru" sz="1607" cap="small">
                <a:solidFill>
                  <a:srgbClr val="1F4E79"/>
                </a:solidFill>
                <a:latin typeface="Century Gothic"/>
              </a:rPr>
              <a:t>;     </a:t>
            </a:r>
            <a:r>
              <a:rPr lang="ru" sz="1607" cap="small">
                <a:solidFill>
                  <a:srgbClr val="404040"/>
                </a:solidFill>
                <a:latin typeface="Century Gothic"/>
              </a:rPr>
              <a:t>предыдущем году      </a:t>
            </a:r>
            <a:r>
              <a:rPr lang="ru" sz="1607" cap="small">
                <a:solidFill>
                  <a:srgbClr val="1F4E79"/>
                </a:solidFill>
                <a:latin typeface="Century Gothic"/>
              </a:rPr>
              <a:t>;</a:t>
            </a:r>
          </a:p>
          <a:p>
            <a:pPr>
              <a:spcAft>
                <a:spcPts val="337"/>
              </a:spcAft>
            </a:pPr>
            <a:r>
              <a:rPr lang="ru" sz="1071" b="1">
                <a:solidFill>
                  <a:srgbClr val="1F4E79"/>
                </a:solidFill>
                <a:latin typeface="Century Gothic"/>
              </a:rPr>
              <a:t>! </a:t>
            </a:r>
            <a:r>
              <a:rPr lang="ru" sz="1071" b="1">
                <a:solidFill>
                  <a:srgbClr val="404040"/>
                </a:solidFill>
                <a:latin typeface="Century Gothic"/>
              </a:rPr>
              <a:t>СУММА ВОЗМЕЩЕНИЯ УВЕЛИЧИВАЕТСЯ:</a:t>
            </a:r>
            <a:r>
              <a:rPr lang="ru" sz="1071" b="1">
                <a:solidFill>
                  <a:srgbClr val="1F4E79"/>
                </a:solidFill>
                <a:latin typeface="Century Gothic"/>
              </a:rPr>
              <a:t>!</a:t>
            </a:r>
          </a:p>
          <a:p>
            <a:r>
              <a:rPr lang="ru" sz="1071">
                <a:solidFill>
                  <a:srgbClr val="1F4E79"/>
                </a:solidFill>
                <a:latin typeface="Century Gothic"/>
              </a:rPr>
              <a:t>[              </a:t>
            </a:r>
            <a:r>
              <a:rPr lang="ru" sz="1071">
                <a:solidFill>
                  <a:srgbClr val="404040"/>
                </a:solidFill>
                <a:latin typeface="Century Gothic"/>
              </a:rPr>
              <a:t>на </a:t>
            </a:r>
            <a:r>
              <a:rPr lang="ru" sz="1661" b="1">
                <a:solidFill>
                  <a:srgbClr val="1F4E79"/>
                </a:solidFill>
                <a:latin typeface="Century Gothic"/>
              </a:rPr>
              <a:t>5%              </a:t>
            </a:r>
            <a:r>
              <a:rPr lang="en-US" sz="1071">
                <a:solidFill>
                  <a:srgbClr val="1F4E79"/>
                </a:solidFill>
                <a:latin typeface="Century Gothic"/>
              </a:rPr>
              <a:t>j</a:t>
            </a:r>
          </a:p>
          <a:p>
            <a:pPr algn="ctr"/>
            <a:r>
              <a:rPr lang="ru" sz="1071">
                <a:solidFill>
                  <a:srgbClr val="404040"/>
                </a:solidFill>
                <a:latin typeface="Century Gothic"/>
              </a:rPr>
              <a:t>при привлечении отечественных</a:t>
            </a:r>
          </a:p>
          <a:p>
            <a:pPr>
              <a:lnSpc>
                <a:spcPct val="75000"/>
              </a:lnSpc>
            </a:pPr>
            <a:r>
              <a:rPr lang="en-US" sz="1661" b="1">
                <a:solidFill>
                  <a:srgbClr val="1F4E79"/>
                </a:solidFill>
                <a:latin typeface="Century Gothic"/>
              </a:rPr>
              <a:t>J      </a:t>
            </a:r>
            <a:r>
              <a:rPr lang="ru" sz="1071">
                <a:solidFill>
                  <a:srgbClr val="404040"/>
                </a:solidFill>
                <a:latin typeface="Century Gothic"/>
              </a:rPr>
              <a:t>грузоперевозчиков, а также при      </a:t>
            </a:r>
            <a:r>
              <a:rPr lang="en-US" sz="1661" b="1">
                <a:solidFill>
                  <a:srgbClr val="1F4E79"/>
                </a:solidFill>
                <a:latin typeface="Century Gothic"/>
              </a:rPr>
              <a:t>J</a:t>
            </a:r>
          </a:p>
          <a:p>
            <a:r>
              <a:rPr lang="ru" sz="1071" baseline="30000">
                <a:solidFill>
                  <a:srgbClr val="1F4E79"/>
                </a:solidFill>
                <a:latin typeface="Century Gothic"/>
              </a:rPr>
              <a:t>1</a:t>
            </a:r>
            <a:r>
              <a:rPr lang="ru" sz="1071">
                <a:solidFill>
                  <a:srgbClr val="1F4E79"/>
                </a:solidFill>
                <a:latin typeface="Century Gothic"/>
              </a:rPr>
              <a:t>     </a:t>
            </a:r>
            <a:r>
              <a:rPr lang="ru" sz="1071">
                <a:solidFill>
                  <a:srgbClr val="404040"/>
                </a:solidFill>
                <a:latin typeface="Century Gothic"/>
              </a:rPr>
              <a:t>тра нспорти ровке това ров через</a:t>
            </a:r>
          </a:p>
          <a:p>
            <a:r>
              <a:rPr lang="ru" sz="696" b="1">
                <a:solidFill>
                  <a:srgbClr val="1F4E79"/>
                </a:solidFill>
                <a:latin typeface="Arial"/>
              </a:rPr>
              <a:t>I           </a:t>
            </a:r>
            <a:r>
              <a:rPr lang="ru" sz="1071">
                <a:solidFill>
                  <a:srgbClr val="404040"/>
                </a:solidFill>
                <a:latin typeface="Century Gothic"/>
              </a:rPr>
              <a:t>морские порты РК           </a:t>
            </a:r>
            <a:r>
              <a:rPr lang="ru" sz="1071">
                <a:solidFill>
                  <a:srgbClr val="1F4E79"/>
                </a:solidFill>
                <a:latin typeface="Century Gothic"/>
              </a:rPr>
              <a:t>,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9369760" y="4785904"/>
            <a:ext cx="2506436" cy="1510393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>
            <a:noAutofit/>
          </a:bodyPr>
          <a:lstStyle/>
          <a:p>
            <a:pPr algn="ctr"/>
            <a:r>
              <a:rPr lang="ru" sz="2571" b="1">
                <a:solidFill>
                  <a:srgbClr val="1F4E79"/>
                </a:solidFill>
                <a:latin typeface="Century Gothic"/>
              </a:rPr>
              <a:t>КАК</a:t>
            </a:r>
          </a:p>
          <a:p>
            <a:pPr algn="ctr">
              <a:lnSpc>
                <a:spcPct val="113000"/>
              </a:lnSpc>
              <a:spcAft>
                <a:spcPts val="562"/>
              </a:spcAft>
            </a:pPr>
            <a:r>
              <a:rPr lang="ru" sz="1286" b="1">
                <a:solidFill>
                  <a:srgbClr val="866D4C"/>
                </a:solidFill>
                <a:latin typeface="Century Gothic"/>
              </a:rPr>
              <a:t>МОЖНО ПОДАТЬ ЗАЯВКУ? </a:t>
            </a:r>
            <a:r>
              <a:rPr lang="ru" sz="1500">
                <a:solidFill>
                  <a:srgbClr val="404040"/>
                </a:solidFill>
                <a:latin typeface="Century Gothic"/>
              </a:rPr>
              <a:t>Онлайн через интернет-портал</a:t>
            </a:r>
          </a:p>
          <a:p>
            <a:pPr algn="ctr"/>
            <a:r>
              <a:rPr lang="en-US" sz="2143" b="1">
                <a:solidFill>
                  <a:srgbClr val="1F4E79"/>
                </a:solidFill>
                <a:latin typeface="Century Gothic"/>
                <a:hlinkClick r:id="rId5"/>
              </a:rPr>
              <a:t>www.export.gov.kz</a:t>
            </a:r>
          </a:p>
        </p:txBody>
      </p:sp>
    </p:spTree>
    <p:extLst>
      <p:ext uri="{BB962C8B-B14F-4D97-AF65-F5344CB8AC3E}">
        <p14:creationId xmlns:p14="http://schemas.microsoft.com/office/powerpoint/2010/main" val="3244128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3927" y="78377"/>
            <a:ext cx="1629591" cy="463731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03854" y="5785213"/>
            <a:ext cx="917666" cy="917666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2023152" y="32657"/>
            <a:ext cx="81643" cy="120831"/>
          </a:xfrm>
          <a:prstGeom prst="rect">
            <a:avLst/>
          </a:prstGeom>
          <a:solidFill>
            <a:srgbClr val="1F4E78"/>
          </a:solidFill>
        </p:spPr>
        <p:txBody>
          <a:bodyPr wrap="none" lIns="0" tIns="0" rIns="0" bIns="0">
            <a:noAutofit/>
          </a:bodyPr>
          <a:lstStyle/>
          <a:p>
            <a:r>
              <a:rPr lang="ru" sz="1071" b="1">
                <a:solidFill>
                  <a:srgbClr val="FFFFFF"/>
                </a:solidFill>
                <a:latin typeface="Century Gothic"/>
              </a:rPr>
              <a:t>6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55547" y="207373"/>
            <a:ext cx="2563586" cy="257991"/>
          </a:xfrm>
          <a:prstGeom prst="rect">
            <a:avLst/>
          </a:prstGeom>
          <a:solidFill>
            <a:srgbClr val="1F4E78"/>
          </a:solidFill>
        </p:spPr>
        <p:txBody>
          <a:bodyPr wrap="none" lIns="0" tIns="0" rIns="0" bIns="0">
            <a:noAutofit/>
          </a:bodyPr>
          <a:lstStyle/>
          <a:p>
            <a:r>
              <a:rPr lang="ru" sz="2571" b="1">
                <a:solidFill>
                  <a:srgbClr val="FFFFFF"/>
                </a:solidFill>
                <a:latin typeface="Century Gothic"/>
              </a:rPr>
              <a:t>Наши контакты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35953" y="2516233"/>
            <a:ext cx="4513217" cy="1766751"/>
          </a:xfrm>
          <a:prstGeom prst="rect">
            <a:avLst/>
          </a:prstGeom>
          <a:solidFill>
            <a:srgbClr val="1F4E78"/>
          </a:solidFill>
        </p:spPr>
        <p:txBody>
          <a:bodyPr lIns="0" tIns="0" rIns="0" bIns="0">
            <a:noAutofit/>
          </a:bodyPr>
          <a:lstStyle/>
          <a:p>
            <a:pPr indent="238119">
              <a:spcAft>
                <a:spcPts val="637"/>
              </a:spcAft>
            </a:pPr>
            <a:r>
              <a:rPr lang="ru" sz="1286" b="1" i="1">
                <a:solidFill>
                  <a:srgbClr val="FFFFFF"/>
                </a:solidFill>
                <a:latin typeface="Century Gothic"/>
              </a:rPr>
              <a:t>АО «Центр развития торговой политики </a:t>
            </a:r>
            <a:r>
              <a:rPr lang="en-US" sz="1286" b="1" i="1">
                <a:solidFill>
                  <a:srgbClr val="FFFFFF"/>
                </a:solidFill>
                <a:latin typeface="Century Gothic"/>
              </a:rPr>
              <a:t>«QazTrade»</a:t>
            </a:r>
          </a:p>
          <a:p>
            <a:pPr>
              <a:spcAft>
                <a:spcPts val="637"/>
              </a:spcAft>
            </a:pPr>
            <a:r>
              <a:rPr lang="ru" sz="1286" i="1">
                <a:solidFill>
                  <a:srgbClr val="FFFFFF"/>
                </a:solidFill>
                <a:latin typeface="Century Gothic"/>
              </a:rPr>
              <a:t>® Астана, М</a:t>
            </a:r>
            <a:r>
              <a:rPr lang="ru" sz="1286" i="1">
                <a:solidFill>
                  <a:srgbClr val="FFFFFF"/>
                </a:solidFill>
                <a:latin typeface="Calibri"/>
              </a:rPr>
              <a:t>эцп</a:t>
            </a:r>
            <a:r>
              <a:rPr lang="ru" sz="1286" i="1">
                <a:solidFill>
                  <a:srgbClr val="FFFFFF"/>
                </a:solidFill>
                <a:latin typeface="Century Gothic"/>
              </a:rPr>
              <a:t>л'1к Ел 8/2</a:t>
            </a:r>
          </a:p>
          <a:p>
            <a:pPr>
              <a:spcAft>
                <a:spcPts val="637"/>
              </a:spcAft>
            </a:pPr>
            <a:r>
              <a:rPr lang="ru" sz="1286" i="1">
                <a:solidFill>
                  <a:srgbClr val="FFFFFF"/>
                </a:solidFill>
                <a:latin typeface="Century Gothic"/>
              </a:rPr>
              <a:t>% +7 7172 76 88 05</a:t>
            </a:r>
          </a:p>
          <a:p>
            <a:pPr>
              <a:spcAft>
                <a:spcPts val="637"/>
              </a:spcAft>
            </a:pPr>
            <a:r>
              <a:rPr lang="en-US" sz="1286" b="1">
                <a:solidFill>
                  <a:srgbClr val="FFFFFF"/>
                </a:solidFill>
                <a:latin typeface="Century Gothic"/>
              </a:rPr>
              <a:t>ISI </a:t>
            </a:r>
            <a:r>
              <a:rPr lang="en-US" sz="1286" i="1">
                <a:solidFill>
                  <a:srgbClr val="FFFFFF"/>
                </a:solidFill>
                <a:latin typeface="Century Gothic"/>
                <a:hlinkClick r:id="rId4"/>
              </a:rPr>
              <a:t>kense@qaztrade.org.kz</a:t>
            </a:r>
          </a:p>
          <a:p>
            <a:pPr>
              <a:spcAft>
                <a:spcPts val="637"/>
              </a:spcAft>
            </a:pPr>
            <a:r>
              <a:rPr lang="ru" sz="1286" i="1">
                <a:solidFill>
                  <a:srgbClr val="FFFFFF"/>
                </a:solidFill>
                <a:latin typeface="Century Gothic"/>
              </a:rPr>
              <a:t>® </a:t>
            </a:r>
            <a:r>
              <a:rPr lang="en-US" sz="1286" i="1">
                <a:solidFill>
                  <a:srgbClr val="FFFFFF"/>
                </a:solidFill>
                <a:latin typeface="Century Gothic"/>
                <a:hlinkClick r:id="rId5"/>
              </a:rPr>
              <a:t>www.export.gov.kz</a:t>
            </a:r>
          </a:p>
          <a:p>
            <a:r>
              <a:rPr lang="ru" sz="1286" i="1">
                <a:solidFill>
                  <a:srgbClr val="FFFFFF"/>
                </a:solidFill>
                <a:latin typeface="Century Gothic"/>
              </a:rPr>
              <a:t>■*4 Телеграм-канал </a:t>
            </a:r>
            <a:r>
              <a:rPr lang="en-US" sz="1286" i="1">
                <a:solidFill>
                  <a:srgbClr val="FFFFFF"/>
                </a:solidFill>
                <a:latin typeface="Century Gothic"/>
              </a:rPr>
              <a:t>//t.me/exportgov</a:t>
            </a:r>
          </a:p>
        </p:txBody>
      </p:sp>
    </p:spTree>
    <p:extLst>
      <p:ext uri="{BB962C8B-B14F-4D97-AF65-F5344CB8AC3E}">
        <p14:creationId xmlns:p14="http://schemas.microsoft.com/office/powerpoint/2010/main" val="3631485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DC1EDD2-5156-4C78-B4CC-0F7C486904F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97" r="19473"/>
          <a:stretch/>
        </p:blipFill>
        <p:spPr>
          <a:xfrm>
            <a:off x="510746" y="1439665"/>
            <a:ext cx="3657600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501188AF-66C9-4AAA-A13A-44C37A9AA3C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24" r="34102"/>
          <a:stretch/>
        </p:blipFill>
        <p:spPr>
          <a:xfrm>
            <a:off x="3047997" y="1439665"/>
            <a:ext cx="3707027" cy="3978893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14C3997A-412B-4A32-BBDD-47C610D6C31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3" r="39982"/>
          <a:stretch/>
        </p:blipFill>
        <p:spPr>
          <a:xfrm>
            <a:off x="5560543" y="1439665"/>
            <a:ext cx="3731740" cy="3991430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13023DF2-4F41-434C-BFC2-4F97EF92A44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09" r="25508"/>
          <a:stretch/>
        </p:blipFill>
        <p:spPr>
          <a:xfrm>
            <a:off x="8079161" y="1439665"/>
            <a:ext cx="3690552" cy="3978669"/>
          </a:xfrm>
          <a:custGeom>
            <a:avLst/>
            <a:gdLst>
              <a:gd name="connsiteX0" fmla="*/ 2631950 w 7264257"/>
              <a:gd name="connsiteY0" fmla="*/ 0 h 6695422"/>
              <a:gd name="connsiteX1" fmla="*/ 7264257 w 7264257"/>
              <a:gd name="connsiteY1" fmla="*/ 0 h 6695422"/>
              <a:gd name="connsiteX2" fmla="*/ 4630756 w 7264257"/>
              <a:gd name="connsiteY2" fmla="*/ 6695422 h 6695422"/>
              <a:gd name="connsiteX3" fmla="*/ 0 w 7264257"/>
              <a:gd name="connsiteY3" fmla="*/ 6695422 h 6695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64257" h="6695422">
                <a:moveTo>
                  <a:pt x="2631950" y="0"/>
                </a:moveTo>
                <a:lnTo>
                  <a:pt x="7264257" y="0"/>
                </a:lnTo>
                <a:lnTo>
                  <a:pt x="4630756" y="6695422"/>
                </a:lnTo>
                <a:lnTo>
                  <a:pt x="0" y="6695422"/>
                </a:lnTo>
                <a:close/>
              </a:path>
            </a:pathLst>
          </a:custGeom>
        </p:spPr>
      </p:pic>
      <p:sp>
        <p:nvSpPr>
          <p:cNvPr id="6" name="Прямоугольник 5"/>
          <p:cNvSpPr/>
          <p:nvPr/>
        </p:nvSpPr>
        <p:spPr>
          <a:xfrm>
            <a:off x="1185331" y="2853267"/>
            <a:ext cx="9905999" cy="1202266"/>
          </a:xfrm>
          <a:custGeom>
            <a:avLst/>
            <a:gdLst>
              <a:gd name="connsiteX0" fmla="*/ 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0 w 9889066"/>
              <a:gd name="connsiteY4" fmla="*/ 0 h 1202266"/>
              <a:gd name="connsiteX0" fmla="*/ 355600 w 9889066"/>
              <a:gd name="connsiteY0" fmla="*/ 0 h 1202266"/>
              <a:gd name="connsiteX1" fmla="*/ 9889066 w 9889066"/>
              <a:gd name="connsiteY1" fmla="*/ 0 h 1202266"/>
              <a:gd name="connsiteX2" fmla="*/ 9889066 w 9889066"/>
              <a:gd name="connsiteY2" fmla="*/ 1202266 h 1202266"/>
              <a:gd name="connsiteX3" fmla="*/ 0 w 9889066"/>
              <a:gd name="connsiteY3" fmla="*/ 1202266 h 1202266"/>
              <a:gd name="connsiteX4" fmla="*/ 355600 w 9889066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905999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72533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72533 w 9905999"/>
              <a:gd name="connsiteY4" fmla="*/ 0 h 1202266"/>
              <a:gd name="connsiteX0" fmla="*/ 389467 w 9905999"/>
              <a:gd name="connsiteY0" fmla="*/ 0 h 1202266"/>
              <a:gd name="connsiteX1" fmla="*/ 9905999 w 9905999"/>
              <a:gd name="connsiteY1" fmla="*/ 0 h 1202266"/>
              <a:gd name="connsiteX2" fmla="*/ 9541933 w 9905999"/>
              <a:gd name="connsiteY2" fmla="*/ 1202266 h 1202266"/>
              <a:gd name="connsiteX3" fmla="*/ 0 w 9905999"/>
              <a:gd name="connsiteY3" fmla="*/ 1202266 h 1202266"/>
              <a:gd name="connsiteX4" fmla="*/ 389467 w 9905999"/>
              <a:gd name="connsiteY4" fmla="*/ 0 h 12022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5999" h="1202266">
                <a:moveTo>
                  <a:pt x="389467" y="0"/>
                </a:moveTo>
                <a:lnTo>
                  <a:pt x="9905999" y="0"/>
                </a:lnTo>
                <a:lnTo>
                  <a:pt x="9541933" y="1202266"/>
                </a:lnTo>
                <a:lnTo>
                  <a:pt x="0" y="1202266"/>
                </a:lnTo>
                <a:lnTo>
                  <a:pt x="38946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F4E7A9-8675-4A7A-BAF6-76B59361702B}" type="slidenum">
              <a:rPr lang="ru-RU" smtClean="0"/>
              <a:t>95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1587062" y="5592927"/>
            <a:ext cx="8664085" cy="1013615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2pPr>
            <a:lvl3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3pPr>
            <a:lvl4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4pPr>
            <a:lvl5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5pPr>
            <a:lvl6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6pPr>
            <a:lvl7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7pPr>
            <a:lvl8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8pPr>
            <a:lvl9pPr indent="0" algn="ctr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endParaRPr lang="ru-RU" sz="20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Управляющая компания ТОО «Технопарк «Алатау»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b="0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2022 - 2028 годы </a:t>
            </a:r>
            <a:endParaRPr lang="ru-RU" sz="2000" b="0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2000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269713" y="2901371"/>
            <a:ext cx="800905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СПЕЦИАЛЬНАЯ ЭКОНОМИЧЕСКАЯ ЗОНА</a:t>
            </a:r>
          </a:p>
          <a:p>
            <a:pPr algn="ctr"/>
            <a:r>
              <a:rPr lang="ru-RU" sz="28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ПАРК ИННОВАЦИОННЫХ ТЕХНОЛОГИЙ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729474" y="813573"/>
            <a:ext cx="3338395" cy="7148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ПРИЛОЖЕНИЕ </a:t>
            </a:r>
            <a:r>
              <a:rPr lang="en-US" sz="32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8</a:t>
            </a:r>
            <a:endParaRPr lang="ru-RU" sz="32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12" name="object 2"/>
          <p:cNvPicPr/>
          <p:nvPr/>
        </p:nvPicPr>
        <p:blipFill rotWithShape="1">
          <a:blip r:embed="rId7" cstate="print"/>
          <a:srcRect l="6667" t="10000" r="60000" b="67777"/>
          <a:stretch/>
        </p:blipFill>
        <p:spPr>
          <a:xfrm>
            <a:off x="9292283" y="146363"/>
            <a:ext cx="2599032" cy="1093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423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317691"/>
            <a:ext cx="11658600" cy="6344365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2716479" y="1937080"/>
            <a:ext cx="4033520" cy="6680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b="1" dirty="0">
                <a:solidFill>
                  <a:srgbClr val="FFFFFF"/>
                </a:solidFill>
                <a:latin typeface="Century Gothic"/>
                <a:cs typeface="Century Gothic"/>
              </a:rPr>
              <a:t>СЭЗ</a:t>
            </a:r>
            <a:r>
              <a:rPr b="1" spc="-2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b="1" spc="-5" dirty="0">
                <a:solidFill>
                  <a:srgbClr val="FFFFFF"/>
                </a:solidFill>
                <a:latin typeface="Century Gothic"/>
                <a:cs typeface="Century Gothic"/>
              </a:rPr>
              <a:t>«ПИТ»</a:t>
            </a:r>
            <a:endParaRPr>
              <a:latin typeface="Century Gothic"/>
              <a:cs typeface="Century Gothic"/>
            </a:endParaRPr>
          </a:p>
          <a:p>
            <a:pPr marL="12700" marR="5080">
              <a:spcBef>
                <a:spcPts val="15"/>
              </a:spcBef>
            </a:pP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создана Указом Президента Республики Казахстан  от 18 августа 2003 года</a:t>
            </a:r>
            <a:r>
              <a:rPr sz="1200" spc="5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№1166</a:t>
            </a:r>
            <a:endParaRPr sz="1200">
              <a:latin typeface="Century Gothic"/>
              <a:cs typeface="Century Gothic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589987" y="4829682"/>
            <a:ext cx="36703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 dirty="0">
                <a:latin typeface="Century"/>
                <a:cs typeface="Century"/>
              </a:rPr>
              <a:t>01</a:t>
            </a:r>
            <a:endParaRPr sz="2400">
              <a:latin typeface="Century"/>
              <a:cs typeface="Century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2638805" y="1937766"/>
            <a:ext cx="0" cy="646430"/>
          </a:xfrm>
          <a:custGeom>
            <a:avLst/>
            <a:gdLst/>
            <a:ahLst/>
            <a:cxnLst/>
            <a:rect l="l" t="t" r="r" b="b"/>
            <a:pathLst>
              <a:path h="646430">
                <a:moveTo>
                  <a:pt x="0" y="0"/>
                </a:moveTo>
                <a:lnTo>
                  <a:pt x="0" y="646303"/>
                </a:lnTo>
              </a:path>
            </a:pathLst>
          </a:custGeom>
          <a:ln w="381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3000502" y="4490973"/>
            <a:ext cx="3200400" cy="6477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816610" marR="643255" indent="-692150"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Century Gothic"/>
                <a:cs typeface="Century Gothic"/>
              </a:rPr>
              <a:t>Специальный </a:t>
            </a:r>
            <a:r>
              <a:rPr sz="1200" b="1" spc="-5" dirty="0">
                <a:solidFill>
                  <a:srgbClr val="FFFFFF"/>
                </a:solidFill>
                <a:latin typeface="Century Gothic"/>
                <a:cs typeface="Century Gothic"/>
              </a:rPr>
              <a:t>правовой</a:t>
            </a:r>
            <a:r>
              <a:rPr sz="1200" b="1" spc="-8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200" b="1" spc="-5" dirty="0">
                <a:solidFill>
                  <a:srgbClr val="FFFFFF"/>
                </a:solidFill>
                <a:latin typeface="Century Gothic"/>
                <a:cs typeface="Century Gothic"/>
              </a:rPr>
              <a:t>режим  гарантирует:</a:t>
            </a:r>
            <a:endParaRPr sz="1200">
              <a:latin typeface="Century Gothic"/>
              <a:cs typeface="Century Gothic"/>
            </a:endParaRPr>
          </a:p>
          <a:p>
            <a:pPr marL="12700">
              <a:spcBef>
                <a:spcPts val="580"/>
              </a:spcBef>
            </a:pP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Налоговые </a:t>
            </a:r>
            <a:r>
              <a:rPr sz="1200" dirty="0">
                <a:solidFill>
                  <a:srgbClr val="FFFFFF"/>
                </a:solidFill>
                <a:latin typeface="Century Gothic"/>
                <a:cs typeface="Century Gothic"/>
              </a:rPr>
              <a:t>и 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таможенные</a:t>
            </a:r>
            <a:r>
              <a:rPr sz="1200" spc="-1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преференции</a:t>
            </a:r>
            <a:endParaRPr sz="1200">
              <a:latin typeface="Century Gothic"/>
              <a:cs typeface="Century Gothic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551888" y="5143627"/>
            <a:ext cx="2792095" cy="543560"/>
          </a:xfrm>
          <a:prstGeom prst="rect">
            <a:avLst/>
          </a:prstGeom>
        </p:spPr>
        <p:txBody>
          <a:bodyPr vert="horz" wrap="square" lIns="0" tIns="64769" rIns="0" bIns="0" rtlCol="0">
            <a:spAutoFit/>
          </a:bodyPr>
          <a:lstStyle/>
          <a:p>
            <a:pPr marL="461009" marR="43180" indent="-410845">
              <a:lnSpc>
                <a:spcPct val="85700"/>
              </a:lnSpc>
              <a:spcBef>
                <a:spcPts val="509"/>
              </a:spcBef>
            </a:pPr>
            <a:r>
              <a:rPr sz="3600" b="1" baseline="-24305" dirty="0">
                <a:latin typeface="Century"/>
                <a:cs typeface="Century"/>
              </a:rPr>
              <a:t>02 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Особые условия</a:t>
            </a:r>
            <a:r>
              <a:rPr sz="1200" spc="-16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привлечения  иностранной рабочей</a:t>
            </a:r>
            <a:r>
              <a:rPr sz="1200" spc="-2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200" dirty="0">
                <a:solidFill>
                  <a:srgbClr val="FFFFFF"/>
                </a:solidFill>
                <a:latin typeface="Century Gothic"/>
                <a:cs typeface="Century Gothic"/>
              </a:rPr>
              <a:t>силы</a:t>
            </a:r>
            <a:endParaRPr sz="1200">
              <a:latin typeface="Century Gothic"/>
              <a:cs typeface="Century Gothic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564588" y="5685841"/>
            <a:ext cx="2507615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spcBef>
                <a:spcPts val="100"/>
              </a:spcBef>
            </a:pPr>
            <a:r>
              <a:rPr sz="3600" b="1" baseline="-6944" dirty="0">
                <a:latin typeface="Century"/>
                <a:cs typeface="Century"/>
              </a:rPr>
              <a:t>03 </a:t>
            </a:r>
            <a:r>
              <a:rPr sz="1200" spc="-10" dirty="0">
                <a:solidFill>
                  <a:srgbClr val="FFFFFF"/>
                </a:solidFill>
                <a:latin typeface="Century Gothic"/>
                <a:cs typeface="Century Gothic"/>
              </a:rPr>
              <a:t>Доступ </a:t>
            </a:r>
            <a:r>
              <a:rPr sz="1200" dirty="0">
                <a:solidFill>
                  <a:srgbClr val="FFFFFF"/>
                </a:solidFill>
                <a:latin typeface="Century Gothic"/>
                <a:cs typeface="Century Gothic"/>
              </a:rPr>
              <a:t>к</a:t>
            </a:r>
            <a:r>
              <a:rPr sz="1200" spc="-114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200" spc="-10" dirty="0">
                <a:solidFill>
                  <a:srgbClr val="FFFFFF"/>
                </a:solidFill>
                <a:latin typeface="Century Gothic"/>
                <a:cs typeface="Century Gothic"/>
              </a:rPr>
              <a:t>инфраструктуре</a:t>
            </a:r>
            <a:endParaRPr sz="1200">
              <a:latin typeface="Century Gothic"/>
              <a:cs typeface="Century Gothic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640279" y="2821304"/>
            <a:ext cx="3335020" cy="13690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49375" marR="992505" indent="-169545"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Century Gothic"/>
                <a:cs typeface="Century Gothic"/>
              </a:rPr>
              <a:t>Цели</a:t>
            </a:r>
            <a:r>
              <a:rPr sz="1200" b="1" spc="-10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200" b="1" spc="-5" dirty="0">
                <a:solidFill>
                  <a:srgbClr val="FFFFFF"/>
                </a:solidFill>
                <a:latin typeface="Century Gothic"/>
                <a:cs typeface="Century Gothic"/>
              </a:rPr>
              <a:t>создания  </a:t>
            </a:r>
            <a:r>
              <a:rPr sz="1200" b="1" dirty="0">
                <a:solidFill>
                  <a:srgbClr val="FFFFFF"/>
                </a:solidFill>
                <a:latin typeface="Century Gothic"/>
                <a:cs typeface="Century Gothic"/>
              </a:rPr>
              <a:t>СЭЗ</a:t>
            </a:r>
            <a:r>
              <a:rPr sz="1200" b="1" spc="-2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200" b="1" dirty="0">
                <a:solidFill>
                  <a:srgbClr val="FFFFFF"/>
                </a:solidFill>
                <a:latin typeface="Century Gothic"/>
                <a:cs typeface="Century Gothic"/>
              </a:rPr>
              <a:t>«ПИТ»:</a:t>
            </a:r>
            <a:endParaRPr sz="1200">
              <a:latin typeface="Century Gothic"/>
              <a:cs typeface="Century Gothic"/>
            </a:endParaRPr>
          </a:p>
          <a:p>
            <a:pPr marL="184785" indent="-172720">
              <a:spcBef>
                <a:spcPts val="495"/>
              </a:spcBef>
              <a:buFont typeface="Arial"/>
              <a:buChar char="•"/>
              <a:tabLst>
                <a:tab pos="185420" algn="l"/>
              </a:tabLst>
            </a:pP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Развитие высокотехнологичных</a:t>
            </a:r>
            <a:r>
              <a:rPr sz="1200" spc="2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областей</a:t>
            </a:r>
            <a:endParaRPr sz="1200">
              <a:latin typeface="Century Gothic"/>
              <a:cs typeface="Century Gothic"/>
            </a:endParaRPr>
          </a:p>
          <a:p>
            <a:pPr marL="184785" marR="168275" indent="-172720">
              <a:buFont typeface="Arial"/>
              <a:buChar char="•"/>
              <a:tabLst>
                <a:tab pos="185420" algn="l"/>
              </a:tabLst>
            </a:pP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Активизация </a:t>
            </a:r>
            <a:r>
              <a:rPr sz="1200" dirty="0">
                <a:solidFill>
                  <a:srgbClr val="FFFFFF"/>
                </a:solidFill>
                <a:latin typeface="Century Gothic"/>
                <a:cs typeface="Century Gothic"/>
              </a:rPr>
              <a:t>вхождения 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экономики </a:t>
            </a:r>
            <a:r>
              <a:rPr sz="1200" dirty="0">
                <a:solidFill>
                  <a:srgbClr val="FFFFFF"/>
                </a:solidFill>
                <a:latin typeface="Century Gothic"/>
                <a:cs typeface="Century Gothic"/>
              </a:rPr>
              <a:t>РК  в 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мировые экономические</a:t>
            </a:r>
            <a:r>
              <a:rPr sz="1200" spc="-3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отношения</a:t>
            </a:r>
            <a:endParaRPr sz="1200">
              <a:latin typeface="Century Gothic"/>
              <a:cs typeface="Century Gothic"/>
            </a:endParaRPr>
          </a:p>
          <a:p>
            <a:pPr marL="184785" indent="-172720">
              <a:buFont typeface="Arial"/>
              <a:buChar char="•"/>
              <a:tabLst>
                <a:tab pos="185420" algn="l"/>
              </a:tabLst>
            </a:pP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Производство новых</a:t>
            </a:r>
            <a:r>
              <a:rPr sz="1200" spc="1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200" spc="-10" dirty="0">
                <a:solidFill>
                  <a:srgbClr val="FFFFFF"/>
                </a:solidFill>
                <a:latin typeface="Century Gothic"/>
                <a:cs typeface="Century Gothic"/>
              </a:rPr>
              <a:t>продуктов</a:t>
            </a:r>
            <a:endParaRPr sz="1200">
              <a:latin typeface="Century Gothic"/>
              <a:cs typeface="Century Gothic"/>
            </a:endParaRPr>
          </a:p>
          <a:p>
            <a:pPr marL="184785" indent="-172720">
              <a:buFont typeface="Arial"/>
              <a:buChar char="•"/>
              <a:tabLst>
                <a:tab pos="185420" algn="l"/>
              </a:tabLst>
            </a:pP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Привлечение</a:t>
            </a:r>
            <a:r>
              <a:rPr sz="1200" spc="-2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инвестиций</a:t>
            </a:r>
            <a:endParaRPr sz="1200">
              <a:latin typeface="Century Gothic"/>
              <a:cs typeface="Century Gothic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7162292" y="2818638"/>
            <a:ext cx="1875155" cy="4826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spcBef>
                <a:spcPts val="100"/>
              </a:spcBef>
            </a:pPr>
            <a:r>
              <a:rPr sz="1200" b="1" spc="-5" dirty="0">
                <a:solidFill>
                  <a:srgbClr val="FFFFFF"/>
                </a:solidFill>
                <a:latin typeface="Century Gothic"/>
                <a:cs typeface="Century Gothic"/>
              </a:rPr>
              <a:t>Приоритетные</a:t>
            </a:r>
            <a:r>
              <a:rPr sz="1200" b="1" spc="-7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200" b="1" spc="-5" dirty="0">
                <a:solidFill>
                  <a:srgbClr val="FFFFFF"/>
                </a:solidFill>
                <a:latin typeface="Century Gothic"/>
                <a:cs typeface="Century Gothic"/>
              </a:rPr>
              <a:t>сектора</a:t>
            </a:r>
            <a:endParaRPr sz="1200">
              <a:latin typeface="Century Gothic"/>
              <a:cs typeface="Century Gothic"/>
            </a:endParaRPr>
          </a:p>
          <a:p>
            <a:pPr algn="ctr">
              <a:lnSpc>
                <a:spcPct val="100000"/>
              </a:lnSpc>
            </a:pPr>
            <a:r>
              <a:rPr b="1" dirty="0">
                <a:latin typeface="Century"/>
                <a:cs typeface="Century"/>
              </a:rPr>
              <a:t>2003-2028</a:t>
            </a:r>
            <a:endParaRPr>
              <a:latin typeface="Century"/>
              <a:cs typeface="Century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6583680" y="3159226"/>
            <a:ext cx="3218815" cy="3152140"/>
            <a:chOff x="5059679" y="3159226"/>
            <a:chExt cx="3218815" cy="3152140"/>
          </a:xfrm>
        </p:grpSpPr>
        <p:pic>
          <p:nvPicPr>
            <p:cNvPr id="12" name="object 12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062727" y="3159226"/>
              <a:ext cx="1650619" cy="1084986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257799" y="3354323"/>
              <a:ext cx="1080515" cy="515112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620255" y="3159277"/>
              <a:ext cx="1630679" cy="1087983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815327" y="3354323"/>
              <a:ext cx="1060703" cy="518159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5062727" y="4056900"/>
              <a:ext cx="1647571" cy="1208773"/>
            </a:xfrm>
            <a:prstGeom prst="rect">
              <a:avLst/>
            </a:prstGeom>
          </p:spPr>
        </p:pic>
        <p:pic>
          <p:nvPicPr>
            <p:cNvPr id="17" name="object 17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5257799" y="4251959"/>
              <a:ext cx="1077468" cy="638556"/>
            </a:xfrm>
            <a:prstGeom prst="rect">
              <a:avLst/>
            </a:prstGeom>
          </p:spPr>
        </p:pic>
        <p:pic>
          <p:nvPicPr>
            <p:cNvPr id="18" name="object 18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5059679" y="5096255"/>
              <a:ext cx="1650619" cy="1214780"/>
            </a:xfrm>
            <a:prstGeom prst="rect">
              <a:avLst/>
            </a:prstGeom>
          </p:spPr>
        </p:pic>
        <p:pic>
          <p:nvPicPr>
            <p:cNvPr id="19" name="object 19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5254751" y="5291327"/>
              <a:ext cx="1080515" cy="644651"/>
            </a:xfrm>
            <a:prstGeom prst="rect">
              <a:avLst/>
            </a:prstGeom>
          </p:spPr>
        </p:pic>
        <p:pic>
          <p:nvPicPr>
            <p:cNvPr id="20" name="object 20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6594347" y="4027995"/>
              <a:ext cx="1684147" cy="1200721"/>
            </a:xfrm>
            <a:prstGeom prst="rect">
              <a:avLst/>
            </a:prstGeom>
          </p:spPr>
        </p:pic>
        <p:pic>
          <p:nvPicPr>
            <p:cNvPr id="21" name="object 21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6789419" y="4223003"/>
              <a:ext cx="1114044" cy="630936"/>
            </a:xfrm>
            <a:prstGeom prst="rect">
              <a:avLst/>
            </a:prstGeom>
          </p:spPr>
        </p:pic>
      </p:grpSp>
      <p:sp>
        <p:nvSpPr>
          <p:cNvPr id="22" name="object 22"/>
          <p:cNvSpPr txBox="1"/>
          <p:nvPr/>
        </p:nvSpPr>
        <p:spPr>
          <a:xfrm>
            <a:off x="6754749" y="3918967"/>
            <a:ext cx="1139825" cy="286385"/>
          </a:xfrm>
          <a:prstGeom prst="rect">
            <a:avLst/>
          </a:prstGeom>
        </p:spPr>
        <p:txBody>
          <a:bodyPr vert="horz" wrap="square" lIns="0" tIns="28575" rIns="0" bIns="0" rtlCol="0">
            <a:spAutoFit/>
          </a:bodyPr>
          <a:lstStyle/>
          <a:p>
            <a:pPr marL="250190" marR="5080" indent="-238125">
              <a:lnSpc>
                <a:spcPts val="969"/>
              </a:lnSpc>
              <a:spcBef>
                <a:spcPts val="225"/>
              </a:spcBef>
            </a:pPr>
            <a:r>
              <a:rPr sz="900" spc="-10" dirty="0">
                <a:solidFill>
                  <a:srgbClr val="FFFFFF"/>
                </a:solidFill>
                <a:latin typeface="Century Gothic"/>
                <a:cs typeface="Century Gothic"/>
              </a:rPr>
              <a:t>И</a:t>
            </a:r>
            <a:r>
              <a:rPr sz="900" spc="-5" dirty="0">
                <a:solidFill>
                  <a:srgbClr val="FFFFFF"/>
                </a:solidFill>
                <a:latin typeface="Century Gothic"/>
                <a:cs typeface="Century Gothic"/>
              </a:rPr>
              <a:t>нфор</a:t>
            </a:r>
            <a:r>
              <a:rPr sz="900" dirty="0">
                <a:solidFill>
                  <a:srgbClr val="FFFFFF"/>
                </a:solidFill>
                <a:latin typeface="Century Gothic"/>
                <a:cs typeface="Century Gothic"/>
              </a:rPr>
              <a:t>мац</a:t>
            </a:r>
            <a:r>
              <a:rPr sz="900" spc="-5" dirty="0">
                <a:solidFill>
                  <a:srgbClr val="FFFFFF"/>
                </a:solidFill>
                <a:latin typeface="Century Gothic"/>
                <a:cs typeface="Century Gothic"/>
              </a:rPr>
              <a:t>и</a:t>
            </a:r>
            <a:r>
              <a:rPr sz="900" dirty="0">
                <a:solidFill>
                  <a:srgbClr val="FFFFFF"/>
                </a:solidFill>
                <a:latin typeface="Century Gothic"/>
                <a:cs typeface="Century Gothic"/>
              </a:rPr>
              <a:t>онные  </a:t>
            </a:r>
            <a:r>
              <a:rPr sz="900" spc="-5" dirty="0">
                <a:solidFill>
                  <a:srgbClr val="FFFFFF"/>
                </a:solidFill>
                <a:latin typeface="Century Gothic"/>
                <a:cs typeface="Century Gothic"/>
              </a:rPr>
              <a:t>технологии</a:t>
            </a:r>
            <a:endParaRPr sz="900">
              <a:latin typeface="Century Gothic"/>
              <a:cs typeface="Century Gothic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8304022" y="3900297"/>
            <a:ext cx="1104265" cy="286385"/>
          </a:xfrm>
          <a:prstGeom prst="rect">
            <a:avLst/>
          </a:prstGeom>
        </p:spPr>
        <p:txBody>
          <a:bodyPr vert="horz" wrap="square" lIns="0" tIns="28575" rIns="0" bIns="0" rtlCol="0">
            <a:spAutoFit/>
          </a:bodyPr>
          <a:lstStyle/>
          <a:p>
            <a:pPr marL="12700" marR="5080" indent="109220">
              <a:lnSpc>
                <a:spcPts val="969"/>
              </a:lnSpc>
              <a:spcBef>
                <a:spcPts val="225"/>
              </a:spcBef>
            </a:pPr>
            <a:r>
              <a:rPr sz="900" spc="-5" dirty="0">
                <a:solidFill>
                  <a:srgbClr val="FFFFFF"/>
                </a:solidFill>
                <a:latin typeface="Century Gothic"/>
                <a:cs typeface="Century Gothic"/>
              </a:rPr>
              <a:t>Электроника </a:t>
            </a:r>
            <a:r>
              <a:rPr sz="900" dirty="0">
                <a:solidFill>
                  <a:srgbClr val="FFFFFF"/>
                </a:solidFill>
                <a:latin typeface="Century Gothic"/>
                <a:cs typeface="Century Gothic"/>
              </a:rPr>
              <a:t>и  </a:t>
            </a:r>
            <a:r>
              <a:rPr sz="900" spc="-5" dirty="0">
                <a:solidFill>
                  <a:srgbClr val="FFFFFF"/>
                </a:solidFill>
                <a:latin typeface="Century Gothic"/>
                <a:cs typeface="Century Gothic"/>
              </a:rPr>
              <a:t>приб</a:t>
            </a:r>
            <a:r>
              <a:rPr sz="900" dirty="0">
                <a:solidFill>
                  <a:srgbClr val="FFFFFF"/>
                </a:solidFill>
                <a:latin typeface="Century Gothic"/>
                <a:cs typeface="Century Gothic"/>
              </a:rPr>
              <a:t>о</a:t>
            </a:r>
            <a:r>
              <a:rPr sz="900" spc="-5" dirty="0">
                <a:solidFill>
                  <a:srgbClr val="FFFFFF"/>
                </a:solidFill>
                <a:latin typeface="Century Gothic"/>
                <a:cs typeface="Century Gothic"/>
              </a:rPr>
              <a:t>р</a:t>
            </a:r>
            <a:r>
              <a:rPr sz="900" dirty="0">
                <a:solidFill>
                  <a:srgbClr val="FFFFFF"/>
                </a:solidFill>
                <a:latin typeface="Century Gothic"/>
                <a:cs typeface="Century Gothic"/>
              </a:rPr>
              <a:t>ост</a:t>
            </a:r>
            <a:r>
              <a:rPr sz="900" spc="-5" dirty="0">
                <a:solidFill>
                  <a:srgbClr val="FFFFFF"/>
                </a:solidFill>
                <a:latin typeface="Century Gothic"/>
                <a:cs typeface="Century Gothic"/>
              </a:rPr>
              <a:t>ро</a:t>
            </a:r>
            <a:r>
              <a:rPr sz="900" dirty="0">
                <a:solidFill>
                  <a:srgbClr val="FFFFFF"/>
                </a:solidFill>
                <a:latin typeface="Century Gothic"/>
                <a:cs typeface="Century Gothic"/>
              </a:rPr>
              <a:t>е</a:t>
            </a:r>
            <a:r>
              <a:rPr sz="900" spc="-5" dirty="0">
                <a:solidFill>
                  <a:srgbClr val="FFFFFF"/>
                </a:solidFill>
                <a:latin typeface="Century Gothic"/>
                <a:cs typeface="Century Gothic"/>
              </a:rPr>
              <a:t>ние</a:t>
            </a:r>
            <a:endParaRPr sz="900">
              <a:latin typeface="Century Gothic"/>
              <a:cs typeface="Century Gothic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902322" y="4934839"/>
            <a:ext cx="810260" cy="26930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35" algn="ctr">
              <a:lnSpc>
                <a:spcPts val="1025"/>
              </a:lnSpc>
              <a:spcBef>
                <a:spcPts val="100"/>
              </a:spcBef>
            </a:pPr>
            <a:r>
              <a:rPr sz="900" spc="-10" dirty="0">
                <a:solidFill>
                  <a:srgbClr val="FFFFFF"/>
                </a:solidFill>
                <a:latin typeface="Century Gothic"/>
                <a:cs typeface="Century Gothic"/>
              </a:rPr>
              <a:t>НИОКР</a:t>
            </a:r>
            <a:endParaRPr sz="900">
              <a:latin typeface="Century Gothic"/>
              <a:cs typeface="Century Gothic"/>
            </a:endParaRPr>
          </a:p>
          <a:p>
            <a:pPr algn="ctr">
              <a:lnSpc>
                <a:spcPts val="1025"/>
              </a:lnSpc>
            </a:pPr>
            <a:r>
              <a:rPr sz="900" dirty="0">
                <a:solidFill>
                  <a:srgbClr val="FFFFFF"/>
                </a:solidFill>
                <a:latin typeface="Century Gothic"/>
                <a:cs typeface="Century Gothic"/>
              </a:rPr>
              <a:t>в </a:t>
            </a:r>
            <a:r>
              <a:rPr sz="900" spc="-5" dirty="0">
                <a:solidFill>
                  <a:srgbClr val="FFFFFF"/>
                </a:solidFill>
                <a:latin typeface="Century Gothic"/>
                <a:cs typeface="Century Gothic"/>
              </a:rPr>
              <a:t>сфере</a:t>
            </a:r>
            <a:r>
              <a:rPr sz="900" spc="-6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900" spc="-5" dirty="0">
                <a:solidFill>
                  <a:srgbClr val="FFFFFF"/>
                </a:solidFill>
                <a:latin typeface="Century Gothic"/>
                <a:cs typeface="Century Gothic"/>
              </a:rPr>
              <a:t>ВИЭ</a:t>
            </a:r>
            <a:endParaRPr sz="900">
              <a:latin typeface="Century Gothic"/>
              <a:cs typeface="Century Gothic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8425689" y="5950407"/>
            <a:ext cx="926465" cy="533400"/>
          </a:xfrm>
          <a:prstGeom prst="rect">
            <a:avLst/>
          </a:prstGeom>
        </p:spPr>
        <p:txBody>
          <a:bodyPr vert="horz" wrap="square" lIns="0" tIns="26034" rIns="0" bIns="0" rtlCol="0">
            <a:spAutoFit/>
          </a:bodyPr>
          <a:lstStyle/>
          <a:p>
            <a:pPr marL="12700" marR="5080" indent="-1905" algn="ctr">
              <a:lnSpc>
                <a:spcPct val="90100"/>
              </a:lnSpc>
              <a:spcBef>
                <a:spcPts val="204"/>
              </a:spcBef>
            </a:pPr>
            <a:r>
              <a:rPr sz="900" spc="-5" dirty="0">
                <a:solidFill>
                  <a:srgbClr val="FFFFFF"/>
                </a:solidFill>
                <a:latin typeface="Century Gothic"/>
                <a:cs typeface="Century Gothic"/>
              </a:rPr>
              <a:t>Образование </a:t>
            </a:r>
            <a:r>
              <a:rPr sz="900" dirty="0">
                <a:solidFill>
                  <a:srgbClr val="FFFFFF"/>
                </a:solidFill>
                <a:latin typeface="Century Gothic"/>
                <a:cs typeface="Century Gothic"/>
              </a:rPr>
              <a:t>в  </a:t>
            </a:r>
            <a:r>
              <a:rPr sz="900" spc="-5" dirty="0">
                <a:solidFill>
                  <a:srgbClr val="FFFFFF"/>
                </a:solidFill>
                <a:latin typeface="Century Gothic"/>
                <a:cs typeface="Century Gothic"/>
              </a:rPr>
              <a:t>сфере  иннова</a:t>
            </a:r>
            <a:r>
              <a:rPr sz="900" dirty="0">
                <a:solidFill>
                  <a:srgbClr val="FFFFFF"/>
                </a:solidFill>
                <a:latin typeface="Century Gothic"/>
                <a:cs typeface="Century Gothic"/>
              </a:rPr>
              <a:t>ци</a:t>
            </a:r>
            <a:r>
              <a:rPr sz="900" spc="-5" dirty="0">
                <a:solidFill>
                  <a:srgbClr val="FFFFFF"/>
                </a:solidFill>
                <a:latin typeface="Century Gothic"/>
                <a:cs typeface="Century Gothic"/>
              </a:rPr>
              <a:t>он</a:t>
            </a:r>
            <a:r>
              <a:rPr sz="900" dirty="0">
                <a:solidFill>
                  <a:srgbClr val="FFFFFF"/>
                </a:solidFill>
                <a:latin typeface="Century Gothic"/>
                <a:cs typeface="Century Gothic"/>
              </a:rPr>
              <a:t>н</a:t>
            </a:r>
            <a:r>
              <a:rPr sz="900" spc="-5" dirty="0">
                <a:solidFill>
                  <a:srgbClr val="FFFFFF"/>
                </a:solidFill>
                <a:latin typeface="Century Gothic"/>
                <a:cs typeface="Century Gothic"/>
              </a:rPr>
              <a:t>ы</a:t>
            </a:r>
            <a:r>
              <a:rPr sz="900" dirty="0">
                <a:solidFill>
                  <a:srgbClr val="FFFFFF"/>
                </a:solidFill>
                <a:latin typeface="Century Gothic"/>
                <a:cs typeface="Century Gothic"/>
              </a:rPr>
              <a:t>х  </a:t>
            </a:r>
            <a:r>
              <a:rPr sz="900" spc="-5" dirty="0">
                <a:solidFill>
                  <a:srgbClr val="FFFFFF"/>
                </a:solidFill>
                <a:latin typeface="Century Gothic"/>
                <a:cs typeface="Century Gothic"/>
              </a:rPr>
              <a:t>технологий</a:t>
            </a:r>
            <a:endParaRPr sz="900">
              <a:latin typeface="Century Gothic"/>
              <a:cs typeface="Century Gothic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6798690" y="5932729"/>
            <a:ext cx="1016000" cy="4095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" algn="ctr">
              <a:lnSpc>
                <a:spcPts val="1025"/>
              </a:lnSpc>
              <a:spcBef>
                <a:spcPts val="100"/>
              </a:spcBef>
            </a:pPr>
            <a:r>
              <a:rPr sz="900" spc="-5" dirty="0">
                <a:solidFill>
                  <a:srgbClr val="FFFFFF"/>
                </a:solidFill>
                <a:latin typeface="Century Gothic"/>
                <a:cs typeface="Century Gothic"/>
              </a:rPr>
              <a:t>Разработка</a:t>
            </a:r>
            <a:r>
              <a:rPr sz="900" spc="-1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900" dirty="0">
                <a:solidFill>
                  <a:srgbClr val="FFFFFF"/>
                </a:solidFill>
                <a:latin typeface="Century Gothic"/>
                <a:cs typeface="Century Gothic"/>
              </a:rPr>
              <a:t>и</a:t>
            </a:r>
            <a:endParaRPr sz="900">
              <a:latin typeface="Century Gothic"/>
              <a:cs typeface="Century Gothic"/>
            </a:endParaRPr>
          </a:p>
          <a:p>
            <a:pPr marL="12065" marR="5080" algn="ctr">
              <a:lnSpc>
                <a:spcPts val="969"/>
              </a:lnSpc>
              <a:spcBef>
                <a:spcPts val="70"/>
              </a:spcBef>
            </a:pPr>
            <a:r>
              <a:rPr sz="900" spc="-5" dirty="0">
                <a:solidFill>
                  <a:srgbClr val="FFFFFF"/>
                </a:solidFill>
                <a:latin typeface="Century Gothic"/>
                <a:cs typeface="Century Gothic"/>
              </a:rPr>
              <a:t>внедрение</a:t>
            </a:r>
            <a:r>
              <a:rPr sz="900" spc="-6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900" spc="-5" dirty="0">
                <a:solidFill>
                  <a:srgbClr val="FFFFFF"/>
                </a:solidFill>
                <a:latin typeface="Century Gothic"/>
                <a:cs typeface="Century Gothic"/>
              </a:rPr>
              <a:t>новых  материалов</a:t>
            </a:r>
            <a:endParaRPr sz="900">
              <a:latin typeface="Century Gothic"/>
              <a:cs typeface="Century Gothic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8295893" y="4888230"/>
            <a:ext cx="1150620" cy="286385"/>
          </a:xfrm>
          <a:prstGeom prst="rect">
            <a:avLst/>
          </a:prstGeom>
        </p:spPr>
        <p:txBody>
          <a:bodyPr vert="horz" wrap="square" lIns="0" tIns="28575" rIns="0" bIns="0" rtlCol="0">
            <a:spAutoFit/>
          </a:bodyPr>
          <a:lstStyle/>
          <a:p>
            <a:pPr marL="384175" marR="5080" indent="-372110">
              <a:lnSpc>
                <a:spcPts val="969"/>
              </a:lnSpc>
              <a:spcBef>
                <a:spcPts val="225"/>
              </a:spcBef>
            </a:pPr>
            <a:r>
              <a:rPr sz="900" spc="-15" dirty="0">
                <a:solidFill>
                  <a:srgbClr val="FFFFFF"/>
                </a:solidFill>
                <a:latin typeface="Century Gothic"/>
                <a:cs typeface="Century Gothic"/>
              </a:rPr>
              <a:t>Т</a:t>
            </a:r>
            <a:r>
              <a:rPr sz="900" dirty="0">
                <a:solidFill>
                  <a:srgbClr val="FFFFFF"/>
                </a:solidFill>
                <a:latin typeface="Century Gothic"/>
                <a:cs typeface="Century Gothic"/>
              </a:rPr>
              <a:t>елекоммун</a:t>
            </a:r>
            <a:r>
              <a:rPr sz="900" spc="-5" dirty="0">
                <a:solidFill>
                  <a:srgbClr val="FFFFFF"/>
                </a:solidFill>
                <a:latin typeface="Century Gothic"/>
                <a:cs typeface="Century Gothic"/>
              </a:rPr>
              <a:t>и</a:t>
            </a:r>
            <a:r>
              <a:rPr sz="900" dirty="0">
                <a:solidFill>
                  <a:srgbClr val="FFFFFF"/>
                </a:solidFill>
                <a:latin typeface="Century Gothic"/>
                <a:cs typeface="Century Gothic"/>
              </a:rPr>
              <a:t>к</a:t>
            </a:r>
            <a:r>
              <a:rPr sz="900" spc="-5" dirty="0">
                <a:solidFill>
                  <a:srgbClr val="FFFFFF"/>
                </a:solidFill>
                <a:latin typeface="Century Gothic"/>
                <a:cs typeface="Century Gothic"/>
              </a:rPr>
              <a:t>а</a:t>
            </a:r>
            <a:r>
              <a:rPr sz="900" dirty="0">
                <a:solidFill>
                  <a:srgbClr val="FFFFFF"/>
                </a:solidFill>
                <a:latin typeface="Century Gothic"/>
                <a:cs typeface="Century Gothic"/>
              </a:rPr>
              <a:t>ция  и</a:t>
            </a:r>
            <a:r>
              <a:rPr sz="900" spc="-1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900" spc="-5" dirty="0">
                <a:solidFill>
                  <a:srgbClr val="FFFFFF"/>
                </a:solidFill>
                <a:latin typeface="Century Gothic"/>
                <a:cs typeface="Century Gothic"/>
              </a:rPr>
              <a:t>связь</a:t>
            </a:r>
            <a:endParaRPr sz="900">
              <a:latin typeface="Century Gothic"/>
              <a:cs typeface="Century Gothic"/>
            </a:endParaRPr>
          </a:p>
        </p:txBody>
      </p:sp>
      <p:grpSp>
        <p:nvGrpSpPr>
          <p:cNvPr id="28" name="object 28"/>
          <p:cNvGrpSpPr/>
          <p:nvPr/>
        </p:nvGrpSpPr>
        <p:grpSpPr>
          <a:xfrm>
            <a:off x="8161020" y="5087112"/>
            <a:ext cx="1647825" cy="1238885"/>
            <a:chOff x="6637019" y="5087111"/>
            <a:chExt cx="1647825" cy="1238885"/>
          </a:xfrm>
        </p:grpSpPr>
        <p:pic>
          <p:nvPicPr>
            <p:cNvPr id="29" name="object 29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6637019" y="5087111"/>
              <a:ext cx="1647571" cy="1238808"/>
            </a:xfrm>
            <a:prstGeom prst="rect">
              <a:avLst/>
            </a:prstGeom>
          </p:spPr>
        </p:pic>
        <p:pic>
          <p:nvPicPr>
            <p:cNvPr id="30" name="object 30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6832091" y="5282183"/>
              <a:ext cx="1077468" cy="669036"/>
            </a:xfrm>
            <a:prstGeom prst="rect">
              <a:avLst/>
            </a:prstGeom>
          </p:spPr>
        </p:pic>
      </p:grpSp>
      <p:sp>
        <p:nvSpPr>
          <p:cNvPr id="31" name="object 31"/>
          <p:cNvSpPr txBox="1"/>
          <p:nvPr/>
        </p:nvSpPr>
        <p:spPr>
          <a:xfrm>
            <a:off x="9944482" y="6017158"/>
            <a:ext cx="36385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spc="-5" dirty="0">
                <a:solidFill>
                  <a:srgbClr val="767070"/>
                </a:solidFill>
                <a:latin typeface="Century"/>
                <a:cs typeface="Century"/>
              </a:rPr>
              <a:t>02</a:t>
            </a:r>
            <a:endParaRPr sz="2400">
              <a:latin typeface="Century"/>
              <a:cs typeface="Century"/>
            </a:endParaRPr>
          </a:p>
        </p:txBody>
      </p:sp>
    </p:spTree>
    <p:extLst>
      <p:ext uri="{BB962C8B-B14F-4D97-AF65-F5344CB8AC3E}">
        <p14:creationId xmlns:p14="http://schemas.microsoft.com/office/powerpoint/2010/main" val="3648885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261257" y="318857"/>
            <a:ext cx="12164786" cy="6564082"/>
            <a:chOff x="-1155936" y="16704"/>
            <a:chExt cx="12164786" cy="6595169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-1155936" y="16704"/>
              <a:ext cx="12164786" cy="6595169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829555" y="291084"/>
              <a:ext cx="4314443" cy="661416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020823" y="2734055"/>
              <a:ext cx="591312" cy="553212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031492" y="1975104"/>
              <a:ext cx="533400" cy="524256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048255" y="1127760"/>
              <a:ext cx="553212" cy="571500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943100" y="3640835"/>
              <a:ext cx="658368" cy="627888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068067" y="4596384"/>
              <a:ext cx="533400" cy="542544"/>
            </a:xfrm>
            <a:prstGeom prst="rect">
              <a:avLst/>
            </a:prstGeom>
          </p:spPr>
        </p:pic>
      </p:grpSp>
      <p:sp>
        <p:nvSpPr>
          <p:cNvPr id="10" name="object 10"/>
          <p:cNvSpPr txBox="1"/>
          <p:nvPr/>
        </p:nvSpPr>
        <p:spPr>
          <a:xfrm>
            <a:off x="7603998" y="1785406"/>
            <a:ext cx="2957195" cy="25558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6600" b="1" spc="-5" dirty="0">
                <a:solidFill>
                  <a:srgbClr val="1F4E79"/>
                </a:solidFill>
                <a:latin typeface="Century"/>
                <a:cs typeface="Century"/>
              </a:rPr>
              <a:t>0%</a:t>
            </a:r>
            <a:endParaRPr sz="16600">
              <a:latin typeface="Century"/>
              <a:cs typeface="Century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275836" y="614339"/>
            <a:ext cx="5170805" cy="11899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169160" marR="5080">
              <a:spcBef>
                <a:spcPts val="100"/>
              </a:spcBef>
            </a:pPr>
            <a:r>
              <a:rPr spc="-5" dirty="0">
                <a:solidFill>
                  <a:srgbClr val="FFFFFF"/>
                </a:solidFill>
                <a:latin typeface="Century Gothic"/>
                <a:cs typeface="Century Gothic"/>
              </a:rPr>
              <a:t>Налоговые </a:t>
            </a:r>
            <a:r>
              <a:rPr dirty="0">
                <a:solidFill>
                  <a:srgbClr val="FFFFFF"/>
                </a:solidFill>
                <a:latin typeface="Century Gothic"/>
                <a:cs typeface="Century Gothic"/>
              </a:rPr>
              <a:t>и</a:t>
            </a:r>
            <a:r>
              <a:rPr spc="-7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pc="-5" dirty="0">
                <a:solidFill>
                  <a:srgbClr val="FFFFFF"/>
                </a:solidFill>
                <a:latin typeface="Century Gothic"/>
                <a:cs typeface="Century Gothic"/>
              </a:rPr>
              <a:t>таможенные  </a:t>
            </a:r>
            <a:r>
              <a:rPr spc="-10" dirty="0">
                <a:solidFill>
                  <a:srgbClr val="FFFFFF"/>
                </a:solidFill>
                <a:latin typeface="Century Gothic"/>
                <a:cs typeface="Century Gothic"/>
              </a:rPr>
              <a:t>преференции</a:t>
            </a:r>
            <a:endParaRPr dirty="0">
              <a:latin typeface="Century Gothic"/>
              <a:cs typeface="Century Gothic"/>
            </a:endParaRPr>
          </a:p>
          <a:p>
            <a:pPr>
              <a:spcBef>
                <a:spcPts val="45"/>
              </a:spcBef>
            </a:pPr>
            <a:endParaRPr sz="2150" dirty="0">
              <a:latin typeface="Century Gothic"/>
              <a:cs typeface="Century Gothic"/>
            </a:endParaRPr>
          </a:p>
          <a:p>
            <a:pPr marL="12700">
              <a:spcBef>
                <a:spcPts val="5"/>
              </a:spcBef>
            </a:pPr>
            <a:r>
              <a:rPr dirty="0">
                <a:latin typeface="Century Gothic"/>
                <a:cs typeface="Century Gothic"/>
              </a:rPr>
              <a:t>– </a:t>
            </a:r>
            <a:r>
              <a:rPr spc="-5" dirty="0">
                <a:latin typeface="Century Gothic"/>
                <a:cs typeface="Century Gothic"/>
              </a:rPr>
              <a:t>корпоративный подоходный</a:t>
            </a:r>
            <a:r>
              <a:rPr spc="-25" dirty="0">
                <a:latin typeface="Century Gothic"/>
                <a:cs typeface="Century Gothic"/>
              </a:rPr>
              <a:t> </a:t>
            </a:r>
            <a:r>
              <a:rPr spc="-5" dirty="0">
                <a:latin typeface="Century Gothic"/>
                <a:cs typeface="Century Gothic"/>
              </a:rPr>
              <a:t>налог</a:t>
            </a:r>
            <a:endParaRPr dirty="0">
              <a:latin typeface="Century Gothic"/>
              <a:cs typeface="Century Gothic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275835" y="2327314"/>
            <a:ext cx="260477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dirty="0">
                <a:latin typeface="Century Gothic"/>
                <a:cs typeface="Century Gothic"/>
              </a:rPr>
              <a:t>– </a:t>
            </a:r>
            <a:r>
              <a:rPr spc="-5" dirty="0">
                <a:latin typeface="Century Gothic"/>
                <a:cs typeface="Century Gothic"/>
              </a:rPr>
              <a:t>налог на</a:t>
            </a:r>
            <a:r>
              <a:rPr spc="-95" dirty="0">
                <a:latin typeface="Century Gothic"/>
                <a:cs typeface="Century Gothic"/>
              </a:rPr>
              <a:t> </a:t>
            </a:r>
            <a:r>
              <a:rPr spc="-5" dirty="0">
                <a:latin typeface="Century Gothic"/>
                <a:cs typeface="Century Gothic"/>
              </a:rPr>
              <a:t>имущество</a:t>
            </a:r>
            <a:endParaRPr>
              <a:latin typeface="Century Gothic"/>
              <a:cs typeface="Century Gothic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275835" y="3150275"/>
            <a:ext cx="218059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dirty="0">
                <a:latin typeface="Century Gothic"/>
                <a:cs typeface="Century Gothic"/>
              </a:rPr>
              <a:t>– </a:t>
            </a:r>
            <a:r>
              <a:rPr spc="-5" dirty="0">
                <a:latin typeface="Century Gothic"/>
                <a:cs typeface="Century Gothic"/>
              </a:rPr>
              <a:t>земельный</a:t>
            </a:r>
            <a:r>
              <a:rPr spc="-45" dirty="0">
                <a:latin typeface="Century Gothic"/>
                <a:cs typeface="Century Gothic"/>
              </a:rPr>
              <a:t> </a:t>
            </a:r>
            <a:r>
              <a:rPr spc="-5" dirty="0">
                <a:latin typeface="Century Gothic"/>
                <a:cs typeface="Century Gothic"/>
              </a:rPr>
              <a:t>налог</a:t>
            </a:r>
            <a:endParaRPr>
              <a:latin typeface="Century Gothic"/>
              <a:cs typeface="Century Gothic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275835" y="3965996"/>
            <a:ext cx="232791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dirty="0">
                <a:latin typeface="Century Gothic"/>
                <a:cs typeface="Century Gothic"/>
              </a:rPr>
              <a:t>– </a:t>
            </a:r>
            <a:r>
              <a:rPr spc="-5" dirty="0">
                <a:latin typeface="Century Gothic"/>
                <a:cs typeface="Century Gothic"/>
              </a:rPr>
              <a:t>социальный</a:t>
            </a:r>
            <a:r>
              <a:rPr spc="-145" dirty="0">
                <a:latin typeface="Century Gothic"/>
                <a:cs typeface="Century Gothic"/>
              </a:rPr>
              <a:t> </a:t>
            </a:r>
            <a:r>
              <a:rPr dirty="0">
                <a:latin typeface="Calibri"/>
                <a:cs typeface="Calibri"/>
              </a:rPr>
              <a:t>налог*</a:t>
            </a:r>
            <a:endParaRPr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275835" y="4173869"/>
            <a:ext cx="3854450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45500"/>
              </a:lnSpc>
              <a:spcBef>
                <a:spcPts val="95"/>
              </a:spcBef>
            </a:pPr>
            <a:r>
              <a:rPr sz="1100" spc="-5" dirty="0">
                <a:latin typeface="Century Gothic"/>
                <a:cs typeface="Century Gothic"/>
              </a:rPr>
              <a:t>при условии, </a:t>
            </a:r>
            <a:r>
              <a:rPr sz="1100" dirty="0">
                <a:latin typeface="Century Gothic"/>
                <a:cs typeface="Century Gothic"/>
              </a:rPr>
              <a:t>что расходы на </a:t>
            </a:r>
            <a:r>
              <a:rPr sz="1100" spc="-5" dirty="0">
                <a:latin typeface="Century Gothic"/>
                <a:cs typeface="Century Gothic"/>
              </a:rPr>
              <a:t>оплату </a:t>
            </a:r>
            <a:r>
              <a:rPr sz="1100" dirty="0">
                <a:latin typeface="Century Gothic"/>
                <a:cs typeface="Century Gothic"/>
              </a:rPr>
              <a:t>труда составляют  не менее </a:t>
            </a:r>
            <a:r>
              <a:rPr sz="1100" spc="-5" dirty="0">
                <a:latin typeface="Century Gothic"/>
                <a:cs typeface="Century Gothic"/>
              </a:rPr>
              <a:t>70% </a:t>
            </a:r>
            <a:r>
              <a:rPr sz="1100" dirty="0">
                <a:latin typeface="Century Gothic"/>
                <a:cs typeface="Century Gothic"/>
              </a:rPr>
              <a:t>от общей суммы</a:t>
            </a:r>
            <a:r>
              <a:rPr sz="1100" spc="-135" dirty="0">
                <a:latin typeface="Century Gothic"/>
                <a:cs typeface="Century Gothic"/>
              </a:rPr>
              <a:t> </a:t>
            </a:r>
            <a:r>
              <a:rPr sz="1100" dirty="0">
                <a:latin typeface="Century Gothic"/>
                <a:cs typeface="Century Gothic"/>
              </a:rPr>
              <a:t>расходов</a:t>
            </a:r>
            <a:endParaRPr sz="1100">
              <a:latin typeface="Century Gothic"/>
              <a:cs typeface="Century Gothic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275835" y="4941942"/>
            <a:ext cx="4276090" cy="659765"/>
          </a:xfrm>
          <a:prstGeom prst="rect">
            <a:avLst/>
          </a:prstGeom>
        </p:spPr>
        <p:txBody>
          <a:bodyPr vert="horz" wrap="square" lIns="0" tIns="27305" rIns="0" bIns="0" rtlCol="0">
            <a:spAutoFit/>
          </a:bodyPr>
          <a:lstStyle/>
          <a:p>
            <a:pPr marL="12700">
              <a:spcBef>
                <a:spcPts val="215"/>
              </a:spcBef>
            </a:pPr>
            <a:r>
              <a:rPr dirty="0">
                <a:latin typeface="Century Gothic"/>
                <a:cs typeface="Century Gothic"/>
              </a:rPr>
              <a:t>– </a:t>
            </a:r>
            <a:r>
              <a:rPr spc="-10" dirty="0">
                <a:latin typeface="Calibri"/>
                <a:cs typeface="Calibri"/>
              </a:rPr>
              <a:t>НДС*</a:t>
            </a:r>
            <a:endParaRPr>
              <a:latin typeface="Calibri"/>
              <a:cs typeface="Calibri"/>
            </a:endParaRPr>
          </a:p>
          <a:p>
            <a:pPr marL="12700">
              <a:spcBef>
                <a:spcPts val="75"/>
              </a:spcBef>
            </a:pPr>
            <a:r>
              <a:rPr sz="1100" spc="-5" dirty="0">
                <a:latin typeface="Century Gothic"/>
                <a:cs typeface="Century Gothic"/>
              </a:rPr>
              <a:t>при реализации </a:t>
            </a:r>
            <a:r>
              <a:rPr sz="1100" dirty="0">
                <a:latin typeface="Century Gothic"/>
                <a:cs typeface="Century Gothic"/>
              </a:rPr>
              <a:t>на территории СЭЗ</a:t>
            </a:r>
            <a:r>
              <a:rPr sz="1100" spc="-120" dirty="0">
                <a:latin typeface="Century Gothic"/>
                <a:cs typeface="Century Gothic"/>
              </a:rPr>
              <a:t> </a:t>
            </a:r>
            <a:r>
              <a:rPr sz="1100" dirty="0">
                <a:latin typeface="Century Gothic"/>
                <a:cs typeface="Century Gothic"/>
              </a:rPr>
              <a:t>товаров,</a:t>
            </a:r>
            <a:endParaRPr sz="1100">
              <a:latin typeface="Century Gothic"/>
              <a:cs typeface="Century Gothic"/>
            </a:endParaRPr>
          </a:p>
          <a:p>
            <a:pPr marL="12700"/>
            <a:r>
              <a:rPr sz="1100" spc="-5" dirty="0">
                <a:latin typeface="Century Gothic"/>
                <a:cs typeface="Century Gothic"/>
              </a:rPr>
              <a:t>полностью </a:t>
            </a:r>
            <a:r>
              <a:rPr sz="1100" dirty="0">
                <a:latin typeface="Century Gothic"/>
                <a:cs typeface="Century Gothic"/>
              </a:rPr>
              <a:t>потребляемых </a:t>
            </a:r>
            <a:r>
              <a:rPr sz="1100" spc="-5" dirty="0">
                <a:latin typeface="Century Gothic"/>
                <a:cs typeface="Century Gothic"/>
              </a:rPr>
              <a:t>при </a:t>
            </a:r>
            <a:r>
              <a:rPr sz="1100" dirty="0">
                <a:latin typeface="Century Gothic"/>
                <a:cs typeface="Century Gothic"/>
              </a:rPr>
              <a:t>осуществлении</a:t>
            </a:r>
            <a:r>
              <a:rPr sz="1100" spc="-105" dirty="0">
                <a:latin typeface="Century Gothic"/>
                <a:cs typeface="Century Gothic"/>
              </a:rPr>
              <a:t> </a:t>
            </a:r>
            <a:r>
              <a:rPr sz="1100" dirty="0">
                <a:latin typeface="Century Gothic"/>
                <a:cs typeface="Century Gothic"/>
              </a:rPr>
              <a:t>деятельности</a:t>
            </a:r>
            <a:endParaRPr sz="1100">
              <a:latin typeface="Century Gothic"/>
              <a:cs typeface="Century Gothic"/>
            </a:endParaRPr>
          </a:p>
        </p:txBody>
      </p:sp>
      <p:pic>
        <p:nvPicPr>
          <p:cNvPr id="17" name="object 17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3543300" y="5792076"/>
            <a:ext cx="688848" cy="509016"/>
          </a:xfrm>
          <a:prstGeom prst="rect">
            <a:avLst/>
          </a:prstGeom>
        </p:spPr>
      </p:pic>
      <p:sp>
        <p:nvSpPr>
          <p:cNvPr id="18" name="object 18"/>
          <p:cNvSpPr txBox="1"/>
          <p:nvPr/>
        </p:nvSpPr>
        <p:spPr>
          <a:xfrm>
            <a:off x="4275836" y="5848390"/>
            <a:ext cx="5889625" cy="8921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dirty="0">
                <a:latin typeface="Century Gothic"/>
                <a:cs typeface="Century Gothic"/>
              </a:rPr>
              <a:t>– </a:t>
            </a:r>
            <a:r>
              <a:rPr spc="-5" dirty="0">
                <a:latin typeface="Century Gothic"/>
                <a:cs typeface="Century Gothic"/>
              </a:rPr>
              <a:t>Освобождение </a:t>
            </a:r>
            <a:r>
              <a:rPr dirty="0">
                <a:latin typeface="Century Gothic"/>
                <a:cs typeface="Century Gothic"/>
              </a:rPr>
              <a:t>от </a:t>
            </a:r>
            <a:r>
              <a:rPr spc="-5" dirty="0">
                <a:latin typeface="Century Gothic"/>
                <a:cs typeface="Century Gothic"/>
              </a:rPr>
              <a:t>уплаты таможенных</a:t>
            </a:r>
            <a:r>
              <a:rPr dirty="0">
                <a:latin typeface="Century Gothic"/>
                <a:cs typeface="Century Gothic"/>
              </a:rPr>
              <a:t> </a:t>
            </a:r>
            <a:r>
              <a:rPr spc="-5" dirty="0">
                <a:latin typeface="Century Gothic"/>
                <a:cs typeface="Century Gothic"/>
              </a:rPr>
              <a:t>пошлин</a:t>
            </a:r>
            <a:endParaRPr dirty="0">
              <a:latin typeface="Century Gothic"/>
              <a:cs typeface="Century Gothic"/>
            </a:endParaRPr>
          </a:p>
          <a:p>
            <a:pPr marL="12700">
              <a:lnSpc>
                <a:spcPts val="1970"/>
              </a:lnSpc>
            </a:pPr>
            <a:r>
              <a:rPr dirty="0">
                <a:latin typeface="Century Gothic"/>
                <a:cs typeface="Century Gothic"/>
              </a:rPr>
              <a:t>для </a:t>
            </a:r>
            <a:r>
              <a:rPr spc="-5" dirty="0">
                <a:latin typeface="Century Gothic"/>
                <a:cs typeface="Century Gothic"/>
              </a:rPr>
              <a:t>товаров, ввозимых на </a:t>
            </a:r>
            <a:r>
              <a:rPr spc="-10" dirty="0">
                <a:latin typeface="Century Gothic"/>
                <a:cs typeface="Century Gothic"/>
              </a:rPr>
              <a:t>территорию</a:t>
            </a:r>
            <a:r>
              <a:rPr spc="15" dirty="0">
                <a:latin typeface="Century Gothic"/>
                <a:cs typeface="Century Gothic"/>
              </a:rPr>
              <a:t> </a:t>
            </a:r>
            <a:r>
              <a:rPr dirty="0">
                <a:latin typeface="Century Gothic"/>
                <a:cs typeface="Century Gothic"/>
              </a:rPr>
              <a:t>СЭЗ</a:t>
            </a:r>
          </a:p>
          <a:p>
            <a:pPr marR="5080" algn="r">
              <a:lnSpc>
                <a:spcPts val="2690"/>
              </a:lnSpc>
            </a:pPr>
            <a:r>
              <a:rPr sz="2400" spc="-5" dirty="0">
                <a:solidFill>
                  <a:srgbClr val="767070"/>
                </a:solidFill>
                <a:latin typeface="Century"/>
                <a:cs typeface="Century"/>
              </a:rPr>
              <a:t>03</a:t>
            </a:r>
            <a:endParaRPr sz="2400" dirty="0">
              <a:latin typeface="Century"/>
              <a:cs typeface="Century"/>
            </a:endParaRPr>
          </a:p>
        </p:txBody>
      </p:sp>
    </p:spTree>
    <p:extLst>
      <p:ext uri="{BB962C8B-B14F-4D97-AF65-F5344CB8AC3E}">
        <p14:creationId xmlns:p14="http://schemas.microsoft.com/office/powerpoint/2010/main" val="789276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-130629" y="1"/>
            <a:ext cx="6340929" cy="6857997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3499867" y="98298"/>
            <a:ext cx="2268855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000" b="1" dirty="0">
                <a:solidFill>
                  <a:srgbClr val="FFFFFF"/>
                </a:solidFill>
                <a:latin typeface="Century Gothic"/>
                <a:cs typeface="Century Gothic"/>
              </a:rPr>
              <a:t>ИНФРАСТРУКТУРА</a:t>
            </a:r>
            <a:endParaRPr sz="2000">
              <a:latin typeface="Century Gothic"/>
              <a:cs typeface="Century Gothic"/>
            </a:endParaRPr>
          </a:p>
        </p:txBody>
      </p:sp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251192" y="3675888"/>
            <a:ext cx="2296667" cy="288036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7331203" y="3717417"/>
            <a:ext cx="208597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1200" spc="-10" dirty="0">
                <a:solidFill>
                  <a:srgbClr val="FFFFFF"/>
                </a:solidFill>
                <a:latin typeface="Century Gothic"/>
                <a:cs typeface="Century Gothic"/>
              </a:rPr>
              <a:t>Транспортная</a:t>
            </a:r>
            <a:r>
              <a:rPr sz="1200" spc="-1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доступность</a:t>
            </a:r>
            <a:endParaRPr sz="1200">
              <a:latin typeface="Century Gothic"/>
              <a:cs typeface="Century Gothic"/>
            </a:endParaRPr>
          </a:p>
        </p:txBody>
      </p:sp>
      <p:pic>
        <p:nvPicPr>
          <p:cNvPr id="6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552444" y="815339"/>
            <a:ext cx="2145792" cy="422148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3608070" y="890142"/>
            <a:ext cx="205486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b="1" spc="-5" dirty="0">
                <a:solidFill>
                  <a:srgbClr val="FFFFFF"/>
                </a:solidFill>
                <a:latin typeface="Century Gothic"/>
                <a:cs typeface="Century Gothic"/>
              </a:rPr>
              <a:t>Общая</a:t>
            </a:r>
            <a:r>
              <a:rPr sz="1600" b="1" spc="-4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Century Gothic"/>
                <a:cs typeface="Century Gothic"/>
              </a:rPr>
              <a:t>территория</a:t>
            </a:r>
            <a:endParaRPr sz="1600">
              <a:latin typeface="Century Gothic"/>
              <a:cs typeface="Century Gothic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931412" y="1343991"/>
            <a:ext cx="1405255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3600" b="1" spc="-5" dirty="0">
                <a:solidFill>
                  <a:srgbClr val="FFFFFF"/>
                </a:solidFill>
                <a:latin typeface="Century Gothic"/>
                <a:cs typeface="Century Gothic"/>
              </a:rPr>
              <a:t>163</a:t>
            </a:r>
            <a:r>
              <a:rPr sz="3600" b="1" spc="-10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3600" b="1" dirty="0">
                <a:solidFill>
                  <a:srgbClr val="FFFFFF"/>
                </a:solidFill>
                <a:latin typeface="Century Gothic"/>
                <a:cs typeface="Century Gothic"/>
              </a:rPr>
              <a:t>га</a:t>
            </a:r>
            <a:endParaRPr sz="3600">
              <a:latin typeface="Century Gothic"/>
              <a:cs typeface="Century Gothic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136519" y="2024633"/>
            <a:ext cx="1423670" cy="1827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84785" indent="-172720">
              <a:spcBef>
                <a:spcPts val="105"/>
              </a:spcBef>
              <a:buFont typeface="Arial"/>
              <a:buChar char="•"/>
              <a:tabLst>
                <a:tab pos="185420" algn="l"/>
              </a:tabLst>
            </a:pPr>
            <a:r>
              <a:rPr sz="1100" dirty="0">
                <a:solidFill>
                  <a:srgbClr val="FFFFFF"/>
                </a:solidFill>
                <a:latin typeface="Century Gothic"/>
                <a:cs typeface="Century Gothic"/>
              </a:rPr>
              <a:t>офисное</a:t>
            </a:r>
            <a:r>
              <a:rPr sz="1100" spc="-8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100" dirty="0">
                <a:solidFill>
                  <a:srgbClr val="FFFFFF"/>
                </a:solidFill>
                <a:latin typeface="Century Gothic"/>
                <a:cs typeface="Century Gothic"/>
              </a:rPr>
              <a:t>здание</a:t>
            </a:r>
            <a:endParaRPr sz="1100">
              <a:latin typeface="Century Gothic"/>
              <a:cs typeface="Century Gothic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136519" y="2212696"/>
            <a:ext cx="2084070" cy="668655"/>
          </a:xfrm>
          <a:prstGeom prst="rect">
            <a:avLst/>
          </a:prstGeom>
        </p:spPr>
        <p:txBody>
          <a:bodyPr vert="horz" wrap="square" lIns="0" tIns="44450" rIns="0" bIns="0" rtlCol="0">
            <a:spAutoFit/>
          </a:bodyPr>
          <a:lstStyle/>
          <a:p>
            <a:pPr marL="184785" indent="-172720">
              <a:spcBef>
                <a:spcPts val="350"/>
              </a:spcBef>
              <a:buFont typeface="Arial"/>
              <a:buChar char="•"/>
              <a:tabLst>
                <a:tab pos="185420" algn="l"/>
              </a:tabLst>
            </a:pPr>
            <a:r>
              <a:rPr sz="1100" dirty="0">
                <a:solidFill>
                  <a:srgbClr val="FFFFFF"/>
                </a:solidFill>
                <a:latin typeface="Century Gothic"/>
                <a:cs typeface="Century Gothic"/>
              </a:rPr>
              <a:t>производственные</a:t>
            </a:r>
            <a:r>
              <a:rPr sz="1100" spc="-10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100" dirty="0">
                <a:solidFill>
                  <a:srgbClr val="FFFFFF"/>
                </a:solidFill>
                <a:latin typeface="Century Gothic"/>
                <a:cs typeface="Century Gothic"/>
              </a:rPr>
              <a:t>модули</a:t>
            </a:r>
            <a:endParaRPr sz="1100">
              <a:latin typeface="Century Gothic"/>
              <a:cs typeface="Century Gothic"/>
            </a:endParaRPr>
          </a:p>
          <a:p>
            <a:pPr marL="184785" indent="-172720">
              <a:spcBef>
                <a:spcPts val="250"/>
              </a:spcBef>
              <a:buFont typeface="Arial"/>
              <a:buChar char="•"/>
              <a:tabLst>
                <a:tab pos="185420" algn="l"/>
              </a:tabLst>
            </a:pPr>
            <a:r>
              <a:rPr sz="1100" spc="-5" dirty="0">
                <a:solidFill>
                  <a:srgbClr val="FFFFFF"/>
                </a:solidFill>
                <a:latin typeface="Century Gothic"/>
                <a:cs typeface="Century Gothic"/>
              </a:rPr>
              <a:t>вспомогательные</a:t>
            </a:r>
            <a:r>
              <a:rPr sz="1100" spc="-3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000" spc="-5" dirty="0">
                <a:solidFill>
                  <a:srgbClr val="FFFFFF"/>
                </a:solidFill>
                <a:latin typeface="Century Gothic"/>
                <a:cs typeface="Century Gothic"/>
              </a:rPr>
              <a:t>объекты</a:t>
            </a:r>
            <a:endParaRPr sz="1000">
              <a:latin typeface="Century Gothic"/>
              <a:cs typeface="Century Gothic"/>
            </a:endParaRPr>
          </a:p>
          <a:p>
            <a:pPr marL="184785" marR="202565"/>
            <a:r>
              <a:rPr sz="800" i="1" spc="-5" dirty="0">
                <a:solidFill>
                  <a:srgbClr val="FFFFFF"/>
                </a:solidFill>
                <a:latin typeface="Century Gothic"/>
                <a:cs typeface="Century Gothic"/>
              </a:rPr>
              <a:t>(столовая, </a:t>
            </a:r>
            <a:r>
              <a:rPr sz="800" i="1" dirty="0">
                <a:solidFill>
                  <a:srgbClr val="FFFFFF"/>
                </a:solidFill>
                <a:latin typeface="Century Gothic"/>
                <a:cs typeface="Century Gothic"/>
              </a:rPr>
              <a:t>котельная, </a:t>
            </a:r>
            <a:r>
              <a:rPr sz="800" i="1" spc="-10" dirty="0">
                <a:solidFill>
                  <a:srgbClr val="FFFFFF"/>
                </a:solidFill>
                <a:latin typeface="Century Gothic"/>
                <a:cs typeface="Century Gothic"/>
              </a:rPr>
              <a:t>ТП </a:t>
            </a:r>
            <a:r>
              <a:rPr sz="800" i="1" dirty="0">
                <a:solidFill>
                  <a:srgbClr val="FFFFFF"/>
                </a:solidFill>
                <a:latin typeface="Century Gothic"/>
                <a:cs typeface="Century Gothic"/>
              </a:rPr>
              <a:t>и другая  инженерная</a:t>
            </a:r>
            <a:r>
              <a:rPr sz="800" i="1" spc="-3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800" i="1" spc="-5" dirty="0">
                <a:solidFill>
                  <a:srgbClr val="FFFFFF"/>
                </a:solidFill>
                <a:latin typeface="Century Gothic"/>
                <a:cs typeface="Century Gothic"/>
              </a:rPr>
              <a:t>инфраструктура)</a:t>
            </a:r>
            <a:endParaRPr sz="800">
              <a:latin typeface="Century Gothic"/>
              <a:cs typeface="Century Gothic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136519" y="2907030"/>
            <a:ext cx="2368550" cy="1827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84785" indent="-172720">
              <a:spcBef>
                <a:spcPts val="105"/>
              </a:spcBef>
              <a:buFont typeface="Arial"/>
              <a:buChar char="•"/>
              <a:tabLst>
                <a:tab pos="185420" algn="l"/>
              </a:tabLst>
            </a:pPr>
            <a:r>
              <a:rPr sz="1100" dirty="0">
                <a:solidFill>
                  <a:srgbClr val="FFFFFF"/>
                </a:solidFill>
                <a:latin typeface="Century Gothic"/>
                <a:cs typeface="Century Gothic"/>
              </a:rPr>
              <a:t>свободные земельные</a:t>
            </a:r>
            <a:r>
              <a:rPr sz="1100" spc="-14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100" dirty="0">
                <a:solidFill>
                  <a:srgbClr val="FFFFFF"/>
                </a:solidFill>
                <a:latin typeface="Century Gothic"/>
                <a:cs typeface="Century Gothic"/>
              </a:rPr>
              <a:t>участки</a:t>
            </a:r>
            <a:endParaRPr sz="1100">
              <a:latin typeface="Century Gothic"/>
              <a:cs typeface="Century Gothic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4724400" y="2049779"/>
            <a:ext cx="1445260" cy="1049020"/>
            <a:chOff x="3200400" y="2049779"/>
            <a:chExt cx="1445260" cy="1049020"/>
          </a:xfrm>
        </p:grpSpPr>
        <p:pic>
          <p:nvPicPr>
            <p:cNvPr id="13" name="object 13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200400" y="2049779"/>
              <a:ext cx="1444752" cy="207263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691127" y="2282951"/>
              <a:ext cx="954024" cy="207263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691127" y="2525267"/>
              <a:ext cx="954024" cy="332232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041647" y="2889503"/>
              <a:ext cx="603503" cy="208787"/>
            </a:xfrm>
            <a:prstGeom prst="rect">
              <a:avLst/>
            </a:prstGeom>
          </p:spPr>
        </p:pic>
      </p:grpSp>
      <p:sp>
        <p:nvSpPr>
          <p:cNvPr id="17" name="object 17"/>
          <p:cNvSpPr txBox="1"/>
          <p:nvPr/>
        </p:nvSpPr>
        <p:spPr>
          <a:xfrm>
            <a:off x="5120386" y="2061210"/>
            <a:ext cx="727075" cy="1827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8100">
              <a:spcBef>
                <a:spcPts val="105"/>
              </a:spcBef>
            </a:pPr>
            <a:r>
              <a:rPr sz="1100" b="1" dirty="0">
                <a:solidFill>
                  <a:srgbClr val="FFFFFF"/>
                </a:solidFill>
                <a:latin typeface="Century Gothic"/>
                <a:cs typeface="Century Gothic"/>
              </a:rPr>
              <a:t>13 464</a:t>
            </a:r>
            <a:r>
              <a:rPr sz="1100" b="1" spc="-10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100" b="1" spc="35" dirty="0">
                <a:solidFill>
                  <a:srgbClr val="FFFFFF"/>
                </a:solidFill>
                <a:latin typeface="Century Gothic"/>
                <a:cs typeface="Century Gothic"/>
              </a:rPr>
              <a:t>м</a:t>
            </a:r>
            <a:r>
              <a:rPr sz="1350" b="1" spc="52" baseline="21604" dirty="0">
                <a:solidFill>
                  <a:srgbClr val="FFFFFF"/>
                </a:solidFill>
                <a:latin typeface="Century Gothic"/>
                <a:cs typeface="Century Gothic"/>
              </a:rPr>
              <a:t>2</a:t>
            </a:r>
            <a:endParaRPr sz="1350" baseline="21604">
              <a:latin typeface="Century Gothic"/>
              <a:cs typeface="Century Gothic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403851" y="2291589"/>
            <a:ext cx="641985" cy="4972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8100">
              <a:spcBef>
                <a:spcPts val="105"/>
              </a:spcBef>
            </a:pPr>
            <a:r>
              <a:rPr sz="1100" b="1" dirty="0">
                <a:solidFill>
                  <a:srgbClr val="FFFFFF"/>
                </a:solidFill>
                <a:latin typeface="Century Gothic"/>
                <a:cs typeface="Century Gothic"/>
              </a:rPr>
              <a:t>9 170</a:t>
            </a:r>
            <a:r>
              <a:rPr sz="1100" b="1" spc="-12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100" b="1" spc="5" dirty="0">
                <a:solidFill>
                  <a:srgbClr val="FFFFFF"/>
                </a:solidFill>
                <a:latin typeface="Century Gothic"/>
                <a:cs typeface="Century Gothic"/>
              </a:rPr>
              <a:t>м</a:t>
            </a:r>
            <a:r>
              <a:rPr sz="1350" b="1" spc="7" baseline="27777" dirty="0">
                <a:solidFill>
                  <a:srgbClr val="FFFFFF"/>
                </a:solidFill>
                <a:latin typeface="Century Gothic"/>
                <a:cs typeface="Century Gothic"/>
              </a:rPr>
              <a:t>2</a:t>
            </a:r>
            <a:endParaRPr sz="1350" baseline="27777">
              <a:latin typeface="Century Gothic"/>
              <a:cs typeface="Century Gothic"/>
            </a:endParaRPr>
          </a:p>
          <a:p>
            <a:pPr marL="38100">
              <a:spcBef>
                <a:spcPts val="1065"/>
              </a:spcBef>
            </a:pPr>
            <a:r>
              <a:rPr sz="1100" b="1" dirty="0">
                <a:solidFill>
                  <a:srgbClr val="FFFFFF"/>
                </a:solidFill>
                <a:latin typeface="Century Gothic"/>
                <a:cs typeface="Century Gothic"/>
              </a:rPr>
              <a:t>4 636</a:t>
            </a:r>
            <a:r>
              <a:rPr sz="1100" b="1" spc="-12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100" b="1" spc="5" dirty="0">
                <a:solidFill>
                  <a:srgbClr val="FFFFFF"/>
                </a:solidFill>
                <a:latin typeface="Century Gothic"/>
                <a:cs typeface="Century Gothic"/>
              </a:rPr>
              <a:t>м</a:t>
            </a:r>
            <a:r>
              <a:rPr sz="1350" b="1" spc="7" baseline="27777" dirty="0">
                <a:solidFill>
                  <a:srgbClr val="FFFFFF"/>
                </a:solidFill>
                <a:latin typeface="Century Gothic"/>
                <a:cs typeface="Century Gothic"/>
              </a:rPr>
              <a:t>2</a:t>
            </a:r>
            <a:endParaRPr sz="1350" baseline="27777">
              <a:latin typeface="Century Gothic"/>
              <a:cs typeface="Century Gothic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682489" y="2881630"/>
            <a:ext cx="370205" cy="18274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100" b="1" dirty="0">
                <a:solidFill>
                  <a:srgbClr val="FFFFFF"/>
                </a:solidFill>
                <a:latin typeface="Century Gothic"/>
                <a:cs typeface="Century Gothic"/>
              </a:rPr>
              <a:t>87</a:t>
            </a:r>
            <a:r>
              <a:rPr sz="1100" b="1" spc="-8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100" b="1" dirty="0">
                <a:solidFill>
                  <a:srgbClr val="FFFFFF"/>
                </a:solidFill>
                <a:latin typeface="Century Gothic"/>
                <a:cs typeface="Century Gothic"/>
              </a:rPr>
              <a:t>га</a:t>
            </a:r>
            <a:endParaRPr sz="1100">
              <a:latin typeface="Century Gothic"/>
              <a:cs typeface="Century Gothic"/>
            </a:endParaRPr>
          </a:p>
        </p:txBody>
      </p:sp>
      <p:pic>
        <p:nvPicPr>
          <p:cNvPr id="20" name="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233927" y="3633216"/>
            <a:ext cx="2801112" cy="483107"/>
          </a:xfrm>
          <a:prstGeom prst="rect">
            <a:avLst/>
          </a:prstGeom>
        </p:spPr>
      </p:pic>
      <p:sp>
        <p:nvSpPr>
          <p:cNvPr id="21" name="object 21"/>
          <p:cNvSpPr txBox="1"/>
          <p:nvPr/>
        </p:nvSpPr>
        <p:spPr>
          <a:xfrm>
            <a:off x="3291078" y="3772281"/>
            <a:ext cx="2686685" cy="25800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600" b="1" spc="-5" dirty="0">
                <a:solidFill>
                  <a:srgbClr val="FFFFFF"/>
                </a:solidFill>
                <a:latin typeface="Century Gothic"/>
                <a:cs typeface="Century Gothic"/>
              </a:rPr>
              <a:t>РЕСУРСНОЕ</a:t>
            </a:r>
            <a:r>
              <a:rPr sz="1600" b="1" spc="-1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Century Gothic"/>
                <a:cs typeface="Century Gothic"/>
              </a:rPr>
              <a:t>ОБЕСПЕЧЕНИЕ</a:t>
            </a:r>
            <a:endParaRPr sz="1600" dirty="0">
              <a:latin typeface="Century Gothic"/>
              <a:cs typeface="Century Gothic"/>
            </a:endParaRPr>
          </a:p>
          <a:p>
            <a:pPr marL="34925">
              <a:lnSpc>
                <a:spcPts val="1315"/>
              </a:lnSpc>
              <a:spcBef>
                <a:spcPts val="1280"/>
              </a:spcBef>
            </a:pPr>
            <a:r>
              <a:rPr sz="1100" dirty="0">
                <a:solidFill>
                  <a:srgbClr val="FFFFFF"/>
                </a:solidFill>
                <a:latin typeface="Century Gothic"/>
                <a:cs typeface="Century Gothic"/>
              </a:rPr>
              <a:t>Электроснабжение</a:t>
            </a:r>
            <a:endParaRPr sz="1100" dirty="0">
              <a:latin typeface="Century Gothic"/>
              <a:cs typeface="Century Gothic"/>
            </a:endParaRPr>
          </a:p>
          <a:p>
            <a:pPr marL="34925">
              <a:lnSpc>
                <a:spcPts val="1914"/>
              </a:lnSpc>
            </a:pPr>
            <a:r>
              <a:rPr sz="1600" b="1" spc="-10" dirty="0">
                <a:solidFill>
                  <a:srgbClr val="FFFFFF"/>
                </a:solidFill>
                <a:latin typeface="Century Gothic"/>
                <a:cs typeface="Century Gothic"/>
              </a:rPr>
              <a:t>50,9</a:t>
            </a:r>
            <a:r>
              <a:rPr sz="1600" b="1" spc="2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Century Gothic"/>
                <a:cs typeface="Century Gothic"/>
              </a:rPr>
              <a:t>мВт</a:t>
            </a:r>
            <a:endParaRPr sz="1600" dirty="0">
              <a:latin typeface="Century Gothic"/>
              <a:cs typeface="Century Gothic"/>
            </a:endParaRPr>
          </a:p>
          <a:p>
            <a:pPr marL="34925">
              <a:lnSpc>
                <a:spcPts val="1315"/>
              </a:lnSpc>
              <a:spcBef>
                <a:spcPts val="1330"/>
              </a:spcBef>
            </a:pPr>
            <a:r>
              <a:rPr sz="1100" dirty="0">
                <a:solidFill>
                  <a:srgbClr val="FFFFFF"/>
                </a:solidFill>
                <a:latin typeface="Century Gothic"/>
                <a:cs typeface="Century Gothic"/>
              </a:rPr>
              <a:t>Водоснабжение</a:t>
            </a:r>
            <a:endParaRPr sz="1100" dirty="0">
              <a:latin typeface="Century Gothic"/>
              <a:cs typeface="Century Gothic"/>
            </a:endParaRPr>
          </a:p>
          <a:p>
            <a:pPr marL="34925">
              <a:lnSpc>
                <a:spcPts val="1914"/>
              </a:lnSpc>
            </a:pPr>
            <a:r>
              <a:rPr sz="1600" b="1" spc="-5" dirty="0">
                <a:solidFill>
                  <a:srgbClr val="FFFFFF"/>
                </a:solidFill>
                <a:latin typeface="Century Gothic"/>
                <a:cs typeface="Century Gothic"/>
              </a:rPr>
              <a:t>8 </a:t>
            </a:r>
            <a:r>
              <a:rPr sz="1600" b="1" spc="-10" dirty="0">
                <a:solidFill>
                  <a:srgbClr val="FFFFFF"/>
                </a:solidFill>
                <a:latin typeface="Century Gothic"/>
                <a:cs typeface="Century Gothic"/>
              </a:rPr>
              <a:t>301,89</a:t>
            </a:r>
            <a:r>
              <a:rPr sz="1600" b="1" spc="4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Century Gothic"/>
                <a:cs typeface="Century Gothic"/>
              </a:rPr>
              <a:t>м3/сут</a:t>
            </a:r>
            <a:endParaRPr sz="1600" dirty="0">
              <a:latin typeface="Century Gothic"/>
              <a:cs typeface="Century Gothic"/>
            </a:endParaRPr>
          </a:p>
          <a:p>
            <a:pPr marL="34925">
              <a:lnSpc>
                <a:spcPts val="1315"/>
              </a:lnSpc>
              <a:spcBef>
                <a:spcPts val="1330"/>
              </a:spcBef>
            </a:pPr>
            <a:r>
              <a:rPr sz="1100" dirty="0">
                <a:solidFill>
                  <a:srgbClr val="FFFFFF"/>
                </a:solidFill>
                <a:latin typeface="Century Gothic"/>
                <a:cs typeface="Century Gothic"/>
              </a:rPr>
              <a:t>Связь</a:t>
            </a:r>
            <a:endParaRPr sz="1100" dirty="0">
              <a:latin typeface="Century Gothic"/>
              <a:cs typeface="Century Gothic"/>
            </a:endParaRPr>
          </a:p>
          <a:p>
            <a:pPr marL="34925">
              <a:lnSpc>
                <a:spcPts val="1914"/>
              </a:lnSpc>
            </a:pPr>
            <a:r>
              <a:rPr sz="1600" b="1" spc="-5" dirty="0">
                <a:solidFill>
                  <a:srgbClr val="FFFFFF"/>
                </a:solidFill>
                <a:latin typeface="Century Gothic"/>
                <a:cs typeface="Century Gothic"/>
              </a:rPr>
              <a:t>до </a:t>
            </a:r>
            <a:r>
              <a:rPr sz="1600" b="1" spc="-10" dirty="0">
                <a:solidFill>
                  <a:srgbClr val="FFFFFF"/>
                </a:solidFill>
                <a:latin typeface="Century Gothic"/>
                <a:cs typeface="Century Gothic"/>
              </a:rPr>
              <a:t>100</a:t>
            </a:r>
            <a:r>
              <a:rPr sz="1600" b="1" spc="2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Century Gothic"/>
                <a:cs typeface="Century Gothic"/>
              </a:rPr>
              <a:t>Мбит/с</a:t>
            </a:r>
            <a:endParaRPr sz="1600" dirty="0">
              <a:latin typeface="Century Gothic"/>
              <a:cs typeface="Century Gothic"/>
            </a:endParaRPr>
          </a:p>
          <a:p>
            <a:pPr marL="34925">
              <a:lnSpc>
                <a:spcPts val="1315"/>
              </a:lnSpc>
              <a:spcBef>
                <a:spcPts val="1330"/>
              </a:spcBef>
            </a:pPr>
            <a:r>
              <a:rPr sz="1100" spc="-5" dirty="0">
                <a:solidFill>
                  <a:srgbClr val="FFFFFF"/>
                </a:solidFill>
                <a:latin typeface="Century Gothic"/>
                <a:cs typeface="Century Gothic"/>
              </a:rPr>
              <a:t>Газоснабжение</a:t>
            </a:r>
            <a:endParaRPr sz="1100" dirty="0">
              <a:latin typeface="Century Gothic"/>
              <a:cs typeface="Century Gothic"/>
            </a:endParaRPr>
          </a:p>
          <a:p>
            <a:pPr marL="34925">
              <a:lnSpc>
                <a:spcPts val="1914"/>
              </a:lnSpc>
            </a:pPr>
            <a:r>
              <a:rPr sz="1600" b="1" spc="-5" dirty="0">
                <a:solidFill>
                  <a:srgbClr val="FFFFFF"/>
                </a:solidFill>
                <a:latin typeface="Century Gothic"/>
                <a:cs typeface="Century Gothic"/>
              </a:rPr>
              <a:t>8 </a:t>
            </a:r>
            <a:r>
              <a:rPr sz="1600" b="1" spc="-10" dirty="0">
                <a:solidFill>
                  <a:srgbClr val="FFFFFF"/>
                </a:solidFill>
                <a:latin typeface="Century Gothic"/>
                <a:cs typeface="Century Gothic"/>
              </a:rPr>
              <a:t>000</a:t>
            </a:r>
            <a:r>
              <a:rPr sz="1600" b="1" spc="3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Century Gothic"/>
                <a:cs typeface="Century Gothic"/>
              </a:rPr>
              <a:t>нм3/ч</a:t>
            </a:r>
            <a:endParaRPr sz="1600" dirty="0">
              <a:latin typeface="Century Gothic"/>
              <a:cs typeface="Century Gothic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189785" y="6182055"/>
            <a:ext cx="36385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spc="-5" dirty="0">
                <a:solidFill>
                  <a:srgbClr val="767070"/>
                </a:solidFill>
                <a:latin typeface="Century"/>
                <a:cs typeface="Century"/>
              </a:rPr>
              <a:t>04</a:t>
            </a:r>
            <a:endParaRPr sz="2400">
              <a:latin typeface="Century"/>
              <a:cs typeface="Century"/>
            </a:endParaRPr>
          </a:p>
        </p:txBody>
      </p:sp>
      <p:grpSp>
        <p:nvGrpSpPr>
          <p:cNvPr id="23" name="object 23"/>
          <p:cNvGrpSpPr/>
          <p:nvPr/>
        </p:nvGrpSpPr>
        <p:grpSpPr>
          <a:xfrm>
            <a:off x="6462284" y="119386"/>
            <a:ext cx="1861820" cy="2278380"/>
            <a:chOff x="4938284" y="119386"/>
            <a:chExt cx="1861820" cy="2278380"/>
          </a:xfrm>
        </p:grpSpPr>
        <p:pic>
          <p:nvPicPr>
            <p:cNvPr id="24" name="object 24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938284" y="119386"/>
              <a:ext cx="1861260" cy="2278195"/>
            </a:xfrm>
            <a:prstGeom prst="rect">
              <a:avLst/>
            </a:prstGeom>
          </p:spPr>
        </p:pic>
        <p:sp>
          <p:nvSpPr>
            <p:cNvPr id="25" name="object 25"/>
            <p:cNvSpPr/>
            <p:nvPr/>
          </p:nvSpPr>
          <p:spPr>
            <a:xfrm>
              <a:off x="5594604" y="1429511"/>
              <a:ext cx="820419" cy="231775"/>
            </a:xfrm>
            <a:custGeom>
              <a:avLst/>
              <a:gdLst/>
              <a:ahLst/>
              <a:cxnLst/>
              <a:rect l="l" t="t" r="r" b="b"/>
              <a:pathLst>
                <a:path w="820420" h="231775">
                  <a:moveTo>
                    <a:pt x="819912" y="0"/>
                  </a:moveTo>
                  <a:lnTo>
                    <a:pt x="115824" y="0"/>
                  </a:lnTo>
                  <a:lnTo>
                    <a:pt x="0" y="115824"/>
                  </a:lnTo>
                  <a:lnTo>
                    <a:pt x="115824" y="231648"/>
                  </a:lnTo>
                  <a:lnTo>
                    <a:pt x="819912" y="231648"/>
                  </a:lnTo>
                  <a:lnTo>
                    <a:pt x="819912" y="0"/>
                  </a:lnTo>
                  <a:close/>
                </a:path>
              </a:pathLst>
            </a:custGeom>
            <a:solidFill>
              <a:srgbClr val="1F4E7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5594604" y="1429511"/>
              <a:ext cx="820419" cy="231775"/>
            </a:xfrm>
            <a:custGeom>
              <a:avLst/>
              <a:gdLst/>
              <a:ahLst/>
              <a:cxnLst/>
              <a:rect l="l" t="t" r="r" b="b"/>
              <a:pathLst>
                <a:path w="820420" h="231775">
                  <a:moveTo>
                    <a:pt x="819912" y="231648"/>
                  </a:moveTo>
                  <a:lnTo>
                    <a:pt x="115824" y="231648"/>
                  </a:lnTo>
                  <a:lnTo>
                    <a:pt x="0" y="115824"/>
                  </a:lnTo>
                  <a:lnTo>
                    <a:pt x="115824" y="0"/>
                  </a:lnTo>
                  <a:lnTo>
                    <a:pt x="819912" y="0"/>
                  </a:lnTo>
                  <a:lnTo>
                    <a:pt x="819912" y="231648"/>
                  </a:lnTo>
                  <a:close/>
                </a:path>
              </a:pathLst>
            </a:custGeom>
            <a:ln w="12191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7327773" y="1474470"/>
            <a:ext cx="512445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700" b="1" spc="-5" dirty="0">
                <a:solidFill>
                  <a:srgbClr val="FFFFFF"/>
                </a:solidFill>
                <a:latin typeface="Century Gothic"/>
                <a:cs typeface="Century Gothic"/>
              </a:rPr>
              <a:t>Almaty</a:t>
            </a:r>
            <a:r>
              <a:rPr sz="700" b="1" spc="-4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700" b="1" spc="-10" dirty="0">
                <a:solidFill>
                  <a:srgbClr val="FFFFFF"/>
                </a:solidFill>
                <a:latin typeface="Century Gothic"/>
                <a:cs typeface="Century Gothic"/>
              </a:rPr>
              <a:t>city</a:t>
            </a:r>
            <a:endParaRPr sz="700">
              <a:latin typeface="Century Gothic"/>
              <a:cs typeface="Century Gothic"/>
            </a:endParaRPr>
          </a:p>
        </p:txBody>
      </p:sp>
      <p:pic>
        <p:nvPicPr>
          <p:cNvPr id="28" name="object 28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6284341" y="708025"/>
            <a:ext cx="86613" cy="121158"/>
          </a:xfrm>
          <a:prstGeom prst="rect">
            <a:avLst/>
          </a:prstGeom>
        </p:spPr>
      </p:pic>
      <p:grpSp>
        <p:nvGrpSpPr>
          <p:cNvPr id="29" name="object 29"/>
          <p:cNvGrpSpPr/>
          <p:nvPr/>
        </p:nvGrpSpPr>
        <p:grpSpPr>
          <a:xfrm>
            <a:off x="6326421" y="583437"/>
            <a:ext cx="2449195" cy="1118870"/>
            <a:chOff x="4802420" y="583437"/>
            <a:chExt cx="2449195" cy="1118870"/>
          </a:xfrm>
        </p:grpSpPr>
        <p:pic>
          <p:nvPicPr>
            <p:cNvPr id="30" name="object 30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5434584" y="1429512"/>
              <a:ext cx="233171" cy="231648"/>
            </a:xfrm>
            <a:prstGeom prst="rect">
              <a:avLst/>
            </a:prstGeom>
          </p:spPr>
        </p:pic>
        <p:pic>
          <p:nvPicPr>
            <p:cNvPr id="31" name="object 31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5428488" y="1423415"/>
              <a:ext cx="245363" cy="243840"/>
            </a:xfrm>
            <a:prstGeom prst="rect">
              <a:avLst/>
            </a:prstGeom>
          </p:spPr>
        </p:pic>
        <p:pic>
          <p:nvPicPr>
            <p:cNvPr id="32" name="object 32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4802420" y="921765"/>
              <a:ext cx="95842" cy="120396"/>
            </a:xfrm>
            <a:prstGeom prst="rect">
              <a:avLst/>
            </a:prstGeom>
          </p:spPr>
        </p:pic>
        <p:pic>
          <p:nvPicPr>
            <p:cNvPr id="33" name="object 33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4831969" y="1127759"/>
              <a:ext cx="92201" cy="122427"/>
            </a:xfrm>
            <a:prstGeom prst="rect">
              <a:avLst/>
            </a:prstGeom>
          </p:spPr>
        </p:pic>
        <p:pic>
          <p:nvPicPr>
            <p:cNvPr id="34" name="object 34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4874408" y="1342389"/>
              <a:ext cx="95736" cy="120269"/>
            </a:xfrm>
            <a:prstGeom prst="rect">
              <a:avLst/>
            </a:prstGeom>
          </p:spPr>
        </p:pic>
        <p:pic>
          <p:nvPicPr>
            <p:cNvPr id="35" name="object 35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4906518" y="1546987"/>
              <a:ext cx="115189" cy="155321"/>
            </a:xfrm>
            <a:prstGeom prst="rect">
              <a:avLst/>
            </a:prstGeom>
          </p:spPr>
        </p:pic>
        <p:sp>
          <p:nvSpPr>
            <p:cNvPr id="36" name="object 36"/>
            <p:cNvSpPr/>
            <p:nvPr/>
          </p:nvSpPr>
          <p:spPr>
            <a:xfrm>
              <a:off x="6665976" y="589787"/>
              <a:ext cx="579120" cy="257810"/>
            </a:xfrm>
            <a:custGeom>
              <a:avLst/>
              <a:gdLst/>
              <a:ahLst/>
              <a:cxnLst/>
              <a:rect l="l" t="t" r="r" b="b"/>
              <a:pathLst>
                <a:path w="579120" h="257809">
                  <a:moveTo>
                    <a:pt x="579120" y="0"/>
                  </a:moveTo>
                  <a:lnTo>
                    <a:pt x="128777" y="0"/>
                  </a:lnTo>
                  <a:lnTo>
                    <a:pt x="0" y="128777"/>
                  </a:lnTo>
                  <a:lnTo>
                    <a:pt x="128777" y="257556"/>
                  </a:lnTo>
                  <a:lnTo>
                    <a:pt x="579120" y="257556"/>
                  </a:lnTo>
                  <a:lnTo>
                    <a:pt x="579120" y="0"/>
                  </a:lnTo>
                  <a:close/>
                </a:path>
              </a:pathLst>
            </a:custGeom>
            <a:solidFill>
              <a:srgbClr val="1F4E7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6665976" y="589787"/>
              <a:ext cx="579120" cy="257810"/>
            </a:xfrm>
            <a:custGeom>
              <a:avLst/>
              <a:gdLst/>
              <a:ahLst/>
              <a:cxnLst/>
              <a:rect l="l" t="t" r="r" b="b"/>
              <a:pathLst>
                <a:path w="579120" h="257809">
                  <a:moveTo>
                    <a:pt x="579120" y="257556"/>
                  </a:moveTo>
                  <a:lnTo>
                    <a:pt x="128777" y="257556"/>
                  </a:lnTo>
                  <a:lnTo>
                    <a:pt x="0" y="128777"/>
                  </a:lnTo>
                  <a:lnTo>
                    <a:pt x="128777" y="0"/>
                  </a:lnTo>
                  <a:lnTo>
                    <a:pt x="579120" y="0"/>
                  </a:lnTo>
                  <a:lnTo>
                    <a:pt x="579120" y="257556"/>
                  </a:lnTo>
                  <a:close/>
                </a:path>
              </a:pathLst>
            </a:custGeom>
            <a:ln w="1219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8" name="object 38"/>
          <p:cNvSpPr txBox="1"/>
          <p:nvPr/>
        </p:nvSpPr>
        <p:spPr>
          <a:xfrm>
            <a:off x="8391270" y="647777"/>
            <a:ext cx="307340" cy="11990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700" b="1" spc="-5" dirty="0">
                <a:solidFill>
                  <a:srgbClr val="FFFFFF"/>
                </a:solidFill>
                <a:latin typeface="Century Gothic"/>
                <a:cs typeface="Century Gothic"/>
              </a:rPr>
              <a:t>Al</a:t>
            </a:r>
            <a:r>
              <a:rPr sz="700" b="1" spc="-15" dirty="0">
                <a:solidFill>
                  <a:srgbClr val="FFFFFF"/>
                </a:solidFill>
                <a:latin typeface="Century Gothic"/>
                <a:cs typeface="Century Gothic"/>
              </a:rPr>
              <a:t>at</a:t>
            </a:r>
            <a:r>
              <a:rPr sz="700" b="1" spc="-10" dirty="0">
                <a:solidFill>
                  <a:srgbClr val="FFFFFF"/>
                </a:solidFill>
                <a:latin typeface="Century Gothic"/>
                <a:cs typeface="Century Gothic"/>
              </a:rPr>
              <a:t>a</a:t>
            </a:r>
            <a:r>
              <a:rPr sz="700" b="1" spc="-5" dirty="0">
                <a:solidFill>
                  <a:srgbClr val="FFFFFF"/>
                </a:solidFill>
                <a:latin typeface="Century Gothic"/>
                <a:cs typeface="Century Gothic"/>
              </a:rPr>
              <a:t>u</a:t>
            </a:r>
            <a:endParaRPr sz="700">
              <a:latin typeface="Century Gothic"/>
              <a:cs typeface="Century Gothic"/>
            </a:endParaRPr>
          </a:p>
        </p:txBody>
      </p:sp>
      <p:grpSp>
        <p:nvGrpSpPr>
          <p:cNvPr id="39" name="object 39"/>
          <p:cNvGrpSpPr/>
          <p:nvPr/>
        </p:nvGrpSpPr>
        <p:grpSpPr>
          <a:xfrm>
            <a:off x="7257288" y="396240"/>
            <a:ext cx="3284220" cy="3183890"/>
            <a:chOff x="5733288" y="396240"/>
            <a:chExt cx="3284220" cy="3183890"/>
          </a:xfrm>
        </p:grpSpPr>
        <p:pic>
          <p:nvPicPr>
            <p:cNvPr id="40" name="object 40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6493764" y="589788"/>
              <a:ext cx="286512" cy="257555"/>
            </a:xfrm>
            <a:prstGeom prst="rect">
              <a:avLst/>
            </a:prstGeom>
          </p:spPr>
        </p:pic>
        <p:sp>
          <p:nvSpPr>
            <p:cNvPr id="41" name="object 41"/>
            <p:cNvSpPr/>
            <p:nvPr/>
          </p:nvSpPr>
          <p:spPr>
            <a:xfrm>
              <a:off x="6493764" y="589788"/>
              <a:ext cx="287020" cy="257810"/>
            </a:xfrm>
            <a:custGeom>
              <a:avLst/>
              <a:gdLst/>
              <a:ahLst/>
              <a:cxnLst/>
              <a:rect l="l" t="t" r="r" b="b"/>
              <a:pathLst>
                <a:path w="287020" h="257809">
                  <a:moveTo>
                    <a:pt x="0" y="128777"/>
                  </a:moveTo>
                  <a:lnTo>
                    <a:pt x="7303" y="88075"/>
                  </a:lnTo>
                  <a:lnTo>
                    <a:pt x="27639" y="52724"/>
                  </a:lnTo>
                  <a:lnTo>
                    <a:pt x="58649" y="24847"/>
                  </a:lnTo>
                  <a:lnTo>
                    <a:pt x="97974" y="6565"/>
                  </a:lnTo>
                  <a:lnTo>
                    <a:pt x="143256" y="0"/>
                  </a:lnTo>
                  <a:lnTo>
                    <a:pt x="188537" y="6565"/>
                  </a:lnTo>
                  <a:lnTo>
                    <a:pt x="227862" y="24847"/>
                  </a:lnTo>
                  <a:lnTo>
                    <a:pt x="258872" y="52724"/>
                  </a:lnTo>
                  <a:lnTo>
                    <a:pt x="279208" y="88075"/>
                  </a:lnTo>
                  <a:lnTo>
                    <a:pt x="286512" y="128777"/>
                  </a:lnTo>
                  <a:lnTo>
                    <a:pt x="279208" y="169480"/>
                  </a:lnTo>
                  <a:lnTo>
                    <a:pt x="258872" y="204831"/>
                  </a:lnTo>
                  <a:lnTo>
                    <a:pt x="227862" y="232708"/>
                  </a:lnTo>
                  <a:lnTo>
                    <a:pt x="188537" y="250990"/>
                  </a:lnTo>
                  <a:lnTo>
                    <a:pt x="143256" y="257556"/>
                  </a:lnTo>
                  <a:lnTo>
                    <a:pt x="97974" y="250990"/>
                  </a:lnTo>
                  <a:lnTo>
                    <a:pt x="58649" y="232708"/>
                  </a:lnTo>
                  <a:lnTo>
                    <a:pt x="27639" y="204831"/>
                  </a:lnTo>
                  <a:lnTo>
                    <a:pt x="7303" y="169480"/>
                  </a:lnTo>
                  <a:lnTo>
                    <a:pt x="0" y="128777"/>
                  </a:lnTo>
                  <a:close/>
                </a:path>
              </a:pathLst>
            </a:custGeom>
            <a:ln w="1219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6663055" y="870838"/>
              <a:ext cx="499745" cy="1363345"/>
            </a:xfrm>
            <a:custGeom>
              <a:avLst/>
              <a:gdLst/>
              <a:ahLst/>
              <a:cxnLst/>
              <a:rect l="l" t="t" r="r" b="b"/>
              <a:pathLst>
                <a:path w="499745" h="1363345">
                  <a:moveTo>
                    <a:pt x="0" y="0"/>
                  </a:moveTo>
                  <a:lnTo>
                    <a:pt x="9625" y="59351"/>
                  </a:lnTo>
                  <a:lnTo>
                    <a:pt x="19254" y="118589"/>
                  </a:lnTo>
                  <a:lnTo>
                    <a:pt x="28894" y="177603"/>
                  </a:lnTo>
                  <a:lnTo>
                    <a:pt x="38546" y="236279"/>
                  </a:lnTo>
                  <a:lnTo>
                    <a:pt x="48218" y="294506"/>
                  </a:lnTo>
                  <a:lnTo>
                    <a:pt x="57913" y="352171"/>
                  </a:lnTo>
                  <a:lnTo>
                    <a:pt x="67635" y="409161"/>
                  </a:lnTo>
                  <a:lnTo>
                    <a:pt x="77390" y="465364"/>
                  </a:lnTo>
                  <a:lnTo>
                    <a:pt x="87182" y="520668"/>
                  </a:lnTo>
                  <a:lnTo>
                    <a:pt x="97016" y="574961"/>
                  </a:lnTo>
                  <a:lnTo>
                    <a:pt x="106896" y="628129"/>
                  </a:lnTo>
                  <a:lnTo>
                    <a:pt x="116827" y="680060"/>
                  </a:lnTo>
                  <a:lnTo>
                    <a:pt x="126814" y="730642"/>
                  </a:lnTo>
                  <a:lnTo>
                    <a:pt x="136860" y="779763"/>
                  </a:lnTo>
                  <a:lnTo>
                    <a:pt x="146972" y="827310"/>
                  </a:lnTo>
                  <a:lnTo>
                    <a:pt x="157154" y="873171"/>
                  </a:lnTo>
                  <a:lnTo>
                    <a:pt x="167409" y="917233"/>
                  </a:lnTo>
                  <a:lnTo>
                    <a:pt x="177743" y="959384"/>
                  </a:lnTo>
                  <a:lnTo>
                    <a:pt x="188161" y="999512"/>
                  </a:lnTo>
                  <a:lnTo>
                    <a:pt x="198667" y="1037504"/>
                  </a:lnTo>
                  <a:lnTo>
                    <a:pt x="219961" y="1106629"/>
                  </a:lnTo>
                  <a:lnTo>
                    <a:pt x="260408" y="1203595"/>
                  </a:lnTo>
                  <a:lnTo>
                    <a:pt x="292992" y="1252322"/>
                  </a:lnTo>
                  <a:lnTo>
                    <a:pt x="327278" y="1286754"/>
                  </a:lnTo>
                  <a:lnTo>
                    <a:pt x="362036" y="1309929"/>
                  </a:lnTo>
                  <a:lnTo>
                    <a:pt x="428032" y="1334652"/>
                  </a:lnTo>
                  <a:lnTo>
                    <a:pt x="456806" y="1342273"/>
                  </a:lnTo>
                  <a:lnTo>
                    <a:pt x="481121" y="1350783"/>
                  </a:lnTo>
                  <a:lnTo>
                    <a:pt x="499745" y="1363218"/>
                  </a:lnTo>
                </a:path>
              </a:pathLst>
            </a:custGeom>
            <a:ln w="12700">
              <a:solidFill>
                <a:srgbClr val="2E528F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3" name="object 43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6204204" y="396240"/>
              <a:ext cx="301751" cy="114300"/>
            </a:xfrm>
            <a:prstGeom prst="rect">
              <a:avLst/>
            </a:prstGeom>
          </p:spPr>
        </p:pic>
        <p:pic>
          <p:nvPicPr>
            <p:cNvPr id="44" name="object 44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5733288" y="702564"/>
              <a:ext cx="201167" cy="202691"/>
            </a:xfrm>
            <a:prstGeom prst="rect">
              <a:avLst/>
            </a:prstGeom>
          </p:spPr>
        </p:pic>
        <p:pic>
          <p:nvPicPr>
            <p:cNvPr id="45" name="object 45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7370239" y="1006842"/>
              <a:ext cx="1464915" cy="1885821"/>
            </a:xfrm>
            <a:prstGeom prst="rect">
              <a:avLst/>
            </a:prstGeom>
          </p:spPr>
        </p:pic>
        <p:sp>
          <p:nvSpPr>
            <p:cNvPr id="46" name="object 46"/>
            <p:cNvSpPr/>
            <p:nvPr/>
          </p:nvSpPr>
          <p:spPr>
            <a:xfrm>
              <a:off x="7153655" y="845820"/>
              <a:ext cx="1858010" cy="2727960"/>
            </a:xfrm>
            <a:custGeom>
              <a:avLst/>
              <a:gdLst/>
              <a:ahLst/>
              <a:cxnLst/>
              <a:rect l="l" t="t" r="r" b="b"/>
              <a:pathLst>
                <a:path w="1858009" h="2727960">
                  <a:moveTo>
                    <a:pt x="0" y="309625"/>
                  </a:moveTo>
                  <a:lnTo>
                    <a:pt x="3358" y="263885"/>
                  </a:lnTo>
                  <a:lnTo>
                    <a:pt x="13114" y="220223"/>
                  </a:lnTo>
                  <a:lnTo>
                    <a:pt x="28787" y="179121"/>
                  </a:lnTo>
                  <a:lnTo>
                    <a:pt x="49897" y="141057"/>
                  </a:lnTo>
                  <a:lnTo>
                    <a:pt x="75966" y="106512"/>
                  </a:lnTo>
                  <a:lnTo>
                    <a:pt x="106512" y="75966"/>
                  </a:lnTo>
                  <a:lnTo>
                    <a:pt x="141057" y="49897"/>
                  </a:lnTo>
                  <a:lnTo>
                    <a:pt x="179121" y="28787"/>
                  </a:lnTo>
                  <a:lnTo>
                    <a:pt x="220223" y="13114"/>
                  </a:lnTo>
                  <a:lnTo>
                    <a:pt x="263885" y="3358"/>
                  </a:lnTo>
                  <a:lnTo>
                    <a:pt x="309625" y="0"/>
                  </a:lnTo>
                  <a:lnTo>
                    <a:pt x="1548129" y="0"/>
                  </a:lnTo>
                  <a:lnTo>
                    <a:pt x="1593870" y="3358"/>
                  </a:lnTo>
                  <a:lnTo>
                    <a:pt x="1637532" y="13114"/>
                  </a:lnTo>
                  <a:lnTo>
                    <a:pt x="1678634" y="28787"/>
                  </a:lnTo>
                  <a:lnTo>
                    <a:pt x="1716698" y="49897"/>
                  </a:lnTo>
                  <a:lnTo>
                    <a:pt x="1751243" y="75966"/>
                  </a:lnTo>
                  <a:lnTo>
                    <a:pt x="1781789" y="106512"/>
                  </a:lnTo>
                  <a:lnTo>
                    <a:pt x="1807858" y="141057"/>
                  </a:lnTo>
                  <a:lnTo>
                    <a:pt x="1828968" y="179121"/>
                  </a:lnTo>
                  <a:lnTo>
                    <a:pt x="1844641" y="220223"/>
                  </a:lnTo>
                  <a:lnTo>
                    <a:pt x="1854397" y="263885"/>
                  </a:lnTo>
                  <a:lnTo>
                    <a:pt x="1857755" y="309625"/>
                  </a:lnTo>
                  <a:lnTo>
                    <a:pt x="1857755" y="2418333"/>
                  </a:lnTo>
                  <a:lnTo>
                    <a:pt x="1854397" y="2464074"/>
                  </a:lnTo>
                  <a:lnTo>
                    <a:pt x="1844641" y="2507736"/>
                  </a:lnTo>
                  <a:lnTo>
                    <a:pt x="1828968" y="2548838"/>
                  </a:lnTo>
                  <a:lnTo>
                    <a:pt x="1807858" y="2586902"/>
                  </a:lnTo>
                  <a:lnTo>
                    <a:pt x="1781789" y="2621447"/>
                  </a:lnTo>
                  <a:lnTo>
                    <a:pt x="1751243" y="2651993"/>
                  </a:lnTo>
                  <a:lnTo>
                    <a:pt x="1716698" y="2678062"/>
                  </a:lnTo>
                  <a:lnTo>
                    <a:pt x="1678634" y="2699172"/>
                  </a:lnTo>
                  <a:lnTo>
                    <a:pt x="1637532" y="2714845"/>
                  </a:lnTo>
                  <a:lnTo>
                    <a:pt x="1593870" y="2724601"/>
                  </a:lnTo>
                  <a:lnTo>
                    <a:pt x="1548129" y="2727959"/>
                  </a:lnTo>
                  <a:lnTo>
                    <a:pt x="309625" y="2727959"/>
                  </a:lnTo>
                  <a:lnTo>
                    <a:pt x="263885" y="2724601"/>
                  </a:lnTo>
                  <a:lnTo>
                    <a:pt x="220223" y="2714845"/>
                  </a:lnTo>
                  <a:lnTo>
                    <a:pt x="179121" y="2699172"/>
                  </a:lnTo>
                  <a:lnTo>
                    <a:pt x="141057" y="2678062"/>
                  </a:lnTo>
                  <a:lnTo>
                    <a:pt x="106512" y="2651993"/>
                  </a:lnTo>
                  <a:lnTo>
                    <a:pt x="75966" y="2621447"/>
                  </a:lnTo>
                  <a:lnTo>
                    <a:pt x="49897" y="2586902"/>
                  </a:lnTo>
                  <a:lnTo>
                    <a:pt x="28787" y="2548838"/>
                  </a:lnTo>
                  <a:lnTo>
                    <a:pt x="13114" y="2507736"/>
                  </a:lnTo>
                  <a:lnTo>
                    <a:pt x="3358" y="2464074"/>
                  </a:lnTo>
                  <a:lnTo>
                    <a:pt x="0" y="2418333"/>
                  </a:lnTo>
                  <a:lnTo>
                    <a:pt x="0" y="309625"/>
                  </a:lnTo>
                  <a:close/>
                </a:path>
              </a:pathLst>
            </a:custGeom>
            <a:ln w="12192">
              <a:solidFill>
                <a:srgbClr val="2E528F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7" name="object 47"/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7232904" y="2985516"/>
              <a:ext cx="137160" cy="73152"/>
            </a:xfrm>
            <a:prstGeom prst="rect">
              <a:avLst/>
            </a:prstGeom>
          </p:spPr>
        </p:pic>
        <p:pic>
          <p:nvPicPr>
            <p:cNvPr id="48" name="object 48"/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7232904" y="3137916"/>
              <a:ext cx="137160" cy="73152"/>
            </a:xfrm>
            <a:prstGeom prst="rect">
              <a:avLst/>
            </a:prstGeom>
          </p:spPr>
        </p:pic>
        <p:pic>
          <p:nvPicPr>
            <p:cNvPr id="49" name="object 49"/>
            <p:cNvPicPr/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7232904" y="3305556"/>
              <a:ext cx="137160" cy="73152"/>
            </a:xfrm>
            <a:prstGeom prst="rect">
              <a:avLst/>
            </a:prstGeom>
          </p:spPr>
        </p:pic>
      </p:grpSp>
      <p:grpSp>
        <p:nvGrpSpPr>
          <p:cNvPr id="50" name="object 50"/>
          <p:cNvGrpSpPr/>
          <p:nvPr/>
        </p:nvGrpSpPr>
        <p:grpSpPr>
          <a:xfrm>
            <a:off x="7718805" y="4069079"/>
            <a:ext cx="1696720" cy="2533650"/>
            <a:chOff x="6194805" y="4069079"/>
            <a:chExt cx="1696720" cy="2533650"/>
          </a:xfrm>
        </p:grpSpPr>
        <p:sp>
          <p:nvSpPr>
            <p:cNvPr id="51" name="object 51"/>
            <p:cNvSpPr/>
            <p:nvPr/>
          </p:nvSpPr>
          <p:spPr>
            <a:xfrm>
              <a:off x="6823329" y="4069079"/>
              <a:ext cx="76200" cy="2533650"/>
            </a:xfrm>
            <a:custGeom>
              <a:avLst/>
              <a:gdLst/>
              <a:ahLst/>
              <a:cxnLst/>
              <a:rect l="l" t="t" r="r" b="b"/>
              <a:pathLst>
                <a:path w="76200" h="2533650">
                  <a:moveTo>
                    <a:pt x="28448" y="2431884"/>
                  </a:moveTo>
                  <a:lnTo>
                    <a:pt x="28321" y="2533484"/>
                  </a:lnTo>
                  <a:lnTo>
                    <a:pt x="41021" y="2533497"/>
                  </a:lnTo>
                  <a:lnTo>
                    <a:pt x="41148" y="2431897"/>
                  </a:lnTo>
                  <a:lnTo>
                    <a:pt x="28448" y="2431884"/>
                  </a:lnTo>
                  <a:close/>
                </a:path>
                <a:path w="76200" h="2533650">
                  <a:moveTo>
                    <a:pt x="28701" y="2292184"/>
                  </a:moveTo>
                  <a:lnTo>
                    <a:pt x="28448" y="2393784"/>
                  </a:lnTo>
                  <a:lnTo>
                    <a:pt x="41148" y="2393797"/>
                  </a:lnTo>
                  <a:lnTo>
                    <a:pt x="41401" y="2292197"/>
                  </a:lnTo>
                  <a:lnTo>
                    <a:pt x="28701" y="2292184"/>
                  </a:lnTo>
                  <a:close/>
                </a:path>
                <a:path w="76200" h="2533650">
                  <a:moveTo>
                    <a:pt x="28828" y="2152484"/>
                  </a:moveTo>
                  <a:lnTo>
                    <a:pt x="28701" y="2254084"/>
                  </a:lnTo>
                  <a:lnTo>
                    <a:pt x="41401" y="2254097"/>
                  </a:lnTo>
                  <a:lnTo>
                    <a:pt x="41528" y="2152497"/>
                  </a:lnTo>
                  <a:lnTo>
                    <a:pt x="28828" y="2152484"/>
                  </a:lnTo>
                  <a:close/>
                </a:path>
                <a:path w="76200" h="2533650">
                  <a:moveTo>
                    <a:pt x="29082" y="2012784"/>
                  </a:moveTo>
                  <a:lnTo>
                    <a:pt x="28955" y="2114384"/>
                  </a:lnTo>
                  <a:lnTo>
                    <a:pt x="41655" y="2114397"/>
                  </a:lnTo>
                  <a:lnTo>
                    <a:pt x="41782" y="2012797"/>
                  </a:lnTo>
                  <a:lnTo>
                    <a:pt x="29082" y="2012784"/>
                  </a:lnTo>
                  <a:close/>
                </a:path>
                <a:path w="76200" h="2533650">
                  <a:moveTo>
                    <a:pt x="29210" y="1873084"/>
                  </a:moveTo>
                  <a:lnTo>
                    <a:pt x="29082" y="1974684"/>
                  </a:lnTo>
                  <a:lnTo>
                    <a:pt x="41782" y="1974697"/>
                  </a:lnTo>
                  <a:lnTo>
                    <a:pt x="41910" y="1873097"/>
                  </a:lnTo>
                  <a:lnTo>
                    <a:pt x="29210" y="1873084"/>
                  </a:lnTo>
                  <a:close/>
                </a:path>
                <a:path w="76200" h="2533650">
                  <a:moveTo>
                    <a:pt x="29464" y="1733384"/>
                  </a:moveTo>
                  <a:lnTo>
                    <a:pt x="29337" y="1834984"/>
                  </a:lnTo>
                  <a:lnTo>
                    <a:pt x="42037" y="1834997"/>
                  </a:lnTo>
                  <a:lnTo>
                    <a:pt x="42164" y="1733397"/>
                  </a:lnTo>
                  <a:lnTo>
                    <a:pt x="29464" y="1733384"/>
                  </a:lnTo>
                  <a:close/>
                </a:path>
                <a:path w="76200" h="2533650">
                  <a:moveTo>
                    <a:pt x="29591" y="1593684"/>
                  </a:moveTo>
                  <a:lnTo>
                    <a:pt x="29464" y="1695284"/>
                  </a:lnTo>
                  <a:lnTo>
                    <a:pt x="42164" y="1695297"/>
                  </a:lnTo>
                  <a:lnTo>
                    <a:pt x="42291" y="1593697"/>
                  </a:lnTo>
                  <a:lnTo>
                    <a:pt x="29591" y="1593684"/>
                  </a:lnTo>
                  <a:close/>
                </a:path>
                <a:path w="76200" h="2533650">
                  <a:moveTo>
                    <a:pt x="42545" y="1454023"/>
                  </a:moveTo>
                  <a:lnTo>
                    <a:pt x="29845" y="1454023"/>
                  </a:lnTo>
                  <a:lnTo>
                    <a:pt x="29718" y="1555584"/>
                  </a:lnTo>
                  <a:lnTo>
                    <a:pt x="42418" y="1555597"/>
                  </a:lnTo>
                  <a:lnTo>
                    <a:pt x="42545" y="1454023"/>
                  </a:lnTo>
                  <a:close/>
                </a:path>
                <a:path w="76200" h="2533650">
                  <a:moveTo>
                    <a:pt x="42672" y="1314323"/>
                  </a:moveTo>
                  <a:lnTo>
                    <a:pt x="29972" y="1314323"/>
                  </a:lnTo>
                  <a:lnTo>
                    <a:pt x="29845" y="1415923"/>
                  </a:lnTo>
                  <a:lnTo>
                    <a:pt x="42545" y="1415923"/>
                  </a:lnTo>
                  <a:lnTo>
                    <a:pt x="42672" y="1314323"/>
                  </a:lnTo>
                  <a:close/>
                </a:path>
                <a:path w="76200" h="2533650">
                  <a:moveTo>
                    <a:pt x="42925" y="1174623"/>
                  </a:moveTo>
                  <a:lnTo>
                    <a:pt x="30225" y="1174623"/>
                  </a:lnTo>
                  <a:lnTo>
                    <a:pt x="30099" y="1276223"/>
                  </a:lnTo>
                  <a:lnTo>
                    <a:pt x="42799" y="1276223"/>
                  </a:lnTo>
                  <a:lnTo>
                    <a:pt x="42925" y="1174623"/>
                  </a:lnTo>
                  <a:close/>
                </a:path>
                <a:path w="76200" h="2533650">
                  <a:moveTo>
                    <a:pt x="43052" y="1034923"/>
                  </a:moveTo>
                  <a:lnTo>
                    <a:pt x="30352" y="1034923"/>
                  </a:lnTo>
                  <a:lnTo>
                    <a:pt x="30225" y="1136523"/>
                  </a:lnTo>
                  <a:lnTo>
                    <a:pt x="42925" y="1136523"/>
                  </a:lnTo>
                  <a:lnTo>
                    <a:pt x="43052" y="1034923"/>
                  </a:lnTo>
                  <a:close/>
                </a:path>
                <a:path w="76200" h="2533650">
                  <a:moveTo>
                    <a:pt x="43306" y="895223"/>
                  </a:moveTo>
                  <a:lnTo>
                    <a:pt x="30606" y="895223"/>
                  </a:lnTo>
                  <a:lnTo>
                    <a:pt x="30479" y="996823"/>
                  </a:lnTo>
                  <a:lnTo>
                    <a:pt x="43179" y="996823"/>
                  </a:lnTo>
                  <a:lnTo>
                    <a:pt x="43306" y="895223"/>
                  </a:lnTo>
                  <a:close/>
                </a:path>
                <a:path w="76200" h="2533650">
                  <a:moveTo>
                    <a:pt x="43434" y="755523"/>
                  </a:moveTo>
                  <a:lnTo>
                    <a:pt x="30734" y="755523"/>
                  </a:lnTo>
                  <a:lnTo>
                    <a:pt x="30606" y="857123"/>
                  </a:lnTo>
                  <a:lnTo>
                    <a:pt x="43306" y="857123"/>
                  </a:lnTo>
                  <a:lnTo>
                    <a:pt x="43434" y="755523"/>
                  </a:lnTo>
                  <a:close/>
                </a:path>
                <a:path w="76200" h="2533650">
                  <a:moveTo>
                    <a:pt x="43688" y="615823"/>
                  </a:moveTo>
                  <a:lnTo>
                    <a:pt x="30988" y="615823"/>
                  </a:lnTo>
                  <a:lnTo>
                    <a:pt x="30861" y="717423"/>
                  </a:lnTo>
                  <a:lnTo>
                    <a:pt x="43561" y="717423"/>
                  </a:lnTo>
                  <a:lnTo>
                    <a:pt x="43688" y="615823"/>
                  </a:lnTo>
                  <a:close/>
                </a:path>
                <a:path w="76200" h="2533650">
                  <a:moveTo>
                    <a:pt x="43815" y="476123"/>
                  </a:moveTo>
                  <a:lnTo>
                    <a:pt x="31115" y="476123"/>
                  </a:lnTo>
                  <a:lnTo>
                    <a:pt x="30988" y="577723"/>
                  </a:lnTo>
                  <a:lnTo>
                    <a:pt x="43688" y="577723"/>
                  </a:lnTo>
                  <a:lnTo>
                    <a:pt x="43815" y="476123"/>
                  </a:lnTo>
                  <a:close/>
                </a:path>
                <a:path w="76200" h="2533650">
                  <a:moveTo>
                    <a:pt x="44069" y="336423"/>
                  </a:moveTo>
                  <a:lnTo>
                    <a:pt x="31369" y="336423"/>
                  </a:lnTo>
                  <a:lnTo>
                    <a:pt x="31242" y="438023"/>
                  </a:lnTo>
                  <a:lnTo>
                    <a:pt x="43942" y="438023"/>
                  </a:lnTo>
                  <a:lnTo>
                    <a:pt x="44069" y="336423"/>
                  </a:lnTo>
                  <a:close/>
                </a:path>
                <a:path w="76200" h="2533650">
                  <a:moveTo>
                    <a:pt x="44196" y="196723"/>
                  </a:moveTo>
                  <a:lnTo>
                    <a:pt x="31496" y="196723"/>
                  </a:lnTo>
                  <a:lnTo>
                    <a:pt x="31369" y="298323"/>
                  </a:lnTo>
                  <a:lnTo>
                    <a:pt x="44069" y="298323"/>
                  </a:lnTo>
                  <a:lnTo>
                    <a:pt x="44196" y="196723"/>
                  </a:lnTo>
                  <a:close/>
                </a:path>
                <a:path w="76200" h="2533650">
                  <a:moveTo>
                    <a:pt x="44450" y="57023"/>
                  </a:moveTo>
                  <a:lnTo>
                    <a:pt x="31750" y="57023"/>
                  </a:lnTo>
                  <a:lnTo>
                    <a:pt x="31623" y="158623"/>
                  </a:lnTo>
                  <a:lnTo>
                    <a:pt x="44323" y="158623"/>
                  </a:lnTo>
                  <a:lnTo>
                    <a:pt x="44450" y="57023"/>
                  </a:lnTo>
                  <a:close/>
                </a:path>
                <a:path w="76200" h="2533650">
                  <a:moveTo>
                    <a:pt x="38100" y="0"/>
                  </a:moveTo>
                  <a:lnTo>
                    <a:pt x="0" y="76200"/>
                  </a:lnTo>
                  <a:lnTo>
                    <a:pt x="38100" y="50800"/>
                  </a:lnTo>
                  <a:lnTo>
                    <a:pt x="63500" y="50800"/>
                  </a:lnTo>
                  <a:lnTo>
                    <a:pt x="38100" y="0"/>
                  </a:lnTo>
                  <a:close/>
                </a:path>
                <a:path w="76200" h="2533650">
                  <a:moveTo>
                    <a:pt x="63500" y="50800"/>
                  </a:moveTo>
                  <a:lnTo>
                    <a:pt x="38100" y="50800"/>
                  </a:lnTo>
                  <a:lnTo>
                    <a:pt x="76200" y="76200"/>
                  </a:lnTo>
                  <a:lnTo>
                    <a:pt x="63500" y="5080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2" name="object 52"/>
            <p:cNvPicPr/>
            <p:nvPr/>
          </p:nvPicPr>
          <p:blipFill>
            <a:blip r:embed="rId22" cstate="print"/>
            <a:stretch>
              <a:fillRect/>
            </a:stretch>
          </p:blipFill>
          <p:spPr>
            <a:xfrm>
              <a:off x="6809231" y="4267199"/>
              <a:ext cx="97536" cy="112775"/>
            </a:xfrm>
            <a:prstGeom prst="rect">
              <a:avLst/>
            </a:prstGeom>
          </p:spPr>
        </p:pic>
        <p:sp>
          <p:nvSpPr>
            <p:cNvPr id="53" name="object 53"/>
            <p:cNvSpPr/>
            <p:nvPr/>
          </p:nvSpPr>
          <p:spPr>
            <a:xfrm>
              <a:off x="6201155" y="4326635"/>
              <a:ext cx="612140" cy="0"/>
            </a:xfrm>
            <a:custGeom>
              <a:avLst/>
              <a:gdLst/>
              <a:ahLst/>
              <a:cxnLst/>
              <a:rect l="l" t="t" r="r" b="b"/>
              <a:pathLst>
                <a:path w="612140">
                  <a:moveTo>
                    <a:pt x="0" y="0"/>
                  </a:moveTo>
                  <a:lnTo>
                    <a:pt x="611886" y="0"/>
                  </a:lnTo>
                </a:path>
              </a:pathLst>
            </a:custGeom>
            <a:ln w="1219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4" name="object 54"/>
            <p:cNvPicPr/>
            <p:nvPr/>
          </p:nvPicPr>
          <p:blipFill>
            <a:blip r:embed="rId23" cstate="print"/>
            <a:stretch>
              <a:fillRect/>
            </a:stretch>
          </p:blipFill>
          <p:spPr>
            <a:xfrm>
              <a:off x="6812279" y="4767071"/>
              <a:ext cx="97536" cy="114299"/>
            </a:xfrm>
            <a:prstGeom prst="rect">
              <a:avLst/>
            </a:prstGeom>
          </p:spPr>
        </p:pic>
        <p:pic>
          <p:nvPicPr>
            <p:cNvPr id="55" name="object 55"/>
            <p:cNvPicPr/>
            <p:nvPr/>
          </p:nvPicPr>
          <p:blipFill>
            <a:blip r:embed="rId24" cstate="print"/>
            <a:stretch>
              <a:fillRect/>
            </a:stretch>
          </p:blipFill>
          <p:spPr>
            <a:xfrm>
              <a:off x="6812279" y="5370575"/>
              <a:ext cx="97536" cy="112776"/>
            </a:xfrm>
            <a:prstGeom prst="rect">
              <a:avLst/>
            </a:prstGeom>
          </p:spPr>
        </p:pic>
        <p:pic>
          <p:nvPicPr>
            <p:cNvPr id="56" name="object 56"/>
            <p:cNvPicPr/>
            <p:nvPr/>
          </p:nvPicPr>
          <p:blipFill>
            <a:blip r:embed="rId25" cstate="print"/>
            <a:stretch>
              <a:fillRect/>
            </a:stretch>
          </p:blipFill>
          <p:spPr>
            <a:xfrm>
              <a:off x="6818375" y="5871972"/>
              <a:ext cx="97536" cy="112776"/>
            </a:xfrm>
            <a:prstGeom prst="rect">
              <a:avLst/>
            </a:prstGeom>
          </p:spPr>
        </p:pic>
        <p:sp>
          <p:nvSpPr>
            <p:cNvPr id="57" name="object 57"/>
            <p:cNvSpPr/>
            <p:nvPr/>
          </p:nvSpPr>
          <p:spPr>
            <a:xfrm>
              <a:off x="6205727" y="4823459"/>
              <a:ext cx="1325245" cy="603885"/>
            </a:xfrm>
            <a:custGeom>
              <a:avLst/>
              <a:gdLst/>
              <a:ahLst/>
              <a:cxnLst/>
              <a:rect l="l" t="t" r="r" b="b"/>
              <a:pathLst>
                <a:path w="1325245" h="603885">
                  <a:moveTo>
                    <a:pt x="713231" y="0"/>
                  </a:moveTo>
                  <a:lnTo>
                    <a:pt x="1325118" y="0"/>
                  </a:lnTo>
                </a:path>
                <a:path w="1325245" h="603885">
                  <a:moveTo>
                    <a:pt x="0" y="603503"/>
                  </a:moveTo>
                  <a:lnTo>
                    <a:pt x="611886" y="603503"/>
                  </a:lnTo>
                </a:path>
              </a:pathLst>
            </a:custGeom>
            <a:ln w="1219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8" name="object 58"/>
            <p:cNvPicPr/>
            <p:nvPr/>
          </p:nvPicPr>
          <p:blipFill>
            <a:blip r:embed="rId26" cstate="print"/>
            <a:stretch>
              <a:fillRect/>
            </a:stretch>
          </p:blipFill>
          <p:spPr>
            <a:xfrm>
              <a:off x="7577291" y="5837851"/>
              <a:ext cx="313980" cy="199135"/>
            </a:xfrm>
            <a:prstGeom prst="rect">
              <a:avLst/>
            </a:prstGeom>
          </p:spPr>
        </p:pic>
      </p:grpSp>
      <p:pic>
        <p:nvPicPr>
          <p:cNvPr id="59" name="object 59"/>
          <p:cNvPicPr/>
          <p:nvPr/>
        </p:nvPicPr>
        <p:blipFill>
          <a:blip r:embed="rId27" cstate="print"/>
          <a:stretch>
            <a:fillRect/>
          </a:stretch>
        </p:blipFill>
        <p:spPr>
          <a:xfrm>
            <a:off x="7358535" y="5314070"/>
            <a:ext cx="318910" cy="225786"/>
          </a:xfrm>
          <a:prstGeom prst="rect">
            <a:avLst/>
          </a:prstGeom>
        </p:spPr>
      </p:pic>
      <p:pic>
        <p:nvPicPr>
          <p:cNvPr id="60" name="object 60"/>
          <p:cNvPicPr/>
          <p:nvPr/>
        </p:nvPicPr>
        <p:blipFill>
          <a:blip r:embed="rId28" cstate="print"/>
          <a:stretch>
            <a:fillRect/>
          </a:stretch>
        </p:blipFill>
        <p:spPr>
          <a:xfrm>
            <a:off x="9105665" y="4663440"/>
            <a:ext cx="266348" cy="324612"/>
          </a:xfrm>
          <a:prstGeom prst="rect">
            <a:avLst/>
          </a:prstGeom>
        </p:spPr>
      </p:pic>
      <p:pic>
        <p:nvPicPr>
          <p:cNvPr id="61" name="object 61"/>
          <p:cNvPicPr/>
          <p:nvPr/>
        </p:nvPicPr>
        <p:blipFill>
          <a:blip r:embed="rId29" cstate="print"/>
          <a:stretch>
            <a:fillRect/>
          </a:stretch>
        </p:blipFill>
        <p:spPr>
          <a:xfrm>
            <a:off x="6822696" y="4163567"/>
            <a:ext cx="831908" cy="324612"/>
          </a:xfrm>
          <a:prstGeom prst="rect">
            <a:avLst/>
          </a:prstGeom>
        </p:spPr>
      </p:pic>
      <p:sp>
        <p:nvSpPr>
          <p:cNvPr id="62" name="object 62"/>
          <p:cNvSpPr txBox="1"/>
          <p:nvPr/>
        </p:nvSpPr>
        <p:spPr>
          <a:xfrm>
            <a:off x="7076948" y="5558434"/>
            <a:ext cx="883919" cy="6654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" algn="ctr">
              <a:spcBef>
                <a:spcPts val="95"/>
              </a:spcBef>
            </a:pPr>
            <a:r>
              <a:rPr sz="1600" spc="-5" dirty="0">
                <a:latin typeface="Century"/>
                <a:cs typeface="Century"/>
              </a:rPr>
              <a:t>1</a:t>
            </a:r>
            <a:r>
              <a:rPr sz="1600" spc="-15" dirty="0">
                <a:latin typeface="Century"/>
                <a:cs typeface="Century"/>
              </a:rPr>
              <a:t> </a:t>
            </a:r>
            <a:r>
              <a:rPr sz="1600" spc="-10" dirty="0">
                <a:latin typeface="Century"/>
                <a:cs typeface="Century"/>
              </a:rPr>
              <a:t>км</a:t>
            </a:r>
            <a:endParaRPr sz="1600">
              <a:latin typeface="Century"/>
              <a:cs typeface="Century"/>
            </a:endParaRPr>
          </a:p>
          <a:p>
            <a:pPr algn="ctr">
              <a:lnSpc>
                <a:spcPts val="1435"/>
              </a:lnSpc>
              <a:spcBef>
                <a:spcPts val="10"/>
              </a:spcBef>
            </a:pPr>
            <a:r>
              <a:rPr sz="1200" spc="-5" dirty="0">
                <a:latin typeface="Century Gothic"/>
                <a:cs typeface="Century Gothic"/>
              </a:rPr>
              <a:t>БАКАД</a:t>
            </a:r>
            <a:endParaRPr sz="1200">
              <a:latin typeface="Century Gothic"/>
              <a:cs typeface="Century Gothic"/>
            </a:endParaRPr>
          </a:p>
          <a:p>
            <a:pPr algn="ctr">
              <a:lnSpc>
                <a:spcPts val="1675"/>
              </a:lnSpc>
            </a:pPr>
            <a:r>
              <a:rPr sz="1100" spc="-15" dirty="0">
                <a:latin typeface="Century Gothic"/>
                <a:cs typeface="Century Gothic"/>
              </a:rPr>
              <a:t>(к </a:t>
            </a:r>
            <a:r>
              <a:rPr sz="1100" spc="-5" dirty="0">
                <a:latin typeface="Century Gothic"/>
                <a:cs typeface="Century Gothic"/>
              </a:rPr>
              <a:t>2022</a:t>
            </a:r>
            <a:r>
              <a:rPr sz="1100" spc="-30" dirty="0">
                <a:latin typeface="Century Gothic"/>
                <a:cs typeface="Century Gothic"/>
              </a:rPr>
              <a:t> </a:t>
            </a:r>
            <a:r>
              <a:rPr sz="1100" spc="-5" dirty="0">
                <a:latin typeface="Century Gothic"/>
                <a:cs typeface="Century Gothic"/>
              </a:rPr>
              <a:t>году</a:t>
            </a:r>
            <a:r>
              <a:rPr sz="1400" spc="-5" dirty="0">
                <a:latin typeface="Arial Narrow"/>
                <a:cs typeface="Arial Narrow"/>
              </a:rPr>
              <a:t>)</a:t>
            </a:r>
            <a:endParaRPr sz="1400">
              <a:latin typeface="Arial Narrow"/>
              <a:cs typeface="Arial Narrow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8657970" y="4940553"/>
            <a:ext cx="1149350" cy="6350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algn="ctr">
              <a:spcBef>
                <a:spcPts val="95"/>
              </a:spcBef>
            </a:pPr>
            <a:r>
              <a:rPr sz="1600" spc="-5" dirty="0">
                <a:latin typeface="Century"/>
                <a:cs typeface="Century"/>
              </a:rPr>
              <a:t>20</a:t>
            </a:r>
            <a:r>
              <a:rPr sz="1600" spc="-15" dirty="0">
                <a:latin typeface="Century"/>
                <a:cs typeface="Century"/>
              </a:rPr>
              <a:t> </a:t>
            </a:r>
            <a:r>
              <a:rPr sz="1600" spc="-10" dirty="0">
                <a:latin typeface="Century"/>
                <a:cs typeface="Century"/>
              </a:rPr>
              <a:t>км</a:t>
            </a:r>
            <a:endParaRPr sz="1600">
              <a:latin typeface="Century"/>
              <a:cs typeface="Century"/>
            </a:endParaRPr>
          </a:p>
          <a:p>
            <a:pPr algn="ctr">
              <a:spcBef>
                <a:spcPts val="5"/>
              </a:spcBef>
            </a:pPr>
            <a:r>
              <a:rPr sz="1200" spc="-5" dirty="0">
                <a:latin typeface="Century Gothic"/>
                <a:cs typeface="Century Gothic"/>
              </a:rPr>
              <a:t>ж/д</a:t>
            </a:r>
            <a:r>
              <a:rPr sz="1200" spc="-15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вокзал</a:t>
            </a:r>
            <a:endParaRPr sz="1200">
              <a:latin typeface="Century Gothic"/>
              <a:cs typeface="Century Gothic"/>
            </a:endParaRPr>
          </a:p>
          <a:p>
            <a:pPr algn="ctr">
              <a:lnSpc>
                <a:spcPct val="100000"/>
              </a:lnSpc>
            </a:pPr>
            <a:r>
              <a:rPr sz="1200" spc="-5" dirty="0">
                <a:latin typeface="Century Gothic"/>
                <a:cs typeface="Century Gothic"/>
              </a:rPr>
              <a:t>«Алматы-1 </a:t>
            </a:r>
            <a:r>
              <a:rPr sz="1200" dirty="0">
                <a:latin typeface="Century Gothic"/>
                <a:cs typeface="Century Gothic"/>
              </a:rPr>
              <a:t>и</a:t>
            </a:r>
            <a:r>
              <a:rPr sz="1200" spc="-40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2»</a:t>
            </a:r>
            <a:endParaRPr sz="1200">
              <a:latin typeface="Century Gothic"/>
              <a:cs typeface="Century Gothic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8847836" y="6040932"/>
            <a:ext cx="793115" cy="6350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2545" algn="ctr">
              <a:spcBef>
                <a:spcPts val="95"/>
              </a:spcBef>
            </a:pPr>
            <a:r>
              <a:rPr sz="1600" spc="-5" dirty="0">
                <a:latin typeface="Century"/>
                <a:cs typeface="Century"/>
              </a:rPr>
              <a:t>15</a:t>
            </a:r>
            <a:r>
              <a:rPr sz="1600" spc="-25" dirty="0">
                <a:latin typeface="Century"/>
                <a:cs typeface="Century"/>
              </a:rPr>
              <a:t> </a:t>
            </a:r>
            <a:r>
              <a:rPr sz="1600" spc="-10" dirty="0">
                <a:latin typeface="Century"/>
                <a:cs typeface="Century"/>
              </a:rPr>
              <a:t>км</a:t>
            </a:r>
            <a:endParaRPr sz="1600">
              <a:latin typeface="Century"/>
              <a:cs typeface="Century"/>
            </a:endParaRPr>
          </a:p>
          <a:p>
            <a:pPr algn="ctr">
              <a:spcBef>
                <a:spcPts val="5"/>
              </a:spcBef>
            </a:pPr>
            <a:r>
              <a:rPr sz="1200" spc="-5" dirty="0">
                <a:latin typeface="Century Gothic"/>
                <a:cs typeface="Century Gothic"/>
              </a:rPr>
              <a:t>Аэропорт</a:t>
            </a:r>
            <a:endParaRPr sz="1200">
              <a:latin typeface="Century Gothic"/>
              <a:cs typeface="Century Gothic"/>
            </a:endParaRPr>
          </a:p>
          <a:p>
            <a:pPr marL="45085" algn="ctr"/>
            <a:r>
              <a:rPr sz="1200" spc="-5" dirty="0">
                <a:latin typeface="Century Gothic"/>
                <a:cs typeface="Century Gothic"/>
              </a:rPr>
              <a:t>«Алматы»</a:t>
            </a:r>
            <a:endParaRPr sz="1200">
              <a:latin typeface="Century Gothic"/>
              <a:cs typeface="Century Gothic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6673342" y="4463289"/>
            <a:ext cx="1218565" cy="6356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635" algn="ctr">
              <a:spcBef>
                <a:spcPts val="95"/>
              </a:spcBef>
            </a:pPr>
            <a:r>
              <a:rPr sz="1600" spc="-5" dirty="0">
                <a:latin typeface="Century"/>
                <a:cs typeface="Century"/>
              </a:rPr>
              <a:t>25</a:t>
            </a:r>
            <a:r>
              <a:rPr sz="1600" spc="-15" dirty="0">
                <a:latin typeface="Century"/>
                <a:cs typeface="Century"/>
              </a:rPr>
              <a:t> </a:t>
            </a:r>
            <a:r>
              <a:rPr sz="1600" spc="-10" dirty="0">
                <a:latin typeface="Century"/>
                <a:cs typeface="Century"/>
              </a:rPr>
              <a:t>км</a:t>
            </a:r>
            <a:endParaRPr sz="1600">
              <a:latin typeface="Century"/>
              <a:cs typeface="Century"/>
            </a:endParaRPr>
          </a:p>
          <a:p>
            <a:pPr marL="12700" marR="5080" indent="1905" algn="ctr">
              <a:spcBef>
                <a:spcPts val="5"/>
              </a:spcBef>
            </a:pPr>
            <a:r>
              <a:rPr sz="1200" spc="-5" dirty="0">
                <a:latin typeface="Century Gothic"/>
                <a:cs typeface="Century Gothic"/>
              </a:rPr>
              <a:t>Деловой центр  города</a:t>
            </a:r>
            <a:r>
              <a:rPr sz="1200" spc="-55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Алматы</a:t>
            </a:r>
            <a:endParaRPr sz="1200">
              <a:latin typeface="Century Gothic"/>
              <a:cs typeface="Century Gothic"/>
            </a:endParaRPr>
          </a:p>
        </p:txBody>
      </p:sp>
      <p:sp>
        <p:nvSpPr>
          <p:cNvPr id="66" name="object 66"/>
          <p:cNvSpPr/>
          <p:nvPr/>
        </p:nvSpPr>
        <p:spPr>
          <a:xfrm>
            <a:off x="8450580" y="5928359"/>
            <a:ext cx="612140" cy="0"/>
          </a:xfrm>
          <a:custGeom>
            <a:avLst/>
            <a:gdLst/>
            <a:ahLst/>
            <a:cxnLst/>
            <a:rect l="l" t="t" r="r" b="b"/>
            <a:pathLst>
              <a:path w="612140">
                <a:moveTo>
                  <a:pt x="0" y="0"/>
                </a:moveTo>
                <a:lnTo>
                  <a:pt x="611886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 txBox="1"/>
          <p:nvPr/>
        </p:nvSpPr>
        <p:spPr>
          <a:xfrm>
            <a:off x="8902066" y="2902179"/>
            <a:ext cx="1543685" cy="506730"/>
          </a:xfrm>
          <a:prstGeom prst="rect">
            <a:avLst/>
          </a:prstGeom>
        </p:spPr>
        <p:txBody>
          <a:bodyPr vert="horz" wrap="square" lIns="0" tIns="66675" rIns="0" bIns="0" rtlCol="0">
            <a:spAutoFit/>
          </a:bodyPr>
          <a:lstStyle/>
          <a:p>
            <a:pPr marL="12700">
              <a:spcBef>
                <a:spcPts val="525"/>
              </a:spcBef>
            </a:pPr>
            <a:r>
              <a:rPr sz="700" spc="-5" dirty="0">
                <a:latin typeface="Century Gothic"/>
                <a:cs typeface="Century Gothic"/>
              </a:rPr>
              <a:t>Действующие</a:t>
            </a:r>
            <a:r>
              <a:rPr sz="700" spc="5" dirty="0">
                <a:latin typeface="Century Gothic"/>
                <a:cs typeface="Century Gothic"/>
              </a:rPr>
              <a:t> </a:t>
            </a:r>
            <a:r>
              <a:rPr sz="700" spc="-5" dirty="0">
                <a:latin typeface="Century Gothic"/>
                <a:cs typeface="Century Gothic"/>
              </a:rPr>
              <a:t>проекты</a:t>
            </a:r>
            <a:endParaRPr sz="700">
              <a:latin typeface="Century Gothic"/>
              <a:cs typeface="Century Gothic"/>
            </a:endParaRPr>
          </a:p>
          <a:p>
            <a:pPr marL="12700" marR="5080">
              <a:lnSpc>
                <a:spcPct val="150000"/>
              </a:lnSpc>
              <a:spcBef>
                <a:spcPts val="5"/>
              </a:spcBef>
            </a:pPr>
            <a:r>
              <a:rPr sz="700" spc="-5" dirty="0">
                <a:latin typeface="Century Gothic"/>
                <a:cs typeface="Century Gothic"/>
              </a:rPr>
              <a:t>Проекты на стадии строительства  Свободная полезная площадь</a:t>
            </a:r>
            <a:endParaRPr sz="700"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700121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524000" y="0"/>
            <a:ext cx="9142476" cy="6848854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4092067" y="1766444"/>
            <a:ext cx="4813300" cy="6356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77165" marR="5080" indent="-165100">
              <a:spcBef>
                <a:spcPts val="105"/>
              </a:spcBef>
            </a:pPr>
            <a:r>
              <a:rPr sz="2000" b="1" spc="-5" dirty="0">
                <a:latin typeface="Century Gothic"/>
                <a:cs typeface="Century Gothic"/>
              </a:rPr>
              <a:t>КОЛИЧЕСТВО </a:t>
            </a:r>
            <a:r>
              <a:rPr sz="2000" b="1" dirty="0">
                <a:latin typeface="Century Gothic"/>
                <a:cs typeface="Century Gothic"/>
              </a:rPr>
              <a:t>УЧАСТНИКОВ </a:t>
            </a:r>
            <a:r>
              <a:rPr sz="2000" b="1" spc="-5" dirty="0">
                <a:latin typeface="Century Gothic"/>
                <a:cs typeface="Century Gothic"/>
              </a:rPr>
              <a:t>СЭЗ</a:t>
            </a:r>
            <a:r>
              <a:rPr sz="2000" b="1" spc="-100" dirty="0">
                <a:latin typeface="Century Gothic"/>
                <a:cs typeface="Century Gothic"/>
              </a:rPr>
              <a:t> </a:t>
            </a:r>
            <a:r>
              <a:rPr sz="2000" b="1" dirty="0">
                <a:latin typeface="Century Gothic"/>
                <a:cs typeface="Century Gothic"/>
              </a:rPr>
              <a:t>«ПИТ»  ПО ТЕХНОЛОГИЧЕСКИМ</a:t>
            </a:r>
            <a:r>
              <a:rPr sz="2000" b="1" spc="-80" dirty="0">
                <a:latin typeface="Century Gothic"/>
                <a:cs typeface="Century Gothic"/>
              </a:rPr>
              <a:t> </a:t>
            </a:r>
            <a:r>
              <a:rPr sz="2000" b="1" dirty="0">
                <a:latin typeface="Century Gothic"/>
                <a:cs typeface="Century Gothic"/>
              </a:rPr>
              <a:t>ОБЛАСТЯМ</a:t>
            </a:r>
            <a:endParaRPr sz="2000">
              <a:latin typeface="Century Gothic"/>
              <a:cs typeface="Century Gothic"/>
            </a:endParaRPr>
          </a:p>
        </p:txBody>
      </p:sp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945380" y="2686811"/>
            <a:ext cx="638555" cy="571500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754367" y="2686811"/>
            <a:ext cx="598932" cy="580644"/>
          </a:xfrm>
          <a:prstGeom prst="rect">
            <a:avLst/>
          </a:prstGeom>
        </p:spPr>
      </p:pic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8798052" y="2709673"/>
            <a:ext cx="533400" cy="542543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4974335" y="4192523"/>
            <a:ext cx="609600" cy="542544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6772656" y="4146803"/>
            <a:ext cx="562355" cy="533400"/>
          </a:xfrm>
          <a:prstGeom prst="rect">
            <a:avLst/>
          </a:prstGeom>
        </p:spPr>
      </p:pic>
      <p:pic>
        <p:nvPicPr>
          <p:cNvPr id="9" name="object 9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801101" y="4192523"/>
            <a:ext cx="600455" cy="542544"/>
          </a:xfrm>
          <a:prstGeom prst="rect">
            <a:avLst/>
          </a:prstGeom>
        </p:spPr>
      </p:pic>
      <p:sp>
        <p:nvSpPr>
          <p:cNvPr id="10" name="object 10"/>
          <p:cNvSpPr txBox="1"/>
          <p:nvPr/>
        </p:nvSpPr>
        <p:spPr>
          <a:xfrm>
            <a:off x="2725013" y="3049355"/>
            <a:ext cx="1303020" cy="1318895"/>
          </a:xfrm>
          <a:prstGeom prst="rect">
            <a:avLst/>
          </a:prstGeom>
        </p:spPr>
        <p:txBody>
          <a:bodyPr vert="horz" wrap="square" lIns="0" tIns="132715" rIns="0" bIns="0" rtlCol="0">
            <a:spAutoFit/>
          </a:bodyPr>
          <a:lstStyle/>
          <a:p>
            <a:pPr marL="78105">
              <a:spcBef>
                <a:spcPts val="1045"/>
              </a:spcBef>
            </a:pPr>
            <a:r>
              <a:rPr sz="5400" b="1" dirty="0">
                <a:solidFill>
                  <a:srgbClr val="1F3863"/>
                </a:solidFill>
                <a:latin typeface="Century"/>
                <a:cs typeface="Century"/>
              </a:rPr>
              <a:t>170</a:t>
            </a:r>
            <a:endParaRPr sz="5400">
              <a:latin typeface="Century"/>
              <a:cs typeface="Century"/>
            </a:endParaRPr>
          </a:p>
          <a:p>
            <a:pPr marL="12700">
              <a:spcBef>
                <a:spcPts val="355"/>
              </a:spcBef>
            </a:pPr>
            <a:r>
              <a:rPr sz="2000" b="1" spc="-5" dirty="0">
                <a:latin typeface="Century Gothic"/>
                <a:cs typeface="Century Gothic"/>
              </a:rPr>
              <a:t>компаний</a:t>
            </a:r>
            <a:endParaRPr sz="2000">
              <a:latin typeface="Century Gothic"/>
              <a:cs typeface="Century Gothic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560189" y="3267836"/>
            <a:ext cx="1376680" cy="7289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3655" algn="ctr">
              <a:spcBef>
                <a:spcPts val="100"/>
              </a:spcBef>
            </a:pPr>
            <a:r>
              <a:rPr sz="2400" b="1" dirty="0">
                <a:solidFill>
                  <a:srgbClr val="1F3863"/>
                </a:solidFill>
                <a:latin typeface="Century"/>
                <a:cs typeface="Century"/>
              </a:rPr>
              <a:t>121</a:t>
            </a:r>
            <a:endParaRPr sz="2400">
              <a:latin typeface="Century"/>
              <a:cs typeface="Century"/>
            </a:endParaRPr>
          </a:p>
          <a:p>
            <a:pPr marL="12700" marR="5080" algn="ctr">
              <a:spcBef>
                <a:spcPts val="15"/>
              </a:spcBef>
            </a:pPr>
            <a:r>
              <a:rPr sz="1100" spc="-5" dirty="0">
                <a:latin typeface="Century Gothic"/>
                <a:cs typeface="Century Gothic"/>
              </a:rPr>
              <a:t>информационные  технологии</a:t>
            </a:r>
            <a:endParaRPr sz="1100">
              <a:latin typeface="Century Gothic"/>
              <a:cs typeface="Century Gothic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6343903" y="3257754"/>
            <a:ext cx="1474470" cy="7296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905" algn="ctr">
              <a:spcBef>
                <a:spcPts val="100"/>
              </a:spcBef>
            </a:pPr>
            <a:r>
              <a:rPr sz="2400" b="1" spc="5" dirty="0">
                <a:solidFill>
                  <a:srgbClr val="1F3863"/>
                </a:solidFill>
                <a:latin typeface="Century"/>
                <a:cs typeface="Century"/>
              </a:rPr>
              <a:t>31</a:t>
            </a:r>
            <a:endParaRPr sz="2400">
              <a:latin typeface="Century"/>
              <a:cs typeface="Century"/>
            </a:endParaRPr>
          </a:p>
          <a:p>
            <a:pPr marR="28575" algn="ctr">
              <a:spcBef>
                <a:spcPts val="20"/>
              </a:spcBef>
            </a:pPr>
            <a:r>
              <a:rPr sz="1100" spc="-5" dirty="0">
                <a:latin typeface="Century Gothic"/>
                <a:cs typeface="Century Gothic"/>
              </a:rPr>
              <a:t>электроника</a:t>
            </a:r>
            <a:endParaRPr sz="1100">
              <a:latin typeface="Century Gothic"/>
              <a:cs typeface="Century Gothic"/>
            </a:endParaRPr>
          </a:p>
          <a:p>
            <a:pPr algn="ctr">
              <a:lnSpc>
                <a:spcPct val="100000"/>
              </a:lnSpc>
            </a:pPr>
            <a:r>
              <a:rPr sz="1100" dirty="0">
                <a:latin typeface="Century Gothic"/>
                <a:cs typeface="Century Gothic"/>
              </a:rPr>
              <a:t>и</a:t>
            </a:r>
            <a:r>
              <a:rPr sz="1100" spc="-55" dirty="0">
                <a:latin typeface="Century Gothic"/>
                <a:cs typeface="Century Gothic"/>
              </a:rPr>
              <a:t> </a:t>
            </a:r>
            <a:r>
              <a:rPr sz="1100" dirty="0">
                <a:latin typeface="Century Gothic"/>
                <a:cs typeface="Century Gothic"/>
              </a:rPr>
              <a:t>приборостроение</a:t>
            </a:r>
            <a:endParaRPr sz="1100">
              <a:latin typeface="Century Gothic"/>
              <a:cs typeface="Century Gothic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4080510" y="3280410"/>
            <a:ext cx="0" cy="1127125"/>
          </a:xfrm>
          <a:custGeom>
            <a:avLst/>
            <a:gdLst/>
            <a:ahLst/>
            <a:cxnLst/>
            <a:rect l="l" t="t" r="r" b="b"/>
            <a:pathLst>
              <a:path h="1127125">
                <a:moveTo>
                  <a:pt x="0" y="0"/>
                </a:moveTo>
                <a:lnTo>
                  <a:pt x="0" y="1126744"/>
                </a:lnTo>
              </a:path>
            </a:pathLst>
          </a:custGeom>
          <a:ln w="198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8321167" y="3257754"/>
            <a:ext cx="1397000" cy="7296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2384" algn="ctr">
              <a:spcBef>
                <a:spcPts val="100"/>
              </a:spcBef>
            </a:pPr>
            <a:r>
              <a:rPr sz="2400" b="1" dirty="0">
                <a:solidFill>
                  <a:srgbClr val="1F3863"/>
                </a:solidFill>
                <a:latin typeface="Century"/>
                <a:cs typeface="Century"/>
              </a:rPr>
              <a:t>8</a:t>
            </a:r>
            <a:endParaRPr sz="2400">
              <a:latin typeface="Century"/>
              <a:cs typeface="Century"/>
            </a:endParaRPr>
          </a:p>
          <a:p>
            <a:pPr marL="12065" marR="5080" algn="ctr">
              <a:spcBef>
                <a:spcPts val="20"/>
              </a:spcBef>
            </a:pPr>
            <a:r>
              <a:rPr sz="1100" dirty="0">
                <a:latin typeface="Century Gothic"/>
                <a:cs typeface="Century Gothic"/>
              </a:rPr>
              <a:t>телекомм</a:t>
            </a:r>
            <a:r>
              <a:rPr sz="1100" spc="-5" dirty="0">
                <a:latin typeface="Century Gothic"/>
                <a:cs typeface="Century Gothic"/>
              </a:rPr>
              <a:t>ун</a:t>
            </a:r>
            <a:r>
              <a:rPr sz="1100" dirty="0">
                <a:latin typeface="Century Gothic"/>
                <a:cs typeface="Century Gothic"/>
              </a:rPr>
              <a:t>ика</a:t>
            </a:r>
            <a:r>
              <a:rPr sz="1100" spc="-15" dirty="0">
                <a:latin typeface="Century Gothic"/>
                <a:cs typeface="Century Gothic"/>
              </a:rPr>
              <a:t>ц</a:t>
            </a:r>
            <a:r>
              <a:rPr sz="1100" spc="-10" dirty="0">
                <a:latin typeface="Century Gothic"/>
                <a:cs typeface="Century Gothic"/>
              </a:rPr>
              <a:t>и</a:t>
            </a:r>
            <a:r>
              <a:rPr sz="1100" dirty="0">
                <a:latin typeface="Century Gothic"/>
                <a:cs typeface="Century Gothic"/>
              </a:rPr>
              <a:t>я  и</a:t>
            </a:r>
            <a:r>
              <a:rPr sz="1100" spc="-20" dirty="0">
                <a:latin typeface="Century Gothic"/>
                <a:cs typeface="Century Gothic"/>
              </a:rPr>
              <a:t> </a:t>
            </a:r>
            <a:r>
              <a:rPr sz="1100" dirty="0">
                <a:latin typeface="Century Gothic"/>
                <a:cs typeface="Century Gothic"/>
              </a:rPr>
              <a:t>связь</a:t>
            </a:r>
            <a:endParaRPr sz="1100">
              <a:latin typeface="Century Gothic"/>
              <a:cs typeface="Century Gothic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758054" y="4755642"/>
            <a:ext cx="981710" cy="7289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spcBef>
                <a:spcPts val="100"/>
              </a:spcBef>
            </a:pPr>
            <a:r>
              <a:rPr sz="2400" b="1" spc="-5" dirty="0">
                <a:solidFill>
                  <a:srgbClr val="1F3863"/>
                </a:solidFill>
                <a:latin typeface="Century"/>
                <a:cs typeface="Century"/>
              </a:rPr>
              <a:t>4</a:t>
            </a:r>
            <a:endParaRPr sz="2400">
              <a:latin typeface="Century"/>
              <a:cs typeface="Century"/>
            </a:endParaRPr>
          </a:p>
          <a:p>
            <a:pPr marR="25400" algn="ctr">
              <a:spcBef>
                <a:spcPts val="15"/>
              </a:spcBef>
            </a:pPr>
            <a:r>
              <a:rPr sz="1100" spc="-5" dirty="0">
                <a:latin typeface="Century Gothic"/>
                <a:cs typeface="Century Gothic"/>
              </a:rPr>
              <a:t>НИОКР</a:t>
            </a:r>
            <a:endParaRPr sz="1100">
              <a:latin typeface="Century Gothic"/>
              <a:cs typeface="Century Gothic"/>
            </a:endParaRPr>
          </a:p>
          <a:p>
            <a:pPr algn="ctr">
              <a:lnSpc>
                <a:spcPct val="100000"/>
              </a:lnSpc>
            </a:pPr>
            <a:r>
              <a:rPr sz="1100" dirty="0">
                <a:latin typeface="Century Gothic"/>
                <a:cs typeface="Century Gothic"/>
              </a:rPr>
              <a:t>в сфере</a:t>
            </a:r>
            <a:r>
              <a:rPr sz="1100" spc="-114" dirty="0">
                <a:latin typeface="Century Gothic"/>
                <a:cs typeface="Century Gothic"/>
              </a:rPr>
              <a:t> </a:t>
            </a:r>
            <a:r>
              <a:rPr sz="1100" spc="-5" dirty="0">
                <a:latin typeface="Century Gothic"/>
                <a:cs typeface="Century Gothic"/>
              </a:rPr>
              <a:t>ВИЭ</a:t>
            </a:r>
            <a:endParaRPr sz="1100">
              <a:latin typeface="Century Gothic"/>
              <a:cs typeface="Century Gothic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401815" y="4757167"/>
            <a:ext cx="1342390" cy="89661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29845" algn="ctr">
              <a:spcBef>
                <a:spcPts val="100"/>
              </a:spcBef>
            </a:pPr>
            <a:r>
              <a:rPr sz="2400" b="1" spc="-5" dirty="0">
                <a:solidFill>
                  <a:srgbClr val="1F3863"/>
                </a:solidFill>
                <a:latin typeface="Century"/>
                <a:cs typeface="Century"/>
              </a:rPr>
              <a:t>3</a:t>
            </a:r>
            <a:endParaRPr sz="2400">
              <a:latin typeface="Century"/>
              <a:cs typeface="Century"/>
            </a:endParaRPr>
          </a:p>
          <a:p>
            <a:pPr marL="202565" marR="233045" indent="-36195" algn="ctr">
              <a:spcBef>
                <a:spcPts val="15"/>
              </a:spcBef>
            </a:pPr>
            <a:r>
              <a:rPr sz="1100" spc="-5" dirty="0">
                <a:latin typeface="Century Gothic"/>
                <a:cs typeface="Century Gothic"/>
              </a:rPr>
              <a:t>Разработка  </a:t>
            </a:r>
            <a:r>
              <a:rPr sz="1100" dirty="0">
                <a:latin typeface="Century Gothic"/>
                <a:cs typeface="Century Gothic"/>
              </a:rPr>
              <a:t>и</a:t>
            </a:r>
            <a:r>
              <a:rPr sz="1100" spc="-95" dirty="0">
                <a:latin typeface="Century Gothic"/>
                <a:cs typeface="Century Gothic"/>
              </a:rPr>
              <a:t> </a:t>
            </a:r>
            <a:r>
              <a:rPr sz="1100" dirty="0">
                <a:latin typeface="Century Gothic"/>
                <a:cs typeface="Century Gothic"/>
              </a:rPr>
              <a:t>внедрение</a:t>
            </a:r>
            <a:endParaRPr sz="1100">
              <a:latin typeface="Century Gothic"/>
              <a:cs typeface="Century Gothic"/>
            </a:endParaRPr>
          </a:p>
          <a:p>
            <a:pPr algn="ctr">
              <a:lnSpc>
                <a:spcPct val="100000"/>
              </a:lnSpc>
            </a:pPr>
            <a:r>
              <a:rPr sz="1100" dirty="0">
                <a:latin typeface="Century Gothic"/>
                <a:cs typeface="Century Gothic"/>
              </a:rPr>
              <a:t>новых</a:t>
            </a:r>
            <a:r>
              <a:rPr sz="1100" spc="-65" dirty="0">
                <a:latin typeface="Century Gothic"/>
                <a:cs typeface="Century Gothic"/>
              </a:rPr>
              <a:t> </a:t>
            </a:r>
            <a:r>
              <a:rPr sz="1100" dirty="0">
                <a:latin typeface="Century Gothic"/>
                <a:cs typeface="Century Gothic"/>
              </a:rPr>
              <a:t>материалов</a:t>
            </a:r>
            <a:endParaRPr sz="1100">
              <a:latin typeface="Century Gothic"/>
              <a:cs typeface="Century Gothic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194929" y="4755643"/>
            <a:ext cx="1789430" cy="89661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spcBef>
                <a:spcPts val="100"/>
              </a:spcBef>
            </a:pPr>
            <a:r>
              <a:rPr sz="2400" b="1" spc="-5" dirty="0">
                <a:solidFill>
                  <a:srgbClr val="1F3863"/>
                </a:solidFill>
                <a:latin typeface="Century"/>
                <a:cs typeface="Century"/>
              </a:rPr>
              <a:t>3</a:t>
            </a:r>
            <a:endParaRPr sz="2400">
              <a:latin typeface="Century"/>
              <a:cs typeface="Century"/>
            </a:endParaRPr>
          </a:p>
          <a:p>
            <a:pPr algn="ctr">
              <a:spcBef>
                <a:spcPts val="15"/>
              </a:spcBef>
            </a:pPr>
            <a:r>
              <a:rPr sz="1100" dirty="0">
                <a:latin typeface="Century Gothic"/>
                <a:cs typeface="Century Gothic"/>
              </a:rPr>
              <a:t>Образование</a:t>
            </a:r>
            <a:endParaRPr sz="1100">
              <a:latin typeface="Century Gothic"/>
              <a:cs typeface="Century Gothic"/>
            </a:endParaRPr>
          </a:p>
          <a:p>
            <a:pPr marL="12700" marR="5080" algn="ctr"/>
            <a:r>
              <a:rPr sz="1100" dirty="0">
                <a:latin typeface="Century Gothic"/>
                <a:cs typeface="Century Gothic"/>
              </a:rPr>
              <a:t>в сфере</a:t>
            </a:r>
            <a:r>
              <a:rPr sz="1100" spc="-80" dirty="0">
                <a:latin typeface="Century Gothic"/>
                <a:cs typeface="Century Gothic"/>
              </a:rPr>
              <a:t> </a:t>
            </a:r>
            <a:r>
              <a:rPr sz="1100" spc="-5" dirty="0">
                <a:latin typeface="Century Gothic"/>
                <a:cs typeface="Century Gothic"/>
              </a:rPr>
              <a:t>инновационных  технологий</a:t>
            </a:r>
            <a:endParaRPr sz="1100">
              <a:latin typeface="Century Gothic"/>
              <a:cs typeface="Century Gothic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856333" y="6169558"/>
            <a:ext cx="53213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sz="2400" b="1" spc="-5" dirty="0">
                <a:solidFill>
                  <a:srgbClr val="767070"/>
                </a:solidFill>
                <a:latin typeface="Century"/>
                <a:cs typeface="Century"/>
              </a:rPr>
              <a:t>/</a:t>
            </a:r>
            <a:r>
              <a:rPr sz="2400" b="1" spc="-100" dirty="0">
                <a:solidFill>
                  <a:srgbClr val="767070"/>
                </a:solidFill>
                <a:latin typeface="Century"/>
                <a:cs typeface="Century"/>
              </a:rPr>
              <a:t> </a:t>
            </a:r>
            <a:r>
              <a:rPr sz="2400" spc="-5" dirty="0">
                <a:solidFill>
                  <a:srgbClr val="767070"/>
                </a:solidFill>
                <a:latin typeface="Century"/>
                <a:cs typeface="Century"/>
              </a:rPr>
              <a:t>05</a:t>
            </a:r>
            <a:endParaRPr sz="2400">
              <a:latin typeface="Century"/>
              <a:cs typeface="Century"/>
            </a:endParaRPr>
          </a:p>
        </p:txBody>
      </p:sp>
    </p:spTree>
    <p:extLst>
      <p:ext uri="{BB962C8B-B14F-4D97-AF65-F5344CB8AC3E}">
        <p14:creationId xmlns:p14="http://schemas.microsoft.com/office/powerpoint/2010/main" val="2674842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bL43b6d0SMYATSXdvsf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bL43b6d0SMYATSXdvs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bL43b6d0SMYATSXdvs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bL43b6d0SMYATSXdvs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bL43b6d0SMYATSXdvs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bL43b6d0SMYATSXdvsf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bL43b6d0SMYATSXdvs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bL43b6d0SMYATSXdvsf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bL43b6d0SMYATSXdvsf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bL43b6d0SMYATSXdvsf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HEIGHT" val="1.75"/>
  <p:tag name="DEFAULTLEFT" val="379"/>
  <p:tag name="DEFAULTTOP" val="291.625"/>
  <p:tag name="DEFAULTWIDTH" val="1.12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bL43b6d0SMYATSXdvsf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HEIGHT" val="17.625"/>
  <p:tag name="DEFAULTLEFT" val="319.625"/>
  <p:tag name="DEFAULTTOP" val="249.25"/>
  <p:tag name="DEFAULTWIDTH" val="10.7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bL43b6d0SMYATSXdvs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bL43b6d0SMYATSXdvs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wdNmDIIE2Rbd.1REmMo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bL43b6d0SMYATSXdvs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bL43b6d0SMYATSXdvs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bL43b6d0SMYATSXdvs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bL43b6d0SMYATSXdvsf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661</TotalTime>
  <Words>23327</Words>
  <Application>Microsoft Office PowerPoint</Application>
  <PresentationFormat>Широкоэкранный</PresentationFormat>
  <Paragraphs>6627</Paragraphs>
  <Slides>136</Slides>
  <Notes>2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6</vt:i4>
      </vt:variant>
    </vt:vector>
  </HeadingPairs>
  <TitlesOfParts>
    <vt:vector size="170" baseType="lpstr">
      <vt:lpstr>Arial</vt:lpstr>
      <vt:lpstr>Arial Black</vt:lpstr>
      <vt:lpstr>Arial Narrow</vt:lpstr>
      <vt:lpstr>Arial Unicode MS</vt:lpstr>
      <vt:lpstr>Arimo Bold</vt:lpstr>
      <vt:lpstr>Calibri</vt:lpstr>
      <vt:lpstr>Calibri Light</vt:lpstr>
      <vt:lpstr>Cambria</vt:lpstr>
      <vt:lpstr>Century</vt:lpstr>
      <vt:lpstr>Century Gothic</vt:lpstr>
      <vt:lpstr>Courier New</vt:lpstr>
      <vt:lpstr>FreesiaUPC</vt:lpstr>
      <vt:lpstr>Gill Sans</vt:lpstr>
      <vt:lpstr>Gill Sans SemiBold</vt:lpstr>
      <vt:lpstr>Helvetica</vt:lpstr>
      <vt:lpstr>Helvetica Light</vt:lpstr>
      <vt:lpstr>Helvetica Neue</vt:lpstr>
      <vt:lpstr>Helvetica Neue Light</vt:lpstr>
      <vt:lpstr>Helvetica Neue Light</vt:lpstr>
      <vt:lpstr>Noto Sans</vt:lpstr>
      <vt:lpstr>Open Sans</vt:lpstr>
      <vt:lpstr>Open Sans </vt:lpstr>
      <vt:lpstr>Open Sans 1</vt:lpstr>
      <vt:lpstr>Open Sans 1 Bold</vt:lpstr>
      <vt:lpstr>Open Sans 2 Bold</vt:lpstr>
      <vt:lpstr>Open Sans 2 Italics</vt:lpstr>
      <vt:lpstr>Segoe UI</vt:lpstr>
      <vt:lpstr>Symbol</vt:lpstr>
      <vt:lpstr>Tahoma</vt:lpstr>
      <vt:lpstr>Times New Roman</vt:lpstr>
      <vt:lpstr>Verdana</vt:lpstr>
      <vt:lpstr>Wingdings</vt:lpstr>
      <vt:lpstr>Тема Office</vt:lpstr>
      <vt:lpstr>Диаграмма Microsoft Exce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ОНЯТИЯ</vt:lpstr>
      <vt:lpstr>ПОНЯТИЯ</vt:lpstr>
      <vt:lpstr>ОГРАНИЧЕНИЯ</vt:lpstr>
      <vt:lpstr>ОГРАНИЧЕНИЯ</vt:lpstr>
      <vt:lpstr>ГАРАНТИИ ЗАЩИТЫ ПРАВ ИНВЕСТОРОВ</vt:lpstr>
      <vt:lpstr>ГАРАНТИИ ЗАЩИТЫ ПРАВ ИНВЕСТОРОВ</vt:lpstr>
      <vt:lpstr> ГАРАНТИИ ЗАЩИТЫ ПРАВ ИНВЕСТОРОВ </vt:lpstr>
      <vt:lpstr>НПА для заключения Специального инвестиционного контракта</vt:lpstr>
      <vt:lpstr>ИНВЕСТИЦИОННЫЕ ПРЕФЕРЕНЦИИ</vt:lpstr>
      <vt:lpstr>Презентация PowerPoint</vt:lpstr>
      <vt:lpstr>ИНВЕСТИЦИОННЫЕ ПРЕФЕРЕНЦИИ</vt:lpstr>
      <vt:lpstr>Гарантии стабильности при изменении законодательства Республики Казахстан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special economic zone</vt:lpstr>
      <vt:lpstr>Презентация PowerPoint</vt:lpstr>
      <vt:lpstr>Добро пожаловать в МФЦА</vt:lpstr>
      <vt:lpstr>Потенциал МФЦА</vt:lpstr>
      <vt:lpstr>Почему МФЦА?</vt:lpstr>
      <vt:lpstr>Налоговые льготы</vt:lpstr>
      <vt:lpstr>Презентация PowerPoint</vt:lpstr>
      <vt:lpstr>Инструменты поддержки АО «НУХ» «Байтерек»</vt:lpstr>
      <vt:lpstr>Инструменты поддержки АО «НУХ» «Байтерек»</vt:lpstr>
      <vt:lpstr>Инструменты поддержки АО «НУХ» «Байтерек»</vt:lpstr>
      <vt:lpstr>Инструменты поддержки АО «НУХ» «Байтерек»</vt:lpstr>
      <vt:lpstr>Инструменты поддержки АО «НУХ» «Байтерек»</vt:lpstr>
      <vt:lpstr>Презентация PowerPoint</vt:lpstr>
      <vt:lpstr>ИНФОРМАЦИЯ  О KAZAKHEXPORT</vt:lpstr>
      <vt:lpstr>ИНФОРМАЦИЯ  О KAZAKHEXPORT</vt:lpstr>
      <vt:lpstr>ПОДДЕРЖКА НА ВСЕХ  ЭТАПАХ ЭКСПОРТНОГО ЦИКЛА</vt:lpstr>
      <vt:lpstr>СНИЖЕНИЕ РИСКА ЭКСПОРТЕРА ОТ  НЕОПЛАТЫ ИНОСТРАННЫМ КОНТРАГЕНТОМ </vt:lpstr>
      <vt:lpstr>ПОПОЛНЕНИЕ ОБОРОТНЫХ  СРЕДСТВ ЭКСПОРТЕРА</vt:lpstr>
      <vt:lpstr>УЧАСТИЕ В МЕЖДУНАРОДНЫХ  ТЕНДЕРАХ </vt:lpstr>
      <vt:lpstr>ФИНАНСИРОВАНИЕ  ЗАРУБЕЖНОГО ПОКУПАТЕЛЯ</vt:lpstr>
      <vt:lpstr>ЛЬГОТНОЕ  ФИНАНСИРОВАНИЕ  ЗАРУБЕЖНОГО  ПОКУПАТЕЛЯ</vt:lpstr>
      <vt:lpstr>ТОРГОВОЕ  ФИНАНСИРОВАНИЕ </vt:lpstr>
      <vt:lpstr>СХЕМА ТОРГОВОГО  ФИНАНСИРОВАНИЯ</vt:lpstr>
      <vt:lpstr>СХЕМА ЛЬГОТНОГО  ТОРГОВОГО ФИНАНСИРОВАНИЯ</vt:lpstr>
      <vt:lpstr>ПРОЦЕСС ПО ЛЬГОТНОМУ  ТОРГОВОМУ ФИНАНСИРОВАНИЮ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HP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Дамир Шаматов</dc:creator>
  <cp:lastModifiedBy>Рахымқанова Тоғжан Серікболқызы</cp:lastModifiedBy>
  <cp:revision>703</cp:revision>
  <cp:lastPrinted>2022-06-20T09:12:54Z</cp:lastPrinted>
  <dcterms:created xsi:type="dcterms:W3CDTF">2019-04-17T10:08:00Z</dcterms:created>
  <dcterms:modified xsi:type="dcterms:W3CDTF">2024-10-30T06:08:47Z</dcterms:modified>
</cp:coreProperties>
</file>